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9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29"/>
  </p:notesMasterIdLst>
  <p:sldIdLst>
    <p:sldId id="258" r:id="rId5"/>
    <p:sldId id="2147374470" r:id="rId6"/>
    <p:sldId id="2147374549" r:id="rId7"/>
    <p:sldId id="2134804936" r:id="rId8"/>
    <p:sldId id="2147374556" r:id="rId9"/>
    <p:sldId id="2147374479" r:id="rId10"/>
    <p:sldId id="2147374480" r:id="rId11"/>
    <p:sldId id="2147374476" r:id="rId12"/>
    <p:sldId id="2147374477" r:id="rId13"/>
    <p:sldId id="2096975616" r:id="rId14"/>
    <p:sldId id="2134804937" r:id="rId15"/>
    <p:sldId id="2134804955" r:id="rId16"/>
    <p:sldId id="2147374471" r:id="rId17"/>
    <p:sldId id="2134804956" r:id="rId18"/>
    <p:sldId id="2147374546" r:id="rId19"/>
    <p:sldId id="2134804946" r:id="rId20"/>
    <p:sldId id="2147374472" r:id="rId21"/>
    <p:sldId id="2147374550" r:id="rId22"/>
    <p:sldId id="2147374551" r:id="rId23"/>
    <p:sldId id="2147374552" r:id="rId24"/>
    <p:sldId id="2134804942" r:id="rId25"/>
    <p:sldId id="5957" r:id="rId26"/>
    <p:sldId id="2134804947" r:id="rId27"/>
    <p:sldId id="2134804951"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B897E7A2-D590-4440-A37A-453F5455FF23}">
          <p14:sldIdLst>
            <p14:sldId id="258"/>
            <p14:sldId id="2147374470"/>
            <p14:sldId id="2147374549"/>
          </p14:sldIdLst>
        </p14:section>
        <p14:section name="Definition, classification, prevalence and etiology" id="{42212762-E277-4F5B-ACF7-C3FD592E4612}">
          <p14:sldIdLst>
            <p14:sldId id="2134804936"/>
            <p14:sldId id="2147374556"/>
            <p14:sldId id="2147374479"/>
            <p14:sldId id="2147374480"/>
            <p14:sldId id="2147374476"/>
            <p14:sldId id="2147374477"/>
            <p14:sldId id="2096975616"/>
            <p14:sldId id="2134804937"/>
            <p14:sldId id="2134804955"/>
            <p14:sldId id="2147374471"/>
            <p14:sldId id="2134804956"/>
          </p14:sldIdLst>
        </p14:section>
        <p14:section name="Unmet needs in obesity management" id="{D137892B-DFE5-439C-A704-3152425D25FB}">
          <p14:sldIdLst>
            <p14:sldId id="2147374546"/>
            <p14:sldId id="2134804946"/>
            <p14:sldId id="2147374472"/>
            <p14:sldId id="2147374550"/>
            <p14:sldId id="2147374551"/>
            <p14:sldId id="2147374552"/>
            <p14:sldId id="2134804942"/>
            <p14:sldId id="5957"/>
          </p14:sldIdLst>
        </p14:section>
        <p14:section name="Key takeaways" id="{DBCAE636-3337-484D-88E7-6BFCEE0946BE}">
          <p14:sldIdLst>
            <p14:sldId id="2134804947"/>
          </p14:sldIdLst>
        </p14:section>
        <p14:section name="Assessments" id="{A0A224E2-55CE-4F04-8C29-2B4E7C9E7B00}">
          <p14:sldIdLst>
            <p14:sldId id="2134804951"/>
          </p14:sldIdLst>
        </p14:section>
      </p14:sectionLst>
    </p:ext>
    <p:ext uri="{EFAFB233-063F-42B5-8137-9DF3F51BA10A}">
      <p15:sldGuideLst xmlns:p15="http://schemas.microsoft.com/office/powerpoint/2012/main">
        <p15:guide id="10" orient="horz" pos="232" userDrawn="1">
          <p15:clr>
            <a:srgbClr val="A4A3A4"/>
          </p15:clr>
        </p15:guide>
        <p15:guide id="12" orient="horz" pos="4224" userDrawn="1">
          <p15:clr>
            <a:srgbClr val="A4A3A4"/>
          </p15:clr>
        </p15:guide>
        <p15:guide id="13" pos="7333" userDrawn="1">
          <p15:clr>
            <a:srgbClr val="A4A3A4"/>
          </p15:clr>
        </p15:guide>
        <p15:guide id="14" pos="3840" userDrawn="1">
          <p15:clr>
            <a:srgbClr val="A4A3A4"/>
          </p15:clr>
        </p15:guide>
        <p15:guide id="15" orient="horz" pos="2717" userDrawn="1">
          <p15:clr>
            <a:srgbClr val="A4A3A4"/>
          </p15:clr>
        </p15:guide>
        <p15:guide id="16" orient="horz" pos="2147" userDrawn="1">
          <p15:clr>
            <a:srgbClr val="A4A3A4"/>
          </p15:clr>
        </p15:guide>
        <p15:guide id="17" orient="horz" pos="1143" userDrawn="1">
          <p15:clr>
            <a:srgbClr val="A4A3A4"/>
          </p15:clr>
        </p15:guide>
        <p15:guide id="18" orient="horz" pos="3974"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D14CC345-72CD-854B-4F9B-BAB58BA971EA}" name="Sara Wootten" initials="SW" userId="2d1ff85c5309ca61" providerId="Windows Live"/>
  <p188:author id="{8065794B-1C42-C3EA-3DA3-523D35A5E89F}" name="mwcollabllc@gmail.com" initials="mw" userId="S::urn:spo:guest#mwcollabllc@gmail.com::" providerId="AD"/>
  <p188:author id="{7F3DA34C-8094-A8C2-2352-0016259BC8A2}" name="A Terry" initials="AT" userId="A Terry" providerId="None"/>
  <p188:author id="{B39B3050-AB26-CB47-5EB6-BB64EF342589}" name="martha" initials="ma" userId="S::martha_grayskalegroup.com#ext#@novonordisk.onmicrosoft.com::1b787313-3202-4892-bc64-8aad8ce6aed0" providerId="AD"/>
  <p188:author id="{473D5053-9AFB-3D66-95E5-FC4E6E84D316}" name="cornier@musc.edu" initials="co" userId="S::urn:spo:guest#cornier@musc.edu::" providerId="AD"/>
  <p188:author id="{5681AC69-2D96-BD7A-58A4-AF57D8298DE7}" name="BRSZ (Gabriel Smolarz)" initials="BS" userId="S::brsz_novonordisk.com#ext#@sixdegreesmed.com::fe3a2788-a25e-430b-ab55-086b4040e359" providerId="AD"/>
  <p188:author id="{A8DB9C81-4782-88B5-1578-423CA05C64D9}" name="lisa@grayskalegroup.com" initials="li" userId="S::urn:spo:guest#lisa@grayskalegroup.com::"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AFBFDC6-5188-E3BB-1EF4-0B4680E9760B}" name="Herron, Genevieve" initials="GH" userId="S::gherron@middlebury.edu::ac43cc25-fc82-4c63-a452-984e5553e0a6" providerId="AD"/>
  <p188:author id="{E260DECF-5D16-C129-D53D-9510B96293D3}" name="Melissa Lohmann" initials="ML" userId="1ab7e9b8f9dc23b1" providerId="Windows Live"/>
  <p188:author id="{C38856D3-27A9-77F2-4676-840C3EB4FE90}" name="jtir@novonordisk.com" initials="jt" userId="S::urn:spo:guest#jtir@novonordisk.com::" providerId="AD"/>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6"/>
    <a:srgbClr val="D6E0FF"/>
    <a:srgbClr val="ADB2BC"/>
    <a:srgbClr val="CACBD2"/>
    <a:srgbClr val="27B0BB"/>
    <a:srgbClr val="2A918B"/>
    <a:srgbClr val="ED7D31"/>
    <a:srgbClr val="66687B"/>
    <a:srgbClr val="5B9BD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60"/>
    <p:restoredTop sz="87163" autoAdjust="0"/>
  </p:normalViewPr>
  <p:slideViewPr>
    <p:cSldViewPr snapToGrid="0">
      <p:cViewPr varScale="1">
        <p:scale>
          <a:sx n="85" d="100"/>
          <a:sy n="85" d="100"/>
        </p:scale>
        <p:origin x="996" y="280"/>
      </p:cViewPr>
      <p:guideLst>
        <p:guide orient="horz" pos="232"/>
        <p:guide orient="horz" pos="4224"/>
        <p:guide pos="7333"/>
        <p:guide pos="3840"/>
        <p:guide orient="horz" pos="2717"/>
        <p:guide orient="horz" pos="2147"/>
        <p:guide orient="horz" pos="1143"/>
        <p:guide orient="horz" pos="3974"/>
      </p:guideLst>
    </p:cSldViewPr>
  </p:slideViewPr>
  <p:notesTextViewPr>
    <p:cViewPr>
      <p:scale>
        <a:sx n="1" d="1"/>
        <a:sy n="1" d="1"/>
      </p:scale>
      <p:origin x="0" y="0"/>
    </p:cViewPr>
  </p:notesTextViewPr>
  <p:sorterViewPr>
    <p:cViewPr>
      <p:scale>
        <a:sx n="100" d="100"/>
        <a:sy n="100" d="100"/>
      </p:scale>
      <p:origin x="0" y="-5800"/>
    </p:cViewPr>
  </p:sorterViewPr>
  <p:notesViewPr>
    <p:cSldViewPr snapToGrid="0">
      <p:cViewPr varScale="1">
        <p:scale>
          <a:sx n="81" d="100"/>
          <a:sy n="81" d="100"/>
        </p:scale>
        <p:origin x="3260"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8/10/relationships/authors" Target="author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951725716611136E-2"/>
          <c:y val="3.1182660721909287E-2"/>
          <c:w val="0.93828242236182824"/>
          <c:h val="0.81828335155902565"/>
        </c:manualLayout>
      </c:layout>
      <c:lineChart>
        <c:grouping val="standard"/>
        <c:varyColors val="0"/>
        <c:ser>
          <c:idx val="0"/>
          <c:order val="0"/>
          <c:tx>
            <c:strRef>
              <c:f>Sheet1!$B$1</c:f>
              <c:strCache>
                <c:ptCount val="1"/>
                <c:pt idx="0">
                  <c:v>Series 1</c:v>
                </c:pt>
              </c:strCache>
            </c:strRef>
          </c:tx>
          <c:spPr>
            <a:ln w="28575" cap="rnd">
              <a:solidFill>
                <a:schemeClr val="tx1"/>
              </a:solidFill>
              <a:round/>
            </a:ln>
            <a:effectLst/>
          </c:spPr>
          <c:marker>
            <c:symbol val="none"/>
          </c:marker>
          <c:dLbls>
            <c:spPr>
              <a:noFill/>
              <a:ln>
                <a:noFill/>
              </a:ln>
              <a:effectLst/>
            </c:spPr>
            <c:txPr>
              <a:bodyPr lIns="38100" tIns="19050" rIns="38100" bIns="19050">
                <a:spAutoFit/>
              </a:bodyPr>
              <a:lstStyle/>
              <a:p>
                <a:pPr>
                  <a:defRPr sz="1050">
                    <a:latin typeface="Arial" panose="020B0604020202020204" pitchFamily="34" charset="0"/>
                    <a:ea typeface="Apis For Office" panose="020B0504010101010104" pitchFamily="34" charset="0"/>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1999–2000</c:v>
                </c:pt>
                <c:pt idx="1">
                  <c:v>2001–2002</c:v>
                </c:pt>
                <c:pt idx="2">
                  <c:v>2003–2004</c:v>
                </c:pt>
                <c:pt idx="3">
                  <c:v>2005–2006</c:v>
                </c:pt>
                <c:pt idx="4">
                  <c:v>2007–2008</c:v>
                </c:pt>
                <c:pt idx="5">
                  <c:v>2009–2010</c:v>
                </c:pt>
                <c:pt idx="6">
                  <c:v>2011–2012</c:v>
                </c:pt>
                <c:pt idx="7">
                  <c:v>2013–2014</c:v>
                </c:pt>
                <c:pt idx="8">
                  <c:v>2015–2016</c:v>
                </c:pt>
                <c:pt idx="9">
                  <c:v>2017–2020</c:v>
                </c:pt>
                <c:pt idx="10">
                  <c:v>2021–2023</c:v>
                </c:pt>
              </c:strCache>
            </c:strRef>
          </c:cat>
          <c:val>
            <c:numRef>
              <c:f>Sheet1!$B$2:$B$12</c:f>
              <c:numCache>
                <c:formatCode>General</c:formatCode>
                <c:ptCount val="11"/>
                <c:pt idx="0">
                  <c:v>30.5</c:v>
                </c:pt>
                <c:pt idx="1">
                  <c:v>30.5</c:v>
                </c:pt>
                <c:pt idx="2">
                  <c:v>32.200000000000003</c:v>
                </c:pt>
                <c:pt idx="3">
                  <c:v>34.299999999999997</c:v>
                </c:pt>
                <c:pt idx="4">
                  <c:v>33.700000000000003</c:v>
                </c:pt>
                <c:pt idx="5">
                  <c:v>35.700000000000003</c:v>
                </c:pt>
                <c:pt idx="6">
                  <c:v>34.9</c:v>
                </c:pt>
                <c:pt idx="7">
                  <c:v>37.700000000000003</c:v>
                </c:pt>
                <c:pt idx="8">
                  <c:v>39.6</c:v>
                </c:pt>
                <c:pt idx="9">
                  <c:v>41.9</c:v>
                </c:pt>
                <c:pt idx="10">
                  <c:v>40.299999999999997</c:v>
                </c:pt>
              </c:numCache>
            </c:numRef>
          </c:val>
          <c:smooth val="0"/>
          <c:extLst>
            <c:ext xmlns:c16="http://schemas.microsoft.com/office/drawing/2014/chart" uri="{C3380CC4-5D6E-409C-BE32-E72D297353CC}">
              <c16:uniqueId val="{00000000-E8CD-48D0-822A-1B564D6C8C5B}"/>
            </c:ext>
          </c:extLst>
        </c:ser>
        <c:ser>
          <c:idx val="1"/>
          <c:order val="1"/>
          <c:tx>
            <c:strRef>
              <c:f>Sheet1!$C$1</c:f>
              <c:strCache>
                <c:ptCount val="1"/>
                <c:pt idx="0">
                  <c:v>Series 2</c:v>
                </c:pt>
              </c:strCache>
            </c:strRef>
          </c:tx>
          <c:spPr>
            <a:ln w="28575" cap="rnd">
              <a:solidFill>
                <a:srgbClr val="3B97DE"/>
              </a:solidFill>
              <a:round/>
            </a:ln>
            <a:effectLst/>
          </c:spPr>
          <c:marker>
            <c:symbol val="none"/>
          </c:marker>
          <c:dLbls>
            <c:dLbl>
              <c:idx val="4"/>
              <c:layout>
                <c:manualLayout>
                  <c:x val="-5.2789531657226781E-2"/>
                  <c:y val="-4.0017395072800485E-2"/>
                </c:manualLayout>
              </c:layout>
              <c:tx>
                <c:rich>
                  <a:bodyPr/>
                  <a:lstStyle/>
                  <a:p>
                    <a:fld id="{08CDF655-385C-43E8-A5E0-AFADC9940EA3}" type="VALUE">
                      <a:rPr lang="en-US"/>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8CD-48D0-822A-1B564D6C8C5B}"/>
                </c:ext>
              </c:extLst>
            </c:dLbl>
            <c:spPr>
              <a:noFill/>
              <a:ln>
                <a:noFill/>
              </a:ln>
              <a:effectLst/>
            </c:spPr>
            <c:txPr>
              <a:bodyPr lIns="38100" tIns="19050" rIns="38100" bIns="19050">
                <a:spAutoFit/>
              </a:bodyPr>
              <a:lstStyle/>
              <a:p>
                <a:pPr>
                  <a:defRPr sz="1050">
                    <a:solidFill>
                      <a:schemeClr val="accent3"/>
                    </a:solidFill>
                    <a:latin typeface="Arial" panose="020B0604020202020204" pitchFamily="34" charset="0"/>
                    <a:ea typeface="Apis For Office" panose="020B0504010101010104" pitchFamily="34" charset="0"/>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1999–2000</c:v>
                </c:pt>
                <c:pt idx="1">
                  <c:v>2001–2002</c:v>
                </c:pt>
                <c:pt idx="2">
                  <c:v>2003–2004</c:v>
                </c:pt>
                <c:pt idx="3">
                  <c:v>2005–2006</c:v>
                </c:pt>
                <c:pt idx="4">
                  <c:v>2007–2008</c:v>
                </c:pt>
                <c:pt idx="5">
                  <c:v>2009–2010</c:v>
                </c:pt>
                <c:pt idx="6">
                  <c:v>2011–2012</c:v>
                </c:pt>
                <c:pt idx="7">
                  <c:v>2013–2014</c:v>
                </c:pt>
                <c:pt idx="8">
                  <c:v>2015–2016</c:v>
                </c:pt>
                <c:pt idx="9">
                  <c:v>2017–2020</c:v>
                </c:pt>
                <c:pt idx="10">
                  <c:v>2021–2023</c:v>
                </c:pt>
              </c:strCache>
            </c:strRef>
          </c:cat>
          <c:val>
            <c:numRef>
              <c:f>Sheet1!$C$2:$C$11</c:f>
              <c:numCache>
                <c:formatCode>General</c:formatCode>
                <c:ptCount val="10"/>
                <c:pt idx="0">
                  <c:v>13.9</c:v>
                </c:pt>
                <c:pt idx="1">
                  <c:v>15.4</c:v>
                </c:pt>
                <c:pt idx="2">
                  <c:v>17.100000000000001</c:v>
                </c:pt>
                <c:pt idx="3">
                  <c:v>15.4</c:v>
                </c:pt>
                <c:pt idx="4">
                  <c:v>16.8</c:v>
                </c:pt>
                <c:pt idx="5">
                  <c:v>16.899999999999999</c:v>
                </c:pt>
                <c:pt idx="6">
                  <c:v>16.899999999999999</c:v>
                </c:pt>
                <c:pt idx="7">
                  <c:v>17.2</c:v>
                </c:pt>
                <c:pt idx="8">
                  <c:v>18.5</c:v>
                </c:pt>
                <c:pt idx="9">
                  <c:v>21.5</c:v>
                </c:pt>
              </c:numCache>
            </c:numRef>
          </c:val>
          <c:smooth val="0"/>
          <c:extLst>
            <c:ext xmlns:c16="http://schemas.microsoft.com/office/drawing/2014/chart" uri="{C3380CC4-5D6E-409C-BE32-E72D297353CC}">
              <c16:uniqueId val="{00000002-E8CD-48D0-822A-1B564D6C8C5B}"/>
            </c:ext>
          </c:extLst>
        </c:ser>
        <c:dLbls>
          <c:showLegendKey val="0"/>
          <c:showVal val="0"/>
          <c:showCatName val="0"/>
          <c:showSerName val="0"/>
          <c:showPercent val="0"/>
          <c:showBubbleSize val="0"/>
        </c:dLbls>
        <c:smooth val="0"/>
        <c:axId val="101722368"/>
        <c:axId val="101732352"/>
      </c:lineChart>
      <c:catAx>
        <c:axId val="101722368"/>
        <c:scaling>
          <c:orientation val="minMax"/>
        </c:scaling>
        <c:delete val="0"/>
        <c:axPos val="b"/>
        <c:numFmt formatCode="General" sourceLinked="1"/>
        <c:majorTickMark val="out"/>
        <c:minorTickMark val="none"/>
        <c:tickLblPos val="nextTo"/>
        <c:spPr>
          <a:ln w="19050">
            <a:noFill/>
            <a:miter lim="800000"/>
          </a:ln>
        </c:spPr>
        <c:txPr>
          <a:bodyPr/>
          <a:lstStyle/>
          <a:p>
            <a:pPr>
              <a:defRPr sz="900"/>
            </a:pPr>
            <a:endParaRPr lang="en-US"/>
          </a:p>
        </c:txPr>
        <c:crossAx val="101732352"/>
        <c:crosses val="autoZero"/>
        <c:auto val="1"/>
        <c:lblAlgn val="ctr"/>
        <c:lblOffset val="100"/>
        <c:noMultiLvlLbl val="0"/>
      </c:catAx>
      <c:valAx>
        <c:axId val="101732352"/>
        <c:scaling>
          <c:orientation val="minMax"/>
          <c:max val="50"/>
        </c:scaling>
        <c:delete val="0"/>
        <c:axPos val="l"/>
        <c:majorGridlines>
          <c:spPr>
            <a:ln>
              <a:solidFill>
                <a:srgbClr val="BEC0D0">
                  <a:lumMod val="60000"/>
                  <a:lumOff val="40000"/>
                </a:srgbClr>
              </a:solidFill>
            </a:ln>
          </c:spPr>
        </c:majorGridlines>
        <c:numFmt formatCode="General" sourceLinked="1"/>
        <c:majorTickMark val="out"/>
        <c:minorTickMark val="none"/>
        <c:tickLblPos val="nextTo"/>
        <c:spPr>
          <a:ln w="19050" cap="sq">
            <a:noFill/>
            <a:miter lim="800000"/>
          </a:ln>
        </c:spPr>
        <c:txPr>
          <a:bodyPr/>
          <a:lstStyle/>
          <a:p>
            <a:pPr>
              <a:defRPr sz="1050">
                <a:ea typeface="Apis For Office" panose="020B0504010101010104" pitchFamily="34" charset="0"/>
                <a:cs typeface="Apis For Office" panose="020B0504010101010104" pitchFamily="34" charset="0"/>
              </a:defRPr>
            </a:pPr>
            <a:endParaRPr lang="en-US"/>
          </a:p>
        </c:txPr>
        <c:crossAx val="101722368"/>
        <c:crosses val="autoZero"/>
        <c:crossBetween val="between"/>
        <c:majorUnit val="10"/>
      </c:valAx>
      <c:spPr>
        <a:ln w="25400"/>
      </c:spPr>
    </c:plotArea>
    <c:plotVisOnly val="1"/>
    <c:dispBlanksAs val="zero"/>
    <c:showDLblsOverMax val="0"/>
  </c:chart>
  <c:spPr>
    <a:ln>
      <a:noFill/>
    </a:ln>
  </c:spPr>
  <c:txPr>
    <a:bodyPr/>
    <a:lstStyle/>
    <a:p>
      <a:pPr>
        <a:defRPr sz="12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BBA-4F8F-8C53-CFF495CFF042}"/>
                </c:ext>
              </c:extLst>
            </c:dLbl>
            <c:dLbl>
              <c:idx val="1"/>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BBA-4F8F-8C53-CFF495CFF042}"/>
                </c:ext>
              </c:extLst>
            </c:dLbl>
            <c:dLbl>
              <c:idx val="2"/>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BBA-4F8F-8C53-CFF495CFF042}"/>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spanic</c:v>
                </c:pt>
                <c:pt idx="1">
                  <c:v>Non-Hispanic Black</c:v>
                </c:pt>
                <c:pt idx="2">
                  <c:v>Non-Hispanic White</c:v>
                </c:pt>
              </c:strCache>
            </c:strRef>
          </c:cat>
          <c:val>
            <c:numRef>
              <c:f>Sheet1!$B$2:$B$4</c:f>
              <c:numCache>
                <c:formatCode>General</c:formatCode>
                <c:ptCount val="3"/>
                <c:pt idx="0">
                  <c:v>27</c:v>
                </c:pt>
                <c:pt idx="1">
                  <c:v>23.8</c:v>
                </c:pt>
                <c:pt idx="2">
                  <c:v>18.399999999999999</c:v>
                </c:pt>
              </c:numCache>
            </c:numRef>
          </c:val>
          <c:extLst>
            <c:ext xmlns:c16="http://schemas.microsoft.com/office/drawing/2014/chart" uri="{C3380CC4-5D6E-409C-BE32-E72D297353CC}">
              <c16:uniqueId val="{00000000-2BBA-4F8F-8C53-CFF495CFF042}"/>
            </c:ext>
          </c:extLst>
        </c:ser>
        <c:dLbls>
          <c:dLblPos val="outEnd"/>
          <c:showLegendKey val="0"/>
          <c:showVal val="1"/>
          <c:showCatName val="0"/>
          <c:showSerName val="0"/>
          <c:showPercent val="0"/>
          <c:showBubbleSize val="0"/>
        </c:dLbls>
        <c:gapWidth val="90"/>
        <c:overlap val="-11"/>
        <c:axId val="730880256"/>
        <c:axId val="730881216"/>
      </c:barChart>
      <c:catAx>
        <c:axId val="730880256"/>
        <c:scaling>
          <c:orientation val="minMax"/>
        </c:scaling>
        <c:delete val="0"/>
        <c:axPos val="b"/>
        <c:numFmt formatCode="General" sourceLinked="1"/>
        <c:majorTickMark val="none"/>
        <c:minorTickMark val="none"/>
        <c:tickLblPos val="nextTo"/>
        <c:spPr>
          <a:noFill/>
          <a:ln w="9525" cap="flat" cmpd="sng" algn="ctr">
            <a:solidFill>
              <a:schemeClr val="bg2">
                <a:lumMod val="60000"/>
                <a:lumOff val="4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0881216"/>
        <c:crosses val="autoZero"/>
        <c:auto val="1"/>
        <c:lblAlgn val="ctr"/>
        <c:lblOffset val="100"/>
        <c:noMultiLvlLbl val="0"/>
      </c:catAx>
      <c:valAx>
        <c:axId val="730881216"/>
        <c:scaling>
          <c:orientation val="minMax"/>
        </c:scaling>
        <c:delete val="0"/>
        <c:axPos val="l"/>
        <c:majorGridlines>
          <c:spPr>
            <a:ln w="9525" cap="flat" cmpd="sng" algn="ctr">
              <a:solidFill>
                <a:schemeClr val="bg2">
                  <a:lumMod val="60000"/>
                  <a:lumOff val="40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0880256"/>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2-108F-4C0A-8FD8-56D341867533}"/>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1-108F-4C0A-8FD8-56D341867533}"/>
              </c:ext>
            </c:extLst>
          </c:dPt>
          <c:cat>
            <c:strRef>
              <c:f>Sheet1!$A$2:$A$3</c:f>
              <c:strCache>
                <c:ptCount val="2"/>
                <c:pt idx="0">
                  <c:v>FFM</c:v>
                </c:pt>
                <c:pt idx="1">
                  <c:v>FM</c:v>
                </c:pt>
              </c:strCache>
            </c:strRef>
          </c:cat>
          <c:val>
            <c:numRef>
              <c:f>Sheet1!$B$2:$B$3</c:f>
              <c:numCache>
                <c:formatCode>General</c:formatCode>
                <c:ptCount val="2"/>
                <c:pt idx="0">
                  <c:v>0.4</c:v>
                </c:pt>
                <c:pt idx="1">
                  <c:v>0.6</c:v>
                </c:pt>
              </c:numCache>
            </c:numRef>
          </c:val>
          <c:extLst>
            <c:ext xmlns:c16="http://schemas.microsoft.com/office/drawing/2014/chart" uri="{C3380CC4-5D6E-409C-BE32-E72D297353CC}">
              <c16:uniqueId val="{00000000-108F-4C0A-8FD8-56D34186753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1D7-4957-8198-54A2D64EF1F6}"/>
              </c:ext>
            </c:extLst>
          </c:dPt>
          <c:cat>
            <c:strRef>
              <c:f>Sheet1!$A$2</c:f>
              <c:strCache>
                <c:ptCount val="1"/>
                <c:pt idx="0">
                  <c:v>1st Qtr</c:v>
                </c:pt>
              </c:strCache>
            </c:strRef>
          </c:cat>
          <c:val>
            <c:numRef>
              <c:f>Sheet1!$B$2</c:f>
              <c:numCache>
                <c:formatCode>General</c:formatCode>
                <c:ptCount val="1"/>
                <c:pt idx="0">
                  <c:v>100</c:v>
                </c:pt>
              </c:numCache>
            </c:numRef>
          </c:val>
          <c:extLst>
            <c:ext xmlns:c16="http://schemas.microsoft.com/office/drawing/2014/chart" uri="{C3380CC4-5D6E-409C-BE32-E72D297353CC}">
              <c16:uniqueId val="{00000000-1E97-4E1E-BB57-A646BFFC3E9A}"/>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CA6-4731-B3CF-3CE6C1FB0B43}"/>
              </c:ext>
            </c:extLst>
          </c:dPt>
          <c:dPt>
            <c:idx val="1"/>
            <c:bubble3D val="0"/>
            <c:spPr>
              <a:solidFill>
                <a:schemeClr val="accent1">
                  <a:lumMod val="20000"/>
                  <a:lumOff val="80000"/>
                </a:schemeClr>
              </a:solidFill>
              <a:ln w="19050">
                <a:noFill/>
              </a:ln>
              <a:effectLst/>
            </c:spPr>
            <c:extLst>
              <c:ext xmlns:c16="http://schemas.microsoft.com/office/drawing/2014/chart" uri="{C3380CC4-5D6E-409C-BE32-E72D297353CC}">
                <c16:uniqueId val="{00000002-BCA6-4731-B3CF-3CE6C1FB0B43}"/>
              </c:ext>
            </c:extLst>
          </c:dPt>
          <c:cat>
            <c:strRef>
              <c:f>Sheet1!$A$2:$A$3</c:f>
              <c:strCache>
                <c:ptCount val="1"/>
                <c:pt idx="0">
                  <c:v>1st Qtr</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0-1E97-4E1E-BB57-A646BFFC3E9A}"/>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CA6-4731-B3CF-3CE6C1FB0B43}"/>
              </c:ext>
            </c:extLst>
          </c:dPt>
          <c:dPt>
            <c:idx val="1"/>
            <c:bubble3D val="0"/>
            <c:spPr>
              <a:solidFill>
                <a:schemeClr val="accent1">
                  <a:lumMod val="20000"/>
                  <a:lumOff val="80000"/>
                </a:schemeClr>
              </a:solidFill>
              <a:ln w="19050">
                <a:noFill/>
              </a:ln>
              <a:effectLst/>
            </c:spPr>
            <c:extLst>
              <c:ext xmlns:c16="http://schemas.microsoft.com/office/drawing/2014/chart" uri="{C3380CC4-5D6E-409C-BE32-E72D297353CC}">
                <c16:uniqueId val="{00000002-BCA6-4731-B3CF-3CE6C1FB0B43}"/>
              </c:ext>
            </c:extLst>
          </c:dPt>
          <c:cat>
            <c:strRef>
              <c:f>Sheet1!$A$2:$A$3</c:f>
              <c:strCache>
                <c:ptCount val="1"/>
                <c:pt idx="0">
                  <c:v>1st Qtr</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0-1E97-4E1E-BB57-A646BFFC3E9A}"/>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CA6-4731-B3CF-3CE6C1FB0B43}"/>
              </c:ext>
            </c:extLst>
          </c:dPt>
          <c:dPt>
            <c:idx val="1"/>
            <c:bubble3D val="0"/>
            <c:spPr>
              <a:solidFill>
                <a:schemeClr val="accent1">
                  <a:lumMod val="20000"/>
                  <a:lumOff val="80000"/>
                </a:schemeClr>
              </a:solidFill>
              <a:ln w="19050">
                <a:noFill/>
              </a:ln>
              <a:effectLst/>
            </c:spPr>
            <c:extLst>
              <c:ext xmlns:c16="http://schemas.microsoft.com/office/drawing/2014/chart" uri="{C3380CC4-5D6E-409C-BE32-E72D297353CC}">
                <c16:uniqueId val="{00000002-BCA6-4731-B3CF-3CE6C1FB0B43}"/>
              </c:ext>
            </c:extLst>
          </c:dPt>
          <c:cat>
            <c:strRef>
              <c:f>Sheet1!$A$2:$A$3</c:f>
              <c:strCache>
                <c:ptCount val="1"/>
                <c:pt idx="0">
                  <c:v>1st Qtr</c:v>
                </c:pt>
              </c:strCache>
            </c:strRef>
          </c:cat>
          <c:val>
            <c:numRef>
              <c:f>Sheet1!$B$2:$B$3</c:f>
              <c:numCache>
                <c:formatCode>General</c:formatCode>
                <c:ptCount val="2"/>
                <c:pt idx="0">
                  <c:v>1.3</c:v>
                </c:pt>
                <c:pt idx="1">
                  <c:v>80</c:v>
                </c:pt>
              </c:numCache>
            </c:numRef>
          </c:val>
          <c:extLst>
            <c:ext xmlns:c16="http://schemas.microsoft.com/office/drawing/2014/chart" uri="{C3380CC4-5D6E-409C-BE32-E72D297353CC}">
              <c16:uniqueId val="{00000000-1E97-4E1E-BB57-A646BFFC3E9A}"/>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5-11-25</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CA"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a:t>
            </a:fld>
            <a:endParaRPr lang="en-CA"/>
          </a:p>
        </p:txBody>
      </p:sp>
    </p:spTree>
    <p:extLst>
      <p:ext uri="{BB962C8B-B14F-4D97-AF65-F5344CB8AC3E}">
        <p14:creationId xmlns:p14="http://schemas.microsoft.com/office/powerpoint/2010/main" val="2376899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0</a:t>
            </a:fld>
            <a:endParaRPr lang="en-GB"/>
          </a:p>
        </p:txBody>
      </p:sp>
    </p:spTree>
    <p:extLst>
      <p:ext uri="{BB962C8B-B14F-4D97-AF65-F5344CB8AC3E}">
        <p14:creationId xmlns:p14="http://schemas.microsoft.com/office/powerpoint/2010/main" val="74876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1</a:t>
            </a:fld>
            <a:endParaRPr lang="en-CA"/>
          </a:p>
        </p:txBody>
      </p:sp>
    </p:spTree>
    <p:extLst>
      <p:ext uri="{BB962C8B-B14F-4D97-AF65-F5344CB8AC3E}">
        <p14:creationId xmlns:p14="http://schemas.microsoft.com/office/powerpoint/2010/main" val="38165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2</a:t>
            </a:fld>
            <a:endParaRPr lang="en-CA"/>
          </a:p>
        </p:txBody>
      </p:sp>
    </p:spTree>
    <p:extLst>
      <p:ext uri="{BB962C8B-B14F-4D97-AF65-F5344CB8AC3E}">
        <p14:creationId xmlns:p14="http://schemas.microsoft.com/office/powerpoint/2010/main" val="2028098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3</a:t>
            </a:fld>
            <a:endParaRPr lang="en-CA"/>
          </a:p>
        </p:txBody>
      </p:sp>
    </p:spTree>
    <p:extLst>
      <p:ext uri="{BB962C8B-B14F-4D97-AF65-F5344CB8AC3E}">
        <p14:creationId xmlns:p14="http://schemas.microsoft.com/office/powerpoint/2010/main" val="23486884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fld id="{F55C3A4A-438B-4C02-AD11-AE32F1D429DA}" type="slidenum">
              <a:rPr lang="en-CA" smtClean="0"/>
              <a:pPr/>
              <a:t>14</a:t>
            </a:fld>
            <a:endParaRPr lang="en-CA"/>
          </a:p>
        </p:txBody>
      </p:sp>
    </p:spTree>
    <p:extLst>
      <p:ext uri="{BB962C8B-B14F-4D97-AF65-F5344CB8AC3E}">
        <p14:creationId xmlns:p14="http://schemas.microsoft.com/office/powerpoint/2010/main" val="596559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5</a:t>
            </a:fld>
            <a:endParaRPr lang="en-CA"/>
          </a:p>
        </p:txBody>
      </p:sp>
    </p:spTree>
    <p:extLst>
      <p:ext uri="{BB962C8B-B14F-4D97-AF65-F5344CB8AC3E}">
        <p14:creationId xmlns:p14="http://schemas.microsoft.com/office/powerpoint/2010/main" val="13588243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6</a:t>
            </a:fld>
            <a:endParaRPr lang="en-CA"/>
          </a:p>
        </p:txBody>
      </p:sp>
    </p:spTree>
    <p:extLst>
      <p:ext uri="{BB962C8B-B14F-4D97-AF65-F5344CB8AC3E}">
        <p14:creationId xmlns:p14="http://schemas.microsoft.com/office/powerpoint/2010/main" val="20043183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17</a:t>
            </a:fld>
            <a:endParaRPr lang="en-CA"/>
          </a:p>
        </p:txBody>
      </p:sp>
    </p:spTree>
    <p:extLst>
      <p:ext uri="{BB962C8B-B14F-4D97-AF65-F5344CB8AC3E}">
        <p14:creationId xmlns:p14="http://schemas.microsoft.com/office/powerpoint/2010/main" val="39715891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C78DB-B37C-616C-2D60-EA0CBA6562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362247-3224-1CF5-FB1B-081E2EAF2B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4ED1EE-E3B9-2891-19D5-3E70CE29E30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AEB6195-41ED-BA3C-E3BF-6E0D5E76AF0D}"/>
              </a:ext>
            </a:extLst>
          </p:cNvPr>
          <p:cNvSpPr>
            <a:spLocks noGrp="1"/>
          </p:cNvSpPr>
          <p:nvPr>
            <p:ph type="sldNum" sz="quarter" idx="5"/>
          </p:nvPr>
        </p:nvSpPr>
        <p:spPr/>
        <p:txBody>
          <a:bodyPr/>
          <a:lstStyle/>
          <a:p>
            <a:fld id="{F55C3A4A-438B-4C02-AD11-AE32F1D429DA}" type="slidenum">
              <a:rPr lang="en-CA" smtClean="0"/>
              <a:pPr/>
              <a:t>18</a:t>
            </a:fld>
            <a:endParaRPr lang="en-CA"/>
          </a:p>
        </p:txBody>
      </p:sp>
    </p:spTree>
    <p:extLst>
      <p:ext uri="{BB962C8B-B14F-4D97-AF65-F5344CB8AC3E}">
        <p14:creationId xmlns:p14="http://schemas.microsoft.com/office/powerpoint/2010/main" val="18758762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A4BAF-76EC-173D-0420-F9B333CF33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88E905-18E5-EDEB-6F09-FF0E9E5C60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802703-03E0-A5F0-0CF2-4281FDBF62D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F1F0A37-1AA0-7FAF-9610-6CDCA6C783C9}"/>
              </a:ext>
            </a:extLst>
          </p:cNvPr>
          <p:cNvSpPr>
            <a:spLocks noGrp="1"/>
          </p:cNvSpPr>
          <p:nvPr>
            <p:ph type="sldNum" sz="quarter" idx="5"/>
          </p:nvPr>
        </p:nvSpPr>
        <p:spPr/>
        <p:txBody>
          <a:bodyPr/>
          <a:lstStyle/>
          <a:p>
            <a:fld id="{F55C3A4A-438B-4C02-AD11-AE32F1D429DA}" type="slidenum">
              <a:rPr lang="en-CA" smtClean="0"/>
              <a:pPr/>
              <a:t>19</a:t>
            </a:fld>
            <a:endParaRPr lang="en-CA"/>
          </a:p>
        </p:txBody>
      </p:sp>
    </p:spTree>
    <p:extLst>
      <p:ext uri="{BB962C8B-B14F-4D97-AF65-F5344CB8AC3E}">
        <p14:creationId xmlns:p14="http://schemas.microsoft.com/office/powerpoint/2010/main" val="2537515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2</a:t>
            </a:fld>
            <a:endParaRPr lang="en-CA"/>
          </a:p>
        </p:txBody>
      </p:sp>
    </p:spTree>
    <p:extLst>
      <p:ext uri="{BB962C8B-B14F-4D97-AF65-F5344CB8AC3E}">
        <p14:creationId xmlns:p14="http://schemas.microsoft.com/office/powerpoint/2010/main" val="1820491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776B83-31D8-95D7-292E-B918F950A1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A1AEA1-6F59-A357-4C20-80B5A64F16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B7E656-F4C6-3DFC-CC2B-67C2FBD0EEC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2A8CBCA-5910-3A3D-44F5-F1084B799083}"/>
              </a:ext>
            </a:extLst>
          </p:cNvPr>
          <p:cNvSpPr>
            <a:spLocks noGrp="1"/>
          </p:cNvSpPr>
          <p:nvPr>
            <p:ph type="sldNum" sz="quarter" idx="5"/>
          </p:nvPr>
        </p:nvSpPr>
        <p:spPr/>
        <p:txBody>
          <a:bodyPr/>
          <a:lstStyle/>
          <a:p>
            <a:fld id="{F55C3A4A-438B-4C02-AD11-AE32F1D429DA}" type="slidenum">
              <a:rPr lang="en-CA" smtClean="0"/>
              <a:pPr/>
              <a:t>20</a:t>
            </a:fld>
            <a:endParaRPr lang="en-CA"/>
          </a:p>
        </p:txBody>
      </p:sp>
    </p:spTree>
    <p:extLst>
      <p:ext uri="{BB962C8B-B14F-4D97-AF65-F5344CB8AC3E}">
        <p14:creationId xmlns:p14="http://schemas.microsoft.com/office/powerpoint/2010/main" val="5558776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a:t>Narration</a:t>
            </a:r>
          </a:p>
          <a:p>
            <a:pPr marL="0" indent="0">
              <a:buNone/>
            </a:pPr>
            <a:r>
              <a:rPr lang="en-US"/>
              <a:t>In addition to exercise and a reduced calorie meal plan, counseling must be emphasized. However, most patients may not adhere to/achieve the prescribed outcomes; therefore, lifestyle interventions often fail, and biology takes over (i.e., genetic predisposition to retain fat mass). Anti-obesity medications will facilitate weight-loss and surgical options exist for those patients who are candidates</a:t>
            </a:r>
          </a:p>
        </p:txBody>
      </p:sp>
      <p:sp>
        <p:nvSpPr>
          <p:cNvPr id="4" name="Slide Number Placeholder 3"/>
          <p:cNvSpPr>
            <a:spLocks noGrp="1"/>
          </p:cNvSpPr>
          <p:nvPr>
            <p:ph type="sldNum" sz="quarter" idx="5"/>
          </p:nvPr>
        </p:nvSpPr>
        <p:spPr/>
        <p:txBody>
          <a:bodyPr/>
          <a:lstStyle/>
          <a:p>
            <a:fld id="{F55C3A4A-438B-4C02-AD11-AE32F1D429DA}" type="slidenum">
              <a:rPr lang="en-CA" smtClean="0"/>
              <a:pPr/>
              <a:t>21</a:t>
            </a:fld>
            <a:endParaRPr lang="en-CA" dirty="0"/>
          </a:p>
        </p:txBody>
      </p:sp>
    </p:spTree>
    <p:extLst>
      <p:ext uri="{BB962C8B-B14F-4D97-AF65-F5344CB8AC3E}">
        <p14:creationId xmlns:p14="http://schemas.microsoft.com/office/powerpoint/2010/main" val="26221322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a:extLst>
              <a:ext uri="{FF2B5EF4-FFF2-40B4-BE49-F238E27FC236}">
                <a16:creationId xmlns:a16="http://schemas.microsoft.com/office/drawing/2014/main" id="{64FC1F7D-1D88-495A-82C2-4DF0031D336C}"/>
              </a:ext>
            </a:extLst>
          </p:cNvPr>
          <p:cNvSpPr>
            <a:spLocks noGrp="1" noRot="1" noChangeAspect="1"/>
          </p:cNvSpPr>
          <p:nvPr>
            <p:ph type="sldImg"/>
          </p:nvPr>
        </p:nvSpPr>
        <p:spPr>
          <a:xfrm>
            <a:off x="615950" y="893763"/>
            <a:ext cx="5624513" cy="3165475"/>
          </a:xfrm>
        </p:spPr>
      </p:sp>
      <p:sp>
        <p:nvSpPr>
          <p:cNvPr id="3" name="Notes Placeholder 2"/>
          <p:cNvSpPr>
            <a:spLocks noGrp="1"/>
          </p:cNvSpPr>
          <p:nvPr>
            <p:ph type="body" idx="1"/>
          </p:nvPr>
        </p:nvSpPr>
        <p:spPr/>
        <p:txBody>
          <a:bodyPr/>
          <a:lstStyle/>
          <a:p>
            <a:endParaRPr lang="en-US" dirty="0"/>
          </a:p>
        </p:txBody>
      </p:sp>
      <p:sp>
        <p:nvSpPr>
          <p:cNvPr id="5" name="Slide Number Placeholder 3">
            <a:extLst>
              <a:ext uri="{FF2B5EF4-FFF2-40B4-BE49-F238E27FC236}">
                <a16:creationId xmlns:a16="http://schemas.microsoft.com/office/drawing/2014/main" id="{2606A2A4-C385-65A2-6720-16A9A707B651}"/>
              </a:ext>
            </a:extLst>
          </p:cNvPr>
          <p:cNvSpPr>
            <a:spLocks noGrp="1"/>
          </p:cNvSpPr>
          <p:nvPr>
            <p:ph type="sldNum" sz="quarter" idx="5"/>
          </p:nvPr>
        </p:nvSpPr>
        <p:spPr>
          <a:xfrm>
            <a:off x="3884613" y="8685213"/>
            <a:ext cx="2971800" cy="458787"/>
          </a:xfrm>
        </p:spPr>
        <p:txBody>
          <a:bodyPr/>
          <a:lstStyle/>
          <a:p>
            <a:fld id="{F55C3A4A-438B-4C02-AD11-AE32F1D429DA}" type="slidenum">
              <a:rPr lang="en-CA" smtClean="0"/>
              <a:pPr/>
              <a:t>22</a:t>
            </a:fld>
            <a:endParaRPr lang="en-CA" dirty="0"/>
          </a:p>
        </p:txBody>
      </p:sp>
    </p:spTree>
    <p:extLst>
      <p:ext uri="{BB962C8B-B14F-4D97-AF65-F5344CB8AC3E}">
        <p14:creationId xmlns:p14="http://schemas.microsoft.com/office/powerpoint/2010/main" val="2308099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3</a:t>
            </a:fld>
            <a:endParaRPr lang="en-CA"/>
          </a:p>
        </p:txBody>
      </p:sp>
    </p:spTree>
    <p:extLst>
      <p:ext uri="{BB962C8B-B14F-4D97-AF65-F5344CB8AC3E}">
        <p14:creationId xmlns:p14="http://schemas.microsoft.com/office/powerpoint/2010/main" val="4004383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Answer key:</a:t>
            </a:r>
          </a:p>
          <a:p>
            <a:pPr marL="228600" indent="-228600">
              <a:buAutoNum type="arabicPeriod"/>
            </a:pPr>
            <a:r>
              <a:rPr lang="en-US" b="1" dirty="0">
                <a:highlight>
                  <a:srgbClr val="FFFF00"/>
                </a:highlight>
              </a:rPr>
              <a:t>b</a:t>
            </a:r>
            <a:r>
              <a:rPr lang="en-US" dirty="0"/>
              <a:t> (slide 4; obesity is a disease involving a disordered energy homeostasis system. The other choices could be factors in obesity, but lack generality or specificity with regards to the </a:t>
            </a:r>
            <a:r>
              <a:rPr lang="en-US" sz="1200" dirty="0">
                <a:effectLst/>
                <a:latin typeface="Arial" panose="020B0604020202020204" pitchFamily="34" charset="0"/>
                <a:ea typeface="Calibri" panose="020F0502020204030204" pitchFamily="34" charset="0"/>
                <a:cs typeface="Arial" panose="020B0604020202020204" pitchFamily="34" charset="0"/>
              </a:rPr>
              <a:t>Endocrine Society Pathogenesis Statement</a:t>
            </a:r>
            <a:r>
              <a:rPr lang="en-US" dirty="0"/>
              <a:t>)</a:t>
            </a:r>
          </a:p>
          <a:p>
            <a:pPr marL="228600" indent="-228600">
              <a:buAutoNum type="arabicPeriod"/>
            </a:pPr>
            <a:r>
              <a:rPr lang="en-US" b="1" dirty="0">
                <a:highlight>
                  <a:srgbClr val="FFFF00"/>
                </a:highlight>
              </a:rPr>
              <a:t>b</a:t>
            </a:r>
            <a:r>
              <a:rPr lang="en-US" b="1" dirty="0"/>
              <a:t> </a:t>
            </a:r>
            <a:r>
              <a:rPr lang="en-US" dirty="0"/>
              <a:t>(slide 21; as Lois does not have a significant comorbidity, her BMI of 28 kg/m</a:t>
            </a:r>
            <a:r>
              <a:rPr lang="en-US" baseline="30000" dirty="0"/>
              <a:t>2</a:t>
            </a:r>
            <a:r>
              <a:rPr lang="en-US" baseline="0" dirty="0"/>
              <a:t> means that she is below the guideline recommended threshold for </a:t>
            </a:r>
            <a:r>
              <a:rPr lang="en-US" dirty="0"/>
              <a:t>of 30 kg/m</a:t>
            </a:r>
            <a:r>
              <a:rPr lang="en-US" baseline="30000" dirty="0"/>
              <a:t>2 </a:t>
            </a:r>
            <a:r>
              <a:rPr lang="en-US" baseline="0" dirty="0"/>
              <a:t>for an</a:t>
            </a:r>
            <a:r>
              <a:rPr lang="en-US" baseline="30000" dirty="0"/>
              <a:t> </a:t>
            </a:r>
            <a:r>
              <a:rPr lang="en-US" baseline="0" dirty="0"/>
              <a:t>AOM</a:t>
            </a:r>
            <a:r>
              <a:rPr lang="en-US" dirty="0"/>
              <a:t>)</a:t>
            </a:r>
          </a:p>
          <a:p>
            <a:pPr marL="228600" indent="-228600">
              <a:buAutoNum type="arabicPeriod"/>
            </a:pPr>
            <a:r>
              <a:rPr lang="en-US" b="1" dirty="0">
                <a:highlight>
                  <a:srgbClr val="FFFF00"/>
                </a:highlight>
              </a:rPr>
              <a:t>d</a:t>
            </a:r>
            <a:r>
              <a:rPr lang="en-US" dirty="0"/>
              <a:t> (slide 5; BMI is more accurate when considering populations. All other choices are false statements where the opposite is true)</a:t>
            </a:r>
          </a:p>
        </p:txBody>
      </p:sp>
      <p:sp>
        <p:nvSpPr>
          <p:cNvPr id="4" name="Slide Number Placeholder 3"/>
          <p:cNvSpPr>
            <a:spLocks noGrp="1"/>
          </p:cNvSpPr>
          <p:nvPr>
            <p:ph type="sldNum" sz="quarter" idx="5"/>
          </p:nvPr>
        </p:nvSpPr>
        <p:spPr/>
        <p:txBody>
          <a:bodyPr/>
          <a:lstStyle/>
          <a:p>
            <a:fld id="{F55C3A4A-438B-4C02-AD11-AE32F1D429DA}" type="slidenum">
              <a:rPr lang="en-CA" smtClean="0"/>
              <a:pPr/>
              <a:t>24</a:t>
            </a:fld>
            <a:endParaRPr lang="en-CA"/>
          </a:p>
        </p:txBody>
      </p:sp>
    </p:spTree>
    <p:extLst>
      <p:ext uri="{BB962C8B-B14F-4D97-AF65-F5344CB8AC3E}">
        <p14:creationId xmlns:p14="http://schemas.microsoft.com/office/powerpoint/2010/main" val="3879282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3</a:t>
            </a:fld>
            <a:endParaRPr lang="en-CA"/>
          </a:p>
        </p:txBody>
      </p:sp>
    </p:spTree>
    <p:extLst>
      <p:ext uri="{BB962C8B-B14F-4D97-AF65-F5344CB8AC3E}">
        <p14:creationId xmlns:p14="http://schemas.microsoft.com/office/powerpoint/2010/main" val="1963365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4</a:t>
            </a:fld>
            <a:endParaRPr lang="en-CA"/>
          </a:p>
        </p:txBody>
      </p:sp>
    </p:spTree>
    <p:extLst>
      <p:ext uri="{BB962C8B-B14F-4D97-AF65-F5344CB8AC3E}">
        <p14:creationId xmlns:p14="http://schemas.microsoft.com/office/powerpoint/2010/main" val="1797514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D6305-4679-92F4-4583-98CA521A3D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04500F-ECD2-141D-2F62-663B2BA2BC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0C4301-AC56-9D30-5ECC-3F3BE4A3170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a:extLst>
              <a:ext uri="{FF2B5EF4-FFF2-40B4-BE49-F238E27FC236}">
                <a16:creationId xmlns:a16="http://schemas.microsoft.com/office/drawing/2014/main" id="{E82B4D50-1339-BA9F-377D-AD1C7B7C9A83}"/>
              </a:ext>
            </a:extLst>
          </p:cNvPr>
          <p:cNvSpPr>
            <a:spLocks noGrp="1"/>
          </p:cNvSpPr>
          <p:nvPr>
            <p:ph type="sldNum" sz="quarter" idx="5"/>
          </p:nvPr>
        </p:nvSpPr>
        <p:spPr/>
        <p:txBody>
          <a:bodyPr/>
          <a:lstStyle/>
          <a:p>
            <a:fld id="{F55C3A4A-438B-4C02-AD11-AE32F1D429DA}" type="slidenum">
              <a:rPr lang="en-CA" smtClean="0"/>
              <a:pPr/>
              <a:t>5</a:t>
            </a:fld>
            <a:endParaRPr lang="en-CA"/>
          </a:p>
        </p:txBody>
      </p:sp>
    </p:spTree>
    <p:extLst>
      <p:ext uri="{BB962C8B-B14F-4D97-AF65-F5344CB8AC3E}">
        <p14:creationId xmlns:p14="http://schemas.microsoft.com/office/powerpoint/2010/main" val="912182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718E4-B928-5A3C-320C-A1CE70F354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032FC-2296-10D9-7061-FEEA76A01F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D86437-42D1-B52A-D484-4A5BEFDBBA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89A0163-2EEB-E957-9B1A-649A7A7E1324}"/>
              </a:ext>
            </a:extLst>
          </p:cNvPr>
          <p:cNvSpPr>
            <a:spLocks noGrp="1"/>
          </p:cNvSpPr>
          <p:nvPr>
            <p:ph type="sldNum" sz="quarter" idx="5"/>
          </p:nvPr>
        </p:nvSpPr>
        <p:spPr/>
        <p:txBody>
          <a:bodyPr/>
          <a:lstStyle/>
          <a:p>
            <a:fld id="{F55C3A4A-438B-4C02-AD11-AE32F1D429DA}" type="slidenum">
              <a:rPr lang="en-CA" smtClean="0"/>
              <a:pPr/>
              <a:t>6</a:t>
            </a:fld>
            <a:endParaRPr lang="en-CA"/>
          </a:p>
        </p:txBody>
      </p:sp>
    </p:spTree>
    <p:extLst>
      <p:ext uri="{BB962C8B-B14F-4D97-AF65-F5344CB8AC3E}">
        <p14:creationId xmlns:p14="http://schemas.microsoft.com/office/powerpoint/2010/main" val="9604397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15D10-D6E9-AF4C-A24B-D24747D759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CD9216-1EC4-8E67-A8BC-A10752AFD2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B54954-E1D2-29A7-0607-ACE445528B64}"/>
              </a:ext>
            </a:extLst>
          </p:cNvPr>
          <p:cNvSpPr>
            <a:spLocks noGrp="1"/>
          </p:cNvSpPr>
          <p:nvPr>
            <p:ph type="body" idx="1"/>
          </p:nvPr>
        </p:nvSpPr>
        <p:spPr/>
        <p:txBody>
          <a:bodyPr/>
          <a:lstStyle/>
          <a:p>
            <a:pPr marL="182029" marR="0" lvl="1" indent="-182029" algn="l" defTabSz="1219139" rtl="0" eaLnBrk="1" fontAlgn="auto" latinLnBrk="0" hangingPunct="1">
              <a:lnSpc>
                <a:spcPct val="100000"/>
              </a:lnSpc>
              <a:spcBef>
                <a:spcPct val="0"/>
              </a:spcBef>
              <a:spcAft>
                <a:spcPts val="800"/>
              </a:spcAft>
              <a:buClr>
                <a:srgbClr val="001965"/>
              </a:buClr>
              <a:buSzPct val="100000"/>
              <a:buFont typeface="Arial" panose="020B0604020202020204" pitchFamily="34" charset="0"/>
              <a:buChar char="•"/>
              <a:tabLst/>
              <a:defRPr/>
            </a:pPr>
            <a:endParaRPr kumimoji="0" lang="en-US" sz="1600" b="0" i="0" u="none" strike="noStrike" kern="1200" cap="none" spc="0" normalizeH="0" noProof="0">
              <a:ln>
                <a:noFill/>
              </a:ln>
              <a:solidFill>
                <a:schemeClr val="tx1"/>
              </a:solidFill>
              <a:effectLst/>
              <a:uLnTx/>
              <a:uFillTx/>
              <a:latin typeface="Arial" panose="020B0604020202020204" pitchFamily="34" charset="0"/>
              <a:ea typeface="Apis For Office" panose="020B0504010101010104" pitchFamily="34" charset="0"/>
              <a:cs typeface="Arial" panose="020B0604020202020204" pitchFamily="34" charset="0"/>
            </a:endParaRPr>
          </a:p>
          <a:p>
            <a:endParaRPr lang="en-US"/>
          </a:p>
        </p:txBody>
      </p:sp>
      <p:sp>
        <p:nvSpPr>
          <p:cNvPr id="4" name="Slide Number Placeholder 3">
            <a:extLst>
              <a:ext uri="{FF2B5EF4-FFF2-40B4-BE49-F238E27FC236}">
                <a16:creationId xmlns:a16="http://schemas.microsoft.com/office/drawing/2014/main" id="{461ABE97-164C-9852-E88A-377BC70540CA}"/>
              </a:ext>
            </a:extLst>
          </p:cNvPr>
          <p:cNvSpPr>
            <a:spLocks noGrp="1"/>
          </p:cNvSpPr>
          <p:nvPr>
            <p:ph type="sldNum" sz="quarter" idx="5"/>
          </p:nvPr>
        </p:nvSpPr>
        <p:spPr/>
        <p:txBody>
          <a:bodyPr/>
          <a:lstStyle/>
          <a:p>
            <a:fld id="{F55C3A4A-438B-4C02-AD11-AE32F1D429DA}" type="slidenum">
              <a:rPr lang="en-CA" smtClean="0"/>
              <a:pPr/>
              <a:t>7</a:t>
            </a:fld>
            <a:endParaRPr lang="en-CA"/>
          </a:p>
        </p:txBody>
      </p:sp>
    </p:spTree>
    <p:extLst>
      <p:ext uri="{BB962C8B-B14F-4D97-AF65-F5344CB8AC3E}">
        <p14:creationId xmlns:p14="http://schemas.microsoft.com/office/powerpoint/2010/main" val="2618176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8</a:t>
            </a:fld>
            <a:endParaRPr lang="en-CA"/>
          </a:p>
        </p:txBody>
      </p:sp>
    </p:spTree>
    <p:extLst>
      <p:ext uri="{BB962C8B-B14F-4D97-AF65-F5344CB8AC3E}">
        <p14:creationId xmlns:p14="http://schemas.microsoft.com/office/powerpoint/2010/main" val="8720658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9</a:t>
            </a:fld>
            <a:endParaRPr lang="en-CA"/>
          </a:p>
        </p:txBody>
      </p:sp>
    </p:spTree>
    <p:extLst>
      <p:ext uri="{BB962C8B-B14F-4D97-AF65-F5344CB8AC3E}">
        <p14:creationId xmlns:p14="http://schemas.microsoft.com/office/powerpoint/2010/main" val="17105333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1"/>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a:t>Click to edit Master text styles</a:t>
            </a:r>
          </a:p>
        </p:txBody>
      </p:sp>
      <p:pic>
        <p:nvPicPr>
          <p:cNvPr id="9" name="Graphic 8">
            <a:extLst>
              <a:ext uri="{FF2B5EF4-FFF2-40B4-BE49-F238E27FC236}">
                <a16:creationId xmlns:a16="http://schemas.microsoft.com/office/drawing/2014/main" id="{A2AF1CFD-AE02-0374-C256-8623AFEB8A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7374957">
            <a:off x="-1855487" y="-510205"/>
            <a:ext cx="6781800" cy="6045791"/>
          </a:xfrm>
          <a:prstGeom prst="rect">
            <a:avLst/>
          </a:prstGeom>
        </p:spPr>
      </p:pic>
      <p:pic>
        <p:nvPicPr>
          <p:cNvPr id="6" name="Graphic 5">
            <a:extLst>
              <a:ext uri="{FF2B5EF4-FFF2-40B4-BE49-F238E27FC236}">
                <a16:creationId xmlns:a16="http://schemas.microsoft.com/office/drawing/2014/main" id="{1AF858F4-2E2F-687C-3100-E80E896948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8180768">
            <a:off x="6907079" y="2072980"/>
            <a:ext cx="6781800" cy="6045791"/>
          </a:xfrm>
          <a:prstGeom prst="rect">
            <a:avLst/>
          </a:prstGeom>
        </p:spPr>
      </p:pic>
      <p:pic>
        <p:nvPicPr>
          <p:cNvPr id="7" name="Picture 6" descr="A black and white sign&#10;&#10;Description automatically generated with low confidence">
            <a:extLst>
              <a:ext uri="{FF2B5EF4-FFF2-40B4-BE49-F238E27FC236}">
                <a16:creationId xmlns:a16="http://schemas.microsoft.com/office/drawing/2014/main" id="{E4638E65-9D5F-C9AB-B915-13A728C40B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112581360"/>
      </p:ext>
    </p:extLst>
  </p:cSld>
  <p:clrMapOvr>
    <a:masterClrMapping/>
  </p:clrMapOvr>
  <p:extLst>
    <p:ext uri="{DCECCB84-F9BA-43D5-87BE-67443E8EF086}">
      <p15:sldGuideLst xmlns:p15="http://schemas.microsoft.com/office/powerpoint/2012/main">
        <p15:guide id="1" pos="3840">
          <p15:clr>
            <a:srgbClr val="FBAE40"/>
          </p15:clr>
        </p15:guide>
        <p15:guide id="4" pos="74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3" name="Text Placeholder 4">
            <a:extLst>
              <a:ext uri="{FF2B5EF4-FFF2-40B4-BE49-F238E27FC236}">
                <a16:creationId xmlns:a16="http://schemas.microsoft.com/office/drawing/2014/main" id="{1F551345-FF83-E4FA-DE22-CD97F31ECA69}"/>
              </a:ext>
            </a:extLst>
          </p:cNvPr>
          <p:cNvSpPr>
            <a:spLocks noGrp="1"/>
          </p:cNvSpPr>
          <p:nvPr>
            <p:ph type="body" sz="quarter" idx="13" hasCustomPrompt="1"/>
          </p:nvPr>
        </p:nvSpPr>
        <p:spPr>
          <a:xfrm>
            <a:off x="536240" y="6013923"/>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5" name="Text Placeholder 4">
            <a:extLst>
              <a:ext uri="{FF2B5EF4-FFF2-40B4-BE49-F238E27FC236}">
                <a16:creationId xmlns:a16="http://schemas.microsoft.com/office/drawing/2014/main" id="{357EF66D-6895-F9D0-22EB-D34C38101672}"/>
              </a:ext>
            </a:extLst>
          </p:cNvPr>
          <p:cNvSpPr>
            <a:spLocks noGrp="1"/>
          </p:cNvSpPr>
          <p:nvPr>
            <p:ph type="body" sz="quarter" idx="14"/>
          </p:nvPr>
        </p:nvSpPr>
        <p:spPr>
          <a:xfrm>
            <a:off x="536240" y="1661160"/>
            <a:ext cx="10896000" cy="4315160"/>
          </a:xfrm>
        </p:spPr>
        <p:txBody>
          <a:bodyPr/>
          <a:lstStyle/>
          <a:p>
            <a:pPr lvl="0"/>
            <a:r>
              <a:rPr lang="en-US"/>
              <a:t>Click to edit Master text styles</a:t>
            </a:r>
          </a:p>
          <a:p>
            <a:pPr lvl="1"/>
            <a:r>
              <a:rPr lang="en-US"/>
              <a:t>Second level</a:t>
            </a:r>
          </a:p>
          <a:p>
            <a:pPr lvl="2"/>
            <a:r>
              <a:rPr lang="en-US"/>
              <a:t>Third level</a:t>
            </a:r>
          </a:p>
        </p:txBody>
      </p:sp>
      <p:sp>
        <p:nvSpPr>
          <p:cNvPr id="4" name="Text Placeholder 4">
            <a:extLst>
              <a:ext uri="{FF2B5EF4-FFF2-40B4-BE49-F238E27FC236}">
                <a16:creationId xmlns:a16="http://schemas.microsoft.com/office/drawing/2014/main" id="{206A3354-F233-82A7-B5A0-CCA0DC2F7910}"/>
              </a:ext>
            </a:extLst>
          </p:cNvPr>
          <p:cNvSpPr>
            <a:spLocks noGrp="1"/>
          </p:cNvSpPr>
          <p:nvPr>
            <p:ph type="body" sz="quarter" idx="15" hasCustomPrompt="1"/>
          </p:nvPr>
        </p:nvSpPr>
        <p:spPr>
          <a:xfrm>
            <a:off x="536240" y="6013923"/>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24504470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6" name="Rectangle: Rounded Corners 5">
            <a:extLst>
              <a:ext uri="{FF2B5EF4-FFF2-40B4-BE49-F238E27FC236}">
                <a16:creationId xmlns:a16="http://schemas.microsoft.com/office/drawing/2014/main" id="{CCB7F0B8-E1D0-8D89-333A-D66AEA0D32A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a:p>
        </p:txBody>
      </p:sp>
      <p:sp>
        <p:nvSpPr>
          <p:cNvPr id="11" name="Rectangle: Rounded Corners 10">
            <a:extLst>
              <a:ext uri="{FF2B5EF4-FFF2-40B4-BE49-F238E27FC236}">
                <a16:creationId xmlns:a16="http://schemas.microsoft.com/office/drawing/2014/main" id="{A3E11DCD-D98E-05A4-A8B7-A18B0076C9B5}"/>
              </a:ext>
            </a:extLst>
          </p:cNvPr>
          <p:cNvSpPr/>
          <p:nvPr userDrawn="1"/>
        </p:nvSpPr>
        <p:spPr>
          <a:xfrm>
            <a:off x="9964910" y="102833"/>
            <a:ext cx="1583324"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a:solidFill>
                  <a:schemeClr val="tx1"/>
                </a:solidFill>
              </a:rPr>
              <a:t>Introduction</a:t>
            </a: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5" name="Rectangle: Rounded Corners 4">
            <a:extLst>
              <a:ext uri="{FF2B5EF4-FFF2-40B4-BE49-F238E27FC236}">
                <a16:creationId xmlns:a16="http://schemas.microsoft.com/office/drawing/2014/main" id="{82D2E72D-4B93-BF4C-AE61-028BDC0D33B4}"/>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a:p>
        </p:txBody>
      </p:sp>
      <p:sp>
        <p:nvSpPr>
          <p:cNvPr id="10" name="Rectangle: Rounded Corners 9">
            <a:extLst>
              <a:ext uri="{FF2B5EF4-FFF2-40B4-BE49-F238E27FC236}">
                <a16:creationId xmlns:a16="http://schemas.microsoft.com/office/drawing/2014/main" id="{A14D4DAC-8196-EB2D-590D-F3445B619C43}"/>
              </a:ext>
            </a:extLst>
          </p:cNvPr>
          <p:cNvSpPr/>
          <p:nvPr userDrawn="1"/>
        </p:nvSpPr>
        <p:spPr>
          <a:xfrm>
            <a:off x="9964910" y="102833"/>
            <a:ext cx="1583324"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a:t>Introduction</a:t>
            </a:r>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Sli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389890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3154209" cy="5562000"/>
          </a:xfrm>
        </p:spPr>
        <p:txBody>
          <a:bodyPr anchor="ctr"/>
          <a:lstStyle>
            <a:lvl1pPr>
              <a:defRPr>
                <a:solidFill>
                  <a:schemeClr val="bg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006851" y="414320"/>
            <a:ext cx="742539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4006851" y="6401983"/>
            <a:ext cx="742539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5" name="Rectangle: Rounded Corners 4">
            <a:extLst>
              <a:ext uri="{FF2B5EF4-FFF2-40B4-BE49-F238E27FC236}">
                <a16:creationId xmlns:a16="http://schemas.microsoft.com/office/drawing/2014/main" id="{82D2E72D-4B93-BF4C-AE61-028BDC0D33B4}"/>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a:p>
        </p:txBody>
      </p:sp>
      <p:sp>
        <p:nvSpPr>
          <p:cNvPr id="10" name="Rectangle: Rounded Corners 9">
            <a:extLst>
              <a:ext uri="{FF2B5EF4-FFF2-40B4-BE49-F238E27FC236}">
                <a16:creationId xmlns:a16="http://schemas.microsoft.com/office/drawing/2014/main" id="{A14D4DAC-8196-EB2D-590D-F3445B619C43}"/>
              </a:ext>
            </a:extLst>
          </p:cNvPr>
          <p:cNvSpPr/>
          <p:nvPr userDrawn="1"/>
        </p:nvSpPr>
        <p:spPr>
          <a:xfrm>
            <a:off x="9964910" y="102833"/>
            <a:ext cx="1583324"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a:t>Introduction</a:t>
            </a:r>
          </a:p>
        </p:txBody>
      </p:sp>
    </p:spTree>
    <p:extLst>
      <p:ext uri="{BB962C8B-B14F-4D97-AF65-F5344CB8AC3E}">
        <p14:creationId xmlns:p14="http://schemas.microsoft.com/office/powerpoint/2010/main" val="118446805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5984982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8.xml"/><Relationship Id="rId21" Type="http://schemas.openxmlformats.org/officeDocument/2006/relationships/tags" Target="../tags/tag13.xml"/><Relationship Id="rId42" Type="http://schemas.openxmlformats.org/officeDocument/2006/relationships/tags" Target="../tags/tag34.xml"/><Relationship Id="rId47" Type="http://schemas.openxmlformats.org/officeDocument/2006/relationships/tags" Target="../tags/tag39.xml"/><Relationship Id="rId63" Type="http://schemas.openxmlformats.org/officeDocument/2006/relationships/tags" Target="../tags/tag55.xml"/><Relationship Id="rId68" Type="http://schemas.openxmlformats.org/officeDocument/2006/relationships/tags" Target="../tags/tag60.xml"/><Relationship Id="rId84" Type="http://schemas.openxmlformats.org/officeDocument/2006/relationships/tags" Target="../tags/tag76.xml"/><Relationship Id="rId89" Type="http://schemas.openxmlformats.org/officeDocument/2006/relationships/tags" Target="../tags/tag81.xml"/><Relationship Id="rId16" Type="http://schemas.openxmlformats.org/officeDocument/2006/relationships/tags" Target="../tags/tag8.xml"/><Relationship Id="rId11" Type="http://schemas.openxmlformats.org/officeDocument/2006/relationships/tags" Target="../tags/tag3.xml"/><Relationship Id="rId32" Type="http://schemas.openxmlformats.org/officeDocument/2006/relationships/tags" Target="../tags/tag24.xml"/><Relationship Id="rId37" Type="http://schemas.openxmlformats.org/officeDocument/2006/relationships/tags" Target="../tags/tag29.xml"/><Relationship Id="rId53" Type="http://schemas.openxmlformats.org/officeDocument/2006/relationships/tags" Target="../tags/tag45.xml"/><Relationship Id="rId58" Type="http://schemas.openxmlformats.org/officeDocument/2006/relationships/tags" Target="../tags/tag50.xml"/><Relationship Id="rId74" Type="http://schemas.openxmlformats.org/officeDocument/2006/relationships/tags" Target="../tags/tag66.xml"/><Relationship Id="rId79" Type="http://schemas.openxmlformats.org/officeDocument/2006/relationships/tags" Target="../tags/tag71.xml"/><Relationship Id="rId5" Type="http://schemas.openxmlformats.org/officeDocument/2006/relationships/slideLayout" Target="../slideLayouts/slideLayout5.xml"/><Relationship Id="rId90" Type="http://schemas.openxmlformats.org/officeDocument/2006/relationships/tags" Target="../tags/tag82.xml"/><Relationship Id="rId95" Type="http://schemas.openxmlformats.org/officeDocument/2006/relationships/tags" Target="../tags/tag87.xml"/><Relationship Id="rId22" Type="http://schemas.openxmlformats.org/officeDocument/2006/relationships/tags" Target="../tags/tag14.xml"/><Relationship Id="rId27" Type="http://schemas.openxmlformats.org/officeDocument/2006/relationships/tags" Target="../tags/tag19.xml"/><Relationship Id="rId43" Type="http://schemas.openxmlformats.org/officeDocument/2006/relationships/tags" Target="../tags/tag35.xml"/><Relationship Id="rId48" Type="http://schemas.openxmlformats.org/officeDocument/2006/relationships/tags" Target="../tags/tag40.xml"/><Relationship Id="rId64" Type="http://schemas.openxmlformats.org/officeDocument/2006/relationships/tags" Target="../tags/tag56.xml"/><Relationship Id="rId69" Type="http://schemas.openxmlformats.org/officeDocument/2006/relationships/tags" Target="../tags/tag61.xml"/><Relationship Id="rId80" Type="http://schemas.openxmlformats.org/officeDocument/2006/relationships/tags" Target="../tags/tag72.xml"/><Relationship Id="rId85" Type="http://schemas.openxmlformats.org/officeDocument/2006/relationships/tags" Target="../tags/tag77.xml"/><Relationship Id="rId3" Type="http://schemas.openxmlformats.org/officeDocument/2006/relationships/slideLayout" Target="../slideLayouts/slideLayout3.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tags" Target="../tags/tag30.xml"/><Relationship Id="rId46" Type="http://schemas.openxmlformats.org/officeDocument/2006/relationships/tags" Target="../tags/tag38.xml"/><Relationship Id="rId59" Type="http://schemas.openxmlformats.org/officeDocument/2006/relationships/tags" Target="../tags/tag51.xml"/><Relationship Id="rId67" Type="http://schemas.openxmlformats.org/officeDocument/2006/relationships/tags" Target="../tags/tag59.xml"/><Relationship Id="rId20" Type="http://schemas.openxmlformats.org/officeDocument/2006/relationships/tags" Target="../tags/tag12.xml"/><Relationship Id="rId41" Type="http://schemas.openxmlformats.org/officeDocument/2006/relationships/tags" Target="../tags/tag33.xml"/><Relationship Id="rId54" Type="http://schemas.openxmlformats.org/officeDocument/2006/relationships/tags" Target="../tags/tag46.xml"/><Relationship Id="rId62" Type="http://schemas.openxmlformats.org/officeDocument/2006/relationships/tags" Target="../tags/tag54.xml"/><Relationship Id="rId70" Type="http://schemas.openxmlformats.org/officeDocument/2006/relationships/tags" Target="../tags/tag62.xml"/><Relationship Id="rId75" Type="http://schemas.openxmlformats.org/officeDocument/2006/relationships/tags" Target="../tags/tag67.xml"/><Relationship Id="rId83" Type="http://schemas.openxmlformats.org/officeDocument/2006/relationships/tags" Target="../tags/tag75.xml"/><Relationship Id="rId88" Type="http://schemas.openxmlformats.org/officeDocument/2006/relationships/tags" Target="../tags/tag80.xml"/><Relationship Id="rId91" Type="http://schemas.openxmlformats.org/officeDocument/2006/relationships/tags" Target="../tags/tag83.xml"/><Relationship Id="rId96" Type="http://schemas.openxmlformats.org/officeDocument/2006/relationships/tags" Target="../tags/tag88.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49" Type="http://schemas.openxmlformats.org/officeDocument/2006/relationships/tags" Target="../tags/tag41.xml"/><Relationship Id="rId57" Type="http://schemas.openxmlformats.org/officeDocument/2006/relationships/tags" Target="../tags/tag49.xml"/><Relationship Id="rId10" Type="http://schemas.openxmlformats.org/officeDocument/2006/relationships/tags" Target="../tags/tag2.xml"/><Relationship Id="rId31" Type="http://schemas.openxmlformats.org/officeDocument/2006/relationships/tags" Target="../tags/tag23.xml"/><Relationship Id="rId44" Type="http://schemas.openxmlformats.org/officeDocument/2006/relationships/tags" Target="../tags/tag36.xml"/><Relationship Id="rId52" Type="http://schemas.openxmlformats.org/officeDocument/2006/relationships/tags" Target="../tags/tag44.xml"/><Relationship Id="rId60" Type="http://schemas.openxmlformats.org/officeDocument/2006/relationships/tags" Target="../tags/tag52.xml"/><Relationship Id="rId65" Type="http://schemas.openxmlformats.org/officeDocument/2006/relationships/tags" Target="../tags/tag57.xml"/><Relationship Id="rId73" Type="http://schemas.openxmlformats.org/officeDocument/2006/relationships/tags" Target="../tags/tag65.xml"/><Relationship Id="rId78" Type="http://schemas.openxmlformats.org/officeDocument/2006/relationships/tags" Target="../tags/tag70.xml"/><Relationship Id="rId81" Type="http://schemas.openxmlformats.org/officeDocument/2006/relationships/tags" Target="../tags/tag73.xml"/><Relationship Id="rId86" Type="http://schemas.openxmlformats.org/officeDocument/2006/relationships/tags" Target="../tags/tag78.xml"/><Relationship Id="rId94" Type="http://schemas.openxmlformats.org/officeDocument/2006/relationships/tags" Target="../tags/tag86.xml"/><Relationship Id="rId4" Type="http://schemas.openxmlformats.org/officeDocument/2006/relationships/slideLayout" Target="../slideLayouts/slideLayout4.xml"/><Relationship Id="rId9"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39" Type="http://schemas.openxmlformats.org/officeDocument/2006/relationships/tags" Target="../tags/tag31.xml"/><Relationship Id="rId34" Type="http://schemas.openxmlformats.org/officeDocument/2006/relationships/tags" Target="../tags/tag26.xml"/><Relationship Id="rId50" Type="http://schemas.openxmlformats.org/officeDocument/2006/relationships/tags" Target="../tags/tag42.xml"/><Relationship Id="rId55" Type="http://schemas.openxmlformats.org/officeDocument/2006/relationships/tags" Target="../tags/tag47.xml"/><Relationship Id="rId76" Type="http://schemas.openxmlformats.org/officeDocument/2006/relationships/tags" Target="../tags/tag68.xml"/><Relationship Id="rId97" Type="http://schemas.openxmlformats.org/officeDocument/2006/relationships/tags" Target="../tags/tag89.xml"/><Relationship Id="rId7" Type="http://schemas.openxmlformats.org/officeDocument/2006/relationships/slideLayout" Target="../slideLayouts/slideLayout7.xml"/><Relationship Id="rId71" Type="http://schemas.openxmlformats.org/officeDocument/2006/relationships/tags" Target="../tags/tag63.xml"/><Relationship Id="rId92" Type="http://schemas.openxmlformats.org/officeDocument/2006/relationships/tags" Target="../tags/tag84.xml"/><Relationship Id="rId2" Type="http://schemas.openxmlformats.org/officeDocument/2006/relationships/slideLayout" Target="../slideLayouts/slideLayout2.xml"/><Relationship Id="rId29" Type="http://schemas.openxmlformats.org/officeDocument/2006/relationships/tags" Target="../tags/tag21.xml"/><Relationship Id="rId24" Type="http://schemas.openxmlformats.org/officeDocument/2006/relationships/tags" Target="../tags/tag16.xml"/><Relationship Id="rId40" Type="http://schemas.openxmlformats.org/officeDocument/2006/relationships/tags" Target="../tags/tag32.xml"/><Relationship Id="rId45" Type="http://schemas.openxmlformats.org/officeDocument/2006/relationships/tags" Target="../tags/tag37.xml"/><Relationship Id="rId66" Type="http://schemas.openxmlformats.org/officeDocument/2006/relationships/tags" Target="../tags/tag58.xml"/><Relationship Id="rId87" Type="http://schemas.openxmlformats.org/officeDocument/2006/relationships/tags" Target="../tags/tag79.xml"/><Relationship Id="rId61" Type="http://schemas.openxmlformats.org/officeDocument/2006/relationships/tags" Target="../tags/tag53.xml"/><Relationship Id="rId82" Type="http://schemas.openxmlformats.org/officeDocument/2006/relationships/tags" Target="../tags/tag74.xml"/><Relationship Id="rId19" Type="http://schemas.openxmlformats.org/officeDocument/2006/relationships/tags" Target="../tags/tag11.xml"/><Relationship Id="rId14" Type="http://schemas.openxmlformats.org/officeDocument/2006/relationships/tags" Target="../tags/tag6.xml"/><Relationship Id="rId30" Type="http://schemas.openxmlformats.org/officeDocument/2006/relationships/tags" Target="../tags/tag22.xml"/><Relationship Id="rId35" Type="http://schemas.openxmlformats.org/officeDocument/2006/relationships/tags" Target="../tags/tag27.xml"/><Relationship Id="rId56" Type="http://schemas.openxmlformats.org/officeDocument/2006/relationships/tags" Target="../tags/tag48.xml"/><Relationship Id="rId77" Type="http://schemas.openxmlformats.org/officeDocument/2006/relationships/tags" Target="../tags/tag69.xml"/><Relationship Id="rId8" Type="http://schemas.openxmlformats.org/officeDocument/2006/relationships/slideLayout" Target="../slideLayouts/slideLayout8.xml"/><Relationship Id="rId51" Type="http://schemas.openxmlformats.org/officeDocument/2006/relationships/tags" Target="../tags/tag43.xml"/><Relationship Id="rId72" Type="http://schemas.openxmlformats.org/officeDocument/2006/relationships/tags" Target="../tags/tag64.xml"/><Relationship Id="rId93" Type="http://schemas.openxmlformats.org/officeDocument/2006/relationships/tags" Target="../tags/tag85.xml"/><Relationship Id="rId98"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10"/>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1"/>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2"/>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3"/>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4"/>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5"/>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6"/>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7"/>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18"/>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19"/>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20"/>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1"/>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2"/>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3"/>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4"/>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5"/>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6"/>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7"/>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28"/>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29"/>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30"/>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1"/>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2"/>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3"/>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4"/>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5"/>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6"/>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7"/>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38"/>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39"/>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40"/>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1"/>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2"/>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3"/>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4"/>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5"/>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6"/>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7"/>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48"/>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49"/>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50"/>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1"/>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2"/>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3"/>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4"/>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5"/>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6"/>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7"/>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58"/>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59"/>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60"/>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1"/>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2"/>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3"/>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4"/>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5"/>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6"/>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7"/>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68"/>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69"/>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70"/>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1"/>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2"/>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3"/>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4"/>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5"/>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6"/>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7"/>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78"/>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79"/>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80"/>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1"/>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2"/>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3"/>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4"/>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5"/>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6"/>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7"/>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88"/>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89"/>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90"/>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1"/>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2"/>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3"/>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4"/>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5"/>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6"/>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7"/>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AB5BD523-09B7-359D-076D-A624A8C2CBC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a:p>
        </p:txBody>
      </p:sp>
      <p:sp>
        <p:nvSpPr>
          <p:cNvPr id="9" name="Rectangle: Rounded Corners 8">
            <a:extLst>
              <a:ext uri="{FF2B5EF4-FFF2-40B4-BE49-F238E27FC236}">
                <a16:creationId xmlns:a16="http://schemas.microsoft.com/office/drawing/2014/main" id="{EA815159-38A3-A1F2-5D13-9A780579A251}"/>
              </a:ext>
            </a:extLst>
          </p:cNvPr>
          <p:cNvSpPr/>
          <p:nvPr userDrawn="1"/>
        </p:nvSpPr>
        <p:spPr>
          <a:xfrm>
            <a:off x="9964910" y="102833"/>
            <a:ext cx="1583324"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a:t>Introduction</a:t>
            </a:r>
          </a:p>
        </p:txBody>
      </p:sp>
      <p:sp>
        <p:nvSpPr>
          <p:cNvPr id="26" name="Rectangle 25">
            <a:extLst>
              <a:ext uri="{FF2B5EF4-FFF2-40B4-BE49-F238E27FC236}">
                <a16:creationId xmlns:a16="http://schemas.microsoft.com/office/drawing/2014/main" id="{6E26D13B-4A46-1E09-AECB-AD3CA438EB21}"/>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pic>
        <p:nvPicPr>
          <p:cNvPr id="27" name="Picture 26" descr="A black and white sign&#10;&#10;Description automatically generated with low confidence">
            <a:extLst>
              <a:ext uri="{FF2B5EF4-FFF2-40B4-BE49-F238E27FC236}">
                <a16:creationId xmlns:a16="http://schemas.microsoft.com/office/drawing/2014/main" id="{48B4FFA7-98F1-1292-74A3-72CD48EA33EA}"/>
              </a:ext>
            </a:extLst>
          </p:cNvPr>
          <p:cNvPicPr>
            <a:picLocks noChangeAspect="1"/>
          </p:cNvPicPr>
          <p:nvPr userDrawn="1"/>
        </p:nvPicPr>
        <p:blipFill>
          <a:blip r:embed="rId98">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9" r:id="rId3"/>
    <p:sldLayoutId id="2147483802" r:id="rId4"/>
    <p:sldLayoutId id="2147483790" r:id="rId5"/>
    <p:sldLayoutId id="2147483791" r:id="rId6"/>
    <p:sldLayoutId id="2147483803" r:id="rId7"/>
    <p:sldLayoutId id="2147483793" r:id="rId8"/>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20.svg"/></Relationships>
</file>

<file path=ppt/slides/_rels/slide11.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22.sv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slide" Target="slide10.xml"/><Relationship Id="rId7" Type="http://schemas.openxmlformats.org/officeDocument/2006/relationships/image" Target="../media/image26.sv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slides/_rels/slide15.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40.sv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42.sv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44.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s://asmbs.org/articles/after-30-years-new-guidelines-for-weight-loss-surgery"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90.xml"/><Relationship Id="rId4" Type="http://schemas.openxmlformats.org/officeDocument/2006/relationships/hyperlink" Target="https://ifso.com/patient-sleeve-gastrectomy/"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46.sv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hyperlink" Target="https://asmbs.org/patients/disease-of-obesity/"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hyperlink" Target="https://www.cdc.gov/bmi/adult-calculator/bmi-categories.html?CDC_AAref_Val=https://www.cdc.gov/obesity/basics/adult-defining.html"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cdc.gov/nchs/data/databriefs/db288.pdf" TargetMode="External"/><Relationship Id="rId7"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hyperlink" Target="https://www.cdc.gov/obesity/childhood-obesity-facts/childhood-obesity-facts.html" TargetMode="External"/><Relationship Id="rId5" Type="http://schemas.openxmlformats.org/officeDocument/2006/relationships/hyperlink" Target="https://www.cdc.gov/nchs/data/hestat/obesity_child_13_14/obesity_child_13_14.htm.%20Accessed%20Dec%202024" TargetMode="External"/><Relationship Id="rId4" Type="http://schemas.openxmlformats.org/officeDocument/2006/relationships/hyperlink" Target="https://www.cdc.gov/nchs/data/databriefs/db508.pdf" TargetMode="Externa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18.sv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2A12316-D72B-3980-4A3F-D855994C7093}"/>
              </a:ext>
            </a:extLst>
          </p:cNvPr>
          <p:cNvSpPr>
            <a:spLocks noGrp="1"/>
          </p:cNvSpPr>
          <p:nvPr>
            <p:ph type="body" sz="quarter" idx="10"/>
          </p:nvPr>
        </p:nvSpPr>
        <p:spPr>
          <a:xfrm>
            <a:off x="553980" y="1910218"/>
            <a:ext cx="5505508" cy="1814512"/>
          </a:xfrm>
        </p:spPr>
        <p:txBody>
          <a:bodyPr/>
          <a:lstStyle/>
          <a:p>
            <a:r>
              <a:rPr lang="en-US" noProof="0"/>
              <a:t>Introduction to </a:t>
            </a:r>
            <a:r>
              <a:rPr lang="en-US" b="1" noProof="0"/>
              <a:t>Obesity</a:t>
            </a:r>
          </a:p>
        </p:txBody>
      </p:sp>
      <p:sp>
        <p:nvSpPr>
          <p:cNvPr id="10" name="Text Placeholder 9">
            <a:extLst>
              <a:ext uri="{FF2B5EF4-FFF2-40B4-BE49-F238E27FC236}">
                <a16:creationId xmlns:a16="http://schemas.microsoft.com/office/drawing/2014/main" id="{38EC6494-6749-8250-FFC7-E52F371FD667}"/>
              </a:ext>
            </a:extLst>
          </p:cNvPr>
          <p:cNvSpPr>
            <a:spLocks noGrp="1"/>
          </p:cNvSpPr>
          <p:nvPr>
            <p:ph type="body" sz="quarter" idx="11"/>
          </p:nvPr>
        </p:nvSpPr>
        <p:spPr>
          <a:xfrm>
            <a:off x="553980" y="3883932"/>
            <a:ext cx="5505508" cy="1655309"/>
          </a:xfrm>
        </p:spPr>
        <p:txBody>
          <a:bodyPr/>
          <a:lstStyle/>
          <a:p>
            <a:r>
              <a:rPr lang="en-US" noProof="0"/>
              <a:t>Module 1</a:t>
            </a:r>
          </a:p>
          <a:p>
            <a:endParaRPr lang="en-US" noProof="0"/>
          </a:p>
        </p:txBody>
      </p:sp>
      <p:sp>
        <p:nvSpPr>
          <p:cNvPr id="3" name="Text Placeholder 13">
            <a:extLst>
              <a:ext uri="{FF2B5EF4-FFF2-40B4-BE49-F238E27FC236}">
                <a16:creationId xmlns:a16="http://schemas.microsoft.com/office/drawing/2014/main" id="{2E28BF84-C70F-4AF2-A689-ABCE024FB931}"/>
              </a:ext>
            </a:extLst>
          </p:cNvPr>
          <p:cNvSpPr txBox="1">
            <a:spLocks/>
          </p:cNvSpPr>
          <p:nvPr/>
        </p:nvSpPr>
        <p:spPr>
          <a:xfrm>
            <a:off x="1146420" y="4745062"/>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a:ln>
                <a:noFill/>
              </a:ln>
              <a:solidFill>
                <a:srgbClr val="263C5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596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69B9E164-5A3A-784E-BF1F-F1A388657EDC}"/>
              </a:ext>
            </a:extLst>
          </p:cNvPr>
          <p:cNvSpPr/>
          <p:nvPr/>
        </p:nvSpPr>
        <p:spPr>
          <a:xfrm>
            <a:off x="4187229" y="3177934"/>
            <a:ext cx="7463200" cy="301366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br>
              <a:rPr lang="en-US" sz="2000" noProof="0"/>
            </a:br>
            <a:endParaRPr lang="en-US" sz="2000" noProof="0"/>
          </a:p>
        </p:txBody>
      </p:sp>
      <p:sp>
        <p:nvSpPr>
          <p:cNvPr id="26" name="Rectangle 25">
            <a:extLst>
              <a:ext uri="{FF2B5EF4-FFF2-40B4-BE49-F238E27FC236}">
                <a16:creationId xmlns:a16="http://schemas.microsoft.com/office/drawing/2014/main" id="{B84538EA-2916-7C53-7D39-B170538ECD66}"/>
              </a:ext>
            </a:extLst>
          </p:cNvPr>
          <p:cNvSpPr/>
          <p:nvPr/>
        </p:nvSpPr>
        <p:spPr>
          <a:xfrm>
            <a:off x="4150060" y="2075846"/>
            <a:ext cx="7491078" cy="8445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5" name="Rectangle 24">
            <a:extLst>
              <a:ext uri="{FF2B5EF4-FFF2-40B4-BE49-F238E27FC236}">
                <a16:creationId xmlns:a16="http://schemas.microsoft.com/office/drawing/2014/main" id="{3FA31DD3-634F-14B0-9C78-6EE6A8D38746}"/>
              </a:ext>
            </a:extLst>
          </p:cNvPr>
          <p:cNvSpPr/>
          <p:nvPr/>
        </p:nvSpPr>
        <p:spPr>
          <a:xfrm>
            <a:off x="4150060" y="951346"/>
            <a:ext cx="7491078" cy="8445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 name="Title 1">
            <a:extLst>
              <a:ext uri="{FF2B5EF4-FFF2-40B4-BE49-F238E27FC236}">
                <a16:creationId xmlns:a16="http://schemas.microsoft.com/office/drawing/2014/main" id="{3DA4C712-99A9-4C7B-A1E9-EC38DE59F541}"/>
              </a:ext>
            </a:extLst>
          </p:cNvPr>
          <p:cNvSpPr>
            <a:spLocks noGrp="1"/>
          </p:cNvSpPr>
          <p:nvPr>
            <p:ph type="title"/>
          </p:nvPr>
        </p:nvSpPr>
        <p:spPr>
          <a:xfrm>
            <a:off x="536240" y="414320"/>
            <a:ext cx="3154209" cy="5562000"/>
          </a:xfrm>
        </p:spPr>
        <p:txBody>
          <a:bodyPr/>
          <a:lstStyle/>
          <a:p>
            <a:r>
              <a:rPr lang="en-US" noProof="0"/>
              <a:t>Obesity meets </a:t>
            </a:r>
            <a:br>
              <a:rPr lang="en-US" noProof="0"/>
            </a:br>
            <a:r>
              <a:rPr lang="en-US" noProof="0"/>
              <a:t>criteria of a disease</a:t>
            </a:r>
          </a:p>
        </p:txBody>
      </p:sp>
      <p:sp>
        <p:nvSpPr>
          <p:cNvPr id="4" name="Text Placeholder 3">
            <a:extLst>
              <a:ext uri="{FF2B5EF4-FFF2-40B4-BE49-F238E27FC236}">
                <a16:creationId xmlns:a16="http://schemas.microsoft.com/office/drawing/2014/main" id="{218AC2C2-ED44-4823-B86F-F8C155C5EA1A}"/>
              </a:ext>
            </a:extLst>
          </p:cNvPr>
          <p:cNvSpPr>
            <a:spLocks noGrp="1"/>
          </p:cNvSpPr>
          <p:nvPr>
            <p:ph type="body" sz="quarter" idx="13"/>
          </p:nvPr>
        </p:nvSpPr>
        <p:spPr>
          <a:xfrm>
            <a:off x="4006849" y="6402388"/>
            <a:ext cx="7634287" cy="323850"/>
          </a:xfrm>
        </p:spPr>
        <p:txBody>
          <a:bodyPr>
            <a:noAutofit/>
          </a:bodyPr>
          <a:lstStyle/>
          <a:p>
            <a:r>
              <a:rPr lang="en-US" noProof="0" dirty="0"/>
              <a:t>AMA, American Medical Association, MASLD, metabolic dysfunction-associated </a:t>
            </a:r>
            <a:r>
              <a:rPr lang="en-US" noProof="0" dirty="0" err="1"/>
              <a:t>steatotic</a:t>
            </a:r>
            <a:r>
              <a:rPr lang="en-US" noProof="0" dirty="0"/>
              <a:t> liver disease; T2D, type 2 diabetes.</a:t>
            </a:r>
            <a:br>
              <a:rPr lang="en-US" noProof="0" dirty="0"/>
            </a:br>
            <a:r>
              <a:rPr lang="en-US" noProof="0" dirty="0"/>
              <a:t>1. World Health Organization. Constitution of the World Health Organization as adopted by the International Health Conference, New York, </a:t>
            </a:r>
            <a:r>
              <a:rPr lang="en-US" dirty="0"/>
              <a:t>June </a:t>
            </a:r>
            <a:r>
              <a:rPr lang="en-US" noProof="0" dirty="0"/>
              <a:t>19–22, 1946; </a:t>
            </a:r>
            <a:br>
              <a:rPr lang="en-US" noProof="0" dirty="0"/>
            </a:br>
            <a:r>
              <a:rPr lang="en-US" noProof="0" dirty="0"/>
              <a:t>2. </a:t>
            </a:r>
            <a:r>
              <a:rPr lang="en-US" dirty="0"/>
              <a:t>Rubino F et al. Lancet Diabetes Endocrinol 2025;13:221–262; 3. </a:t>
            </a:r>
            <a:r>
              <a:rPr lang="en-US" noProof="0" dirty="0" err="1"/>
              <a:t>Mechanick</a:t>
            </a:r>
            <a:r>
              <a:rPr lang="en-US" noProof="0" dirty="0"/>
              <a:t> JI et al. </a:t>
            </a:r>
            <a:r>
              <a:rPr lang="en-US" noProof="0" dirty="0" err="1"/>
              <a:t>Endocr</a:t>
            </a:r>
            <a:r>
              <a:rPr lang="en-US" noProof="0" dirty="0"/>
              <a:t> </a:t>
            </a:r>
            <a:r>
              <a:rPr lang="en-US" noProof="0" dirty="0" err="1"/>
              <a:t>Pract</a:t>
            </a:r>
            <a:r>
              <a:rPr lang="en-US" noProof="0" dirty="0"/>
              <a:t> 2012;18:642–648.</a:t>
            </a:r>
          </a:p>
        </p:txBody>
      </p:sp>
      <p:sp>
        <p:nvSpPr>
          <p:cNvPr id="10" name="Rounded Rectangle 35">
            <a:extLst>
              <a:ext uri="{FF2B5EF4-FFF2-40B4-BE49-F238E27FC236}">
                <a16:creationId xmlns:a16="http://schemas.microsoft.com/office/drawing/2014/main" id="{46F24E27-2AAA-47FA-B787-7D86F15D5604}"/>
              </a:ext>
            </a:extLst>
          </p:cNvPr>
          <p:cNvSpPr/>
          <p:nvPr/>
        </p:nvSpPr>
        <p:spPr>
          <a:xfrm>
            <a:off x="4767245" y="3490708"/>
            <a:ext cx="1688410" cy="250016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lIns="0" tIns="0" rIns="0" bIns="0" rtlCol="0" anchor="t"/>
          <a:lstStyle/>
          <a:p>
            <a:pPr marL="0" lvl="1">
              <a:spcAft>
                <a:spcPts val="200"/>
              </a:spcAft>
              <a:defRPr/>
            </a:pPr>
            <a:r>
              <a:rPr lang="en-US" sz="1200" b="1">
                <a:solidFill>
                  <a:schemeClr val="accent3"/>
                </a:solidFill>
                <a:latin typeface="Arial"/>
                <a:cs typeface="Arial"/>
              </a:rPr>
              <a:t>Impaired function</a:t>
            </a:r>
          </a:p>
          <a:p>
            <a:pPr marL="171450" lvl="1" indent="-171450">
              <a:spcAft>
                <a:spcPts val="200"/>
              </a:spcAft>
              <a:buFont typeface="Arial" panose="020B0604020202020204" pitchFamily="34" charset="0"/>
              <a:buChar char="•"/>
              <a:defRPr/>
            </a:pPr>
            <a:r>
              <a:rPr lang="en-US" sz="1200">
                <a:solidFill>
                  <a:schemeClr val="accent3"/>
                </a:solidFill>
                <a:latin typeface="Arial"/>
                <a:cs typeface="Arial"/>
              </a:rPr>
              <a:t>Appetite dysregulation (inappropriate hunger)</a:t>
            </a:r>
            <a:endParaRPr lang="en-US">
              <a:solidFill>
                <a:schemeClr val="accent3"/>
              </a:solidFill>
              <a:latin typeface="Arial"/>
              <a:cs typeface="Arial"/>
            </a:endParaRP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Abnormal energy balance (reduced metabolic rate)</a:t>
            </a: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Endocrine dysfunction</a:t>
            </a:r>
          </a:p>
        </p:txBody>
      </p:sp>
      <p:sp>
        <p:nvSpPr>
          <p:cNvPr id="18" name="Rounded Rectangle 35">
            <a:extLst>
              <a:ext uri="{FF2B5EF4-FFF2-40B4-BE49-F238E27FC236}">
                <a16:creationId xmlns:a16="http://schemas.microsoft.com/office/drawing/2014/main" id="{F0074402-CC66-424F-BC86-74FBD4EA4E74}"/>
              </a:ext>
            </a:extLst>
          </p:cNvPr>
          <p:cNvSpPr>
            <a:spLocks/>
          </p:cNvSpPr>
          <p:nvPr/>
        </p:nvSpPr>
        <p:spPr>
          <a:xfrm>
            <a:off x="9646980" y="3490707"/>
            <a:ext cx="1608750" cy="250016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lIns="0" tIns="0" rIns="0" bIns="0" rtlCol="0" anchor="t"/>
          <a:lstStyle/>
          <a:p>
            <a:pPr marL="0" lvl="1">
              <a:spcAft>
                <a:spcPts val="200"/>
              </a:spcAft>
              <a:defRPr/>
            </a:pPr>
            <a:r>
              <a:rPr lang="en-US" sz="1200" b="1">
                <a:solidFill>
                  <a:schemeClr val="accent3"/>
                </a:solidFill>
                <a:latin typeface="Arial"/>
                <a:cs typeface="Arial"/>
              </a:rPr>
              <a:t>Harms/morbidity</a:t>
            </a:r>
          </a:p>
          <a:p>
            <a:pPr marL="171450" lvl="1" indent="-171450">
              <a:spcAft>
                <a:spcPts val="200"/>
              </a:spcAft>
              <a:buFont typeface="Arial" panose="020B0604020202020204" pitchFamily="34" charset="0"/>
              <a:buChar char="•"/>
              <a:defRPr/>
            </a:pPr>
            <a:r>
              <a:rPr lang="en-US" sz="1200">
                <a:solidFill>
                  <a:schemeClr val="accent3"/>
                </a:solidFill>
                <a:latin typeface="Arial"/>
                <a:cs typeface="Arial"/>
              </a:rPr>
              <a:t>T2D</a:t>
            </a:r>
            <a:endParaRPr lang="en-US">
              <a:solidFill>
                <a:schemeClr val="accent3"/>
              </a:solidFill>
            </a:endParaRP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Cardiovascular disease</a:t>
            </a: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Cancer</a:t>
            </a: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Polycystic ovary syndrome</a:t>
            </a: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Infertility</a:t>
            </a: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MASLD</a:t>
            </a: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Dyslipidemia</a:t>
            </a: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Increased mortality</a:t>
            </a: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Mental health (anxiety/depression</a:t>
            </a:r>
            <a:r>
              <a:rPr lang="en-US" sz="1200" noProof="0">
                <a:solidFill>
                  <a:schemeClr val="accent3"/>
                </a:solidFill>
                <a:latin typeface="Arial"/>
                <a:cs typeface="Arial"/>
              </a:rPr>
              <a:t>)</a:t>
            </a:r>
            <a:endParaRPr lang="en-US" sz="1200" noProof="0">
              <a:solidFill>
                <a:schemeClr val="accent3"/>
              </a:solidFill>
              <a:latin typeface="Arial" panose="020B0604020202020204" pitchFamily="34" charset="0"/>
              <a:cs typeface="Arial" panose="020B0604020202020204" pitchFamily="34" charset="0"/>
            </a:endParaRPr>
          </a:p>
        </p:txBody>
      </p:sp>
      <p:sp>
        <p:nvSpPr>
          <p:cNvPr id="15" name="Rounded Rectangle 35">
            <a:extLst>
              <a:ext uri="{FF2B5EF4-FFF2-40B4-BE49-F238E27FC236}">
                <a16:creationId xmlns:a16="http://schemas.microsoft.com/office/drawing/2014/main" id="{2607754F-262A-4FA5-86A2-0A37C4CDE1B8}"/>
              </a:ext>
            </a:extLst>
          </p:cNvPr>
          <p:cNvSpPr>
            <a:spLocks/>
          </p:cNvSpPr>
          <p:nvPr/>
        </p:nvSpPr>
        <p:spPr>
          <a:xfrm>
            <a:off x="7327931" y="3490707"/>
            <a:ext cx="1608750" cy="250016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lIns="0" tIns="0" rIns="0" bIns="0" rtlCol="0" anchor="t"/>
          <a:lstStyle/>
          <a:p>
            <a:pPr marL="0" lvl="1">
              <a:spcAft>
                <a:spcPts val="200"/>
              </a:spcAft>
              <a:defRPr/>
            </a:pPr>
            <a:r>
              <a:rPr lang="en-US" sz="1200" b="1">
                <a:solidFill>
                  <a:schemeClr val="accent3"/>
                </a:solidFill>
                <a:latin typeface="Arial"/>
                <a:cs typeface="Arial"/>
              </a:rPr>
              <a:t>Signs and symptoms</a:t>
            </a:r>
          </a:p>
          <a:p>
            <a:pPr marL="171450" lvl="1" indent="-171450">
              <a:spcAft>
                <a:spcPts val="200"/>
              </a:spcAft>
              <a:buFont typeface="Arial" panose="020B0604020202020204" pitchFamily="34" charset="0"/>
              <a:buChar char="•"/>
              <a:defRPr/>
            </a:pPr>
            <a:r>
              <a:rPr lang="en-US" sz="1200">
                <a:solidFill>
                  <a:schemeClr val="accent3"/>
                </a:solidFill>
                <a:latin typeface="Arial"/>
                <a:cs typeface="Arial"/>
              </a:rPr>
              <a:t>Increased body fat</a:t>
            </a:r>
            <a:endParaRPr lang="en-US">
              <a:solidFill>
                <a:schemeClr val="accent3"/>
              </a:solidFill>
              <a:latin typeface="Arial"/>
              <a:cs typeface="Arial"/>
            </a:endParaRPr>
          </a:p>
          <a:p>
            <a:pPr marL="171450" lvl="1" indent="-171450">
              <a:spcAft>
                <a:spcPts val="200"/>
              </a:spcAft>
              <a:buFont typeface="Arial" panose="020B0604020202020204" pitchFamily="34" charset="0"/>
              <a:buChar char="•"/>
              <a:defRPr/>
            </a:pPr>
            <a:r>
              <a:rPr lang="en-US" sz="1200">
                <a:solidFill>
                  <a:schemeClr val="accent3"/>
                </a:solidFill>
                <a:latin typeface="Arial" panose="020B0604020202020204" pitchFamily="34" charset="0"/>
                <a:cs typeface="Arial" panose="020B0604020202020204" pitchFamily="34" charset="0"/>
              </a:rPr>
              <a:t>Signs and symptoms associated with increased body fat including:</a:t>
            </a:r>
          </a:p>
          <a:p>
            <a:pPr marL="365760" lvl="2" indent="-171450">
              <a:spcAft>
                <a:spcPts val="200"/>
              </a:spcAft>
              <a:buFontTx/>
              <a:buChar char="–"/>
              <a:defRPr/>
            </a:pPr>
            <a:r>
              <a:rPr lang="en-US" sz="1200" noProof="0">
                <a:solidFill>
                  <a:schemeClr val="accent3"/>
                </a:solidFill>
                <a:latin typeface="Arial" panose="020B0604020202020204" pitchFamily="34" charset="0"/>
                <a:cs typeface="Arial" panose="020B0604020202020204" pitchFamily="34" charset="0"/>
              </a:rPr>
              <a:t>Joint pain</a:t>
            </a:r>
          </a:p>
          <a:p>
            <a:pPr marL="365760" lvl="2" indent="-171450">
              <a:spcAft>
                <a:spcPts val="200"/>
              </a:spcAft>
              <a:buFontTx/>
              <a:buChar char="–"/>
              <a:defRPr/>
            </a:pPr>
            <a:r>
              <a:rPr lang="en-US" sz="1200" noProof="0">
                <a:solidFill>
                  <a:schemeClr val="accent3"/>
                </a:solidFill>
                <a:latin typeface="Arial" panose="020B0604020202020204" pitchFamily="34" charset="0"/>
                <a:cs typeface="Arial" panose="020B0604020202020204" pitchFamily="34" charset="0"/>
              </a:rPr>
              <a:t>Limitations of daily activity</a:t>
            </a:r>
          </a:p>
          <a:p>
            <a:pPr marL="365760" lvl="2" indent="-171450">
              <a:spcAft>
                <a:spcPts val="200"/>
              </a:spcAft>
              <a:buFontTx/>
              <a:buChar char="–"/>
              <a:defRPr/>
            </a:pPr>
            <a:r>
              <a:rPr lang="en-US" sz="1200" noProof="0">
                <a:solidFill>
                  <a:schemeClr val="accent3"/>
                </a:solidFill>
                <a:latin typeface="Arial"/>
                <a:cs typeface="Arial"/>
              </a:rPr>
              <a:t>Sleep apnea</a:t>
            </a:r>
            <a:endParaRPr lang="en-US" sz="1200" noProof="0">
              <a:solidFill>
                <a:schemeClr val="accent3"/>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4C89E989-322F-32FF-DAF6-4BBA847C8B77}"/>
              </a:ext>
            </a:extLst>
          </p:cNvPr>
          <p:cNvSpPr txBox="1"/>
          <p:nvPr/>
        </p:nvSpPr>
        <p:spPr>
          <a:xfrm>
            <a:off x="4255460" y="1137380"/>
            <a:ext cx="7280276" cy="584775"/>
          </a:xfrm>
          <a:prstGeom prst="rect">
            <a:avLst/>
          </a:prstGeom>
          <a:noFill/>
        </p:spPr>
        <p:txBody>
          <a:bodyPr wrap="square">
            <a:spAutoFit/>
          </a:bodyPr>
          <a:lstStyle/>
          <a:p>
            <a:pPr algn="ctr"/>
            <a:r>
              <a:rPr lang="en-US" sz="1600" kern="0" noProof="0">
                <a:solidFill>
                  <a:schemeClr val="accent1"/>
                </a:solidFill>
                <a:latin typeface="Arial" panose="020B0604020202020204" pitchFamily="34" charset="0"/>
                <a:cs typeface="Arial" panose="020B0604020202020204" pitchFamily="34" charset="0"/>
              </a:rPr>
              <a:t>“a state of complete physical, mental and social well-being with </a:t>
            </a:r>
            <a:r>
              <a:rPr lang="en-US" sz="1600" b="1" kern="0" noProof="0">
                <a:solidFill>
                  <a:schemeClr val="accent1"/>
                </a:solidFill>
                <a:latin typeface="Arial" panose="020B0604020202020204" pitchFamily="34" charset="0"/>
                <a:cs typeface="Arial" panose="020B0604020202020204" pitchFamily="34" charset="0"/>
              </a:rPr>
              <a:t>preserved function of all organs, </a:t>
            </a:r>
            <a:r>
              <a:rPr lang="en-US" sz="1600" kern="0" noProof="0">
                <a:solidFill>
                  <a:schemeClr val="accent1"/>
                </a:solidFill>
                <a:latin typeface="Arial" panose="020B0604020202020204" pitchFamily="34" charset="0"/>
                <a:cs typeface="Arial" panose="020B0604020202020204" pitchFamily="34" charset="0"/>
              </a:rPr>
              <a:t>and </a:t>
            </a:r>
            <a:r>
              <a:rPr lang="en-US" sz="1600" b="1" kern="0" noProof="0">
                <a:solidFill>
                  <a:schemeClr val="accent1"/>
                </a:solidFill>
                <a:latin typeface="Arial" panose="020B0604020202020204" pitchFamily="34" charset="0"/>
                <a:cs typeface="Arial" panose="020B0604020202020204" pitchFamily="34" charset="0"/>
              </a:rPr>
              <a:t>not merely the absence </a:t>
            </a:r>
            <a:r>
              <a:rPr lang="en-US" sz="1600" kern="0" noProof="0">
                <a:solidFill>
                  <a:schemeClr val="accent1"/>
                </a:solidFill>
                <a:latin typeface="Arial" panose="020B0604020202020204" pitchFamily="34" charset="0"/>
                <a:cs typeface="Arial" panose="020B0604020202020204" pitchFamily="34" charset="0"/>
              </a:rPr>
              <a:t>of disease or infirmity”</a:t>
            </a:r>
            <a:r>
              <a:rPr lang="en-US" sz="1600" kern="0" baseline="30000" noProof="0">
                <a:solidFill>
                  <a:schemeClr val="accent1"/>
                </a:solidFill>
                <a:latin typeface="Arial" panose="020B0604020202020204" pitchFamily="34" charset="0"/>
                <a:cs typeface="Arial" panose="020B0604020202020204" pitchFamily="34" charset="0"/>
              </a:rPr>
              <a:t>1,2</a:t>
            </a:r>
            <a:endParaRPr lang="en-US" sz="1600" noProof="0">
              <a:solidFill>
                <a:schemeClr val="accent1"/>
              </a:solidFill>
            </a:endParaRPr>
          </a:p>
        </p:txBody>
      </p:sp>
      <p:sp>
        <p:nvSpPr>
          <p:cNvPr id="21" name="Rectangle: Rounded Corners 20">
            <a:extLst>
              <a:ext uri="{FF2B5EF4-FFF2-40B4-BE49-F238E27FC236}">
                <a16:creationId xmlns:a16="http://schemas.microsoft.com/office/drawing/2014/main" id="{5B91F3BC-C1F1-D77F-550E-D1C1E134C570}"/>
              </a:ext>
            </a:extLst>
          </p:cNvPr>
          <p:cNvSpPr/>
          <p:nvPr/>
        </p:nvSpPr>
        <p:spPr>
          <a:xfrm>
            <a:off x="5979782" y="758125"/>
            <a:ext cx="3831634" cy="39647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39">
              <a:defRPr/>
            </a:pPr>
            <a:r>
              <a:rPr lang="en-US" sz="1400" b="1" cap="all" spc="100" noProof="0">
                <a:solidFill>
                  <a:srgbClr val="FFFFFF"/>
                </a:solidFill>
                <a:cs typeface="Arial"/>
              </a:rPr>
              <a:t>Definition of Health</a:t>
            </a:r>
            <a:endParaRPr lang="en-US" sz="1400" b="1" cap="all" spc="100" noProof="0">
              <a:solidFill>
                <a:srgbClr val="FFFFFF"/>
              </a:solidFill>
              <a:latin typeface="Arial" panose="020B0604020202020204" pitchFamily="34" charset="0"/>
              <a:cs typeface="Arial" panose="020B0604020202020204" pitchFamily="34" charset="0"/>
            </a:endParaRPr>
          </a:p>
        </p:txBody>
      </p:sp>
      <p:sp>
        <p:nvSpPr>
          <p:cNvPr id="24" name="Rectangle: Rounded Corners 23">
            <a:extLst>
              <a:ext uri="{FF2B5EF4-FFF2-40B4-BE49-F238E27FC236}">
                <a16:creationId xmlns:a16="http://schemas.microsoft.com/office/drawing/2014/main" id="{23D1276F-31BC-03B4-5848-5754472BBE2A}"/>
              </a:ext>
            </a:extLst>
          </p:cNvPr>
          <p:cNvSpPr/>
          <p:nvPr/>
        </p:nvSpPr>
        <p:spPr>
          <a:xfrm>
            <a:off x="5979782" y="1859850"/>
            <a:ext cx="3831634" cy="396474"/>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39">
              <a:defRPr/>
            </a:pPr>
            <a:r>
              <a:rPr lang="en-US" sz="1400" b="1" cap="all" spc="100" noProof="0">
                <a:solidFill>
                  <a:srgbClr val="FFFFFF"/>
                </a:solidFill>
                <a:cs typeface="Arial"/>
              </a:rPr>
              <a:t>AMA Defines a Disease as</a:t>
            </a:r>
            <a:r>
              <a:rPr lang="en-US" sz="1400" b="1" cap="all" spc="100" baseline="30000" noProof="0">
                <a:solidFill>
                  <a:srgbClr val="FFFFFF"/>
                </a:solidFill>
                <a:cs typeface="Arial"/>
              </a:rPr>
              <a:t>3</a:t>
            </a:r>
            <a:r>
              <a:rPr lang="en-US" sz="1400" b="1" cap="all" spc="100" noProof="0">
                <a:solidFill>
                  <a:srgbClr val="FFFFFF"/>
                </a:solidFill>
                <a:cs typeface="Arial"/>
              </a:rPr>
              <a:t> </a:t>
            </a:r>
          </a:p>
        </p:txBody>
      </p:sp>
      <p:sp>
        <p:nvSpPr>
          <p:cNvPr id="22" name="TextBox 21">
            <a:extLst>
              <a:ext uri="{FF2B5EF4-FFF2-40B4-BE49-F238E27FC236}">
                <a16:creationId xmlns:a16="http://schemas.microsoft.com/office/drawing/2014/main" id="{3CCE22D4-22A5-18F0-877B-612ABCA7B90E}"/>
              </a:ext>
            </a:extLst>
          </p:cNvPr>
          <p:cNvSpPr txBox="1"/>
          <p:nvPr/>
        </p:nvSpPr>
        <p:spPr>
          <a:xfrm>
            <a:off x="4255460" y="2274030"/>
            <a:ext cx="7280276" cy="584775"/>
          </a:xfrm>
          <a:prstGeom prst="rect">
            <a:avLst/>
          </a:prstGeom>
          <a:noFill/>
        </p:spPr>
        <p:txBody>
          <a:bodyPr wrap="square" lIns="91440" tIns="45720" rIns="91440" bIns="45720" anchor="t">
            <a:spAutoFit/>
          </a:bodyPr>
          <a:lstStyle/>
          <a:p>
            <a:pPr algn="ctr"/>
            <a:r>
              <a:rPr lang="en-US" sz="1600" kern="0">
                <a:latin typeface="Arial"/>
                <a:cs typeface="Arial"/>
              </a:rPr>
              <a:t>An </a:t>
            </a:r>
            <a:r>
              <a:rPr lang="en-US" sz="1600" b="1" kern="0">
                <a:latin typeface="Arial"/>
                <a:cs typeface="Arial"/>
              </a:rPr>
              <a:t>impairment of normal functioning</a:t>
            </a:r>
            <a:r>
              <a:rPr lang="en-US" sz="1600" kern="0">
                <a:latin typeface="Arial"/>
                <a:cs typeface="Arial"/>
              </a:rPr>
              <a:t> of some aspect of the body, </a:t>
            </a:r>
            <a:r>
              <a:rPr lang="en-US" sz="1600" b="1" kern="0">
                <a:latin typeface="Arial"/>
                <a:cs typeface="Arial"/>
              </a:rPr>
              <a:t>characteristic signs or symptoms</a:t>
            </a:r>
            <a:r>
              <a:rPr lang="en-US" sz="1600" kern="0">
                <a:latin typeface="Arial"/>
                <a:cs typeface="Arial"/>
              </a:rPr>
              <a:t>, and </a:t>
            </a:r>
            <a:r>
              <a:rPr lang="en-US" sz="1600" b="1" kern="0">
                <a:latin typeface="Arial"/>
                <a:cs typeface="Arial"/>
              </a:rPr>
              <a:t>harm or morbidity</a:t>
            </a:r>
            <a:r>
              <a:rPr lang="en-US" sz="1600" kern="0" baseline="30000">
                <a:latin typeface="Arial"/>
                <a:cs typeface="Arial"/>
              </a:rPr>
              <a:t>3</a:t>
            </a:r>
            <a:endParaRPr lang="en-US" sz="1600" kern="0" baseline="30000" noProof="0">
              <a:latin typeface="Arial"/>
              <a:cs typeface="Arial"/>
            </a:endParaRPr>
          </a:p>
        </p:txBody>
      </p:sp>
      <p:sp>
        <p:nvSpPr>
          <p:cNvPr id="29" name="Rectangle: Rounded Corners 28">
            <a:extLst>
              <a:ext uri="{FF2B5EF4-FFF2-40B4-BE49-F238E27FC236}">
                <a16:creationId xmlns:a16="http://schemas.microsoft.com/office/drawing/2014/main" id="{184EE27D-5447-A352-2380-61D85D9F31B9}"/>
              </a:ext>
            </a:extLst>
          </p:cNvPr>
          <p:cNvSpPr/>
          <p:nvPr/>
        </p:nvSpPr>
        <p:spPr>
          <a:xfrm>
            <a:off x="5979781" y="2983059"/>
            <a:ext cx="3831634" cy="396474"/>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39">
              <a:defRPr/>
            </a:pPr>
            <a:r>
              <a:rPr lang="en-US" sz="1400" b="1" cap="all" spc="100" noProof="0">
                <a:solidFill>
                  <a:srgbClr val="FFFFFF"/>
                </a:solidFill>
                <a:cs typeface="Arial"/>
              </a:rPr>
              <a:t> Obesity</a:t>
            </a:r>
          </a:p>
        </p:txBody>
      </p:sp>
      <p:grpSp>
        <p:nvGrpSpPr>
          <p:cNvPr id="31" name="Group 30">
            <a:extLst>
              <a:ext uri="{FF2B5EF4-FFF2-40B4-BE49-F238E27FC236}">
                <a16:creationId xmlns:a16="http://schemas.microsoft.com/office/drawing/2014/main" id="{480BCF4E-923F-282B-6FA7-B96E6347A6EB}"/>
              </a:ext>
            </a:extLst>
          </p:cNvPr>
          <p:cNvGrpSpPr/>
          <p:nvPr/>
        </p:nvGrpSpPr>
        <p:grpSpPr>
          <a:xfrm>
            <a:off x="4195732" y="3507440"/>
            <a:ext cx="502292" cy="438334"/>
            <a:chOff x="6112928" y="2877313"/>
            <a:chExt cx="729332" cy="636466"/>
          </a:xfrm>
          <a:solidFill>
            <a:srgbClr val="EAAB00"/>
          </a:solidFill>
        </p:grpSpPr>
        <p:sp>
          <p:nvSpPr>
            <p:cNvPr id="32" name="Freeform 54">
              <a:extLst>
                <a:ext uri="{FF2B5EF4-FFF2-40B4-BE49-F238E27FC236}">
                  <a16:creationId xmlns:a16="http://schemas.microsoft.com/office/drawing/2014/main" id="{00BCA41E-186C-DE4D-E5C0-E932C96D3B51}"/>
                </a:ext>
              </a:extLst>
            </p:cNvPr>
            <p:cNvSpPr>
              <a:spLocks noEditPoints="1"/>
            </p:cNvSpPr>
            <p:nvPr/>
          </p:nvSpPr>
          <p:spPr bwMode="auto">
            <a:xfrm>
              <a:off x="6112928" y="2877313"/>
              <a:ext cx="381852" cy="378723"/>
            </a:xfrm>
            <a:custGeom>
              <a:avLst/>
              <a:gdLst>
                <a:gd name="T0" fmla="*/ 74 w 98"/>
                <a:gd name="T1" fmla="*/ 88 h 97"/>
                <a:gd name="T2" fmla="*/ 65 w 98"/>
                <a:gd name="T3" fmla="*/ 82 h 97"/>
                <a:gd name="T4" fmla="*/ 60 w 98"/>
                <a:gd name="T5" fmla="*/ 87 h 97"/>
                <a:gd name="T6" fmla="*/ 56 w 98"/>
                <a:gd name="T7" fmla="*/ 97 h 97"/>
                <a:gd name="T8" fmla="*/ 40 w 98"/>
                <a:gd name="T9" fmla="*/ 95 h 97"/>
                <a:gd name="T10" fmla="*/ 37 w 98"/>
                <a:gd name="T11" fmla="*/ 83 h 97"/>
                <a:gd name="T12" fmla="*/ 30 w 98"/>
                <a:gd name="T13" fmla="*/ 83 h 97"/>
                <a:gd name="T14" fmla="*/ 20 w 98"/>
                <a:gd name="T15" fmla="*/ 88 h 97"/>
                <a:gd name="T16" fmla="*/ 10 w 98"/>
                <a:gd name="T17" fmla="*/ 74 h 97"/>
                <a:gd name="T18" fmla="*/ 16 w 98"/>
                <a:gd name="T19" fmla="*/ 65 h 97"/>
                <a:gd name="T20" fmla="*/ 13 w 98"/>
                <a:gd name="T21" fmla="*/ 59 h 97"/>
                <a:gd name="T22" fmla="*/ 0 w 98"/>
                <a:gd name="T23" fmla="*/ 55 h 97"/>
                <a:gd name="T24" fmla="*/ 3 w 98"/>
                <a:gd name="T25" fmla="*/ 39 h 97"/>
                <a:gd name="T26" fmla="*/ 14 w 98"/>
                <a:gd name="T27" fmla="*/ 36 h 97"/>
                <a:gd name="T28" fmla="*/ 16 w 98"/>
                <a:gd name="T29" fmla="*/ 31 h 97"/>
                <a:gd name="T30" fmla="*/ 10 w 98"/>
                <a:gd name="T31" fmla="*/ 19 h 97"/>
                <a:gd name="T32" fmla="*/ 24 w 98"/>
                <a:gd name="T33" fmla="*/ 10 h 97"/>
                <a:gd name="T34" fmla="*/ 33 w 98"/>
                <a:gd name="T35" fmla="*/ 16 h 97"/>
                <a:gd name="T36" fmla="*/ 38 w 98"/>
                <a:gd name="T37" fmla="*/ 13 h 97"/>
                <a:gd name="T38" fmla="*/ 43 w 98"/>
                <a:gd name="T39" fmla="*/ 0 h 97"/>
                <a:gd name="T40" fmla="*/ 59 w 98"/>
                <a:gd name="T41" fmla="*/ 3 h 97"/>
                <a:gd name="T42" fmla="*/ 61 w 98"/>
                <a:gd name="T43" fmla="*/ 14 h 97"/>
                <a:gd name="T44" fmla="*/ 67 w 98"/>
                <a:gd name="T45" fmla="*/ 15 h 97"/>
                <a:gd name="T46" fmla="*/ 78 w 98"/>
                <a:gd name="T47" fmla="*/ 9 h 97"/>
                <a:gd name="T48" fmla="*/ 88 w 98"/>
                <a:gd name="T49" fmla="*/ 24 h 97"/>
                <a:gd name="T50" fmla="*/ 82 w 98"/>
                <a:gd name="T51" fmla="*/ 32 h 97"/>
                <a:gd name="T52" fmla="*/ 87 w 98"/>
                <a:gd name="T53" fmla="*/ 38 h 97"/>
                <a:gd name="T54" fmla="*/ 98 w 98"/>
                <a:gd name="T55" fmla="*/ 42 h 97"/>
                <a:gd name="T56" fmla="*/ 95 w 98"/>
                <a:gd name="T57" fmla="*/ 58 h 97"/>
                <a:gd name="T58" fmla="*/ 84 w 98"/>
                <a:gd name="T59" fmla="*/ 61 h 97"/>
                <a:gd name="T60" fmla="*/ 83 w 98"/>
                <a:gd name="T61" fmla="*/ 67 h 97"/>
                <a:gd name="T62" fmla="*/ 88 w 98"/>
                <a:gd name="T63" fmla="*/ 78 h 97"/>
                <a:gd name="T64" fmla="*/ 76 w 98"/>
                <a:gd name="T65" fmla="*/ 89 h 97"/>
                <a:gd name="T66" fmla="*/ 68 w 98"/>
                <a:gd name="T67" fmla="*/ 49 h 97"/>
                <a:gd name="T68" fmla="*/ 30 w 98"/>
                <a:gd name="T69" fmla="*/ 4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 h="97">
                  <a:moveTo>
                    <a:pt x="76" y="89"/>
                  </a:moveTo>
                  <a:cubicBezTo>
                    <a:pt x="76" y="89"/>
                    <a:pt x="75" y="88"/>
                    <a:pt x="74" y="88"/>
                  </a:cubicBezTo>
                  <a:cubicBezTo>
                    <a:pt x="72" y="86"/>
                    <a:pt x="70" y="84"/>
                    <a:pt x="67" y="82"/>
                  </a:cubicBezTo>
                  <a:cubicBezTo>
                    <a:pt x="66" y="82"/>
                    <a:pt x="66" y="82"/>
                    <a:pt x="65" y="82"/>
                  </a:cubicBezTo>
                  <a:cubicBezTo>
                    <a:pt x="64" y="82"/>
                    <a:pt x="63" y="82"/>
                    <a:pt x="63" y="83"/>
                  </a:cubicBezTo>
                  <a:cubicBezTo>
                    <a:pt x="61" y="84"/>
                    <a:pt x="60" y="85"/>
                    <a:pt x="60" y="87"/>
                  </a:cubicBezTo>
                  <a:cubicBezTo>
                    <a:pt x="60" y="90"/>
                    <a:pt x="59" y="92"/>
                    <a:pt x="59" y="95"/>
                  </a:cubicBezTo>
                  <a:cubicBezTo>
                    <a:pt x="58" y="97"/>
                    <a:pt x="58" y="97"/>
                    <a:pt x="56" y="97"/>
                  </a:cubicBezTo>
                  <a:cubicBezTo>
                    <a:pt x="51" y="97"/>
                    <a:pt x="47" y="97"/>
                    <a:pt x="43" y="97"/>
                  </a:cubicBezTo>
                  <a:cubicBezTo>
                    <a:pt x="41" y="97"/>
                    <a:pt x="40" y="97"/>
                    <a:pt x="40" y="95"/>
                  </a:cubicBezTo>
                  <a:cubicBezTo>
                    <a:pt x="39" y="91"/>
                    <a:pt x="39" y="88"/>
                    <a:pt x="38" y="85"/>
                  </a:cubicBezTo>
                  <a:cubicBezTo>
                    <a:pt x="38" y="84"/>
                    <a:pt x="38" y="84"/>
                    <a:pt x="37" y="83"/>
                  </a:cubicBezTo>
                  <a:cubicBezTo>
                    <a:pt x="36" y="83"/>
                    <a:pt x="35" y="83"/>
                    <a:pt x="34" y="82"/>
                  </a:cubicBezTo>
                  <a:cubicBezTo>
                    <a:pt x="33" y="81"/>
                    <a:pt x="32" y="82"/>
                    <a:pt x="30" y="83"/>
                  </a:cubicBezTo>
                  <a:cubicBezTo>
                    <a:pt x="28" y="85"/>
                    <a:pt x="26" y="86"/>
                    <a:pt x="23" y="88"/>
                  </a:cubicBezTo>
                  <a:cubicBezTo>
                    <a:pt x="22" y="89"/>
                    <a:pt x="21" y="89"/>
                    <a:pt x="20" y="88"/>
                  </a:cubicBezTo>
                  <a:cubicBezTo>
                    <a:pt x="17" y="85"/>
                    <a:pt x="13" y="82"/>
                    <a:pt x="10" y="78"/>
                  </a:cubicBezTo>
                  <a:cubicBezTo>
                    <a:pt x="9" y="76"/>
                    <a:pt x="9" y="76"/>
                    <a:pt x="10" y="74"/>
                  </a:cubicBezTo>
                  <a:cubicBezTo>
                    <a:pt x="12" y="71"/>
                    <a:pt x="14" y="69"/>
                    <a:pt x="16" y="67"/>
                  </a:cubicBezTo>
                  <a:cubicBezTo>
                    <a:pt x="16" y="66"/>
                    <a:pt x="16" y="66"/>
                    <a:pt x="16" y="65"/>
                  </a:cubicBezTo>
                  <a:cubicBezTo>
                    <a:pt x="15" y="64"/>
                    <a:pt x="15" y="62"/>
                    <a:pt x="14" y="61"/>
                  </a:cubicBezTo>
                  <a:cubicBezTo>
                    <a:pt x="14" y="60"/>
                    <a:pt x="13" y="60"/>
                    <a:pt x="13" y="59"/>
                  </a:cubicBezTo>
                  <a:cubicBezTo>
                    <a:pt x="9" y="59"/>
                    <a:pt x="6" y="58"/>
                    <a:pt x="3" y="58"/>
                  </a:cubicBezTo>
                  <a:cubicBezTo>
                    <a:pt x="1" y="58"/>
                    <a:pt x="0" y="57"/>
                    <a:pt x="0" y="55"/>
                  </a:cubicBezTo>
                  <a:cubicBezTo>
                    <a:pt x="0" y="51"/>
                    <a:pt x="0" y="46"/>
                    <a:pt x="0" y="42"/>
                  </a:cubicBezTo>
                  <a:cubicBezTo>
                    <a:pt x="0" y="40"/>
                    <a:pt x="1" y="39"/>
                    <a:pt x="3" y="39"/>
                  </a:cubicBezTo>
                  <a:cubicBezTo>
                    <a:pt x="6" y="39"/>
                    <a:pt x="9" y="38"/>
                    <a:pt x="13" y="38"/>
                  </a:cubicBezTo>
                  <a:cubicBezTo>
                    <a:pt x="14" y="38"/>
                    <a:pt x="14" y="37"/>
                    <a:pt x="14" y="36"/>
                  </a:cubicBezTo>
                  <a:cubicBezTo>
                    <a:pt x="15" y="35"/>
                    <a:pt x="15" y="34"/>
                    <a:pt x="16" y="33"/>
                  </a:cubicBezTo>
                  <a:cubicBezTo>
                    <a:pt x="16" y="32"/>
                    <a:pt x="16" y="31"/>
                    <a:pt x="16" y="31"/>
                  </a:cubicBezTo>
                  <a:cubicBezTo>
                    <a:pt x="14" y="28"/>
                    <a:pt x="12" y="26"/>
                    <a:pt x="10" y="24"/>
                  </a:cubicBezTo>
                  <a:cubicBezTo>
                    <a:pt x="9" y="22"/>
                    <a:pt x="9" y="21"/>
                    <a:pt x="10" y="19"/>
                  </a:cubicBezTo>
                  <a:cubicBezTo>
                    <a:pt x="13" y="16"/>
                    <a:pt x="16" y="13"/>
                    <a:pt x="20" y="10"/>
                  </a:cubicBezTo>
                  <a:cubicBezTo>
                    <a:pt x="22" y="8"/>
                    <a:pt x="22" y="8"/>
                    <a:pt x="24" y="10"/>
                  </a:cubicBezTo>
                  <a:cubicBezTo>
                    <a:pt x="26" y="12"/>
                    <a:pt x="29" y="13"/>
                    <a:pt x="31" y="15"/>
                  </a:cubicBezTo>
                  <a:cubicBezTo>
                    <a:pt x="32" y="16"/>
                    <a:pt x="32" y="16"/>
                    <a:pt x="33" y="16"/>
                  </a:cubicBezTo>
                  <a:cubicBezTo>
                    <a:pt x="34" y="15"/>
                    <a:pt x="36" y="14"/>
                    <a:pt x="37" y="14"/>
                  </a:cubicBezTo>
                  <a:cubicBezTo>
                    <a:pt x="38" y="14"/>
                    <a:pt x="38" y="13"/>
                    <a:pt x="38" y="13"/>
                  </a:cubicBezTo>
                  <a:cubicBezTo>
                    <a:pt x="38" y="9"/>
                    <a:pt x="39" y="6"/>
                    <a:pt x="40" y="3"/>
                  </a:cubicBezTo>
                  <a:cubicBezTo>
                    <a:pt x="40" y="1"/>
                    <a:pt x="41" y="0"/>
                    <a:pt x="43" y="0"/>
                  </a:cubicBezTo>
                  <a:cubicBezTo>
                    <a:pt x="47" y="0"/>
                    <a:pt x="51" y="0"/>
                    <a:pt x="55" y="0"/>
                  </a:cubicBezTo>
                  <a:cubicBezTo>
                    <a:pt x="57" y="0"/>
                    <a:pt x="58" y="1"/>
                    <a:pt x="59" y="3"/>
                  </a:cubicBezTo>
                  <a:cubicBezTo>
                    <a:pt x="59" y="6"/>
                    <a:pt x="60" y="9"/>
                    <a:pt x="60" y="13"/>
                  </a:cubicBezTo>
                  <a:cubicBezTo>
                    <a:pt x="60" y="13"/>
                    <a:pt x="60" y="14"/>
                    <a:pt x="61" y="14"/>
                  </a:cubicBezTo>
                  <a:cubicBezTo>
                    <a:pt x="62" y="14"/>
                    <a:pt x="64" y="15"/>
                    <a:pt x="65" y="16"/>
                  </a:cubicBezTo>
                  <a:cubicBezTo>
                    <a:pt x="66" y="16"/>
                    <a:pt x="66" y="16"/>
                    <a:pt x="67" y="15"/>
                  </a:cubicBezTo>
                  <a:cubicBezTo>
                    <a:pt x="69" y="13"/>
                    <a:pt x="72" y="11"/>
                    <a:pt x="75" y="9"/>
                  </a:cubicBezTo>
                  <a:cubicBezTo>
                    <a:pt x="76" y="8"/>
                    <a:pt x="77" y="8"/>
                    <a:pt x="78" y="9"/>
                  </a:cubicBezTo>
                  <a:cubicBezTo>
                    <a:pt x="81" y="12"/>
                    <a:pt x="85" y="16"/>
                    <a:pt x="88" y="19"/>
                  </a:cubicBezTo>
                  <a:cubicBezTo>
                    <a:pt x="89" y="21"/>
                    <a:pt x="89" y="22"/>
                    <a:pt x="88" y="24"/>
                  </a:cubicBezTo>
                  <a:cubicBezTo>
                    <a:pt x="86" y="26"/>
                    <a:pt x="84" y="28"/>
                    <a:pt x="82" y="31"/>
                  </a:cubicBezTo>
                  <a:cubicBezTo>
                    <a:pt x="82" y="31"/>
                    <a:pt x="82" y="32"/>
                    <a:pt x="82" y="32"/>
                  </a:cubicBezTo>
                  <a:cubicBezTo>
                    <a:pt x="83" y="33"/>
                    <a:pt x="83" y="34"/>
                    <a:pt x="83" y="36"/>
                  </a:cubicBezTo>
                  <a:cubicBezTo>
                    <a:pt x="84" y="37"/>
                    <a:pt x="85" y="38"/>
                    <a:pt x="87" y="38"/>
                  </a:cubicBezTo>
                  <a:cubicBezTo>
                    <a:pt x="90" y="38"/>
                    <a:pt x="92" y="39"/>
                    <a:pt x="95" y="39"/>
                  </a:cubicBezTo>
                  <a:cubicBezTo>
                    <a:pt x="97" y="40"/>
                    <a:pt x="98" y="40"/>
                    <a:pt x="98" y="42"/>
                  </a:cubicBezTo>
                  <a:cubicBezTo>
                    <a:pt x="98" y="47"/>
                    <a:pt x="98" y="51"/>
                    <a:pt x="98" y="55"/>
                  </a:cubicBezTo>
                  <a:cubicBezTo>
                    <a:pt x="98" y="57"/>
                    <a:pt x="97" y="58"/>
                    <a:pt x="95" y="58"/>
                  </a:cubicBezTo>
                  <a:cubicBezTo>
                    <a:pt x="92" y="59"/>
                    <a:pt x="88" y="59"/>
                    <a:pt x="85" y="60"/>
                  </a:cubicBezTo>
                  <a:cubicBezTo>
                    <a:pt x="84" y="60"/>
                    <a:pt x="84" y="60"/>
                    <a:pt x="84" y="61"/>
                  </a:cubicBezTo>
                  <a:cubicBezTo>
                    <a:pt x="83" y="62"/>
                    <a:pt x="83" y="63"/>
                    <a:pt x="83" y="64"/>
                  </a:cubicBezTo>
                  <a:cubicBezTo>
                    <a:pt x="82" y="65"/>
                    <a:pt x="82" y="66"/>
                    <a:pt x="83" y="67"/>
                  </a:cubicBezTo>
                  <a:cubicBezTo>
                    <a:pt x="85" y="70"/>
                    <a:pt x="86" y="72"/>
                    <a:pt x="88" y="74"/>
                  </a:cubicBezTo>
                  <a:cubicBezTo>
                    <a:pt x="89" y="76"/>
                    <a:pt x="89" y="76"/>
                    <a:pt x="88" y="78"/>
                  </a:cubicBezTo>
                  <a:cubicBezTo>
                    <a:pt x="85" y="81"/>
                    <a:pt x="82" y="85"/>
                    <a:pt x="79" y="88"/>
                  </a:cubicBezTo>
                  <a:cubicBezTo>
                    <a:pt x="78" y="88"/>
                    <a:pt x="77" y="89"/>
                    <a:pt x="76" y="89"/>
                  </a:cubicBezTo>
                  <a:close/>
                  <a:moveTo>
                    <a:pt x="49" y="68"/>
                  </a:moveTo>
                  <a:cubicBezTo>
                    <a:pt x="60" y="68"/>
                    <a:pt x="68" y="60"/>
                    <a:pt x="68" y="49"/>
                  </a:cubicBezTo>
                  <a:cubicBezTo>
                    <a:pt x="68" y="38"/>
                    <a:pt x="60" y="29"/>
                    <a:pt x="49" y="29"/>
                  </a:cubicBezTo>
                  <a:cubicBezTo>
                    <a:pt x="38" y="29"/>
                    <a:pt x="30" y="38"/>
                    <a:pt x="30" y="49"/>
                  </a:cubicBezTo>
                  <a:cubicBezTo>
                    <a:pt x="30" y="60"/>
                    <a:pt x="38" y="68"/>
                    <a:pt x="49" y="68"/>
                  </a:cubicBezTo>
                  <a:close/>
                </a:path>
              </a:pathLst>
            </a:custGeom>
            <a:noFill/>
            <a:ln w="19050">
              <a:solidFill>
                <a:schemeClr val="accent3"/>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noProof="0">
                <a:latin typeface="Arial" panose="020B0604020202020204" pitchFamily="34" charset="0"/>
                <a:cs typeface="Arial" panose="020B0604020202020204" pitchFamily="34" charset="0"/>
              </a:endParaRPr>
            </a:p>
          </p:txBody>
        </p:sp>
        <p:sp>
          <p:nvSpPr>
            <p:cNvPr id="33" name="Freeform 55">
              <a:extLst>
                <a:ext uri="{FF2B5EF4-FFF2-40B4-BE49-F238E27FC236}">
                  <a16:creationId xmlns:a16="http://schemas.microsoft.com/office/drawing/2014/main" id="{47F00D9C-E09E-1BBA-489A-01FA0EDF0391}"/>
                </a:ext>
              </a:extLst>
            </p:cNvPr>
            <p:cNvSpPr>
              <a:spLocks noEditPoints="1"/>
            </p:cNvSpPr>
            <p:nvPr/>
          </p:nvSpPr>
          <p:spPr bwMode="auto">
            <a:xfrm>
              <a:off x="6332048" y="3294685"/>
              <a:ext cx="228488" cy="219094"/>
            </a:xfrm>
            <a:custGeom>
              <a:avLst/>
              <a:gdLst>
                <a:gd name="T0" fmla="*/ 27 w 58"/>
                <a:gd name="T1" fmla="*/ 8 h 56"/>
                <a:gd name="T2" fmla="*/ 33 w 58"/>
                <a:gd name="T3" fmla="*/ 6 h 56"/>
                <a:gd name="T4" fmla="*/ 38 w 58"/>
                <a:gd name="T5" fmla="*/ 0 h 56"/>
                <a:gd name="T6" fmla="*/ 40 w 58"/>
                <a:gd name="T7" fmla="*/ 0 h 56"/>
                <a:gd name="T8" fmla="*/ 48 w 58"/>
                <a:gd name="T9" fmla="*/ 5 h 56"/>
                <a:gd name="T10" fmla="*/ 49 w 58"/>
                <a:gd name="T11" fmla="*/ 6 h 56"/>
                <a:gd name="T12" fmla="*/ 47 w 58"/>
                <a:gd name="T13" fmla="*/ 9 h 56"/>
                <a:gd name="T14" fmla="*/ 45 w 58"/>
                <a:gd name="T15" fmla="*/ 15 h 56"/>
                <a:gd name="T16" fmla="*/ 45 w 58"/>
                <a:gd name="T17" fmla="*/ 17 h 56"/>
                <a:gd name="T18" fmla="*/ 51 w 58"/>
                <a:gd name="T19" fmla="*/ 20 h 56"/>
                <a:gd name="T20" fmla="*/ 57 w 58"/>
                <a:gd name="T21" fmla="*/ 22 h 56"/>
                <a:gd name="T22" fmla="*/ 58 w 58"/>
                <a:gd name="T23" fmla="*/ 23 h 56"/>
                <a:gd name="T24" fmla="*/ 58 w 58"/>
                <a:gd name="T25" fmla="*/ 32 h 56"/>
                <a:gd name="T26" fmla="*/ 57 w 58"/>
                <a:gd name="T27" fmla="*/ 34 h 56"/>
                <a:gd name="T28" fmla="*/ 48 w 58"/>
                <a:gd name="T29" fmla="*/ 35 h 56"/>
                <a:gd name="T30" fmla="*/ 47 w 58"/>
                <a:gd name="T31" fmla="*/ 36 h 56"/>
                <a:gd name="T32" fmla="*/ 46 w 58"/>
                <a:gd name="T33" fmla="*/ 43 h 56"/>
                <a:gd name="T34" fmla="*/ 48 w 58"/>
                <a:gd name="T35" fmla="*/ 49 h 56"/>
                <a:gd name="T36" fmla="*/ 47 w 58"/>
                <a:gd name="T37" fmla="*/ 51 h 56"/>
                <a:gd name="T38" fmla="*/ 40 w 58"/>
                <a:gd name="T39" fmla="*/ 55 h 56"/>
                <a:gd name="T40" fmla="*/ 38 w 58"/>
                <a:gd name="T41" fmla="*/ 55 h 56"/>
                <a:gd name="T42" fmla="*/ 32 w 58"/>
                <a:gd name="T43" fmla="*/ 48 h 56"/>
                <a:gd name="T44" fmla="*/ 29 w 58"/>
                <a:gd name="T45" fmla="*/ 47 h 56"/>
                <a:gd name="T46" fmla="*/ 29 w 58"/>
                <a:gd name="T47" fmla="*/ 47 h 56"/>
                <a:gd name="T48" fmla="*/ 25 w 58"/>
                <a:gd name="T49" fmla="*/ 50 h 56"/>
                <a:gd name="T50" fmla="*/ 20 w 58"/>
                <a:gd name="T51" fmla="*/ 55 h 56"/>
                <a:gd name="T52" fmla="*/ 19 w 58"/>
                <a:gd name="T53" fmla="*/ 55 h 56"/>
                <a:gd name="T54" fmla="*/ 11 w 58"/>
                <a:gd name="T55" fmla="*/ 51 h 56"/>
                <a:gd name="T56" fmla="*/ 10 w 58"/>
                <a:gd name="T57" fmla="*/ 49 h 56"/>
                <a:gd name="T58" fmla="*/ 13 w 58"/>
                <a:gd name="T59" fmla="*/ 40 h 56"/>
                <a:gd name="T60" fmla="*/ 13 w 58"/>
                <a:gd name="T61" fmla="*/ 38 h 56"/>
                <a:gd name="T62" fmla="*/ 8 w 58"/>
                <a:gd name="T63" fmla="*/ 35 h 56"/>
                <a:gd name="T64" fmla="*/ 2 w 58"/>
                <a:gd name="T65" fmla="*/ 34 h 56"/>
                <a:gd name="T66" fmla="*/ 0 w 58"/>
                <a:gd name="T67" fmla="*/ 32 h 56"/>
                <a:gd name="T68" fmla="*/ 0 w 58"/>
                <a:gd name="T69" fmla="*/ 24 h 56"/>
                <a:gd name="T70" fmla="*/ 2 w 58"/>
                <a:gd name="T71" fmla="*/ 21 h 56"/>
                <a:gd name="T72" fmla="*/ 9 w 58"/>
                <a:gd name="T73" fmla="*/ 20 h 56"/>
                <a:gd name="T74" fmla="*/ 12 w 58"/>
                <a:gd name="T75" fmla="*/ 18 h 56"/>
                <a:gd name="T76" fmla="*/ 12 w 58"/>
                <a:gd name="T77" fmla="*/ 13 h 56"/>
                <a:gd name="T78" fmla="*/ 10 w 58"/>
                <a:gd name="T79" fmla="*/ 6 h 56"/>
                <a:gd name="T80" fmla="*/ 11 w 58"/>
                <a:gd name="T81" fmla="*/ 5 h 56"/>
                <a:gd name="T82" fmla="*/ 19 w 58"/>
                <a:gd name="T83" fmla="*/ 0 h 56"/>
                <a:gd name="T84" fmla="*/ 20 w 58"/>
                <a:gd name="T85" fmla="*/ 0 h 56"/>
                <a:gd name="T86" fmla="*/ 26 w 58"/>
                <a:gd name="T87" fmla="*/ 8 h 56"/>
                <a:gd name="T88" fmla="*/ 27 w 58"/>
                <a:gd name="T89" fmla="*/ 8 h 56"/>
                <a:gd name="T90" fmla="*/ 29 w 58"/>
                <a:gd name="T91" fmla="*/ 37 h 56"/>
                <a:gd name="T92" fmla="*/ 39 w 58"/>
                <a:gd name="T93" fmla="*/ 28 h 56"/>
                <a:gd name="T94" fmla="*/ 29 w 58"/>
                <a:gd name="T95" fmla="*/ 18 h 56"/>
                <a:gd name="T96" fmla="*/ 19 w 58"/>
                <a:gd name="T97" fmla="*/ 28 h 56"/>
                <a:gd name="T98" fmla="*/ 29 w 58"/>
                <a:gd name="T99" fmla="*/ 3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56">
                  <a:moveTo>
                    <a:pt x="27" y="8"/>
                  </a:moveTo>
                  <a:cubicBezTo>
                    <a:pt x="29" y="9"/>
                    <a:pt x="31" y="9"/>
                    <a:pt x="33" y="6"/>
                  </a:cubicBezTo>
                  <a:cubicBezTo>
                    <a:pt x="35" y="4"/>
                    <a:pt x="36" y="2"/>
                    <a:pt x="38" y="0"/>
                  </a:cubicBezTo>
                  <a:cubicBezTo>
                    <a:pt x="38" y="0"/>
                    <a:pt x="39" y="0"/>
                    <a:pt x="40" y="0"/>
                  </a:cubicBezTo>
                  <a:cubicBezTo>
                    <a:pt x="42" y="2"/>
                    <a:pt x="45" y="3"/>
                    <a:pt x="48" y="5"/>
                  </a:cubicBezTo>
                  <a:cubicBezTo>
                    <a:pt x="48" y="5"/>
                    <a:pt x="49" y="5"/>
                    <a:pt x="49" y="6"/>
                  </a:cubicBezTo>
                  <a:cubicBezTo>
                    <a:pt x="48" y="7"/>
                    <a:pt x="48" y="8"/>
                    <a:pt x="47" y="9"/>
                  </a:cubicBezTo>
                  <a:cubicBezTo>
                    <a:pt x="47" y="11"/>
                    <a:pt x="46" y="13"/>
                    <a:pt x="45" y="15"/>
                  </a:cubicBezTo>
                  <a:cubicBezTo>
                    <a:pt x="45" y="16"/>
                    <a:pt x="45" y="16"/>
                    <a:pt x="45" y="17"/>
                  </a:cubicBezTo>
                  <a:cubicBezTo>
                    <a:pt x="46" y="20"/>
                    <a:pt x="49" y="20"/>
                    <a:pt x="51" y="20"/>
                  </a:cubicBezTo>
                  <a:cubicBezTo>
                    <a:pt x="53" y="21"/>
                    <a:pt x="55" y="21"/>
                    <a:pt x="57" y="22"/>
                  </a:cubicBezTo>
                  <a:cubicBezTo>
                    <a:pt x="58" y="22"/>
                    <a:pt x="58" y="22"/>
                    <a:pt x="58" y="23"/>
                  </a:cubicBezTo>
                  <a:cubicBezTo>
                    <a:pt x="58" y="26"/>
                    <a:pt x="58" y="29"/>
                    <a:pt x="58" y="32"/>
                  </a:cubicBezTo>
                  <a:cubicBezTo>
                    <a:pt x="58" y="33"/>
                    <a:pt x="58" y="34"/>
                    <a:pt x="57" y="34"/>
                  </a:cubicBezTo>
                  <a:cubicBezTo>
                    <a:pt x="54" y="35"/>
                    <a:pt x="51" y="35"/>
                    <a:pt x="48" y="35"/>
                  </a:cubicBezTo>
                  <a:cubicBezTo>
                    <a:pt x="47" y="35"/>
                    <a:pt x="47" y="36"/>
                    <a:pt x="47" y="36"/>
                  </a:cubicBezTo>
                  <a:cubicBezTo>
                    <a:pt x="45" y="38"/>
                    <a:pt x="45" y="40"/>
                    <a:pt x="46" y="43"/>
                  </a:cubicBezTo>
                  <a:cubicBezTo>
                    <a:pt x="47" y="45"/>
                    <a:pt x="48" y="47"/>
                    <a:pt x="48" y="49"/>
                  </a:cubicBezTo>
                  <a:cubicBezTo>
                    <a:pt x="49" y="50"/>
                    <a:pt x="49" y="50"/>
                    <a:pt x="47" y="51"/>
                  </a:cubicBezTo>
                  <a:cubicBezTo>
                    <a:pt x="45" y="52"/>
                    <a:pt x="42" y="54"/>
                    <a:pt x="40" y="55"/>
                  </a:cubicBezTo>
                  <a:cubicBezTo>
                    <a:pt x="39" y="56"/>
                    <a:pt x="38" y="56"/>
                    <a:pt x="38" y="55"/>
                  </a:cubicBezTo>
                  <a:cubicBezTo>
                    <a:pt x="36" y="53"/>
                    <a:pt x="34" y="50"/>
                    <a:pt x="32" y="48"/>
                  </a:cubicBezTo>
                  <a:cubicBezTo>
                    <a:pt x="32" y="47"/>
                    <a:pt x="30" y="47"/>
                    <a:pt x="29" y="47"/>
                  </a:cubicBezTo>
                  <a:cubicBezTo>
                    <a:pt x="29" y="47"/>
                    <a:pt x="29" y="47"/>
                    <a:pt x="29" y="47"/>
                  </a:cubicBezTo>
                  <a:cubicBezTo>
                    <a:pt x="27" y="47"/>
                    <a:pt x="26" y="48"/>
                    <a:pt x="25" y="50"/>
                  </a:cubicBezTo>
                  <a:cubicBezTo>
                    <a:pt x="23" y="52"/>
                    <a:pt x="22" y="53"/>
                    <a:pt x="20" y="55"/>
                  </a:cubicBezTo>
                  <a:cubicBezTo>
                    <a:pt x="20" y="56"/>
                    <a:pt x="19" y="56"/>
                    <a:pt x="19" y="55"/>
                  </a:cubicBezTo>
                  <a:cubicBezTo>
                    <a:pt x="16" y="54"/>
                    <a:pt x="13" y="52"/>
                    <a:pt x="11" y="51"/>
                  </a:cubicBezTo>
                  <a:cubicBezTo>
                    <a:pt x="10" y="50"/>
                    <a:pt x="10" y="50"/>
                    <a:pt x="10" y="49"/>
                  </a:cubicBezTo>
                  <a:cubicBezTo>
                    <a:pt x="11" y="46"/>
                    <a:pt x="12" y="43"/>
                    <a:pt x="13" y="40"/>
                  </a:cubicBezTo>
                  <a:cubicBezTo>
                    <a:pt x="13" y="40"/>
                    <a:pt x="13" y="39"/>
                    <a:pt x="13" y="38"/>
                  </a:cubicBezTo>
                  <a:cubicBezTo>
                    <a:pt x="12" y="36"/>
                    <a:pt x="10" y="35"/>
                    <a:pt x="8" y="35"/>
                  </a:cubicBezTo>
                  <a:cubicBezTo>
                    <a:pt x="6" y="35"/>
                    <a:pt x="4" y="34"/>
                    <a:pt x="2" y="34"/>
                  </a:cubicBezTo>
                  <a:cubicBezTo>
                    <a:pt x="0" y="34"/>
                    <a:pt x="0" y="33"/>
                    <a:pt x="0" y="32"/>
                  </a:cubicBezTo>
                  <a:cubicBezTo>
                    <a:pt x="0" y="29"/>
                    <a:pt x="0" y="26"/>
                    <a:pt x="0" y="24"/>
                  </a:cubicBezTo>
                  <a:cubicBezTo>
                    <a:pt x="0" y="22"/>
                    <a:pt x="0" y="22"/>
                    <a:pt x="2" y="21"/>
                  </a:cubicBezTo>
                  <a:cubicBezTo>
                    <a:pt x="4" y="21"/>
                    <a:pt x="7" y="20"/>
                    <a:pt x="9" y="20"/>
                  </a:cubicBezTo>
                  <a:cubicBezTo>
                    <a:pt x="11" y="20"/>
                    <a:pt x="11" y="20"/>
                    <a:pt x="12" y="18"/>
                  </a:cubicBezTo>
                  <a:cubicBezTo>
                    <a:pt x="14" y="16"/>
                    <a:pt x="13" y="15"/>
                    <a:pt x="12" y="13"/>
                  </a:cubicBezTo>
                  <a:cubicBezTo>
                    <a:pt x="11" y="11"/>
                    <a:pt x="10" y="9"/>
                    <a:pt x="10" y="6"/>
                  </a:cubicBezTo>
                  <a:cubicBezTo>
                    <a:pt x="10" y="6"/>
                    <a:pt x="10" y="5"/>
                    <a:pt x="11" y="5"/>
                  </a:cubicBezTo>
                  <a:cubicBezTo>
                    <a:pt x="13" y="3"/>
                    <a:pt x="16" y="2"/>
                    <a:pt x="19" y="0"/>
                  </a:cubicBezTo>
                  <a:cubicBezTo>
                    <a:pt x="19" y="0"/>
                    <a:pt x="20" y="0"/>
                    <a:pt x="20" y="0"/>
                  </a:cubicBezTo>
                  <a:cubicBezTo>
                    <a:pt x="23" y="3"/>
                    <a:pt x="24" y="5"/>
                    <a:pt x="26" y="8"/>
                  </a:cubicBezTo>
                  <a:cubicBezTo>
                    <a:pt x="27" y="8"/>
                    <a:pt x="26" y="8"/>
                    <a:pt x="27" y="8"/>
                  </a:cubicBezTo>
                  <a:moveTo>
                    <a:pt x="29" y="37"/>
                  </a:moveTo>
                  <a:cubicBezTo>
                    <a:pt x="35" y="37"/>
                    <a:pt x="39" y="33"/>
                    <a:pt x="39" y="28"/>
                  </a:cubicBezTo>
                  <a:cubicBezTo>
                    <a:pt x="39" y="22"/>
                    <a:pt x="34" y="18"/>
                    <a:pt x="29" y="18"/>
                  </a:cubicBezTo>
                  <a:cubicBezTo>
                    <a:pt x="24" y="18"/>
                    <a:pt x="19" y="22"/>
                    <a:pt x="19" y="28"/>
                  </a:cubicBezTo>
                  <a:cubicBezTo>
                    <a:pt x="19" y="33"/>
                    <a:pt x="24" y="37"/>
                    <a:pt x="29" y="37"/>
                  </a:cubicBezTo>
                  <a:close/>
                </a:path>
              </a:pathLst>
            </a:custGeom>
            <a:noFill/>
            <a:ln w="19050">
              <a:solidFill>
                <a:schemeClr val="accent3"/>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noProof="0">
                <a:latin typeface="Arial" panose="020B0604020202020204" pitchFamily="34" charset="0"/>
                <a:cs typeface="Arial" panose="020B0604020202020204" pitchFamily="34" charset="0"/>
              </a:endParaRPr>
            </a:p>
          </p:txBody>
        </p:sp>
        <p:sp>
          <p:nvSpPr>
            <p:cNvPr id="34" name="Freeform 56">
              <a:extLst>
                <a:ext uri="{FF2B5EF4-FFF2-40B4-BE49-F238E27FC236}">
                  <a16:creationId xmlns:a16="http://schemas.microsoft.com/office/drawing/2014/main" id="{4CD1E7D4-2601-40FA-9FE7-02584659FB6D}"/>
                </a:ext>
              </a:extLst>
            </p:cNvPr>
            <p:cNvSpPr>
              <a:spLocks noEditPoints="1"/>
            </p:cNvSpPr>
            <p:nvPr/>
          </p:nvSpPr>
          <p:spPr bwMode="auto">
            <a:xfrm>
              <a:off x="6544355" y="3066674"/>
              <a:ext cx="297905" cy="285658"/>
            </a:xfrm>
            <a:custGeom>
              <a:avLst/>
              <a:gdLst>
                <a:gd name="T0" fmla="*/ 49 w 58"/>
                <a:gd name="T1" fmla="*/ 6 h 56"/>
                <a:gd name="T2" fmla="*/ 47 w 58"/>
                <a:gd name="T3" fmla="*/ 10 h 56"/>
                <a:gd name="T4" fmla="*/ 45 w 58"/>
                <a:gd name="T5" fmla="*/ 15 h 56"/>
                <a:gd name="T6" fmla="*/ 45 w 58"/>
                <a:gd name="T7" fmla="*/ 17 h 56"/>
                <a:gd name="T8" fmla="*/ 51 w 58"/>
                <a:gd name="T9" fmla="*/ 21 h 56"/>
                <a:gd name="T10" fmla="*/ 57 w 58"/>
                <a:gd name="T11" fmla="*/ 22 h 56"/>
                <a:gd name="T12" fmla="*/ 58 w 58"/>
                <a:gd name="T13" fmla="*/ 23 h 56"/>
                <a:gd name="T14" fmla="*/ 58 w 58"/>
                <a:gd name="T15" fmla="*/ 32 h 56"/>
                <a:gd name="T16" fmla="*/ 57 w 58"/>
                <a:gd name="T17" fmla="*/ 34 h 56"/>
                <a:gd name="T18" fmla="*/ 48 w 58"/>
                <a:gd name="T19" fmla="*/ 35 h 56"/>
                <a:gd name="T20" fmla="*/ 47 w 58"/>
                <a:gd name="T21" fmla="*/ 36 h 56"/>
                <a:gd name="T22" fmla="*/ 46 w 58"/>
                <a:gd name="T23" fmla="*/ 43 h 56"/>
                <a:gd name="T24" fmla="*/ 48 w 58"/>
                <a:gd name="T25" fmla="*/ 49 h 56"/>
                <a:gd name="T26" fmla="*/ 47 w 58"/>
                <a:gd name="T27" fmla="*/ 51 h 56"/>
                <a:gd name="T28" fmla="*/ 40 w 58"/>
                <a:gd name="T29" fmla="*/ 55 h 56"/>
                <a:gd name="T30" fmla="*/ 38 w 58"/>
                <a:gd name="T31" fmla="*/ 55 h 56"/>
                <a:gd name="T32" fmla="*/ 32 w 58"/>
                <a:gd name="T33" fmla="*/ 48 h 56"/>
                <a:gd name="T34" fmla="*/ 30 w 58"/>
                <a:gd name="T35" fmla="*/ 47 h 56"/>
                <a:gd name="T36" fmla="*/ 25 w 58"/>
                <a:gd name="T37" fmla="*/ 50 h 56"/>
                <a:gd name="T38" fmla="*/ 20 w 58"/>
                <a:gd name="T39" fmla="*/ 55 h 56"/>
                <a:gd name="T40" fmla="*/ 18 w 58"/>
                <a:gd name="T41" fmla="*/ 55 h 56"/>
                <a:gd name="T42" fmla="*/ 11 w 58"/>
                <a:gd name="T43" fmla="*/ 51 h 56"/>
                <a:gd name="T44" fmla="*/ 10 w 58"/>
                <a:gd name="T45" fmla="*/ 49 h 56"/>
                <a:gd name="T46" fmla="*/ 13 w 58"/>
                <a:gd name="T47" fmla="*/ 41 h 56"/>
                <a:gd name="T48" fmla="*/ 13 w 58"/>
                <a:gd name="T49" fmla="*/ 38 h 56"/>
                <a:gd name="T50" fmla="*/ 8 w 58"/>
                <a:gd name="T51" fmla="*/ 35 h 56"/>
                <a:gd name="T52" fmla="*/ 1 w 58"/>
                <a:gd name="T53" fmla="*/ 34 h 56"/>
                <a:gd name="T54" fmla="*/ 0 w 58"/>
                <a:gd name="T55" fmla="*/ 32 h 56"/>
                <a:gd name="T56" fmla="*/ 0 w 58"/>
                <a:gd name="T57" fmla="*/ 23 h 56"/>
                <a:gd name="T58" fmla="*/ 1 w 58"/>
                <a:gd name="T59" fmla="*/ 22 h 56"/>
                <a:gd name="T60" fmla="*/ 9 w 58"/>
                <a:gd name="T61" fmla="*/ 20 h 56"/>
                <a:gd name="T62" fmla="*/ 12 w 58"/>
                <a:gd name="T63" fmla="*/ 19 h 56"/>
                <a:gd name="T64" fmla="*/ 12 w 58"/>
                <a:gd name="T65" fmla="*/ 13 h 56"/>
                <a:gd name="T66" fmla="*/ 10 w 58"/>
                <a:gd name="T67" fmla="*/ 7 h 56"/>
                <a:gd name="T68" fmla="*/ 11 w 58"/>
                <a:gd name="T69" fmla="*/ 5 h 56"/>
                <a:gd name="T70" fmla="*/ 18 w 58"/>
                <a:gd name="T71" fmla="*/ 0 h 56"/>
                <a:gd name="T72" fmla="*/ 21 w 58"/>
                <a:gd name="T73" fmla="*/ 1 h 56"/>
                <a:gd name="T74" fmla="*/ 26 w 58"/>
                <a:gd name="T75" fmla="*/ 8 h 56"/>
                <a:gd name="T76" fmla="*/ 28 w 58"/>
                <a:gd name="T77" fmla="*/ 8 h 56"/>
                <a:gd name="T78" fmla="*/ 34 w 58"/>
                <a:gd name="T79" fmla="*/ 5 h 56"/>
                <a:gd name="T80" fmla="*/ 38 w 58"/>
                <a:gd name="T81" fmla="*/ 1 h 56"/>
                <a:gd name="T82" fmla="*/ 40 w 58"/>
                <a:gd name="T83" fmla="*/ 0 h 56"/>
                <a:gd name="T84" fmla="*/ 48 w 58"/>
                <a:gd name="T85" fmla="*/ 5 h 56"/>
                <a:gd name="T86" fmla="*/ 49 w 58"/>
                <a:gd name="T87" fmla="*/ 6 h 56"/>
                <a:gd name="T88" fmla="*/ 29 w 58"/>
                <a:gd name="T89" fmla="*/ 37 h 56"/>
                <a:gd name="T90" fmla="*/ 39 w 58"/>
                <a:gd name="T91" fmla="*/ 28 h 56"/>
                <a:gd name="T92" fmla="*/ 29 w 58"/>
                <a:gd name="T93" fmla="*/ 18 h 56"/>
                <a:gd name="T94" fmla="*/ 19 w 58"/>
                <a:gd name="T95" fmla="*/ 28 h 56"/>
                <a:gd name="T96" fmla="*/ 29 w 58"/>
                <a:gd name="T97" fmla="*/ 3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 h="56">
                  <a:moveTo>
                    <a:pt x="49" y="6"/>
                  </a:moveTo>
                  <a:cubicBezTo>
                    <a:pt x="48" y="7"/>
                    <a:pt x="48" y="8"/>
                    <a:pt x="47" y="10"/>
                  </a:cubicBezTo>
                  <a:cubicBezTo>
                    <a:pt x="47" y="11"/>
                    <a:pt x="46" y="13"/>
                    <a:pt x="45" y="15"/>
                  </a:cubicBezTo>
                  <a:cubicBezTo>
                    <a:pt x="45" y="16"/>
                    <a:pt x="45" y="16"/>
                    <a:pt x="45" y="17"/>
                  </a:cubicBezTo>
                  <a:cubicBezTo>
                    <a:pt x="46" y="20"/>
                    <a:pt x="48" y="21"/>
                    <a:pt x="51" y="21"/>
                  </a:cubicBezTo>
                  <a:cubicBezTo>
                    <a:pt x="53" y="21"/>
                    <a:pt x="55" y="21"/>
                    <a:pt x="57" y="22"/>
                  </a:cubicBezTo>
                  <a:cubicBezTo>
                    <a:pt x="58" y="22"/>
                    <a:pt x="58" y="22"/>
                    <a:pt x="58" y="23"/>
                  </a:cubicBezTo>
                  <a:cubicBezTo>
                    <a:pt x="58" y="26"/>
                    <a:pt x="58" y="29"/>
                    <a:pt x="58" y="32"/>
                  </a:cubicBezTo>
                  <a:cubicBezTo>
                    <a:pt x="58" y="33"/>
                    <a:pt x="58" y="34"/>
                    <a:pt x="57" y="34"/>
                  </a:cubicBezTo>
                  <a:cubicBezTo>
                    <a:pt x="54" y="35"/>
                    <a:pt x="51" y="35"/>
                    <a:pt x="48" y="35"/>
                  </a:cubicBezTo>
                  <a:cubicBezTo>
                    <a:pt x="47" y="35"/>
                    <a:pt x="47" y="36"/>
                    <a:pt x="47" y="36"/>
                  </a:cubicBezTo>
                  <a:cubicBezTo>
                    <a:pt x="45" y="39"/>
                    <a:pt x="45" y="41"/>
                    <a:pt x="46" y="43"/>
                  </a:cubicBezTo>
                  <a:cubicBezTo>
                    <a:pt x="47" y="45"/>
                    <a:pt x="48" y="47"/>
                    <a:pt x="48" y="49"/>
                  </a:cubicBezTo>
                  <a:cubicBezTo>
                    <a:pt x="49" y="50"/>
                    <a:pt x="49" y="50"/>
                    <a:pt x="47" y="51"/>
                  </a:cubicBezTo>
                  <a:cubicBezTo>
                    <a:pt x="45" y="52"/>
                    <a:pt x="42" y="54"/>
                    <a:pt x="40" y="55"/>
                  </a:cubicBezTo>
                  <a:cubicBezTo>
                    <a:pt x="39" y="56"/>
                    <a:pt x="38" y="56"/>
                    <a:pt x="38" y="55"/>
                  </a:cubicBezTo>
                  <a:cubicBezTo>
                    <a:pt x="36" y="53"/>
                    <a:pt x="34" y="51"/>
                    <a:pt x="32" y="48"/>
                  </a:cubicBezTo>
                  <a:cubicBezTo>
                    <a:pt x="32" y="47"/>
                    <a:pt x="31" y="47"/>
                    <a:pt x="30" y="47"/>
                  </a:cubicBezTo>
                  <a:cubicBezTo>
                    <a:pt x="28" y="47"/>
                    <a:pt x="26" y="48"/>
                    <a:pt x="25" y="50"/>
                  </a:cubicBezTo>
                  <a:cubicBezTo>
                    <a:pt x="23" y="52"/>
                    <a:pt x="22" y="54"/>
                    <a:pt x="20" y="55"/>
                  </a:cubicBezTo>
                  <a:cubicBezTo>
                    <a:pt x="20" y="56"/>
                    <a:pt x="19" y="56"/>
                    <a:pt x="18" y="55"/>
                  </a:cubicBezTo>
                  <a:cubicBezTo>
                    <a:pt x="16" y="54"/>
                    <a:pt x="13" y="52"/>
                    <a:pt x="11" y="51"/>
                  </a:cubicBezTo>
                  <a:cubicBezTo>
                    <a:pt x="10" y="50"/>
                    <a:pt x="10" y="50"/>
                    <a:pt x="10" y="49"/>
                  </a:cubicBezTo>
                  <a:cubicBezTo>
                    <a:pt x="11" y="46"/>
                    <a:pt x="12" y="43"/>
                    <a:pt x="13" y="41"/>
                  </a:cubicBezTo>
                  <a:cubicBezTo>
                    <a:pt x="13" y="40"/>
                    <a:pt x="13" y="39"/>
                    <a:pt x="13" y="38"/>
                  </a:cubicBezTo>
                  <a:cubicBezTo>
                    <a:pt x="12" y="36"/>
                    <a:pt x="10" y="35"/>
                    <a:pt x="8" y="35"/>
                  </a:cubicBezTo>
                  <a:cubicBezTo>
                    <a:pt x="5" y="35"/>
                    <a:pt x="3" y="35"/>
                    <a:pt x="1" y="34"/>
                  </a:cubicBezTo>
                  <a:cubicBezTo>
                    <a:pt x="0" y="34"/>
                    <a:pt x="0" y="33"/>
                    <a:pt x="0" y="32"/>
                  </a:cubicBezTo>
                  <a:cubicBezTo>
                    <a:pt x="0" y="29"/>
                    <a:pt x="0" y="26"/>
                    <a:pt x="0" y="23"/>
                  </a:cubicBezTo>
                  <a:cubicBezTo>
                    <a:pt x="0" y="22"/>
                    <a:pt x="0" y="22"/>
                    <a:pt x="1" y="22"/>
                  </a:cubicBezTo>
                  <a:cubicBezTo>
                    <a:pt x="4" y="21"/>
                    <a:pt x="7" y="21"/>
                    <a:pt x="9" y="20"/>
                  </a:cubicBezTo>
                  <a:cubicBezTo>
                    <a:pt x="11" y="20"/>
                    <a:pt x="11" y="20"/>
                    <a:pt x="12" y="19"/>
                  </a:cubicBezTo>
                  <a:cubicBezTo>
                    <a:pt x="14" y="17"/>
                    <a:pt x="13" y="15"/>
                    <a:pt x="12" y="13"/>
                  </a:cubicBezTo>
                  <a:cubicBezTo>
                    <a:pt x="11" y="11"/>
                    <a:pt x="10" y="9"/>
                    <a:pt x="10" y="7"/>
                  </a:cubicBezTo>
                  <a:cubicBezTo>
                    <a:pt x="10" y="6"/>
                    <a:pt x="10" y="5"/>
                    <a:pt x="11" y="5"/>
                  </a:cubicBezTo>
                  <a:cubicBezTo>
                    <a:pt x="13" y="3"/>
                    <a:pt x="16" y="2"/>
                    <a:pt x="18" y="0"/>
                  </a:cubicBezTo>
                  <a:cubicBezTo>
                    <a:pt x="19" y="0"/>
                    <a:pt x="20" y="0"/>
                    <a:pt x="21" y="1"/>
                  </a:cubicBezTo>
                  <a:cubicBezTo>
                    <a:pt x="23" y="3"/>
                    <a:pt x="24" y="5"/>
                    <a:pt x="26" y="8"/>
                  </a:cubicBezTo>
                  <a:cubicBezTo>
                    <a:pt x="27" y="8"/>
                    <a:pt x="27" y="8"/>
                    <a:pt x="28" y="8"/>
                  </a:cubicBezTo>
                  <a:cubicBezTo>
                    <a:pt x="31" y="9"/>
                    <a:pt x="32" y="8"/>
                    <a:pt x="34" y="5"/>
                  </a:cubicBezTo>
                  <a:cubicBezTo>
                    <a:pt x="35" y="4"/>
                    <a:pt x="36" y="2"/>
                    <a:pt x="38" y="1"/>
                  </a:cubicBezTo>
                  <a:cubicBezTo>
                    <a:pt x="38" y="0"/>
                    <a:pt x="39" y="0"/>
                    <a:pt x="40" y="0"/>
                  </a:cubicBezTo>
                  <a:cubicBezTo>
                    <a:pt x="42" y="2"/>
                    <a:pt x="45" y="3"/>
                    <a:pt x="48" y="5"/>
                  </a:cubicBezTo>
                  <a:cubicBezTo>
                    <a:pt x="48" y="5"/>
                    <a:pt x="49" y="5"/>
                    <a:pt x="49" y="6"/>
                  </a:cubicBezTo>
                  <a:close/>
                  <a:moveTo>
                    <a:pt x="29" y="37"/>
                  </a:moveTo>
                  <a:cubicBezTo>
                    <a:pt x="35" y="37"/>
                    <a:pt x="39" y="33"/>
                    <a:pt x="39" y="28"/>
                  </a:cubicBezTo>
                  <a:cubicBezTo>
                    <a:pt x="39" y="22"/>
                    <a:pt x="34" y="18"/>
                    <a:pt x="29" y="18"/>
                  </a:cubicBezTo>
                  <a:cubicBezTo>
                    <a:pt x="24" y="18"/>
                    <a:pt x="19" y="23"/>
                    <a:pt x="19" y="28"/>
                  </a:cubicBezTo>
                  <a:cubicBezTo>
                    <a:pt x="19" y="33"/>
                    <a:pt x="24" y="38"/>
                    <a:pt x="29" y="37"/>
                  </a:cubicBezTo>
                  <a:close/>
                </a:path>
              </a:pathLst>
            </a:custGeom>
            <a:noFill/>
            <a:ln w="19050">
              <a:solidFill>
                <a:schemeClr val="accent3"/>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noProof="0">
                <a:latin typeface="Arial" panose="020B0604020202020204" pitchFamily="34" charset="0"/>
                <a:cs typeface="Arial" panose="020B0604020202020204" pitchFamily="34" charset="0"/>
              </a:endParaRPr>
            </a:p>
          </p:txBody>
        </p:sp>
      </p:grpSp>
      <p:pic>
        <p:nvPicPr>
          <p:cNvPr id="43" name="Graphic 42">
            <a:extLst>
              <a:ext uri="{FF2B5EF4-FFF2-40B4-BE49-F238E27FC236}">
                <a16:creationId xmlns:a16="http://schemas.microsoft.com/office/drawing/2014/main" id="{B8BF1191-7F2A-D008-7BF4-C27CFBABCB3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27569" y="3498271"/>
            <a:ext cx="491532" cy="491530"/>
          </a:xfrm>
          <a:prstGeom prst="rect">
            <a:avLst/>
          </a:prstGeom>
        </p:spPr>
      </p:pic>
      <p:sp>
        <p:nvSpPr>
          <p:cNvPr id="44" name="Freeform 494">
            <a:extLst>
              <a:ext uri="{FF2B5EF4-FFF2-40B4-BE49-F238E27FC236}">
                <a16:creationId xmlns:a16="http://schemas.microsoft.com/office/drawing/2014/main" id="{D6333564-560A-9787-6CE4-DC833374B3D8}"/>
              </a:ext>
            </a:extLst>
          </p:cNvPr>
          <p:cNvSpPr>
            <a:spLocks noEditPoints="1"/>
          </p:cNvSpPr>
          <p:nvPr/>
        </p:nvSpPr>
        <p:spPr bwMode="auto">
          <a:xfrm>
            <a:off x="9125833" y="3494417"/>
            <a:ext cx="455772" cy="455770"/>
          </a:xfrm>
          <a:custGeom>
            <a:avLst/>
            <a:gdLst>
              <a:gd name="T0" fmla="*/ 1697 w 3395"/>
              <a:gd name="T1" fmla="*/ 0 h 3394"/>
              <a:gd name="T2" fmla="*/ 0 w 3395"/>
              <a:gd name="T3" fmla="*/ 1697 h 3394"/>
              <a:gd name="T4" fmla="*/ 1697 w 3395"/>
              <a:gd name="T5" fmla="*/ 3394 h 3394"/>
              <a:gd name="T6" fmla="*/ 3395 w 3395"/>
              <a:gd name="T7" fmla="*/ 1697 h 3394"/>
              <a:gd name="T8" fmla="*/ 1697 w 3395"/>
              <a:gd name="T9" fmla="*/ 0 h 3394"/>
              <a:gd name="T10" fmla="*/ 2810 w 3395"/>
              <a:gd name="T11" fmla="*/ 2032 h 3394"/>
              <a:gd name="T12" fmla="*/ 2032 w 3395"/>
              <a:gd name="T13" fmla="*/ 2032 h 3394"/>
              <a:gd name="T14" fmla="*/ 2032 w 3395"/>
              <a:gd name="T15" fmla="*/ 2810 h 3394"/>
              <a:gd name="T16" fmla="*/ 1363 w 3395"/>
              <a:gd name="T17" fmla="*/ 2810 h 3394"/>
              <a:gd name="T18" fmla="*/ 1363 w 3395"/>
              <a:gd name="T19" fmla="*/ 2032 h 3394"/>
              <a:gd name="T20" fmla="*/ 585 w 3395"/>
              <a:gd name="T21" fmla="*/ 2032 h 3394"/>
              <a:gd name="T22" fmla="*/ 585 w 3395"/>
              <a:gd name="T23" fmla="*/ 1363 h 3394"/>
              <a:gd name="T24" fmla="*/ 1363 w 3395"/>
              <a:gd name="T25" fmla="*/ 1363 h 3394"/>
              <a:gd name="T26" fmla="*/ 1363 w 3395"/>
              <a:gd name="T27" fmla="*/ 585 h 3394"/>
              <a:gd name="T28" fmla="*/ 2032 w 3395"/>
              <a:gd name="T29" fmla="*/ 585 h 3394"/>
              <a:gd name="T30" fmla="*/ 2032 w 3395"/>
              <a:gd name="T31" fmla="*/ 1363 h 3394"/>
              <a:gd name="T32" fmla="*/ 2810 w 3395"/>
              <a:gd name="T33" fmla="*/ 1363 h 3394"/>
              <a:gd name="T34" fmla="*/ 2810 w 3395"/>
              <a:gd name="T35" fmla="*/ 2032 h 3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95" h="3394">
                <a:moveTo>
                  <a:pt x="1697" y="0"/>
                </a:moveTo>
                <a:cubicBezTo>
                  <a:pt x="760" y="0"/>
                  <a:pt x="0" y="760"/>
                  <a:pt x="0" y="1697"/>
                </a:cubicBezTo>
                <a:cubicBezTo>
                  <a:pt x="0" y="2635"/>
                  <a:pt x="760" y="3394"/>
                  <a:pt x="1697" y="3394"/>
                </a:cubicBezTo>
                <a:cubicBezTo>
                  <a:pt x="2635" y="3394"/>
                  <a:pt x="3395" y="2635"/>
                  <a:pt x="3395" y="1697"/>
                </a:cubicBezTo>
                <a:cubicBezTo>
                  <a:pt x="3395" y="760"/>
                  <a:pt x="2635" y="0"/>
                  <a:pt x="1697" y="0"/>
                </a:cubicBezTo>
                <a:close/>
                <a:moveTo>
                  <a:pt x="2810" y="2032"/>
                </a:moveTo>
                <a:cubicBezTo>
                  <a:pt x="2032" y="2032"/>
                  <a:pt x="2032" y="2032"/>
                  <a:pt x="2032" y="2032"/>
                </a:cubicBezTo>
                <a:cubicBezTo>
                  <a:pt x="2032" y="2810"/>
                  <a:pt x="2032" y="2810"/>
                  <a:pt x="2032" y="2810"/>
                </a:cubicBezTo>
                <a:cubicBezTo>
                  <a:pt x="1363" y="2810"/>
                  <a:pt x="1363" y="2810"/>
                  <a:pt x="1363" y="2810"/>
                </a:cubicBezTo>
                <a:cubicBezTo>
                  <a:pt x="1363" y="2032"/>
                  <a:pt x="1363" y="2032"/>
                  <a:pt x="1363" y="2032"/>
                </a:cubicBezTo>
                <a:cubicBezTo>
                  <a:pt x="585" y="2032"/>
                  <a:pt x="585" y="2032"/>
                  <a:pt x="585" y="2032"/>
                </a:cubicBezTo>
                <a:cubicBezTo>
                  <a:pt x="585" y="1363"/>
                  <a:pt x="585" y="1363"/>
                  <a:pt x="585" y="1363"/>
                </a:cubicBezTo>
                <a:cubicBezTo>
                  <a:pt x="1363" y="1363"/>
                  <a:pt x="1363" y="1363"/>
                  <a:pt x="1363" y="1363"/>
                </a:cubicBezTo>
                <a:cubicBezTo>
                  <a:pt x="1363" y="585"/>
                  <a:pt x="1363" y="585"/>
                  <a:pt x="1363" y="585"/>
                </a:cubicBezTo>
                <a:cubicBezTo>
                  <a:pt x="2032" y="585"/>
                  <a:pt x="2032" y="585"/>
                  <a:pt x="2032" y="585"/>
                </a:cubicBezTo>
                <a:cubicBezTo>
                  <a:pt x="2032" y="1363"/>
                  <a:pt x="2032" y="1363"/>
                  <a:pt x="2032" y="1363"/>
                </a:cubicBezTo>
                <a:cubicBezTo>
                  <a:pt x="2810" y="1363"/>
                  <a:pt x="2810" y="1363"/>
                  <a:pt x="2810" y="1363"/>
                </a:cubicBezTo>
                <a:lnTo>
                  <a:pt x="2810" y="2032"/>
                </a:lnTo>
                <a:close/>
              </a:path>
            </a:pathLst>
          </a:custGeom>
          <a:noFill/>
          <a:ln w="19050">
            <a:solidFill>
              <a:schemeClr val="accent3"/>
            </a:solidFill>
          </a:ln>
        </p:spPr>
        <p:txBody>
          <a:bodyPr vert="horz" wrap="square" lIns="121920" tIns="60960" rIns="121920" bIns="60960" numCol="1" anchor="t" anchorCtr="0" compatLnSpc="1">
            <a:prstTxWarp prst="textNoShape">
              <a:avLst/>
            </a:prstTxWarp>
          </a:bodyPr>
          <a:lstStyle/>
          <a:p>
            <a:pPr defTabSz="1219170">
              <a:defRPr/>
            </a:pPr>
            <a:endParaRPr lang="en-US" sz="2400" noProof="0">
              <a:latin typeface="Arial" panose="020B0604020202020204" pitchFamily="34" charset="0"/>
              <a:cs typeface="Arial" panose="020B0604020202020204" pitchFamily="34" charset="0"/>
            </a:endParaRPr>
          </a:p>
        </p:txBody>
      </p:sp>
      <p:cxnSp>
        <p:nvCxnSpPr>
          <p:cNvPr id="46" name="Straight Connector 45">
            <a:extLst>
              <a:ext uri="{FF2B5EF4-FFF2-40B4-BE49-F238E27FC236}">
                <a16:creationId xmlns:a16="http://schemas.microsoft.com/office/drawing/2014/main" id="{44E9B9FD-E82B-56EE-35F0-21BFC8D865FC}"/>
              </a:ext>
            </a:extLst>
          </p:cNvPr>
          <p:cNvCxnSpPr/>
          <p:nvPr/>
        </p:nvCxnSpPr>
        <p:spPr>
          <a:xfrm>
            <a:off x="6664036" y="3477491"/>
            <a:ext cx="0" cy="2559069"/>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2C4F57D-D910-BBDC-9FC5-C8C53DE08257}"/>
              </a:ext>
            </a:extLst>
          </p:cNvPr>
          <p:cNvCxnSpPr/>
          <p:nvPr/>
        </p:nvCxnSpPr>
        <p:spPr>
          <a:xfrm>
            <a:off x="9067800" y="3477491"/>
            <a:ext cx="0" cy="2554237"/>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222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6135EC-9882-4085-B6BF-9C61229FDDBB}"/>
              </a:ext>
            </a:extLst>
          </p:cNvPr>
          <p:cNvSpPr>
            <a:spLocks noGrp="1"/>
          </p:cNvSpPr>
          <p:nvPr>
            <p:ph type="title"/>
          </p:nvPr>
        </p:nvSpPr>
        <p:spPr>
          <a:xfrm>
            <a:off x="536240" y="414320"/>
            <a:ext cx="10896000" cy="1082209"/>
          </a:xfrm>
        </p:spPr>
        <p:txBody>
          <a:bodyPr/>
          <a:lstStyle/>
          <a:p>
            <a:r>
              <a:rPr lang="en-US" noProof="0"/>
              <a:t>Energy balance and appetite regulation</a:t>
            </a:r>
          </a:p>
        </p:txBody>
      </p:sp>
      <p:sp>
        <p:nvSpPr>
          <p:cNvPr id="3" name="Text Placeholder 2">
            <a:extLst>
              <a:ext uri="{FF2B5EF4-FFF2-40B4-BE49-F238E27FC236}">
                <a16:creationId xmlns:a16="http://schemas.microsoft.com/office/drawing/2014/main" id="{BA3C9BBA-6784-434A-87CF-79B0F7D3F74C}"/>
              </a:ext>
            </a:extLst>
          </p:cNvPr>
          <p:cNvSpPr>
            <a:spLocks noGrp="1"/>
          </p:cNvSpPr>
          <p:nvPr>
            <p:ph type="body" sz="quarter" idx="13"/>
          </p:nvPr>
        </p:nvSpPr>
        <p:spPr>
          <a:xfrm>
            <a:off x="536240" y="5858518"/>
            <a:ext cx="10896000" cy="483000"/>
          </a:xfrm>
        </p:spPr>
        <p:txBody>
          <a:bodyPr/>
          <a:lstStyle/>
          <a:p>
            <a:br>
              <a:rPr lang="en-US" noProof="0"/>
            </a:br>
            <a:r>
              <a:rPr lang="en-US" noProof="0"/>
              <a:t>1. González H. </a:t>
            </a:r>
            <a:r>
              <a:rPr lang="en-US" i="1" noProof="0"/>
              <a:t>Managing Patients with Obesity</a:t>
            </a:r>
            <a:r>
              <a:rPr lang="en-US" noProof="0"/>
              <a:t>. Zurich: Springer, 2016; 2. Gadde KM et al. J Am Coll </a:t>
            </a:r>
            <a:r>
              <a:rPr lang="en-US" noProof="0" err="1"/>
              <a:t>Cardiol</a:t>
            </a:r>
            <a:r>
              <a:rPr lang="en-US" noProof="0"/>
              <a:t> 2018;71:69–84; 3. </a:t>
            </a:r>
            <a:r>
              <a:rPr lang="en-US" noProof="0" err="1"/>
              <a:t>Heymsfield</a:t>
            </a:r>
            <a:r>
              <a:rPr lang="en-US" noProof="0"/>
              <a:t> SB, Wadden TA. N Engl J Med 2017;376:254–266; 4. Vallis M. Clin </a:t>
            </a:r>
            <a:r>
              <a:rPr lang="en-US" noProof="0" err="1"/>
              <a:t>Obes</a:t>
            </a:r>
            <a:r>
              <a:rPr lang="en-US" noProof="0"/>
              <a:t> 2019;9:e12299; </a:t>
            </a:r>
            <a:br>
              <a:rPr lang="en-US" noProof="0"/>
            </a:br>
            <a:r>
              <a:rPr lang="en-US" noProof="0"/>
              <a:t>5. Hall K et al. Am J Public Health 2014;104:1169–1175; 6. Fothergill E et al. Obesity (Silver Spring) 2016;24:1612–1619; 7. Sumithran P et al. N Engl J Med 2011;365:1597–1604; 8. Schwartz MW et al. Endocr Rev 2017;38:267–296</a:t>
            </a:r>
            <a:r>
              <a:rPr lang="en-US"/>
              <a:t>; </a:t>
            </a:r>
            <a:br>
              <a:rPr lang="en-US" noProof="0"/>
            </a:br>
            <a:r>
              <a:rPr lang="en-US" noProof="0"/>
              <a:t>9. Lane MM et al. BMJ 2024;384:e077310.</a:t>
            </a:r>
          </a:p>
        </p:txBody>
      </p:sp>
      <p:grpSp>
        <p:nvGrpSpPr>
          <p:cNvPr id="199" name="Group 198">
            <a:extLst>
              <a:ext uri="{FF2B5EF4-FFF2-40B4-BE49-F238E27FC236}">
                <a16:creationId xmlns:a16="http://schemas.microsoft.com/office/drawing/2014/main" id="{A9718736-266C-0108-CE44-A82AABBEB4BE}"/>
              </a:ext>
            </a:extLst>
          </p:cNvPr>
          <p:cNvGrpSpPr/>
          <p:nvPr/>
        </p:nvGrpSpPr>
        <p:grpSpPr>
          <a:xfrm>
            <a:off x="6671918" y="1790421"/>
            <a:ext cx="4529704" cy="3592892"/>
            <a:chOff x="6671918" y="1790421"/>
            <a:chExt cx="4529704" cy="3592892"/>
          </a:xfrm>
        </p:grpSpPr>
        <p:sp>
          <p:nvSpPr>
            <p:cNvPr id="65" name="Oval 64">
              <a:extLst>
                <a:ext uri="{FF2B5EF4-FFF2-40B4-BE49-F238E27FC236}">
                  <a16:creationId xmlns:a16="http://schemas.microsoft.com/office/drawing/2014/main" id="{DA1FDF40-2406-C9A3-CEBE-F003543A3CC4}"/>
                </a:ext>
              </a:extLst>
            </p:cNvPr>
            <p:cNvSpPr/>
            <p:nvPr/>
          </p:nvSpPr>
          <p:spPr>
            <a:xfrm>
              <a:off x="7939877" y="2463851"/>
              <a:ext cx="1967933" cy="1967934"/>
            </a:xfrm>
            <a:prstGeom prst="ellipse">
              <a:avLst/>
            </a:prstGeom>
            <a:solidFill>
              <a:srgbClr val="2A918B">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77" name="Oval 76">
              <a:extLst>
                <a:ext uri="{FF2B5EF4-FFF2-40B4-BE49-F238E27FC236}">
                  <a16:creationId xmlns:a16="http://schemas.microsoft.com/office/drawing/2014/main" id="{DB305CE1-B05D-C5C1-19A7-2008DFED4D1E}"/>
                </a:ext>
              </a:extLst>
            </p:cNvPr>
            <p:cNvSpPr/>
            <p:nvPr/>
          </p:nvSpPr>
          <p:spPr>
            <a:xfrm>
              <a:off x="7355984" y="3415379"/>
              <a:ext cx="1967933" cy="1967934"/>
            </a:xfrm>
            <a:prstGeom prst="ellipse">
              <a:avLst/>
            </a:prstGeom>
            <a:solidFill>
              <a:schemeClr val="accent6">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98" name="Oval 97">
              <a:extLst>
                <a:ext uri="{FF2B5EF4-FFF2-40B4-BE49-F238E27FC236}">
                  <a16:creationId xmlns:a16="http://schemas.microsoft.com/office/drawing/2014/main" id="{CA7DA47B-BDAC-A3D1-2C73-7EB4D4DDDE58}"/>
                </a:ext>
              </a:extLst>
            </p:cNvPr>
            <p:cNvSpPr/>
            <p:nvPr/>
          </p:nvSpPr>
          <p:spPr>
            <a:xfrm>
              <a:off x="8339951" y="3415379"/>
              <a:ext cx="1967933" cy="1967934"/>
            </a:xfrm>
            <a:prstGeom prst="ellipse">
              <a:avLst/>
            </a:prstGeom>
            <a:solidFill>
              <a:schemeClr val="accent4">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01" name="TextBox 100">
              <a:extLst>
                <a:ext uri="{FF2B5EF4-FFF2-40B4-BE49-F238E27FC236}">
                  <a16:creationId xmlns:a16="http://schemas.microsoft.com/office/drawing/2014/main" id="{C5FB8F90-8491-2C27-E70B-41134640FE1C}"/>
                </a:ext>
              </a:extLst>
            </p:cNvPr>
            <p:cNvSpPr txBox="1"/>
            <p:nvPr/>
          </p:nvSpPr>
          <p:spPr>
            <a:xfrm>
              <a:off x="7994064" y="2834122"/>
              <a:ext cx="1870372" cy="461665"/>
            </a:xfrm>
            <a:prstGeom prst="rect">
              <a:avLst/>
            </a:prstGeom>
            <a:noFill/>
          </p:spPr>
          <p:txBody>
            <a:bodyPr wrap="square">
              <a:spAutoFit/>
            </a:bodyPr>
            <a:lstStyle/>
            <a:p>
              <a:pPr algn="ctr" defTabSz="914377">
                <a:defRPr/>
              </a:pPr>
              <a:r>
                <a:rPr lang="en-US" sz="1200" b="1" noProof="0">
                  <a:solidFill>
                    <a:srgbClr val="FFFFFF"/>
                  </a:solidFill>
                  <a:latin typeface="Arial" panose="020B0604020202020204" pitchFamily="34" charset="0"/>
                  <a:ea typeface="Apis For Office" panose="020B0504010101010104" pitchFamily="34" charset="0"/>
                  <a:cs typeface="Arial" panose="020B0604020202020204" pitchFamily="34" charset="0"/>
                </a:rPr>
                <a:t>Homeostatic eating</a:t>
              </a:r>
            </a:p>
            <a:p>
              <a:pPr algn="ctr" defTabSz="914377">
                <a:defRPr/>
              </a:pPr>
              <a:r>
                <a:rPr lang="en-US" sz="1200" noProof="0">
                  <a:solidFill>
                    <a:srgbClr val="FFFFFF"/>
                  </a:solidFill>
                  <a:latin typeface="Arial" panose="020B0604020202020204" pitchFamily="34" charset="0"/>
                  <a:ea typeface="Apis For Office" panose="020B0504010101010104" pitchFamily="34" charset="0"/>
                  <a:cs typeface="Arial" panose="020B0604020202020204" pitchFamily="34" charset="0"/>
                </a:rPr>
                <a:t>“eating for hunger”</a:t>
              </a:r>
            </a:p>
          </p:txBody>
        </p:sp>
        <p:sp>
          <p:nvSpPr>
            <p:cNvPr id="102" name="TextBox 101">
              <a:extLst>
                <a:ext uri="{FF2B5EF4-FFF2-40B4-BE49-F238E27FC236}">
                  <a16:creationId xmlns:a16="http://schemas.microsoft.com/office/drawing/2014/main" id="{F577DE40-437F-460E-8D0A-58C5AF274FDE}"/>
                </a:ext>
              </a:extLst>
            </p:cNvPr>
            <p:cNvSpPr txBox="1"/>
            <p:nvPr/>
          </p:nvSpPr>
          <p:spPr>
            <a:xfrm>
              <a:off x="8692696" y="4338055"/>
              <a:ext cx="1662516" cy="670862"/>
            </a:xfrm>
            <a:prstGeom prst="rect">
              <a:avLst/>
            </a:prstGeom>
            <a:noFill/>
            <a:ln>
              <a:noFill/>
            </a:ln>
          </p:spPr>
          <p:txBody>
            <a:bodyPr wrap="square" rtlCol="0" anchor="ctr">
              <a:noAutofit/>
            </a:bodyPr>
            <a:lstStyle/>
            <a:p>
              <a:pPr algn="ctr" defTabSz="914377">
                <a:defRPr/>
              </a:pPr>
              <a:r>
                <a:rPr lang="en-US" sz="1200" b="1" noProof="0">
                  <a:solidFill>
                    <a:srgbClr val="FFFFFF"/>
                  </a:solidFill>
                  <a:latin typeface="Arial" panose="020B0604020202020204" pitchFamily="34" charset="0"/>
                  <a:ea typeface="Apis For Office" panose="020B0504010101010104" pitchFamily="34" charset="0"/>
                  <a:cs typeface="Arial" panose="020B0604020202020204" pitchFamily="34" charset="0"/>
                </a:rPr>
                <a:t>Hedonic</a:t>
              </a:r>
            </a:p>
            <a:p>
              <a:pPr algn="ctr" defTabSz="914377">
                <a:defRPr/>
              </a:pPr>
              <a:r>
                <a:rPr lang="en-US" sz="1200" b="1" noProof="0">
                  <a:solidFill>
                    <a:srgbClr val="FFFFFF"/>
                  </a:solidFill>
                  <a:latin typeface="Arial" panose="020B0604020202020204" pitchFamily="34" charset="0"/>
                  <a:ea typeface="Apis For Office" panose="020B0504010101010104" pitchFamily="34" charset="0"/>
                  <a:cs typeface="Arial" panose="020B0604020202020204" pitchFamily="34" charset="0"/>
                </a:rPr>
                <a:t>eating</a:t>
              </a:r>
            </a:p>
            <a:p>
              <a:pPr algn="ctr" defTabSz="914377">
                <a:defRPr/>
              </a:pPr>
              <a:r>
                <a:rPr lang="en-US" sz="1200">
                  <a:solidFill>
                    <a:srgbClr val="FFFFFF"/>
                  </a:solidFill>
                  <a:latin typeface="Arial" panose="020B0604020202020204" pitchFamily="34" charset="0"/>
                  <a:ea typeface="Apis For Office" panose="020B0504010101010104" pitchFamily="34" charset="0"/>
                  <a:cs typeface="Arial" panose="020B0604020202020204" pitchFamily="34" charset="0"/>
                </a:rPr>
                <a:t>“</a:t>
              </a:r>
              <a:r>
                <a:rPr lang="en-US" sz="1200" noProof="0">
                  <a:solidFill>
                    <a:srgbClr val="FFFFFF"/>
                  </a:solidFill>
                  <a:latin typeface="Arial" panose="020B0604020202020204" pitchFamily="34" charset="0"/>
                  <a:ea typeface="Apis For Office" panose="020B0504010101010104" pitchFamily="34" charset="0"/>
                  <a:cs typeface="Arial" panose="020B0604020202020204" pitchFamily="34" charset="0"/>
                </a:rPr>
                <a:t>eating for </a:t>
              </a:r>
              <a:br>
                <a:rPr lang="en-US" sz="1200" noProof="0">
                  <a:solidFill>
                    <a:srgbClr val="FFFFFF"/>
                  </a:solidFill>
                  <a:latin typeface="Arial" panose="020B0604020202020204" pitchFamily="34" charset="0"/>
                  <a:ea typeface="Apis For Office" panose="020B0504010101010104" pitchFamily="34" charset="0"/>
                  <a:cs typeface="Arial" panose="020B0604020202020204" pitchFamily="34" charset="0"/>
                </a:rPr>
              </a:br>
              <a:r>
                <a:rPr lang="en-US" sz="1200" noProof="0">
                  <a:solidFill>
                    <a:srgbClr val="FFFFFF"/>
                  </a:solidFill>
                  <a:latin typeface="Arial" panose="020B0604020202020204" pitchFamily="34" charset="0"/>
                  <a:ea typeface="Apis For Office" panose="020B0504010101010104" pitchFamily="34" charset="0"/>
                  <a:cs typeface="Arial" panose="020B0604020202020204" pitchFamily="34" charset="0"/>
                </a:rPr>
                <a:t>pleasure”</a:t>
              </a:r>
            </a:p>
          </p:txBody>
        </p:sp>
        <p:sp>
          <p:nvSpPr>
            <p:cNvPr id="103" name="TextBox 102">
              <a:extLst>
                <a:ext uri="{FF2B5EF4-FFF2-40B4-BE49-F238E27FC236}">
                  <a16:creationId xmlns:a16="http://schemas.microsoft.com/office/drawing/2014/main" id="{207EFB95-9EE1-4E78-AAC9-39924F7E239B}"/>
                </a:ext>
              </a:extLst>
            </p:cNvPr>
            <p:cNvSpPr txBox="1"/>
            <p:nvPr/>
          </p:nvSpPr>
          <p:spPr>
            <a:xfrm>
              <a:off x="7205538" y="4338055"/>
              <a:ext cx="1495236" cy="670862"/>
            </a:xfrm>
            <a:prstGeom prst="rect">
              <a:avLst/>
            </a:prstGeom>
            <a:noFill/>
            <a:ln>
              <a:noFill/>
            </a:ln>
          </p:spPr>
          <p:txBody>
            <a:bodyPr wrap="square" rtlCol="0" anchor="ctr">
              <a:noAutofit/>
            </a:bodyPr>
            <a:lstStyle/>
            <a:p>
              <a:pPr algn="ctr" defTabSz="914377">
                <a:defRPr/>
              </a:pPr>
              <a:r>
                <a:rPr lang="en-US" sz="1200" b="1" noProof="0">
                  <a:solidFill>
                    <a:srgbClr val="FFFFFF"/>
                  </a:solidFill>
                  <a:latin typeface="Arial" panose="020B0604020202020204" pitchFamily="34" charset="0"/>
                  <a:ea typeface="Apis For Office" panose="020B0504010101010104" pitchFamily="34" charset="0"/>
                  <a:cs typeface="Arial" panose="020B0604020202020204" pitchFamily="34" charset="0"/>
                </a:rPr>
                <a:t>Executive function</a:t>
              </a:r>
            </a:p>
            <a:p>
              <a:pPr algn="ctr" defTabSz="914377">
                <a:defRPr/>
              </a:pPr>
              <a:r>
                <a:rPr lang="en-US" sz="1200">
                  <a:solidFill>
                    <a:srgbClr val="FFFFFF"/>
                  </a:solidFill>
                  <a:latin typeface="Arial" panose="020B0604020202020204" pitchFamily="34" charset="0"/>
                  <a:ea typeface="Apis For Office" panose="020B0504010101010104" pitchFamily="34" charset="0"/>
                  <a:cs typeface="Arial" panose="020B0604020202020204" pitchFamily="34" charset="0"/>
                </a:rPr>
                <a:t>“</a:t>
              </a:r>
              <a:r>
                <a:rPr lang="en-US" sz="1200" noProof="0">
                  <a:solidFill>
                    <a:srgbClr val="FFFFFF"/>
                  </a:solidFill>
                  <a:latin typeface="Arial" panose="020B0604020202020204" pitchFamily="34" charset="0"/>
                  <a:ea typeface="Apis For Office" panose="020B0504010101010104" pitchFamily="34" charset="0"/>
                  <a:cs typeface="Arial" panose="020B0604020202020204" pitchFamily="34" charset="0"/>
                </a:rPr>
                <a:t>deciding </a:t>
              </a:r>
              <a:br>
                <a:rPr lang="en-US" sz="1200" noProof="0">
                  <a:solidFill>
                    <a:srgbClr val="FFFFFF"/>
                  </a:solidFill>
                  <a:latin typeface="Arial" panose="020B0604020202020204" pitchFamily="34" charset="0"/>
                  <a:ea typeface="Apis For Office" panose="020B0504010101010104" pitchFamily="34" charset="0"/>
                  <a:cs typeface="Arial" panose="020B0604020202020204" pitchFamily="34" charset="0"/>
                </a:rPr>
              </a:br>
              <a:r>
                <a:rPr lang="en-US" sz="1200" noProof="0">
                  <a:solidFill>
                    <a:srgbClr val="FFFFFF"/>
                  </a:solidFill>
                  <a:latin typeface="Arial" panose="020B0604020202020204" pitchFamily="34" charset="0"/>
                  <a:ea typeface="Apis For Office" panose="020B0504010101010104" pitchFamily="34" charset="0"/>
                  <a:cs typeface="Arial" panose="020B0604020202020204" pitchFamily="34" charset="0"/>
                </a:rPr>
                <a:t>to eat”</a:t>
              </a:r>
            </a:p>
          </p:txBody>
        </p:sp>
        <p:sp>
          <p:nvSpPr>
            <p:cNvPr id="104" name="Rectangle: Rounded Corners 103">
              <a:hlinkClick r:id="rId3" action="ppaction://hlinksldjump"/>
              <a:extLst>
                <a:ext uri="{FF2B5EF4-FFF2-40B4-BE49-F238E27FC236}">
                  <a16:creationId xmlns:a16="http://schemas.microsoft.com/office/drawing/2014/main" id="{C2EF08D2-6354-936B-D871-0E4BED9E3C9C}"/>
                </a:ext>
              </a:extLst>
            </p:cNvPr>
            <p:cNvSpPr/>
            <p:nvPr/>
          </p:nvSpPr>
          <p:spPr>
            <a:xfrm>
              <a:off x="6671918" y="1790421"/>
              <a:ext cx="4529704" cy="573206"/>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a:latin typeface="Arial" panose="020B0604020202020204" pitchFamily="34" charset="0"/>
                  <a:ea typeface="Apis For Office" panose="020B0504010101010104" pitchFamily="34" charset="0"/>
                  <a:cs typeface="Arial" panose="020B0604020202020204" pitchFamily="34" charset="0"/>
                </a:rPr>
                <a:t>The brain controls appetite by regulating the three types of eating</a:t>
              </a:r>
              <a:r>
                <a:rPr lang="en-US" sz="1600" b="1" baseline="30000" noProof="0">
                  <a:latin typeface="Arial" panose="020B0604020202020204" pitchFamily="34" charset="0"/>
                  <a:ea typeface="Apis For Office" panose="020B0504010101010104" pitchFamily="34" charset="0"/>
                  <a:cs typeface="Arial" panose="020B0604020202020204" pitchFamily="34" charset="0"/>
                </a:rPr>
                <a:t>1–8</a:t>
              </a:r>
              <a:endParaRPr lang="en-US" sz="1600" b="1" noProof="0">
                <a:latin typeface="Arial" panose="020B0604020202020204" pitchFamily="34" charset="0"/>
                <a:cs typeface="Arial" panose="020B0604020202020204" pitchFamily="34" charset="0"/>
              </a:endParaRPr>
            </a:p>
          </p:txBody>
        </p:sp>
        <p:grpSp>
          <p:nvGrpSpPr>
            <p:cNvPr id="145" name="Group 144">
              <a:extLst>
                <a:ext uri="{FF2B5EF4-FFF2-40B4-BE49-F238E27FC236}">
                  <a16:creationId xmlns:a16="http://schemas.microsoft.com/office/drawing/2014/main" id="{A366DDC5-D063-F029-F955-1203BF61F0A5}"/>
                </a:ext>
              </a:extLst>
            </p:cNvPr>
            <p:cNvGrpSpPr/>
            <p:nvPr/>
          </p:nvGrpSpPr>
          <p:grpSpPr>
            <a:xfrm>
              <a:off x="8557865" y="3615184"/>
              <a:ext cx="979176" cy="828604"/>
              <a:chOff x="8459339" y="3739732"/>
              <a:chExt cx="736510" cy="623253"/>
            </a:xfrm>
          </p:grpSpPr>
          <p:sp>
            <p:nvSpPr>
              <p:cNvPr id="146" name="Freeform 13">
                <a:extLst>
                  <a:ext uri="{FF2B5EF4-FFF2-40B4-BE49-F238E27FC236}">
                    <a16:creationId xmlns:a16="http://schemas.microsoft.com/office/drawing/2014/main" id="{6DA223BD-EA66-2855-7076-A38206BB75C8}"/>
                  </a:ext>
                </a:extLst>
              </p:cNvPr>
              <p:cNvSpPr>
                <a:spLocks noEditPoints="1"/>
              </p:cNvSpPr>
              <p:nvPr/>
            </p:nvSpPr>
            <p:spPr bwMode="auto">
              <a:xfrm>
                <a:off x="8459339" y="3739732"/>
                <a:ext cx="736510" cy="623253"/>
              </a:xfrm>
              <a:custGeom>
                <a:avLst/>
                <a:gdLst>
                  <a:gd name="T0" fmla="*/ 1450 w 1450"/>
                  <a:gd name="T1" fmla="*/ 633 h 1226"/>
                  <a:gd name="T2" fmla="*/ 1427 w 1450"/>
                  <a:gd name="T3" fmla="*/ 708 h 1226"/>
                  <a:gd name="T4" fmla="*/ 1218 w 1450"/>
                  <a:gd name="T5" fmla="*/ 868 h 1226"/>
                  <a:gd name="T6" fmla="*/ 914 w 1450"/>
                  <a:gd name="T7" fmla="*/ 857 h 1226"/>
                  <a:gd name="T8" fmla="*/ 885 w 1450"/>
                  <a:gd name="T9" fmla="*/ 867 h 1226"/>
                  <a:gd name="T10" fmla="*/ 658 w 1450"/>
                  <a:gd name="T11" fmla="*/ 966 h 1226"/>
                  <a:gd name="T12" fmla="*/ 634 w 1450"/>
                  <a:gd name="T13" fmla="*/ 979 h 1226"/>
                  <a:gd name="T14" fmla="*/ 504 w 1450"/>
                  <a:gd name="T15" fmla="*/ 1226 h 1226"/>
                  <a:gd name="T16" fmla="*/ 342 w 1450"/>
                  <a:gd name="T17" fmla="*/ 1226 h 1226"/>
                  <a:gd name="T18" fmla="*/ 372 w 1450"/>
                  <a:gd name="T19" fmla="*/ 1045 h 1226"/>
                  <a:gd name="T20" fmla="*/ 385 w 1450"/>
                  <a:gd name="T21" fmla="*/ 953 h 1226"/>
                  <a:gd name="T22" fmla="*/ 319 w 1450"/>
                  <a:gd name="T23" fmla="*/ 953 h 1226"/>
                  <a:gd name="T24" fmla="*/ 194 w 1450"/>
                  <a:gd name="T25" fmla="*/ 924 h 1226"/>
                  <a:gd name="T26" fmla="*/ 15 w 1450"/>
                  <a:gd name="T27" fmla="*/ 694 h 1226"/>
                  <a:gd name="T28" fmla="*/ 0 w 1450"/>
                  <a:gd name="T29" fmla="*/ 618 h 1226"/>
                  <a:gd name="T30" fmla="*/ 0 w 1450"/>
                  <a:gd name="T31" fmla="*/ 530 h 1226"/>
                  <a:gd name="T32" fmla="*/ 5 w 1450"/>
                  <a:gd name="T33" fmla="*/ 498 h 1226"/>
                  <a:gd name="T34" fmla="*/ 174 w 1450"/>
                  <a:gd name="T35" fmla="*/ 189 h 1226"/>
                  <a:gd name="T36" fmla="*/ 526 w 1450"/>
                  <a:gd name="T37" fmla="*/ 65 h 1226"/>
                  <a:gd name="T38" fmla="*/ 545 w 1450"/>
                  <a:gd name="T39" fmla="*/ 59 h 1226"/>
                  <a:gd name="T40" fmla="*/ 646 w 1450"/>
                  <a:gd name="T41" fmla="*/ 13 h 1226"/>
                  <a:gd name="T42" fmla="*/ 699 w 1450"/>
                  <a:gd name="T43" fmla="*/ 0 h 1226"/>
                  <a:gd name="T44" fmla="*/ 769 w 1450"/>
                  <a:gd name="T45" fmla="*/ 0 h 1226"/>
                  <a:gd name="T46" fmla="*/ 780 w 1450"/>
                  <a:gd name="T47" fmla="*/ 3 h 1226"/>
                  <a:gd name="T48" fmla="*/ 905 w 1450"/>
                  <a:gd name="T49" fmla="*/ 57 h 1226"/>
                  <a:gd name="T50" fmla="*/ 992 w 1450"/>
                  <a:gd name="T51" fmla="*/ 86 h 1226"/>
                  <a:gd name="T52" fmla="*/ 1262 w 1450"/>
                  <a:gd name="T53" fmla="*/ 303 h 1226"/>
                  <a:gd name="T54" fmla="*/ 1278 w 1450"/>
                  <a:gd name="T55" fmla="*/ 323 h 1226"/>
                  <a:gd name="T56" fmla="*/ 1423 w 1450"/>
                  <a:gd name="T57" fmla="*/ 478 h 1226"/>
                  <a:gd name="T58" fmla="*/ 1450 w 1450"/>
                  <a:gd name="T59" fmla="*/ 563 h 1226"/>
                  <a:gd name="T60" fmla="*/ 1450 w 1450"/>
                  <a:gd name="T61" fmla="*/ 633 h 1226"/>
                  <a:gd name="T62" fmla="*/ 860 w 1450"/>
                  <a:gd name="T63" fmla="*/ 776 h 1226"/>
                  <a:gd name="T64" fmla="*/ 878 w 1450"/>
                  <a:gd name="T65" fmla="*/ 781 h 1226"/>
                  <a:gd name="T66" fmla="*/ 1048 w 1450"/>
                  <a:gd name="T67" fmla="*/ 819 h 1226"/>
                  <a:gd name="T68" fmla="*/ 1259 w 1450"/>
                  <a:gd name="T69" fmla="*/ 788 h 1226"/>
                  <a:gd name="T70" fmla="*/ 1349 w 1450"/>
                  <a:gd name="T71" fmla="*/ 472 h 1226"/>
                  <a:gd name="T72" fmla="*/ 1236 w 1450"/>
                  <a:gd name="T73" fmla="*/ 372 h 1226"/>
                  <a:gd name="T74" fmla="*/ 1203 w 1450"/>
                  <a:gd name="T75" fmla="*/ 327 h 1226"/>
                  <a:gd name="T76" fmla="*/ 1052 w 1450"/>
                  <a:gd name="T77" fmla="*/ 156 h 1226"/>
                  <a:gd name="T78" fmla="*/ 937 w 1450"/>
                  <a:gd name="T79" fmla="*/ 151 h 1226"/>
                  <a:gd name="T80" fmla="*/ 904 w 1450"/>
                  <a:gd name="T81" fmla="*/ 139 h 1226"/>
                  <a:gd name="T82" fmla="*/ 794 w 1450"/>
                  <a:gd name="T83" fmla="*/ 69 h 1226"/>
                  <a:gd name="T84" fmla="*/ 590 w 1450"/>
                  <a:gd name="T85" fmla="*/ 106 h 1226"/>
                  <a:gd name="T86" fmla="*/ 507 w 1450"/>
                  <a:gd name="T87" fmla="*/ 125 h 1226"/>
                  <a:gd name="T88" fmla="*/ 501 w 1450"/>
                  <a:gd name="T89" fmla="*/ 125 h 1226"/>
                  <a:gd name="T90" fmla="*/ 268 w 1450"/>
                  <a:gd name="T91" fmla="*/ 194 h 1226"/>
                  <a:gd name="T92" fmla="*/ 73 w 1450"/>
                  <a:gd name="T93" fmla="*/ 669 h 1226"/>
                  <a:gd name="T94" fmla="*/ 217 w 1450"/>
                  <a:gd name="T95" fmla="*/ 866 h 1226"/>
                  <a:gd name="T96" fmla="*/ 321 w 1450"/>
                  <a:gd name="T97" fmla="*/ 891 h 1226"/>
                  <a:gd name="T98" fmla="*/ 457 w 1450"/>
                  <a:gd name="T99" fmla="*/ 891 h 1226"/>
                  <a:gd name="T100" fmla="*/ 417 w 1450"/>
                  <a:gd name="T101" fmla="*/ 1164 h 1226"/>
                  <a:gd name="T102" fmla="*/ 443 w 1450"/>
                  <a:gd name="T103" fmla="*/ 1164 h 1226"/>
                  <a:gd name="T104" fmla="*/ 479 w 1450"/>
                  <a:gd name="T105" fmla="*/ 1143 h 1226"/>
                  <a:gd name="T106" fmla="*/ 570 w 1450"/>
                  <a:gd name="T107" fmla="*/ 968 h 1226"/>
                  <a:gd name="T108" fmla="*/ 613 w 1450"/>
                  <a:gd name="T109" fmla="*/ 888 h 1226"/>
                  <a:gd name="T110" fmla="*/ 860 w 1450"/>
                  <a:gd name="T111" fmla="*/ 77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0" h="1226">
                    <a:moveTo>
                      <a:pt x="1450" y="633"/>
                    </a:moveTo>
                    <a:cubicBezTo>
                      <a:pt x="1443" y="658"/>
                      <a:pt x="1438" y="684"/>
                      <a:pt x="1427" y="708"/>
                    </a:cubicBezTo>
                    <a:cubicBezTo>
                      <a:pt x="1385" y="796"/>
                      <a:pt x="1309" y="844"/>
                      <a:pt x="1218" y="868"/>
                    </a:cubicBezTo>
                    <a:cubicBezTo>
                      <a:pt x="1116" y="896"/>
                      <a:pt x="1014" y="885"/>
                      <a:pt x="914" y="857"/>
                    </a:cubicBezTo>
                    <a:cubicBezTo>
                      <a:pt x="900" y="853"/>
                      <a:pt x="894" y="855"/>
                      <a:pt x="885" y="867"/>
                    </a:cubicBezTo>
                    <a:cubicBezTo>
                      <a:pt x="829" y="944"/>
                      <a:pt x="752" y="974"/>
                      <a:pt x="658" y="966"/>
                    </a:cubicBezTo>
                    <a:cubicBezTo>
                      <a:pt x="645" y="965"/>
                      <a:pt x="640" y="969"/>
                      <a:pt x="634" y="979"/>
                    </a:cubicBezTo>
                    <a:cubicBezTo>
                      <a:pt x="591" y="1061"/>
                      <a:pt x="548" y="1144"/>
                      <a:pt x="504" y="1226"/>
                    </a:cubicBezTo>
                    <a:cubicBezTo>
                      <a:pt x="450" y="1226"/>
                      <a:pt x="396" y="1226"/>
                      <a:pt x="342" y="1226"/>
                    </a:cubicBezTo>
                    <a:cubicBezTo>
                      <a:pt x="352" y="1165"/>
                      <a:pt x="362" y="1105"/>
                      <a:pt x="372" y="1045"/>
                    </a:cubicBezTo>
                    <a:cubicBezTo>
                      <a:pt x="377" y="1015"/>
                      <a:pt x="381" y="985"/>
                      <a:pt x="385" y="953"/>
                    </a:cubicBezTo>
                    <a:cubicBezTo>
                      <a:pt x="361" y="953"/>
                      <a:pt x="340" y="953"/>
                      <a:pt x="319" y="953"/>
                    </a:cubicBezTo>
                    <a:cubicBezTo>
                      <a:pt x="275" y="952"/>
                      <a:pt x="233" y="943"/>
                      <a:pt x="194" y="924"/>
                    </a:cubicBezTo>
                    <a:cubicBezTo>
                      <a:pt x="97" y="876"/>
                      <a:pt x="44" y="795"/>
                      <a:pt x="15" y="694"/>
                    </a:cubicBezTo>
                    <a:cubicBezTo>
                      <a:pt x="9" y="669"/>
                      <a:pt x="5" y="644"/>
                      <a:pt x="0" y="618"/>
                    </a:cubicBezTo>
                    <a:cubicBezTo>
                      <a:pt x="0" y="589"/>
                      <a:pt x="0" y="560"/>
                      <a:pt x="0" y="530"/>
                    </a:cubicBezTo>
                    <a:cubicBezTo>
                      <a:pt x="2" y="519"/>
                      <a:pt x="3" y="509"/>
                      <a:pt x="5" y="498"/>
                    </a:cubicBezTo>
                    <a:cubicBezTo>
                      <a:pt x="26" y="375"/>
                      <a:pt x="81" y="272"/>
                      <a:pt x="174" y="189"/>
                    </a:cubicBezTo>
                    <a:cubicBezTo>
                      <a:pt x="274" y="99"/>
                      <a:pt x="389" y="51"/>
                      <a:pt x="526" y="65"/>
                    </a:cubicBezTo>
                    <a:cubicBezTo>
                      <a:pt x="532" y="66"/>
                      <a:pt x="539" y="62"/>
                      <a:pt x="545" y="59"/>
                    </a:cubicBezTo>
                    <a:cubicBezTo>
                      <a:pt x="578" y="44"/>
                      <a:pt x="612" y="27"/>
                      <a:pt x="646" y="13"/>
                    </a:cubicBezTo>
                    <a:cubicBezTo>
                      <a:pt x="663" y="6"/>
                      <a:pt x="682" y="4"/>
                      <a:pt x="699" y="0"/>
                    </a:cubicBezTo>
                    <a:cubicBezTo>
                      <a:pt x="723" y="0"/>
                      <a:pt x="746" y="0"/>
                      <a:pt x="769" y="0"/>
                    </a:cubicBezTo>
                    <a:cubicBezTo>
                      <a:pt x="773" y="1"/>
                      <a:pt x="776" y="3"/>
                      <a:pt x="780" y="3"/>
                    </a:cubicBezTo>
                    <a:cubicBezTo>
                      <a:pt x="826" y="10"/>
                      <a:pt x="870" y="26"/>
                      <a:pt x="905" y="57"/>
                    </a:cubicBezTo>
                    <a:cubicBezTo>
                      <a:pt x="931" y="81"/>
                      <a:pt x="958" y="86"/>
                      <a:pt x="992" y="86"/>
                    </a:cubicBezTo>
                    <a:cubicBezTo>
                      <a:pt x="1130" y="86"/>
                      <a:pt x="1230" y="168"/>
                      <a:pt x="1262" y="303"/>
                    </a:cubicBezTo>
                    <a:cubicBezTo>
                      <a:pt x="1264" y="311"/>
                      <a:pt x="1271" y="319"/>
                      <a:pt x="1278" y="323"/>
                    </a:cubicBezTo>
                    <a:cubicBezTo>
                      <a:pt x="1339" y="363"/>
                      <a:pt x="1392" y="411"/>
                      <a:pt x="1423" y="478"/>
                    </a:cubicBezTo>
                    <a:cubicBezTo>
                      <a:pt x="1435" y="505"/>
                      <a:pt x="1441" y="535"/>
                      <a:pt x="1450" y="563"/>
                    </a:cubicBezTo>
                    <a:cubicBezTo>
                      <a:pt x="1450" y="587"/>
                      <a:pt x="1450" y="610"/>
                      <a:pt x="1450" y="633"/>
                    </a:cubicBezTo>
                    <a:close/>
                    <a:moveTo>
                      <a:pt x="860" y="776"/>
                    </a:moveTo>
                    <a:cubicBezTo>
                      <a:pt x="867" y="778"/>
                      <a:pt x="873" y="779"/>
                      <a:pt x="878" y="781"/>
                    </a:cubicBezTo>
                    <a:cubicBezTo>
                      <a:pt x="934" y="801"/>
                      <a:pt x="990" y="815"/>
                      <a:pt x="1048" y="819"/>
                    </a:cubicBezTo>
                    <a:cubicBezTo>
                      <a:pt x="1121" y="826"/>
                      <a:pt x="1192" y="819"/>
                      <a:pt x="1259" y="788"/>
                    </a:cubicBezTo>
                    <a:cubicBezTo>
                      <a:pt x="1388" y="728"/>
                      <a:pt x="1428" y="588"/>
                      <a:pt x="1349" y="472"/>
                    </a:cubicBezTo>
                    <a:cubicBezTo>
                      <a:pt x="1320" y="429"/>
                      <a:pt x="1282" y="395"/>
                      <a:pt x="1236" y="372"/>
                    </a:cubicBezTo>
                    <a:cubicBezTo>
                      <a:pt x="1215" y="362"/>
                      <a:pt x="1207" y="349"/>
                      <a:pt x="1203" y="327"/>
                    </a:cubicBezTo>
                    <a:cubicBezTo>
                      <a:pt x="1187" y="240"/>
                      <a:pt x="1141" y="179"/>
                      <a:pt x="1052" y="156"/>
                    </a:cubicBezTo>
                    <a:cubicBezTo>
                      <a:pt x="1014" y="146"/>
                      <a:pt x="976" y="143"/>
                      <a:pt x="937" y="151"/>
                    </a:cubicBezTo>
                    <a:cubicBezTo>
                      <a:pt x="922" y="154"/>
                      <a:pt x="914" y="149"/>
                      <a:pt x="904" y="139"/>
                    </a:cubicBezTo>
                    <a:cubicBezTo>
                      <a:pt x="874" y="106"/>
                      <a:pt x="838" y="81"/>
                      <a:pt x="794" y="69"/>
                    </a:cubicBezTo>
                    <a:cubicBezTo>
                      <a:pt x="720" y="50"/>
                      <a:pt x="653" y="67"/>
                      <a:pt x="590" y="106"/>
                    </a:cubicBezTo>
                    <a:cubicBezTo>
                      <a:pt x="563" y="122"/>
                      <a:pt x="539" y="138"/>
                      <a:pt x="507" y="125"/>
                    </a:cubicBezTo>
                    <a:cubicBezTo>
                      <a:pt x="505" y="124"/>
                      <a:pt x="503" y="125"/>
                      <a:pt x="501" y="125"/>
                    </a:cubicBezTo>
                    <a:cubicBezTo>
                      <a:pt x="415" y="120"/>
                      <a:pt x="338" y="146"/>
                      <a:pt x="268" y="194"/>
                    </a:cubicBezTo>
                    <a:cubicBezTo>
                      <a:pt x="109" y="302"/>
                      <a:pt x="31" y="491"/>
                      <a:pt x="73" y="669"/>
                    </a:cubicBezTo>
                    <a:cubicBezTo>
                      <a:pt x="94" y="754"/>
                      <a:pt x="136" y="824"/>
                      <a:pt x="217" y="866"/>
                    </a:cubicBezTo>
                    <a:cubicBezTo>
                      <a:pt x="249" y="883"/>
                      <a:pt x="284" y="891"/>
                      <a:pt x="321" y="891"/>
                    </a:cubicBezTo>
                    <a:cubicBezTo>
                      <a:pt x="366" y="891"/>
                      <a:pt x="410" y="891"/>
                      <a:pt x="457" y="891"/>
                    </a:cubicBezTo>
                    <a:cubicBezTo>
                      <a:pt x="443" y="984"/>
                      <a:pt x="430" y="1073"/>
                      <a:pt x="417" y="1164"/>
                    </a:cubicBezTo>
                    <a:cubicBezTo>
                      <a:pt x="427" y="1164"/>
                      <a:pt x="435" y="1163"/>
                      <a:pt x="443" y="1164"/>
                    </a:cubicBezTo>
                    <a:cubicBezTo>
                      <a:pt x="461" y="1168"/>
                      <a:pt x="471" y="1159"/>
                      <a:pt x="479" y="1143"/>
                    </a:cubicBezTo>
                    <a:cubicBezTo>
                      <a:pt x="509" y="1084"/>
                      <a:pt x="540" y="1026"/>
                      <a:pt x="570" y="968"/>
                    </a:cubicBezTo>
                    <a:cubicBezTo>
                      <a:pt x="584" y="942"/>
                      <a:pt x="599" y="915"/>
                      <a:pt x="613" y="888"/>
                    </a:cubicBezTo>
                    <a:cubicBezTo>
                      <a:pt x="692" y="935"/>
                      <a:pt x="834" y="889"/>
                      <a:pt x="860" y="7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7" name="Freeform 14">
                <a:extLst>
                  <a:ext uri="{FF2B5EF4-FFF2-40B4-BE49-F238E27FC236}">
                    <a16:creationId xmlns:a16="http://schemas.microsoft.com/office/drawing/2014/main" id="{8491AFDF-7EFF-7AD0-E716-44C961203779}"/>
                  </a:ext>
                </a:extLst>
              </p:cNvPr>
              <p:cNvSpPr>
                <a:spLocks/>
              </p:cNvSpPr>
              <p:nvPr/>
            </p:nvSpPr>
            <p:spPr bwMode="auto">
              <a:xfrm>
                <a:off x="8578326" y="3852316"/>
                <a:ext cx="496174" cy="297639"/>
              </a:xfrm>
              <a:custGeom>
                <a:avLst/>
                <a:gdLst>
                  <a:gd name="T0" fmla="*/ 839 w 977"/>
                  <a:gd name="T1" fmla="*/ 275 h 585"/>
                  <a:gd name="T2" fmla="*/ 936 w 977"/>
                  <a:gd name="T3" fmla="*/ 301 h 585"/>
                  <a:gd name="T4" fmla="*/ 806 w 977"/>
                  <a:gd name="T5" fmla="*/ 364 h 585"/>
                  <a:gd name="T6" fmla="*/ 795 w 977"/>
                  <a:gd name="T7" fmla="*/ 383 h 585"/>
                  <a:gd name="T8" fmla="*/ 974 w 977"/>
                  <a:gd name="T9" fmla="*/ 463 h 585"/>
                  <a:gd name="T10" fmla="*/ 937 w 977"/>
                  <a:gd name="T11" fmla="*/ 505 h 585"/>
                  <a:gd name="T12" fmla="*/ 856 w 977"/>
                  <a:gd name="T13" fmla="*/ 444 h 585"/>
                  <a:gd name="T14" fmla="*/ 657 w 977"/>
                  <a:gd name="T15" fmla="*/ 310 h 585"/>
                  <a:gd name="T16" fmla="*/ 540 w 977"/>
                  <a:gd name="T17" fmla="*/ 220 h 585"/>
                  <a:gd name="T18" fmla="*/ 495 w 977"/>
                  <a:gd name="T19" fmla="*/ 388 h 585"/>
                  <a:gd name="T20" fmla="*/ 450 w 977"/>
                  <a:gd name="T21" fmla="*/ 424 h 585"/>
                  <a:gd name="T22" fmla="*/ 422 w 977"/>
                  <a:gd name="T23" fmla="*/ 278 h 585"/>
                  <a:gd name="T24" fmla="*/ 355 w 977"/>
                  <a:gd name="T25" fmla="*/ 247 h 585"/>
                  <a:gd name="T26" fmla="*/ 225 w 977"/>
                  <a:gd name="T27" fmla="*/ 400 h 585"/>
                  <a:gd name="T28" fmla="*/ 319 w 977"/>
                  <a:gd name="T29" fmla="*/ 524 h 585"/>
                  <a:gd name="T30" fmla="*/ 274 w 977"/>
                  <a:gd name="T31" fmla="*/ 568 h 585"/>
                  <a:gd name="T32" fmla="*/ 125 w 977"/>
                  <a:gd name="T33" fmla="*/ 493 h 585"/>
                  <a:gd name="T34" fmla="*/ 50 w 977"/>
                  <a:gd name="T35" fmla="*/ 492 h 585"/>
                  <a:gd name="T36" fmla="*/ 163 w 977"/>
                  <a:gd name="T37" fmla="*/ 420 h 585"/>
                  <a:gd name="T38" fmla="*/ 117 w 977"/>
                  <a:gd name="T39" fmla="*/ 318 h 585"/>
                  <a:gd name="T40" fmla="*/ 35 w 977"/>
                  <a:gd name="T41" fmla="*/ 179 h 585"/>
                  <a:gd name="T42" fmla="*/ 159 w 977"/>
                  <a:gd name="T43" fmla="*/ 264 h 585"/>
                  <a:gd name="T44" fmla="*/ 297 w 977"/>
                  <a:gd name="T45" fmla="*/ 198 h 585"/>
                  <a:gd name="T46" fmla="*/ 364 w 977"/>
                  <a:gd name="T47" fmla="*/ 158 h 585"/>
                  <a:gd name="T48" fmla="*/ 293 w 977"/>
                  <a:gd name="T49" fmla="*/ 31 h 585"/>
                  <a:gd name="T50" fmla="*/ 424 w 977"/>
                  <a:gd name="T51" fmla="*/ 137 h 585"/>
                  <a:gd name="T52" fmla="*/ 461 w 977"/>
                  <a:gd name="T53" fmla="*/ 199 h 585"/>
                  <a:gd name="T54" fmla="*/ 515 w 977"/>
                  <a:gd name="T55" fmla="*/ 86 h 585"/>
                  <a:gd name="T56" fmla="*/ 576 w 977"/>
                  <a:gd name="T57" fmla="*/ 82 h 585"/>
                  <a:gd name="T58" fmla="*/ 586 w 977"/>
                  <a:gd name="T59" fmla="*/ 170 h 585"/>
                  <a:gd name="T60" fmla="*/ 782 w 977"/>
                  <a:gd name="T61" fmla="*/ 124 h 585"/>
                  <a:gd name="T62" fmla="*/ 832 w 977"/>
                  <a:gd name="T63" fmla="*/ 161 h 585"/>
                  <a:gd name="T64" fmla="*/ 714 w 977"/>
                  <a:gd name="T65" fmla="*/ 27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7" h="585">
                    <a:moveTo>
                      <a:pt x="738" y="351"/>
                    </a:moveTo>
                    <a:cubicBezTo>
                      <a:pt x="764" y="312"/>
                      <a:pt x="795" y="285"/>
                      <a:pt x="839" y="275"/>
                    </a:cubicBezTo>
                    <a:cubicBezTo>
                      <a:pt x="859" y="270"/>
                      <a:pt x="881" y="269"/>
                      <a:pt x="902" y="269"/>
                    </a:cubicBezTo>
                    <a:cubicBezTo>
                      <a:pt x="925" y="269"/>
                      <a:pt x="937" y="282"/>
                      <a:pt x="936" y="301"/>
                    </a:cubicBezTo>
                    <a:cubicBezTo>
                      <a:pt x="935" y="321"/>
                      <a:pt x="922" y="331"/>
                      <a:pt x="899" y="330"/>
                    </a:cubicBezTo>
                    <a:cubicBezTo>
                      <a:pt x="863" y="328"/>
                      <a:pt x="831" y="336"/>
                      <a:pt x="806" y="364"/>
                    </a:cubicBezTo>
                    <a:cubicBezTo>
                      <a:pt x="803" y="367"/>
                      <a:pt x="800" y="371"/>
                      <a:pt x="797" y="375"/>
                    </a:cubicBezTo>
                    <a:cubicBezTo>
                      <a:pt x="796" y="377"/>
                      <a:pt x="796" y="379"/>
                      <a:pt x="795" y="383"/>
                    </a:cubicBezTo>
                    <a:cubicBezTo>
                      <a:pt x="813" y="383"/>
                      <a:pt x="830" y="384"/>
                      <a:pt x="846" y="383"/>
                    </a:cubicBezTo>
                    <a:cubicBezTo>
                      <a:pt x="912" y="378"/>
                      <a:pt x="958" y="406"/>
                      <a:pt x="974" y="463"/>
                    </a:cubicBezTo>
                    <a:cubicBezTo>
                      <a:pt x="977" y="474"/>
                      <a:pt x="974" y="490"/>
                      <a:pt x="968" y="498"/>
                    </a:cubicBezTo>
                    <a:cubicBezTo>
                      <a:pt x="962" y="505"/>
                      <a:pt x="946" y="508"/>
                      <a:pt x="937" y="505"/>
                    </a:cubicBezTo>
                    <a:cubicBezTo>
                      <a:pt x="929" y="504"/>
                      <a:pt x="921" y="493"/>
                      <a:pt x="917" y="484"/>
                    </a:cubicBezTo>
                    <a:cubicBezTo>
                      <a:pt x="903" y="451"/>
                      <a:pt x="892" y="444"/>
                      <a:pt x="856" y="444"/>
                    </a:cubicBezTo>
                    <a:cubicBezTo>
                      <a:pt x="831" y="445"/>
                      <a:pt x="806" y="446"/>
                      <a:pt x="782" y="442"/>
                    </a:cubicBezTo>
                    <a:cubicBezTo>
                      <a:pt x="712" y="432"/>
                      <a:pt x="669" y="385"/>
                      <a:pt x="657" y="310"/>
                    </a:cubicBezTo>
                    <a:cubicBezTo>
                      <a:pt x="655" y="293"/>
                      <a:pt x="653" y="276"/>
                      <a:pt x="652" y="262"/>
                    </a:cubicBezTo>
                    <a:cubicBezTo>
                      <a:pt x="614" y="248"/>
                      <a:pt x="577" y="234"/>
                      <a:pt x="540" y="220"/>
                    </a:cubicBezTo>
                    <a:cubicBezTo>
                      <a:pt x="524" y="232"/>
                      <a:pt x="504" y="246"/>
                      <a:pt x="484" y="261"/>
                    </a:cubicBezTo>
                    <a:cubicBezTo>
                      <a:pt x="502" y="300"/>
                      <a:pt x="507" y="343"/>
                      <a:pt x="495" y="388"/>
                    </a:cubicBezTo>
                    <a:cubicBezTo>
                      <a:pt x="493" y="393"/>
                      <a:pt x="492" y="398"/>
                      <a:pt x="489" y="403"/>
                    </a:cubicBezTo>
                    <a:cubicBezTo>
                      <a:pt x="482" y="421"/>
                      <a:pt x="466" y="429"/>
                      <a:pt x="450" y="424"/>
                    </a:cubicBezTo>
                    <a:cubicBezTo>
                      <a:pt x="432" y="418"/>
                      <a:pt x="425" y="402"/>
                      <a:pt x="432" y="382"/>
                    </a:cubicBezTo>
                    <a:cubicBezTo>
                      <a:pt x="444" y="346"/>
                      <a:pt x="442" y="311"/>
                      <a:pt x="422" y="278"/>
                    </a:cubicBezTo>
                    <a:cubicBezTo>
                      <a:pt x="419" y="273"/>
                      <a:pt x="416" y="268"/>
                      <a:pt x="413" y="264"/>
                    </a:cubicBezTo>
                    <a:cubicBezTo>
                      <a:pt x="390" y="236"/>
                      <a:pt x="390" y="236"/>
                      <a:pt x="355" y="247"/>
                    </a:cubicBezTo>
                    <a:cubicBezTo>
                      <a:pt x="340" y="252"/>
                      <a:pt x="325" y="255"/>
                      <a:pt x="309" y="259"/>
                    </a:cubicBezTo>
                    <a:cubicBezTo>
                      <a:pt x="237" y="274"/>
                      <a:pt x="204" y="329"/>
                      <a:pt x="225" y="400"/>
                    </a:cubicBezTo>
                    <a:cubicBezTo>
                      <a:pt x="235" y="436"/>
                      <a:pt x="257" y="462"/>
                      <a:pt x="283" y="488"/>
                    </a:cubicBezTo>
                    <a:cubicBezTo>
                      <a:pt x="295" y="500"/>
                      <a:pt x="307" y="512"/>
                      <a:pt x="319" y="524"/>
                    </a:cubicBezTo>
                    <a:cubicBezTo>
                      <a:pt x="334" y="541"/>
                      <a:pt x="334" y="559"/>
                      <a:pt x="321" y="572"/>
                    </a:cubicBezTo>
                    <a:cubicBezTo>
                      <a:pt x="308" y="585"/>
                      <a:pt x="289" y="583"/>
                      <a:pt x="274" y="568"/>
                    </a:cubicBezTo>
                    <a:cubicBezTo>
                      <a:pt x="260" y="553"/>
                      <a:pt x="245" y="539"/>
                      <a:pt x="232" y="523"/>
                    </a:cubicBezTo>
                    <a:cubicBezTo>
                      <a:pt x="203" y="488"/>
                      <a:pt x="167" y="482"/>
                      <a:pt x="125" y="493"/>
                    </a:cubicBezTo>
                    <a:cubicBezTo>
                      <a:pt x="114" y="497"/>
                      <a:pt x="103" y="502"/>
                      <a:pt x="92" y="506"/>
                    </a:cubicBezTo>
                    <a:cubicBezTo>
                      <a:pt x="75" y="513"/>
                      <a:pt x="57" y="507"/>
                      <a:pt x="50" y="492"/>
                    </a:cubicBezTo>
                    <a:cubicBezTo>
                      <a:pt x="43" y="476"/>
                      <a:pt x="48" y="457"/>
                      <a:pt x="66" y="451"/>
                    </a:cubicBezTo>
                    <a:cubicBezTo>
                      <a:pt x="98" y="439"/>
                      <a:pt x="131" y="430"/>
                      <a:pt x="163" y="420"/>
                    </a:cubicBezTo>
                    <a:cubicBezTo>
                      <a:pt x="161" y="393"/>
                      <a:pt x="158" y="362"/>
                      <a:pt x="155" y="327"/>
                    </a:cubicBezTo>
                    <a:cubicBezTo>
                      <a:pt x="145" y="325"/>
                      <a:pt x="131" y="322"/>
                      <a:pt x="117" y="318"/>
                    </a:cubicBezTo>
                    <a:cubicBezTo>
                      <a:pt x="66" y="303"/>
                      <a:pt x="23" y="278"/>
                      <a:pt x="7" y="223"/>
                    </a:cubicBezTo>
                    <a:cubicBezTo>
                      <a:pt x="0" y="197"/>
                      <a:pt x="13" y="176"/>
                      <a:pt x="35" y="179"/>
                    </a:cubicBezTo>
                    <a:cubicBezTo>
                      <a:pt x="45" y="180"/>
                      <a:pt x="60" y="188"/>
                      <a:pt x="62" y="196"/>
                    </a:cubicBezTo>
                    <a:cubicBezTo>
                      <a:pt x="76" y="246"/>
                      <a:pt x="117" y="255"/>
                      <a:pt x="159" y="264"/>
                    </a:cubicBezTo>
                    <a:cubicBezTo>
                      <a:pt x="176" y="268"/>
                      <a:pt x="188" y="265"/>
                      <a:pt x="200" y="250"/>
                    </a:cubicBezTo>
                    <a:cubicBezTo>
                      <a:pt x="225" y="221"/>
                      <a:pt x="259" y="205"/>
                      <a:pt x="297" y="198"/>
                    </a:cubicBezTo>
                    <a:cubicBezTo>
                      <a:pt x="313" y="195"/>
                      <a:pt x="330" y="188"/>
                      <a:pt x="346" y="185"/>
                    </a:cubicBezTo>
                    <a:cubicBezTo>
                      <a:pt x="361" y="182"/>
                      <a:pt x="365" y="172"/>
                      <a:pt x="364" y="158"/>
                    </a:cubicBezTo>
                    <a:cubicBezTo>
                      <a:pt x="363" y="118"/>
                      <a:pt x="347" y="86"/>
                      <a:pt x="311" y="66"/>
                    </a:cubicBezTo>
                    <a:cubicBezTo>
                      <a:pt x="297" y="58"/>
                      <a:pt x="290" y="47"/>
                      <a:pt x="293" y="31"/>
                    </a:cubicBezTo>
                    <a:cubicBezTo>
                      <a:pt x="296" y="10"/>
                      <a:pt x="319" y="0"/>
                      <a:pt x="340" y="11"/>
                    </a:cubicBezTo>
                    <a:cubicBezTo>
                      <a:pt x="390" y="39"/>
                      <a:pt x="418" y="81"/>
                      <a:pt x="424" y="137"/>
                    </a:cubicBezTo>
                    <a:cubicBezTo>
                      <a:pt x="426" y="149"/>
                      <a:pt x="425" y="162"/>
                      <a:pt x="425" y="174"/>
                    </a:cubicBezTo>
                    <a:cubicBezTo>
                      <a:pt x="424" y="197"/>
                      <a:pt x="439" y="208"/>
                      <a:pt x="461" y="199"/>
                    </a:cubicBezTo>
                    <a:cubicBezTo>
                      <a:pt x="498" y="183"/>
                      <a:pt x="511" y="152"/>
                      <a:pt x="515" y="115"/>
                    </a:cubicBezTo>
                    <a:cubicBezTo>
                      <a:pt x="516" y="106"/>
                      <a:pt x="515" y="96"/>
                      <a:pt x="515" y="86"/>
                    </a:cubicBezTo>
                    <a:cubicBezTo>
                      <a:pt x="514" y="68"/>
                      <a:pt x="526" y="54"/>
                      <a:pt x="542" y="53"/>
                    </a:cubicBezTo>
                    <a:cubicBezTo>
                      <a:pt x="560" y="51"/>
                      <a:pt x="575" y="62"/>
                      <a:pt x="576" y="82"/>
                    </a:cubicBezTo>
                    <a:cubicBezTo>
                      <a:pt x="576" y="102"/>
                      <a:pt x="576" y="122"/>
                      <a:pt x="573" y="142"/>
                    </a:cubicBezTo>
                    <a:cubicBezTo>
                      <a:pt x="570" y="156"/>
                      <a:pt x="574" y="163"/>
                      <a:pt x="586" y="170"/>
                    </a:cubicBezTo>
                    <a:cubicBezTo>
                      <a:pt x="648" y="209"/>
                      <a:pt x="709" y="201"/>
                      <a:pt x="763" y="146"/>
                    </a:cubicBezTo>
                    <a:cubicBezTo>
                      <a:pt x="770" y="139"/>
                      <a:pt x="776" y="131"/>
                      <a:pt x="782" y="124"/>
                    </a:cubicBezTo>
                    <a:cubicBezTo>
                      <a:pt x="794" y="110"/>
                      <a:pt x="813" y="107"/>
                      <a:pt x="827" y="118"/>
                    </a:cubicBezTo>
                    <a:cubicBezTo>
                      <a:pt x="839" y="128"/>
                      <a:pt x="842" y="146"/>
                      <a:pt x="832" y="161"/>
                    </a:cubicBezTo>
                    <a:cubicBezTo>
                      <a:pt x="806" y="197"/>
                      <a:pt x="773" y="225"/>
                      <a:pt x="731" y="241"/>
                    </a:cubicBezTo>
                    <a:cubicBezTo>
                      <a:pt x="717" y="247"/>
                      <a:pt x="713" y="254"/>
                      <a:pt x="714" y="270"/>
                    </a:cubicBezTo>
                    <a:cubicBezTo>
                      <a:pt x="717" y="297"/>
                      <a:pt x="721" y="324"/>
                      <a:pt x="738" y="3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grpSp>
        <p:nvGrpSpPr>
          <p:cNvPr id="8" name="Group 7">
            <a:extLst>
              <a:ext uri="{FF2B5EF4-FFF2-40B4-BE49-F238E27FC236}">
                <a16:creationId xmlns:a16="http://schemas.microsoft.com/office/drawing/2014/main" id="{51726F32-614A-7955-36CC-1BD8D8255563}"/>
              </a:ext>
            </a:extLst>
          </p:cNvPr>
          <p:cNvGrpSpPr/>
          <p:nvPr/>
        </p:nvGrpSpPr>
        <p:grpSpPr>
          <a:xfrm>
            <a:off x="569205" y="1790421"/>
            <a:ext cx="5483235" cy="3568086"/>
            <a:chOff x="569205" y="1790421"/>
            <a:chExt cx="5483235" cy="3568086"/>
          </a:xfrm>
        </p:grpSpPr>
        <p:sp>
          <p:nvSpPr>
            <p:cNvPr id="5" name="Cloud Callout 55">
              <a:extLst>
                <a:ext uri="{FF2B5EF4-FFF2-40B4-BE49-F238E27FC236}">
                  <a16:creationId xmlns:a16="http://schemas.microsoft.com/office/drawing/2014/main" id="{5E88D454-3735-C1A6-3DA1-1152C66065D8}"/>
                </a:ext>
              </a:extLst>
            </p:cNvPr>
            <p:cNvSpPr/>
            <p:nvPr/>
          </p:nvSpPr>
          <p:spPr>
            <a:xfrm>
              <a:off x="777810" y="3489737"/>
              <a:ext cx="1163568" cy="613106"/>
            </a:xfrm>
            <a:prstGeom prst="cloudCallout">
              <a:avLst>
                <a:gd name="adj1" fmla="val 125035"/>
                <a:gd name="adj2" fmla="val -2846"/>
              </a:avLst>
            </a:prstGeom>
            <a:solidFill>
              <a:srgbClr val="ADB2BC"/>
            </a:solidFill>
            <a:ln>
              <a:noFill/>
            </a:ln>
            <a:effectLst/>
          </p:spPr>
          <p:style>
            <a:lnRef idx="3">
              <a:schemeClr val="lt1"/>
            </a:lnRef>
            <a:fillRef idx="1">
              <a:schemeClr val="dk1"/>
            </a:fillRef>
            <a:effectRef idx="1">
              <a:schemeClr val="dk1"/>
            </a:effectRef>
            <a:fontRef idx="minor">
              <a:schemeClr val="lt1"/>
            </a:fontRef>
          </p:style>
          <p:txBody>
            <a:bodyPr anchor="ctr"/>
            <a:lstStyle/>
            <a:p>
              <a:pPr algn="ctr" defTabSz="914377">
                <a:defRPr/>
              </a:pPr>
              <a:endParaRPr lang="en-GB" sz="70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7" name="Rectangle 1">
              <a:extLst>
                <a:ext uri="{FF2B5EF4-FFF2-40B4-BE49-F238E27FC236}">
                  <a16:creationId xmlns:a16="http://schemas.microsoft.com/office/drawing/2014/main" id="{BE80DCC4-053E-181B-C538-477283598D83}"/>
                </a:ext>
              </a:extLst>
            </p:cNvPr>
            <p:cNvSpPr>
              <a:spLocks noChangeArrowheads="1"/>
            </p:cNvSpPr>
            <p:nvPr/>
          </p:nvSpPr>
          <p:spPr bwMode="auto">
            <a:xfrm>
              <a:off x="832884" y="3663933"/>
              <a:ext cx="104648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4377" fontAlgn="base">
                <a:spcBef>
                  <a:spcPct val="0"/>
                </a:spcBef>
                <a:spcAft>
                  <a:spcPct val="0"/>
                </a:spcAft>
                <a:defRPr/>
              </a:pPr>
              <a:r>
                <a:rPr lang="en-GB" sz="1000" i="1">
                  <a:solidFill>
                    <a:schemeClr val="bg1"/>
                  </a:solidFill>
                  <a:latin typeface="Arial" panose="020B0604020202020204" pitchFamily="34" charset="0"/>
                  <a:ea typeface="Apis For Office" panose="020B0504010101010104" pitchFamily="34" charset="0"/>
                  <a:cs typeface="Arial" panose="020B0604020202020204" pitchFamily="34" charset="0"/>
                </a:rPr>
                <a:t>Hedonic input</a:t>
              </a:r>
            </a:p>
          </p:txBody>
        </p:sp>
        <p:sp>
          <p:nvSpPr>
            <p:cNvPr id="161" name="Freeform 64">
              <a:extLst>
                <a:ext uri="{FF2B5EF4-FFF2-40B4-BE49-F238E27FC236}">
                  <a16:creationId xmlns:a16="http://schemas.microsoft.com/office/drawing/2014/main" id="{59E55B93-C0C3-735F-CF3C-5980D3C23B50}"/>
                </a:ext>
              </a:extLst>
            </p:cNvPr>
            <p:cNvSpPr>
              <a:spLocks/>
            </p:cNvSpPr>
            <p:nvPr/>
          </p:nvSpPr>
          <p:spPr bwMode="auto">
            <a:xfrm>
              <a:off x="2024326" y="2540363"/>
              <a:ext cx="1001394" cy="992276"/>
            </a:xfrm>
            <a:prstGeom prst="ellipse">
              <a:avLst/>
            </a:prstGeom>
            <a:solidFill>
              <a:schemeClr val="accent1">
                <a:lumMod val="40000"/>
                <a:lumOff val="60000"/>
              </a:schemeClr>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148" name="Freeform 64">
              <a:extLst>
                <a:ext uri="{FF2B5EF4-FFF2-40B4-BE49-F238E27FC236}">
                  <a16:creationId xmlns:a16="http://schemas.microsoft.com/office/drawing/2014/main" id="{E025FDF0-9B70-D42E-F59C-29BE17D64A4C}"/>
                </a:ext>
              </a:extLst>
            </p:cNvPr>
            <p:cNvSpPr>
              <a:spLocks/>
            </p:cNvSpPr>
            <p:nvPr/>
          </p:nvSpPr>
          <p:spPr bwMode="auto">
            <a:xfrm>
              <a:off x="2024326" y="3202702"/>
              <a:ext cx="1001394" cy="992276"/>
            </a:xfrm>
            <a:prstGeom prst="ellipse">
              <a:avLst/>
            </a:prstGeom>
            <a:solidFill>
              <a:schemeClr val="accent1"/>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grpSp>
          <p:nvGrpSpPr>
            <p:cNvPr id="134" name="Group 133">
              <a:extLst>
                <a:ext uri="{FF2B5EF4-FFF2-40B4-BE49-F238E27FC236}">
                  <a16:creationId xmlns:a16="http://schemas.microsoft.com/office/drawing/2014/main" id="{819F1EC5-230B-4B86-5278-1A0F8AB564BB}"/>
                </a:ext>
              </a:extLst>
            </p:cNvPr>
            <p:cNvGrpSpPr/>
            <p:nvPr/>
          </p:nvGrpSpPr>
          <p:grpSpPr>
            <a:xfrm>
              <a:off x="3059059" y="4419408"/>
              <a:ext cx="710451" cy="785210"/>
              <a:chOff x="3293731" y="4419408"/>
              <a:chExt cx="710451" cy="785210"/>
            </a:xfrm>
          </p:grpSpPr>
          <p:sp>
            <p:nvSpPr>
              <p:cNvPr id="125" name="Freeform 64">
                <a:extLst>
                  <a:ext uri="{FF2B5EF4-FFF2-40B4-BE49-F238E27FC236}">
                    <a16:creationId xmlns:a16="http://schemas.microsoft.com/office/drawing/2014/main" id="{870C8202-DE8B-A498-0DCC-A69AFD22902E}"/>
                  </a:ext>
                </a:extLst>
              </p:cNvPr>
              <p:cNvSpPr>
                <a:spLocks/>
              </p:cNvSpPr>
              <p:nvPr/>
            </p:nvSpPr>
            <p:spPr bwMode="auto">
              <a:xfrm>
                <a:off x="3393481" y="4419408"/>
                <a:ext cx="512064" cy="507402"/>
              </a:xfrm>
              <a:prstGeom prst="ellipse">
                <a:avLst/>
              </a:prstGeom>
              <a:solidFill>
                <a:schemeClr val="accent1"/>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94" name="TextBox 36">
                <a:extLst>
                  <a:ext uri="{FF2B5EF4-FFF2-40B4-BE49-F238E27FC236}">
                    <a16:creationId xmlns:a16="http://schemas.microsoft.com/office/drawing/2014/main" id="{3AFBDCB7-E8E3-4BB0-8040-E205CDE82D06}"/>
                  </a:ext>
                </a:extLst>
              </p:cNvPr>
              <p:cNvSpPr txBox="1">
                <a:spLocks noChangeArrowheads="1"/>
              </p:cNvSpPr>
              <p:nvPr/>
            </p:nvSpPr>
            <p:spPr bwMode="auto">
              <a:xfrm>
                <a:off x="3293731" y="4958397"/>
                <a:ext cx="71045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377" fontAlgn="base">
                  <a:spcBef>
                    <a:spcPct val="0"/>
                  </a:spcBef>
                  <a:spcAft>
                    <a:spcPct val="0"/>
                  </a:spcAft>
                  <a:defRPr/>
                </a:pPr>
                <a:r>
                  <a:rPr lang="en-US" sz="1000" b="1" noProof="0">
                    <a:solidFill>
                      <a:schemeClr val="accent1"/>
                    </a:solidFill>
                    <a:latin typeface="Arial" panose="020B0604020202020204" pitchFamily="34" charset="0"/>
                    <a:ea typeface="Apis For Office" panose="020B0504010101010104" pitchFamily="34" charset="0"/>
                  </a:rPr>
                  <a:t>Intestine</a:t>
                </a:r>
              </a:p>
            </p:txBody>
          </p:sp>
          <p:sp>
            <p:nvSpPr>
              <p:cNvPr id="97" name="Freeform 313">
                <a:extLst>
                  <a:ext uri="{FF2B5EF4-FFF2-40B4-BE49-F238E27FC236}">
                    <a16:creationId xmlns:a16="http://schemas.microsoft.com/office/drawing/2014/main" id="{A000FCFC-D8CA-46BD-A010-A3AFBE59187D}"/>
                  </a:ext>
                </a:extLst>
              </p:cNvPr>
              <p:cNvSpPr>
                <a:spLocks noEditPoints="1"/>
              </p:cNvSpPr>
              <p:nvPr/>
            </p:nvSpPr>
            <p:spPr bwMode="auto">
              <a:xfrm>
                <a:off x="3452847" y="4488780"/>
                <a:ext cx="392322" cy="381204"/>
              </a:xfrm>
              <a:custGeom>
                <a:avLst/>
                <a:gdLst>
                  <a:gd name="T0" fmla="*/ 117 w 344"/>
                  <a:gd name="T1" fmla="*/ 85 h 371"/>
                  <a:gd name="T2" fmla="*/ 107 w 344"/>
                  <a:gd name="T3" fmla="*/ 25 h 371"/>
                  <a:gd name="T4" fmla="*/ 297 w 344"/>
                  <a:gd name="T5" fmla="*/ 55 h 371"/>
                  <a:gd name="T6" fmla="*/ 331 w 344"/>
                  <a:gd name="T7" fmla="*/ 192 h 371"/>
                  <a:gd name="T8" fmla="*/ 289 w 344"/>
                  <a:gd name="T9" fmla="*/ 302 h 371"/>
                  <a:gd name="T10" fmla="*/ 187 w 344"/>
                  <a:gd name="T11" fmla="*/ 348 h 371"/>
                  <a:gd name="T12" fmla="*/ 43 w 344"/>
                  <a:gd name="T13" fmla="*/ 296 h 371"/>
                  <a:gd name="T14" fmla="*/ 2 w 344"/>
                  <a:gd name="T15" fmla="*/ 197 h 371"/>
                  <a:gd name="T16" fmla="*/ 5 w 344"/>
                  <a:gd name="T17" fmla="*/ 100 h 371"/>
                  <a:gd name="T18" fmla="*/ 147 w 344"/>
                  <a:gd name="T19" fmla="*/ 105 h 371"/>
                  <a:gd name="T20" fmla="*/ 119 w 344"/>
                  <a:gd name="T21" fmla="*/ 250 h 371"/>
                  <a:gd name="T22" fmla="*/ 136 w 344"/>
                  <a:gd name="T23" fmla="*/ 283 h 371"/>
                  <a:gd name="T24" fmla="*/ 81 w 344"/>
                  <a:gd name="T25" fmla="*/ 259 h 371"/>
                  <a:gd name="T26" fmla="*/ 72 w 344"/>
                  <a:gd name="T27" fmla="*/ 200 h 371"/>
                  <a:gd name="T28" fmla="*/ 142 w 344"/>
                  <a:gd name="T29" fmla="*/ 234 h 371"/>
                  <a:gd name="T30" fmla="*/ 153 w 344"/>
                  <a:gd name="T31" fmla="*/ 271 h 371"/>
                  <a:gd name="T32" fmla="*/ 96 w 344"/>
                  <a:gd name="T33" fmla="*/ 302 h 371"/>
                  <a:gd name="T34" fmla="*/ 78 w 344"/>
                  <a:gd name="T35" fmla="*/ 316 h 371"/>
                  <a:gd name="T36" fmla="*/ 170 w 344"/>
                  <a:gd name="T37" fmla="*/ 276 h 371"/>
                  <a:gd name="T38" fmla="*/ 80 w 344"/>
                  <a:gd name="T39" fmla="*/ 184 h 371"/>
                  <a:gd name="T40" fmla="*/ 53 w 344"/>
                  <a:gd name="T41" fmla="*/ 251 h 371"/>
                  <a:gd name="T42" fmla="*/ 181 w 344"/>
                  <a:gd name="T43" fmla="*/ 256 h 371"/>
                  <a:gd name="T44" fmla="*/ 220 w 344"/>
                  <a:gd name="T45" fmla="*/ 307 h 371"/>
                  <a:gd name="T46" fmla="*/ 281 w 344"/>
                  <a:gd name="T47" fmla="*/ 259 h 371"/>
                  <a:gd name="T48" fmla="*/ 315 w 344"/>
                  <a:gd name="T49" fmla="*/ 191 h 371"/>
                  <a:gd name="T50" fmla="*/ 218 w 344"/>
                  <a:gd name="T51" fmla="*/ 251 h 371"/>
                  <a:gd name="T52" fmla="*/ 274 w 344"/>
                  <a:gd name="T53" fmla="*/ 221 h 371"/>
                  <a:gd name="T54" fmla="*/ 270 w 344"/>
                  <a:gd name="T55" fmla="*/ 241 h 371"/>
                  <a:gd name="T56" fmla="*/ 239 w 344"/>
                  <a:gd name="T57" fmla="*/ 288 h 371"/>
                  <a:gd name="T58" fmla="*/ 192 w 344"/>
                  <a:gd name="T59" fmla="*/ 280 h 371"/>
                  <a:gd name="T60" fmla="*/ 195 w 344"/>
                  <a:gd name="T61" fmla="*/ 248 h 371"/>
                  <a:gd name="T62" fmla="*/ 196 w 344"/>
                  <a:gd name="T63" fmla="*/ 194 h 371"/>
                  <a:gd name="T64" fmla="*/ 268 w 344"/>
                  <a:gd name="T65" fmla="*/ 136 h 371"/>
                  <a:gd name="T66" fmla="*/ 211 w 344"/>
                  <a:gd name="T67" fmla="*/ 104 h 371"/>
                  <a:gd name="T68" fmla="*/ 237 w 344"/>
                  <a:gd name="T69" fmla="*/ 169 h 371"/>
                  <a:gd name="T70" fmla="*/ 191 w 344"/>
                  <a:gd name="T71" fmla="*/ 105 h 371"/>
                  <a:gd name="T72" fmla="*/ 157 w 344"/>
                  <a:gd name="T73" fmla="*/ 170 h 371"/>
                  <a:gd name="T74" fmla="*/ 121 w 344"/>
                  <a:gd name="T75" fmla="*/ 170 h 371"/>
                  <a:gd name="T76" fmla="*/ 184 w 344"/>
                  <a:gd name="T77" fmla="*/ 160 h 371"/>
                  <a:gd name="T78" fmla="*/ 180 w 344"/>
                  <a:gd name="T79" fmla="*/ 115 h 371"/>
                  <a:gd name="T80" fmla="*/ 206 w 344"/>
                  <a:gd name="T81" fmla="*/ 187 h 371"/>
                  <a:gd name="T82" fmla="*/ 241 w 344"/>
                  <a:gd name="T83" fmla="*/ 123 h 371"/>
                  <a:gd name="T84" fmla="*/ 253 w 344"/>
                  <a:gd name="T85" fmla="*/ 133 h 371"/>
                  <a:gd name="T86" fmla="*/ 148 w 344"/>
                  <a:gd name="T87" fmla="*/ 70 h 371"/>
                  <a:gd name="T88" fmla="*/ 273 w 344"/>
                  <a:gd name="T89" fmla="*/ 80 h 371"/>
                  <a:gd name="T90" fmla="*/ 289 w 344"/>
                  <a:gd name="T91" fmla="*/ 176 h 371"/>
                  <a:gd name="T92" fmla="*/ 295 w 344"/>
                  <a:gd name="T93" fmla="*/ 106 h 371"/>
                  <a:gd name="T94" fmla="*/ 264 w 344"/>
                  <a:gd name="T95" fmla="*/ 178 h 371"/>
                  <a:gd name="T96" fmla="*/ 312 w 344"/>
                  <a:gd name="T97" fmla="*/ 155 h 371"/>
                  <a:gd name="T98" fmla="*/ 267 w 344"/>
                  <a:gd name="T99" fmla="*/ 69 h 371"/>
                  <a:gd name="T100" fmla="*/ 96 w 344"/>
                  <a:gd name="T101" fmla="*/ 14 h 371"/>
                  <a:gd name="T102" fmla="*/ 46 w 344"/>
                  <a:gd name="T103" fmla="*/ 167 h 371"/>
                  <a:gd name="T104" fmla="*/ 141 w 344"/>
                  <a:gd name="T105" fmla="*/ 128 h 371"/>
                  <a:gd name="T106" fmla="*/ 30 w 344"/>
                  <a:gd name="T107" fmla="*/ 87 h 371"/>
                  <a:gd name="T108" fmla="*/ 58 w 344"/>
                  <a:gd name="T109" fmla="*/ 286 h 371"/>
                  <a:gd name="T110" fmla="*/ 40 w 344"/>
                  <a:gd name="T111" fmla="*/ 181 h 371"/>
                  <a:gd name="T112" fmla="*/ 26 w 344"/>
                  <a:gd name="T113" fmla="*/ 256 h 371"/>
                  <a:gd name="T114" fmla="*/ 195 w 344"/>
                  <a:gd name="T115" fmla="*/ 321 h 371"/>
                  <a:gd name="T116" fmla="*/ 240 w 344"/>
                  <a:gd name="T117" fmla="*/ 310 h 371"/>
                  <a:gd name="T118" fmla="*/ 85 w 344"/>
                  <a:gd name="T119" fmla="*/ 173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4" h="371">
                    <a:moveTo>
                      <a:pt x="147" y="105"/>
                    </a:moveTo>
                    <a:cubicBezTo>
                      <a:pt x="161" y="92"/>
                      <a:pt x="178" y="89"/>
                      <a:pt x="196" y="93"/>
                    </a:cubicBezTo>
                    <a:cubicBezTo>
                      <a:pt x="186" y="86"/>
                      <a:pt x="176" y="79"/>
                      <a:pt x="164" y="77"/>
                    </a:cubicBezTo>
                    <a:cubicBezTo>
                      <a:pt x="161" y="77"/>
                      <a:pt x="157" y="78"/>
                      <a:pt x="154" y="80"/>
                    </a:cubicBezTo>
                    <a:cubicBezTo>
                      <a:pt x="142" y="87"/>
                      <a:pt x="130" y="88"/>
                      <a:pt x="117" y="85"/>
                    </a:cubicBezTo>
                    <a:cubicBezTo>
                      <a:pt x="82" y="76"/>
                      <a:pt x="70" y="62"/>
                      <a:pt x="65" y="26"/>
                    </a:cubicBezTo>
                    <a:cubicBezTo>
                      <a:pt x="63" y="8"/>
                      <a:pt x="66" y="0"/>
                      <a:pt x="87" y="2"/>
                    </a:cubicBezTo>
                    <a:cubicBezTo>
                      <a:pt x="89" y="2"/>
                      <a:pt x="92" y="2"/>
                      <a:pt x="95" y="2"/>
                    </a:cubicBezTo>
                    <a:cubicBezTo>
                      <a:pt x="103" y="2"/>
                      <a:pt x="108" y="8"/>
                      <a:pt x="108" y="16"/>
                    </a:cubicBezTo>
                    <a:cubicBezTo>
                      <a:pt x="107" y="19"/>
                      <a:pt x="107" y="22"/>
                      <a:pt x="107" y="25"/>
                    </a:cubicBezTo>
                    <a:cubicBezTo>
                      <a:pt x="108" y="35"/>
                      <a:pt x="115" y="42"/>
                      <a:pt x="125" y="43"/>
                    </a:cubicBezTo>
                    <a:cubicBezTo>
                      <a:pt x="131" y="43"/>
                      <a:pt x="138" y="42"/>
                      <a:pt x="144" y="41"/>
                    </a:cubicBezTo>
                    <a:cubicBezTo>
                      <a:pt x="166" y="36"/>
                      <a:pt x="187" y="40"/>
                      <a:pt x="207" y="51"/>
                    </a:cubicBezTo>
                    <a:cubicBezTo>
                      <a:pt x="225" y="60"/>
                      <a:pt x="244" y="62"/>
                      <a:pt x="264" y="57"/>
                    </a:cubicBezTo>
                    <a:cubicBezTo>
                      <a:pt x="275" y="54"/>
                      <a:pt x="286" y="53"/>
                      <a:pt x="297" y="55"/>
                    </a:cubicBezTo>
                    <a:cubicBezTo>
                      <a:pt x="311" y="58"/>
                      <a:pt x="321" y="66"/>
                      <a:pt x="327" y="79"/>
                    </a:cubicBezTo>
                    <a:cubicBezTo>
                      <a:pt x="334" y="95"/>
                      <a:pt x="334" y="111"/>
                      <a:pt x="330" y="128"/>
                    </a:cubicBezTo>
                    <a:cubicBezTo>
                      <a:pt x="329" y="136"/>
                      <a:pt x="325" y="144"/>
                      <a:pt x="323" y="152"/>
                    </a:cubicBezTo>
                    <a:cubicBezTo>
                      <a:pt x="323" y="156"/>
                      <a:pt x="324" y="160"/>
                      <a:pt x="323" y="164"/>
                    </a:cubicBezTo>
                    <a:cubicBezTo>
                      <a:pt x="321" y="175"/>
                      <a:pt x="321" y="184"/>
                      <a:pt x="331" y="192"/>
                    </a:cubicBezTo>
                    <a:cubicBezTo>
                      <a:pt x="332" y="192"/>
                      <a:pt x="333" y="193"/>
                      <a:pt x="333" y="194"/>
                    </a:cubicBezTo>
                    <a:cubicBezTo>
                      <a:pt x="340" y="215"/>
                      <a:pt x="344" y="235"/>
                      <a:pt x="330" y="254"/>
                    </a:cubicBezTo>
                    <a:cubicBezTo>
                      <a:pt x="325" y="259"/>
                      <a:pt x="318" y="263"/>
                      <a:pt x="311" y="267"/>
                    </a:cubicBezTo>
                    <a:cubicBezTo>
                      <a:pt x="306" y="270"/>
                      <a:pt x="302" y="272"/>
                      <a:pt x="300" y="278"/>
                    </a:cubicBezTo>
                    <a:cubicBezTo>
                      <a:pt x="298" y="287"/>
                      <a:pt x="293" y="295"/>
                      <a:pt x="289" y="302"/>
                    </a:cubicBezTo>
                    <a:cubicBezTo>
                      <a:pt x="283" y="311"/>
                      <a:pt x="275" y="317"/>
                      <a:pt x="265" y="320"/>
                    </a:cubicBezTo>
                    <a:cubicBezTo>
                      <a:pt x="255" y="322"/>
                      <a:pt x="248" y="327"/>
                      <a:pt x="240" y="333"/>
                    </a:cubicBezTo>
                    <a:cubicBezTo>
                      <a:pt x="234" y="337"/>
                      <a:pt x="227" y="340"/>
                      <a:pt x="220" y="343"/>
                    </a:cubicBezTo>
                    <a:cubicBezTo>
                      <a:pt x="216" y="344"/>
                      <a:pt x="210" y="345"/>
                      <a:pt x="206" y="343"/>
                    </a:cubicBezTo>
                    <a:cubicBezTo>
                      <a:pt x="198" y="339"/>
                      <a:pt x="193" y="343"/>
                      <a:pt x="187" y="348"/>
                    </a:cubicBezTo>
                    <a:cubicBezTo>
                      <a:pt x="161" y="371"/>
                      <a:pt x="120" y="367"/>
                      <a:pt x="96" y="343"/>
                    </a:cubicBezTo>
                    <a:cubicBezTo>
                      <a:pt x="88" y="336"/>
                      <a:pt x="79" y="330"/>
                      <a:pt x="69" y="325"/>
                    </a:cubicBezTo>
                    <a:cubicBezTo>
                      <a:pt x="62" y="322"/>
                      <a:pt x="54" y="322"/>
                      <a:pt x="47" y="327"/>
                    </a:cubicBezTo>
                    <a:cubicBezTo>
                      <a:pt x="42" y="330"/>
                      <a:pt x="39" y="328"/>
                      <a:pt x="36" y="323"/>
                    </a:cubicBezTo>
                    <a:cubicBezTo>
                      <a:pt x="28" y="307"/>
                      <a:pt x="28" y="307"/>
                      <a:pt x="43" y="296"/>
                    </a:cubicBezTo>
                    <a:cubicBezTo>
                      <a:pt x="37" y="290"/>
                      <a:pt x="32" y="284"/>
                      <a:pt x="26" y="278"/>
                    </a:cubicBezTo>
                    <a:cubicBezTo>
                      <a:pt x="22" y="273"/>
                      <a:pt x="19" y="267"/>
                      <a:pt x="15" y="262"/>
                    </a:cubicBezTo>
                    <a:cubicBezTo>
                      <a:pt x="10" y="257"/>
                      <a:pt x="9" y="250"/>
                      <a:pt x="12" y="244"/>
                    </a:cubicBezTo>
                    <a:cubicBezTo>
                      <a:pt x="15" y="236"/>
                      <a:pt x="14" y="230"/>
                      <a:pt x="8" y="224"/>
                    </a:cubicBezTo>
                    <a:cubicBezTo>
                      <a:pt x="0" y="216"/>
                      <a:pt x="0" y="206"/>
                      <a:pt x="2" y="197"/>
                    </a:cubicBezTo>
                    <a:cubicBezTo>
                      <a:pt x="5" y="187"/>
                      <a:pt x="9" y="178"/>
                      <a:pt x="13" y="169"/>
                    </a:cubicBezTo>
                    <a:cubicBezTo>
                      <a:pt x="14" y="166"/>
                      <a:pt x="14" y="163"/>
                      <a:pt x="14" y="161"/>
                    </a:cubicBezTo>
                    <a:cubicBezTo>
                      <a:pt x="14" y="153"/>
                      <a:pt x="13" y="145"/>
                      <a:pt x="13" y="137"/>
                    </a:cubicBezTo>
                    <a:cubicBezTo>
                      <a:pt x="14" y="131"/>
                      <a:pt x="13" y="126"/>
                      <a:pt x="10" y="120"/>
                    </a:cubicBezTo>
                    <a:cubicBezTo>
                      <a:pt x="8" y="114"/>
                      <a:pt x="6" y="107"/>
                      <a:pt x="5" y="100"/>
                    </a:cubicBezTo>
                    <a:cubicBezTo>
                      <a:pt x="5" y="93"/>
                      <a:pt x="8" y="86"/>
                      <a:pt x="14" y="83"/>
                    </a:cubicBezTo>
                    <a:cubicBezTo>
                      <a:pt x="21" y="79"/>
                      <a:pt x="28" y="75"/>
                      <a:pt x="35" y="74"/>
                    </a:cubicBezTo>
                    <a:cubicBezTo>
                      <a:pt x="39" y="73"/>
                      <a:pt x="45" y="77"/>
                      <a:pt x="50" y="78"/>
                    </a:cubicBezTo>
                    <a:cubicBezTo>
                      <a:pt x="54" y="80"/>
                      <a:pt x="59" y="83"/>
                      <a:pt x="63" y="82"/>
                    </a:cubicBezTo>
                    <a:cubicBezTo>
                      <a:pt x="97" y="81"/>
                      <a:pt x="120" y="87"/>
                      <a:pt x="147" y="105"/>
                    </a:cubicBezTo>
                    <a:close/>
                    <a:moveTo>
                      <a:pt x="98" y="287"/>
                    </a:moveTo>
                    <a:cubicBezTo>
                      <a:pt x="98" y="281"/>
                      <a:pt x="96" y="274"/>
                      <a:pt x="96" y="268"/>
                    </a:cubicBezTo>
                    <a:cubicBezTo>
                      <a:pt x="96" y="255"/>
                      <a:pt x="102" y="246"/>
                      <a:pt x="114" y="240"/>
                    </a:cubicBezTo>
                    <a:cubicBezTo>
                      <a:pt x="117" y="238"/>
                      <a:pt x="121" y="239"/>
                      <a:pt x="122" y="243"/>
                    </a:cubicBezTo>
                    <a:cubicBezTo>
                      <a:pt x="123" y="245"/>
                      <a:pt x="121" y="249"/>
                      <a:pt x="119" y="250"/>
                    </a:cubicBezTo>
                    <a:cubicBezTo>
                      <a:pt x="110" y="255"/>
                      <a:pt x="107" y="262"/>
                      <a:pt x="108" y="271"/>
                    </a:cubicBezTo>
                    <a:cubicBezTo>
                      <a:pt x="110" y="280"/>
                      <a:pt x="113" y="289"/>
                      <a:pt x="116" y="298"/>
                    </a:cubicBezTo>
                    <a:cubicBezTo>
                      <a:pt x="116" y="299"/>
                      <a:pt x="118" y="301"/>
                      <a:pt x="119" y="300"/>
                    </a:cubicBezTo>
                    <a:cubicBezTo>
                      <a:pt x="123" y="299"/>
                      <a:pt x="128" y="298"/>
                      <a:pt x="131" y="295"/>
                    </a:cubicBezTo>
                    <a:cubicBezTo>
                      <a:pt x="134" y="293"/>
                      <a:pt x="137" y="287"/>
                      <a:pt x="136" y="283"/>
                    </a:cubicBezTo>
                    <a:cubicBezTo>
                      <a:pt x="132" y="270"/>
                      <a:pt x="129" y="257"/>
                      <a:pt x="137" y="244"/>
                    </a:cubicBezTo>
                    <a:cubicBezTo>
                      <a:pt x="134" y="242"/>
                      <a:pt x="132" y="241"/>
                      <a:pt x="129" y="239"/>
                    </a:cubicBezTo>
                    <a:cubicBezTo>
                      <a:pt x="113" y="230"/>
                      <a:pt x="101" y="234"/>
                      <a:pt x="93" y="250"/>
                    </a:cubicBezTo>
                    <a:cubicBezTo>
                      <a:pt x="92" y="253"/>
                      <a:pt x="91" y="256"/>
                      <a:pt x="89" y="257"/>
                    </a:cubicBezTo>
                    <a:cubicBezTo>
                      <a:pt x="87" y="258"/>
                      <a:pt x="83" y="260"/>
                      <a:pt x="81" y="259"/>
                    </a:cubicBezTo>
                    <a:cubicBezTo>
                      <a:pt x="80" y="258"/>
                      <a:pt x="79" y="254"/>
                      <a:pt x="79" y="252"/>
                    </a:cubicBezTo>
                    <a:cubicBezTo>
                      <a:pt x="79" y="249"/>
                      <a:pt x="81" y="247"/>
                      <a:pt x="82" y="245"/>
                    </a:cubicBezTo>
                    <a:cubicBezTo>
                      <a:pt x="88" y="234"/>
                      <a:pt x="86" y="224"/>
                      <a:pt x="79" y="215"/>
                    </a:cubicBezTo>
                    <a:cubicBezTo>
                      <a:pt x="77" y="213"/>
                      <a:pt x="74" y="211"/>
                      <a:pt x="73" y="209"/>
                    </a:cubicBezTo>
                    <a:cubicBezTo>
                      <a:pt x="72" y="206"/>
                      <a:pt x="72" y="203"/>
                      <a:pt x="72" y="200"/>
                    </a:cubicBezTo>
                    <a:cubicBezTo>
                      <a:pt x="74" y="200"/>
                      <a:pt x="78" y="199"/>
                      <a:pt x="80" y="200"/>
                    </a:cubicBezTo>
                    <a:cubicBezTo>
                      <a:pt x="84" y="203"/>
                      <a:pt x="88" y="207"/>
                      <a:pt x="90" y="211"/>
                    </a:cubicBezTo>
                    <a:cubicBezTo>
                      <a:pt x="93" y="216"/>
                      <a:pt x="95" y="221"/>
                      <a:pt x="97" y="225"/>
                    </a:cubicBezTo>
                    <a:cubicBezTo>
                      <a:pt x="104" y="224"/>
                      <a:pt x="110" y="222"/>
                      <a:pt x="116" y="223"/>
                    </a:cubicBezTo>
                    <a:cubicBezTo>
                      <a:pt x="125" y="225"/>
                      <a:pt x="133" y="230"/>
                      <a:pt x="142" y="234"/>
                    </a:cubicBezTo>
                    <a:cubicBezTo>
                      <a:pt x="145" y="235"/>
                      <a:pt x="147" y="237"/>
                      <a:pt x="150" y="235"/>
                    </a:cubicBezTo>
                    <a:cubicBezTo>
                      <a:pt x="154" y="233"/>
                      <a:pt x="157" y="234"/>
                      <a:pt x="159" y="238"/>
                    </a:cubicBezTo>
                    <a:cubicBezTo>
                      <a:pt x="160" y="242"/>
                      <a:pt x="158" y="244"/>
                      <a:pt x="155" y="246"/>
                    </a:cubicBezTo>
                    <a:cubicBezTo>
                      <a:pt x="144" y="251"/>
                      <a:pt x="141" y="261"/>
                      <a:pt x="146" y="273"/>
                    </a:cubicBezTo>
                    <a:cubicBezTo>
                      <a:pt x="148" y="272"/>
                      <a:pt x="151" y="271"/>
                      <a:pt x="153" y="271"/>
                    </a:cubicBezTo>
                    <a:cubicBezTo>
                      <a:pt x="155" y="271"/>
                      <a:pt x="158" y="273"/>
                      <a:pt x="159" y="274"/>
                    </a:cubicBezTo>
                    <a:cubicBezTo>
                      <a:pt x="159" y="276"/>
                      <a:pt x="158" y="280"/>
                      <a:pt x="156" y="281"/>
                    </a:cubicBezTo>
                    <a:cubicBezTo>
                      <a:pt x="150" y="284"/>
                      <a:pt x="148" y="289"/>
                      <a:pt x="146" y="294"/>
                    </a:cubicBezTo>
                    <a:cubicBezTo>
                      <a:pt x="140" y="308"/>
                      <a:pt x="127" y="315"/>
                      <a:pt x="113" y="311"/>
                    </a:cubicBezTo>
                    <a:cubicBezTo>
                      <a:pt x="107" y="310"/>
                      <a:pt x="101" y="306"/>
                      <a:pt x="96" y="302"/>
                    </a:cubicBezTo>
                    <a:cubicBezTo>
                      <a:pt x="88" y="295"/>
                      <a:pt x="80" y="292"/>
                      <a:pt x="70" y="296"/>
                    </a:cubicBezTo>
                    <a:cubicBezTo>
                      <a:pt x="61" y="299"/>
                      <a:pt x="53" y="304"/>
                      <a:pt x="45" y="309"/>
                    </a:cubicBezTo>
                    <a:cubicBezTo>
                      <a:pt x="45" y="309"/>
                      <a:pt x="45" y="311"/>
                      <a:pt x="44" y="312"/>
                    </a:cubicBezTo>
                    <a:cubicBezTo>
                      <a:pt x="46" y="312"/>
                      <a:pt x="47" y="313"/>
                      <a:pt x="49" y="313"/>
                    </a:cubicBezTo>
                    <a:cubicBezTo>
                      <a:pt x="59" y="310"/>
                      <a:pt x="69" y="312"/>
                      <a:pt x="78" y="316"/>
                    </a:cubicBezTo>
                    <a:cubicBezTo>
                      <a:pt x="84" y="319"/>
                      <a:pt x="90" y="322"/>
                      <a:pt x="95" y="326"/>
                    </a:cubicBezTo>
                    <a:cubicBezTo>
                      <a:pt x="101" y="331"/>
                      <a:pt x="107" y="333"/>
                      <a:pt x="115" y="334"/>
                    </a:cubicBezTo>
                    <a:cubicBezTo>
                      <a:pt x="127" y="336"/>
                      <a:pt x="139" y="334"/>
                      <a:pt x="149" y="329"/>
                    </a:cubicBezTo>
                    <a:cubicBezTo>
                      <a:pt x="160" y="324"/>
                      <a:pt x="170" y="315"/>
                      <a:pt x="170" y="301"/>
                    </a:cubicBezTo>
                    <a:cubicBezTo>
                      <a:pt x="170" y="293"/>
                      <a:pt x="170" y="284"/>
                      <a:pt x="170" y="276"/>
                    </a:cubicBezTo>
                    <a:cubicBezTo>
                      <a:pt x="170" y="265"/>
                      <a:pt x="168" y="255"/>
                      <a:pt x="172" y="244"/>
                    </a:cubicBezTo>
                    <a:cubicBezTo>
                      <a:pt x="175" y="230"/>
                      <a:pt x="164" y="215"/>
                      <a:pt x="149" y="214"/>
                    </a:cubicBezTo>
                    <a:cubicBezTo>
                      <a:pt x="137" y="212"/>
                      <a:pt x="125" y="209"/>
                      <a:pt x="116" y="198"/>
                    </a:cubicBezTo>
                    <a:cubicBezTo>
                      <a:pt x="113" y="205"/>
                      <a:pt x="109" y="205"/>
                      <a:pt x="103" y="202"/>
                    </a:cubicBezTo>
                    <a:cubicBezTo>
                      <a:pt x="94" y="198"/>
                      <a:pt x="86" y="193"/>
                      <a:pt x="80" y="184"/>
                    </a:cubicBezTo>
                    <a:cubicBezTo>
                      <a:pt x="77" y="180"/>
                      <a:pt x="74" y="176"/>
                      <a:pt x="70" y="171"/>
                    </a:cubicBezTo>
                    <a:cubicBezTo>
                      <a:pt x="64" y="176"/>
                      <a:pt x="59" y="180"/>
                      <a:pt x="54" y="185"/>
                    </a:cubicBezTo>
                    <a:cubicBezTo>
                      <a:pt x="41" y="195"/>
                      <a:pt x="40" y="205"/>
                      <a:pt x="50" y="218"/>
                    </a:cubicBezTo>
                    <a:cubicBezTo>
                      <a:pt x="54" y="224"/>
                      <a:pt x="55" y="231"/>
                      <a:pt x="54" y="238"/>
                    </a:cubicBezTo>
                    <a:cubicBezTo>
                      <a:pt x="53" y="243"/>
                      <a:pt x="52" y="247"/>
                      <a:pt x="53" y="251"/>
                    </a:cubicBezTo>
                    <a:cubicBezTo>
                      <a:pt x="55" y="263"/>
                      <a:pt x="62" y="273"/>
                      <a:pt x="70" y="281"/>
                    </a:cubicBezTo>
                    <a:cubicBezTo>
                      <a:pt x="71" y="282"/>
                      <a:pt x="72" y="283"/>
                      <a:pt x="74" y="283"/>
                    </a:cubicBezTo>
                    <a:cubicBezTo>
                      <a:pt x="82" y="284"/>
                      <a:pt x="90" y="286"/>
                      <a:pt x="98" y="287"/>
                    </a:cubicBezTo>
                    <a:close/>
                    <a:moveTo>
                      <a:pt x="171" y="211"/>
                    </a:moveTo>
                    <a:cubicBezTo>
                      <a:pt x="185" y="225"/>
                      <a:pt x="187" y="240"/>
                      <a:pt x="181" y="256"/>
                    </a:cubicBezTo>
                    <a:cubicBezTo>
                      <a:pt x="180" y="257"/>
                      <a:pt x="180" y="259"/>
                      <a:pt x="180" y="260"/>
                    </a:cubicBezTo>
                    <a:cubicBezTo>
                      <a:pt x="181" y="272"/>
                      <a:pt x="182" y="283"/>
                      <a:pt x="182" y="295"/>
                    </a:cubicBezTo>
                    <a:cubicBezTo>
                      <a:pt x="182" y="296"/>
                      <a:pt x="182" y="298"/>
                      <a:pt x="183" y="299"/>
                    </a:cubicBezTo>
                    <a:cubicBezTo>
                      <a:pt x="190" y="303"/>
                      <a:pt x="197" y="308"/>
                      <a:pt x="204" y="311"/>
                    </a:cubicBezTo>
                    <a:cubicBezTo>
                      <a:pt x="210" y="313"/>
                      <a:pt x="215" y="311"/>
                      <a:pt x="220" y="307"/>
                    </a:cubicBezTo>
                    <a:cubicBezTo>
                      <a:pt x="222" y="305"/>
                      <a:pt x="224" y="303"/>
                      <a:pt x="227" y="302"/>
                    </a:cubicBezTo>
                    <a:cubicBezTo>
                      <a:pt x="241" y="298"/>
                      <a:pt x="251" y="286"/>
                      <a:pt x="262" y="278"/>
                    </a:cubicBezTo>
                    <a:cubicBezTo>
                      <a:pt x="267" y="274"/>
                      <a:pt x="272" y="269"/>
                      <a:pt x="271" y="261"/>
                    </a:cubicBezTo>
                    <a:cubicBezTo>
                      <a:pt x="271" y="259"/>
                      <a:pt x="273" y="256"/>
                      <a:pt x="275" y="256"/>
                    </a:cubicBezTo>
                    <a:cubicBezTo>
                      <a:pt x="277" y="255"/>
                      <a:pt x="281" y="257"/>
                      <a:pt x="281" y="259"/>
                    </a:cubicBezTo>
                    <a:cubicBezTo>
                      <a:pt x="283" y="264"/>
                      <a:pt x="287" y="264"/>
                      <a:pt x="291" y="262"/>
                    </a:cubicBezTo>
                    <a:cubicBezTo>
                      <a:pt x="296" y="260"/>
                      <a:pt x="302" y="258"/>
                      <a:pt x="307" y="256"/>
                    </a:cubicBezTo>
                    <a:cubicBezTo>
                      <a:pt x="323" y="249"/>
                      <a:pt x="329" y="238"/>
                      <a:pt x="327" y="221"/>
                    </a:cubicBezTo>
                    <a:cubicBezTo>
                      <a:pt x="326" y="217"/>
                      <a:pt x="326" y="214"/>
                      <a:pt x="326" y="210"/>
                    </a:cubicBezTo>
                    <a:cubicBezTo>
                      <a:pt x="325" y="202"/>
                      <a:pt x="321" y="196"/>
                      <a:pt x="315" y="191"/>
                    </a:cubicBezTo>
                    <a:cubicBezTo>
                      <a:pt x="292" y="208"/>
                      <a:pt x="276" y="207"/>
                      <a:pt x="252" y="188"/>
                    </a:cubicBezTo>
                    <a:cubicBezTo>
                      <a:pt x="247" y="192"/>
                      <a:pt x="241" y="196"/>
                      <a:pt x="235" y="199"/>
                    </a:cubicBezTo>
                    <a:cubicBezTo>
                      <a:pt x="232" y="200"/>
                      <a:pt x="231" y="202"/>
                      <a:pt x="232" y="206"/>
                    </a:cubicBezTo>
                    <a:cubicBezTo>
                      <a:pt x="233" y="221"/>
                      <a:pt x="230" y="235"/>
                      <a:pt x="220" y="247"/>
                    </a:cubicBezTo>
                    <a:cubicBezTo>
                      <a:pt x="219" y="249"/>
                      <a:pt x="218" y="250"/>
                      <a:pt x="218" y="251"/>
                    </a:cubicBezTo>
                    <a:cubicBezTo>
                      <a:pt x="240" y="261"/>
                      <a:pt x="256" y="253"/>
                      <a:pt x="260" y="230"/>
                    </a:cubicBezTo>
                    <a:cubicBezTo>
                      <a:pt x="261" y="227"/>
                      <a:pt x="260" y="224"/>
                      <a:pt x="261" y="221"/>
                    </a:cubicBezTo>
                    <a:cubicBezTo>
                      <a:pt x="262" y="219"/>
                      <a:pt x="264" y="216"/>
                      <a:pt x="266" y="215"/>
                    </a:cubicBezTo>
                    <a:cubicBezTo>
                      <a:pt x="268" y="215"/>
                      <a:pt x="270" y="217"/>
                      <a:pt x="272" y="219"/>
                    </a:cubicBezTo>
                    <a:cubicBezTo>
                      <a:pt x="273" y="219"/>
                      <a:pt x="273" y="220"/>
                      <a:pt x="274" y="221"/>
                    </a:cubicBezTo>
                    <a:cubicBezTo>
                      <a:pt x="276" y="221"/>
                      <a:pt x="277" y="220"/>
                      <a:pt x="279" y="219"/>
                    </a:cubicBezTo>
                    <a:cubicBezTo>
                      <a:pt x="292" y="214"/>
                      <a:pt x="304" y="219"/>
                      <a:pt x="312" y="231"/>
                    </a:cubicBezTo>
                    <a:cubicBezTo>
                      <a:pt x="314" y="235"/>
                      <a:pt x="315" y="238"/>
                      <a:pt x="311" y="241"/>
                    </a:cubicBezTo>
                    <a:cubicBezTo>
                      <a:pt x="307" y="243"/>
                      <a:pt x="304" y="241"/>
                      <a:pt x="302" y="237"/>
                    </a:cubicBezTo>
                    <a:cubicBezTo>
                      <a:pt x="293" y="226"/>
                      <a:pt x="275" y="227"/>
                      <a:pt x="270" y="241"/>
                    </a:cubicBezTo>
                    <a:cubicBezTo>
                      <a:pt x="263" y="260"/>
                      <a:pt x="249" y="269"/>
                      <a:pt x="229" y="267"/>
                    </a:cubicBezTo>
                    <a:cubicBezTo>
                      <a:pt x="229" y="267"/>
                      <a:pt x="228" y="267"/>
                      <a:pt x="228" y="268"/>
                    </a:cubicBezTo>
                    <a:cubicBezTo>
                      <a:pt x="227" y="270"/>
                      <a:pt x="227" y="272"/>
                      <a:pt x="226" y="274"/>
                    </a:cubicBezTo>
                    <a:cubicBezTo>
                      <a:pt x="230" y="277"/>
                      <a:pt x="234" y="278"/>
                      <a:pt x="237" y="281"/>
                    </a:cubicBezTo>
                    <a:cubicBezTo>
                      <a:pt x="239" y="283"/>
                      <a:pt x="240" y="287"/>
                      <a:pt x="239" y="288"/>
                    </a:cubicBezTo>
                    <a:cubicBezTo>
                      <a:pt x="237" y="290"/>
                      <a:pt x="234" y="290"/>
                      <a:pt x="231" y="290"/>
                    </a:cubicBezTo>
                    <a:cubicBezTo>
                      <a:pt x="230" y="290"/>
                      <a:pt x="229" y="289"/>
                      <a:pt x="227" y="288"/>
                    </a:cubicBezTo>
                    <a:cubicBezTo>
                      <a:pt x="218" y="283"/>
                      <a:pt x="208" y="282"/>
                      <a:pt x="199" y="289"/>
                    </a:cubicBezTo>
                    <a:cubicBezTo>
                      <a:pt x="196" y="292"/>
                      <a:pt x="193" y="292"/>
                      <a:pt x="190" y="289"/>
                    </a:cubicBezTo>
                    <a:cubicBezTo>
                      <a:pt x="187" y="286"/>
                      <a:pt x="189" y="282"/>
                      <a:pt x="192" y="280"/>
                    </a:cubicBezTo>
                    <a:cubicBezTo>
                      <a:pt x="198" y="277"/>
                      <a:pt x="203" y="275"/>
                      <a:pt x="209" y="272"/>
                    </a:cubicBezTo>
                    <a:cubicBezTo>
                      <a:pt x="211" y="271"/>
                      <a:pt x="213" y="270"/>
                      <a:pt x="215" y="268"/>
                    </a:cubicBezTo>
                    <a:cubicBezTo>
                      <a:pt x="214" y="266"/>
                      <a:pt x="212" y="263"/>
                      <a:pt x="210" y="262"/>
                    </a:cubicBezTo>
                    <a:cubicBezTo>
                      <a:pt x="206" y="259"/>
                      <a:pt x="201" y="258"/>
                      <a:pt x="197" y="255"/>
                    </a:cubicBezTo>
                    <a:cubicBezTo>
                      <a:pt x="196" y="254"/>
                      <a:pt x="194" y="250"/>
                      <a:pt x="195" y="248"/>
                    </a:cubicBezTo>
                    <a:cubicBezTo>
                      <a:pt x="195" y="246"/>
                      <a:pt x="199" y="246"/>
                      <a:pt x="201" y="245"/>
                    </a:cubicBezTo>
                    <a:cubicBezTo>
                      <a:pt x="204" y="244"/>
                      <a:pt x="207" y="245"/>
                      <a:pt x="208" y="243"/>
                    </a:cubicBezTo>
                    <a:cubicBezTo>
                      <a:pt x="218" y="233"/>
                      <a:pt x="221" y="221"/>
                      <a:pt x="220" y="207"/>
                    </a:cubicBezTo>
                    <a:cubicBezTo>
                      <a:pt x="220" y="206"/>
                      <a:pt x="218" y="204"/>
                      <a:pt x="217" y="204"/>
                    </a:cubicBezTo>
                    <a:cubicBezTo>
                      <a:pt x="208" y="204"/>
                      <a:pt x="202" y="200"/>
                      <a:pt x="196" y="194"/>
                    </a:cubicBezTo>
                    <a:cubicBezTo>
                      <a:pt x="188" y="200"/>
                      <a:pt x="184" y="211"/>
                      <a:pt x="171" y="211"/>
                    </a:cubicBezTo>
                    <a:close/>
                    <a:moveTo>
                      <a:pt x="264" y="163"/>
                    </a:moveTo>
                    <a:cubicBezTo>
                      <a:pt x="265" y="163"/>
                      <a:pt x="266" y="163"/>
                      <a:pt x="267" y="163"/>
                    </a:cubicBezTo>
                    <a:cubicBezTo>
                      <a:pt x="268" y="159"/>
                      <a:pt x="270" y="155"/>
                      <a:pt x="270" y="151"/>
                    </a:cubicBezTo>
                    <a:cubicBezTo>
                      <a:pt x="270" y="146"/>
                      <a:pt x="268" y="141"/>
                      <a:pt x="268" y="136"/>
                    </a:cubicBezTo>
                    <a:cubicBezTo>
                      <a:pt x="268" y="129"/>
                      <a:pt x="267" y="122"/>
                      <a:pt x="268" y="115"/>
                    </a:cubicBezTo>
                    <a:cubicBezTo>
                      <a:pt x="269" y="108"/>
                      <a:pt x="267" y="102"/>
                      <a:pt x="261" y="98"/>
                    </a:cubicBezTo>
                    <a:cubicBezTo>
                      <a:pt x="250" y="91"/>
                      <a:pt x="237" y="87"/>
                      <a:pt x="223" y="88"/>
                    </a:cubicBezTo>
                    <a:cubicBezTo>
                      <a:pt x="219" y="88"/>
                      <a:pt x="214" y="92"/>
                      <a:pt x="210" y="95"/>
                    </a:cubicBezTo>
                    <a:cubicBezTo>
                      <a:pt x="208" y="97"/>
                      <a:pt x="208" y="100"/>
                      <a:pt x="211" y="104"/>
                    </a:cubicBezTo>
                    <a:cubicBezTo>
                      <a:pt x="214" y="108"/>
                      <a:pt x="215" y="113"/>
                      <a:pt x="217" y="118"/>
                    </a:cubicBezTo>
                    <a:cubicBezTo>
                      <a:pt x="219" y="122"/>
                      <a:pt x="220" y="126"/>
                      <a:pt x="221" y="130"/>
                    </a:cubicBezTo>
                    <a:cubicBezTo>
                      <a:pt x="223" y="135"/>
                      <a:pt x="225" y="140"/>
                      <a:pt x="226" y="145"/>
                    </a:cubicBezTo>
                    <a:cubicBezTo>
                      <a:pt x="228" y="151"/>
                      <a:pt x="230" y="157"/>
                      <a:pt x="235" y="161"/>
                    </a:cubicBezTo>
                    <a:cubicBezTo>
                      <a:pt x="237" y="162"/>
                      <a:pt x="236" y="166"/>
                      <a:pt x="237" y="169"/>
                    </a:cubicBezTo>
                    <a:cubicBezTo>
                      <a:pt x="234" y="169"/>
                      <a:pt x="230" y="171"/>
                      <a:pt x="228" y="170"/>
                    </a:cubicBezTo>
                    <a:cubicBezTo>
                      <a:pt x="221" y="166"/>
                      <a:pt x="217" y="159"/>
                      <a:pt x="216" y="151"/>
                    </a:cubicBezTo>
                    <a:cubicBezTo>
                      <a:pt x="214" y="145"/>
                      <a:pt x="211" y="139"/>
                      <a:pt x="209" y="133"/>
                    </a:cubicBezTo>
                    <a:cubicBezTo>
                      <a:pt x="208" y="129"/>
                      <a:pt x="206" y="126"/>
                      <a:pt x="206" y="122"/>
                    </a:cubicBezTo>
                    <a:cubicBezTo>
                      <a:pt x="205" y="112"/>
                      <a:pt x="200" y="108"/>
                      <a:pt x="191" y="105"/>
                    </a:cubicBezTo>
                    <a:cubicBezTo>
                      <a:pt x="183" y="102"/>
                      <a:pt x="174" y="103"/>
                      <a:pt x="166" y="106"/>
                    </a:cubicBezTo>
                    <a:cubicBezTo>
                      <a:pt x="156" y="110"/>
                      <a:pt x="152" y="116"/>
                      <a:pt x="153" y="126"/>
                    </a:cubicBezTo>
                    <a:cubicBezTo>
                      <a:pt x="153" y="139"/>
                      <a:pt x="155" y="151"/>
                      <a:pt x="165" y="162"/>
                    </a:cubicBezTo>
                    <a:cubicBezTo>
                      <a:pt x="166" y="163"/>
                      <a:pt x="166" y="168"/>
                      <a:pt x="165" y="169"/>
                    </a:cubicBezTo>
                    <a:cubicBezTo>
                      <a:pt x="163" y="171"/>
                      <a:pt x="158" y="171"/>
                      <a:pt x="157" y="170"/>
                    </a:cubicBezTo>
                    <a:cubicBezTo>
                      <a:pt x="153" y="166"/>
                      <a:pt x="150" y="161"/>
                      <a:pt x="147" y="156"/>
                    </a:cubicBezTo>
                    <a:cubicBezTo>
                      <a:pt x="145" y="153"/>
                      <a:pt x="144" y="149"/>
                      <a:pt x="143" y="145"/>
                    </a:cubicBezTo>
                    <a:cubicBezTo>
                      <a:pt x="141" y="148"/>
                      <a:pt x="139" y="151"/>
                      <a:pt x="137" y="153"/>
                    </a:cubicBezTo>
                    <a:cubicBezTo>
                      <a:pt x="134" y="155"/>
                      <a:pt x="131" y="158"/>
                      <a:pt x="128" y="159"/>
                    </a:cubicBezTo>
                    <a:cubicBezTo>
                      <a:pt x="122" y="161"/>
                      <a:pt x="121" y="164"/>
                      <a:pt x="121" y="170"/>
                    </a:cubicBezTo>
                    <a:cubicBezTo>
                      <a:pt x="121" y="172"/>
                      <a:pt x="121" y="175"/>
                      <a:pt x="122" y="178"/>
                    </a:cubicBezTo>
                    <a:cubicBezTo>
                      <a:pt x="123" y="190"/>
                      <a:pt x="130" y="199"/>
                      <a:pt x="141" y="201"/>
                    </a:cubicBezTo>
                    <a:cubicBezTo>
                      <a:pt x="158" y="203"/>
                      <a:pt x="173" y="204"/>
                      <a:pt x="186" y="188"/>
                    </a:cubicBezTo>
                    <a:cubicBezTo>
                      <a:pt x="195" y="175"/>
                      <a:pt x="196" y="174"/>
                      <a:pt x="186" y="162"/>
                    </a:cubicBezTo>
                    <a:cubicBezTo>
                      <a:pt x="185" y="162"/>
                      <a:pt x="184" y="161"/>
                      <a:pt x="184" y="160"/>
                    </a:cubicBezTo>
                    <a:cubicBezTo>
                      <a:pt x="181" y="155"/>
                      <a:pt x="179" y="149"/>
                      <a:pt x="176" y="143"/>
                    </a:cubicBezTo>
                    <a:cubicBezTo>
                      <a:pt x="175" y="139"/>
                      <a:pt x="173" y="134"/>
                      <a:pt x="172" y="130"/>
                    </a:cubicBezTo>
                    <a:cubicBezTo>
                      <a:pt x="171" y="125"/>
                      <a:pt x="169" y="120"/>
                      <a:pt x="169" y="115"/>
                    </a:cubicBezTo>
                    <a:cubicBezTo>
                      <a:pt x="169" y="113"/>
                      <a:pt x="172" y="110"/>
                      <a:pt x="174" y="110"/>
                    </a:cubicBezTo>
                    <a:cubicBezTo>
                      <a:pt x="176" y="110"/>
                      <a:pt x="179" y="113"/>
                      <a:pt x="180" y="115"/>
                    </a:cubicBezTo>
                    <a:cubicBezTo>
                      <a:pt x="182" y="119"/>
                      <a:pt x="183" y="123"/>
                      <a:pt x="184" y="127"/>
                    </a:cubicBezTo>
                    <a:cubicBezTo>
                      <a:pt x="185" y="130"/>
                      <a:pt x="188" y="133"/>
                      <a:pt x="187" y="136"/>
                    </a:cubicBezTo>
                    <a:cubicBezTo>
                      <a:pt x="187" y="145"/>
                      <a:pt x="191" y="151"/>
                      <a:pt x="197" y="158"/>
                    </a:cubicBezTo>
                    <a:cubicBezTo>
                      <a:pt x="203" y="165"/>
                      <a:pt x="208" y="172"/>
                      <a:pt x="205" y="183"/>
                    </a:cubicBezTo>
                    <a:cubicBezTo>
                      <a:pt x="204" y="184"/>
                      <a:pt x="205" y="186"/>
                      <a:pt x="206" y="187"/>
                    </a:cubicBezTo>
                    <a:cubicBezTo>
                      <a:pt x="211" y="193"/>
                      <a:pt x="217" y="194"/>
                      <a:pt x="223" y="191"/>
                    </a:cubicBezTo>
                    <a:cubicBezTo>
                      <a:pt x="230" y="188"/>
                      <a:pt x="238" y="184"/>
                      <a:pt x="244" y="179"/>
                    </a:cubicBezTo>
                    <a:cubicBezTo>
                      <a:pt x="253" y="171"/>
                      <a:pt x="254" y="161"/>
                      <a:pt x="249" y="150"/>
                    </a:cubicBezTo>
                    <a:cubicBezTo>
                      <a:pt x="248" y="147"/>
                      <a:pt x="246" y="144"/>
                      <a:pt x="244" y="141"/>
                    </a:cubicBezTo>
                    <a:cubicBezTo>
                      <a:pt x="240" y="136"/>
                      <a:pt x="239" y="129"/>
                      <a:pt x="241" y="123"/>
                    </a:cubicBezTo>
                    <a:cubicBezTo>
                      <a:pt x="242" y="117"/>
                      <a:pt x="242" y="112"/>
                      <a:pt x="238" y="107"/>
                    </a:cubicBezTo>
                    <a:cubicBezTo>
                      <a:pt x="236" y="103"/>
                      <a:pt x="235" y="100"/>
                      <a:pt x="239" y="98"/>
                    </a:cubicBezTo>
                    <a:cubicBezTo>
                      <a:pt x="242" y="95"/>
                      <a:pt x="245" y="97"/>
                      <a:pt x="248" y="100"/>
                    </a:cubicBezTo>
                    <a:cubicBezTo>
                      <a:pt x="253" y="107"/>
                      <a:pt x="255" y="115"/>
                      <a:pt x="253" y="124"/>
                    </a:cubicBezTo>
                    <a:cubicBezTo>
                      <a:pt x="252" y="127"/>
                      <a:pt x="252" y="131"/>
                      <a:pt x="253" y="133"/>
                    </a:cubicBezTo>
                    <a:cubicBezTo>
                      <a:pt x="259" y="142"/>
                      <a:pt x="264" y="152"/>
                      <a:pt x="264" y="163"/>
                    </a:cubicBezTo>
                    <a:close/>
                    <a:moveTo>
                      <a:pt x="76" y="14"/>
                    </a:moveTo>
                    <a:cubicBezTo>
                      <a:pt x="76" y="17"/>
                      <a:pt x="76" y="20"/>
                      <a:pt x="77" y="24"/>
                    </a:cubicBezTo>
                    <a:cubicBezTo>
                      <a:pt x="80" y="55"/>
                      <a:pt x="90" y="66"/>
                      <a:pt x="121" y="74"/>
                    </a:cubicBezTo>
                    <a:cubicBezTo>
                      <a:pt x="130" y="77"/>
                      <a:pt x="139" y="76"/>
                      <a:pt x="148" y="70"/>
                    </a:cubicBezTo>
                    <a:cubicBezTo>
                      <a:pt x="156" y="65"/>
                      <a:pt x="166" y="64"/>
                      <a:pt x="175" y="68"/>
                    </a:cubicBezTo>
                    <a:cubicBezTo>
                      <a:pt x="183" y="72"/>
                      <a:pt x="192" y="77"/>
                      <a:pt x="200" y="81"/>
                    </a:cubicBezTo>
                    <a:cubicBezTo>
                      <a:pt x="202" y="82"/>
                      <a:pt x="205" y="83"/>
                      <a:pt x="206" y="82"/>
                    </a:cubicBezTo>
                    <a:cubicBezTo>
                      <a:pt x="217" y="74"/>
                      <a:pt x="230" y="74"/>
                      <a:pt x="242" y="78"/>
                    </a:cubicBezTo>
                    <a:cubicBezTo>
                      <a:pt x="252" y="81"/>
                      <a:pt x="262" y="83"/>
                      <a:pt x="273" y="80"/>
                    </a:cubicBezTo>
                    <a:cubicBezTo>
                      <a:pt x="277" y="79"/>
                      <a:pt x="281" y="79"/>
                      <a:pt x="285" y="80"/>
                    </a:cubicBezTo>
                    <a:cubicBezTo>
                      <a:pt x="294" y="81"/>
                      <a:pt x="301" y="86"/>
                      <a:pt x="305" y="94"/>
                    </a:cubicBezTo>
                    <a:cubicBezTo>
                      <a:pt x="307" y="100"/>
                      <a:pt x="310" y="137"/>
                      <a:pt x="308" y="143"/>
                    </a:cubicBezTo>
                    <a:cubicBezTo>
                      <a:pt x="308" y="145"/>
                      <a:pt x="307" y="146"/>
                      <a:pt x="307" y="147"/>
                    </a:cubicBezTo>
                    <a:cubicBezTo>
                      <a:pt x="301" y="157"/>
                      <a:pt x="295" y="167"/>
                      <a:pt x="289" y="176"/>
                    </a:cubicBezTo>
                    <a:cubicBezTo>
                      <a:pt x="287" y="180"/>
                      <a:pt x="283" y="181"/>
                      <a:pt x="280" y="178"/>
                    </a:cubicBezTo>
                    <a:cubicBezTo>
                      <a:pt x="277" y="175"/>
                      <a:pt x="278" y="172"/>
                      <a:pt x="280" y="169"/>
                    </a:cubicBezTo>
                    <a:cubicBezTo>
                      <a:pt x="285" y="162"/>
                      <a:pt x="290" y="156"/>
                      <a:pt x="293" y="149"/>
                    </a:cubicBezTo>
                    <a:cubicBezTo>
                      <a:pt x="296" y="144"/>
                      <a:pt x="297" y="138"/>
                      <a:pt x="297" y="132"/>
                    </a:cubicBezTo>
                    <a:cubicBezTo>
                      <a:pt x="298" y="124"/>
                      <a:pt x="296" y="115"/>
                      <a:pt x="295" y="106"/>
                    </a:cubicBezTo>
                    <a:cubicBezTo>
                      <a:pt x="294" y="94"/>
                      <a:pt x="285" y="88"/>
                      <a:pt x="273" y="92"/>
                    </a:cubicBezTo>
                    <a:cubicBezTo>
                      <a:pt x="280" y="101"/>
                      <a:pt x="281" y="110"/>
                      <a:pt x="278" y="120"/>
                    </a:cubicBezTo>
                    <a:cubicBezTo>
                      <a:pt x="278" y="124"/>
                      <a:pt x="278" y="128"/>
                      <a:pt x="279" y="132"/>
                    </a:cubicBezTo>
                    <a:cubicBezTo>
                      <a:pt x="280" y="136"/>
                      <a:pt x="281" y="140"/>
                      <a:pt x="282" y="144"/>
                    </a:cubicBezTo>
                    <a:cubicBezTo>
                      <a:pt x="284" y="160"/>
                      <a:pt x="278" y="170"/>
                      <a:pt x="264" y="178"/>
                    </a:cubicBezTo>
                    <a:cubicBezTo>
                      <a:pt x="263" y="178"/>
                      <a:pt x="262" y="178"/>
                      <a:pt x="261" y="179"/>
                    </a:cubicBezTo>
                    <a:cubicBezTo>
                      <a:pt x="263" y="181"/>
                      <a:pt x="263" y="182"/>
                      <a:pt x="264" y="183"/>
                    </a:cubicBezTo>
                    <a:cubicBezTo>
                      <a:pt x="273" y="192"/>
                      <a:pt x="284" y="193"/>
                      <a:pt x="295" y="190"/>
                    </a:cubicBezTo>
                    <a:cubicBezTo>
                      <a:pt x="305" y="188"/>
                      <a:pt x="310" y="179"/>
                      <a:pt x="311" y="169"/>
                    </a:cubicBezTo>
                    <a:cubicBezTo>
                      <a:pt x="312" y="165"/>
                      <a:pt x="312" y="160"/>
                      <a:pt x="312" y="155"/>
                    </a:cubicBezTo>
                    <a:cubicBezTo>
                      <a:pt x="312" y="153"/>
                      <a:pt x="312" y="150"/>
                      <a:pt x="313" y="148"/>
                    </a:cubicBezTo>
                    <a:cubicBezTo>
                      <a:pt x="318" y="139"/>
                      <a:pt x="320" y="130"/>
                      <a:pt x="320" y="120"/>
                    </a:cubicBezTo>
                    <a:cubicBezTo>
                      <a:pt x="321" y="108"/>
                      <a:pt x="321" y="97"/>
                      <a:pt x="317" y="86"/>
                    </a:cubicBezTo>
                    <a:cubicBezTo>
                      <a:pt x="312" y="73"/>
                      <a:pt x="303" y="66"/>
                      <a:pt x="289" y="66"/>
                    </a:cubicBezTo>
                    <a:cubicBezTo>
                      <a:pt x="282" y="66"/>
                      <a:pt x="274" y="67"/>
                      <a:pt x="267" y="69"/>
                    </a:cubicBezTo>
                    <a:cubicBezTo>
                      <a:pt x="244" y="74"/>
                      <a:pt x="222" y="72"/>
                      <a:pt x="201" y="61"/>
                    </a:cubicBezTo>
                    <a:cubicBezTo>
                      <a:pt x="184" y="51"/>
                      <a:pt x="166" y="48"/>
                      <a:pt x="147" y="52"/>
                    </a:cubicBezTo>
                    <a:cubicBezTo>
                      <a:pt x="139" y="53"/>
                      <a:pt x="132" y="54"/>
                      <a:pt x="124" y="54"/>
                    </a:cubicBezTo>
                    <a:cubicBezTo>
                      <a:pt x="109" y="54"/>
                      <a:pt x="97" y="43"/>
                      <a:pt x="96" y="29"/>
                    </a:cubicBezTo>
                    <a:cubicBezTo>
                      <a:pt x="95" y="24"/>
                      <a:pt x="96" y="19"/>
                      <a:pt x="96" y="14"/>
                    </a:cubicBezTo>
                    <a:cubicBezTo>
                      <a:pt x="89" y="14"/>
                      <a:pt x="83" y="14"/>
                      <a:pt x="76" y="14"/>
                    </a:cubicBezTo>
                    <a:close/>
                    <a:moveTo>
                      <a:pt x="24" y="146"/>
                    </a:moveTo>
                    <a:cubicBezTo>
                      <a:pt x="25" y="149"/>
                      <a:pt x="25" y="153"/>
                      <a:pt x="26" y="157"/>
                    </a:cubicBezTo>
                    <a:cubicBezTo>
                      <a:pt x="27" y="165"/>
                      <a:pt x="31" y="168"/>
                      <a:pt x="38" y="168"/>
                    </a:cubicBezTo>
                    <a:cubicBezTo>
                      <a:pt x="41" y="168"/>
                      <a:pt x="43" y="168"/>
                      <a:pt x="46" y="167"/>
                    </a:cubicBezTo>
                    <a:cubicBezTo>
                      <a:pt x="57" y="163"/>
                      <a:pt x="69" y="160"/>
                      <a:pt x="82" y="162"/>
                    </a:cubicBezTo>
                    <a:cubicBezTo>
                      <a:pt x="83" y="162"/>
                      <a:pt x="84" y="161"/>
                      <a:pt x="85" y="161"/>
                    </a:cubicBezTo>
                    <a:cubicBezTo>
                      <a:pt x="93" y="158"/>
                      <a:pt x="100" y="155"/>
                      <a:pt x="108" y="152"/>
                    </a:cubicBezTo>
                    <a:cubicBezTo>
                      <a:pt x="111" y="151"/>
                      <a:pt x="115" y="151"/>
                      <a:pt x="119" y="151"/>
                    </a:cubicBezTo>
                    <a:cubicBezTo>
                      <a:pt x="131" y="148"/>
                      <a:pt x="133" y="135"/>
                      <a:pt x="141" y="128"/>
                    </a:cubicBezTo>
                    <a:cubicBezTo>
                      <a:pt x="141" y="128"/>
                      <a:pt x="141" y="127"/>
                      <a:pt x="141" y="126"/>
                    </a:cubicBezTo>
                    <a:cubicBezTo>
                      <a:pt x="143" y="117"/>
                      <a:pt x="138" y="111"/>
                      <a:pt x="131" y="108"/>
                    </a:cubicBezTo>
                    <a:cubicBezTo>
                      <a:pt x="110" y="98"/>
                      <a:pt x="89" y="89"/>
                      <a:pt x="66" y="94"/>
                    </a:cubicBezTo>
                    <a:cubicBezTo>
                      <a:pt x="59" y="95"/>
                      <a:pt x="51" y="94"/>
                      <a:pt x="46" y="89"/>
                    </a:cubicBezTo>
                    <a:cubicBezTo>
                      <a:pt x="41" y="85"/>
                      <a:pt x="36" y="85"/>
                      <a:pt x="30" y="87"/>
                    </a:cubicBezTo>
                    <a:cubicBezTo>
                      <a:pt x="17" y="92"/>
                      <a:pt x="14" y="98"/>
                      <a:pt x="19" y="111"/>
                    </a:cubicBezTo>
                    <a:cubicBezTo>
                      <a:pt x="20" y="113"/>
                      <a:pt x="22" y="115"/>
                      <a:pt x="22" y="117"/>
                    </a:cubicBezTo>
                    <a:cubicBezTo>
                      <a:pt x="23" y="124"/>
                      <a:pt x="24" y="130"/>
                      <a:pt x="25" y="137"/>
                    </a:cubicBezTo>
                    <a:cubicBezTo>
                      <a:pt x="25" y="139"/>
                      <a:pt x="24" y="142"/>
                      <a:pt x="24" y="146"/>
                    </a:cubicBezTo>
                    <a:close/>
                    <a:moveTo>
                      <a:pt x="58" y="286"/>
                    </a:moveTo>
                    <a:cubicBezTo>
                      <a:pt x="56" y="283"/>
                      <a:pt x="53" y="280"/>
                      <a:pt x="51" y="277"/>
                    </a:cubicBezTo>
                    <a:cubicBezTo>
                      <a:pt x="43" y="265"/>
                      <a:pt x="37" y="252"/>
                      <a:pt x="42" y="236"/>
                    </a:cubicBezTo>
                    <a:cubicBezTo>
                      <a:pt x="43" y="231"/>
                      <a:pt x="42" y="227"/>
                      <a:pt x="39" y="223"/>
                    </a:cubicBezTo>
                    <a:cubicBezTo>
                      <a:pt x="33" y="214"/>
                      <a:pt x="30" y="205"/>
                      <a:pt x="34" y="195"/>
                    </a:cubicBezTo>
                    <a:cubicBezTo>
                      <a:pt x="36" y="190"/>
                      <a:pt x="38" y="185"/>
                      <a:pt x="40" y="181"/>
                    </a:cubicBezTo>
                    <a:cubicBezTo>
                      <a:pt x="35" y="179"/>
                      <a:pt x="29" y="178"/>
                      <a:pt x="22" y="176"/>
                    </a:cubicBezTo>
                    <a:cubicBezTo>
                      <a:pt x="18" y="185"/>
                      <a:pt x="13" y="194"/>
                      <a:pt x="13" y="204"/>
                    </a:cubicBezTo>
                    <a:cubicBezTo>
                      <a:pt x="13" y="209"/>
                      <a:pt x="15" y="216"/>
                      <a:pt x="18" y="220"/>
                    </a:cubicBezTo>
                    <a:cubicBezTo>
                      <a:pt x="24" y="228"/>
                      <a:pt x="28" y="235"/>
                      <a:pt x="24" y="245"/>
                    </a:cubicBezTo>
                    <a:cubicBezTo>
                      <a:pt x="23" y="248"/>
                      <a:pt x="24" y="253"/>
                      <a:pt x="26" y="256"/>
                    </a:cubicBezTo>
                    <a:cubicBezTo>
                      <a:pt x="28" y="260"/>
                      <a:pt x="32" y="264"/>
                      <a:pt x="34" y="268"/>
                    </a:cubicBezTo>
                    <a:cubicBezTo>
                      <a:pt x="39" y="277"/>
                      <a:pt x="46" y="284"/>
                      <a:pt x="58" y="286"/>
                    </a:cubicBezTo>
                    <a:close/>
                    <a:moveTo>
                      <a:pt x="181" y="312"/>
                    </a:moveTo>
                    <a:cubicBezTo>
                      <a:pt x="165" y="338"/>
                      <a:pt x="160" y="342"/>
                      <a:pt x="125" y="347"/>
                    </a:cubicBezTo>
                    <a:cubicBezTo>
                      <a:pt x="152" y="360"/>
                      <a:pt x="179" y="348"/>
                      <a:pt x="195" y="321"/>
                    </a:cubicBezTo>
                    <a:cubicBezTo>
                      <a:pt x="191" y="318"/>
                      <a:pt x="186" y="315"/>
                      <a:pt x="181" y="312"/>
                    </a:cubicBezTo>
                    <a:close/>
                    <a:moveTo>
                      <a:pt x="289" y="275"/>
                    </a:moveTo>
                    <a:cubicBezTo>
                      <a:pt x="283" y="274"/>
                      <a:pt x="280" y="275"/>
                      <a:pt x="276" y="280"/>
                    </a:cubicBezTo>
                    <a:cubicBezTo>
                      <a:pt x="273" y="284"/>
                      <a:pt x="269" y="287"/>
                      <a:pt x="265" y="290"/>
                    </a:cubicBezTo>
                    <a:cubicBezTo>
                      <a:pt x="257" y="297"/>
                      <a:pt x="248" y="304"/>
                      <a:pt x="240" y="310"/>
                    </a:cubicBezTo>
                    <a:cubicBezTo>
                      <a:pt x="263" y="315"/>
                      <a:pt x="284" y="300"/>
                      <a:pt x="289" y="275"/>
                    </a:cubicBezTo>
                    <a:close/>
                    <a:moveTo>
                      <a:pt x="85" y="173"/>
                    </a:moveTo>
                    <a:cubicBezTo>
                      <a:pt x="92" y="183"/>
                      <a:pt x="101" y="189"/>
                      <a:pt x="112" y="193"/>
                    </a:cubicBezTo>
                    <a:cubicBezTo>
                      <a:pt x="111" y="183"/>
                      <a:pt x="110" y="174"/>
                      <a:pt x="108" y="163"/>
                    </a:cubicBezTo>
                    <a:cubicBezTo>
                      <a:pt x="101" y="166"/>
                      <a:pt x="94" y="169"/>
                      <a:pt x="85" y="173"/>
                    </a:cubicBezTo>
                    <a:close/>
                    <a:moveTo>
                      <a:pt x="233" y="322"/>
                    </a:moveTo>
                    <a:cubicBezTo>
                      <a:pt x="222" y="317"/>
                      <a:pt x="208" y="322"/>
                      <a:pt x="205" y="331"/>
                    </a:cubicBezTo>
                    <a:cubicBezTo>
                      <a:pt x="214" y="334"/>
                      <a:pt x="225" y="331"/>
                      <a:pt x="233" y="322"/>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grpSp>
        <p:grpSp>
          <p:nvGrpSpPr>
            <p:cNvPr id="132" name="Group 131">
              <a:extLst>
                <a:ext uri="{FF2B5EF4-FFF2-40B4-BE49-F238E27FC236}">
                  <a16:creationId xmlns:a16="http://schemas.microsoft.com/office/drawing/2014/main" id="{81BCE091-EE75-AFCE-980B-C4ACBD41E6C2}"/>
                </a:ext>
              </a:extLst>
            </p:cNvPr>
            <p:cNvGrpSpPr/>
            <p:nvPr/>
          </p:nvGrpSpPr>
          <p:grpSpPr>
            <a:xfrm>
              <a:off x="1050481" y="4419408"/>
              <a:ext cx="1093569" cy="785210"/>
              <a:chOff x="1140372" y="4419408"/>
              <a:chExt cx="1093569" cy="785210"/>
            </a:xfrm>
          </p:grpSpPr>
          <p:sp>
            <p:nvSpPr>
              <p:cNvPr id="127" name="Freeform 64">
                <a:extLst>
                  <a:ext uri="{FF2B5EF4-FFF2-40B4-BE49-F238E27FC236}">
                    <a16:creationId xmlns:a16="http://schemas.microsoft.com/office/drawing/2014/main" id="{F4470BF5-5B16-34A2-68F6-44F901DADD7F}"/>
                  </a:ext>
                </a:extLst>
              </p:cNvPr>
              <p:cNvSpPr>
                <a:spLocks/>
              </p:cNvSpPr>
              <p:nvPr/>
            </p:nvSpPr>
            <p:spPr bwMode="auto">
              <a:xfrm>
                <a:off x="1431125" y="4419408"/>
                <a:ext cx="512064" cy="507402"/>
              </a:xfrm>
              <a:prstGeom prst="ellipse">
                <a:avLst/>
              </a:prstGeom>
              <a:solidFill>
                <a:schemeClr val="accent1"/>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79" name="TextBox 35">
                <a:extLst>
                  <a:ext uri="{FF2B5EF4-FFF2-40B4-BE49-F238E27FC236}">
                    <a16:creationId xmlns:a16="http://schemas.microsoft.com/office/drawing/2014/main" id="{7EDAA835-ACE9-4F6B-B3BD-30541F87B30F}"/>
                  </a:ext>
                </a:extLst>
              </p:cNvPr>
              <p:cNvSpPr txBox="1">
                <a:spLocks noChangeArrowheads="1"/>
              </p:cNvSpPr>
              <p:nvPr/>
            </p:nvSpPr>
            <p:spPr bwMode="auto">
              <a:xfrm>
                <a:off x="1140372" y="4958397"/>
                <a:ext cx="109356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377" fontAlgn="base">
                  <a:spcBef>
                    <a:spcPct val="0"/>
                  </a:spcBef>
                  <a:spcAft>
                    <a:spcPct val="0"/>
                  </a:spcAft>
                  <a:defRPr/>
                </a:pPr>
                <a:r>
                  <a:rPr lang="en-US" sz="1000" b="1" noProof="0">
                    <a:solidFill>
                      <a:schemeClr val="accent1"/>
                    </a:solidFill>
                    <a:latin typeface="Arial" panose="020B0604020202020204" pitchFamily="34" charset="0"/>
                    <a:ea typeface="Apis For Office" panose="020B0504010101010104" pitchFamily="34" charset="0"/>
                  </a:rPr>
                  <a:t>Adipose tissue</a:t>
                </a:r>
              </a:p>
            </p:txBody>
          </p:sp>
          <p:grpSp>
            <p:nvGrpSpPr>
              <p:cNvPr id="129" name="Group 128">
                <a:extLst>
                  <a:ext uri="{FF2B5EF4-FFF2-40B4-BE49-F238E27FC236}">
                    <a16:creationId xmlns:a16="http://schemas.microsoft.com/office/drawing/2014/main" id="{8451C6A5-2437-84E4-1568-41898C0D4ACF}"/>
                  </a:ext>
                </a:extLst>
              </p:cNvPr>
              <p:cNvGrpSpPr/>
              <p:nvPr/>
            </p:nvGrpSpPr>
            <p:grpSpPr>
              <a:xfrm>
                <a:off x="1499459" y="4467078"/>
                <a:ext cx="375396" cy="387176"/>
                <a:chOff x="1561237" y="4509347"/>
                <a:chExt cx="264506" cy="272805"/>
              </a:xfrm>
            </p:grpSpPr>
            <p:sp>
              <p:nvSpPr>
                <p:cNvPr id="82" name="Freeform 30">
                  <a:extLst>
                    <a:ext uri="{FF2B5EF4-FFF2-40B4-BE49-F238E27FC236}">
                      <a16:creationId xmlns:a16="http://schemas.microsoft.com/office/drawing/2014/main" id="{6864750C-0DA9-4A51-A7E0-1C24D42E5FAB}"/>
                    </a:ext>
                  </a:extLst>
                </p:cNvPr>
                <p:cNvSpPr>
                  <a:spLocks/>
                </p:cNvSpPr>
                <p:nvPr/>
              </p:nvSpPr>
              <p:spPr bwMode="auto">
                <a:xfrm>
                  <a:off x="1706901" y="4579024"/>
                  <a:ext cx="118842" cy="125970"/>
                </a:xfrm>
                <a:custGeom>
                  <a:avLst/>
                  <a:gdLst>
                    <a:gd name="T0" fmla="*/ 76 w 134"/>
                    <a:gd name="T1" fmla="*/ 5 h 134"/>
                    <a:gd name="T2" fmla="*/ 129 w 134"/>
                    <a:gd name="T3" fmla="*/ 76 h 134"/>
                    <a:gd name="T4" fmla="*/ 58 w 134"/>
                    <a:gd name="T5" fmla="*/ 129 h 134"/>
                    <a:gd name="T6" fmla="*/ 5 w 134"/>
                    <a:gd name="T7" fmla="*/ 58 h 134"/>
                    <a:gd name="T8" fmla="*/ 76 w 134"/>
                    <a:gd name="T9" fmla="*/ 5 h 134"/>
                  </a:gdLst>
                  <a:ahLst/>
                  <a:cxnLst>
                    <a:cxn ang="0">
                      <a:pos x="T0" y="T1"/>
                    </a:cxn>
                    <a:cxn ang="0">
                      <a:pos x="T2" y="T3"/>
                    </a:cxn>
                    <a:cxn ang="0">
                      <a:pos x="T4" y="T5"/>
                    </a:cxn>
                    <a:cxn ang="0">
                      <a:pos x="T6" y="T7"/>
                    </a:cxn>
                    <a:cxn ang="0">
                      <a:pos x="T8" y="T9"/>
                    </a:cxn>
                  </a:cxnLst>
                  <a:rect l="0" t="0" r="r" b="b"/>
                  <a:pathLst>
                    <a:path w="134" h="134">
                      <a:moveTo>
                        <a:pt x="76" y="5"/>
                      </a:moveTo>
                      <a:cubicBezTo>
                        <a:pt x="110" y="10"/>
                        <a:pt x="134" y="41"/>
                        <a:pt x="129" y="76"/>
                      </a:cubicBezTo>
                      <a:cubicBezTo>
                        <a:pt x="124" y="110"/>
                        <a:pt x="92" y="134"/>
                        <a:pt x="58" y="129"/>
                      </a:cubicBezTo>
                      <a:cubicBezTo>
                        <a:pt x="24" y="124"/>
                        <a:pt x="0" y="92"/>
                        <a:pt x="5" y="58"/>
                      </a:cubicBezTo>
                      <a:cubicBezTo>
                        <a:pt x="10" y="24"/>
                        <a:pt x="41" y="0"/>
                        <a:pt x="76" y="5"/>
                      </a:cubicBezTo>
                      <a:close/>
                    </a:path>
                  </a:pathLst>
                </a:custGeom>
                <a:solidFill>
                  <a:schemeClr val="accent1"/>
                </a:solid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83" name="Freeform 31">
                  <a:extLst>
                    <a:ext uri="{FF2B5EF4-FFF2-40B4-BE49-F238E27FC236}">
                      <a16:creationId xmlns:a16="http://schemas.microsoft.com/office/drawing/2014/main" id="{723F4C2B-464A-4AD6-AD78-A27F91437102}"/>
                    </a:ext>
                  </a:extLst>
                </p:cNvPr>
                <p:cNvSpPr>
                  <a:spLocks/>
                </p:cNvSpPr>
                <p:nvPr/>
              </p:nvSpPr>
              <p:spPr bwMode="auto">
                <a:xfrm>
                  <a:off x="1801900" y="4635317"/>
                  <a:ext cx="8941" cy="23620"/>
                </a:xfrm>
                <a:custGeom>
                  <a:avLst/>
                  <a:gdLst>
                    <a:gd name="T0" fmla="*/ 7 w 10"/>
                    <a:gd name="T1" fmla="*/ 1 h 25"/>
                    <a:gd name="T2" fmla="*/ 9 w 10"/>
                    <a:gd name="T3" fmla="*/ 13 h 25"/>
                    <a:gd name="T4" fmla="*/ 4 w 10"/>
                    <a:gd name="T5" fmla="*/ 24 h 25"/>
                    <a:gd name="T6" fmla="*/ 1 w 10"/>
                    <a:gd name="T7" fmla="*/ 12 h 25"/>
                    <a:gd name="T8" fmla="*/ 7 w 10"/>
                    <a:gd name="T9" fmla="*/ 1 h 25"/>
                  </a:gdLst>
                  <a:ahLst/>
                  <a:cxnLst>
                    <a:cxn ang="0">
                      <a:pos x="T0" y="T1"/>
                    </a:cxn>
                    <a:cxn ang="0">
                      <a:pos x="T2" y="T3"/>
                    </a:cxn>
                    <a:cxn ang="0">
                      <a:pos x="T4" y="T5"/>
                    </a:cxn>
                    <a:cxn ang="0">
                      <a:pos x="T6" y="T7"/>
                    </a:cxn>
                    <a:cxn ang="0">
                      <a:pos x="T8" y="T9"/>
                    </a:cxn>
                  </a:cxnLst>
                  <a:rect l="0" t="0" r="r" b="b"/>
                  <a:pathLst>
                    <a:path w="10" h="25">
                      <a:moveTo>
                        <a:pt x="7" y="1"/>
                      </a:moveTo>
                      <a:cubicBezTo>
                        <a:pt x="9" y="1"/>
                        <a:pt x="10" y="7"/>
                        <a:pt x="9" y="13"/>
                      </a:cubicBezTo>
                      <a:cubicBezTo>
                        <a:pt x="9" y="20"/>
                        <a:pt x="6" y="25"/>
                        <a:pt x="4" y="24"/>
                      </a:cubicBezTo>
                      <a:cubicBezTo>
                        <a:pt x="1" y="24"/>
                        <a:pt x="0" y="18"/>
                        <a:pt x="1" y="12"/>
                      </a:cubicBezTo>
                      <a:cubicBezTo>
                        <a:pt x="2" y="5"/>
                        <a:pt x="5" y="0"/>
                        <a:pt x="7" y="1"/>
                      </a:cubicBezTo>
                      <a:close/>
                    </a:path>
                  </a:pathLst>
                </a:custGeom>
                <a:solidFill>
                  <a:schemeClr val="accent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84" name="Freeform 32">
                  <a:extLst>
                    <a:ext uri="{FF2B5EF4-FFF2-40B4-BE49-F238E27FC236}">
                      <a16:creationId xmlns:a16="http://schemas.microsoft.com/office/drawing/2014/main" id="{64D38746-AE72-4B03-A929-96A9AAE2AC1C}"/>
                    </a:ext>
                  </a:extLst>
                </p:cNvPr>
                <p:cNvSpPr>
                  <a:spLocks/>
                </p:cNvSpPr>
                <p:nvPr/>
              </p:nvSpPr>
              <p:spPr bwMode="auto">
                <a:xfrm>
                  <a:off x="1651765" y="4651457"/>
                  <a:ext cx="124430" cy="130695"/>
                </a:xfrm>
                <a:custGeom>
                  <a:avLst/>
                  <a:gdLst>
                    <a:gd name="T0" fmla="*/ 117 w 140"/>
                    <a:gd name="T1" fmla="*/ 28 h 139"/>
                    <a:gd name="T2" fmla="*/ 112 w 140"/>
                    <a:gd name="T3" fmla="*/ 116 h 139"/>
                    <a:gd name="T4" fmla="*/ 23 w 140"/>
                    <a:gd name="T5" fmla="*/ 111 h 139"/>
                    <a:gd name="T6" fmla="*/ 28 w 140"/>
                    <a:gd name="T7" fmla="*/ 23 h 139"/>
                    <a:gd name="T8" fmla="*/ 117 w 140"/>
                    <a:gd name="T9" fmla="*/ 28 h 139"/>
                  </a:gdLst>
                  <a:ahLst/>
                  <a:cxnLst>
                    <a:cxn ang="0">
                      <a:pos x="T0" y="T1"/>
                    </a:cxn>
                    <a:cxn ang="0">
                      <a:pos x="T2" y="T3"/>
                    </a:cxn>
                    <a:cxn ang="0">
                      <a:pos x="T4" y="T5"/>
                    </a:cxn>
                    <a:cxn ang="0">
                      <a:pos x="T6" y="T7"/>
                    </a:cxn>
                    <a:cxn ang="0">
                      <a:pos x="T8" y="T9"/>
                    </a:cxn>
                  </a:cxnLst>
                  <a:rect l="0" t="0" r="r" b="b"/>
                  <a:pathLst>
                    <a:path w="140" h="139">
                      <a:moveTo>
                        <a:pt x="117" y="28"/>
                      </a:moveTo>
                      <a:cubicBezTo>
                        <a:pt x="140" y="54"/>
                        <a:pt x="138" y="93"/>
                        <a:pt x="112" y="116"/>
                      </a:cubicBezTo>
                      <a:cubicBezTo>
                        <a:pt x="86" y="139"/>
                        <a:pt x="46" y="137"/>
                        <a:pt x="23" y="111"/>
                      </a:cubicBezTo>
                      <a:cubicBezTo>
                        <a:pt x="0" y="85"/>
                        <a:pt x="2" y="46"/>
                        <a:pt x="28" y="23"/>
                      </a:cubicBezTo>
                      <a:cubicBezTo>
                        <a:pt x="54" y="0"/>
                        <a:pt x="94" y="2"/>
                        <a:pt x="117" y="28"/>
                      </a:cubicBezTo>
                      <a:close/>
                    </a:path>
                  </a:pathLst>
                </a:custGeom>
                <a:solidFill>
                  <a:schemeClr val="accent1"/>
                </a:solid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85" name="Freeform 33">
                  <a:extLst>
                    <a:ext uri="{FF2B5EF4-FFF2-40B4-BE49-F238E27FC236}">
                      <a16:creationId xmlns:a16="http://schemas.microsoft.com/office/drawing/2014/main" id="{CF9606BD-94B5-4D65-BB52-771E33E82C6B}"/>
                    </a:ext>
                  </a:extLst>
                </p:cNvPr>
                <p:cNvSpPr>
                  <a:spLocks/>
                </p:cNvSpPr>
                <p:nvPr/>
              </p:nvSpPr>
              <p:spPr bwMode="auto">
                <a:xfrm>
                  <a:off x="1732607" y="4739637"/>
                  <a:ext cx="18627" cy="18108"/>
                </a:xfrm>
                <a:custGeom>
                  <a:avLst/>
                  <a:gdLst>
                    <a:gd name="T0" fmla="*/ 19 w 21"/>
                    <a:gd name="T1" fmla="*/ 1 h 19"/>
                    <a:gd name="T2" fmla="*/ 13 w 21"/>
                    <a:gd name="T3" fmla="*/ 12 h 19"/>
                    <a:gd name="T4" fmla="*/ 1 w 21"/>
                    <a:gd name="T5" fmla="*/ 17 h 19"/>
                    <a:gd name="T6" fmla="*/ 8 w 21"/>
                    <a:gd name="T7" fmla="*/ 6 h 19"/>
                    <a:gd name="T8" fmla="*/ 19 w 21"/>
                    <a:gd name="T9" fmla="*/ 1 h 19"/>
                  </a:gdLst>
                  <a:ahLst/>
                  <a:cxnLst>
                    <a:cxn ang="0">
                      <a:pos x="T0" y="T1"/>
                    </a:cxn>
                    <a:cxn ang="0">
                      <a:pos x="T2" y="T3"/>
                    </a:cxn>
                    <a:cxn ang="0">
                      <a:pos x="T4" y="T5"/>
                    </a:cxn>
                    <a:cxn ang="0">
                      <a:pos x="T6" y="T7"/>
                    </a:cxn>
                    <a:cxn ang="0">
                      <a:pos x="T8" y="T9"/>
                    </a:cxn>
                  </a:cxnLst>
                  <a:rect l="0" t="0" r="r" b="b"/>
                  <a:pathLst>
                    <a:path w="21" h="19">
                      <a:moveTo>
                        <a:pt x="19" y="1"/>
                      </a:moveTo>
                      <a:cubicBezTo>
                        <a:pt x="21" y="3"/>
                        <a:pt x="18" y="8"/>
                        <a:pt x="13" y="12"/>
                      </a:cubicBezTo>
                      <a:cubicBezTo>
                        <a:pt x="8" y="17"/>
                        <a:pt x="3" y="19"/>
                        <a:pt x="1" y="17"/>
                      </a:cubicBezTo>
                      <a:cubicBezTo>
                        <a:pt x="0" y="15"/>
                        <a:pt x="3" y="10"/>
                        <a:pt x="8" y="6"/>
                      </a:cubicBezTo>
                      <a:cubicBezTo>
                        <a:pt x="12" y="2"/>
                        <a:pt x="18" y="0"/>
                        <a:pt x="19" y="1"/>
                      </a:cubicBezTo>
                      <a:close/>
                    </a:path>
                  </a:pathLst>
                </a:custGeom>
                <a:solidFill>
                  <a:schemeClr val="accent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86" name="Freeform 34">
                  <a:extLst>
                    <a:ext uri="{FF2B5EF4-FFF2-40B4-BE49-F238E27FC236}">
                      <a16:creationId xmlns:a16="http://schemas.microsoft.com/office/drawing/2014/main" id="{A80AB1FE-243B-4316-9C91-888D27A889AE}"/>
                    </a:ext>
                  </a:extLst>
                </p:cNvPr>
                <p:cNvSpPr>
                  <a:spLocks/>
                </p:cNvSpPr>
                <p:nvPr/>
              </p:nvSpPr>
              <p:spPr bwMode="auto">
                <a:xfrm>
                  <a:off x="1642079" y="4509347"/>
                  <a:ext cx="125920" cy="134631"/>
                </a:xfrm>
                <a:custGeom>
                  <a:avLst/>
                  <a:gdLst>
                    <a:gd name="T0" fmla="*/ 46 w 142"/>
                    <a:gd name="T1" fmla="*/ 14 h 143"/>
                    <a:gd name="T2" fmla="*/ 128 w 142"/>
                    <a:gd name="T3" fmla="*/ 46 h 143"/>
                    <a:gd name="T4" fmla="*/ 96 w 142"/>
                    <a:gd name="T5" fmla="*/ 129 h 143"/>
                    <a:gd name="T6" fmla="*/ 14 w 142"/>
                    <a:gd name="T7" fmla="*/ 96 h 143"/>
                    <a:gd name="T8" fmla="*/ 46 w 142"/>
                    <a:gd name="T9" fmla="*/ 14 h 143"/>
                  </a:gdLst>
                  <a:ahLst/>
                  <a:cxnLst>
                    <a:cxn ang="0">
                      <a:pos x="T0" y="T1"/>
                    </a:cxn>
                    <a:cxn ang="0">
                      <a:pos x="T2" y="T3"/>
                    </a:cxn>
                    <a:cxn ang="0">
                      <a:pos x="T4" y="T5"/>
                    </a:cxn>
                    <a:cxn ang="0">
                      <a:pos x="T6" y="T7"/>
                    </a:cxn>
                    <a:cxn ang="0">
                      <a:pos x="T8" y="T9"/>
                    </a:cxn>
                  </a:cxnLst>
                  <a:rect l="0" t="0" r="r" b="b"/>
                  <a:pathLst>
                    <a:path w="142" h="143">
                      <a:moveTo>
                        <a:pt x="46" y="14"/>
                      </a:moveTo>
                      <a:cubicBezTo>
                        <a:pt x="77" y="0"/>
                        <a:pt x="115" y="14"/>
                        <a:pt x="128" y="46"/>
                      </a:cubicBezTo>
                      <a:cubicBezTo>
                        <a:pt x="142" y="78"/>
                        <a:pt x="128" y="115"/>
                        <a:pt x="96" y="129"/>
                      </a:cubicBezTo>
                      <a:cubicBezTo>
                        <a:pt x="65" y="143"/>
                        <a:pt x="28" y="128"/>
                        <a:pt x="14" y="96"/>
                      </a:cubicBezTo>
                      <a:cubicBezTo>
                        <a:pt x="0" y="65"/>
                        <a:pt x="14" y="28"/>
                        <a:pt x="46" y="14"/>
                      </a:cubicBezTo>
                      <a:close/>
                    </a:path>
                  </a:pathLst>
                </a:custGeom>
                <a:solidFill>
                  <a:schemeClr val="accent1"/>
                </a:solid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87" name="Freeform 35">
                  <a:extLst>
                    <a:ext uri="{FF2B5EF4-FFF2-40B4-BE49-F238E27FC236}">
                      <a16:creationId xmlns:a16="http://schemas.microsoft.com/office/drawing/2014/main" id="{A96293E4-650B-4D2D-A587-E0EE13E46E13}"/>
                    </a:ext>
                  </a:extLst>
                </p:cNvPr>
                <p:cNvSpPr>
                  <a:spLocks/>
                </p:cNvSpPr>
                <p:nvPr/>
              </p:nvSpPr>
              <p:spPr bwMode="auto">
                <a:xfrm>
                  <a:off x="1736333" y="4547138"/>
                  <a:ext cx="12294" cy="22439"/>
                </a:xfrm>
                <a:custGeom>
                  <a:avLst/>
                  <a:gdLst>
                    <a:gd name="T0" fmla="*/ 2 w 14"/>
                    <a:gd name="T1" fmla="*/ 1 h 24"/>
                    <a:gd name="T2" fmla="*/ 10 w 14"/>
                    <a:gd name="T3" fmla="*/ 10 h 24"/>
                    <a:gd name="T4" fmla="*/ 11 w 14"/>
                    <a:gd name="T5" fmla="*/ 23 h 24"/>
                    <a:gd name="T6" fmla="*/ 3 w 14"/>
                    <a:gd name="T7" fmla="*/ 14 h 24"/>
                    <a:gd name="T8" fmla="*/ 2 w 14"/>
                    <a:gd name="T9" fmla="*/ 1 h 24"/>
                  </a:gdLst>
                  <a:ahLst/>
                  <a:cxnLst>
                    <a:cxn ang="0">
                      <a:pos x="T0" y="T1"/>
                    </a:cxn>
                    <a:cxn ang="0">
                      <a:pos x="T2" y="T3"/>
                    </a:cxn>
                    <a:cxn ang="0">
                      <a:pos x="T4" y="T5"/>
                    </a:cxn>
                    <a:cxn ang="0">
                      <a:pos x="T6" y="T7"/>
                    </a:cxn>
                    <a:cxn ang="0">
                      <a:pos x="T8" y="T9"/>
                    </a:cxn>
                  </a:cxnLst>
                  <a:rect l="0" t="0" r="r" b="b"/>
                  <a:pathLst>
                    <a:path w="14" h="24">
                      <a:moveTo>
                        <a:pt x="2" y="1"/>
                      </a:moveTo>
                      <a:cubicBezTo>
                        <a:pt x="4" y="0"/>
                        <a:pt x="8" y="4"/>
                        <a:pt x="10" y="10"/>
                      </a:cubicBezTo>
                      <a:cubicBezTo>
                        <a:pt x="13" y="16"/>
                        <a:pt x="14" y="22"/>
                        <a:pt x="11" y="23"/>
                      </a:cubicBezTo>
                      <a:cubicBezTo>
                        <a:pt x="9" y="24"/>
                        <a:pt x="6" y="20"/>
                        <a:pt x="3" y="14"/>
                      </a:cubicBezTo>
                      <a:cubicBezTo>
                        <a:pt x="0" y="8"/>
                        <a:pt x="0" y="2"/>
                        <a:pt x="2" y="1"/>
                      </a:cubicBezTo>
                      <a:close/>
                    </a:path>
                  </a:pathLst>
                </a:custGeom>
                <a:solidFill>
                  <a:schemeClr val="accent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88" name="Freeform 36">
                  <a:extLst>
                    <a:ext uri="{FF2B5EF4-FFF2-40B4-BE49-F238E27FC236}">
                      <a16:creationId xmlns:a16="http://schemas.microsoft.com/office/drawing/2014/main" id="{851A06E2-420F-4542-8D6D-E738D1F311EB}"/>
                    </a:ext>
                  </a:extLst>
                </p:cNvPr>
                <p:cNvSpPr>
                  <a:spLocks/>
                </p:cNvSpPr>
                <p:nvPr/>
              </p:nvSpPr>
              <p:spPr bwMode="auto">
                <a:xfrm>
                  <a:off x="1561237" y="4539659"/>
                  <a:ext cx="125920" cy="133450"/>
                </a:xfrm>
                <a:custGeom>
                  <a:avLst/>
                  <a:gdLst>
                    <a:gd name="T0" fmla="*/ 122 w 142"/>
                    <a:gd name="T1" fmla="*/ 108 h 142"/>
                    <a:gd name="T2" fmla="*/ 34 w 142"/>
                    <a:gd name="T3" fmla="*/ 122 h 142"/>
                    <a:gd name="T4" fmla="*/ 20 w 142"/>
                    <a:gd name="T5" fmla="*/ 34 h 142"/>
                    <a:gd name="T6" fmla="*/ 108 w 142"/>
                    <a:gd name="T7" fmla="*/ 20 h 142"/>
                    <a:gd name="T8" fmla="*/ 122 w 142"/>
                    <a:gd name="T9" fmla="*/ 108 h 142"/>
                  </a:gdLst>
                  <a:ahLst/>
                  <a:cxnLst>
                    <a:cxn ang="0">
                      <a:pos x="T0" y="T1"/>
                    </a:cxn>
                    <a:cxn ang="0">
                      <a:pos x="T2" y="T3"/>
                    </a:cxn>
                    <a:cxn ang="0">
                      <a:pos x="T4" y="T5"/>
                    </a:cxn>
                    <a:cxn ang="0">
                      <a:pos x="T6" y="T7"/>
                    </a:cxn>
                    <a:cxn ang="0">
                      <a:pos x="T8" y="T9"/>
                    </a:cxn>
                  </a:cxnLst>
                  <a:rect l="0" t="0" r="r" b="b"/>
                  <a:pathLst>
                    <a:path w="142" h="142">
                      <a:moveTo>
                        <a:pt x="122" y="108"/>
                      </a:moveTo>
                      <a:cubicBezTo>
                        <a:pt x="101" y="136"/>
                        <a:pt x="62" y="142"/>
                        <a:pt x="34" y="122"/>
                      </a:cubicBezTo>
                      <a:cubicBezTo>
                        <a:pt x="6" y="102"/>
                        <a:pt x="0" y="62"/>
                        <a:pt x="20" y="34"/>
                      </a:cubicBezTo>
                      <a:cubicBezTo>
                        <a:pt x="40" y="6"/>
                        <a:pt x="80" y="0"/>
                        <a:pt x="108" y="20"/>
                      </a:cubicBezTo>
                      <a:cubicBezTo>
                        <a:pt x="136" y="41"/>
                        <a:pt x="142" y="80"/>
                        <a:pt x="122" y="108"/>
                      </a:cubicBezTo>
                      <a:close/>
                    </a:path>
                  </a:pathLst>
                </a:custGeom>
                <a:solidFill>
                  <a:schemeClr val="accent1"/>
                </a:solid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89" name="Freeform 37">
                  <a:extLst>
                    <a:ext uri="{FF2B5EF4-FFF2-40B4-BE49-F238E27FC236}">
                      <a16:creationId xmlns:a16="http://schemas.microsoft.com/office/drawing/2014/main" id="{81E68C67-A007-47E4-9A7C-15EE737F46A3}"/>
                    </a:ext>
                  </a:extLst>
                </p:cNvPr>
                <p:cNvSpPr>
                  <a:spLocks/>
                </p:cNvSpPr>
                <p:nvPr/>
              </p:nvSpPr>
              <p:spPr bwMode="auto">
                <a:xfrm>
                  <a:off x="1591413" y="4633349"/>
                  <a:ext cx="19372" cy="16927"/>
                </a:xfrm>
                <a:custGeom>
                  <a:avLst/>
                  <a:gdLst>
                    <a:gd name="T0" fmla="*/ 20 w 22"/>
                    <a:gd name="T1" fmla="*/ 16 h 18"/>
                    <a:gd name="T2" fmla="*/ 8 w 22"/>
                    <a:gd name="T3" fmla="*/ 12 h 18"/>
                    <a:gd name="T4" fmla="*/ 1 w 22"/>
                    <a:gd name="T5" fmla="*/ 2 h 18"/>
                    <a:gd name="T6" fmla="*/ 13 w 22"/>
                    <a:gd name="T7" fmla="*/ 5 h 18"/>
                    <a:gd name="T8" fmla="*/ 20 w 22"/>
                    <a:gd name="T9" fmla="*/ 16 h 18"/>
                  </a:gdLst>
                  <a:ahLst/>
                  <a:cxnLst>
                    <a:cxn ang="0">
                      <a:pos x="T0" y="T1"/>
                    </a:cxn>
                    <a:cxn ang="0">
                      <a:pos x="T2" y="T3"/>
                    </a:cxn>
                    <a:cxn ang="0">
                      <a:pos x="T4" y="T5"/>
                    </a:cxn>
                    <a:cxn ang="0">
                      <a:pos x="T6" y="T7"/>
                    </a:cxn>
                    <a:cxn ang="0">
                      <a:pos x="T8" y="T9"/>
                    </a:cxn>
                  </a:cxnLst>
                  <a:rect l="0" t="0" r="r" b="b"/>
                  <a:pathLst>
                    <a:path w="22" h="18">
                      <a:moveTo>
                        <a:pt x="20" y="16"/>
                      </a:moveTo>
                      <a:cubicBezTo>
                        <a:pt x="19" y="18"/>
                        <a:pt x="14" y="16"/>
                        <a:pt x="8" y="12"/>
                      </a:cubicBezTo>
                      <a:cubicBezTo>
                        <a:pt x="3" y="8"/>
                        <a:pt x="0" y="4"/>
                        <a:pt x="1" y="2"/>
                      </a:cubicBezTo>
                      <a:cubicBezTo>
                        <a:pt x="2" y="0"/>
                        <a:pt x="8" y="2"/>
                        <a:pt x="13" y="5"/>
                      </a:cubicBezTo>
                      <a:cubicBezTo>
                        <a:pt x="18" y="9"/>
                        <a:pt x="22" y="14"/>
                        <a:pt x="20" y="16"/>
                      </a:cubicBezTo>
                      <a:close/>
                    </a:path>
                  </a:pathLst>
                </a:custGeom>
                <a:solidFill>
                  <a:schemeClr val="accent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90" name="Freeform 38">
                  <a:extLst>
                    <a:ext uri="{FF2B5EF4-FFF2-40B4-BE49-F238E27FC236}">
                      <a16:creationId xmlns:a16="http://schemas.microsoft.com/office/drawing/2014/main" id="{F7A2307C-B28A-45F6-BB9F-DDD0792F4FFE}"/>
                    </a:ext>
                  </a:extLst>
                </p:cNvPr>
                <p:cNvSpPr>
                  <a:spLocks/>
                </p:cNvSpPr>
                <p:nvPr/>
              </p:nvSpPr>
              <p:spPr bwMode="auto">
                <a:xfrm>
                  <a:off x="1651763" y="4569576"/>
                  <a:ext cx="124430" cy="131481"/>
                </a:xfrm>
                <a:custGeom>
                  <a:avLst/>
                  <a:gdLst>
                    <a:gd name="T0" fmla="*/ 117 w 140"/>
                    <a:gd name="T1" fmla="*/ 28 h 140"/>
                    <a:gd name="T2" fmla="*/ 112 w 140"/>
                    <a:gd name="T3" fmla="*/ 117 h 140"/>
                    <a:gd name="T4" fmla="*/ 23 w 140"/>
                    <a:gd name="T5" fmla="*/ 112 h 140"/>
                    <a:gd name="T6" fmla="*/ 28 w 140"/>
                    <a:gd name="T7" fmla="*/ 23 h 140"/>
                    <a:gd name="T8" fmla="*/ 117 w 140"/>
                    <a:gd name="T9" fmla="*/ 28 h 140"/>
                  </a:gdLst>
                  <a:ahLst/>
                  <a:cxnLst>
                    <a:cxn ang="0">
                      <a:pos x="T0" y="T1"/>
                    </a:cxn>
                    <a:cxn ang="0">
                      <a:pos x="T2" y="T3"/>
                    </a:cxn>
                    <a:cxn ang="0">
                      <a:pos x="T4" y="T5"/>
                    </a:cxn>
                    <a:cxn ang="0">
                      <a:pos x="T6" y="T7"/>
                    </a:cxn>
                    <a:cxn ang="0">
                      <a:pos x="T8" y="T9"/>
                    </a:cxn>
                  </a:cxnLst>
                  <a:rect l="0" t="0" r="r" b="b"/>
                  <a:pathLst>
                    <a:path w="140" h="140">
                      <a:moveTo>
                        <a:pt x="117" y="28"/>
                      </a:moveTo>
                      <a:cubicBezTo>
                        <a:pt x="140" y="54"/>
                        <a:pt x="138" y="94"/>
                        <a:pt x="112" y="117"/>
                      </a:cubicBezTo>
                      <a:cubicBezTo>
                        <a:pt x="86" y="140"/>
                        <a:pt x="46" y="138"/>
                        <a:pt x="23" y="112"/>
                      </a:cubicBezTo>
                      <a:cubicBezTo>
                        <a:pt x="0" y="86"/>
                        <a:pt x="2" y="46"/>
                        <a:pt x="28" y="23"/>
                      </a:cubicBezTo>
                      <a:cubicBezTo>
                        <a:pt x="54" y="0"/>
                        <a:pt x="94" y="2"/>
                        <a:pt x="117" y="28"/>
                      </a:cubicBezTo>
                      <a:close/>
                    </a:path>
                  </a:pathLst>
                </a:custGeom>
                <a:solidFill>
                  <a:schemeClr val="accent1"/>
                </a:solid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91" name="Freeform 39">
                  <a:extLst>
                    <a:ext uri="{FF2B5EF4-FFF2-40B4-BE49-F238E27FC236}">
                      <a16:creationId xmlns:a16="http://schemas.microsoft.com/office/drawing/2014/main" id="{7A778BCA-5D88-47CB-93B0-7EE0B51A74DD}"/>
                    </a:ext>
                  </a:extLst>
                </p:cNvPr>
                <p:cNvSpPr>
                  <a:spLocks/>
                </p:cNvSpPr>
                <p:nvPr/>
              </p:nvSpPr>
              <p:spPr bwMode="auto">
                <a:xfrm>
                  <a:off x="1732607" y="4657756"/>
                  <a:ext cx="18627" cy="18108"/>
                </a:xfrm>
                <a:custGeom>
                  <a:avLst/>
                  <a:gdLst>
                    <a:gd name="T0" fmla="*/ 19 w 21"/>
                    <a:gd name="T1" fmla="*/ 2 h 19"/>
                    <a:gd name="T2" fmla="*/ 13 w 21"/>
                    <a:gd name="T3" fmla="*/ 13 h 19"/>
                    <a:gd name="T4" fmla="*/ 1 w 21"/>
                    <a:gd name="T5" fmla="*/ 17 h 19"/>
                    <a:gd name="T6" fmla="*/ 8 w 21"/>
                    <a:gd name="T7" fmla="*/ 6 h 19"/>
                    <a:gd name="T8" fmla="*/ 19 w 21"/>
                    <a:gd name="T9" fmla="*/ 2 h 19"/>
                  </a:gdLst>
                  <a:ahLst/>
                  <a:cxnLst>
                    <a:cxn ang="0">
                      <a:pos x="T0" y="T1"/>
                    </a:cxn>
                    <a:cxn ang="0">
                      <a:pos x="T2" y="T3"/>
                    </a:cxn>
                    <a:cxn ang="0">
                      <a:pos x="T4" y="T5"/>
                    </a:cxn>
                    <a:cxn ang="0">
                      <a:pos x="T6" y="T7"/>
                    </a:cxn>
                    <a:cxn ang="0">
                      <a:pos x="T8" y="T9"/>
                    </a:cxn>
                  </a:cxnLst>
                  <a:rect l="0" t="0" r="r" b="b"/>
                  <a:pathLst>
                    <a:path w="21" h="19">
                      <a:moveTo>
                        <a:pt x="19" y="2"/>
                      </a:moveTo>
                      <a:cubicBezTo>
                        <a:pt x="21" y="3"/>
                        <a:pt x="18" y="8"/>
                        <a:pt x="13" y="13"/>
                      </a:cubicBezTo>
                      <a:cubicBezTo>
                        <a:pt x="8" y="17"/>
                        <a:pt x="3" y="19"/>
                        <a:pt x="1" y="17"/>
                      </a:cubicBezTo>
                      <a:cubicBezTo>
                        <a:pt x="0" y="16"/>
                        <a:pt x="3" y="11"/>
                        <a:pt x="8" y="6"/>
                      </a:cubicBezTo>
                      <a:cubicBezTo>
                        <a:pt x="12" y="2"/>
                        <a:pt x="18" y="0"/>
                        <a:pt x="19" y="2"/>
                      </a:cubicBezTo>
                      <a:close/>
                    </a:path>
                  </a:pathLst>
                </a:custGeom>
                <a:solidFill>
                  <a:schemeClr val="accent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92" name="Freeform 40">
                  <a:extLst>
                    <a:ext uri="{FF2B5EF4-FFF2-40B4-BE49-F238E27FC236}">
                      <a16:creationId xmlns:a16="http://schemas.microsoft.com/office/drawing/2014/main" id="{DE5D0A25-9432-41E6-B2E0-25B835CB692F}"/>
                    </a:ext>
                  </a:extLst>
                </p:cNvPr>
                <p:cNvSpPr>
                  <a:spLocks/>
                </p:cNvSpPr>
                <p:nvPr/>
              </p:nvSpPr>
              <p:spPr bwMode="auto">
                <a:xfrm>
                  <a:off x="1584334" y="4644766"/>
                  <a:ext cx="120704" cy="127939"/>
                </a:xfrm>
                <a:custGeom>
                  <a:avLst/>
                  <a:gdLst>
                    <a:gd name="T0" fmla="*/ 80 w 136"/>
                    <a:gd name="T1" fmla="*/ 130 h 136"/>
                    <a:gd name="T2" fmla="*/ 6 w 136"/>
                    <a:gd name="T3" fmla="*/ 80 h 136"/>
                    <a:gd name="T4" fmla="*/ 56 w 136"/>
                    <a:gd name="T5" fmla="*/ 6 h 136"/>
                    <a:gd name="T6" fmla="*/ 130 w 136"/>
                    <a:gd name="T7" fmla="*/ 56 h 136"/>
                    <a:gd name="T8" fmla="*/ 80 w 136"/>
                    <a:gd name="T9" fmla="*/ 130 h 136"/>
                  </a:gdLst>
                  <a:ahLst/>
                  <a:cxnLst>
                    <a:cxn ang="0">
                      <a:pos x="T0" y="T1"/>
                    </a:cxn>
                    <a:cxn ang="0">
                      <a:pos x="T2" y="T3"/>
                    </a:cxn>
                    <a:cxn ang="0">
                      <a:pos x="T4" y="T5"/>
                    </a:cxn>
                    <a:cxn ang="0">
                      <a:pos x="T6" y="T7"/>
                    </a:cxn>
                    <a:cxn ang="0">
                      <a:pos x="T8" y="T9"/>
                    </a:cxn>
                  </a:cxnLst>
                  <a:rect l="0" t="0" r="r" b="b"/>
                  <a:pathLst>
                    <a:path w="136" h="136">
                      <a:moveTo>
                        <a:pt x="80" y="130"/>
                      </a:moveTo>
                      <a:cubicBezTo>
                        <a:pt x="46" y="136"/>
                        <a:pt x="13" y="114"/>
                        <a:pt x="6" y="80"/>
                      </a:cubicBezTo>
                      <a:cubicBezTo>
                        <a:pt x="0" y="46"/>
                        <a:pt x="22" y="13"/>
                        <a:pt x="56" y="6"/>
                      </a:cubicBezTo>
                      <a:cubicBezTo>
                        <a:pt x="90" y="0"/>
                        <a:pt x="123" y="22"/>
                        <a:pt x="130" y="56"/>
                      </a:cubicBezTo>
                      <a:cubicBezTo>
                        <a:pt x="136" y="90"/>
                        <a:pt x="114" y="123"/>
                        <a:pt x="80" y="130"/>
                      </a:cubicBezTo>
                      <a:close/>
                    </a:path>
                  </a:pathLst>
                </a:custGeom>
                <a:solidFill>
                  <a:schemeClr val="accent1"/>
                </a:solid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93" name="Freeform 41">
                  <a:extLst>
                    <a:ext uri="{FF2B5EF4-FFF2-40B4-BE49-F238E27FC236}">
                      <a16:creationId xmlns:a16="http://schemas.microsoft.com/office/drawing/2014/main" id="{4A38417E-1C05-425B-B4E7-42F6DD55BB6C}"/>
                    </a:ext>
                  </a:extLst>
                </p:cNvPr>
                <p:cNvSpPr>
                  <a:spLocks/>
                </p:cNvSpPr>
                <p:nvPr/>
              </p:nvSpPr>
              <p:spPr bwMode="auto">
                <a:xfrm>
                  <a:off x="1600354" y="4705782"/>
                  <a:ext cx="9686" cy="23620"/>
                </a:xfrm>
                <a:custGeom>
                  <a:avLst/>
                  <a:gdLst>
                    <a:gd name="T0" fmla="*/ 7 w 11"/>
                    <a:gd name="T1" fmla="*/ 24 h 25"/>
                    <a:gd name="T2" fmla="*/ 1 w 11"/>
                    <a:gd name="T3" fmla="*/ 13 h 25"/>
                    <a:gd name="T4" fmla="*/ 3 w 11"/>
                    <a:gd name="T5" fmla="*/ 1 h 25"/>
                    <a:gd name="T6" fmla="*/ 9 w 11"/>
                    <a:gd name="T7" fmla="*/ 12 h 25"/>
                    <a:gd name="T8" fmla="*/ 7 w 11"/>
                    <a:gd name="T9" fmla="*/ 24 h 25"/>
                  </a:gdLst>
                  <a:ahLst/>
                  <a:cxnLst>
                    <a:cxn ang="0">
                      <a:pos x="T0" y="T1"/>
                    </a:cxn>
                    <a:cxn ang="0">
                      <a:pos x="T2" y="T3"/>
                    </a:cxn>
                    <a:cxn ang="0">
                      <a:pos x="T4" y="T5"/>
                    </a:cxn>
                    <a:cxn ang="0">
                      <a:pos x="T6" y="T7"/>
                    </a:cxn>
                    <a:cxn ang="0">
                      <a:pos x="T8" y="T9"/>
                    </a:cxn>
                  </a:cxnLst>
                  <a:rect l="0" t="0" r="r" b="b"/>
                  <a:pathLst>
                    <a:path w="11" h="25">
                      <a:moveTo>
                        <a:pt x="7" y="24"/>
                      </a:moveTo>
                      <a:cubicBezTo>
                        <a:pt x="5" y="25"/>
                        <a:pt x="2" y="20"/>
                        <a:pt x="1" y="13"/>
                      </a:cubicBezTo>
                      <a:cubicBezTo>
                        <a:pt x="0" y="7"/>
                        <a:pt x="1" y="1"/>
                        <a:pt x="3" y="1"/>
                      </a:cubicBezTo>
                      <a:cubicBezTo>
                        <a:pt x="5" y="0"/>
                        <a:pt x="8" y="5"/>
                        <a:pt x="9" y="12"/>
                      </a:cubicBezTo>
                      <a:cubicBezTo>
                        <a:pt x="11" y="18"/>
                        <a:pt x="10" y="24"/>
                        <a:pt x="7" y="24"/>
                      </a:cubicBezTo>
                      <a:close/>
                    </a:path>
                  </a:pathLst>
                </a:custGeom>
                <a:solidFill>
                  <a:schemeClr val="accent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219170">
                    <a:defRPr/>
                  </a:pPr>
                  <a:endParaRPr lang="en-US" sz="1000" kern="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grpSp>
        </p:grpSp>
        <p:grpSp>
          <p:nvGrpSpPr>
            <p:cNvPr id="133" name="Group 132">
              <a:extLst>
                <a:ext uri="{FF2B5EF4-FFF2-40B4-BE49-F238E27FC236}">
                  <a16:creationId xmlns:a16="http://schemas.microsoft.com/office/drawing/2014/main" id="{56C151CF-9D77-C93F-E4F6-7AD22CC3BFE5}"/>
                </a:ext>
              </a:extLst>
            </p:cNvPr>
            <p:cNvGrpSpPr/>
            <p:nvPr/>
          </p:nvGrpSpPr>
          <p:grpSpPr>
            <a:xfrm>
              <a:off x="2159285" y="4419408"/>
              <a:ext cx="750526" cy="785210"/>
              <a:chOff x="2307255" y="4419408"/>
              <a:chExt cx="750526" cy="785210"/>
            </a:xfrm>
          </p:grpSpPr>
          <p:sp>
            <p:nvSpPr>
              <p:cNvPr id="126" name="Freeform 64">
                <a:extLst>
                  <a:ext uri="{FF2B5EF4-FFF2-40B4-BE49-F238E27FC236}">
                    <a16:creationId xmlns:a16="http://schemas.microsoft.com/office/drawing/2014/main" id="{E84D9C29-7E63-8556-2AD3-03DA10696D46}"/>
                  </a:ext>
                </a:extLst>
              </p:cNvPr>
              <p:cNvSpPr>
                <a:spLocks/>
              </p:cNvSpPr>
              <p:nvPr/>
            </p:nvSpPr>
            <p:spPr bwMode="auto">
              <a:xfrm>
                <a:off x="2416621" y="4419408"/>
                <a:ext cx="512064" cy="507402"/>
              </a:xfrm>
              <a:prstGeom prst="ellipse">
                <a:avLst/>
              </a:prstGeom>
              <a:solidFill>
                <a:schemeClr val="accent1"/>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70" name="TextBox 37">
                <a:extLst>
                  <a:ext uri="{FF2B5EF4-FFF2-40B4-BE49-F238E27FC236}">
                    <a16:creationId xmlns:a16="http://schemas.microsoft.com/office/drawing/2014/main" id="{8D465930-9906-4F0C-B8DE-BA1C2A00671E}"/>
                  </a:ext>
                </a:extLst>
              </p:cNvPr>
              <p:cNvSpPr txBox="1">
                <a:spLocks noChangeArrowheads="1"/>
              </p:cNvSpPr>
              <p:nvPr/>
            </p:nvSpPr>
            <p:spPr bwMode="auto">
              <a:xfrm>
                <a:off x="2307255" y="4958397"/>
                <a:ext cx="7505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377" fontAlgn="base">
                  <a:spcBef>
                    <a:spcPct val="0"/>
                  </a:spcBef>
                  <a:spcAft>
                    <a:spcPct val="0"/>
                  </a:spcAft>
                  <a:defRPr/>
                </a:pPr>
                <a:r>
                  <a:rPr lang="en-US" sz="1000" b="1" noProof="0">
                    <a:solidFill>
                      <a:schemeClr val="accent1"/>
                    </a:solidFill>
                    <a:latin typeface="Arial" panose="020B0604020202020204" pitchFamily="34" charset="0"/>
                    <a:ea typeface="Apis For Office" panose="020B0504010101010104" pitchFamily="34" charset="0"/>
                  </a:rPr>
                  <a:t>Pancreas</a:t>
                </a:r>
              </a:p>
            </p:txBody>
          </p:sp>
          <p:sp>
            <p:nvSpPr>
              <p:cNvPr id="76" name="Freeform 74">
                <a:extLst>
                  <a:ext uri="{FF2B5EF4-FFF2-40B4-BE49-F238E27FC236}">
                    <a16:creationId xmlns:a16="http://schemas.microsoft.com/office/drawing/2014/main" id="{8196C52F-4435-43C6-8733-7BA41181768B}"/>
                  </a:ext>
                </a:extLst>
              </p:cNvPr>
              <p:cNvSpPr>
                <a:spLocks/>
              </p:cNvSpPr>
              <p:nvPr/>
            </p:nvSpPr>
            <p:spPr bwMode="auto">
              <a:xfrm>
                <a:off x="2477023" y="4519584"/>
                <a:ext cx="378072" cy="292432"/>
              </a:xfrm>
              <a:custGeom>
                <a:avLst/>
                <a:gdLst>
                  <a:gd name="T0" fmla="*/ 459 w 1256"/>
                  <a:gd name="T1" fmla="*/ 281 h 920"/>
                  <a:gd name="T2" fmla="*/ 523 w 1256"/>
                  <a:gd name="T3" fmla="*/ 262 h 920"/>
                  <a:gd name="T4" fmla="*/ 605 w 1256"/>
                  <a:gd name="T5" fmla="*/ 260 h 920"/>
                  <a:gd name="T6" fmla="*/ 643 w 1256"/>
                  <a:gd name="T7" fmla="*/ 262 h 920"/>
                  <a:gd name="T8" fmla="*/ 678 w 1256"/>
                  <a:gd name="T9" fmla="*/ 261 h 920"/>
                  <a:gd name="T10" fmla="*/ 751 w 1256"/>
                  <a:gd name="T11" fmla="*/ 246 h 920"/>
                  <a:gd name="T12" fmla="*/ 763 w 1256"/>
                  <a:gd name="T13" fmla="*/ 241 h 920"/>
                  <a:gd name="T14" fmla="*/ 861 w 1256"/>
                  <a:gd name="T15" fmla="*/ 205 h 920"/>
                  <a:gd name="T16" fmla="*/ 939 w 1256"/>
                  <a:gd name="T17" fmla="*/ 151 h 920"/>
                  <a:gd name="T18" fmla="*/ 995 w 1256"/>
                  <a:gd name="T19" fmla="*/ 98 h 920"/>
                  <a:gd name="T20" fmla="*/ 1007 w 1256"/>
                  <a:gd name="T21" fmla="*/ 89 h 920"/>
                  <a:gd name="T22" fmla="*/ 1071 w 1256"/>
                  <a:gd name="T23" fmla="*/ 55 h 920"/>
                  <a:gd name="T24" fmla="*/ 1128 w 1256"/>
                  <a:gd name="T25" fmla="*/ 31 h 920"/>
                  <a:gd name="T26" fmla="*/ 1182 w 1256"/>
                  <a:gd name="T27" fmla="*/ 5 h 920"/>
                  <a:gd name="T28" fmla="*/ 1233 w 1256"/>
                  <a:gd name="T29" fmla="*/ 24 h 920"/>
                  <a:gd name="T30" fmla="*/ 1233 w 1256"/>
                  <a:gd name="T31" fmla="*/ 78 h 920"/>
                  <a:gd name="T32" fmla="*/ 1236 w 1256"/>
                  <a:gd name="T33" fmla="*/ 142 h 920"/>
                  <a:gd name="T34" fmla="*/ 1218 w 1256"/>
                  <a:gd name="T35" fmla="*/ 200 h 920"/>
                  <a:gd name="T36" fmla="*/ 1180 w 1256"/>
                  <a:gd name="T37" fmla="*/ 261 h 920"/>
                  <a:gd name="T38" fmla="*/ 1155 w 1256"/>
                  <a:gd name="T39" fmla="*/ 287 h 920"/>
                  <a:gd name="T40" fmla="*/ 1108 w 1256"/>
                  <a:gd name="T41" fmla="*/ 352 h 920"/>
                  <a:gd name="T42" fmla="*/ 1080 w 1256"/>
                  <a:gd name="T43" fmla="*/ 389 h 920"/>
                  <a:gd name="T44" fmla="*/ 1030 w 1256"/>
                  <a:gd name="T45" fmla="*/ 432 h 920"/>
                  <a:gd name="T46" fmla="*/ 977 w 1256"/>
                  <a:gd name="T47" fmla="*/ 471 h 920"/>
                  <a:gd name="T48" fmla="*/ 920 w 1256"/>
                  <a:gd name="T49" fmla="*/ 515 h 920"/>
                  <a:gd name="T50" fmla="*/ 834 w 1256"/>
                  <a:gd name="T51" fmla="*/ 541 h 920"/>
                  <a:gd name="T52" fmla="*/ 787 w 1256"/>
                  <a:gd name="T53" fmla="*/ 547 h 920"/>
                  <a:gd name="T54" fmla="*/ 728 w 1256"/>
                  <a:gd name="T55" fmla="*/ 566 h 920"/>
                  <a:gd name="T56" fmla="*/ 671 w 1256"/>
                  <a:gd name="T57" fmla="*/ 577 h 920"/>
                  <a:gd name="T58" fmla="*/ 643 w 1256"/>
                  <a:gd name="T59" fmla="*/ 590 h 920"/>
                  <a:gd name="T60" fmla="*/ 583 w 1256"/>
                  <a:gd name="T61" fmla="*/ 615 h 920"/>
                  <a:gd name="T62" fmla="*/ 530 w 1256"/>
                  <a:gd name="T63" fmla="*/ 652 h 920"/>
                  <a:gd name="T64" fmla="*/ 502 w 1256"/>
                  <a:gd name="T65" fmla="*/ 688 h 920"/>
                  <a:gd name="T66" fmla="*/ 502 w 1256"/>
                  <a:gd name="T67" fmla="*/ 732 h 920"/>
                  <a:gd name="T68" fmla="*/ 432 w 1256"/>
                  <a:gd name="T69" fmla="*/ 816 h 920"/>
                  <a:gd name="T70" fmla="*/ 404 w 1256"/>
                  <a:gd name="T71" fmla="*/ 844 h 920"/>
                  <a:gd name="T72" fmla="*/ 362 w 1256"/>
                  <a:gd name="T73" fmla="*/ 879 h 920"/>
                  <a:gd name="T74" fmla="*/ 327 w 1256"/>
                  <a:gd name="T75" fmla="*/ 882 h 920"/>
                  <a:gd name="T76" fmla="*/ 258 w 1256"/>
                  <a:gd name="T77" fmla="*/ 898 h 920"/>
                  <a:gd name="T78" fmla="*/ 127 w 1256"/>
                  <a:gd name="T79" fmla="*/ 852 h 920"/>
                  <a:gd name="T80" fmla="*/ 88 w 1256"/>
                  <a:gd name="T81" fmla="*/ 812 h 920"/>
                  <a:gd name="T82" fmla="*/ 22 w 1256"/>
                  <a:gd name="T83" fmla="*/ 672 h 920"/>
                  <a:gd name="T84" fmla="*/ 15 w 1256"/>
                  <a:gd name="T85" fmla="*/ 606 h 920"/>
                  <a:gd name="T86" fmla="*/ 31 w 1256"/>
                  <a:gd name="T87" fmla="*/ 520 h 920"/>
                  <a:gd name="T88" fmla="*/ 49 w 1256"/>
                  <a:gd name="T89" fmla="*/ 480 h 920"/>
                  <a:gd name="T90" fmla="*/ 69 w 1256"/>
                  <a:gd name="T91" fmla="*/ 441 h 920"/>
                  <a:gd name="T92" fmla="*/ 115 w 1256"/>
                  <a:gd name="T93" fmla="*/ 373 h 920"/>
                  <a:gd name="T94" fmla="*/ 187 w 1256"/>
                  <a:gd name="T95" fmla="*/ 315 h 920"/>
                  <a:gd name="T96" fmla="*/ 221 w 1256"/>
                  <a:gd name="T97" fmla="*/ 299 h 920"/>
                  <a:gd name="T98" fmla="*/ 273 w 1256"/>
                  <a:gd name="T99" fmla="*/ 290 h 920"/>
                  <a:gd name="T100" fmla="*/ 347 w 1256"/>
                  <a:gd name="T101" fmla="*/ 285 h 920"/>
                  <a:gd name="T102" fmla="*/ 388 w 1256"/>
                  <a:gd name="T103" fmla="*/ 270 h 920"/>
                  <a:gd name="T104" fmla="*/ 459 w 1256"/>
                  <a:gd name="T105" fmla="*/ 28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6" h="920">
                    <a:moveTo>
                      <a:pt x="459" y="281"/>
                    </a:moveTo>
                    <a:cubicBezTo>
                      <a:pt x="476" y="258"/>
                      <a:pt x="499" y="256"/>
                      <a:pt x="523" y="262"/>
                    </a:cubicBezTo>
                    <a:cubicBezTo>
                      <a:pt x="551" y="269"/>
                      <a:pt x="577" y="269"/>
                      <a:pt x="605" y="260"/>
                    </a:cubicBezTo>
                    <a:cubicBezTo>
                      <a:pt x="616" y="257"/>
                      <a:pt x="630" y="262"/>
                      <a:pt x="643" y="262"/>
                    </a:cubicBezTo>
                    <a:cubicBezTo>
                      <a:pt x="655" y="263"/>
                      <a:pt x="669" y="266"/>
                      <a:pt x="678" y="261"/>
                    </a:cubicBezTo>
                    <a:cubicBezTo>
                      <a:pt x="702" y="250"/>
                      <a:pt x="725" y="242"/>
                      <a:pt x="751" y="246"/>
                    </a:cubicBezTo>
                    <a:cubicBezTo>
                      <a:pt x="755" y="246"/>
                      <a:pt x="761" y="244"/>
                      <a:pt x="763" y="241"/>
                    </a:cubicBezTo>
                    <a:cubicBezTo>
                      <a:pt x="789" y="211"/>
                      <a:pt x="821" y="200"/>
                      <a:pt x="861" y="205"/>
                    </a:cubicBezTo>
                    <a:cubicBezTo>
                      <a:pt x="866" y="159"/>
                      <a:pt x="901" y="153"/>
                      <a:pt x="939" y="151"/>
                    </a:cubicBezTo>
                    <a:cubicBezTo>
                      <a:pt x="946" y="120"/>
                      <a:pt x="962" y="100"/>
                      <a:pt x="995" y="98"/>
                    </a:cubicBezTo>
                    <a:cubicBezTo>
                      <a:pt x="999" y="98"/>
                      <a:pt x="1003" y="93"/>
                      <a:pt x="1007" y="89"/>
                    </a:cubicBezTo>
                    <a:cubicBezTo>
                      <a:pt x="1024" y="70"/>
                      <a:pt x="1046" y="61"/>
                      <a:pt x="1071" y="55"/>
                    </a:cubicBezTo>
                    <a:cubicBezTo>
                      <a:pt x="1091" y="50"/>
                      <a:pt x="1110" y="39"/>
                      <a:pt x="1128" y="31"/>
                    </a:cubicBezTo>
                    <a:cubicBezTo>
                      <a:pt x="1146" y="22"/>
                      <a:pt x="1163" y="10"/>
                      <a:pt x="1182" y="5"/>
                    </a:cubicBezTo>
                    <a:cubicBezTo>
                      <a:pt x="1201" y="0"/>
                      <a:pt x="1220" y="6"/>
                      <a:pt x="1233" y="24"/>
                    </a:cubicBezTo>
                    <a:cubicBezTo>
                      <a:pt x="1245" y="41"/>
                      <a:pt x="1246" y="60"/>
                      <a:pt x="1233" y="78"/>
                    </a:cubicBezTo>
                    <a:cubicBezTo>
                      <a:pt x="1255" y="104"/>
                      <a:pt x="1256" y="114"/>
                      <a:pt x="1236" y="142"/>
                    </a:cubicBezTo>
                    <a:cubicBezTo>
                      <a:pt x="1223" y="160"/>
                      <a:pt x="1217" y="178"/>
                      <a:pt x="1218" y="200"/>
                    </a:cubicBezTo>
                    <a:cubicBezTo>
                      <a:pt x="1220" y="231"/>
                      <a:pt x="1207" y="247"/>
                      <a:pt x="1180" y="261"/>
                    </a:cubicBezTo>
                    <a:cubicBezTo>
                      <a:pt x="1170" y="266"/>
                      <a:pt x="1159" y="277"/>
                      <a:pt x="1155" y="287"/>
                    </a:cubicBezTo>
                    <a:cubicBezTo>
                      <a:pt x="1146" y="314"/>
                      <a:pt x="1130" y="334"/>
                      <a:pt x="1108" y="352"/>
                    </a:cubicBezTo>
                    <a:cubicBezTo>
                      <a:pt x="1096" y="361"/>
                      <a:pt x="1086" y="375"/>
                      <a:pt x="1080" y="389"/>
                    </a:cubicBezTo>
                    <a:cubicBezTo>
                      <a:pt x="1069" y="412"/>
                      <a:pt x="1056" y="428"/>
                      <a:pt x="1030" y="432"/>
                    </a:cubicBezTo>
                    <a:cubicBezTo>
                      <a:pt x="1006" y="436"/>
                      <a:pt x="988" y="449"/>
                      <a:pt x="977" y="471"/>
                    </a:cubicBezTo>
                    <a:cubicBezTo>
                      <a:pt x="965" y="494"/>
                      <a:pt x="945" y="508"/>
                      <a:pt x="920" y="515"/>
                    </a:cubicBezTo>
                    <a:cubicBezTo>
                      <a:pt x="892" y="523"/>
                      <a:pt x="863" y="534"/>
                      <a:pt x="834" y="541"/>
                    </a:cubicBezTo>
                    <a:cubicBezTo>
                      <a:pt x="819" y="545"/>
                      <a:pt x="803" y="548"/>
                      <a:pt x="787" y="547"/>
                    </a:cubicBezTo>
                    <a:cubicBezTo>
                      <a:pt x="764" y="545"/>
                      <a:pt x="746" y="551"/>
                      <a:pt x="728" y="566"/>
                    </a:cubicBezTo>
                    <a:cubicBezTo>
                      <a:pt x="711" y="579"/>
                      <a:pt x="693" y="587"/>
                      <a:pt x="671" y="577"/>
                    </a:cubicBezTo>
                    <a:cubicBezTo>
                      <a:pt x="659" y="572"/>
                      <a:pt x="648" y="578"/>
                      <a:pt x="643" y="590"/>
                    </a:cubicBezTo>
                    <a:cubicBezTo>
                      <a:pt x="630" y="616"/>
                      <a:pt x="610" y="620"/>
                      <a:pt x="583" y="615"/>
                    </a:cubicBezTo>
                    <a:cubicBezTo>
                      <a:pt x="547" y="608"/>
                      <a:pt x="537" y="616"/>
                      <a:pt x="530" y="652"/>
                    </a:cubicBezTo>
                    <a:cubicBezTo>
                      <a:pt x="527" y="670"/>
                      <a:pt x="522" y="685"/>
                      <a:pt x="502" y="688"/>
                    </a:cubicBezTo>
                    <a:cubicBezTo>
                      <a:pt x="502" y="703"/>
                      <a:pt x="504" y="718"/>
                      <a:pt x="502" y="732"/>
                    </a:cubicBezTo>
                    <a:cubicBezTo>
                      <a:pt x="496" y="774"/>
                      <a:pt x="473" y="803"/>
                      <a:pt x="432" y="816"/>
                    </a:cubicBezTo>
                    <a:cubicBezTo>
                      <a:pt x="417" y="820"/>
                      <a:pt x="407" y="826"/>
                      <a:pt x="404" y="844"/>
                    </a:cubicBezTo>
                    <a:cubicBezTo>
                      <a:pt x="401" y="866"/>
                      <a:pt x="382" y="875"/>
                      <a:pt x="362" y="879"/>
                    </a:cubicBezTo>
                    <a:cubicBezTo>
                      <a:pt x="351" y="881"/>
                      <a:pt x="338" y="880"/>
                      <a:pt x="327" y="882"/>
                    </a:cubicBezTo>
                    <a:cubicBezTo>
                      <a:pt x="303" y="886"/>
                      <a:pt x="278" y="887"/>
                      <a:pt x="258" y="898"/>
                    </a:cubicBezTo>
                    <a:cubicBezTo>
                      <a:pt x="215" y="920"/>
                      <a:pt x="145" y="911"/>
                      <a:pt x="127" y="852"/>
                    </a:cubicBezTo>
                    <a:cubicBezTo>
                      <a:pt x="121" y="832"/>
                      <a:pt x="106" y="821"/>
                      <a:pt x="88" y="812"/>
                    </a:cubicBezTo>
                    <a:cubicBezTo>
                      <a:pt x="26" y="783"/>
                      <a:pt x="4" y="737"/>
                      <a:pt x="22" y="672"/>
                    </a:cubicBezTo>
                    <a:cubicBezTo>
                      <a:pt x="28" y="649"/>
                      <a:pt x="26" y="627"/>
                      <a:pt x="15" y="606"/>
                    </a:cubicBezTo>
                    <a:cubicBezTo>
                      <a:pt x="0" y="574"/>
                      <a:pt x="2" y="546"/>
                      <a:pt x="31" y="520"/>
                    </a:cubicBezTo>
                    <a:cubicBezTo>
                      <a:pt x="41" y="511"/>
                      <a:pt x="43" y="494"/>
                      <a:pt x="49" y="480"/>
                    </a:cubicBezTo>
                    <a:cubicBezTo>
                      <a:pt x="55" y="467"/>
                      <a:pt x="59" y="450"/>
                      <a:pt x="69" y="441"/>
                    </a:cubicBezTo>
                    <a:cubicBezTo>
                      <a:pt x="91" y="422"/>
                      <a:pt x="106" y="400"/>
                      <a:pt x="115" y="373"/>
                    </a:cubicBezTo>
                    <a:cubicBezTo>
                      <a:pt x="127" y="338"/>
                      <a:pt x="148" y="317"/>
                      <a:pt x="187" y="315"/>
                    </a:cubicBezTo>
                    <a:cubicBezTo>
                      <a:pt x="199" y="315"/>
                      <a:pt x="211" y="306"/>
                      <a:pt x="221" y="299"/>
                    </a:cubicBezTo>
                    <a:cubicBezTo>
                      <a:pt x="237" y="287"/>
                      <a:pt x="254" y="283"/>
                      <a:pt x="273" y="290"/>
                    </a:cubicBezTo>
                    <a:cubicBezTo>
                      <a:pt x="299" y="299"/>
                      <a:pt x="323" y="295"/>
                      <a:pt x="347" y="285"/>
                    </a:cubicBezTo>
                    <a:cubicBezTo>
                      <a:pt x="361" y="280"/>
                      <a:pt x="374" y="274"/>
                      <a:pt x="388" y="270"/>
                    </a:cubicBezTo>
                    <a:cubicBezTo>
                      <a:pt x="412" y="263"/>
                      <a:pt x="436" y="263"/>
                      <a:pt x="459" y="28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050" noProof="0">
                  <a:latin typeface="Arial" panose="020B0604020202020204" pitchFamily="34" charset="0"/>
                  <a:ea typeface="Apis For Office" panose="020B0504010101010104" pitchFamily="34" charset="0"/>
                  <a:cs typeface="Arial" panose="020B0604020202020204" pitchFamily="34" charset="0"/>
                </a:endParaRPr>
              </a:p>
            </p:txBody>
          </p:sp>
          <p:sp>
            <p:nvSpPr>
              <p:cNvPr id="78" name="Freeform 76">
                <a:extLst>
                  <a:ext uri="{FF2B5EF4-FFF2-40B4-BE49-F238E27FC236}">
                    <a16:creationId xmlns:a16="http://schemas.microsoft.com/office/drawing/2014/main" id="{C1FEB94C-FCE0-4D1C-8200-842D643EE8C0}"/>
                  </a:ext>
                </a:extLst>
              </p:cNvPr>
              <p:cNvSpPr>
                <a:spLocks/>
              </p:cNvSpPr>
              <p:nvPr/>
            </p:nvSpPr>
            <p:spPr bwMode="auto">
              <a:xfrm>
                <a:off x="2380539" y="4573606"/>
                <a:ext cx="37206" cy="60185"/>
              </a:xfrm>
              <a:custGeom>
                <a:avLst/>
                <a:gdLst>
                  <a:gd name="T0" fmla="*/ 40 w 162"/>
                  <a:gd name="T1" fmla="*/ 223 h 248"/>
                  <a:gd name="T2" fmla="*/ 37 w 162"/>
                  <a:gd name="T3" fmla="*/ 227 h 248"/>
                  <a:gd name="T4" fmla="*/ 18 w 162"/>
                  <a:gd name="T5" fmla="*/ 241 h 248"/>
                  <a:gd name="T6" fmla="*/ 0 w 162"/>
                  <a:gd name="T7" fmla="*/ 218 h 248"/>
                  <a:gd name="T8" fmla="*/ 7 w 162"/>
                  <a:gd name="T9" fmla="*/ 140 h 248"/>
                  <a:gd name="T10" fmla="*/ 84 w 162"/>
                  <a:gd name="T11" fmla="*/ 16 h 248"/>
                  <a:gd name="T12" fmla="*/ 136 w 162"/>
                  <a:gd name="T13" fmla="*/ 7 h 248"/>
                  <a:gd name="T14" fmla="*/ 160 w 162"/>
                  <a:gd name="T15" fmla="*/ 50 h 248"/>
                  <a:gd name="T16" fmla="*/ 160 w 162"/>
                  <a:gd name="T17" fmla="*/ 56 h 248"/>
                  <a:gd name="T18" fmla="*/ 134 w 162"/>
                  <a:gd name="T19" fmla="*/ 92 h 248"/>
                  <a:gd name="T20" fmla="*/ 134 w 162"/>
                  <a:gd name="T21" fmla="*/ 49 h 248"/>
                  <a:gd name="T22" fmla="*/ 104 w 162"/>
                  <a:gd name="T23" fmla="*/ 35 h 248"/>
                  <a:gd name="T24" fmla="*/ 24 w 162"/>
                  <a:gd name="T25" fmla="*/ 202 h 248"/>
                  <a:gd name="T26" fmla="*/ 40 w 162"/>
                  <a:gd name="T27" fmla="*/ 22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248">
                    <a:moveTo>
                      <a:pt x="40" y="223"/>
                    </a:moveTo>
                    <a:cubicBezTo>
                      <a:pt x="41" y="222"/>
                      <a:pt x="39" y="225"/>
                      <a:pt x="37" y="227"/>
                    </a:cubicBezTo>
                    <a:cubicBezTo>
                      <a:pt x="32" y="234"/>
                      <a:pt x="30" y="248"/>
                      <a:pt x="18" y="241"/>
                    </a:cubicBezTo>
                    <a:cubicBezTo>
                      <a:pt x="10" y="236"/>
                      <a:pt x="0" y="226"/>
                      <a:pt x="0" y="218"/>
                    </a:cubicBezTo>
                    <a:cubicBezTo>
                      <a:pt x="0" y="192"/>
                      <a:pt x="0" y="165"/>
                      <a:pt x="7" y="140"/>
                    </a:cubicBezTo>
                    <a:cubicBezTo>
                      <a:pt x="20" y="91"/>
                      <a:pt x="47" y="50"/>
                      <a:pt x="84" y="16"/>
                    </a:cubicBezTo>
                    <a:cubicBezTo>
                      <a:pt x="100" y="2"/>
                      <a:pt x="118" y="0"/>
                      <a:pt x="136" y="7"/>
                    </a:cubicBezTo>
                    <a:cubicBezTo>
                      <a:pt x="155" y="15"/>
                      <a:pt x="159" y="32"/>
                      <a:pt x="160" y="50"/>
                    </a:cubicBezTo>
                    <a:cubicBezTo>
                      <a:pt x="160" y="52"/>
                      <a:pt x="160" y="54"/>
                      <a:pt x="160" y="56"/>
                    </a:cubicBezTo>
                    <a:cubicBezTo>
                      <a:pt x="162" y="76"/>
                      <a:pt x="158" y="91"/>
                      <a:pt x="134" y="92"/>
                    </a:cubicBezTo>
                    <a:cubicBezTo>
                      <a:pt x="134" y="78"/>
                      <a:pt x="135" y="64"/>
                      <a:pt x="134" y="49"/>
                    </a:cubicBezTo>
                    <a:cubicBezTo>
                      <a:pt x="132" y="30"/>
                      <a:pt x="117" y="22"/>
                      <a:pt x="104" y="35"/>
                    </a:cubicBezTo>
                    <a:cubicBezTo>
                      <a:pt x="55" y="80"/>
                      <a:pt x="23" y="134"/>
                      <a:pt x="24" y="202"/>
                    </a:cubicBezTo>
                    <a:cubicBezTo>
                      <a:pt x="24" y="208"/>
                      <a:pt x="33" y="214"/>
                      <a:pt x="40" y="2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050" noProof="0">
                  <a:latin typeface="Arial" panose="020B0604020202020204" pitchFamily="34" charset="0"/>
                  <a:ea typeface="Apis For Office" panose="020B0504010101010104" pitchFamily="34" charset="0"/>
                  <a:cs typeface="Arial" panose="020B0604020202020204" pitchFamily="34" charset="0"/>
                </a:endParaRPr>
              </a:p>
            </p:txBody>
          </p:sp>
        </p:grpSp>
        <p:sp>
          <p:nvSpPr>
            <p:cNvPr id="10" name="TextBox 18">
              <a:extLst>
                <a:ext uri="{FF2B5EF4-FFF2-40B4-BE49-F238E27FC236}">
                  <a16:creationId xmlns:a16="http://schemas.microsoft.com/office/drawing/2014/main" id="{AA2208F2-5BAE-412B-9DCF-E3A40172EB0B}"/>
                </a:ext>
              </a:extLst>
            </p:cNvPr>
            <p:cNvSpPr txBox="1">
              <a:spLocks noChangeArrowheads="1"/>
            </p:cNvSpPr>
            <p:nvPr/>
          </p:nvSpPr>
          <p:spPr bwMode="auto">
            <a:xfrm>
              <a:off x="1103868" y="2815046"/>
              <a:ext cx="66396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defTabSz="914377" fontAlgn="base">
                <a:spcBef>
                  <a:spcPct val="0"/>
                </a:spcBef>
                <a:spcAft>
                  <a:spcPct val="0"/>
                </a:spcAft>
                <a:defRPr/>
              </a:pPr>
              <a:r>
                <a:rPr lang="en-US" sz="1100" b="1" noProof="0">
                  <a:solidFill>
                    <a:schemeClr val="accent1"/>
                  </a:solidFill>
                  <a:latin typeface="Arial" panose="020B0604020202020204" pitchFamily="34" charset="0"/>
                  <a:ea typeface="Apis For Office" panose="020B0504010101010104" pitchFamily="34" charset="0"/>
                </a:rPr>
                <a:t>Energy</a:t>
              </a:r>
              <a:br>
                <a:rPr lang="en-US" sz="1100" b="1" noProof="0">
                  <a:solidFill>
                    <a:schemeClr val="accent1"/>
                  </a:solidFill>
                  <a:latin typeface="Arial" panose="020B0604020202020204" pitchFamily="34" charset="0"/>
                  <a:ea typeface="Apis For Office" panose="020B0504010101010104" pitchFamily="34" charset="0"/>
                </a:rPr>
              </a:br>
              <a:r>
                <a:rPr lang="en-US" sz="1100" b="1" noProof="0">
                  <a:solidFill>
                    <a:schemeClr val="accent1"/>
                  </a:solidFill>
                  <a:latin typeface="Arial" panose="020B0604020202020204" pitchFamily="34" charset="0"/>
                  <a:ea typeface="Apis For Office" panose="020B0504010101010104" pitchFamily="34" charset="0"/>
                </a:rPr>
                <a:t>intake</a:t>
              </a:r>
            </a:p>
          </p:txBody>
        </p:sp>
        <p:sp>
          <p:nvSpPr>
            <p:cNvPr id="11" name="TextBox 18">
              <a:extLst>
                <a:ext uri="{FF2B5EF4-FFF2-40B4-BE49-F238E27FC236}">
                  <a16:creationId xmlns:a16="http://schemas.microsoft.com/office/drawing/2014/main" id="{44806143-028E-424F-9DA8-B160AC1D542F}"/>
                </a:ext>
              </a:extLst>
            </p:cNvPr>
            <p:cNvSpPr txBox="1">
              <a:spLocks noChangeArrowheads="1"/>
            </p:cNvSpPr>
            <p:nvPr/>
          </p:nvSpPr>
          <p:spPr bwMode="auto">
            <a:xfrm>
              <a:off x="3279017" y="2735490"/>
              <a:ext cx="2773423"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377" fontAlgn="base">
                <a:spcBef>
                  <a:spcPct val="0"/>
                </a:spcBef>
                <a:spcAft>
                  <a:spcPct val="0"/>
                </a:spcAft>
                <a:defRPr/>
              </a:pPr>
              <a:r>
                <a:rPr lang="en-US" sz="1100" b="1" noProof="0">
                  <a:solidFill>
                    <a:schemeClr val="accent1"/>
                  </a:solidFill>
                  <a:latin typeface="Arial" panose="020B0604020202020204" pitchFamily="34" charset="0"/>
                  <a:ea typeface="Apis For Office" panose="020B0504010101010104" pitchFamily="34" charset="0"/>
                </a:rPr>
                <a:t>Energy expenditure</a:t>
              </a:r>
            </a:p>
            <a:p>
              <a:pPr defTabSz="914377" fontAlgn="base">
                <a:spcBef>
                  <a:spcPct val="0"/>
                </a:spcBef>
                <a:spcAft>
                  <a:spcPct val="0"/>
                </a:spcAft>
                <a:defRPr/>
              </a:pPr>
              <a:r>
                <a:rPr lang="en-US" sz="1050" i="1" noProof="0">
                  <a:solidFill>
                    <a:schemeClr val="accent1"/>
                  </a:solidFill>
                  <a:latin typeface="Arial" panose="020B0604020202020204" pitchFamily="34" charset="0"/>
                  <a:ea typeface="Apis For Office" panose="020B0504010101010104" pitchFamily="34" charset="0"/>
                </a:rPr>
                <a:t>(Resting metabolic rate, thermic effect of food, physical activity)</a:t>
              </a:r>
            </a:p>
          </p:txBody>
        </p:sp>
        <p:grpSp>
          <p:nvGrpSpPr>
            <p:cNvPr id="182" name="Group 181">
              <a:extLst>
                <a:ext uri="{FF2B5EF4-FFF2-40B4-BE49-F238E27FC236}">
                  <a16:creationId xmlns:a16="http://schemas.microsoft.com/office/drawing/2014/main" id="{C5F2E6D3-A9EA-ECB0-EF3A-4E38D2BEEEF4}"/>
                </a:ext>
              </a:extLst>
            </p:cNvPr>
            <p:cNvGrpSpPr/>
            <p:nvPr/>
          </p:nvGrpSpPr>
          <p:grpSpPr>
            <a:xfrm>
              <a:off x="4553889" y="3445446"/>
              <a:ext cx="512064" cy="507402"/>
              <a:chOff x="3828690" y="3478787"/>
              <a:chExt cx="512064" cy="507402"/>
            </a:xfrm>
          </p:grpSpPr>
          <p:sp>
            <p:nvSpPr>
              <p:cNvPr id="174" name="Freeform 64">
                <a:extLst>
                  <a:ext uri="{FF2B5EF4-FFF2-40B4-BE49-F238E27FC236}">
                    <a16:creationId xmlns:a16="http://schemas.microsoft.com/office/drawing/2014/main" id="{A6E3206D-385C-F86F-4A3B-DDE7526F4E4A}"/>
                  </a:ext>
                </a:extLst>
              </p:cNvPr>
              <p:cNvSpPr>
                <a:spLocks/>
              </p:cNvSpPr>
              <p:nvPr/>
            </p:nvSpPr>
            <p:spPr bwMode="auto">
              <a:xfrm>
                <a:off x="3828690" y="3478787"/>
                <a:ext cx="512064" cy="507402"/>
              </a:xfrm>
              <a:prstGeom prst="ellipse">
                <a:avLst/>
              </a:prstGeom>
              <a:solidFill>
                <a:schemeClr val="accent3"/>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grpSp>
            <p:nvGrpSpPr>
              <p:cNvPr id="175" name="Group 174">
                <a:extLst>
                  <a:ext uri="{FF2B5EF4-FFF2-40B4-BE49-F238E27FC236}">
                    <a16:creationId xmlns:a16="http://schemas.microsoft.com/office/drawing/2014/main" id="{2270BAF8-DF63-82BD-B954-4417147F757A}"/>
                  </a:ext>
                </a:extLst>
              </p:cNvPr>
              <p:cNvGrpSpPr/>
              <p:nvPr/>
            </p:nvGrpSpPr>
            <p:grpSpPr>
              <a:xfrm>
                <a:off x="3897242" y="3530685"/>
                <a:ext cx="374960" cy="397142"/>
                <a:chOff x="4276725" y="3764321"/>
                <a:chExt cx="429923" cy="455357"/>
              </a:xfrm>
            </p:grpSpPr>
            <p:sp>
              <p:nvSpPr>
                <p:cNvPr id="47" name="Freeform 258">
                  <a:extLst>
                    <a:ext uri="{FF2B5EF4-FFF2-40B4-BE49-F238E27FC236}">
                      <a16:creationId xmlns:a16="http://schemas.microsoft.com/office/drawing/2014/main" id="{5A3A0E52-BCA5-4B8C-97C4-60F84D173555}"/>
                    </a:ext>
                  </a:extLst>
                </p:cNvPr>
                <p:cNvSpPr>
                  <a:spLocks/>
                </p:cNvSpPr>
                <p:nvPr/>
              </p:nvSpPr>
              <p:spPr bwMode="auto">
                <a:xfrm>
                  <a:off x="4577469" y="4079978"/>
                  <a:ext cx="8074" cy="7465"/>
                </a:xfrm>
                <a:custGeom>
                  <a:avLst/>
                  <a:gdLst>
                    <a:gd name="T0" fmla="*/ 1 w 6"/>
                    <a:gd name="T1" fmla="*/ 4 h 5"/>
                    <a:gd name="T2" fmla="*/ 3 w 6"/>
                    <a:gd name="T3" fmla="*/ 5 h 5"/>
                    <a:gd name="T4" fmla="*/ 4 w 6"/>
                    <a:gd name="T5" fmla="*/ 4 h 5"/>
                    <a:gd name="T6" fmla="*/ 4 w 6"/>
                    <a:gd name="T7" fmla="*/ 4 h 5"/>
                    <a:gd name="T8" fmla="*/ 4 w 6"/>
                    <a:gd name="T9" fmla="*/ 4 h 5"/>
                    <a:gd name="T10" fmla="*/ 5 w 6"/>
                    <a:gd name="T11" fmla="*/ 3 h 5"/>
                    <a:gd name="T12" fmla="*/ 5 w 6"/>
                    <a:gd name="T13" fmla="*/ 3 h 5"/>
                    <a:gd name="T14" fmla="*/ 5 w 6"/>
                    <a:gd name="T15" fmla="*/ 3 h 5"/>
                    <a:gd name="T16" fmla="*/ 5 w 6"/>
                    <a:gd name="T17" fmla="*/ 2 h 5"/>
                    <a:gd name="T18" fmla="*/ 5 w 6"/>
                    <a:gd name="T19" fmla="*/ 2 h 5"/>
                    <a:gd name="T20" fmla="*/ 6 w 6"/>
                    <a:gd name="T21" fmla="*/ 1 h 5"/>
                    <a:gd name="T22" fmla="*/ 6 w 6"/>
                    <a:gd name="T23" fmla="*/ 0 h 5"/>
                    <a:gd name="T24" fmla="*/ 5 w 6"/>
                    <a:gd name="T25" fmla="*/ 0 h 5"/>
                    <a:gd name="T26" fmla="*/ 4 w 6"/>
                    <a:gd name="T27" fmla="*/ 1 h 5"/>
                    <a:gd name="T28" fmla="*/ 3 w 6"/>
                    <a:gd name="T29" fmla="*/ 1 h 5"/>
                    <a:gd name="T30" fmla="*/ 3 w 6"/>
                    <a:gd name="T31" fmla="*/ 1 h 5"/>
                    <a:gd name="T32" fmla="*/ 3 w 6"/>
                    <a:gd name="T33" fmla="*/ 1 h 5"/>
                    <a:gd name="T34" fmla="*/ 1 w 6"/>
                    <a:gd name="T35" fmla="*/ 2 h 5"/>
                    <a:gd name="T36" fmla="*/ 1 w 6"/>
                    <a:gd name="T37" fmla="*/ 2 h 5"/>
                    <a:gd name="T38" fmla="*/ 0 w 6"/>
                    <a:gd name="T39" fmla="*/ 3 h 5"/>
                    <a:gd name="T40" fmla="*/ 1 w 6"/>
                    <a:gd name="T4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5">
                      <a:moveTo>
                        <a:pt x="1" y="4"/>
                      </a:moveTo>
                      <a:cubicBezTo>
                        <a:pt x="1" y="4"/>
                        <a:pt x="2" y="5"/>
                        <a:pt x="3" y="5"/>
                      </a:cubicBezTo>
                      <a:cubicBezTo>
                        <a:pt x="3" y="5"/>
                        <a:pt x="3" y="4"/>
                        <a:pt x="4" y="4"/>
                      </a:cubicBezTo>
                      <a:cubicBezTo>
                        <a:pt x="4" y="4"/>
                        <a:pt x="4" y="4"/>
                        <a:pt x="4" y="4"/>
                      </a:cubicBezTo>
                      <a:cubicBezTo>
                        <a:pt x="4" y="4"/>
                        <a:pt x="4" y="4"/>
                        <a:pt x="4" y="4"/>
                      </a:cubicBezTo>
                      <a:cubicBezTo>
                        <a:pt x="4" y="4"/>
                        <a:pt x="4" y="4"/>
                        <a:pt x="5" y="3"/>
                      </a:cubicBezTo>
                      <a:cubicBezTo>
                        <a:pt x="5" y="3"/>
                        <a:pt x="5" y="3"/>
                        <a:pt x="5" y="3"/>
                      </a:cubicBezTo>
                      <a:cubicBezTo>
                        <a:pt x="5" y="3"/>
                        <a:pt x="5" y="3"/>
                        <a:pt x="5" y="3"/>
                      </a:cubicBezTo>
                      <a:cubicBezTo>
                        <a:pt x="5" y="2"/>
                        <a:pt x="5" y="2"/>
                        <a:pt x="5" y="2"/>
                      </a:cubicBezTo>
                      <a:cubicBezTo>
                        <a:pt x="5" y="2"/>
                        <a:pt x="5" y="2"/>
                        <a:pt x="5" y="2"/>
                      </a:cubicBezTo>
                      <a:cubicBezTo>
                        <a:pt x="6" y="2"/>
                        <a:pt x="6" y="1"/>
                        <a:pt x="6" y="1"/>
                      </a:cubicBezTo>
                      <a:cubicBezTo>
                        <a:pt x="6" y="0"/>
                        <a:pt x="6" y="0"/>
                        <a:pt x="6" y="0"/>
                      </a:cubicBezTo>
                      <a:cubicBezTo>
                        <a:pt x="5" y="0"/>
                        <a:pt x="5" y="0"/>
                        <a:pt x="5" y="0"/>
                      </a:cubicBezTo>
                      <a:cubicBezTo>
                        <a:pt x="4" y="0"/>
                        <a:pt x="4" y="1"/>
                        <a:pt x="4" y="1"/>
                      </a:cubicBezTo>
                      <a:cubicBezTo>
                        <a:pt x="3" y="1"/>
                        <a:pt x="3" y="1"/>
                        <a:pt x="3" y="1"/>
                      </a:cubicBezTo>
                      <a:cubicBezTo>
                        <a:pt x="3" y="1"/>
                        <a:pt x="3" y="1"/>
                        <a:pt x="3" y="1"/>
                      </a:cubicBezTo>
                      <a:cubicBezTo>
                        <a:pt x="3" y="1"/>
                        <a:pt x="3" y="1"/>
                        <a:pt x="3" y="1"/>
                      </a:cubicBezTo>
                      <a:cubicBezTo>
                        <a:pt x="2" y="1"/>
                        <a:pt x="2" y="1"/>
                        <a:pt x="1" y="2"/>
                      </a:cubicBezTo>
                      <a:cubicBezTo>
                        <a:pt x="1" y="2"/>
                        <a:pt x="1" y="2"/>
                        <a:pt x="1" y="2"/>
                      </a:cubicBezTo>
                      <a:cubicBezTo>
                        <a:pt x="1" y="2"/>
                        <a:pt x="0" y="2"/>
                        <a:pt x="0" y="3"/>
                      </a:cubicBezTo>
                      <a:cubicBezTo>
                        <a:pt x="0" y="4"/>
                        <a:pt x="1" y="4"/>
                        <a:pt x="1"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48" name="Freeform 259">
                  <a:extLst>
                    <a:ext uri="{FF2B5EF4-FFF2-40B4-BE49-F238E27FC236}">
                      <a16:creationId xmlns:a16="http://schemas.microsoft.com/office/drawing/2014/main" id="{AB2FDD05-106F-40B9-9F66-5F0A9790D6CF}"/>
                    </a:ext>
                  </a:extLst>
                </p:cNvPr>
                <p:cNvSpPr>
                  <a:spLocks/>
                </p:cNvSpPr>
                <p:nvPr/>
              </p:nvSpPr>
              <p:spPr bwMode="auto">
                <a:xfrm>
                  <a:off x="4559303" y="4082111"/>
                  <a:ext cx="8074" cy="4266"/>
                </a:xfrm>
                <a:custGeom>
                  <a:avLst/>
                  <a:gdLst>
                    <a:gd name="T0" fmla="*/ 0 w 6"/>
                    <a:gd name="T1" fmla="*/ 2 h 3"/>
                    <a:gd name="T2" fmla="*/ 1 w 6"/>
                    <a:gd name="T3" fmla="*/ 2 h 3"/>
                    <a:gd name="T4" fmla="*/ 1 w 6"/>
                    <a:gd name="T5" fmla="*/ 2 h 3"/>
                    <a:gd name="T6" fmla="*/ 2 w 6"/>
                    <a:gd name="T7" fmla="*/ 2 h 3"/>
                    <a:gd name="T8" fmla="*/ 2 w 6"/>
                    <a:gd name="T9" fmla="*/ 2 h 3"/>
                    <a:gd name="T10" fmla="*/ 2 w 6"/>
                    <a:gd name="T11" fmla="*/ 2 h 3"/>
                    <a:gd name="T12" fmla="*/ 3 w 6"/>
                    <a:gd name="T13" fmla="*/ 3 h 3"/>
                    <a:gd name="T14" fmla="*/ 3 w 6"/>
                    <a:gd name="T15" fmla="*/ 3 h 3"/>
                    <a:gd name="T16" fmla="*/ 4 w 6"/>
                    <a:gd name="T17" fmla="*/ 3 h 3"/>
                    <a:gd name="T18" fmla="*/ 4 w 6"/>
                    <a:gd name="T19" fmla="*/ 3 h 3"/>
                    <a:gd name="T20" fmla="*/ 4 w 6"/>
                    <a:gd name="T21" fmla="*/ 3 h 3"/>
                    <a:gd name="T22" fmla="*/ 5 w 6"/>
                    <a:gd name="T23" fmla="*/ 3 h 3"/>
                    <a:gd name="T24" fmla="*/ 6 w 6"/>
                    <a:gd name="T25" fmla="*/ 2 h 3"/>
                    <a:gd name="T26" fmla="*/ 6 w 6"/>
                    <a:gd name="T27" fmla="*/ 1 h 3"/>
                    <a:gd name="T28" fmla="*/ 6 w 6"/>
                    <a:gd name="T29" fmla="*/ 1 h 3"/>
                    <a:gd name="T30" fmla="*/ 5 w 6"/>
                    <a:gd name="T31" fmla="*/ 0 h 3"/>
                    <a:gd name="T32" fmla="*/ 4 w 6"/>
                    <a:gd name="T33" fmla="*/ 0 h 3"/>
                    <a:gd name="T34" fmla="*/ 3 w 6"/>
                    <a:gd name="T35" fmla="*/ 0 h 3"/>
                    <a:gd name="T36" fmla="*/ 3 w 6"/>
                    <a:gd name="T37" fmla="*/ 0 h 3"/>
                    <a:gd name="T38" fmla="*/ 3 w 6"/>
                    <a:gd name="T39" fmla="*/ 0 h 3"/>
                    <a:gd name="T40" fmla="*/ 3 w 6"/>
                    <a:gd name="T41" fmla="*/ 0 h 3"/>
                    <a:gd name="T42" fmla="*/ 2 w 6"/>
                    <a:gd name="T43" fmla="*/ 0 h 3"/>
                    <a:gd name="T44" fmla="*/ 1 w 6"/>
                    <a:gd name="T45" fmla="*/ 0 h 3"/>
                    <a:gd name="T46" fmla="*/ 0 w 6"/>
                    <a:gd name="T47" fmla="*/ 0 h 3"/>
                    <a:gd name="T48" fmla="*/ 0 w 6"/>
                    <a:gd name="T49" fmla="*/ 1 h 3"/>
                    <a:gd name="T50" fmla="*/ 0 w 6"/>
                    <a:gd name="T51" fmla="*/ 1 h 3"/>
                    <a:gd name="T52" fmla="*/ 0 w 6"/>
                    <a:gd name="T5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3">
                      <a:moveTo>
                        <a:pt x="0" y="2"/>
                      </a:moveTo>
                      <a:cubicBezTo>
                        <a:pt x="1" y="2"/>
                        <a:pt x="1" y="2"/>
                        <a:pt x="1" y="2"/>
                      </a:cubicBezTo>
                      <a:cubicBezTo>
                        <a:pt x="1" y="2"/>
                        <a:pt x="1" y="2"/>
                        <a:pt x="1" y="2"/>
                      </a:cubicBezTo>
                      <a:cubicBezTo>
                        <a:pt x="1" y="2"/>
                        <a:pt x="1" y="2"/>
                        <a:pt x="2" y="2"/>
                      </a:cubicBezTo>
                      <a:cubicBezTo>
                        <a:pt x="2" y="2"/>
                        <a:pt x="2" y="2"/>
                        <a:pt x="2" y="2"/>
                      </a:cubicBezTo>
                      <a:cubicBezTo>
                        <a:pt x="2" y="2"/>
                        <a:pt x="2" y="2"/>
                        <a:pt x="2" y="2"/>
                      </a:cubicBezTo>
                      <a:cubicBezTo>
                        <a:pt x="3" y="3"/>
                        <a:pt x="3" y="3"/>
                        <a:pt x="3" y="3"/>
                      </a:cubicBezTo>
                      <a:cubicBezTo>
                        <a:pt x="3" y="3"/>
                        <a:pt x="3" y="3"/>
                        <a:pt x="3" y="3"/>
                      </a:cubicBezTo>
                      <a:cubicBezTo>
                        <a:pt x="3" y="3"/>
                        <a:pt x="4" y="3"/>
                        <a:pt x="4" y="3"/>
                      </a:cubicBezTo>
                      <a:cubicBezTo>
                        <a:pt x="4" y="3"/>
                        <a:pt x="4" y="3"/>
                        <a:pt x="4" y="3"/>
                      </a:cubicBezTo>
                      <a:cubicBezTo>
                        <a:pt x="4" y="3"/>
                        <a:pt x="4" y="3"/>
                        <a:pt x="4" y="3"/>
                      </a:cubicBezTo>
                      <a:cubicBezTo>
                        <a:pt x="5" y="3"/>
                        <a:pt x="5" y="3"/>
                        <a:pt x="5" y="3"/>
                      </a:cubicBezTo>
                      <a:cubicBezTo>
                        <a:pt x="5" y="3"/>
                        <a:pt x="6" y="3"/>
                        <a:pt x="6" y="2"/>
                      </a:cubicBezTo>
                      <a:cubicBezTo>
                        <a:pt x="6" y="1"/>
                        <a:pt x="6" y="1"/>
                        <a:pt x="6" y="1"/>
                      </a:cubicBezTo>
                      <a:cubicBezTo>
                        <a:pt x="6" y="1"/>
                        <a:pt x="6" y="1"/>
                        <a:pt x="6" y="1"/>
                      </a:cubicBezTo>
                      <a:cubicBezTo>
                        <a:pt x="6" y="1"/>
                        <a:pt x="5" y="0"/>
                        <a:pt x="5" y="0"/>
                      </a:cubicBezTo>
                      <a:cubicBezTo>
                        <a:pt x="4" y="0"/>
                        <a:pt x="4" y="0"/>
                        <a:pt x="4" y="0"/>
                      </a:cubicBezTo>
                      <a:cubicBezTo>
                        <a:pt x="4" y="0"/>
                        <a:pt x="4" y="0"/>
                        <a:pt x="3" y="0"/>
                      </a:cubicBezTo>
                      <a:cubicBezTo>
                        <a:pt x="3" y="0"/>
                        <a:pt x="3" y="0"/>
                        <a:pt x="3" y="0"/>
                      </a:cubicBezTo>
                      <a:cubicBezTo>
                        <a:pt x="3" y="0"/>
                        <a:pt x="3" y="0"/>
                        <a:pt x="3" y="0"/>
                      </a:cubicBezTo>
                      <a:cubicBezTo>
                        <a:pt x="3" y="0"/>
                        <a:pt x="3" y="0"/>
                        <a:pt x="3" y="0"/>
                      </a:cubicBezTo>
                      <a:cubicBezTo>
                        <a:pt x="3" y="0"/>
                        <a:pt x="3" y="0"/>
                        <a:pt x="2" y="0"/>
                      </a:cubicBezTo>
                      <a:cubicBezTo>
                        <a:pt x="2" y="0"/>
                        <a:pt x="1" y="0"/>
                        <a:pt x="1" y="0"/>
                      </a:cubicBezTo>
                      <a:cubicBezTo>
                        <a:pt x="1" y="0"/>
                        <a:pt x="0" y="0"/>
                        <a:pt x="0" y="0"/>
                      </a:cubicBezTo>
                      <a:cubicBezTo>
                        <a:pt x="0" y="1"/>
                        <a:pt x="0" y="1"/>
                        <a:pt x="0" y="1"/>
                      </a:cubicBezTo>
                      <a:cubicBezTo>
                        <a:pt x="0" y="1"/>
                        <a:pt x="0" y="1"/>
                        <a:pt x="0" y="1"/>
                      </a:cubicBezTo>
                      <a:lnTo>
                        <a:pt x="0"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49" name="Freeform 260">
                  <a:extLst>
                    <a:ext uri="{FF2B5EF4-FFF2-40B4-BE49-F238E27FC236}">
                      <a16:creationId xmlns:a16="http://schemas.microsoft.com/office/drawing/2014/main" id="{3351DD34-5A9A-4EBB-BB10-2631579F04C4}"/>
                    </a:ext>
                  </a:extLst>
                </p:cNvPr>
                <p:cNvSpPr>
                  <a:spLocks/>
                </p:cNvSpPr>
                <p:nvPr/>
              </p:nvSpPr>
              <p:spPr bwMode="auto">
                <a:xfrm>
                  <a:off x="4532055" y="3940279"/>
                  <a:ext cx="38350" cy="14930"/>
                </a:xfrm>
                <a:custGeom>
                  <a:avLst/>
                  <a:gdLst>
                    <a:gd name="T0" fmla="*/ 5 w 28"/>
                    <a:gd name="T1" fmla="*/ 6 h 10"/>
                    <a:gd name="T2" fmla="*/ 5 w 28"/>
                    <a:gd name="T3" fmla="*/ 7 h 10"/>
                    <a:gd name="T4" fmla="*/ 6 w 28"/>
                    <a:gd name="T5" fmla="*/ 8 h 10"/>
                    <a:gd name="T6" fmla="*/ 9 w 28"/>
                    <a:gd name="T7" fmla="*/ 9 h 10"/>
                    <a:gd name="T8" fmla="*/ 11 w 28"/>
                    <a:gd name="T9" fmla="*/ 10 h 10"/>
                    <a:gd name="T10" fmla="*/ 12 w 28"/>
                    <a:gd name="T11" fmla="*/ 8 h 10"/>
                    <a:gd name="T12" fmla="*/ 14 w 28"/>
                    <a:gd name="T13" fmla="*/ 7 h 10"/>
                    <a:gd name="T14" fmla="*/ 15 w 28"/>
                    <a:gd name="T15" fmla="*/ 6 h 10"/>
                    <a:gd name="T16" fmla="*/ 16 w 28"/>
                    <a:gd name="T17" fmla="*/ 6 h 10"/>
                    <a:gd name="T18" fmla="*/ 16 w 28"/>
                    <a:gd name="T19" fmla="*/ 7 h 10"/>
                    <a:gd name="T20" fmla="*/ 18 w 28"/>
                    <a:gd name="T21" fmla="*/ 8 h 10"/>
                    <a:gd name="T22" fmla="*/ 19 w 28"/>
                    <a:gd name="T23" fmla="*/ 8 h 10"/>
                    <a:gd name="T24" fmla="*/ 19 w 28"/>
                    <a:gd name="T25" fmla="*/ 9 h 10"/>
                    <a:gd name="T26" fmla="*/ 21 w 28"/>
                    <a:gd name="T27" fmla="*/ 8 h 10"/>
                    <a:gd name="T28" fmla="*/ 22 w 28"/>
                    <a:gd name="T29" fmla="*/ 7 h 10"/>
                    <a:gd name="T30" fmla="*/ 22 w 28"/>
                    <a:gd name="T31" fmla="*/ 5 h 10"/>
                    <a:gd name="T32" fmla="*/ 20 w 28"/>
                    <a:gd name="T33" fmla="*/ 4 h 10"/>
                    <a:gd name="T34" fmla="*/ 19 w 28"/>
                    <a:gd name="T35" fmla="*/ 4 h 10"/>
                    <a:gd name="T36" fmla="*/ 20 w 28"/>
                    <a:gd name="T37" fmla="*/ 4 h 10"/>
                    <a:gd name="T38" fmla="*/ 22 w 28"/>
                    <a:gd name="T39" fmla="*/ 4 h 10"/>
                    <a:gd name="T40" fmla="*/ 23 w 28"/>
                    <a:gd name="T41" fmla="*/ 4 h 10"/>
                    <a:gd name="T42" fmla="*/ 26 w 28"/>
                    <a:gd name="T43" fmla="*/ 3 h 10"/>
                    <a:gd name="T44" fmla="*/ 28 w 28"/>
                    <a:gd name="T45" fmla="*/ 2 h 10"/>
                    <a:gd name="T46" fmla="*/ 26 w 28"/>
                    <a:gd name="T47" fmla="*/ 0 h 10"/>
                    <a:gd name="T48" fmla="*/ 21 w 28"/>
                    <a:gd name="T49" fmla="*/ 0 h 10"/>
                    <a:gd name="T50" fmla="*/ 20 w 28"/>
                    <a:gd name="T51" fmla="*/ 0 h 10"/>
                    <a:gd name="T52" fmla="*/ 19 w 28"/>
                    <a:gd name="T53" fmla="*/ 0 h 10"/>
                    <a:gd name="T54" fmla="*/ 18 w 28"/>
                    <a:gd name="T55" fmla="*/ 0 h 10"/>
                    <a:gd name="T56" fmla="*/ 17 w 28"/>
                    <a:gd name="T57" fmla="*/ 0 h 10"/>
                    <a:gd name="T58" fmla="*/ 15 w 28"/>
                    <a:gd name="T59" fmla="*/ 0 h 10"/>
                    <a:gd name="T60" fmla="*/ 13 w 28"/>
                    <a:gd name="T61" fmla="*/ 0 h 10"/>
                    <a:gd name="T62" fmla="*/ 12 w 28"/>
                    <a:gd name="T63" fmla="*/ 1 h 10"/>
                    <a:gd name="T64" fmla="*/ 10 w 28"/>
                    <a:gd name="T65" fmla="*/ 1 h 10"/>
                    <a:gd name="T66" fmla="*/ 9 w 28"/>
                    <a:gd name="T67" fmla="*/ 1 h 10"/>
                    <a:gd name="T68" fmla="*/ 8 w 28"/>
                    <a:gd name="T69" fmla="*/ 1 h 10"/>
                    <a:gd name="T70" fmla="*/ 7 w 28"/>
                    <a:gd name="T71" fmla="*/ 1 h 10"/>
                    <a:gd name="T72" fmla="*/ 5 w 28"/>
                    <a:gd name="T73" fmla="*/ 1 h 10"/>
                    <a:gd name="T74" fmla="*/ 4 w 28"/>
                    <a:gd name="T75" fmla="*/ 1 h 10"/>
                    <a:gd name="T76" fmla="*/ 2 w 28"/>
                    <a:gd name="T77" fmla="*/ 1 h 10"/>
                    <a:gd name="T78" fmla="*/ 1 w 28"/>
                    <a:gd name="T79" fmla="*/ 1 h 10"/>
                    <a:gd name="T80" fmla="*/ 0 w 28"/>
                    <a:gd name="T8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10">
                      <a:moveTo>
                        <a:pt x="2" y="5"/>
                      </a:moveTo>
                      <a:cubicBezTo>
                        <a:pt x="3" y="6"/>
                        <a:pt x="4" y="6"/>
                        <a:pt x="5" y="6"/>
                      </a:cubicBezTo>
                      <a:cubicBezTo>
                        <a:pt x="5" y="6"/>
                        <a:pt x="5" y="6"/>
                        <a:pt x="5" y="6"/>
                      </a:cubicBezTo>
                      <a:cubicBezTo>
                        <a:pt x="5" y="7"/>
                        <a:pt x="5" y="7"/>
                        <a:pt x="5" y="7"/>
                      </a:cubicBezTo>
                      <a:cubicBezTo>
                        <a:pt x="5" y="7"/>
                        <a:pt x="6" y="8"/>
                        <a:pt x="6" y="8"/>
                      </a:cubicBezTo>
                      <a:cubicBezTo>
                        <a:pt x="6" y="8"/>
                        <a:pt x="6" y="8"/>
                        <a:pt x="6" y="8"/>
                      </a:cubicBezTo>
                      <a:cubicBezTo>
                        <a:pt x="7" y="9"/>
                        <a:pt x="7" y="9"/>
                        <a:pt x="8" y="9"/>
                      </a:cubicBezTo>
                      <a:cubicBezTo>
                        <a:pt x="8" y="9"/>
                        <a:pt x="8" y="9"/>
                        <a:pt x="9" y="9"/>
                      </a:cubicBezTo>
                      <a:cubicBezTo>
                        <a:pt x="9" y="10"/>
                        <a:pt x="9" y="10"/>
                        <a:pt x="10" y="10"/>
                      </a:cubicBezTo>
                      <a:cubicBezTo>
                        <a:pt x="10" y="10"/>
                        <a:pt x="11" y="10"/>
                        <a:pt x="11" y="10"/>
                      </a:cubicBezTo>
                      <a:cubicBezTo>
                        <a:pt x="11" y="10"/>
                        <a:pt x="12" y="9"/>
                        <a:pt x="12" y="9"/>
                      </a:cubicBezTo>
                      <a:cubicBezTo>
                        <a:pt x="12" y="8"/>
                        <a:pt x="12" y="8"/>
                        <a:pt x="12" y="8"/>
                      </a:cubicBezTo>
                      <a:cubicBezTo>
                        <a:pt x="13" y="8"/>
                        <a:pt x="13" y="8"/>
                        <a:pt x="14" y="7"/>
                      </a:cubicBezTo>
                      <a:cubicBezTo>
                        <a:pt x="14" y="7"/>
                        <a:pt x="14" y="7"/>
                        <a:pt x="14" y="7"/>
                      </a:cubicBezTo>
                      <a:cubicBezTo>
                        <a:pt x="14" y="7"/>
                        <a:pt x="15" y="6"/>
                        <a:pt x="15" y="6"/>
                      </a:cubicBezTo>
                      <a:cubicBezTo>
                        <a:pt x="15" y="6"/>
                        <a:pt x="15" y="6"/>
                        <a:pt x="15" y="6"/>
                      </a:cubicBezTo>
                      <a:cubicBezTo>
                        <a:pt x="15" y="6"/>
                        <a:pt x="15" y="6"/>
                        <a:pt x="15" y="6"/>
                      </a:cubicBezTo>
                      <a:cubicBezTo>
                        <a:pt x="15" y="6"/>
                        <a:pt x="15" y="6"/>
                        <a:pt x="16" y="6"/>
                      </a:cubicBezTo>
                      <a:cubicBezTo>
                        <a:pt x="16" y="6"/>
                        <a:pt x="16" y="6"/>
                        <a:pt x="16" y="6"/>
                      </a:cubicBezTo>
                      <a:cubicBezTo>
                        <a:pt x="16" y="7"/>
                        <a:pt x="16" y="7"/>
                        <a:pt x="16" y="7"/>
                      </a:cubicBezTo>
                      <a:cubicBezTo>
                        <a:pt x="16" y="8"/>
                        <a:pt x="16" y="8"/>
                        <a:pt x="17" y="8"/>
                      </a:cubicBezTo>
                      <a:cubicBezTo>
                        <a:pt x="17" y="8"/>
                        <a:pt x="18" y="8"/>
                        <a:pt x="18" y="8"/>
                      </a:cubicBezTo>
                      <a:cubicBezTo>
                        <a:pt x="18" y="8"/>
                        <a:pt x="18" y="8"/>
                        <a:pt x="18" y="8"/>
                      </a:cubicBezTo>
                      <a:cubicBezTo>
                        <a:pt x="18" y="8"/>
                        <a:pt x="19" y="8"/>
                        <a:pt x="19" y="8"/>
                      </a:cubicBezTo>
                      <a:cubicBezTo>
                        <a:pt x="19" y="8"/>
                        <a:pt x="19" y="8"/>
                        <a:pt x="19" y="8"/>
                      </a:cubicBezTo>
                      <a:cubicBezTo>
                        <a:pt x="19" y="9"/>
                        <a:pt x="19" y="9"/>
                        <a:pt x="19" y="9"/>
                      </a:cubicBezTo>
                      <a:cubicBezTo>
                        <a:pt x="20" y="9"/>
                        <a:pt x="20" y="9"/>
                        <a:pt x="20" y="9"/>
                      </a:cubicBezTo>
                      <a:cubicBezTo>
                        <a:pt x="20" y="9"/>
                        <a:pt x="20" y="8"/>
                        <a:pt x="21" y="8"/>
                      </a:cubicBezTo>
                      <a:cubicBezTo>
                        <a:pt x="21" y="8"/>
                        <a:pt x="21" y="8"/>
                        <a:pt x="21" y="8"/>
                      </a:cubicBezTo>
                      <a:cubicBezTo>
                        <a:pt x="22" y="8"/>
                        <a:pt x="22" y="8"/>
                        <a:pt x="22" y="7"/>
                      </a:cubicBezTo>
                      <a:cubicBezTo>
                        <a:pt x="23" y="7"/>
                        <a:pt x="23" y="6"/>
                        <a:pt x="23" y="6"/>
                      </a:cubicBezTo>
                      <a:cubicBezTo>
                        <a:pt x="23" y="6"/>
                        <a:pt x="22" y="5"/>
                        <a:pt x="22" y="5"/>
                      </a:cubicBezTo>
                      <a:cubicBezTo>
                        <a:pt x="22" y="5"/>
                        <a:pt x="22" y="5"/>
                        <a:pt x="22" y="5"/>
                      </a:cubicBezTo>
                      <a:cubicBezTo>
                        <a:pt x="21" y="5"/>
                        <a:pt x="20" y="4"/>
                        <a:pt x="20" y="4"/>
                      </a:cubicBezTo>
                      <a:cubicBezTo>
                        <a:pt x="19" y="4"/>
                        <a:pt x="19" y="4"/>
                        <a:pt x="19" y="4"/>
                      </a:cubicBezTo>
                      <a:cubicBezTo>
                        <a:pt x="19" y="4"/>
                        <a:pt x="19" y="4"/>
                        <a:pt x="19" y="4"/>
                      </a:cubicBezTo>
                      <a:cubicBezTo>
                        <a:pt x="19" y="4"/>
                        <a:pt x="19" y="4"/>
                        <a:pt x="19" y="4"/>
                      </a:cubicBezTo>
                      <a:cubicBezTo>
                        <a:pt x="20" y="4"/>
                        <a:pt x="20" y="4"/>
                        <a:pt x="20" y="4"/>
                      </a:cubicBezTo>
                      <a:cubicBezTo>
                        <a:pt x="20" y="4"/>
                        <a:pt x="21" y="4"/>
                        <a:pt x="21" y="4"/>
                      </a:cubicBezTo>
                      <a:cubicBezTo>
                        <a:pt x="22" y="4"/>
                        <a:pt x="22" y="4"/>
                        <a:pt x="22" y="4"/>
                      </a:cubicBezTo>
                      <a:cubicBezTo>
                        <a:pt x="22" y="4"/>
                        <a:pt x="22" y="4"/>
                        <a:pt x="22" y="4"/>
                      </a:cubicBezTo>
                      <a:cubicBezTo>
                        <a:pt x="22" y="4"/>
                        <a:pt x="23" y="4"/>
                        <a:pt x="23" y="4"/>
                      </a:cubicBezTo>
                      <a:cubicBezTo>
                        <a:pt x="23" y="4"/>
                        <a:pt x="24" y="4"/>
                        <a:pt x="24" y="3"/>
                      </a:cubicBezTo>
                      <a:cubicBezTo>
                        <a:pt x="25" y="3"/>
                        <a:pt x="25" y="3"/>
                        <a:pt x="26" y="3"/>
                      </a:cubicBezTo>
                      <a:cubicBezTo>
                        <a:pt x="26" y="3"/>
                        <a:pt x="27" y="3"/>
                        <a:pt x="27" y="3"/>
                      </a:cubicBezTo>
                      <a:cubicBezTo>
                        <a:pt x="28" y="2"/>
                        <a:pt x="28" y="2"/>
                        <a:pt x="28" y="2"/>
                      </a:cubicBezTo>
                      <a:cubicBezTo>
                        <a:pt x="27" y="1"/>
                        <a:pt x="27" y="1"/>
                        <a:pt x="27" y="1"/>
                      </a:cubicBezTo>
                      <a:cubicBezTo>
                        <a:pt x="27" y="1"/>
                        <a:pt x="26" y="0"/>
                        <a:pt x="26" y="0"/>
                      </a:cubicBezTo>
                      <a:cubicBezTo>
                        <a:pt x="26" y="0"/>
                        <a:pt x="25" y="0"/>
                        <a:pt x="25" y="0"/>
                      </a:cubicBezTo>
                      <a:cubicBezTo>
                        <a:pt x="24" y="0"/>
                        <a:pt x="22" y="0"/>
                        <a:pt x="21" y="0"/>
                      </a:cubicBezTo>
                      <a:cubicBezTo>
                        <a:pt x="21" y="0"/>
                        <a:pt x="20" y="0"/>
                        <a:pt x="20" y="0"/>
                      </a:cubicBezTo>
                      <a:cubicBezTo>
                        <a:pt x="20" y="0"/>
                        <a:pt x="20" y="0"/>
                        <a:pt x="20" y="0"/>
                      </a:cubicBezTo>
                      <a:cubicBezTo>
                        <a:pt x="20" y="0"/>
                        <a:pt x="19" y="0"/>
                        <a:pt x="19" y="0"/>
                      </a:cubicBezTo>
                      <a:cubicBezTo>
                        <a:pt x="19" y="0"/>
                        <a:pt x="19" y="0"/>
                        <a:pt x="19" y="0"/>
                      </a:cubicBezTo>
                      <a:cubicBezTo>
                        <a:pt x="19" y="0"/>
                        <a:pt x="19" y="0"/>
                        <a:pt x="19" y="0"/>
                      </a:cubicBezTo>
                      <a:cubicBezTo>
                        <a:pt x="18" y="0"/>
                        <a:pt x="18" y="0"/>
                        <a:pt x="18" y="0"/>
                      </a:cubicBezTo>
                      <a:cubicBezTo>
                        <a:pt x="18" y="0"/>
                        <a:pt x="17" y="0"/>
                        <a:pt x="17" y="0"/>
                      </a:cubicBezTo>
                      <a:cubicBezTo>
                        <a:pt x="17" y="0"/>
                        <a:pt x="17" y="0"/>
                        <a:pt x="17" y="0"/>
                      </a:cubicBezTo>
                      <a:cubicBezTo>
                        <a:pt x="17" y="0"/>
                        <a:pt x="17" y="0"/>
                        <a:pt x="16" y="0"/>
                      </a:cubicBezTo>
                      <a:cubicBezTo>
                        <a:pt x="16" y="0"/>
                        <a:pt x="16" y="0"/>
                        <a:pt x="15" y="0"/>
                      </a:cubicBezTo>
                      <a:cubicBezTo>
                        <a:pt x="14" y="0"/>
                        <a:pt x="14" y="0"/>
                        <a:pt x="14" y="0"/>
                      </a:cubicBezTo>
                      <a:cubicBezTo>
                        <a:pt x="14" y="0"/>
                        <a:pt x="13" y="0"/>
                        <a:pt x="13" y="0"/>
                      </a:cubicBezTo>
                      <a:cubicBezTo>
                        <a:pt x="13" y="0"/>
                        <a:pt x="12" y="1"/>
                        <a:pt x="12" y="1"/>
                      </a:cubicBezTo>
                      <a:cubicBezTo>
                        <a:pt x="12" y="1"/>
                        <a:pt x="12" y="1"/>
                        <a:pt x="12" y="1"/>
                      </a:cubicBezTo>
                      <a:cubicBezTo>
                        <a:pt x="12" y="1"/>
                        <a:pt x="11" y="1"/>
                        <a:pt x="11" y="1"/>
                      </a:cubicBezTo>
                      <a:cubicBezTo>
                        <a:pt x="10" y="1"/>
                        <a:pt x="10" y="1"/>
                        <a:pt x="10" y="1"/>
                      </a:cubicBezTo>
                      <a:cubicBezTo>
                        <a:pt x="10" y="1"/>
                        <a:pt x="10" y="1"/>
                        <a:pt x="9" y="1"/>
                      </a:cubicBezTo>
                      <a:cubicBezTo>
                        <a:pt x="9" y="1"/>
                        <a:pt x="9" y="1"/>
                        <a:pt x="9" y="1"/>
                      </a:cubicBezTo>
                      <a:cubicBezTo>
                        <a:pt x="9" y="1"/>
                        <a:pt x="8" y="1"/>
                        <a:pt x="8" y="1"/>
                      </a:cubicBezTo>
                      <a:cubicBezTo>
                        <a:pt x="8" y="1"/>
                        <a:pt x="8" y="1"/>
                        <a:pt x="8" y="1"/>
                      </a:cubicBezTo>
                      <a:cubicBezTo>
                        <a:pt x="8" y="1"/>
                        <a:pt x="7" y="1"/>
                        <a:pt x="7" y="1"/>
                      </a:cubicBezTo>
                      <a:cubicBezTo>
                        <a:pt x="7" y="1"/>
                        <a:pt x="7" y="1"/>
                        <a:pt x="7" y="1"/>
                      </a:cubicBezTo>
                      <a:cubicBezTo>
                        <a:pt x="7" y="1"/>
                        <a:pt x="6" y="1"/>
                        <a:pt x="6" y="1"/>
                      </a:cubicBezTo>
                      <a:cubicBezTo>
                        <a:pt x="6" y="1"/>
                        <a:pt x="5" y="1"/>
                        <a:pt x="5" y="1"/>
                      </a:cubicBezTo>
                      <a:cubicBezTo>
                        <a:pt x="5" y="1"/>
                        <a:pt x="5" y="1"/>
                        <a:pt x="5" y="1"/>
                      </a:cubicBezTo>
                      <a:cubicBezTo>
                        <a:pt x="5" y="1"/>
                        <a:pt x="5" y="1"/>
                        <a:pt x="4" y="1"/>
                      </a:cubicBezTo>
                      <a:cubicBezTo>
                        <a:pt x="4" y="1"/>
                        <a:pt x="4" y="1"/>
                        <a:pt x="3" y="1"/>
                      </a:cubicBezTo>
                      <a:cubicBezTo>
                        <a:pt x="3" y="1"/>
                        <a:pt x="3" y="1"/>
                        <a:pt x="2" y="1"/>
                      </a:cubicBezTo>
                      <a:cubicBezTo>
                        <a:pt x="2" y="1"/>
                        <a:pt x="2" y="1"/>
                        <a:pt x="2" y="1"/>
                      </a:cubicBezTo>
                      <a:cubicBezTo>
                        <a:pt x="2" y="1"/>
                        <a:pt x="2" y="1"/>
                        <a:pt x="1" y="1"/>
                      </a:cubicBezTo>
                      <a:cubicBezTo>
                        <a:pt x="1" y="1"/>
                        <a:pt x="0" y="2"/>
                        <a:pt x="0" y="2"/>
                      </a:cubicBezTo>
                      <a:cubicBezTo>
                        <a:pt x="0" y="3"/>
                        <a:pt x="0" y="3"/>
                        <a:pt x="0" y="3"/>
                      </a:cubicBezTo>
                      <a:cubicBezTo>
                        <a:pt x="1" y="4"/>
                        <a:pt x="1" y="4"/>
                        <a:pt x="2"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50" name="Freeform 261">
                  <a:extLst>
                    <a:ext uri="{FF2B5EF4-FFF2-40B4-BE49-F238E27FC236}">
                      <a16:creationId xmlns:a16="http://schemas.microsoft.com/office/drawing/2014/main" id="{F5C3D105-BE13-4B58-83AF-612823E8D5A1}"/>
                    </a:ext>
                  </a:extLst>
                </p:cNvPr>
                <p:cNvSpPr>
                  <a:spLocks/>
                </p:cNvSpPr>
                <p:nvPr/>
              </p:nvSpPr>
              <p:spPr bwMode="auto">
                <a:xfrm>
                  <a:off x="4338287" y="3996798"/>
                  <a:ext cx="5046" cy="6398"/>
                </a:xfrm>
                <a:custGeom>
                  <a:avLst/>
                  <a:gdLst>
                    <a:gd name="T0" fmla="*/ 3 w 4"/>
                    <a:gd name="T1" fmla="*/ 0 h 4"/>
                    <a:gd name="T2" fmla="*/ 3 w 4"/>
                    <a:gd name="T3" fmla="*/ 0 h 4"/>
                    <a:gd name="T4" fmla="*/ 3 w 4"/>
                    <a:gd name="T5" fmla="*/ 0 h 4"/>
                    <a:gd name="T6" fmla="*/ 1 w 4"/>
                    <a:gd name="T7" fmla="*/ 1 h 4"/>
                    <a:gd name="T8" fmla="*/ 1 w 4"/>
                    <a:gd name="T9" fmla="*/ 3 h 4"/>
                    <a:gd name="T10" fmla="*/ 2 w 4"/>
                    <a:gd name="T11" fmla="*/ 3 h 4"/>
                    <a:gd name="T12" fmla="*/ 2 w 4"/>
                    <a:gd name="T13" fmla="*/ 4 h 4"/>
                    <a:gd name="T14" fmla="*/ 4 w 4"/>
                    <a:gd name="T15" fmla="*/ 2 h 4"/>
                    <a:gd name="T16" fmla="*/ 4 w 4"/>
                    <a:gd name="T17" fmla="*/ 1 h 4"/>
                    <a:gd name="T18" fmla="*/ 3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3" y="0"/>
                      </a:moveTo>
                      <a:cubicBezTo>
                        <a:pt x="3" y="0"/>
                        <a:pt x="3" y="0"/>
                        <a:pt x="3" y="0"/>
                      </a:cubicBezTo>
                      <a:cubicBezTo>
                        <a:pt x="3" y="0"/>
                        <a:pt x="3" y="0"/>
                        <a:pt x="3" y="0"/>
                      </a:cubicBezTo>
                      <a:cubicBezTo>
                        <a:pt x="2" y="0"/>
                        <a:pt x="1" y="0"/>
                        <a:pt x="1" y="1"/>
                      </a:cubicBezTo>
                      <a:cubicBezTo>
                        <a:pt x="1" y="1"/>
                        <a:pt x="0" y="2"/>
                        <a:pt x="1" y="3"/>
                      </a:cubicBezTo>
                      <a:cubicBezTo>
                        <a:pt x="1" y="3"/>
                        <a:pt x="1" y="3"/>
                        <a:pt x="2" y="3"/>
                      </a:cubicBezTo>
                      <a:cubicBezTo>
                        <a:pt x="2" y="4"/>
                        <a:pt x="2" y="4"/>
                        <a:pt x="2" y="4"/>
                      </a:cubicBezTo>
                      <a:cubicBezTo>
                        <a:pt x="3" y="4"/>
                        <a:pt x="3" y="3"/>
                        <a:pt x="4" y="2"/>
                      </a:cubicBezTo>
                      <a:cubicBezTo>
                        <a:pt x="4" y="2"/>
                        <a:pt x="4" y="1"/>
                        <a:pt x="4" y="1"/>
                      </a:cubicBezTo>
                      <a:cubicBezTo>
                        <a:pt x="4" y="0"/>
                        <a:pt x="3" y="0"/>
                        <a:pt x="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51" name="Freeform 262">
                  <a:extLst>
                    <a:ext uri="{FF2B5EF4-FFF2-40B4-BE49-F238E27FC236}">
                      <a16:creationId xmlns:a16="http://schemas.microsoft.com/office/drawing/2014/main" id="{07D24B2E-57A2-4BBF-AB92-3011E20D63B4}"/>
                    </a:ext>
                  </a:extLst>
                </p:cNvPr>
                <p:cNvSpPr>
                  <a:spLocks/>
                </p:cNvSpPr>
                <p:nvPr/>
              </p:nvSpPr>
              <p:spPr bwMode="auto">
                <a:xfrm>
                  <a:off x="4342324" y="4134365"/>
                  <a:ext cx="7064" cy="6398"/>
                </a:xfrm>
                <a:custGeom>
                  <a:avLst/>
                  <a:gdLst>
                    <a:gd name="T0" fmla="*/ 5 w 5"/>
                    <a:gd name="T1" fmla="*/ 1 h 4"/>
                    <a:gd name="T2" fmla="*/ 4 w 5"/>
                    <a:gd name="T3" fmla="*/ 1 h 4"/>
                    <a:gd name="T4" fmla="*/ 3 w 5"/>
                    <a:gd name="T5" fmla="*/ 1 h 4"/>
                    <a:gd name="T6" fmla="*/ 1 w 5"/>
                    <a:gd name="T7" fmla="*/ 1 h 4"/>
                    <a:gd name="T8" fmla="*/ 0 w 5"/>
                    <a:gd name="T9" fmla="*/ 1 h 4"/>
                    <a:gd name="T10" fmla="*/ 0 w 5"/>
                    <a:gd name="T11" fmla="*/ 2 h 4"/>
                    <a:gd name="T12" fmla="*/ 1 w 5"/>
                    <a:gd name="T13" fmla="*/ 2 h 4"/>
                    <a:gd name="T14" fmla="*/ 1 w 5"/>
                    <a:gd name="T15" fmla="*/ 3 h 4"/>
                    <a:gd name="T16" fmla="*/ 2 w 5"/>
                    <a:gd name="T17" fmla="*/ 3 h 4"/>
                    <a:gd name="T18" fmla="*/ 3 w 5"/>
                    <a:gd name="T19" fmla="*/ 4 h 4"/>
                    <a:gd name="T20" fmla="*/ 3 w 5"/>
                    <a:gd name="T21" fmla="*/ 4 h 4"/>
                    <a:gd name="T22" fmla="*/ 3 w 5"/>
                    <a:gd name="T23" fmla="*/ 4 h 4"/>
                    <a:gd name="T24" fmla="*/ 4 w 5"/>
                    <a:gd name="T25" fmla="*/ 4 h 4"/>
                    <a:gd name="T26" fmla="*/ 5 w 5"/>
                    <a:gd name="T27" fmla="*/ 3 h 4"/>
                    <a:gd name="T28" fmla="*/ 5 w 5"/>
                    <a:gd name="T2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4">
                      <a:moveTo>
                        <a:pt x="5" y="1"/>
                      </a:moveTo>
                      <a:cubicBezTo>
                        <a:pt x="4" y="1"/>
                        <a:pt x="4" y="1"/>
                        <a:pt x="4" y="1"/>
                      </a:cubicBezTo>
                      <a:cubicBezTo>
                        <a:pt x="3" y="1"/>
                        <a:pt x="3" y="1"/>
                        <a:pt x="3" y="1"/>
                      </a:cubicBezTo>
                      <a:cubicBezTo>
                        <a:pt x="2" y="0"/>
                        <a:pt x="2" y="0"/>
                        <a:pt x="1" y="1"/>
                      </a:cubicBezTo>
                      <a:cubicBezTo>
                        <a:pt x="1" y="1"/>
                        <a:pt x="1" y="1"/>
                        <a:pt x="0" y="1"/>
                      </a:cubicBezTo>
                      <a:cubicBezTo>
                        <a:pt x="0" y="2"/>
                        <a:pt x="0" y="2"/>
                        <a:pt x="0" y="2"/>
                      </a:cubicBezTo>
                      <a:cubicBezTo>
                        <a:pt x="1" y="2"/>
                        <a:pt x="1" y="2"/>
                        <a:pt x="1" y="2"/>
                      </a:cubicBezTo>
                      <a:cubicBezTo>
                        <a:pt x="1" y="3"/>
                        <a:pt x="1" y="3"/>
                        <a:pt x="1" y="3"/>
                      </a:cubicBezTo>
                      <a:cubicBezTo>
                        <a:pt x="2" y="3"/>
                        <a:pt x="2" y="3"/>
                        <a:pt x="2" y="3"/>
                      </a:cubicBezTo>
                      <a:cubicBezTo>
                        <a:pt x="2" y="3"/>
                        <a:pt x="2" y="4"/>
                        <a:pt x="3" y="4"/>
                      </a:cubicBezTo>
                      <a:cubicBezTo>
                        <a:pt x="3" y="4"/>
                        <a:pt x="3" y="4"/>
                        <a:pt x="3" y="4"/>
                      </a:cubicBezTo>
                      <a:cubicBezTo>
                        <a:pt x="3" y="4"/>
                        <a:pt x="3" y="4"/>
                        <a:pt x="3" y="4"/>
                      </a:cubicBezTo>
                      <a:cubicBezTo>
                        <a:pt x="4" y="4"/>
                        <a:pt x="4" y="4"/>
                        <a:pt x="4" y="4"/>
                      </a:cubicBezTo>
                      <a:cubicBezTo>
                        <a:pt x="4" y="4"/>
                        <a:pt x="5" y="3"/>
                        <a:pt x="5" y="3"/>
                      </a:cubicBezTo>
                      <a:cubicBezTo>
                        <a:pt x="5" y="3"/>
                        <a:pt x="5" y="2"/>
                        <a:pt x="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52" name="Freeform 263">
                  <a:extLst>
                    <a:ext uri="{FF2B5EF4-FFF2-40B4-BE49-F238E27FC236}">
                      <a16:creationId xmlns:a16="http://schemas.microsoft.com/office/drawing/2014/main" id="{451BFF49-23F7-45A8-85A0-9A3C8C57125B}"/>
                    </a:ext>
                  </a:extLst>
                </p:cNvPr>
                <p:cNvSpPr>
                  <a:spLocks/>
                </p:cNvSpPr>
                <p:nvPr/>
              </p:nvSpPr>
              <p:spPr bwMode="auto">
                <a:xfrm>
                  <a:off x="4330213" y="4120502"/>
                  <a:ext cx="37341" cy="20262"/>
                </a:xfrm>
                <a:custGeom>
                  <a:avLst/>
                  <a:gdLst>
                    <a:gd name="T0" fmla="*/ 25 w 27"/>
                    <a:gd name="T1" fmla="*/ 9 h 14"/>
                    <a:gd name="T2" fmla="*/ 23 w 27"/>
                    <a:gd name="T3" fmla="*/ 8 h 14"/>
                    <a:gd name="T4" fmla="*/ 22 w 27"/>
                    <a:gd name="T5" fmla="*/ 8 h 14"/>
                    <a:gd name="T6" fmla="*/ 19 w 27"/>
                    <a:gd name="T7" fmla="*/ 7 h 14"/>
                    <a:gd name="T8" fmla="*/ 18 w 27"/>
                    <a:gd name="T9" fmla="*/ 8 h 14"/>
                    <a:gd name="T10" fmla="*/ 17 w 27"/>
                    <a:gd name="T11" fmla="*/ 6 h 14"/>
                    <a:gd name="T12" fmla="*/ 16 w 27"/>
                    <a:gd name="T13" fmla="*/ 6 h 14"/>
                    <a:gd name="T14" fmla="*/ 15 w 27"/>
                    <a:gd name="T15" fmla="*/ 5 h 14"/>
                    <a:gd name="T16" fmla="*/ 14 w 27"/>
                    <a:gd name="T17" fmla="*/ 5 h 14"/>
                    <a:gd name="T18" fmla="*/ 11 w 27"/>
                    <a:gd name="T19" fmla="*/ 3 h 14"/>
                    <a:gd name="T20" fmla="*/ 9 w 27"/>
                    <a:gd name="T21" fmla="*/ 2 h 14"/>
                    <a:gd name="T22" fmla="*/ 9 w 27"/>
                    <a:gd name="T23" fmla="*/ 1 h 14"/>
                    <a:gd name="T24" fmla="*/ 6 w 27"/>
                    <a:gd name="T25" fmla="*/ 0 h 14"/>
                    <a:gd name="T26" fmla="*/ 4 w 27"/>
                    <a:gd name="T27" fmla="*/ 0 h 14"/>
                    <a:gd name="T28" fmla="*/ 3 w 27"/>
                    <a:gd name="T29" fmla="*/ 1 h 14"/>
                    <a:gd name="T30" fmla="*/ 1 w 27"/>
                    <a:gd name="T31" fmla="*/ 2 h 14"/>
                    <a:gd name="T32" fmla="*/ 0 w 27"/>
                    <a:gd name="T33" fmla="*/ 3 h 14"/>
                    <a:gd name="T34" fmla="*/ 0 w 27"/>
                    <a:gd name="T35" fmla="*/ 5 h 14"/>
                    <a:gd name="T36" fmla="*/ 1 w 27"/>
                    <a:gd name="T37" fmla="*/ 5 h 14"/>
                    <a:gd name="T38" fmla="*/ 3 w 27"/>
                    <a:gd name="T39" fmla="*/ 4 h 14"/>
                    <a:gd name="T40" fmla="*/ 5 w 27"/>
                    <a:gd name="T41" fmla="*/ 4 h 14"/>
                    <a:gd name="T42" fmla="*/ 6 w 27"/>
                    <a:gd name="T43" fmla="*/ 5 h 14"/>
                    <a:gd name="T44" fmla="*/ 9 w 27"/>
                    <a:gd name="T45" fmla="*/ 6 h 14"/>
                    <a:gd name="T46" fmla="*/ 9 w 27"/>
                    <a:gd name="T47" fmla="*/ 6 h 14"/>
                    <a:gd name="T48" fmla="*/ 10 w 27"/>
                    <a:gd name="T49" fmla="*/ 6 h 14"/>
                    <a:gd name="T50" fmla="*/ 11 w 27"/>
                    <a:gd name="T51" fmla="*/ 9 h 14"/>
                    <a:gd name="T52" fmla="*/ 13 w 27"/>
                    <a:gd name="T53" fmla="*/ 9 h 14"/>
                    <a:gd name="T54" fmla="*/ 15 w 27"/>
                    <a:gd name="T55" fmla="*/ 10 h 14"/>
                    <a:gd name="T56" fmla="*/ 16 w 27"/>
                    <a:gd name="T57" fmla="*/ 9 h 14"/>
                    <a:gd name="T58" fmla="*/ 17 w 27"/>
                    <a:gd name="T59" fmla="*/ 9 h 14"/>
                    <a:gd name="T60" fmla="*/ 18 w 27"/>
                    <a:gd name="T61" fmla="*/ 10 h 14"/>
                    <a:gd name="T62" fmla="*/ 18 w 27"/>
                    <a:gd name="T63" fmla="*/ 10 h 14"/>
                    <a:gd name="T64" fmla="*/ 18 w 27"/>
                    <a:gd name="T65" fmla="*/ 10 h 14"/>
                    <a:gd name="T66" fmla="*/ 16 w 27"/>
                    <a:gd name="T67" fmla="*/ 11 h 14"/>
                    <a:gd name="T68" fmla="*/ 16 w 27"/>
                    <a:gd name="T69" fmla="*/ 12 h 14"/>
                    <a:gd name="T70" fmla="*/ 18 w 27"/>
                    <a:gd name="T71" fmla="*/ 13 h 14"/>
                    <a:gd name="T72" fmla="*/ 20 w 27"/>
                    <a:gd name="T73" fmla="*/ 13 h 14"/>
                    <a:gd name="T74" fmla="*/ 21 w 27"/>
                    <a:gd name="T75" fmla="*/ 14 h 14"/>
                    <a:gd name="T76" fmla="*/ 22 w 27"/>
                    <a:gd name="T77" fmla="*/ 14 h 14"/>
                    <a:gd name="T78" fmla="*/ 23 w 27"/>
                    <a:gd name="T79" fmla="*/ 13 h 14"/>
                    <a:gd name="T80" fmla="*/ 24 w 27"/>
                    <a:gd name="T81" fmla="*/ 12 h 14"/>
                    <a:gd name="T82" fmla="*/ 26 w 27"/>
                    <a:gd name="T83" fmla="*/ 12 h 14"/>
                    <a:gd name="T84" fmla="*/ 26 w 27"/>
                    <a:gd name="T85"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14">
                      <a:moveTo>
                        <a:pt x="25" y="9"/>
                      </a:moveTo>
                      <a:cubicBezTo>
                        <a:pt x="25" y="9"/>
                        <a:pt x="25" y="9"/>
                        <a:pt x="25" y="9"/>
                      </a:cubicBezTo>
                      <a:cubicBezTo>
                        <a:pt x="25" y="9"/>
                        <a:pt x="24" y="9"/>
                        <a:pt x="24" y="9"/>
                      </a:cubicBezTo>
                      <a:cubicBezTo>
                        <a:pt x="24" y="9"/>
                        <a:pt x="24" y="8"/>
                        <a:pt x="23" y="8"/>
                      </a:cubicBezTo>
                      <a:cubicBezTo>
                        <a:pt x="23" y="8"/>
                        <a:pt x="22" y="8"/>
                        <a:pt x="22" y="8"/>
                      </a:cubicBezTo>
                      <a:cubicBezTo>
                        <a:pt x="22" y="8"/>
                        <a:pt x="22" y="8"/>
                        <a:pt x="22" y="8"/>
                      </a:cubicBezTo>
                      <a:cubicBezTo>
                        <a:pt x="21" y="7"/>
                        <a:pt x="20" y="7"/>
                        <a:pt x="20" y="8"/>
                      </a:cubicBezTo>
                      <a:cubicBezTo>
                        <a:pt x="20" y="7"/>
                        <a:pt x="19" y="7"/>
                        <a:pt x="19" y="7"/>
                      </a:cubicBezTo>
                      <a:cubicBezTo>
                        <a:pt x="18" y="7"/>
                        <a:pt x="18" y="7"/>
                        <a:pt x="18" y="7"/>
                      </a:cubicBezTo>
                      <a:cubicBezTo>
                        <a:pt x="18" y="7"/>
                        <a:pt x="18" y="7"/>
                        <a:pt x="18" y="8"/>
                      </a:cubicBezTo>
                      <a:cubicBezTo>
                        <a:pt x="18" y="8"/>
                        <a:pt x="18" y="8"/>
                        <a:pt x="18" y="8"/>
                      </a:cubicBezTo>
                      <a:cubicBezTo>
                        <a:pt x="18" y="7"/>
                        <a:pt x="17" y="7"/>
                        <a:pt x="17" y="6"/>
                      </a:cubicBezTo>
                      <a:cubicBezTo>
                        <a:pt x="17" y="6"/>
                        <a:pt x="16" y="6"/>
                        <a:pt x="16" y="6"/>
                      </a:cubicBezTo>
                      <a:cubicBezTo>
                        <a:pt x="16" y="6"/>
                        <a:pt x="16" y="6"/>
                        <a:pt x="16" y="6"/>
                      </a:cubicBezTo>
                      <a:cubicBezTo>
                        <a:pt x="16" y="5"/>
                        <a:pt x="16" y="5"/>
                        <a:pt x="16" y="5"/>
                      </a:cubicBezTo>
                      <a:cubicBezTo>
                        <a:pt x="15" y="5"/>
                        <a:pt x="15" y="5"/>
                        <a:pt x="15" y="5"/>
                      </a:cubicBezTo>
                      <a:cubicBezTo>
                        <a:pt x="15" y="5"/>
                        <a:pt x="14" y="5"/>
                        <a:pt x="14" y="5"/>
                      </a:cubicBezTo>
                      <a:cubicBezTo>
                        <a:pt x="14" y="5"/>
                        <a:pt x="14" y="5"/>
                        <a:pt x="14" y="5"/>
                      </a:cubicBezTo>
                      <a:cubicBezTo>
                        <a:pt x="13" y="4"/>
                        <a:pt x="13" y="4"/>
                        <a:pt x="13" y="4"/>
                      </a:cubicBezTo>
                      <a:cubicBezTo>
                        <a:pt x="12" y="4"/>
                        <a:pt x="12" y="3"/>
                        <a:pt x="11" y="3"/>
                      </a:cubicBezTo>
                      <a:cubicBezTo>
                        <a:pt x="11" y="3"/>
                        <a:pt x="10" y="2"/>
                        <a:pt x="10" y="2"/>
                      </a:cubicBezTo>
                      <a:cubicBezTo>
                        <a:pt x="9" y="2"/>
                        <a:pt x="9" y="2"/>
                        <a:pt x="9" y="2"/>
                      </a:cubicBezTo>
                      <a:cubicBezTo>
                        <a:pt x="9" y="2"/>
                        <a:pt x="9" y="1"/>
                        <a:pt x="9" y="1"/>
                      </a:cubicBezTo>
                      <a:cubicBezTo>
                        <a:pt x="9" y="1"/>
                        <a:pt x="9" y="1"/>
                        <a:pt x="9" y="1"/>
                      </a:cubicBezTo>
                      <a:cubicBezTo>
                        <a:pt x="8" y="1"/>
                        <a:pt x="7" y="0"/>
                        <a:pt x="7" y="0"/>
                      </a:cubicBezTo>
                      <a:cubicBezTo>
                        <a:pt x="6" y="0"/>
                        <a:pt x="6" y="0"/>
                        <a:pt x="6" y="0"/>
                      </a:cubicBezTo>
                      <a:cubicBezTo>
                        <a:pt x="6" y="0"/>
                        <a:pt x="6" y="0"/>
                        <a:pt x="5" y="0"/>
                      </a:cubicBezTo>
                      <a:cubicBezTo>
                        <a:pt x="5" y="0"/>
                        <a:pt x="5" y="0"/>
                        <a:pt x="4" y="0"/>
                      </a:cubicBezTo>
                      <a:cubicBezTo>
                        <a:pt x="4" y="0"/>
                        <a:pt x="3" y="1"/>
                        <a:pt x="3" y="1"/>
                      </a:cubicBezTo>
                      <a:cubicBezTo>
                        <a:pt x="3" y="1"/>
                        <a:pt x="3" y="1"/>
                        <a:pt x="3" y="1"/>
                      </a:cubicBezTo>
                      <a:cubicBezTo>
                        <a:pt x="3" y="1"/>
                        <a:pt x="3" y="1"/>
                        <a:pt x="3" y="1"/>
                      </a:cubicBezTo>
                      <a:cubicBezTo>
                        <a:pt x="2" y="1"/>
                        <a:pt x="2" y="1"/>
                        <a:pt x="1" y="2"/>
                      </a:cubicBezTo>
                      <a:cubicBezTo>
                        <a:pt x="1" y="2"/>
                        <a:pt x="1" y="2"/>
                        <a:pt x="1" y="2"/>
                      </a:cubicBezTo>
                      <a:cubicBezTo>
                        <a:pt x="1" y="2"/>
                        <a:pt x="0" y="2"/>
                        <a:pt x="0" y="3"/>
                      </a:cubicBezTo>
                      <a:cubicBezTo>
                        <a:pt x="0" y="3"/>
                        <a:pt x="0" y="3"/>
                        <a:pt x="0" y="3"/>
                      </a:cubicBezTo>
                      <a:cubicBezTo>
                        <a:pt x="0" y="4"/>
                        <a:pt x="0" y="4"/>
                        <a:pt x="0" y="5"/>
                      </a:cubicBezTo>
                      <a:cubicBezTo>
                        <a:pt x="1" y="5"/>
                        <a:pt x="1" y="5"/>
                        <a:pt x="1" y="5"/>
                      </a:cubicBezTo>
                      <a:cubicBezTo>
                        <a:pt x="1" y="5"/>
                        <a:pt x="1" y="5"/>
                        <a:pt x="1" y="5"/>
                      </a:cubicBezTo>
                      <a:cubicBezTo>
                        <a:pt x="2" y="5"/>
                        <a:pt x="2" y="5"/>
                        <a:pt x="3" y="4"/>
                      </a:cubicBezTo>
                      <a:cubicBezTo>
                        <a:pt x="3" y="4"/>
                        <a:pt x="3" y="4"/>
                        <a:pt x="3" y="4"/>
                      </a:cubicBezTo>
                      <a:cubicBezTo>
                        <a:pt x="4" y="4"/>
                        <a:pt x="4" y="4"/>
                        <a:pt x="4" y="4"/>
                      </a:cubicBezTo>
                      <a:cubicBezTo>
                        <a:pt x="4" y="4"/>
                        <a:pt x="5" y="4"/>
                        <a:pt x="5" y="4"/>
                      </a:cubicBezTo>
                      <a:cubicBezTo>
                        <a:pt x="6" y="5"/>
                        <a:pt x="6" y="5"/>
                        <a:pt x="6" y="5"/>
                      </a:cubicBezTo>
                      <a:cubicBezTo>
                        <a:pt x="6" y="5"/>
                        <a:pt x="6" y="5"/>
                        <a:pt x="6" y="5"/>
                      </a:cubicBezTo>
                      <a:cubicBezTo>
                        <a:pt x="7" y="5"/>
                        <a:pt x="8" y="5"/>
                        <a:pt x="8" y="6"/>
                      </a:cubicBezTo>
                      <a:cubicBezTo>
                        <a:pt x="9" y="6"/>
                        <a:pt x="9" y="6"/>
                        <a:pt x="9" y="6"/>
                      </a:cubicBezTo>
                      <a:cubicBezTo>
                        <a:pt x="9" y="6"/>
                        <a:pt x="9" y="6"/>
                        <a:pt x="9" y="6"/>
                      </a:cubicBezTo>
                      <a:cubicBezTo>
                        <a:pt x="9" y="6"/>
                        <a:pt x="9" y="6"/>
                        <a:pt x="9" y="6"/>
                      </a:cubicBezTo>
                      <a:cubicBezTo>
                        <a:pt x="9" y="6"/>
                        <a:pt x="9" y="6"/>
                        <a:pt x="9" y="6"/>
                      </a:cubicBezTo>
                      <a:cubicBezTo>
                        <a:pt x="10" y="6"/>
                        <a:pt x="10" y="6"/>
                        <a:pt x="10" y="6"/>
                      </a:cubicBezTo>
                      <a:cubicBezTo>
                        <a:pt x="10" y="6"/>
                        <a:pt x="10" y="7"/>
                        <a:pt x="11" y="8"/>
                      </a:cubicBezTo>
                      <a:cubicBezTo>
                        <a:pt x="11" y="8"/>
                        <a:pt x="11" y="8"/>
                        <a:pt x="11" y="9"/>
                      </a:cubicBezTo>
                      <a:cubicBezTo>
                        <a:pt x="11" y="9"/>
                        <a:pt x="12" y="9"/>
                        <a:pt x="13" y="9"/>
                      </a:cubicBezTo>
                      <a:cubicBezTo>
                        <a:pt x="13" y="9"/>
                        <a:pt x="13" y="9"/>
                        <a:pt x="13" y="9"/>
                      </a:cubicBezTo>
                      <a:cubicBezTo>
                        <a:pt x="13" y="9"/>
                        <a:pt x="14" y="9"/>
                        <a:pt x="14" y="9"/>
                      </a:cubicBezTo>
                      <a:cubicBezTo>
                        <a:pt x="14" y="9"/>
                        <a:pt x="15" y="10"/>
                        <a:pt x="15" y="10"/>
                      </a:cubicBezTo>
                      <a:cubicBezTo>
                        <a:pt x="15" y="10"/>
                        <a:pt x="16" y="9"/>
                        <a:pt x="16" y="9"/>
                      </a:cubicBezTo>
                      <a:cubicBezTo>
                        <a:pt x="16" y="9"/>
                        <a:pt x="16" y="9"/>
                        <a:pt x="16" y="9"/>
                      </a:cubicBezTo>
                      <a:cubicBezTo>
                        <a:pt x="17" y="9"/>
                        <a:pt x="17" y="9"/>
                        <a:pt x="17" y="9"/>
                      </a:cubicBezTo>
                      <a:cubicBezTo>
                        <a:pt x="17" y="9"/>
                        <a:pt x="17" y="9"/>
                        <a:pt x="17" y="9"/>
                      </a:cubicBezTo>
                      <a:cubicBezTo>
                        <a:pt x="17" y="9"/>
                        <a:pt x="17" y="9"/>
                        <a:pt x="17" y="9"/>
                      </a:cubicBezTo>
                      <a:cubicBezTo>
                        <a:pt x="17" y="9"/>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7" y="10"/>
                        <a:pt x="17" y="10"/>
                      </a:cubicBezTo>
                      <a:cubicBezTo>
                        <a:pt x="17" y="10"/>
                        <a:pt x="16" y="10"/>
                        <a:pt x="16" y="11"/>
                      </a:cubicBezTo>
                      <a:cubicBezTo>
                        <a:pt x="16" y="11"/>
                        <a:pt x="16" y="11"/>
                        <a:pt x="16" y="11"/>
                      </a:cubicBezTo>
                      <a:cubicBezTo>
                        <a:pt x="16" y="12"/>
                        <a:pt x="16" y="12"/>
                        <a:pt x="16" y="12"/>
                      </a:cubicBezTo>
                      <a:cubicBezTo>
                        <a:pt x="16" y="12"/>
                        <a:pt x="16" y="13"/>
                        <a:pt x="17" y="13"/>
                      </a:cubicBezTo>
                      <a:cubicBezTo>
                        <a:pt x="17" y="13"/>
                        <a:pt x="17" y="13"/>
                        <a:pt x="18" y="13"/>
                      </a:cubicBezTo>
                      <a:cubicBezTo>
                        <a:pt x="18" y="13"/>
                        <a:pt x="19" y="13"/>
                        <a:pt x="19" y="13"/>
                      </a:cubicBezTo>
                      <a:cubicBezTo>
                        <a:pt x="19" y="13"/>
                        <a:pt x="20" y="13"/>
                        <a:pt x="20" y="13"/>
                      </a:cubicBezTo>
                      <a:cubicBezTo>
                        <a:pt x="20" y="13"/>
                        <a:pt x="20" y="13"/>
                        <a:pt x="20" y="13"/>
                      </a:cubicBezTo>
                      <a:cubicBezTo>
                        <a:pt x="20" y="13"/>
                        <a:pt x="21" y="14"/>
                        <a:pt x="21" y="14"/>
                      </a:cubicBezTo>
                      <a:cubicBezTo>
                        <a:pt x="21" y="14"/>
                        <a:pt x="21" y="14"/>
                        <a:pt x="21" y="14"/>
                      </a:cubicBezTo>
                      <a:cubicBezTo>
                        <a:pt x="22" y="14"/>
                        <a:pt x="22" y="14"/>
                        <a:pt x="22" y="14"/>
                      </a:cubicBezTo>
                      <a:cubicBezTo>
                        <a:pt x="22" y="13"/>
                        <a:pt x="22" y="13"/>
                        <a:pt x="22" y="13"/>
                      </a:cubicBezTo>
                      <a:cubicBezTo>
                        <a:pt x="22" y="13"/>
                        <a:pt x="23" y="13"/>
                        <a:pt x="23" y="13"/>
                      </a:cubicBezTo>
                      <a:cubicBezTo>
                        <a:pt x="23" y="13"/>
                        <a:pt x="23" y="13"/>
                        <a:pt x="23" y="12"/>
                      </a:cubicBezTo>
                      <a:cubicBezTo>
                        <a:pt x="24" y="12"/>
                        <a:pt x="24" y="12"/>
                        <a:pt x="24" y="12"/>
                      </a:cubicBezTo>
                      <a:cubicBezTo>
                        <a:pt x="24" y="12"/>
                        <a:pt x="24" y="12"/>
                        <a:pt x="24" y="12"/>
                      </a:cubicBezTo>
                      <a:cubicBezTo>
                        <a:pt x="25" y="12"/>
                        <a:pt x="25" y="13"/>
                        <a:pt x="26" y="12"/>
                      </a:cubicBezTo>
                      <a:cubicBezTo>
                        <a:pt x="26" y="12"/>
                        <a:pt x="26" y="12"/>
                        <a:pt x="26" y="12"/>
                      </a:cubicBezTo>
                      <a:cubicBezTo>
                        <a:pt x="27" y="11"/>
                        <a:pt x="26" y="11"/>
                        <a:pt x="26" y="11"/>
                      </a:cubicBezTo>
                      <a:cubicBezTo>
                        <a:pt x="26" y="10"/>
                        <a:pt x="26" y="10"/>
                        <a:pt x="25"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53" name="Freeform 264">
                  <a:extLst>
                    <a:ext uri="{FF2B5EF4-FFF2-40B4-BE49-F238E27FC236}">
                      <a16:creationId xmlns:a16="http://schemas.microsoft.com/office/drawing/2014/main" id="{CA81646B-4A89-4A6F-9753-863817C2D8D0}"/>
                    </a:ext>
                  </a:extLst>
                </p:cNvPr>
                <p:cNvSpPr>
                  <a:spLocks/>
                </p:cNvSpPr>
                <p:nvPr/>
              </p:nvSpPr>
              <p:spPr bwMode="auto">
                <a:xfrm>
                  <a:off x="4367554" y="4134365"/>
                  <a:ext cx="5046" cy="4266"/>
                </a:xfrm>
                <a:custGeom>
                  <a:avLst/>
                  <a:gdLst>
                    <a:gd name="T0" fmla="*/ 2 w 4"/>
                    <a:gd name="T1" fmla="*/ 0 h 3"/>
                    <a:gd name="T2" fmla="*/ 2 w 4"/>
                    <a:gd name="T3" fmla="*/ 0 h 3"/>
                    <a:gd name="T4" fmla="*/ 1 w 4"/>
                    <a:gd name="T5" fmla="*/ 1 h 3"/>
                    <a:gd name="T6" fmla="*/ 0 w 4"/>
                    <a:gd name="T7" fmla="*/ 2 h 3"/>
                    <a:gd name="T8" fmla="*/ 0 w 4"/>
                    <a:gd name="T9" fmla="*/ 3 h 3"/>
                    <a:gd name="T10" fmla="*/ 1 w 4"/>
                    <a:gd name="T11" fmla="*/ 3 h 3"/>
                    <a:gd name="T12" fmla="*/ 1 w 4"/>
                    <a:gd name="T13" fmla="*/ 3 h 3"/>
                    <a:gd name="T14" fmla="*/ 2 w 4"/>
                    <a:gd name="T15" fmla="*/ 3 h 3"/>
                    <a:gd name="T16" fmla="*/ 3 w 4"/>
                    <a:gd name="T17" fmla="*/ 3 h 3"/>
                    <a:gd name="T18" fmla="*/ 4 w 4"/>
                    <a:gd name="T19" fmla="*/ 2 h 3"/>
                    <a:gd name="T20" fmla="*/ 4 w 4"/>
                    <a:gd name="T21" fmla="*/ 1 h 3"/>
                    <a:gd name="T22" fmla="*/ 2 w 4"/>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2" y="0"/>
                      </a:moveTo>
                      <a:cubicBezTo>
                        <a:pt x="2" y="0"/>
                        <a:pt x="2" y="0"/>
                        <a:pt x="2" y="0"/>
                      </a:cubicBezTo>
                      <a:cubicBezTo>
                        <a:pt x="1" y="0"/>
                        <a:pt x="1" y="0"/>
                        <a:pt x="1" y="1"/>
                      </a:cubicBezTo>
                      <a:cubicBezTo>
                        <a:pt x="0" y="1"/>
                        <a:pt x="0" y="1"/>
                        <a:pt x="0" y="2"/>
                      </a:cubicBezTo>
                      <a:cubicBezTo>
                        <a:pt x="0" y="2"/>
                        <a:pt x="0" y="3"/>
                        <a:pt x="0" y="3"/>
                      </a:cubicBezTo>
                      <a:cubicBezTo>
                        <a:pt x="0" y="3"/>
                        <a:pt x="1" y="3"/>
                        <a:pt x="1" y="3"/>
                      </a:cubicBezTo>
                      <a:cubicBezTo>
                        <a:pt x="1" y="3"/>
                        <a:pt x="1" y="3"/>
                        <a:pt x="1" y="3"/>
                      </a:cubicBezTo>
                      <a:cubicBezTo>
                        <a:pt x="1" y="3"/>
                        <a:pt x="2" y="3"/>
                        <a:pt x="2" y="3"/>
                      </a:cubicBezTo>
                      <a:cubicBezTo>
                        <a:pt x="2" y="3"/>
                        <a:pt x="2" y="3"/>
                        <a:pt x="3" y="3"/>
                      </a:cubicBezTo>
                      <a:cubicBezTo>
                        <a:pt x="3" y="3"/>
                        <a:pt x="4" y="3"/>
                        <a:pt x="4" y="2"/>
                      </a:cubicBezTo>
                      <a:cubicBezTo>
                        <a:pt x="4" y="2"/>
                        <a:pt x="4" y="1"/>
                        <a:pt x="4" y="1"/>
                      </a:cubicBezTo>
                      <a:cubicBezTo>
                        <a:pt x="3" y="1"/>
                        <a:pt x="3" y="1"/>
                        <a:pt x="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54" name="Freeform 265">
                  <a:extLst>
                    <a:ext uri="{FF2B5EF4-FFF2-40B4-BE49-F238E27FC236}">
                      <a16:creationId xmlns:a16="http://schemas.microsoft.com/office/drawing/2014/main" id="{60DD01E3-F4EC-4278-9944-BBB4EA33F634}"/>
                    </a:ext>
                  </a:extLst>
                </p:cNvPr>
                <p:cNvSpPr>
                  <a:spLocks noEditPoints="1"/>
                </p:cNvSpPr>
                <p:nvPr/>
              </p:nvSpPr>
              <p:spPr bwMode="auto">
                <a:xfrm>
                  <a:off x="4458383" y="3984001"/>
                  <a:ext cx="25230" cy="11731"/>
                </a:xfrm>
                <a:custGeom>
                  <a:avLst/>
                  <a:gdLst>
                    <a:gd name="T0" fmla="*/ 12 w 18"/>
                    <a:gd name="T1" fmla="*/ 7 h 8"/>
                    <a:gd name="T2" fmla="*/ 13 w 18"/>
                    <a:gd name="T3" fmla="*/ 7 h 8"/>
                    <a:gd name="T4" fmla="*/ 13 w 18"/>
                    <a:gd name="T5" fmla="*/ 7 h 8"/>
                    <a:gd name="T6" fmla="*/ 14 w 18"/>
                    <a:gd name="T7" fmla="*/ 7 h 8"/>
                    <a:gd name="T8" fmla="*/ 14 w 18"/>
                    <a:gd name="T9" fmla="*/ 7 h 8"/>
                    <a:gd name="T10" fmla="*/ 16 w 18"/>
                    <a:gd name="T11" fmla="*/ 6 h 8"/>
                    <a:gd name="T12" fmla="*/ 16 w 18"/>
                    <a:gd name="T13" fmla="*/ 5 h 8"/>
                    <a:gd name="T14" fmla="*/ 18 w 18"/>
                    <a:gd name="T15" fmla="*/ 4 h 8"/>
                    <a:gd name="T16" fmla="*/ 18 w 18"/>
                    <a:gd name="T17" fmla="*/ 3 h 8"/>
                    <a:gd name="T18" fmla="*/ 16 w 18"/>
                    <a:gd name="T19" fmla="*/ 2 h 8"/>
                    <a:gd name="T20" fmla="*/ 16 w 18"/>
                    <a:gd name="T21" fmla="*/ 1 h 8"/>
                    <a:gd name="T22" fmla="*/ 15 w 18"/>
                    <a:gd name="T23" fmla="*/ 0 h 8"/>
                    <a:gd name="T24" fmla="*/ 14 w 18"/>
                    <a:gd name="T25" fmla="*/ 0 h 8"/>
                    <a:gd name="T26" fmla="*/ 13 w 18"/>
                    <a:gd name="T27" fmla="*/ 0 h 8"/>
                    <a:gd name="T28" fmla="*/ 12 w 18"/>
                    <a:gd name="T29" fmla="*/ 0 h 8"/>
                    <a:gd name="T30" fmla="*/ 11 w 18"/>
                    <a:gd name="T31" fmla="*/ 0 h 8"/>
                    <a:gd name="T32" fmla="*/ 11 w 18"/>
                    <a:gd name="T33" fmla="*/ 1 h 8"/>
                    <a:gd name="T34" fmla="*/ 10 w 18"/>
                    <a:gd name="T35" fmla="*/ 1 h 8"/>
                    <a:gd name="T36" fmla="*/ 10 w 18"/>
                    <a:gd name="T37" fmla="*/ 1 h 8"/>
                    <a:gd name="T38" fmla="*/ 9 w 18"/>
                    <a:gd name="T39" fmla="*/ 1 h 8"/>
                    <a:gd name="T40" fmla="*/ 8 w 18"/>
                    <a:gd name="T41" fmla="*/ 1 h 8"/>
                    <a:gd name="T42" fmla="*/ 6 w 18"/>
                    <a:gd name="T43" fmla="*/ 1 h 8"/>
                    <a:gd name="T44" fmla="*/ 6 w 18"/>
                    <a:gd name="T45" fmla="*/ 1 h 8"/>
                    <a:gd name="T46" fmla="*/ 5 w 18"/>
                    <a:gd name="T47" fmla="*/ 1 h 8"/>
                    <a:gd name="T48" fmla="*/ 4 w 18"/>
                    <a:gd name="T49" fmla="*/ 0 h 8"/>
                    <a:gd name="T50" fmla="*/ 3 w 18"/>
                    <a:gd name="T51" fmla="*/ 0 h 8"/>
                    <a:gd name="T52" fmla="*/ 2 w 18"/>
                    <a:gd name="T53" fmla="*/ 1 h 8"/>
                    <a:gd name="T54" fmla="*/ 1 w 18"/>
                    <a:gd name="T55" fmla="*/ 1 h 8"/>
                    <a:gd name="T56" fmla="*/ 0 w 18"/>
                    <a:gd name="T57" fmla="*/ 2 h 8"/>
                    <a:gd name="T58" fmla="*/ 0 w 18"/>
                    <a:gd name="T59" fmla="*/ 3 h 8"/>
                    <a:gd name="T60" fmla="*/ 0 w 18"/>
                    <a:gd name="T61" fmla="*/ 3 h 8"/>
                    <a:gd name="T62" fmla="*/ 0 w 18"/>
                    <a:gd name="T63" fmla="*/ 4 h 8"/>
                    <a:gd name="T64" fmla="*/ 0 w 18"/>
                    <a:gd name="T65" fmla="*/ 4 h 8"/>
                    <a:gd name="T66" fmla="*/ 0 w 18"/>
                    <a:gd name="T67" fmla="*/ 4 h 8"/>
                    <a:gd name="T68" fmla="*/ 2 w 18"/>
                    <a:gd name="T69" fmla="*/ 5 h 8"/>
                    <a:gd name="T70" fmla="*/ 2 w 18"/>
                    <a:gd name="T71" fmla="*/ 6 h 8"/>
                    <a:gd name="T72" fmla="*/ 3 w 18"/>
                    <a:gd name="T73" fmla="*/ 7 h 8"/>
                    <a:gd name="T74" fmla="*/ 5 w 18"/>
                    <a:gd name="T75" fmla="*/ 7 h 8"/>
                    <a:gd name="T76" fmla="*/ 5 w 18"/>
                    <a:gd name="T77" fmla="*/ 7 h 8"/>
                    <a:gd name="T78" fmla="*/ 6 w 18"/>
                    <a:gd name="T79" fmla="*/ 8 h 8"/>
                    <a:gd name="T80" fmla="*/ 8 w 18"/>
                    <a:gd name="T81" fmla="*/ 8 h 8"/>
                    <a:gd name="T82" fmla="*/ 8 w 18"/>
                    <a:gd name="T83" fmla="*/ 8 h 8"/>
                    <a:gd name="T84" fmla="*/ 8 w 18"/>
                    <a:gd name="T85" fmla="*/ 8 h 8"/>
                    <a:gd name="T86" fmla="*/ 9 w 18"/>
                    <a:gd name="T87" fmla="*/ 8 h 8"/>
                    <a:gd name="T88" fmla="*/ 10 w 18"/>
                    <a:gd name="T89" fmla="*/ 8 h 8"/>
                    <a:gd name="T90" fmla="*/ 11 w 18"/>
                    <a:gd name="T91" fmla="*/ 8 h 8"/>
                    <a:gd name="T92" fmla="*/ 11 w 18"/>
                    <a:gd name="T93" fmla="*/ 7 h 8"/>
                    <a:gd name="T94" fmla="*/ 12 w 18"/>
                    <a:gd name="T95" fmla="*/ 7 h 8"/>
                    <a:gd name="T96" fmla="*/ 9 w 18"/>
                    <a:gd name="T97" fmla="*/ 7 h 8"/>
                    <a:gd name="T98" fmla="*/ 9 w 18"/>
                    <a:gd name="T99" fmla="*/ 7 h 8"/>
                    <a:gd name="T100" fmla="*/ 9 w 18"/>
                    <a:gd name="T101"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8">
                      <a:moveTo>
                        <a:pt x="12" y="7"/>
                      </a:moveTo>
                      <a:cubicBezTo>
                        <a:pt x="12" y="7"/>
                        <a:pt x="13" y="7"/>
                        <a:pt x="13" y="7"/>
                      </a:cubicBezTo>
                      <a:cubicBezTo>
                        <a:pt x="13" y="7"/>
                        <a:pt x="13" y="7"/>
                        <a:pt x="13" y="7"/>
                      </a:cubicBezTo>
                      <a:cubicBezTo>
                        <a:pt x="13" y="7"/>
                        <a:pt x="14" y="7"/>
                        <a:pt x="14" y="7"/>
                      </a:cubicBezTo>
                      <a:cubicBezTo>
                        <a:pt x="14" y="7"/>
                        <a:pt x="14" y="7"/>
                        <a:pt x="14" y="7"/>
                      </a:cubicBezTo>
                      <a:cubicBezTo>
                        <a:pt x="14" y="7"/>
                        <a:pt x="15" y="6"/>
                        <a:pt x="16" y="6"/>
                      </a:cubicBezTo>
                      <a:cubicBezTo>
                        <a:pt x="16" y="6"/>
                        <a:pt x="16" y="5"/>
                        <a:pt x="16" y="5"/>
                      </a:cubicBezTo>
                      <a:cubicBezTo>
                        <a:pt x="17" y="5"/>
                        <a:pt x="18" y="4"/>
                        <a:pt x="18" y="4"/>
                      </a:cubicBezTo>
                      <a:cubicBezTo>
                        <a:pt x="18" y="3"/>
                        <a:pt x="18" y="3"/>
                        <a:pt x="18" y="3"/>
                      </a:cubicBezTo>
                      <a:cubicBezTo>
                        <a:pt x="17" y="2"/>
                        <a:pt x="17" y="2"/>
                        <a:pt x="16" y="2"/>
                      </a:cubicBezTo>
                      <a:cubicBezTo>
                        <a:pt x="16" y="2"/>
                        <a:pt x="16" y="1"/>
                        <a:pt x="16" y="1"/>
                      </a:cubicBezTo>
                      <a:cubicBezTo>
                        <a:pt x="16" y="1"/>
                        <a:pt x="15" y="0"/>
                        <a:pt x="15" y="0"/>
                      </a:cubicBezTo>
                      <a:cubicBezTo>
                        <a:pt x="14" y="0"/>
                        <a:pt x="14" y="0"/>
                        <a:pt x="14" y="0"/>
                      </a:cubicBezTo>
                      <a:cubicBezTo>
                        <a:pt x="14" y="0"/>
                        <a:pt x="14" y="0"/>
                        <a:pt x="13" y="0"/>
                      </a:cubicBezTo>
                      <a:cubicBezTo>
                        <a:pt x="13" y="0"/>
                        <a:pt x="12" y="0"/>
                        <a:pt x="12" y="0"/>
                      </a:cubicBezTo>
                      <a:cubicBezTo>
                        <a:pt x="11" y="0"/>
                        <a:pt x="11" y="0"/>
                        <a:pt x="11" y="0"/>
                      </a:cubicBezTo>
                      <a:cubicBezTo>
                        <a:pt x="11" y="0"/>
                        <a:pt x="11" y="1"/>
                        <a:pt x="11" y="1"/>
                      </a:cubicBezTo>
                      <a:cubicBezTo>
                        <a:pt x="10" y="1"/>
                        <a:pt x="10" y="1"/>
                        <a:pt x="10" y="1"/>
                      </a:cubicBezTo>
                      <a:cubicBezTo>
                        <a:pt x="10" y="1"/>
                        <a:pt x="10" y="1"/>
                        <a:pt x="10" y="1"/>
                      </a:cubicBezTo>
                      <a:cubicBezTo>
                        <a:pt x="9" y="1"/>
                        <a:pt x="9" y="1"/>
                        <a:pt x="9" y="1"/>
                      </a:cubicBezTo>
                      <a:cubicBezTo>
                        <a:pt x="8" y="1"/>
                        <a:pt x="8" y="1"/>
                        <a:pt x="8" y="1"/>
                      </a:cubicBezTo>
                      <a:cubicBezTo>
                        <a:pt x="7" y="0"/>
                        <a:pt x="6" y="1"/>
                        <a:pt x="6" y="1"/>
                      </a:cubicBezTo>
                      <a:cubicBezTo>
                        <a:pt x="6" y="1"/>
                        <a:pt x="6" y="1"/>
                        <a:pt x="6" y="1"/>
                      </a:cubicBezTo>
                      <a:cubicBezTo>
                        <a:pt x="5" y="1"/>
                        <a:pt x="5" y="1"/>
                        <a:pt x="5" y="1"/>
                      </a:cubicBezTo>
                      <a:cubicBezTo>
                        <a:pt x="5" y="1"/>
                        <a:pt x="5" y="1"/>
                        <a:pt x="4" y="0"/>
                      </a:cubicBezTo>
                      <a:cubicBezTo>
                        <a:pt x="4" y="0"/>
                        <a:pt x="4" y="0"/>
                        <a:pt x="3" y="0"/>
                      </a:cubicBezTo>
                      <a:cubicBezTo>
                        <a:pt x="3" y="0"/>
                        <a:pt x="2" y="0"/>
                        <a:pt x="2" y="1"/>
                      </a:cubicBezTo>
                      <a:cubicBezTo>
                        <a:pt x="1" y="1"/>
                        <a:pt x="1" y="1"/>
                        <a:pt x="1" y="1"/>
                      </a:cubicBezTo>
                      <a:cubicBezTo>
                        <a:pt x="1" y="1"/>
                        <a:pt x="0" y="1"/>
                        <a:pt x="0" y="2"/>
                      </a:cubicBezTo>
                      <a:cubicBezTo>
                        <a:pt x="0" y="2"/>
                        <a:pt x="0" y="2"/>
                        <a:pt x="0" y="3"/>
                      </a:cubicBezTo>
                      <a:cubicBezTo>
                        <a:pt x="0" y="3"/>
                        <a:pt x="0" y="3"/>
                        <a:pt x="0" y="3"/>
                      </a:cubicBezTo>
                      <a:cubicBezTo>
                        <a:pt x="0" y="4"/>
                        <a:pt x="0" y="4"/>
                        <a:pt x="0" y="4"/>
                      </a:cubicBezTo>
                      <a:cubicBezTo>
                        <a:pt x="0" y="4"/>
                        <a:pt x="0" y="4"/>
                        <a:pt x="0" y="4"/>
                      </a:cubicBezTo>
                      <a:cubicBezTo>
                        <a:pt x="0" y="4"/>
                        <a:pt x="0" y="4"/>
                        <a:pt x="0" y="4"/>
                      </a:cubicBezTo>
                      <a:cubicBezTo>
                        <a:pt x="0" y="5"/>
                        <a:pt x="1" y="5"/>
                        <a:pt x="2" y="5"/>
                      </a:cubicBezTo>
                      <a:cubicBezTo>
                        <a:pt x="2" y="6"/>
                        <a:pt x="2" y="6"/>
                        <a:pt x="2" y="6"/>
                      </a:cubicBezTo>
                      <a:cubicBezTo>
                        <a:pt x="2" y="6"/>
                        <a:pt x="2" y="7"/>
                        <a:pt x="3" y="7"/>
                      </a:cubicBezTo>
                      <a:cubicBezTo>
                        <a:pt x="3" y="7"/>
                        <a:pt x="4" y="7"/>
                        <a:pt x="5" y="7"/>
                      </a:cubicBezTo>
                      <a:cubicBezTo>
                        <a:pt x="5" y="7"/>
                        <a:pt x="5" y="7"/>
                        <a:pt x="5" y="7"/>
                      </a:cubicBezTo>
                      <a:cubicBezTo>
                        <a:pt x="5" y="7"/>
                        <a:pt x="6" y="8"/>
                        <a:pt x="6" y="8"/>
                      </a:cubicBezTo>
                      <a:cubicBezTo>
                        <a:pt x="6" y="8"/>
                        <a:pt x="6" y="8"/>
                        <a:pt x="8" y="8"/>
                      </a:cubicBezTo>
                      <a:cubicBezTo>
                        <a:pt x="8" y="8"/>
                        <a:pt x="8" y="8"/>
                        <a:pt x="8" y="8"/>
                      </a:cubicBezTo>
                      <a:cubicBezTo>
                        <a:pt x="8" y="8"/>
                        <a:pt x="8" y="8"/>
                        <a:pt x="8" y="8"/>
                      </a:cubicBezTo>
                      <a:cubicBezTo>
                        <a:pt x="8" y="8"/>
                        <a:pt x="9" y="8"/>
                        <a:pt x="9" y="8"/>
                      </a:cubicBezTo>
                      <a:cubicBezTo>
                        <a:pt x="10" y="8"/>
                        <a:pt x="10" y="8"/>
                        <a:pt x="10" y="8"/>
                      </a:cubicBezTo>
                      <a:cubicBezTo>
                        <a:pt x="10" y="8"/>
                        <a:pt x="10" y="8"/>
                        <a:pt x="11" y="8"/>
                      </a:cubicBezTo>
                      <a:cubicBezTo>
                        <a:pt x="11" y="8"/>
                        <a:pt x="11" y="8"/>
                        <a:pt x="11" y="7"/>
                      </a:cubicBezTo>
                      <a:cubicBezTo>
                        <a:pt x="11" y="7"/>
                        <a:pt x="12" y="7"/>
                        <a:pt x="12" y="7"/>
                      </a:cubicBezTo>
                      <a:close/>
                      <a:moveTo>
                        <a:pt x="9" y="7"/>
                      </a:moveTo>
                      <a:cubicBezTo>
                        <a:pt x="9" y="7"/>
                        <a:pt x="9" y="7"/>
                        <a:pt x="9" y="7"/>
                      </a:cubicBezTo>
                      <a:cubicBezTo>
                        <a:pt x="9" y="7"/>
                        <a:pt x="9" y="7"/>
                        <a:pt x="9"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56" name="Freeform 267">
                  <a:extLst>
                    <a:ext uri="{FF2B5EF4-FFF2-40B4-BE49-F238E27FC236}">
                      <a16:creationId xmlns:a16="http://schemas.microsoft.com/office/drawing/2014/main" id="{A0AA9A23-BC03-44BD-BC18-3B240851D41A}"/>
                    </a:ext>
                  </a:extLst>
                </p:cNvPr>
                <p:cNvSpPr>
                  <a:spLocks noEditPoints="1"/>
                </p:cNvSpPr>
                <p:nvPr/>
              </p:nvSpPr>
              <p:spPr bwMode="auto">
                <a:xfrm>
                  <a:off x="4276725" y="3764321"/>
                  <a:ext cx="429923" cy="455357"/>
                </a:xfrm>
                <a:custGeom>
                  <a:avLst/>
                  <a:gdLst>
                    <a:gd name="T0" fmla="*/ 252 w 311"/>
                    <a:gd name="T1" fmla="*/ 103 h 311"/>
                    <a:gd name="T2" fmla="*/ 252 w 311"/>
                    <a:gd name="T3" fmla="*/ 123 h 311"/>
                    <a:gd name="T4" fmla="*/ 16 w 311"/>
                    <a:gd name="T5" fmla="*/ 165 h 311"/>
                    <a:gd name="T6" fmla="*/ 54 w 311"/>
                    <a:gd name="T7" fmla="*/ 189 h 311"/>
                    <a:gd name="T8" fmla="*/ 65 w 311"/>
                    <a:gd name="T9" fmla="*/ 249 h 311"/>
                    <a:gd name="T10" fmla="*/ 109 w 311"/>
                    <a:gd name="T11" fmla="*/ 251 h 311"/>
                    <a:gd name="T12" fmla="*/ 85 w 311"/>
                    <a:gd name="T13" fmla="*/ 190 h 311"/>
                    <a:gd name="T14" fmla="*/ 48 w 311"/>
                    <a:gd name="T15" fmla="*/ 184 h 311"/>
                    <a:gd name="T16" fmla="*/ 23 w 311"/>
                    <a:gd name="T17" fmla="*/ 150 h 311"/>
                    <a:gd name="T18" fmla="*/ 54 w 311"/>
                    <a:gd name="T19" fmla="*/ 129 h 311"/>
                    <a:gd name="T20" fmla="*/ 74 w 311"/>
                    <a:gd name="T21" fmla="*/ 105 h 311"/>
                    <a:gd name="T22" fmla="*/ 74 w 311"/>
                    <a:gd name="T23" fmla="*/ 98 h 311"/>
                    <a:gd name="T24" fmla="*/ 91 w 311"/>
                    <a:gd name="T25" fmla="*/ 103 h 311"/>
                    <a:gd name="T26" fmla="*/ 81 w 311"/>
                    <a:gd name="T27" fmla="*/ 84 h 311"/>
                    <a:gd name="T28" fmla="*/ 53 w 311"/>
                    <a:gd name="T29" fmla="*/ 71 h 311"/>
                    <a:gd name="T30" fmla="*/ 48 w 311"/>
                    <a:gd name="T31" fmla="*/ 68 h 311"/>
                    <a:gd name="T32" fmla="*/ 58 w 311"/>
                    <a:gd name="T33" fmla="*/ 62 h 311"/>
                    <a:gd name="T34" fmla="*/ 72 w 311"/>
                    <a:gd name="T35" fmla="*/ 61 h 311"/>
                    <a:gd name="T36" fmla="*/ 86 w 311"/>
                    <a:gd name="T37" fmla="*/ 43 h 311"/>
                    <a:gd name="T38" fmla="*/ 93 w 311"/>
                    <a:gd name="T39" fmla="*/ 64 h 311"/>
                    <a:gd name="T40" fmla="*/ 139 w 311"/>
                    <a:gd name="T41" fmla="*/ 49 h 311"/>
                    <a:gd name="T42" fmla="*/ 143 w 311"/>
                    <a:gd name="T43" fmla="*/ 37 h 311"/>
                    <a:gd name="T44" fmla="*/ 135 w 311"/>
                    <a:gd name="T45" fmla="*/ 27 h 311"/>
                    <a:gd name="T46" fmla="*/ 254 w 311"/>
                    <a:gd name="T47" fmla="*/ 55 h 311"/>
                    <a:gd name="T48" fmla="*/ 234 w 311"/>
                    <a:gd name="T49" fmla="*/ 63 h 311"/>
                    <a:gd name="T50" fmla="*/ 234 w 311"/>
                    <a:gd name="T51" fmla="*/ 56 h 311"/>
                    <a:gd name="T52" fmla="*/ 213 w 311"/>
                    <a:gd name="T53" fmla="*/ 51 h 311"/>
                    <a:gd name="T54" fmla="*/ 204 w 311"/>
                    <a:gd name="T55" fmla="*/ 53 h 311"/>
                    <a:gd name="T56" fmla="*/ 193 w 311"/>
                    <a:gd name="T57" fmla="*/ 57 h 311"/>
                    <a:gd name="T58" fmla="*/ 187 w 311"/>
                    <a:gd name="T59" fmla="*/ 66 h 311"/>
                    <a:gd name="T60" fmla="*/ 189 w 311"/>
                    <a:gd name="T61" fmla="*/ 74 h 311"/>
                    <a:gd name="T62" fmla="*/ 200 w 311"/>
                    <a:gd name="T63" fmla="*/ 69 h 311"/>
                    <a:gd name="T64" fmla="*/ 214 w 311"/>
                    <a:gd name="T65" fmla="*/ 73 h 311"/>
                    <a:gd name="T66" fmla="*/ 201 w 311"/>
                    <a:gd name="T67" fmla="*/ 86 h 311"/>
                    <a:gd name="T68" fmla="*/ 186 w 311"/>
                    <a:gd name="T69" fmla="*/ 80 h 311"/>
                    <a:gd name="T70" fmla="*/ 170 w 311"/>
                    <a:gd name="T71" fmla="*/ 78 h 311"/>
                    <a:gd name="T72" fmla="*/ 159 w 311"/>
                    <a:gd name="T73" fmla="*/ 84 h 311"/>
                    <a:gd name="T74" fmla="*/ 168 w 311"/>
                    <a:gd name="T75" fmla="*/ 95 h 311"/>
                    <a:gd name="T76" fmla="*/ 161 w 311"/>
                    <a:gd name="T77" fmla="*/ 109 h 311"/>
                    <a:gd name="T78" fmla="*/ 184 w 311"/>
                    <a:gd name="T79" fmla="*/ 109 h 311"/>
                    <a:gd name="T80" fmla="*/ 197 w 311"/>
                    <a:gd name="T81" fmla="*/ 121 h 311"/>
                    <a:gd name="T82" fmla="*/ 197 w 311"/>
                    <a:gd name="T83" fmla="*/ 109 h 311"/>
                    <a:gd name="T84" fmla="*/ 210 w 311"/>
                    <a:gd name="T85" fmla="*/ 120 h 311"/>
                    <a:gd name="T86" fmla="*/ 216 w 311"/>
                    <a:gd name="T87" fmla="*/ 116 h 311"/>
                    <a:gd name="T88" fmla="*/ 221 w 311"/>
                    <a:gd name="T89" fmla="*/ 124 h 311"/>
                    <a:gd name="T90" fmla="*/ 208 w 311"/>
                    <a:gd name="T91" fmla="*/ 133 h 311"/>
                    <a:gd name="T92" fmla="*/ 188 w 311"/>
                    <a:gd name="T93" fmla="*/ 123 h 311"/>
                    <a:gd name="T94" fmla="*/ 157 w 311"/>
                    <a:gd name="T95" fmla="*/ 141 h 311"/>
                    <a:gd name="T96" fmla="*/ 152 w 311"/>
                    <a:gd name="T97" fmla="*/ 183 h 311"/>
                    <a:gd name="T98" fmla="*/ 187 w 311"/>
                    <a:gd name="T99" fmla="*/ 202 h 311"/>
                    <a:gd name="T100" fmla="*/ 196 w 311"/>
                    <a:gd name="T101" fmla="*/ 260 h 311"/>
                    <a:gd name="T102" fmla="*/ 221 w 311"/>
                    <a:gd name="T103" fmla="*/ 266 h 311"/>
                    <a:gd name="T104" fmla="*/ 243 w 311"/>
                    <a:gd name="T105" fmla="*/ 198 h 311"/>
                    <a:gd name="T106" fmla="*/ 234 w 311"/>
                    <a:gd name="T107" fmla="*/ 171 h 311"/>
                    <a:gd name="T108" fmla="*/ 226 w 311"/>
                    <a:gd name="T109" fmla="*/ 143 h 311"/>
                    <a:gd name="T110" fmla="*/ 247 w 311"/>
                    <a:gd name="T111" fmla="*/ 173 h 311"/>
                    <a:gd name="T112" fmla="*/ 255 w 311"/>
                    <a:gd name="T113" fmla="*/ 151 h 311"/>
                    <a:gd name="T114" fmla="*/ 253 w 311"/>
                    <a:gd name="T115" fmla="*/ 144 h 311"/>
                    <a:gd name="T116" fmla="*/ 280 w 311"/>
                    <a:gd name="T117" fmla="*/ 158 h 311"/>
                    <a:gd name="T118" fmla="*/ 223 w 311"/>
                    <a:gd name="T119" fmla="*/ 107 h 311"/>
                    <a:gd name="T120" fmla="*/ 222 w 311"/>
                    <a:gd name="T121" fmla="*/ 112 h 311"/>
                    <a:gd name="T122" fmla="*/ 227 w 311"/>
                    <a:gd name="T123" fmla="*/ 10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 h="311">
                      <a:moveTo>
                        <a:pt x="155" y="0"/>
                      </a:moveTo>
                      <a:cubicBezTo>
                        <a:pt x="69" y="0"/>
                        <a:pt x="0" y="70"/>
                        <a:pt x="0" y="156"/>
                      </a:cubicBezTo>
                      <a:cubicBezTo>
                        <a:pt x="0" y="241"/>
                        <a:pt x="69" y="311"/>
                        <a:pt x="155" y="311"/>
                      </a:cubicBezTo>
                      <a:cubicBezTo>
                        <a:pt x="241" y="311"/>
                        <a:pt x="311" y="241"/>
                        <a:pt x="311" y="156"/>
                      </a:cubicBezTo>
                      <a:cubicBezTo>
                        <a:pt x="311" y="70"/>
                        <a:pt x="241" y="0"/>
                        <a:pt x="155" y="0"/>
                      </a:cubicBezTo>
                      <a:close/>
                      <a:moveTo>
                        <a:pt x="248" y="121"/>
                      </a:moveTo>
                      <a:cubicBezTo>
                        <a:pt x="249" y="121"/>
                        <a:pt x="249" y="120"/>
                        <a:pt x="249" y="120"/>
                      </a:cubicBezTo>
                      <a:cubicBezTo>
                        <a:pt x="249" y="120"/>
                        <a:pt x="249" y="120"/>
                        <a:pt x="249" y="120"/>
                      </a:cubicBezTo>
                      <a:cubicBezTo>
                        <a:pt x="249" y="120"/>
                        <a:pt x="249" y="119"/>
                        <a:pt x="249" y="118"/>
                      </a:cubicBezTo>
                      <a:cubicBezTo>
                        <a:pt x="249" y="118"/>
                        <a:pt x="249" y="118"/>
                        <a:pt x="249" y="117"/>
                      </a:cubicBezTo>
                      <a:cubicBezTo>
                        <a:pt x="249" y="117"/>
                        <a:pt x="249" y="117"/>
                        <a:pt x="249" y="117"/>
                      </a:cubicBezTo>
                      <a:cubicBezTo>
                        <a:pt x="250" y="117"/>
                        <a:pt x="250" y="117"/>
                        <a:pt x="250" y="117"/>
                      </a:cubicBezTo>
                      <a:cubicBezTo>
                        <a:pt x="250" y="117"/>
                        <a:pt x="250" y="117"/>
                        <a:pt x="250" y="117"/>
                      </a:cubicBezTo>
                      <a:cubicBezTo>
                        <a:pt x="250" y="117"/>
                        <a:pt x="251" y="117"/>
                        <a:pt x="251" y="117"/>
                      </a:cubicBezTo>
                      <a:cubicBezTo>
                        <a:pt x="251" y="116"/>
                        <a:pt x="251" y="116"/>
                        <a:pt x="251" y="116"/>
                      </a:cubicBezTo>
                      <a:cubicBezTo>
                        <a:pt x="251" y="116"/>
                        <a:pt x="251" y="116"/>
                        <a:pt x="251" y="116"/>
                      </a:cubicBezTo>
                      <a:cubicBezTo>
                        <a:pt x="251" y="115"/>
                        <a:pt x="250" y="115"/>
                        <a:pt x="250" y="115"/>
                      </a:cubicBezTo>
                      <a:cubicBezTo>
                        <a:pt x="250" y="115"/>
                        <a:pt x="250" y="115"/>
                        <a:pt x="249" y="115"/>
                      </a:cubicBezTo>
                      <a:cubicBezTo>
                        <a:pt x="249" y="115"/>
                        <a:pt x="249" y="114"/>
                        <a:pt x="249" y="114"/>
                      </a:cubicBezTo>
                      <a:cubicBezTo>
                        <a:pt x="249" y="114"/>
                        <a:pt x="249" y="114"/>
                        <a:pt x="249" y="114"/>
                      </a:cubicBezTo>
                      <a:cubicBezTo>
                        <a:pt x="249" y="114"/>
                        <a:pt x="249" y="114"/>
                        <a:pt x="249" y="113"/>
                      </a:cubicBezTo>
                      <a:cubicBezTo>
                        <a:pt x="248" y="113"/>
                        <a:pt x="248" y="112"/>
                        <a:pt x="248" y="112"/>
                      </a:cubicBezTo>
                      <a:cubicBezTo>
                        <a:pt x="247" y="112"/>
                        <a:pt x="247" y="112"/>
                        <a:pt x="247" y="112"/>
                      </a:cubicBezTo>
                      <a:cubicBezTo>
                        <a:pt x="247" y="111"/>
                        <a:pt x="247" y="111"/>
                        <a:pt x="247" y="111"/>
                      </a:cubicBezTo>
                      <a:cubicBezTo>
                        <a:pt x="247" y="111"/>
                        <a:pt x="247" y="111"/>
                        <a:pt x="247" y="111"/>
                      </a:cubicBezTo>
                      <a:cubicBezTo>
                        <a:pt x="247" y="111"/>
                        <a:pt x="247" y="111"/>
                        <a:pt x="247" y="111"/>
                      </a:cubicBezTo>
                      <a:cubicBezTo>
                        <a:pt x="247" y="110"/>
                        <a:pt x="247" y="110"/>
                        <a:pt x="247" y="110"/>
                      </a:cubicBezTo>
                      <a:cubicBezTo>
                        <a:pt x="247" y="110"/>
                        <a:pt x="247" y="110"/>
                        <a:pt x="247" y="110"/>
                      </a:cubicBezTo>
                      <a:cubicBezTo>
                        <a:pt x="247" y="109"/>
                        <a:pt x="247" y="109"/>
                        <a:pt x="247" y="108"/>
                      </a:cubicBezTo>
                      <a:cubicBezTo>
                        <a:pt x="247" y="108"/>
                        <a:pt x="247" y="108"/>
                        <a:pt x="246" y="108"/>
                      </a:cubicBezTo>
                      <a:cubicBezTo>
                        <a:pt x="246" y="108"/>
                        <a:pt x="246" y="107"/>
                        <a:pt x="246" y="107"/>
                      </a:cubicBezTo>
                      <a:cubicBezTo>
                        <a:pt x="246" y="107"/>
                        <a:pt x="246" y="107"/>
                        <a:pt x="246" y="107"/>
                      </a:cubicBezTo>
                      <a:cubicBezTo>
                        <a:pt x="246" y="107"/>
                        <a:pt x="246" y="106"/>
                        <a:pt x="246" y="106"/>
                      </a:cubicBezTo>
                      <a:cubicBezTo>
                        <a:pt x="246" y="106"/>
                        <a:pt x="246" y="106"/>
                        <a:pt x="246" y="106"/>
                      </a:cubicBezTo>
                      <a:cubicBezTo>
                        <a:pt x="246" y="106"/>
                        <a:pt x="246" y="106"/>
                        <a:pt x="246" y="106"/>
                      </a:cubicBezTo>
                      <a:cubicBezTo>
                        <a:pt x="246" y="106"/>
                        <a:pt x="247" y="106"/>
                        <a:pt x="247" y="106"/>
                      </a:cubicBezTo>
                      <a:cubicBezTo>
                        <a:pt x="247" y="105"/>
                        <a:pt x="248" y="105"/>
                        <a:pt x="248" y="105"/>
                      </a:cubicBezTo>
                      <a:cubicBezTo>
                        <a:pt x="248" y="104"/>
                        <a:pt x="248" y="104"/>
                        <a:pt x="249" y="104"/>
                      </a:cubicBezTo>
                      <a:cubicBezTo>
                        <a:pt x="249" y="104"/>
                        <a:pt x="249" y="104"/>
                        <a:pt x="249" y="104"/>
                      </a:cubicBezTo>
                      <a:cubicBezTo>
                        <a:pt x="249" y="104"/>
                        <a:pt x="250" y="104"/>
                        <a:pt x="250" y="103"/>
                      </a:cubicBezTo>
                      <a:cubicBezTo>
                        <a:pt x="251" y="103"/>
                        <a:pt x="251" y="103"/>
                        <a:pt x="251" y="103"/>
                      </a:cubicBezTo>
                      <a:cubicBezTo>
                        <a:pt x="251" y="103"/>
                        <a:pt x="251" y="103"/>
                        <a:pt x="251" y="103"/>
                      </a:cubicBezTo>
                      <a:cubicBezTo>
                        <a:pt x="251" y="103"/>
                        <a:pt x="251" y="103"/>
                        <a:pt x="252" y="103"/>
                      </a:cubicBezTo>
                      <a:cubicBezTo>
                        <a:pt x="252" y="103"/>
                        <a:pt x="252" y="103"/>
                        <a:pt x="252" y="103"/>
                      </a:cubicBezTo>
                      <a:cubicBezTo>
                        <a:pt x="252" y="103"/>
                        <a:pt x="252" y="103"/>
                        <a:pt x="252" y="103"/>
                      </a:cubicBezTo>
                      <a:cubicBezTo>
                        <a:pt x="253" y="103"/>
                        <a:pt x="253" y="103"/>
                        <a:pt x="253" y="103"/>
                      </a:cubicBezTo>
                      <a:cubicBezTo>
                        <a:pt x="253" y="103"/>
                        <a:pt x="253" y="103"/>
                        <a:pt x="253" y="103"/>
                      </a:cubicBezTo>
                      <a:cubicBezTo>
                        <a:pt x="253" y="103"/>
                        <a:pt x="253" y="103"/>
                        <a:pt x="253" y="103"/>
                      </a:cubicBezTo>
                      <a:cubicBezTo>
                        <a:pt x="253" y="103"/>
                        <a:pt x="253" y="103"/>
                        <a:pt x="253" y="103"/>
                      </a:cubicBezTo>
                      <a:cubicBezTo>
                        <a:pt x="253" y="104"/>
                        <a:pt x="253" y="104"/>
                        <a:pt x="253" y="104"/>
                      </a:cubicBezTo>
                      <a:cubicBezTo>
                        <a:pt x="253" y="104"/>
                        <a:pt x="253" y="104"/>
                        <a:pt x="253" y="104"/>
                      </a:cubicBezTo>
                      <a:cubicBezTo>
                        <a:pt x="252" y="104"/>
                        <a:pt x="252" y="104"/>
                        <a:pt x="251" y="105"/>
                      </a:cubicBezTo>
                      <a:cubicBezTo>
                        <a:pt x="251" y="105"/>
                        <a:pt x="251" y="105"/>
                        <a:pt x="251" y="105"/>
                      </a:cubicBezTo>
                      <a:cubicBezTo>
                        <a:pt x="250" y="105"/>
                        <a:pt x="250" y="105"/>
                        <a:pt x="250" y="105"/>
                      </a:cubicBezTo>
                      <a:cubicBezTo>
                        <a:pt x="250" y="106"/>
                        <a:pt x="250" y="106"/>
                        <a:pt x="250" y="106"/>
                      </a:cubicBezTo>
                      <a:cubicBezTo>
                        <a:pt x="250" y="106"/>
                        <a:pt x="250" y="106"/>
                        <a:pt x="250" y="106"/>
                      </a:cubicBezTo>
                      <a:cubicBezTo>
                        <a:pt x="250" y="106"/>
                        <a:pt x="250" y="106"/>
                        <a:pt x="250" y="106"/>
                      </a:cubicBezTo>
                      <a:cubicBezTo>
                        <a:pt x="250" y="106"/>
                        <a:pt x="250" y="106"/>
                        <a:pt x="250" y="106"/>
                      </a:cubicBezTo>
                      <a:cubicBezTo>
                        <a:pt x="249" y="106"/>
                        <a:pt x="249" y="106"/>
                        <a:pt x="249" y="106"/>
                      </a:cubicBezTo>
                      <a:cubicBezTo>
                        <a:pt x="249" y="106"/>
                        <a:pt x="249" y="106"/>
                        <a:pt x="249" y="106"/>
                      </a:cubicBezTo>
                      <a:cubicBezTo>
                        <a:pt x="249" y="107"/>
                        <a:pt x="249" y="107"/>
                        <a:pt x="249" y="107"/>
                      </a:cubicBezTo>
                      <a:cubicBezTo>
                        <a:pt x="249" y="108"/>
                        <a:pt x="249" y="108"/>
                        <a:pt x="250" y="109"/>
                      </a:cubicBezTo>
                      <a:cubicBezTo>
                        <a:pt x="250" y="109"/>
                        <a:pt x="250" y="109"/>
                        <a:pt x="250" y="109"/>
                      </a:cubicBezTo>
                      <a:cubicBezTo>
                        <a:pt x="250" y="109"/>
                        <a:pt x="250" y="109"/>
                        <a:pt x="250" y="110"/>
                      </a:cubicBezTo>
                      <a:cubicBezTo>
                        <a:pt x="250" y="110"/>
                        <a:pt x="250" y="110"/>
                        <a:pt x="250" y="110"/>
                      </a:cubicBezTo>
                      <a:cubicBezTo>
                        <a:pt x="250" y="111"/>
                        <a:pt x="250" y="111"/>
                        <a:pt x="250" y="111"/>
                      </a:cubicBezTo>
                      <a:cubicBezTo>
                        <a:pt x="251" y="111"/>
                        <a:pt x="251" y="111"/>
                        <a:pt x="251" y="111"/>
                      </a:cubicBezTo>
                      <a:cubicBezTo>
                        <a:pt x="252" y="112"/>
                        <a:pt x="252" y="112"/>
                        <a:pt x="252" y="112"/>
                      </a:cubicBezTo>
                      <a:cubicBezTo>
                        <a:pt x="252" y="112"/>
                        <a:pt x="252" y="112"/>
                        <a:pt x="252" y="112"/>
                      </a:cubicBezTo>
                      <a:cubicBezTo>
                        <a:pt x="252" y="113"/>
                        <a:pt x="252" y="113"/>
                        <a:pt x="252" y="114"/>
                      </a:cubicBezTo>
                      <a:cubicBezTo>
                        <a:pt x="253" y="115"/>
                        <a:pt x="253" y="115"/>
                        <a:pt x="253" y="115"/>
                      </a:cubicBezTo>
                      <a:cubicBezTo>
                        <a:pt x="253" y="115"/>
                        <a:pt x="253" y="115"/>
                        <a:pt x="253" y="115"/>
                      </a:cubicBezTo>
                      <a:cubicBezTo>
                        <a:pt x="253" y="115"/>
                        <a:pt x="253" y="115"/>
                        <a:pt x="253" y="115"/>
                      </a:cubicBezTo>
                      <a:cubicBezTo>
                        <a:pt x="252" y="116"/>
                        <a:pt x="253" y="116"/>
                        <a:pt x="253" y="117"/>
                      </a:cubicBezTo>
                      <a:cubicBezTo>
                        <a:pt x="253" y="118"/>
                        <a:pt x="253" y="118"/>
                        <a:pt x="253" y="118"/>
                      </a:cubicBezTo>
                      <a:cubicBezTo>
                        <a:pt x="253" y="118"/>
                        <a:pt x="253" y="118"/>
                        <a:pt x="253" y="118"/>
                      </a:cubicBezTo>
                      <a:cubicBezTo>
                        <a:pt x="253" y="118"/>
                        <a:pt x="253" y="118"/>
                        <a:pt x="253" y="118"/>
                      </a:cubicBezTo>
                      <a:cubicBezTo>
                        <a:pt x="253" y="119"/>
                        <a:pt x="253" y="119"/>
                        <a:pt x="254" y="119"/>
                      </a:cubicBezTo>
                      <a:cubicBezTo>
                        <a:pt x="254" y="119"/>
                        <a:pt x="254" y="120"/>
                        <a:pt x="254" y="120"/>
                      </a:cubicBezTo>
                      <a:cubicBezTo>
                        <a:pt x="254" y="120"/>
                        <a:pt x="254" y="120"/>
                        <a:pt x="254" y="120"/>
                      </a:cubicBezTo>
                      <a:cubicBezTo>
                        <a:pt x="254" y="120"/>
                        <a:pt x="254" y="120"/>
                        <a:pt x="254" y="120"/>
                      </a:cubicBezTo>
                      <a:cubicBezTo>
                        <a:pt x="254" y="120"/>
                        <a:pt x="254" y="122"/>
                        <a:pt x="254" y="123"/>
                      </a:cubicBezTo>
                      <a:cubicBezTo>
                        <a:pt x="254" y="123"/>
                        <a:pt x="254" y="123"/>
                        <a:pt x="254" y="123"/>
                      </a:cubicBezTo>
                      <a:cubicBezTo>
                        <a:pt x="254" y="123"/>
                        <a:pt x="254" y="123"/>
                        <a:pt x="254" y="123"/>
                      </a:cubicBezTo>
                      <a:cubicBezTo>
                        <a:pt x="254" y="123"/>
                        <a:pt x="253" y="123"/>
                        <a:pt x="253" y="123"/>
                      </a:cubicBezTo>
                      <a:cubicBezTo>
                        <a:pt x="253" y="123"/>
                        <a:pt x="253" y="123"/>
                        <a:pt x="253" y="123"/>
                      </a:cubicBezTo>
                      <a:cubicBezTo>
                        <a:pt x="252" y="123"/>
                        <a:pt x="252" y="123"/>
                        <a:pt x="252" y="123"/>
                      </a:cubicBezTo>
                      <a:cubicBezTo>
                        <a:pt x="252" y="123"/>
                        <a:pt x="252" y="123"/>
                        <a:pt x="252" y="123"/>
                      </a:cubicBezTo>
                      <a:cubicBezTo>
                        <a:pt x="252" y="123"/>
                        <a:pt x="251" y="123"/>
                        <a:pt x="251" y="123"/>
                      </a:cubicBezTo>
                      <a:cubicBezTo>
                        <a:pt x="251" y="123"/>
                        <a:pt x="251" y="123"/>
                        <a:pt x="251" y="123"/>
                      </a:cubicBezTo>
                      <a:cubicBezTo>
                        <a:pt x="251" y="123"/>
                        <a:pt x="251" y="123"/>
                        <a:pt x="251" y="123"/>
                      </a:cubicBezTo>
                      <a:cubicBezTo>
                        <a:pt x="250" y="123"/>
                        <a:pt x="250" y="122"/>
                        <a:pt x="249" y="122"/>
                      </a:cubicBezTo>
                      <a:cubicBezTo>
                        <a:pt x="249" y="122"/>
                        <a:pt x="249" y="122"/>
                        <a:pt x="249" y="122"/>
                      </a:cubicBezTo>
                      <a:cubicBezTo>
                        <a:pt x="249" y="122"/>
                        <a:pt x="249" y="122"/>
                        <a:pt x="249" y="122"/>
                      </a:cubicBezTo>
                      <a:cubicBezTo>
                        <a:pt x="249" y="122"/>
                        <a:pt x="249" y="122"/>
                        <a:pt x="249" y="122"/>
                      </a:cubicBezTo>
                      <a:cubicBezTo>
                        <a:pt x="249" y="122"/>
                        <a:pt x="249" y="122"/>
                        <a:pt x="248" y="121"/>
                      </a:cubicBezTo>
                      <a:cubicBezTo>
                        <a:pt x="248" y="121"/>
                        <a:pt x="248" y="121"/>
                        <a:pt x="248" y="121"/>
                      </a:cubicBezTo>
                      <a:close/>
                      <a:moveTo>
                        <a:pt x="245" y="107"/>
                      </a:moveTo>
                      <a:cubicBezTo>
                        <a:pt x="245" y="107"/>
                        <a:pt x="245" y="107"/>
                        <a:pt x="245" y="107"/>
                      </a:cubicBezTo>
                      <a:cubicBezTo>
                        <a:pt x="245" y="107"/>
                        <a:pt x="245" y="107"/>
                        <a:pt x="245" y="107"/>
                      </a:cubicBezTo>
                      <a:cubicBezTo>
                        <a:pt x="245" y="108"/>
                        <a:pt x="245" y="108"/>
                        <a:pt x="245" y="108"/>
                      </a:cubicBezTo>
                      <a:lnTo>
                        <a:pt x="245" y="107"/>
                      </a:lnTo>
                      <a:close/>
                      <a:moveTo>
                        <a:pt x="245" y="106"/>
                      </a:moveTo>
                      <a:cubicBezTo>
                        <a:pt x="245" y="106"/>
                        <a:pt x="245" y="106"/>
                        <a:pt x="245" y="106"/>
                      </a:cubicBezTo>
                      <a:cubicBezTo>
                        <a:pt x="245" y="106"/>
                        <a:pt x="245" y="106"/>
                        <a:pt x="245" y="106"/>
                      </a:cubicBezTo>
                      <a:close/>
                      <a:moveTo>
                        <a:pt x="95" y="26"/>
                      </a:moveTo>
                      <a:cubicBezTo>
                        <a:pt x="95" y="26"/>
                        <a:pt x="96" y="26"/>
                        <a:pt x="96" y="26"/>
                      </a:cubicBezTo>
                      <a:cubicBezTo>
                        <a:pt x="96" y="26"/>
                        <a:pt x="95" y="26"/>
                        <a:pt x="95" y="26"/>
                      </a:cubicBezTo>
                      <a:cubicBezTo>
                        <a:pt x="95" y="26"/>
                        <a:pt x="94" y="26"/>
                        <a:pt x="94" y="26"/>
                      </a:cubicBezTo>
                      <a:cubicBezTo>
                        <a:pt x="94" y="26"/>
                        <a:pt x="93" y="26"/>
                        <a:pt x="93" y="26"/>
                      </a:cubicBezTo>
                      <a:cubicBezTo>
                        <a:pt x="93" y="26"/>
                        <a:pt x="94" y="26"/>
                        <a:pt x="94" y="25"/>
                      </a:cubicBezTo>
                      <a:cubicBezTo>
                        <a:pt x="95" y="25"/>
                        <a:pt x="95" y="26"/>
                        <a:pt x="95" y="26"/>
                      </a:cubicBezTo>
                      <a:close/>
                      <a:moveTo>
                        <a:pt x="57" y="55"/>
                      </a:moveTo>
                      <a:cubicBezTo>
                        <a:pt x="57" y="55"/>
                        <a:pt x="57" y="55"/>
                        <a:pt x="57" y="55"/>
                      </a:cubicBezTo>
                      <a:cubicBezTo>
                        <a:pt x="57" y="55"/>
                        <a:pt x="57" y="55"/>
                        <a:pt x="57" y="55"/>
                      </a:cubicBezTo>
                      <a:cubicBezTo>
                        <a:pt x="57" y="55"/>
                        <a:pt x="56" y="55"/>
                        <a:pt x="56" y="55"/>
                      </a:cubicBezTo>
                      <a:cubicBezTo>
                        <a:pt x="56" y="55"/>
                        <a:pt x="56" y="55"/>
                        <a:pt x="56" y="55"/>
                      </a:cubicBezTo>
                      <a:cubicBezTo>
                        <a:pt x="56" y="55"/>
                        <a:pt x="56" y="55"/>
                        <a:pt x="56" y="55"/>
                      </a:cubicBezTo>
                      <a:cubicBezTo>
                        <a:pt x="57" y="54"/>
                        <a:pt x="57" y="54"/>
                        <a:pt x="57" y="54"/>
                      </a:cubicBezTo>
                      <a:cubicBezTo>
                        <a:pt x="57" y="54"/>
                        <a:pt x="58" y="55"/>
                        <a:pt x="58" y="55"/>
                      </a:cubicBezTo>
                      <a:cubicBezTo>
                        <a:pt x="58" y="55"/>
                        <a:pt x="57" y="55"/>
                        <a:pt x="57" y="55"/>
                      </a:cubicBezTo>
                      <a:close/>
                      <a:moveTo>
                        <a:pt x="45" y="66"/>
                      </a:moveTo>
                      <a:cubicBezTo>
                        <a:pt x="45" y="66"/>
                        <a:pt x="45" y="66"/>
                        <a:pt x="45" y="66"/>
                      </a:cubicBezTo>
                      <a:cubicBezTo>
                        <a:pt x="45" y="66"/>
                        <a:pt x="45" y="66"/>
                        <a:pt x="46" y="66"/>
                      </a:cubicBezTo>
                      <a:cubicBezTo>
                        <a:pt x="46" y="66"/>
                        <a:pt x="46" y="66"/>
                        <a:pt x="46" y="66"/>
                      </a:cubicBezTo>
                      <a:cubicBezTo>
                        <a:pt x="46" y="67"/>
                        <a:pt x="45" y="67"/>
                        <a:pt x="45" y="67"/>
                      </a:cubicBezTo>
                      <a:cubicBezTo>
                        <a:pt x="45" y="67"/>
                        <a:pt x="45" y="67"/>
                        <a:pt x="45" y="67"/>
                      </a:cubicBezTo>
                      <a:cubicBezTo>
                        <a:pt x="45" y="66"/>
                        <a:pt x="45" y="66"/>
                        <a:pt x="45" y="66"/>
                      </a:cubicBezTo>
                      <a:close/>
                      <a:moveTo>
                        <a:pt x="12" y="161"/>
                      </a:moveTo>
                      <a:cubicBezTo>
                        <a:pt x="12" y="162"/>
                        <a:pt x="12" y="162"/>
                        <a:pt x="13" y="162"/>
                      </a:cubicBezTo>
                      <a:cubicBezTo>
                        <a:pt x="14" y="162"/>
                        <a:pt x="14" y="163"/>
                        <a:pt x="14" y="164"/>
                      </a:cubicBezTo>
                      <a:cubicBezTo>
                        <a:pt x="15" y="164"/>
                        <a:pt x="16" y="164"/>
                        <a:pt x="16" y="165"/>
                      </a:cubicBezTo>
                      <a:cubicBezTo>
                        <a:pt x="17" y="165"/>
                        <a:pt x="17" y="165"/>
                        <a:pt x="17" y="166"/>
                      </a:cubicBezTo>
                      <a:cubicBezTo>
                        <a:pt x="18" y="166"/>
                        <a:pt x="19" y="167"/>
                        <a:pt x="20" y="167"/>
                      </a:cubicBezTo>
                      <a:cubicBezTo>
                        <a:pt x="20" y="167"/>
                        <a:pt x="21" y="168"/>
                        <a:pt x="21" y="168"/>
                      </a:cubicBezTo>
                      <a:cubicBezTo>
                        <a:pt x="22" y="168"/>
                        <a:pt x="23" y="168"/>
                        <a:pt x="23" y="169"/>
                      </a:cubicBezTo>
                      <a:cubicBezTo>
                        <a:pt x="24" y="169"/>
                        <a:pt x="25" y="169"/>
                        <a:pt x="25" y="169"/>
                      </a:cubicBezTo>
                      <a:cubicBezTo>
                        <a:pt x="26" y="169"/>
                        <a:pt x="26" y="169"/>
                        <a:pt x="26" y="169"/>
                      </a:cubicBezTo>
                      <a:cubicBezTo>
                        <a:pt x="26" y="169"/>
                        <a:pt x="27" y="168"/>
                        <a:pt x="27" y="168"/>
                      </a:cubicBezTo>
                      <a:cubicBezTo>
                        <a:pt x="27" y="168"/>
                        <a:pt x="27" y="168"/>
                        <a:pt x="28" y="168"/>
                      </a:cubicBezTo>
                      <a:cubicBezTo>
                        <a:pt x="28" y="168"/>
                        <a:pt x="29" y="169"/>
                        <a:pt x="29" y="169"/>
                      </a:cubicBezTo>
                      <a:cubicBezTo>
                        <a:pt x="29" y="169"/>
                        <a:pt x="30" y="170"/>
                        <a:pt x="30" y="171"/>
                      </a:cubicBezTo>
                      <a:cubicBezTo>
                        <a:pt x="30" y="171"/>
                        <a:pt x="32" y="173"/>
                        <a:pt x="32" y="173"/>
                      </a:cubicBezTo>
                      <a:cubicBezTo>
                        <a:pt x="32" y="173"/>
                        <a:pt x="33" y="173"/>
                        <a:pt x="34" y="173"/>
                      </a:cubicBezTo>
                      <a:cubicBezTo>
                        <a:pt x="34" y="173"/>
                        <a:pt x="34" y="173"/>
                        <a:pt x="35" y="174"/>
                      </a:cubicBezTo>
                      <a:cubicBezTo>
                        <a:pt x="35" y="174"/>
                        <a:pt x="35" y="174"/>
                        <a:pt x="36" y="175"/>
                      </a:cubicBezTo>
                      <a:cubicBezTo>
                        <a:pt x="36" y="175"/>
                        <a:pt x="37" y="175"/>
                        <a:pt x="37" y="175"/>
                      </a:cubicBezTo>
                      <a:cubicBezTo>
                        <a:pt x="37" y="175"/>
                        <a:pt x="38" y="175"/>
                        <a:pt x="38" y="175"/>
                      </a:cubicBezTo>
                      <a:cubicBezTo>
                        <a:pt x="38" y="175"/>
                        <a:pt x="38" y="175"/>
                        <a:pt x="38" y="175"/>
                      </a:cubicBezTo>
                      <a:cubicBezTo>
                        <a:pt x="39" y="175"/>
                        <a:pt x="38" y="175"/>
                        <a:pt x="38" y="176"/>
                      </a:cubicBezTo>
                      <a:cubicBezTo>
                        <a:pt x="38" y="176"/>
                        <a:pt x="39" y="176"/>
                        <a:pt x="39" y="176"/>
                      </a:cubicBezTo>
                      <a:cubicBezTo>
                        <a:pt x="39" y="177"/>
                        <a:pt x="40" y="178"/>
                        <a:pt x="41" y="179"/>
                      </a:cubicBezTo>
                      <a:cubicBezTo>
                        <a:pt x="41" y="179"/>
                        <a:pt x="41" y="179"/>
                        <a:pt x="41" y="180"/>
                      </a:cubicBezTo>
                      <a:cubicBezTo>
                        <a:pt x="41" y="180"/>
                        <a:pt x="41" y="181"/>
                        <a:pt x="41" y="181"/>
                      </a:cubicBezTo>
                      <a:cubicBezTo>
                        <a:pt x="41" y="181"/>
                        <a:pt x="42" y="182"/>
                        <a:pt x="42" y="182"/>
                      </a:cubicBezTo>
                      <a:cubicBezTo>
                        <a:pt x="42" y="182"/>
                        <a:pt x="42" y="182"/>
                        <a:pt x="42" y="182"/>
                      </a:cubicBezTo>
                      <a:cubicBezTo>
                        <a:pt x="42" y="181"/>
                        <a:pt x="43" y="182"/>
                        <a:pt x="43" y="182"/>
                      </a:cubicBezTo>
                      <a:cubicBezTo>
                        <a:pt x="43" y="182"/>
                        <a:pt x="44" y="183"/>
                        <a:pt x="44" y="183"/>
                      </a:cubicBezTo>
                      <a:cubicBezTo>
                        <a:pt x="44" y="183"/>
                        <a:pt x="44" y="184"/>
                        <a:pt x="44" y="184"/>
                      </a:cubicBezTo>
                      <a:cubicBezTo>
                        <a:pt x="44" y="185"/>
                        <a:pt x="45" y="185"/>
                        <a:pt x="45" y="185"/>
                      </a:cubicBezTo>
                      <a:cubicBezTo>
                        <a:pt x="45" y="185"/>
                        <a:pt x="45" y="185"/>
                        <a:pt x="46" y="185"/>
                      </a:cubicBezTo>
                      <a:cubicBezTo>
                        <a:pt x="46" y="186"/>
                        <a:pt x="46" y="186"/>
                        <a:pt x="47" y="186"/>
                      </a:cubicBezTo>
                      <a:cubicBezTo>
                        <a:pt x="47" y="186"/>
                        <a:pt x="47" y="186"/>
                        <a:pt x="47" y="186"/>
                      </a:cubicBezTo>
                      <a:cubicBezTo>
                        <a:pt x="48" y="187"/>
                        <a:pt x="48" y="187"/>
                        <a:pt x="48" y="187"/>
                      </a:cubicBezTo>
                      <a:cubicBezTo>
                        <a:pt x="48" y="187"/>
                        <a:pt x="49" y="187"/>
                        <a:pt x="49" y="187"/>
                      </a:cubicBezTo>
                      <a:cubicBezTo>
                        <a:pt x="49" y="187"/>
                        <a:pt x="49" y="187"/>
                        <a:pt x="49" y="187"/>
                      </a:cubicBezTo>
                      <a:cubicBezTo>
                        <a:pt x="49" y="187"/>
                        <a:pt x="50" y="187"/>
                        <a:pt x="50" y="187"/>
                      </a:cubicBezTo>
                      <a:cubicBezTo>
                        <a:pt x="50" y="186"/>
                        <a:pt x="50" y="186"/>
                        <a:pt x="50" y="186"/>
                      </a:cubicBezTo>
                      <a:cubicBezTo>
                        <a:pt x="50" y="185"/>
                        <a:pt x="50" y="185"/>
                        <a:pt x="50" y="185"/>
                      </a:cubicBezTo>
                      <a:cubicBezTo>
                        <a:pt x="50" y="185"/>
                        <a:pt x="50" y="185"/>
                        <a:pt x="50" y="185"/>
                      </a:cubicBezTo>
                      <a:cubicBezTo>
                        <a:pt x="51" y="184"/>
                        <a:pt x="51" y="184"/>
                        <a:pt x="51" y="184"/>
                      </a:cubicBezTo>
                      <a:cubicBezTo>
                        <a:pt x="51" y="184"/>
                        <a:pt x="51" y="184"/>
                        <a:pt x="52" y="184"/>
                      </a:cubicBezTo>
                      <a:cubicBezTo>
                        <a:pt x="52" y="184"/>
                        <a:pt x="52" y="185"/>
                        <a:pt x="52" y="185"/>
                      </a:cubicBezTo>
                      <a:cubicBezTo>
                        <a:pt x="52" y="186"/>
                        <a:pt x="53" y="186"/>
                        <a:pt x="53" y="187"/>
                      </a:cubicBezTo>
                      <a:cubicBezTo>
                        <a:pt x="53" y="187"/>
                        <a:pt x="53" y="187"/>
                        <a:pt x="53" y="188"/>
                      </a:cubicBezTo>
                      <a:cubicBezTo>
                        <a:pt x="54" y="188"/>
                        <a:pt x="54" y="189"/>
                        <a:pt x="54" y="189"/>
                      </a:cubicBezTo>
                      <a:cubicBezTo>
                        <a:pt x="54" y="189"/>
                        <a:pt x="54" y="190"/>
                        <a:pt x="54" y="190"/>
                      </a:cubicBezTo>
                      <a:cubicBezTo>
                        <a:pt x="54" y="190"/>
                        <a:pt x="54" y="191"/>
                        <a:pt x="54" y="191"/>
                      </a:cubicBezTo>
                      <a:cubicBezTo>
                        <a:pt x="54" y="191"/>
                        <a:pt x="54" y="192"/>
                        <a:pt x="54" y="192"/>
                      </a:cubicBezTo>
                      <a:cubicBezTo>
                        <a:pt x="54" y="193"/>
                        <a:pt x="54" y="193"/>
                        <a:pt x="54" y="194"/>
                      </a:cubicBezTo>
                      <a:cubicBezTo>
                        <a:pt x="54" y="194"/>
                        <a:pt x="54" y="194"/>
                        <a:pt x="54" y="195"/>
                      </a:cubicBezTo>
                      <a:cubicBezTo>
                        <a:pt x="54" y="195"/>
                        <a:pt x="54" y="195"/>
                        <a:pt x="54" y="196"/>
                      </a:cubicBezTo>
                      <a:cubicBezTo>
                        <a:pt x="54" y="196"/>
                        <a:pt x="54" y="197"/>
                        <a:pt x="53" y="197"/>
                      </a:cubicBezTo>
                      <a:cubicBezTo>
                        <a:pt x="52" y="198"/>
                        <a:pt x="52" y="198"/>
                        <a:pt x="52" y="199"/>
                      </a:cubicBezTo>
                      <a:cubicBezTo>
                        <a:pt x="52" y="199"/>
                        <a:pt x="52" y="199"/>
                        <a:pt x="52" y="200"/>
                      </a:cubicBezTo>
                      <a:cubicBezTo>
                        <a:pt x="51" y="200"/>
                        <a:pt x="52" y="200"/>
                        <a:pt x="52" y="200"/>
                      </a:cubicBezTo>
                      <a:cubicBezTo>
                        <a:pt x="52" y="200"/>
                        <a:pt x="51" y="201"/>
                        <a:pt x="51" y="201"/>
                      </a:cubicBezTo>
                      <a:cubicBezTo>
                        <a:pt x="50" y="201"/>
                        <a:pt x="50" y="202"/>
                        <a:pt x="50" y="202"/>
                      </a:cubicBezTo>
                      <a:cubicBezTo>
                        <a:pt x="50" y="202"/>
                        <a:pt x="50" y="203"/>
                        <a:pt x="50" y="203"/>
                      </a:cubicBezTo>
                      <a:cubicBezTo>
                        <a:pt x="50" y="203"/>
                        <a:pt x="49" y="203"/>
                        <a:pt x="49" y="204"/>
                      </a:cubicBezTo>
                      <a:cubicBezTo>
                        <a:pt x="49" y="204"/>
                        <a:pt x="49" y="205"/>
                        <a:pt x="49" y="205"/>
                      </a:cubicBezTo>
                      <a:cubicBezTo>
                        <a:pt x="49" y="205"/>
                        <a:pt x="49" y="206"/>
                        <a:pt x="49" y="206"/>
                      </a:cubicBezTo>
                      <a:cubicBezTo>
                        <a:pt x="49" y="207"/>
                        <a:pt x="49" y="207"/>
                        <a:pt x="49" y="208"/>
                      </a:cubicBezTo>
                      <a:cubicBezTo>
                        <a:pt x="49" y="208"/>
                        <a:pt x="49" y="208"/>
                        <a:pt x="50" y="209"/>
                      </a:cubicBezTo>
                      <a:cubicBezTo>
                        <a:pt x="50" y="210"/>
                        <a:pt x="50" y="210"/>
                        <a:pt x="50" y="210"/>
                      </a:cubicBezTo>
                      <a:cubicBezTo>
                        <a:pt x="50" y="210"/>
                        <a:pt x="50" y="210"/>
                        <a:pt x="50" y="210"/>
                      </a:cubicBezTo>
                      <a:cubicBezTo>
                        <a:pt x="50" y="211"/>
                        <a:pt x="49" y="211"/>
                        <a:pt x="49" y="211"/>
                      </a:cubicBezTo>
                      <a:cubicBezTo>
                        <a:pt x="49" y="211"/>
                        <a:pt x="48" y="212"/>
                        <a:pt x="48" y="212"/>
                      </a:cubicBezTo>
                      <a:cubicBezTo>
                        <a:pt x="48" y="213"/>
                        <a:pt x="48" y="213"/>
                        <a:pt x="48" y="213"/>
                      </a:cubicBezTo>
                      <a:cubicBezTo>
                        <a:pt x="48" y="214"/>
                        <a:pt x="48" y="214"/>
                        <a:pt x="48" y="215"/>
                      </a:cubicBezTo>
                      <a:cubicBezTo>
                        <a:pt x="48" y="215"/>
                        <a:pt x="48" y="215"/>
                        <a:pt x="49" y="216"/>
                      </a:cubicBezTo>
                      <a:cubicBezTo>
                        <a:pt x="49" y="216"/>
                        <a:pt x="48" y="216"/>
                        <a:pt x="48" y="216"/>
                      </a:cubicBezTo>
                      <a:cubicBezTo>
                        <a:pt x="48" y="216"/>
                        <a:pt x="48" y="216"/>
                        <a:pt x="49" y="217"/>
                      </a:cubicBezTo>
                      <a:cubicBezTo>
                        <a:pt x="49" y="217"/>
                        <a:pt x="50" y="218"/>
                        <a:pt x="50" y="218"/>
                      </a:cubicBezTo>
                      <a:cubicBezTo>
                        <a:pt x="50" y="218"/>
                        <a:pt x="50" y="219"/>
                        <a:pt x="51" y="219"/>
                      </a:cubicBezTo>
                      <a:cubicBezTo>
                        <a:pt x="51" y="220"/>
                        <a:pt x="52" y="222"/>
                        <a:pt x="52" y="223"/>
                      </a:cubicBezTo>
                      <a:cubicBezTo>
                        <a:pt x="52" y="224"/>
                        <a:pt x="53" y="226"/>
                        <a:pt x="53" y="227"/>
                      </a:cubicBezTo>
                      <a:cubicBezTo>
                        <a:pt x="53" y="227"/>
                        <a:pt x="54" y="229"/>
                        <a:pt x="55" y="230"/>
                      </a:cubicBezTo>
                      <a:cubicBezTo>
                        <a:pt x="55" y="230"/>
                        <a:pt x="55" y="232"/>
                        <a:pt x="55" y="232"/>
                      </a:cubicBezTo>
                      <a:cubicBezTo>
                        <a:pt x="56" y="232"/>
                        <a:pt x="56" y="233"/>
                        <a:pt x="55" y="233"/>
                      </a:cubicBezTo>
                      <a:cubicBezTo>
                        <a:pt x="55" y="234"/>
                        <a:pt x="55" y="234"/>
                        <a:pt x="56" y="234"/>
                      </a:cubicBezTo>
                      <a:cubicBezTo>
                        <a:pt x="56" y="235"/>
                        <a:pt x="57" y="236"/>
                        <a:pt x="57" y="236"/>
                      </a:cubicBezTo>
                      <a:cubicBezTo>
                        <a:pt x="57" y="237"/>
                        <a:pt x="58" y="237"/>
                        <a:pt x="59" y="237"/>
                      </a:cubicBezTo>
                      <a:cubicBezTo>
                        <a:pt x="59" y="237"/>
                        <a:pt x="60" y="238"/>
                        <a:pt x="60" y="239"/>
                      </a:cubicBezTo>
                      <a:cubicBezTo>
                        <a:pt x="60" y="239"/>
                        <a:pt x="62" y="240"/>
                        <a:pt x="62" y="240"/>
                      </a:cubicBezTo>
                      <a:cubicBezTo>
                        <a:pt x="63" y="240"/>
                        <a:pt x="63" y="241"/>
                        <a:pt x="63" y="241"/>
                      </a:cubicBezTo>
                      <a:cubicBezTo>
                        <a:pt x="64" y="242"/>
                        <a:pt x="64" y="242"/>
                        <a:pt x="65" y="242"/>
                      </a:cubicBezTo>
                      <a:cubicBezTo>
                        <a:pt x="65" y="242"/>
                        <a:pt x="65" y="244"/>
                        <a:pt x="65" y="244"/>
                      </a:cubicBezTo>
                      <a:cubicBezTo>
                        <a:pt x="65" y="245"/>
                        <a:pt x="65" y="247"/>
                        <a:pt x="65" y="247"/>
                      </a:cubicBezTo>
                      <a:cubicBezTo>
                        <a:pt x="65" y="248"/>
                        <a:pt x="65" y="248"/>
                        <a:pt x="65" y="249"/>
                      </a:cubicBezTo>
                      <a:cubicBezTo>
                        <a:pt x="65" y="250"/>
                        <a:pt x="65" y="251"/>
                        <a:pt x="65" y="252"/>
                      </a:cubicBezTo>
                      <a:cubicBezTo>
                        <a:pt x="65" y="252"/>
                        <a:pt x="65" y="253"/>
                        <a:pt x="65" y="253"/>
                      </a:cubicBezTo>
                      <a:cubicBezTo>
                        <a:pt x="64" y="253"/>
                        <a:pt x="64" y="254"/>
                        <a:pt x="65" y="254"/>
                      </a:cubicBezTo>
                      <a:cubicBezTo>
                        <a:pt x="65" y="254"/>
                        <a:pt x="65" y="255"/>
                        <a:pt x="65" y="256"/>
                      </a:cubicBezTo>
                      <a:cubicBezTo>
                        <a:pt x="64" y="257"/>
                        <a:pt x="65" y="257"/>
                        <a:pt x="65" y="258"/>
                      </a:cubicBezTo>
                      <a:cubicBezTo>
                        <a:pt x="65" y="258"/>
                        <a:pt x="65" y="258"/>
                        <a:pt x="64" y="259"/>
                      </a:cubicBezTo>
                      <a:cubicBezTo>
                        <a:pt x="64" y="259"/>
                        <a:pt x="64" y="260"/>
                        <a:pt x="64" y="261"/>
                      </a:cubicBezTo>
                      <a:cubicBezTo>
                        <a:pt x="64" y="262"/>
                        <a:pt x="64" y="262"/>
                        <a:pt x="64" y="262"/>
                      </a:cubicBezTo>
                      <a:cubicBezTo>
                        <a:pt x="64" y="263"/>
                        <a:pt x="64" y="264"/>
                        <a:pt x="64" y="264"/>
                      </a:cubicBezTo>
                      <a:cubicBezTo>
                        <a:pt x="63" y="264"/>
                        <a:pt x="63" y="265"/>
                        <a:pt x="63" y="266"/>
                      </a:cubicBezTo>
                      <a:cubicBezTo>
                        <a:pt x="33" y="241"/>
                        <a:pt x="13" y="203"/>
                        <a:pt x="12" y="161"/>
                      </a:cubicBezTo>
                      <a:close/>
                      <a:moveTo>
                        <a:pt x="155" y="299"/>
                      </a:moveTo>
                      <a:cubicBezTo>
                        <a:pt x="130" y="299"/>
                        <a:pt x="106" y="293"/>
                        <a:pt x="85" y="281"/>
                      </a:cubicBezTo>
                      <a:cubicBezTo>
                        <a:pt x="85" y="281"/>
                        <a:pt x="85" y="280"/>
                        <a:pt x="85" y="280"/>
                      </a:cubicBezTo>
                      <a:cubicBezTo>
                        <a:pt x="86" y="280"/>
                        <a:pt x="86" y="279"/>
                        <a:pt x="86" y="279"/>
                      </a:cubicBezTo>
                      <a:cubicBezTo>
                        <a:pt x="86" y="279"/>
                        <a:pt x="86" y="279"/>
                        <a:pt x="87" y="278"/>
                      </a:cubicBezTo>
                      <a:cubicBezTo>
                        <a:pt x="87" y="278"/>
                        <a:pt x="87" y="278"/>
                        <a:pt x="88" y="279"/>
                      </a:cubicBezTo>
                      <a:cubicBezTo>
                        <a:pt x="88" y="279"/>
                        <a:pt x="88" y="279"/>
                        <a:pt x="89" y="279"/>
                      </a:cubicBezTo>
                      <a:cubicBezTo>
                        <a:pt x="89" y="279"/>
                        <a:pt x="90" y="278"/>
                        <a:pt x="90" y="277"/>
                      </a:cubicBezTo>
                      <a:cubicBezTo>
                        <a:pt x="90" y="277"/>
                        <a:pt x="91" y="276"/>
                        <a:pt x="92" y="276"/>
                      </a:cubicBezTo>
                      <a:cubicBezTo>
                        <a:pt x="92" y="275"/>
                        <a:pt x="92" y="274"/>
                        <a:pt x="93" y="273"/>
                      </a:cubicBezTo>
                      <a:cubicBezTo>
                        <a:pt x="93" y="273"/>
                        <a:pt x="93" y="272"/>
                        <a:pt x="93" y="272"/>
                      </a:cubicBezTo>
                      <a:cubicBezTo>
                        <a:pt x="93" y="272"/>
                        <a:pt x="93" y="271"/>
                        <a:pt x="94" y="271"/>
                      </a:cubicBezTo>
                      <a:cubicBezTo>
                        <a:pt x="94" y="271"/>
                        <a:pt x="94" y="271"/>
                        <a:pt x="94" y="271"/>
                      </a:cubicBezTo>
                      <a:cubicBezTo>
                        <a:pt x="95" y="271"/>
                        <a:pt x="95" y="270"/>
                        <a:pt x="95" y="270"/>
                      </a:cubicBezTo>
                      <a:cubicBezTo>
                        <a:pt x="95" y="269"/>
                        <a:pt x="96" y="269"/>
                        <a:pt x="96" y="268"/>
                      </a:cubicBezTo>
                      <a:cubicBezTo>
                        <a:pt x="96" y="267"/>
                        <a:pt x="97" y="266"/>
                        <a:pt x="97" y="266"/>
                      </a:cubicBezTo>
                      <a:cubicBezTo>
                        <a:pt x="97" y="265"/>
                        <a:pt x="97" y="265"/>
                        <a:pt x="98" y="265"/>
                      </a:cubicBezTo>
                      <a:cubicBezTo>
                        <a:pt x="98" y="264"/>
                        <a:pt x="98" y="263"/>
                        <a:pt x="98" y="262"/>
                      </a:cubicBezTo>
                      <a:cubicBezTo>
                        <a:pt x="98" y="262"/>
                        <a:pt x="98" y="262"/>
                        <a:pt x="98" y="261"/>
                      </a:cubicBezTo>
                      <a:cubicBezTo>
                        <a:pt x="98" y="261"/>
                        <a:pt x="98" y="259"/>
                        <a:pt x="98" y="258"/>
                      </a:cubicBezTo>
                      <a:cubicBezTo>
                        <a:pt x="98" y="258"/>
                        <a:pt x="99" y="258"/>
                        <a:pt x="99" y="257"/>
                      </a:cubicBezTo>
                      <a:cubicBezTo>
                        <a:pt x="99" y="257"/>
                        <a:pt x="100" y="256"/>
                        <a:pt x="100" y="256"/>
                      </a:cubicBezTo>
                      <a:cubicBezTo>
                        <a:pt x="100" y="256"/>
                        <a:pt x="100" y="256"/>
                        <a:pt x="101" y="255"/>
                      </a:cubicBezTo>
                      <a:cubicBezTo>
                        <a:pt x="101" y="254"/>
                        <a:pt x="102" y="255"/>
                        <a:pt x="102" y="255"/>
                      </a:cubicBezTo>
                      <a:cubicBezTo>
                        <a:pt x="102" y="255"/>
                        <a:pt x="103" y="255"/>
                        <a:pt x="103" y="254"/>
                      </a:cubicBezTo>
                      <a:cubicBezTo>
                        <a:pt x="103" y="254"/>
                        <a:pt x="103" y="254"/>
                        <a:pt x="104" y="254"/>
                      </a:cubicBezTo>
                      <a:cubicBezTo>
                        <a:pt x="104" y="253"/>
                        <a:pt x="104" y="253"/>
                        <a:pt x="104" y="253"/>
                      </a:cubicBezTo>
                      <a:cubicBezTo>
                        <a:pt x="104" y="253"/>
                        <a:pt x="105" y="253"/>
                        <a:pt x="105" y="253"/>
                      </a:cubicBezTo>
                      <a:cubicBezTo>
                        <a:pt x="105" y="253"/>
                        <a:pt x="105" y="253"/>
                        <a:pt x="105" y="253"/>
                      </a:cubicBezTo>
                      <a:cubicBezTo>
                        <a:pt x="106" y="253"/>
                        <a:pt x="106" y="253"/>
                        <a:pt x="107" y="253"/>
                      </a:cubicBezTo>
                      <a:cubicBezTo>
                        <a:pt x="107" y="253"/>
                        <a:pt x="107" y="253"/>
                        <a:pt x="108" y="253"/>
                      </a:cubicBezTo>
                      <a:cubicBezTo>
                        <a:pt x="108" y="253"/>
                        <a:pt x="108" y="252"/>
                        <a:pt x="108" y="252"/>
                      </a:cubicBezTo>
                      <a:cubicBezTo>
                        <a:pt x="108" y="252"/>
                        <a:pt x="109" y="251"/>
                        <a:pt x="109" y="251"/>
                      </a:cubicBezTo>
                      <a:cubicBezTo>
                        <a:pt x="109" y="251"/>
                        <a:pt x="110" y="251"/>
                        <a:pt x="110" y="251"/>
                      </a:cubicBezTo>
                      <a:cubicBezTo>
                        <a:pt x="110" y="250"/>
                        <a:pt x="110" y="250"/>
                        <a:pt x="110" y="249"/>
                      </a:cubicBezTo>
                      <a:cubicBezTo>
                        <a:pt x="111" y="248"/>
                        <a:pt x="111" y="247"/>
                        <a:pt x="111" y="247"/>
                      </a:cubicBezTo>
                      <a:cubicBezTo>
                        <a:pt x="111" y="247"/>
                        <a:pt x="111" y="246"/>
                        <a:pt x="112" y="245"/>
                      </a:cubicBezTo>
                      <a:cubicBezTo>
                        <a:pt x="112" y="245"/>
                        <a:pt x="112" y="243"/>
                        <a:pt x="112" y="243"/>
                      </a:cubicBezTo>
                      <a:cubicBezTo>
                        <a:pt x="112" y="243"/>
                        <a:pt x="112" y="242"/>
                        <a:pt x="113" y="242"/>
                      </a:cubicBezTo>
                      <a:cubicBezTo>
                        <a:pt x="113" y="241"/>
                        <a:pt x="113" y="240"/>
                        <a:pt x="112" y="240"/>
                      </a:cubicBezTo>
                      <a:cubicBezTo>
                        <a:pt x="112" y="239"/>
                        <a:pt x="113" y="239"/>
                        <a:pt x="113" y="238"/>
                      </a:cubicBezTo>
                      <a:cubicBezTo>
                        <a:pt x="113" y="238"/>
                        <a:pt x="113" y="237"/>
                        <a:pt x="113" y="236"/>
                      </a:cubicBezTo>
                      <a:cubicBezTo>
                        <a:pt x="113" y="236"/>
                        <a:pt x="113" y="234"/>
                        <a:pt x="113" y="234"/>
                      </a:cubicBezTo>
                      <a:cubicBezTo>
                        <a:pt x="113" y="233"/>
                        <a:pt x="113" y="232"/>
                        <a:pt x="113" y="231"/>
                      </a:cubicBezTo>
                      <a:cubicBezTo>
                        <a:pt x="113" y="231"/>
                        <a:pt x="113" y="231"/>
                        <a:pt x="113" y="231"/>
                      </a:cubicBezTo>
                      <a:cubicBezTo>
                        <a:pt x="114" y="232"/>
                        <a:pt x="114" y="231"/>
                        <a:pt x="114" y="230"/>
                      </a:cubicBezTo>
                      <a:cubicBezTo>
                        <a:pt x="115" y="230"/>
                        <a:pt x="115" y="228"/>
                        <a:pt x="116" y="228"/>
                      </a:cubicBezTo>
                      <a:cubicBezTo>
                        <a:pt x="116" y="227"/>
                        <a:pt x="116" y="227"/>
                        <a:pt x="117" y="226"/>
                      </a:cubicBezTo>
                      <a:cubicBezTo>
                        <a:pt x="117" y="225"/>
                        <a:pt x="117" y="225"/>
                        <a:pt x="118" y="225"/>
                      </a:cubicBezTo>
                      <a:cubicBezTo>
                        <a:pt x="118" y="224"/>
                        <a:pt x="119" y="223"/>
                        <a:pt x="119" y="223"/>
                      </a:cubicBezTo>
                      <a:cubicBezTo>
                        <a:pt x="119" y="222"/>
                        <a:pt x="119" y="219"/>
                        <a:pt x="119" y="218"/>
                      </a:cubicBezTo>
                      <a:cubicBezTo>
                        <a:pt x="119" y="217"/>
                        <a:pt x="119" y="216"/>
                        <a:pt x="119" y="215"/>
                      </a:cubicBezTo>
                      <a:cubicBezTo>
                        <a:pt x="118" y="215"/>
                        <a:pt x="118" y="215"/>
                        <a:pt x="118" y="214"/>
                      </a:cubicBezTo>
                      <a:cubicBezTo>
                        <a:pt x="117" y="214"/>
                        <a:pt x="117" y="214"/>
                        <a:pt x="117" y="214"/>
                      </a:cubicBezTo>
                      <a:cubicBezTo>
                        <a:pt x="116" y="214"/>
                        <a:pt x="115" y="213"/>
                        <a:pt x="114" y="212"/>
                      </a:cubicBezTo>
                      <a:cubicBezTo>
                        <a:pt x="114" y="211"/>
                        <a:pt x="113" y="211"/>
                        <a:pt x="112" y="210"/>
                      </a:cubicBezTo>
                      <a:cubicBezTo>
                        <a:pt x="112" y="210"/>
                        <a:pt x="111" y="209"/>
                        <a:pt x="110" y="210"/>
                      </a:cubicBezTo>
                      <a:cubicBezTo>
                        <a:pt x="110" y="210"/>
                        <a:pt x="108" y="209"/>
                        <a:pt x="108" y="209"/>
                      </a:cubicBezTo>
                      <a:cubicBezTo>
                        <a:pt x="108" y="209"/>
                        <a:pt x="107" y="209"/>
                        <a:pt x="106" y="209"/>
                      </a:cubicBezTo>
                      <a:cubicBezTo>
                        <a:pt x="106" y="208"/>
                        <a:pt x="106" y="209"/>
                        <a:pt x="105" y="209"/>
                      </a:cubicBezTo>
                      <a:cubicBezTo>
                        <a:pt x="105" y="209"/>
                        <a:pt x="105" y="208"/>
                        <a:pt x="104" y="208"/>
                      </a:cubicBezTo>
                      <a:cubicBezTo>
                        <a:pt x="104" y="207"/>
                        <a:pt x="104" y="207"/>
                        <a:pt x="104" y="207"/>
                      </a:cubicBezTo>
                      <a:cubicBezTo>
                        <a:pt x="103" y="206"/>
                        <a:pt x="103" y="206"/>
                        <a:pt x="102" y="206"/>
                      </a:cubicBezTo>
                      <a:cubicBezTo>
                        <a:pt x="101" y="206"/>
                        <a:pt x="101" y="205"/>
                        <a:pt x="100" y="204"/>
                      </a:cubicBezTo>
                      <a:cubicBezTo>
                        <a:pt x="99" y="204"/>
                        <a:pt x="99" y="205"/>
                        <a:pt x="99" y="205"/>
                      </a:cubicBezTo>
                      <a:cubicBezTo>
                        <a:pt x="98" y="204"/>
                        <a:pt x="99" y="204"/>
                        <a:pt x="99" y="203"/>
                      </a:cubicBezTo>
                      <a:cubicBezTo>
                        <a:pt x="99" y="203"/>
                        <a:pt x="98" y="201"/>
                        <a:pt x="98" y="200"/>
                      </a:cubicBezTo>
                      <a:cubicBezTo>
                        <a:pt x="98" y="200"/>
                        <a:pt x="97" y="199"/>
                        <a:pt x="97" y="198"/>
                      </a:cubicBezTo>
                      <a:cubicBezTo>
                        <a:pt x="97" y="198"/>
                        <a:pt x="97" y="198"/>
                        <a:pt x="96" y="197"/>
                      </a:cubicBezTo>
                      <a:cubicBezTo>
                        <a:pt x="96" y="197"/>
                        <a:pt x="95" y="197"/>
                        <a:pt x="95" y="196"/>
                      </a:cubicBezTo>
                      <a:cubicBezTo>
                        <a:pt x="95" y="196"/>
                        <a:pt x="94" y="195"/>
                        <a:pt x="94" y="194"/>
                      </a:cubicBezTo>
                      <a:cubicBezTo>
                        <a:pt x="94" y="193"/>
                        <a:pt x="93" y="193"/>
                        <a:pt x="93" y="193"/>
                      </a:cubicBezTo>
                      <a:cubicBezTo>
                        <a:pt x="93" y="192"/>
                        <a:pt x="92" y="192"/>
                        <a:pt x="92" y="192"/>
                      </a:cubicBezTo>
                      <a:cubicBezTo>
                        <a:pt x="91" y="191"/>
                        <a:pt x="90" y="191"/>
                        <a:pt x="89" y="190"/>
                      </a:cubicBezTo>
                      <a:cubicBezTo>
                        <a:pt x="89" y="190"/>
                        <a:pt x="88" y="190"/>
                        <a:pt x="88" y="190"/>
                      </a:cubicBezTo>
                      <a:cubicBezTo>
                        <a:pt x="88" y="190"/>
                        <a:pt x="87" y="190"/>
                        <a:pt x="87" y="191"/>
                      </a:cubicBezTo>
                      <a:cubicBezTo>
                        <a:pt x="86" y="191"/>
                        <a:pt x="86" y="190"/>
                        <a:pt x="85" y="190"/>
                      </a:cubicBezTo>
                      <a:cubicBezTo>
                        <a:pt x="85" y="190"/>
                        <a:pt x="84" y="189"/>
                        <a:pt x="84" y="188"/>
                      </a:cubicBezTo>
                      <a:cubicBezTo>
                        <a:pt x="84" y="187"/>
                        <a:pt x="82" y="186"/>
                        <a:pt x="82" y="186"/>
                      </a:cubicBezTo>
                      <a:cubicBezTo>
                        <a:pt x="82" y="186"/>
                        <a:pt x="81" y="184"/>
                        <a:pt x="80" y="184"/>
                      </a:cubicBezTo>
                      <a:cubicBezTo>
                        <a:pt x="80" y="183"/>
                        <a:pt x="80" y="183"/>
                        <a:pt x="79" y="183"/>
                      </a:cubicBezTo>
                      <a:cubicBezTo>
                        <a:pt x="79" y="182"/>
                        <a:pt x="78" y="182"/>
                        <a:pt x="78" y="182"/>
                      </a:cubicBezTo>
                      <a:cubicBezTo>
                        <a:pt x="77" y="182"/>
                        <a:pt x="77" y="181"/>
                        <a:pt x="77" y="181"/>
                      </a:cubicBezTo>
                      <a:cubicBezTo>
                        <a:pt x="77" y="181"/>
                        <a:pt x="77" y="180"/>
                        <a:pt x="77" y="180"/>
                      </a:cubicBezTo>
                      <a:cubicBezTo>
                        <a:pt x="77" y="180"/>
                        <a:pt x="77" y="180"/>
                        <a:pt x="77" y="180"/>
                      </a:cubicBezTo>
                      <a:cubicBezTo>
                        <a:pt x="76" y="180"/>
                        <a:pt x="76" y="180"/>
                        <a:pt x="76" y="180"/>
                      </a:cubicBezTo>
                      <a:cubicBezTo>
                        <a:pt x="76" y="180"/>
                        <a:pt x="75" y="181"/>
                        <a:pt x="75" y="181"/>
                      </a:cubicBezTo>
                      <a:cubicBezTo>
                        <a:pt x="74" y="181"/>
                        <a:pt x="74" y="181"/>
                        <a:pt x="73" y="182"/>
                      </a:cubicBezTo>
                      <a:cubicBezTo>
                        <a:pt x="73" y="182"/>
                        <a:pt x="72" y="181"/>
                        <a:pt x="72" y="181"/>
                      </a:cubicBezTo>
                      <a:cubicBezTo>
                        <a:pt x="71" y="181"/>
                        <a:pt x="71" y="180"/>
                        <a:pt x="71" y="180"/>
                      </a:cubicBezTo>
                      <a:cubicBezTo>
                        <a:pt x="70" y="180"/>
                        <a:pt x="70" y="181"/>
                        <a:pt x="69" y="181"/>
                      </a:cubicBezTo>
                      <a:cubicBezTo>
                        <a:pt x="69" y="181"/>
                        <a:pt x="68" y="180"/>
                        <a:pt x="68" y="180"/>
                      </a:cubicBezTo>
                      <a:cubicBezTo>
                        <a:pt x="68" y="180"/>
                        <a:pt x="68" y="179"/>
                        <a:pt x="68" y="179"/>
                      </a:cubicBezTo>
                      <a:cubicBezTo>
                        <a:pt x="68" y="179"/>
                        <a:pt x="67" y="179"/>
                        <a:pt x="66" y="179"/>
                      </a:cubicBezTo>
                      <a:cubicBezTo>
                        <a:pt x="66" y="179"/>
                        <a:pt x="66" y="178"/>
                        <a:pt x="66" y="178"/>
                      </a:cubicBezTo>
                      <a:cubicBezTo>
                        <a:pt x="66" y="178"/>
                        <a:pt x="66" y="177"/>
                        <a:pt x="65" y="177"/>
                      </a:cubicBezTo>
                      <a:cubicBezTo>
                        <a:pt x="65" y="177"/>
                        <a:pt x="65" y="177"/>
                        <a:pt x="65" y="178"/>
                      </a:cubicBezTo>
                      <a:cubicBezTo>
                        <a:pt x="65" y="178"/>
                        <a:pt x="65" y="178"/>
                        <a:pt x="65" y="179"/>
                      </a:cubicBezTo>
                      <a:cubicBezTo>
                        <a:pt x="65" y="179"/>
                        <a:pt x="64" y="179"/>
                        <a:pt x="64" y="179"/>
                      </a:cubicBezTo>
                      <a:cubicBezTo>
                        <a:pt x="63" y="180"/>
                        <a:pt x="63" y="180"/>
                        <a:pt x="63" y="180"/>
                      </a:cubicBezTo>
                      <a:cubicBezTo>
                        <a:pt x="63" y="180"/>
                        <a:pt x="63" y="179"/>
                        <a:pt x="63" y="179"/>
                      </a:cubicBezTo>
                      <a:cubicBezTo>
                        <a:pt x="62" y="179"/>
                        <a:pt x="62" y="179"/>
                        <a:pt x="62" y="178"/>
                      </a:cubicBezTo>
                      <a:cubicBezTo>
                        <a:pt x="63" y="178"/>
                        <a:pt x="63" y="178"/>
                        <a:pt x="63" y="178"/>
                      </a:cubicBezTo>
                      <a:cubicBezTo>
                        <a:pt x="63" y="178"/>
                        <a:pt x="63" y="177"/>
                        <a:pt x="64" y="177"/>
                      </a:cubicBezTo>
                      <a:cubicBezTo>
                        <a:pt x="64" y="177"/>
                        <a:pt x="63" y="176"/>
                        <a:pt x="63" y="176"/>
                      </a:cubicBezTo>
                      <a:cubicBezTo>
                        <a:pt x="63" y="176"/>
                        <a:pt x="62" y="177"/>
                        <a:pt x="62" y="177"/>
                      </a:cubicBezTo>
                      <a:cubicBezTo>
                        <a:pt x="62" y="178"/>
                        <a:pt x="62" y="178"/>
                        <a:pt x="62" y="178"/>
                      </a:cubicBezTo>
                      <a:cubicBezTo>
                        <a:pt x="61" y="178"/>
                        <a:pt x="61" y="178"/>
                        <a:pt x="61" y="179"/>
                      </a:cubicBezTo>
                      <a:cubicBezTo>
                        <a:pt x="61" y="179"/>
                        <a:pt x="60" y="179"/>
                        <a:pt x="60" y="179"/>
                      </a:cubicBezTo>
                      <a:cubicBezTo>
                        <a:pt x="59" y="179"/>
                        <a:pt x="59" y="180"/>
                        <a:pt x="59" y="180"/>
                      </a:cubicBezTo>
                      <a:cubicBezTo>
                        <a:pt x="58" y="179"/>
                        <a:pt x="58" y="179"/>
                        <a:pt x="58" y="179"/>
                      </a:cubicBezTo>
                      <a:cubicBezTo>
                        <a:pt x="57" y="180"/>
                        <a:pt x="57" y="180"/>
                        <a:pt x="57" y="181"/>
                      </a:cubicBezTo>
                      <a:cubicBezTo>
                        <a:pt x="57" y="182"/>
                        <a:pt x="57" y="182"/>
                        <a:pt x="56" y="183"/>
                      </a:cubicBezTo>
                      <a:cubicBezTo>
                        <a:pt x="56" y="183"/>
                        <a:pt x="56" y="183"/>
                        <a:pt x="56" y="184"/>
                      </a:cubicBezTo>
                      <a:cubicBezTo>
                        <a:pt x="56" y="184"/>
                        <a:pt x="55" y="185"/>
                        <a:pt x="55" y="185"/>
                      </a:cubicBezTo>
                      <a:cubicBezTo>
                        <a:pt x="55" y="185"/>
                        <a:pt x="55" y="185"/>
                        <a:pt x="55" y="186"/>
                      </a:cubicBezTo>
                      <a:cubicBezTo>
                        <a:pt x="55" y="186"/>
                        <a:pt x="54" y="185"/>
                        <a:pt x="54" y="185"/>
                      </a:cubicBezTo>
                      <a:cubicBezTo>
                        <a:pt x="54" y="184"/>
                        <a:pt x="53" y="184"/>
                        <a:pt x="53" y="183"/>
                      </a:cubicBezTo>
                      <a:cubicBezTo>
                        <a:pt x="52" y="183"/>
                        <a:pt x="51" y="183"/>
                        <a:pt x="51" y="183"/>
                      </a:cubicBezTo>
                      <a:cubicBezTo>
                        <a:pt x="51" y="183"/>
                        <a:pt x="50" y="183"/>
                        <a:pt x="50" y="183"/>
                      </a:cubicBezTo>
                      <a:cubicBezTo>
                        <a:pt x="50" y="184"/>
                        <a:pt x="49" y="184"/>
                        <a:pt x="48" y="184"/>
                      </a:cubicBezTo>
                      <a:cubicBezTo>
                        <a:pt x="48" y="184"/>
                        <a:pt x="48" y="184"/>
                        <a:pt x="47" y="184"/>
                      </a:cubicBezTo>
                      <a:cubicBezTo>
                        <a:pt x="46" y="184"/>
                        <a:pt x="46" y="183"/>
                        <a:pt x="46" y="182"/>
                      </a:cubicBezTo>
                      <a:cubicBezTo>
                        <a:pt x="45" y="182"/>
                        <a:pt x="45" y="180"/>
                        <a:pt x="44" y="179"/>
                      </a:cubicBezTo>
                      <a:cubicBezTo>
                        <a:pt x="44" y="179"/>
                        <a:pt x="44" y="179"/>
                        <a:pt x="44" y="178"/>
                      </a:cubicBezTo>
                      <a:cubicBezTo>
                        <a:pt x="45" y="178"/>
                        <a:pt x="44" y="176"/>
                        <a:pt x="45" y="175"/>
                      </a:cubicBezTo>
                      <a:cubicBezTo>
                        <a:pt x="45" y="175"/>
                        <a:pt x="45" y="173"/>
                        <a:pt x="45" y="173"/>
                      </a:cubicBezTo>
                      <a:cubicBezTo>
                        <a:pt x="45" y="172"/>
                        <a:pt x="45" y="171"/>
                        <a:pt x="45" y="171"/>
                      </a:cubicBezTo>
                      <a:cubicBezTo>
                        <a:pt x="45" y="170"/>
                        <a:pt x="44" y="170"/>
                        <a:pt x="44" y="170"/>
                      </a:cubicBezTo>
                      <a:cubicBezTo>
                        <a:pt x="44" y="169"/>
                        <a:pt x="43" y="169"/>
                        <a:pt x="43" y="169"/>
                      </a:cubicBezTo>
                      <a:cubicBezTo>
                        <a:pt x="43" y="168"/>
                        <a:pt x="42" y="169"/>
                        <a:pt x="42" y="169"/>
                      </a:cubicBezTo>
                      <a:cubicBezTo>
                        <a:pt x="42" y="169"/>
                        <a:pt x="41" y="169"/>
                        <a:pt x="41" y="169"/>
                      </a:cubicBezTo>
                      <a:cubicBezTo>
                        <a:pt x="41" y="169"/>
                        <a:pt x="40" y="169"/>
                        <a:pt x="39" y="169"/>
                      </a:cubicBezTo>
                      <a:cubicBezTo>
                        <a:pt x="39" y="169"/>
                        <a:pt x="39" y="169"/>
                        <a:pt x="38" y="169"/>
                      </a:cubicBezTo>
                      <a:cubicBezTo>
                        <a:pt x="38" y="170"/>
                        <a:pt x="37" y="169"/>
                        <a:pt x="37" y="169"/>
                      </a:cubicBezTo>
                      <a:cubicBezTo>
                        <a:pt x="37" y="169"/>
                        <a:pt x="36" y="169"/>
                        <a:pt x="36" y="169"/>
                      </a:cubicBezTo>
                      <a:cubicBezTo>
                        <a:pt x="36" y="169"/>
                        <a:pt x="37" y="168"/>
                        <a:pt x="37" y="168"/>
                      </a:cubicBezTo>
                      <a:cubicBezTo>
                        <a:pt x="37" y="168"/>
                        <a:pt x="37" y="166"/>
                        <a:pt x="37" y="166"/>
                      </a:cubicBezTo>
                      <a:cubicBezTo>
                        <a:pt x="37" y="166"/>
                        <a:pt x="37" y="163"/>
                        <a:pt x="37" y="163"/>
                      </a:cubicBezTo>
                      <a:cubicBezTo>
                        <a:pt x="38" y="163"/>
                        <a:pt x="38" y="164"/>
                        <a:pt x="38" y="165"/>
                      </a:cubicBezTo>
                      <a:cubicBezTo>
                        <a:pt x="38" y="165"/>
                        <a:pt x="38" y="165"/>
                        <a:pt x="38" y="164"/>
                      </a:cubicBezTo>
                      <a:cubicBezTo>
                        <a:pt x="38" y="164"/>
                        <a:pt x="38" y="162"/>
                        <a:pt x="38" y="162"/>
                      </a:cubicBezTo>
                      <a:cubicBezTo>
                        <a:pt x="38" y="162"/>
                        <a:pt x="38" y="161"/>
                        <a:pt x="38" y="161"/>
                      </a:cubicBezTo>
                      <a:cubicBezTo>
                        <a:pt x="38" y="160"/>
                        <a:pt x="39" y="159"/>
                        <a:pt x="39" y="159"/>
                      </a:cubicBezTo>
                      <a:cubicBezTo>
                        <a:pt x="39" y="158"/>
                        <a:pt x="39" y="157"/>
                        <a:pt x="39" y="157"/>
                      </a:cubicBezTo>
                      <a:cubicBezTo>
                        <a:pt x="39" y="157"/>
                        <a:pt x="39" y="157"/>
                        <a:pt x="38" y="157"/>
                      </a:cubicBezTo>
                      <a:cubicBezTo>
                        <a:pt x="38" y="157"/>
                        <a:pt x="38" y="157"/>
                        <a:pt x="37" y="157"/>
                      </a:cubicBezTo>
                      <a:cubicBezTo>
                        <a:pt x="37" y="157"/>
                        <a:pt x="36" y="157"/>
                        <a:pt x="36" y="157"/>
                      </a:cubicBezTo>
                      <a:cubicBezTo>
                        <a:pt x="35" y="157"/>
                        <a:pt x="35" y="158"/>
                        <a:pt x="34" y="158"/>
                      </a:cubicBezTo>
                      <a:cubicBezTo>
                        <a:pt x="34" y="158"/>
                        <a:pt x="34" y="159"/>
                        <a:pt x="34" y="160"/>
                      </a:cubicBezTo>
                      <a:cubicBezTo>
                        <a:pt x="34" y="161"/>
                        <a:pt x="33" y="161"/>
                        <a:pt x="33" y="162"/>
                      </a:cubicBezTo>
                      <a:cubicBezTo>
                        <a:pt x="33" y="162"/>
                        <a:pt x="33" y="162"/>
                        <a:pt x="33" y="162"/>
                      </a:cubicBezTo>
                      <a:cubicBezTo>
                        <a:pt x="32" y="163"/>
                        <a:pt x="33" y="163"/>
                        <a:pt x="32" y="163"/>
                      </a:cubicBezTo>
                      <a:cubicBezTo>
                        <a:pt x="32" y="163"/>
                        <a:pt x="32" y="163"/>
                        <a:pt x="31" y="163"/>
                      </a:cubicBezTo>
                      <a:cubicBezTo>
                        <a:pt x="31" y="162"/>
                        <a:pt x="31" y="163"/>
                        <a:pt x="31" y="163"/>
                      </a:cubicBezTo>
                      <a:cubicBezTo>
                        <a:pt x="31" y="163"/>
                        <a:pt x="30" y="164"/>
                        <a:pt x="30" y="164"/>
                      </a:cubicBezTo>
                      <a:cubicBezTo>
                        <a:pt x="29" y="164"/>
                        <a:pt x="28" y="164"/>
                        <a:pt x="28" y="164"/>
                      </a:cubicBezTo>
                      <a:cubicBezTo>
                        <a:pt x="27" y="164"/>
                        <a:pt x="27" y="163"/>
                        <a:pt x="27" y="163"/>
                      </a:cubicBezTo>
                      <a:cubicBezTo>
                        <a:pt x="26" y="163"/>
                        <a:pt x="26" y="163"/>
                        <a:pt x="26" y="163"/>
                      </a:cubicBezTo>
                      <a:cubicBezTo>
                        <a:pt x="25" y="163"/>
                        <a:pt x="25" y="162"/>
                        <a:pt x="25" y="161"/>
                      </a:cubicBezTo>
                      <a:cubicBezTo>
                        <a:pt x="25" y="161"/>
                        <a:pt x="24" y="159"/>
                        <a:pt x="24" y="158"/>
                      </a:cubicBezTo>
                      <a:cubicBezTo>
                        <a:pt x="23" y="158"/>
                        <a:pt x="23" y="157"/>
                        <a:pt x="23" y="157"/>
                      </a:cubicBezTo>
                      <a:cubicBezTo>
                        <a:pt x="23" y="156"/>
                        <a:pt x="23" y="155"/>
                        <a:pt x="23" y="155"/>
                      </a:cubicBezTo>
                      <a:cubicBezTo>
                        <a:pt x="23" y="154"/>
                        <a:pt x="23" y="153"/>
                        <a:pt x="23" y="153"/>
                      </a:cubicBezTo>
                      <a:cubicBezTo>
                        <a:pt x="23" y="152"/>
                        <a:pt x="23" y="151"/>
                        <a:pt x="23" y="150"/>
                      </a:cubicBezTo>
                      <a:cubicBezTo>
                        <a:pt x="23" y="150"/>
                        <a:pt x="23" y="149"/>
                        <a:pt x="23" y="149"/>
                      </a:cubicBezTo>
                      <a:cubicBezTo>
                        <a:pt x="23" y="148"/>
                        <a:pt x="24" y="148"/>
                        <a:pt x="24" y="147"/>
                      </a:cubicBezTo>
                      <a:cubicBezTo>
                        <a:pt x="24" y="146"/>
                        <a:pt x="23" y="145"/>
                        <a:pt x="23" y="145"/>
                      </a:cubicBezTo>
                      <a:cubicBezTo>
                        <a:pt x="23" y="145"/>
                        <a:pt x="23" y="144"/>
                        <a:pt x="23" y="143"/>
                      </a:cubicBezTo>
                      <a:cubicBezTo>
                        <a:pt x="24" y="143"/>
                        <a:pt x="24" y="142"/>
                        <a:pt x="25" y="142"/>
                      </a:cubicBezTo>
                      <a:cubicBezTo>
                        <a:pt x="25" y="142"/>
                        <a:pt x="26" y="141"/>
                        <a:pt x="27" y="141"/>
                      </a:cubicBezTo>
                      <a:cubicBezTo>
                        <a:pt x="27" y="141"/>
                        <a:pt x="29" y="139"/>
                        <a:pt x="29" y="139"/>
                      </a:cubicBezTo>
                      <a:cubicBezTo>
                        <a:pt x="29" y="139"/>
                        <a:pt x="30" y="139"/>
                        <a:pt x="30" y="139"/>
                      </a:cubicBezTo>
                      <a:cubicBezTo>
                        <a:pt x="31" y="139"/>
                        <a:pt x="31" y="140"/>
                        <a:pt x="31" y="140"/>
                      </a:cubicBezTo>
                      <a:cubicBezTo>
                        <a:pt x="32" y="140"/>
                        <a:pt x="34" y="140"/>
                        <a:pt x="34" y="140"/>
                      </a:cubicBezTo>
                      <a:cubicBezTo>
                        <a:pt x="34" y="140"/>
                        <a:pt x="35" y="140"/>
                        <a:pt x="35" y="140"/>
                      </a:cubicBezTo>
                      <a:cubicBezTo>
                        <a:pt x="35" y="140"/>
                        <a:pt x="35" y="140"/>
                        <a:pt x="35" y="141"/>
                      </a:cubicBezTo>
                      <a:cubicBezTo>
                        <a:pt x="35" y="141"/>
                        <a:pt x="36" y="141"/>
                        <a:pt x="36" y="141"/>
                      </a:cubicBezTo>
                      <a:cubicBezTo>
                        <a:pt x="36" y="140"/>
                        <a:pt x="36" y="140"/>
                        <a:pt x="36" y="140"/>
                      </a:cubicBezTo>
                      <a:cubicBezTo>
                        <a:pt x="36" y="139"/>
                        <a:pt x="35" y="140"/>
                        <a:pt x="35" y="139"/>
                      </a:cubicBezTo>
                      <a:cubicBezTo>
                        <a:pt x="35" y="139"/>
                        <a:pt x="36" y="139"/>
                        <a:pt x="36" y="138"/>
                      </a:cubicBezTo>
                      <a:cubicBezTo>
                        <a:pt x="36" y="138"/>
                        <a:pt x="36" y="138"/>
                        <a:pt x="36" y="138"/>
                      </a:cubicBezTo>
                      <a:cubicBezTo>
                        <a:pt x="37" y="138"/>
                        <a:pt x="38" y="138"/>
                        <a:pt x="38" y="138"/>
                      </a:cubicBezTo>
                      <a:cubicBezTo>
                        <a:pt x="38" y="138"/>
                        <a:pt x="40" y="138"/>
                        <a:pt x="40" y="138"/>
                      </a:cubicBezTo>
                      <a:cubicBezTo>
                        <a:pt x="40" y="138"/>
                        <a:pt x="41" y="138"/>
                        <a:pt x="41" y="138"/>
                      </a:cubicBezTo>
                      <a:cubicBezTo>
                        <a:pt x="42" y="138"/>
                        <a:pt x="42" y="139"/>
                        <a:pt x="42" y="139"/>
                      </a:cubicBezTo>
                      <a:cubicBezTo>
                        <a:pt x="42" y="139"/>
                        <a:pt x="43" y="139"/>
                        <a:pt x="43" y="139"/>
                      </a:cubicBezTo>
                      <a:cubicBezTo>
                        <a:pt x="43" y="138"/>
                        <a:pt x="43" y="138"/>
                        <a:pt x="44" y="138"/>
                      </a:cubicBezTo>
                      <a:cubicBezTo>
                        <a:pt x="44" y="138"/>
                        <a:pt x="45" y="139"/>
                        <a:pt x="45" y="140"/>
                      </a:cubicBezTo>
                      <a:cubicBezTo>
                        <a:pt x="45" y="140"/>
                        <a:pt x="45" y="141"/>
                        <a:pt x="46" y="141"/>
                      </a:cubicBezTo>
                      <a:cubicBezTo>
                        <a:pt x="46" y="141"/>
                        <a:pt x="46" y="142"/>
                        <a:pt x="46" y="142"/>
                      </a:cubicBezTo>
                      <a:cubicBezTo>
                        <a:pt x="46" y="142"/>
                        <a:pt x="46" y="143"/>
                        <a:pt x="46" y="144"/>
                      </a:cubicBezTo>
                      <a:cubicBezTo>
                        <a:pt x="46" y="144"/>
                        <a:pt x="46" y="145"/>
                        <a:pt x="47" y="146"/>
                      </a:cubicBezTo>
                      <a:cubicBezTo>
                        <a:pt x="47" y="146"/>
                        <a:pt x="47" y="146"/>
                        <a:pt x="47" y="146"/>
                      </a:cubicBezTo>
                      <a:cubicBezTo>
                        <a:pt x="47" y="147"/>
                        <a:pt x="47" y="147"/>
                        <a:pt x="48" y="148"/>
                      </a:cubicBezTo>
                      <a:cubicBezTo>
                        <a:pt x="48" y="148"/>
                        <a:pt x="48" y="148"/>
                        <a:pt x="48" y="149"/>
                      </a:cubicBezTo>
                      <a:cubicBezTo>
                        <a:pt x="48" y="149"/>
                        <a:pt x="49" y="149"/>
                        <a:pt x="49" y="149"/>
                      </a:cubicBezTo>
                      <a:cubicBezTo>
                        <a:pt x="49" y="149"/>
                        <a:pt x="49" y="148"/>
                        <a:pt x="50" y="148"/>
                      </a:cubicBezTo>
                      <a:cubicBezTo>
                        <a:pt x="50" y="148"/>
                        <a:pt x="50" y="146"/>
                        <a:pt x="50" y="145"/>
                      </a:cubicBezTo>
                      <a:cubicBezTo>
                        <a:pt x="50" y="145"/>
                        <a:pt x="49" y="144"/>
                        <a:pt x="49" y="143"/>
                      </a:cubicBezTo>
                      <a:cubicBezTo>
                        <a:pt x="49" y="142"/>
                        <a:pt x="49" y="142"/>
                        <a:pt x="49" y="142"/>
                      </a:cubicBezTo>
                      <a:cubicBezTo>
                        <a:pt x="49" y="141"/>
                        <a:pt x="48" y="139"/>
                        <a:pt x="48" y="139"/>
                      </a:cubicBezTo>
                      <a:cubicBezTo>
                        <a:pt x="47" y="138"/>
                        <a:pt x="48" y="137"/>
                        <a:pt x="48" y="136"/>
                      </a:cubicBezTo>
                      <a:cubicBezTo>
                        <a:pt x="48" y="135"/>
                        <a:pt x="49" y="134"/>
                        <a:pt x="49" y="134"/>
                      </a:cubicBezTo>
                      <a:cubicBezTo>
                        <a:pt x="50" y="133"/>
                        <a:pt x="51" y="132"/>
                        <a:pt x="51" y="132"/>
                      </a:cubicBezTo>
                      <a:cubicBezTo>
                        <a:pt x="51" y="132"/>
                        <a:pt x="51" y="131"/>
                        <a:pt x="51" y="131"/>
                      </a:cubicBezTo>
                      <a:cubicBezTo>
                        <a:pt x="52" y="130"/>
                        <a:pt x="52" y="130"/>
                        <a:pt x="53" y="130"/>
                      </a:cubicBezTo>
                      <a:cubicBezTo>
                        <a:pt x="53" y="130"/>
                        <a:pt x="53" y="130"/>
                        <a:pt x="53" y="130"/>
                      </a:cubicBezTo>
                      <a:cubicBezTo>
                        <a:pt x="53" y="129"/>
                        <a:pt x="54" y="129"/>
                        <a:pt x="54" y="129"/>
                      </a:cubicBezTo>
                      <a:cubicBezTo>
                        <a:pt x="55" y="128"/>
                        <a:pt x="55" y="129"/>
                        <a:pt x="55" y="128"/>
                      </a:cubicBezTo>
                      <a:cubicBezTo>
                        <a:pt x="56" y="128"/>
                        <a:pt x="56" y="128"/>
                        <a:pt x="56" y="128"/>
                      </a:cubicBezTo>
                      <a:cubicBezTo>
                        <a:pt x="56" y="127"/>
                        <a:pt x="56" y="127"/>
                        <a:pt x="57" y="127"/>
                      </a:cubicBezTo>
                      <a:cubicBezTo>
                        <a:pt x="57" y="127"/>
                        <a:pt x="57" y="127"/>
                        <a:pt x="57" y="126"/>
                      </a:cubicBezTo>
                      <a:cubicBezTo>
                        <a:pt x="57" y="126"/>
                        <a:pt x="57" y="126"/>
                        <a:pt x="56" y="125"/>
                      </a:cubicBezTo>
                      <a:cubicBezTo>
                        <a:pt x="56" y="125"/>
                        <a:pt x="56" y="124"/>
                        <a:pt x="56" y="124"/>
                      </a:cubicBezTo>
                      <a:cubicBezTo>
                        <a:pt x="56" y="123"/>
                        <a:pt x="56" y="123"/>
                        <a:pt x="56" y="123"/>
                      </a:cubicBezTo>
                      <a:cubicBezTo>
                        <a:pt x="55" y="123"/>
                        <a:pt x="56" y="122"/>
                        <a:pt x="56" y="122"/>
                      </a:cubicBezTo>
                      <a:cubicBezTo>
                        <a:pt x="56" y="121"/>
                        <a:pt x="55" y="121"/>
                        <a:pt x="55" y="120"/>
                      </a:cubicBezTo>
                      <a:cubicBezTo>
                        <a:pt x="55" y="119"/>
                        <a:pt x="56" y="119"/>
                        <a:pt x="56" y="119"/>
                      </a:cubicBezTo>
                      <a:cubicBezTo>
                        <a:pt x="55" y="120"/>
                        <a:pt x="56" y="120"/>
                        <a:pt x="56" y="120"/>
                      </a:cubicBezTo>
                      <a:cubicBezTo>
                        <a:pt x="56" y="121"/>
                        <a:pt x="56" y="121"/>
                        <a:pt x="56" y="122"/>
                      </a:cubicBezTo>
                      <a:cubicBezTo>
                        <a:pt x="56" y="122"/>
                        <a:pt x="56" y="123"/>
                        <a:pt x="56" y="123"/>
                      </a:cubicBezTo>
                      <a:cubicBezTo>
                        <a:pt x="56" y="123"/>
                        <a:pt x="56" y="123"/>
                        <a:pt x="56" y="123"/>
                      </a:cubicBezTo>
                      <a:cubicBezTo>
                        <a:pt x="56" y="123"/>
                        <a:pt x="57" y="122"/>
                        <a:pt x="57" y="121"/>
                      </a:cubicBezTo>
                      <a:cubicBezTo>
                        <a:pt x="57" y="121"/>
                        <a:pt x="57" y="120"/>
                        <a:pt x="57" y="119"/>
                      </a:cubicBezTo>
                      <a:cubicBezTo>
                        <a:pt x="57" y="119"/>
                        <a:pt x="57" y="119"/>
                        <a:pt x="57" y="119"/>
                      </a:cubicBezTo>
                      <a:cubicBezTo>
                        <a:pt x="58" y="119"/>
                        <a:pt x="58" y="119"/>
                        <a:pt x="58" y="119"/>
                      </a:cubicBezTo>
                      <a:cubicBezTo>
                        <a:pt x="58" y="119"/>
                        <a:pt x="58" y="119"/>
                        <a:pt x="59" y="118"/>
                      </a:cubicBezTo>
                      <a:cubicBezTo>
                        <a:pt x="59" y="118"/>
                        <a:pt x="59" y="117"/>
                        <a:pt x="59" y="116"/>
                      </a:cubicBezTo>
                      <a:cubicBezTo>
                        <a:pt x="59" y="116"/>
                        <a:pt x="59" y="116"/>
                        <a:pt x="59" y="116"/>
                      </a:cubicBezTo>
                      <a:cubicBezTo>
                        <a:pt x="60" y="115"/>
                        <a:pt x="60" y="116"/>
                        <a:pt x="61" y="115"/>
                      </a:cubicBezTo>
                      <a:cubicBezTo>
                        <a:pt x="61" y="115"/>
                        <a:pt x="62" y="115"/>
                        <a:pt x="62" y="115"/>
                      </a:cubicBezTo>
                      <a:cubicBezTo>
                        <a:pt x="62" y="115"/>
                        <a:pt x="62" y="115"/>
                        <a:pt x="61" y="115"/>
                      </a:cubicBezTo>
                      <a:cubicBezTo>
                        <a:pt x="61" y="115"/>
                        <a:pt x="60" y="115"/>
                        <a:pt x="60" y="115"/>
                      </a:cubicBezTo>
                      <a:cubicBezTo>
                        <a:pt x="60" y="115"/>
                        <a:pt x="59" y="115"/>
                        <a:pt x="60" y="115"/>
                      </a:cubicBezTo>
                      <a:cubicBezTo>
                        <a:pt x="60" y="115"/>
                        <a:pt x="60" y="114"/>
                        <a:pt x="60" y="114"/>
                      </a:cubicBezTo>
                      <a:cubicBezTo>
                        <a:pt x="60" y="114"/>
                        <a:pt x="62" y="114"/>
                        <a:pt x="62" y="114"/>
                      </a:cubicBezTo>
                      <a:cubicBezTo>
                        <a:pt x="63" y="114"/>
                        <a:pt x="64" y="114"/>
                        <a:pt x="64" y="114"/>
                      </a:cubicBezTo>
                      <a:cubicBezTo>
                        <a:pt x="65" y="114"/>
                        <a:pt x="65" y="113"/>
                        <a:pt x="65" y="113"/>
                      </a:cubicBezTo>
                      <a:cubicBezTo>
                        <a:pt x="65" y="113"/>
                        <a:pt x="65" y="113"/>
                        <a:pt x="64" y="113"/>
                      </a:cubicBezTo>
                      <a:cubicBezTo>
                        <a:pt x="64" y="113"/>
                        <a:pt x="64" y="112"/>
                        <a:pt x="64" y="112"/>
                      </a:cubicBezTo>
                      <a:cubicBezTo>
                        <a:pt x="64" y="111"/>
                        <a:pt x="64" y="111"/>
                        <a:pt x="64" y="111"/>
                      </a:cubicBezTo>
                      <a:cubicBezTo>
                        <a:pt x="64" y="111"/>
                        <a:pt x="64" y="110"/>
                        <a:pt x="64" y="110"/>
                      </a:cubicBezTo>
                      <a:cubicBezTo>
                        <a:pt x="65" y="109"/>
                        <a:pt x="65" y="109"/>
                        <a:pt x="65" y="109"/>
                      </a:cubicBezTo>
                      <a:cubicBezTo>
                        <a:pt x="66" y="109"/>
                        <a:pt x="66" y="108"/>
                        <a:pt x="67" y="108"/>
                      </a:cubicBezTo>
                      <a:cubicBezTo>
                        <a:pt x="67" y="108"/>
                        <a:pt x="67" y="108"/>
                        <a:pt x="68" y="108"/>
                      </a:cubicBezTo>
                      <a:cubicBezTo>
                        <a:pt x="68" y="107"/>
                        <a:pt x="68" y="107"/>
                        <a:pt x="69" y="107"/>
                      </a:cubicBezTo>
                      <a:cubicBezTo>
                        <a:pt x="69" y="107"/>
                        <a:pt x="70" y="107"/>
                        <a:pt x="70" y="107"/>
                      </a:cubicBezTo>
                      <a:cubicBezTo>
                        <a:pt x="70" y="106"/>
                        <a:pt x="70" y="106"/>
                        <a:pt x="70" y="106"/>
                      </a:cubicBezTo>
                      <a:cubicBezTo>
                        <a:pt x="70" y="106"/>
                        <a:pt x="71" y="106"/>
                        <a:pt x="72" y="106"/>
                      </a:cubicBezTo>
                      <a:cubicBezTo>
                        <a:pt x="72" y="105"/>
                        <a:pt x="72" y="105"/>
                        <a:pt x="73" y="105"/>
                      </a:cubicBezTo>
                      <a:cubicBezTo>
                        <a:pt x="73" y="105"/>
                        <a:pt x="73" y="105"/>
                        <a:pt x="73" y="105"/>
                      </a:cubicBezTo>
                      <a:cubicBezTo>
                        <a:pt x="73" y="105"/>
                        <a:pt x="74" y="105"/>
                        <a:pt x="74" y="105"/>
                      </a:cubicBezTo>
                      <a:cubicBezTo>
                        <a:pt x="74" y="105"/>
                        <a:pt x="74" y="106"/>
                        <a:pt x="74" y="106"/>
                      </a:cubicBezTo>
                      <a:cubicBezTo>
                        <a:pt x="73" y="106"/>
                        <a:pt x="73" y="106"/>
                        <a:pt x="72" y="106"/>
                      </a:cubicBezTo>
                      <a:cubicBezTo>
                        <a:pt x="72" y="106"/>
                        <a:pt x="71" y="107"/>
                        <a:pt x="71" y="107"/>
                      </a:cubicBezTo>
                      <a:cubicBezTo>
                        <a:pt x="71" y="107"/>
                        <a:pt x="71" y="108"/>
                        <a:pt x="71" y="108"/>
                      </a:cubicBezTo>
                      <a:cubicBezTo>
                        <a:pt x="71" y="109"/>
                        <a:pt x="71" y="109"/>
                        <a:pt x="72" y="109"/>
                      </a:cubicBezTo>
                      <a:cubicBezTo>
                        <a:pt x="72" y="109"/>
                        <a:pt x="72" y="109"/>
                        <a:pt x="72" y="109"/>
                      </a:cubicBezTo>
                      <a:cubicBezTo>
                        <a:pt x="72" y="109"/>
                        <a:pt x="73" y="109"/>
                        <a:pt x="73" y="109"/>
                      </a:cubicBezTo>
                      <a:cubicBezTo>
                        <a:pt x="73" y="109"/>
                        <a:pt x="73" y="108"/>
                        <a:pt x="74" y="108"/>
                      </a:cubicBezTo>
                      <a:cubicBezTo>
                        <a:pt x="74" y="108"/>
                        <a:pt x="74" y="107"/>
                        <a:pt x="74" y="107"/>
                      </a:cubicBezTo>
                      <a:cubicBezTo>
                        <a:pt x="74" y="107"/>
                        <a:pt x="75" y="107"/>
                        <a:pt x="75" y="107"/>
                      </a:cubicBezTo>
                      <a:cubicBezTo>
                        <a:pt x="75" y="108"/>
                        <a:pt x="75" y="107"/>
                        <a:pt x="75" y="107"/>
                      </a:cubicBezTo>
                      <a:cubicBezTo>
                        <a:pt x="76" y="107"/>
                        <a:pt x="77" y="107"/>
                        <a:pt x="77" y="106"/>
                      </a:cubicBezTo>
                      <a:cubicBezTo>
                        <a:pt x="77" y="106"/>
                        <a:pt x="78" y="106"/>
                        <a:pt x="78" y="106"/>
                      </a:cubicBezTo>
                      <a:cubicBezTo>
                        <a:pt x="79" y="106"/>
                        <a:pt x="79" y="105"/>
                        <a:pt x="79" y="105"/>
                      </a:cubicBezTo>
                      <a:cubicBezTo>
                        <a:pt x="79" y="105"/>
                        <a:pt x="79" y="105"/>
                        <a:pt x="79" y="105"/>
                      </a:cubicBezTo>
                      <a:cubicBezTo>
                        <a:pt x="79" y="105"/>
                        <a:pt x="79" y="105"/>
                        <a:pt x="80" y="105"/>
                      </a:cubicBezTo>
                      <a:cubicBezTo>
                        <a:pt x="80" y="105"/>
                        <a:pt x="81" y="104"/>
                        <a:pt x="81" y="104"/>
                      </a:cubicBezTo>
                      <a:cubicBezTo>
                        <a:pt x="81" y="104"/>
                        <a:pt x="81" y="104"/>
                        <a:pt x="81" y="104"/>
                      </a:cubicBezTo>
                      <a:cubicBezTo>
                        <a:pt x="80" y="103"/>
                        <a:pt x="80" y="103"/>
                        <a:pt x="80" y="103"/>
                      </a:cubicBezTo>
                      <a:cubicBezTo>
                        <a:pt x="80" y="103"/>
                        <a:pt x="80" y="103"/>
                        <a:pt x="80" y="103"/>
                      </a:cubicBezTo>
                      <a:cubicBezTo>
                        <a:pt x="80" y="103"/>
                        <a:pt x="80" y="102"/>
                        <a:pt x="80" y="102"/>
                      </a:cubicBezTo>
                      <a:cubicBezTo>
                        <a:pt x="80" y="102"/>
                        <a:pt x="79" y="103"/>
                        <a:pt x="79" y="103"/>
                      </a:cubicBezTo>
                      <a:cubicBezTo>
                        <a:pt x="79" y="103"/>
                        <a:pt x="79" y="104"/>
                        <a:pt x="78" y="104"/>
                      </a:cubicBezTo>
                      <a:cubicBezTo>
                        <a:pt x="78" y="104"/>
                        <a:pt x="78" y="105"/>
                        <a:pt x="78" y="105"/>
                      </a:cubicBezTo>
                      <a:cubicBezTo>
                        <a:pt x="78" y="105"/>
                        <a:pt x="78" y="105"/>
                        <a:pt x="78" y="104"/>
                      </a:cubicBezTo>
                      <a:cubicBezTo>
                        <a:pt x="77" y="104"/>
                        <a:pt x="77" y="105"/>
                        <a:pt x="77" y="105"/>
                      </a:cubicBezTo>
                      <a:cubicBezTo>
                        <a:pt x="77" y="105"/>
                        <a:pt x="76" y="105"/>
                        <a:pt x="76" y="105"/>
                      </a:cubicBezTo>
                      <a:cubicBezTo>
                        <a:pt x="76" y="105"/>
                        <a:pt x="75" y="104"/>
                        <a:pt x="75" y="104"/>
                      </a:cubicBezTo>
                      <a:cubicBezTo>
                        <a:pt x="75" y="104"/>
                        <a:pt x="75" y="104"/>
                        <a:pt x="74" y="104"/>
                      </a:cubicBezTo>
                      <a:cubicBezTo>
                        <a:pt x="74" y="104"/>
                        <a:pt x="74" y="103"/>
                        <a:pt x="74" y="103"/>
                      </a:cubicBezTo>
                      <a:cubicBezTo>
                        <a:pt x="74" y="103"/>
                        <a:pt x="73" y="103"/>
                        <a:pt x="73" y="102"/>
                      </a:cubicBezTo>
                      <a:cubicBezTo>
                        <a:pt x="73" y="102"/>
                        <a:pt x="73" y="102"/>
                        <a:pt x="73" y="102"/>
                      </a:cubicBezTo>
                      <a:cubicBezTo>
                        <a:pt x="73" y="102"/>
                        <a:pt x="73" y="101"/>
                        <a:pt x="73" y="101"/>
                      </a:cubicBezTo>
                      <a:cubicBezTo>
                        <a:pt x="73" y="101"/>
                        <a:pt x="73" y="101"/>
                        <a:pt x="73" y="100"/>
                      </a:cubicBezTo>
                      <a:cubicBezTo>
                        <a:pt x="74" y="100"/>
                        <a:pt x="74" y="100"/>
                        <a:pt x="74" y="100"/>
                      </a:cubicBezTo>
                      <a:cubicBezTo>
                        <a:pt x="74" y="99"/>
                        <a:pt x="73" y="100"/>
                        <a:pt x="73" y="100"/>
                      </a:cubicBezTo>
                      <a:cubicBezTo>
                        <a:pt x="73" y="100"/>
                        <a:pt x="73" y="100"/>
                        <a:pt x="72" y="100"/>
                      </a:cubicBezTo>
                      <a:cubicBezTo>
                        <a:pt x="72" y="100"/>
                        <a:pt x="72" y="100"/>
                        <a:pt x="72" y="100"/>
                      </a:cubicBezTo>
                      <a:cubicBezTo>
                        <a:pt x="71" y="100"/>
                        <a:pt x="71" y="100"/>
                        <a:pt x="71" y="100"/>
                      </a:cubicBezTo>
                      <a:cubicBezTo>
                        <a:pt x="71" y="99"/>
                        <a:pt x="72" y="99"/>
                        <a:pt x="72" y="99"/>
                      </a:cubicBezTo>
                      <a:cubicBezTo>
                        <a:pt x="72" y="99"/>
                        <a:pt x="72" y="100"/>
                        <a:pt x="73" y="100"/>
                      </a:cubicBezTo>
                      <a:cubicBezTo>
                        <a:pt x="73" y="100"/>
                        <a:pt x="73" y="99"/>
                        <a:pt x="73" y="99"/>
                      </a:cubicBezTo>
                      <a:cubicBezTo>
                        <a:pt x="74" y="99"/>
                        <a:pt x="74" y="99"/>
                        <a:pt x="74" y="99"/>
                      </a:cubicBezTo>
                      <a:cubicBezTo>
                        <a:pt x="74" y="99"/>
                        <a:pt x="74" y="99"/>
                        <a:pt x="74" y="98"/>
                      </a:cubicBezTo>
                      <a:cubicBezTo>
                        <a:pt x="74" y="98"/>
                        <a:pt x="74" y="98"/>
                        <a:pt x="74" y="97"/>
                      </a:cubicBezTo>
                      <a:cubicBezTo>
                        <a:pt x="74" y="97"/>
                        <a:pt x="73" y="97"/>
                        <a:pt x="72" y="97"/>
                      </a:cubicBezTo>
                      <a:cubicBezTo>
                        <a:pt x="72" y="97"/>
                        <a:pt x="71" y="97"/>
                        <a:pt x="70" y="97"/>
                      </a:cubicBezTo>
                      <a:cubicBezTo>
                        <a:pt x="70" y="98"/>
                        <a:pt x="69" y="98"/>
                        <a:pt x="68" y="98"/>
                      </a:cubicBezTo>
                      <a:cubicBezTo>
                        <a:pt x="68" y="99"/>
                        <a:pt x="67" y="99"/>
                        <a:pt x="67" y="99"/>
                      </a:cubicBezTo>
                      <a:cubicBezTo>
                        <a:pt x="66" y="100"/>
                        <a:pt x="66" y="100"/>
                        <a:pt x="66" y="100"/>
                      </a:cubicBezTo>
                      <a:cubicBezTo>
                        <a:pt x="65" y="100"/>
                        <a:pt x="65" y="101"/>
                        <a:pt x="65" y="100"/>
                      </a:cubicBezTo>
                      <a:cubicBezTo>
                        <a:pt x="66" y="100"/>
                        <a:pt x="66" y="100"/>
                        <a:pt x="66" y="99"/>
                      </a:cubicBezTo>
                      <a:cubicBezTo>
                        <a:pt x="66" y="99"/>
                        <a:pt x="67" y="98"/>
                        <a:pt x="67" y="98"/>
                      </a:cubicBezTo>
                      <a:cubicBezTo>
                        <a:pt x="67" y="97"/>
                        <a:pt x="68" y="97"/>
                        <a:pt x="68" y="97"/>
                      </a:cubicBezTo>
                      <a:cubicBezTo>
                        <a:pt x="68" y="97"/>
                        <a:pt x="69" y="97"/>
                        <a:pt x="69" y="97"/>
                      </a:cubicBezTo>
                      <a:cubicBezTo>
                        <a:pt x="70" y="97"/>
                        <a:pt x="69" y="97"/>
                        <a:pt x="69" y="96"/>
                      </a:cubicBezTo>
                      <a:cubicBezTo>
                        <a:pt x="70" y="96"/>
                        <a:pt x="70" y="96"/>
                        <a:pt x="70" y="95"/>
                      </a:cubicBezTo>
                      <a:cubicBezTo>
                        <a:pt x="71" y="95"/>
                        <a:pt x="72" y="95"/>
                        <a:pt x="73" y="95"/>
                      </a:cubicBezTo>
                      <a:cubicBezTo>
                        <a:pt x="73" y="95"/>
                        <a:pt x="74" y="95"/>
                        <a:pt x="74" y="95"/>
                      </a:cubicBezTo>
                      <a:cubicBezTo>
                        <a:pt x="75" y="95"/>
                        <a:pt x="76" y="95"/>
                        <a:pt x="77" y="95"/>
                      </a:cubicBezTo>
                      <a:cubicBezTo>
                        <a:pt x="77" y="95"/>
                        <a:pt x="79" y="95"/>
                        <a:pt x="79" y="95"/>
                      </a:cubicBezTo>
                      <a:cubicBezTo>
                        <a:pt x="80" y="95"/>
                        <a:pt x="80" y="95"/>
                        <a:pt x="81" y="95"/>
                      </a:cubicBezTo>
                      <a:cubicBezTo>
                        <a:pt x="81" y="95"/>
                        <a:pt x="81" y="94"/>
                        <a:pt x="82" y="94"/>
                      </a:cubicBezTo>
                      <a:cubicBezTo>
                        <a:pt x="82" y="94"/>
                        <a:pt x="82" y="93"/>
                        <a:pt x="83" y="93"/>
                      </a:cubicBezTo>
                      <a:cubicBezTo>
                        <a:pt x="83" y="93"/>
                        <a:pt x="84" y="93"/>
                        <a:pt x="84" y="92"/>
                      </a:cubicBezTo>
                      <a:cubicBezTo>
                        <a:pt x="85" y="93"/>
                        <a:pt x="85" y="93"/>
                        <a:pt x="85" y="93"/>
                      </a:cubicBezTo>
                      <a:cubicBezTo>
                        <a:pt x="84" y="93"/>
                        <a:pt x="84" y="93"/>
                        <a:pt x="84" y="93"/>
                      </a:cubicBezTo>
                      <a:cubicBezTo>
                        <a:pt x="84" y="93"/>
                        <a:pt x="84" y="93"/>
                        <a:pt x="84" y="93"/>
                      </a:cubicBezTo>
                      <a:cubicBezTo>
                        <a:pt x="84" y="93"/>
                        <a:pt x="84" y="94"/>
                        <a:pt x="83" y="94"/>
                      </a:cubicBezTo>
                      <a:cubicBezTo>
                        <a:pt x="83" y="95"/>
                        <a:pt x="83" y="95"/>
                        <a:pt x="83" y="95"/>
                      </a:cubicBezTo>
                      <a:cubicBezTo>
                        <a:pt x="83" y="95"/>
                        <a:pt x="83" y="95"/>
                        <a:pt x="83" y="96"/>
                      </a:cubicBezTo>
                      <a:cubicBezTo>
                        <a:pt x="83" y="96"/>
                        <a:pt x="82" y="96"/>
                        <a:pt x="82" y="97"/>
                      </a:cubicBezTo>
                      <a:cubicBezTo>
                        <a:pt x="82" y="97"/>
                        <a:pt x="82" y="97"/>
                        <a:pt x="82" y="97"/>
                      </a:cubicBezTo>
                      <a:cubicBezTo>
                        <a:pt x="82" y="97"/>
                        <a:pt x="82" y="98"/>
                        <a:pt x="82" y="98"/>
                      </a:cubicBezTo>
                      <a:cubicBezTo>
                        <a:pt x="82" y="98"/>
                        <a:pt x="82" y="98"/>
                        <a:pt x="82" y="98"/>
                      </a:cubicBezTo>
                      <a:cubicBezTo>
                        <a:pt x="81" y="99"/>
                        <a:pt x="81" y="100"/>
                        <a:pt x="81" y="101"/>
                      </a:cubicBezTo>
                      <a:cubicBezTo>
                        <a:pt x="81" y="101"/>
                        <a:pt x="82" y="102"/>
                        <a:pt x="83" y="102"/>
                      </a:cubicBezTo>
                      <a:cubicBezTo>
                        <a:pt x="83" y="102"/>
                        <a:pt x="84" y="102"/>
                        <a:pt x="84" y="102"/>
                      </a:cubicBezTo>
                      <a:cubicBezTo>
                        <a:pt x="84" y="102"/>
                        <a:pt x="85" y="102"/>
                        <a:pt x="86" y="102"/>
                      </a:cubicBezTo>
                      <a:cubicBezTo>
                        <a:pt x="86" y="102"/>
                        <a:pt x="86" y="102"/>
                        <a:pt x="86" y="102"/>
                      </a:cubicBezTo>
                      <a:cubicBezTo>
                        <a:pt x="86" y="102"/>
                        <a:pt x="86" y="102"/>
                        <a:pt x="86" y="102"/>
                      </a:cubicBezTo>
                      <a:cubicBezTo>
                        <a:pt x="86" y="103"/>
                        <a:pt x="87" y="103"/>
                        <a:pt x="88" y="103"/>
                      </a:cubicBezTo>
                      <a:cubicBezTo>
                        <a:pt x="88" y="103"/>
                        <a:pt x="88" y="103"/>
                        <a:pt x="89" y="103"/>
                      </a:cubicBezTo>
                      <a:cubicBezTo>
                        <a:pt x="89" y="103"/>
                        <a:pt x="89" y="103"/>
                        <a:pt x="89" y="103"/>
                      </a:cubicBezTo>
                      <a:cubicBezTo>
                        <a:pt x="90" y="103"/>
                        <a:pt x="90" y="103"/>
                        <a:pt x="90" y="103"/>
                      </a:cubicBezTo>
                      <a:cubicBezTo>
                        <a:pt x="90" y="103"/>
                        <a:pt x="90" y="103"/>
                        <a:pt x="90" y="103"/>
                      </a:cubicBezTo>
                      <a:cubicBezTo>
                        <a:pt x="90" y="103"/>
                        <a:pt x="90" y="104"/>
                        <a:pt x="91" y="104"/>
                      </a:cubicBezTo>
                      <a:cubicBezTo>
                        <a:pt x="91" y="103"/>
                        <a:pt x="91" y="103"/>
                        <a:pt x="91" y="103"/>
                      </a:cubicBezTo>
                      <a:cubicBezTo>
                        <a:pt x="91" y="103"/>
                        <a:pt x="92" y="103"/>
                        <a:pt x="92" y="102"/>
                      </a:cubicBezTo>
                      <a:cubicBezTo>
                        <a:pt x="93" y="102"/>
                        <a:pt x="93" y="102"/>
                        <a:pt x="93" y="102"/>
                      </a:cubicBezTo>
                      <a:cubicBezTo>
                        <a:pt x="93" y="101"/>
                        <a:pt x="93" y="101"/>
                        <a:pt x="93" y="101"/>
                      </a:cubicBezTo>
                      <a:cubicBezTo>
                        <a:pt x="93" y="101"/>
                        <a:pt x="93" y="100"/>
                        <a:pt x="93" y="100"/>
                      </a:cubicBezTo>
                      <a:cubicBezTo>
                        <a:pt x="93" y="100"/>
                        <a:pt x="93" y="100"/>
                        <a:pt x="92" y="99"/>
                      </a:cubicBezTo>
                      <a:cubicBezTo>
                        <a:pt x="93" y="99"/>
                        <a:pt x="93" y="99"/>
                        <a:pt x="93" y="99"/>
                      </a:cubicBezTo>
                      <a:cubicBezTo>
                        <a:pt x="93" y="99"/>
                        <a:pt x="93" y="99"/>
                        <a:pt x="93" y="99"/>
                      </a:cubicBezTo>
                      <a:cubicBezTo>
                        <a:pt x="92" y="98"/>
                        <a:pt x="92" y="98"/>
                        <a:pt x="92" y="98"/>
                      </a:cubicBezTo>
                      <a:cubicBezTo>
                        <a:pt x="92" y="98"/>
                        <a:pt x="92" y="98"/>
                        <a:pt x="91" y="98"/>
                      </a:cubicBezTo>
                      <a:cubicBezTo>
                        <a:pt x="91" y="97"/>
                        <a:pt x="91" y="97"/>
                        <a:pt x="91" y="97"/>
                      </a:cubicBezTo>
                      <a:cubicBezTo>
                        <a:pt x="91" y="97"/>
                        <a:pt x="91" y="97"/>
                        <a:pt x="90" y="96"/>
                      </a:cubicBezTo>
                      <a:cubicBezTo>
                        <a:pt x="90" y="96"/>
                        <a:pt x="90" y="95"/>
                        <a:pt x="89" y="95"/>
                      </a:cubicBezTo>
                      <a:cubicBezTo>
                        <a:pt x="89" y="95"/>
                        <a:pt x="89" y="95"/>
                        <a:pt x="89" y="95"/>
                      </a:cubicBezTo>
                      <a:cubicBezTo>
                        <a:pt x="89" y="95"/>
                        <a:pt x="89" y="95"/>
                        <a:pt x="89" y="95"/>
                      </a:cubicBezTo>
                      <a:cubicBezTo>
                        <a:pt x="88" y="95"/>
                        <a:pt x="88" y="95"/>
                        <a:pt x="88" y="94"/>
                      </a:cubicBezTo>
                      <a:cubicBezTo>
                        <a:pt x="88" y="94"/>
                        <a:pt x="88" y="94"/>
                        <a:pt x="88" y="94"/>
                      </a:cubicBezTo>
                      <a:cubicBezTo>
                        <a:pt x="88" y="94"/>
                        <a:pt x="88" y="94"/>
                        <a:pt x="88" y="93"/>
                      </a:cubicBezTo>
                      <a:cubicBezTo>
                        <a:pt x="88" y="93"/>
                        <a:pt x="89" y="93"/>
                        <a:pt x="89" y="93"/>
                      </a:cubicBezTo>
                      <a:cubicBezTo>
                        <a:pt x="89" y="92"/>
                        <a:pt x="88" y="91"/>
                        <a:pt x="88" y="91"/>
                      </a:cubicBezTo>
                      <a:cubicBezTo>
                        <a:pt x="87" y="91"/>
                        <a:pt x="87" y="91"/>
                        <a:pt x="87" y="91"/>
                      </a:cubicBezTo>
                      <a:cubicBezTo>
                        <a:pt x="87" y="91"/>
                        <a:pt x="87" y="91"/>
                        <a:pt x="87" y="91"/>
                      </a:cubicBezTo>
                      <a:cubicBezTo>
                        <a:pt x="87" y="91"/>
                        <a:pt x="87" y="91"/>
                        <a:pt x="87" y="91"/>
                      </a:cubicBezTo>
                      <a:cubicBezTo>
                        <a:pt x="87" y="91"/>
                        <a:pt x="87" y="91"/>
                        <a:pt x="87" y="91"/>
                      </a:cubicBezTo>
                      <a:cubicBezTo>
                        <a:pt x="88" y="90"/>
                        <a:pt x="87" y="90"/>
                        <a:pt x="87" y="90"/>
                      </a:cubicBezTo>
                      <a:cubicBezTo>
                        <a:pt x="87" y="89"/>
                        <a:pt x="87" y="88"/>
                        <a:pt x="87" y="88"/>
                      </a:cubicBezTo>
                      <a:cubicBezTo>
                        <a:pt x="87" y="88"/>
                        <a:pt x="87" y="88"/>
                        <a:pt x="86" y="87"/>
                      </a:cubicBezTo>
                      <a:cubicBezTo>
                        <a:pt x="86" y="87"/>
                        <a:pt x="86" y="87"/>
                        <a:pt x="86" y="87"/>
                      </a:cubicBezTo>
                      <a:cubicBezTo>
                        <a:pt x="85" y="87"/>
                        <a:pt x="85" y="87"/>
                        <a:pt x="85" y="88"/>
                      </a:cubicBezTo>
                      <a:cubicBezTo>
                        <a:pt x="85" y="88"/>
                        <a:pt x="85" y="88"/>
                        <a:pt x="85" y="87"/>
                      </a:cubicBezTo>
                      <a:cubicBezTo>
                        <a:pt x="85" y="87"/>
                        <a:pt x="85" y="87"/>
                        <a:pt x="85" y="87"/>
                      </a:cubicBezTo>
                      <a:cubicBezTo>
                        <a:pt x="85" y="86"/>
                        <a:pt x="84" y="86"/>
                        <a:pt x="84" y="86"/>
                      </a:cubicBezTo>
                      <a:cubicBezTo>
                        <a:pt x="84" y="86"/>
                        <a:pt x="83" y="87"/>
                        <a:pt x="83" y="87"/>
                      </a:cubicBezTo>
                      <a:cubicBezTo>
                        <a:pt x="82" y="87"/>
                        <a:pt x="82" y="87"/>
                        <a:pt x="81" y="88"/>
                      </a:cubicBezTo>
                      <a:cubicBezTo>
                        <a:pt x="81" y="88"/>
                        <a:pt x="81" y="88"/>
                        <a:pt x="81" y="87"/>
                      </a:cubicBezTo>
                      <a:cubicBezTo>
                        <a:pt x="80" y="87"/>
                        <a:pt x="81" y="87"/>
                        <a:pt x="82" y="87"/>
                      </a:cubicBezTo>
                      <a:cubicBezTo>
                        <a:pt x="82" y="87"/>
                        <a:pt x="83" y="87"/>
                        <a:pt x="83" y="86"/>
                      </a:cubicBezTo>
                      <a:cubicBezTo>
                        <a:pt x="83" y="86"/>
                        <a:pt x="84" y="86"/>
                        <a:pt x="84" y="86"/>
                      </a:cubicBezTo>
                      <a:cubicBezTo>
                        <a:pt x="85" y="86"/>
                        <a:pt x="85" y="86"/>
                        <a:pt x="85" y="86"/>
                      </a:cubicBezTo>
                      <a:cubicBezTo>
                        <a:pt x="85" y="86"/>
                        <a:pt x="85" y="86"/>
                        <a:pt x="85" y="86"/>
                      </a:cubicBezTo>
                      <a:cubicBezTo>
                        <a:pt x="84" y="86"/>
                        <a:pt x="84" y="85"/>
                        <a:pt x="84" y="85"/>
                      </a:cubicBezTo>
                      <a:cubicBezTo>
                        <a:pt x="84" y="85"/>
                        <a:pt x="83" y="85"/>
                        <a:pt x="83" y="85"/>
                      </a:cubicBezTo>
                      <a:cubicBezTo>
                        <a:pt x="83" y="85"/>
                        <a:pt x="83" y="85"/>
                        <a:pt x="83" y="85"/>
                      </a:cubicBezTo>
                      <a:cubicBezTo>
                        <a:pt x="82" y="84"/>
                        <a:pt x="82" y="84"/>
                        <a:pt x="82" y="84"/>
                      </a:cubicBezTo>
                      <a:cubicBezTo>
                        <a:pt x="82" y="84"/>
                        <a:pt x="81" y="84"/>
                        <a:pt x="81" y="84"/>
                      </a:cubicBezTo>
                      <a:cubicBezTo>
                        <a:pt x="81" y="83"/>
                        <a:pt x="80" y="83"/>
                        <a:pt x="80" y="83"/>
                      </a:cubicBezTo>
                      <a:cubicBezTo>
                        <a:pt x="80" y="82"/>
                        <a:pt x="80" y="83"/>
                        <a:pt x="79" y="83"/>
                      </a:cubicBezTo>
                      <a:cubicBezTo>
                        <a:pt x="79" y="82"/>
                        <a:pt x="79" y="82"/>
                        <a:pt x="79" y="82"/>
                      </a:cubicBezTo>
                      <a:cubicBezTo>
                        <a:pt x="78" y="81"/>
                        <a:pt x="79" y="81"/>
                        <a:pt x="79" y="80"/>
                      </a:cubicBezTo>
                      <a:cubicBezTo>
                        <a:pt x="79" y="80"/>
                        <a:pt x="78" y="80"/>
                        <a:pt x="78" y="80"/>
                      </a:cubicBezTo>
                      <a:cubicBezTo>
                        <a:pt x="78" y="80"/>
                        <a:pt x="78" y="79"/>
                        <a:pt x="78" y="78"/>
                      </a:cubicBezTo>
                      <a:cubicBezTo>
                        <a:pt x="78" y="78"/>
                        <a:pt x="77" y="78"/>
                        <a:pt x="77" y="78"/>
                      </a:cubicBezTo>
                      <a:cubicBezTo>
                        <a:pt x="77" y="77"/>
                        <a:pt x="76" y="77"/>
                        <a:pt x="76" y="77"/>
                      </a:cubicBezTo>
                      <a:cubicBezTo>
                        <a:pt x="76" y="76"/>
                        <a:pt x="75" y="75"/>
                        <a:pt x="75" y="74"/>
                      </a:cubicBezTo>
                      <a:cubicBezTo>
                        <a:pt x="74" y="74"/>
                        <a:pt x="74" y="73"/>
                        <a:pt x="74" y="72"/>
                      </a:cubicBezTo>
                      <a:cubicBezTo>
                        <a:pt x="73" y="72"/>
                        <a:pt x="73" y="73"/>
                        <a:pt x="73" y="73"/>
                      </a:cubicBezTo>
                      <a:cubicBezTo>
                        <a:pt x="73" y="73"/>
                        <a:pt x="73" y="73"/>
                        <a:pt x="73" y="74"/>
                      </a:cubicBezTo>
                      <a:cubicBezTo>
                        <a:pt x="73" y="74"/>
                        <a:pt x="72" y="74"/>
                        <a:pt x="72" y="74"/>
                      </a:cubicBezTo>
                      <a:cubicBezTo>
                        <a:pt x="72" y="74"/>
                        <a:pt x="72" y="75"/>
                        <a:pt x="72" y="75"/>
                      </a:cubicBezTo>
                      <a:cubicBezTo>
                        <a:pt x="72" y="76"/>
                        <a:pt x="72" y="76"/>
                        <a:pt x="72" y="76"/>
                      </a:cubicBezTo>
                      <a:cubicBezTo>
                        <a:pt x="72" y="77"/>
                        <a:pt x="71" y="76"/>
                        <a:pt x="71" y="76"/>
                      </a:cubicBezTo>
                      <a:cubicBezTo>
                        <a:pt x="71" y="76"/>
                        <a:pt x="71" y="77"/>
                        <a:pt x="70" y="77"/>
                      </a:cubicBezTo>
                      <a:cubicBezTo>
                        <a:pt x="70" y="77"/>
                        <a:pt x="70" y="77"/>
                        <a:pt x="69" y="77"/>
                      </a:cubicBezTo>
                      <a:cubicBezTo>
                        <a:pt x="69" y="77"/>
                        <a:pt x="68" y="77"/>
                        <a:pt x="68" y="77"/>
                      </a:cubicBezTo>
                      <a:cubicBezTo>
                        <a:pt x="68" y="77"/>
                        <a:pt x="68" y="76"/>
                        <a:pt x="68" y="76"/>
                      </a:cubicBezTo>
                      <a:cubicBezTo>
                        <a:pt x="67" y="76"/>
                        <a:pt x="67" y="76"/>
                        <a:pt x="67" y="76"/>
                      </a:cubicBezTo>
                      <a:cubicBezTo>
                        <a:pt x="67" y="76"/>
                        <a:pt x="66" y="76"/>
                        <a:pt x="66" y="75"/>
                      </a:cubicBezTo>
                      <a:cubicBezTo>
                        <a:pt x="66" y="75"/>
                        <a:pt x="66" y="75"/>
                        <a:pt x="66" y="75"/>
                      </a:cubicBezTo>
                      <a:cubicBezTo>
                        <a:pt x="66" y="74"/>
                        <a:pt x="66" y="74"/>
                        <a:pt x="66" y="74"/>
                      </a:cubicBezTo>
                      <a:cubicBezTo>
                        <a:pt x="66" y="73"/>
                        <a:pt x="66" y="73"/>
                        <a:pt x="66" y="73"/>
                      </a:cubicBezTo>
                      <a:cubicBezTo>
                        <a:pt x="66" y="73"/>
                        <a:pt x="66" y="72"/>
                        <a:pt x="66" y="72"/>
                      </a:cubicBezTo>
                      <a:cubicBezTo>
                        <a:pt x="66" y="72"/>
                        <a:pt x="66" y="72"/>
                        <a:pt x="66" y="72"/>
                      </a:cubicBezTo>
                      <a:cubicBezTo>
                        <a:pt x="66" y="71"/>
                        <a:pt x="66" y="72"/>
                        <a:pt x="66" y="72"/>
                      </a:cubicBezTo>
                      <a:cubicBezTo>
                        <a:pt x="65" y="72"/>
                        <a:pt x="65" y="72"/>
                        <a:pt x="65" y="71"/>
                      </a:cubicBezTo>
                      <a:cubicBezTo>
                        <a:pt x="65" y="71"/>
                        <a:pt x="64" y="71"/>
                        <a:pt x="64" y="71"/>
                      </a:cubicBezTo>
                      <a:cubicBezTo>
                        <a:pt x="64" y="71"/>
                        <a:pt x="63" y="71"/>
                        <a:pt x="63" y="71"/>
                      </a:cubicBezTo>
                      <a:cubicBezTo>
                        <a:pt x="63" y="71"/>
                        <a:pt x="63" y="71"/>
                        <a:pt x="63" y="70"/>
                      </a:cubicBezTo>
                      <a:cubicBezTo>
                        <a:pt x="63" y="70"/>
                        <a:pt x="62" y="70"/>
                        <a:pt x="62" y="70"/>
                      </a:cubicBezTo>
                      <a:cubicBezTo>
                        <a:pt x="62" y="70"/>
                        <a:pt x="62" y="70"/>
                        <a:pt x="61" y="69"/>
                      </a:cubicBezTo>
                      <a:cubicBezTo>
                        <a:pt x="61" y="69"/>
                        <a:pt x="61" y="69"/>
                        <a:pt x="60" y="69"/>
                      </a:cubicBezTo>
                      <a:cubicBezTo>
                        <a:pt x="60" y="69"/>
                        <a:pt x="60" y="69"/>
                        <a:pt x="60" y="68"/>
                      </a:cubicBezTo>
                      <a:cubicBezTo>
                        <a:pt x="59" y="68"/>
                        <a:pt x="59" y="69"/>
                        <a:pt x="59" y="69"/>
                      </a:cubicBezTo>
                      <a:cubicBezTo>
                        <a:pt x="59" y="69"/>
                        <a:pt x="58" y="69"/>
                        <a:pt x="58" y="69"/>
                      </a:cubicBezTo>
                      <a:cubicBezTo>
                        <a:pt x="58" y="69"/>
                        <a:pt x="58" y="69"/>
                        <a:pt x="57" y="69"/>
                      </a:cubicBezTo>
                      <a:cubicBezTo>
                        <a:pt x="57" y="69"/>
                        <a:pt x="57" y="69"/>
                        <a:pt x="56" y="69"/>
                      </a:cubicBezTo>
                      <a:cubicBezTo>
                        <a:pt x="56" y="69"/>
                        <a:pt x="55" y="68"/>
                        <a:pt x="55" y="68"/>
                      </a:cubicBezTo>
                      <a:cubicBezTo>
                        <a:pt x="54" y="68"/>
                        <a:pt x="53" y="69"/>
                        <a:pt x="53" y="69"/>
                      </a:cubicBezTo>
                      <a:cubicBezTo>
                        <a:pt x="53" y="70"/>
                        <a:pt x="53" y="70"/>
                        <a:pt x="53" y="70"/>
                      </a:cubicBezTo>
                      <a:cubicBezTo>
                        <a:pt x="54" y="70"/>
                        <a:pt x="54" y="71"/>
                        <a:pt x="53" y="71"/>
                      </a:cubicBezTo>
                      <a:cubicBezTo>
                        <a:pt x="53" y="71"/>
                        <a:pt x="53" y="72"/>
                        <a:pt x="53" y="72"/>
                      </a:cubicBezTo>
                      <a:cubicBezTo>
                        <a:pt x="53" y="73"/>
                        <a:pt x="54" y="73"/>
                        <a:pt x="54" y="73"/>
                      </a:cubicBezTo>
                      <a:cubicBezTo>
                        <a:pt x="54" y="74"/>
                        <a:pt x="54" y="74"/>
                        <a:pt x="53" y="74"/>
                      </a:cubicBezTo>
                      <a:cubicBezTo>
                        <a:pt x="53" y="75"/>
                        <a:pt x="53" y="75"/>
                        <a:pt x="53" y="75"/>
                      </a:cubicBezTo>
                      <a:cubicBezTo>
                        <a:pt x="52" y="76"/>
                        <a:pt x="52" y="77"/>
                        <a:pt x="52" y="77"/>
                      </a:cubicBezTo>
                      <a:cubicBezTo>
                        <a:pt x="52" y="77"/>
                        <a:pt x="52" y="77"/>
                        <a:pt x="53" y="77"/>
                      </a:cubicBezTo>
                      <a:cubicBezTo>
                        <a:pt x="53" y="77"/>
                        <a:pt x="54" y="78"/>
                        <a:pt x="54" y="78"/>
                      </a:cubicBezTo>
                      <a:cubicBezTo>
                        <a:pt x="54" y="78"/>
                        <a:pt x="55" y="78"/>
                        <a:pt x="55" y="79"/>
                      </a:cubicBezTo>
                      <a:cubicBezTo>
                        <a:pt x="55" y="80"/>
                        <a:pt x="55" y="80"/>
                        <a:pt x="55" y="80"/>
                      </a:cubicBezTo>
                      <a:cubicBezTo>
                        <a:pt x="56" y="81"/>
                        <a:pt x="56" y="81"/>
                        <a:pt x="56" y="82"/>
                      </a:cubicBezTo>
                      <a:cubicBezTo>
                        <a:pt x="55" y="82"/>
                        <a:pt x="54" y="82"/>
                        <a:pt x="54" y="83"/>
                      </a:cubicBezTo>
                      <a:cubicBezTo>
                        <a:pt x="53" y="84"/>
                        <a:pt x="52" y="84"/>
                        <a:pt x="52" y="85"/>
                      </a:cubicBezTo>
                      <a:cubicBezTo>
                        <a:pt x="51" y="85"/>
                        <a:pt x="51" y="85"/>
                        <a:pt x="51" y="85"/>
                      </a:cubicBezTo>
                      <a:cubicBezTo>
                        <a:pt x="50" y="85"/>
                        <a:pt x="51" y="86"/>
                        <a:pt x="51" y="86"/>
                      </a:cubicBezTo>
                      <a:cubicBezTo>
                        <a:pt x="51" y="87"/>
                        <a:pt x="51" y="88"/>
                        <a:pt x="52" y="89"/>
                      </a:cubicBezTo>
                      <a:cubicBezTo>
                        <a:pt x="52" y="90"/>
                        <a:pt x="52" y="90"/>
                        <a:pt x="52" y="91"/>
                      </a:cubicBezTo>
                      <a:cubicBezTo>
                        <a:pt x="51" y="91"/>
                        <a:pt x="51" y="92"/>
                        <a:pt x="50" y="92"/>
                      </a:cubicBezTo>
                      <a:cubicBezTo>
                        <a:pt x="50" y="92"/>
                        <a:pt x="50" y="92"/>
                        <a:pt x="50" y="92"/>
                      </a:cubicBezTo>
                      <a:cubicBezTo>
                        <a:pt x="49" y="92"/>
                        <a:pt x="48" y="91"/>
                        <a:pt x="48" y="90"/>
                      </a:cubicBezTo>
                      <a:cubicBezTo>
                        <a:pt x="48" y="90"/>
                        <a:pt x="48" y="90"/>
                        <a:pt x="48" y="90"/>
                      </a:cubicBezTo>
                      <a:cubicBezTo>
                        <a:pt x="48" y="90"/>
                        <a:pt x="49" y="90"/>
                        <a:pt x="49" y="90"/>
                      </a:cubicBezTo>
                      <a:cubicBezTo>
                        <a:pt x="49" y="90"/>
                        <a:pt x="49" y="89"/>
                        <a:pt x="49" y="89"/>
                      </a:cubicBezTo>
                      <a:cubicBezTo>
                        <a:pt x="49" y="89"/>
                        <a:pt x="48" y="88"/>
                        <a:pt x="48" y="88"/>
                      </a:cubicBezTo>
                      <a:cubicBezTo>
                        <a:pt x="47" y="88"/>
                        <a:pt x="47" y="88"/>
                        <a:pt x="47" y="88"/>
                      </a:cubicBezTo>
                      <a:cubicBezTo>
                        <a:pt x="47" y="88"/>
                        <a:pt x="46" y="86"/>
                        <a:pt x="46" y="86"/>
                      </a:cubicBezTo>
                      <a:cubicBezTo>
                        <a:pt x="46" y="85"/>
                        <a:pt x="47" y="85"/>
                        <a:pt x="46" y="84"/>
                      </a:cubicBezTo>
                      <a:cubicBezTo>
                        <a:pt x="46" y="84"/>
                        <a:pt x="45" y="84"/>
                        <a:pt x="45" y="84"/>
                      </a:cubicBezTo>
                      <a:cubicBezTo>
                        <a:pt x="45" y="84"/>
                        <a:pt x="44" y="84"/>
                        <a:pt x="44" y="84"/>
                      </a:cubicBezTo>
                      <a:cubicBezTo>
                        <a:pt x="43" y="85"/>
                        <a:pt x="40" y="83"/>
                        <a:pt x="39" y="83"/>
                      </a:cubicBezTo>
                      <a:cubicBezTo>
                        <a:pt x="39" y="82"/>
                        <a:pt x="38" y="82"/>
                        <a:pt x="38" y="82"/>
                      </a:cubicBezTo>
                      <a:cubicBezTo>
                        <a:pt x="37" y="82"/>
                        <a:pt x="34" y="80"/>
                        <a:pt x="34" y="80"/>
                      </a:cubicBezTo>
                      <a:cubicBezTo>
                        <a:pt x="33" y="80"/>
                        <a:pt x="33" y="80"/>
                        <a:pt x="33" y="80"/>
                      </a:cubicBezTo>
                      <a:cubicBezTo>
                        <a:pt x="36" y="76"/>
                        <a:pt x="38" y="72"/>
                        <a:pt x="41" y="68"/>
                      </a:cubicBezTo>
                      <a:cubicBezTo>
                        <a:pt x="41" y="68"/>
                        <a:pt x="42" y="68"/>
                        <a:pt x="42" y="68"/>
                      </a:cubicBezTo>
                      <a:cubicBezTo>
                        <a:pt x="42" y="68"/>
                        <a:pt x="42" y="68"/>
                        <a:pt x="43" y="68"/>
                      </a:cubicBezTo>
                      <a:cubicBezTo>
                        <a:pt x="43" y="68"/>
                        <a:pt x="43" y="68"/>
                        <a:pt x="44" y="67"/>
                      </a:cubicBezTo>
                      <a:cubicBezTo>
                        <a:pt x="44" y="67"/>
                        <a:pt x="44" y="68"/>
                        <a:pt x="44" y="68"/>
                      </a:cubicBezTo>
                      <a:cubicBezTo>
                        <a:pt x="43" y="68"/>
                        <a:pt x="43" y="68"/>
                        <a:pt x="43" y="69"/>
                      </a:cubicBezTo>
                      <a:cubicBezTo>
                        <a:pt x="44" y="70"/>
                        <a:pt x="44" y="70"/>
                        <a:pt x="44" y="70"/>
                      </a:cubicBezTo>
                      <a:cubicBezTo>
                        <a:pt x="45" y="70"/>
                        <a:pt x="45" y="70"/>
                        <a:pt x="45" y="70"/>
                      </a:cubicBezTo>
                      <a:cubicBezTo>
                        <a:pt x="45" y="70"/>
                        <a:pt x="45" y="70"/>
                        <a:pt x="45" y="70"/>
                      </a:cubicBezTo>
                      <a:cubicBezTo>
                        <a:pt x="46" y="70"/>
                        <a:pt x="47" y="70"/>
                        <a:pt x="47" y="69"/>
                      </a:cubicBezTo>
                      <a:cubicBezTo>
                        <a:pt x="47" y="69"/>
                        <a:pt x="47" y="69"/>
                        <a:pt x="47" y="69"/>
                      </a:cubicBezTo>
                      <a:cubicBezTo>
                        <a:pt x="47" y="69"/>
                        <a:pt x="48" y="69"/>
                        <a:pt x="48" y="68"/>
                      </a:cubicBezTo>
                      <a:cubicBezTo>
                        <a:pt x="48" y="68"/>
                        <a:pt x="48" y="68"/>
                        <a:pt x="48" y="67"/>
                      </a:cubicBezTo>
                      <a:cubicBezTo>
                        <a:pt x="48" y="67"/>
                        <a:pt x="48" y="67"/>
                        <a:pt x="48" y="67"/>
                      </a:cubicBezTo>
                      <a:cubicBezTo>
                        <a:pt x="49" y="67"/>
                        <a:pt x="50" y="67"/>
                        <a:pt x="50" y="66"/>
                      </a:cubicBezTo>
                      <a:cubicBezTo>
                        <a:pt x="50" y="66"/>
                        <a:pt x="50" y="66"/>
                        <a:pt x="50" y="66"/>
                      </a:cubicBezTo>
                      <a:cubicBezTo>
                        <a:pt x="50" y="65"/>
                        <a:pt x="50" y="65"/>
                        <a:pt x="50" y="65"/>
                      </a:cubicBezTo>
                      <a:cubicBezTo>
                        <a:pt x="50" y="65"/>
                        <a:pt x="50" y="65"/>
                        <a:pt x="49" y="64"/>
                      </a:cubicBezTo>
                      <a:cubicBezTo>
                        <a:pt x="49" y="64"/>
                        <a:pt x="49" y="64"/>
                        <a:pt x="49" y="64"/>
                      </a:cubicBezTo>
                      <a:cubicBezTo>
                        <a:pt x="49" y="64"/>
                        <a:pt x="49" y="64"/>
                        <a:pt x="48" y="64"/>
                      </a:cubicBezTo>
                      <a:cubicBezTo>
                        <a:pt x="48" y="63"/>
                        <a:pt x="47" y="63"/>
                        <a:pt x="46" y="62"/>
                      </a:cubicBezTo>
                      <a:cubicBezTo>
                        <a:pt x="46" y="62"/>
                        <a:pt x="46" y="62"/>
                        <a:pt x="46" y="62"/>
                      </a:cubicBezTo>
                      <a:cubicBezTo>
                        <a:pt x="49" y="59"/>
                        <a:pt x="52" y="56"/>
                        <a:pt x="55" y="53"/>
                      </a:cubicBezTo>
                      <a:cubicBezTo>
                        <a:pt x="55" y="53"/>
                        <a:pt x="55" y="53"/>
                        <a:pt x="56" y="54"/>
                      </a:cubicBezTo>
                      <a:cubicBezTo>
                        <a:pt x="56" y="54"/>
                        <a:pt x="56" y="54"/>
                        <a:pt x="56" y="54"/>
                      </a:cubicBezTo>
                      <a:cubicBezTo>
                        <a:pt x="56" y="54"/>
                        <a:pt x="56" y="54"/>
                        <a:pt x="56" y="54"/>
                      </a:cubicBezTo>
                      <a:cubicBezTo>
                        <a:pt x="55" y="54"/>
                        <a:pt x="55" y="54"/>
                        <a:pt x="55" y="55"/>
                      </a:cubicBezTo>
                      <a:cubicBezTo>
                        <a:pt x="55" y="55"/>
                        <a:pt x="54" y="55"/>
                        <a:pt x="54" y="56"/>
                      </a:cubicBezTo>
                      <a:cubicBezTo>
                        <a:pt x="54" y="56"/>
                        <a:pt x="54" y="56"/>
                        <a:pt x="54" y="56"/>
                      </a:cubicBezTo>
                      <a:cubicBezTo>
                        <a:pt x="53" y="57"/>
                        <a:pt x="53" y="57"/>
                        <a:pt x="53" y="57"/>
                      </a:cubicBezTo>
                      <a:cubicBezTo>
                        <a:pt x="53" y="58"/>
                        <a:pt x="54" y="59"/>
                        <a:pt x="54" y="59"/>
                      </a:cubicBezTo>
                      <a:cubicBezTo>
                        <a:pt x="55" y="59"/>
                        <a:pt x="55" y="59"/>
                        <a:pt x="55" y="59"/>
                      </a:cubicBezTo>
                      <a:cubicBezTo>
                        <a:pt x="55" y="59"/>
                        <a:pt x="56" y="59"/>
                        <a:pt x="56" y="59"/>
                      </a:cubicBezTo>
                      <a:cubicBezTo>
                        <a:pt x="56" y="59"/>
                        <a:pt x="56" y="59"/>
                        <a:pt x="56" y="59"/>
                      </a:cubicBezTo>
                      <a:cubicBezTo>
                        <a:pt x="56" y="59"/>
                        <a:pt x="57" y="59"/>
                        <a:pt x="58" y="58"/>
                      </a:cubicBezTo>
                      <a:cubicBezTo>
                        <a:pt x="58" y="58"/>
                        <a:pt x="58" y="58"/>
                        <a:pt x="59" y="57"/>
                      </a:cubicBezTo>
                      <a:cubicBezTo>
                        <a:pt x="59" y="57"/>
                        <a:pt x="59" y="57"/>
                        <a:pt x="59" y="57"/>
                      </a:cubicBezTo>
                      <a:cubicBezTo>
                        <a:pt x="59" y="57"/>
                        <a:pt x="59" y="57"/>
                        <a:pt x="60" y="57"/>
                      </a:cubicBezTo>
                      <a:cubicBezTo>
                        <a:pt x="60" y="57"/>
                        <a:pt x="60" y="57"/>
                        <a:pt x="60" y="57"/>
                      </a:cubicBezTo>
                      <a:cubicBezTo>
                        <a:pt x="60" y="57"/>
                        <a:pt x="60" y="57"/>
                        <a:pt x="60" y="57"/>
                      </a:cubicBezTo>
                      <a:cubicBezTo>
                        <a:pt x="59" y="56"/>
                        <a:pt x="59" y="56"/>
                        <a:pt x="59" y="56"/>
                      </a:cubicBezTo>
                      <a:cubicBezTo>
                        <a:pt x="59" y="56"/>
                        <a:pt x="59" y="56"/>
                        <a:pt x="59" y="56"/>
                      </a:cubicBezTo>
                      <a:cubicBezTo>
                        <a:pt x="59" y="56"/>
                        <a:pt x="58" y="56"/>
                        <a:pt x="58" y="56"/>
                      </a:cubicBezTo>
                      <a:cubicBezTo>
                        <a:pt x="58" y="56"/>
                        <a:pt x="59" y="56"/>
                        <a:pt x="59" y="56"/>
                      </a:cubicBezTo>
                      <a:cubicBezTo>
                        <a:pt x="59" y="56"/>
                        <a:pt x="59" y="55"/>
                        <a:pt x="59" y="56"/>
                      </a:cubicBezTo>
                      <a:cubicBezTo>
                        <a:pt x="60" y="56"/>
                        <a:pt x="60" y="56"/>
                        <a:pt x="60" y="56"/>
                      </a:cubicBezTo>
                      <a:cubicBezTo>
                        <a:pt x="61" y="56"/>
                        <a:pt x="61" y="57"/>
                        <a:pt x="61" y="57"/>
                      </a:cubicBezTo>
                      <a:cubicBezTo>
                        <a:pt x="61" y="57"/>
                        <a:pt x="62" y="58"/>
                        <a:pt x="62" y="58"/>
                      </a:cubicBezTo>
                      <a:cubicBezTo>
                        <a:pt x="62" y="58"/>
                        <a:pt x="62" y="58"/>
                        <a:pt x="61" y="58"/>
                      </a:cubicBezTo>
                      <a:cubicBezTo>
                        <a:pt x="61" y="59"/>
                        <a:pt x="60" y="59"/>
                        <a:pt x="60" y="59"/>
                      </a:cubicBezTo>
                      <a:cubicBezTo>
                        <a:pt x="60" y="60"/>
                        <a:pt x="60" y="60"/>
                        <a:pt x="59" y="60"/>
                      </a:cubicBezTo>
                      <a:cubicBezTo>
                        <a:pt x="59" y="60"/>
                        <a:pt x="59" y="60"/>
                        <a:pt x="58" y="60"/>
                      </a:cubicBezTo>
                      <a:cubicBezTo>
                        <a:pt x="58" y="61"/>
                        <a:pt x="59" y="61"/>
                        <a:pt x="60" y="61"/>
                      </a:cubicBezTo>
                      <a:cubicBezTo>
                        <a:pt x="60" y="61"/>
                        <a:pt x="60" y="62"/>
                        <a:pt x="60" y="62"/>
                      </a:cubicBezTo>
                      <a:cubicBezTo>
                        <a:pt x="60" y="62"/>
                        <a:pt x="59" y="62"/>
                        <a:pt x="59" y="62"/>
                      </a:cubicBezTo>
                      <a:cubicBezTo>
                        <a:pt x="58" y="62"/>
                        <a:pt x="58" y="62"/>
                        <a:pt x="58" y="62"/>
                      </a:cubicBezTo>
                      <a:cubicBezTo>
                        <a:pt x="57" y="62"/>
                        <a:pt x="57" y="62"/>
                        <a:pt x="56" y="62"/>
                      </a:cubicBezTo>
                      <a:cubicBezTo>
                        <a:pt x="56" y="62"/>
                        <a:pt x="56" y="62"/>
                        <a:pt x="55" y="62"/>
                      </a:cubicBezTo>
                      <a:cubicBezTo>
                        <a:pt x="55" y="62"/>
                        <a:pt x="54" y="62"/>
                        <a:pt x="54" y="62"/>
                      </a:cubicBezTo>
                      <a:cubicBezTo>
                        <a:pt x="53" y="63"/>
                        <a:pt x="53" y="63"/>
                        <a:pt x="53" y="63"/>
                      </a:cubicBezTo>
                      <a:cubicBezTo>
                        <a:pt x="53" y="64"/>
                        <a:pt x="53" y="64"/>
                        <a:pt x="54" y="64"/>
                      </a:cubicBezTo>
                      <a:cubicBezTo>
                        <a:pt x="54" y="64"/>
                        <a:pt x="55" y="65"/>
                        <a:pt x="55" y="65"/>
                      </a:cubicBezTo>
                      <a:cubicBezTo>
                        <a:pt x="56" y="65"/>
                        <a:pt x="56" y="64"/>
                        <a:pt x="57" y="64"/>
                      </a:cubicBezTo>
                      <a:cubicBezTo>
                        <a:pt x="57" y="64"/>
                        <a:pt x="57" y="64"/>
                        <a:pt x="58" y="64"/>
                      </a:cubicBezTo>
                      <a:cubicBezTo>
                        <a:pt x="58" y="64"/>
                        <a:pt x="58" y="64"/>
                        <a:pt x="59" y="64"/>
                      </a:cubicBezTo>
                      <a:cubicBezTo>
                        <a:pt x="59" y="64"/>
                        <a:pt x="60" y="65"/>
                        <a:pt x="60" y="65"/>
                      </a:cubicBezTo>
                      <a:cubicBezTo>
                        <a:pt x="61" y="65"/>
                        <a:pt x="61" y="65"/>
                        <a:pt x="61" y="66"/>
                      </a:cubicBezTo>
                      <a:cubicBezTo>
                        <a:pt x="61" y="66"/>
                        <a:pt x="61" y="66"/>
                        <a:pt x="62" y="66"/>
                      </a:cubicBezTo>
                      <a:cubicBezTo>
                        <a:pt x="62" y="66"/>
                        <a:pt x="62" y="66"/>
                        <a:pt x="62" y="67"/>
                      </a:cubicBezTo>
                      <a:cubicBezTo>
                        <a:pt x="63" y="67"/>
                        <a:pt x="63" y="67"/>
                        <a:pt x="64" y="68"/>
                      </a:cubicBezTo>
                      <a:cubicBezTo>
                        <a:pt x="64" y="68"/>
                        <a:pt x="64" y="68"/>
                        <a:pt x="65" y="68"/>
                      </a:cubicBezTo>
                      <a:cubicBezTo>
                        <a:pt x="65" y="68"/>
                        <a:pt x="65" y="68"/>
                        <a:pt x="65" y="68"/>
                      </a:cubicBezTo>
                      <a:cubicBezTo>
                        <a:pt x="66" y="68"/>
                        <a:pt x="66" y="69"/>
                        <a:pt x="67" y="69"/>
                      </a:cubicBezTo>
                      <a:cubicBezTo>
                        <a:pt x="67" y="69"/>
                        <a:pt x="68" y="69"/>
                        <a:pt x="69" y="69"/>
                      </a:cubicBezTo>
                      <a:cubicBezTo>
                        <a:pt x="70" y="69"/>
                        <a:pt x="70" y="70"/>
                        <a:pt x="71" y="70"/>
                      </a:cubicBezTo>
                      <a:cubicBezTo>
                        <a:pt x="71" y="70"/>
                        <a:pt x="71" y="70"/>
                        <a:pt x="72" y="70"/>
                      </a:cubicBezTo>
                      <a:cubicBezTo>
                        <a:pt x="72" y="69"/>
                        <a:pt x="72" y="69"/>
                        <a:pt x="71" y="69"/>
                      </a:cubicBezTo>
                      <a:cubicBezTo>
                        <a:pt x="71" y="69"/>
                        <a:pt x="71" y="69"/>
                        <a:pt x="70" y="68"/>
                      </a:cubicBezTo>
                      <a:cubicBezTo>
                        <a:pt x="70" y="68"/>
                        <a:pt x="69" y="68"/>
                        <a:pt x="69" y="67"/>
                      </a:cubicBezTo>
                      <a:cubicBezTo>
                        <a:pt x="68" y="67"/>
                        <a:pt x="68" y="67"/>
                        <a:pt x="68" y="66"/>
                      </a:cubicBezTo>
                      <a:cubicBezTo>
                        <a:pt x="67" y="66"/>
                        <a:pt x="67" y="66"/>
                        <a:pt x="67" y="66"/>
                      </a:cubicBezTo>
                      <a:cubicBezTo>
                        <a:pt x="67" y="66"/>
                        <a:pt x="67" y="66"/>
                        <a:pt x="68" y="66"/>
                      </a:cubicBezTo>
                      <a:cubicBezTo>
                        <a:pt x="68" y="66"/>
                        <a:pt x="68" y="66"/>
                        <a:pt x="69" y="66"/>
                      </a:cubicBezTo>
                      <a:cubicBezTo>
                        <a:pt x="69" y="66"/>
                        <a:pt x="70" y="67"/>
                        <a:pt x="70" y="67"/>
                      </a:cubicBezTo>
                      <a:cubicBezTo>
                        <a:pt x="71" y="67"/>
                        <a:pt x="71" y="67"/>
                        <a:pt x="72" y="68"/>
                      </a:cubicBezTo>
                      <a:cubicBezTo>
                        <a:pt x="72" y="68"/>
                        <a:pt x="73" y="69"/>
                        <a:pt x="73" y="69"/>
                      </a:cubicBezTo>
                      <a:cubicBezTo>
                        <a:pt x="74" y="69"/>
                        <a:pt x="73" y="68"/>
                        <a:pt x="74" y="68"/>
                      </a:cubicBezTo>
                      <a:cubicBezTo>
                        <a:pt x="74" y="67"/>
                        <a:pt x="73" y="67"/>
                        <a:pt x="73" y="67"/>
                      </a:cubicBezTo>
                      <a:cubicBezTo>
                        <a:pt x="73" y="66"/>
                        <a:pt x="74" y="67"/>
                        <a:pt x="74" y="66"/>
                      </a:cubicBezTo>
                      <a:cubicBezTo>
                        <a:pt x="74" y="66"/>
                        <a:pt x="74" y="65"/>
                        <a:pt x="74" y="65"/>
                      </a:cubicBezTo>
                      <a:cubicBezTo>
                        <a:pt x="74" y="64"/>
                        <a:pt x="73" y="64"/>
                        <a:pt x="72" y="64"/>
                      </a:cubicBezTo>
                      <a:cubicBezTo>
                        <a:pt x="71" y="64"/>
                        <a:pt x="71" y="64"/>
                        <a:pt x="71" y="63"/>
                      </a:cubicBezTo>
                      <a:cubicBezTo>
                        <a:pt x="70" y="62"/>
                        <a:pt x="70" y="62"/>
                        <a:pt x="69" y="62"/>
                      </a:cubicBezTo>
                      <a:cubicBezTo>
                        <a:pt x="69" y="62"/>
                        <a:pt x="69" y="62"/>
                        <a:pt x="69" y="61"/>
                      </a:cubicBezTo>
                      <a:cubicBezTo>
                        <a:pt x="69" y="61"/>
                        <a:pt x="70" y="61"/>
                        <a:pt x="70" y="61"/>
                      </a:cubicBezTo>
                      <a:cubicBezTo>
                        <a:pt x="70" y="61"/>
                        <a:pt x="69" y="60"/>
                        <a:pt x="69" y="60"/>
                      </a:cubicBezTo>
                      <a:cubicBezTo>
                        <a:pt x="68" y="60"/>
                        <a:pt x="68" y="60"/>
                        <a:pt x="69" y="60"/>
                      </a:cubicBezTo>
                      <a:cubicBezTo>
                        <a:pt x="69" y="60"/>
                        <a:pt x="69" y="60"/>
                        <a:pt x="70" y="60"/>
                      </a:cubicBezTo>
                      <a:cubicBezTo>
                        <a:pt x="70" y="60"/>
                        <a:pt x="70" y="60"/>
                        <a:pt x="71" y="60"/>
                      </a:cubicBezTo>
                      <a:cubicBezTo>
                        <a:pt x="71" y="60"/>
                        <a:pt x="72" y="61"/>
                        <a:pt x="72" y="61"/>
                      </a:cubicBezTo>
                      <a:cubicBezTo>
                        <a:pt x="72" y="62"/>
                        <a:pt x="73" y="62"/>
                        <a:pt x="74" y="63"/>
                      </a:cubicBezTo>
                      <a:cubicBezTo>
                        <a:pt x="74" y="63"/>
                        <a:pt x="75" y="63"/>
                        <a:pt x="75" y="63"/>
                      </a:cubicBezTo>
                      <a:cubicBezTo>
                        <a:pt x="76" y="63"/>
                        <a:pt x="75" y="62"/>
                        <a:pt x="75" y="61"/>
                      </a:cubicBezTo>
                      <a:cubicBezTo>
                        <a:pt x="76" y="61"/>
                        <a:pt x="76" y="61"/>
                        <a:pt x="76" y="62"/>
                      </a:cubicBezTo>
                      <a:cubicBezTo>
                        <a:pt x="77" y="62"/>
                        <a:pt x="77" y="61"/>
                        <a:pt x="77" y="61"/>
                      </a:cubicBezTo>
                      <a:cubicBezTo>
                        <a:pt x="77" y="61"/>
                        <a:pt x="77" y="60"/>
                        <a:pt x="77" y="60"/>
                      </a:cubicBezTo>
                      <a:cubicBezTo>
                        <a:pt x="77" y="60"/>
                        <a:pt x="78" y="60"/>
                        <a:pt x="78" y="60"/>
                      </a:cubicBezTo>
                      <a:cubicBezTo>
                        <a:pt x="78" y="60"/>
                        <a:pt x="78" y="60"/>
                        <a:pt x="78" y="59"/>
                      </a:cubicBezTo>
                      <a:cubicBezTo>
                        <a:pt x="78" y="59"/>
                        <a:pt x="78" y="59"/>
                        <a:pt x="78" y="58"/>
                      </a:cubicBezTo>
                      <a:cubicBezTo>
                        <a:pt x="77" y="58"/>
                        <a:pt x="77" y="58"/>
                        <a:pt x="76" y="58"/>
                      </a:cubicBezTo>
                      <a:cubicBezTo>
                        <a:pt x="76" y="58"/>
                        <a:pt x="76" y="58"/>
                        <a:pt x="75" y="58"/>
                      </a:cubicBezTo>
                      <a:cubicBezTo>
                        <a:pt x="75" y="58"/>
                        <a:pt x="75" y="58"/>
                        <a:pt x="75" y="57"/>
                      </a:cubicBezTo>
                      <a:cubicBezTo>
                        <a:pt x="75" y="57"/>
                        <a:pt x="74" y="57"/>
                        <a:pt x="74" y="57"/>
                      </a:cubicBezTo>
                      <a:cubicBezTo>
                        <a:pt x="73" y="57"/>
                        <a:pt x="73" y="56"/>
                        <a:pt x="72" y="56"/>
                      </a:cubicBezTo>
                      <a:cubicBezTo>
                        <a:pt x="72" y="56"/>
                        <a:pt x="72" y="56"/>
                        <a:pt x="72" y="56"/>
                      </a:cubicBezTo>
                      <a:cubicBezTo>
                        <a:pt x="71" y="57"/>
                        <a:pt x="71" y="56"/>
                        <a:pt x="71" y="56"/>
                      </a:cubicBezTo>
                      <a:cubicBezTo>
                        <a:pt x="71" y="56"/>
                        <a:pt x="71" y="55"/>
                        <a:pt x="70" y="55"/>
                      </a:cubicBezTo>
                      <a:cubicBezTo>
                        <a:pt x="70" y="55"/>
                        <a:pt x="69" y="55"/>
                        <a:pt x="69" y="55"/>
                      </a:cubicBezTo>
                      <a:cubicBezTo>
                        <a:pt x="69" y="55"/>
                        <a:pt x="69" y="54"/>
                        <a:pt x="69" y="54"/>
                      </a:cubicBezTo>
                      <a:cubicBezTo>
                        <a:pt x="69" y="54"/>
                        <a:pt x="70" y="54"/>
                        <a:pt x="70" y="54"/>
                      </a:cubicBezTo>
                      <a:cubicBezTo>
                        <a:pt x="70" y="54"/>
                        <a:pt x="70" y="54"/>
                        <a:pt x="70" y="54"/>
                      </a:cubicBezTo>
                      <a:cubicBezTo>
                        <a:pt x="70" y="54"/>
                        <a:pt x="70" y="53"/>
                        <a:pt x="70" y="53"/>
                      </a:cubicBezTo>
                      <a:cubicBezTo>
                        <a:pt x="69" y="53"/>
                        <a:pt x="68" y="53"/>
                        <a:pt x="68" y="53"/>
                      </a:cubicBezTo>
                      <a:cubicBezTo>
                        <a:pt x="69" y="53"/>
                        <a:pt x="69" y="53"/>
                        <a:pt x="69" y="53"/>
                      </a:cubicBezTo>
                      <a:cubicBezTo>
                        <a:pt x="69" y="53"/>
                        <a:pt x="70" y="53"/>
                        <a:pt x="70" y="52"/>
                      </a:cubicBezTo>
                      <a:cubicBezTo>
                        <a:pt x="70" y="52"/>
                        <a:pt x="69" y="52"/>
                        <a:pt x="69" y="52"/>
                      </a:cubicBezTo>
                      <a:cubicBezTo>
                        <a:pt x="69" y="52"/>
                        <a:pt x="69" y="51"/>
                        <a:pt x="68" y="51"/>
                      </a:cubicBezTo>
                      <a:cubicBezTo>
                        <a:pt x="68" y="52"/>
                        <a:pt x="68" y="52"/>
                        <a:pt x="67" y="52"/>
                      </a:cubicBezTo>
                      <a:cubicBezTo>
                        <a:pt x="67" y="52"/>
                        <a:pt x="67" y="52"/>
                        <a:pt x="67" y="51"/>
                      </a:cubicBezTo>
                      <a:cubicBezTo>
                        <a:pt x="68" y="51"/>
                        <a:pt x="68" y="51"/>
                        <a:pt x="68" y="51"/>
                      </a:cubicBezTo>
                      <a:cubicBezTo>
                        <a:pt x="68" y="51"/>
                        <a:pt x="67" y="51"/>
                        <a:pt x="67" y="51"/>
                      </a:cubicBezTo>
                      <a:cubicBezTo>
                        <a:pt x="67" y="50"/>
                        <a:pt x="66" y="50"/>
                        <a:pt x="65" y="50"/>
                      </a:cubicBezTo>
                      <a:cubicBezTo>
                        <a:pt x="65" y="50"/>
                        <a:pt x="65" y="50"/>
                        <a:pt x="64" y="50"/>
                      </a:cubicBezTo>
                      <a:cubicBezTo>
                        <a:pt x="64" y="50"/>
                        <a:pt x="64" y="50"/>
                        <a:pt x="63" y="49"/>
                      </a:cubicBezTo>
                      <a:cubicBezTo>
                        <a:pt x="63" y="49"/>
                        <a:pt x="62" y="49"/>
                        <a:pt x="62" y="49"/>
                      </a:cubicBezTo>
                      <a:cubicBezTo>
                        <a:pt x="61" y="48"/>
                        <a:pt x="60" y="49"/>
                        <a:pt x="60" y="49"/>
                      </a:cubicBezTo>
                      <a:cubicBezTo>
                        <a:pt x="60" y="49"/>
                        <a:pt x="60" y="49"/>
                        <a:pt x="60" y="48"/>
                      </a:cubicBezTo>
                      <a:cubicBezTo>
                        <a:pt x="63" y="45"/>
                        <a:pt x="67" y="42"/>
                        <a:pt x="71" y="39"/>
                      </a:cubicBezTo>
                      <a:cubicBezTo>
                        <a:pt x="72" y="39"/>
                        <a:pt x="74" y="39"/>
                        <a:pt x="74" y="39"/>
                      </a:cubicBezTo>
                      <a:cubicBezTo>
                        <a:pt x="74" y="39"/>
                        <a:pt x="75" y="39"/>
                        <a:pt x="75" y="39"/>
                      </a:cubicBezTo>
                      <a:cubicBezTo>
                        <a:pt x="76" y="39"/>
                        <a:pt x="78" y="39"/>
                        <a:pt x="78" y="39"/>
                      </a:cubicBezTo>
                      <a:cubicBezTo>
                        <a:pt x="79" y="39"/>
                        <a:pt x="81" y="39"/>
                        <a:pt x="82" y="39"/>
                      </a:cubicBezTo>
                      <a:cubicBezTo>
                        <a:pt x="83" y="40"/>
                        <a:pt x="83" y="41"/>
                        <a:pt x="83" y="41"/>
                      </a:cubicBezTo>
                      <a:cubicBezTo>
                        <a:pt x="84" y="41"/>
                        <a:pt x="85" y="42"/>
                        <a:pt x="86" y="43"/>
                      </a:cubicBezTo>
                      <a:cubicBezTo>
                        <a:pt x="86" y="43"/>
                        <a:pt x="86" y="43"/>
                        <a:pt x="86" y="44"/>
                      </a:cubicBezTo>
                      <a:cubicBezTo>
                        <a:pt x="86" y="44"/>
                        <a:pt x="86" y="45"/>
                        <a:pt x="86" y="45"/>
                      </a:cubicBezTo>
                      <a:cubicBezTo>
                        <a:pt x="87" y="45"/>
                        <a:pt x="87" y="46"/>
                        <a:pt x="87" y="46"/>
                      </a:cubicBezTo>
                      <a:cubicBezTo>
                        <a:pt x="87" y="47"/>
                        <a:pt x="87" y="48"/>
                        <a:pt x="87" y="48"/>
                      </a:cubicBezTo>
                      <a:cubicBezTo>
                        <a:pt x="88" y="49"/>
                        <a:pt x="88" y="49"/>
                        <a:pt x="88" y="49"/>
                      </a:cubicBezTo>
                      <a:cubicBezTo>
                        <a:pt x="89" y="49"/>
                        <a:pt x="89" y="49"/>
                        <a:pt x="89" y="49"/>
                      </a:cubicBezTo>
                      <a:cubicBezTo>
                        <a:pt x="90" y="49"/>
                        <a:pt x="90" y="49"/>
                        <a:pt x="91" y="49"/>
                      </a:cubicBezTo>
                      <a:cubicBezTo>
                        <a:pt x="91" y="49"/>
                        <a:pt x="91" y="49"/>
                        <a:pt x="91" y="50"/>
                      </a:cubicBezTo>
                      <a:cubicBezTo>
                        <a:pt x="91" y="50"/>
                        <a:pt x="91" y="50"/>
                        <a:pt x="92" y="50"/>
                      </a:cubicBezTo>
                      <a:cubicBezTo>
                        <a:pt x="92" y="50"/>
                        <a:pt x="92" y="50"/>
                        <a:pt x="93" y="50"/>
                      </a:cubicBezTo>
                      <a:cubicBezTo>
                        <a:pt x="93" y="51"/>
                        <a:pt x="93" y="51"/>
                        <a:pt x="94" y="51"/>
                      </a:cubicBezTo>
                      <a:cubicBezTo>
                        <a:pt x="94" y="50"/>
                        <a:pt x="94" y="51"/>
                        <a:pt x="94" y="51"/>
                      </a:cubicBezTo>
                      <a:cubicBezTo>
                        <a:pt x="94" y="51"/>
                        <a:pt x="94" y="51"/>
                        <a:pt x="94" y="51"/>
                      </a:cubicBezTo>
                      <a:cubicBezTo>
                        <a:pt x="93" y="51"/>
                        <a:pt x="93" y="51"/>
                        <a:pt x="92" y="50"/>
                      </a:cubicBezTo>
                      <a:cubicBezTo>
                        <a:pt x="92" y="50"/>
                        <a:pt x="91" y="50"/>
                        <a:pt x="91" y="50"/>
                      </a:cubicBezTo>
                      <a:cubicBezTo>
                        <a:pt x="91" y="50"/>
                        <a:pt x="90" y="50"/>
                        <a:pt x="90" y="50"/>
                      </a:cubicBezTo>
                      <a:cubicBezTo>
                        <a:pt x="90" y="50"/>
                        <a:pt x="89" y="50"/>
                        <a:pt x="89" y="51"/>
                      </a:cubicBezTo>
                      <a:cubicBezTo>
                        <a:pt x="89" y="51"/>
                        <a:pt x="88" y="51"/>
                        <a:pt x="88" y="51"/>
                      </a:cubicBezTo>
                      <a:cubicBezTo>
                        <a:pt x="88" y="51"/>
                        <a:pt x="88" y="51"/>
                        <a:pt x="88" y="51"/>
                      </a:cubicBezTo>
                      <a:cubicBezTo>
                        <a:pt x="88" y="52"/>
                        <a:pt x="88" y="52"/>
                        <a:pt x="88" y="52"/>
                      </a:cubicBezTo>
                      <a:cubicBezTo>
                        <a:pt x="88" y="52"/>
                        <a:pt x="87" y="53"/>
                        <a:pt x="87" y="53"/>
                      </a:cubicBezTo>
                      <a:cubicBezTo>
                        <a:pt x="88" y="54"/>
                        <a:pt x="88" y="54"/>
                        <a:pt x="88" y="54"/>
                      </a:cubicBezTo>
                      <a:cubicBezTo>
                        <a:pt x="89" y="54"/>
                        <a:pt x="89" y="54"/>
                        <a:pt x="89" y="54"/>
                      </a:cubicBezTo>
                      <a:cubicBezTo>
                        <a:pt x="89" y="54"/>
                        <a:pt x="89" y="54"/>
                        <a:pt x="89" y="54"/>
                      </a:cubicBezTo>
                      <a:cubicBezTo>
                        <a:pt x="89" y="54"/>
                        <a:pt x="89" y="54"/>
                        <a:pt x="89" y="54"/>
                      </a:cubicBezTo>
                      <a:cubicBezTo>
                        <a:pt x="90" y="55"/>
                        <a:pt x="91" y="55"/>
                        <a:pt x="91" y="55"/>
                      </a:cubicBezTo>
                      <a:cubicBezTo>
                        <a:pt x="92" y="55"/>
                        <a:pt x="93" y="54"/>
                        <a:pt x="93" y="54"/>
                      </a:cubicBezTo>
                      <a:cubicBezTo>
                        <a:pt x="93" y="54"/>
                        <a:pt x="94" y="54"/>
                        <a:pt x="94" y="53"/>
                      </a:cubicBezTo>
                      <a:cubicBezTo>
                        <a:pt x="94" y="53"/>
                        <a:pt x="94" y="53"/>
                        <a:pt x="94" y="53"/>
                      </a:cubicBezTo>
                      <a:cubicBezTo>
                        <a:pt x="94" y="53"/>
                        <a:pt x="94" y="53"/>
                        <a:pt x="94" y="53"/>
                      </a:cubicBezTo>
                      <a:cubicBezTo>
                        <a:pt x="94" y="53"/>
                        <a:pt x="94" y="53"/>
                        <a:pt x="94" y="53"/>
                      </a:cubicBezTo>
                      <a:cubicBezTo>
                        <a:pt x="95" y="53"/>
                        <a:pt x="95" y="53"/>
                        <a:pt x="95" y="52"/>
                      </a:cubicBezTo>
                      <a:cubicBezTo>
                        <a:pt x="95" y="52"/>
                        <a:pt x="95" y="53"/>
                        <a:pt x="95" y="53"/>
                      </a:cubicBezTo>
                      <a:cubicBezTo>
                        <a:pt x="95" y="54"/>
                        <a:pt x="94" y="54"/>
                        <a:pt x="94" y="55"/>
                      </a:cubicBezTo>
                      <a:cubicBezTo>
                        <a:pt x="94" y="55"/>
                        <a:pt x="94" y="55"/>
                        <a:pt x="93" y="55"/>
                      </a:cubicBezTo>
                      <a:cubicBezTo>
                        <a:pt x="93" y="55"/>
                        <a:pt x="92" y="55"/>
                        <a:pt x="92" y="55"/>
                      </a:cubicBezTo>
                      <a:cubicBezTo>
                        <a:pt x="91" y="55"/>
                        <a:pt x="91" y="55"/>
                        <a:pt x="91" y="56"/>
                      </a:cubicBezTo>
                      <a:cubicBezTo>
                        <a:pt x="90" y="56"/>
                        <a:pt x="90" y="57"/>
                        <a:pt x="90" y="57"/>
                      </a:cubicBezTo>
                      <a:cubicBezTo>
                        <a:pt x="90" y="57"/>
                        <a:pt x="90" y="58"/>
                        <a:pt x="90" y="59"/>
                      </a:cubicBezTo>
                      <a:cubicBezTo>
                        <a:pt x="90" y="59"/>
                        <a:pt x="91" y="59"/>
                        <a:pt x="91" y="59"/>
                      </a:cubicBezTo>
                      <a:cubicBezTo>
                        <a:pt x="91" y="59"/>
                        <a:pt x="90" y="60"/>
                        <a:pt x="90" y="60"/>
                      </a:cubicBezTo>
                      <a:cubicBezTo>
                        <a:pt x="90" y="60"/>
                        <a:pt x="91" y="61"/>
                        <a:pt x="91" y="61"/>
                      </a:cubicBezTo>
                      <a:cubicBezTo>
                        <a:pt x="91" y="62"/>
                        <a:pt x="92" y="62"/>
                        <a:pt x="92" y="62"/>
                      </a:cubicBezTo>
                      <a:cubicBezTo>
                        <a:pt x="92" y="62"/>
                        <a:pt x="93" y="63"/>
                        <a:pt x="93" y="64"/>
                      </a:cubicBezTo>
                      <a:cubicBezTo>
                        <a:pt x="93" y="65"/>
                        <a:pt x="93" y="65"/>
                        <a:pt x="93" y="65"/>
                      </a:cubicBezTo>
                      <a:cubicBezTo>
                        <a:pt x="93" y="65"/>
                        <a:pt x="94" y="65"/>
                        <a:pt x="94" y="66"/>
                      </a:cubicBezTo>
                      <a:cubicBezTo>
                        <a:pt x="94" y="66"/>
                        <a:pt x="95" y="67"/>
                        <a:pt x="95" y="68"/>
                      </a:cubicBezTo>
                      <a:cubicBezTo>
                        <a:pt x="96" y="68"/>
                        <a:pt x="96" y="68"/>
                        <a:pt x="96" y="69"/>
                      </a:cubicBezTo>
                      <a:cubicBezTo>
                        <a:pt x="96" y="69"/>
                        <a:pt x="98" y="71"/>
                        <a:pt x="98" y="71"/>
                      </a:cubicBezTo>
                      <a:cubicBezTo>
                        <a:pt x="98" y="71"/>
                        <a:pt x="99" y="72"/>
                        <a:pt x="99" y="72"/>
                      </a:cubicBezTo>
                      <a:cubicBezTo>
                        <a:pt x="99" y="73"/>
                        <a:pt x="100" y="72"/>
                        <a:pt x="100" y="72"/>
                      </a:cubicBezTo>
                      <a:cubicBezTo>
                        <a:pt x="101" y="72"/>
                        <a:pt x="102" y="73"/>
                        <a:pt x="102" y="73"/>
                      </a:cubicBezTo>
                      <a:cubicBezTo>
                        <a:pt x="102" y="73"/>
                        <a:pt x="103" y="73"/>
                        <a:pt x="103" y="73"/>
                      </a:cubicBezTo>
                      <a:cubicBezTo>
                        <a:pt x="103" y="74"/>
                        <a:pt x="104" y="73"/>
                        <a:pt x="104" y="74"/>
                      </a:cubicBezTo>
                      <a:cubicBezTo>
                        <a:pt x="105" y="74"/>
                        <a:pt x="105" y="74"/>
                        <a:pt x="106" y="74"/>
                      </a:cubicBezTo>
                      <a:cubicBezTo>
                        <a:pt x="106" y="74"/>
                        <a:pt x="106" y="74"/>
                        <a:pt x="106" y="74"/>
                      </a:cubicBezTo>
                      <a:cubicBezTo>
                        <a:pt x="107" y="73"/>
                        <a:pt x="107" y="72"/>
                        <a:pt x="107" y="72"/>
                      </a:cubicBezTo>
                      <a:cubicBezTo>
                        <a:pt x="107" y="72"/>
                        <a:pt x="107" y="71"/>
                        <a:pt x="108" y="70"/>
                      </a:cubicBezTo>
                      <a:cubicBezTo>
                        <a:pt x="108" y="69"/>
                        <a:pt x="108" y="69"/>
                        <a:pt x="108" y="68"/>
                      </a:cubicBezTo>
                      <a:cubicBezTo>
                        <a:pt x="108" y="68"/>
                        <a:pt x="109" y="68"/>
                        <a:pt x="109" y="67"/>
                      </a:cubicBezTo>
                      <a:cubicBezTo>
                        <a:pt x="109" y="67"/>
                        <a:pt x="110" y="66"/>
                        <a:pt x="110" y="66"/>
                      </a:cubicBezTo>
                      <a:cubicBezTo>
                        <a:pt x="111" y="65"/>
                        <a:pt x="111" y="65"/>
                        <a:pt x="111" y="64"/>
                      </a:cubicBezTo>
                      <a:cubicBezTo>
                        <a:pt x="111" y="63"/>
                        <a:pt x="111" y="63"/>
                        <a:pt x="111" y="63"/>
                      </a:cubicBezTo>
                      <a:cubicBezTo>
                        <a:pt x="111" y="62"/>
                        <a:pt x="113" y="62"/>
                        <a:pt x="114" y="62"/>
                      </a:cubicBezTo>
                      <a:cubicBezTo>
                        <a:pt x="115" y="62"/>
                        <a:pt x="115" y="62"/>
                        <a:pt x="116" y="62"/>
                      </a:cubicBezTo>
                      <a:cubicBezTo>
                        <a:pt x="116" y="61"/>
                        <a:pt x="117" y="61"/>
                        <a:pt x="118" y="60"/>
                      </a:cubicBezTo>
                      <a:cubicBezTo>
                        <a:pt x="118" y="60"/>
                        <a:pt x="120" y="60"/>
                        <a:pt x="120" y="59"/>
                      </a:cubicBezTo>
                      <a:cubicBezTo>
                        <a:pt x="120" y="59"/>
                        <a:pt x="121" y="58"/>
                        <a:pt x="122" y="58"/>
                      </a:cubicBezTo>
                      <a:cubicBezTo>
                        <a:pt x="122" y="57"/>
                        <a:pt x="123" y="57"/>
                        <a:pt x="123" y="57"/>
                      </a:cubicBezTo>
                      <a:cubicBezTo>
                        <a:pt x="124" y="56"/>
                        <a:pt x="123" y="56"/>
                        <a:pt x="123" y="56"/>
                      </a:cubicBezTo>
                      <a:cubicBezTo>
                        <a:pt x="123" y="56"/>
                        <a:pt x="124" y="56"/>
                        <a:pt x="125" y="56"/>
                      </a:cubicBezTo>
                      <a:cubicBezTo>
                        <a:pt x="126" y="57"/>
                        <a:pt x="128" y="56"/>
                        <a:pt x="129" y="56"/>
                      </a:cubicBezTo>
                      <a:cubicBezTo>
                        <a:pt x="129" y="56"/>
                        <a:pt x="134" y="54"/>
                        <a:pt x="135" y="54"/>
                      </a:cubicBezTo>
                      <a:cubicBezTo>
                        <a:pt x="136" y="53"/>
                        <a:pt x="138" y="52"/>
                        <a:pt x="138" y="52"/>
                      </a:cubicBezTo>
                      <a:cubicBezTo>
                        <a:pt x="138" y="52"/>
                        <a:pt x="139" y="52"/>
                        <a:pt x="139" y="52"/>
                      </a:cubicBezTo>
                      <a:cubicBezTo>
                        <a:pt x="139" y="52"/>
                        <a:pt x="138" y="52"/>
                        <a:pt x="137" y="52"/>
                      </a:cubicBezTo>
                      <a:cubicBezTo>
                        <a:pt x="137" y="52"/>
                        <a:pt x="136" y="52"/>
                        <a:pt x="135" y="52"/>
                      </a:cubicBezTo>
                      <a:cubicBezTo>
                        <a:pt x="134" y="51"/>
                        <a:pt x="134" y="51"/>
                        <a:pt x="134" y="51"/>
                      </a:cubicBezTo>
                      <a:cubicBezTo>
                        <a:pt x="133" y="51"/>
                        <a:pt x="132" y="52"/>
                        <a:pt x="132" y="51"/>
                      </a:cubicBezTo>
                      <a:cubicBezTo>
                        <a:pt x="132" y="51"/>
                        <a:pt x="133" y="51"/>
                        <a:pt x="133" y="51"/>
                      </a:cubicBezTo>
                      <a:cubicBezTo>
                        <a:pt x="134" y="51"/>
                        <a:pt x="134" y="50"/>
                        <a:pt x="133" y="50"/>
                      </a:cubicBezTo>
                      <a:cubicBezTo>
                        <a:pt x="133" y="50"/>
                        <a:pt x="134" y="49"/>
                        <a:pt x="134" y="49"/>
                      </a:cubicBezTo>
                      <a:cubicBezTo>
                        <a:pt x="135" y="50"/>
                        <a:pt x="135" y="50"/>
                        <a:pt x="135" y="50"/>
                      </a:cubicBezTo>
                      <a:cubicBezTo>
                        <a:pt x="135" y="50"/>
                        <a:pt x="136" y="51"/>
                        <a:pt x="136" y="51"/>
                      </a:cubicBezTo>
                      <a:cubicBezTo>
                        <a:pt x="137" y="51"/>
                        <a:pt x="138" y="51"/>
                        <a:pt x="138" y="51"/>
                      </a:cubicBezTo>
                      <a:cubicBezTo>
                        <a:pt x="139" y="51"/>
                        <a:pt x="139" y="51"/>
                        <a:pt x="140" y="51"/>
                      </a:cubicBezTo>
                      <a:cubicBezTo>
                        <a:pt x="140" y="51"/>
                        <a:pt x="140" y="51"/>
                        <a:pt x="139" y="50"/>
                      </a:cubicBezTo>
                      <a:cubicBezTo>
                        <a:pt x="139" y="50"/>
                        <a:pt x="139" y="49"/>
                        <a:pt x="139" y="49"/>
                      </a:cubicBezTo>
                      <a:cubicBezTo>
                        <a:pt x="139" y="48"/>
                        <a:pt x="139" y="48"/>
                        <a:pt x="138" y="48"/>
                      </a:cubicBezTo>
                      <a:cubicBezTo>
                        <a:pt x="138" y="48"/>
                        <a:pt x="137" y="48"/>
                        <a:pt x="136" y="48"/>
                      </a:cubicBezTo>
                      <a:cubicBezTo>
                        <a:pt x="136" y="47"/>
                        <a:pt x="136" y="47"/>
                        <a:pt x="135" y="47"/>
                      </a:cubicBezTo>
                      <a:cubicBezTo>
                        <a:pt x="135" y="47"/>
                        <a:pt x="135" y="46"/>
                        <a:pt x="134" y="46"/>
                      </a:cubicBezTo>
                      <a:cubicBezTo>
                        <a:pt x="134" y="46"/>
                        <a:pt x="135" y="46"/>
                        <a:pt x="135" y="46"/>
                      </a:cubicBezTo>
                      <a:cubicBezTo>
                        <a:pt x="135" y="46"/>
                        <a:pt x="135" y="46"/>
                        <a:pt x="135" y="47"/>
                      </a:cubicBezTo>
                      <a:cubicBezTo>
                        <a:pt x="135" y="47"/>
                        <a:pt x="136" y="47"/>
                        <a:pt x="136" y="47"/>
                      </a:cubicBezTo>
                      <a:cubicBezTo>
                        <a:pt x="137" y="47"/>
                        <a:pt x="138" y="47"/>
                        <a:pt x="138" y="48"/>
                      </a:cubicBezTo>
                      <a:cubicBezTo>
                        <a:pt x="139" y="48"/>
                        <a:pt x="139" y="47"/>
                        <a:pt x="139" y="47"/>
                      </a:cubicBezTo>
                      <a:cubicBezTo>
                        <a:pt x="139" y="47"/>
                        <a:pt x="139" y="46"/>
                        <a:pt x="139" y="46"/>
                      </a:cubicBezTo>
                      <a:cubicBezTo>
                        <a:pt x="139" y="46"/>
                        <a:pt x="137" y="45"/>
                        <a:pt x="137" y="45"/>
                      </a:cubicBezTo>
                      <a:cubicBezTo>
                        <a:pt x="136" y="45"/>
                        <a:pt x="136" y="45"/>
                        <a:pt x="135" y="45"/>
                      </a:cubicBezTo>
                      <a:cubicBezTo>
                        <a:pt x="135" y="44"/>
                        <a:pt x="135" y="44"/>
                        <a:pt x="135" y="44"/>
                      </a:cubicBezTo>
                      <a:cubicBezTo>
                        <a:pt x="135" y="44"/>
                        <a:pt x="136" y="44"/>
                        <a:pt x="136" y="45"/>
                      </a:cubicBezTo>
                      <a:cubicBezTo>
                        <a:pt x="137" y="45"/>
                        <a:pt x="137" y="45"/>
                        <a:pt x="137" y="45"/>
                      </a:cubicBezTo>
                      <a:cubicBezTo>
                        <a:pt x="138" y="45"/>
                        <a:pt x="138" y="45"/>
                        <a:pt x="138" y="46"/>
                      </a:cubicBezTo>
                      <a:cubicBezTo>
                        <a:pt x="139" y="46"/>
                        <a:pt x="139" y="45"/>
                        <a:pt x="139" y="45"/>
                      </a:cubicBezTo>
                      <a:cubicBezTo>
                        <a:pt x="140" y="45"/>
                        <a:pt x="141" y="45"/>
                        <a:pt x="141" y="45"/>
                      </a:cubicBezTo>
                      <a:cubicBezTo>
                        <a:pt x="141" y="45"/>
                        <a:pt x="141" y="45"/>
                        <a:pt x="141" y="44"/>
                      </a:cubicBezTo>
                      <a:cubicBezTo>
                        <a:pt x="141" y="44"/>
                        <a:pt x="140" y="43"/>
                        <a:pt x="140" y="43"/>
                      </a:cubicBezTo>
                      <a:cubicBezTo>
                        <a:pt x="141" y="43"/>
                        <a:pt x="141" y="43"/>
                        <a:pt x="141" y="43"/>
                      </a:cubicBezTo>
                      <a:cubicBezTo>
                        <a:pt x="141" y="42"/>
                        <a:pt x="141" y="43"/>
                        <a:pt x="142" y="43"/>
                      </a:cubicBezTo>
                      <a:cubicBezTo>
                        <a:pt x="142" y="43"/>
                        <a:pt x="143" y="43"/>
                        <a:pt x="143" y="43"/>
                      </a:cubicBezTo>
                      <a:cubicBezTo>
                        <a:pt x="144" y="42"/>
                        <a:pt x="144" y="42"/>
                        <a:pt x="144" y="42"/>
                      </a:cubicBezTo>
                      <a:cubicBezTo>
                        <a:pt x="144" y="42"/>
                        <a:pt x="144" y="42"/>
                        <a:pt x="144" y="42"/>
                      </a:cubicBezTo>
                      <a:cubicBezTo>
                        <a:pt x="143" y="42"/>
                        <a:pt x="143" y="42"/>
                        <a:pt x="142" y="42"/>
                      </a:cubicBezTo>
                      <a:cubicBezTo>
                        <a:pt x="142" y="41"/>
                        <a:pt x="141" y="41"/>
                        <a:pt x="141" y="41"/>
                      </a:cubicBezTo>
                      <a:cubicBezTo>
                        <a:pt x="141" y="41"/>
                        <a:pt x="141" y="41"/>
                        <a:pt x="142" y="41"/>
                      </a:cubicBezTo>
                      <a:cubicBezTo>
                        <a:pt x="142" y="41"/>
                        <a:pt x="143" y="41"/>
                        <a:pt x="143" y="41"/>
                      </a:cubicBezTo>
                      <a:cubicBezTo>
                        <a:pt x="143" y="41"/>
                        <a:pt x="143" y="41"/>
                        <a:pt x="143" y="40"/>
                      </a:cubicBezTo>
                      <a:cubicBezTo>
                        <a:pt x="143" y="39"/>
                        <a:pt x="142" y="40"/>
                        <a:pt x="142" y="39"/>
                      </a:cubicBezTo>
                      <a:cubicBezTo>
                        <a:pt x="142" y="38"/>
                        <a:pt x="142" y="39"/>
                        <a:pt x="142" y="38"/>
                      </a:cubicBezTo>
                      <a:cubicBezTo>
                        <a:pt x="142" y="38"/>
                        <a:pt x="142" y="38"/>
                        <a:pt x="141" y="38"/>
                      </a:cubicBezTo>
                      <a:cubicBezTo>
                        <a:pt x="141" y="38"/>
                        <a:pt x="140" y="38"/>
                        <a:pt x="140" y="38"/>
                      </a:cubicBezTo>
                      <a:cubicBezTo>
                        <a:pt x="140" y="38"/>
                        <a:pt x="141" y="38"/>
                        <a:pt x="141" y="37"/>
                      </a:cubicBezTo>
                      <a:cubicBezTo>
                        <a:pt x="142" y="37"/>
                        <a:pt x="142" y="37"/>
                        <a:pt x="142" y="37"/>
                      </a:cubicBezTo>
                      <a:cubicBezTo>
                        <a:pt x="142" y="38"/>
                        <a:pt x="142" y="38"/>
                        <a:pt x="143" y="38"/>
                      </a:cubicBezTo>
                      <a:cubicBezTo>
                        <a:pt x="143" y="38"/>
                        <a:pt x="143" y="38"/>
                        <a:pt x="143" y="38"/>
                      </a:cubicBezTo>
                      <a:cubicBezTo>
                        <a:pt x="143" y="38"/>
                        <a:pt x="144" y="39"/>
                        <a:pt x="144" y="39"/>
                      </a:cubicBezTo>
                      <a:cubicBezTo>
                        <a:pt x="144" y="39"/>
                        <a:pt x="144" y="39"/>
                        <a:pt x="144" y="39"/>
                      </a:cubicBezTo>
                      <a:cubicBezTo>
                        <a:pt x="145" y="39"/>
                        <a:pt x="144" y="38"/>
                        <a:pt x="144" y="38"/>
                      </a:cubicBezTo>
                      <a:cubicBezTo>
                        <a:pt x="144" y="38"/>
                        <a:pt x="144" y="38"/>
                        <a:pt x="145" y="37"/>
                      </a:cubicBezTo>
                      <a:cubicBezTo>
                        <a:pt x="145" y="37"/>
                        <a:pt x="144" y="37"/>
                        <a:pt x="144" y="36"/>
                      </a:cubicBezTo>
                      <a:cubicBezTo>
                        <a:pt x="144" y="36"/>
                        <a:pt x="144" y="36"/>
                        <a:pt x="143" y="37"/>
                      </a:cubicBezTo>
                      <a:cubicBezTo>
                        <a:pt x="143" y="37"/>
                        <a:pt x="142" y="36"/>
                        <a:pt x="142" y="36"/>
                      </a:cubicBezTo>
                      <a:cubicBezTo>
                        <a:pt x="142" y="36"/>
                        <a:pt x="143" y="36"/>
                        <a:pt x="143" y="36"/>
                      </a:cubicBezTo>
                      <a:cubicBezTo>
                        <a:pt x="143" y="36"/>
                        <a:pt x="144" y="36"/>
                        <a:pt x="143" y="35"/>
                      </a:cubicBezTo>
                      <a:cubicBezTo>
                        <a:pt x="143" y="35"/>
                        <a:pt x="143" y="35"/>
                        <a:pt x="143" y="35"/>
                      </a:cubicBezTo>
                      <a:cubicBezTo>
                        <a:pt x="143" y="35"/>
                        <a:pt x="142" y="34"/>
                        <a:pt x="142" y="34"/>
                      </a:cubicBezTo>
                      <a:cubicBezTo>
                        <a:pt x="142" y="34"/>
                        <a:pt x="141" y="34"/>
                        <a:pt x="141" y="34"/>
                      </a:cubicBezTo>
                      <a:cubicBezTo>
                        <a:pt x="141" y="35"/>
                        <a:pt x="140" y="35"/>
                        <a:pt x="140" y="34"/>
                      </a:cubicBezTo>
                      <a:cubicBezTo>
                        <a:pt x="140" y="34"/>
                        <a:pt x="141" y="33"/>
                        <a:pt x="141" y="33"/>
                      </a:cubicBezTo>
                      <a:cubicBezTo>
                        <a:pt x="141" y="33"/>
                        <a:pt x="142" y="33"/>
                        <a:pt x="142" y="33"/>
                      </a:cubicBezTo>
                      <a:cubicBezTo>
                        <a:pt x="142" y="33"/>
                        <a:pt x="143" y="33"/>
                        <a:pt x="143" y="33"/>
                      </a:cubicBezTo>
                      <a:cubicBezTo>
                        <a:pt x="143" y="33"/>
                        <a:pt x="143" y="32"/>
                        <a:pt x="143" y="32"/>
                      </a:cubicBezTo>
                      <a:cubicBezTo>
                        <a:pt x="143" y="32"/>
                        <a:pt x="143" y="32"/>
                        <a:pt x="143" y="31"/>
                      </a:cubicBezTo>
                      <a:cubicBezTo>
                        <a:pt x="143" y="31"/>
                        <a:pt x="144" y="31"/>
                        <a:pt x="144" y="31"/>
                      </a:cubicBezTo>
                      <a:cubicBezTo>
                        <a:pt x="145" y="31"/>
                        <a:pt x="145" y="31"/>
                        <a:pt x="145" y="31"/>
                      </a:cubicBezTo>
                      <a:cubicBezTo>
                        <a:pt x="146" y="31"/>
                        <a:pt x="146" y="31"/>
                        <a:pt x="146" y="31"/>
                      </a:cubicBezTo>
                      <a:cubicBezTo>
                        <a:pt x="146" y="31"/>
                        <a:pt x="145" y="30"/>
                        <a:pt x="145" y="30"/>
                      </a:cubicBezTo>
                      <a:cubicBezTo>
                        <a:pt x="145" y="30"/>
                        <a:pt x="146" y="30"/>
                        <a:pt x="146" y="30"/>
                      </a:cubicBezTo>
                      <a:cubicBezTo>
                        <a:pt x="146" y="30"/>
                        <a:pt x="147" y="30"/>
                        <a:pt x="147" y="30"/>
                      </a:cubicBezTo>
                      <a:cubicBezTo>
                        <a:pt x="148" y="29"/>
                        <a:pt x="147" y="29"/>
                        <a:pt x="146" y="29"/>
                      </a:cubicBezTo>
                      <a:cubicBezTo>
                        <a:pt x="146" y="29"/>
                        <a:pt x="146" y="29"/>
                        <a:pt x="146" y="29"/>
                      </a:cubicBezTo>
                      <a:cubicBezTo>
                        <a:pt x="146" y="29"/>
                        <a:pt x="147" y="29"/>
                        <a:pt x="147" y="29"/>
                      </a:cubicBezTo>
                      <a:cubicBezTo>
                        <a:pt x="147" y="29"/>
                        <a:pt x="148" y="29"/>
                        <a:pt x="148" y="29"/>
                      </a:cubicBezTo>
                      <a:cubicBezTo>
                        <a:pt x="149" y="29"/>
                        <a:pt x="149" y="29"/>
                        <a:pt x="149" y="29"/>
                      </a:cubicBezTo>
                      <a:cubicBezTo>
                        <a:pt x="149" y="28"/>
                        <a:pt x="149" y="28"/>
                        <a:pt x="149" y="28"/>
                      </a:cubicBezTo>
                      <a:cubicBezTo>
                        <a:pt x="149" y="28"/>
                        <a:pt x="149" y="28"/>
                        <a:pt x="150" y="28"/>
                      </a:cubicBezTo>
                      <a:cubicBezTo>
                        <a:pt x="150" y="28"/>
                        <a:pt x="150" y="28"/>
                        <a:pt x="151" y="28"/>
                      </a:cubicBezTo>
                      <a:cubicBezTo>
                        <a:pt x="151" y="28"/>
                        <a:pt x="152" y="28"/>
                        <a:pt x="152" y="28"/>
                      </a:cubicBezTo>
                      <a:cubicBezTo>
                        <a:pt x="153" y="28"/>
                        <a:pt x="153" y="28"/>
                        <a:pt x="153" y="27"/>
                      </a:cubicBezTo>
                      <a:cubicBezTo>
                        <a:pt x="153" y="27"/>
                        <a:pt x="153" y="27"/>
                        <a:pt x="153" y="27"/>
                      </a:cubicBezTo>
                      <a:cubicBezTo>
                        <a:pt x="152" y="27"/>
                        <a:pt x="150" y="27"/>
                        <a:pt x="149" y="27"/>
                      </a:cubicBezTo>
                      <a:cubicBezTo>
                        <a:pt x="148" y="27"/>
                        <a:pt x="147" y="27"/>
                        <a:pt x="147" y="27"/>
                      </a:cubicBezTo>
                      <a:cubicBezTo>
                        <a:pt x="146" y="28"/>
                        <a:pt x="146" y="28"/>
                        <a:pt x="145" y="27"/>
                      </a:cubicBezTo>
                      <a:cubicBezTo>
                        <a:pt x="145" y="27"/>
                        <a:pt x="144" y="27"/>
                        <a:pt x="144" y="27"/>
                      </a:cubicBezTo>
                      <a:cubicBezTo>
                        <a:pt x="143" y="27"/>
                        <a:pt x="143" y="27"/>
                        <a:pt x="142" y="27"/>
                      </a:cubicBezTo>
                      <a:cubicBezTo>
                        <a:pt x="142" y="27"/>
                        <a:pt x="141" y="28"/>
                        <a:pt x="140" y="28"/>
                      </a:cubicBezTo>
                      <a:cubicBezTo>
                        <a:pt x="140" y="28"/>
                        <a:pt x="139" y="29"/>
                        <a:pt x="138" y="29"/>
                      </a:cubicBezTo>
                      <a:cubicBezTo>
                        <a:pt x="138" y="29"/>
                        <a:pt x="136" y="29"/>
                        <a:pt x="136" y="29"/>
                      </a:cubicBezTo>
                      <a:cubicBezTo>
                        <a:pt x="136" y="29"/>
                        <a:pt x="137" y="29"/>
                        <a:pt x="137" y="29"/>
                      </a:cubicBezTo>
                      <a:cubicBezTo>
                        <a:pt x="138" y="28"/>
                        <a:pt x="139" y="28"/>
                        <a:pt x="139" y="28"/>
                      </a:cubicBezTo>
                      <a:cubicBezTo>
                        <a:pt x="139" y="28"/>
                        <a:pt x="140" y="27"/>
                        <a:pt x="140" y="26"/>
                      </a:cubicBezTo>
                      <a:cubicBezTo>
                        <a:pt x="140" y="26"/>
                        <a:pt x="139" y="26"/>
                        <a:pt x="139" y="26"/>
                      </a:cubicBezTo>
                      <a:cubicBezTo>
                        <a:pt x="138" y="26"/>
                        <a:pt x="138" y="26"/>
                        <a:pt x="137" y="26"/>
                      </a:cubicBezTo>
                      <a:cubicBezTo>
                        <a:pt x="137" y="27"/>
                        <a:pt x="137" y="27"/>
                        <a:pt x="136" y="27"/>
                      </a:cubicBezTo>
                      <a:cubicBezTo>
                        <a:pt x="136" y="27"/>
                        <a:pt x="135" y="27"/>
                        <a:pt x="135" y="27"/>
                      </a:cubicBezTo>
                      <a:cubicBezTo>
                        <a:pt x="135" y="26"/>
                        <a:pt x="134" y="26"/>
                        <a:pt x="134" y="26"/>
                      </a:cubicBezTo>
                      <a:cubicBezTo>
                        <a:pt x="133" y="26"/>
                        <a:pt x="131" y="26"/>
                        <a:pt x="131" y="26"/>
                      </a:cubicBezTo>
                      <a:cubicBezTo>
                        <a:pt x="131" y="27"/>
                        <a:pt x="125" y="27"/>
                        <a:pt x="124" y="27"/>
                      </a:cubicBezTo>
                      <a:cubicBezTo>
                        <a:pt x="124" y="27"/>
                        <a:pt x="123" y="27"/>
                        <a:pt x="122" y="27"/>
                      </a:cubicBezTo>
                      <a:cubicBezTo>
                        <a:pt x="122" y="27"/>
                        <a:pt x="122" y="27"/>
                        <a:pt x="124" y="26"/>
                      </a:cubicBezTo>
                      <a:cubicBezTo>
                        <a:pt x="125" y="26"/>
                        <a:pt x="128" y="26"/>
                        <a:pt x="129" y="26"/>
                      </a:cubicBezTo>
                      <a:cubicBezTo>
                        <a:pt x="129" y="26"/>
                        <a:pt x="133" y="26"/>
                        <a:pt x="133" y="26"/>
                      </a:cubicBezTo>
                      <a:cubicBezTo>
                        <a:pt x="133" y="26"/>
                        <a:pt x="136" y="26"/>
                        <a:pt x="136" y="26"/>
                      </a:cubicBezTo>
                      <a:cubicBezTo>
                        <a:pt x="137" y="26"/>
                        <a:pt x="139" y="25"/>
                        <a:pt x="139" y="25"/>
                      </a:cubicBezTo>
                      <a:cubicBezTo>
                        <a:pt x="140" y="25"/>
                        <a:pt x="139" y="25"/>
                        <a:pt x="139" y="25"/>
                      </a:cubicBezTo>
                      <a:cubicBezTo>
                        <a:pt x="139" y="25"/>
                        <a:pt x="137" y="24"/>
                        <a:pt x="137" y="24"/>
                      </a:cubicBezTo>
                      <a:cubicBezTo>
                        <a:pt x="136" y="24"/>
                        <a:pt x="135" y="24"/>
                        <a:pt x="135" y="24"/>
                      </a:cubicBezTo>
                      <a:cubicBezTo>
                        <a:pt x="135" y="24"/>
                        <a:pt x="134" y="24"/>
                        <a:pt x="134" y="24"/>
                      </a:cubicBezTo>
                      <a:cubicBezTo>
                        <a:pt x="134" y="23"/>
                        <a:pt x="133" y="24"/>
                        <a:pt x="133" y="23"/>
                      </a:cubicBezTo>
                      <a:cubicBezTo>
                        <a:pt x="133" y="23"/>
                        <a:pt x="131" y="23"/>
                        <a:pt x="131" y="23"/>
                      </a:cubicBezTo>
                      <a:cubicBezTo>
                        <a:pt x="130" y="23"/>
                        <a:pt x="127" y="23"/>
                        <a:pt x="127" y="23"/>
                      </a:cubicBezTo>
                      <a:cubicBezTo>
                        <a:pt x="126" y="23"/>
                        <a:pt x="123" y="23"/>
                        <a:pt x="123" y="23"/>
                      </a:cubicBezTo>
                      <a:cubicBezTo>
                        <a:pt x="122" y="23"/>
                        <a:pt x="119" y="23"/>
                        <a:pt x="119" y="23"/>
                      </a:cubicBezTo>
                      <a:cubicBezTo>
                        <a:pt x="118" y="23"/>
                        <a:pt x="116" y="23"/>
                        <a:pt x="115" y="23"/>
                      </a:cubicBezTo>
                      <a:cubicBezTo>
                        <a:pt x="115" y="23"/>
                        <a:pt x="114" y="23"/>
                        <a:pt x="113" y="23"/>
                      </a:cubicBezTo>
                      <a:cubicBezTo>
                        <a:pt x="113" y="23"/>
                        <a:pt x="113" y="23"/>
                        <a:pt x="112" y="23"/>
                      </a:cubicBezTo>
                      <a:cubicBezTo>
                        <a:pt x="112" y="23"/>
                        <a:pt x="112" y="23"/>
                        <a:pt x="111" y="23"/>
                      </a:cubicBezTo>
                      <a:cubicBezTo>
                        <a:pt x="110" y="24"/>
                        <a:pt x="110" y="23"/>
                        <a:pt x="109" y="23"/>
                      </a:cubicBezTo>
                      <a:cubicBezTo>
                        <a:pt x="109" y="24"/>
                        <a:pt x="108" y="23"/>
                        <a:pt x="107" y="23"/>
                      </a:cubicBezTo>
                      <a:cubicBezTo>
                        <a:pt x="107" y="23"/>
                        <a:pt x="107" y="23"/>
                        <a:pt x="107" y="23"/>
                      </a:cubicBezTo>
                      <a:cubicBezTo>
                        <a:pt x="107" y="23"/>
                        <a:pt x="105" y="24"/>
                        <a:pt x="105" y="23"/>
                      </a:cubicBezTo>
                      <a:cubicBezTo>
                        <a:pt x="104" y="23"/>
                        <a:pt x="102" y="24"/>
                        <a:pt x="102" y="24"/>
                      </a:cubicBezTo>
                      <a:cubicBezTo>
                        <a:pt x="102" y="24"/>
                        <a:pt x="101" y="24"/>
                        <a:pt x="101" y="24"/>
                      </a:cubicBezTo>
                      <a:cubicBezTo>
                        <a:pt x="102" y="25"/>
                        <a:pt x="102" y="25"/>
                        <a:pt x="102" y="25"/>
                      </a:cubicBezTo>
                      <a:cubicBezTo>
                        <a:pt x="102" y="25"/>
                        <a:pt x="101" y="25"/>
                        <a:pt x="100" y="25"/>
                      </a:cubicBezTo>
                      <a:cubicBezTo>
                        <a:pt x="100" y="25"/>
                        <a:pt x="100" y="25"/>
                        <a:pt x="100" y="25"/>
                      </a:cubicBezTo>
                      <a:cubicBezTo>
                        <a:pt x="100" y="25"/>
                        <a:pt x="100" y="25"/>
                        <a:pt x="101" y="25"/>
                      </a:cubicBezTo>
                      <a:cubicBezTo>
                        <a:pt x="101" y="26"/>
                        <a:pt x="102" y="26"/>
                        <a:pt x="103" y="26"/>
                      </a:cubicBezTo>
                      <a:cubicBezTo>
                        <a:pt x="103" y="26"/>
                        <a:pt x="104" y="26"/>
                        <a:pt x="104" y="27"/>
                      </a:cubicBezTo>
                      <a:cubicBezTo>
                        <a:pt x="104" y="27"/>
                        <a:pt x="103" y="27"/>
                        <a:pt x="102" y="27"/>
                      </a:cubicBezTo>
                      <a:cubicBezTo>
                        <a:pt x="102" y="26"/>
                        <a:pt x="102" y="26"/>
                        <a:pt x="101" y="26"/>
                      </a:cubicBezTo>
                      <a:cubicBezTo>
                        <a:pt x="100" y="26"/>
                        <a:pt x="99" y="26"/>
                        <a:pt x="99" y="26"/>
                      </a:cubicBezTo>
                      <a:cubicBezTo>
                        <a:pt x="98" y="26"/>
                        <a:pt x="98" y="25"/>
                        <a:pt x="97" y="25"/>
                      </a:cubicBezTo>
                      <a:cubicBezTo>
                        <a:pt x="97" y="25"/>
                        <a:pt x="96" y="25"/>
                        <a:pt x="95" y="25"/>
                      </a:cubicBezTo>
                      <a:cubicBezTo>
                        <a:pt x="95" y="25"/>
                        <a:pt x="95" y="25"/>
                        <a:pt x="95" y="25"/>
                      </a:cubicBezTo>
                      <a:cubicBezTo>
                        <a:pt x="113" y="17"/>
                        <a:pt x="134" y="12"/>
                        <a:pt x="155" y="12"/>
                      </a:cubicBezTo>
                      <a:cubicBezTo>
                        <a:pt x="195" y="12"/>
                        <a:pt x="231" y="28"/>
                        <a:pt x="257" y="54"/>
                      </a:cubicBezTo>
                      <a:cubicBezTo>
                        <a:pt x="257" y="54"/>
                        <a:pt x="256" y="54"/>
                        <a:pt x="256" y="54"/>
                      </a:cubicBezTo>
                      <a:cubicBezTo>
                        <a:pt x="256" y="54"/>
                        <a:pt x="255" y="55"/>
                        <a:pt x="254" y="55"/>
                      </a:cubicBezTo>
                      <a:cubicBezTo>
                        <a:pt x="254" y="55"/>
                        <a:pt x="253" y="55"/>
                        <a:pt x="253" y="55"/>
                      </a:cubicBezTo>
                      <a:cubicBezTo>
                        <a:pt x="253" y="55"/>
                        <a:pt x="251" y="56"/>
                        <a:pt x="251" y="56"/>
                      </a:cubicBezTo>
                      <a:cubicBezTo>
                        <a:pt x="251" y="56"/>
                        <a:pt x="250" y="56"/>
                        <a:pt x="249" y="56"/>
                      </a:cubicBezTo>
                      <a:cubicBezTo>
                        <a:pt x="249" y="57"/>
                        <a:pt x="249" y="57"/>
                        <a:pt x="248" y="57"/>
                      </a:cubicBezTo>
                      <a:cubicBezTo>
                        <a:pt x="247" y="57"/>
                        <a:pt x="247" y="57"/>
                        <a:pt x="247" y="57"/>
                      </a:cubicBezTo>
                      <a:cubicBezTo>
                        <a:pt x="247" y="57"/>
                        <a:pt x="246" y="57"/>
                        <a:pt x="246" y="57"/>
                      </a:cubicBezTo>
                      <a:cubicBezTo>
                        <a:pt x="246" y="58"/>
                        <a:pt x="246" y="58"/>
                        <a:pt x="246" y="58"/>
                      </a:cubicBezTo>
                      <a:cubicBezTo>
                        <a:pt x="246" y="58"/>
                        <a:pt x="245" y="59"/>
                        <a:pt x="245" y="59"/>
                      </a:cubicBezTo>
                      <a:cubicBezTo>
                        <a:pt x="245" y="59"/>
                        <a:pt x="244" y="59"/>
                        <a:pt x="244" y="59"/>
                      </a:cubicBezTo>
                      <a:cubicBezTo>
                        <a:pt x="243" y="59"/>
                        <a:pt x="243" y="59"/>
                        <a:pt x="243" y="59"/>
                      </a:cubicBezTo>
                      <a:cubicBezTo>
                        <a:pt x="243" y="59"/>
                        <a:pt x="242" y="58"/>
                        <a:pt x="242" y="58"/>
                      </a:cubicBezTo>
                      <a:cubicBezTo>
                        <a:pt x="242" y="58"/>
                        <a:pt x="242" y="58"/>
                        <a:pt x="242" y="58"/>
                      </a:cubicBezTo>
                      <a:cubicBezTo>
                        <a:pt x="242" y="58"/>
                        <a:pt x="242" y="58"/>
                        <a:pt x="242" y="57"/>
                      </a:cubicBezTo>
                      <a:cubicBezTo>
                        <a:pt x="242" y="57"/>
                        <a:pt x="243" y="57"/>
                        <a:pt x="243" y="57"/>
                      </a:cubicBezTo>
                      <a:cubicBezTo>
                        <a:pt x="243" y="57"/>
                        <a:pt x="244" y="57"/>
                        <a:pt x="244" y="57"/>
                      </a:cubicBezTo>
                      <a:cubicBezTo>
                        <a:pt x="244" y="57"/>
                        <a:pt x="244" y="56"/>
                        <a:pt x="244" y="56"/>
                      </a:cubicBezTo>
                      <a:cubicBezTo>
                        <a:pt x="244" y="56"/>
                        <a:pt x="243" y="55"/>
                        <a:pt x="243" y="55"/>
                      </a:cubicBezTo>
                      <a:cubicBezTo>
                        <a:pt x="243" y="55"/>
                        <a:pt x="242" y="55"/>
                        <a:pt x="242" y="55"/>
                      </a:cubicBezTo>
                      <a:cubicBezTo>
                        <a:pt x="242" y="55"/>
                        <a:pt x="241" y="55"/>
                        <a:pt x="241" y="55"/>
                      </a:cubicBezTo>
                      <a:cubicBezTo>
                        <a:pt x="240" y="55"/>
                        <a:pt x="240" y="55"/>
                        <a:pt x="240" y="55"/>
                      </a:cubicBezTo>
                      <a:cubicBezTo>
                        <a:pt x="240" y="55"/>
                        <a:pt x="239" y="55"/>
                        <a:pt x="239" y="55"/>
                      </a:cubicBezTo>
                      <a:cubicBezTo>
                        <a:pt x="239" y="55"/>
                        <a:pt x="240" y="56"/>
                        <a:pt x="240" y="56"/>
                      </a:cubicBezTo>
                      <a:cubicBezTo>
                        <a:pt x="240" y="56"/>
                        <a:pt x="241" y="56"/>
                        <a:pt x="240" y="56"/>
                      </a:cubicBezTo>
                      <a:cubicBezTo>
                        <a:pt x="240" y="56"/>
                        <a:pt x="240" y="57"/>
                        <a:pt x="240" y="57"/>
                      </a:cubicBezTo>
                      <a:cubicBezTo>
                        <a:pt x="240" y="57"/>
                        <a:pt x="240" y="57"/>
                        <a:pt x="240" y="57"/>
                      </a:cubicBezTo>
                      <a:cubicBezTo>
                        <a:pt x="240" y="57"/>
                        <a:pt x="240" y="57"/>
                        <a:pt x="240" y="57"/>
                      </a:cubicBezTo>
                      <a:cubicBezTo>
                        <a:pt x="240" y="58"/>
                        <a:pt x="240" y="58"/>
                        <a:pt x="240" y="58"/>
                      </a:cubicBezTo>
                      <a:cubicBezTo>
                        <a:pt x="240" y="58"/>
                        <a:pt x="240" y="58"/>
                        <a:pt x="240" y="59"/>
                      </a:cubicBezTo>
                      <a:cubicBezTo>
                        <a:pt x="241" y="59"/>
                        <a:pt x="241" y="59"/>
                        <a:pt x="241" y="59"/>
                      </a:cubicBezTo>
                      <a:cubicBezTo>
                        <a:pt x="241" y="60"/>
                        <a:pt x="240" y="60"/>
                        <a:pt x="240" y="60"/>
                      </a:cubicBezTo>
                      <a:cubicBezTo>
                        <a:pt x="239" y="60"/>
                        <a:pt x="239" y="60"/>
                        <a:pt x="239" y="60"/>
                      </a:cubicBezTo>
                      <a:cubicBezTo>
                        <a:pt x="239" y="60"/>
                        <a:pt x="238" y="60"/>
                        <a:pt x="238" y="60"/>
                      </a:cubicBezTo>
                      <a:cubicBezTo>
                        <a:pt x="238" y="60"/>
                        <a:pt x="237" y="60"/>
                        <a:pt x="237" y="60"/>
                      </a:cubicBezTo>
                      <a:cubicBezTo>
                        <a:pt x="237" y="60"/>
                        <a:pt x="237" y="60"/>
                        <a:pt x="236" y="61"/>
                      </a:cubicBezTo>
                      <a:cubicBezTo>
                        <a:pt x="236" y="61"/>
                        <a:pt x="236" y="61"/>
                        <a:pt x="235" y="61"/>
                      </a:cubicBezTo>
                      <a:cubicBezTo>
                        <a:pt x="235" y="61"/>
                        <a:pt x="235" y="61"/>
                        <a:pt x="235" y="61"/>
                      </a:cubicBezTo>
                      <a:cubicBezTo>
                        <a:pt x="235" y="61"/>
                        <a:pt x="234" y="61"/>
                        <a:pt x="234" y="61"/>
                      </a:cubicBezTo>
                      <a:cubicBezTo>
                        <a:pt x="234" y="61"/>
                        <a:pt x="234" y="62"/>
                        <a:pt x="234" y="62"/>
                      </a:cubicBezTo>
                      <a:cubicBezTo>
                        <a:pt x="234" y="62"/>
                        <a:pt x="234" y="62"/>
                        <a:pt x="234" y="62"/>
                      </a:cubicBezTo>
                      <a:cubicBezTo>
                        <a:pt x="234" y="62"/>
                        <a:pt x="234" y="63"/>
                        <a:pt x="234" y="63"/>
                      </a:cubicBezTo>
                      <a:cubicBezTo>
                        <a:pt x="234" y="63"/>
                        <a:pt x="235" y="63"/>
                        <a:pt x="235" y="63"/>
                      </a:cubicBezTo>
                      <a:cubicBezTo>
                        <a:pt x="235" y="64"/>
                        <a:pt x="235" y="64"/>
                        <a:pt x="235" y="64"/>
                      </a:cubicBezTo>
                      <a:cubicBezTo>
                        <a:pt x="235" y="64"/>
                        <a:pt x="234" y="64"/>
                        <a:pt x="234" y="63"/>
                      </a:cubicBezTo>
                      <a:cubicBezTo>
                        <a:pt x="234" y="63"/>
                        <a:pt x="234" y="63"/>
                        <a:pt x="234" y="63"/>
                      </a:cubicBezTo>
                      <a:cubicBezTo>
                        <a:pt x="234" y="64"/>
                        <a:pt x="234" y="64"/>
                        <a:pt x="234" y="64"/>
                      </a:cubicBezTo>
                      <a:cubicBezTo>
                        <a:pt x="233" y="64"/>
                        <a:pt x="233" y="64"/>
                        <a:pt x="233" y="64"/>
                      </a:cubicBezTo>
                      <a:cubicBezTo>
                        <a:pt x="233" y="64"/>
                        <a:pt x="232" y="64"/>
                        <a:pt x="232" y="64"/>
                      </a:cubicBezTo>
                      <a:cubicBezTo>
                        <a:pt x="232" y="64"/>
                        <a:pt x="232" y="63"/>
                        <a:pt x="231" y="63"/>
                      </a:cubicBezTo>
                      <a:cubicBezTo>
                        <a:pt x="231" y="63"/>
                        <a:pt x="231" y="63"/>
                        <a:pt x="230" y="63"/>
                      </a:cubicBezTo>
                      <a:cubicBezTo>
                        <a:pt x="230" y="63"/>
                        <a:pt x="230" y="63"/>
                        <a:pt x="230" y="63"/>
                      </a:cubicBezTo>
                      <a:cubicBezTo>
                        <a:pt x="230" y="63"/>
                        <a:pt x="229" y="62"/>
                        <a:pt x="229" y="63"/>
                      </a:cubicBezTo>
                      <a:cubicBezTo>
                        <a:pt x="229" y="63"/>
                        <a:pt x="229" y="63"/>
                        <a:pt x="229" y="63"/>
                      </a:cubicBezTo>
                      <a:cubicBezTo>
                        <a:pt x="229" y="63"/>
                        <a:pt x="229" y="63"/>
                        <a:pt x="229" y="63"/>
                      </a:cubicBezTo>
                      <a:cubicBezTo>
                        <a:pt x="229" y="63"/>
                        <a:pt x="229" y="63"/>
                        <a:pt x="229" y="63"/>
                      </a:cubicBezTo>
                      <a:cubicBezTo>
                        <a:pt x="229" y="64"/>
                        <a:pt x="229" y="64"/>
                        <a:pt x="229" y="64"/>
                      </a:cubicBezTo>
                      <a:cubicBezTo>
                        <a:pt x="229" y="64"/>
                        <a:pt x="230" y="64"/>
                        <a:pt x="230" y="64"/>
                      </a:cubicBezTo>
                      <a:cubicBezTo>
                        <a:pt x="230" y="64"/>
                        <a:pt x="231" y="64"/>
                        <a:pt x="231" y="65"/>
                      </a:cubicBezTo>
                      <a:cubicBezTo>
                        <a:pt x="231" y="65"/>
                        <a:pt x="231" y="65"/>
                        <a:pt x="231" y="65"/>
                      </a:cubicBezTo>
                      <a:cubicBezTo>
                        <a:pt x="230" y="65"/>
                        <a:pt x="230" y="65"/>
                        <a:pt x="229" y="65"/>
                      </a:cubicBezTo>
                      <a:cubicBezTo>
                        <a:pt x="229" y="65"/>
                        <a:pt x="228" y="65"/>
                        <a:pt x="228" y="65"/>
                      </a:cubicBezTo>
                      <a:cubicBezTo>
                        <a:pt x="228" y="64"/>
                        <a:pt x="228" y="64"/>
                        <a:pt x="228" y="64"/>
                      </a:cubicBezTo>
                      <a:cubicBezTo>
                        <a:pt x="227" y="64"/>
                        <a:pt x="226" y="64"/>
                        <a:pt x="226" y="64"/>
                      </a:cubicBezTo>
                      <a:cubicBezTo>
                        <a:pt x="226" y="64"/>
                        <a:pt x="226" y="64"/>
                        <a:pt x="226" y="63"/>
                      </a:cubicBezTo>
                      <a:cubicBezTo>
                        <a:pt x="226" y="63"/>
                        <a:pt x="226" y="63"/>
                        <a:pt x="226" y="63"/>
                      </a:cubicBezTo>
                      <a:cubicBezTo>
                        <a:pt x="226" y="62"/>
                        <a:pt x="225" y="62"/>
                        <a:pt x="226" y="62"/>
                      </a:cubicBezTo>
                      <a:cubicBezTo>
                        <a:pt x="226" y="62"/>
                        <a:pt x="226" y="62"/>
                        <a:pt x="226" y="61"/>
                      </a:cubicBezTo>
                      <a:cubicBezTo>
                        <a:pt x="226" y="61"/>
                        <a:pt x="226" y="62"/>
                        <a:pt x="226" y="61"/>
                      </a:cubicBezTo>
                      <a:cubicBezTo>
                        <a:pt x="226" y="61"/>
                        <a:pt x="226" y="61"/>
                        <a:pt x="226" y="61"/>
                      </a:cubicBezTo>
                      <a:cubicBezTo>
                        <a:pt x="225" y="61"/>
                        <a:pt x="224" y="60"/>
                        <a:pt x="224" y="60"/>
                      </a:cubicBezTo>
                      <a:cubicBezTo>
                        <a:pt x="224" y="60"/>
                        <a:pt x="224" y="59"/>
                        <a:pt x="223" y="59"/>
                      </a:cubicBezTo>
                      <a:cubicBezTo>
                        <a:pt x="223" y="59"/>
                        <a:pt x="223" y="59"/>
                        <a:pt x="223" y="59"/>
                      </a:cubicBezTo>
                      <a:cubicBezTo>
                        <a:pt x="222" y="59"/>
                        <a:pt x="222" y="58"/>
                        <a:pt x="222" y="58"/>
                      </a:cubicBezTo>
                      <a:cubicBezTo>
                        <a:pt x="222" y="58"/>
                        <a:pt x="223" y="58"/>
                        <a:pt x="223" y="59"/>
                      </a:cubicBezTo>
                      <a:cubicBezTo>
                        <a:pt x="223" y="59"/>
                        <a:pt x="224" y="59"/>
                        <a:pt x="224" y="59"/>
                      </a:cubicBezTo>
                      <a:cubicBezTo>
                        <a:pt x="224" y="59"/>
                        <a:pt x="225" y="59"/>
                        <a:pt x="225" y="59"/>
                      </a:cubicBezTo>
                      <a:cubicBezTo>
                        <a:pt x="225" y="60"/>
                        <a:pt x="226" y="60"/>
                        <a:pt x="226" y="60"/>
                      </a:cubicBezTo>
                      <a:cubicBezTo>
                        <a:pt x="226" y="60"/>
                        <a:pt x="227" y="60"/>
                        <a:pt x="227" y="60"/>
                      </a:cubicBezTo>
                      <a:cubicBezTo>
                        <a:pt x="227" y="60"/>
                        <a:pt x="228" y="60"/>
                        <a:pt x="228" y="60"/>
                      </a:cubicBezTo>
                      <a:cubicBezTo>
                        <a:pt x="228" y="60"/>
                        <a:pt x="229" y="60"/>
                        <a:pt x="230" y="60"/>
                      </a:cubicBezTo>
                      <a:cubicBezTo>
                        <a:pt x="230" y="60"/>
                        <a:pt x="231" y="60"/>
                        <a:pt x="231" y="60"/>
                      </a:cubicBezTo>
                      <a:cubicBezTo>
                        <a:pt x="231" y="60"/>
                        <a:pt x="233" y="60"/>
                        <a:pt x="234" y="60"/>
                      </a:cubicBezTo>
                      <a:cubicBezTo>
                        <a:pt x="234" y="60"/>
                        <a:pt x="235" y="60"/>
                        <a:pt x="235" y="60"/>
                      </a:cubicBezTo>
                      <a:cubicBezTo>
                        <a:pt x="235" y="60"/>
                        <a:pt x="236" y="59"/>
                        <a:pt x="236" y="59"/>
                      </a:cubicBezTo>
                      <a:cubicBezTo>
                        <a:pt x="236" y="59"/>
                        <a:pt x="236" y="59"/>
                        <a:pt x="236" y="58"/>
                      </a:cubicBezTo>
                      <a:cubicBezTo>
                        <a:pt x="236" y="58"/>
                        <a:pt x="236" y="58"/>
                        <a:pt x="236" y="58"/>
                      </a:cubicBezTo>
                      <a:cubicBezTo>
                        <a:pt x="236" y="58"/>
                        <a:pt x="236" y="58"/>
                        <a:pt x="236" y="58"/>
                      </a:cubicBezTo>
                      <a:cubicBezTo>
                        <a:pt x="235" y="57"/>
                        <a:pt x="235" y="57"/>
                        <a:pt x="235" y="57"/>
                      </a:cubicBezTo>
                      <a:cubicBezTo>
                        <a:pt x="235" y="57"/>
                        <a:pt x="234" y="57"/>
                        <a:pt x="234" y="56"/>
                      </a:cubicBezTo>
                      <a:cubicBezTo>
                        <a:pt x="234" y="56"/>
                        <a:pt x="234" y="56"/>
                        <a:pt x="233" y="56"/>
                      </a:cubicBezTo>
                      <a:cubicBezTo>
                        <a:pt x="233" y="56"/>
                        <a:pt x="232" y="56"/>
                        <a:pt x="232" y="56"/>
                      </a:cubicBezTo>
                      <a:cubicBezTo>
                        <a:pt x="232" y="56"/>
                        <a:pt x="232" y="56"/>
                        <a:pt x="231" y="56"/>
                      </a:cubicBezTo>
                      <a:cubicBezTo>
                        <a:pt x="231" y="56"/>
                        <a:pt x="231" y="55"/>
                        <a:pt x="230" y="55"/>
                      </a:cubicBezTo>
                      <a:cubicBezTo>
                        <a:pt x="229" y="55"/>
                        <a:pt x="229" y="54"/>
                        <a:pt x="229" y="54"/>
                      </a:cubicBezTo>
                      <a:cubicBezTo>
                        <a:pt x="228" y="54"/>
                        <a:pt x="228" y="54"/>
                        <a:pt x="227" y="54"/>
                      </a:cubicBezTo>
                      <a:cubicBezTo>
                        <a:pt x="227" y="54"/>
                        <a:pt x="226" y="54"/>
                        <a:pt x="226" y="54"/>
                      </a:cubicBezTo>
                      <a:cubicBezTo>
                        <a:pt x="226" y="54"/>
                        <a:pt x="225" y="54"/>
                        <a:pt x="225" y="54"/>
                      </a:cubicBezTo>
                      <a:cubicBezTo>
                        <a:pt x="225" y="54"/>
                        <a:pt x="224" y="54"/>
                        <a:pt x="224" y="54"/>
                      </a:cubicBezTo>
                      <a:cubicBezTo>
                        <a:pt x="224" y="54"/>
                        <a:pt x="223" y="53"/>
                        <a:pt x="223" y="53"/>
                      </a:cubicBezTo>
                      <a:cubicBezTo>
                        <a:pt x="222" y="53"/>
                        <a:pt x="222" y="53"/>
                        <a:pt x="222" y="53"/>
                      </a:cubicBezTo>
                      <a:cubicBezTo>
                        <a:pt x="222" y="53"/>
                        <a:pt x="222" y="53"/>
                        <a:pt x="222" y="53"/>
                      </a:cubicBezTo>
                      <a:cubicBezTo>
                        <a:pt x="223" y="53"/>
                        <a:pt x="223" y="53"/>
                        <a:pt x="224" y="53"/>
                      </a:cubicBezTo>
                      <a:cubicBezTo>
                        <a:pt x="224" y="53"/>
                        <a:pt x="223" y="53"/>
                        <a:pt x="223" y="53"/>
                      </a:cubicBezTo>
                      <a:cubicBezTo>
                        <a:pt x="223" y="53"/>
                        <a:pt x="223" y="53"/>
                        <a:pt x="222" y="53"/>
                      </a:cubicBezTo>
                      <a:cubicBezTo>
                        <a:pt x="222" y="52"/>
                        <a:pt x="222" y="52"/>
                        <a:pt x="222" y="52"/>
                      </a:cubicBezTo>
                      <a:cubicBezTo>
                        <a:pt x="222" y="52"/>
                        <a:pt x="221" y="52"/>
                        <a:pt x="221" y="53"/>
                      </a:cubicBezTo>
                      <a:cubicBezTo>
                        <a:pt x="221" y="53"/>
                        <a:pt x="221" y="53"/>
                        <a:pt x="220" y="53"/>
                      </a:cubicBezTo>
                      <a:cubicBezTo>
                        <a:pt x="220" y="53"/>
                        <a:pt x="218" y="52"/>
                        <a:pt x="218" y="52"/>
                      </a:cubicBezTo>
                      <a:cubicBezTo>
                        <a:pt x="218" y="52"/>
                        <a:pt x="217" y="52"/>
                        <a:pt x="217" y="52"/>
                      </a:cubicBezTo>
                      <a:cubicBezTo>
                        <a:pt x="217" y="52"/>
                        <a:pt x="217" y="52"/>
                        <a:pt x="218" y="52"/>
                      </a:cubicBezTo>
                      <a:cubicBezTo>
                        <a:pt x="218" y="52"/>
                        <a:pt x="219" y="52"/>
                        <a:pt x="219" y="52"/>
                      </a:cubicBezTo>
                      <a:cubicBezTo>
                        <a:pt x="219" y="52"/>
                        <a:pt x="219" y="52"/>
                        <a:pt x="219" y="52"/>
                      </a:cubicBezTo>
                      <a:cubicBezTo>
                        <a:pt x="219" y="52"/>
                        <a:pt x="220" y="52"/>
                        <a:pt x="220" y="52"/>
                      </a:cubicBezTo>
                      <a:cubicBezTo>
                        <a:pt x="220" y="51"/>
                        <a:pt x="220" y="51"/>
                        <a:pt x="220" y="51"/>
                      </a:cubicBezTo>
                      <a:cubicBezTo>
                        <a:pt x="220" y="51"/>
                        <a:pt x="220" y="51"/>
                        <a:pt x="220" y="51"/>
                      </a:cubicBezTo>
                      <a:cubicBezTo>
                        <a:pt x="219" y="51"/>
                        <a:pt x="219" y="51"/>
                        <a:pt x="219" y="51"/>
                      </a:cubicBezTo>
                      <a:cubicBezTo>
                        <a:pt x="219" y="51"/>
                        <a:pt x="218" y="51"/>
                        <a:pt x="218" y="51"/>
                      </a:cubicBezTo>
                      <a:cubicBezTo>
                        <a:pt x="218" y="51"/>
                        <a:pt x="218" y="51"/>
                        <a:pt x="218" y="51"/>
                      </a:cubicBezTo>
                      <a:cubicBezTo>
                        <a:pt x="217" y="50"/>
                        <a:pt x="217" y="50"/>
                        <a:pt x="217" y="50"/>
                      </a:cubicBezTo>
                      <a:cubicBezTo>
                        <a:pt x="217" y="50"/>
                        <a:pt x="217" y="51"/>
                        <a:pt x="216" y="51"/>
                      </a:cubicBezTo>
                      <a:cubicBezTo>
                        <a:pt x="216" y="51"/>
                        <a:pt x="216" y="51"/>
                        <a:pt x="216" y="51"/>
                      </a:cubicBezTo>
                      <a:cubicBezTo>
                        <a:pt x="216" y="51"/>
                        <a:pt x="216" y="51"/>
                        <a:pt x="216" y="51"/>
                      </a:cubicBezTo>
                      <a:cubicBezTo>
                        <a:pt x="216" y="51"/>
                        <a:pt x="216" y="50"/>
                        <a:pt x="216" y="50"/>
                      </a:cubicBezTo>
                      <a:cubicBezTo>
                        <a:pt x="216" y="50"/>
                        <a:pt x="216" y="50"/>
                        <a:pt x="216" y="50"/>
                      </a:cubicBezTo>
                      <a:cubicBezTo>
                        <a:pt x="216" y="50"/>
                        <a:pt x="216" y="50"/>
                        <a:pt x="215" y="50"/>
                      </a:cubicBezTo>
                      <a:cubicBezTo>
                        <a:pt x="215" y="50"/>
                        <a:pt x="215" y="50"/>
                        <a:pt x="215" y="50"/>
                      </a:cubicBezTo>
                      <a:cubicBezTo>
                        <a:pt x="214" y="50"/>
                        <a:pt x="214" y="50"/>
                        <a:pt x="214" y="50"/>
                      </a:cubicBezTo>
                      <a:cubicBezTo>
                        <a:pt x="214" y="50"/>
                        <a:pt x="215" y="50"/>
                        <a:pt x="215" y="50"/>
                      </a:cubicBezTo>
                      <a:cubicBezTo>
                        <a:pt x="215" y="50"/>
                        <a:pt x="215" y="51"/>
                        <a:pt x="214" y="51"/>
                      </a:cubicBezTo>
                      <a:cubicBezTo>
                        <a:pt x="214" y="51"/>
                        <a:pt x="214" y="51"/>
                        <a:pt x="214" y="51"/>
                      </a:cubicBezTo>
                      <a:cubicBezTo>
                        <a:pt x="214" y="51"/>
                        <a:pt x="214" y="51"/>
                        <a:pt x="214" y="51"/>
                      </a:cubicBezTo>
                      <a:cubicBezTo>
                        <a:pt x="214" y="51"/>
                        <a:pt x="213" y="51"/>
                        <a:pt x="213" y="51"/>
                      </a:cubicBezTo>
                      <a:cubicBezTo>
                        <a:pt x="213" y="51"/>
                        <a:pt x="213" y="51"/>
                        <a:pt x="213" y="51"/>
                      </a:cubicBezTo>
                      <a:cubicBezTo>
                        <a:pt x="214" y="51"/>
                        <a:pt x="214" y="51"/>
                        <a:pt x="214" y="51"/>
                      </a:cubicBezTo>
                      <a:cubicBezTo>
                        <a:pt x="214" y="50"/>
                        <a:pt x="214" y="50"/>
                        <a:pt x="214" y="50"/>
                      </a:cubicBezTo>
                      <a:cubicBezTo>
                        <a:pt x="214" y="50"/>
                        <a:pt x="213" y="50"/>
                        <a:pt x="213" y="50"/>
                      </a:cubicBezTo>
                      <a:cubicBezTo>
                        <a:pt x="213" y="50"/>
                        <a:pt x="213" y="51"/>
                        <a:pt x="213" y="51"/>
                      </a:cubicBezTo>
                      <a:cubicBezTo>
                        <a:pt x="213" y="51"/>
                        <a:pt x="212" y="51"/>
                        <a:pt x="212" y="51"/>
                      </a:cubicBezTo>
                      <a:cubicBezTo>
                        <a:pt x="212" y="51"/>
                        <a:pt x="212" y="51"/>
                        <a:pt x="212" y="51"/>
                      </a:cubicBezTo>
                      <a:cubicBezTo>
                        <a:pt x="212" y="52"/>
                        <a:pt x="212" y="52"/>
                        <a:pt x="211" y="52"/>
                      </a:cubicBezTo>
                      <a:cubicBezTo>
                        <a:pt x="211" y="52"/>
                        <a:pt x="211" y="52"/>
                        <a:pt x="211" y="52"/>
                      </a:cubicBezTo>
                      <a:cubicBezTo>
                        <a:pt x="211" y="52"/>
                        <a:pt x="211" y="52"/>
                        <a:pt x="211" y="52"/>
                      </a:cubicBezTo>
                      <a:cubicBezTo>
                        <a:pt x="211" y="51"/>
                        <a:pt x="211" y="51"/>
                        <a:pt x="212" y="51"/>
                      </a:cubicBezTo>
                      <a:cubicBezTo>
                        <a:pt x="212" y="51"/>
                        <a:pt x="212" y="51"/>
                        <a:pt x="212" y="51"/>
                      </a:cubicBezTo>
                      <a:cubicBezTo>
                        <a:pt x="212" y="50"/>
                        <a:pt x="212" y="50"/>
                        <a:pt x="212" y="50"/>
                      </a:cubicBezTo>
                      <a:cubicBezTo>
                        <a:pt x="212" y="50"/>
                        <a:pt x="213" y="50"/>
                        <a:pt x="213" y="50"/>
                      </a:cubicBezTo>
                      <a:cubicBezTo>
                        <a:pt x="213" y="50"/>
                        <a:pt x="212" y="49"/>
                        <a:pt x="212" y="50"/>
                      </a:cubicBezTo>
                      <a:cubicBezTo>
                        <a:pt x="212" y="50"/>
                        <a:pt x="212" y="50"/>
                        <a:pt x="211" y="50"/>
                      </a:cubicBezTo>
                      <a:cubicBezTo>
                        <a:pt x="211" y="50"/>
                        <a:pt x="211" y="50"/>
                        <a:pt x="211" y="50"/>
                      </a:cubicBezTo>
                      <a:cubicBezTo>
                        <a:pt x="211" y="50"/>
                        <a:pt x="211" y="50"/>
                        <a:pt x="210" y="50"/>
                      </a:cubicBezTo>
                      <a:cubicBezTo>
                        <a:pt x="210" y="50"/>
                        <a:pt x="210" y="50"/>
                        <a:pt x="210" y="50"/>
                      </a:cubicBezTo>
                      <a:cubicBezTo>
                        <a:pt x="210" y="51"/>
                        <a:pt x="210" y="51"/>
                        <a:pt x="210" y="51"/>
                      </a:cubicBezTo>
                      <a:cubicBezTo>
                        <a:pt x="210" y="51"/>
                        <a:pt x="209" y="50"/>
                        <a:pt x="209" y="51"/>
                      </a:cubicBezTo>
                      <a:cubicBezTo>
                        <a:pt x="209" y="51"/>
                        <a:pt x="209" y="51"/>
                        <a:pt x="209" y="51"/>
                      </a:cubicBezTo>
                      <a:cubicBezTo>
                        <a:pt x="209" y="51"/>
                        <a:pt x="209" y="51"/>
                        <a:pt x="209" y="51"/>
                      </a:cubicBezTo>
                      <a:cubicBezTo>
                        <a:pt x="208" y="51"/>
                        <a:pt x="208" y="52"/>
                        <a:pt x="208" y="52"/>
                      </a:cubicBezTo>
                      <a:cubicBezTo>
                        <a:pt x="208" y="52"/>
                        <a:pt x="208" y="52"/>
                        <a:pt x="208" y="52"/>
                      </a:cubicBezTo>
                      <a:cubicBezTo>
                        <a:pt x="208" y="52"/>
                        <a:pt x="208" y="52"/>
                        <a:pt x="208" y="52"/>
                      </a:cubicBezTo>
                      <a:cubicBezTo>
                        <a:pt x="208" y="51"/>
                        <a:pt x="208" y="51"/>
                        <a:pt x="207" y="51"/>
                      </a:cubicBezTo>
                      <a:cubicBezTo>
                        <a:pt x="207" y="51"/>
                        <a:pt x="207" y="51"/>
                        <a:pt x="207" y="52"/>
                      </a:cubicBezTo>
                      <a:cubicBezTo>
                        <a:pt x="207" y="52"/>
                        <a:pt x="206" y="52"/>
                        <a:pt x="206" y="52"/>
                      </a:cubicBezTo>
                      <a:cubicBezTo>
                        <a:pt x="206" y="52"/>
                        <a:pt x="206" y="51"/>
                        <a:pt x="206" y="52"/>
                      </a:cubicBezTo>
                      <a:cubicBezTo>
                        <a:pt x="206" y="52"/>
                        <a:pt x="205" y="52"/>
                        <a:pt x="205" y="52"/>
                      </a:cubicBezTo>
                      <a:cubicBezTo>
                        <a:pt x="205" y="52"/>
                        <a:pt x="205" y="52"/>
                        <a:pt x="206" y="52"/>
                      </a:cubicBezTo>
                      <a:cubicBezTo>
                        <a:pt x="206" y="52"/>
                        <a:pt x="206" y="52"/>
                        <a:pt x="206" y="52"/>
                      </a:cubicBezTo>
                      <a:cubicBezTo>
                        <a:pt x="206" y="52"/>
                        <a:pt x="206" y="52"/>
                        <a:pt x="206" y="52"/>
                      </a:cubicBezTo>
                      <a:cubicBezTo>
                        <a:pt x="206" y="52"/>
                        <a:pt x="206" y="52"/>
                        <a:pt x="205" y="52"/>
                      </a:cubicBezTo>
                      <a:cubicBezTo>
                        <a:pt x="205" y="52"/>
                        <a:pt x="205" y="52"/>
                        <a:pt x="205" y="52"/>
                      </a:cubicBezTo>
                      <a:cubicBezTo>
                        <a:pt x="205" y="52"/>
                        <a:pt x="205" y="53"/>
                        <a:pt x="205" y="52"/>
                      </a:cubicBezTo>
                      <a:cubicBezTo>
                        <a:pt x="205" y="52"/>
                        <a:pt x="205" y="52"/>
                        <a:pt x="205" y="52"/>
                      </a:cubicBezTo>
                      <a:cubicBezTo>
                        <a:pt x="205" y="52"/>
                        <a:pt x="204" y="52"/>
                        <a:pt x="204" y="52"/>
                      </a:cubicBezTo>
                      <a:cubicBezTo>
                        <a:pt x="204" y="52"/>
                        <a:pt x="204" y="52"/>
                        <a:pt x="204" y="52"/>
                      </a:cubicBezTo>
                      <a:cubicBezTo>
                        <a:pt x="204" y="52"/>
                        <a:pt x="204" y="52"/>
                        <a:pt x="204" y="53"/>
                      </a:cubicBezTo>
                      <a:cubicBezTo>
                        <a:pt x="204" y="53"/>
                        <a:pt x="204" y="53"/>
                        <a:pt x="204" y="53"/>
                      </a:cubicBezTo>
                      <a:cubicBezTo>
                        <a:pt x="204" y="53"/>
                        <a:pt x="204" y="53"/>
                        <a:pt x="204" y="53"/>
                      </a:cubicBezTo>
                      <a:cubicBezTo>
                        <a:pt x="204" y="53"/>
                        <a:pt x="203" y="54"/>
                        <a:pt x="204" y="53"/>
                      </a:cubicBezTo>
                      <a:cubicBezTo>
                        <a:pt x="204" y="53"/>
                        <a:pt x="204" y="53"/>
                        <a:pt x="204" y="53"/>
                      </a:cubicBezTo>
                      <a:cubicBezTo>
                        <a:pt x="204" y="52"/>
                        <a:pt x="204" y="52"/>
                        <a:pt x="204" y="52"/>
                      </a:cubicBezTo>
                      <a:cubicBezTo>
                        <a:pt x="204" y="52"/>
                        <a:pt x="203" y="52"/>
                        <a:pt x="203" y="52"/>
                      </a:cubicBezTo>
                      <a:cubicBezTo>
                        <a:pt x="203" y="53"/>
                        <a:pt x="203" y="53"/>
                        <a:pt x="203" y="53"/>
                      </a:cubicBezTo>
                      <a:cubicBezTo>
                        <a:pt x="203" y="53"/>
                        <a:pt x="203" y="52"/>
                        <a:pt x="203" y="52"/>
                      </a:cubicBezTo>
                      <a:cubicBezTo>
                        <a:pt x="203" y="52"/>
                        <a:pt x="203" y="52"/>
                        <a:pt x="203" y="52"/>
                      </a:cubicBezTo>
                      <a:cubicBezTo>
                        <a:pt x="203" y="52"/>
                        <a:pt x="203" y="52"/>
                        <a:pt x="203" y="52"/>
                      </a:cubicBezTo>
                      <a:cubicBezTo>
                        <a:pt x="203" y="52"/>
                        <a:pt x="202" y="52"/>
                        <a:pt x="202" y="52"/>
                      </a:cubicBezTo>
                      <a:cubicBezTo>
                        <a:pt x="203" y="52"/>
                        <a:pt x="203" y="52"/>
                        <a:pt x="202" y="52"/>
                      </a:cubicBezTo>
                      <a:cubicBezTo>
                        <a:pt x="202" y="52"/>
                        <a:pt x="202" y="52"/>
                        <a:pt x="202" y="52"/>
                      </a:cubicBezTo>
                      <a:cubicBezTo>
                        <a:pt x="202" y="52"/>
                        <a:pt x="202" y="52"/>
                        <a:pt x="202" y="52"/>
                      </a:cubicBezTo>
                      <a:cubicBezTo>
                        <a:pt x="201" y="52"/>
                        <a:pt x="201" y="52"/>
                        <a:pt x="201" y="52"/>
                      </a:cubicBezTo>
                      <a:cubicBezTo>
                        <a:pt x="201" y="52"/>
                        <a:pt x="201" y="52"/>
                        <a:pt x="201" y="52"/>
                      </a:cubicBezTo>
                      <a:cubicBezTo>
                        <a:pt x="201" y="52"/>
                        <a:pt x="201" y="52"/>
                        <a:pt x="201" y="53"/>
                      </a:cubicBezTo>
                      <a:cubicBezTo>
                        <a:pt x="201" y="53"/>
                        <a:pt x="201" y="53"/>
                        <a:pt x="201" y="53"/>
                      </a:cubicBezTo>
                      <a:cubicBezTo>
                        <a:pt x="201" y="53"/>
                        <a:pt x="200" y="53"/>
                        <a:pt x="200" y="53"/>
                      </a:cubicBezTo>
                      <a:cubicBezTo>
                        <a:pt x="200" y="53"/>
                        <a:pt x="199" y="53"/>
                        <a:pt x="199" y="53"/>
                      </a:cubicBezTo>
                      <a:cubicBezTo>
                        <a:pt x="199" y="53"/>
                        <a:pt x="199" y="54"/>
                        <a:pt x="199" y="54"/>
                      </a:cubicBezTo>
                      <a:cubicBezTo>
                        <a:pt x="199" y="54"/>
                        <a:pt x="199" y="54"/>
                        <a:pt x="199" y="54"/>
                      </a:cubicBezTo>
                      <a:cubicBezTo>
                        <a:pt x="199" y="54"/>
                        <a:pt x="199" y="54"/>
                        <a:pt x="200" y="54"/>
                      </a:cubicBezTo>
                      <a:cubicBezTo>
                        <a:pt x="200" y="54"/>
                        <a:pt x="199" y="54"/>
                        <a:pt x="199" y="54"/>
                      </a:cubicBezTo>
                      <a:cubicBezTo>
                        <a:pt x="199" y="54"/>
                        <a:pt x="199" y="54"/>
                        <a:pt x="199" y="55"/>
                      </a:cubicBezTo>
                      <a:cubicBezTo>
                        <a:pt x="198" y="55"/>
                        <a:pt x="198" y="55"/>
                        <a:pt x="198" y="55"/>
                      </a:cubicBezTo>
                      <a:cubicBezTo>
                        <a:pt x="198" y="55"/>
                        <a:pt x="198" y="55"/>
                        <a:pt x="198" y="55"/>
                      </a:cubicBezTo>
                      <a:cubicBezTo>
                        <a:pt x="198" y="54"/>
                        <a:pt x="198" y="54"/>
                        <a:pt x="198" y="54"/>
                      </a:cubicBezTo>
                      <a:cubicBezTo>
                        <a:pt x="198" y="54"/>
                        <a:pt x="197" y="55"/>
                        <a:pt x="197" y="55"/>
                      </a:cubicBezTo>
                      <a:cubicBezTo>
                        <a:pt x="197" y="55"/>
                        <a:pt x="197" y="55"/>
                        <a:pt x="197" y="54"/>
                      </a:cubicBezTo>
                      <a:cubicBezTo>
                        <a:pt x="197" y="54"/>
                        <a:pt x="197" y="54"/>
                        <a:pt x="197" y="54"/>
                      </a:cubicBezTo>
                      <a:cubicBezTo>
                        <a:pt x="198" y="54"/>
                        <a:pt x="198" y="54"/>
                        <a:pt x="198" y="54"/>
                      </a:cubicBezTo>
                      <a:cubicBezTo>
                        <a:pt x="197" y="54"/>
                        <a:pt x="197" y="54"/>
                        <a:pt x="197" y="54"/>
                      </a:cubicBezTo>
                      <a:cubicBezTo>
                        <a:pt x="197" y="54"/>
                        <a:pt x="197" y="54"/>
                        <a:pt x="197" y="54"/>
                      </a:cubicBezTo>
                      <a:cubicBezTo>
                        <a:pt x="197" y="54"/>
                        <a:pt x="196" y="54"/>
                        <a:pt x="196" y="54"/>
                      </a:cubicBezTo>
                      <a:cubicBezTo>
                        <a:pt x="196" y="55"/>
                        <a:pt x="196" y="55"/>
                        <a:pt x="196" y="55"/>
                      </a:cubicBezTo>
                      <a:cubicBezTo>
                        <a:pt x="196" y="54"/>
                        <a:pt x="196" y="54"/>
                        <a:pt x="196" y="54"/>
                      </a:cubicBezTo>
                      <a:cubicBezTo>
                        <a:pt x="196" y="54"/>
                        <a:pt x="195" y="55"/>
                        <a:pt x="195" y="55"/>
                      </a:cubicBezTo>
                      <a:cubicBezTo>
                        <a:pt x="195" y="55"/>
                        <a:pt x="195" y="55"/>
                        <a:pt x="195" y="55"/>
                      </a:cubicBezTo>
                      <a:cubicBezTo>
                        <a:pt x="195" y="55"/>
                        <a:pt x="195" y="55"/>
                        <a:pt x="195" y="55"/>
                      </a:cubicBezTo>
                      <a:cubicBezTo>
                        <a:pt x="195" y="55"/>
                        <a:pt x="196" y="55"/>
                        <a:pt x="196" y="55"/>
                      </a:cubicBezTo>
                      <a:cubicBezTo>
                        <a:pt x="196" y="55"/>
                        <a:pt x="196" y="55"/>
                        <a:pt x="195" y="56"/>
                      </a:cubicBezTo>
                      <a:cubicBezTo>
                        <a:pt x="194" y="56"/>
                        <a:pt x="194" y="56"/>
                        <a:pt x="194" y="56"/>
                      </a:cubicBezTo>
                      <a:cubicBezTo>
                        <a:pt x="194" y="56"/>
                        <a:pt x="194" y="56"/>
                        <a:pt x="193" y="56"/>
                      </a:cubicBezTo>
                      <a:cubicBezTo>
                        <a:pt x="193" y="56"/>
                        <a:pt x="193" y="56"/>
                        <a:pt x="193" y="56"/>
                      </a:cubicBezTo>
                      <a:cubicBezTo>
                        <a:pt x="193" y="56"/>
                        <a:pt x="192" y="57"/>
                        <a:pt x="192" y="57"/>
                      </a:cubicBezTo>
                      <a:cubicBezTo>
                        <a:pt x="192" y="57"/>
                        <a:pt x="192" y="57"/>
                        <a:pt x="192" y="57"/>
                      </a:cubicBezTo>
                      <a:cubicBezTo>
                        <a:pt x="192" y="57"/>
                        <a:pt x="193" y="57"/>
                        <a:pt x="193" y="57"/>
                      </a:cubicBezTo>
                      <a:cubicBezTo>
                        <a:pt x="193" y="57"/>
                        <a:pt x="193" y="56"/>
                        <a:pt x="194" y="56"/>
                      </a:cubicBezTo>
                      <a:cubicBezTo>
                        <a:pt x="194" y="56"/>
                        <a:pt x="195" y="56"/>
                        <a:pt x="195" y="56"/>
                      </a:cubicBezTo>
                      <a:cubicBezTo>
                        <a:pt x="195" y="56"/>
                        <a:pt x="196" y="56"/>
                        <a:pt x="196" y="56"/>
                      </a:cubicBezTo>
                      <a:cubicBezTo>
                        <a:pt x="196" y="56"/>
                        <a:pt x="196" y="56"/>
                        <a:pt x="197" y="56"/>
                      </a:cubicBezTo>
                      <a:cubicBezTo>
                        <a:pt x="197" y="56"/>
                        <a:pt x="197" y="56"/>
                        <a:pt x="197" y="56"/>
                      </a:cubicBezTo>
                      <a:cubicBezTo>
                        <a:pt x="197" y="56"/>
                        <a:pt x="198" y="55"/>
                        <a:pt x="198" y="56"/>
                      </a:cubicBezTo>
                      <a:cubicBezTo>
                        <a:pt x="198" y="56"/>
                        <a:pt x="198" y="56"/>
                        <a:pt x="198" y="56"/>
                      </a:cubicBezTo>
                      <a:cubicBezTo>
                        <a:pt x="198" y="56"/>
                        <a:pt x="198" y="57"/>
                        <a:pt x="197" y="56"/>
                      </a:cubicBezTo>
                      <a:cubicBezTo>
                        <a:pt x="197" y="56"/>
                        <a:pt x="197" y="56"/>
                        <a:pt x="197" y="56"/>
                      </a:cubicBezTo>
                      <a:cubicBezTo>
                        <a:pt x="197" y="56"/>
                        <a:pt x="197" y="56"/>
                        <a:pt x="197" y="56"/>
                      </a:cubicBezTo>
                      <a:cubicBezTo>
                        <a:pt x="197" y="56"/>
                        <a:pt x="196" y="56"/>
                        <a:pt x="196" y="56"/>
                      </a:cubicBezTo>
                      <a:cubicBezTo>
                        <a:pt x="196" y="56"/>
                        <a:pt x="196" y="56"/>
                        <a:pt x="196" y="57"/>
                      </a:cubicBezTo>
                      <a:cubicBezTo>
                        <a:pt x="195" y="57"/>
                        <a:pt x="195" y="57"/>
                        <a:pt x="195" y="57"/>
                      </a:cubicBezTo>
                      <a:cubicBezTo>
                        <a:pt x="195" y="57"/>
                        <a:pt x="196" y="57"/>
                        <a:pt x="196" y="57"/>
                      </a:cubicBezTo>
                      <a:cubicBezTo>
                        <a:pt x="196" y="57"/>
                        <a:pt x="195" y="57"/>
                        <a:pt x="195" y="58"/>
                      </a:cubicBezTo>
                      <a:cubicBezTo>
                        <a:pt x="195" y="58"/>
                        <a:pt x="195" y="58"/>
                        <a:pt x="194" y="58"/>
                      </a:cubicBezTo>
                      <a:cubicBezTo>
                        <a:pt x="194" y="59"/>
                        <a:pt x="194" y="59"/>
                        <a:pt x="194" y="59"/>
                      </a:cubicBezTo>
                      <a:cubicBezTo>
                        <a:pt x="193" y="59"/>
                        <a:pt x="193" y="60"/>
                        <a:pt x="193" y="60"/>
                      </a:cubicBezTo>
                      <a:cubicBezTo>
                        <a:pt x="193" y="60"/>
                        <a:pt x="192" y="60"/>
                        <a:pt x="192" y="61"/>
                      </a:cubicBezTo>
                      <a:cubicBezTo>
                        <a:pt x="192" y="61"/>
                        <a:pt x="192" y="61"/>
                        <a:pt x="192" y="61"/>
                      </a:cubicBezTo>
                      <a:cubicBezTo>
                        <a:pt x="192" y="62"/>
                        <a:pt x="191" y="62"/>
                        <a:pt x="191" y="62"/>
                      </a:cubicBezTo>
                      <a:cubicBezTo>
                        <a:pt x="191" y="62"/>
                        <a:pt x="191" y="63"/>
                        <a:pt x="191" y="63"/>
                      </a:cubicBezTo>
                      <a:cubicBezTo>
                        <a:pt x="190" y="63"/>
                        <a:pt x="190" y="63"/>
                        <a:pt x="190" y="63"/>
                      </a:cubicBezTo>
                      <a:cubicBezTo>
                        <a:pt x="190" y="63"/>
                        <a:pt x="189" y="63"/>
                        <a:pt x="189" y="63"/>
                      </a:cubicBezTo>
                      <a:cubicBezTo>
                        <a:pt x="189" y="63"/>
                        <a:pt x="189" y="63"/>
                        <a:pt x="189" y="63"/>
                      </a:cubicBezTo>
                      <a:cubicBezTo>
                        <a:pt x="189" y="63"/>
                        <a:pt x="190" y="64"/>
                        <a:pt x="190" y="64"/>
                      </a:cubicBezTo>
                      <a:cubicBezTo>
                        <a:pt x="190" y="64"/>
                        <a:pt x="190" y="64"/>
                        <a:pt x="190" y="64"/>
                      </a:cubicBezTo>
                      <a:cubicBezTo>
                        <a:pt x="190" y="64"/>
                        <a:pt x="189" y="64"/>
                        <a:pt x="189" y="64"/>
                      </a:cubicBezTo>
                      <a:cubicBezTo>
                        <a:pt x="188" y="65"/>
                        <a:pt x="188" y="65"/>
                        <a:pt x="188" y="65"/>
                      </a:cubicBezTo>
                      <a:cubicBezTo>
                        <a:pt x="188" y="65"/>
                        <a:pt x="188" y="65"/>
                        <a:pt x="188" y="65"/>
                      </a:cubicBezTo>
                      <a:cubicBezTo>
                        <a:pt x="188" y="66"/>
                        <a:pt x="188" y="66"/>
                        <a:pt x="188" y="66"/>
                      </a:cubicBezTo>
                      <a:cubicBezTo>
                        <a:pt x="188" y="66"/>
                        <a:pt x="189" y="66"/>
                        <a:pt x="189" y="66"/>
                      </a:cubicBezTo>
                      <a:cubicBezTo>
                        <a:pt x="189" y="66"/>
                        <a:pt x="189" y="66"/>
                        <a:pt x="189" y="66"/>
                      </a:cubicBezTo>
                      <a:cubicBezTo>
                        <a:pt x="189" y="66"/>
                        <a:pt x="190" y="66"/>
                        <a:pt x="190" y="65"/>
                      </a:cubicBezTo>
                      <a:cubicBezTo>
                        <a:pt x="189" y="65"/>
                        <a:pt x="190" y="65"/>
                        <a:pt x="190" y="65"/>
                      </a:cubicBezTo>
                      <a:cubicBezTo>
                        <a:pt x="190" y="65"/>
                        <a:pt x="190" y="65"/>
                        <a:pt x="190" y="65"/>
                      </a:cubicBezTo>
                      <a:cubicBezTo>
                        <a:pt x="190" y="65"/>
                        <a:pt x="190" y="65"/>
                        <a:pt x="190" y="66"/>
                      </a:cubicBezTo>
                      <a:cubicBezTo>
                        <a:pt x="190" y="66"/>
                        <a:pt x="190" y="66"/>
                        <a:pt x="190" y="66"/>
                      </a:cubicBezTo>
                      <a:cubicBezTo>
                        <a:pt x="190" y="66"/>
                        <a:pt x="190" y="66"/>
                        <a:pt x="189" y="66"/>
                      </a:cubicBezTo>
                      <a:cubicBezTo>
                        <a:pt x="189" y="66"/>
                        <a:pt x="189" y="66"/>
                        <a:pt x="189" y="66"/>
                      </a:cubicBezTo>
                      <a:cubicBezTo>
                        <a:pt x="189" y="66"/>
                        <a:pt x="189" y="67"/>
                        <a:pt x="189" y="67"/>
                      </a:cubicBezTo>
                      <a:cubicBezTo>
                        <a:pt x="188" y="66"/>
                        <a:pt x="188" y="66"/>
                        <a:pt x="188" y="66"/>
                      </a:cubicBezTo>
                      <a:cubicBezTo>
                        <a:pt x="188" y="67"/>
                        <a:pt x="188" y="66"/>
                        <a:pt x="188" y="66"/>
                      </a:cubicBezTo>
                      <a:cubicBezTo>
                        <a:pt x="187" y="66"/>
                        <a:pt x="187" y="66"/>
                        <a:pt x="187" y="66"/>
                      </a:cubicBezTo>
                      <a:cubicBezTo>
                        <a:pt x="187" y="66"/>
                        <a:pt x="187" y="66"/>
                        <a:pt x="186" y="66"/>
                      </a:cubicBezTo>
                      <a:cubicBezTo>
                        <a:pt x="186" y="66"/>
                        <a:pt x="186" y="66"/>
                        <a:pt x="186" y="66"/>
                      </a:cubicBezTo>
                      <a:cubicBezTo>
                        <a:pt x="186" y="66"/>
                        <a:pt x="186" y="66"/>
                        <a:pt x="185" y="66"/>
                      </a:cubicBezTo>
                      <a:cubicBezTo>
                        <a:pt x="185" y="66"/>
                        <a:pt x="185" y="66"/>
                        <a:pt x="185" y="66"/>
                      </a:cubicBezTo>
                      <a:cubicBezTo>
                        <a:pt x="185" y="66"/>
                        <a:pt x="185" y="66"/>
                        <a:pt x="184" y="66"/>
                      </a:cubicBezTo>
                      <a:cubicBezTo>
                        <a:pt x="184" y="67"/>
                        <a:pt x="184" y="67"/>
                        <a:pt x="184" y="67"/>
                      </a:cubicBezTo>
                      <a:cubicBezTo>
                        <a:pt x="184" y="67"/>
                        <a:pt x="184" y="67"/>
                        <a:pt x="183" y="67"/>
                      </a:cubicBezTo>
                      <a:cubicBezTo>
                        <a:pt x="183" y="67"/>
                        <a:pt x="183" y="68"/>
                        <a:pt x="183" y="68"/>
                      </a:cubicBezTo>
                      <a:cubicBezTo>
                        <a:pt x="183" y="68"/>
                        <a:pt x="183" y="68"/>
                        <a:pt x="182" y="68"/>
                      </a:cubicBezTo>
                      <a:cubicBezTo>
                        <a:pt x="182" y="68"/>
                        <a:pt x="182" y="68"/>
                        <a:pt x="182" y="68"/>
                      </a:cubicBezTo>
                      <a:cubicBezTo>
                        <a:pt x="182" y="68"/>
                        <a:pt x="182" y="68"/>
                        <a:pt x="181" y="69"/>
                      </a:cubicBezTo>
                      <a:cubicBezTo>
                        <a:pt x="181" y="69"/>
                        <a:pt x="181" y="69"/>
                        <a:pt x="181" y="69"/>
                      </a:cubicBezTo>
                      <a:cubicBezTo>
                        <a:pt x="181" y="69"/>
                        <a:pt x="180" y="69"/>
                        <a:pt x="181" y="69"/>
                      </a:cubicBezTo>
                      <a:cubicBezTo>
                        <a:pt x="181" y="69"/>
                        <a:pt x="181" y="69"/>
                        <a:pt x="180" y="69"/>
                      </a:cubicBezTo>
                      <a:cubicBezTo>
                        <a:pt x="180" y="70"/>
                        <a:pt x="180" y="70"/>
                        <a:pt x="180" y="70"/>
                      </a:cubicBezTo>
                      <a:cubicBezTo>
                        <a:pt x="180" y="70"/>
                        <a:pt x="180" y="70"/>
                        <a:pt x="180" y="70"/>
                      </a:cubicBezTo>
                      <a:cubicBezTo>
                        <a:pt x="181" y="70"/>
                        <a:pt x="181" y="71"/>
                        <a:pt x="180" y="71"/>
                      </a:cubicBezTo>
                      <a:cubicBezTo>
                        <a:pt x="180" y="71"/>
                        <a:pt x="180" y="71"/>
                        <a:pt x="180" y="71"/>
                      </a:cubicBezTo>
                      <a:cubicBezTo>
                        <a:pt x="180" y="71"/>
                        <a:pt x="180" y="71"/>
                        <a:pt x="180" y="71"/>
                      </a:cubicBezTo>
                      <a:cubicBezTo>
                        <a:pt x="180" y="72"/>
                        <a:pt x="180" y="72"/>
                        <a:pt x="180" y="72"/>
                      </a:cubicBezTo>
                      <a:cubicBezTo>
                        <a:pt x="180" y="72"/>
                        <a:pt x="180" y="73"/>
                        <a:pt x="180" y="73"/>
                      </a:cubicBezTo>
                      <a:cubicBezTo>
                        <a:pt x="180" y="73"/>
                        <a:pt x="181" y="73"/>
                        <a:pt x="181" y="73"/>
                      </a:cubicBezTo>
                      <a:cubicBezTo>
                        <a:pt x="181" y="74"/>
                        <a:pt x="180" y="73"/>
                        <a:pt x="180" y="74"/>
                      </a:cubicBezTo>
                      <a:cubicBezTo>
                        <a:pt x="180" y="74"/>
                        <a:pt x="180" y="74"/>
                        <a:pt x="180" y="74"/>
                      </a:cubicBezTo>
                      <a:cubicBezTo>
                        <a:pt x="181" y="75"/>
                        <a:pt x="181" y="74"/>
                        <a:pt x="181" y="74"/>
                      </a:cubicBezTo>
                      <a:cubicBezTo>
                        <a:pt x="181" y="74"/>
                        <a:pt x="181" y="74"/>
                        <a:pt x="181" y="74"/>
                      </a:cubicBezTo>
                      <a:cubicBezTo>
                        <a:pt x="182" y="74"/>
                        <a:pt x="181" y="74"/>
                        <a:pt x="181" y="74"/>
                      </a:cubicBezTo>
                      <a:cubicBezTo>
                        <a:pt x="181" y="75"/>
                        <a:pt x="181" y="74"/>
                        <a:pt x="181" y="75"/>
                      </a:cubicBezTo>
                      <a:cubicBezTo>
                        <a:pt x="181" y="75"/>
                        <a:pt x="181" y="76"/>
                        <a:pt x="181" y="76"/>
                      </a:cubicBezTo>
                      <a:cubicBezTo>
                        <a:pt x="181" y="76"/>
                        <a:pt x="181" y="75"/>
                        <a:pt x="181" y="75"/>
                      </a:cubicBezTo>
                      <a:cubicBezTo>
                        <a:pt x="181" y="75"/>
                        <a:pt x="182" y="75"/>
                        <a:pt x="182" y="75"/>
                      </a:cubicBezTo>
                      <a:cubicBezTo>
                        <a:pt x="182" y="75"/>
                        <a:pt x="182" y="75"/>
                        <a:pt x="182" y="75"/>
                      </a:cubicBezTo>
                      <a:cubicBezTo>
                        <a:pt x="182" y="75"/>
                        <a:pt x="182" y="75"/>
                        <a:pt x="182" y="76"/>
                      </a:cubicBezTo>
                      <a:cubicBezTo>
                        <a:pt x="181" y="76"/>
                        <a:pt x="181" y="76"/>
                        <a:pt x="181" y="76"/>
                      </a:cubicBezTo>
                      <a:cubicBezTo>
                        <a:pt x="181" y="76"/>
                        <a:pt x="181" y="77"/>
                        <a:pt x="181" y="77"/>
                      </a:cubicBezTo>
                      <a:cubicBezTo>
                        <a:pt x="181" y="77"/>
                        <a:pt x="182" y="77"/>
                        <a:pt x="182" y="77"/>
                      </a:cubicBezTo>
                      <a:cubicBezTo>
                        <a:pt x="182" y="77"/>
                        <a:pt x="183" y="78"/>
                        <a:pt x="183" y="78"/>
                      </a:cubicBezTo>
                      <a:cubicBezTo>
                        <a:pt x="183" y="78"/>
                        <a:pt x="184" y="78"/>
                        <a:pt x="184" y="78"/>
                      </a:cubicBezTo>
                      <a:cubicBezTo>
                        <a:pt x="185" y="78"/>
                        <a:pt x="185" y="78"/>
                        <a:pt x="186" y="77"/>
                      </a:cubicBezTo>
                      <a:cubicBezTo>
                        <a:pt x="186" y="77"/>
                        <a:pt x="187" y="76"/>
                        <a:pt x="187" y="76"/>
                      </a:cubicBezTo>
                      <a:cubicBezTo>
                        <a:pt x="187" y="76"/>
                        <a:pt x="188" y="76"/>
                        <a:pt x="188" y="76"/>
                      </a:cubicBezTo>
                      <a:cubicBezTo>
                        <a:pt x="188" y="76"/>
                        <a:pt x="189" y="76"/>
                        <a:pt x="189" y="75"/>
                      </a:cubicBezTo>
                      <a:cubicBezTo>
                        <a:pt x="189" y="75"/>
                        <a:pt x="189" y="75"/>
                        <a:pt x="189" y="75"/>
                      </a:cubicBezTo>
                      <a:cubicBezTo>
                        <a:pt x="189" y="75"/>
                        <a:pt x="189" y="74"/>
                        <a:pt x="189" y="74"/>
                      </a:cubicBezTo>
                      <a:cubicBezTo>
                        <a:pt x="189" y="74"/>
                        <a:pt x="189" y="74"/>
                        <a:pt x="189" y="74"/>
                      </a:cubicBezTo>
                      <a:cubicBezTo>
                        <a:pt x="189" y="74"/>
                        <a:pt x="189" y="75"/>
                        <a:pt x="189" y="75"/>
                      </a:cubicBezTo>
                      <a:cubicBezTo>
                        <a:pt x="189" y="75"/>
                        <a:pt x="189" y="76"/>
                        <a:pt x="189" y="76"/>
                      </a:cubicBezTo>
                      <a:cubicBezTo>
                        <a:pt x="189" y="76"/>
                        <a:pt x="190" y="76"/>
                        <a:pt x="190" y="76"/>
                      </a:cubicBezTo>
                      <a:cubicBezTo>
                        <a:pt x="190" y="77"/>
                        <a:pt x="190" y="78"/>
                        <a:pt x="190" y="78"/>
                      </a:cubicBezTo>
                      <a:cubicBezTo>
                        <a:pt x="191" y="78"/>
                        <a:pt x="191" y="80"/>
                        <a:pt x="191" y="80"/>
                      </a:cubicBezTo>
                      <a:cubicBezTo>
                        <a:pt x="192" y="80"/>
                        <a:pt x="192" y="81"/>
                        <a:pt x="192" y="81"/>
                      </a:cubicBezTo>
                      <a:cubicBezTo>
                        <a:pt x="192" y="81"/>
                        <a:pt x="192" y="81"/>
                        <a:pt x="192" y="81"/>
                      </a:cubicBezTo>
                      <a:cubicBezTo>
                        <a:pt x="192" y="81"/>
                        <a:pt x="192" y="81"/>
                        <a:pt x="192" y="81"/>
                      </a:cubicBezTo>
                      <a:cubicBezTo>
                        <a:pt x="192" y="82"/>
                        <a:pt x="192" y="82"/>
                        <a:pt x="192" y="82"/>
                      </a:cubicBezTo>
                      <a:cubicBezTo>
                        <a:pt x="192" y="82"/>
                        <a:pt x="192" y="82"/>
                        <a:pt x="192" y="82"/>
                      </a:cubicBezTo>
                      <a:cubicBezTo>
                        <a:pt x="192" y="83"/>
                        <a:pt x="193" y="83"/>
                        <a:pt x="193" y="83"/>
                      </a:cubicBezTo>
                      <a:cubicBezTo>
                        <a:pt x="192" y="83"/>
                        <a:pt x="192" y="84"/>
                        <a:pt x="192" y="84"/>
                      </a:cubicBezTo>
                      <a:cubicBezTo>
                        <a:pt x="193" y="84"/>
                        <a:pt x="193" y="84"/>
                        <a:pt x="193" y="84"/>
                      </a:cubicBezTo>
                      <a:cubicBezTo>
                        <a:pt x="193" y="84"/>
                        <a:pt x="194" y="84"/>
                        <a:pt x="194" y="84"/>
                      </a:cubicBezTo>
                      <a:cubicBezTo>
                        <a:pt x="194" y="84"/>
                        <a:pt x="194" y="84"/>
                        <a:pt x="195" y="84"/>
                      </a:cubicBezTo>
                      <a:cubicBezTo>
                        <a:pt x="195" y="83"/>
                        <a:pt x="195" y="83"/>
                        <a:pt x="195" y="83"/>
                      </a:cubicBezTo>
                      <a:cubicBezTo>
                        <a:pt x="194" y="83"/>
                        <a:pt x="194" y="83"/>
                        <a:pt x="195" y="83"/>
                      </a:cubicBezTo>
                      <a:cubicBezTo>
                        <a:pt x="195" y="83"/>
                        <a:pt x="195" y="82"/>
                        <a:pt x="195" y="82"/>
                      </a:cubicBezTo>
                      <a:cubicBezTo>
                        <a:pt x="195" y="82"/>
                        <a:pt x="195" y="82"/>
                        <a:pt x="195" y="82"/>
                      </a:cubicBezTo>
                      <a:cubicBezTo>
                        <a:pt x="196" y="82"/>
                        <a:pt x="196" y="82"/>
                        <a:pt x="196" y="82"/>
                      </a:cubicBezTo>
                      <a:cubicBezTo>
                        <a:pt x="197" y="82"/>
                        <a:pt x="197" y="82"/>
                        <a:pt x="197" y="82"/>
                      </a:cubicBezTo>
                      <a:cubicBezTo>
                        <a:pt x="197" y="82"/>
                        <a:pt x="198" y="81"/>
                        <a:pt x="198" y="81"/>
                      </a:cubicBezTo>
                      <a:cubicBezTo>
                        <a:pt x="198" y="81"/>
                        <a:pt x="198" y="80"/>
                        <a:pt x="198" y="80"/>
                      </a:cubicBezTo>
                      <a:cubicBezTo>
                        <a:pt x="198" y="80"/>
                        <a:pt x="198" y="79"/>
                        <a:pt x="198" y="79"/>
                      </a:cubicBezTo>
                      <a:cubicBezTo>
                        <a:pt x="198" y="79"/>
                        <a:pt x="199" y="78"/>
                        <a:pt x="199" y="78"/>
                      </a:cubicBezTo>
                      <a:cubicBezTo>
                        <a:pt x="199" y="78"/>
                        <a:pt x="198" y="77"/>
                        <a:pt x="199" y="77"/>
                      </a:cubicBezTo>
                      <a:cubicBezTo>
                        <a:pt x="199" y="77"/>
                        <a:pt x="199" y="76"/>
                        <a:pt x="199" y="76"/>
                      </a:cubicBezTo>
                      <a:cubicBezTo>
                        <a:pt x="199" y="76"/>
                        <a:pt x="200" y="76"/>
                        <a:pt x="200" y="76"/>
                      </a:cubicBezTo>
                      <a:cubicBezTo>
                        <a:pt x="200" y="76"/>
                        <a:pt x="201" y="75"/>
                        <a:pt x="201" y="75"/>
                      </a:cubicBezTo>
                      <a:cubicBezTo>
                        <a:pt x="201" y="75"/>
                        <a:pt x="201" y="75"/>
                        <a:pt x="202" y="75"/>
                      </a:cubicBezTo>
                      <a:cubicBezTo>
                        <a:pt x="202" y="74"/>
                        <a:pt x="202" y="74"/>
                        <a:pt x="202" y="74"/>
                      </a:cubicBezTo>
                      <a:cubicBezTo>
                        <a:pt x="202" y="74"/>
                        <a:pt x="201" y="74"/>
                        <a:pt x="201" y="73"/>
                      </a:cubicBezTo>
                      <a:cubicBezTo>
                        <a:pt x="201" y="73"/>
                        <a:pt x="201" y="73"/>
                        <a:pt x="201" y="73"/>
                      </a:cubicBezTo>
                      <a:cubicBezTo>
                        <a:pt x="201" y="73"/>
                        <a:pt x="201" y="73"/>
                        <a:pt x="201" y="73"/>
                      </a:cubicBezTo>
                      <a:cubicBezTo>
                        <a:pt x="201" y="73"/>
                        <a:pt x="201" y="73"/>
                        <a:pt x="200" y="73"/>
                      </a:cubicBezTo>
                      <a:cubicBezTo>
                        <a:pt x="200" y="73"/>
                        <a:pt x="200" y="73"/>
                        <a:pt x="200" y="73"/>
                      </a:cubicBezTo>
                      <a:cubicBezTo>
                        <a:pt x="200" y="73"/>
                        <a:pt x="200" y="72"/>
                        <a:pt x="200" y="72"/>
                      </a:cubicBezTo>
                      <a:cubicBezTo>
                        <a:pt x="199" y="72"/>
                        <a:pt x="199" y="72"/>
                        <a:pt x="199" y="72"/>
                      </a:cubicBezTo>
                      <a:cubicBezTo>
                        <a:pt x="199" y="72"/>
                        <a:pt x="199" y="71"/>
                        <a:pt x="199" y="71"/>
                      </a:cubicBezTo>
                      <a:cubicBezTo>
                        <a:pt x="199" y="71"/>
                        <a:pt x="199" y="70"/>
                        <a:pt x="199" y="70"/>
                      </a:cubicBezTo>
                      <a:cubicBezTo>
                        <a:pt x="199" y="70"/>
                        <a:pt x="199" y="70"/>
                        <a:pt x="199" y="70"/>
                      </a:cubicBezTo>
                      <a:cubicBezTo>
                        <a:pt x="199" y="70"/>
                        <a:pt x="199" y="70"/>
                        <a:pt x="199" y="69"/>
                      </a:cubicBezTo>
                      <a:cubicBezTo>
                        <a:pt x="199" y="69"/>
                        <a:pt x="200" y="69"/>
                        <a:pt x="200" y="69"/>
                      </a:cubicBezTo>
                      <a:cubicBezTo>
                        <a:pt x="200" y="68"/>
                        <a:pt x="200" y="68"/>
                        <a:pt x="201" y="68"/>
                      </a:cubicBezTo>
                      <a:cubicBezTo>
                        <a:pt x="201" y="67"/>
                        <a:pt x="201" y="67"/>
                        <a:pt x="202" y="67"/>
                      </a:cubicBezTo>
                      <a:cubicBezTo>
                        <a:pt x="202" y="67"/>
                        <a:pt x="202" y="67"/>
                        <a:pt x="202" y="66"/>
                      </a:cubicBezTo>
                      <a:cubicBezTo>
                        <a:pt x="203" y="66"/>
                        <a:pt x="203" y="66"/>
                        <a:pt x="203" y="66"/>
                      </a:cubicBezTo>
                      <a:cubicBezTo>
                        <a:pt x="203" y="66"/>
                        <a:pt x="203" y="66"/>
                        <a:pt x="204" y="66"/>
                      </a:cubicBezTo>
                      <a:cubicBezTo>
                        <a:pt x="204" y="66"/>
                        <a:pt x="204" y="66"/>
                        <a:pt x="205" y="65"/>
                      </a:cubicBezTo>
                      <a:cubicBezTo>
                        <a:pt x="205" y="65"/>
                        <a:pt x="205" y="64"/>
                        <a:pt x="205" y="64"/>
                      </a:cubicBezTo>
                      <a:cubicBezTo>
                        <a:pt x="206" y="64"/>
                        <a:pt x="206" y="64"/>
                        <a:pt x="206" y="64"/>
                      </a:cubicBezTo>
                      <a:cubicBezTo>
                        <a:pt x="205" y="64"/>
                        <a:pt x="205" y="63"/>
                        <a:pt x="205" y="63"/>
                      </a:cubicBezTo>
                      <a:cubicBezTo>
                        <a:pt x="205" y="63"/>
                        <a:pt x="206" y="63"/>
                        <a:pt x="206" y="63"/>
                      </a:cubicBezTo>
                      <a:cubicBezTo>
                        <a:pt x="206" y="63"/>
                        <a:pt x="206" y="62"/>
                        <a:pt x="206" y="62"/>
                      </a:cubicBezTo>
                      <a:cubicBezTo>
                        <a:pt x="206" y="62"/>
                        <a:pt x="207" y="62"/>
                        <a:pt x="207" y="62"/>
                      </a:cubicBezTo>
                      <a:cubicBezTo>
                        <a:pt x="207" y="62"/>
                        <a:pt x="207" y="61"/>
                        <a:pt x="207" y="61"/>
                      </a:cubicBezTo>
                      <a:cubicBezTo>
                        <a:pt x="207" y="61"/>
                        <a:pt x="208" y="61"/>
                        <a:pt x="208" y="61"/>
                      </a:cubicBezTo>
                      <a:cubicBezTo>
                        <a:pt x="208" y="61"/>
                        <a:pt x="209" y="61"/>
                        <a:pt x="209" y="61"/>
                      </a:cubicBezTo>
                      <a:cubicBezTo>
                        <a:pt x="209" y="61"/>
                        <a:pt x="210" y="61"/>
                        <a:pt x="210" y="61"/>
                      </a:cubicBezTo>
                      <a:cubicBezTo>
                        <a:pt x="210" y="61"/>
                        <a:pt x="211" y="62"/>
                        <a:pt x="211" y="62"/>
                      </a:cubicBezTo>
                      <a:cubicBezTo>
                        <a:pt x="211" y="62"/>
                        <a:pt x="212" y="62"/>
                        <a:pt x="211" y="62"/>
                      </a:cubicBezTo>
                      <a:cubicBezTo>
                        <a:pt x="211" y="62"/>
                        <a:pt x="211" y="63"/>
                        <a:pt x="211" y="63"/>
                      </a:cubicBezTo>
                      <a:cubicBezTo>
                        <a:pt x="211" y="63"/>
                        <a:pt x="211" y="63"/>
                        <a:pt x="211" y="63"/>
                      </a:cubicBezTo>
                      <a:cubicBezTo>
                        <a:pt x="211" y="63"/>
                        <a:pt x="211" y="63"/>
                        <a:pt x="211" y="63"/>
                      </a:cubicBezTo>
                      <a:cubicBezTo>
                        <a:pt x="210" y="63"/>
                        <a:pt x="210" y="63"/>
                        <a:pt x="210" y="63"/>
                      </a:cubicBezTo>
                      <a:cubicBezTo>
                        <a:pt x="210" y="64"/>
                        <a:pt x="210" y="64"/>
                        <a:pt x="210" y="64"/>
                      </a:cubicBezTo>
                      <a:cubicBezTo>
                        <a:pt x="210" y="64"/>
                        <a:pt x="208" y="65"/>
                        <a:pt x="208" y="65"/>
                      </a:cubicBezTo>
                      <a:cubicBezTo>
                        <a:pt x="208" y="66"/>
                        <a:pt x="208" y="65"/>
                        <a:pt x="208" y="65"/>
                      </a:cubicBezTo>
                      <a:cubicBezTo>
                        <a:pt x="207" y="66"/>
                        <a:pt x="207" y="66"/>
                        <a:pt x="207" y="66"/>
                      </a:cubicBezTo>
                      <a:cubicBezTo>
                        <a:pt x="207" y="66"/>
                        <a:pt x="207" y="66"/>
                        <a:pt x="207" y="67"/>
                      </a:cubicBezTo>
                      <a:cubicBezTo>
                        <a:pt x="207" y="67"/>
                        <a:pt x="207" y="67"/>
                        <a:pt x="206" y="67"/>
                      </a:cubicBezTo>
                      <a:cubicBezTo>
                        <a:pt x="206" y="67"/>
                        <a:pt x="206" y="67"/>
                        <a:pt x="206" y="67"/>
                      </a:cubicBezTo>
                      <a:cubicBezTo>
                        <a:pt x="206" y="67"/>
                        <a:pt x="206" y="68"/>
                        <a:pt x="205" y="68"/>
                      </a:cubicBezTo>
                      <a:cubicBezTo>
                        <a:pt x="205" y="68"/>
                        <a:pt x="205" y="68"/>
                        <a:pt x="205" y="68"/>
                      </a:cubicBezTo>
                      <a:cubicBezTo>
                        <a:pt x="205" y="69"/>
                        <a:pt x="205" y="69"/>
                        <a:pt x="205" y="69"/>
                      </a:cubicBezTo>
                      <a:cubicBezTo>
                        <a:pt x="206" y="70"/>
                        <a:pt x="206" y="70"/>
                        <a:pt x="206" y="70"/>
                      </a:cubicBezTo>
                      <a:cubicBezTo>
                        <a:pt x="206" y="71"/>
                        <a:pt x="206" y="72"/>
                        <a:pt x="205" y="72"/>
                      </a:cubicBezTo>
                      <a:cubicBezTo>
                        <a:pt x="205" y="72"/>
                        <a:pt x="205" y="72"/>
                        <a:pt x="205" y="73"/>
                      </a:cubicBezTo>
                      <a:cubicBezTo>
                        <a:pt x="206" y="73"/>
                        <a:pt x="206" y="73"/>
                        <a:pt x="206" y="73"/>
                      </a:cubicBezTo>
                      <a:cubicBezTo>
                        <a:pt x="206" y="73"/>
                        <a:pt x="207" y="74"/>
                        <a:pt x="207" y="74"/>
                      </a:cubicBezTo>
                      <a:cubicBezTo>
                        <a:pt x="207" y="74"/>
                        <a:pt x="208" y="74"/>
                        <a:pt x="208" y="74"/>
                      </a:cubicBezTo>
                      <a:cubicBezTo>
                        <a:pt x="208" y="74"/>
                        <a:pt x="208" y="74"/>
                        <a:pt x="208" y="74"/>
                      </a:cubicBezTo>
                      <a:cubicBezTo>
                        <a:pt x="209" y="74"/>
                        <a:pt x="209" y="74"/>
                        <a:pt x="210" y="74"/>
                      </a:cubicBezTo>
                      <a:cubicBezTo>
                        <a:pt x="210" y="74"/>
                        <a:pt x="210" y="74"/>
                        <a:pt x="211" y="74"/>
                      </a:cubicBezTo>
                      <a:cubicBezTo>
                        <a:pt x="211" y="74"/>
                        <a:pt x="211" y="73"/>
                        <a:pt x="212" y="73"/>
                      </a:cubicBezTo>
                      <a:cubicBezTo>
                        <a:pt x="213" y="73"/>
                        <a:pt x="213" y="73"/>
                        <a:pt x="213" y="73"/>
                      </a:cubicBezTo>
                      <a:cubicBezTo>
                        <a:pt x="213" y="73"/>
                        <a:pt x="214" y="73"/>
                        <a:pt x="214" y="73"/>
                      </a:cubicBezTo>
                      <a:cubicBezTo>
                        <a:pt x="215" y="73"/>
                        <a:pt x="216" y="73"/>
                        <a:pt x="216" y="73"/>
                      </a:cubicBezTo>
                      <a:cubicBezTo>
                        <a:pt x="216" y="72"/>
                        <a:pt x="217" y="72"/>
                        <a:pt x="216" y="72"/>
                      </a:cubicBezTo>
                      <a:cubicBezTo>
                        <a:pt x="216" y="73"/>
                        <a:pt x="216" y="73"/>
                        <a:pt x="217" y="73"/>
                      </a:cubicBezTo>
                      <a:cubicBezTo>
                        <a:pt x="217" y="73"/>
                        <a:pt x="217" y="73"/>
                        <a:pt x="217" y="73"/>
                      </a:cubicBezTo>
                      <a:cubicBezTo>
                        <a:pt x="218" y="73"/>
                        <a:pt x="218" y="74"/>
                        <a:pt x="218" y="74"/>
                      </a:cubicBezTo>
                      <a:cubicBezTo>
                        <a:pt x="219" y="74"/>
                        <a:pt x="219" y="74"/>
                        <a:pt x="218" y="74"/>
                      </a:cubicBezTo>
                      <a:cubicBezTo>
                        <a:pt x="218" y="74"/>
                        <a:pt x="217" y="74"/>
                        <a:pt x="217" y="74"/>
                      </a:cubicBezTo>
                      <a:cubicBezTo>
                        <a:pt x="217" y="74"/>
                        <a:pt x="217" y="74"/>
                        <a:pt x="217" y="74"/>
                      </a:cubicBezTo>
                      <a:cubicBezTo>
                        <a:pt x="217" y="74"/>
                        <a:pt x="217" y="74"/>
                        <a:pt x="217" y="74"/>
                      </a:cubicBezTo>
                      <a:cubicBezTo>
                        <a:pt x="216" y="74"/>
                        <a:pt x="216" y="74"/>
                        <a:pt x="216" y="74"/>
                      </a:cubicBezTo>
                      <a:cubicBezTo>
                        <a:pt x="216" y="75"/>
                        <a:pt x="216" y="74"/>
                        <a:pt x="216" y="74"/>
                      </a:cubicBezTo>
                      <a:cubicBezTo>
                        <a:pt x="216" y="74"/>
                        <a:pt x="216" y="75"/>
                        <a:pt x="215" y="75"/>
                      </a:cubicBezTo>
                      <a:cubicBezTo>
                        <a:pt x="215" y="75"/>
                        <a:pt x="214" y="75"/>
                        <a:pt x="214" y="75"/>
                      </a:cubicBezTo>
                      <a:cubicBezTo>
                        <a:pt x="214" y="75"/>
                        <a:pt x="212" y="75"/>
                        <a:pt x="212" y="75"/>
                      </a:cubicBezTo>
                      <a:cubicBezTo>
                        <a:pt x="212" y="75"/>
                        <a:pt x="211" y="75"/>
                        <a:pt x="211" y="75"/>
                      </a:cubicBezTo>
                      <a:cubicBezTo>
                        <a:pt x="211" y="75"/>
                        <a:pt x="210" y="75"/>
                        <a:pt x="210" y="75"/>
                      </a:cubicBezTo>
                      <a:cubicBezTo>
                        <a:pt x="210" y="75"/>
                        <a:pt x="209" y="75"/>
                        <a:pt x="209" y="75"/>
                      </a:cubicBezTo>
                      <a:cubicBezTo>
                        <a:pt x="209" y="76"/>
                        <a:pt x="209" y="76"/>
                        <a:pt x="209" y="76"/>
                      </a:cubicBezTo>
                      <a:cubicBezTo>
                        <a:pt x="208" y="76"/>
                        <a:pt x="208" y="76"/>
                        <a:pt x="208" y="76"/>
                      </a:cubicBezTo>
                      <a:cubicBezTo>
                        <a:pt x="209" y="76"/>
                        <a:pt x="209" y="77"/>
                        <a:pt x="209" y="77"/>
                      </a:cubicBezTo>
                      <a:cubicBezTo>
                        <a:pt x="209" y="77"/>
                        <a:pt x="210" y="78"/>
                        <a:pt x="210" y="78"/>
                      </a:cubicBezTo>
                      <a:cubicBezTo>
                        <a:pt x="210" y="78"/>
                        <a:pt x="210" y="78"/>
                        <a:pt x="210" y="78"/>
                      </a:cubicBezTo>
                      <a:cubicBezTo>
                        <a:pt x="210" y="78"/>
                        <a:pt x="210" y="79"/>
                        <a:pt x="210" y="79"/>
                      </a:cubicBezTo>
                      <a:cubicBezTo>
                        <a:pt x="210" y="79"/>
                        <a:pt x="210" y="80"/>
                        <a:pt x="210" y="80"/>
                      </a:cubicBezTo>
                      <a:cubicBezTo>
                        <a:pt x="210" y="80"/>
                        <a:pt x="209" y="80"/>
                        <a:pt x="209" y="80"/>
                      </a:cubicBezTo>
                      <a:cubicBezTo>
                        <a:pt x="209" y="81"/>
                        <a:pt x="209" y="81"/>
                        <a:pt x="209" y="80"/>
                      </a:cubicBezTo>
                      <a:cubicBezTo>
                        <a:pt x="209" y="80"/>
                        <a:pt x="208" y="80"/>
                        <a:pt x="208" y="80"/>
                      </a:cubicBezTo>
                      <a:cubicBezTo>
                        <a:pt x="208" y="80"/>
                        <a:pt x="208" y="80"/>
                        <a:pt x="208" y="80"/>
                      </a:cubicBezTo>
                      <a:cubicBezTo>
                        <a:pt x="208" y="79"/>
                        <a:pt x="207" y="79"/>
                        <a:pt x="207" y="79"/>
                      </a:cubicBezTo>
                      <a:cubicBezTo>
                        <a:pt x="207" y="79"/>
                        <a:pt x="207" y="79"/>
                        <a:pt x="207" y="79"/>
                      </a:cubicBezTo>
                      <a:cubicBezTo>
                        <a:pt x="207" y="79"/>
                        <a:pt x="207" y="79"/>
                        <a:pt x="206" y="79"/>
                      </a:cubicBezTo>
                      <a:cubicBezTo>
                        <a:pt x="206" y="79"/>
                        <a:pt x="206" y="79"/>
                        <a:pt x="206" y="79"/>
                      </a:cubicBezTo>
                      <a:cubicBezTo>
                        <a:pt x="206" y="79"/>
                        <a:pt x="205" y="80"/>
                        <a:pt x="205" y="80"/>
                      </a:cubicBezTo>
                      <a:cubicBezTo>
                        <a:pt x="206" y="80"/>
                        <a:pt x="206" y="80"/>
                        <a:pt x="205" y="80"/>
                      </a:cubicBezTo>
                      <a:cubicBezTo>
                        <a:pt x="205" y="80"/>
                        <a:pt x="205" y="80"/>
                        <a:pt x="205" y="81"/>
                      </a:cubicBezTo>
                      <a:cubicBezTo>
                        <a:pt x="205" y="81"/>
                        <a:pt x="205" y="82"/>
                        <a:pt x="205" y="82"/>
                      </a:cubicBezTo>
                      <a:cubicBezTo>
                        <a:pt x="205" y="82"/>
                        <a:pt x="205" y="83"/>
                        <a:pt x="205" y="83"/>
                      </a:cubicBezTo>
                      <a:cubicBezTo>
                        <a:pt x="205" y="83"/>
                        <a:pt x="205" y="84"/>
                        <a:pt x="205" y="84"/>
                      </a:cubicBezTo>
                      <a:cubicBezTo>
                        <a:pt x="205" y="84"/>
                        <a:pt x="204" y="85"/>
                        <a:pt x="204" y="85"/>
                      </a:cubicBezTo>
                      <a:cubicBezTo>
                        <a:pt x="204" y="85"/>
                        <a:pt x="204" y="85"/>
                        <a:pt x="204" y="85"/>
                      </a:cubicBezTo>
                      <a:cubicBezTo>
                        <a:pt x="203" y="85"/>
                        <a:pt x="203" y="85"/>
                        <a:pt x="203" y="85"/>
                      </a:cubicBezTo>
                      <a:cubicBezTo>
                        <a:pt x="203" y="85"/>
                        <a:pt x="203" y="86"/>
                        <a:pt x="203" y="86"/>
                      </a:cubicBezTo>
                      <a:cubicBezTo>
                        <a:pt x="203" y="86"/>
                        <a:pt x="202" y="86"/>
                        <a:pt x="202" y="86"/>
                      </a:cubicBezTo>
                      <a:cubicBezTo>
                        <a:pt x="202" y="86"/>
                        <a:pt x="201" y="86"/>
                        <a:pt x="201" y="86"/>
                      </a:cubicBezTo>
                      <a:cubicBezTo>
                        <a:pt x="201" y="85"/>
                        <a:pt x="201" y="85"/>
                        <a:pt x="201" y="85"/>
                      </a:cubicBezTo>
                      <a:cubicBezTo>
                        <a:pt x="201" y="85"/>
                        <a:pt x="200" y="85"/>
                        <a:pt x="200" y="85"/>
                      </a:cubicBezTo>
                      <a:cubicBezTo>
                        <a:pt x="199" y="85"/>
                        <a:pt x="199" y="85"/>
                        <a:pt x="199" y="85"/>
                      </a:cubicBezTo>
                      <a:cubicBezTo>
                        <a:pt x="199" y="85"/>
                        <a:pt x="198" y="86"/>
                        <a:pt x="198" y="86"/>
                      </a:cubicBezTo>
                      <a:cubicBezTo>
                        <a:pt x="198" y="86"/>
                        <a:pt x="198" y="86"/>
                        <a:pt x="197" y="86"/>
                      </a:cubicBezTo>
                      <a:cubicBezTo>
                        <a:pt x="197" y="86"/>
                        <a:pt x="197" y="86"/>
                        <a:pt x="196" y="87"/>
                      </a:cubicBezTo>
                      <a:cubicBezTo>
                        <a:pt x="195" y="87"/>
                        <a:pt x="195" y="87"/>
                        <a:pt x="195" y="87"/>
                      </a:cubicBezTo>
                      <a:cubicBezTo>
                        <a:pt x="195" y="87"/>
                        <a:pt x="194" y="87"/>
                        <a:pt x="194" y="87"/>
                      </a:cubicBezTo>
                      <a:cubicBezTo>
                        <a:pt x="194" y="87"/>
                        <a:pt x="194" y="86"/>
                        <a:pt x="193" y="86"/>
                      </a:cubicBezTo>
                      <a:cubicBezTo>
                        <a:pt x="193" y="86"/>
                        <a:pt x="193" y="86"/>
                        <a:pt x="193" y="86"/>
                      </a:cubicBezTo>
                      <a:cubicBezTo>
                        <a:pt x="193" y="86"/>
                        <a:pt x="193" y="86"/>
                        <a:pt x="193" y="86"/>
                      </a:cubicBezTo>
                      <a:cubicBezTo>
                        <a:pt x="194" y="86"/>
                        <a:pt x="194" y="85"/>
                        <a:pt x="193" y="85"/>
                      </a:cubicBezTo>
                      <a:cubicBezTo>
                        <a:pt x="193" y="85"/>
                        <a:pt x="193" y="85"/>
                        <a:pt x="193" y="86"/>
                      </a:cubicBezTo>
                      <a:cubicBezTo>
                        <a:pt x="193" y="86"/>
                        <a:pt x="192" y="86"/>
                        <a:pt x="192" y="86"/>
                      </a:cubicBezTo>
                      <a:cubicBezTo>
                        <a:pt x="192" y="86"/>
                        <a:pt x="192" y="86"/>
                        <a:pt x="192" y="86"/>
                      </a:cubicBezTo>
                      <a:cubicBezTo>
                        <a:pt x="192" y="86"/>
                        <a:pt x="192" y="86"/>
                        <a:pt x="191" y="86"/>
                      </a:cubicBezTo>
                      <a:cubicBezTo>
                        <a:pt x="191" y="86"/>
                        <a:pt x="191" y="86"/>
                        <a:pt x="191" y="86"/>
                      </a:cubicBezTo>
                      <a:cubicBezTo>
                        <a:pt x="191" y="86"/>
                        <a:pt x="190" y="86"/>
                        <a:pt x="190" y="87"/>
                      </a:cubicBezTo>
                      <a:cubicBezTo>
                        <a:pt x="190" y="87"/>
                        <a:pt x="190" y="87"/>
                        <a:pt x="190" y="87"/>
                      </a:cubicBezTo>
                      <a:cubicBezTo>
                        <a:pt x="190" y="87"/>
                        <a:pt x="189" y="87"/>
                        <a:pt x="189" y="87"/>
                      </a:cubicBezTo>
                      <a:cubicBezTo>
                        <a:pt x="190" y="86"/>
                        <a:pt x="190" y="86"/>
                        <a:pt x="190" y="86"/>
                      </a:cubicBezTo>
                      <a:cubicBezTo>
                        <a:pt x="190" y="86"/>
                        <a:pt x="190" y="86"/>
                        <a:pt x="190" y="86"/>
                      </a:cubicBezTo>
                      <a:cubicBezTo>
                        <a:pt x="190" y="86"/>
                        <a:pt x="190" y="86"/>
                        <a:pt x="189" y="86"/>
                      </a:cubicBezTo>
                      <a:cubicBezTo>
                        <a:pt x="189" y="86"/>
                        <a:pt x="189" y="86"/>
                        <a:pt x="189" y="86"/>
                      </a:cubicBezTo>
                      <a:cubicBezTo>
                        <a:pt x="189" y="86"/>
                        <a:pt x="188" y="86"/>
                        <a:pt x="188" y="86"/>
                      </a:cubicBezTo>
                      <a:cubicBezTo>
                        <a:pt x="188" y="85"/>
                        <a:pt x="188" y="85"/>
                        <a:pt x="188" y="85"/>
                      </a:cubicBezTo>
                      <a:cubicBezTo>
                        <a:pt x="188" y="85"/>
                        <a:pt x="188" y="85"/>
                        <a:pt x="188" y="85"/>
                      </a:cubicBezTo>
                      <a:cubicBezTo>
                        <a:pt x="188" y="85"/>
                        <a:pt x="188" y="85"/>
                        <a:pt x="187" y="84"/>
                      </a:cubicBezTo>
                      <a:cubicBezTo>
                        <a:pt x="187" y="84"/>
                        <a:pt x="188" y="84"/>
                        <a:pt x="188" y="84"/>
                      </a:cubicBezTo>
                      <a:cubicBezTo>
                        <a:pt x="188" y="83"/>
                        <a:pt x="188" y="83"/>
                        <a:pt x="188" y="83"/>
                      </a:cubicBezTo>
                      <a:cubicBezTo>
                        <a:pt x="188" y="83"/>
                        <a:pt x="188" y="83"/>
                        <a:pt x="188" y="83"/>
                      </a:cubicBezTo>
                      <a:cubicBezTo>
                        <a:pt x="188" y="82"/>
                        <a:pt x="188" y="82"/>
                        <a:pt x="189" y="82"/>
                      </a:cubicBezTo>
                      <a:cubicBezTo>
                        <a:pt x="189" y="82"/>
                        <a:pt x="189" y="82"/>
                        <a:pt x="189" y="82"/>
                      </a:cubicBezTo>
                      <a:cubicBezTo>
                        <a:pt x="189" y="82"/>
                        <a:pt x="189" y="81"/>
                        <a:pt x="189" y="81"/>
                      </a:cubicBezTo>
                      <a:cubicBezTo>
                        <a:pt x="189" y="81"/>
                        <a:pt x="189" y="81"/>
                        <a:pt x="189" y="81"/>
                      </a:cubicBezTo>
                      <a:cubicBezTo>
                        <a:pt x="189" y="81"/>
                        <a:pt x="189" y="81"/>
                        <a:pt x="188" y="81"/>
                      </a:cubicBezTo>
                      <a:cubicBezTo>
                        <a:pt x="188" y="80"/>
                        <a:pt x="188" y="80"/>
                        <a:pt x="189" y="80"/>
                      </a:cubicBezTo>
                      <a:cubicBezTo>
                        <a:pt x="189" y="80"/>
                        <a:pt x="189" y="80"/>
                        <a:pt x="189" y="79"/>
                      </a:cubicBezTo>
                      <a:cubicBezTo>
                        <a:pt x="189" y="79"/>
                        <a:pt x="189" y="79"/>
                        <a:pt x="189" y="79"/>
                      </a:cubicBezTo>
                      <a:cubicBezTo>
                        <a:pt x="189" y="79"/>
                        <a:pt x="188" y="79"/>
                        <a:pt x="188" y="79"/>
                      </a:cubicBezTo>
                      <a:cubicBezTo>
                        <a:pt x="188" y="79"/>
                        <a:pt x="188" y="79"/>
                        <a:pt x="188" y="79"/>
                      </a:cubicBezTo>
                      <a:cubicBezTo>
                        <a:pt x="188" y="79"/>
                        <a:pt x="187" y="80"/>
                        <a:pt x="187" y="80"/>
                      </a:cubicBezTo>
                      <a:cubicBezTo>
                        <a:pt x="187" y="80"/>
                        <a:pt x="187" y="80"/>
                        <a:pt x="187" y="80"/>
                      </a:cubicBezTo>
                      <a:cubicBezTo>
                        <a:pt x="186" y="80"/>
                        <a:pt x="186" y="80"/>
                        <a:pt x="186" y="80"/>
                      </a:cubicBezTo>
                      <a:cubicBezTo>
                        <a:pt x="186" y="80"/>
                        <a:pt x="185" y="80"/>
                        <a:pt x="185" y="81"/>
                      </a:cubicBezTo>
                      <a:cubicBezTo>
                        <a:pt x="185" y="81"/>
                        <a:pt x="186" y="81"/>
                        <a:pt x="186" y="81"/>
                      </a:cubicBezTo>
                      <a:cubicBezTo>
                        <a:pt x="186" y="81"/>
                        <a:pt x="186" y="81"/>
                        <a:pt x="186" y="81"/>
                      </a:cubicBezTo>
                      <a:cubicBezTo>
                        <a:pt x="186" y="81"/>
                        <a:pt x="186" y="81"/>
                        <a:pt x="186" y="81"/>
                      </a:cubicBezTo>
                      <a:cubicBezTo>
                        <a:pt x="185" y="81"/>
                        <a:pt x="185" y="81"/>
                        <a:pt x="185" y="81"/>
                      </a:cubicBezTo>
                      <a:cubicBezTo>
                        <a:pt x="185" y="81"/>
                        <a:pt x="185" y="82"/>
                        <a:pt x="185" y="82"/>
                      </a:cubicBezTo>
                      <a:cubicBezTo>
                        <a:pt x="185" y="82"/>
                        <a:pt x="186" y="83"/>
                        <a:pt x="185" y="83"/>
                      </a:cubicBezTo>
                      <a:cubicBezTo>
                        <a:pt x="185" y="83"/>
                        <a:pt x="185" y="83"/>
                        <a:pt x="185" y="83"/>
                      </a:cubicBezTo>
                      <a:cubicBezTo>
                        <a:pt x="185" y="84"/>
                        <a:pt x="186" y="84"/>
                        <a:pt x="186" y="84"/>
                      </a:cubicBezTo>
                      <a:cubicBezTo>
                        <a:pt x="186" y="85"/>
                        <a:pt x="185" y="85"/>
                        <a:pt x="186" y="85"/>
                      </a:cubicBezTo>
                      <a:cubicBezTo>
                        <a:pt x="186" y="85"/>
                        <a:pt x="186" y="85"/>
                        <a:pt x="186" y="86"/>
                      </a:cubicBezTo>
                      <a:cubicBezTo>
                        <a:pt x="186" y="86"/>
                        <a:pt x="186" y="86"/>
                        <a:pt x="186" y="86"/>
                      </a:cubicBezTo>
                      <a:cubicBezTo>
                        <a:pt x="186" y="86"/>
                        <a:pt x="186" y="86"/>
                        <a:pt x="186" y="86"/>
                      </a:cubicBezTo>
                      <a:cubicBezTo>
                        <a:pt x="186" y="87"/>
                        <a:pt x="185" y="87"/>
                        <a:pt x="185" y="87"/>
                      </a:cubicBezTo>
                      <a:cubicBezTo>
                        <a:pt x="185" y="87"/>
                        <a:pt x="185" y="87"/>
                        <a:pt x="184" y="87"/>
                      </a:cubicBezTo>
                      <a:cubicBezTo>
                        <a:pt x="184" y="87"/>
                        <a:pt x="183" y="87"/>
                        <a:pt x="183" y="87"/>
                      </a:cubicBezTo>
                      <a:cubicBezTo>
                        <a:pt x="182" y="88"/>
                        <a:pt x="182" y="88"/>
                        <a:pt x="182" y="88"/>
                      </a:cubicBezTo>
                      <a:cubicBezTo>
                        <a:pt x="182" y="88"/>
                        <a:pt x="181" y="88"/>
                        <a:pt x="181" y="88"/>
                      </a:cubicBezTo>
                      <a:cubicBezTo>
                        <a:pt x="180" y="88"/>
                        <a:pt x="180" y="88"/>
                        <a:pt x="180" y="89"/>
                      </a:cubicBezTo>
                      <a:cubicBezTo>
                        <a:pt x="180" y="89"/>
                        <a:pt x="180" y="89"/>
                        <a:pt x="180" y="90"/>
                      </a:cubicBezTo>
                      <a:cubicBezTo>
                        <a:pt x="180" y="90"/>
                        <a:pt x="179" y="91"/>
                        <a:pt x="179" y="91"/>
                      </a:cubicBezTo>
                      <a:cubicBezTo>
                        <a:pt x="179" y="91"/>
                        <a:pt x="178" y="92"/>
                        <a:pt x="178" y="92"/>
                      </a:cubicBezTo>
                      <a:cubicBezTo>
                        <a:pt x="178" y="92"/>
                        <a:pt x="177" y="93"/>
                        <a:pt x="177" y="93"/>
                      </a:cubicBezTo>
                      <a:cubicBezTo>
                        <a:pt x="176" y="93"/>
                        <a:pt x="176" y="93"/>
                        <a:pt x="176" y="93"/>
                      </a:cubicBezTo>
                      <a:cubicBezTo>
                        <a:pt x="176" y="93"/>
                        <a:pt x="176" y="93"/>
                        <a:pt x="176" y="93"/>
                      </a:cubicBezTo>
                      <a:cubicBezTo>
                        <a:pt x="176" y="93"/>
                        <a:pt x="176" y="92"/>
                        <a:pt x="176" y="92"/>
                      </a:cubicBezTo>
                      <a:cubicBezTo>
                        <a:pt x="176" y="91"/>
                        <a:pt x="176" y="91"/>
                        <a:pt x="176" y="91"/>
                      </a:cubicBezTo>
                      <a:cubicBezTo>
                        <a:pt x="176" y="91"/>
                        <a:pt x="176" y="91"/>
                        <a:pt x="176" y="90"/>
                      </a:cubicBezTo>
                      <a:cubicBezTo>
                        <a:pt x="176" y="90"/>
                        <a:pt x="177" y="89"/>
                        <a:pt x="176" y="89"/>
                      </a:cubicBezTo>
                      <a:cubicBezTo>
                        <a:pt x="176" y="89"/>
                        <a:pt x="176" y="89"/>
                        <a:pt x="175" y="89"/>
                      </a:cubicBezTo>
                      <a:cubicBezTo>
                        <a:pt x="175" y="88"/>
                        <a:pt x="175" y="88"/>
                        <a:pt x="174" y="88"/>
                      </a:cubicBezTo>
                      <a:cubicBezTo>
                        <a:pt x="174" y="88"/>
                        <a:pt x="174" y="88"/>
                        <a:pt x="174" y="87"/>
                      </a:cubicBezTo>
                      <a:cubicBezTo>
                        <a:pt x="174" y="87"/>
                        <a:pt x="174" y="87"/>
                        <a:pt x="173" y="86"/>
                      </a:cubicBezTo>
                      <a:cubicBezTo>
                        <a:pt x="173" y="86"/>
                        <a:pt x="173" y="86"/>
                        <a:pt x="173" y="86"/>
                      </a:cubicBezTo>
                      <a:cubicBezTo>
                        <a:pt x="173" y="86"/>
                        <a:pt x="173" y="86"/>
                        <a:pt x="173" y="85"/>
                      </a:cubicBezTo>
                      <a:cubicBezTo>
                        <a:pt x="172" y="85"/>
                        <a:pt x="172" y="85"/>
                        <a:pt x="172" y="84"/>
                      </a:cubicBezTo>
                      <a:cubicBezTo>
                        <a:pt x="171" y="84"/>
                        <a:pt x="171" y="84"/>
                        <a:pt x="171" y="84"/>
                      </a:cubicBezTo>
                      <a:cubicBezTo>
                        <a:pt x="171" y="84"/>
                        <a:pt x="171" y="82"/>
                        <a:pt x="170" y="82"/>
                      </a:cubicBezTo>
                      <a:cubicBezTo>
                        <a:pt x="169" y="82"/>
                        <a:pt x="169" y="82"/>
                        <a:pt x="169" y="82"/>
                      </a:cubicBezTo>
                      <a:cubicBezTo>
                        <a:pt x="170" y="82"/>
                        <a:pt x="170" y="81"/>
                        <a:pt x="170" y="81"/>
                      </a:cubicBezTo>
                      <a:cubicBezTo>
                        <a:pt x="170" y="81"/>
                        <a:pt x="170" y="81"/>
                        <a:pt x="170" y="81"/>
                      </a:cubicBezTo>
                      <a:cubicBezTo>
                        <a:pt x="170" y="81"/>
                        <a:pt x="170" y="80"/>
                        <a:pt x="170" y="80"/>
                      </a:cubicBezTo>
                      <a:cubicBezTo>
                        <a:pt x="171" y="80"/>
                        <a:pt x="171" y="79"/>
                        <a:pt x="171" y="79"/>
                      </a:cubicBezTo>
                      <a:cubicBezTo>
                        <a:pt x="171" y="78"/>
                        <a:pt x="170" y="78"/>
                        <a:pt x="170" y="78"/>
                      </a:cubicBezTo>
                      <a:cubicBezTo>
                        <a:pt x="169" y="78"/>
                        <a:pt x="169" y="78"/>
                        <a:pt x="169" y="78"/>
                      </a:cubicBezTo>
                      <a:cubicBezTo>
                        <a:pt x="169" y="78"/>
                        <a:pt x="169" y="78"/>
                        <a:pt x="169" y="78"/>
                      </a:cubicBezTo>
                      <a:cubicBezTo>
                        <a:pt x="169" y="78"/>
                        <a:pt x="169" y="78"/>
                        <a:pt x="169" y="77"/>
                      </a:cubicBezTo>
                      <a:cubicBezTo>
                        <a:pt x="170" y="77"/>
                        <a:pt x="170" y="77"/>
                        <a:pt x="170" y="77"/>
                      </a:cubicBezTo>
                      <a:cubicBezTo>
                        <a:pt x="169" y="76"/>
                        <a:pt x="169" y="76"/>
                        <a:pt x="169" y="76"/>
                      </a:cubicBezTo>
                      <a:cubicBezTo>
                        <a:pt x="169" y="76"/>
                        <a:pt x="169" y="76"/>
                        <a:pt x="169" y="76"/>
                      </a:cubicBezTo>
                      <a:cubicBezTo>
                        <a:pt x="169" y="76"/>
                        <a:pt x="169" y="75"/>
                        <a:pt x="169" y="75"/>
                      </a:cubicBezTo>
                      <a:cubicBezTo>
                        <a:pt x="169" y="75"/>
                        <a:pt x="168" y="74"/>
                        <a:pt x="168" y="74"/>
                      </a:cubicBezTo>
                      <a:cubicBezTo>
                        <a:pt x="168" y="74"/>
                        <a:pt x="167" y="74"/>
                        <a:pt x="167" y="75"/>
                      </a:cubicBezTo>
                      <a:cubicBezTo>
                        <a:pt x="167" y="76"/>
                        <a:pt x="167" y="76"/>
                        <a:pt x="167" y="76"/>
                      </a:cubicBezTo>
                      <a:cubicBezTo>
                        <a:pt x="166" y="76"/>
                        <a:pt x="166" y="76"/>
                        <a:pt x="166" y="76"/>
                      </a:cubicBezTo>
                      <a:cubicBezTo>
                        <a:pt x="166" y="76"/>
                        <a:pt x="166" y="76"/>
                        <a:pt x="166" y="76"/>
                      </a:cubicBezTo>
                      <a:cubicBezTo>
                        <a:pt x="166" y="76"/>
                        <a:pt x="166" y="76"/>
                        <a:pt x="166" y="76"/>
                      </a:cubicBezTo>
                      <a:cubicBezTo>
                        <a:pt x="166" y="76"/>
                        <a:pt x="166" y="76"/>
                        <a:pt x="166" y="76"/>
                      </a:cubicBezTo>
                      <a:cubicBezTo>
                        <a:pt x="166" y="76"/>
                        <a:pt x="166" y="76"/>
                        <a:pt x="166" y="76"/>
                      </a:cubicBezTo>
                      <a:cubicBezTo>
                        <a:pt x="166" y="76"/>
                        <a:pt x="166" y="76"/>
                        <a:pt x="166" y="76"/>
                      </a:cubicBezTo>
                      <a:cubicBezTo>
                        <a:pt x="165" y="76"/>
                        <a:pt x="165" y="76"/>
                        <a:pt x="165" y="76"/>
                      </a:cubicBezTo>
                      <a:cubicBezTo>
                        <a:pt x="165" y="76"/>
                        <a:pt x="165" y="76"/>
                        <a:pt x="164" y="76"/>
                      </a:cubicBezTo>
                      <a:cubicBezTo>
                        <a:pt x="164" y="76"/>
                        <a:pt x="164" y="76"/>
                        <a:pt x="164" y="76"/>
                      </a:cubicBezTo>
                      <a:cubicBezTo>
                        <a:pt x="164" y="76"/>
                        <a:pt x="164" y="76"/>
                        <a:pt x="164" y="76"/>
                      </a:cubicBezTo>
                      <a:cubicBezTo>
                        <a:pt x="164" y="76"/>
                        <a:pt x="164" y="76"/>
                        <a:pt x="164" y="76"/>
                      </a:cubicBezTo>
                      <a:cubicBezTo>
                        <a:pt x="163" y="76"/>
                        <a:pt x="163" y="76"/>
                        <a:pt x="163" y="76"/>
                      </a:cubicBezTo>
                      <a:cubicBezTo>
                        <a:pt x="163" y="76"/>
                        <a:pt x="162" y="76"/>
                        <a:pt x="162" y="76"/>
                      </a:cubicBezTo>
                      <a:cubicBezTo>
                        <a:pt x="162" y="77"/>
                        <a:pt x="162" y="77"/>
                        <a:pt x="162" y="77"/>
                      </a:cubicBezTo>
                      <a:cubicBezTo>
                        <a:pt x="162" y="77"/>
                        <a:pt x="161" y="77"/>
                        <a:pt x="161" y="77"/>
                      </a:cubicBezTo>
                      <a:cubicBezTo>
                        <a:pt x="161" y="77"/>
                        <a:pt x="161" y="77"/>
                        <a:pt x="161" y="77"/>
                      </a:cubicBezTo>
                      <a:cubicBezTo>
                        <a:pt x="161" y="78"/>
                        <a:pt x="161" y="78"/>
                        <a:pt x="161" y="78"/>
                      </a:cubicBezTo>
                      <a:cubicBezTo>
                        <a:pt x="161" y="78"/>
                        <a:pt x="161" y="78"/>
                        <a:pt x="161" y="78"/>
                      </a:cubicBezTo>
                      <a:cubicBezTo>
                        <a:pt x="161" y="78"/>
                        <a:pt x="161" y="78"/>
                        <a:pt x="161" y="78"/>
                      </a:cubicBezTo>
                      <a:cubicBezTo>
                        <a:pt x="161" y="78"/>
                        <a:pt x="160" y="79"/>
                        <a:pt x="160" y="79"/>
                      </a:cubicBezTo>
                      <a:cubicBezTo>
                        <a:pt x="160" y="79"/>
                        <a:pt x="160" y="79"/>
                        <a:pt x="160" y="79"/>
                      </a:cubicBezTo>
                      <a:cubicBezTo>
                        <a:pt x="160" y="80"/>
                        <a:pt x="160" y="80"/>
                        <a:pt x="160" y="81"/>
                      </a:cubicBezTo>
                      <a:cubicBezTo>
                        <a:pt x="161" y="81"/>
                        <a:pt x="161" y="81"/>
                        <a:pt x="161" y="81"/>
                      </a:cubicBezTo>
                      <a:cubicBezTo>
                        <a:pt x="161" y="81"/>
                        <a:pt x="161" y="81"/>
                        <a:pt x="161" y="81"/>
                      </a:cubicBezTo>
                      <a:cubicBezTo>
                        <a:pt x="162" y="81"/>
                        <a:pt x="162" y="81"/>
                        <a:pt x="162" y="81"/>
                      </a:cubicBezTo>
                      <a:cubicBezTo>
                        <a:pt x="162" y="81"/>
                        <a:pt x="162" y="81"/>
                        <a:pt x="162" y="81"/>
                      </a:cubicBezTo>
                      <a:cubicBezTo>
                        <a:pt x="162" y="82"/>
                        <a:pt x="162" y="82"/>
                        <a:pt x="162" y="82"/>
                      </a:cubicBezTo>
                      <a:cubicBezTo>
                        <a:pt x="162" y="82"/>
                        <a:pt x="162" y="82"/>
                        <a:pt x="162" y="82"/>
                      </a:cubicBezTo>
                      <a:cubicBezTo>
                        <a:pt x="162" y="83"/>
                        <a:pt x="162" y="83"/>
                        <a:pt x="162" y="83"/>
                      </a:cubicBezTo>
                      <a:cubicBezTo>
                        <a:pt x="162" y="83"/>
                        <a:pt x="162" y="83"/>
                        <a:pt x="162" y="83"/>
                      </a:cubicBezTo>
                      <a:cubicBezTo>
                        <a:pt x="161" y="83"/>
                        <a:pt x="161" y="83"/>
                        <a:pt x="161" y="83"/>
                      </a:cubicBezTo>
                      <a:cubicBezTo>
                        <a:pt x="160" y="83"/>
                        <a:pt x="160" y="83"/>
                        <a:pt x="160" y="83"/>
                      </a:cubicBezTo>
                      <a:cubicBezTo>
                        <a:pt x="160" y="83"/>
                        <a:pt x="160" y="83"/>
                        <a:pt x="159" y="84"/>
                      </a:cubicBezTo>
                      <a:cubicBezTo>
                        <a:pt x="159" y="84"/>
                        <a:pt x="159" y="84"/>
                        <a:pt x="159" y="84"/>
                      </a:cubicBezTo>
                      <a:cubicBezTo>
                        <a:pt x="158" y="84"/>
                        <a:pt x="158" y="84"/>
                        <a:pt x="158" y="84"/>
                      </a:cubicBezTo>
                      <a:cubicBezTo>
                        <a:pt x="158" y="85"/>
                        <a:pt x="158" y="85"/>
                        <a:pt x="158" y="85"/>
                      </a:cubicBezTo>
                      <a:cubicBezTo>
                        <a:pt x="158" y="85"/>
                        <a:pt x="158" y="85"/>
                        <a:pt x="158" y="85"/>
                      </a:cubicBezTo>
                      <a:cubicBezTo>
                        <a:pt x="158" y="85"/>
                        <a:pt x="157" y="85"/>
                        <a:pt x="157" y="85"/>
                      </a:cubicBezTo>
                      <a:cubicBezTo>
                        <a:pt x="157" y="85"/>
                        <a:pt x="157" y="86"/>
                        <a:pt x="157" y="86"/>
                      </a:cubicBezTo>
                      <a:cubicBezTo>
                        <a:pt x="156" y="86"/>
                        <a:pt x="156" y="86"/>
                        <a:pt x="156" y="86"/>
                      </a:cubicBezTo>
                      <a:cubicBezTo>
                        <a:pt x="156" y="87"/>
                        <a:pt x="156" y="87"/>
                        <a:pt x="156" y="87"/>
                      </a:cubicBezTo>
                      <a:cubicBezTo>
                        <a:pt x="156" y="87"/>
                        <a:pt x="156" y="87"/>
                        <a:pt x="156" y="87"/>
                      </a:cubicBezTo>
                      <a:cubicBezTo>
                        <a:pt x="156" y="88"/>
                        <a:pt x="156" y="88"/>
                        <a:pt x="156" y="88"/>
                      </a:cubicBezTo>
                      <a:cubicBezTo>
                        <a:pt x="157" y="89"/>
                        <a:pt x="157" y="89"/>
                        <a:pt x="157" y="89"/>
                      </a:cubicBezTo>
                      <a:cubicBezTo>
                        <a:pt x="157" y="89"/>
                        <a:pt x="157" y="89"/>
                        <a:pt x="157" y="89"/>
                      </a:cubicBezTo>
                      <a:cubicBezTo>
                        <a:pt x="157" y="89"/>
                        <a:pt x="157" y="89"/>
                        <a:pt x="157" y="90"/>
                      </a:cubicBezTo>
                      <a:cubicBezTo>
                        <a:pt x="157" y="90"/>
                        <a:pt x="157" y="90"/>
                        <a:pt x="157" y="90"/>
                      </a:cubicBezTo>
                      <a:cubicBezTo>
                        <a:pt x="156" y="90"/>
                        <a:pt x="156" y="90"/>
                        <a:pt x="156" y="90"/>
                      </a:cubicBezTo>
                      <a:cubicBezTo>
                        <a:pt x="156" y="91"/>
                        <a:pt x="156" y="91"/>
                        <a:pt x="156" y="91"/>
                      </a:cubicBezTo>
                      <a:cubicBezTo>
                        <a:pt x="156" y="91"/>
                        <a:pt x="156" y="91"/>
                        <a:pt x="156" y="91"/>
                      </a:cubicBezTo>
                      <a:cubicBezTo>
                        <a:pt x="156" y="92"/>
                        <a:pt x="156" y="92"/>
                        <a:pt x="156" y="92"/>
                      </a:cubicBezTo>
                      <a:cubicBezTo>
                        <a:pt x="156" y="92"/>
                        <a:pt x="156" y="92"/>
                        <a:pt x="156" y="92"/>
                      </a:cubicBezTo>
                      <a:cubicBezTo>
                        <a:pt x="156" y="92"/>
                        <a:pt x="156" y="92"/>
                        <a:pt x="157" y="92"/>
                      </a:cubicBezTo>
                      <a:cubicBezTo>
                        <a:pt x="157" y="92"/>
                        <a:pt x="157" y="92"/>
                        <a:pt x="157" y="92"/>
                      </a:cubicBezTo>
                      <a:cubicBezTo>
                        <a:pt x="157" y="93"/>
                        <a:pt x="157" y="93"/>
                        <a:pt x="157" y="93"/>
                      </a:cubicBezTo>
                      <a:cubicBezTo>
                        <a:pt x="157" y="93"/>
                        <a:pt x="157" y="93"/>
                        <a:pt x="158" y="93"/>
                      </a:cubicBezTo>
                      <a:cubicBezTo>
                        <a:pt x="158" y="93"/>
                        <a:pt x="158" y="93"/>
                        <a:pt x="158" y="93"/>
                      </a:cubicBezTo>
                      <a:cubicBezTo>
                        <a:pt x="159" y="93"/>
                        <a:pt x="160" y="93"/>
                        <a:pt x="160" y="93"/>
                      </a:cubicBezTo>
                      <a:cubicBezTo>
                        <a:pt x="160" y="93"/>
                        <a:pt x="160" y="93"/>
                        <a:pt x="160" y="93"/>
                      </a:cubicBezTo>
                      <a:cubicBezTo>
                        <a:pt x="161" y="92"/>
                        <a:pt x="162" y="92"/>
                        <a:pt x="162" y="92"/>
                      </a:cubicBezTo>
                      <a:cubicBezTo>
                        <a:pt x="162" y="92"/>
                        <a:pt x="162" y="92"/>
                        <a:pt x="162" y="92"/>
                      </a:cubicBezTo>
                      <a:cubicBezTo>
                        <a:pt x="163" y="92"/>
                        <a:pt x="163" y="92"/>
                        <a:pt x="163" y="92"/>
                      </a:cubicBezTo>
                      <a:cubicBezTo>
                        <a:pt x="163" y="92"/>
                        <a:pt x="164" y="91"/>
                        <a:pt x="164" y="91"/>
                      </a:cubicBezTo>
                      <a:cubicBezTo>
                        <a:pt x="164" y="91"/>
                        <a:pt x="164" y="92"/>
                        <a:pt x="164" y="92"/>
                      </a:cubicBezTo>
                      <a:cubicBezTo>
                        <a:pt x="164" y="92"/>
                        <a:pt x="164" y="93"/>
                        <a:pt x="165" y="93"/>
                      </a:cubicBezTo>
                      <a:cubicBezTo>
                        <a:pt x="165" y="93"/>
                        <a:pt x="165" y="93"/>
                        <a:pt x="165" y="93"/>
                      </a:cubicBezTo>
                      <a:cubicBezTo>
                        <a:pt x="165" y="93"/>
                        <a:pt x="165" y="93"/>
                        <a:pt x="165" y="93"/>
                      </a:cubicBezTo>
                      <a:cubicBezTo>
                        <a:pt x="165" y="93"/>
                        <a:pt x="164" y="93"/>
                        <a:pt x="164" y="94"/>
                      </a:cubicBezTo>
                      <a:cubicBezTo>
                        <a:pt x="164" y="94"/>
                        <a:pt x="164" y="94"/>
                        <a:pt x="164" y="94"/>
                      </a:cubicBezTo>
                      <a:cubicBezTo>
                        <a:pt x="164" y="94"/>
                        <a:pt x="164" y="94"/>
                        <a:pt x="164" y="94"/>
                      </a:cubicBezTo>
                      <a:cubicBezTo>
                        <a:pt x="163" y="94"/>
                        <a:pt x="163" y="95"/>
                        <a:pt x="163" y="95"/>
                      </a:cubicBezTo>
                      <a:cubicBezTo>
                        <a:pt x="163" y="96"/>
                        <a:pt x="163" y="96"/>
                        <a:pt x="163" y="96"/>
                      </a:cubicBezTo>
                      <a:cubicBezTo>
                        <a:pt x="164" y="96"/>
                        <a:pt x="164" y="96"/>
                        <a:pt x="164" y="96"/>
                      </a:cubicBezTo>
                      <a:cubicBezTo>
                        <a:pt x="165" y="96"/>
                        <a:pt x="165" y="96"/>
                        <a:pt x="166" y="96"/>
                      </a:cubicBezTo>
                      <a:cubicBezTo>
                        <a:pt x="166" y="96"/>
                        <a:pt x="166" y="96"/>
                        <a:pt x="166" y="96"/>
                      </a:cubicBezTo>
                      <a:cubicBezTo>
                        <a:pt x="166" y="96"/>
                        <a:pt x="166" y="96"/>
                        <a:pt x="166" y="96"/>
                      </a:cubicBezTo>
                      <a:cubicBezTo>
                        <a:pt x="167" y="96"/>
                        <a:pt x="167" y="96"/>
                        <a:pt x="167" y="96"/>
                      </a:cubicBezTo>
                      <a:cubicBezTo>
                        <a:pt x="167" y="96"/>
                        <a:pt x="168" y="95"/>
                        <a:pt x="168" y="95"/>
                      </a:cubicBezTo>
                      <a:cubicBezTo>
                        <a:pt x="168" y="95"/>
                        <a:pt x="168" y="95"/>
                        <a:pt x="168" y="95"/>
                      </a:cubicBezTo>
                      <a:cubicBezTo>
                        <a:pt x="168" y="95"/>
                        <a:pt x="168" y="95"/>
                        <a:pt x="168" y="95"/>
                      </a:cubicBezTo>
                      <a:cubicBezTo>
                        <a:pt x="169" y="95"/>
                        <a:pt x="170" y="95"/>
                        <a:pt x="171" y="95"/>
                      </a:cubicBezTo>
                      <a:cubicBezTo>
                        <a:pt x="171" y="95"/>
                        <a:pt x="171" y="95"/>
                        <a:pt x="172" y="95"/>
                      </a:cubicBezTo>
                      <a:cubicBezTo>
                        <a:pt x="172" y="95"/>
                        <a:pt x="172" y="95"/>
                        <a:pt x="172" y="95"/>
                      </a:cubicBezTo>
                      <a:cubicBezTo>
                        <a:pt x="173" y="95"/>
                        <a:pt x="174" y="95"/>
                        <a:pt x="174" y="94"/>
                      </a:cubicBezTo>
                      <a:cubicBezTo>
                        <a:pt x="174" y="94"/>
                        <a:pt x="175" y="94"/>
                        <a:pt x="175" y="94"/>
                      </a:cubicBezTo>
                      <a:cubicBezTo>
                        <a:pt x="175" y="94"/>
                        <a:pt x="175" y="95"/>
                        <a:pt x="175" y="95"/>
                      </a:cubicBezTo>
                      <a:cubicBezTo>
                        <a:pt x="175" y="95"/>
                        <a:pt x="174" y="96"/>
                        <a:pt x="174" y="96"/>
                      </a:cubicBezTo>
                      <a:cubicBezTo>
                        <a:pt x="174" y="96"/>
                        <a:pt x="173" y="96"/>
                        <a:pt x="173" y="96"/>
                      </a:cubicBezTo>
                      <a:cubicBezTo>
                        <a:pt x="173" y="96"/>
                        <a:pt x="173" y="97"/>
                        <a:pt x="173" y="97"/>
                      </a:cubicBezTo>
                      <a:cubicBezTo>
                        <a:pt x="173" y="97"/>
                        <a:pt x="172" y="97"/>
                        <a:pt x="172" y="97"/>
                      </a:cubicBezTo>
                      <a:cubicBezTo>
                        <a:pt x="172" y="97"/>
                        <a:pt x="171" y="97"/>
                        <a:pt x="171" y="97"/>
                      </a:cubicBezTo>
                      <a:cubicBezTo>
                        <a:pt x="171" y="97"/>
                        <a:pt x="171" y="97"/>
                        <a:pt x="171" y="96"/>
                      </a:cubicBezTo>
                      <a:cubicBezTo>
                        <a:pt x="171" y="96"/>
                        <a:pt x="170" y="96"/>
                        <a:pt x="170" y="96"/>
                      </a:cubicBezTo>
                      <a:cubicBezTo>
                        <a:pt x="170" y="96"/>
                        <a:pt x="170" y="96"/>
                        <a:pt x="170" y="96"/>
                      </a:cubicBezTo>
                      <a:cubicBezTo>
                        <a:pt x="170" y="97"/>
                        <a:pt x="170" y="97"/>
                        <a:pt x="170" y="97"/>
                      </a:cubicBezTo>
                      <a:cubicBezTo>
                        <a:pt x="170" y="97"/>
                        <a:pt x="170" y="98"/>
                        <a:pt x="170" y="98"/>
                      </a:cubicBezTo>
                      <a:cubicBezTo>
                        <a:pt x="170" y="98"/>
                        <a:pt x="171" y="98"/>
                        <a:pt x="170" y="98"/>
                      </a:cubicBezTo>
                      <a:cubicBezTo>
                        <a:pt x="170" y="98"/>
                        <a:pt x="170" y="98"/>
                        <a:pt x="169" y="98"/>
                      </a:cubicBezTo>
                      <a:cubicBezTo>
                        <a:pt x="169" y="99"/>
                        <a:pt x="169" y="99"/>
                        <a:pt x="169" y="99"/>
                      </a:cubicBezTo>
                      <a:cubicBezTo>
                        <a:pt x="168" y="99"/>
                        <a:pt x="168" y="98"/>
                        <a:pt x="168" y="98"/>
                      </a:cubicBezTo>
                      <a:cubicBezTo>
                        <a:pt x="168" y="98"/>
                        <a:pt x="168" y="98"/>
                        <a:pt x="168" y="98"/>
                      </a:cubicBezTo>
                      <a:cubicBezTo>
                        <a:pt x="168" y="98"/>
                        <a:pt x="167" y="98"/>
                        <a:pt x="167" y="98"/>
                      </a:cubicBezTo>
                      <a:cubicBezTo>
                        <a:pt x="167" y="98"/>
                        <a:pt x="166" y="98"/>
                        <a:pt x="166" y="98"/>
                      </a:cubicBezTo>
                      <a:cubicBezTo>
                        <a:pt x="166" y="98"/>
                        <a:pt x="166" y="98"/>
                        <a:pt x="166" y="99"/>
                      </a:cubicBezTo>
                      <a:cubicBezTo>
                        <a:pt x="165" y="99"/>
                        <a:pt x="166" y="99"/>
                        <a:pt x="166" y="99"/>
                      </a:cubicBezTo>
                      <a:cubicBezTo>
                        <a:pt x="166" y="99"/>
                        <a:pt x="166" y="99"/>
                        <a:pt x="166" y="99"/>
                      </a:cubicBezTo>
                      <a:cubicBezTo>
                        <a:pt x="166" y="99"/>
                        <a:pt x="166" y="100"/>
                        <a:pt x="166" y="100"/>
                      </a:cubicBezTo>
                      <a:cubicBezTo>
                        <a:pt x="166" y="100"/>
                        <a:pt x="166" y="100"/>
                        <a:pt x="166" y="100"/>
                      </a:cubicBezTo>
                      <a:cubicBezTo>
                        <a:pt x="166" y="100"/>
                        <a:pt x="167" y="100"/>
                        <a:pt x="168" y="100"/>
                      </a:cubicBezTo>
                      <a:cubicBezTo>
                        <a:pt x="168" y="100"/>
                        <a:pt x="169" y="101"/>
                        <a:pt x="169" y="101"/>
                      </a:cubicBezTo>
                      <a:cubicBezTo>
                        <a:pt x="169" y="101"/>
                        <a:pt x="169" y="102"/>
                        <a:pt x="169" y="102"/>
                      </a:cubicBezTo>
                      <a:cubicBezTo>
                        <a:pt x="170" y="102"/>
                        <a:pt x="171" y="103"/>
                        <a:pt x="171" y="103"/>
                      </a:cubicBezTo>
                      <a:cubicBezTo>
                        <a:pt x="171" y="104"/>
                        <a:pt x="171" y="105"/>
                        <a:pt x="171" y="105"/>
                      </a:cubicBezTo>
                      <a:cubicBezTo>
                        <a:pt x="171" y="106"/>
                        <a:pt x="171" y="108"/>
                        <a:pt x="170" y="109"/>
                      </a:cubicBezTo>
                      <a:cubicBezTo>
                        <a:pt x="170" y="109"/>
                        <a:pt x="171" y="110"/>
                        <a:pt x="170" y="110"/>
                      </a:cubicBezTo>
                      <a:cubicBezTo>
                        <a:pt x="169" y="110"/>
                        <a:pt x="169" y="110"/>
                        <a:pt x="168" y="110"/>
                      </a:cubicBezTo>
                      <a:cubicBezTo>
                        <a:pt x="168" y="110"/>
                        <a:pt x="168" y="110"/>
                        <a:pt x="168" y="110"/>
                      </a:cubicBezTo>
                      <a:cubicBezTo>
                        <a:pt x="168" y="110"/>
                        <a:pt x="167" y="110"/>
                        <a:pt x="167" y="110"/>
                      </a:cubicBezTo>
                      <a:cubicBezTo>
                        <a:pt x="167" y="110"/>
                        <a:pt x="166" y="110"/>
                        <a:pt x="166" y="110"/>
                      </a:cubicBezTo>
                      <a:cubicBezTo>
                        <a:pt x="165" y="110"/>
                        <a:pt x="165" y="109"/>
                        <a:pt x="164" y="109"/>
                      </a:cubicBezTo>
                      <a:cubicBezTo>
                        <a:pt x="164" y="109"/>
                        <a:pt x="162" y="109"/>
                        <a:pt x="162" y="109"/>
                      </a:cubicBezTo>
                      <a:cubicBezTo>
                        <a:pt x="162" y="109"/>
                        <a:pt x="161" y="109"/>
                        <a:pt x="161" y="109"/>
                      </a:cubicBezTo>
                      <a:cubicBezTo>
                        <a:pt x="161" y="109"/>
                        <a:pt x="160" y="109"/>
                        <a:pt x="160" y="109"/>
                      </a:cubicBezTo>
                      <a:cubicBezTo>
                        <a:pt x="160" y="109"/>
                        <a:pt x="160" y="109"/>
                        <a:pt x="160" y="109"/>
                      </a:cubicBezTo>
                      <a:cubicBezTo>
                        <a:pt x="160" y="110"/>
                        <a:pt x="160" y="110"/>
                        <a:pt x="160" y="110"/>
                      </a:cubicBezTo>
                      <a:cubicBezTo>
                        <a:pt x="159" y="110"/>
                        <a:pt x="159" y="110"/>
                        <a:pt x="159" y="110"/>
                      </a:cubicBezTo>
                      <a:cubicBezTo>
                        <a:pt x="159" y="110"/>
                        <a:pt x="158" y="111"/>
                        <a:pt x="159" y="111"/>
                      </a:cubicBezTo>
                      <a:cubicBezTo>
                        <a:pt x="159" y="111"/>
                        <a:pt x="159" y="111"/>
                        <a:pt x="159" y="112"/>
                      </a:cubicBezTo>
                      <a:cubicBezTo>
                        <a:pt x="159" y="112"/>
                        <a:pt x="159" y="113"/>
                        <a:pt x="159" y="113"/>
                      </a:cubicBezTo>
                      <a:cubicBezTo>
                        <a:pt x="159" y="113"/>
                        <a:pt x="159" y="114"/>
                        <a:pt x="159" y="115"/>
                      </a:cubicBezTo>
                      <a:cubicBezTo>
                        <a:pt x="159" y="115"/>
                        <a:pt x="159" y="117"/>
                        <a:pt x="159" y="117"/>
                      </a:cubicBezTo>
                      <a:cubicBezTo>
                        <a:pt x="159" y="118"/>
                        <a:pt x="159" y="118"/>
                        <a:pt x="158" y="119"/>
                      </a:cubicBezTo>
                      <a:cubicBezTo>
                        <a:pt x="158" y="119"/>
                        <a:pt x="158" y="120"/>
                        <a:pt x="158" y="120"/>
                      </a:cubicBezTo>
                      <a:cubicBezTo>
                        <a:pt x="158" y="120"/>
                        <a:pt x="159" y="120"/>
                        <a:pt x="159" y="120"/>
                      </a:cubicBezTo>
                      <a:cubicBezTo>
                        <a:pt x="159" y="120"/>
                        <a:pt x="159" y="122"/>
                        <a:pt x="159" y="122"/>
                      </a:cubicBezTo>
                      <a:cubicBezTo>
                        <a:pt x="159" y="123"/>
                        <a:pt x="159" y="123"/>
                        <a:pt x="159" y="123"/>
                      </a:cubicBezTo>
                      <a:cubicBezTo>
                        <a:pt x="159" y="123"/>
                        <a:pt x="160" y="123"/>
                        <a:pt x="160" y="123"/>
                      </a:cubicBezTo>
                      <a:cubicBezTo>
                        <a:pt x="160" y="123"/>
                        <a:pt x="161" y="124"/>
                        <a:pt x="161" y="123"/>
                      </a:cubicBezTo>
                      <a:cubicBezTo>
                        <a:pt x="161" y="123"/>
                        <a:pt x="161" y="123"/>
                        <a:pt x="162" y="123"/>
                      </a:cubicBezTo>
                      <a:cubicBezTo>
                        <a:pt x="162" y="123"/>
                        <a:pt x="163" y="123"/>
                        <a:pt x="163" y="124"/>
                      </a:cubicBezTo>
                      <a:cubicBezTo>
                        <a:pt x="163" y="124"/>
                        <a:pt x="163" y="125"/>
                        <a:pt x="163" y="125"/>
                      </a:cubicBezTo>
                      <a:cubicBezTo>
                        <a:pt x="164" y="125"/>
                        <a:pt x="164" y="125"/>
                        <a:pt x="164" y="126"/>
                      </a:cubicBezTo>
                      <a:cubicBezTo>
                        <a:pt x="164" y="126"/>
                        <a:pt x="164" y="126"/>
                        <a:pt x="165" y="125"/>
                      </a:cubicBezTo>
                      <a:cubicBezTo>
                        <a:pt x="165" y="125"/>
                        <a:pt x="165" y="124"/>
                        <a:pt x="165" y="124"/>
                      </a:cubicBezTo>
                      <a:cubicBezTo>
                        <a:pt x="165" y="124"/>
                        <a:pt x="166" y="124"/>
                        <a:pt x="166" y="124"/>
                      </a:cubicBezTo>
                      <a:cubicBezTo>
                        <a:pt x="166" y="124"/>
                        <a:pt x="166" y="124"/>
                        <a:pt x="167" y="124"/>
                      </a:cubicBezTo>
                      <a:cubicBezTo>
                        <a:pt x="167" y="124"/>
                        <a:pt x="169" y="124"/>
                        <a:pt x="169" y="124"/>
                      </a:cubicBezTo>
                      <a:cubicBezTo>
                        <a:pt x="170" y="124"/>
                        <a:pt x="170" y="124"/>
                        <a:pt x="170" y="123"/>
                      </a:cubicBezTo>
                      <a:cubicBezTo>
                        <a:pt x="170" y="123"/>
                        <a:pt x="170" y="122"/>
                        <a:pt x="170" y="122"/>
                      </a:cubicBezTo>
                      <a:cubicBezTo>
                        <a:pt x="171" y="122"/>
                        <a:pt x="171" y="122"/>
                        <a:pt x="171" y="122"/>
                      </a:cubicBezTo>
                      <a:cubicBezTo>
                        <a:pt x="171" y="122"/>
                        <a:pt x="172" y="121"/>
                        <a:pt x="172" y="120"/>
                      </a:cubicBezTo>
                      <a:cubicBezTo>
                        <a:pt x="172" y="120"/>
                        <a:pt x="173" y="120"/>
                        <a:pt x="173" y="120"/>
                      </a:cubicBezTo>
                      <a:cubicBezTo>
                        <a:pt x="173" y="119"/>
                        <a:pt x="173" y="119"/>
                        <a:pt x="173" y="119"/>
                      </a:cubicBezTo>
                      <a:cubicBezTo>
                        <a:pt x="173" y="119"/>
                        <a:pt x="172" y="119"/>
                        <a:pt x="172" y="119"/>
                      </a:cubicBezTo>
                      <a:cubicBezTo>
                        <a:pt x="172" y="118"/>
                        <a:pt x="172" y="117"/>
                        <a:pt x="173" y="117"/>
                      </a:cubicBezTo>
                      <a:cubicBezTo>
                        <a:pt x="173" y="117"/>
                        <a:pt x="173" y="116"/>
                        <a:pt x="173" y="116"/>
                      </a:cubicBezTo>
                      <a:cubicBezTo>
                        <a:pt x="173" y="116"/>
                        <a:pt x="174" y="115"/>
                        <a:pt x="174" y="115"/>
                      </a:cubicBezTo>
                      <a:cubicBezTo>
                        <a:pt x="174" y="115"/>
                        <a:pt x="174" y="115"/>
                        <a:pt x="174" y="115"/>
                      </a:cubicBezTo>
                      <a:cubicBezTo>
                        <a:pt x="175" y="115"/>
                        <a:pt x="176" y="114"/>
                        <a:pt x="176" y="114"/>
                      </a:cubicBezTo>
                      <a:cubicBezTo>
                        <a:pt x="176" y="113"/>
                        <a:pt x="177" y="114"/>
                        <a:pt x="177" y="113"/>
                      </a:cubicBezTo>
                      <a:cubicBezTo>
                        <a:pt x="177" y="113"/>
                        <a:pt x="178" y="113"/>
                        <a:pt x="177" y="113"/>
                      </a:cubicBezTo>
                      <a:cubicBezTo>
                        <a:pt x="177" y="112"/>
                        <a:pt x="177" y="111"/>
                        <a:pt x="177" y="111"/>
                      </a:cubicBezTo>
                      <a:cubicBezTo>
                        <a:pt x="177" y="111"/>
                        <a:pt x="177" y="110"/>
                        <a:pt x="178" y="110"/>
                      </a:cubicBezTo>
                      <a:cubicBezTo>
                        <a:pt x="178" y="110"/>
                        <a:pt x="179" y="109"/>
                        <a:pt x="180" y="110"/>
                      </a:cubicBezTo>
                      <a:cubicBezTo>
                        <a:pt x="181" y="110"/>
                        <a:pt x="182" y="110"/>
                        <a:pt x="182" y="110"/>
                      </a:cubicBezTo>
                      <a:cubicBezTo>
                        <a:pt x="182" y="110"/>
                        <a:pt x="183" y="109"/>
                        <a:pt x="184" y="109"/>
                      </a:cubicBezTo>
                      <a:cubicBezTo>
                        <a:pt x="184" y="109"/>
                        <a:pt x="185" y="109"/>
                        <a:pt x="185" y="108"/>
                      </a:cubicBezTo>
                      <a:cubicBezTo>
                        <a:pt x="185" y="108"/>
                        <a:pt x="186" y="107"/>
                        <a:pt x="187" y="107"/>
                      </a:cubicBezTo>
                      <a:cubicBezTo>
                        <a:pt x="188" y="108"/>
                        <a:pt x="188" y="108"/>
                        <a:pt x="188" y="109"/>
                      </a:cubicBezTo>
                      <a:cubicBezTo>
                        <a:pt x="188" y="109"/>
                        <a:pt x="189" y="110"/>
                        <a:pt x="189" y="110"/>
                      </a:cubicBezTo>
                      <a:cubicBezTo>
                        <a:pt x="189" y="110"/>
                        <a:pt x="189" y="110"/>
                        <a:pt x="189" y="111"/>
                      </a:cubicBezTo>
                      <a:cubicBezTo>
                        <a:pt x="190" y="111"/>
                        <a:pt x="190" y="111"/>
                        <a:pt x="190" y="112"/>
                      </a:cubicBezTo>
                      <a:cubicBezTo>
                        <a:pt x="190" y="112"/>
                        <a:pt x="191" y="112"/>
                        <a:pt x="191" y="112"/>
                      </a:cubicBezTo>
                      <a:cubicBezTo>
                        <a:pt x="191" y="112"/>
                        <a:pt x="191" y="113"/>
                        <a:pt x="191" y="113"/>
                      </a:cubicBezTo>
                      <a:cubicBezTo>
                        <a:pt x="191" y="113"/>
                        <a:pt x="191" y="113"/>
                        <a:pt x="192" y="113"/>
                      </a:cubicBezTo>
                      <a:cubicBezTo>
                        <a:pt x="192" y="114"/>
                        <a:pt x="192" y="114"/>
                        <a:pt x="193" y="114"/>
                      </a:cubicBezTo>
                      <a:cubicBezTo>
                        <a:pt x="193" y="114"/>
                        <a:pt x="194" y="114"/>
                        <a:pt x="194" y="114"/>
                      </a:cubicBezTo>
                      <a:cubicBezTo>
                        <a:pt x="194" y="114"/>
                        <a:pt x="194" y="115"/>
                        <a:pt x="194" y="115"/>
                      </a:cubicBezTo>
                      <a:cubicBezTo>
                        <a:pt x="194" y="115"/>
                        <a:pt x="195" y="115"/>
                        <a:pt x="195" y="115"/>
                      </a:cubicBezTo>
                      <a:cubicBezTo>
                        <a:pt x="195" y="116"/>
                        <a:pt x="195" y="115"/>
                        <a:pt x="196" y="115"/>
                      </a:cubicBezTo>
                      <a:cubicBezTo>
                        <a:pt x="196" y="115"/>
                        <a:pt x="196" y="116"/>
                        <a:pt x="196" y="116"/>
                      </a:cubicBezTo>
                      <a:cubicBezTo>
                        <a:pt x="196" y="117"/>
                        <a:pt x="196" y="117"/>
                        <a:pt x="196" y="117"/>
                      </a:cubicBezTo>
                      <a:cubicBezTo>
                        <a:pt x="197" y="117"/>
                        <a:pt x="197" y="117"/>
                        <a:pt x="197" y="117"/>
                      </a:cubicBezTo>
                      <a:cubicBezTo>
                        <a:pt x="197" y="117"/>
                        <a:pt x="197" y="118"/>
                        <a:pt x="197" y="118"/>
                      </a:cubicBezTo>
                      <a:cubicBezTo>
                        <a:pt x="197" y="118"/>
                        <a:pt x="198" y="119"/>
                        <a:pt x="198" y="119"/>
                      </a:cubicBezTo>
                      <a:cubicBezTo>
                        <a:pt x="198" y="119"/>
                        <a:pt x="198" y="119"/>
                        <a:pt x="198" y="120"/>
                      </a:cubicBezTo>
                      <a:cubicBezTo>
                        <a:pt x="197" y="120"/>
                        <a:pt x="197" y="120"/>
                        <a:pt x="197" y="120"/>
                      </a:cubicBezTo>
                      <a:cubicBezTo>
                        <a:pt x="197" y="120"/>
                        <a:pt x="197" y="121"/>
                        <a:pt x="197" y="121"/>
                      </a:cubicBezTo>
                      <a:cubicBezTo>
                        <a:pt x="197" y="121"/>
                        <a:pt x="197" y="121"/>
                        <a:pt x="197" y="121"/>
                      </a:cubicBezTo>
                      <a:cubicBezTo>
                        <a:pt x="197" y="121"/>
                        <a:pt x="197" y="121"/>
                        <a:pt x="196" y="121"/>
                      </a:cubicBezTo>
                      <a:cubicBezTo>
                        <a:pt x="196" y="121"/>
                        <a:pt x="196" y="121"/>
                        <a:pt x="196" y="121"/>
                      </a:cubicBezTo>
                      <a:cubicBezTo>
                        <a:pt x="196" y="121"/>
                        <a:pt x="195" y="121"/>
                        <a:pt x="195" y="121"/>
                      </a:cubicBezTo>
                      <a:cubicBezTo>
                        <a:pt x="195" y="121"/>
                        <a:pt x="195" y="121"/>
                        <a:pt x="195" y="121"/>
                      </a:cubicBezTo>
                      <a:cubicBezTo>
                        <a:pt x="194" y="121"/>
                        <a:pt x="194" y="121"/>
                        <a:pt x="193" y="121"/>
                      </a:cubicBezTo>
                      <a:cubicBezTo>
                        <a:pt x="193" y="121"/>
                        <a:pt x="193" y="121"/>
                        <a:pt x="193" y="121"/>
                      </a:cubicBezTo>
                      <a:cubicBezTo>
                        <a:pt x="193" y="121"/>
                        <a:pt x="193" y="121"/>
                        <a:pt x="193" y="121"/>
                      </a:cubicBezTo>
                      <a:cubicBezTo>
                        <a:pt x="193" y="121"/>
                        <a:pt x="192" y="121"/>
                        <a:pt x="192" y="121"/>
                      </a:cubicBezTo>
                      <a:cubicBezTo>
                        <a:pt x="192" y="121"/>
                        <a:pt x="192" y="121"/>
                        <a:pt x="192" y="121"/>
                      </a:cubicBezTo>
                      <a:cubicBezTo>
                        <a:pt x="192" y="122"/>
                        <a:pt x="192" y="122"/>
                        <a:pt x="192" y="122"/>
                      </a:cubicBezTo>
                      <a:cubicBezTo>
                        <a:pt x="192" y="122"/>
                        <a:pt x="193" y="122"/>
                        <a:pt x="193" y="122"/>
                      </a:cubicBezTo>
                      <a:cubicBezTo>
                        <a:pt x="193" y="122"/>
                        <a:pt x="194" y="123"/>
                        <a:pt x="194" y="123"/>
                      </a:cubicBezTo>
                      <a:cubicBezTo>
                        <a:pt x="194" y="123"/>
                        <a:pt x="195" y="123"/>
                        <a:pt x="195" y="123"/>
                      </a:cubicBezTo>
                      <a:cubicBezTo>
                        <a:pt x="195" y="123"/>
                        <a:pt x="195" y="124"/>
                        <a:pt x="195" y="124"/>
                      </a:cubicBezTo>
                      <a:cubicBezTo>
                        <a:pt x="195" y="124"/>
                        <a:pt x="196" y="124"/>
                        <a:pt x="196" y="124"/>
                      </a:cubicBezTo>
                      <a:cubicBezTo>
                        <a:pt x="196" y="124"/>
                        <a:pt x="196" y="123"/>
                        <a:pt x="196" y="123"/>
                      </a:cubicBezTo>
                      <a:cubicBezTo>
                        <a:pt x="196" y="123"/>
                        <a:pt x="196" y="122"/>
                        <a:pt x="196" y="122"/>
                      </a:cubicBezTo>
                      <a:cubicBezTo>
                        <a:pt x="196" y="122"/>
                        <a:pt x="196" y="121"/>
                        <a:pt x="196" y="121"/>
                      </a:cubicBezTo>
                      <a:cubicBezTo>
                        <a:pt x="196" y="121"/>
                        <a:pt x="196" y="121"/>
                        <a:pt x="196" y="121"/>
                      </a:cubicBezTo>
                      <a:cubicBezTo>
                        <a:pt x="197" y="121"/>
                        <a:pt x="197" y="121"/>
                        <a:pt x="197" y="121"/>
                      </a:cubicBezTo>
                      <a:cubicBezTo>
                        <a:pt x="197" y="121"/>
                        <a:pt x="197" y="121"/>
                        <a:pt x="197" y="121"/>
                      </a:cubicBezTo>
                      <a:cubicBezTo>
                        <a:pt x="197" y="121"/>
                        <a:pt x="198" y="121"/>
                        <a:pt x="198" y="120"/>
                      </a:cubicBezTo>
                      <a:cubicBezTo>
                        <a:pt x="198" y="120"/>
                        <a:pt x="198" y="120"/>
                        <a:pt x="198" y="120"/>
                      </a:cubicBezTo>
                      <a:cubicBezTo>
                        <a:pt x="198" y="120"/>
                        <a:pt x="198" y="119"/>
                        <a:pt x="199" y="119"/>
                      </a:cubicBezTo>
                      <a:cubicBezTo>
                        <a:pt x="199" y="119"/>
                        <a:pt x="199" y="119"/>
                        <a:pt x="199" y="119"/>
                      </a:cubicBezTo>
                      <a:cubicBezTo>
                        <a:pt x="199" y="119"/>
                        <a:pt x="199" y="118"/>
                        <a:pt x="199" y="118"/>
                      </a:cubicBezTo>
                      <a:cubicBezTo>
                        <a:pt x="199" y="118"/>
                        <a:pt x="198" y="118"/>
                        <a:pt x="198" y="118"/>
                      </a:cubicBezTo>
                      <a:cubicBezTo>
                        <a:pt x="198" y="118"/>
                        <a:pt x="198" y="117"/>
                        <a:pt x="198" y="117"/>
                      </a:cubicBezTo>
                      <a:cubicBezTo>
                        <a:pt x="198" y="117"/>
                        <a:pt x="198" y="116"/>
                        <a:pt x="199" y="116"/>
                      </a:cubicBezTo>
                      <a:cubicBezTo>
                        <a:pt x="199" y="116"/>
                        <a:pt x="199" y="116"/>
                        <a:pt x="199" y="116"/>
                      </a:cubicBezTo>
                      <a:cubicBezTo>
                        <a:pt x="199" y="116"/>
                        <a:pt x="199" y="116"/>
                        <a:pt x="199" y="116"/>
                      </a:cubicBezTo>
                      <a:cubicBezTo>
                        <a:pt x="200" y="116"/>
                        <a:pt x="200" y="116"/>
                        <a:pt x="200" y="116"/>
                      </a:cubicBezTo>
                      <a:cubicBezTo>
                        <a:pt x="200" y="116"/>
                        <a:pt x="200" y="117"/>
                        <a:pt x="200" y="117"/>
                      </a:cubicBezTo>
                      <a:cubicBezTo>
                        <a:pt x="200" y="117"/>
                        <a:pt x="201" y="117"/>
                        <a:pt x="201" y="117"/>
                      </a:cubicBezTo>
                      <a:cubicBezTo>
                        <a:pt x="201" y="117"/>
                        <a:pt x="201" y="117"/>
                        <a:pt x="201" y="117"/>
                      </a:cubicBezTo>
                      <a:cubicBezTo>
                        <a:pt x="201" y="116"/>
                        <a:pt x="201" y="116"/>
                        <a:pt x="200" y="116"/>
                      </a:cubicBezTo>
                      <a:cubicBezTo>
                        <a:pt x="200" y="116"/>
                        <a:pt x="200" y="116"/>
                        <a:pt x="200" y="115"/>
                      </a:cubicBezTo>
                      <a:cubicBezTo>
                        <a:pt x="199" y="115"/>
                        <a:pt x="198" y="114"/>
                        <a:pt x="198" y="114"/>
                      </a:cubicBezTo>
                      <a:cubicBezTo>
                        <a:pt x="197" y="114"/>
                        <a:pt x="197" y="114"/>
                        <a:pt x="197" y="113"/>
                      </a:cubicBezTo>
                      <a:cubicBezTo>
                        <a:pt x="197" y="113"/>
                        <a:pt x="198" y="113"/>
                        <a:pt x="198" y="113"/>
                      </a:cubicBezTo>
                      <a:cubicBezTo>
                        <a:pt x="197" y="113"/>
                        <a:pt x="197" y="113"/>
                        <a:pt x="197" y="113"/>
                      </a:cubicBezTo>
                      <a:cubicBezTo>
                        <a:pt x="197" y="113"/>
                        <a:pt x="197" y="113"/>
                        <a:pt x="196" y="113"/>
                      </a:cubicBezTo>
                      <a:cubicBezTo>
                        <a:pt x="196" y="113"/>
                        <a:pt x="195" y="113"/>
                        <a:pt x="195" y="113"/>
                      </a:cubicBezTo>
                      <a:cubicBezTo>
                        <a:pt x="195" y="112"/>
                        <a:pt x="194" y="111"/>
                        <a:pt x="194" y="111"/>
                      </a:cubicBezTo>
                      <a:cubicBezTo>
                        <a:pt x="194" y="111"/>
                        <a:pt x="194" y="109"/>
                        <a:pt x="194" y="109"/>
                      </a:cubicBezTo>
                      <a:cubicBezTo>
                        <a:pt x="193" y="109"/>
                        <a:pt x="192" y="108"/>
                        <a:pt x="192" y="108"/>
                      </a:cubicBezTo>
                      <a:cubicBezTo>
                        <a:pt x="192" y="108"/>
                        <a:pt x="191" y="107"/>
                        <a:pt x="191" y="107"/>
                      </a:cubicBezTo>
                      <a:cubicBezTo>
                        <a:pt x="191" y="107"/>
                        <a:pt x="191" y="107"/>
                        <a:pt x="192" y="107"/>
                      </a:cubicBezTo>
                      <a:cubicBezTo>
                        <a:pt x="192" y="107"/>
                        <a:pt x="192" y="106"/>
                        <a:pt x="192" y="106"/>
                      </a:cubicBezTo>
                      <a:cubicBezTo>
                        <a:pt x="192" y="106"/>
                        <a:pt x="192" y="106"/>
                        <a:pt x="192" y="106"/>
                      </a:cubicBezTo>
                      <a:cubicBezTo>
                        <a:pt x="192" y="105"/>
                        <a:pt x="192" y="105"/>
                        <a:pt x="192" y="105"/>
                      </a:cubicBezTo>
                      <a:cubicBezTo>
                        <a:pt x="192" y="105"/>
                        <a:pt x="192" y="105"/>
                        <a:pt x="192" y="105"/>
                      </a:cubicBezTo>
                      <a:cubicBezTo>
                        <a:pt x="193" y="105"/>
                        <a:pt x="193" y="105"/>
                        <a:pt x="193" y="105"/>
                      </a:cubicBezTo>
                      <a:cubicBezTo>
                        <a:pt x="193" y="105"/>
                        <a:pt x="194" y="105"/>
                        <a:pt x="194" y="105"/>
                      </a:cubicBezTo>
                      <a:cubicBezTo>
                        <a:pt x="194" y="105"/>
                        <a:pt x="194" y="105"/>
                        <a:pt x="194" y="105"/>
                      </a:cubicBezTo>
                      <a:cubicBezTo>
                        <a:pt x="194" y="105"/>
                        <a:pt x="194" y="105"/>
                        <a:pt x="194" y="105"/>
                      </a:cubicBezTo>
                      <a:cubicBezTo>
                        <a:pt x="194" y="106"/>
                        <a:pt x="194" y="106"/>
                        <a:pt x="194" y="106"/>
                      </a:cubicBezTo>
                      <a:cubicBezTo>
                        <a:pt x="194" y="106"/>
                        <a:pt x="194" y="107"/>
                        <a:pt x="194" y="107"/>
                      </a:cubicBezTo>
                      <a:cubicBezTo>
                        <a:pt x="194" y="107"/>
                        <a:pt x="194" y="106"/>
                        <a:pt x="194" y="106"/>
                      </a:cubicBezTo>
                      <a:cubicBezTo>
                        <a:pt x="194" y="106"/>
                        <a:pt x="194" y="105"/>
                        <a:pt x="195" y="105"/>
                      </a:cubicBezTo>
                      <a:cubicBezTo>
                        <a:pt x="195" y="105"/>
                        <a:pt x="195" y="106"/>
                        <a:pt x="195" y="106"/>
                      </a:cubicBezTo>
                      <a:cubicBezTo>
                        <a:pt x="195" y="106"/>
                        <a:pt x="196" y="106"/>
                        <a:pt x="196" y="107"/>
                      </a:cubicBezTo>
                      <a:cubicBezTo>
                        <a:pt x="196" y="107"/>
                        <a:pt x="196" y="107"/>
                        <a:pt x="196" y="107"/>
                      </a:cubicBezTo>
                      <a:cubicBezTo>
                        <a:pt x="196" y="108"/>
                        <a:pt x="196" y="108"/>
                        <a:pt x="196" y="108"/>
                      </a:cubicBezTo>
                      <a:cubicBezTo>
                        <a:pt x="197" y="109"/>
                        <a:pt x="197" y="109"/>
                        <a:pt x="197" y="109"/>
                      </a:cubicBezTo>
                      <a:cubicBezTo>
                        <a:pt x="198" y="109"/>
                        <a:pt x="198" y="109"/>
                        <a:pt x="198" y="109"/>
                      </a:cubicBezTo>
                      <a:cubicBezTo>
                        <a:pt x="198" y="109"/>
                        <a:pt x="198" y="110"/>
                        <a:pt x="198" y="110"/>
                      </a:cubicBezTo>
                      <a:cubicBezTo>
                        <a:pt x="199" y="110"/>
                        <a:pt x="199" y="110"/>
                        <a:pt x="200" y="111"/>
                      </a:cubicBezTo>
                      <a:cubicBezTo>
                        <a:pt x="200" y="111"/>
                        <a:pt x="200" y="111"/>
                        <a:pt x="201" y="111"/>
                      </a:cubicBezTo>
                      <a:cubicBezTo>
                        <a:pt x="201" y="111"/>
                        <a:pt x="201" y="112"/>
                        <a:pt x="202" y="112"/>
                      </a:cubicBezTo>
                      <a:cubicBezTo>
                        <a:pt x="202" y="112"/>
                        <a:pt x="202" y="113"/>
                        <a:pt x="202" y="113"/>
                      </a:cubicBezTo>
                      <a:cubicBezTo>
                        <a:pt x="203" y="113"/>
                        <a:pt x="203" y="113"/>
                        <a:pt x="203" y="113"/>
                      </a:cubicBezTo>
                      <a:cubicBezTo>
                        <a:pt x="203" y="114"/>
                        <a:pt x="203" y="114"/>
                        <a:pt x="203" y="114"/>
                      </a:cubicBezTo>
                      <a:cubicBezTo>
                        <a:pt x="203" y="115"/>
                        <a:pt x="202" y="115"/>
                        <a:pt x="202" y="115"/>
                      </a:cubicBezTo>
                      <a:cubicBezTo>
                        <a:pt x="202" y="115"/>
                        <a:pt x="202" y="116"/>
                        <a:pt x="203" y="116"/>
                      </a:cubicBezTo>
                      <a:cubicBezTo>
                        <a:pt x="203" y="116"/>
                        <a:pt x="203" y="117"/>
                        <a:pt x="203" y="117"/>
                      </a:cubicBezTo>
                      <a:cubicBezTo>
                        <a:pt x="203" y="117"/>
                        <a:pt x="203" y="118"/>
                        <a:pt x="204" y="118"/>
                      </a:cubicBezTo>
                      <a:cubicBezTo>
                        <a:pt x="204" y="118"/>
                        <a:pt x="204" y="118"/>
                        <a:pt x="204" y="119"/>
                      </a:cubicBezTo>
                      <a:cubicBezTo>
                        <a:pt x="204" y="119"/>
                        <a:pt x="204" y="119"/>
                        <a:pt x="204" y="119"/>
                      </a:cubicBezTo>
                      <a:cubicBezTo>
                        <a:pt x="204" y="119"/>
                        <a:pt x="205" y="119"/>
                        <a:pt x="205" y="119"/>
                      </a:cubicBezTo>
                      <a:cubicBezTo>
                        <a:pt x="205" y="119"/>
                        <a:pt x="205" y="119"/>
                        <a:pt x="205" y="119"/>
                      </a:cubicBezTo>
                      <a:cubicBezTo>
                        <a:pt x="205" y="119"/>
                        <a:pt x="205" y="119"/>
                        <a:pt x="205" y="119"/>
                      </a:cubicBezTo>
                      <a:cubicBezTo>
                        <a:pt x="205" y="120"/>
                        <a:pt x="205" y="120"/>
                        <a:pt x="205" y="120"/>
                      </a:cubicBezTo>
                      <a:cubicBezTo>
                        <a:pt x="205" y="120"/>
                        <a:pt x="205" y="120"/>
                        <a:pt x="205" y="120"/>
                      </a:cubicBezTo>
                      <a:cubicBezTo>
                        <a:pt x="205" y="120"/>
                        <a:pt x="205" y="120"/>
                        <a:pt x="205" y="120"/>
                      </a:cubicBezTo>
                      <a:cubicBezTo>
                        <a:pt x="205" y="121"/>
                        <a:pt x="204" y="121"/>
                        <a:pt x="204" y="122"/>
                      </a:cubicBezTo>
                      <a:cubicBezTo>
                        <a:pt x="204" y="122"/>
                        <a:pt x="205" y="122"/>
                        <a:pt x="205" y="123"/>
                      </a:cubicBezTo>
                      <a:cubicBezTo>
                        <a:pt x="205" y="124"/>
                        <a:pt x="205" y="125"/>
                        <a:pt x="206" y="125"/>
                      </a:cubicBezTo>
                      <a:cubicBezTo>
                        <a:pt x="206" y="125"/>
                        <a:pt x="206" y="125"/>
                        <a:pt x="206" y="125"/>
                      </a:cubicBezTo>
                      <a:cubicBezTo>
                        <a:pt x="206" y="125"/>
                        <a:pt x="206" y="125"/>
                        <a:pt x="206" y="125"/>
                      </a:cubicBezTo>
                      <a:cubicBezTo>
                        <a:pt x="206" y="125"/>
                        <a:pt x="206" y="125"/>
                        <a:pt x="206" y="125"/>
                      </a:cubicBezTo>
                      <a:cubicBezTo>
                        <a:pt x="207" y="126"/>
                        <a:pt x="207" y="126"/>
                        <a:pt x="207" y="126"/>
                      </a:cubicBezTo>
                      <a:cubicBezTo>
                        <a:pt x="207" y="126"/>
                        <a:pt x="207" y="126"/>
                        <a:pt x="207" y="126"/>
                      </a:cubicBezTo>
                      <a:cubicBezTo>
                        <a:pt x="207" y="126"/>
                        <a:pt x="207" y="126"/>
                        <a:pt x="208" y="125"/>
                      </a:cubicBezTo>
                      <a:cubicBezTo>
                        <a:pt x="208" y="126"/>
                        <a:pt x="208" y="126"/>
                        <a:pt x="208" y="126"/>
                      </a:cubicBezTo>
                      <a:cubicBezTo>
                        <a:pt x="208" y="125"/>
                        <a:pt x="208" y="125"/>
                        <a:pt x="208" y="125"/>
                      </a:cubicBezTo>
                      <a:cubicBezTo>
                        <a:pt x="209" y="125"/>
                        <a:pt x="209" y="124"/>
                        <a:pt x="209" y="124"/>
                      </a:cubicBezTo>
                      <a:cubicBezTo>
                        <a:pt x="209" y="123"/>
                        <a:pt x="209" y="123"/>
                        <a:pt x="209" y="123"/>
                      </a:cubicBezTo>
                      <a:cubicBezTo>
                        <a:pt x="209" y="123"/>
                        <a:pt x="209" y="123"/>
                        <a:pt x="209" y="123"/>
                      </a:cubicBezTo>
                      <a:cubicBezTo>
                        <a:pt x="210" y="122"/>
                        <a:pt x="210" y="122"/>
                        <a:pt x="210" y="122"/>
                      </a:cubicBezTo>
                      <a:cubicBezTo>
                        <a:pt x="209" y="122"/>
                        <a:pt x="209" y="122"/>
                        <a:pt x="209" y="122"/>
                      </a:cubicBezTo>
                      <a:cubicBezTo>
                        <a:pt x="209" y="122"/>
                        <a:pt x="209" y="122"/>
                        <a:pt x="209" y="122"/>
                      </a:cubicBezTo>
                      <a:cubicBezTo>
                        <a:pt x="210" y="122"/>
                        <a:pt x="210" y="122"/>
                        <a:pt x="210" y="122"/>
                      </a:cubicBezTo>
                      <a:cubicBezTo>
                        <a:pt x="209" y="121"/>
                        <a:pt x="209" y="121"/>
                        <a:pt x="209" y="121"/>
                      </a:cubicBezTo>
                      <a:cubicBezTo>
                        <a:pt x="209" y="121"/>
                        <a:pt x="209" y="121"/>
                        <a:pt x="209" y="121"/>
                      </a:cubicBezTo>
                      <a:cubicBezTo>
                        <a:pt x="209" y="120"/>
                        <a:pt x="209" y="120"/>
                        <a:pt x="209" y="120"/>
                      </a:cubicBezTo>
                      <a:cubicBezTo>
                        <a:pt x="209" y="120"/>
                        <a:pt x="210" y="120"/>
                        <a:pt x="210" y="121"/>
                      </a:cubicBezTo>
                      <a:cubicBezTo>
                        <a:pt x="210" y="121"/>
                        <a:pt x="210" y="121"/>
                        <a:pt x="210" y="121"/>
                      </a:cubicBezTo>
                      <a:cubicBezTo>
                        <a:pt x="210" y="121"/>
                        <a:pt x="210" y="120"/>
                        <a:pt x="210" y="120"/>
                      </a:cubicBezTo>
                      <a:cubicBezTo>
                        <a:pt x="210" y="120"/>
                        <a:pt x="209" y="120"/>
                        <a:pt x="209" y="120"/>
                      </a:cubicBezTo>
                      <a:cubicBezTo>
                        <a:pt x="209" y="120"/>
                        <a:pt x="209" y="120"/>
                        <a:pt x="209" y="120"/>
                      </a:cubicBezTo>
                      <a:cubicBezTo>
                        <a:pt x="209" y="120"/>
                        <a:pt x="209" y="119"/>
                        <a:pt x="208" y="119"/>
                      </a:cubicBezTo>
                      <a:cubicBezTo>
                        <a:pt x="208" y="119"/>
                        <a:pt x="208" y="119"/>
                        <a:pt x="208" y="120"/>
                      </a:cubicBezTo>
                      <a:cubicBezTo>
                        <a:pt x="208" y="120"/>
                        <a:pt x="209" y="120"/>
                        <a:pt x="209" y="120"/>
                      </a:cubicBezTo>
                      <a:cubicBezTo>
                        <a:pt x="209" y="120"/>
                        <a:pt x="209" y="120"/>
                        <a:pt x="208" y="120"/>
                      </a:cubicBezTo>
                      <a:cubicBezTo>
                        <a:pt x="208" y="120"/>
                        <a:pt x="208" y="120"/>
                        <a:pt x="207" y="120"/>
                      </a:cubicBezTo>
                      <a:cubicBezTo>
                        <a:pt x="207" y="120"/>
                        <a:pt x="207" y="119"/>
                        <a:pt x="207" y="119"/>
                      </a:cubicBezTo>
                      <a:cubicBezTo>
                        <a:pt x="208" y="119"/>
                        <a:pt x="208" y="119"/>
                        <a:pt x="208" y="119"/>
                      </a:cubicBezTo>
                      <a:cubicBezTo>
                        <a:pt x="208" y="119"/>
                        <a:pt x="208" y="119"/>
                        <a:pt x="208" y="119"/>
                      </a:cubicBezTo>
                      <a:cubicBezTo>
                        <a:pt x="208" y="119"/>
                        <a:pt x="208" y="119"/>
                        <a:pt x="208" y="119"/>
                      </a:cubicBezTo>
                      <a:cubicBezTo>
                        <a:pt x="208" y="118"/>
                        <a:pt x="208" y="118"/>
                        <a:pt x="208" y="118"/>
                      </a:cubicBezTo>
                      <a:cubicBezTo>
                        <a:pt x="208" y="118"/>
                        <a:pt x="208" y="119"/>
                        <a:pt x="208" y="119"/>
                      </a:cubicBezTo>
                      <a:cubicBezTo>
                        <a:pt x="208" y="119"/>
                        <a:pt x="208" y="119"/>
                        <a:pt x="208" y="119"/>
                      </a:cubicBezTo>
                      <a:cubicBezTo>
                        <a:pt x="208" y="118"/>
                        <a:pt x="208" y="118"/>
                        <a:pt x="208" y="118"/>
                      </a:cubicBezTo>
                      <a:cubicBezTo>
                        <a:pt x="208" y="118"/>
                        <a:pt x="208" y="117"/>
                        <a:pt x="207" y="117"/>
                      </a:cubicBezTo>
                      <a:cubicBezTo>
                        <a:pt x="207" y="117"/>
                        <a:pt x="207" y="117"/>
                        <a:pt x="207" y="116"/>
                      </a:cubicBezTo>
                      <a:cubicBezTo>
                        <a:pt x="207" y="116"/>
                        <a:pt x="207" y="116"/>
                        <a:pt x="207" y="116"/>
                      </a:cubicBezTo>
                      <a:cubicBezTo>
                        <a:pt x="207" y="116"/>
                        <a:pt x="208" y="116"/>
                        <a:pt x="208" y="116"/>
                      </a:cubicBezTo>
                      <a:cubicBezTo>
                        <a:pt x="208" y="116"/>
                        <a:pt x="208" y="116"/>
                        <a:pt x="208" y="116"/>
                      </a:cubicBezTo>
                      <a:cubicBezTo>
                        <a:pt x="208" y="116"/>
                        <a:pt x="209" y="116"/>
                        <a:pt x="209" y="116"/>
                      </a:cubicBezTo>
                      <a:cubicBezTo>
                        <a:pt x="209" y="116"/>
                        <a:pt x="209" y="116"/>
                        <a:pt x="209" y="116"/>
                      </a:cubicBezTo>
                      <a:cubicBezTo>
                        <a:pt x="209" y="116"/>
                        <a:pt x="209" y="115"/>
                        <a:pt x="209" y="115"/>
                      </a:cubicBezTo>
                      <a:cubicBezTo>
                        <a:pt x="209" y="115"/>
                        <a:pt x="210" y="115"/>
                        <a:pt x="210" y="115"/>
                      </a:cubicBezTo>
                      <a:cubicBezTo>
                        <a:pt x="210" y="115"/>
                        <a:pt x="210" y="115"/>
                        <a:pt x="210" y="115"/>
                      </a:cubicBezTo>
                      <a:cubicBezTo>
                        <a:pt x="211" y="115"/>
                        <a:pt x="211" y="115"/>
                        <a:pt x="211" y="115"/>
                      </a:cubicBezTo>
                      <a:cubicBezTo>
                        <a:pt x="212" y="115"/>
                        <a:pt x="212" y="115"/>
                        <a:pt x="212" y="115"/>
                      </a:cubicBezTo>
                      <a:cubicBezTo>
                        <a:pt x="213" y="115"/>
                        <a:pt x="213" y="115"/>
                        <a:pt x="213" y="115"/>
                      </a:cubicBezTo>
                      <a:cubicBezTo>
                        <a:pt x="213" y="116"/>
                        <a:pt x="213" y="116"/>
                        <a:pt x="213" y="116"/>
                      </a:cubicBezTo>
                      <a:cubicBezTo>
                        <a:pt x="213" y="115"/>
                        <a:pt x="214" y="115"/>
                        <a:pt x="214" y="116"/>
                      </a:cubicBezTo>
                      <a:cubicBezTo>
                        <a:pt x="214" y="116"/>
                        <a:pt x="213" y="116"/>
                        <a:pt x="214" y="116"/>
                      </a:cubicBezTo>
                      <a:cubicBezTo>
                        <a:pt x="214" y="116"/>
                        <a:pt x="214" y="116"/>
                        <a:pt x="214" y="116"/>
                      </a:cubicBezTo>
                      <a:cubicBezTo>
                        <a:pt x="214" y="115"/>
                        <a:pt x="215" y="115"/>
                        <a:pt x="215" y="115"/>
                      </a:cubicBezTo>
                      <a:cubicBezTo>
                        <a:pt x="215" y="115"/>
                        <a:pt x="215" y="115"/>
                        <a:pt x="216" y="115"/>
                      </a:cubicBezTo>
                      <a:cubicBezTo>
                        <a:pt x="216" y="115"/>
                        <a:pt x="216" y="115"/>
                        <a:pt x="216" y="115"/>
                      </a:cubicBezTo>
                      <a:cubicBezTo>
                        <a:pt x="216" y="115"/>
                        <a:pt x="216" y="115"/>
                        <a:pt x="216" y="115"/>
                      </a:cubicBezTo>
                      <a:cubicBezTo>
                        <a:pt x="216" y="115"/>
                        <a:pt x="216" y="115"/>
                        <a:pt x="216" y="115"/>
                      </a:cubicBezTo>
                      <a:cubicBezTo>
                        <a:pt x="217" y="115"/>
                        <a:pt x="217" y="115"/>
                        <a:pt x="217" y="115"/>
                      </a:cubicBezTo>
                      <a:cubicBezTo>
                        <a:pt x="217" y="115"/>
                        <a:pt x="217" y="115"/>
                        <a:pt x="217" y="115"/>
                      </a:cubicBezTo>
                      <a:cubicBezTo>
                        <a:pt x="218" y="115"/>
                        <a:pt x="218" y="115"/>
                        <a:pt x="218" y="115"/>
                      </a:cubicBezTo>
                      <a:cubicBezTo>
                        <a:pt x="218" y="115"/>
                        <a:pt x="218" y="116"/>
                        <a:pt x="218" y="116"/>
                      </a:cubicBezTo>
                      <a:cubicBezTo>
                        <a:pt x="217" y="116"/>
                        <a:pt x="217" y="116"/>
                        <a:pt x="217" y="116"/>
                      </a:cubicBezTo>
                      <a:cubicBezTo>
                        <a:pt x="217" y="116"/>
                        <a:pt x="217" y="116"/>
                        <a:pt x="217" y="116"/>
                      </a:cubicBezTo>
                      <a:cubicBezTo>
                        <a:pt x="217" y="116"/>
                        <a:pt x="216" y="116"/>
                        <a:pt x="216" y="116"/>
                      </a:cubicBezTo>
                      <a:cubicBezTo>
                        <a:pt x="216" y="116"/>
                        <a:pt x="216" y="116"/>
                        <a:pt x="216" y="116"/>
                      </a:cubicBezTo>
                      <a:cubicBezTo>
                        <a:pt x="216" y="116"/>
                        <a:pt x="215" y="116"/>
                        <a:pt x="215" y="116"/>
                      </a:cubicBezTo>
                      <a:cubicBezTo>
                        <a:pt x="215" y="116"/>
                        <a:pt x="215" y="116"/>
                        <a:pt x="215" y="116"/>
                      </a:cubicBezTo>
                      <a:cubicBezTo>
                        <a:pt x="215" y="116"/>
                        <a:pt x="215" y="116"/>
                        <a:pt x="215" y="116"/>
                      </a:cubicBezTo>
                      <a:cubicBezTo>
                        <a:pt x="214" y="116"/>
                        <a:pt x="214" y="116"/>
                        <a:pt x="214" y="116"/>
                      </a:cubicBezTo>
                      <a:cubicBezTo>
                        <a:pt x="214" y="116"/>
                        <a:pt x="214" y="116"/>
                        <a:pt x="213" y="116"/>
                      </a:cubicBezTo>
                      <a:cubicBezTo>
                        <a:pt x="213" y="116"/>
                        <a:pt x="213" y="116"/>
                        <a:pt x="213" y="116"/>
                      </a:cubicBezTo>
                      <a:cubicBezTo>
                        <a:pt x="213" y="117"/>
                        <a:pt x="213" y="117"/>
                        <a:pt x="213" y="117"/>
                      </a:cubicBezTo>
                      <a:cubicBezTo>
                        <a:pt x="213" y="117"/>
                        <a:pt x="213" y="117"/>
                        <a:pt x="213" y="117"/>
                      </a:cubicBezTo>
                      <a:cubicBezTo>
                        <a:pt x="213" y="118"/>
                        <a:pt x="213" y="118"/>
                        <a:pt x="213" y="118"/>
                      </a:cubicBezTo>
                      <a:cubicBezTo>
                        <a:pt x="213" y="118"/>
                        <a:pt x="213" y="118"/>
                        <a:pt x="213" y="118"/>
                      </a:cubicBezTo>
                      <a:cubicBezTo>
                        <a:pt x="213" y="118"/>
                        <a:pt x="213" y="118"/>
                        <a:pt x="213" y="118"/>
                      </a:cubicBezTo>
                      <a:cubicBezTo>
                        <a:pt x="214" y="118"/>
                        <a:pt x="214" y="117"/>
                        <a:pt x="214" y="118"/>
                      </a:cubicBezTo>
                      <a:cubicBezTo>
                        <a:pt x="214" y="118"/>
                        <a:pt x="214" y="118"/>
                        <a:pt x="214" y="118"/>
                      </a:cubicBezTo>
                      <a:cubicBezTo>
                        <a:pt x="214" y="118"/>
                        <a:pt x="214" y="118"/>
                        <a:pt x="214" y="118"/>
                      </a:cubicBezTo>
                      <a:cubicBezTo>
                        <a:pt x="214" y="119"/>
                        <a:pt x="214" y="119"/>
                        <a:pt x="214" y="119"/>
                      </a:cubicBezTo>
                      <a:cubicBezTo>
                        <a:pt x="214" y="119"/>
                        <a:pt x="214" y="119"/>
                        <a:pt x="214" y="119"/>
                      </a:cubicBezTo>
                      <a:cubicBezTo>
                        <a:pt x="214" y="119"/>
                        <a:pt x="214" y="120"/>
                        <a:pt x="214" y="120"/>
                      </a:cubicBezTo>
                      <a:cubicBezTo>
                        <a:pt x="214" y="120"/>
                        <a:pt x="214" y="120"/>
                        <a:pt x="214" y="120"/>
                      </a:cubicBezTo>
                      <a:cubicBezTo>
                        <a:pt x="214" y="120"/>
                        <a:pt x="214" y="120"/>
                        <a:pt x="214" y="120"/>
                      </a:cubicBezTo>
                      <a:cubicBezTo>
                        <a:pt x="214" y="120"/>
                        <a:pt x="214" y="120"/>
                        <a:pt x="213" y="120"/>
                      </a:cubicBezTo>
                      <a:cubicBezTo>
                        <a:pt x="213" y="120"/>
                        <a:pt x="213" y="120"/>
                        <a:pt x="213" y="120"/>
                      </a:cubicBezTo>
                      <a:cubicBezTo>
                        <a:pt x="213" y="120"/>
                        <a:pt x="213" y="120"/>
                        <a:pt x="213" y="121"/>
                      </a:cubicBezTo>
                      <a:cubicBezTo>
                        <a:pt x="213" y="121"/>
                        <a:pt x="213" y="121"/>
                        <a:pt x="214" y="121"/>
                      </a:cubicBezTo>
                      <a:cubicBezTo>
                        <a:pt x="214" y="121"/>
                        <a:pt x="214" y="121"/>
                        <a:pt x="214" y="121"/>
                      </a:cubicBezTo>
                      <a:cubicBezTo>
                        <a:pt x="214" y="121"/>
                        <a:pt x="214" y="121"/>
                        <a:pt x="214" y="121"/>
                      </a:cubicBezTo>
                      <a:cubicBezTo>
                        <a:pt x="214" y="121"/>
                        <a:pt x="215" y="121"/>
                        <a:pt x="215" y="121"/>
                      </a:cubicBezTo>
                      <a:cubicBezTo>
                        <a:pt x="215" y="121"/>
                        <a:pt x="215" y="122"/>
                        <a:pt x="215" y="122"/>
                      </a:cubicBezTo>
                      <a:cubicBezTo>
                        <a:pt x="214" y="122"/>
                        <a:pt x="214" y="122"/>
                        <a:pt x="214" y="123"/>
                      </a:cubicBezTo>
                      <a:cubicBezTo>
                        <a:pt x="214" y="123"/>
                        <a:pt x="215" y="123"/>
                        <a:pt x="215" y="123"/>
                      </a:cubicBezTo>
                      <a:cubicBezTo>
                        <a:pt x="215" y="123"/>
                        <a:pt x="215" y="123"/>
                        <a:pt x="215" y="123"/>
                      </a:cubicBezTo>
                      <a:cubicBezTo>
                        <a:pt x="215" y="123"/>
                        <a:pt x="215" y="123"/>
                        <a:pt x="215" y="123"/>
                      </a:cubicBezTo>
                      <a:cubicBezTo>
                        <a:pt x="215" y="123"/>
                        <a:pt x="215" y="124"/>
                        <a:pt x="215" y="123"/>
                      </a:cubicBezTo>
                      <a:cubicBezTo>
                        <a:pt x="216" y="123"/>
                        <a:pt x="216" y="123"/>
                        <a:pt x="216" y="123"/>
                      </a:cubicBezTo>
                      <a:cubicBezTo>
                        <a:pt x="216" y="123"/>
                        <a:pt x="216" y="124"/>
                        <a:pt x="216" y="124"/>
                      </a:cubicBezTo>
                      <a:cubicBezTo>
                        <a:pt x="216" y="124"/>
                        <a:pt x="215" y="124"/>
                        <a:pt x="215" y="124"/>
                      </a:cubicBezTo>
                      <a:cubicBezTo>
                        <a:pt x="215" y="124"/>
                        <a:pt x="216" y="124"/>
                        <a:pt x="216" y="124"/>
                      </a:cubicBezTo>
                      <a:cubicBezTo>
                        <a:pt x="216" y="124"/>
                        <a:pt x="217" y="124"/>
                        <a:pt x="217" y="124"/>
                      </a:cubicBezTo>
                      <a:cubicBezTo>
                        <a:pt x="217" y="124"/>
                        <a:pt x="217" y="124"/>
                        <a:pt x="217" y="124"/>
                      </a:cubicBezTo>
                      <a:cubicBezTo>
                        <a:pt x="217" y="124"/>
                        <a:pt x="217" y="125"/>
                        <a:pt x="218" y="125"/>
                      </a:cubicBezTo>
                      <a:cubicBezTo>
                        <a:pt x="218" y="125"/>
                        <a:pt x="219" y="125"/>
                        <a:pt x="219" y="125"/>
                      </a:cubicBezTo>
                      <a:cubicBezTo>
                        <a:pt x="219" y="125"/>
                        <a:pt x="219" y="125"/>
                        <a:pt x="219" y="125"/>
                      </a:cubicBezTo>
                      <a:cubicBezTo>
                        <a:pt x="219" y="125"/>
                        <a:pt x="220" y="124"/>
                        <a:pt x="220" y="124"/>
                      </a:cubicBezTo>
                      <a:cubicBezTo>
                        <a:pt x="220" y="124"/>
                        <a:pt x="220" y="124"/>
                        <a:pt x="221" y="124"/>
                      </a:cubicBezTo>
                      <a:cubicBezTo>
                        <a:pt x="221" y="124"/>
                        <a:pt x="222" y="125"/>
                        <a:pt x="222" y="124"/>
                      </a:cubicBezTo>
                      <a:cubicBezTo>
                        <a:pt x="222" y="124"/>
                        <a:pt x="222" y="125"/>
                        <a:pt x="222" y="125"/>
                      </a:cubicBezTo>
                      <a:cubicBezTo>
                        <a:pt x="222" y="125"/>
                        <a:pt x="223" y="125"/>
                        <a:pt x="223" y="125"/>
                      </a:cubicBezTo>
                      <a:cubicBezTo>
                        <a:pt x="223" y="125"/>
                        <a:pt x="224" y="125"/>
                        <a:pt x="224" y="125"/>
                      </a:cubicBezTo>
                      <a:cubicBezTo>
                        <a:pt x="224" y="125"/>
                        <a:pt x="225" y="125"/>
                        <a:pt x="225" y="125"/>
                      </a:cubicBezTo>
                      <a:cubicBezTo>
                        <a:pt x="225" y="124"/>
                        <a:pt x="226" y="124"/>
                        <a:pt x="226" y="124"/>
                      </a:cubicBezTo>
                      <a:cubicBezTo>
                        <a:pt x="226" y="124"/>
                        <a:pt x="226" y="124"/>
                        <a:pt x="226" y="124"/>
                      </a:cubicBezTo>
                      <a:cubicBezTo>
                        <a:pt x="227" y="124"/>
                        <a:pt x="227" y="124"/>
                        <a:pt x="227" y="124"/>
                      </a:cubicBezTo>
                      <a:cubicBezTo>
                        <a:pt x="227" y="124"/>
                        <a:pt x="228" y="124"/>
                        <a:pt x="228" y="124"/>
                      </a:cubicBezTo>
                      <a:cubicBezTo>
                        <a:pt x="228" y="124"/>
                        <a:pt x="228" y="124"/>
                        <a:pt x="228" y="124"/>
                      </a:cubicBezTo>
                      <a:cubicBezTo>
                        <a:pt x="228" y="124"/>
                        <a:pt x="228" y="124"/>
                        <a:pt x="228" y="125"/>
                      </a:cubicBezTo>
                      <a:cubicBezTo>
                        <a:pt x="228" y="125"/>
                        <a:pt x="228" y="125"/>
                        <a:pt x="228" y="125"/>
                      </a:cubicBezTo>
                      <a:cubicBezTo>
                        <a:pt x="228" y="125"/>
                        <a:pt x="228" y="125"/>
                        <a:pt x="228" y="125"/>
                      </a:cubicBezTo>
                      <a:cubicBezTo>
                        <a:pt x="228" y="126"/>
                        <a:pt x="228" y="126"/>
                        <a:pt x="228" y="126"/>
                      </a:cubicBezTo>
                      <a:cubicBezTo>
                        <a:pt x="228" y="126"/>
                        <a:pt x="228" y="126"/>
                        <a:pt x="228" y="127"/>
                      </a:cubicBezTo>
                      <a:cubicBezTo>
                        <a:pt x="228" y="127"/>
                        <a:pt x="228" y="127"/>
                        <a:pt x="228" y="127"/>
                      </a:cubicBezTo>
                      <a:cubicBezTo>
                        <a:pt x="228" y="128"/>
                        <a:pt x="228" y="128"/>
                        <a:pt x="228" y="128"/>
                      </a:cubicBezTo>
                      <a:cubicBezTo>
                        <a:pt x="228" y="128"/>
                        <a:pt x="228" y="129"/>
                        <a:pt x="228" y="129"/>
                      </a:cubicBezTo>
                      <a:cubicBezTo>
                        <a:pt x="228" y="129"/>
                        <a:pt x="227" y="129"/>
                        <a:pt x="227" y="129"/>
                      </a:cubicBezTo>
                      <a:cubicBezTo>
                        <a:pt x="227" y="129"/>
                        <a:pt x="227" y="130"/>
                        <a:pt x="227" y="131"/>
                      </a:cubicBezTo>
                      <a:cubicBezTo>
                        <a:pt x="227" y="131"/>
                        <a:pt x="226" y="133"/>
                        <a:pt x="226" y="133"/>
                      </a:cubicBezTo>
                      <a:cubicBezTo>
                        <a:pt x="226" y="133"/>
                        <a:pt x="226" y="134"/>
                        <a:pt x="226" y="134"/>
                      </a:cubicBezTo>
                      <a:cubicBezTo>
                        <a:pt x="226" y="135"/>
                        <a:pt x="225" y="136"/>
                        <a:pt x="225" y="136"/>
                      </a:cubicBezTo>
                      <a:cubicBezTo>
                        <a:pt x="225" y="136"/>
                        <a:pt x="224" y="136"/>
                        <a:pt x="224" y="136"/>
                      </a:cubicBezTo>
                      <a:cubicBezTo>
                        <a:pt x="223" y="136"/>
                        <a:pt x="222" y="136"/>
                        <a:pt x="222" y="136"/>
                      </a:cubicBezTo>
                      <a:cubicBezTo>
                        <a:pt x="222" y="136"/>
                        <a:pt x="222" y="135"/>
                        <a:pt x="222" y="135"/>
                      </a:cubicBezTo>
                      <a:cubicBezTo>
                        <a:pt x="221" y="135"/>
                        <a:pt x="221" y="136"/>
                        <a:pt x="221" y="135"/>
                      </a:cubicBezTo>
                      <a:cubicBezTo>
                        <a:pt x="221" y="135"/>
                        <a:pt x="220" y="135"/>
                        <a:pt x="220" y="135"/>
                      </a:cubicBezTo>
                      <a:cubicBezTo>
                        <a:pt x="220" y="135"/>
                        <a:pt x="220" y="135"/>
                        <a:pt x="220" y="135"/>
                      </a:cubicBezTo>
                      <a:cubicBezTo>
                        <a:pt x="219" y="135"/>
                        <a:pt x="219" y="136"/>
                        <a:pt x="219" y="136"/>
                      </a:cubicBezTo>
                      <a:cubicBezTo>
                        <a:pt x="219" y="136"/>
                        <a:pt x="219" y="136"/>
                        <a:pt x="218" y="136"/>
                      </a:cubicBezTo>
                      <a:cubicBezTo>
                        <a:pt x="218" y="136"/>
                        <a:pt x="218" y="137"/>
                        <a:pt x="217" y="137"/>
                      </a:cubicBezTo>
                      <a:cubicBezTo>
                        <a:pt x="217" y="137"/>
                        <a:pt x="217" y="137"/>
                        <a:pt x="217" y="136"/>
                      </a:cubicBezTo>
                      <a:cubicBezTo>
                        <a:pt x="216" y="136"/>
                        <a:pt x="216" y="136"/>
                        <a:pt x="216" y="136"/>
                      </a:cubicBezTo>
                      <a:cubicBezTo>
                        <a:pt x="215" y="136"/>
                        <a:pt x="215" y="136"/>
                        <a:pt x="215" y="136"/>
                      </a:cubicBezTo>
                      <a:cubicBezTo>
                        <a:pt x="215" y="136"/>
                        <a:pt x="214" y="135"/>
                        <a:pt x="214" y="135"/>
                      </a:cubicBezTo>
                      <a:cubicBezTo>
                        <a:pt x="214" y="135"/>
                        <a:pt x="213" y="135"/>
                        <a:pt x="213" y="135"/>
                      </a:cubicBezTo>
                      <a:cubicBezTo>
                        <a:pt x="213" y="135"/>
                        <a:pt x="212" y="135"/>
                        <a:pt x="212" y="135"/>
                      </a:cubicBezTo>
                      <a:cubicBezTo>
                        <a:pt x="212" y="135"/>
                        <a:pt x="211" y="135"/>
                        <a:pt x="211" y="135"/>
                      </a:cubicBezTo>
                      <a:cubicBezTo>
                        <a:pt x="211" y="135"/>
                        <a:pt x="211" y="134"/>
                        <a:pt x="211" y="134"/>
                      </a:cubicBezTo>
                      <a:cubicBezTo>
                        <a:pt x="211" y="134"/>
                        <a:pt x="210" y="134"/>
                        <a:pt x="210" y="134"/>
                      </a:cubicBezTo>
                      <a:cubicBezTo>
                        <a:pt x="209" y="134"/>
                        <a:pt x="210" y="134"/>
                        <a:pt x="209" y="134"/>
                      </a:cubicBezTo>
                      <a:cubicBezTo>
                        <a:pt x="209" y="134"/>
                        <a:pt x="208" y="134"/>
                        <a:pt x="208" y="134"/>
                      </a:cubicBezTo>
                      <a:cubicBezTo>
                        <a:pt x="208" y="133"/>
                        <a:pt x="208" y="133"/>
                        <a:pt x="208" y="133"/>
                      </a:cubicBezTo>
                      <a:cubicBezTo>
                        <a:pt x="208" y="133"/>
                        <a:pt x="207" y="133"/>
                        <a:pt x="207" y="133"/>
                      </a:cubicBezTo>
                      <a:cubicBezTo>
                        <a:pt x="207" y="132"/>
                        <a:pt x="206" y="132"/>
                        <a:pt x="206" y="132"/>
                      </a:cubicBezTo>
                      <a:cubicBezTo>
                        <a:pt x="206" y="132"/>
                        <a:pt x="205" y="132"/>
                        <a:pt x="205" y="133"/>
                      </a:cubicBezTo>
                      <a:cubicBezTo>
                        <a:pt x="205" y="133"/>
                        <a:pt x="204" y="133"/>
                        <a:pt x="204" y="133"/>
                      </a:cubicBezTo>
                      <a:cubicBezTo>
                        <a:pt x="204" y="134"/>
                        <a:pt x="203" y="134"/>
                        <a:pt x="203" y="135"/>
                      </a:cubicBezTo>
                      <a:cubicBezTo>
                        <a:pt x="203" y="135"/>
                        <a:pt x="204" y="136"/>
                        <a:pt x="204" y="136"/>
                      </a:cubicBezTo>
                      <a:cubicBezTo>
                        <a:pt x="204" y="136"/>
                        <a:pt x="203" y="137"/>
                        <a:pt x="203" y="137"/>
                      </a:cubicBezTo>
                      <a:cubicBezTo>
                        <a:pt x="203" y="137"/>
                        <a:pt x="203" y="138"/>
                        <a:pt x="202" y="138"/>
                      </a:cubicBezTo>
                      <a:cubicBezTo>
                        <a:pt x="202" y="138"/>
                        <a:pt x="201" y="138"/>
                        <a:pt x="201" y="137"/>
                      </a:cubicBezTo>
                      <a:cubicBezTo>
                        <a:pt x="200" y="137"/>
                        <a:pt x="200" y="137"/>
                        <a:pt x="200" y="136"/>
                      </a:cubicBezTo>
                      <a:cubicBezTo>
                        <a:pt x="199" y="136"/>
                        <a:pt x="199" y="136"/>
                        <a:pt x="198" y="136"/>
                      </a:cubicBezTo>
                      <a:cubicBezTo>
                        <a:pt x="198" y="136"/>
                        <a:pt x="198" y="136"/>
                        <a:pt x="197" y="136"/>
                      </a:cubicBezTo>
                      <a:cubicBezTo>
                        <a:pt x="197" y="136"/>
                        <a:pt x="196" y="135"/>
                        <a:pt x="196" y="135"/>
                      </a:cubicBezTo>
                      <a:cubicBezTo>
                        <a:pt x="196" y="134"/>
                        <a:pt x="196" y="134"/>
                        <a:pt x="196" y="134"/>
                      </a:cubicBezTo>
                      <a:cubicBezTo>
                        <a:pt x="196" y="133"/>
                        <a:pt x="195" y="133"/>
                        <a:pt x="195" y="133"/>
                      </a:cubicBezTo>
                      <a:cubicBezTo>
                        <a:pt x="195" y="133"/>
                        <a:pt x="194" y="133"/>
                        <a:pt x="194" y="133"/>
                      </a:cubicBezTo>
                      <a:cubicBezTo>
                        <a:pt x="194" y="133"/>
                        <a:pt x="193" y="133"/>
                        <a:pt x="193" y="132"/>
                      </a:cubicBezTo>
                      <a:cubicBezTo>
                        <a:pt x="193" y="132"/>
                        <a:pt x="193" y="132"/>
                        <a:pt x="193" y="132"/>
                      </a:cubicBezTo>
                      <a:cubicBezTo>
                        <a:pt x="193" y="132"/>
                        <a:pt x="193" y="132"/>
                        <a:pt x="193" y="133"/>
                      </a:cubicBezTo>
                      <a:cubicBezTo>
                        <a:pt x="192" y="133"/>
                        <a:pt x="192" y="133"/>
                        <a:pt x="191" y="132"/>
                      </a:cubicBezTo>
                      <a:cubicBezTo>
                        <a:pt x="191" y="132"/>
                        <a:pt x="191" y="132"/>
                        <a:pt x="190" y="132"/>
                      </a:cubicBezTo>
                      <a:cubicBezTo>
                        <a:pt x="190" y="132"/>
                        <a:pt x="190" y="132"/>
                        <a:pt x="190" y="132"/>
                      </a:cubicBezTo>
                      <a:cubicBezTo>
                        <a:pt x="190" y="132"/>
                        <a:pt x="190" y="131"/>
                        <a:pt x="190" y="131"/>
                      </a:cubicBezTo>
                      <a:cubicBezTo>
                        <a:pt x="190" y="131"/>
                        <a:pt x="190" y="130"/>
                        <a:pt x="190" y="130"/>
                      </a:cubicBezTo>
                      <a:cubicBezTo>
                        <a:pt x="189" y="130"/>
                        <a:pt x="189" y="130"/>
                        <a:pt x="189" y="130"/>
                      </a:cubicBezTo>
                      <a:cubicBezTo>
                        <a:pt x="189" y="130"/>
                        <a:pt x="189" y="131"/>
                        <a:pt x="189" y="131"/>
                      </a:cubicBezTo>
                      <a:cubicBezTo>
                        <a:pt x="189" y="131"/>
                        <a:pt x="189" y="131"/>
                        <a:pt x="189" y="131"/>
                      </a:cubicBezTo>
                      <a:cubicBezTo>
                        <a:pt x="189" y="131"/>
                        <a:pt x="189" y="131"/>
                        <a:pt x="189" y="131"/>
                      </a:cubicBezTo>
                      <a:cubicBezTo>
                        <a:pt x="189" y="131"/>
                        <a:pt x="189" y="131"/>
                        <a:pt x="189" y="131"/>
                      </a:cubicBezTo>
                      <a:cubicBezTo>
                        <a:pt x="189" y="131"/>
                        <a:pt x="189" y="131"/>
                        <a:pt x="189" y="131"/>
                      </a:cubicBezTo>
                      <a:cubicBezTo>
                        <a:pt x="189" y="131"/>
                        <a:pt x="188" y="130"/>
                        <a:pt x="188" y="130"/>
                      </a:cubicBezTo>
                      <a:cubicBezTo>
                        <a:pt x="188" y="130"/>
                        <a:pt x="188" y="129"/>
                        <a:pt x="188" y="129"/>
                      </a:cubicBezTo>
                      <a:cubicBezTo>
                        <a:pt x="188" y="129"/>
                        <a:pt x="189" y="129"/>
                        <a:pt x="189" y="128"/>
                      </a:cubicBezTo>
                      <a:cubicBezTo>
                        <a:pt x="189" y="128"/>
                        <a:pt x="190" y="128"/>
                        <a:pt x="190" y="127"/>
                      </a:cubicBezTo>
                      <a:cubicBezTo>
                        <a:pt x="190" y="127"/>
                        <a:pt x="190" y="127"/>
                        <a:pt x="190" y="127"/>
                      </a:cubicBezTo>
                      <a:cubicBezTo>
                        <a:pt x="190" y="126"/>
                        <a:pt x="189" y="126"/>
                        <a:pt x="189" y="126"/>
                      </a:cubicBezTo>
                      <a:cubicBezTo>
                        <a:pt x="189" y="126"/>
                        <a:pt x="189" y="125"/>
                        <a:pt x="189" y="125"/>
                      </a:cubicBezTo>
                      <a:cubicBezTo>
                        <a:pt x="189" y="125"/>
                        <a:pt x="189" y="125"/>
                        <a:pt x="189" y="124"/>
                      </a:cubicBezTo>
                      <a:cubicBezTo>
                        <a:pt x="189" y="124"/>
                        <a:pt x="190" y="124"/>
                        <a:pt x="190" y="124"/>
                      </a:cubicBezTo>
                      <a:cubicBezTo>
                        <a:pt x="190" y="123"/>
                        <a:pt x="190" y="123"/>
                        <a:pt x="190" y="123"/>
                      </a:cubicBezTo>
                      <a:cubicBezTo>
                        <a:pt x="189" y="123"/>
                        <a:pt x="189" y="124"/>
                        <a:pt x="189" y="124"/>
                      </a:cubicBezTo>
                      <a:cubicBezTo>
                        <a:pt x="189" y="124"/>
                        <a:pt x="189" y="124"/>
                        <a:pt x="189" y="124"/>
                      </a:cubicBezTo>
                      <a:cubicBezTo>
                        <a:pt x="189" y="124"/>
                        <a:pt x="188" y="124"/>
                        <a:pt x="188" y="124"/>
                      </a:cubicBezTo>
                      <a:cubicBezTo>
                        <a:pt x="188" y="123"/>
                        <a:pt x="188" y="123"/>
                        <a:pt x="188" y="123"/>
                      </a:cubicBezTo>
                      <a:cubicBezTo>
                        <a:pt x="188" y="123"/>
                        <a:pt x="188" y="123"/>
                        <a:pt x="187" y="123"/>
                      </a:cubicBezTo>
                      <a:cubicBezTo>
                        <a:pt x="187" y="123"/>
                        <a:pt x="187" y="123"/>
                        <a:pt x="186" y="123"/>
                      </a:cubicBezTo>
                      <a:cubicBezTo>
                        <a:pt x="186" y="123"/>
                        <a:pt x="186" y="124"/>
                        <a:pt x="186" y="124"/>
                      </a:cubicBezTo>
                      <a:cubicBezTo>
                        <a:pt x="185" y="124"/>
                        <a:pt x="185" y="124"/>
                        <a:pt x="184" y="124"/>
                      </a:cubicBezTo>
                      <a:cubicBezTo>
                        <a:pt x="184" y="123"/>
                        <a:pt x="184" y="123"/>
                        <a:pt x="184" y="123"/>
                      </a:cubicBezTo>
                      <a:cubicBezTo>
                        <a:pt x="183" y="124"/>
                        <a:pt x="183" y="124"/>
                        <a:pt x="183" y="124"/>
                      </a:cubicBezTo>
                      <a:cubicBezTo>
                        <a:pt x="183" y="124"/>
                        <a:pt x="183" y="123"/>
                        <a:pt x="182" y="123"/>
                      </a:cubicBezTo>
                      <a:cubicBezTo>
                        <a:pt x="182" y="123"/>
                        <a:pt x="182" y="124"/>
                        <a:pt x="182" y="124"/>
                      </a:cubicBezTo>
                      <a:cubicBezTo>
                        <a:pt x="182" y="124"/>
                        <a:pt x="181" y="124"/>
                        <a:pt x="181" y="124"/>
                      </a:cubicBezTo>
                      <a:cubicBezTo>
                        <a:pt x="181" y="124"/>
                        <a:pt x="181" y="124"/>
                        <a:pt x="181" y="124"/>
                      </a:cubicBezTo>
                      <a:cubicBezTo>
                        <a:pt x="181" y="124"/>
                        <a:pt x="181" y="124"/>
                        <a:pt x="180" y="124"/>
                      </a:cubicBezTo>
                      <a:cubicBezTo>
                        <a:pt x="180" y="124"/>
                        <a:pt x="180" y="124"/>
                        <a:pt x="179" y="124"/>
                      </a:cubicBezTo>
                      <a:cubicBezTo>
                        <a:pt x="179" y="124"/>
                        <a:pt x="178" y="124"/>
                        <a:pt x="178" y="124"/>
                      </a:cubicBezTo>
                      <a:cubicBezTo>
                        <a:pt x="178" y="124"/>
                        <a:pt x="177" y="124"/>
                        <a:pt x="177" y="124"/>
                      </a:cubicBezTo>
                      <a:cubicBezTo>
                        <a:pt x="177" y="124"/>
                        <a:pt x="177" y="124"/>
                        <a:pt x="177" y="124"/>
                      </a:cubicBezTo>
                      <a:cubicBezTo>
                        <a:pt x="176" y="124"/>
                        <a:pt x="176" y="124"/>
                        <a:pt x="175" y="125"/>
                      </a:cubicBezTo>
                      <a:cubicBezTo>
                        <a:pt x="175" y="125"/>
                        <a:pt x="174" y="125"/>
                        <a:pt x="174" y="125"/>
                      </a:cubicBezTo>
                      <a:cubicBezTo>
                        <a:pt x="174" y="125"/>
                        <a:pt x="174" y="125"/>
                        <a:pt x="174" y="125"/>
                      </a:cubicBezTo>
                      <a:cubicBezTo>
                        <a:pt x="174" y="125"/>
                        <a:pt x="173" y="125"/>
                        <a:pt x="173" y="125"/>
                      </a:cubicBezTo>
                      <a:cubicBezTo>
                        <a:pt x="173" y="126"/>
                        <a:pt x="173" y="126"/>
                        <a:pt x="173" y="126"/>
                      </a:cubicBezTo>
                      <a:cubicBezTo>
                        <a:pt x="172" y="126"/>
                        <a:pt x="172" y="126"/>
                        <a:pt x="172" y="126"/>
                      </a:cubicBezTo>
                      <a:cubicBezTo>
                        <a:pt x="172" y="126"/>
                        <a:pt x="172" y="126"/>
                        <a:pt x="172" y="126"/>
                      </a:cubicBezTo>
                      <a:cubicBezTo>
                        <a:pt x="171" y="126"/>
                        <a:pt x="171" y="126"/>
                        <a:pt x="171" y="127"/>
                      </a:cubicBezTo>
                      <a:cubicBezTo>
                        <a:pt x="171" y="127"/>
                        <a:pt x="171" y="127"/>
                        <a:pt x="171" y="127"/>
                      </a:cubicBezTo>
                      <a:cubicBezTo>
                        <a:pt x="170" y="127"/>
                        <a:pt x="170" y="127"/>
                        <a:pt x="170" y="127"/>
                      </a:cubicBezTo>
                      <a:cubicBezTo>
                        <a:pt x="170" y="128"/>
                        <a:pt x="170" y="128"/>
                        <a:pt x="169" y="128"/>
                      </a:cubicBezTo>
                      <a:cubicBezTo>
                        <a:pt x="169" y="128"/>
                        <a:pt x="168" y="127"/>
                        <a:pt x="168" y="127"/>
                      </a:cubicBezTo>
                      <a:cubicBezTo>
                        <a:pt x="168" y="127"/>
                        <a:pt x="168" y="127"/>
                        <a:pt x="167" y="127"/>
                      </a:cubicBezTo>
                      <a:cubicBezTo>
                        <a:pt x="167" y="127"/>
                        <a:pt x="166" y="127"/>
                        <a:pt x="166" y="127"/>
                      </a:cubicBezTo>
                      <a:cubicBezTo>
                        <a:pt x="166" y="127"/>
                        <a:pt x="165" y="127"/>
                        <a:pt x="165" y="127"/>
                      </a:cubicBezTo>
                      <a:cubicBezTo>
                        <a:pt x="165" y="127"/>
                        <a:pt x="165" y="126"/>
                        <a:pt x="165" y="126"/>
                      </a:cubicBezTo>
                      <a:cubicBezTo>
                        <a:pt x="164" y="126"/>
                        <a:pt x="164" y="126"/>
                        <a:pt x="164" y="126"/>
                      </a:cubicBezTo>
                      <a:cubicBezTo>
                        <a:pt x="164" y="126"/>
                        <a:pt x="164" y="126"/>
                        <a:pt x="164" y="126"/>
                      </a:cubicBezTo>
                      <a:cubicBezTo>
                        <a:pt x="164" y="126"/>
                        <a:pt x="163" y="126"/>
                        <a:pt x="163" y="127"/>
                      </a:cubicBezTo>
                      <a:cubicBezTo>
                        <a:pt x="163" y="127"/>
                        <a:pt x="163" y="129"/>
                        <a:pt x="163" y="129"/>
                      </a:cubicBezTo>
                      <a:cubicBezTo>
                        <a:pt x="162" y="130"/>
                        <a:pt x="161" y="131"/>
                        <a:pt x="160" y="131"/>
                      </a:cubicBezTo>
                      <a:cubicBezTo>
                        <a:pt x="160" y="131"/>
                        <a:pt x="159" y="131"/>
                        <a:pt x="159" y="132"/>
                      </a:cubicBezTo>
                      <a:cubicBezTo>
                        <a:pt x="159" y="132"/>
                        <a:pt x="159" y="132"/>
                        <a:pt x="159" y="133"/>
                      </a:cubicBezTo>
                      <a:cubicBezTo>
                        <a:pt x="159" y="133"/>
                        <a:pt x="158" y="133"/>
                        <a:pt x="158" y="133"/>
                      </a:cubicBezTo>
                      <a:cubicBezTo>
                        <a:pt x="158" y="134"/>
                        <a:pt x="158" y="134"/>
                        <a:pt x="158" y="135"/>
                      </a:cubicBezTo>
                      <a:cubicBezTo>
                        <a:pt x="158" y="135"/>
                        <a:pt x="158" y="136"/>
                        <a:pt x="158" y="136"/>
                      </a:cubicBezTo>
                      <a:cubicBezTo>
                        <a:pt x="158" y="137"/>
                        <a:pt x="158" y="138"/>
                        <a:pt x="158" y="138"/>
                      </a:cubicBezTo>
                      <a:cubicBezTo>
                        <a:pt x="158" y="138"/>
                        <a:pt x="157" y="139"/>
                        <a:pt x="157" y="140"/>
                      </a:cubicBezTo>
                      <a:cubicBezTo>
                        <a:pt x="157" y="140"/>
                        <a:pt x="157" y="141"/>
                        <a:pt x="157" y="141"/>
                      </a:cubicBezTo>
                      <a:cubicBezTo>
                        <a:pt x="156" y="141"/>
                        <a:pt x="156" y="141"/>
                        <a:pt x="156" y="141"/>
                      </a:cubicBezTo>
                      <a:cubicBezTo>
                        <a:pt x="155" y="142"/>
                        <a:pt x="155" y="142"/>
                        <a:pt x="155" y="142"/>
                      </a:cubicBezTo>
                      <a:cubicBezTo>
                        <a:pt x="155" y="142"/>
                        <a:pt x="154" y="143"/>
                        <a:pt x="153" y="143"/>
                      </a:cubicBezTo>
                      <a:cubicBezTo>
                        <a:pt x="153" y="143"/>
                        <a:pt x="153" y="143"/>
                        <a:pt x="153" y="143"/>
                      </a:cubicBezTo>
                      <a:cubicBezTo>
                        <a:pt x="152" y="144"/>
                        <a:pt x="152" y="145"/>
                        <a:pt x="152" y="145"/>
                      </a:cubicBezTo>
                      <a:cubicBezTo>
                        <a:pt x="152" y="145"/>
                        <a:pt x="152" y="146"/>
                        <a:pt x="152" y="146"/>
                      </a:cubicBezTo>
                      <a:cubicBezTo>
                        <a:pt x="151" y="146"/>
                        <a:pt x="151" y="146"/>
                        <a:pt x="150" y="147"/>
                      </a:cubicBezTo>
                      <a:cubicBezTo>
                        <a:pt x="150" y="147"/>
                        <a:pt x="150" y="148"/>
                        <a:pt x="150" y="148"/>
                      </a:cubicBezTo>
                      <a:cubicBezTo>
                        <a:pt x="150" y="149"/>
                        <a:pt x="150" y="150"/>
                        <a:pt x="150" y="150"/>
                      </a:cubicBezTo>
                      <a:cubicBezTo>
                        <a:pt x="150" y="150"/>
                        <a:pt x="149" y="150"/>
                        <a:pt x="149" y="151"/>
                      </a:cubicBezTo>
                      <a:cubicBezTo>
                        <a:pt x="149" y="151"/>
                        <a:pt x="148" y="152"/>
                        <a:pt x="148" y="152"/>
                      </a:cubicBezTo>
                      <a:cubicBezTo>
                        <a:pt x="148" y="152"/>
                        <a:pt x="148" y="154"/>
                        <a:pt x="148" y="154"/>
                      </a:cubicBezTo>
                      <a:cubicBezTo>
                        <a:pt x="148" y="154"/>
                        <a:pt x="147" y="155"/>
                        <a:pt x="147" y="155"/>
                      </a:cubicBezTo>
                      <a:cubicBezTo>
                        <a:pt x="147" y="155"/>
                        <a:pt x="147" y="155"/>
                        <a:pt x="147" y="156"/>
                      </a:cubicBezTo>
                      <a:cubicBezTo>
                        <a:pt x="147" y="157"/>
                        <a:pt x="146" y="158"/>
                        <a:pt x="146" y="158"/>
                      </a:cubicBezTo>
                      <a:cubicBezTo>
                        <a:pt x="146" y="158"/>
                        <a:pt x="147" y="158"/>
                        <a:pt x="147" y="158"/>
                      </a:cubicBezTo>
                      <a:cubicBezTo>
                        <a:pt x="147" y="158"/>
                        <a:pt x="147" y="158"/>
                        <a:pt x="147" y="158"/>
                      </a:cubicBezTo>
                      <a:cubicBezTo>
                        <a:pt x="147" y="158"/>
                        <a:pt x="147" y="158"/>
                        <a:pt x="147" y="158"/>
                      </a:cubicBezTo>
                      <a:cubicBezTo>
                        <a:pt x="147" y="159"/>
                        <a:pt x="147" y="159"/>
                        <a:pt x="147" y="159"/>
                      </a:cubicBezTo>
                      <a:cubicBezTo>
                        <a:pt x="147" y="159"/>
                        <a:pt x="147" y="159"/>
                        <a:pt x="147" y="159"/>
                      </a:cubicBezTo>
                      <a:cubicBezTo>
                        <a:pt x="147" y="159"/>
                        <a:pt x="148" y="159"/>
                        <a:pt x="148" y="159"/>
                      </a:cubicBezTo>
                      <a:cubicBezTo>
                        <a:pt x="148" y="160"/>
                        <a:pt x="148" y="160"/>
                        <a:pt x="148" y="160"/>
                      </a:cubicBezTo>
                      <a:cubicBezTo>
                        <a:pt x="148" y="161"/>
                        <a:pt x="147" y="160"/>
                        <a:pt x="147" y="161"/>
                      </a:cubicBezTo>
                      <a:cubicBezTo>
                        <a:pt x="147" y="161"/>
                        <a:pt x="147" y="161"/>
                        <a:pt x="147" y="161"/>
                      </a:cubicBezTo>
                      <a:cubicBezTo>
                        <a:pt x="148" y="161"/>
                        <a:pt x="147" y="162"/>
                        <a:pt x="147" y="162"/>
                      </a:cubicBezTo>
                      <a:cubicBezTo>
                        <a:pt x="147" y="162"/>
                        <a:pt x="148" y="162"/>
                        <a:pt x="148" y="162"/>
                      </a:cubicBezTo>
                      <a:cubicBezTo>
                        <a:pt x="148" y="163"/>
                        <a:pt x="148" y="165"/>
                        <a:pt x="148" y="166"/>
                      </a:cubicBezTo>
                      <a:cubicBezTo>
                        <a:pt x="148" y="166"/>
                        <a:pt x="147" y="167"/>
                        <a:pt x="147" y="168"/>
                      </a:cubicBezTo>
                      <a:cubicBezTo>
                        <a:pt x="147" y="168"/>
                        <a:pt x="147" y="169"/>
                        <a:pt x="147" y="169"/>
                      </a:cubicBezTo>
                      <a:cubicBezTo>
                        <a:pt x="147" y="170"/>
                        <a:pt x="146" y="171"/>
                        <a:pt x="146" y="171"/>
                      </a:cubicBezTo>
                      <a:cubicBezTo>
                        <a:pt x="146" y="171"/>
                        <a:pt x="147" y="172"/>
                        <a:pt x="147" y="173"/>
                      </a:cubicBezTo>
                      <a:cubicBezTo>
                        <a:pt x="147" y="174"/>
                        <a:pt x="147" y="174"/>
                        <a:pt x="147" y="174"/>
                      </a:cubicBezTo>
                      <a:cubicBezTo>
                        <a:pt x="147" y="174"/>
                        <a:pt x="147" y="174"/>
                        <a:pt x="147" y="174"/>
                      </a:cubicBezTo>
                      <a:cubicBezTo>
                        <a:pt x="147" y="175"/>
                        <a:pt x="147" y="175"/>
                        <a:pt x="147" y="175"/>
                      </a:cubicBezTo>
                      <a:cubicBezTo>
                        <a:pt x="147" y="176"/>
                        <a:pt x="147" y="178"/>
                        <a:pt x="147" y="178"/>
                      </a:cubicBezTo>
                      <a:cubicBezTo>
                        <a:pt x="147" y="178"/>
                        <a:pt x="148" y="178"/>
                        <a:pt x="148" y="178"/>
                      </a:cubicBezTo>
                      <a:cubicBezTo>
                        <a:pt x="148" y="178"/>
                        <a:pt x="148" y="178"/>
                        <a:pt x="148" y="178"/>
                      </a:cubicBezTo>
                      <a:cubicBezTo>
                        <a:pt x="149" y="178"/>
                        <a:pt x="149" y="179"/>
                        <a:pt x="149" y="179"/>
                      </a:cubicBezTo>
                      <a:cubicBezTo>
                        <a:pt x="149" y="179"/>
                        <a:pt x="149" y="180"/>
                        <a:pt x="149" y="180"/>
                      </a:cubicBezTo>
                      <a:cubicBezTo>
                        <a:pt x="149" y="180"/>
                        <a:pt x="150" y="180"/>
                        <a:pt x="150" y="180"/>
                      </a:cubicBezTo>
                      <a:cubicBezTo>
                        <a:pt x="150" y="180"/>
                        <a:pt x="150" y="180"/>
                        <a:pt x="150" y="180"/>
                      </a:cubicBezTo>
                      <a:cubicBezTo>
                        <a:pt x="150" y="181"/>
                        <a:pt x="150" y="181"/>
                        <a:pt x="150" y="181"/>
                      </a:cubicBezTo>
                      <a:cubicBezTo>
                        <a:pt x="151" y="181"/>
                        <a:pt x="151" y="182"/>
                        <a:pt x="151" y="182"/>
                      </a:cubicBezTo>
                      <a:cubicBezTo>
                        <a:pt x="151" y="182"/>
                        <a:pt x="152" y="182"/>
                        <a:pt x="152" y="183"/>
                      </a:cubicBezTo>
                      <a:cubicBezTo>
                        <a:pt x="152" y="183"/>
                        <a:pt x="152" y="184"/>
                        <a:pt x="152" y="184"/>
                      </a:cubicBezTo>
                      <a:cubicBezTo>
                        <a:pt x="152" y="185"/>
                        <a:pt x="152" y="185"/>
                        <a:pt x="153" y="185"/>
                      </a:cubicBezTo>
                      <a:cubicBezTo>
                        <a:pt x="153" y="185"/>
                        <a:pt x="153" y="186"/>
                        <a:pt x="153" y="186"/>
                      </a:cubicBezTo>
                      <a:cubicBezTo>
                        <a:pt x="153" y="187"/>
                        <a:pt x="154" y="187"/>
                        <a:pt x="154" y="187"/>
                      </a:cubicBezTo>
                      <a:cubicBezTo>
                        <a:pt x="154" y="187"/>
                        <a:pt x="154" y="188"/>
                        <a:pt x="154" y="188"/>
                      </a:cubicBezTo>
                      <a:cubicBezTo>
                        <a:pt x="155" y="188"/>
                        <a:pt x="155" y="189"/>
                        <a:pt x="156" y="189"/>
                      </a:cubicBezTo>
                      <a:cubicBezTo>
                        <a:pt x="156" y="189"/>
                        <a:pt x="156" y="190"/>
                        <a:pt x="156" y="190"/>
                      </a:cubicBezTo>
                      <a:cubicBezTo>
                        <a:pt x="157" y="190"/>
                        <a:pt x="157" y="190"/>
                        <a:pt x="157" y="190"/>
                      </a:cubicBezTo>
                      <a:cubicBezTo>
                        <a:pt x="157" y="190"/>
                        <a:pt x="158" y="191"/>
                        <a:pt x="158" y="191"/>
                      </a:cubicBezTo>
                      <a:cubicBezTo>
                        <a:pt x="158" y="192"/>
                        <a:pt x="158" y="192"/>
                        <a:pt x="158" y="192"/>
                      </a:cubicBezTo>
                      <a:cubicBezTo>
                        <a:pt x="159" y="192"/>
                        <a:pt x="160" y="193"/>
                        <a:pt x="160" y="193"/>
                      </a:cubicBezTo>
                      <a:cubicBezTo>
                        <a:pt x="160" y="193"/>
                        <a:pt x="161" y="194"/>
                        <a:pt x="161" y="194"/>
                      </a:cubicBezTo>
                      <a:cubicBezTo>
                        <a:pt x="161" y="194"/>
                        <a:pt x="163" y="193"/>
                        <a:pt x="163" y="193"/>
                      </a:cubicBezTo>
                      <a:cubicBezTo>
                        <a:pt x="163" y="193"/>
                        <a:pt x="165" y="192"/>
                        <a:pt x="165" y="192"/>
                      </a:cubicBezTo>
                      <a:cubicBezTo>
                        <a:pt x="165" y="192"/>
                        <a:pt x="167" y="192"/>
                        <a:pt x="167" y="192"/>
                      </a:cubicBezTo>
                      <a:cubicBezTo>
                        <a:pt x="168" y="192"/>
                        <a:pt x="169" y="193"/>
                        <a:pt x="169" y="193"/>
                      </a:cubicBezTo>
                      <a:cubicBezTo>
                        <a:pt x="170" y="193"/>
                        <a:pt x="170" y="193"/>
                        <a:pt x="170" y="193"/>
                      </a:cubicBezTo>
                      <a:cubicBezTo>
                        <a:pt x="170" y="193"/>
                        <a:pt x="171" y="192"/>
                        <a:pt x="171" y="192"/>
                      </a:cubicBezTo>
                      <a:cubicBezTo>
                        <a:pt x="172" y="192"/>
                        <a:pt x="172" y="192"/>
                        <a:pt x="172" y="192"/>
                      </a:cubicBezTo>
                      <a:cubicBezTo>
                        <a:pt x="172" y="191"/>
                        <a:pt x="173" y="191"/>
                        <a:pt x="173" y="191"/>
                      </a:cubicBezTo>
                      <a:cubicBezTo>
                        <a:pt x="173" y="191"/>
                        <a:pt x="174" y="191"/>
                        <a:pt x="174" y="191"/>
                      </a:cubicBezTo>
                      <a:cubicBezTo>
                        <a:pt x="174" y="191"/>
                        <a:pt x="174" y="190"/>
                        <a:pt x="175" y="190"/>
                      </a:cubicBezTo>
                      <a:cubicBezTo>
                        <a:pt x="175" y="190"/>
                        <a:pt x="175" y="189"/>
                        <a:pt x="176" y="189"/>
                      </a:cubicBezTo>
                      <a:cubicBezTo>
                        <a:pt x="177" y="189"/>
                        <a:pt x="179" y="189"/>
                        <a:pt x="179" y="189"/>
                      </a:cubicBezTo>
                      <a:cubicBezTo>
                        <a:pt x="179" y="189"/>
                        <a:pt x="179" y="189"/>
                        <a:pt x="180" y="190"/>
                      </a:cubicBezTo>
                      <a:cubicBezTo>
                        <a:pt x="180" y="190"/>
                        <a:pt x="181" y="192"/>
                        <a:pt x="181" y="192"/>
                      </a:cubicBezTo>
                      <a:cubicBezTo>
                        <a:pt x="181" y="193"/>
                        <a:pt x="181" y="194"/>
                        <a:pt x="181" y="194"/>
                      </a:cubicBezTo>
                      <a:cubicBezTo>
                        <a:pt x="182" y="194"/>
                        <a:pt x="182" y="194"/>
                        <a:pt x="182" y="194"/>
                      </a:cubicBezTo>
                      <a:cubicBezTo>
                        <a:pt x="183" y="194"/>
                        <a:pt x="183" y="194"/>
                        <a:pt x="184" y="194"/>
                      </a:cubicBezTo>
                      <a:cubicBezTo>
                        <a:pt x="184" y="194"/>
                        <a:pt x="184" y="194"/>
                        <a:pt x="184" y="194"/>
                      </a:cubicBezTo>
                      <a:cubicBezTo>
                        <a:pt x="184" y="194"/>
                        <a:pt x="185" y="194"/>
                        <a:pt x="185" y="194"/>
                      </a:cubicBezTo>
                      <a:cubicBezTo>
                        <a:pt x="185" y="193"/>
                        <a:pt x="185" y="193"/>
                        <a:pt x="185" y="193"/>
                      </a:cubicBezTo>
                      <a:cubicBezTo>
                        <a:pt x="185" y="193"/>
                        <a:pt x="186" y="193"/>
                        <a:pt x="186" y="193"/>
                      </a:cubicBezTo>
                      <a:cubicBezTo>
                        <a:pt x="186" y="193"/>
                        <a:pt x="186" y="193"/>
                        <a:pt x="186" y="194"/>
                      </a:cubicBezTo>
                      <a:cubicBezTo>
                        <a:pt x="186" y="194"/>
                        <a:pt x="187" y="195"/>
                        <a:pt x="187" y="195"/>
                      </a:cubicBezTo>
                      <a:cubicBezTo>
                        <a:pt x="187" y="196"/>
                        <a:pt x="188" y="196"/>
                        <a:pt x="188" y="196"/>
                      </a:cubicBezTo>
                      <a:cubicBezTo>
                        <a:pt x="188" y="197"/>
                        <a:pt x="188" y="198"/>
                        <a:pt x="188" y="198"/>
                      </a:cubicBezTo>
                      <a:cubicBezTo>
                        <a:pt x="188" y="198"/>
                        <a:pt x="188" y="199"/>
                        <a:pt x="188" y="199"/>
                      </a:cubicBezTo>
                      <a:cubicBezTo>
                        <a:pt x="188" y="200"/>
                        <a:pt x="187" y="200"/>
                        <a:pt x="187" y="200"/>
                      </a:cubicBezTo>
                      <a:cubicBezTo>
                        <a:pt x="187" y="200"/>
                        <a:pt x="187" y="201"/>
                        <a:pt x="187" y="201"/>
                      </a:cubicBezTo>
                      <a:cubicBezTo>
                        <a:pt x="187" y="201"/>
                        <a:pt x="187" y="201"/>
                        <a:pt x="187" y="202"/>
                      </a:cubicBezTo>
                      <a:cubicBezTo>
                        <a:pt x="187" y="202"/>
                        <a:pt x="187" y="202"/>
                        <a:pt x="187" y="202"/>
                      </a:cubicBezTo>
                      <a:cubicBezTo>
                        <a:pt x="187" y="202"/>
                        <a:pt x="187" y="202"/>
                        <a:pt x="187" y="202"/>
                      </a:cubicBezTo>
                      <a:cubicBezTo>
                        <a:pt x="187" y="202"/>
                        <a:pt x="187" y="202"/>
                        <a:pt x="187" y="202"/>
                      </a:cubicBezTo>
                      <a:cubicBezTo>
                        <a:pt x="187" y="202"/>
                        <a:pt x="187" y="204"/>
                        <a:pt x="187" y="204"/>
                      </a:cubicBezTo>
                      <a:cubicBezTo>
                        <a:pt x="187" y="204"/>
                        <a:pt x="187" y="205"/>
                        <a:pt x="187" y="205"/>
                      </a:cubicBezTo>
                      <a:cubicBezTo>
                        <a:pt x="186" y="205"/>
                        <a:pt x="186" y="205"/>
                        <a:pt x="186" y="205"/>
                      </a:cubicBezTo>
                      <a:cubicBezTo>
                        <a:pt x="186" y="205"/>
                        <a:pt x="186" y="205"/>
                        <a:pt x="186" y="206"/>
                      </a:cubicBezTo>
                      <a:cubicBezTo>
                        <a:pt x="187" y="206"/>
                        <a:pt x="187" y="207"/>
                        <a:pt x="187" y="207"/>
                      </a:cubicBezTo>
                      <a:cubicBezTo>
                        <a:pt x="187" y="207"/>
                        <a:pt x="188" y="209"/>
                        <a:pt x="188" y="209"/>
                      </a:cubicBezTo>
                      <a:cubicBezTo>
                        <a:pt x="188" y="210"/>
                        <a:pt x="189" y="211"/>
                        <a:pt x="189" y="211"/>
                      </a:cubicBezTo>
                      <a:cubicBezTo>
                        <a:pt x="189" y="211"/>
                        <a:pt x="190" y="213"/>
                        <a:pt x="190" y="213"/>
                      </a:cubicBezTo>
                      <a:cubicBezTo>
                        <a:pt x="191" y="213"/>
                        <a:pt x="191" y="213"/>
                        <a:pt x="191" y="214"/>
                      </a:cubicBezTo>
                      <a:cubicBezTo>
                        <a:pt x="191" y="214"/>
                        <a:pt x="191" y="215"/>
                        <a:pt x="191" y="215"/>
                      </a:cubicBezTo>
                      <a:cubicBezTo>
                        <a:pt x="191" y="215"/>
                        <a:pt x="191" y="216"/>
                        <a:pt x="191" y="216"/>
                      </a:cubicBezTo>
                      <a:cubicBezTo>
                        <a:pt x="191" y="216"/>
                        <a:pt x="192" y="219"/>
                        <a:pt x="192" y="219"/>
                      </a:cubicBezTo>
                      <a:cubicBezTo>
                        <a:pt x="193" y="220"/>
                        <a:pt x="193" y="221"/>
                        <a:pt x="193" y="221"/>
                      </a:cubicBezTo>
                      <a:cubicBezTo>
                        <a:pt x="193" y="221"/>
                        <a:pt x="193" y="222"/>
                        <a:pt x="193" y="222"/>
                      </a:cubicBezTo>
                      <a:cubicBezTo>
                        <a:pt x="193" y="222"/>
                        <a:pt x="193" y="223"/>
                        <a:pt x="193" y="223"/>
                      </a:cubicBezTo>
                      <a:cubicBezTo>
                        <a:pt x="193" y="223"/>
                        <a:pt x="193" y="223"/>
                        <a:pt x="193" y="224"/>
                      </a:cubicBezTo>
                      <a:cubicBezTo>
                        <a:pt x="193" y="224"/>
                        <a:pt x="193" y="225"/>
                        <a:pt x="193" y="225"/>
                      </a:cubicBezTo>
                      <a:cubicBezTo>
                        <a:pt x="193" y="226"/>
                        <a:pt x="194" y="227"/>
                        <a:pt x="194" y="227"/>
                      </a:cubicBezTo>
                      <a:cubicBezTo>
                        <a:pt x="194" y="227"/>
                        <a:pt x="194" y="227"/>
                        <a:pt x="194" y="228"/>
                      </a:cubicBezTo>
                      <a:cubicBezTo>
                        <a:pt x="194" y="228"/>
                        <a:pt x="194" y="229"/>
                        <a:pt x="194" y="229"/>
                      </a:cubicBezTo>
                      <a:cubicBezTo>
                        <a:pt x="194" y="229"/>
                        <a:pt x="194" y="230"/>
                        <a:pt x="193" y="230"/>
                      </a:cubicBezTo>
                      <a:cubicBezTo>
                        <a:pt x="193" y="230"/>
                        <a:pt x="193" y="230"/>
                        <a:pt x="193" y="231"/>
                      </a:cubicBezTo>
                      <a:cubicBezTo>
                        <a:pt x="193" y="231"/>
                        <a:pt x="193" y="231"/>
                        <a:pt x="193" y="231"/>
                      </a:cubicBezTo>
                      <a:cubicBezTo>
                        <a:pt x="192" y="231"/>
                        <a:pt x="192" y="232"/>
                        <a:pt x="192" y="232"/>
                      </a:cubicBezTo>
                      <a:cubicBezTo>
                        <a:pt x="192" y="232"/>
                        <a:pt x="192" y="233"/>
                        <a:pt x="192" y="233"/>
                      </a:cubicBezTo>
                      <a:cubicBezTo>
                        <a:pt x="192" y="233"/>
                        <a:pt x="192" y="234"/>
                        <a:pt x="192" y="234"/>
                      </a:cubicBezTo>
                      <a:cubicBezTo>
                        <a:pt x="192" y="235"/>
                        <a:pt x="192" y="235"/>
                        <a:pt x="191" y="236"/>
                      </a:cubicBezTo>
                      <a:cubicBezTo>
                        <a:pt x="191" y="236"/>
                        <a:pt x="191" y="237"/>
                        <a:pt x="191" y="237"/>
                      </a:cubicBezTo>
                      <a:cubicBezTo>
                        <a:pt x="191" y="237"/>
                        <a:pt x="191" y="237"/>
                        <a:pt x="191" y="238"/>
                      </a:cubicBezTo>
                      <a:cubicBezTo>
                        <a:pt x="191" y="238"/>
                        <a:pt x="191" y="239"/>
                        <a:pt x="191" y="239"/>
                      </a:cubicBezTo>
                      <a:cubicBezTo>
                        <a:pt x="191" y="239"/>
                        <a:pt x="191" y="240"/>
                        <a:pt x="191" y="241"/>
                      </a:cubicBezTo>
                      <a:cubicBezTo>
                        <a:pt x="191" y="241"/>
                        <a:pt x="191" y="243"/>
                        <a:pt x="191" y="243"/>
                      </a:cubicBezTo>
                      <a:cubicBezTo>
                        <a:pt x="191" y="244"/>
                        <a:pt x="191" y="244"/>
                        <a:pt x="192" y="244"/>
                      </a:cubicBezTo>
                      <a:cubicBezTo>
                        <a:pt x="192" y="244"/>
                        <a:pt x="192" y="246"/>
                        <a:pt x="193" y="247"/>
                      </a:cubicBezTo>
                      <a:cubicBezTo>
                        <a:pt x="193" y="247"/>
                        <a:pt x="193" y="247"/>
                        <a:pt x="193" y="248"/>
                      </a:cubicBezTo>
                      <a:cubicBezTo>
                        <a:pt x="193" y="248"/>
                        <a:pt x="193" y="249"/>
                        <a:pt x="194" y="249"/>
                      </a:cubicBezTo>
                      <a:cubicBezTo>
                        <a:pt x="194" y="249"/>
                        <a:pt x="194" y="250"/>
                        <a:pt x="194" y="250"/>
                      </a:cubicBezTo>
                      <a:cubicBezTo>
                        <a:pt x="194" y="251"/>
                        <a:pt x="195" y="252"/>
                        <a:pt x="195" y="252"/>
                      </a:cubicBezTo>
                      <a:cubicBezTo>
                        <a:pt x="195" y="253"/>
                        <a:pt x="195" y="253"/>
                        <a:pt x="195" y="253"/>
                      </a:cubicBezTo>
                      <a:cubicBezTo>
                        <a:pt x="195" y="253"/>
                        <a:pt x="195" y="254"/>
                        <a:pt x="195" y="255"/>
                      </a:cubicBezTo>
                      <a:cubicBezTo>
                        <a:pt x="195" y="255"/>
                        <a:pt x="195" y="256"/>
                        <a:pt x="195" y="256"/>
                      </a:cubicBezTo>
                      <a:cubicBezTo>
                        <a:pt x="195" y="256"/>
                        <a:pt x="195" y="257"/>
                        <a:pt x="195" y="257"/>
                      </a:cubicBezTo>
                      <a:cubicBezTo>
                        <a:pt x="195" y="258"/>
                        <a:pt x="195" y="258"/>
                        <a:pt x="195" y="259"/>
                      </a:cubicBezTo>
                      <a:cubicBezTo>
                        <a:pt x="195" y="259"/>
                        <a:pt x="195" y="260"/>
                        <a:pt x="196" y="260"/>
                      </a:cubicBezTo>
                      <a:cubicBezTo>
                        <a:pt x="196" y="260"/>
                        <a:pt x="196" y="261"/>
                        <a:pt x="196" y="261"/>
                      </a:cubicBezTo>
                      <a:cubicBezTo>
                        <a:pt x="196" y="261"/>
                        <a:pt x="196" y="261"/>
                        <a:pt x="196" y="262"/>
                      </a:cubicBezTo>
                      <a:cubicBezTo>
                        <a:pt x="196" y="262"/>
                        <a:pt x="196" y="262"/>
                        <a:pt x="196" y="263"/>
                      </a:cubicBezTo>
                      <a:cubicBezTo>
                        <a:pt x="197" y="263"/>
                        <a:pt x="197" y="263"/>
                        <a:pt x="197" y="264"/>
                      </a:cubicBezTo>
                      <a:cubicBezTo>
                        <a:pt x="197" y="264"/>
                        <a:pt x="197" y="264"/>
                        <a:pt x="197" y="264"/>
                      </a:cubicBezTo>
                      <a:cubicBezTo>
                        <a:pt x="197" y="264"/>
                        <a:pt x="197" y="264"/>
                        <a:pt x="197" y="265"/>
                      </a:cubicBezTo>
                      <a:cubicBezTo>
                        <a:pt x="197" y="265"/>
                        <a:pt x="198" y="265"/>
                        <a:pt x="198" y="265"/>
                      </a:cubicBezTo>
                      <a:cubicBezTo>
                        <a:pt x="198" y="265"/>
                        <a:pt x="199" y="266"/>
                        <a:pt x="199" y="267"/>
                      </a:cubicBezTo>
                      <a:cubicBezTo>
                        <a:pt x="199" y="267"/>
                        <a:pt x="199" y="268"/>
                        <a:pt x="199" y="269"/>
                      </a:cubicBezTo>
                      <a:cubicBezTo>
                        <a:pt x="199" y="269"/>
                        <a:pt x="200" y="270"/>
                        <a:pt x="200" y="271"/>
                      </a:cubicBezTo>
                      <a:cubicBezTo>
                        <a:pt x="200" y="271"/>
                        <a:pt x="201" y="271"/>
                        <a:pt x="201" y="272"/>
                      </a:cubicBezTo>
                      <a:cubicBezTo>
                        <a:pt x="201" y="272"/>
                        <a:pt x="201" y="272"/>
                        <a:pt x="201" y="273"/>
                      </a:cubicBezTo>
                      <a:cubicBezTo>
                        <a:pt x="201" y="273"/>
                        <a:pt x="201" y="274"/>
                        <a:pt x="201" y="274"/>
                      </a:cubicBezTo>
                      <a:cubicBezTo>
                        <a:pt x="201" y="274"/>
                        <a:pt x="200" y="274"/>
                        <a:pt x="200" y="274"/>
                      </a:cubicBezTo>
                      <a:cubicBezTo>
                        <a:pt x="200" y="274"/>
                        <a:pt x="200" y="274"/>
                        <a:pt x="200" y="275"/>
                      </a:cubicBezTo>
                      <a:cubicBezTo>
                        <a:pt x="200" y="275"/>
                        <a:pt x="200" y="275"/>
                        <a:pt x="201" y="275"/>
                      </a:cubicBezTo>
                      <a:cubicBezTo>
                        <a:pt x="201" y="275"/>
                        <a:pt x="201" y="276"/>
                        <a:pt x="201" y="276"/>
                      </a:cubicBezTo>
                      <a:cubicBezTo>
                        <a:pt x="201" y="276"/>
                        <a:pt x="201" y="276"/>
                        <a:pt x="201" y="276"/>
                      </a:cubicBezTo>
                      <a:cubicBezTo>
                        <a:pt x="201" y="276"/>
                        <a:pt x="201" y="277"/>
                        <a:pt x="201" y="277"/>
                      </a:cubicBezTo>
                      <a:cubicBezTo>
                        <a:pt x="201" y="277"/>
                        <a:pt x="201" y="278"/>
                        <a:pt x="201" y="278"/>
                      </a:cubicBezTo>
                      <a:cubicBezTo>
                        <a:pt x="201" y="278"/>
                        <a:pt x="201" y="277"/>
                        <a:pt x="201" y="277"/>
                      </a:cubicBezTo>
                      <a:cubicBezTo>
                        <a:pt x="202" y="277"/>
                        <a:pt x="202" y="276"/>
                        <a:pt x="202" y="276"/>
                      </a:cubicBezTo>
                      <a:cubicBezTo>
                        <a:pt x="202" y="276"/>
                        <a:pt x="202" y="276"/>
                        <a:pt x="202" y="276"/>
                      </a:cubicBezTo>
                      <a:cubicBezTo>
                        <a:pt x="202" y="276"/>
                        <a:pt x="202" y="277"/>
                        <a:pt x="202" y="277"/>
                      </a:cubicBezTo>
                      <a:cubicBezTo>
                        <a:pt x="202" y="277"/>
                        <a:pt x="202" y="278"/>
                        <a:pt x="202" y="278"/>
                      </a:cubicBezTo>
                      <a:cubicBezTo>
                        <a:pt x="202" y="278"/>
                        <a:pt x="202" y="277"/>
                        <a:pt x="202" y="278"/>
                      </a:cubicBezTo>
                      <a:cubicBezTo>
                        <a:pt x="202" y="278"/>
                        <a:pt x="202" y="278"/>
                        <a:pt x="203" y="278"/>
                      </a:cubicBezTo>
                      <a:cubicBezTo>
                        <a:pt x="203" y="278"/>
                        <a:pt x="203" y="278"/>
                        <a:pt x="203" y="278"/>
                      </a:cubicBezTo>
                      <a:cubicBezTo>
                        <a:pt x="204" y="278"/>
                        <a:pt x="204" y="278"/>
                        <a:pt x="204" y="278"/>
                      </a:cubicBezTo>
                      <a:cubicBezTo>
                        <a:pt x="204" y="278"/>
                        <a:pt x="205" y="278"/>
                        <a:pt x="206" y="278"/>
                      </a:cubicBezTo>
                      <a:cubicBezTo>
                        <a:pt x="206" y="277"/>
                        <a:pt x="206" y="277"/>
                        <a:pt x="207" y="277"/>
                      </a:cubicBezTo>
                      <a:cubicBezTo>
                        <a:pt x="207" y="277"/>
                        <a:pt x="207" y="277"/>
                        <a:pt x="207" y="277"/>
                      </a:cubicBezTo>
                      <a:cubicBezTo>
                        <a:pt x="208" y="277"/>
                        <a:pt x="208" y="277"/>
                        <a:pt x="208" y="277"/>
                      </a:cubicBezTo>
                      <a:cubicBezTo>
                        <a:pt x="208" y="277"/>
                        <a:pt x="209" y="277"/>
                        <a:pt x="209" y="277"/>
                      </a:cubicBezTo>
                      <a:cubicBezTo>
                        <a:pt x="209" y="277"/>
                        <a:pt x="210" y="277"/>
                        <a:pt x="210" y="277"/>
                      </a:cubicBezTo>
                      <a:cubicBezTo>
                        <a:pt x="210" y="277"/>
                        <a:pt x="210" y="277"/>
                        <a:pt x="211" y="277"/>
                      </a:cubicBezTo>
                      <a:cubicBezTo>
                        <a:pt x="211" y="276"/>
                        <a:pt x="211" y="276"/>
                        <a:pt x="212" y="277"/>
                      </a:cubicBezTo>
                      <a:cubicBezTo>
                        <a:pt x="212" y="277"/>
                        <a:pt x="212" y="276"/>
                        <a:pt x="212" y="276"/>
                      </a:cubicBezTo>
                      <a:cubicBezTo>
                        <a:pt x="212" y="276"/>
                        <a:pt x="213" y="276"/>
                        <a:pt x="213" y="276"/>
                      </a:cubicBezTo>
                      <a:cubicBezTo>
                        <a:pt x="213" y="276"/>
                        <a:pt x="214" y="275"/>
                        <a:pt x="215" y="275"/>
                      </a:cubicBezTo>
                      <a:cubicBezTo>
                        <a:pt x="215" y="275"/>
                        <a:pt x="216" y="274"/>
                        <a:pt x="216" y="274"/>
                      </a:cubicBezTo>
                      <a:cubicBezTo>
                        <a:pt x="216" y="274"/>
                        <a:pt x="218" y="272"/>
                        <a:pt x="218" y="272"/>
                      </a:cubicBezTo>
                      <a:cubicBezTo>
                        <a:pt x="218" y="271"/>
                        <a:pt x="220" y="269"/>
                        <a:pt x="220" y="269"/>
                      </a:cubicBezTo>
                      <a:cubicBezTo>
                        <a:pt x="220" y="268"/>
                        <a:pt x="221" y="267"/>
                        <a:pt x="221" y="266"/>
                      </a:cubicBezTo>
                      <a:cubicBezTo>
                        <a:pt x="221" y="266"/>
                        <a:pt x="222" y="266"/>
                        <a:pt x="222" y="266"/>
                      </a:cubicBezTo>
                      <a:cubicBezTo>
                        <a:pt x="222" y="265"/>
                        <a:pt x="223" y="264"/>
                        <a:pt x="223" y="264"/>
                      </a:cubicBezTo>
                      <a:cubicBezTo>
                        <a:pt x="223" y="263"/>
                        <a:pt x="223" y="262"/>
                        <a:pt x="223" y="262"/>
                      </a:cubicBezTo>
                      <a:cubicBezTo>
                        <a:pt x="223" y="262"/>
                        <a:pt x="223" y="261"/>
                        <a:pt x="223" y="260"/>
                      </a:cubicBezTo>
                      <a:cubicBezTo>
                        <a:pt x="223" y="260"/>
                        <a:pt x="223" y="260"/>
                        <a:pt x="223" y="260"/>
                      </a:cubicBezTo>
                      <a:cubicBezTo>
                        <a:pt x="223" y="260"/>
                        <a:pt x="223" y="260"/>
                        <a:pt x="223" y="260"/>
                      </a:cubicBezTo>
                      <a:cubicBezTo>
                        <a:pt x="223" y="260"/>
                        <a:pt x="223" y="259"/>
                        <a:pt x="223" y="259"/>
                      </a:cubicBezTo>
                      <a:cubicBezTo>
                        <a:pt x="223" y="258"/>
                        <a:pt x="224" y="258"/>
                        <a:pt x="224" y="258"/>
                      </a:cubicBezTo>
                      <a:cubicBezTo>
                        <a:pt x="224" y="257"/>
                        <a:pt x="225" y="257"/>
                        <a:pt x="225" y="257"/>
                      </a:cubicBezTo>
                      <a:cubicBezTo>
                        <a:pt x="225" y="257"/>
                        <a:pt x="227" y="256"/>
                        <a:pt x="227" y="256"/>
                      </a:cubicBezTo>
                      <a:cubicBezTo>
                        <a:pt x="227" y="256"/>
                        <a:pt x="227" y="255"/>
                        <a:pt x="227" y="255"/>
                      </a:cubicBezTo>
                      <a:cubicBezTo>
                        <a:pt x="227" y="255"/>
                        <a:pt x="227" y="253"/>
                        <a:pt x="227" y="253"/>
                      </a:cubicBezTo>
                      <a:cubicBezTo>
                        <a:pt x="227" y="252"/>
                        <a:pt x="227" y="251"/>
                        <a:pt x="227" y="250"/>
                      </a:cubicBezTo>
                      <a:cubicBezTo>
                        <a:pt x="226" y="250"/>
                        <a:pt x="227" y="249"/>
                        <a:pt x="226" y="248"/>
                      </a:cubicBezTo>
                      <a:cubicBezTo>
                        <a:pt x="226" y="248"/>
                        <a:pt x="226" y="247"/>
                        <a:pt x="226" y="247"/>
                      </a:cubicBezTo>
                      <a:cubicBezTo>
                        <a:pt x="226" y="246"/>
                        <a:pt x="227" y="245"/>
                        <a:pt x="227" y="245"/>
                      </a:cubicBezTo>
                      <a:cubicBezTo>
                        <a:pt x="227" y="245"/>
                        <a:pt x="228" y="244"/>
                        <a:pt x="228" y="244"/>
                      </a:cubicBezTo>
                      <a:cubicBezTo>
                        <a:pt x="229" y="244"/>
                        <a:pt x="229" y="243"/>
                        <a:pt x="229" y="243"/>
                      </a:cubicBezTo>
                      <a:cubicBezTo>
                        <a:pt x="229" y="243"/>
                        <a:pt x="230" y="242"/>
                        <a:pt x="230" y="242"/>
                      </a:cubicBezTo>
                      <a:cubicBezTo>
                        <a:pt x="230" y="242"/>
                        <a:pt x="230" y="241"/>
                        <a:pt x="231" y="241"/>
                      </a:cubicBezTo>
                      <a:cubicBezTo>
                        <a:pt x="231" y="241"/>
                        <a:pt x="232" y="240"/>
                        <a:pt x="233" y="239"/>
                      </a:cubicBezTo>
                      <a:cubicBezTo>
                        <a:pt x="234" y="239"/>
                        <a:pt x="234" y="238"/>
                        <a:pt x="234" y="238"/>
                      </a:cubicBezTo>
                      <a:cubicBezTo>
                        <a:pt x="234" y="237"/>
                        <a:pt x="235" y="236"/>
                        <a:pt x="235" y="235"/>
                      </a:cubicBezTo>
                      <a:cubicBezTo>
                        <a:pt x="235" y="235"/>
                        <a:pt x="235" y="234"/>
                        <a:pt x="235" y="234"/>
                      </a:cubicBezTo>
                      <a:cubicBezTo>
                        <a:pt x="235" y="233"/>
                        <a:pt x="235" y="231"/>
                        <a:pt x="235" y="230"/>
                      </a:cubicBezTo>
                      <a:cubicBezTo>
                        <a:pt x="235" y="230"/>
                        <a:pt x="235" y="229"/>
                        <a:pt x="235" y="228"/>
                      </a:cubicBezTo>
                      <a:cubicBezTo>
                        <a:pt x="235" y="227"/>
                        <a:pt x="235" y="226"/>
                        <a:pt x="235" y="226"/>
                      </a:cubicBezTo>
                      <a:cubicBezTo>
                        <a:pt x="234" y="225"/>
                        <a:pt x="234" y="225"/>
                        <a:pt x="234" y="225"/>
                      </a:cubicBezTo>
                      <a:cubicBezTo>
                        <a:pt x="233" y="224"/>
                        <a:pt x="234" y="224"/>
                        <a:pt x="233" y="223"/>
                      </a:cubicBezTo>
                      <a:cubicBezTo>
                        <a:pt x="233" y="223"/>
                        <a:pt x="233" y="222"/>
                        <a:pt x="233" y="222"/>
                      </a:cubicBezTo>
                      <a:cubicBezTo>
                        <a:pt x="233" y="222"/>
                        <a:pt x="233" y="221"/>
                        <a:pt x="233" y="221"/>
                      </a:cubicBezTo>
                      <a:cubicBezTo>
                        <a:pt x="233" y="220"/>
                        <a:pt x="233" y="219"/>
                        <a:pt x="233" y="219"/>
                      </a:cubicBezTo>
                      <a:cubicBezTo>
                        <a:pt x="233" y="219"/>
                        <a:pt x="233" y="218"/>
                        <a:pt x="233" y="218"/>
                      </a:cubicBezTo>
                      <a:cubicBezTo>
                        <a:pt x="233" y="218"/>
                        <a:pt x="233" y="218"/>
                        <a:pt x="232" y="217"/>
                      </a:cubicBezTo>
                      <a:cubicBezTo>
                        <a:pt x="232" y="217"/>
                        <a:pt x="232" y="215"/>
                        <a:pt x="232" y="215"/>
                      </a:cubicBezTo>
                      <a:cubicBezTo>
                        <a:pt x="233" y="215"/>
                        <a:pt x="233" y="213"/>
                        <a:pt x="233" y="213"/>
                      </a:cubicBezTo>
                      <a:cubicBezTo>
                        <a:pt x="233" y="213"/>
                        <a:pt x="234" y="212"/>
                        <a:pt x="234" y="211"/>
                      </a:cubicBezTo>
                      <a:cubicBezTo>
                        <a:pt x="234" y="211"/>
                        <a:pt x="234" y="210"/>
                        <a:pt x="234" y="209"/>
                      </a:cubicBezTo>
                      <a:cubicBezTo>
                        <a:pt x="234" y="209"/>
                        <a:pt x="235" y="209"/>
                        <a:pt x="235" y="208"/>
                      </a:cubicBezTo>
                      <a:cubicBezTo>
                        <a:pt x="236" y="208"/>
                        <a:pt x="237" y="206"/>
                        <a:pt x="237" y="206"/>
                      </a:cubicBezTo>
                      <a:cubicBezTo>
                        <a:pt x="237" y="205"/>
                        <a:pt x="238" y="204"/>
                        <a:pt x="238" y="203"/>
                      </a:cubicBezTo>
                      <a:cubicBezTo>
                        <a:pt x="239" y="203"/>
                        <a:pt x="240" y="202"/>
                        <a:pt x="240" y="201"/>
                      </a:cubicBezTo>
                      <a:cubicBezTo>
                        <a:pt x="240" y="201"/>
                        <a:pt x="241" y="200"/>
                        <a:pt x="242" y="200"/>
                      </a:cubicBezTo>
                      <a:cubicBezTo>
                        <a:pt x="242" y="199"/>
                        <a:pt x="243" y="198"/>
                        <a:pt x="243" y="198"/>
                      </a:cubicBezTo>
                      <a:cubicBezTo>
                        <a:pt x="244" y="198"/>
                        <a:pt x="245" y="195"/>
                        <a:pt x="245" y="195"/>
                      </a:cubicBezTo>
                      <a:cubicBezTo>
                        <a:pt x="246" y="195"/>
                        <a:pt x="246" y="193"/>
                        <a:pt x="247" y="193"/>
                      </a:cubicBezTo>
                      <a:cubicBezTo>
                        <a:pt x="247" y="192"/>
                        <a:pt x="248" y="190"/>
                        <a:pt x="248" y="190"/>
                      </a:cubicBezTo>
                      <a:cubicBezTo>
                        <a:pt x="248" y="190"/>
                        <a:pt x="248" y="189"/>
                        <a:pt x="248" y="189"/>
                      </a:cubicBezTo>
                      <a:cubicBezTo>
                        <a:pt x="248" y="188"/>
                        <a:pt x="249" y="186"/>
                        <a:pt x="249" y="186"/>
                      </a:cubicBezTo>
                      <a:cubicBezTo>
                        <a:pt x="249" y="186"/>
                        <a:pt x="250" y="185"/>
                        <a:pt x="250" y="185"/>
                      </a:cubicBezTo>
                      <a:cubicBezTo>
                        <a:pt x="250" y="185"/>
                        <a:pt x="250" y="184"/>
                        <a:pt x="250" y="184"/>
                      </a:cubicBezTo>
                      <a:cubicBezTo>
                        <a:pt x="250" y="184"/>
                        <a:pt x="251" y="183"/>
                        <a:pt x="251" y="183"/>
                      </a:cubicBezTo>
                      <a:cubicBezTo>
                        <a:pt x="251" y="183"/>
                        <a:pt x="251" y="182"/>
                        <a:pt x="251" y="181"/>
                      </a:cubicBezTo>
                      <a:cubicBezTo>
                        <a:pt x="251" y="181"/>
                        <a:pt x="251" y="181"/>
                        <a:pt x="251" y="181"/>
                      </a:cubicBezTo>
                      <a:cubicBezTo>
                        <a:pt x="251" y="181"/>
                        <a:pt x="251" y="180"/>
                        <a:pt x="251" y="179"/>
                      </a:cubicBezTo>
                      <a:cubicBezTo>
                        <a:pt x="251" y="179"/>
                        <a:pt x="251" y="179"/>
                        <a:pt x="251" y="178"/>
                      </a:cubicBezTo>
                      <a:cubicBezTo>
                        <a:pt x="251" y="178"/>
                        <a:pt x="251" y="178"/>
                        <a:pt x="251" y="178"/>
                      </a:cubicBezTo>
                      <a:cubicBezTo>
                        <a:pt x="251" y="178"/>
                        <a:pt x="251" y="177"/>
                        <a:pt x="250" y="177"/>
                      </a:cubicBezTo>
                      <a:cubicBezTo>
                        <a:pt x="250" y="178"/>
                        <a:pt x="250" y="178"/>
                        <a:pt x="250" y="178"/>
                      </a:cubicBezTo>
                      <a:cubicBezTo>
                        <a:pt x="250" y="178"/>
                        <a:pt x="250" y="178"/>
                        <a:pt x="249" y="178"/>
                      </a:cubicBezTo>
                      <a:cubicBezTo>
                        <a:pt x="249" y="179"/>
                        <a:pt x="249" y="179"/>
                        <a:pt x="248" y="179"/>
                      </a:cubicBezTo>
                      <a:cubicBezTo>
                        <a:pt x="248" y="179"/>
                        <a:pt x="248" y="179"/>
                        <a:pt x="248" y="179"/>
                      </a:cubicBezTo>
                      <a:cubicBezTo>
                        <a:pt x="247" y="179"/>
                        <a:pt x="247" y="179"/>
                        <a:pt x="247" y="179"/>
                      </a:cubicBezTo>
                      <a:cubicBezTo>
                        <a:pt x="247" y="179"/>
                        <a:pt x="246" y="179"/>
                        <a:pt x="246" y="179"/>
                      </a:cubicBezTo>
                      <a:cubicBezTo>
                        <a:pt x="246" y="179"/>
                        <a:pt x="246" y="179"/>
                        <a:pt x="245" y="179"/>
                      </a:cubicBezTo>
                      <a:cubicBezTo>
                        <a:pt x="245" y="179"/>
                        <a:pt x="245" y="180"/>
                        <a:pt x="245" y="180"/>
                      </a:cubicBezTo>
                      <a:cubicBezTo>
                        <a:pt x="244" y="180"/>
                        <a:pt x="243" y="180"/>
                        <a:pt x="243" y="180"/>
                      </a:cubicBezTo>
                      <a:cubicBezTo>
                        <a:pt x="243" y="180"/>
                        <a:pt x="243" y="180"/>
                        <a:pt x="243" y="180"/>
                      </a:cubicBezTo>
                      <a:cubicBezTo>
                        <a:pt x="242" y="180"/>
                        <a:pt x="242" y="181"/>
                        <a:pt x="242" y="181"/>
                      </a:cubicBezTo>
                      <a:cubicBezTo>
                        <a:pt x="241" y="181"/>
                        <a:pt x="241" y="181"/>
                        <a:pt x="240" y="181"/>
                      </a:cubicBezTo>
                      <a:cubicBezTo>
                        <a:pt x="240" y="180"/>
                        <a:pt x="240" y="180"/>
                        <a:pt x="240" y="179"/>
                      </a:cubicBezTo>
                      <a:cubicBezTo>
                        <a:pt x="239" y="179"/>
                        <a:pt x="239" y="179"/>
                        <a:pt x="239" y="179"/>
                      </a:cubicBezTo>
                      <a:cubicBezTo>
                        <a:pt x="239" y="178"/>
                        <a:pt x="238" y="178"/>
                        <a:pt x="238" y="178"/>
                      </a:cubicBezTo>
                      <a:cubicBezTo>
                        <a:pt x="238" y="178"/>
                        <a:pt x="238" y="179"/>
                        <a:pt x="238" y="179"/>
                      </a:cubicBezTo>
                      <a:cubicBezTo>
                        <a:pt x="238" y="179"/>
                        <a:pt x="238" y="178"/>
                        <a:pt x="239" y="178"/>
                      </a:cubicBezTo>
                      <a:cubicBezTo>
                        <a:pt x="239" y="178"/>
                        <a:pt x="239" y="178"/>
                        <a:pt x="239" y="177"/>
                      </a:cubicBezTo>
                      <a:cubicBezTo>
                        <a:pt x="239" y="177"/>
                        <a:pt x="239" y="177"/>
                        <a:pt x="239" y="177"/>
                      </a:cubicBezTo>
                      <a:cubicBezTo>
                        <a:pt x="239" y="176"/>
                        <a:pt x="239" y="176"/>
                        <a:pt x="239" y="175"/>
                      </a:cubicBezTo>
                      <a:cubicBezTo>
                        <a:pt x="238" y="175"/>
                        <a:pt x="238" y="175"/>
                        <a:pt x="238" y="175"/>
                      </a:cubicBezTo>
                      <a:cubicBezTo>
                        <a:pt x="238" y="175"/>
                        <a:pt x="238" y="174"/>
                        <a:pt x="237" y="174"/>
                      </a:cubicBezTo>
                      <a:cubicBezTo>
                        <a:pt x="237" y="174"/>
                        <a:pt x="237" y="173"/>
                        <a:pt x="237" y="173"/>
                      </a:cubicBezTo>
                      <a:cubicBezTo>
                        <a:pt x="236" y="173"/>
                        <a:pt x="236" y="173"/>
                        <a:pt x="236" y="172"/>
                      </a:cubicBezTo>
                      <a:cubicBezTo>
                        <a:pt x="236" y="172"/>
                        <a:pt x="235" y="172"/>
                        <a:pt x="235" y="172"/>
                      </a:cubicBezTo>
                      <a:cubicBezTo>
                        <a:pt x="235" y="171"/>
                        <a:pt x="235" y="171"/>
                        <a:pt x="235" y="171"/>
                      </a:cubicBezTo>
                      <a:cubicBezTo>
                        <a:pt x="234" y="171"/>
                        <a:pt x="234" y="171"/>
                        <a:pt x="234" y="171"/>
                      </a:cubicBezTo>
                      <a:cubicBezTo>
                        <a:pt x="234" y="170"/>
                        <a:pt x="234" y="170"/>
                        <a:pt x="234" y="170"/>
                      </a:cubicBezTo>
                      <a:cubicBezTo>
                        <a:pt x="234" y="170"/>
                        <a:pt x="234" y="170"/>
                        <a:pt x="234" y="170"/>
                      </a:cubicBezTo>
                      <a:cubicBezTo>
                        <a:pt x="234" y="171"/>
                        <a:pt x="234" y="171"/>
                        <a:pt x="234" y="171"/>
                      </a:cubicBezTo>
                      <a:cubicBezTo>
                        <a:pt x="234" y="171"/>
                        <a:pt x="233" y="169"/>
                        <a:pt x="233" y="169"/>
                      </a:cubicBezTo>
                      <a:cubicBezTo>
                        <a:pt x="233" y="168"/>
                        <a:pt x="233" y="168"/>
                        <a:pt x="233" y="167"/>
                      </a:cubicBezTo>
                      <a:cubicBezTo>
                        <a:pt x="233" y="167"/>
                        <a:pt x="232" y="165"/>
                        <a:pt x="232" y="164"/>
                      </a:cubicBezTo>
                      <a:cubicBezTo>
                        <a:pt x="232" y="164"/>
                        <a:pt x="232" y="164"/>
                        <a:pt x="231" y="164"/>
                      </a:cubicBezTo>
                      <a:cubicBezTo>
                        <a:pt x="231" y="164"/>
                        <a:pt x="231" y="163"/>
                        <a:pt x="231" y="163"/>
                      </a:cubicBezTo>
                      <a:cubicBezTo>
                        <a:pt x="231" y="163"/>
                        <a:pt x="230" y="163"/>
                        <a:pt x="230" y="163"/>
                      </a:cubicBezTo>
                      <a:cubicBezTo>
                        <a:pt x="230" y="162"/>
                        <a:pt x="230" y="162"/>
                        <a:pt x="230" y="161"/>
                      </a:cubicBezTo>
                      <a:cubicBezTo>
                        <a:pt x="230" y="161"/>
                        <a:pt x="230" y="159"/>
                        <a:pt x="230" y="159"/>
                      </a:cubicBezTo>
                      <a:cubicBezTo>
                        <a:pt x="230" y="158"/>
                        <a:pt x="230" y="158"/>
                        <a:pt x="230" y="157"/>
                      </a:cubicBezTo>
                      <a:cubicBezTo>
                        <a:pt x="230" y="157"/>
                        <a:pt x="229" y="156"/>
                        <a:pt x="229" y="156"/>
                      </a:cubicBezTo>
                      <a:cubicBezTo>
                        <a:pt x="229" y="156"/>
                        <a:pt x="229" y="155"/>
                        <a:pt x="229" y="155"/>
                      </a:cubicBezTo>
                      <a:cubicBezTo>
                        <a:pt x="229" y="155"/>
                        <a:pt x="228" y="154"/>
                        <a:pt x="228" y="154"/>
                      </a:cubicBezTo>
                      <a:cubicBezTo>
                        <a:pt x="228" y="154"/>
                        <a:pt x="228" y="154"/>
                        <a:pt x="228" y="154"/>
                      </a:cubicBezTo>
                      <a:cubicBezTo>
                        <a:pt x="228" y="154"/>
                        <a:pt x="227" y="154"/>
                        <a:pt x="227" y="153"/>
                      </a:cubicBezTo>
                      <a:cubicBezTo>
                        <a:pt x="227" y="153"/>
                        <a:pt x="227" y="152"/>
                        <a:pt x="227" y="152"/>
                      </a:cubicBezTo>
                      <a:cubicBezTo>
                        <a:pt x="227" y="152"/>
                        <a:pt x="227" y="152"/>
                        <a:pt x="227" y="152"/>
                      </a:cubicBezTo>
                      <a:cubicBezTo>
                        <a:pt x="228" y="152"/>
                        <a:pt x="228" y="152"/>
                        <a:pt x="227" y="151"/>
                      </a:cubicBezTo>
                      <a:cubicBezTo>
                        <a:pt x="227" y="151"/>
                        <a:pt x="226" y="149"/>
                        <a:pt x="226" y="148"/>
                      </a:cubicBezTo>
                      <a:cubicBezTo>
                        <a:pt x="226" y="148"/>
                        <a:pt x="225" y="147"/>
                        <a:pt x="225" y="147"/>
                      </a:cubicBezTo>
                      <a:cubicBezTo>
                        <a:pt x="225" y="146"/>
                        <a:pt x="225" y="145"/>
                        <a:pt x="225" y="145"/>
                      </a:cubicBezTo>
                      <a:cubicBezTo>
                        <a:pt x="225" y="145"/>
                        <a:pt x="224" y="144"/>
                        <a:pt x="224" y="144"/>
                      </a:cubicBezTo>
                      <a:cubicBezTo>
                        <a:pt x="224" y="144"/>
                        <a:pt x="224" y="144"/>
                        <a:pt x="224" y="143"/>
                      </a:cubicBezTo>
                      <a:cubicBezTo>
                        <a:pt x="224" y="143"/>
                        <a:pt x="224" y="143"/>
                        <a:pt x="224" y="143"/>
                      </a:cubicBezTo>
                      <a:cubicBezTo>
                        <a:pt x="224" y="142"/>
                        <a:pt x="223" y="142"/>
                        <a:pt x="223" y="141"/>
                      </a:cubicBezTo>
                      <a:cubicBezTo>
                        <a:pt x="223" y="141"/>
                        <a:pt x="223" y="141"/>
                        <a:pt x="223" y="141"/>
                      </a:cubicBezTo>
                      <a:cubicBezTo>
                        <a:pt x="223" y="140"/>
                        <a:pt x="223" y="140"/>
                        <a:pt x="223" y="140"/>
                      </a:cubicBezTo>
                      <a:cubicBezTo>
                        <a:pt x="222" y="140"/>
                        <a:pt x="222" y="140"/>
                        <a:pt x="222" y="139"/>
                      </a:cubicBezTo>
                      <a:cubicBezTo>
                        <a:pt x="222" y="139"/>
                        <a:pt x="222" y="139"/>
                        <a:pt x="222" y="139"/>
                      </a:cubicBezTo>
                      <a:cubicBezTo>
                        <a:pt x="223" y="139"/>
                        <a:pt x="223" y="139"/>
                        <a:pt x="223" y="139"/>
                      </a:cubicBezTo>
                      <a:cubicBezTo>
                        <a:pt x="223" y="139"/>
                        <a:pt x="223" y="140"/>
                        <a:pt x="223" y="140"/>
                      </a:cubicBezTo>
                      <a:cubicBezTo>
                        <a:pt x="223" y="140"/>
                        <a:pt x="223" y="140"/>
                        <a:pt x="223" y="141"/>
                      </a:cubicBezTo>
                      <a:cubicBezTo>
                        <a:pt x="224" y="141"/>
                        <a:pt x="224" y="141"/>
                        <a:pt x="224" y="141"/>
                      </a:cubicBezTo>
                      <a:cubicBezTo>
                        <a:pt x="224" y="142"/>
                        <a:pt x="224" y="142"/>
                        <a:pt x="224" y="142"/>
                      </a:cubicBezTo>
                      <a:cubicBezTo>
                        <a:pt x="224" y="142"/>
                        <a:pt x="225" y="143"/>
                        <a:pt x="225" y="143"/>
                      </a:cubicBezTo>
                      <a:cubicBezTo>
                        <a:pt x="225" y="143"/>
                        <a:pt x="226" y="143"/>
                        <a:pt x="226" y="143"/>
                      </a:cubicBezTo>
                      <a:cubicBezTo>
                        <a:pt x="226" y="142"/>
                        <a:pt x="225" y="142"/>
                        <a:pt x="226" y="142"/>
                      </a:cubicBezTo>
                      <a:cubicBezTo>
                        <a:pt x="226" y="142"/>
                        <a:pt x="226" y="141"/>
                        <a:pt x="226" y="141"/>
                      </a:cubicBezTo>
                      <a:cubicBezTo>
                        <a:pt x="226" y="141"/>
                        <a:pt x="226" y="140"/>
                        <a:pt x="226" y="140"/>
                      </a:cubicBezTo>
                      <a:cubicBezTo>
                        <a:pt x="226" y="140"/>
                        <a:pt x="226" y="140"/>
                        <a:pt x="226" y="140"/>
                      </a:cubicBezTo>
                      <a:cubicBezTo>
                        <a:pt x="226" y="140"/>
                        <a:pt x="226" y="140"/>
                        <a:pt x="226" y="141"/>
                      </a:cubicBezTo>
                      <a:cubicBezTo>
                        <a:pt x="226" y="141"/>
                        <a:pt x="226" y="142"/>
                        <a:pt x="226" y="142"/>
                      </a:cubicBezTo>
                      <a:cubicBezTo>
                        <a:pt x="226" y="142"/>
                        <a:pt x="226" y="143"/>
                        <a:pt x="226" y="143"/>
                      </a:cubicBezTo>
                      <a:cubicBezTo>
                        <a:pt x="226" y="143"/>
                        <a:pt x="226" y="143"/>
                        <a:pt x="226" y="143"/>
                      </a:cubicBezTo>
                      <a:cubicBezTo>
                        <a:pt x="226" y="143"/>
                        <a:pt x="226" y="143"/>
                        <a:pt x="226" y="143"/>
                      </a:cubicBezTo>
                      <a:cubicBezTo>
                        <a:pt x="227" y="143"/>
                        <a:pt x="227" y="143"/>
                        <a:pt x="227" y="143"/>
                      </a:cubicBezTo>
                      <a:cubicBezTo>
                        <a:pt x="227" y="143"/>
                        <a:pt x="228" y="145"/>
                        <a:pt x="228" y="145"/>
                      </a:cubicBezTo>
                      <a:cubicBezTo>
                        <a:pt x="228" y="146"/>
                        <a:pt x="229" y="147"/>
                        <a:pt x="229" y="147"/>
                      </a:cubicBezTo>
                      <a:cubicBezTo>
                        <a:pt x="229" y="147"/>
                        <a:pt x="229" y="147"/>
                        <a:pt x="229" y="147"/>
                      </a:cubicBezTo>
                      <a:cubicBezTo>
                        <a:pt x="229" y="148"/>
                        <a:pt x="229" y="148"/>
                        <a:pt x="229" y="148"/>
                      </a:cubicBezTo>
                      <a:cubicBezTo>
                        <a:pt x="229" y="148"/>
                        <a:pt x="229" y="148"/>
                        <a:pt x="229" y="149"/>
                      </a:cubicBezTo>
                      <a:cubicBezTo>
                        <a:pt x="230" y="149"/>
                        <a:pt x="230" y="149"/>
                        <a:pt x="230" y="149"/>
                      </a:cubicBezTo>
                      <a:cubicBezTo>
                        <a:pt x="230" y="150"/>
                        <a:pt x="230" y="150"/>
                        <a:pt x="230" y="150"/>
                      </a:cubicBezTo>
                      <a:cubicBezTo>
                        <a:pt x="230" y="150"/>
                        <a:pt x="230" y="151"/>
                        <a:pt x="230" y="151"/>
                      </a:cubicBezTo>
                      <a:cubicBezTo>
                        <a:pt x="230" y="151"/>
                        <a:pt x="230" y="151"/>
                        <a:pt x="231" y="151"/>
                      </a:cubicBezTo>
                      <a:cubicBezTo>
                        <a:pt x="231" y="151"/>
                        <a:pt x="232" y="152"/>
                        <a:pt x="232" y="152"/>
                      </a:cubicBezTo>
                      <a:cubicBezTo>
                        <a:pt x="232" y="152"/>
                        <a:pt x="232" y="153"/>
                        <a:pt x="232" y="154"/>
                      </a:cubicBezTo>
                      <a:cubicBezTo>
                        <a:pt x="232" y="154"/>
                        <a:pt x="233" y="155"/>
                        <a:pt x="233" y="155"/>
                      </a:cubicBezTo>
                      <a:cubicBezTo>
                        <a:pt x="233" y="155"/>
                        <a:pt x="233" y="155"/>
                        <a:pt x="233" y="156"/>
                      </a:cubicBezTo>
                      <a:cubicBezTo>
                        <a:pt x="232" y="156"/>
                        <a:pt x="232" y="156"/>
                        <a:pt x="233" y="156"/>
                      </a:cubicBezTo>
                      <a:cubicBezTo>
                        <a:pt x="233" y="157"/>
                        <a:pt x="233" y="157"/>
                        <a:pt x="233" y="157"/>
                      </a:cubicBezTo>
                      <a:cubicBezTo>
                        <a:pt x="233" y="158"/>
                        <a:pt x="233" y="158"/>
                        <a:pt x="233" y="158"/>
                      </a:cubicBezTo>
                      <a:cubicBezTo>
                        <a:pt x="233" y="158"/>
                        <a:pt x="234" y="160"/>
                        <a:pt x="234" y="160"/>
                      </a:cubicBezTo>
                      <a:cubicBezTo>
                        <a:pt x="234" y="160"/>
                        <a:pt x="235" y="160"/>
                        <a:pt x="235" y="160"/>
                      </a:cubicBezTo>
                      <a:cubicBezTo>
                        <a:pt x="235" y="160"/>
                        <a:pt x="235" y="161"/>
                        <a:pt x="236" y="161"/>
                      </a:cubicBezTo>
                      <a:cubicBezTo>
                        <a:pt x="236" y="162"/>
                        <a:pt x="236" y="162"/>
                        <a:pt x="236" y="163"/>
                      </a:cubicBezTo>
                      <a:cubicBezTo>
                        <a:pt x="236" y="163"/>
                        <a:pt x="236" y="163"/>
                        <a:pt x="236" y="164"/>
                      </a:cubicBezTo>
                      <a:cubicBezTo>
                        <a:pt x="236" y="164"/>
                        <a:pt x="237" y="165"/>
                        <a:pt x="237" y="165"/>
                      </a:cubicBezTo>
                      <a:cubicBezTo>
                        <a:pt x="237" y="165"/>
                        <a:pt x="237" y="166"/>
                        <a:pt x="238" y="166"/>
                      </a:cubicBezTo>
                      <a:cubicBezTo>
                        <a:pt x="238" y="166"/>
                        <a:pt x="238" y="167"/>
                        <a:pt x="238" y="167"/>
                      </a:cubicBezTo>
                      <a:cubicBezTo>
                        <a:pt x="238" y="167"/>
                        <a:pt x="238" y="168"/>
                        <a:pt x="238" y="168"/>
                      </a:cubicBezTo>
                      <a:cubicBezTo>
                        <a:pt x="238" y="168"/>
                        <a:pt x="239" y="169"/>
                        <a:pt x="238" y="169"/>
                      </a:cubicBezTo>
                      <a:cubicBezTo>
                        <a:pt x="238" y="169"/>
                        <a:pt x="238" y="170"/>
                        <a:pt x="238" y="170"/>
                      </a:cubicBezTo>
                      <a:cubicBezTo>
                        <a:pt x="238" y="170"/>
                        <a:pt x="238" y="170"/>
                        <a:pt x="238" y="171"/>
                      </a:cubicBezTo>
                      <a:cubicBezTo>
                        <a:pt x="238" y="171"/>
                        <a:pt x="238" y="172"/>
                        <a:pt x="239" y="173"/>
                      </a:cubicBezTo>
                      <a:cubicBezTo>
                        <a:pt x="239" y="173"/>
                        <a:pt x="239" y="173"/>
                        <a:pt x="239" y="174"/>
                      </a:cubicBezTo>
                      <a:cubicBezTo>
                        <a:pt x="239" y="174"/>
                        <a:pt x="239" y="175"/>
                        <a:pt x="239" y="175"/>
                      </a:cubicBezTo>
                      <a:cubicBezTo>
                        <a:pt x="239" y="175"/>
                        <a:pt x="239" y="176"/>
                        <a:pt x="239" y="176"/>
                      </a:cubicBezTo>
                      <a:cubicBezTo>
                        <a:pt x="239" y="176"/>
                        <a:pt x="240" y="176"/>
                        <a:pt x="240" y="176"/>
                      </a:cubicBezTo>
                      <a:cubicBezTo>
                        <a:pt x="240" y="176"/>
                        <a:pt x="240" y="176"/>
                        <a:pt x="240" y="176"/>
                      </a:cubicBezTo>
                      <a:cubicBezTo>
                        <a:pt x="241" y="176"/>
                        <a:pt x="241" y="176"/>
                        <a:pt x="241" y="176"/>
                      </a:cubicBezTo>
                      <a:cubicBezTo>
                        <a:pt x="241" y="176"/>
                        <a:pt x="242" y="176"/>
                        <a:pt x="242" y="176"/>
                      </a:cubicBezTo>
                      <a:cubicBezTo>
                        <a:pt x="242" y="175"/>
                        <a:pt x="242" y="175"/>
                        <a:pt x="242" y="175"/>
                      </a:cubicBezTo>
                      <a:cubicBezTo>
                        <a:pt x="242" y="175"/>
                        <a:pt x="243" y="175"/>
                        <a:pt x="243" y="175"/>
                      </a:cubicBezTo>
                      <a:cubicBezTo>
                        <a:pt x="243" y="174"/>
                        <a:pt x="243" y="174"/>
                        <a:pt x="244" y="174"/>
                      </a:cubicBezTo>
                      <a:cubicBezTo>
                        <a:pt x="244" y="174"/>
                        <a:pt x="245" y="174"/>
                        <a:pt x="245" y="174"/>
                      </a:cubicBezTo>
                      <a:cubicBezTo>
                        <a:pt x="245" y="174"/>
                        <a:pt x="245" y="174"/>
                        <a:pt x="245" y="174"/>
                      </a:cubicBezTo>
                      <a:cubicBezTo>
                        <a:pt x="245" y="174"/>
                        <a:pt x="246" y="173"/>
                        <a:pt x="246" y="173"/>
                      </a:cubicBezTo>
                      <a:cubicBezTo>
                        <a:pt x="246" y="173"/>
                        <a:pt x="247" y="173"/>
                        <a:pt x="247" y="173"/>
                      </a:cubicBezTo>
                      <a:cubicBezTo>
                        <a:pt x="247" y="173"/>
                        <a:pt x="247" y="173"/>
                        <a:pt x="248" y="172"/>
                      </a:cubicBezTo>
                      <a:cubicBezTo>
                        <a:pt x="248" y="172"/>
                        <a:pt x="249" y="172"/>
                        <a:pt x="249" y="171"/>
                      </a:cubicBezTo>
                      <a:cubicBezTo>
                        <a:pt x="249" y="171"/>
                        <a:pt x="249" y="171"/>
                        <a:pt x="250" y="171"/>
                      </a:cubicBezTo>
                      <a:cubicBezTo>
                        <a:pt x="250" y="171"/>
                        <a:pt x="250" y="171"/>
                        <a:pt x="250" y="171"/>
                      </a:cubicBezTo>
                      <a:cubicBezTo>
                        <a:pt x="251" y="171"/>
                        <a:pt x="251" y="171"/>
                        <a:pt x="251" y="170"/>
                      </a:cubicBezTo>
                      <a:cubicBezTo>
                        <a:pt x="252" y="170"/>
                        <a:pt x="253" y="170"/>
                        <a:pt x="253" y="170"/>
                      </a:cubicBezTo>
                      <a:cubicBezTo>
                        <a:pt x="253" y="170"/>
                        <a:pt x="253" y="169"/>
                        <a:pt x="253" y="169"/>
                      </a:cubicBezTo>
                      <a:cubicBezTo>
                        <a:pt x="253" y="168"/>
                        <a:pt x="253" y="168"/>
                        <a:pt x="253" y="168"/>
                      </a:cubicBezTo>
                      <a:cubicBezTo>
                        <a:pt x="254" y="168"/>
                        <a:pt x="254" y="167"/>
                        <a:pt x="255" y="167"/>
                      </a:cubicBezTo>
                      <a:cubicBezTo>
                        <a:pt x="255" y="167"/>
                        <a:pt x="256" y="167"/>
                        <a:pt x="256" y="167"/>
                      </a:cubicBezTo>
                      <a:cubicBezTo>
                        <a:pt x="256" y="167"/>
                        <a:pt x="257" y="167"/>
                        <a:pt x="257" y="167"/>
                      </a:cubicBezTo>
                      <a:cubicBezTo>
                        <a:pt x="257" y="166"/>
                        <a:pt x="258" y="166"/>
                        <a:pt x="258" y="166"/>
                      </a:cubicBezTo>
                      <a:cubicBezTo>
                        <a:pt x="257" y="165"/>
                        <a:pt x="258" y="165"/>
                        <a:pt x="258" y="165"/>
                      </a:cubicBezTo>
                      <a:cubicBezTo>
                        <a:pt x="258" y="165"/>
                        <a:pt x="258" y="165"/>
                        <a:pt x="258" y="165"/>
                      </a:cubicBezTo>
                      <a:cubicBezTo>
                        <a:pt x="259" y="165"/>
                        <a:pt x="259" y="165"/>
                        <a:pt x="259" y="164"/>
                      </a:cubicBezTo>
                      <a:cubicBezTo>
                        <a:pt x="259" y="164"/>
                        <a:pt x="260" y="164"/>
                        <a:pt x="260" y="164"/>
                      </a:cubicBezTo>
                      <a:cubicBezTo>
                        <a:pt x="260" y="163"/>
                        <a:pt x="260" y="163"/>
                        <a:pt x="260" y="163"/>
                      </a:cubicBezTo>
                      <a:cubicBezTo>
                        <a:pt x="261" y="162"/>
                        <a:pt x="261" y="162"/>
                        <a:pt x="261" y="162"/>
                      </a:cubicBezTo>
                      <a:cubicBezTo>
                        <a:pt x="261" y="162"/>
                        <a:pt x="261" y="161"/>
                        <a:pt x="261" y="161"/>
                      </a:cubicBezTo>
                      <a:cubicBezTo>
                        <a:pt x="261" y="161"/>
                        <a:pt x="261" y="160"/>
                        <a:pt x="261" y="160"/>
                      </a:cubicBezTo>
                      <a:cubicBezTo>
                        <a:pt x="261" y="160"/>
                        <a:pt x="262" y="159"/>
                        <a:pt x="262" y="159"/>
                      </a:cubicBezTo>
                      <a:cubicBezTo>
                        <a:pt x="262" y="159"/>
                        <a:pt x="262" y="159"/>
                        <a:pt x="262" y="159"/>
                      </a:cubicBezTo>
                      <a:cubicBezTo>
                        <a:pt x="262" y="159"/>
                        <a:pt x="262" y="159"/>
                        <a:pt x="262" y="159"/>
                      </a:cubicBezTo>
                      <a:cubicBezTo>
                        <a:pt x="263" y="159"/>
                        <a:pt x="263" y="157"/>
                        <a:pt x="264" y="157"/>
                      </a:cubicBezTo>
                      <a:cubicBezTo>
                        <a:pt x="264" y="157"/>
                        <a:pt x="264" y="156"/>
                        <a:pt x="264" y="156"/>
                      </a:cubicBezTo>
                      <a:cubicBezTo>
                        <a:pt x="264" y="156"/>
                        <a:pt x="265" y="155"/>
                        <a:pt x="264" y="155"/>
                      </a:cubicBezTo>
                      <a:cubicBezTo>
                        <a:pt x="264" y="155"/>
                        <a:pt x="264" y="155"/>
                        <a:pt x="264" y="154"/>
                      </a:cubicBezTo>
                      <a:cubicBezTo>
                        <a:pt x="264" y="154"/>
                        <a:pt x="263" y="153"/>
                        <a:pt x="263" y="153"/>
                      </a:cubicBezTo>
                      <a:cubicBezTo>
                        <a:pt x="263" y="153"/>
                        <a:pt x="263" y="153"/>
                        <a:pt x="263" y="152"/>
                      </a:cubicBezTo>
                      <a:cubicBezTo>
                        <a:pt x="262" y="152"/>
                        <a:pt x="261" y="152"/>
                        <a:pt x="261" y="152"/>
                      </a:cubicBezTo>
                      <a:cubicBezTo>
                        <a:pt x="260" y="152"/>
                        <a:pt x="259" y="150"/>
                        <a:pt x="259" y="150"/>
                      </a:cubicBezTo>
                      <a:cubicBezTo>
                        <a:pt x="259" y="149"/>
                        <a:pt x="259" y="148"/>
                        <a:pt x="259" y="148"/>
                      </a:cubicBezTo>
                      <a:cubicBezTo>
                        <a:pt x="259" y="147"/>
                        <a:pt x="259" y="147"/>
                        <a:pt x="259" y="147"/>
                      </a:cubicBezTo>
                      <a:cubicBezTo>
                        <a:pt x="259" y="147"/>
                        <a:pt x="259" y="147"/>
                        <a:pt x="259" y="147"/>
                      </a:cubicBezTo>
                      <a:cubicBezTo>
                        <a:pt x="259" y="147"/>
                        <a:pt x="259" y="146"/>
                        <a:pt x="259" y="146"/>
                      </a:cubicBezTo>
                      <a:cubicBezTo>
                        <a:pt x="259" y="146"/>
                        <a:pt x="259" y="147"/>
                        <a:pt x="259" y="147"/>
                      </a:cubicBezTo>
                      <a:cubicBezTo>
                        <a:pt x="259" y="147"/>
                        <a:pt x="259" y="148"/>
                        <a:pt x="258" y="148"/>
                      </a:cubicBezTo>
                      <a:cubicBezTo>
                        <a:pt x="258" y="148"/>
                        <a:pt x="258" y="148"/>
                        <a:pt x="258" y="149"/>
                      </a:cubicBezTo>
                      <a:cubicBezTo>
                        <a:pt x="257" y="149"/>
                        <a:pt x="257" y="149"/>
                        <a:pt x="257" y="150"/>
                      </a:cubicBezTo>
                      <a:cubicBezTo>
                        <a:pt x="257" y="150"/>
                        <a:pt x="256" y="150"/>
                        <a:pt x="256" y="150"/>
                      </a:cubicBezTo>
                      <a:cubicBezTo>
                        <a:pt x="256" y="150"/>
                        <a:pt x="256" y="150"/>
                        <a:pt x="256" y="150"/>
                      </a:cubicBezTo>
                      <a:cubicBezTo>
                        <a:pt x="256" y="151"/>
                        <a:pt x="256" y="151"/>
                        <a:pt x="256" y="151"/>
                      </a:cubicBezTo>
                      <a:cubicBezTo>
                        <a:pt x="256" y="151"/>
                        <a:pt x="256" y="151"/>
                        <a:pt x="256" y="151"/>
                      </a:cubicBezTo>
                      <a:cubicBezTo>
                        <a:pt x="256" y="151"/>
                        <a:pt x="255" y="151"/>
                        <a:pt x="255" y="151"/>
                      </a:cubicBezTo>
                      <a:cubicBezTo>
                        <a:pt x="255" y="151"/>
                        <a:pt x="255" y="151"/>
                        <a:pt x="255" y="151"/>
                      </a:cubicBezTo>
                      <a:cubicBezTo>
                        <a:pt x="255" y="151"/>
                        <a:pt x="255" y="151"/>
                        <a:pt x="255" y="151"/>
                      </a:cubicBezTo>
                      <a:cubicBezTo>
                        <a:pt x="255" y="151"/>
                        <a:pt x="255" y="151"/>
                        <a:pt x="255" y="151"/>
                      </a:cubicBezTo>
                      <a:cubicBezTo>
                        <a:pt x="255" y="151"/>
                        <a:pt x="255" y="152"/>
                        <a:pt x="255" y="151"/>
                      </a:cubicBezTo>
                      <a:cubicBezTo>
                        <a:pt x="254" y="151"/>
                        <a:pt x="254" y="151"/>
                        <a:pt x="253" y="151"/>
                      </a:cubicBezTo>
                      <a:cubicBezTo>
                        <a:pt x="253" y="151"/>
                        <a:pt x="253" y="152"/>
                        <a:pt x="253" y="152"/>
                      </a:cubicBezTo>
                      <a:cubicBezTo>
                        <a:pt x="252" y="152"/>
                        <a:pt x="252" y="152"/>
                        <a:pt x="252" y="151"/>
                      </a:cubicBezTo>
                      <a:cubicBezTo>
                        <a:pt x="252" y="151"/>
                        <a:pt x="252" y="151"/>
                        <a:pt x="252" y="151"/>
                      </a:cubicBezTo>
                      <a:cubicBezTo>
                        <a:pt x="252" y="151"/>
                        <a:pt x="251" y="151"/>
                        <a:pt x="251" y="151"/>
                      </a:cubicBezTo>
                      <a:cubicBezTo>
                        <a:pt x="251" y="151"/>
                        <a:pt x="251" y="151"/>
                        <a:pt x="252" y="150"/>
                      </a:cubicBezTo>
                      <a:cubicBezTo>
                        <a:pt x="252" y="150"/>
                        <a:pt x="252" y="150"/>
                        <a:pt x="252" y="149"/>
                      </a:cubicBezTo>
                      <a:cubicBezTo>
                        <a:pt x="252" y="149"/>
                        <a:pt x="252" y="148"/>
                        <a:pt x="252" y="148"/>
                      </a:cubicBezTo>
                      <a:cubicBezTo>
                        <a:pt x="252" y="148"/>
                        <a:pt x="252" y="148"/>
                        <a:pt x="252" y="147"/>
                      </a:cubicBezTo>
                      <a:cubicBezTo>
                        <a:pt x="252" y="147"/>
                        <a:pt x="251" y="147"/>
                        <a:pt x="251" y="147"/>
                      </a:cubicBezTo>
                      <a:cubicBezTo>
                        <a:pt x="251" y="147"/>
                        <a:pt x="251" y="147"/>
                        <a:pt x="251" y="147"/>
                      </a:cubicBezTo>
                      <a:cubicBezTo>
                        <a:pt x="251" y="148"/>
                        <a:pt x="251" y="148"/>
                        <a:pt x="251" y="148"/>
                      </a:cubicBezTo>
                      <a:cubicBezTo>
                        <a:pt x="251" y="148"/>
                        <a:pt x="251" y="149"/>
                        <a:pt x="251" y="149"/>
                      </a:cubicBezTo>
                      <a:cubicBezTo>
                        <a:pt x="251" y="150"/>
                        <a:pt x="251" y="150"/>
                        <a:pt x="251" y="150"/>
                      </a:cubicBezTo>
                      <a:cubicBezTo>
                        <a:pt x="250" y="150"/>
                        <a:pt x="250" y="149"/>
                        <a:pt x="250" y="149"/>
                      </a:cubicBezTo>
                      <a:cubicBezTo>
                        <a:pt x="250" y="148"/>
                        <a:pt x="250" y="148"/>
                        <a:pt x="250" y="148"/>
                      </a:cubicBezTo>
                      <a:cubicBezTo>
                        <a:pt x="250" y="147"/>
                        <a:pt x="249" y="147"/>
                        <a:pt x="250" y="147"/>
                      </a:cubicBezTo>
                      <a:cubicBezTo>
                        <a:pt x="250" y="147"/>
                        <a:pt x="250" y="147"/>
                        <a:pt x="250" y="146"/>
                      </a:cubicBezTo>
                      <a:cubicBezTo>
                        <a:pt x="250" y="146"/>
                        <a:pt x="249" y="146"/>
                        <a:pt x="249" y="146"/>
                      </a:cubicBezTo>
                      <a:cubicBezTo>
                        <a:pt x="249" y="145"/>
                        <a:pt x="249" y="146"/>
                        <a:pt x="249" y="145"/>
                      </a:cubicBezTo>
                      <a:cubicBezTo>
                        <a:pt x="249" y="145"/>
                        <a:pt x="249" y="145"/>
                        <a:pt x="249" y="145"/>
                      </a:cubicBezTo>
                      <a:cubicBezTo>
                        <a:pt x="249" y="144"/>
                        <a:pt x="249" y="145"/>
                        <a:pt x="248" y="144"/>
                      </a:cubicBezTo>
                      <a:cubicBezTo>
                        <a:pt x="248" y="144"/>
                        <a:pt x="248" y="144"/>
                        <a:pt x="248" y="144"/>
                      </a:cubicBezTo>
                      <a:cubicBezTo>
                        <a:pt x="248" y="144"/>
                        <a:pt x="248" y="144"/>
                        <a:pt x="248" y="143"/>
                      </a:cubicBezTo>
                      <a:cubicBezTo>
                        <a:pt x="248" y="143"/>
                        <a:pt x="247" y="143"/>
                        <a:pt x="247" y="143"/>
                      </a:cubicBezTo>
                      <a:cubicBezTo>
                        <a:pt x="247" y="142"/>
                        <a:pt x="247" y="141"/>
                        <a:pt x="247" y="141"/>
                      </a:cubicBezTo>
                      <a:cubicBezTo>
                        <a:pt x="246" y="140"/>
                        <a:pt x="247" y="140"/>
                        <a:pt x="246" y="140"/>
                      </a:cubicBezTo>
                      <a:cubicBezTo>
                        <a:pt x="246" y="140"/>
                        <a:pt x="246" y="140"/>
                        <a:pt x="247" y="139"/>
                      </a:cubicBezTo>
                      <a:cubicBezTo>
                        <a:pt x="247" y="139"/>
                        <a:pt x="247" y="139"/>
                        <a:pt x="247" y="139"/>
                      </a:cubicBezTo>
                      <a:cubicBezTo>
                        <a:pt x="247" y="139"/>
                        <a:pt x="248" y="139"/>
                        <a:pt x="248" y="138"/>
                      </a:cubicBezTo>
                      <a:cubicBezTo>
                        <a:pt x="248" y="138"/>
                        <a:pt x="248" y="139"/>
                        <a:pt x="249" y="139"/>
                      </a:cubicBezTo>
                      <a:cubicBezTo>
                        <a:pt x="249" y="139"/>
                        <a:pt x="249" y="138"/>
                        <a:pt x="249" y="138"/>
                      </a:cubicBezTo>
                      <a:cubicBezTo>
                        <a:pt x="250" y="139"/>
                        <a:pt x="250" y="139"/>
                        <a:pt x="250" y="139"/>
                      </a:cubicBezTo>
                      <a:cubicBezTo>
                        <a:pt x="250" y="139"/>
                        <a:pt x="250" y="140"/>
                        <a:pt x="250" y="140"/>
                      </a:cubicBezTo>
                      <a:cubicBezTo>
                        <a:pt x="250" y="140"/>
                        <a:pt x="250" y="140"/>
                        <a:pt x="250" y="141"/>
                      </a:cubicBezTo>
                      <a:cubicBezTo>
                        <a:pt x="250" y="141"/>
                        <a:pt x="251" y="141"/>
                        <a:pt x="251" y="141"/>
                      </a:cubicBezTo>
                      <a:cubicBezTo>
                        <a:pt x="251" y="142"/>
                        <a:pt x="251" y="143"/>
                        <a:pt x="252" y="143"/>
                      </a:cubicBezTo>
                      <a:cubicBezTo>
                        <a:pt x="252" y="143"/>
                        <a:pt x="252" y="143"/>
                        <a:pt x="253" y="143"/>
                      </a:cubicBezTo>
                      <a:cubicBezTo>
                        <a:pt x="253" y="144"/>
                        <a:pt x="253" y="144"/>
                        <a:pt x="253" y="144"/>
                      </a:cubicBezTo>
                      <a:cubicBezTo>
                        <a:pt x="254" y="144"/>
                        <a:pt x="253" y="144"/>
                        <a:pt x="253" y="144"/>
                      </a:cubicBezTo>
                      <a:cubicBezTo>
                        <a:pt x="254" y="145"/>
                        <a:pt x="255" y="145"/>
                        <a:pt x="255" y="145"/>
                      </a:cubicBezTo>
                      <a:cubicBezTo>
                        <a:pt x="255" y="145"/>
                        <a:pt x="255" y="145"/>
                        <a:pt x="255" y="146"/>
                      </a:cubicBezTo>
                      <a:cubicBezTo>
                        <a:pt x="255" y="146"/>
                        <a:pt x="256" y="146"/>
                        <a:pt x="256" y="146"/>
                      </a:cubicBezTo>
                      <a:cubicBezTo>
                        <a:pt x="256" y="146"/>
                        <a:pt x="257" y="146"/>
                        <a:pt x="257" y="146"/>
                      </a:cubicBezTo>
                      <a:cubicBezTo>
                        <a:pt x="257" y="146"/>
                        <a:pt x="257" y="146"/>
                        <a:pt x="258" y="146"/>
                      </a:cubicBezTo>
                      <a:cubicBezTo>
                        <a:pt x="258" y="146"/>
                        <a:pt x="258" y="146"/>
                        <a:pt x="258" y="146"/>
                      </a:cubicBezTo>
                      <a:cubicBezTo>
                        <a:pt x="258" y="146"/>
                        <a:pt x="258" y="146"/>
                        <a:pt x="258" y="146"/>
                      </a:cubicBezTo>
                      <a:cubicBezTo>
                        <a:pt x="258" y="146"/>
                        <a:pt x="258" y="146"/>
                        <a:pt x="259" y="146"/>
                      </a:cubicBezTo>
                      <a:cubicBezTo>
                        <a:pt x="259" y="145"/>
                        <a:pt x="259" y="145"/>
                        <a:pt x="259" y="145"/>
                      </a:cubicBezTo>
                      <a:cubicBezTo>
                        <a:pt x="259" y="145"/>
                        <a:pt x="259" y="145"/>
                        <a:pt x="259" y="145"/>
                      </a:cubicBezTo>
                      <a:cubicBezTo>
                        <a:pt x="258" y="145"/>
                        <a:pt x="259" y="145"/>
                        <a:pt x="259" y="145"/>
                      </a:cubicBezTo>
                      <a:cubicBezTo>
                        <a:pt x="259" y="145"/>
                        <a:pt x="260" y="145"/>
                        <a:pt x="260" y="145"/>
                      </a:cubicBezTo>
                      <a:cubicBezTo>
                        <a:pt x="260" y="146"/>
                        <a:pt x="260" y="147"/>
                        <a:pt x="260" y="147"/>
                      </a:cubicBezTo>
                      <a:cubicBezTo>
                        <a:pt x="260" y="147"/>
                        <a:pt x="260" y="148"/>
                        <a:pt x="261" y="148"/>
                      </a:cubicBezTo>
                      <a:cubicBezTo>
                        <a:pt x="261" y="148"/>
                        <a:pt x="261" y="148"/>
                        <a:pt x="262" y="148"/>
                      </a:cubicBezTo>
                      <a:cubicBezTo>
                        <a:pt x="262" y="148"/>
                        <a:pt x="262" y="148"/>
                        <a:pt x="263" y="148"/>
                      </a:cubicBezTo>
                      <a:cubicBezTo>
                        <a:pt x="263" y="148"/>
                        <a:pt x="263" y="148"/>
                        <a:pt x="263" y="148"/>
                      </a:cubicBezTo>
                      <a:cubicBezTo>
                        <a:pt x="263" y="148"/>
                        <a:pt x="264" y="148"/>
                        <a:pt x="264" y="148"/>
                      </a:cubicBezTo>
                      <a:cubicBezTo>
                        <a:pt x="264" y="148"/>
                        <a:pt x="265" y="149"/>
                        <a:pt x="265" y="149"/>
                      </a:cubicBezTo>
                      <a:cubicBezTo>
                        <a:pt x="265" y="149"/>
                        <a:pt x="266" y="149"/>
                        <a:pt x="266" y="149"/>
                      </a:cubicBezTo>
                      <a:cubicBezTo>
                        <a:pt x="266" y="149"/>
                        <a:pt x="267" y="149"/>
                        <a:pt x="267" y="149"/>
                      </a:cubicBezTo>
                      <a:cubicBezTo>
                        <a:pt x="267" y="149"/>
                        <a:pt x="267" y="149"/>
                        <a:pt x="267" y="149"/>
                      </a:cubicBezTo>
                      <a:cubicBezTo>
                        <a:pt x="267" y="149"/>
                        <a:pt x="268" y="149"/>
                        <a:pt x="268" y="149"/>
                      </a:cubicBezTo>
                      <a:cubicBezTo>
                        <a:pt x="268" y="149"/>
                        <a:pt x="269" y="149"/>
                        <a:pt x="270" y="149"/>
                      </a:cubicBezTo>
                      <a:cubicBezTo>
                        <a:pt x="270" y="149"/>
                        <a:pt x="270" y="148"/>
                        <a:pt x="270" y="149"/>
                      </a:cubicBezTo>
                      <a:cubicBezTo>
                        <a:pt x="271" y="149"/>
                        <a:pt x="272" y="149"/>
                        <a:pt x="272" y="149"/>
                      </a:cubicBezTo>
                      <a:cubicBezTo>
                        <a:pt x="273" y="148"/>
                        <a:pt x="274" y="148"/>
                        <a:pt x="274" y="148"/>
                      </a:cubicBezTo>
                      <a:cubicBezTo>
                        <a:pt x="274" y="148"/>
                        <a:pt x="275" y="148"/>
                        <a:pt x="275" y="149"/>
                      </a:cubicBezTo>
                      <a:cubicBezTo>
                        <a:pt x="275" y="149"/>
                        <a:pt x="275" y="150"/>
                        <a:pt x="275" y="150"/>
                      </a:cubicBezTo>
                      <a:cubicBezTo>
                        <a:pt x="275" y="150"/>
                        <a:pt x="275" y="149"/>
                        <a:pt x="275" y="150"/>
                      </a:cubicBezTo>
                      <a:cubicBezTo>
                        <a:pt x="276" y="150"/>
                        <a:pt x="276" y="151"/>
                        <a:pt x="276" y="151"/>
                      </a:cubicBezTo>
                      <a:cubicBezTo>
                        <a:pt x="276" y="151"/>
                        <a:pt x="276" y="152"/>
                        <a:pt x="276" y="152"/>
                      </a:cubicBezTo>
                      <a:cubicBezTo>
                        <a:pt x="277" y="152"/>
                        <a:pt x="277" y="152"/>
                        <a:pt x="278" y="153"/>
                      </a:cubicBezTo>
                      <a:cubicBezTo>
                        <a:pt x="278" y="153"/>
                        <a:pt x="278" y="153"/>
                        <a:pt x="278" y="153"/>
                      </a:cubicBezTo>
                      <a:cubicBezTo>
                        <a:pt x="278" y="153"/>
                        <a:pt x="279" y="154"/>
                        <a:pt x="279" y="154"/>
                      </a:cubicBezTo>
                      <a:cubicBezTo>
                        <a:pt x="279" y="154"/>
                        <a:pt x="279" y="154"/>
                        <a:pt x="280" y="154"/>
                      </a:cubicBezTo>
                      <a:cubicBezTo>
                        <a:pt x="280" y="154"/>
                        <a:pt x="280" y="154"/>
                        <a:pt x="280" y="154"/>
                      </a:cubicBezTo>
                      <a:cubicBezTo>
                        <a:pt x="280" y="155"/>
                        <a:pt x="280" y="155"/>
                        <a:pt x="280" y="155"/>
                      </a:cubicBezTo>
                      <a:cubicBezTo>
                        <a:pt x="280" y="155"/>
                        <a:pt x="280" y="155"/>
                        <a:pt x="280" y="155"/>
                      </a:cubicBezTo>
                      <a:cubicBezTo>
                        <a:pt x="279" y="155"/>
                        <a:pt x="279" y="155"/>
                        <a:pt x="279" y="155"/>
                      </a:cubicBezTo>
                      <a:cubicBezTo>
                        <a:pt x="279" y="155"/>
                        <a:pt x="279" y="155"/>
                        <a:pt x="279" y="155"/>
                      </a:cubicBezTo>
                      <a:cubicBezTo>
                        <a:pt x="278" y="155"/>
                        <a:pt x="278" y="155"/>
                        <a:pt x="278" y="155"/>
                      </a:cubicBezTo>
                      <a:cubicBezTo>
                        <a:pt x="279" y="156"/>
                        <a:pt x="279" y="156"/>
                        <a:pt x="280" y="157"/>
                      </a:cubicBezTo>
                      <a:cubicBezTo>
                        <a:pt x="280" y="157"/>
                        <a:pt x="280" y="158"/>
                        <a:pt x="280" y="158"/>
                      </a:cubicBezTo>
                      <a:cubicBezTo>
                        <a:pt x="281" y="158"/>
                        <a:pt x="281" y="159"/>
                        <a:pt x="281" y="159"/>
                      </a:cubicBezTo>
                      <a:cubicBezTo>
                        <a:pt x="281" y="159"/>
                        <a:pt x="282" y="158"/>
                        <a:pt x="282" y="159"/>
                      </a:cubicBezTo>
                      <a:cubicBezTo>
                        <a:pt x="282" y="159"/>
                        <a:pt x="282" y="159"/>
                        <a:pt x="282" y="159"/>
                      </a:cubicBezTo>
                      <a:cubicBezTo>
                        <a:pt x="282" y="160"/>
                        <a:pt x="283" y="160"/>
                        <a:pt x="283" y="160"/>
                      </a:cubicBezTo>
                      <a:cubicBezTo>
                        <a:pt x="283" y="160"/>
                        <a:pt x="283" y="160"/>
                        <a:pt x="283" y="160"/>
                      </a:cubicBezTo>
                      <a:cubicBezTo>
                        <a:pt x="284" y="160"/>
                        <a:pt x="284" y="159"/>
                        <a:pt x="284" y="160"/>
                      </a:cubicBezTo>
                      <a:cubicBezTo>
                        <a:pt x="284" y="160"/>
                        <a:pt x="284" y="161"/>
                        <a:pt x="284" y="161"/>
                      </a:cubicBezTo>
                      <a:cubicBezTo>
                        <a:pt x="284" y="161"/>
                        <a:pt x="284" y="162"/>
                        <a:pt x="284" y="162"/>
                      </a:cubicBezTo>
                      <a:cubicBezTo>
                        <a:pt x="284" y="162"/>
                        <a:pt x="284" y="162"/>
                        <a:pt x="284" y="163"/>
                      </a:cubicBezTo>
                      <a:cubicBezTo>
                        <a:pt x="284" y="163"/>
                        <a:pt x="284" y="164"/>
                        <a:pt x="284" y="164"/>
                      </a:cubicBezTo>
                      <a:cubicBezTo>
                        <a:pt x="285" y="164"/>
                        <a:pt x="285" y="166"/>
                        <a:pt x="285" y="167"/>
                      </a:cubicBezTo>
                      <a:cubicBezTo>
                        <a:pt x="285" y="167"/>
                        <a:pt x="285" y="168"/>
                        <a:pt x="285" y="169"/>
                      </a:cubicBezTo>
                      <a:cubicBezTo>
                        <a:pt x="286" y="169"/>
                        <a:pt x="286" y="170"/>
                        <a:pt x="286" y="171"/>
                      </a:cubicBezTo>
                      <a:cubicBezTo>
                        <a:pt x="286" y="171"/>
                        <a:pt x="286" y="172"/>
                        <a:pt x="287" y="172"/>
                      </a:cubicBezTo>
                      <a:cubicBezTo>
                        <a:pt x="287" y="173"/>
                        <a:pt x="287" y="174"/>
                        <a:pt x="287" y="174"/>
                      </a:cubicBezTo>
                      <a:cubicBezTo>
                        <a:pt x="287" y="174"/>
                        <a:pt x="287" y="176"/>
                        <a:pt x="288" y="176"/>
                      </a:cubicBezTo>
                      <a:cubicBezTo>
                        <a:pt x="288" y="176"/>
                        <a:pt x="288" y="177"/>
                        <a:pt x="288" y="177"/>
                      </a:cubicBezTo>
                      <a:cubicBezTo>
                        <a:pt x="288" y="178"/>
                        <a:pt x="289" y="178"/>
                        <a:pt x="289" y="179"/>
                      </a:cubicBezTo>
                      <a:cubicBezTo>
                        <a:pt x="289" y="179"/>
                        <a:pt x="289" y="180"/>
                        <a:pt x="289" y="181"/>
                      </a:cubicBezTo>
                      <a:cubicBezTo>
                        <a:pt x="289" y="181"/>
                        <a:pt x="290" y="182"/>
                        <a:pt x="290" y="182"/>
                      </a:cubicBezTo>
                      <a:cubicBezTo>
                        <a:pt x="290" y="183"/>
                        <a:pt x="290" y="184"/>
                        <a:pt x="290" y="184"/>
                      </a:cubicBezTo>
                      <a:cubicBezTo>
                        <a:pt x="291" y="185"/>
                        <a:pt x="291" y="186"/>
                        <a:pt x="292" y="186"/>
                      </a:cubicBezTo>
                      <a:cubicBezTo>
                        <a:pt x="292" y="186"/>
                        <a:pt x="292" y="185"/>
                        <a:pt x="292" y="185"/>
                      </a:cubicBezTo>
                      <a:cubicBezTo>
                        <a:pt x="292" y="185"/>
                        <a:pt x="292" y="185"/>
                        <a:pt x="293" y="184"/>
                      </a:cubicBezTo>
                      <a:cubicBezTo>
                        <a:pt x="293" y="184"/>
                        <a:pt x="293" y="184"/>
                        <a:pt x="293" y="184"/>
                      </a:cubicBezTo>
                      <a:cubicBezTo>
                        <a:pt x="293" y="184"/>
                        <a:pt x="294" y="183"/>
                        <a:pt x="294" y="183"/>
                      </a:cubicBezTo>
                      <a:cubicBezTo>
                        <a:pt x="294" y="183"/>
                        <a:pt x="294" y="183"/>
                        <a:pt x="294" y="183"/>
                      </a:cubicBezTo>
                      <a:cubicBezTo>
                        <a:pt x="294" y="183"/>
                        <a:pt x="294" y="182"/>
                        <a:pt x="294" y="182"/>
                      </a:cubicBezTo>
                      <a:cubicBezTo>
                        <a:pt x="294" y="182"/>
                        <a:pt x="294" y="181"/>
                        <a:pt x="294" y="181"/>
                      </a:cubicBezTo>
                      <a:cubicBezTo>
                        <a:pt x="295" y="181"/>
                        <a:pt x="295" y="181"/>
                        <a:pt x="295" y="181"/>
                      </a:cubicBezTo>
                      <a:cubicBezTo>
                        <a:pt x="295" y="181"/>
                        <a:pt x="295" y="181"/>
                        <a:pt x="295" y="181"/>
                      </a:cubicBezTo>
                      <a:cubicBezTo>
                        <a:pt x="295" y="180"/>
                        <a:pt x="295" y="179"/>
                        <a:pt x="295" y="179"/>
                      </a:cubicBezTo>
                      <a:cubicBezTo>
                        <a:pt x="295" y="178"/>
                        <a:pt x="295" y="178"/>
                        <a:pt x="295" y="177"/>
                      </a:cubicBezTo>
                      <a:cubicBezTo>
                        <a:pt x="295" y="177"/>
                        <a:pt x="296" y="175"/>
                        <a:pt x="296" y="175"/>
                      </a:cubicBezTo>
                      <a:cubicBezTo>
                        <a:pt x="296" y="174"/>
                        <a:pt x="296" y="171"/>
                        <a:pt x="296" y="171"/>
                      </a:cubicBezTo>
                      <a:cubicBezTo>
                        <a:pt x="295" y="171"/>
                        <a:pt x="296" y="169"/>
                        <a:pt x="296" y="169"/>
                      </a:cubicBezTo>
                      <a:cubicBezTo>
                        <a:pt x="297" y="169"/>
                        <a:pt x="297" y="169"/>
                        <a:pt x="297" y="169"/>
                      </a:cubicBezTo>
                      <a:cubicBezTo>
                        <a:pt x="297" y="169"/>
                        <a:pt x="297" y="168"/>
                        <a:pt x="297" y="168"/>
                      </a:cubicBezTo>
                      <a:cubicBezTo>
                        <a:pt x="298" y="168"/>
                        <a:pt x="298" y="168"/>
                        <a:pt x="298" y="168"/>
                      </a:cubicBezTo>
                      <a:cubicBezTo>
                        <a:pt x="292" y="241"/>
                        <a:pt x="230" y="299"/>
                        <a:pt x="155" y="299"/>
                      </a:cubicBezTo>
                      <a:close/>
                      <a:moveTo>
                        <a:pt x="222" y="106"/>
                      </a:moveTo>
                      <a:cubicBezTo>
                        <a:pt x="222" y="106"/>
                        <a:pt x="223" y="106"/>
                        <a:pt x="223" y="106"/>
                      </a:cubicBezTo>
                      <a:cubicBezTo>
                        <a:pt x="223" y="106"/>
                        <a:pt x="223" y="106"/>
                        <a:pt x="223" y="106"/>
                      </a:cubicBezTo>
                      <a:cubicBezTo>
                        <a:pt x="223" y="107"/>
                        <a:pt x="223" y="107"/>
                        <a:pt x="223" y="107"/>
                      </a:cubicBezTo>
                      <a:cubicBezTo>
                        <a:pt x="223" y="107"/>
                        <a:pt x="223" y="107"/>
                        <a:pt x="223" y="107"/>
                      </a:cubicBezTo>
                      <a:cubicBezTo>
                        <a:pt x="223" y="107"/>
                        <a:pt x="223" y="107"/>
                        <a:pt x="223" y="107"/>
                      </a:cubicBezTo>
                      <a:cubicBezTo>
                        <a:pt x="223" y="108"/>
                        <a:pt x="224" y="108"/>
                        <a:pt x="224" y="108"/>
                      </a:cubicBezTo>
                      <a:cubicBezTo>
                        <a:pt x="225" y="108"/>
                        <a:pt x="225" y="108"/>
                        <a:pt x="225" y="108"/>
                      </a:cubicBezTo>
                      <a:cubicBezTo>
                        <a:pt x="226" y="108"/>
                        <a:pt x="226" y="108"/>
                        <a:pt x="226" y="108"/>
                      </a:cubicBezTo>
                      <a:cubicBezTo>
                        <a:pt x="226" y="107"/>
                        <a:pt x="226" y="107"/>
                        <a:pt x="227" y="107"/>
                      </a:cubicBezTo>
                      <a:cubicBezTo>
                        <a:pt x="227" y="107"/>
                        <a:pt x="227" y="107"/>
                        <a:pt x="227" y="107"/>
                      </a:cubicBezTo>
                      <a:cubicBezTo>
                        <a:pt x="227" y="107"/>
                        <a:pt x="227" y="107"/>
                        <a:pt x="228" y="107"/>
                      </a:cubicBezTo>
                      <a:cubicBezTo>
                        <a:pt x="228" y="106"/>
                        <a:pt x="228" y="106"/>
                        <a:pt x="228" y="106"/>
                      </a:cubicBezTo>
                      <a:cubicBezTo>
                        <a:pt x="228" y="106"/>
                        <a:pt x="228" y="106"/>
                        <a:pt x="228" y="106"/>
                      </a:cubicBezTo>
                      <a:cubicBezTo>
                        <a:pt x="228" y="106"/>
                        <a:pt x="228" y="107"/>
                        <a:pt x="229" y="107"/>
                      </a:cubicBezTo>
                      <a:cubicBezTo>
                        <a:pt x="229" y="107"/>
                        <a:pt x="229" y="107"/>
                        <a:pt x="229" y="107"/>
                      </a:cubicBezTo>
                      <a:cubicBezTo>
                        <a:pt x="229" y="107"/>
                        <a:pt x="229" y="108"/>
                        <a:pt x="230" y="108"/>
                      </a:cubicBezTo>
                      <a:cubicBezTo>
                        <a:pt x="230" y="108"/>
                        <a:pt x="230" y="108"/>
                        <a:pt x="230" y="108"/>
                      </a:cubicBezTo>
                      <a:cubicBezTo>
                        <a:pt x="231" y="108"/>
                        <a:pt x="231" y="109"/>
                        <a:pt x="232" y="109"/>
                      </a:cubicBezTo>
                      <a:cubicBezTo>
                        <a:pt x="232" y="109"/>
                        <a:pt x="233" y="110"/>
                        <a:pt x="233" y="110"/>
                      </a:cubicBezTo>
                      <a:cubicBezTo>
                        <a:pt x="233" y="110"/>
                        <a:pt x="233" y="110"/>
                        <a:pt x="233" y="110"/>
                      </a:cubicBezTo>
                      <a:cubicBezTo>
                        <a:pt x="234" y="110"/>
                        <a:pt x="234" y="110"/>
                        <a:pt x="234" y="110"/>
                      </a:cubicBezTo>
                      <a:cubicBezTo>
                        <a:pt x="234" y="111"/>
                        <a:pt x="234" y="111"/>
                        <a:pt x="235" y="111"/>
                      </a:cubicBezTo>
                      <a:cubicBezTo>
                        <a:pt x="235" y="111"/>
                        <a:pt x="235" y="111"/>
                        <a:pt x="235" y="111"/>
                      </a:cubicBezTo>
                      <a:cubicBezTo>
                        <a:pt x="235" y="111"/>
                        <a:pt x="235" y="111"/>
                        <a:pt x="235" y="111"/>
                      </a:cubicBezTo>
                      <a:cubicBezTo>
                        <a:pt x="235" y="112"/>
                        <a:pt x="236" y="112"/>
                        <a:pt x="236" y="112"/>
                      </a:cubicBezTo>
                      <a:cubicBezTo>
                        <a:pt x="236" y="112"/>
                        <a:pt x="236" y="112"/>
                        <a:pt x="236" y="113"/>
                      </a:cubicBezTo>
                      <a:cubicBezTo>
                        <a:pt x="236" y="113"/>
                        <a:pt x="236" y="113"/>
                        <a:pt x="236" y="113"/>
                      </a:cubicBezTo>
                      <a:cubicBezTo>
                        <a:pt x="235" y="113"/>
                        <a:pt x="235" y="113"/>
                        <a:pt x="235" y="113"/>
                      </a:cubicBezTo>
                      <a:cubicBezTo>
                        <a:pt x="235" y="113"/>
                        <a:pt x="235" y="114"/>
                        <a:pt x="235" y="114"/>
                      </a:cubicBezTo>
                      <a:cubicBezTo>
                        <a:pt x="235" y="114"/>
                        <a:pt x="235" y="114"/>
                        <a:pt x="235" y="114"/>
                      </a:cubicBezTo>
                      <a:cubicBezTo>
                        <a:pt x="234" y="114"/>
                        <a:pt x="234" y="114"/>
                        <a:pt x="234" y="114"/>
                      </a:cubicBezTo>
                      <a:cubicBezTo>
                        <a:pt x="234" y="114"/>
                        <a:pt x="234" y="114"/>
                        <a:pt x="234" y="114"/>
                      </a:cubicBezTo>
                      <a:cubicBezTo>
                        <a:pt x="234" y="114"/>
                        <a:pt x="233" y="114"/>
                        <a:pt x="233" y="114"/>
                      </a:cubicBezTo>
                      <a:cubicBezTo>
                        <a:pt x="233" y="114"/>
                        <a:pt x="233" y="114"/>
                        <a:pt x="233" y="114"/>
                      </a:cubicBezTo>
                      <a:cubicBezTo>
                        <a:pt x="232" y="114"/>
                        <a:pt x="232" y="114"/>
                        <a:pt x="232" y="114"/>
                      </a:cubicBezTo>
                      <a:cubicBezTo>
                        <a:pt x="232" y="114"/>
                        <a:pt x="232" y="114"/>
                        <a:pt x="232" y="114"/>
                      </a:cubicBezTo>
                      <a:cubicBezTo>
                        <a:pt x="231" y="114"/>
                        <a:pt x="231" y="114"/>
                        <a:pt x="231" y="114"/>
                      </a:cubicBezTo>
                      <a:cubicBezTo>
                        <a:pt x="231" y="114"/>
                        <a:pt x="231" y="114"/>
                        <a:pt x="231" y="114"/>
                      </a:cubicBezTo>
                      <a:cubicBezTo>
                        <a:pt x="231" y="114"/>
                        <a:pt x="230" y="114"/>
                        <a:pt x="230" y="113"/>
                      </a:cubicBezTo>
                      <a:cubicBezTo>
                        <a:pt x="230" y="113"/>
                        <a:pt x="229" y="113"/>
                        <a:pt x="229" y="113"/>
                      </a:cubicBezTo>
                      <a:cubicBezTo>
                        <a:pt x="229" y="113"/>
                        <a:pt x="229" y="113"/>
                        <a:pt x="229" y="113"/>
                      </a:cubicBezTo>
                      <a:cubicBezTo>
                        <a:pt x="228" y="113"/>
                        <a:pt x="228" y="112"/>
                        <a:pt x="228" y="112"/>
                      </a:cubicBezTo>
                      <a:cubicBezTo>
                        <a:pt x="227" y="112"/>
                        <a:pt x="227" y="112"/>
                        <a:pt x="227" y="112"/>
                      </a:cubicBezTo>
                      <a:cubicBezTo>
                        <a:pt x="227" y="112"/>
                        <a:pt x="226" y="112"/>
                        <a:pt x="226" y="112"/>
                      </a:cubicBezTo>
                      <a:cubicBezTo>
                        <a:pt x="224" y="112"/>
                        <a:pt x="224" y="112"/>
                        <a:pt x="224" y="112"/>
                      </a:cubicBezTo>
                      <a:cubicBezTo>
                        <a:pt x="224" y="112"/>
                        <a:pt x="223" y="112"/>
                        <a:pt x="222" y="112"/>
                      </a:cubicBezTo>
                      <a:cubicBezTo>
                        <a:pt x="222" y="112"/>
                        <a:pt x="222" y="112"/>
                        <a:pt x="222" y="112"/>
                      </a:cubicBezTo>
                      <a:cubicBezTo>
                        <a:pt x="222" y="112"/>
                        <a:pt x="221" y="113"/>
                        <a:pt x="221" y="113"/>
                      </a:cubicBezTo>
                      <a:cubicBezTo>
                        <a:pt x="221" y="113"/>
                        <a:pt x="221" y="113"/>
                        <a:pt x="220" y="113"/>
                      </a:cubicBezTo>
                      <a:cubicBezTo>
                        <a:pt x="220" y="114"/>
                        <a:pt x="220" y="114"/>
                        <a:pt x="220" y="114"/>
                      </a:cubicBezTo>
                      <a:cubicBezTo>
                        <a:pt x="220" y="114"/>
                        <a:pt x="220" y="114"/>
                        <a:pt x="220" y="114"/>
                      </a:cubicBezTo>
                      <a:cubicBezTo>
                        <a:pt x="220" y="114"/>
                        <a:pt x="220" y="114"/>
                        <a:pt x="220" y="114"/>
                      </a:cubicBezTo>
                      <a:cubicBezTo>
                        <a:pt x="220" y="113"/>
                        <a:pt x="219" y="113"/>
                        <a:pt x="219" y="113"/>
                      </a:cubicBezTo>
                      <a:cubicBezTo>
                        <a:pt x="219" y="113"/>
                        <a:pt x="219" y="113"/>
                        <a:pt x="218" y="113"/>
                      </a:cubicBezTo>
                      <a:cubicBezTo>
                        <a:pt x="218" y="113"/>
                        <a:pt x="218" y="113"/>
                        <a:pt x="218" y="113"/>
                      </a:cubicBezTo>
                      <a:cubicBezTo>
                        <a:pt x="218" y="113"/>
                        <a:pt x="218" y="113"/>
                        <a:pt x="218" y="113"/>
                      </a:cubicBezTo>
                      <a:cubicBezTo>
                        <a:pt x="217" y="113"/>
                        <a:pt x="217" y="113"/>
                        <a:pt x="217" y="113"/>
                      </a:cubicBezTo>
                      <a:cubicBezTo>
                        <a:pt x="217" y="113"/>
                        <a:pt x="217" y="113"/>
                        <a:pt x="217" y="113"/>
                      </a:cubicBezTo>
                      <a:cubicBezTo>
                        <a:pt x="217" y="113"/>
                        <a:pt x="217" y="113"/>
                        <a:pt x="217" y="113"/>
                      </a:cubicBezTo>
                      <a:cubicBezTo>
                        <a:pt x="217" y="113"/>
                        <a:pt x="217" y="113"/>
                        <a:pt x="217" y="113"/>
                      </a:cubicBezTo>
                      <a:cubicBezTo>
                        <a:pt x="216" y="112"/>
                        <a:pt x="216" y="112"/>
                        <a:pt x="216" y="112"/>
                      </a:cubicBezTo>
                      <a:cubicBezTo>
                        <a:pt x="216" y="112"/>
                        <a:pt x="216" y="112"/>
                        <a:pt x="216" y="112"/>
                      </a:cubicBezTo>
                      <a:cubicBezTo>
                        <a:pt x="216" y="111"/>
                        <a:pt x="216" y="111"/>
                        <a:pt x="216" y="111"/>
                      </a:cubicBezTo>
                      <a:cubicBezTo>
                        <a:pt x="216" y="111"/>
                        <a:pt x="216" y="111"/>
                        <a:pt x="217" y="111"/>
                      </a:cubicBezTo>
                      <a:cubicBezTo>
                        <a:pt x="217" y="111"/>
                        <a:pt x="217" y="111"/>
                        <a:pt x="217" y="111"/>
                      </a:cubicBezTo>
                      <a:cubicBezTo>
                        <a:pt x="217" y="110"/>
                        <a:pt x="217" y="110"/>
                        <a:pt x="217" y="110"/>
                      </a:cubicBezTo>
                      <a:cubicBezTo>
                        <a:pt x="217" y="110"/>
                        <a:pt x="217" y="109"/>
                        <a:pt x="217" y="109"/>
                      </a:cubicBezTo>
                      <a:cubicBezTo>
                        <a:pt x="217" y="109"/>
                        <a:pt x="217" y="109"/>
                        <a:pt x="217" y="109"/>
                      </a:cubicBezTo>
                      <a:cubicBezTo>
                        <a:pt x="217" y="109"/>
                        <a:pt x="218" y="108"/>
                        <a:pt x="218" y="108"/>
                      </a:cubicBezTo>
                      <a:cubicBezTo>
                        <a:pt x="218" y="108"/>
                        <a:pt x="218" y="108"/>
                        <a:pt x="218" y="108"/>
                      </a:cubicBezTo>
                      <a:cubicBezTo>
                        <a:pt x="218" y="108"/>
                        <a:pt x="218" y="107"/>
                        <a:pt x="219" y="107"/>
                      </a:cubicBezTo>
                      <a:cubicBezTo>
                        <a:pt x="219" y="107"/>
                        <a:pt x="219" y="106"/>
                        <a:pt x="219" y="106"/>
                      </a:cubicBezTo>
                      <a:cubicBezTo>
                        <a:pt x="219" y="106"/>
                        <a:pt x="219" y="106"/>
                        <a:pt x="219" y="105"/>
                      </a:cubicBezTo>
                      <a:cubicBezTo>
                        <a:pt x="219" y="105"/>
                        <a:pt x="220" y="105"/>
                        <a:pt x="221" y="104"/>
                      </a:cubicBezTo>
                      <a:cubicBezTo>
                        <a:pt x="221" y="104"/>
                        <a:pt x="221" y="104"/>
                        <a:pt x="221" y="104"/>
                      </a:cubicBezTo>
                      <a:cubicBezTo>
                        <a:pt x="222" y="104"/>
                        <a:pt x="222" y="104"/>
                        <a:pt x="222" y="104"/>
                      </a:cubicBezTo>
                      <a:cubicBezTo>
                        <a:pt x="222" y="104"/>
                        <a:pt x="222" y="105"/>
                        <a:pt x="222" y="105"/>
                      </a:cubicBezTo>
                      <a:cubicBezTo>
                        <a:pt x="222" y="105"/>
                        <a:pt x="222" y="105"/>
                        <a:pt x="222" y="105"/>
                      </a:cubicBezTo>
                      <a:cubicBezTo>
                        <a:pt x="221" y="106"/>
                        <a:pt x="221" y="106"/>
                        <a:pt x="221" y="106"/>
                      </a:cubicBezTo>
                      <a:lnTo>
                        <a:pt x="222" y="106"/>
                      </a:lnTo>
                      <a:close/>
                      <a:moveTo>
                        <a:pt x="230" y="104"/>
                      </a:moveTo>
                      <a:cubicBezTo>
                        <a:pt x="230" y="104"/>
                        <a:pt x="230" y="104"/>
                        <a:pt x="230" y="104"/>
                      </a:cubicBezTo>
                      <a:cubicBezTo>
                        <a:pt x="230" y="104"/>
                        <a:pt x="229" y="104"/>
                        <a:pt x="229" y="104"/>
                      </a:cubicBezTo>
                      <a:cubicBezTo>
                        <a:pt x="229" y="104"/>
                        <a:pt x="229" y="104"/>
                        <a:pt x="229" y="104"/>
                      </a:cubicBezTo>
                      <a:cubicBezTo>
                        <a:pt x="228" y="104"/>
                        <a:pt x="228" y="104"/>
                        <a:pt x="228" y="104"/>
                      </a:cubicBezTo>
                      <a:cubicBezTo>
                        <a:pt x="228" y="105"/>
                        <a:pt x="228" y="105"/>
                        <a:pt x="228" y="105"/>
                      </a:cubicBezTo>
                      <a:cubicBezTo>
                        <a:pt x="228" y="105"/>
                        <a:pt x="228" y="105"/>
                        <a:pt x="228" y="105"/>
                      </a:cubicBezTo>
                      <a:cubicBezTo>
                        <a:pt x="228" y="105"/>
                        <a:pt x="228" y="105"/>
                        <a:pt x="228" y="105"/>
                      </a:cubicBezTo>
                      <a:cubicBezTo>
                        <a:pt x="228" y="105"/>
                        <a:pt x="228" y="105"/>
                        <a:pt x="227" y="104"/>
                      </a:cubicBezTo>
                      <a:cubicBezTo>
                        <a:pt x="227" y="104"/>
                        <a:pt x="227" y="104"/>
                        <a:pt x="227" y="104"/>
                      </a:cubicBezTo>
                      <a:cubicBezTo>
                        <a:pt x="227" y="104"/>
                        <a:pt x="227" y="104"/>
                        <a:pt x="227" y="104"/>
                      </a:cubicBezTo>
                      <a:cubicBezTo>
                        <a:pt x="228" y="104"/>
                        <a:pt x="228" y="104"/>
                        <a:pt x="228" y="104"/>
                      </a:cubicBezTo>
                      <a:cubicBezTo>
                        <a:pt x="228" y="104"/>
                        <a:pt x="228" y="103"/>
                        <a:pt x="228" y="103"/>
                      </a:cubicBezTo>
                      <a:cubicBezTo>
                        <a:pt x="229" y="103"/>
                        <a:pt x="229" y="103"/>
                        <a:pt x="229" y="103"/>
                      </a:cubicBezTo>
                      <a:cubicBezTo>
                        <a:pt x="229" y="103"/>
                        <a:pt x="229" y="103"/>
                        <a:pt x="230" y="103"/>
                      </a:cubicBezTo>
                      <a:cubicBezTo>
                        <a:pt x="230" y="103"/>
                        <a:pt x="230" y="103"/>
                        <a:pt x="230" y="103"/>
                      </a:cubicBezTo>
                      <a:cubicBezTo>
                        <a:pt x="230" y="103"/>
                        <a:pt x="230" y="103"/>
                        <a:pt x="230" y="103"/>
                      </a:cubicBezTo>
                      <a:cubicBezTo>
                        <a:pt x="230" y="104"/>
                        <a:pt x="230" y="104"/>
                        <a:pt x="230" y="104"/>
                      </a:cubicBezTo>
                      <a:close/>
                      <a:moveTo>
                        <a:pt x="164" y="89"/>
                      </a:moveTo>
                      <a:cubicBezTo>
                        <a:pt x="164" y="89"/>
                        <a:pt x="165" y="89"/>
                        <a:pt x="165" y="89"/>
                      </a:cubicBezTo>
                      <a:cubicBezTo>
                        <a:pt x="165" y="89"/>
                        <a:pt x="164" y="89"/>
                        <a:pt x="164" y="89"/>
                      </a:cubicBezTo>
                      <a:cubicBezTo>
                        <a:pt x="164" y="90"/>
                        <a:pt x="164" y="90"/>
                        <a:pt x="164" y="90"/>
                      </a:cubicBezTo>
                      <a:cubicBezTo>
                        <a:pt x="165" y="90"/>
                        <a:pt x="165" y="90"/>
                        <a:pt x="165" y="90"/>
                      </a:cubicBezTo>
                      <a:cubicBezTo>
                        <a:pt x="165" y="90"/>
                        <a:pt x="164" y="90"/>
                        <a:pt x="164" y="90"/>
                      </a:cubicBezTo>
                      <a:cubicBezTo>
                        <a:pt x="164" y="90"/>
                        <a:pt x="164" y="90"/>
                        <a:pt x="164" y="90"/>
                      </a:cubicBezTo>
                      <a:cubicBezTo>
                        <a:pt x="164" y="90"/>
                        <a:pt x="164" y="90"/>
                        <a:pt x="164" y="89"/>
                      </a:cubicBezTo>
                      <a:cubicBezTo>
                        <a:pt x="165" y="89"/>
                        <a:pt x="164" y="88"/>
                        <a:pt x="164" y="87"/>
                      </a:cubicBezTo>
                      <a:cubicBezTo>
                        <a:pt x="164" y="87"/>
                        <a:pt x="164" y="87"/>
                        <a:pt x="164" y="87"/>
                      </a:cubicBezTo>
                      <a:cubicBezTo>
                        <a:pt x="165" y="87"/>
                        <a:pt x="165" y="87"/>
                        <a:pt x="165" y="86"/>
                      </a:cubicBezTo>
                      <a:cubicBezTo>
                        <a:pt x="165" y="86"/>
                        <a:pt x="165" y="86"/>
                        <a:pt x="165" y="86"/>
                      </a:cubicBezTo>
                      <a:cubicBezTo>
                        <a:pt x="165" y="86"/>
                        <a:pt x="165" y="86"/>
                        <a:pt x="165" y="86"/>
                      </a:cubicBezTo>
                      <a:cubicBezTo>
                        <a:pt x="166" y="86"/>
                        <a:pt x="166" y="86"/>
                        <a:pt x="166" y="86"/>
                      </a:cubicBezTo>
                      <a:cubicBezTo>
                        <a:pt x="166" y="86"/>
                        <a:pt x="166" y="86"/>
                        <a:pt x="166" y="86"/>
                      </a:cubicBezTo>
                      <a:cubicBezTo>
                        <a:pt x="166" y="86"/>
                        <a:pt x="166" y="86"/>
                        <a:pt x="166" y="86"/>
                      </a:cubicBezTo>
                      <a:cubicBezTo>
                        <a:pt x="166" y="86"/>
                        <a:pt x="167" y="86"/>
                        <a:pt x="167" y="86"/>
                      </a:cubicBezTo>
                      <a:cubicBezTo>
                        <a:pt x="167" y="87"/>
                        <a:pt x="167" y="87"/>
                        <a:pt x="167" y="87"/>
                      </a:cubicBezTo>
                      <a:cubicBezTo>
                        <a:pt x="167" y="87"/>
                        <a:pt x="167" y="87"/>
                        <a:pt x="167" y="87"/>
                      </a:cubicBezTo>
                      <a:cubicBezTo>
                        <a:pt x="167" y="87"/>
                        <a:pt x="167" y="87"/>
                        <a:pt x="167" y="87"/>
                      </a:cubicBezTo>
                      <a:cubicBezTo>
                        <a:pt x="167" y="87"/>
                        <a:pt x="167" y="87"/>
                        <a:pt x="167" y="87"/>
                      </a:cubicBezTo>
                      <a:cubicBezTo>
                        <a:pt x="166" y="87"/>
                        <a:pt x="165" y="87"/>
                        <a:pt x="165" y="88"/>
                      </a:cubicBezTo>
                      <a:cubicBezTo>
                        <a:pt x="164" y="88"/>
                        <a:pt x="164" y="88"/>
                        <a:pt x="164" y="8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grpSp>
        </p:grpSp>
        <p:grpSp>
          <p:nvGrpSpPr>
            <p:cNvPr id="135" name="Group 134">
              <a:extLst>
                <a:ext uri="{FF2B5EF4-FFF2-40B4-BE49-F238E27FC236}">
                  <a16:creationId xmlns:a16="http://schemas.microsoft.com/office/drawing/2014/main" id="{EA77F130-FD1B-F890-E9C4-48ACCDC0BFAF}"/>
                </a:ext>
              </a:extLst>
            </p:cNvPr>
            <p:cNvGrpSpPr/>
            <p:nvPr/>
          </p:nvGrpSpPr>
          <p:grpSpPr>
            <a:xfrm>
              <a:off x="3857739" y="4419408"/>
              <a:ext cx="923651" cy="785210"/>
              <a:chOff x="4119368" y="4419408"/>
              <a:chExt cx="923651" cy="785210"/>
            </a:xfrm>
          </p:grpSpPr>
          <p:sp>
            <p:nvSpPr>
              <p:cNvPr id="124" name="Freeform 64">
                <a:extLst>
                  <a:ext uri="{FF2B5EF4-FFF2-40B4-BE49-F238E27FC236}">
                    <a16:creationId xmlns:a16="http://schemas.microsoft.com/office/drawing/2014/main" id="{119B8337-004B-66E7-6FBD-88E582C3343B}"/>
                  </a:ext>
                </a:extLst>
              </p:cNvPr>
              <p:cNvSpPr>
                <a:spLocks/>
              </p:cNvSpPr>
              <p:nvPr/>
            </p:nvSpPr>
            <p:spPr bwMode="auto">
              <a:xfrm>
                <a:off x="4323868" y="4419408"/>
                <a:ext cx="512064" cy="507402"/>
              </a:xfrm>
              <a:prstGeom prst="ellipse">
                <a:avLst/>
              </a:prstGeom>
              <a:solidFill>
                <a:schemeClr val="accent3"/>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68" name="TextBox 45">
                <a:extLst>
                  <a:ext uri="{FF2B5EF4-FFF2-40B4-BE49-F238E27FC236}">
                    <a16:creationId xmlns:a16="http://schemas.microsoft.com/office/drawing/2014/main" id="{49DCB0D8-C3E4-45C1-893F-8D78DBB92F86}"/>
                  </a:ext>
                </a:extLst>
              </p:cNvPr>
              <p:cNvSpPr txBox="1">
                <a:spLocks noChangeArrowheads="1"/>
              </p:cNvSpPr>
              <p:nvPr/>
            </p:nvSpPr>
            <p:spPr bwMode="auto">
              <a:xfrm>
                <a:off x="4119368" y="4958397"/>
                <a:ext cx="92365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377" fontAlgn="base">
                  <a:spcBef>
                    <a:spcPct val="0"/>
                  </a:spcBef>
                  <a:spcAft>
                    <a:spcPct val="0"/>
                  </a:spcAft>
                  <a:defRPr/>
                </a:pPr>
                <a:r>
                  <a:rPr lang="en-US" sz="1000" b="1" noProof="0">
                    <a:solidFill>
                      <a:schemeClr val="accent3"/>
                    </a:solidFill>
                    <a:latin typeface="Arial" panose="020B0604020202020204" pitchFamily="34" charset="0"/>
                    <a:ea typeface="Apis For Office" panose="020B0504010101010104" pitchFamily="34" charset="0"/>
                  </a:rPr>
                  <a:t>Medications</a:t>
                </a:r>
              </a:p>
            </p:txBody>
          </p:sp>
          <p:sp>
            <p:nvSpPr>
              <p:cNvPr id="75" name="Freeform 5">
                <a:extLst>
                  <a:ext uri="{FF2B5EF4-FFF2-40B4-BE49-F238E27FC236}">
                    <a16:creationId xmlns:a16="http://schemas.microsoft.com/office/drawing/2014/main" id="{4510F996-F060-4E3F-9391-6C99CB62F026}"/>
                  </a:ext>
                </a:extLst>
              </p:cNvPr>
              <p:cNvSpPr>
                <a:spLocks noEditPoints="1"/>
              </p:cNvSpPr>
              <p:nvPr/>
            </p:nvSpPr>
            <p:spPr bwMode="auto">
              <a:xfrm>
                <a:off x="4399317" y="4514957"/>
                <a:ext cx="356304" cy="308522"/>
              </a:xfrm>
              <a:custGeom>
                <a:avLst/>
                <a:gdLst>
                  <a:gd name="T0" fmla="*/ 189 w 296"/>
                  <a:gd name="T1" fmla="*/ 21 h 242"/>
                  <a:gd name="T2" fmla="*/ 178 w 296"/>
                  <a:gd name="T3" fmla="*/ 58 h 242"/>
                  <a:gd name="T4" fmla="*/ 178 w 296"/>
                  <a:gd name="T5" fmla="*/ 111 h 242"/>
                  <a:gd name="T6" fmla="*/ 178 w 296"/>
                  <a:gd name="T7" fmla="*/ 123 h 242"/>
                  <a:gd name="T8" fmla="*/ 178 w 296"/>
                  <a:gd name="T9" fmla="*/ 127 h 242"/>
                  <a:gd name="T10" fmla="*/ 178 w 296"/>
                  <a:gd name="T11" fmla="*/ 187 h 242"/>
                  <a:gd name="T12" fmla="*/ 200 w 296"/>
                  <a:gd name="T13" fmla="*/ 230 h 242"/>
                  <a:gd name="T14" fmla="*/ 231 w 296"/>
                  <a:gd name="T15" fmla="*/ 240 h 242"/>
                  <a:gd name="T16" fmla="*/ 259 w 296"/>
                  <a:gd name="T17" fmla="*/ 237 h 242"/>
                  <a:gd name="T18" fmla="*/ 295 w 296"/>
                  <a:gd name="T19" fmla="*/ 190 h 242"/>
                  <a:gd name="T20" fmla="*/ 295 w 296"/>
                  <a:gd name="T21" fmla="*/ 127 h 242"/>
                  <a:gd name="T22" fmla="*/ 295 w 296"/>
                  <a:gd name="T23" fmla="*/ 123 h 242"/>
                  <a:gd name="T24" fmla="*/ 295 w 296"/>
                  <a:gd name="T25" fmla="*/ 69 h 242"/>
                  <a:gd name="T26" fmla="*/ 294 w 296"/>
                  <a:gd name="T27" fmla="*/ 43 h 242"/>
                  <a:gd name="T28" fmla="*/ 243 w 296"/>
                  <a:gd name="T29" fmla="*/ 1 h 242"/>
                  <a:gd name="T30" fmla="*/ 218 w 296"/>
                  <a:gd name="T31" fmla="*/ 2 h 242"/>
                  <a:gd name="T32" fmla="*/ 189 w 296"/>
                  <a:gd name="T33" fmla="*/ 21 h 242"/>
                  <a:gd name="T34" fmla="*/ 190 w 296"/>
                  <a:gd name="T35" fmla="*/ 123 h 242"/>
                  <a:gd name="T36" fmla="*/ 190 w 296"/>
                  <a:gd name="T37" fmla="*/ 48 h 242"/>
                  <a:gd name="T38" fmla="*/ 208 w 296"/>
                  <a:gd name="T39" fmla="*/ 18 h 242"/>
                  <a:gd name="T40" fmla="*/ 237 w 296"/>
                  <a:gd name="T41" fmla="*/ 12 h 242"/>
                  <a:gd name="T42" fmla="*/ 267 w 296"/>
                  <a:gd name="T43" fmla="*/ 19 h 242"/>
                  <a:gd name="T44" fmla="*/ 284 w 296"/>
                  <a:gd name="T45" fmla="*/ 49 h 242"/>
                  <a:gd name="T46" fmla="*/ 284 w 296"/>
                  <a:gd name="T47" fmla="*/ 123 h 242"/>
                  <a:gd name="T48" fmla="*/ 190 w 296"/>
                  <a:gd name="T49" fmla="*/ 123 h 242"/>
                  <a:gd name="T50" fmla="*/ 0 w 296"/>
                  <a:gd name="T51" fmla="*/ 166 h 242"/>
                  <a:gd name="T52" fmla="*/ 77 w 296"/>
                  <a:gd name="T53" fmla="*/ 242 h 242"/>
                  <a:gd name="T54" fmla="*/ 153 w 296"/>
                  <a:gd name="T55" fmla="*/ 165 h 242"/>
                  <a:gd name="T56" fmla="*/ 76 w 296"/>
                  <a:gd name="T57" fmla="*/ 89 h 242"/>
                  <a:gd name="T58" fmla="*/ 0 w 296"/>
                  <a:gd name="T59" fmla="*/ 166 h 242"/>
                  <a:gd name="T60" fmla="*/ 83 w 296"/>
                  <a:gd name="T61" fmla="*/ 99 h 242"/>
                  <a:gd name="T62" fmla="*/ 143 w 296"/>
                  <a:gd name="T63" fmla="*/ 165 h 242"/>
                  <a:gd name="T64" fmla="*/ 83 w 296"/>
                  <a:gd name="T65" fmla="*/ 232 h 242"/>
                  <a:gd name="T66" fmla="*/ 83 w 296"/>
                  <a:gd name="T67" fmla="*/ 99 h 242"/>
                  <a:gd name="T68" fmla="*/ 10 w 296"/>
                  <a:gd name="T69" fmla="*/ 166 h 242"/>
                  <a:gd name="T70" fmla="*/ 69 w 296"/>
                  <a:gd name="T71" fmla="*/ 99 h 242"/>
                  <a:gd name="T72" fmla="*/ 70 w 296"/>
                  <a:gd name="T73" fmla="*/ 232 h 242"/>
                  <a:gd name="T74" fmla="*/ 10 w 296"/>
                  <a:gd name="T75" fmla="*/ 16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6" h="242">
                    <a:moveTo>
                      <a:pt x="189" y="21"/>
                    </a:moveTo>
                    <a:cubicBezTo>
                      <a:pt x="180" y="32"/>
                      <a:pt x="178" y="45"/>
                      <a:pt x="178" y="58"/>
                    </a:cubicBezTo>
                    <a:cubicBezTo>
                      <a:pt x="178" y="72"/>
                      <a:pt x="178" y="97"/>
                      <a:pt x="178" y="111"/>
                    </a:cubicBezTo>
                    <a:cubicBezTo>
                      <a:pt x="178" y="115"/>
                      <a:pt x="178" y="119"/>
                      <a:pt x="178" y="123"/>
                    </a:cubicBezTo>
                    <a:cubicBezTo>
                      <a:pt x="178" y="125"/>
                      <a:pt x="178" y="126"/>
                      <a:pt x="178" y="127"/>
                    </a:cubicBezTo>
                    <a:cubicBezTo>
                      <a:pt x="178" y="147"/>
                      <a:pt x="178" y="167"/>
                      <a:pt x="178" y="187"/>
                    </a:cubicBezTo>
                    <a:cubicBezTo>
                      <a:pt x="178" y="204"/>
                      <a:pt x="185" y="220"/>
                      <a:pt x="200" y="230"/>
                    </a:cubicBezTo>
                    <a:cubicBezTo>
                      <a:pt x="209" y="237"/>
                      <a:pt x="220" y="240"/>
                      <a:pt x="231" y="240"/>
                    </a:cubicBezTo>
                    <a:cubicBezTo>
                      <a:pt x="241" y="240"/>
                      <a:pt x="250" y="240"/>
                      <a:pt x="259" y="237"/>
                    </a:cubicBezTo>
                    <a:cubicBezTo>
                      <a:pt x="280" y="231"/>
                      <a:pt x="294" y="211"/>
                      <a:pt x="295" y="190"/>
                    </a:cubicBezTo>
                    <a:cubicBezTo>
                      <a:pt x="295" y="169"/>
                      <a:pt x="295" y="148"/>
                      <a:pt x="295" y="127"/>
                    </a:cubicBezTo>
                    <a:cubicBezTo>
                      <a:pt x="295" y="126"/>
                      <a:pt x="295" y="125"/>
                      <a:pt x="295" y="123"/>
                    </a:cubicBezTo>
                    <a:cubicBezTo>
                      <a:pt x="295" y="107"/>
                      <a:pt x="295" y="84"/>
                      <a:pt x="295" y="69"/>
                    </a:cubicBezTo>
                    <a:cubicBezTo>
                      <a:pt x="295" y="61"/>
                      <a:pt x="296" y="52"/>
                      <a:pt x="294" y="43"/>
                    </a:cubicBezTo>
                    <a:cubicBezTo>
                      <a:pt x="290" y="19"/>
                      <a:pt x="268" y="1"/>
                      <a:pt x="243" y="1"/>
                    </a:cubicBezTo>
                    <a:cubicBezTo>
                      <a:pt x="235" y="1"/>
                      <a:pt x="226" y="0"/>
                      <a:pt x="218" y="2"/>
                    </a:cubicBezTo>
                    <a:cubicBezTo>
                      <a:pt x="207" y="5"/>
                      <a:pt x="196" y="12"/>
                      <a:pt x="189" y="21"/>
                    </a:cubicBezTo>
                    <a:close/>
                    <a:moveTo>
                      <a:pt x="190" y="123"/>
                    </a:moveTo>
                    <a:cubicBezTo>
                      <a:pt x="189" y="101"/>
                      <a:pt x="189" y="69"/>
                      <a:pt x="190" y="48"/>
                    </a:cubicBezTo>
                    <a:cubicBezTo>
                      <a:pt x="190" y="36"/>
                      <a:pt x="198" y="25"/>
                      <a:pt x="208" y="18"/>
                    </a:cubicBezTo>
                    <a:cubicBezTo>
                      <a:pt x="217" y="12"/>
                      <a:pt x="227" y="12"/>
                      <a:pt x="237" y="12"/>
                    </a:cubicBezTo>
                    <a:cubicBezTo>
                      <a:pt x="248" y="12"/>
                      <a:pt x="257" y="13"/>
                      <a:pt x="267" y="19"/>
                    </a:cubicBezTo>
                    <a:cubicBezTo>
                      <a:pt x="277" y="26"/>
                      <a:pt x="283" y="37"/>
                      <a:pt x="284" y="49"/>
                    </a:cubicBezTo>
                    <a:cubicBezTo>
                      <a:pt x="285" y="70"/>
                      <a:pt x="284" y="101"/>
                      <a:pt x="284" y="123"/>
                    </a:cubicBezTo>
                    <a:lnTo>
                      <a:pt x="190" y="123"/>
                    </a:lnTo>
                    <a:close/>
                    <a:moveTo>
                      <a:pt x="0" y="166"/>
                    </a:moveTo>
                    <a:cubicBezTo>
                      <a:pt x="0" y="208"/>
                      <a:pt x="34" y="242"/>
                      <a:pt x="77" y="242"/>
                    </a:cubicBezTo>
                    <a:cubicBezTo>
                      <a:pt x="119" y="242"/>
                      <a:pt x="153" y="207"/>
                      <a:pt x="153" y="165"/>
                    </a:cubicBezTo>
                    <a:cubicBezTo>
                      <a:pt x="153" y="123"/>
                      <a:pt x="118" y="89"/>
                      <a:pt x="76" y="89"/>
                    </a:cubicBezTo>
                    <a:cubicBezTo>
                      <a:pt x="34" y="89"/>
                      <a:pt x="0" y="124"/>
                      <a:pt x="0" y="166"/>
                    </a:cubicBezTo>
                    <a:close/>
                    <a:moveTo>
                      <a:pt x="83" y="99"/>
                    </a:moveTo>
                    <a:cubicBezTo>
                      <a:pt x="116" y="102"/>
                      <a:pt x="143" y="131"/>
                      <a:pt x="143" y="165"/>
                    </a:cubicBezTo>
                    <a:cubicBezTo>
                      <a:pt x="143" y="200"/>
                      <a:pt x="117" y="228"/>
                      <a:pt x="83" y="232"/>
                    </a:cubicBezTo>
                    <a:lnTo>
                      <a:pt x="83" y="99"/>
                    </a:lnTo>
                    <a:close/>
                    <a:moveTo>
                      <a:pt x="10" y="166"/>
                    </a:moveTo>
                    <a:cubicBezTo>
                      <a:pt x="9" y="131"/>
                      <a:pt x="36" y="103"/>
                      <a:pt x="69" y="99"/>
                    </a:cubicBezTo>
                    <a:cubicBezTo>
                      <a:pt x="70" y="232"/>
                      <a:pt x="70" y="232"/>
                      <a:pt x="70" y="232"/>
                    </a:cubicBezTo>
                    <a:cubicBezTo>
                      <a:pt x="36" y="229"/>
                      <a:pt x="10" y="200"/>
                      <a:pt x="10" y="166"/>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050" noProof="0">
                  <a:latin typeface="Arial" panose="020B0604020202020204" pitchFamily="34" charset="0"/>
                  <a:ea typeface="Apis For Office" panose="020B0504010101010104" pitchFamily="34" charset="0"/>
                  <a:cs typeface="Arial" panose="020B0604020202020204" pitchFamily="34" charset="0"/>
                </a:endParaRPr>
              </a:p>
            </p:txBody>
          </p:sp>
        </p:grpSp>
        <p:sp>
          <p:nvSpPr>
            <p:cNvPr id="38" name="TextBox 63">
              <a:extLst>
                <a:ext uri="{FF2B5EF4-FFF2-40B4-BE49-F238E27FC236}">
                  <a16:creationId xmlns:a16="http://schemas.microsoft.com/office/drawing/2014/main" id="{DC8DF137-5EBD-49B4-BB74-CFAD73F99C7F}"/>
                </a:ext>
              </a:extLst>
            </p:cNvPr>
            <p:cNvSpPr txBox="1">
              <a:spLocks noChangeArrowheads="1"/>
            </p:cNvSpPr>
            <p:nvPr/>
          </p:nvSpPr>
          <p:spPr bwMode="auto">
            <a:xfrm>
              <a:off x="4324174" y="3955342"/>
              <a:ext cx="9669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377" fontAlgn="base">
                <a:spcBef>
                  <a:spcPct val="0"/>
                </a:spcBef>
                <a:spcAft>
                  <a:spcPct val="0"/>
                </a:spcAft>
                <a:defRPr/>
              </a:pPr>
              <a:r>
                <a:rPr lang="en-US" sz="1000" b="1" noProof="0">
                  <a:solidFill>
                    <a:schemeClr val="accent3"/>
                  </a:solidFill>
                  <a:latin typeface="Arial" panose="020B0604020202020204" pitchFamily="34" charset="0"/>
                  <a:ea typeface="Apis For Office" panose="020B0504010101010104" pitchFamily="34" charset="0"/>
                </a:rPr>
                <a:t>Environment</a:t>
              </a:r>
            </a:p>
          </p:txBody>
        </p:sp>
        <p:grpSp>
          <p:nvGrpSpPr>
            <p:cNvPr id="136" name="Group 135">
              <a:extLst>
                <a:ext uri="{FF2B5EF4-FFF2-40B4-BE49-F238E27FC236}">
                  <a16:creationId xmlns:a16="http://schemas.microsoft.com/office/drawing/2014/main" id="{6602E6B4-C8B6-D333-3198-C829286A4A6E}"/>
                </a:ext>
              </a:extLst>
            </p:cNvPr>
            <p:cNvGrpSpPr/>
            <p:nvPr/>
          </p:nvGrpSpPr>
          <p:grpSpPr>
            <a:xfrm>
              <a:off x="4704228" y="4419408"/>
              <a:ext cx="1149674" cy="939099"/>
              <a:chOff x="4876280" y="4419408"/>
              <a:chExt cx="1149674" cy="939099"/>
            </a:xfrm>
          </p:grpSpPr>
          <p:sp>
            <p:nvSpPr>
              <p:cNvPr id="123" name="Freeform 64">
                <a:extLst>
                  <a:ext uri="{FF2B5EF4-FFF2-40B4-BE49-F238E27FC236}">
                    <a16:creationId xmlns:a16="http://schemas.microsoft.com/office/drawing/2014/main" id="{EF3E3FB2-378A-5C03-3E90-1E610B7CD300}"/>
                  </a:ext>
                </a:extLst>
              </p:cNvPr>
              <p:cNvSpPr>
                <a:spLocks/>
              </p:cNvSpPr>
              <p:nvPr/>
            </p:nvSpPr>
            <p:spPr bwMode="auto">
              <a:xfrm>
                <a:off x="5171732" y="4419408"/>
                <a:ext cx="512064" cy="507402"/>
              </a:xfrm>
              <a:prstGeom prst="ellipse">
                <a:avLst/>
              </a:prstGeom>
              <a:solidFill>
                <a:schemeClr val="accent3"/>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grpSp>
            <p:nvGrpSpPr>
              <p:cNvPr id="131" name="Group 130">
                <a:extLst>
                  <a:ext uri="{FF2B5EF4-FFF2-40B4-BE49-F238E27FC236}">
                    <a16:creationId xmlns:a16="http://schemas.microsoft.com/office/drawing/2014/main" id="{67271F67-B644-6D10-1042-8A82CE251116}"/>
                  </a:ext>
                </a:extLst>
              </p:cNvPr>
              <p:cNvGrpSpPr/>
              <p:nvPr/>
            </p:nvGrpSpPr>
            <p:grpSpPr>
              <a:xfrm>
                <a:off x="5280463" y="4514950"/>
                <a:ext cx="319756" cy="295342"/>
                <a:chOff x="5291651" y="4563918"/>
                <a:chExt cx="236430" cy="218378"/>
              </a:xfrm>
            </p:grpSpPr>
            <p:sp>
              <p:nvSpPr>
                <p:cNvPr id="12" name="Freeform: Shape 11">
                  <a:extLst>
                    <a:ext uri="{FF2B5EF4-FFF2-40B4-BE49-F238E27FC236}">
                      <a16:creationId xmlns:a16="http://schemas.microsoft.com/office/drawing/2014/main" id="{409E6100-7F56-ECF7-C72D-658B6B838D96}"/>
                    </a:ext>
                  </a:extLst>
                </p:cNvPr>
                <p:cNvSpPr/>
                <p:nvPr/>
              </p:nvSpPr>
              <p:spPr>
                <a:xfrm>
                  <a:off x="5292269" y="4563918"/>
                  <a:ext cx="235812" cy="110282"/>
                </a:xfrm>
                <a:custGeom>
                  <a:avLst/>
                  <a:gdLst>
                    <a:gd name="connsiteX0" fmla="*/ 333200 w 666401"/>
                    <a:gd name="connsiteY0" fmla="*/ 0 h 198716"/>
                    <a:gd name="connsiteX1" fmla="*/ 665264 w 666401"/>
                    <a:gd name="connsiteY1" fmla="*/ 190766 h 198716"/>
                    <a:gd name="connsiteX2" fmla="*/ 666401 w 666401"/>
                    <a:gd name="connsiteY2" fmla="*/ 198716 h 198716"/>
                    <a:gd name="connsiteX3" fmla="*/ 0 w 666401"/>
                    <a:gd name="connsiteY3" fmla="*/ 198716 h 198716"/>
                    <a:gd name="connsiteX4" fmla="*/ 1137 w 666401"/>
                    <a:gd name="connsiteY4" fmla="*/ 190766 h 198716"/>
                    <a:gd name="connsiteX5" fmla="*/ 333200 w 666401"/>
                    <a:gd name="connsiteY5" fmla="*/ 0 h 19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401" h="198716">
                      <a:moveTo>
                        <a:pt x="333200" y="0"/>
                      </a:moveTo>
                      <a:cubicBezTo>
                        <a:pt x="496998" y="0"/>
                        <a:pt x="633658" y="81896"/>
                        <a:pt x="665264" y="190766"/>
                      </a:cubicBezTo>
                      <a:lnTo>
                        <a:pt x="666401" y="198716"/>
                      </a:lnTo>
                      <a:lnTo>
                        <a:pt x="0" y="198716"/>
                      </a:lnTo>
                      <a:lnTo>
                        <a:pt x="1137" y="190766"/>
                      </a:lnTo>
                      <a:cubicBezTo>
                        <a:pt x="32742" y="81896"/>
                        <a:pt x="169403" y="0"/>
                        <a:pt x="333200"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Arial" panose="020B0604020202020204" pitchFamily="34" charset="0"/>
                  </a:endParaRPr>
                </a:p>
              </p:txBody>
            </p:sp>
            <p:sp>
              <p:nvSpPr>
                <p:cNvPr id="13" name="Freeform 88">
                  <a:extLst>
                    <a:ext uri="{FF2B5EF4-FFF2-40B4-BE49-F238E27FC236}">
                      <a16:creationId xmlns:a16="http://schemas.microsoft.com/office/drawing/2014/main" id="{1C347F66-60AE-5D08-8B52-50995850C2C0}"/>
                    </a:ext>
                  </a:extLst>
                </p:cNvPr>
                <p:cNvSpPr>
                  <a:spLocks/>
                </p:cNvSpPr>
                <p:nvPr/>
              </p:nvSpPr>
              <p:spPr bwMode="auto">
                <a:xfrm>
                  <a:off x="5292842" y="4744360"/>
                  <a:ext cx="234350" cy="37936"/>
                </a:xfrm>
                <a:custGeom>
                  <a:avLst/>
                  <a:gdLst>
                    <a:gd name="T0" fmla="*/ 389 w 390"/>
                    <a:gd name="T1" fmla="*/ 0 h 41"/>
                    <a:gd name="T2" fmla="*/ 386 w 390"/>
                    <a:gd name="T3" fmla="*/ 28 h 41"/>
                    <a:gd name="T4" fmla="*/ 369 w 390"/>
                    <a:gd name="T5" fmla="*/ 41 h 41"/>
                    <a:gd name="T6" fmla="*/ 24 w 390"/>
                    <a:gd name="T7" fmla="*/ 40 h 41"/>
                    <a:gd name="T8" fmla="*/ 0 w 390"/>
                    <a:gd name="T9" fmla="*/ 19 h 41"/>
                    <a:gd name="T10" fmla="*/ 0 w 390"/>
                    <a:gd name="T11" fmla="*/ 0 h 41"/>
                    <a:gd name="T12" fmla="*/ 389 w 390"/>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90" h="41">
                      <a:moveTo>
                        <a:pt x="389" y="0"/>
                      </a:moveTo>
                      <a:cubicBezTo>
                        <a:pt x="389" y="10"/>
                        <a:pt x="390" y="19"/>
                        <a:pt x="386" y="28"/>
                      </a:cubicBezTo>
                      <a:cubicBezTo>
                        <a:pt x="383" y="34"/>
                        <a:pt x="377" y="41"/>
                        <a:pt x="369" y="41"/>
                      </a:cubicBezTo>
                      <a:cubicBezTo>
                        <a:pt x="254" y="40"/>
                        <a:pt x="139" y="40"/>
                        <a:pt x="24" y="40"/>
                      </a:cubicBezTo>
                      <a:cubicBezTo>
                        <a:pt x="11" y="40"/>
                        <a:pt x="2" y="32"/>
                        <a:pt x="0" y="19"/>
                      </a:cubicBezTo>
                      <a:cubicBezTo>
                        <a:pt x="0" y="13"/>
                        <a:pt x="0" y="7"/>
                        <a:pt x="0" y="0"/>
                      </a:cubicBezTo>
                      <a:cubicBezTo>
                        <a:pt x="130" y="0"/>
                        <a:pt x="259" y="0"/>
                        <a:pt x="38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14" name="Freeform 89">
                  <a:extLst>
                    <a:ext uri="{FF2B5EF4-FFF2-40B4-BE49-F238E27FC236}">
                      <a16:creationId xmlns:a16="http://schemas.microsoft.com/office/drawing/2014/main" id="{AB301E34-08A3-0522-B627-67D24B86A1FA}"/>
                    </a:ext>
                  </a:extLst>
                </p:cNvPr>
                <p:cNvSpPr>
                  <a:spLocks/>
                </p:cNvSpPr>
                <p:nvPr/>
              </p:nvSpPr>
              <p:spPr bwMode="auto">
                <a:xfrm>
                  <a:off x="5291651" y="4685280"/>
                  <a:ext cx="158612" cy="29229"/>
                </a:xfrm>
                <a:custGeom>
                  <a:avLst/>
                  <a:gdLst>
                    <a:gd name="T0" fmla="*/ 264 w 264"/>
                    <a:gd name="T1" fmla="*/ 31 h 31"/>
                    <a:gd name="T2" fmla="*/ 262 w 264"/>
                    <a:gd name="T3" fmla="*/ 31 h 31"/>
                    <a:gd name="T4" fmla="*/ 20 w 264"/>
                    <a:gd name="T5" fmla="*/ 31 h 31"/>
                    <a:gd name="T6" fmla="*/ 5 w 264"/>
                    <a:gd name="T7" fmla="*/ 8 h 31"/>
                    <a:gd name="T8" fmla="*/ 18 w 264"/>
                    <a:gd name="T9" fmla="*/ 0 h 31"/>
                    <a:gd name="T10" fmla="*/ 210 w 264"/>
                    <a:gd name="T11" fmla="*/ 0 h 31"/>
                    <a:gd name="T12" fmla="*/ 230 w 264"/>
                    <a:gd name="T13" fmla="*/ 5 h 31"/>
                    <a:gd name="T14" fmla="*/ 263 w 264"/>
                    <a:gd name="T15" fmla="*/ 29 h 31"/>
                    <a:gd name="T16" fmla="*/ 264 w 26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31">
                      <a:moveTo>
                        <a:pt x="264" y="31"/>
                      </a:moveTo>
                      <a:cubicBezTo>
                        <a:pt x="263" y="31"/>
                        <a:pt x="262" y="31"/>
                        <a:pt x="262" y="31"/>
                      </a:cubicBezTo>
                      <a:cubicBezTo>
                        <a:pt x="181" y="31"/>
                        <a:pt x="101" y="31"/>
                        <a:pt x="20" y="31"/>
                      </a:cubicBezTo>
                      <a:cubicBezTo>
                        <a:pt x="7" y="31"/>
                        <a:pt x="0" y="19"/>
                        <a:pt x="5" y="8"/>
                      </a:cubicBezTo>
                      <a:cubicBezTo>
                        <a:pt x="8" y="3"/>
                        <a:pt x="12" y="0"/>
                        <a:pt x="18" y="0"/>
                      </a:cubicBezTo>
                      <a:cubicBezTo>
                        <a:pt x="82" y="0"/>
                        <a:pt x="146" y="0"/>
                        <a:pt x="210" y="0"/>
                      </a:cubicBezTo>
                      <a:cubicBezTo>
                        <a:pt x="218" y="0"/>
                        <a:pt x="224" y="1"/>
                        <a:pt x="230" y="5"/>
                      </a:cubicBezTo>
                      <a:cubicBezTo>
                        <a:pt x="241" y="14"/>
                        <a:pt x="252" y="21"/>
                        <a:pt x="263" y="29"/>
                      </a:cubicBezTo>
                      <a:cubicBezTo>
                        <a:pt x="263" y="30"/>
                        <a:pt x="264" y="30"/>
                        <a:pt x="264" y="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15" name="Freeform 90">
                  <a:extLst>
                    <a:ext uri="{FF2B5EF4-FFF2-40B4-BE49-F238E27FC236}">
                      <a16:creationId xmlns:a16="http://schemas.microsoft.com/office/drawing/2014/main" id="{DAD05C80-95A9-B73C-A1EF-7C612B3C4034}"/>
                    </a:ext>
                  </a:extLst>
                </p:cNvPr>
                <p:cNvSpPr>
                  <a:spLocks/>
                </p:cNvSpPr>
                <p:nvPr/>
              </p:nvSpPr>
              <p:spPr bwMode="auto">
                <a:xfrm>
                  <a:off x="5293633" y="4725704"/>
                  <a:ext cx="174077" cy="9950"/>
                </a:xfrm>
                <a:custGeom>
                  <a:avLst/>
                  <a:gdLst>
                    <a:gd name="T0" fmla="*/ 290 w 290"/>
                    <a:gd name="T1" fmla="*/ 10 h 11"/>
                    <a:gd name="T2" fmla="*/ 223 w 290"/>
                    <a:gd name="T3" fmla="*/ 10 h 11"/>
                    <a:gd name="T4" fmla="*/ 9 w 290"/>
                    <a:gd name="T5" fmla="*/ 10 h 11"/>
                    <a:gd name="T6" fmla="*/ 1 w 290"/>
                    <a:gd name="T7" fmla="*/ 5 h 11"/>
                    <a:gd name="T8" fmla="*/ 10 w 290"/>
                    <a:gd name="T9" fmla="*/ 0 h 11"/>
                    <a:gd name="T10" fmla="*/ 144 w 290"/>
                    <a:gd name="T11" fmla="*/ 0 h 11"/>
                    <a:gd name="T12" fmla="*/ 272 w 290"/>
                    <a:gd name="T13" fmla="*/ 0 h 11"/>
                    <a:gd name="T14" fmla="*/ 290 w 290"/>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0" h="11">
                      <a:moveTo>
                        <a:pt x="290" y="10"/>
                      </a:moveTo>
                      <a:cubicBezTo>
                        <a:pt x="268" y="10"/>
                        <a:pt x="245" y="10"/>
                        <a:pt x="223" y="10"/>
                      </a:cubicBezTo>
                      <a:cubicBezTo>
                        <a:pt x="152" y="10"/>
                        <a:pt x="81" y="10"/>
                        <a:pt x="9" y="10"/>
                      </a:cubicBezTo>
                      <a:cubicBezTo>
                        <a:pt x="6" y="10"/>
                        <a:pt x="1" y="11"/>
                        <a:pt x="1" y="5"/>
                      </a:cubicBezTo>
                      <a:cubicBezTo>
                        <a:pt x="0" y="2"/>
                        <a:pt x="3" y="0"/>
                        <a:pt x="10" y="0"/>
                      </a:cubicBezTo>
                      <a:cubicBezTo>
                        <a:pt x="55" y="0"/>
                        <a:pt x="99" y="0"/>
                        <a:pt x="144" y="0"/>
                      </a:cubicBezTo>
                      <a:cubicBezTo>
                        <a:pt x="187" y="0"/>
                        <a:pt x="229" y="0"/>
                        <a:pt x="272" y="0"/>
                      </a:cubicBezTo>
                      <a:cubicBezTo>
                        <a:pt x="281" y="0"/>
                        <a:pt x="285" y="5"/>
                        <a:pt x="290"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16" name="Freeform 91">
                  <a:extLst>
                    <a:ext uri="{FF2B5EF4-FFF2-40B4-BE49-F238E27FC236}">
                      <a16:creationId xmlns:a16="http://schemas.microsoft.com/office/drawing/2014/main" id="{4B60C02E-3858-57CB-410E-F66C4872E8C7}"/>
                    </a:ext>
                  </a:extLst>
                </p:cNvPr>
                <p:cNvSpPr>
                  <a:spLocks/>
                </p:cNvSpPr>
                <p:nvPr/>
              </p:nvSpPr>
              <p:spPr bwMode="auto">
                <a:xfrm>
                  <a:off x="5483177" y="4685280"/>
                  <a:ext cx="44412" cy="29229"/>
                </a:xfrm>
                <a:custGeom>
                  <a:avLst/>
                  <a:gdLst>
                    <a:gd name="T0" fmla="*/ 0 w 74"/>
                    <a:gd name="T1" fmla="*/ 31 h 31"/>
                    <a:gd name="T2" fmla="*/ 21 w 74"/>
                    <a:gd name="T3" fmla="*/ 1 h 31"/>
                    <a:gd name="T4" fmla="*/ 25 w 74"/>
                    <a:gd name="T5" fmla="*/ 0 h 31"/>
                    <a:gd name="T6" fmla="*/ 58 w 74"/>
                    <a:gd name="T7" fmla="*/ 0 h 31"/>
                    <a:gd name="T8" fmla="*/ 72 w 74"/>
                    <a:gd name="T9" fmla="*/ 11 h 31"/>
                    <a:gd name="T10" fmla="*/ 65 w 74"/>
                    <a:gd name="T11" fmla="*/ 29 h 31"/>
                    <a:gd name="T12" fmla="*/ 58 w 74"/>
                    <a:gd name="T13" fmla="*/ 31 h 31"/>
                    <a:gd name="T14" fmla="*/ 0 w 74"/>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1">
                      <a:moveTo>
                        <a:pt x="0" y="31"/>
                      </a:moveTo>
                      <a:cubicBezTo>
                        <a:pt x="7" y="21"/>
                        <a:pt x="14" y="11"/>
                        <a:pt x="21" y="1"/>
                      </a:cubicBezTo>
                      <a:cubicBezTo>
                        <a:pt x="21" y="0"/>
                        <a:pt x="23" y="0"/>
                        <a:pt x="25" y="0"/>
                      </a:cubicBezTo>
                      <a:cubicBezTo>
                        <a:pt x="36" y="0"/>
                        <a:pt x="47" y="0"/>
                        <a:pt x="58" y="0"/>
                      </a:cubicBezTo>
                      <a:cubicBezTo>
                        <a:pt x="65" y="0"/>
                        <a:pt x="70" y="4"/>
                        <a:pt x="72" y="11"/>
                      </a:cubicBezTo>
                      <a:cubicBezTo>
                        <a:pt x="74" y="19"/>
                        <a:pt x="72" y="25"/>
                        <a:pt x="65" y="29"/>
                      </a:cubicBezTo>
                      <a:cubicBezTo>
                        <a:pt x="63" y="30"/>
                        <a:pt x="60" y="31"/>
                        <a:pt x="58" y="31"/>
                      </a:cubicBezTo>
                      <a:cubicBezTo>
                        <a:pt x="39" y="31"/>
                        <a:pt x="20" y="31"/>
                        <a:pt x="0" y="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17" name="Freeform 92">
                  <a:extLst>
                    <a:ext uri="{FF2B5EF4-FFF2-40B4-BE49-F238E27FC236}">
                      <a16:creationId xmlns:a16="http://schemas.microsoft.com/office/drawing/2014/main" id="{8157092C-B5D7-F8F2-A209-D3F4E703FDE4}"/>
                    </a:ext>
                  </a:extLst>
                </p:cNvPr>
                <p:cNvSpPr>
                  <a:spLocks/>
                </p:cNvSpPr>
                <p:nvPr/>
              </p:nvSpPr>
              <p:spPr bwMode="auto">
                <a:xfrm>
                  <a:off x="5474848" y="4725704"/>
                  <a:ext cx="52342" cy="9329"/>
                </a:xfrm>
                <a:custGeom>
                  <a:avLst/>
                  <a:gdLst>
                    <a:gd name="T0" fmla="*/ 0 w 87"/>
                    <a:gd name="T1" fmla="*/ 10 h 10"/>
                    <a:gd name="T2" fmla="*/ 11 w 87"/>
                    <a:gd name="T3" fmla="*/ 0 h 10"/>
                    <a:gd name="T4" fmla="*/ 79 w 87"/>
                    <a:gd name="T5" fmla="*/ 0 h 10"/>
                    <a:gd name="T6" fmla="*/ 84 w 87"/>
                    <a:gd name="T7" fmla="*/ 1 h 10"/>
                    <a:gd name="T8" fmla="*/ 87 w 87"/>
                    <a:gd name="T9" fmla="*/ 5 h 10"/>
                    <a:gd name="T10" fmla="*/ 83 w 87"/>
                    <a:gd name="T11" fmla="*/ 9 h 10"/>
                    <a:gd name="T12" fmla="*/ 80 w 87"/>
                    <a:gd name="T13" fmla="*/ 10 h 10"/>
                    <a:gd name="T14" fmla="*/ 3 w 87"/>
                    <a:gd name="T15" fmla="*/ 10 h 10"/>
                    <a:gd name="T16" fmla="*/ 0 w 87"/>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
                      <a:moveTo>
                        <a:pt x="0" y="10"/>
                      </a:moveTo>
                      <a:cubicBezTo>
                        <a:pt x="2" y="2"/>
                        <a:pt x="5" y="0"/>
                        <a:pt x="11" y="0"/>
                      </a:cubicBezTo>
                      <a:cubicBezTo>
                        <a:pt x="34" y="0"/>
                        <a:pt x="57" y="0"/>
                        <a:pt x="79" y="0"/>
                      </a:cubicBezTo>
                      <a:cubicBezTo>
                        <a:pt x="81" y="0"/>
                        <a:pt x="83" y="0"/>
                        <a:pt x="84" y="1"/>
                      </a:cubicBezTo>
                      <a:cubicBezTo>
                        <a:pt x="86" y="2"/>
                        <a:pt x="87" y="4"/>
                        <a:pt x="87" y="5"/>
                      </a:cubicBezTo>
                      <a:cubicBezTo>
                        <a:pt x="86" y="7"/>
                        <a:pt x="85" y="8"/>
                        <a:pt x="83" y="9"/>
                      </a:cubicBezTo>
                      <a:cubicBezTo>
                        <a:pt x="83" y="10"/>
                        <a:pt x="81" y="10"/>
                        <a:pt x="80" y="10"/>
                      </a:cubicBezTo>
                      <a:cubicBezTo>
                        <a:pt x="54" y="10"/>
                        <a:pt x="29" y="10"/>
                        <a:pt x="3" y="10"/>
                      </a:cubicBezTo>
                      <a:cubicBezTo>
                        <a:pt x="2" y="10"/>
                        <a:pt x="1" y="10"/>
                        <a:pt x="0"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33" name="Oval 32">
                  <a:extLst>
                    <a:ext uri="{FF2B5EF4-FFF2-40B4-BE49-F238E27FC236}">
                      <a16:creationId xmlns:a16="http://schemas.microsoft.com/office/drawing/2014/main" id="{1F2F7EB5-4525-CE4B-A2D1-0B6F26C8037D}"/>
                    </a:ext>
                  </a:extLst>
                </p:cNvPr>
                <p:cNvSpPr/>
                <p:nvPr/>
              </p:nvSpPr>
              <p:spPr>
                <a:xfrm rot="11668338" flipV="1">
                  <a:off x="5336625" y="4625386"/>
                  <a:ext cx="16178" cy="2537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Arial" panose="020B0604020202020204" pitchFamily="34" charset="0"/>
                  </a:endParaRPr>
                </a:p>
              </p:txBody>
            </p:sp>
            <p:sp>
              <p:nvSpPr>
                <p:cNvPr id="34" name="Oval 33">
                  <a:extLst>
                    <a:ext uri="{FF2B5EF4-FFF2-40B4-BE49-F238E27FC236}">
                      <a16:creationId xmlns:a16="http://schemas.microsoft.com/office/drawing/2014/main" id="{A62FBEC1-E2CE-FEDD-D4AD-0CC036A788DB}"/>
                    </a:ext>
                  </a:extLst>
                </p:cNvPr>
                <p:cNvSpPr/>
                <p:nvPr/>
              </p:nvSpPr>
              <p:spPr>
                <a:xfrm rot="11668338" flipV="1">
                  <a:off x="5353594" y="4600456"/>
                  <a:ext cx="16178" cy="2537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Arial" panose="020B0604020202020204" pitchFamily="34" charset="0"/>
                  </a:endParaRPr>
                </a:p>
              </p:txBody>
            </p:sp>
            <p:sp>
              <p:nvSpPr>
                <p:cNvPr id="35" name="Oval 34">
                  <a:extLst>
                    <a:ext uri="{FF2B5EF4-FFF2-40B4-BE49-F238E27FC236}">
                      <a16:creationId xmlns:a16="http://schemas.microsoft.com/office/drawing/2014/main" id="{85922D06-0F84-D15B-DAB0-4FAFEE582A81}"/>
                    </a:ext>
                  </a:extLst>
                </p:cNvPr>
                <p:cNvSpPr/>
                <p:nvPr/>
              </p:nvSpPr>
              <p:spPr>
                <a:xfrm rot="11668338" flipV="1">
                  <a:off x="5467614" y="4626923"/>
                  <a:ext cx="16178" cy="2537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Arial" panose="020B0604020202020204" pitchFamily="34" charset="0"/>
                  </a:endParaRPr>
                </a:p>
              </p:txBody>
            </p:sp>
            <p:sp>
              <p:nvSpPr>
                <p:cNvPr id="36" name="Oval 35">
                  <a:extLst>
                    <a:ext uri="{FF2B5EF4-FFF2-40B4-BE49-F238E27FC236}">
                      <a16:creationId xmlns:a16="http://schemas.microsoft.com/office/drawing/2014/main" id="{5E3B62EE-EA17-F35D-C0BF-941F3E629D15}"/>
                    </a:ext>
                  </a:extLst>
                </p:cNvPr>
                <p:cNvSpPr/>
                <p:nvPr/>
              </p:nvSpPr>
              <p:spPr>
                <a:xfrm rot="11668338" flipV="1">
                  <a:off x="5373573" y="4638808"/>
                  <a:ext cx="16178" cy="2537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Arial" panose="020B0604020202020204" pitchFamily="34" charset="0"/>
                  </a:endParaRPr>
                </a:p>
              </p:txBody>
            </p:sp>
            <p:sp>
              <p:nvSpPr>
                <p:cNvPr id="37" name="Oval 36">
                  <a:extLst>
                    <a:ext uri="{FF2B5EF4-FFF2-40B4-BE49-F238E27FC236}">
                      <a16:creationId xmlns:a16="http://schemas.microsoft.com/office/drawing/2014/main" id="{F45DFB1D-106E-2E2F-F970-32A14C6104BF}"/>
                    </a:ext>
                  </a:extLst>
                </p:cNvPr>
                <p:cNvSpPr/>
                <p:nvPr/>
              </p:nvSpPr>
              <p:spPr>
                <a:xfrm rot="11668338" flipV="1">
                  <a:off x="5450229" y="4599271"/>
                  <a:ext cx="16178" cy="2537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Arial" panose="020B0604020202020204" pitchFamily="34" charset="0"/>
                  </a:endParaRPr>
                </a:p>
              </p:txBody>
            </p:sp>
          </p:grpSp>
          <p:sp>
            <p:nvSpPr>
              <p:cNvPr id="130" name="TextBox 35">
                <a:extLst>
                  <a:ext uri="{FF2B5EF4-FFF2-40B4-BE49-F238E27FC236}">
                    <a16:creationId xmlns:a16="http://schemas.microsoft.com/office/drawing/2014/main" id="{7967B8F6-E167-DE56-BF8E-BF09CB3A605E}"/>
                  </a:ext>
                </a:extLst>
              </p:cNvPr>
              <p:cNvSpPr txBox="1">
                <a:spLocks noChangeArrowheads="1"/>
              </p:cNvSpPr>
              <p:nvPr/>
            </p:nvSpPr>
            <p:spPr bwMode="auto">
              <a:xfrm>
                <a:off x="4876280" y="4958397"/>
                <a:ext cx="114967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377" fontAlgn="base">
                  <a:spcBef>
                    <a:spcPct val="0"/>
                  </a:spcBef>
                  <a:spcAft>
                    <a:spcPct val="0"/>
                  </a:spcAft>
                  <a:defRPr/>
                </a:pPr>
                <a:r>
                  <a:rPr lang="en-US" sz="1000" b="1" noProof="0" err="1">
                    <a:solidFill>
                      <a:schemeClr val="accent3"/>
                    </a:solidFill>
                    <a:latin typeface="Arial" panose="020B0604020202020204" pitchFamily="34" charset="0"/>
                    <a:ea typeface="Apis For Office" panose="020B0504010101010104" pitchFamily="34" charset="0"/>
                  </a:rPr>
                  <a:t>Ultraprocessed</a:t>
                </a:r>
                <a:r>
                  <a:rPr lang="en-US" sz="1000" b="1" noProof="0">
                    <a:solidFill>
                      <a:schemeClr val="accent3"/>
                    </a:solidFill>
                    <a:latin typeface="Arial" panose="020B0604020202020204" pitchFamily="34" charset="0"/>
                    <a:ea typeface="Apis For Office" panose="020B0504010101010104" pitchFamily="34" charset="0"/>
                  </a:rPr>
                  <a:t> </a:t>
                </a:r>
                <a:br>
                  <a:rPr lang="en-US" sz="1000" b="1" noProof="0">
                    <a:solidFill>
                      <a:schemeClr val="accent3"/>
                    </a:solidFill>
                    <a:latin typeface="Arial" panose="020B0604020202020204" pitchFamily="34" charset="0"/>
                    <a:ea typeface="Apis For Office" panose="020B0504010101010104" pitchFamily="34" charset="0"/>
                  </a:rPr>
                </a:br>
                <a:r>
                  <a:rPr lang="en-US" sz="1000" b="1" noProof="0">
                    <a:solidFill>
                      <a:schemeClr val="accent3"/>
                    </a:solidFill>
                    <a:latin typeface="Arial" panose="020B0604020202020204" pitchFamily="34" charset="0"/>
                    <a:ea typeface="Apis For Office" panose="020B0504010101010104" pitchFamily="34" charset="0"/>
                  </a:rPr>
                  <a:t>foods</a:t>
                </a:r>
              </a:p>
            </p:txBody>
          </p:sp>
        </p:grpSp>
        <p:sp>
          <p:nvSpPr>
            <p:cNvPr id="106" name="Rectangle: Rounded Corners 105">
              <a:hlinkClick r:id="rId3" action="ppaction://hlinksldjump"/>
              <a:extLst>
                <a:ext uri="{FF2B5EF4-FFF2-40B4-BE49-F238E27FC236}">
                  <a16:creationId xmlns:a16="http://schemas.microsoft.com/office/drawing/2014/main" id="{B87C5171-8D90-BE93-78E7-750911AC3838}"/>
                </a:ext>
              </a:extLst>
            </p:cNvPr>
            <p:cNvSpPr/>
            <p:nvPr/>
          </p:nvSpPr>
          <p:spPr>
            <a:xfrm>
              <a:off x="569205" y="1790421"/>
              <a:ext cx="5333924" cy="57320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a:latin typeface="Arial" panose="020B0604020202020204" pitchFamily="34" charset="0"/>
                  <a:ea typeface="Apis For Office" panose="020B0504010101010104" pitchFamily="34" charset="0"/>
                  <a:cs typeface="Arial" panose="020B0604020202020204" pitchFamily="34" charset="0"/>
                </a:rPr>
                <a:t>Energy balance is regulated by the brain</a:t>
              </a:r>
              <a:br>
                <a:rPr lang="en-US" sz="1600" b="1" noProof="0">
                  <a:latin typeface="Arial" panose="020B0604020202020204" pitchFamily="34" charset="0"/>
                  <a:ea typeface="Apis For Office" panose="020B0504010101010104" pitchFamily="34" charset="0"/>
                  <a:cs typeface="Arial" panose="020B0604020202020204" pitchFamily="34" charset="0"/>
                </a:rPr>
              </a:br>
              <a:r>
                <a:rPr lang="en-US" sz="1600" b="1" noProof="0">
                  <a:latin typeface="Arial" panose="020B0604020202020204" pitchFamily="34" charset="0"/>
                  <a:ea typeface="Apis For Office" panose="020B0504010101010104" pitchFamily="34" charset="0"/>
                  <a:cs typeface="Arial" panose="020B0604020202020204" pitchFamily="34" charset="0"/>
                </a:rPr>
                <a:t>through various sources of input</a:t>
              </a:r>
              <a:r>
                <a:rPr lang="en-US" sz="1600" b="1" baseline="30000" noProof="0">
                  <a:latin typeface="Arial" panose="020B0604020202020204" pitchFamily="34" charset="0"/>
                  <a:ea typeface="Apis For Office" panose="020B0504010101010104" pitchFamily="34" charset="0"/>
                  <a:cs typeface="Arial" panose="020B0604020202020204" pitchFamily="34" charset="0"/>
                </a:rPr>
                <a:t>1–9</a:t>
              </a:r>
              <a:endParaRPr lang="en-US" sz="1600" b="1" baseline="30000" noProof="0">
                <a:latin typeface="Arial" panose="020B0604020202020204" pitchFamily="34" charset="0"/>
                <a:cs typeface="Arial" panose="020B0604020202020204" pitchFamily="34" charset="0"/>
              </a:endParaRPr>
            </a:p>
          </p:txBody>
        </p:sp>
        <p:grpSp>
          <p:nvGrpSpPr>
            <p:cNvPr id="107" name="Group 106">
              <a:extLst>
                <a:ext uri="{FF2B5EF4-FFF2-40B4-BE49-F238E27FC236}">
                  <a16:creationId xmlns:a16="http://schemas.microsoft.com/office/drawing/2014/main" id="{0913FC79-DB25-B7E1-BEE1-902825F57188}"/>
                </a:ext>
              </a:extLst>
            </p:cNvPr>
            <p:cNvGrpSpPr/>
            <p:nvPr/>
          </p:nvGrpSpPr>
          <p:grpSpPr>
            <a:xfrm>
              <a:off x="2109652" y="3330590"/>
              <a:ext cx="863274" cy="730524"/>
              <a:chOff x="8459339" y="3739732"/>
              <a:chExt cx="736510" cy="623253"/>
            </a:xfrm>
          </p:grpSpPr>
          <p:sp>
            <p:nvSpPr>
              <p:cNvPr id="6" name="Freeform 13">
                <a:extLst>
                  <a:ext uri="{FF2B5EF4-FFF2-40B4-BE49-F238E27FC236}">
                    <a16:creationId xmlns:a16="http://schemas.microsoft.com/office/drawing/2014/main" id="{7FF85728-4579-DF79-EA81-0B4B975A2461}"/>
                  </a:ext>
                </a:extLst>
              </p:cNvPr>
              <p:cNvSpPr>
                <a:spLocks noEditPoints="1"/>
              </p:cNvSpPr>
              <p:nvPr/>
            </p:nvSpPr>
            <p:spPr bwMode="auto">
              <a:xfrm>
                <a:off x="8459339" y="3739732"/>
                <a:ext cx="736510" cy="623253"/>
              </a:xfrm>
              <a:custGeom>
                <a:avLst/>
                <a:gdLst>
                  <a:gd name="T0" fmla="*/ 1450 w 1450"/>
                  <a:gd name="T1" fmla="*/ 633 h 1226"/>
                  <a:gd name="T2" fmla="*/ 1427 w 1450"/>
                  <a:gd name="T3" fmla="*/ 708 h 1226"/>
                  <a:gd name="T4" fmla="*/ 1218 w 1450"/>
                  <a:gd name="T5" fmla="*/ 868 h 1226"/>
                  <a:gd name="T6" fmla="*/ 914 w 1450"/>
                  <a:gd name="T7" fmla="*/ 857 h 1226"/>
                  <a:gd name="T8" fmla="*/ 885 w 1450"/>
                  <a:gd name="T9" fmla="*/ 867 h 1226"/>
                  <a:gd name="T10" fmla="*/ 658 w 1450"/>
                  <a:gd name="T11" fmla="*/ 966 h 1226"/>
                  <a:gd name="T12" fmla="*/ 634 w 1450"/>
                  <a:gd name="T13" fmla="*/ 979 h 1226"/>
                  <a:gd name="T14" fmla="*/ 504 w 1450"/>
                  <a:gd name="T15" fmla="*/ 1226 h 1226"/>
                  <a:gd name="T16" fmla="*/ 342 w 1450"/>
                  <a:gd name="T17" fmla="*/ 1226 h 1226"/>
                  <a:gd name="T18" fmla="*/ 372 w 1450"/>
                  <a:gd name="T19" fmla="*/ 1045 h 1226"/>
                  <a:gd name="T20" fmla="*/ 385 w 1450"/>
                  <a:gd name="T21" fmla="*/ 953 h 1226"/>
                  <a:gd name="T22" fmla="*/ 319 w 1450"/>
                  <a:gd name="T23" fmla="*/ 953 h 1226"/>
                  <a:gd name="T24" fmla="*/ 194 w 1450"/>
                  <a:gd name="T25" fmla="*/ 924 h 1226"/>
                  <a:gd name="T26" fmla="*/ 15 w 1450"/>
                  <a:gd name="T27" fmla="*/ 694 h 1226"/>
                  <a:gd name="T28" fmla="*/ 0 w 1450"/>
                  <a:gd name="T29" fmla="*/ 618 h 1226"/>
                  <a:gd name="T30" fmla="*/ 0 w 1450"/>
                  <a:gd name="T31" fmla="*/ 530 h 1226"/>
                  <a:gd name="T32" fmla="*/ 5 w 1450"/>
                  <a:gd name="T33" fmla="*/ 498 h 1226"/>
                  <a:gd name="T34" fmla="*/ 174 w 1450"/>
                  <a:gd name="T35" fmla="*/ 189 h 1226"/>
                  <a:gd name="T36" fmla="*/ 526 w 1450"/>
                  <a:gd name="T37" fmla="*/ 65 h 1226"/>
                  <a:gd name="T38" fmla="*/ 545 w 1450"/>
                  <a:gd name="T39" fmla="*/ 59 h 1226"/>
                  <a:gd name="T40" fmla="*/ 646 w 1450"/>
                  <a:gd name="T41" fmla="*/ 13 h 1226"/>
                  <a:gd name="T42" fmla="*/ 699 w 1450"/>
                  <a:gd name="T43" fmla="*/ 0 h 1226"/>
                  <a:gd name="T44" fmla="*/ 769 w 1450"/>
                  <a:gd name="T45" fmla="*/ 0 h 1226"/>
                  <a:gd name="T46" fmla="*/ 780 w 1450"/>
                  <a:gd name="T47" fmla="*/ 3 h 1226"/>
                  <a:gd name="T48" fmla="*/ 905 w 1450"/>
                  <a:gd name="T49" fmla="*/ 57 h 1226"/>
                  <a:gd name="T50" fmla="*/ 992 w 1450"/>
                  <a:gd name="T51" fmla="*/ 86 h 1226"/>
                  <a:gd name="T52" fmla="*/ 1262 w 1450"/>
                  <a:gd name="T53" fmla="*/ 303 h 1226"/>
                  <a:gd name="T54" fmla="*/ 1278 w 1450"/>
                  <a:gd name="T55" fmla="*/ 323 h 1226"/>
                  <a:gd name="T56" fmla="*/ 1423 w 1450"/>
                  <a:gd name="T57" fmla="*/ 478 h 1226"/>
                  <a:gd name="T58" fmla="*/ 1450 w 1450"/>
                  <a:gd name="T59" fmla="*/ 563 h 1226"/>
                  <a:gd name="T60" fmla="*/ 1450 w 1450"/>
                  <a:gd name="T61" fmla="*/ 633 h 1226"/>
                  <a:gd name="T62" fmla="*/ 860 w 1450"/>
                  <a:gd name="T63" fmla="*/ 776 h 1226"/>
                  <a:gd name="T64" fmla="*/ 878 w 1450"/>
                  <a:gd name="T65" fmla="*/ 781 h 1226"/>
                  <a:gd name="T66" fmla="*/ 1048 w 1450"/>
                  <a:gd name="T67" fmla="*/ 819 h 1226"/>
                  <a:gd name="T68" fmla="*/ 1259 w 1450"/>
                  <a:gd name="T69" fmla="*/ 788 h 1226"/>
                  <a:gd name="T70" fmla="*/ 1349 w 1450"/>
                  <a:gd name="T71" fmla="*/ 472 h 1226"/>
                  <a:gd name="T72" fmla="*/ 1236 w 1450"/>
                  <a:gd name="T73" fmla="*/ 372 h 1226"/>
                  <a:gd name="T74" fmla="*/ 1203 w 1450"/>
                  <a:gd name="T75" fmla="*/ 327 h 1226"/>
                  <a:gd name="T76" fmla="*/ 1052 w 1450"/>
                  <a:gd name="T77" fmla="*/ 156 h 1226"/>
                  <a:gd name="T78" fmla="*/ 937 w 1450"/>
                  <a:gd name="T79" fmla="*/ 151 h 1226"/>
                  <a:gd name="T80" fmla="*/ 904 w 1450"/>
                  <a:gd name="T81" fmla="*/ 139 h 1226"/>
                  <a:gd name="T82" fmla="*/ 794 w 1450"/>
                  <a:gd name="T83" fmla="*/ 69 h 1226"/>
                  <a:gd name="T84" fmla="*/ 590 w 1450"/>
                  <a:gd name="T85" fmla="*/ 106 h 1226"/>
                  <a:gd name="T86" fmla="*/ 507 w 1450"/>
                  <a:gd name="T87" fmla="*/ 125 h 1226"/>
                  <a:gd name="T88" fmla="*/ 501 w 1450"/>
                  <a:gd name="T89" fmla="*/ 125 h 1226"/>
                  <a:gd name="T90" fmla="*/ 268 w 1450"/>
                  <a:gd name="T91" fmla="*/ 194 h 1226"/>
                  <a:gd name="T92" fmla="*/ 73 w 1450"/>
                  <a:gd name="T93" fmla="*/ 669 h 1226"/>
                  <a:gd name="T94" fmla="*/ 217 w 1450"/>
                  <a:gd name="T95" fmla="*/ 866 h 1226"/>
                  <a:gd name="T96" fmla="*/ 321 w 1450"/>
                  <a:gd name="T97" fmla="*/ 891 h 1226"/>
                  <a:gd name="T98" fmla="*/ 457 w 1450"/>
                  <a:gd name="T99" fmla="*/ 891 h 1226"/>
                  <a:gd name="T100" fmla="*/ 417 w 1450"/>
                  <a:gd name="T101" fmla="*/ 1164 h 1226"/>
                  <a:gd name="T102" fmla="*/ 443 w 1450"/>
                  <a:gd name="T103" fmla="*/ 1164 h 1226"/>
                  <a:gd name="T104" fmla="*/ 479 w 1450"/>
                  <a:gd name="T105" fmla="*/ 1143 h 1226"/>
                  <a:gd name="T106" fmla="*/ 570 w 1450"/>
                  <a:gd name="T107" fmla="*/ 968 h 1226"/>
                  <a:gd name="T108" fmla="*/ 613 w 1450"/>
                  <a:gd name="T109" fmla="*/ 888 h 1226"/>
                  <a:gd name="T110" fmla="*/ 860 w 1450"/>
                  <a:gd name="T111" fmla="*/ 77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0" h="1226">
                    <a:moveTo>
                      <a:pt x="1450" y="633"/>
                    </a:moveTo>
                    <a:cubicBezTo>
                      <a:pt x="1443" y="658"/>
                      <a:pt x="1438" y="684"/>
                      <a:pt x="1427" y="708"/>
                    </a:cubicBezTo>
                    <a:cubicBezTo>
                      <a:pt x="1385" y="796"/>
                      <a:pt x="1309" y="844"/>
                      <a:pt x="1218" y="868"/>
                    </a:cubicBezTo>
                    <a:cubicBezTo>
                      <a:pt x="1116" y="896"/>
                      <a:pt x="1014" y="885"/>
                      <a:pt x="914" y="857"/>
                    </a:cubicBezTo>
                    <a:cubicBezTo>
                      <a:pt x="900" y="853"/>
                      <a:pt x="894" y="855"/>
                      <a:pt x="885" y="867"/>
                    </a:cubicBezTo>
                    <a:cubicBezTo>
                      <a:pt x="829" y="944"/>
                      <a:pt x="752" y="974"/>
                      <a:pt x="658" y="966"/>
                    </a:cubicBezTo>
                    <a:cubicBezTo>
                      <a:pt x="645" y="965"/>
                      <a:pt x="640" y="969"/>
                      <a:pt x="634" y="979"/>
                    </a:cubicBezTo>
                    <a:cubicBezTo>
                      <a:pt x="591" y="1061"/>
                      <a:pt x="548" y="1144"/>
                      <a:pt x="504" y="1226"/>
                    </a:cubicBezTo>
                    <a:cubicBezTo>
                      <a:pt x="450" y="1226"/>
                      <a:pt x="396" y="1226"/>
                      <a:pt x="342" y="1226"/>
                    </a:cubicBezTo>
                    <a:cubicBezTo>
                      <a:pt x="352" y="1165"/>
                      <a:pt x="362" y="1105"/>
                      <a:pt x="372" y="1045"/>
                    </a:cubicBezTo>
                    <a:cubicBezTo>
                      <a:pt x="377" y="1015"/>
                      <a:pt x="381" y="985"/>
                      <a:pt x="385" y="953"/>
                    </a:cubicBezTo>
                    <a:cubicBezTo>
                      <a:pt x="361" y="953"/>
                      <a:pt x="340" y="953"/>
                      <a:pt x="319" y="953"/>
                    </a:cubicBezTo>
                    <a:cubicBezTo>
                      <a:pt x="275" y="952"/>
                      <a:pt x="233" y="943"/>
                      <a:pt x="194" y="924"/>
                    </a:cubicBezTo>
                    <a:cubicBezTo>
                      <a:pt x="97" y="876"/>
                      <a:pt x="44" y="795"/>
                      <a:pt x="15" y="694"/>
                    </a:cubicBezTo>
                    <a:cubicBezTo>
                      <a:pt x="9" y="669"/>
                      <a:pt x="5" y="644"/>
                      <a:pt x="0" y="618"/>
                    </a:cubicBezTo>
                    <a:cubicBezTo>
                      <a:pt x="0" y="589"/>
                      <a:pt x="0" y="560"/>
                      <a:pt x="0" y="530"/>
                    </a:cubicBezTo>
                    <a:cubicBezTo>
                      <a:pt x="2" y="519"/>
                      <a:pt x="3" y="509"/>
                      <a:pt x="5" y="498"/>
                    </a:cubicBezTo>
                    <a:cubicBezTo>
                      <a:pt x="26" y="375"/>
                      <a:pt x="81" y="272"/>
                      <a:pt x="174" y="189"/>
                    </a:cubicBezTo>
                    <a:cubicBezTo>
                      <a:pt x="274" y="99"/>
                      <a:pt x="389" y="51"/>
                      <a:pt x="526" y="65"/>
                    </a:cubicBezTo>
                    <a:cubicBezTo>
                      <a:pt x="532" y="66"/>
                      <a:pt x="539" y="62"/>
                      <a:pt x="545" y="59"/>
                    </a:cubicBezTo>
                    <a:cubicBezTo>
                      <a:pt x="578" y="44"/>
                      <a:pt x="612" y="27"/>
                      <a:pt x="646" y="13"/>
                    </a:cubicBezTo>
                    <a:cubicBezTo>
                      <a:pt x="663" y="6"/>
                      <a:pt x="682" y="4"/>
                      <a:pt x="699" y="0"/>
                    </a:cubicBezTo>
                    <a:cubicBezTo>
                      <a:pt x="723" y="0"/>
                      <a:pt x="746" y="0"/>
                      <a:pt x="769" y="0"/>
                    </a:cubicBezTo>
                    <a:cubicBezTo>
                      <a:pt x="773" y="1"/>
                      <a:pt x="776" y="3"/>
                      <a:pt x="780" y="3"/>
                    </a:cubicBezTo>
                    <a:cubicBezTo>
                      <a:pt x="826" y="10"/>
                      <a:pt x="870" y="26"/>
                      <a:pt x="905" y="57"/>
                    </a:cubicBezTo>
                    <a:cubicBezTo>
                      <a:pt x="931" y="81"/>
                      <a:pt x="958" y="86"/>
                      <a:pt x="992" y="86"/>
                    </a:cubicBezTo>
                    <a:cubicBezTo>
                      <a:pt x="1130" y="86"/>
                      <a:pt x="1230" y="168"/>
                      <a:pt x="1262" y="303"/>
                    </a:cubicBezTo>
                    <a:cubicBezTo>
                      <a:pt x="1264" y="311"/>
                      <a:pt x="1271" y="319"/>
                      <a:pt x="1278" y="323"/>
                    </a:cubicBezTo>
                    <a:cubicBezTo>
                      <a:pt x="1339" y="363"/>
                      <a:pt x="1392" y="411"/>
                      <a:pt x="1423" y="478"/>
                    </a:cubicBezTo>
                    <a:cubicBezTo>
                      <a:pt x="1435" y="505"/>
                      <a:pt x="1441" y="535"/>
                      <a:pt x="1450" y="563"/>
                    </a:cubicBezTo>
                    <a:cubicBezTo>
                      <a:pt x="1450" y="587"/>
                      <a:pt x="1450" y="610"/>
                      <a:pt x="1450" y="633"/>
                    </a:cubicBezTo>
                    <a:close/>
                    <a:moveTo>
                      <a:pt x="860" y="776"/>
                    </a:moveTo>
                    <a:cubicBezTo>
                      <a:pt x="867" y="778"/>
                      <a:pt x="873" y="779"/>
                      <a:pt x="878" y="781"/>
                    </a:cubicBezTo>
                    <a:cubicBezTo>
                      <a:pt x="934" y="801"/>
                      <a:pt x="990" y="815"/>
                      <a:pt x="1048" y="819"/>
                    </a:cubicBezTo>
                    <a:cubicBezTo>
                      <a:pt x="1121" y="826"/>
                      <a:pt x="1192" y="819"/>
                      <a:pt x="1259" y="788"/>
                    </a:cubicBezTo>
                    <a:cubicBezTo>
                      <a:pt x="1388" y="728"/>
                      <a:pt x="1428" y="588"/>
                      <a:pt x="1349" y="472"/>
                    </a:cubicBezTo>
                    <a:cubicBezTo>
                      <a:pt x="1320" y="429"/>
                      <a:pt x="1282" y="395"/>
                      <a:pt x="1236" y="372"/>
                    </a:cubicBezTo>
                    <a:cubicBezTo>
                      <a:pt x="1215" y="362"/>
                      <a:pt x="1207" y="349"/>
                      <a:pt x="1203" y="327"/>
                    </a:cubicBezTo>
                    <a:cubicBezTo>
                      <a:pt x="1187" y="240"/>
                      <a:pt x="1141" y="179"/>
                      <a:pt x="1052" y="156"/>
                    </a:cubicBezTo>
                    <a:cubicBezTo>
                      <a:pt x="1014" y="146"/>
                      <a:pt x="976" y="143"/>
                      <a:pt x="937" y="151"/>
                    </a:cubicBezTo>
                    <a:cubicBezTo>
                      <a:pt x="922" y="154"/>
                      <a:pt x="914" y="149"/>
                      <a:pt x="904" y="139"/>
                    </a:cubicBezTo>
                    <a:cubicBezTo>
                      <a:pt x="874" y="106"/>
                      <a:pt x="838" y="81"/>
                      <a:pt x="794" y="69"/>
                    </a:cubicBezTo>
                    <a:cubicBezTo>
                      <a:pt x="720" y="50"/>
                      <a:pt x="653" y="67"/>
                      <a:pt x="590" y="106"/>
                    </a:cubicBezTo>
                    <a:cubicBezTo>
                      <a:pt x="563" y="122"/>
                      <a:pt x="539" y="138"/>
                      <a:pt x="507" y="125"/>
                    </a:cubicBezTo>
                    <a:cubicBezTo>
                      <a:pt x="505" y="124"/>
                      <a:pt x="503" y="125"/>
                      <a:pt x="501" y="125"/>
                    </a:cubicBezTo>
                    <a:cubicBezTo>
                      <a:pt x="415" y="120"/>
                      <a:pt x="338" y="146"/>
                      <a:pt x="268" y="194"/>
                    </a:cubicBezTo>
                    <a:cubicBezTo>
                      <a:pt x="109" y="302"/>
                      <a:pt x="31" y="491"/>
                      <a:pt x="73" y="669"/>
                    </a:cubicBezTo>
                    <a:cubicBezTo>
                      <a:pt x="94" y="754"/>
                      <a:pt x="136" y="824"/>
                      <a:pt x="217" y="866"/>
                    </a:cubicBezTo>
                    <a:cubicBezTo>
                      <a:pt x="249" y="883"/>
                      <a:pt x="284" y="891"/>
                      <a:pt x="321" y="891"/>
                    </a:cubicBezTo>
                    <a:cubicBezTo>
                      <a:pt x="366" y="891"/>
                      <a:pt x="410" y="891"/>
                      <a:pt x="457" y="891"/>
                    </a:cubicBezTo>
                    <a:cubicBezTo>
                      <a:pt x="443" y="984"/>
                      <a:pt x="430" y="1073"/>
                      <a:pt x="417" y="1164"/>
                    </a:cubicBezTo>
                    <a:cubicBezTo>
                      <a:pt x="427" y="1164"/>
                      <a:pt x="435" y="1163"/>
                      <a:pt x="443" y="1164"/>
                    </a:cubicBezTo>
                    <a:cubicBezTo>
                      <a:pt x="461" y="1168"/>
                      <a:pt x="471" y="1159"/>
                      <a:pt x="479" y="1143"/>
                    </a:cubicBezTo>
                    <a:cubicBezTo>
                      <a:pt x="509" y="1084"/>
                      <a:pt x="540" y="1026"/>
                      <a:pt x="570" y="968"/>
                    </a:cubicBezTo>
                    <a:cubicBezTo>
                      <a:pt x="584" y="942"/>
                      <a:pt x="599" y="915"/>
                      <a:pt x="613" y="888"/>
                    </a:cubicBezTo>
                    <a:cubicBezTo>
                      <a:pt x="692" y="935"/>
                      <a:pt x="834" y="889"/>
                      <a:pt x="860" y="7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14">
                <a:extLst>
                  <a:ext uri="{FF2B5EF4-FFF2-40B4-BE49-F238E27FC236}">
                    <a16:creationId xmlns:a16="http://schemas.microsoft.com/office/drawing/2014/main" id="{7D59EFEA-000D-DFC0-77B8-35A0C1C46E64}"/>
                  </a:ext>
                </a:extLst>
              </p:cNvPr>
              <p:cNvSpPr>
                <a:spLocks/>
              </p:cNvSpPr>
              <p:nvPr/>
            </p:nvSpPr>
            <p:spPr bwMode="auto">
              <a:xfrm>
                <a:off x="8578326" y="3852316"/>
                <a:ext cx="496174" cy="297639"/>
              </a:xfrm>
              <a:custGeom>
                <a:avLst/>
                <a:gdLst>
                  <a:gd name="T0" fmla="*/ 839 w 977"/>
                  <a:gd name="T1" fmla="*/ 275 h 585"/>
                  <a:gd name="T2" fmla="*/ 936 w 977"/>
                  <a:gd name="T3" fmla="*/ 301 h 585"/>
                  <a:gd name="T4" fmla="*/ 806 w 977"/>
                  <a:gd name="T5" fmla="*/ 364 h 585"/>
                  <a:gd name="T6" fmla="*/ 795 w 977"/>
                  <a:gd name="T7" fmla="*/ 383 h 585"/>
                  <a:gd name="T8" fmla="*/ 974 w 977"/>
                  <a:gd name="T9" fmla="*/ 463 h 585"/>
                  <a:gd name="T10" fmla="*/ 937 w 977"/>
                  <a:gd name="T11" fmla="*/ 505 h 585"/>
                  <a:gd name="T12" fmla="*/ 856 w 977"/>
                  <a:gd name="T13" fmla="*/ 444 h 585"/>
                  <a:gd name="T14" fmla="*/ 657 w 977"/>
                  <a:gd name="T15" fmla="*/ 310 h 585"/>
                  <a:gd name="T16" fmla="*/ 540 w 977"/>
                  <a:gd name="T17" fmla="*/ 220 h 585"/>
                  <a:gd name="T18" fmla="*/ 495 w 977"/>
                  <a:gd name="T19" fmla="*/ 388 h 585"/>
                  <a:gd name="T20" fmla="*/ 450 w 977"/>
                  <a:gd name="T21" fmla="*/ 424 h 585"/>
                  <a:gd name="T22" fmla="*/ 422 w 977"/>
                  <a:gd name="T23" fmla="*/ 278 h 585"/>
                  <a:gd name="T24" fmla="*/ 355 w 977"/>
                  <a:gd name="T25" fmla="*/ 247 h 585"/>
                  <a:gd name="T26" fmla="*/ 225 w 977"/>
                  <a:gd name="T27" fmla="*/ 400 h 585"/>
                  <a:gd name="T28" fmla="*/ 319 w 977"/>
                  <a:gd name="T29" fmla="*/ 524 h 585"/>
                  <a:gd name="T30" fmla="*/ 274 w 977"/>
                  <a:gd name="T31" fmla="*/ 568 h 585"/>
                  <a:gd name="T32" fmla="*/ 125 w 977"/>
                  <a:gd name="T33" fmla="*/ 493 h 585"/>
                  <a:gd name="T34" fmla="*/ 50 w 977"/>
                  <a:gd name="T35" fmla="*/ 492 h 585"/>
                  <a:gd name="T36" fmla="*/ 163 w 977"/>
                  <a:gd name="T37" fmla="*/ 420 h 585"/>
                  <a:gd name="T38" fmla="*/ 117 w 977"/>
                  <a:gd name="T39" fmla="*/ 318 h 585"/>
                  <a:gd name="T40" fmla="*/ 35 w 977"/>
                  <a:gd name="T41" fmla="*/ 179 h 585"/>
                  <a:gd name="T42" fmla="*/ 159 w 977"/>
                  <a:gd name="T43" fmla="*/ 264 h 585"/>
                  <a:gd name="T44" fmla="*/ 297 w 977"/>
                  <a:gd name="T45" fmla="*/ 198 h 585"/>
                  <a:gd name="T46" fmla="*/ 364 w 977"/>
                  <a:gd name="T47" fmla="*/ 158 h 585"/>
                  <a:gd name="T48" fmla="*/ 293 w 977"/>
                  <a:gd name="T49" fmla="*/ 31 h 585"/>
                  <a:gd name="T50" fmla="*/ 424 w 977"/>
                  <a:gd name="T51" fmla="*/ 137 h 585"/>
                  <a:gd name="T52" fmla="*/ 461 w 977"/>
                  <a:gd name="T53" fmla="*/ 199 h 585"/>
                  <a:gd name="T54" fmla="*/ 515 w 977"/>
                  <a:gd name="T55" fmla="*/ 86 h 585"/>
                  <a:gd name="T56" fmla="*/ 576 w 977"/>
                  <a:gd name="T57" fmla="*/ 82 h 585"/>
                  <a:gd name="T58" fmla="*/ 586 w 977"/>
                  <a:gd name="T59" fmla="*/ 170 h 585"/>
                  <a:gd name="T60" fmla="*/ 782 w 977"/>
                  <a:gd name="T61" fmla="*/ 124 h 585"/>
                  <a:gd name="T62" fmla="*/ 832 w 977"/>
                  <a:gd name="T63" fmla="*/ 161 h 585"/>
                  <a:gd name="T64" fmla="*/ 714 w 977"/>
                  <a:gd name="T65" fmla="*/ 27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7" h="585">
                    <a:moveTo>
                      <a:pt x="738" y="351"/>
                    </a:moveTo>
                    <a:cubicBezTo>
                      <a:pt x="764" y="312"/>
                      <a:pt x="795" y="285"/>
                      <a:pt x="839" y="275"/>
                    </a:cubicBezTo>
                    <a:cubicBezTo>
                      <a:pt x="859" y="270"/>
                      <a:pt x="881" y="269"/>
                      <a:pt x="902" y="269"/>
                    </a:cubicBezTo>
                    <a:cubicBezTo>
                      <a:pt x="925" y="269"/>
                      <a:pt x="937" y="282"/>
                      <a:pt x="936" y="301"/>
                    </a:cubicBezTo>
                    <a:cubicBezTo>
                      <a:pt x="935" y="321"/>
                      <a:pt x="922" y="331"/>
                      <a:pt x="899" y="330"/>
                    </a:cubicBezTo>
                    <a:cubicBezTo>
                      <a:pt x="863" y="328"/>
                      <a:pt x="831" y="336"/>
                      <a:pt x="806" y="364"/>
                    </a:cubicBezTo>
                    <a:cubicBezTo>
                      <a:pt x="803" y="367"/>
                      <a:pt x="800" y="371"/>
                      <a:pt x="797" y="375"/>
                    </a:cubicBezTo>
                    <a:cubicBezTo>
                      <a:pt x="796" y="377"/>
                      <a:pt x="796" y="379"/>
                      <a:pt x="795" y="383"/>
                    </a:cubicBezTo>
                    <a:cubicBezTo>
                      <a:pt x="813" y="383"/>
                      <a:pt x="830" y="384"/>
                      <a:pt x="846" y="383"/>
                    </a:cubicBezTo>
                    <a:cubicBezTo>
                      <a:pt x="912" y="378"/>
                      <a:pt x="958" y="406"/>
                      <a:pt x="974" y="463"/>
                    </a:cubicBezTo>
                    <a:cubicBezTo>
                      <a:pt x="977" y="474"/>
                      <a:pt x="974" y="490"/>
                      <a:pt x="968" y="498"/>
                    </a:cubicBezTo>
                    <a:cubicBezTo>
                      <a:pt x="962" y="505"/>
                      <a:pt x="946" y="508"/>
                      <a:pt x="937" y="505"/>
                    </a:cubicBezTo>
                    <a:cubicBezTo>
                      <a:pt x="929" y="504"/>
                      <a:pt x="921" y="493"/>
                      <a:pt x="917" y="484"/>
                    </a:cubicBezTo>
                    <a:cubicBezTo>
                      <a:pt x="903" y="451"/>
                      <a:pt x="892" y="444"/>
                      <a:pt x="856" y="444"/>
                    </a:cubicBezTo>
                    <a:cubicBezTo>
                      <a:pt x="831" y="445"/>
                      <a:pt x="806" y="446"/>
                      <a:pt x="782" y="442"/>
                    </a:cubicBezTo>
                    <a:cubicBezTo>
                      <a:pt x="712" y="432"/>
                      <a:pt x="669" y="385"/>
                      <a:pt x="657" y="310"/>
                    </a:cubicBezTo>
                    <a:cubicBezTo>
                      <a:pt x="655" y="293"/>
                      <a:pt x="653" y="276"/>
                      <a:pt x="652" y="262"/>
                    </a:cubicBezTo>
                    <a:cubicBezTo>
                      <a:pt x="614" y="248"/>
                      <a:pt x="577" y="234"/>
                      <a:pt x="540" y="220"/>
                    </a:cubicBezTo>
                    <a:cubicBezTo>
                      <a:pt x="524" y="232"/>
                      <a:pt x="504" y="246"/>
                      <a:pt x="484" y="261"/>
                    </a:cubicBezTo>
                    <a:cubicBezTo>
                      <a:pt x="502" y="300"/>
                      <a:pt x="507" y="343"/>
                      <a:pt x="495" y="388"/>
                    </a:cubicBezTo>
                    <a:cubicBezTo>
                      <a:pt x="493" y="393"/>
                      <a:pt x="492" y="398"/>
                      <a:pt x="489" y="403"/>
                    </a:cubicBezTo>
                    <a:cubicBezTo>
                      <a:pt x="482" y="421"/>
                      <a:pt x="466" y="429"/>
                      <a:pt x="450" y="424"/>
                    </a:cubicBezTo>
                    <a:cubicBezTo>
                      <a:pt x="432" y="418"/>
                      <a:pt x="425" y="402"/>
                      <a:pt x="432" y="382"/>
                    </a:cubicBezTo>
                    <a:cubicBezTo>
                      <a:pt x="444" y="346"/>
                      <a:pt x="442" y="311"/>
                      <a:pt x="422" y="278"/>
                    </a:cubicBezTo>
                    <a:cubicBezTo>
                      <a:pt x="419" y="273"/>
                      <a:pt x="416" y="268"/>
                      <a:pt x="413" y="264"/>
                    </a:cubicBezTo>
                    <a:cubicBezTo>
                      <a:pt x="390" y="236"/>
                      <a:pt x="390" y="236"/>
                      <a:pt x="355" y="247"/>
                    </a:cubicBezTo>
                    <a:cubicBezTo>
                      <a:pt x="340" y="252"/>
                      <a:pt x="325" y="255"/>
                      <a:pt x="309" y="259"/>
                    </a:cubicBezTo>
                    <a:cubicBezTo>
                      <a:pt x="237" y="274"/>
                      <a:pt x="204" y="329"/>
                      <a:pt x="225" y="400"/>
                    </a:cubicBezTo>
                    <a:cubicBezTo>
                      <a:pt x="235" y="436"/>
                      <a:pt x="257" y="462"/>
                      <a:pt x="283" y="488"/>
                    </a:cubicBezTo>
                    <a:cubicBezTo>
                      <a:pt x="295" y="500"/>
                      <a:pt x="307" y="512"/>
                      <a:pt x="319" y="524"/>
                    </a:cubicBezTo>
                    <a:cubicBezTo>
                      <a:pt x="334" y="541"/>
                      <a:pt x="334" y="559"/>
                      <a:pt x="321" y="572"/>
                    </a:cubicBezTo>
                    <a:cubicBezTo>
                      <a:pt x="308" y="585"/>
                      <a:pt x="289" y="583"/>
                      <a:pt x="274" y="568"/>
                    </a:cubicBezTo>
                    <a:cubicBezTo>
                      <a:pt x="260" y="553"/>
                      <a:pt x="245" y="539"/>
                      <a:pt x="232" y="523"/>
                    </a:cubicBezTo>
                    <a:cubicBezTo>
                      <a:pt x="203" y="488"/>
                      <a:pt x="167" y="482"/>
                      <a:pt x="125" y="493"/>
                    </a:cubicBezTo>
                    <a:cubicBezTo>
                      <a:pt x="114" y="497"/>
                      <a:pt x="103" y="502"/>
                      <a:pt x="92" y="506"/>
                    </a:cubicBezTo>
                    <a:cubicBezTo>
                      <a:pt x="75" y="513"/>
                      <a:pt x="57" y="507"/>
                      <a:pt x="50" y="492"/>
                    </a:cubicBezTo>
                    <a:cubicBezTo>
                      <a:pt x="43" y="476"/>
                      <a:pt x="48" y="457"/>
                      <a:pt x="66" y="451"/>
                    </a:cubicBezTo>
                    <a:cubicBezTo>
                      <a:pt x="98" y="439"/>
                      <a:pt x="131" y="430"/>
                      <a:pt x="163" y="420"/>
                    </a:cubicBezTo>
                    <a:cubicBezTo>
                      <a:pt x="161" y="393"/>
                      <a:pt x="158" y="362"/>
                      <a:pt x="155" y="327"/>
                    </a:cubicBezTo>
                    <a:cubicBezTo>
                      <a:pt x="145" y="325"/>
                      <a:pt x="131" y="322"/>
                      <a:pt x="117" y="318"/>
                    </a:cubicBezTo>
                    <a:cubicBezTo>
                      <a:pt x="66" y="303"/>
                      <a:pt x="23" y="278"/>
                      <a:pt x="7" y="223"/>
                    </a:cubicBezTo>
                    <a:cubicBezTo>
                      <a:pt x="0" y="197"/>
                      <a:pt x="13" y="176"/>
                      <a:pt x="35" y="179"/>
                    </a:cubicBezTo>
                    <a:cubicBezTo>
                      <a:pt x="45" y="180"/>
                      <a:pt x="60" y="188"/>
                      <a:pt x="62" y="196"/>
                    </a:cubicBezTo>
                    <a:cubicBezTo>
                      <a:pt x="76" y="246"/>
                      <a:pt x="117" y="255"/>
                      <a:pt x="159" y="264"/>
                    </a:cubicBezTo>
                    <a:cubicBezTo>
                      <a:pt x="176" y="268"/>
                      <a:pt x="188" y="265"/>
                      <a:pt x="200" y="250"/>
                    </a:cubicBezTo>
                    <a:cubicBezTo>
                      <a:pt x="225" y="221"/>
                      <a:pt x="259" y="205"/>
                      <a:pt x="297" y="198"/>
                    </a:cubicBezTo>
                    <a:cubicBezTo>
                      <a:pt x="313" y="195"/>
                      <a:pt x="330" y="188"/>
                      <a:pt x="346" y="185"/>
                    </a:cubicBezTo>
                    <a:cubicBezTo>
                      <a:pt x="361" y="182"/>
                      <a:pt x="365" y="172"/>
                      <a:pt x="364" y="158"/>
                    </a:cubicBezTo>
                    <a:cubicBezTo>
                      <a:pt x="363" y="118"/>
                      <a:pt x="347" y="86"/>
                      <a:pt x="311" y="66"/>
                    </a:cubicBezTo>
                    <a:cubicBezTo>
                      <a:pt x="297" y="58"/>
                      <a:pt x="290" y="47"/>
                      <a:pt x="293" y="31"/>
                    </a:cubicBezTo>
                    <a:cubicBezTo>
                      <a:pt x="296" y="10"/>
                      <a:pt x="319" y="0"/>
                      <a:pt x="340" y="11"/>
                    </a:cubicBezTo>
                    <a:cubicBezTo>
                      <a:pt x="390" y="39"/>
                      <a:pt x="418" y="81"/>
                      <a:pt x="424" y="137"/>
                    </a:cubicBezTo>
                    <a:cubicBezTo>
                      <a:pt x="426" y="149"/>
                      <a:pt x="425" y="162"/>
                      <a:pt x="425" y="174"/>
                    </a:cubicBezTo>
                    <a:cubicBezTo>
                      <a:pt x="424" y="197"/>
                      <a:pt x="439" y="208"/>
                      <a:pt x="461" y="199"/>
                    </a:cubicBezTo>
                    <a:cubicBezTo>
                      <a:pt x="498" y="183"/>
                      <a:pt x="511" y="152"/>
                      <a:pt x="515" y="115"/>
                    </a:cubicBezTo>
                    <a:cubicBezTo>
                      <a:pt x="516" y="106"/>
                      <a:pt x="515" y="96"/>
                      <a:pt x="515" y="86"/>
                    </a:cubicBezTo>
                    <a:cubicBezTo>
                      <a:pt x="514" y="68"/>
                      <a:pt x="526" y="54"/>
                      <a:pt x="542" y="53"/>
                    </a:cubicBezTo>
                    <a:cubicBezTo>
                      <a:pt x="560" y="51"/>
                      <a:pt x="575" y="62"/>
                      <a:pt x="576" y="82"/>
                    </a:cubicBezTo>
                    <a:cubicBezTo>
                      <a:pt x="576" y="102"/>
                      <a:pt x="576" y="122"/>
                      <a:pt x="573" y="142"/>
                    </a:cubicBezTo>
                    <a:cubicBezTo>
                      <a:pt x="570" y="156"/>
                      <a:pt x="574" y="163"/>
                      <a:pt x="586" y="170"/>
                    </a:cubicBezTo>
                    <a:cubicBezTo>
                      <a:pt x="648" y="209"/>
                      <a:pt x="709" y="201"/>
                      <a:pt x="763" y="146"/>
                    </a:cubicBezTo>
                    <a:cubicBezTo>
                      <a:pt x="770" y="139"/>
                      <a:pt x="776" y="131"/>
                      <a:pt x="782" y="124"/>
                    </a:cubicBezTo>
                    <a:cubicBezTo>
                      <a:pt x="794" y="110"/>
                      <a:pt x="813" y="107"/>
                      <a:pt x="827" y="118"/>
                    </a:cubicBezTo>
                    <a:cubicBezTo>
                      <a:pt x="839" y="128"/>
                      <a:pt x="842" y="146"/>
                      <a:pt x="832" y="161"/>
                    </a:cubicBezTo>
                    <a:cubicBezTo>
                      <a:pt x="806" y="197"/>
                      <a:pt x="773" y="225"/>
                      <a:pt x="731" y="241"/>
                    </a:cubicBezTo>
                    <a:cubicBezTo>
                      <a:pt x="717" y="247"/>
                      <a:pt x="713" y="254"/>
                      <a:pt x="714" y="270"/>
                    </a:cubicBezTo>
                    <a:cubicBezTo>
                      <a:pt x="717" y="297"/>
                      <a:pt x="721" y="324"/>
                      <a:pt x="738" y="3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cxnSp>
          <p:nvCxnSpPr>
            <p:cNvPr id="150" name="Straight Arrow Connector 149">
              <a:extLst>
                <a:ext uri="{FF2B5EF4-FFF2-40B4-BE49-F238E27FC236}">
                  <a16:creationId xmlns:a16="http://schemas.microsoft.com/office/drawing/2014/main" id="{EBF5EA32-DB8D-16DA-7490-BEFD476A18CF}"/>
                </a:ext>
              </a:extLst>
            </p:cNvPr>
            <p:cNvCxnSpPr>
              <a:cxnSpLocks/>
              <a:stCxn id="148" idx="4"/>
              <a:endCxn id="126" idx="0"/>
            </p:cNvCxnSpPr>
            <p:nvPr/>
          </p:nvCxnSpPr>
          <p:spPr>
            <a:xfrm flipH="1">
              <a:off x="2524683" y="4194978"/>
              <a:ext cx="340" cy="224430"/>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8FCA793C-467D-24FD-0CEE-B8009A010C05}"/>
                </a:ext>
              </a:extLst>
            </p:cNvPr>
            <p:cNvCxnSpPr>
              <a:stCxn id="148" idx="4"/>
              <a:endCxn id="127" idx="0"/>
            </p:cNvCxnSpPr>
            <p:nvPr/>
          </p:nvCxnSpPr>
          <p:spPr>
            <a:xfrm rot="5400000">
              <a:off x="1948930" y="3843315"/>
              <a:ext cx="224430" cy="927757"/>
            </a:xfrm>
            <a:prstGeom prst="bentConnector3">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55" name="Connector: Elbow 154">
              <a:extLst>
                <a:ext uri="{FF2B5EF4-FFF2-40B4-BE49-F238E27FC236}">
                  <a16:creationId xmlns:a16="http://schemas.microsoft.com/office/drawing/2014/main" id="{2B6EACBF-0CE8-77CC-37F0-7AEEACFD06AC}"/>
                </a:ext>
              </a:extLst>
            </p:cNvPr>
            <p:cNvCxnSpPr>
              <a:cxnSpLocks/>
              <a:stCxn id="148" idx="4"/>
              <a:endCxn id="125" idx="0"/>
            </p:cNvCxnSpPr>
            <p:nvPr/>
          </p:nvCxnSpPr>
          <p:spPr>
            <a:xfrm rot="16200000" flipH="1">
              <a:off x="2857717" y="3862284"/>
              <a:ext cx="224430" cy="889818"/>
            </a:xfrm>
            <a:prstGeom prst="bentConnector3">
              <a:avLst>
                <a:gd name="adj1" fmla="val 50000"/>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pic>
          <p:nvPicPr>
            <p:cNvPr id="163" name="Graphic 162">
              <a:extLst>
                <a:ext uri="{FF2B5EF4-FFF2-40B4-BE49-F238E27FC236}">
                  <a16:creationId xmlns:a16="http://schemas.microsoft.com/office/drawing/2014/main" id="{6815F918-7BE4-09BF-D646-166750DB9E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57048" y="2656655"/>
              <a:ext cx="535948" cy="535948"/>
            </a:xfrm>
            <a:prstGeom prst="rect">
              <a:avLst/>
            </a:prstGeom>
          </p:spPr>
        </p:pic>
        <p:grpSp>
          <p:nvGrpSpPr>
            <p:cNvPr id="169" name="Group 168">
              <a:extLst>
                <a:ext uri="{FF2B5EF4-FFF2-40B4-BE49-F238E27FC236}">
                  <a16:creationId xmlns:a16="http://schemas.microsoft.com/office/drawing/2014/main" id="{4E208184-BADD-6FB6-3930-8894A37BA95A}"/>
                </a:ext>
              </a:extLst>
            </p:cNvPr>
            <p:cNvGrpSpPr/>
            <p:nvPr/>
          </p:nvGrpSpPr>
          <p:grpSpPr>
            <a:xfrm>
              <a:off x="3067218" y="2938463"/>
              <a:ext cx="234750" cy="196076"/>
              <a:chOff x="3066241" y="2824634"/>
              <a:chExt cx="473093" cy="395156"/>
            </a:xfrm>
          </p:grpSpPr>
          <p:sp>
            <p:nvSpPr>
              <p:cNvPr id="164" name="Isosceles Triangle 163">
                <a:extLst>
                  <a:ext uri="{FF2B5EF4-FFF2-40B4-BE49-F238E27FC236}">
                    <a16:creationId xmlns:a16="http://schemas.microsoft.com/office/drawing/2014/main" id="{89468A73-563C-34EC-D578-09E544DC587C}"/>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65" name="Isosceles Triangle 164">
                <a:extLst>
                  <a:ext uri="{FF2B5EF4-FFF2-40B4-BE49-F238E27FC236}">
                    <a16:creationId xmlns:a16="http://schemas.microsoft.com/office/drawing/2014/main" id="{43E9C28F-80BD-ACB2-AE89-75AB5DC15B32}"/>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grpSp>
          <p:nvGrpSpPr>
            <p:cNvPr id="168" name="Group 167">
              <a:extLst>
                <a:ext uri="{FF2B5EF4-FFF2-40B4-BE49-F238E27FC236}">
                  <a16:creationId xmlns:a16="http://schemas.microsoft.com/office/drawing/2014/main" id="{324DCB6F-477F-8DE8-3705-7858DD74AD0F}"/>
                </a:ext>
              </a:extLst>
            </p:cNvPr>
            <p:cNvGrpSpPr/>
            <p:nvPr/>
          </p:nvGrpSpPr>
          <p:grpSpPr>
            <a:xfrm rot="10800000">
              <a:off x="1745407" y="2938463"/>
              <a:ext cx="234748" cy="196076"/>
              <a:chOff x="1514532" y="2824634"/>
              <a:chExt cx="473093" cy="395156"/>
            </a:xfrm>
          </p:grpSpPr>
          <p:sp>
            <p:nvSpPr>
              <p:cNvPr id="166" name="Isosceles Triangle 165">
                <a:extLst>
                  <a:ext uri="{FF2B5EF4-FFF2-40B4-BE49-F238E27FC236}">
                    <a16:creationId xmlns:a16="http://schemas.microsoft.com/office/drawing/2014/main" id="{FB003847-BB0D-A35F-6958-AE20C46AE1DD}"/>
                  </a:ext>
                </a:extLst>
              </p:cNvPr>
              <p:cNvSpPr/>
              <p:nvPr/>
            </p:nvSpPr>
            <p:spPr>
              <a:xfrm rot="5400000">
                <a:off x="1487279"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67" name="Isosceles Triangle 166">
                <a:extLst>
                  <a:ext uri="{FF2B5EF4-FFF2-40B4-BE49-F238E27FC236}">
                    <a16:creationId xmlns:a16="http://schemas.microsoft.com/office/drawing/2014/main" id="{0D8918F6-ACB2-6198-6B02-923F52219B22}"/>
                  </a:ext>
                </a:extLst>
              </p:cNvPr>
              <p:cNvSpPr/>
              <p:nvPr/>
            </p:nvSpPr>
            <p:spPr>
              <a:xfrm rot="5400000">
                <a:off x="1619722"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cxnSp>
          <p:nvCxnSpPr>
            <p:cNvPr id="189" name="Connector: Elbow 188">
              <a:extLst>
                <a:ext uri="{FF2B5EF4-FFF2-40B4-BE49-F238E27FC236}">
                  <a16:creationId xmlns:a16="http://schemas.microsoft.com/office/drawing/2014/main" id="{96790411-73A7-5B15-75A1-C1FB40E10DD3}"/>
                </a:ext>
              </a:extLst>
            </p:cNvPr>
            <p:cNvCxnSpPr>
              <a:cxnSpLocks/>
              <a:stCxn id="38" idx="2"/>
              <a:endCxn id="123" idx="0"/>
            </p:cNvCxnSpPr>
            <p:nvPr/>
          </p:nvCxnSpPr>
          <p:spPr>
            <a:xfrm rot="16200000" flipH="1">
              <a:off x="4922754" y="4086449"/>
              <a:ext cx="217845" cy="448072"/>
            </a:xfrm>
            <a:prstGeom prst="bentConnector3">
              <a:avLst>
                <a:gd name="adj1" fmla="val 50000"/>
              </a:avLst>
            </a:prstGeom>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92" name="Connector: Elbow 191">
              <a:extLst>
                <a:ext uri="{FF2B5EF4-FFF2-40B4-BE49-F238E27FC236}">
                  <a16:creationId xmlns:a16="http://schemas.microsoft.com/office/drawing/2014/main" id="{92862F88-F057-9466-5FD3-59A26C70C2D2}"/>
                </a:ext>
              </a:extLst>
            </p:cNvPr>
            <p:cNvCxnSpPr>
              <a:cxnSpLocks/>
              <a:stCxn id="38" idx="2"/>
              <a:endCxn id="124" idx="0"/>
            </p:cNvCxnSpPr>
            <p:nvPr/>
          </p:nvCxnSpPr>
          <p:spPr>
            <a:xfrm rot="5400000">
              <a:off x="4454034" y="4065801"/>
              <a:ext cx="217845" cy="489369"/>
            </a:xfrm>
            <a:prstGeom prst="bentConnector3">
              <a:avLst>
                <a:gd name="adj1" fmla="val 50000"/>
              </a:avLst>
            </a:prstGeom>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3E36D67C-C887-D635-CB30-71FD4119C0AE}"/>
                </a:ext>
              </a:extLst>
            </p:cNvPr>
            <p:cNvCxnSpPr>
              <a:stCxn id="148" idx="6"/>
              <a:endCxn id="174" idx="2"/>
            </p:cNvCxnSpPr>
            <p:nvPr/>
          </p:nvCxnSpPr>
          <p:spPr>
            <a:xfrm>
              <a:off x="3025720" y="3698840"/>
              <a:ext cx="1528169" cy="307"/>
            </a:xfrm>
            <a:prstGeom prst="straightConnector1">
              <a:avLst/>
            </a:prstGeom>
            <a:ln w="19050">
              <a:gradFill>
                <a:gsLst>
                  <a:gs pos="0">
                    <a:schemeClr val="accent1"/>
                  </a:gs>
                  <a:gs pos="100000">
                    <a:schemeClr val="accent3"/>
                  </a:gs>
                </a:gsLst>
                <a:lin ang="0" scaled="0"/>
              </a:gradFill>
              <a:prstDash val="sysDash"/>
              <a:tailEnd type="none"/>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A50E79C8-08AC-F0BD-DE5A-A7B1D0D291A9}"/>
              </a:ext>
            </a:extLst>
          </p:cNvPr>
          <p:cNvSpPr/>
          <p:nvPr/>
        </p:nvSpPr>
        <p:spPr>
          <a:xfrm>
            <a:off x="234836" y="1729892"/>
            <a:ext cx="5715000" cy="393192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Tree>
    <p:extLst>
      <p:ext uri="{BB962C8B-B14F-4D97-AF65-F5344CB8AC3E}">
        <p14:creationId xmlns:p14="http://schemas.microsoft.com/office/powerpoint/2010/main" val="3262144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anim calcmode="lin" valueType="num">
                                          <p:cBhvr>
                                            <p:cTn id="7" dur="200" fill="hold"/>
                                            <p:tgtEl>
                                              <p:spTgt spid="199"/>
                                            </p:tgtEl>
                                            <p:attrNameLst>
                                              <p:attrName>ppt_w</p:attrName>
                                            </p:attrNameLst>
                                          </p:cBhvr>
                                          <p:tavLst>
                                            <p:tav tm="0">
                                              <p:val>
                                                <p:fltVal val="0"/>
                                              </p:val>
                                            </p:tav>
                                            <p:tav tm="100000">
                                              <p:val>
                                                <p:strVal val="#ppt_w"/>
                                              </p:val>
                                            </p:tav>
                                          </p:tavLst>
                                        </p:anim>
                                        <p:anim calcmode="lin" valueType="num">
                                          <p:cBhvr>
                                            <p:cTn id="8" dur="200" fill="hold"/>
                                            <p:tgtEl>
                                              <p:spTgt spid="199"/>
                                            </p:tgtEl>
                                            <p:attrNameLst>
                                              <p:attrName>ppt_h</p:attrName>
                                            </p:attrNameLst>
                                          </p:cBhvr>
                                          <p:tavLst>
                                            <p:tav tm="0">
                                              <p:val>
                                                <p:fltVal val="0"/>
                                              </p:val>
                                            </p:tav>
                                            <p:tav tm="100000">
                                              <p:val>
                                                <p:strVal val="#ppt_h"/>
                                              </p:val>
                                            </p:tav>
                                          </p:tavLst>
                                        </p:anim>
                                      </p:childTnLst>
                                    </p:cTn>
                                  </p:par>
                                  <p:par>
                                    <p:cTn id="9" presetID="6" presetClass="emph" presetSubtype="0" fill="hold" nodeType="withEffect" p14:presetBounceEnd="99000">
                                      <p:stCondLst>
                                        <p:cond delay="0"/>
                                      </p:stCondLst>
                                      <p:childTnLst>
                                        <p:animScale p14:bounceEnd="99000">
                                          <p:cBhvr>
                                            <p:cTn id="10" dur="1000" fill="hold"/>
                                            <p:tgtEl>
                                              <p:spTgt spid="199"/>
                                            </p:tgtEl>
                                          </p:cBhvr>
                                          <p:by x="110000" y="110000"/>
                                        </p:animScale>
                                      </p:childTnLst>
                                    </p:cTn>
                                  </p:par>
                                  <p:par>
                                    <p:cTn id="11" presetID="6" presetClass="emph" presetSubtype="0" accel="50000" decel="50000" fill="hold" nodeType="withEffect">
                                      <p:stCondLst>
                                        <p:cond delay="0"/>
                                      </p:stCondLst>
                                      <p:childTnLst>
                                        <p:animScale>
                                          <p:cBhvr>
                                            <p:cTn id="12" dur="250" fill="hold"/>
                                            <p:tgtEl>
                                              <p:spTgt spid="199"/>
                                            </p:tgtEl>
                                          </p:cBhvr>
                                          <p:by x="91000" y="91000"/>
                                        </p:animScale>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250"/>
                                            <p:tgtEl>
                                              <p:spTgt spid="21"/>
                                            </p:tgtEl>
                                          </p:cBhvr>
                                        </p:animEffect>
                                      </p:childTnLst>
                                    </p:cTn>
                                  </p:par>
                                  <p:par>
                                    <p:cTn id="16" presetID="42" presetClass="path" presetSubtype="0" decel="100000" fill="hold" grpId="1" nodeType="withEffect">
                                      <p:stCondLst>
                                        <p:cond delay="0"/>
                                      </p:stCondLst>
                                      <p:childTnLst>
                                        <p:animMotion origin="layout" path="M -0.01719 -0.00023 L -2.08333E-6 -3.33333E-6 " pathEditMode="relative" rAng="0" ptsTypes="AA">
                                          <p:cBhvr>
                                            <p:cTn id="17" dur="500" fill="hold"/>
                                            <p:tgtEl>
                                              <p:spTgt spid="21"/>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anim calcmode="lin" valueType="num">
                                          <p:cBhvr>
                                            <p:cTn id="7" dur="200" fill="hold"/>
                                            <p:tgtEl>
                                              <p:spTgt spid="199"/>
                                            </p:tgtEl>
                                            <p:attrNameLst>
                                              <p:attrName>ppt_w</p:attrName>
                                            </p:attrNameLst>
                                          </p:cBhvr>
                                          <p:tavLst>
                                            <p:tav tm="0">
                                              <p:val>
                                                <p:fltVal val="0"/>
                                              </p:val>
                                            </p:tav>
                                            <p:tav tm="100000">
                                              <p:val>
                                                <p:strVal val="#ppt_w"/>
                                              </p:val>
                                            </p:tav>
                                          </p:tavLst>
                                        </p:anim>
                                        <p:anim calcmode="lin" valueType="num">
                                          <p:cBhvr>
                                            <p:cTn id="8" dur="200" fill="hold"/>
                                            <p:tgtEl>
                                              <p:spTgt spid="199"/>
                                            </p:tgtEl>
                                            <p:attrNameLst>
                                              <p:attrName>ppt_h</p:attrName>
                                            </p:attrNameLst>
                                          </p:cBhvr>
                                          <p:tavLst>
                                            <p:tav tm="0">
                                              <p:val>
                                                <p:fltVal val="0"/>
                                              </p:val>
                                            </p:tav>
                                            <p:tav tm="100000">
                                              <p:val>
                                                <p:strVal val="#ppt_h"/>
                                              </p:val>
                                            </p:tav>
                                          </p:tavLst>
                                        </p:anim>
                                      </p:childTnLst>
                                    </p:cTn>
                                  </p:par>
                                  <p:par>
                                    <p:cTn id="9" presetID="6" presetClass="emph" presetSubtype="0" fill="hold" nodeType="withEffect">
                                      <p:stCondLst>
                                        <p:cond delay="0"/>
                                      </p:stCondLst>
                                      <p:childTnLst>
                                        <p:animScale>
                                          <p:cBhvr>
                                            <p:cTn id="10" dur="1000" fill="hold"/>
                                            <p:tgtEl>
                                              <p:spTgt spid="199"/>
                                            </p:tgtEl>
                                          </p:cBhvr>
                                          <p:by x="110000" y="110000"/>
                                        </p:animScale>
                                      </p:childTnLst>
                                    </p:cTn>
                                  </p:par>
                                  <p:par>
                                    <p:cTn id="11" presetID="6" presetClass="emph" presetSubtype="0" accel="50000" decel="50000" fill="hold" nodeType="withEffect">
                                      <p:stCondLst>
                                        <p:cond delay="0"/>
                                      </p:stCondLst>
                                      <p:childTnLst>
                                        <p:animScale>
                                          <p:cBhvr>
                                            <p:cTn id="12" dur="250" fill="hold"/>
                                            <p:tgtEl>
                                              <p:spTgt spid="199"/>
                                            </p:tgtEl>
                                          </p:cBhvr>
                                          <p:by x="91000" y="91000"/>
                                        </p:animScale>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250"/>
                                            <p:tgtEl>
                                              <p:spTgt spid="21"/>
                                            </p:tgtEl>
                                          </p:cBhvr>
                                        </p:animEffect>
                                      </p:childTnLst>
                                    </p:cTn>
                                  </p:par>
                                  <p:par>
                                    <p:cTn id="16" presetID="42" presetClass="path" presetSubtype="0" decel="100000" fill="hold" grpId="1" nodeType="withEffect">
                                      <p:stCondLst>
                                        <p:cond delay="0"/>
                                      </p:stCondLst>
                                      <p:childTnLst>
                                        <p:animMotion origin="layout" path="M -0.01719 -0.00023 L -2.08333E-6 -3.33333E-6 " pathEditMode="relative" rAng="0" ptsTypes="AA">
                                          <p:cBhvr>
                                            <p:cTn id="17" dur="500" fill="hold"/>
                                            <p:tgtEl>
                                              <p:spTgt spid="21"/>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Lst>
      </p:timing>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B9B49E1-339C-FF1B-C015-3F47A5371585}"/>
              </a:ext>
            </a:extLst>
          </p:cNvPr>
          <p:cNvSpPr/>
          <p:nvPr/>
        </p:nvSpPr>
        <p:spPr>
          <a:xfrm>
            <a:off x="14278" y="1716656"/>
            <a:ext cx="12170795" cy="4097663"/>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E7F6882B-5396-E9AD-EA25-B4491CE5E4AA}"/>
              </a:ext>
            </a:extLst>
          </p:cNvPr>
          <p:cNvSpPr>
            <a:spLocks noGrp="1"/>
          </p:cNvSpPr>
          <p:nvPr>
            <p:ph type="title"/>
          </p:nvPr>
        </p:nvSpPr>
        <p:spPr>
          <a:xfrm>
            <a:off x="536240" y="414320"/>
            <a:ext cx="10896000" cy="1082209"/>
          </a:xfrm>
        </p:spPr>
        <p:txBody>
          <a:bodyPr/>
          <a:lstStyle/>
          <a:p>
            <a:r>
              <a:rPr lang="en-US" noProof="0"/>
              <a:t>Energy balance dysregulation contributes to the development of obesity</a:t>
            </a:r>
          </a:p>
        </p:txBody>
      </p:sp>
      <p:sp>
        <p:nvSpPr>
          <p:cNvPr id="3" name="Text Placeholder 2">
            <a:extLst>
              <a:ext uri="{FF2B5EF4-FFF2-40B4-BE49-F238E27FC236}">
                <a16:creationId xmlns:a16="http://schemas.microsoft.com/office/drawing/2014/main" id="{23EE55E3-B75C-6E45-4B16-9D602524A34F}"/>
              </a:ext>
            </a:extLst>
          </p:cNvPr>
          <p:cNvSpPr>
            <a:spLocks noGrp="1"/>
          </p:cNvSpPr>
          <p:nvPr>
            <p:ph type="body" sz="quarter" idx="13"/>
          </p:nvPr>
        </p:nvSpPr>
        <p:spPr>
          <a:xfrm>
            <a:off x="536240" y="6013923"/>
            <a:ext cx="10896000" cy="324000"/>
          </a:xfrm>
        </p:spPr>
        <p:txBody>
          <a:bodyPr>
            <a:noAutofit/>
          </a:bodyPr>
          <a:lstStyle/>
          <a:p>
            <a:br>
              <a:rPr lang="en-US" noProof="0"/>
            </a:br>
            <a:r>
              <a:rPr lang="en-US" noProof="0"/>
              <a:t>Ludwig DS et al. </a:t>
            </a:r>
            <a:r>
              <a:rPr lang="en-US" noProof="0" err="1"/>
              <a:t>Eur</a:t>
            </a:r>
            <a:r>
              <a:rPr lang="en-US" noProof="0"/>
              <a:t> J Clin </a:t>
            </a:r>
            <a:r>
              <a:rPr lang="en-US" noProof="0" err="1"/>
              <a:t>Nutr</a:t>
            </a:r>
            <a:r>
              <a:rPr lang="en-US" noProof="0"/>
              <a:t> 2022;76:1209–1221.</a:t>
            </a:r>
          </a:p>
        </p:txBody>
      </p:sp>
      <p:sp>
        <p:nvSpPr>
          <p:cNvPr id="12" name="TextBox 11">
            <a:extLst>
              <a:ext uri="{FF2B5EF4-FFF2-40B4-BE49-F238E27FC236}">
                <a16:creationId xmlns:a16="http://schemas.microsoft.com/office/drawing/2014/main" id="{F7994BE7-6ECE-A1EF-6BF1-C10B9FBA7A4A}"/>
              </a:ext>
            </a:extLst>
          </p:cNvPr>
          <p:cNvSpPr txBox="1"/>
          <p:nvPr/>
        </p:nvSpPr>
        <p:spPr>
          <a:xfrm>
            <a:off x="468994" y="3505051"/>
            <a:ext cx="1076324" cy="646331"/>
          </a:xfrm>
          <a:prstGeom prst="rect">
            <a:avLst/>
          </a:prstGeom>
          <a:noFill/>
        </p:spPr>
        <p:txBody>
          <a:bodyPr wrap="square" rtlCol="0">
            <a:spAutoFit/>
          </a:bodyPr>
          <a:lstStyle/>
          <a:p>
            <a:pPr algn="r"/>
            <a:r>
              <a:rPr lang="en-US" b="1" noProof="0">
                <a:latin typeface="Arial" panose="020B0604020202020204" pitchFamily="34" charset="0"/>
                <a:cs typeface="Arial" panose="020B0604020202020204" pitchFamily="34" charset="0"/>
              </a:rPr>
              <a:t>Energy balance</a:t>
            </a:r>
          </a:p>
        </p:txBody>
      </p:sp>
      <p:sp>
        <p:nvSpPr>
          <p:cNvPr id="20" name="TextBox 19">
            <a:extLst>
              <a:ext uri="{FF2B5EF4-FFF2-40B4-BE49-F238E27FC236}">
                <a16:creationId xmlns:a16="http://schemas.microsoft.com/office/drawing/2014/main" id="{050CD87E-2ADD-0E98-FAFF-D006F378CECB}"/>
              </a:ext>
            </a:extLst>
          </p:cNvPr>
          <p:cNvSpPr txBox="1"/>
          <p:nvPr/>
        </p:nvSpPr>
        <p:spPr>
          <a:xfrm>
            <a:off x="4671581" y="1702705"/>
            <a:ext cx="2233188" cy="587340"/>
          </a:xfrm>
          <a:prstGeom prst="rect">
            <a:avLst/>
          </a:prstGeom>
          <a:noFill/>
        </p:spPr>
        <p:txBody>
          <a:bodyPr wrap="square" rtlCol="0">
            <a:spAutoFit/>
          </a:bodyPr>
          <a:lstStyle/>
          <a:p>
            <a:pPr algn="ctr">
              <a:spcAft>
                <a:spcPts val="500"/>
              </a:spcAft>
            </a:pPr>
            <a:r>
              <a:rPr lang="en-US" sz="1400" noProof="0">
                <a:solidFill>
                  <a:schemeClr val="accent1"/>
                </a:solidFill>
                <a:latin typeface="Arial" panose="020B0604020202020204" pitchFamily="34" charset="0"/>
                <a:cs typeface="Arial" panose="020B0604020202020204" pitchFamily="34" charset="0"/>
              </a:rPr>
              <a:t>Increased caloric intake</a:t>
            </a:r>
          </a:p>
          <a:p>
            <a:pPr algn="ctr">
              <a:spcAft>
                <a:spcPts val="500"/>
              </a:spcAft>
            </a:pPr>
            <a:r>
              <a:rPr lang="en-US" sz="1400" noProof="0">
                <a:solidFill>
                  <a:schemeClr val="accent1"/>
                </a:solidFill>
                <a:latin typeface="Arial" panose="020B0604020202020204" pitchFamily="34" charset="0"/>
                <a:cs typeface="Arial" panose="020B0604020202020204" pitchFamily="34" charset="0"/>
              </a:rPr>
              <a:t>Sedentary behavior</a:t>
            </a:r>
          </a:p>
        </p:txBody>
      </p:sp>
      <p:sp>
        <p:nvSpPr>
          <p:cNvPr id="21" name="TextBox 20">
            <a:extLst>
              <a:ext uri="{FF2B5EF4-FFF2-40B4-BE49-F238E27FC236}">
                <a16:creationId xmlns:a16="http://schemas.microsoft.com/office/drawing/2014/main" id="{E9A8AFB0-8606-3F0F-6844-0E9D33B4B92C}"/>
              </a:ext>
            </a:extLst>
          </p:cNvPr>
          <p:cNvSpPr txBox="1"/>
          <p:nvPr/>
        </p:nvSpPr>
        <p:spPr>
          <a:xfrm>
            <a:off x="1975802" y="2511096"/>
            <a:ext cx="1725034" cy="587340"/>
          </a:xfrm>
          <a:prstGeom prst="rect">
            <a:avLst/>
          </a:prstGeom>
          <a:noFill/>
        </p:spPr>
        <p:txBody>
          <a:bodyPr wrap="square" rtlCol="0">
            <a:spAutoFit/>
          </a:bodyPr>
          <a:lstStyle/>
          <a:p>
            <a:pPr algn="ctr">
              <a:spcAft>
                <a:spcPts val="500"/>
              </a:spcAft>
            </a:pPr>
            <a:r>
              <a:rPr lang="en-US" sz="1400" noProof="0">
                <a:solidFill>
                  <a:schemeClr val="accent1"/>
                </a:solidFill>
                <a:latin typeface="Arial" panose="020B0604020202020204" pitchFamily="34" charset="0"/>
                <a:cs typeface="Arial" panose="020B0604020202020204" pitchFamily="34" charset="0"/>
              </a:rPr>
              <a:t>Caloric restriction</a:t>
            </a:r>
          </a:p>
          <a:p>
            <a:pPr algn="ctr">
              <a:spcAft>
                <a:spcPts val="500"/>
              </a:spcAft>
            </a:pPr>
            <a:r>
              <a:rPr lang="en-US" sz="1400" noProof="0">
                <a:solidFill>
                  <a:schemeClr val="accent1"/>
                </a:solidFill>
                <a:latin typeface="Arial" panose="020B0604020202020204" pitchFamily="34" charset="0"/>
                <a:cs typeface="Arial" panose="020B0604020202020204" pitchFamily="34" charset="0"/>
              </a:rPr>
              <a:t>Physical activity</a:t>
            </a:r>
          </a:p>
        </p:txBody>
      </p:sp>
      <p:sp>
        <p:nvSpPr>
          <p:cNvPr id="22" name="Freeform: Shape 21">
            <a:extLst>
              <a:ext uri="{FF2B5EF4-FFF2-40B4-BE49-F238E27FC236}">
                <a16:creationId xmlns:a16="http://schemas.microsoft.com/office/drawing/2014/main" id="{1746B334-7135-5030-370E-D88CB0D2A8E3}"/>
              </a:ext>
            </a:extLst>
          </p:cNvPr>
          <p:cNvSpPr/>
          <p:nvPr/>
        </p:nvSpPr>
        <p:spPr>
          <a:xfrm>
            <a:off x="2171438" y="3086713"/>
            <a:ext cx="1333762" cy="1333762"/>
          </a:xfrm>
          <a:custGeom>
            <a:avLst/>
            <a:gdLst>
              <a:gd name="connsiteX0" fmla="*/ 494613 w 989225"/>
              <a:gd name="connsiteY0" fmla="*/ 989225 h 989225"/>
              <a:gd name="connsiteX1" fmla="*/ 989225 w 989225"/>
              <a:gd name="connsiteY1" fmla="*/ 494613 h 989225"/>
              <a:gd name="connsiteX2" fmla="*/ 494613 w 989225"/>
              <a:gd name="connsiteY2" fmla="*/ 0 h 989225"/>
              <a:gd name="connsiteX3" fmla="*/ 0 w 989225"/>
              <a:gd name="connsiteY3" fmla="*/ 494613 h 989225"/>
              <a:gd name="connsiteX4" fmla="*/ 494613 w 989225"/>
              <a:gd name="connsiteY4" fmla="*/ 989225 h 989225"/>
              <a:gd name="connsiteX5" fmla="*/ 494613 w 989225"/>
              <a:gd name="connsiteY5" fmla="*/ 164871 h 989225"/>
              <a:gd name="connsiteX6" fmla="*/ 824354 w 989225"/>
              <a:gd name="connsiteY6" fmla="*/ 494613 h 989225"/>
              <a:gd name="connsiteX7" fmla="*/ 494613 w 989225"/>
              <a:gd name="connsiteY7" fmla="*/ 824354 h 989225"/>
              <a:gd name="connsiteX8" fmla="*/ 164871 w 989225"/>
              <a:gd name="connsiteY8" fmla="*/ 494613 h 989225"/>
              <a:gd name="connsiteX9" fmla="*/ 494613 w 989225"/>
              <a:gd name="connsiteY9" fmla="*/ 164871 h 98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225" h="989225">
                <a:moveTo>
                  <a:pt x="494613" y="989225"/>
                </a:moveTo>
                <a:cubicBezTo>
                  <a:pt x="767342" y="989225"/>
                  <a:pt x="989225" y="767342"/>
                  <a:pt x="989225" y="494613"/>
                </a:cubicBezTo>
                <a:cubicBezTo>
                  <a:pt x="989225" y="221883"/>
                  <a:pt x="767342" y="0"/>
                  <a:pt x="494613" y="0"/>
                </a:cubicBezTo>
                <a:cubicBezTo>
                  <a:pt x="221883" y="0"/>
                  <a:pt x="0" y="221883"/>
                  <a:pt x="0" y="494613"/>
                </a:cubicBezTo>
                <a:cubicBezTo>
                  <a:pt x="0" y="767342"/>
                  <a:pt x="221883" y="989225"/>
                  <a:pt x="494613" y="989225"/>
                </a:cubicBezTo>
                <a:close/>
                <a:moveTo>
                  <a:pt x="494613" y="164871"/>
                </a:moveTo>
                <a:cubicBezTo>
                  <a:pt x="676432" y="164871"/>
                  <a:pt x="824354" y="312793"/>
                  <a:pt x="824354" y="494613"/>
                </a:cubicBezTo>
                <a:cubicBezTo>
                  <a:pt x="824354" y="676432"/>
                  <a:pt x="676432" y="824354"/>
                  <a:pt x="494613" y="824354"/>
                </a:cubicBezTo>
                <a:cubicBezTo>
                  <a:pt x="312793" y="824354"/>
                  <a:pt x="164871" y="676432"/>
                  <a:pt x="164871" y="494613"/>
                </a:cubicBezTo>
                <a:cubicBezTo>
                  <a:pt x="164871" y="312793"/>
                  <a:pt x="312793" y="164871"/>
                  <a:pt x="494613" y="164871"/>
                </a:cubicBezTo>
                <a:close/>
              </a:path>
            </a:pathLst>
          </a:custGeom>
          <a:solidFill>
            <a:schemeClr val="accent1"/>
          </a:solidFill>
          <a:ln w="5488" cap="flat">
            <a:noFill/>
            <a:prstDash val="solid"/>
            <a:miter/>
          </a:ln>
        </p:spPr>
        <p:txBody>
          <a:bodyPr rtlCol="0" anchor="ctr"/>
          <a:lstStyle/>
          <a:p>
            <a:endParaRPr lang="en-US" noProof="0"/>
          </a:p>
        </p:txBody>
      </p:sp>
      <p:sp>
        <p:nvSpPr>
          <p:cNvPr id="23" name="Freeform: Shape 22">
            <a:extLst>
              <a:ext uri="{FF2B5EF4-FFF2-40B4-BE49-F238E27FC236}">
                <a16:creationId xmlns:a16="http://schemas.microsoft.com/office/drawing/2014/main" id="{C8A3F7F7-BA3D-E597-8CF8-BC99B3EF2964}"/>
              </a:ext>
            </a:extLst>
          </p:cNvPr>
          <p:cNvSpPr/>
          <p:nvPr/>
        </p:nvSpPr>
        <p:spPr>
          <a:xfrm>
            <a:off x="5121294" y="2276553"/>
            <a:ext cx="1333762" cy="1333762"/>
          </a:xfrm>
          <a:custGeom>
            <a:avLst/>
            <a:gdLst>
              <a:gd name="connsiteX0" fmla="*/ 494613 w 989225"/>
              <a:gd name="connsiteY0" fmla="*/ 989225 h 989225"/>
              <a:gd name="connsiteX1" fmla="*/ 989225 w 989225"/>
              <a:gd name="connsiteY1" fmla="*/ 494613 h 989225"/>
              <a:gd name="connsiteX2" fmla="*/ 494613 w 989225"/>
              <a:gd name="connsiteY2" fmla="*/ 0 h 989225"/>
              <a:gd name="connsiteX3" fmla="*/ 0 w 989225"/>
              <a:gd name="connsiteY3" fmla="*/ 494613 h 989225"/>
              <a:gd name="connsiteX4" fmla="*/ 494613 w 989225"/>
              <a:gd name="connsiteY4" fmla="*/ 989225 h 989225"/>
              <a:gd name="connsiteX5" fmla="*/ 494613 w 989225"/>
              <a:gd name="connsiteY5" fmla="*/ 164871 h 989225"/>
              <a:gd name="connsiteX6" fmla="*/ 824354 w 989225"/>
              <a:gd name="connsiteY6" fmla="*/ 494613 h 989225"/>
              <a:gd name="connsiteX7" fmla="*/ 494613 w 989225"/>
              <a:gd name="connsiteY7" fmla="*/ 824354 h 989225"/>
              <a:gd name="connsiteX8" fmla="*/ 164871 w 989225"/>
              <a:gd name="connsiteY8" fmla="*/ 494613 h 989225"/>
              <a:gd name="connsiteX9" fmla="*/ 494613 w 989225"/>
              <a:gd name="connsiteY9" fmla="*/ 164871 h 98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225" h="989225">
                <a:moveTo>
                  <a:pt x="494613" y="989225"/>
                </a:moveTo>
                <a:cubicBezTo>
                  <a:pt x="767342" y="989225"/>
                  <a:pt x="989225" y="767342"/>
                  <a:pt x="989225" y="494613"/>
                </a:cubicBezTo>
                <a:cubicBezTo>
                  <a:pt x="989225" y="221883"/>
                  <a:pt x="767342" y="0"/>
                  <a:pt x="494613" y="0"/>
                </a:cubicBezTo>
                <a:cubicBezTo>
                  <a:pt x="221883" y="0"/>
                  <a:pt x="0" y="221883"/>
                  <a:pt x="0" y="494613"/>
                </a:cubicBezTo>
                <a:cubicBezTo>
                  <a:pt x="0" y="767342"/>
                  <a:pt x="221883" y="989225"/>
                  <a:pt x="494613" y="989225"/>
                </a:cubicBezTo>
                <a:close/>
                <a:moveTo>
                  <a:pt x="494613" y="164871"/>
                </a:moveTo>
                <a:cubicBezTo>
                  <a:pt x="676432" y="164871"/>
                  <a:pt x="824354" y="312793"/>
                  <a:pt x="824354" y="494613"/>
                </a:cubicBezTo>
                <a:cubicBezTo>
                  <a:pt x="824354" y="676432"/>
                  <a:pt x="676432" y="824354"/>
                  <a:pt x="494613" y="824354"/>
                </a:cubicBezTo>
                <a:cubicBezTo>
                  <a:pt x="312793" y="824354"/>
                  <a:pt x="164871" y="676432"/>
                  <a:pt x="164871" y="494613"/>
                </a:cubicBezTo>
                <a:cubicBezTo>
                  <a:pt x="164871" y="312793"/>
                  <a:pt x="312793" y="164871"/>
                  <a:pt x="494613" y="164871"/>
                </a:cubicBezTo>
                <a:close/>
              </a:path>
            </a:pathLst>
          </a:custGeom>
          <a:solidFill>
            <a:schemeClr val="accent1"/>
          </a:solidFill>
          <a:ln w="5488" cap="flat">
            <a:noFill/>
            <a:prstDash val="solid"/>
            <a:miter/>
          </a:ln>
        </p:spPr>
        <p:txBody>
          <a:bodyPr rtlCol="0" anchor="ctr"/>
          <a:lstStyle/>
          <a:p>
            <a:endParaRPr lang="en-US" noProof="0"/>
          </a:p>
        </p:txBody>
      </p:sp>
      <p:grpSp>
        <p:nvGrpSpPr>
          <p:cNvPr id="26" name="Group 25">
            <a:extLst>
              <a:ext uri="{FF2B5EF4-FFF2-40B4-BE49-F238E27FC236}">
                <a16:creationId xmlns:a16="http://schemas.microsoft.com/office/drawing/2014/main" id="{F449E249-4DEA-E5E7-9641-47534203832B}"/>
              </a:ext>
            </a:extLst>
          </p:cNvPr>
          <p:cNvGrpSpPr/>
          <p:nvPr/>
        </p:nvGrpSpPr>
        <p:grpSpPr>
          <a:xfrm>
            <a:off x="7177326" y="2559810"/>
            <a:ext cx="970908" cy="810954"/>
            <a:chOff x="3066241" y="2824634"/>
            <a:chExt cx="473093" cy="395156"/>
          </a:xfrm>
        </p:grpSpPr>
        <p:sp>
          <p:nvSpPr>
            <p:cNvPr id="27" name="Isosceles Triangle 26">
              <a:extLst>
                <a:ext uri="{FF2B5EF4-FFF2-40B4-BE49-F238E27FC236}">
                  <a16:creationId xmlns:a16="http://schemas.microsoft.com/office/drawing/2014/main" id="{12AC7DCF-9857-BC23-E64E-E973060C6B1F}"/>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9" name="Isosceles Triangle 28">
              <a:extLst>
                <a:ext uri="{FF2B5EF4-FFF2-40B4-BE49-F238E27FC236}">
                  <a16:creationId xmlns:a16="http://schemas.microsoft.com/office/drawing/2014/main" id="{2E10B46C-0AB7-841D-F40B-4D9F9B1BB747}"/>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
        <p:nvSpPr>
          <p:cNvPr id="30" name="Isosceles Triangle 29">
            <a:extLst>
              <a:ext uri="{FF2B5EF4-FFF2-40B4-BE49-F238E27FC236}">
                <a16:creationId xmlns:a16="http://schemas.microsoft.com/office/drawing/2014/main" id="{C2588E4E-ADB6-8699-BB71-7FCCC30EC585}"/>
              </a:ext>
            </a:extLst>
          </p:cNvPr>
          <p:cNvSpPr/>
          <p:nvPr/>
        </p:nvSpPr>
        <p:spPr>
          <a:xfrm>
            <a:off x="3932196" y="4202426"/>
            <a:ext cx="1158240" cy="998483"/>
          </a:xfrm>
          <a:prstGeom prst="triangle">
            <a:avLst/>
          </a:prstGeom>
          <a:solidFill>
            <a:schemeClr val="bg1"/>
          </a:solidFill>
          <a:ln w="133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31" name="Rectangle: Rounded Corners 30">
            <a:extLst>
              <a:ext uri="{FF2B5EF4-FFF2-40B4-BE49-F238E27FC236}">
                <a16:creationId xmlns:a16="http://schemas.microsoft.com/office/drawing/2014/main" id="{749A877F-B131-3CA5-7FEA-58527CDCE761}"/>
              </a:ext>
            </a:extLst>
          </p:cNvPr>
          <p:cNvSpPr/>
          <p:nvPr/>
        </p:nvSpPr>
        <p:spPr>
          <a:xfrm rot="20700000">
            <a:off x="2559263" y="4038612"/>
            <a:ext cx="3861158" cy="73665"/>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8" name="TextBox 17">
            <a:extLst>
              <a:ext uri="{FF2B5EF4-FFF2-40B4-BE49-F238E27FC236}">
                <a16:creationId xmlns:a16="http://schemas.microsoft.com/office/drawing/2014/main" id="{75C98DD3-1598-1FF2-70AE-8F2336BDE4F9}"/>
              </a:ext>
            </a:extLst>
          </p:cNvPr>
          <p:cNvSpPr txBox="1"/>
          <p:nvPr/>
        </p:nvSpPr>
        <p:spPr>
          <a:xfrm>
            <a:off x="4615373" y="2608020"/>
            <a:ext cx="2345604" cy="670828"/>
          </a:xfrm>
          <a:prstGeom prst="roundRect">
            <a:avLst>
              <a:gd name="adj" fmla="val 50000"/>
            </a:avLst>
          </a:prstGeom>
          <a:solidFill>
            <a:schemeClr val="accent2">
              <a:alpha val="76000"/>
            </a:schemeClr>
          </a:solidFill>
          <a:ln w="38100">
            <a:noFill/>
          </a:ln>
        </p:spPr>
        <p:txBody>
          <a:bodyPr wrap="square" lIns="0" tIns="0" rIns="0" bIns="0" rtlCol="0">
            <a:spAutoFit/>
          </a:bodyPr>
          <a:lstStyle/>
          <a:p>
            <a:pPr algn="ctr"/>
            <a:r>
              <a:rPr lang="en-US" sz="1500" b="1" noProof="0">
                <a:solidFill>
                  <a:schemeClr val="bg1"/>
                </a:solidFill>
                <a:latin typeface="Arial" panose="020B0604020202020204" pitchFamily="34" charset="0"/>
                <a:cs typeface="Arial" panose="020B0604020202020204" pitchFamily="34" charset="0"/>
              </a:rPr>
              <a:t>Energy conservation </a:t>
            </a:r>
            <a:r>
              <a:rPr lang="en-US" sz="1600" noProof="0">
                <a:solidFill>
                  <a:schemeClr val="bg1"/>
                </a:solidFill>
                <a:latin typeface="Arial" panose="020B0604020202020204" pitchFamily="34" charset="0"/>
                <a:cs typeface="Arial" panose="020B0604020202020204" pitchFamily="34" charset="0"/>
              </a:rPr>
              <a:t>(Obesity)</a:t>
            </a:r>
          </a:p>
        </p:txBody>
      </p:sp>
      <p:sp>
        <p:nvSpPr>
          <p:cNvPr id="32" name="TextBox 31">
            <a:extLst>
              <a:ext uri="{FF2B5EF4-FFF2-40B4-BE49-F238E27FC236}">
                <a16:creationId xmlns:a16="http://schemas.microsoft.com/office/drawing/2014/main" id="{DAB9F0CD-5D77-3D60-2049-ABE23EDDAD15}"/>
              </a:ext>
            </a:extLst>
          </p:cNvPr>
          <p:cNvSpPr txBox="1"/>
          <p:nvPr/>
        </p:nvSpPr>
        <p:spPr>
          <a:xfrm>
            <a:off x="1871400" y="3429000"/>
            <a:ext cx="1933838" cy="649188"/>
          </a:xfrm>
          <a:prstGeom prst="roundRect">
            <a:avLst>
              <a:gd name="adj" fmla="val 50000"/>
            </a:avLst>
          </a:prstGeom>
          <a:solidFill>
            <a:schemeClr val="accent2">
              <a:alpha val="76000"/>
            </a:schemeClr>
          </a:solidFill>
          <a:ln w="38100">
            <a:noFill/>
          </a:ln>
        </p:spPr>
        <p:txBody>
          <a:bodyPr wrap="square" lIns="0" tIns="0" rIns="0" bIns="0" rtlCol="0">
            <a:spAutoFit/>
          </a:bodyPr>
          <a:lstStyle/>
          <a:p>
            <a:pPr algn="ctr"/>
            <a:r>
              <a:rPr lang="en-US" sz="1500" b="1" noProof="0">
                <a:solidFill>
                  <a:schemeClr val="bg1"/>
                </a:solidFill>
                <a:latin typeface="Arial" panose="020B0604020202020204" pitchFamily="34" charset="0"/>
                <a:cs typeface="Arial" panose="020B0604020202020204" pitchFamily="34" charset="0"/>
              </a:rPr>
              <a:t>Energy </a:t>
            </a:r>
            <a:br>
              <a:rPr lang="en-US" sz="1500" b="1" noProof="0">
                <a:solidFill>
                  <a:schemeClr val="bg1"/>
                </a:solidFill>
                <a:latin typeface="Arial" panose="020B0604020202020204" pitchFamily="34" charset="0"/>
                <a:cs typeface="Arial" panose="020B0604020202020204" pitchFamily="34" charset="0"/>
              </a:rPr>
            </a:br>
            <a:r>
              <a:rPr lang="en-US" sz="1500" b="1" noProof="0">
                <a:solidFill>
                  <a:schemeClr val="bg1"/>
                </a:solidFill>
                <a:latin typeface="Arial" panose="020B0604020202020204" pitchFamily="34" charset="0"/>
                <a:cs typeface="Arial" panose="020B0604020202020204" pitchFamily="34" charset="0"/>
              </a:rPr>
              <a:t>expenditure</a:t>
            </a:r>
          </a:p>
        </p:txBody>
      </p:sp>
      <p:grpSp>
        <p:nvGrpSpPr>
          <p:cNvPr id="44" name="Group 43">
            <a:extLst>
              <a:ext uri="{FF2B5EF4-FFF2-40B4-BE49-F238E27FC236}">
                <a16:creationId xmlns:a16="http://schemas.microsoft.com/office/drawing/2014/main" id="{CEE57F68-4863-8943-73EB-04534CCEEC24}"/>
              </a:ext>
            </a:extLst>
          </p:cNvPr>
          <p:cNvGrpSpPr/>
          <p:nvPr/>
        </p:nvGrpSpPr>
        <p:grpSpPr>
          <a:xfrm>
            <a:off x="8191356" y="2218917"/>
            <a:ext cx="3309109" cy="3245266"/>
            <a:chOff x="8191356" y="2218917"/>
            <a:chExt cx="3309109" cy="3245266"/>
          </a:xfrm>
        </p:grpSpPr>
        <p:sp>
          <p:nvSpPr>
            <p:cNvPr id="15" name="TextBox 14">
              <a:extLst>
                <a:ext uri="{FF2B5EF4-FFF2-40B4-BE49-F238E27FC236}">
                  <a16:creationId xmlns:a16="http://schemas.microsoft.com/office/drawing/2014/main" id="{FA56A49F-1492-9E03-AAF5-BA580AFA4E2B}"/>
                </a:ext>
              </a:extLst>
            </p:cNvPr>
            <p:cNvSpPr txBox="1"/>
            <p:nvPr/>
          </p:nvSpPr>
          <p:spPr>
            <a:xfrm>
              <a:off x="8191356" y="2785989"/>
              <a:ext cx="3309109" cy="1169551"/>
            </a:xfrm>
            <a:prstGeom prst="rect">
              <a:avLst/>
            </a:prstGeom>
            <a:noFill/>
          </p:spPr>
          <p:txBody>
            <a:bodyPr wrap="square" lIns="91440" tIns="45720" rIns="91440" bIns="45720" rtlCol="0" anchor="t">
              <a:spAutoFit/>
            </a:bodyPr>
            <a:lstStyle/>
            <a:p>
              <a:pPr algn="ctr"/>
              <a:r>
                <a:rPr lang="en-US" sz="1400" noProof="0">
                  <a:latin typeface="Arial"/>
                  <a:cs typeface="Arial"/>
                </a:rPr>
                <a:t>Genetic predisposition and neuroendocrine control that promotes fat storage (i.e., to survive famine), despite increasing present-day caloric abundance</a:t>
              </a:r>
            </a:p>
          </p:txBody>
        </p:sp>
        <p:sp>
          <p:nvSpPr>
            <p:cNvPr id="35" name="Rectangle: Rounded Corners 34">
              <a:hlinkClick r:id="rId3" action="ppaction://hlinksldjump"/>
              <a:extLst>
                <a:ext uri="{FF2B5EF4-FFF2-40B4-BE49-F238E27FC236}">
                  <a16:creationId xmlns:a16="http://schemas.microsoft.com/office/drawing/2014/main" id="{F42B55FE-ECC4-7DEA-1527-346FA6A6EF39}"/>
                </a:ext>
              </a:extLst>
            </p:cNvPr>
            <p:cNvSpPr/>
            <p:nvPr/>
          </p:nvSpPr>
          <p:spPr>
            <a:xfrm>
              <a:off x="8253457" y="2218917"/>
              <a:ext cx="3184908" cy="573206"/>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a:latin typeface="Arial" panose="020B0604020202020204" pitchFamily="34" charset="0"/>
                  <a:cs typeface="Arial" panose="020B0604020202020204" pitchFamily="34" charset="0"/>
                </a:rPr>
                <a:t>Disease of common obesity</a:t>
              </a:r>
              <a:endParaRPr lang="en-US" sz="1600" noProof="0">
                <a:cs typeface="Arial"/>
              </a:endParaRPr>
            </a:p>
          </p:txBody>
        </p:sp>
        <p:sp>
          <p:nvSpPr>
            <p:cNvPr id="36" name="Rectangle: Rounded Corners 35">
              <a:hlinkClick r:id="rId3" action="ppaction://hlinksldjump"/>
              <a:extLst>
                <a:ext uri="{FF2B5EF4-FFF2-40B4-BE49-F238E27FC236}">
                  <a16:creationId xmlns:a16="http://schemas.microsoft.com/office/drawing/2014/main" id="{B61B8394-CE68-5BAE-EB59-FA69B0706137}"/>
                </a:ext>
              </a:extLst>
            </p:cNvPr>
            <p:cNvSpPr/>
            <p:nvPr/>
          </p:nvSpPr>
          <p:spPr>
            <a:xfrm>
              <a:off x="8253457" y="4367757"/>
              <a:ext cx="3184908" cy="573206"/>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a:latin typeface="Arial" panose="020B0604020202020204" pitchFamily="34" charset="0"/>
                  <a:cs typeface="Arial" panose="020B0604020202020204" pitchFamily="34" charset="0"/>
                </a:rPr>
                <a:t>Result</a:t>
              </a:r>
              <a:endParaRPr lang="en-US" sz="1600" noProof="0">
                <a:cs typeface="Arial"/>
              </a:endParaRPr>
            </a:p>
          </p:txBody>
        </p:sp>
        <p:sp>
          <p:nvSpPr>
            <p:cNvPr id="37" name="TextBox 36">
              <a:extLst>
                <a:ext uri="{FF2B5EF4-FFF2-40B4-BE49-F238E27FC236}">
                  <a16:creationId xmlns:a16="http://schemas.microsoft.com/office/drawing/2014/main" id="{421AA8C7-40FD-4E90-DBA1-3F0205F1B1DA}"/>
                </a:ext>
              </a:extLst>
            </p:cNvPr>
            <p:cNvSpPr txBox="1"/>
            <p:nvPr/>
          </p:nvSpPr>
          <p:spPr>
            <a:xfrm>
              <a:off x="8191356" y="4940963"/>
              <a:ext cx="3309109" cy="523220"/>
            </a:xfrm>
            <a:prstGeom prst="rect">
              <a:avLst/>
            </a:prstGeom>
            <a:noFill/>
          </p:spPr>
          <p:txBody>
            <a:bodyPr wrap="square" lIns="91440" tIns="45720" rIns="91440" bIns="45720" rtlCol="0" anchor="t">
              <a:spAutoFit/>
            </a:bodyPr>
            <a:lstStyle/>
            <a:p>
              <a:pPr algn="ctr"/>
              <a:r>
                <a:rPr lang="en-US" sz="1400" noProof="0">
                  <a:latin typeface="Arial"/>
                  <a:cs typeface="Arial"/>
                </a:rPr>
                <a:t>Net positive energy </a:t>
              </a:r>
              <a:br>
                <a:rPr lang="en-US" sz="1400" noProof="0">
                  <a:latin typeface="Arial"/>
                  <a:cs typeface="Arial"/>
                </a:rPr>
              </a:br>
              <a:r>
                <a:rPr lang="en-US" sz="1400" noProof="0">
                  <a:latin typeface="Arial"/>
                  <a:cs typeface="Arial"/>
                </a:rPr>
                <a:t>balance &amp; increased fat</a:t>
              </a:r>
              <a:endParaRPr lang="en-US" sz="1400" noProof="0">
                <a:latin typeface="Arial" panose="020B0604020202020204" pitchFamily="34" charset="0"/>
                <a:cs typeface="Arial" panose="020B0604020202020204" pitchFamily="34" charset="0"/>
              </a:endParaRPr>
            </a:p>
          </p:txBody>
        </p:sp>
      </p:grpSp>
      <p:sp>
        <p:nvSpPr>
          <p:cNvPr id="38" name="Rectangle: Rounded Corners 37">
            <a:extLst>
              <a:ext uri="{FF2B5EF4-FFF2-40B4-BE49-F238E27FC236}">
                <a16:creationId xmlns:a16="http://schemas.microsoft.com/office/drawing/2014/main" id="{C90E7A4A-F94E-1567-5E74-3AABCBF7A94B}"/>
              </a:ext>
            </a:extLst>
          </p:cNvPr>
          <p:cNvSpPr/>
          <p:nvPr/>
        </p:nvSpPr>
        <p:spPr>
          <a:xfrm>
            <a:off x="1609741" y="1900234"/>
            <a:ext cx="195636" cy="3788590"/>
          </a:xfrm>
          <a:prstGeom prst="roundRect">
            <a:avLst>
              <a:gd name="adj" fmla="val 50000"/>
            </a:avLst>
          </a:prstGeom>
          <a:gradFill>
            <a:gsLst>
              <a:gs pos="0">
                <a:schemeClr val="accent1"/>
              </a:gs>
              <a:gs pos="100000">
                <a:schemeClr val="accent6">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40" name="Graphic 39">
            <a:extLst>
              <a:ext uri="{FF2B5EF4-FFF2-40B4-BE49-F238E27FC236}">
                <a16:creationId xmlns:a16="http://schemas.microsoft.com/office/drawing/2014/main" id="{1BFB9508-D486-827C-DB22-F787D73E3B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45318" y="1900235"/>
            <a:ext cx="318682" cy="318682"/>
          </a:xfrm>
          <a:prstGeom prst="rect">
            <a:avLst/>
          </a:prstGeom>
        </p:spPr>
      </p:pic>
      <p:pic>
        <p:nvPicPr>
          <p:cNvPr id="42" name="Graphic 41">
            <a:extLst>
              <a:ext uri="{FF2B5EF4-FFF2-40B4-BE49-F238E27FC236}">
                <a16:creationId xmlns:a16="http://schemas.microsoft.com/office/drawing/2014/main" id="{54AF2B1C-A004-5302-9D69-F71CC45B691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45318" y="5437517"/>
            <a:ext cx="318682" cy="318682"/>
          </a:xfrm>
          <a:prstGeom prst="rect">
            <a:avLst/>
          </a:prstGeom>
        </p:spPr>
      </p:pic>
      <p:grpSp>
        <p:nvGrpSpPr>
          <p:cNvPr id="4" name="Group 3">
            <a:extLst>
              <a:ext uri="{FF2B5EF4-FFF2-40B4-BE49-F238E27FC236}">
                <a16:creationId xmlns:a16="http://schemas.microsoft.com/office/drawing/2014/main" id="{B4849825-FB00-59FC-280C-50D79EE2EA2B}"/>
              </a:ext>
            </a:extLst>
          </p:cNvPr>
          <p:cNvGrpSpPr/>
          <p:nvPr/>
        </p:nvGrpSpPr>
        <p:grpSpPr>
          <a:xfrm rot="16200000">
            <a:off x="5660364" y="3877602"/>
            <a:ext cx="474742" cy="396530"/>
            <a:chOff x="3066241" y="2824634"/>
            <a:chExt cx="473093" cy="395156"/>
          </a:xfrm>
        </p:grpSpPr>
        <p:sp>
          <p:nvSpPr>
            <p:cNvPr id="5" name="Isosceles Triangle 4">
              <a:extLst>
                <a:ext uri="{FF2B5EF4-FFF2-40B4-BE49-F238E27FC236}">
                  <a16:creationId xmlns:a16="http://schemas.microsoft.com/office/drawing/2014/main" id="{6D10F2C5-D388-C0E5-2A85-EAF6CE4C91BA}"/>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 name="Isosceles Triangle 5">
              <a:extLst>
                <a:ext uri="{FF2B5EF4-FFF2-40B4-BE49-F238E27FC236}">
                  <a16:creationId xmlns:a16="http://schemas.microsoft.com/office/drawing/2014/main" id="{5B4D4FB2-53AA-2AE9-00C6-37DEF005F4E3}"/>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grpSp>
        <p:nvGrpSpPr>
          <p:cNvPr id="7" name="Group 6">
            <a:extLst>
              <a:ext uri="{FF2B5EF4-FFF2-40B4-BE49-F238E27FC236}">
                <a16:creationId xmlns:a16="http://schemas.microsoft.com/office/drawing/2014/main" id="{6D421006-B2A6-28C5-1B1B-58F182B87F48}"/>
              </a:ext>
            </a:extLst>
          </p:cNvPr>
          <p:cNvGrpSpPr/>
          <p:nvPr/>
        </p:nvGrpSpPr>
        <p:grpSpPr>
          <a:xfrm rot="5400000">
            <a:off x="2577987" y="2108476"/>
            <a:ext cx="474742" cy="396530"/>
            <a:chOff x="3066241" y="2824634"/>
            <a:chExt cx="473093" cy="395156"/>
          </a:xfrm>
        </p:grpSpPr>
        <p:sp>
          <p:nvSpPr>
            <p:cNvPr id="8" name="Isosceles Triangle 7">
              <a:extLst>
                <a:ext uri="{FF2B5EF4-FFF2-40B4-BE49-F238E27FC236}">
                  <a16:creationId xmlns:a16="http://schemas.microsoft.com/office/drawing/2014/main" id="{240EBE68-EE23-4762-0D6F-CFCF171FBC79}"/>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9" name="Isosceles Triangle 8">
              <a:extLst>
                <a:ext uri="{FF2B5EF4-FFF2-40B4-BE49-F238E27FC236}">
                  <a16:creationId xmlns:a16="http://schemas.microsoft.com/office/drawing/2014/main" id="{12FCA3DB-1761-2BE1-8586-F11A64E0A8B4}"/>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Tree>
    <p:extLst>
      <p:ext uri="{BB962C8B-B14F-4D97-AF65-F5344CB8AC3E}">
        <p14:creationId xmlns:p14="http://schemas.microsoft.com/office/powerpoint/2010/main" val="165307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F38BDCE5-BB87-F2EA-6087-A8129E0F1EED}"/>
              </a:ext>
            </a:extLst>
          </p:cNvPr>
          <p:cNvSpPr/>
          <p:nvPr/>
        </p:nvSpPr>
        <p:spPr>
          <a:xfrm>
            <a:off x="0" y="3062983"/>
            <a:ext cx="6096000" cy="279679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 name="Title 1">
            <a:extLst>
              <a:ext uri="{FF2B5EF4-FFF2-40B4-BE49-F238E27FC236}">
                <a16:creationId xmlns:a16="http://schemas.microsoft.com/office/drawing/2014/main" id="{DF666D16-6124-4534-266E-9AA412AF2A02}"/>
              </a:ext>
            </a:extLst>
          </p:cNvPr>
          <p:cNvSpPr>
            <a:spLocks noGrp="1"/>
          </p:cNvSpPr>
          <p:nvPr>
            <p:ph type="title"/>
          </p:nvPr>
        </p:nvSpPr>
        <p:spPr>
          <a:xfrm>
            <a:off x="536240" y="414320"/>
            <a:ext cx="10896000" cy="1082209"/>
          </a:xfrm>
        </p:spPr>
        <p:txBody>
          <a:bodyPr/>
          <a:lstStyle/>
          <a:p>
            <a:r>
              <a:rPr lang="en-US" noProof="0"/>
              <a:t>Role of metabolic adaptation and muscle mass in </a:t>
            </a:r>
            <a:br>
              <a:rPr lang="en-US" noProof="0"/>
            </a:br>
            <a:r>
              <a:rPr lang="en-US" noProof="0"/>
              <a:t>weight reduction</a:t>
            </a:r>
          </a:p>
        </p:txBody>
      </p:sp>
      <p:sp>
        <p:nvSpPr>
          <p:cNvPr id="19" name="Text Placeholder 18">
            <a:extLst>
              <a:ext uri="{FF2B5EF4-FFF2-40B4-BE49-F238E27FC236}">
                <a16:creationId xmlns:a16="http://schemas.microsoft.com/office/drawing/2014/main" id="{42F431BE-CAE6-DD62-9B5A-E3D287DFBCBC}"/>
              </a:ext>
            </a:extLst>
          </p:cNvPr>
          <p:cNvSpPr>
            <a:spLocks noGrp="1"/>
          </p:cNvSpPr>
          <p:nvPr>
            <p:ph type="body" sz="quarter" idx="13"/>
          </p:nvPr>
        </p:nvSpPr>
        <p:spPr>
          <a:xfrm>
            <a:off x="536240" y="6013923"/>
            <a:ext cx="10896000" cy="324000"/>
          </a:xfrm>
        </p:spPr>
        <p:txBody>
          <a:bodyPr/>
          <a:lstStyle/>
          <a:p>
            <a:r>
              <a:rPr lang="en-US" noProof="0" dirty="0"/>
              <a:t>GLP-1, </a:t>
            </a:r>
            <a:r>
              <a:rPr lang="en-US" b="0" i="0" dirty="0">
                <a:solidFill>
                  <a:srgbClr val="001D35"/>
                </a:solidFill>
                <a:effectLst/>
              </a:rPr>
              <a:t>glucagon-like peptide-1; PYY, pancreatic tyrosine </a:t>
            </a:r>
            <a:r>
              <a:rPr lang="en-US" b="0" i="0" dirty="0" err="1">
                <a:solidFill>
                  <a:srgbClr val="001D35"/>
                </a:solidFill>
                <a:effectLst/>
              </a:rPr>
              <a:t>tyrosine</a:t>
            </a:r>
            <a:r>
              <a:rPr lang="en-US" b="0" i="0" dirty="0">
                <a:solidFill>
                  <a:srgbClr val="001D35"/>
                </a:solidFill>
                <a:effectLst/>
              </a:rPr>
              <a:t>.</a:t>
            </a:r>
            <a:r>
              <a:rPr lang="en-US" noProof="0" dirty="0"/>
              <a:t> </a:t>
            </a:r>
            <a:br>
              <a:rPr lang="en-US" noProof="0" dirty="0"/>
            </a:br>
            <a:r>
              <a:rPr lang="en-US" noProof="0" dirty="0"/>
              <a:t>1. Farhana A, Rehman A. StatPearls [Internet] 2024. PMID:34283511; 2. McCarthy D, Berg A. Nutrients 2021;13:2473.</a:t>
            </a:r>
          </a:p>
        </p:txBody>
      </p:sp>
      <p:sp>
        <p:nvSpPr>
          <p:cNvPr id="20" name="Rounded Rectangle 16">
            <a:extLst>
              <a:ext uri="{FF2B5EF4-FFF2-40B4-BE49-F238E27FC236}">
                <a16:creationId xmlns:a16="http://schemas.microsoft.com/office/drawing/2014/main" id="{03DB5B9F-14F5-F2C0-763A-1D673D057BCD}"/>
              </a:ext>
            </a:extLst>
          </p:cNvPr>
          <p:cNvSpPr/>
          <p:nvPr/>
        </p:nvSpPr>
        <p:spPr>
          <a:xfrm>
            <a:off x="0" y="2027032"/>
            <a:ext cx="12192000" cy="997851"/>
          </a:xfrm>
          <a:prstGeom prst="rect">
            <a:avLst/>
          </a:prstGeom>
          <a:noFill/>
          <a:ln>
            <a:noFill/>
          </a:ln>
        </p:spPr>
        <p:txBody>
          <a:bodyPr wrap="square" lIns="640080" tIns="96000" rIns="457200" bIns="96000" numCol="1" anchor="ctr" anchorCtr="0">
            <a:noAutofit/>
          </a:bodyPr>
          <a:lstStyle/>
          <a:p>
            <a:pPr algn="ctr" defTabSz="1219170">
              <a:spcAft>
                <a:spcPts val="267"/>
              </a:spcAft>
              <a:defRPr/>
            </a:pPr>
            <a:r>
              <a:rPr lang="en-US" sz="1600" kern="0" noProof="0">
                <a:latin typeface="Arial" panose="020B0604020202020204" pitchFamily="34" charset="0"/>
                <a:cs typeface="Arial" panose="020B0604020202020204" pitchFamily="34" charset="0"/>
              </a:rPr>
              <a:t>Due to reduced metabolic rate, muscle efficiency, and change in gut hormones </a:t>
            </a:r>
            <a:br>
              <a:rPr lang="en-US" sz="1600" kern="0" noProof="0">
                <a:latin typeface="Arial" panose="020B0604020202020204" pitchFamily="34" charset="0"/>
                <a:cs typeface="Arial" panose="020B0604020202020204" pitchFamily="34" charset="0"/>
              </a:rPr>
            </a:br>
            <a:r>
              <a:rPr lang="en-US" sz="1600" kern="0" noProof="0">
                <a:latin typeface="Arial" panose="020B0604020202020204" pitchFamily="34" charset="0"/>
                <a:cs typeface="Arial" panose="020B0604020202020204" pitchFamily="34" charset="0"/>
              </a:rPr>
              <a:t>(increased ghrelin and decreased GLP-1, PYY, </a:t>
            </a:r>
            <a:r>
              <a:rPr lang="en-US" sz="1600" kern="0" noProof="0" err="1">
                <a:latin typeface="Arial" panose="020B0604020202020204" pitchFamily="34" charset="0"/>
                <a:cs typeface="Arial" panose="020B0604020202020204" pitchFamily="34" charset="0"/>
              </a:rPr>
              <a:t>etc</a:t>
            </a:r>
            <a:r>
              <a:rPr lang="en-US" sz="1600" kern="0">
                <a:latin typeface="Arial" panose="020B0604020202020204" pitchFamily="34" charset="0"/>
                <a:cs typeface="Arial" panose="020B0604020202020204" pitchFamily="34" charset="0"/>
              </a:rPr>
              <a:t>.</a:t>
            </a:r>
            <a:r>
              <a:rPr lang="en-US" sz="1600" kern="0" noProof="0">
                <a:latin typeface="Arial" panose="020B0604020202020204" pitchFamily="34" charset="0"/>
                <a:cs typeface="Arial" panose="020B0604020202020204" pitchFamily="34" charset="0"/>
              </a:rPr>
              <a:t>), which combined leads to an</a:t>
            </a:r>
            <a:br>
              <a:rPr lang="en-US" sz="1600" kern="0" noProof="0">
                <a:latin typeface="Arial" panose="020B0604020202020204" pitchFamily="34" charset="0"/>
                <a:cs typeface="Arial" panose="020B0604020202020204" pitchFamily="34" charset="0"/>
              </a:rPr>
            </a:br>
            <a:r>
              <a:rPr lang="en-US" sz="1600" kern="0" noProof="0">
                <a:latin typeface="Arial" panose="020B0604020202020204" pitchFamily="34" charset="0"/>
                <a:cs typeface="Arial" panose="020B0604020202020204" pitchFamily="34" charset="0"/>
              </a:rPr>
              <a:t>increase in hunger and can lead to weight regain</a:t>
            </a:r>
            <a:endParaRPr lang="en-US" sz="1600" kern="0" baseline="30000" noProof="0">
              <a:latin typeface="Arial" panose="020B0604020202020204" pitchFamily="34" charset="0"/>
              <a:cs typeface="Arial" panose="020B0604020202020204" pitchFamily="34" charset="0"/>
            </a:endParaRPr>
          </a:p>
        </p:txBody>
      </p:sp>
      <p:graphicFrame>
        <p:nvGraphicFramePr>
          <p:cNvPr id="7" name="Chart 6">
            <a:extLst>
              <a:ext uri="{FF2B5EF4-FFF2-40B4-BE49-F238E27FC236}">
                <a16:creationId xmlns:a16="http://schemas.microsoft.com/office/drawing/2014/main" id="{61F254B0-80BC-1BC8-0825-FF820CE89CB5}"/>
              </a:ext>
            </a:extLst>
          </p:cNvPr>
          <p:cNvGraphicFramePr/>
          <p:nvPr>
            <p:extLst>
              <p:ext uri="{D42A27DB-BD31-4B8C-83A1-F6EECF244321}">
                <p14:modId xmlns:p14="http://schemas.microsoft.com/office/powerpoint/2010/main" val="2063010229"/>
              </p:ext>
            </p:extLst>
          </p:nvPr>
        </p:nvGraphicFramePr>
        <p:xfrm>
          <a:off x="1499373" y="3633564"/>
          <a:ext cx="2570770" cy="182134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F2EF4127-4F11-8BF9-F504-C17DE9CB98B2}"/>
              </a:ext>
            </a:extLst>
          </p:cNvPr>
          <p:cNvSpPr txBox="1"/>
          <p:nvPr/>
        </p:nvSpPr>
        <p:spPr>
          <a:xfrm>
            <a:off x="261882" y="3138325"/>
            <a:ext cx="5045752" cy="584775"/>
          </a:xfrm>
          <a:prstGeom prst="rect">
            <a:avLst/>
          </a:prstGeom>
          <a:noFill/>
        </p:spPr>
        <p:txBody>
          <a:bodyPr wrap="square" rtlCol="0">
            <a:spAutoFit/>
          </a:bodyPr>
          <a:lstStyle/>
          <a:p>
            <a:pPr algn="ctr"/>
            <a:r>
              <a:rPr lang="en-US" sz="1600" b="1" noProof="0">
                <a:solidFill>
                  <a:schemeClr val="accent1"/>
                </a:solidFill>
                <a:latin typeface="Arial" panose="020B0604020202020204" pitchFamily="34" charset="0"/>
                <a:cs typeface="Arial" panose="020B0604020202020204" pitchFamily="34" charset="0"/>
              </a:rPr>
              <a:t>Typical losses in total body </a:t>
            </a:r>
            <a:br>
              <a:rPr lang="en-US" sz="1600" b="1" noProof="0">
                <a:solidFill>
                  <a:schemeClr val="accent1"/>
                </a:solidFill>
                <a:latin typeface="Arial" panose="020B0604020202020204" pitchFamily="34" charset="0"/>
                <a:cs typeface="Arial" panose="020B0604020202020204" pitchFamily="34" charset="0"/>
              </a:rPr>
            </a:br>
            <a:r>
              <a:rPr lang="en-US" sz="1600" b="1" noProof="0">
                <a:solidFill>
                  <a:schemeClr val="accent1"/>
                </a:solidFill>
                <a:latin typeface="Arial" panose="020B0604020202020204" pitchFamily="34" charset="0"/>
                <a:cs typeface="Arial" panose="020B0604020202020204" pitchFamily="34" charset="0"/>
              </a:rPr>
              <a:t>weight comprise of…</a:t>
            </a:r>
          </a:p>
        </p:txBody>
      </p:sp>
      <p:sp>
        <p:nvSpPr>
          <p:cNvPr id="9" name="TextBox 8">
            <a:extLst>
              <a:ext uri="{FF2B5EF4-FFF2-40B4-BE49-F238E27FC236}">
                <a16:creationId xmlns:a16="http://schemas.microsoft.com/office/drawing/2014/main" id="{AB645B01-F6C4-A956-5A30-E439183DC7D1}"/>
              </a:ext>
            </a:extLst>
          </p:cNvPr>
          <p:cNvSpPr txBox="1"/>
          <p:nvPr/>
        </p:nvSpPr>
        <p:spPr>
          <a:xfrm>
            <a:off x="3553279" y="4005626"/>
            <a:ext cx="2444976" cy="1077218"/>
          </a:xfrm>
          <a:prstGeom prst="rect">
            <a:avLst/>
          </a:prstGeom>
          <a:noFill/>
        </p:spPr>
        <p:txBody>
          <a:bodyPr wrap="square" rtlCol="0">
            <a:spAutoFit/>
          </a:bodyPr>
          <a:lstStyle/>
          <a:p>
            <a:r>
              <a:rPr lang="en-US" b="1" noProof="0">
                <a:solidFill>
                  <a:schemeClr val="tx2"/>
                </a:solidFill>
                <a:latin typeface="Arial" panose="020B0604020202020204" pitchFamily="34" charset="0"/>
                <a:cs typeface="Arial" panose="020B0604020202020204" pitchFamily="34" charset="0"/>
              </a:rPr>
              <a:t>20–40</a:t>
            </a:r>
            <a:r>
              <a:rPr lang="en-US" noProof="0">
                <a:solidFill>
                  <a:schemeClr val="tx2"/>
                </a:solidFill>
                <a:latin typeface="Arial" panose="020B0604020202020204" pitchFamily="34" charset="0"/>
                <a:cs typeface="Arial" panose="020B0604020202020204" pitchFamily="34" charset="0"/>
              </a:rPr>
              <a:t>%</a:t>
            </a:r>
            <a:r>
              <a:rPr lang="en-US" b="1" noProof="0">
                <a:solidFill>
                  <a:schemeClr val="tx2"/>
                </a:solidFill>
                <a:latin typeface="Arial" panose="020B0604020202020204" pitchFamily="34" charset="0"/>
                <a:cs typeface="Arial" panose="020B0604020202020204" pitchFamily="34" charset="0"/>
              </a:rPr>
              <a:t> </a:t>
            </a:r>
            <a:br>
              <a:rPr lang="en-US" b="1" noProof="0">
                <a:solidFill>
                  <a:schemeClr val="tx2"/>
                </a:solidFill>
                <a:latin typeface="Arial" panose="020B0604020202020204" pitchFamily="34" charset="0"/>
                <a:cs typeface="Arial" panose="020B0604020202020204" pitchFamily="34" charset="0"/>
              </a:rPr>
            </a:br>
            <a:r>
              <a:rPr lang="en-US" noProof="0">
                <a:solidFill>
                  <a:schemeClr val="tx2"/>
                </a:solidFill>
                <a:latin typeface="Arial" panose="020B0604020202020204" pitchFamily="34" charset="0"/>
                <a:cs typeface="Arial" panose="020B0604020202020204" pitchFamily="34" charset="0"/>
              </a:rPr>
              <a:t>lean or fat-free mass</a:t>
            </a:r>
            <a:r>
              <a:rPr lang="en-US" baseline="30000" noProof="0">
                <a:solidFill>
                  <a:schemeClr val="tx2"/>
                </a:solidFill>
                <a:latin typeface="Arial" panose="020B0604020202020204" pitchFamily="34" charset="0"/>
                <a:cs typeface="Arial" panose="020B0604020202020204" pitchFamily="34" charset="0"/>
              </a:rPr>
              <a:t>2</a:t>
            </a:r>
            <a:r>
              <a:rPr lang="en-US" noProof="0">
                <a:solidFill>
                  <a:schemeClr val="tx2"/>
                </a:solidFill>
                <a:latin typeface="Arial" panose="020B0604020202020204" pitchFamily="34" charset="0"/>
                <a:cs typeface="Arial" panose="020B0604020202020204" pitchFamily="34" charset="0"/>
              </a:rPr>
              <a:t> </a:t>
            </a:r>
            <a:br>
              <a:rPr lang="en-US" noProof="0">
                <a:solidFill>
                  <a:schemeClr val="tx2"/>
                </a:solidFill>
                <a:latin typeface="Arial" panose="020B0604020202020204" pitchFamily="34" charset="0"/>
                <a:cs typeface="Arial" panose="020B0604020202020204" pitchFamily="34" charset="0"/>
              </a:rPr>
            </a:br>
            <a:r>
              <a:rPr lang="en-US" sz="1400" i="1" noProof="0">
                <a:solidFill>
                  <a:schemeClr val="tx2"/>
                </a:solidFill>
                <a:latin typeface="Arial" panose="020B0604020202020204" pitchFamily="34" charset="0"/>
                <a:cs typeface="Arial" panose="020B0604020202020204" pitchFamily="34" charset="0"/>
              </a:rPr>
              <a:t>(including skeletal </a:t>
            </a:r>
            <a:br>
              <a:rPr lang="en-US" sz="1400" i="1" noProof="0">
                <a:solidFill>
                  <a:schemeClr val="tx2"/>
                </a:solidFill>
                <a:latin typeface="Arial" panose="020B0604020202020204" pitchFamily="34" charset="0"/>
                <a:cs typeface="Arial" panose="020B0604020202020204" pitchFamily="34" charset="0"/>
              </a:rPr>
            </a:br>
            <a:r>
              <a:rPr lang="en-US" sz="1400" i="1" noProof="0">
                <a:solidFill>
                  <a:schemeClr val="tx2"/>
                </a:solidFill>
                <a:latin typeface="Arial" panose="020B0604020202020204" pitchFamily="34" charset="0"/>
                <a:cs typeface="Arial" panose="020B0604020202020204" pitchFamily="34" charset="0"/>
              </a:rPr>
              <a:t>muscle mass)</a:t>
            </a:r>
            <a:endParaRPr lang="en-US" b="1" i="1" noProof="0">
              <a:solidFill>
                <a:schemeClr val="tx2"/>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21788429-2D23-2803-116E-1F4269EE1ABF}"/>
              </a:ext>
            </a:extLst>
          </p:cNvPr>
          <p:cNvSpPr txBox="1"/>
          <p:nvPr/>
        </p:nvSpPr>
        <p:spPr>
          <a:xfrm>
            <a:off x="855185" y="4015329"/>
            <a:ext cx="1137346" cy="646331"/>
          </a:xfrm>
          <a:prstGeom prst="rect">
            <a:avLst/>
          </a:prstGeom>
          <a:noFill/>
        </p:spPr>
        <p:txBody>
          <a:bodyPr wrap="square" rtlCol="0">
            <a:spAutoFit/>
          </a:bodyPr>
          <a:lstStyle/>
          <a:p>
            <a:pPr algn="r"/>
            <a:r>
              <a:rPr lang="en-US" b="1" noProof="0">
                <a:solidFill>
                  <a:schemeClr val="accent1"/>
                </a:solidFill>
                <a:latin typeface="Arial" panose="020B0604020202020204" pitchFamily="34" charset="0"/>
                <a:cs typeface="Arial" panose="020B0604020202020204" pitchFamily="34" charset="0"/>
              </a:rPr>
              <a:t>60–80</a:t>
            </a:r>
            <a:r>
              <a:rPr lang="en-US" noProof="0">
                <a:solidFill>
                  <a:schemeClr val="accent1"/>
                </a:solidFill>
                <a:latin typeface="Arial" panose="020B0604020202020204" pitchFamily="34" charset="0"/>
                <a:cs typeface="Arial" panose="020B0604020202020204" pitchFamily="34" charset="0"/>
              </a:rPr>
              <a:t>%</a:t>
            </a:r>
            <a:r>
              <a:rPr lang="en-US" b="1" noProof="0">
                <a:solidFill>
                  <a:schemeClr val="accent1"/>
                </a:solidFill>
                <a:latin typeface="Arial" panose="020B0604020202020204" pitchFamily="34" charset="0"/>
                <a:cs typeface="Arial" panose="020B0604020202020204" pitchFamily="34" charset="0"/>
              </a:rPr>
              <a:t> </a:t>
            </a:r>
            <a:br>
              <a:rPr lang="en-US" b="1" noProof="0">
                <a:solidFill>
                  <a:schemeClr val="accent1"/>
                </a:solidFill>
                <a:latin typeface="Arial" panose="020B0604020202020204" pitchFamily="34" charset="0"/>
                <a:cs typeface="Arial" panose="020B0604020202020204" pitchFamily="34" charset="0"/>
              </a:rPr>
            </a:br>
            <a:r>
              <a:rPr lang="en-US" noProof="0">
                <a:solidFill>
                  <a:schemeClr val="accent1"/>
                </a:solidFill>
                <a:latin typeface="Arial" panose="020B0604020202020204" pitchFamily="34" charset="0"/>
                <a:cs typeface="Arial" panose="020B0604020202020204" pitchFamily="34" charset="0"/>
              </a:rPr>
              <a:t>fat mass</a:t>
            </a:r>
            <a:r>
              <a:rPr lang="en-US" baseline="30000" noProof="0">
                <a:solidFill>
                  <a:schemeClr val="accent1"/>
                </a:solidFill>
                <a:latin typeface="Arial" panose="020B0604020202020204" pitchFamily="34" charset="0"/>
                <a:cs typeface="Arial" panose="020B0604020202020204" pitchFamily="34" charset="0"/>
              </a:rPr>
              <a:t>2</a:t>
            </a:r>
            <a:endParaRPr lang="en-US" b="1" i="1" noProof="0">
              <a:solidFill>
                <a:schemeClr val="accent1"/>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371BF62A-B69B-5C5D-2822-ACDBA2DA77DA}"/>
              </a:ext>
            </a:extLst>
          </p:cNvPr>
          <p:cNvSpPr txBox="1"/>
          <p:nvPr/>
        </p:nvSpPr>
        <p:spPr>
          <a:xfrm>
            <a:off x="589293" y="5362149"/>
            <a:ext cx="4390930" cy="461665"/>
          </a:xfrm>
          <a:prstGeom prst="rect">
            <a:avLst/>
          </a:prstGeom>
          <a:noFill/>
        </p:spPr>
        <p:txBody>
          <a:bodyPr wrap="square" rtlCol="0">
            <a:spAutoFit/>
          </a:bodyPr>
          <a:lstStyle/>
          <a:p>
            <a:pPr algn="ctr"/>
            <a:r>
              <a:rPr lang="en-US" sz="1200" noProof="0">
                <a:solidFill>
                  <a:schemeClr val="accent1"/>
                </a:solidFill>
                <a:latin typeface="Arial" panose="020B0604020202020204" pitchFamily="34" charset="0"/>
                <a:cs typeface="Arial" panose="020B0604020202020204" pitchFamily="34" charset="0"/>
              </a:rPr>
              <a:t>Negative metabolic effects can occur, including weight regain, if muscle mass is not preserved during weight loss</a:t>
            </a:r>
          </a:p>
        </p:txBody>
      </p:sp>
      <p:sp>
        <p:nvSpPr>
          <p:cNvPr id="41" name="Rectangle: Rounded Corners 40">
            <a:extLst>
              <a:ext uri="{FF2B5EF4-FFF2-40B4-BE49-F238E27FC236}">
                <a16:creationId xmlns:a16="http://schemas.microsoft.com/office/drawing/2014/main" id="{BE5B0FE5-207F-88D2-21EE-EBE7E72A00E1}"/>
              </a:ext>
            </a:extLst>
          </p:cNvPr>
          <p:cNvSpPr/>
          <p:nvPr/>
        </p:nvSpPr>
        <p:spPr>
          <a:xfrm>
            <a:off x="4352224" y="1761505"/>
            <a:ext cx="3503996" cy="341616"/>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267"/>
              </a:spcAft>
              <a:defRPr/>
            </a:pPr>
            <a:r>
              <a:rPr lang="en-US" sz="1600" b="1" kern="0" noProof="0">
                <a:latin typeface="Arial" panose="020B0604020202020204" pitchFamily="34" charset="0"/>
                <a:cs typeface="Arial" panose="020B0604020202020204" pitchFamily="34" charset="0"/>
              </a:rPr>
              <a:t>Metabolic adaptation</a:t>
            </a:r>
            <a:r>
              <a:rPr lang="en-US" sz="1600" b="1" kern="0" baseline="30000" noProof="0">
                <a:latin typeface="Arial" panose="020B0604020202020204" pitchFamily="34" charset="0"/>
                <a:cs typeface="Arial" panose="020B0604020202020204" pitchFamily="34" charset="0"/>
              </a:rPr>
              <a:t>1</a:t>
            </a:r>
            <a:endParaRPr lang="en-US" sz="1600" b="1" kern="0" noProof="0">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0672EEAB-E7C5-A92E-EBEE-01A86487E4C8}"/>
              </a:ext>
            </a:extLst>
          </p:cNvPr>
          <p:cNvSpPr/>
          <p:nvPr/>
        </p:nvSpPr>
        <p:spPr>
          <a:xfrm>
            <a:off x="6096000" y="3062983"/>
            <a:ext cx="6104222" cy="279679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2" name="Rectangle 21">
            <a:extLst>
              <a:ext uri="{FF2B5EF4-FFF2-40B4-BE49-F238E27FC236}">
                <a16:creationId xmlns:a16="http://schemas.microsoft.com/office/drawing/2014/main" id="{1618D0FD-7B14-EFBA-2BB8-124EDD91CFA0}"/>
              </a:ext>
            </a:extLst>
          </p:cNvPr>
          <p:cNvSpPr/>
          <p:nvPr/>
        </p:nvSpPr>
        <p:spPr>
          <a:xfrm>
            <a:off x="6194773" y="3212532"/>
            <a:ext cx="5445176" cy="26199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spcAft>
                <a:spcPts val="600"/>
              </a:spcAft>
            </a:pPr>
            <a:r>
              <a:rPr lang="en-US" b="1" noProof="0">
                <a:solidFill>
                  <a:schemeClr val="tx1"/>
                </a:solidFill>
                <a:latin typeface="Arial" panose="020B0604020202020204" pitchFamily="34" charset="0"/>
                <a:cs typeface="Arial" panose="020B0604020202020204" pitchFamily="34" charset="0"/>
              </a:rPr>
              <a:t>Metabolic effects of weight loss through </a:t>
            </a:r>
            <a:br>
              <a:rPr lang="en-US" b="1" noProof="0">
                <a:solidFill>
                  <a:schemeClr val="tx1"/>
                </a:solidFill>
                <a:latin typeface="Arial" panose="020B0604020202020204" pitchFamily="34" charset="0"/>
                <a:cs typeface="Arial" panose="020B0604020202020204" pitchFamily="34" charset="0"/>
              </a:rPr>
            </a:br>
            <a:r>
              <a:rPr lang="en-US" b="1" noProof="0">
                <a:solidFill>
                  <a:schemeClr val="tx1"/>
                </a:solidFill>
                <a:latin typeface="Arial" panose="020B0604020202020204" pitchFamily="34" charset="0"/>
                <a:cs typeface="Arial" panose="020B0604020202020204" pitchFamily="34" charset="0"/>
              </a:rPr>
              <a:t>physical activity and exercise training</a:t>
            </a:r>
            <a:r>
              <a:rPr lang="en-US" b="1" baseline="30000" noProof="0">
                <a:solidFill>
                  <a:schemeClr val="tx1"/>
                </a:solidFill>
                <a:latin typeface="Arial" panose="020B0604020202020204" pitchFamily="34" charset="0"/>
                <a:cs typeface="Arial" panose="020B0604020202020204" pitchFamily="34" charset="0"/>
              </a:rPr>
              <a:t>1</a:t>
            </a:r>
            <a:endParaRPr lang="en-US" b="1" noProof="0">
              <a:solidFill>
                <a:schemeClr val="tx1"/>
              </a:solidFill>
              <a:latin typeface="Arial" panose="020B0604020202020204" pitchFamily="34" charset="0"/>
              <a:cs typeface="Arial" panose="020B0604020202020204" pitchFamily="34" charset="0"/>
            </a:endParaRPr>
          </a:p>
          <a:p>
            <a:pPr algn="ctr"/>
            <a:r>
              <a:rPr lang="en-US" sz="1600" noProof="0">
                <a:solidFill>
                  <a:schemeClr val="tx1"/>
                </a:solidFill>
                <a:latin typeface="Arial" panose="020B0604020202020204" pitchFamily="34" charset="0"/>
                <a:cs typeface="Arial" panose="020B0604020202020204" pitchFamily="34" charset="0"/>
              </a:rPr>
              <a:t>Exercise stimulates a negative energy balance and induces a restructuring of body fat, which subsequently </a:t>
            </a:r>
            <a:r>
              <a:rPr lang="en-US" sz="1600" i="1" noProof="0">
                <a:solidFill>
                  <a:schemeClr val="tx1"/>
                </a:solidFill>
                <a:latin typeface="Arial" panose="020B0604020202020204" pitchFamily="34" charset="0"/>
                <a:cs typeface="Arial" panose="020B0604020202020204" pitchFamily="34" charset="0"/>
              </a:rPr>
              <a:t>promotes an increase in muscle mass</a:t>
            </a:r>
            <a:r>
              <a:rPr lang="en-US" sz="1600" noProof="0">
                <a:solidFill>
                  <a:schemeClr val="tx1"/>
                </a:solidFill>
                <a:latin typeface="Arial" panose="020B0604020202020204" pitchFamily="34" charset="0"/>
                <a:cs typeface="Arial" panose="020B0604020202020204" pitchFamily="34" charset="0"/>
              </a:rPr>
              <a:t>. This can be maintained through regular exercise training in addition to healthy eating habits, optimal sleep cycles, and relaxation</a:t>
            </a:r>
          </a:p>
          <a:p>
            <a:pPr algn="ctr"/>
            <a:endParaRPr lang="en-US" sz="600" noProof="0">
              <a:solidFill>
                <a:schemeClr val="tx1"/>
              </a:solidFill>
              <a:latin typeface="Arial" panose="020B0604020202020204" pitchFamily="34" charset="0"/>
              <a:cs typeface="Arial" panose="020B0604020202020204" pitchFamily="34" charset="0"/>
            </a:endParaRPr>
          </a:p>
        </p:txBody>
      </p:sp>
      <p:sp>
        <p:nvSpPr>
          <p:cNvPr id="23" name="Freeform 169">
            <a:extLst>
              <a:ext uri="{FF2B5EF4-FFF2-40B4-BE49-F238E27FC236}">
                <a16:creationId xmlns:a16="http://schemas.microsoft.com/office/drawing/2014/main" id="{B0DBE342-5EDE-8149-904B-AABB727094C0}"/>
              </a:ext>
            </a:extLst>
          </p:cNvPr>
          <p:cNvSpPr>
            <a:spLocks noEditPoints="1"/>
          </p:cNvSpPr>
          <p:nvPr/>
        </p:nvSpPr>
        <p:spPr bwMode="auto">
          <a:xfrm>
            <a:off x="8541654" y="3305987"/>
            <a:ext cx="583307" cy="470496"/>
          </a:xfrm>
          <a:custGeom>
            <a:avLst/>
            <a:gdLst>
              <a:gd name="T0" fmla="*/ 93 w 280"/>
              <a:gd name="T1" fmla="*/ 21 h 235"/>
              <a:gd name="T2" fmla="*/ 135 w 280"/>
              <a:gd name="T3" fmla="*/ 21 h 235"/>
              <a:gd name="T4" fmla="*/ 70 w 280"/>
              <a:gd name="T5" fmla="*/ 93 h 235"/>
              <a:gd name="T6" fmla="*/ 70 w 280"/>
              <a:gd name="T7" fmla="*/ 77 h 235"/>
              <a:gd name="T8" fmla="*/ 136 w 280"/>
              <a:gd name="T9" fmla="*/ 34 h 235"/>
              <a:gd name="T10" fmla="*/ 203 w 280"/>
              <a:gd name="T11" fmla="*/ 83 h 235"/>
              <a:gd name="T12" fmla="*/ 195 w 280"/>
              <a:gd name="T13" fmla="*/ 111 h 235"/>
              <a:gd name="T14" fmla="*/ 223 w 280"/>
              <a:gd name="T15" fmla="*/ 122 h 235"/>
              <a:gd name="T16" fmla="*/ 223 w 280"/>
              <a:gd name="T17" fmla="*/ 235 h 235"/>
              <a:gd name="T18" fmla="*/ 194 w 280"/>
              <a:gd name="T19" fmla="*/ 130 h 235"/>
              <a:gd name="T20" fmla="*/ 154 w 280"/>
              <a:gd name="T21" fmla="*/ 136 h 235"/>
              <a:gd name="T22" fmla="*/ 141 w 280"/>
              <a:gd name="T23" fmla="*/ 194 h 235"/>
              <a:gd name="T24" fmla="*/ 128 w 280"/>
              <a:gd name="T25" fmla="*/ 122 h 235"/>
              <a:gd name="T26" fmla="*/ 139 w 280"/>
              <a:gd name="T27" fmla="*/ 107 h 235"/>
              <a:gd name="T28" fmla="*/ 134 w 280"/>
              <a:gd name="T29" fmla="*/ 66 h 235"/>
              <a:gd name="T30" fmla="*/ 113 w 280"/>
              <a:gd name="T31" fmla="*/ 93 h 235"/>
              <a:gd name="T32" fmla="*/ 178 w 280"/>
              <a:gd name="T33" fmla="*/ 178 h 235"/>
              <a:gd name="T34" fmla="*/ 269 w 280"/>
              <a:gd name="T35" fmla="*/ 179 h 235"/>
              <a:gd name="T36" fmla="*/ 208 w 280"/>
              <a:gd name="T37" fmla="*/ 136 h 235"/>
              <a:gd name="T38" fmla="*/ 228 w 280"/>
              <a:gd name="T39" fmla="*/ 167 h 235"/>
              <a:gd name="T40" fmla="*/ 228 w 280"/>
              <a:gd name="T41" fmla="*/ 188 h 235"/>
              <a:gd name="T42" fmla="*/ 218 w 280"/>
              <a:gd name="T43" fmla="*/ 173 h 235"/>
              <a:gd name="T44" fmla="*/ 178 w 280"/>
              <a:gd name="T45" fmla="*/ 178 h 235"/>
              <a:gd name="T46" fmla="*/ 67 w 280"/>
              <a:gd name="T47" fmla="*/ 123 h 235"/>
              <a:gd name="T48" fmla="*/ 81 w 280"/>
              <a:gd name="T49" fmla="*/ 108 h 235"/>
              <a:gd name="T50" fmla="*/ 113 w 280"/>
              <a:gd name="T51" fmla="*/ 178 h 235"/>
              <a:gd name="T52" fmla="*/ 1 w 280"/>
              <a:gd name="T53" fmla="*/ 178 h 235"/>
              <a:gd name="T54" fmla="*/ 57 w 280"/>
              <a:gd name="T55" fmla="*/ 224 h 235"/>
              <a:gd name="T56" fmla="*/ 74 w 280"/>
              <a:gd name="T57" fmla="*/ 136 h 235"/>
              <a:gd name="T58" fmla="*/ 54 w 280"/>
              <a:gd name="T59" fmla="*/ 176 h 235"/>
              <a:gd name="T60" fmla="*/ 57 w 280"/>
              <a:gd name="T61" fmla="*/ 133 h 235"/>
              <a:gd name="T62" fmla="*/ 57 w 280"/>
              <a:gd name="T63" fmla="*/ 22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35">
                <a:moveTo>
                  <a:pt x="114" y="41"/>
                </a:moveTo>
                <a:cubicBezTo>
                  <a:pt x="103" y="41"/>
                  <a:pt x="93" y="32"/>
                  <a:pt x="93" y="21"/>
                </a:cubicBezTo>
                <a:cubicBezTo>
                  <a:pt x="93" y="9"/>
                  <a:pt x="103" y="0"/>
                  <a:pt x="114" y="0"/>
                </a:cubicBezTo>
                <a:cubicBezTo>
                  <a:pt x="126" y="0"/>
                  <a:pt x="135" y="9"/>
                  <a:pt x="135" y="21"/>
                </a:cubicBezTo>
                <a:cubicBezTo>
                  <a:pt x="135" y="32"/>
                  <a:pt x="125" y="42"/>
                  <a:pt x="114" y="41"/>
                </a:cubicBezTo>
                <a:close/>
                <a:moveTo>
                  <a:pt x="70" y="93"/>
                </a:moveTo>
                <a:cubicBezTo>
                  <a:pt x="65" y="93"/>
                  <a:pt x="62" y="90"/>
                  <a:pt x="62" y="85"/>
                </a:cubicBezTo>
                <a:cubicBezTo>
                  <a:pt x="62" y="80"/>
                  <a:pt x="65" y="77"/>
                  <a:pt x="70" y="77"/>
                </a:cubicBezTo>
                <a:cubicBezTo>
                  <a:pt x="108" y="77"/>
                  <a:pt x="108" y="77"/>
                  <a:pt x="108" y="77"/>
                </a:cubicBezTo>
                <a:cubicBezTo>
                  <a:pt x="136" y="34"/>
                  <a:pt x="136" y="34"/>
                  <a:pt x="136" y="34"/>
                </a:cubicBezTo>
                <a:cubicBezTo>
                  <a:pt x="140" y="27"/>
                  <a:pt x="149" y="27"/>
                  <a:pt x="153" y="32"/>
                </a:cubicBezTo>
                <a:cubicBezTo>
                  <a:pt x="203" y="83"/>
                  <a:pt x="203" y="83"/>
                  <a:pt x="203" y="83"/>
                </a:cubicBezTo>
                <a:cubicBezTo>
                  <a:pt x="211" y="92"/>
                  <a:pt x="208" y="103"/>
                  <a:pt x="200" y="109"/>
                </a:cubicBezTo>
                <a:cubicBezTo>
                  <a:pt x="195" y="111"/>
                  <a:pt x="195" y="111"/>
                  <a:pt x="195" y="111"/>
                </a:cubicBezTo>
                <a:cubicBezTo>
                  <a:pt x="203" y="126"/>
                  <a:pt x="203" y="126"/>
                  <a:pt x="203" y="126"/>
                </a:cubicBezTo>
                <a:cubicBezTo>
                  <a:pt x="209" y="123"/>
                  <a:pt x="216" y="122"/>
                  <a:pt x="223" y="122"/>
                </a:cubicBezTo>
                <a:cubicBezTo>
                  <a:pt x="254" y="122"/>
                  <a:pt x="280" y="147"/>
                  <a:pt x="279" y="179"/>
                </a:cubicBezTo>
                <a:cubicBezTo>
                  <a:pt x="279" y="210"/>
                  <a:pt x="254" y="235"/>
                  <a:pt x="223" y="235"/>
                </a:cubicBezTo>
                <a:cubicBezTo>
                  <a:pt x="192" y="235"/>
                  <a:pt x="167" y="209"/>
                  <a:pt x="167" y="178"/>
                </a:cubicBezTo>
                <a:cubicBezTo>
                  <a:pt x="167" y="158"/>
                  <a:pt x="178" y="140"/>
                  <a:pt x="194" y="130"/>
                </a:cubicBezTo>
                <a:cubicBezTo>
                  <a:pt x="187" y="116"/>
                  <a:pt x="187" y="116"/>
                  <a:pt x="187" y="116"/>
                </a:cubicBezTo>
                <a:cubicBezTo>
                  <a:pt x="154" y="136"/>
                  <a:pt x="154" y="136"/>
                  <a:pt x="154" y="136"/>
                </a:cubicBezTo>
                <a:cubicBezTo>
                  <a:pt x="154" y="181"/>
                  <a:pt x="154" y="181"/>
                  <a:pt x="154" y="181"/>
                </a:cubicBezTo>
                <a:cubicBezTo>
                  <a:pt x="154" y="188"/>
                  <a:pt x="148" y="194"/>
                  <a:pt x="141" y="194"/>
                </a:cubicBezTo>
                <a:cubicBezTo>
                  <a:pt x="134" y="194"/>
                  <a:pt x="128" y="188"/>
                  <a:pt x="128" y="181"/>
                </a:cubicBezTo>
                <a:cubicBezTo>
                  <a:pt x="128" y="122"/>
                  <a:pt x="128" y="122"/>
                  <a:pt x="128" y="122"/>
                </a:cubicBezTo>
                <a:cubicBezTo>
                  <a:pt x="128" y="114"/>
                  <a:pt x="133" y="110"/>
                  <a:pt x="139" y="107"/>
                </a:cubicBezTo>
                <a:cubicBezTo>
                  <a:pt x="139" y="107"/>
                  <a:pt x="139" y="107"/>
                  <a:pt x="139" y="107"/>
                </a:cubicBezTo>
                <a:cubicBezTo>
                  <a:pt x="161" y="93"/>
                  <a:pt x="161" y="93"/>
                  <a:pt x="161" y="93"/>
                </a:cubicBezTo>
                <a:cubicBezTo>
                  <a:pt x="134" y="66"/>
                  <a:pt x="134" y="66"/>
                  <a:pt x="134" y="66"/>
                </a:cubicBezTo>
                <a:cubicBezTo>
                  <a:pt x="120" y="90"/>
                  <a:pt x="120" y="90"/>
                  <a:pt x="120" y="90"/>
                </a:cubicBezTo>
                <a:cubicBezTo>
                  <a:pt x="118" y="92"/>
                  <a:pt x="116" y="93"/>
                  <a:pt x="113" y="93"/>
                </a:cubicBezTo>
                <a:cubicBezTo>
                  <a:pt x="113" y="93"/>
                  <a:pt x="70" y="93"/>
                  <a:pt x="70" y="93"/>
                </a:cubicBezTo>
                <a:close/>
                <a:moveTo>
                  <a:pt x="178" y="178"/>
                </a:moveTo>
                <a:cubicBezTo>
                  <a:pt x="178" y="203"/>
                  <a:pt x="198" y="224"/>
                  <a:pt x="223" y="224"/>
                </a:cubicBezTo>
                <a:cubicBezTo>
                  <a:pt x="248" y="224"/>
                  <a:pt x="268" y="204"/>
                  <a:pt x="269" y="179"/>
                </a:cubicBezTo>
                <a:cubicBezTo>
                  <a:pt x="269" y="153"/>
                  <a:pt x="248" y="133"/>
                  <a:pt x="223" y="133"/>
                </a:cubicBezTo>
                <a:cubicBezTo>
                  <a:pt x="218" y="133"/>
                  <a:pt x="213" y="134"/>
                  <a:pt x="208" y="136"/>
                </a:cubicBezTo>
                <a:cubicBezTo>
                  <a:pt x="226" y="167"/>
                  <a:pt x="226" y="167"/>
                  <a:pt x="226" y="167"/>
                </a:cubicBezTo>
                <a:cubicBezTo>
                  <a:pt x="227" y="167"/>
                  <a:pt x="227" y="167"/>
                  <a:pt x="228" y="167"/>
                </a:cubicBezTo>
                <a:cubicBezTo>
                  <a:pt x="234" y="167"/>
                  <a:pt x="239" y="171"/>
                  <a:pt x="239" y="177"/>
                </a:cubicBezTo>
                <a:cubicBezTo>
                  <a:pt x="239" y="183"/>
                  <a:pt x="234" y="188"/>
                  <a:pt x="228" y="188"/>
                </a:cubicBezTo>
                <a:cubicBezTo>
                  <a:pt x="223" y="188"/>
                  <a:pt x="218" y="183"/>
                  <a:pt x="218" y="177"/>
                </a:cubicBezTo>
                <a:cubicBezTo>
                  <a:pt x="218" y="176"/>
                  <a:pt x="218" y="175"/>
                  <a:pt x="218" y="173"/>
                </a:cubicBezTo>
                <a:cubicBezTo>
                  <a:pt x="200" y="140"/>
                  <a:pt x="200" y="140"/>
                  <a:pt x="200" y="140"/>
                </a:cubicBezTo>
                <a:cubicBezTo>
                  <a:pt x="187" y="148"/>
                  <a:pt x="178" y="162"/>
                  <a:pt x="178" y="178"/>
                </a:cubicBezTo>
                <a:close/>
                <a:moveTo>
                  <a:pt x="57" y="122"/>
                </a:moveTo>
                <a:cubicBezTo>
                  <a:pt x="61" y="122"/>
                  <a:pt x="64" y="122"/>
                  <a:pt x="67" y="123"/>
                </a:cubicBezTo>
                <a:cubicBezTo>
                  <a:pt x="72" y="105"/>
                  <a:pt x="72" y="105"/>
                  <a:pt x="72" y="105"/>
                </a:cubicBezTo>
                <a:cubicBezTo>
                  <a:pt x="81" y="108"/>
                  <a:pt x="81" y="108"/>
                  <a:pt x="81" y="108"/>
                </a:cubicBezTo>
                <a:cubicBezTo>
                  <a:pt x="76" y="125"/>
                  <a:pt x="76" y="125"/>
                  <a:pt x="76" y="125"/>
                </a:cubicBezTo>
                <a:cubicBezTo>
                  <a:pt x="98" y="133"/>
                  <a:pt x="113" y="154"/>
                  <a:pt x="113" y="178"/>
                </a:cubicBezTo>
                <a:cubicBezTo>
                  <a:pt x="113" y="209"/>
                  <a:pt x="88" y="235"/>
                  <a:pt x="57" y="234"/>
                </a:cubicBezTo>
                <a:cubicBezTo>
                  <a:pt x="26" y="234"/>
                  <a:pt x="0" y="209"/>
                  <a:pt x="1" y="178"/>
                </a:cubicBezTo>
                <a:cubicBezTo>
                  <a:pt x="1" y="147"/>
                  <a:pt x="26" y="122"/>
                  <a:pt x="57" y="122"/>
                </a:cubicBezTo>
                <a:close/>
                <a:moveTo>
                  <a:pt x="57" y="224"/>
                </a:moveTo>
                <a:cubicBezTo>
                  <a:pt x="82" y="224"/>
                  <a:pt x="102" y="203"/>
                  <a:pt x="102" y="178"/>
                </a:cubicBezTo>
                <a:cubicBezTo>
                  <a:pt x="102" y="159"/>
                  <a:pt x="90" y="143"/>
                  <a:pt x="74" y="136"/>
                </a:cubicBezTo>
                <a:cubicBezTo>
                  <a:pt x="63" y="178"/>
                  <a:pt x="63" y="178"/>
                  <a:pt x="63" y="178"/>
                </a:cubicBezTo>
                <a:cubicBezTo>
                  <a:pt x="54" y="176"/>
                  <a:pt x="54" y="176"/>
                  <a:pt x="54" y="176"/>
                </a:cubicBezTo>
                <a:cubicBezTo>
                  <a:pt x="65" y="133"/>
                  <a:pt x="65" y="133"/>
                  <a:pt x="65" y="133"/>
                </a:cubicBezTo>
                <a:cubicBezTo>
                  <a:pt x="62" y="133"/>
                  <a:pt x="60" y="133"/>
                  <a:pt x="57" y="133"/>
                </a:cubicBezTo>
                <a:cubicBezTo>
                  <a:pt x="32" y="133"/>
                  <a:pt x="12" y="153"/>
                  <a:pt x="11" y="178"/>
                </a:cubicBezTo>
                <a:cubicBezTo>
                  <a:pt x="11" y="203"/>
                  <a:pt x="32" y="223"/>
                  <a:pt x="57" y="22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24" name="Freeform 174">
            <a:extLst>
              <a:ext uri="{FF2B5EF4-FFF2-40B4-BE49-F238E27FC236}">
                <a16:creationId xmlns:a16="http://schemas.microsoft.com/office/drawing/2014/main" id="{D75C8294-01D0-0006-B7C5-ACE58B23C612}"/>
              </a:ext>
            </a:extLst>
          </p:cNvPr>
          <p:cNvSpPr>
            <a:spLocks noEditPoints="1"/>
          </p:cNvSpPr>
          <p:nvPr/>
        </p:nvSpPr>
        <p:spPr bwMode="auto">
          <a:xfrm>
            <a:off x="9291838" y="3351315"/>
            <a:ext cx="583307" cy="379840"/>
          </a:xfrm>
          <a:custGeom>
            <a:avLst/>
            <a:gdLst>
              <a:gd name="T0" fmla="*/ 10 w 280"/>
              <a:gd name="T1" fmla="*/ 124 h 173"/>
              <a:gd name="T2" fmla="*/ 47 w 280"/>
              <a:gd name="T3" fmla="*/ 117 h 173"/>
              <a:gd name="T4" fmla="*/ 69 w 280"/>
              <a:gd name="T5" fmla="*/ 131 h 173"/>
              <a:gd name="T6" fmla="*/ 103 w 280"/>
              <a:gd name="T7" fmla="*/ 151 h 173"/>
              <a:gd name="T8" fmla="*/ 110 w 280"/>
              <a:gd name="T9" fmla="*/ 152 h 173"/>
              <a:gd name="T10" fmla="*/ 117 w 280"/>
              <a:gd name="T11" fmla="*/ 152 h 173"/>
              <a:gd name="T12" fmla="*/ 143 w 280"/>
              <a:gd name="T13" fmla="*/ 144 h 173"/>
              <a:gd name="T14" fmla="*/ 192 w 280"/>
              <a:gd name="T15" fmla="*/ 109 h 173"/>
              <a:gd name="T16" fmla="*/ 207 w 280"/>
              <a:gd name="T17" fmla="*/ 103 h 173"/>
              <a:gd name="T18" fmla="*/ 247 w 280"/>
              <a:gd name="T19" fmla="*/ 108 h 173"/>
              <a:gd name="T20" fmla="*/ 275 w 280"/>
              <a:gd name="T21" fmla="*/ 134 h 173"/>
              <a:gd name="T22" fmla="*/ 280 w 280"/>
              <a:gd name="T23" fmla="*/ 147 h 173"/>
              <a:gd name="T24" fmla="*/ 273 w 280"/>
              <a:gd name="T25" fmla="*/ 135 h 173"/>
              <a:gd name="T26" fmla="*/ 244 w 280"/>
              <a:gd name="T27" fmla="*/ 114 h 173"/>
              <a:gd name="T28" fmla="*/ 209 w 280"/>
              <a:gd name="T29" fmla="*/ 112 h 173"/>
              <a:gd name="T30" fmla="*/ 198 w 280"/>
              <a:gd name="T31" fmla="*/ 118 h 173"/>
              <a:gd name="T32" fmla="*/ 149 w 280"/>
              <a:gd name="T33" fmla="*/ 154 h 173"/>
              <a:gd name="T34" fmla="*/ 113 w 280"/>
              <a:gd name="T35" fmla="*/ 163 h 173"/>
              <a:gd name="T36" fmla="*/ 105 w 280"/>
              <a:gd name="T37" fmla="*/ 162 h 173"/>
              <a:gd name="T38" fmla="*/ 86 w 280"/>
              <a:gd name="T39" fmla="*/ 156 h 173"/>
              <a:gd name="T40" fmla="*/ 64 w 280"/>
              <a:gd name="T41" fmla="*/ 138 h 173"/>
              <a:gd name="T42" fmla="*/ 56 w 280"/>
              <a:gd name="T43" fmla="*/ 131 h 173"/>
              <a:gd name="T44" fmla="*/ 45 w 280"/>
              <a:gd name="T45" fmla="*/ 123 h 173"/>
              <a:gd name="T46" fmla="*/ 11 w 280"/>
              <a:gd name="T47" fmla="*/ 125 h 173"/>
              <a:gd name="T48" fmla="*/ 0 w 280"/>
              <a:gd name="T49" fmla="*/ 133 h 173"/>
              <a:gd name="T50" fmla="*/ 132 w 280"/>
              <a:gd name="T51" fmla="*/ 169 h 173"/>
              <a:gd name="T52" fmla="*/ 131 w 280"/>
              <a:gd name="T53" fmla="*/ 169 h 173"/>
              <a:gd name="T54" fmla="*/ 138 w 280"/>
              <a:gd name="T55" fmla="*/ 172 h 173"/>
              <a:gd name="T56" fmla="*/ 151 w 280"/>
              <a:gd name="T57" fmla="*/ 173 h 173"/>
              <a:gd name="T58" fmla="*/ 161 w 280"/>
              <a:gd name="T59" fmla="*/ 171 h 173"/>
              <a:gd name="T60" fmla="*/ 182 w 280"/>
              <a:gd name="T61" fmla="*/ 160 h 173"/>
              <a:gd name="T62" fmla="*/ 197 w 280"/>
              <a:gd name="T63" fmla="*/ 148 h 173"/>
              <a:gd name="T64" fmla="*/ 211 w 280"/>
              <a:gd name="T65" fmla="*/ 138 h 173"/>
              <a:gd name="T66" fmla="*/ 223 w 280"/>
              <a:gd name="T67" fmla="*/ 133 h 173"/>
              <a:gd name="T68" fmla="*/ 230 w 280"/>
              <a:gd name="T69" fmla="*/ 133 h 173"/>
              <a:gd name="T70" fmla="*/ 237 w 280"/>
              <a:gd name="T71" fmla="*/ 135 h 173"/>
              <a:gd name="T72" fmla="*/ 243 w 280"/>
              <a:gd name="T73" fmla="*/ 139 h 173"/>
              <a:gd name="T74" fmla="*/ 246 w 280"/>
              <a:gd name="T75" fmla="*/ 143 h 173"/>
              <a:gd name="T76" fmla="*/ 245 w 280"/>
              <a:gd name="T77" fmla="*/ 140 h 173"/>
              <a:gd name="T78" fmla="*/ 241 w 280"/>
              <a:gd name="T79" fmla="*/ 136 h 173"/>
              <a:gd name="T80" fmla="*/ 235 w 280"/>
              <a:gd name="T81" fmla="*/ 131 h 173"/>
              <a:gd name="T82" fmla="*/ 220 w 280"/>
              <a:gd name="T83" fmla="*/ 129 h 173"/>
              <a:gd name="T84" fmla="*/ 198 w 280"/>
              <a:gd name="T85" fmla="*/ 139 h 173"/>
              <a:gd name="T86" fmla="*/ 188 w 280"/>
              <a:gd name="T87" fmla="*/ 148 h 173"/>
              <a:gd name="T88" fmla="*/ 174 w 280"/>
              <a:gd name="T89" fmla="*/ 159 h 173"/>
              <a:gd name="T90" fmla="*/ 160 w 280"/>
              <a:gd name="T91" fmla="*/ 167 h 173"/>
              <a:gd name="T92" fmla="*/ 142 w 280"/>
              <a:gd name="T93" fmla="*/ 170 h 173"/>
              <a:gd name="T94" fmla="*/ 136 w 280"/>
              <a:gd name="T95" fmla="*/ 170 h 173"/>
              <a:gd name="T96" fmla="*/ 192 w 280"/>
              <a:gd name="T97" fmla="*/ 101 h 173"/>
              <a:gd name="T98" fmla="*/ 136 w 280"/>
              <a:gd name="T99" fmla="*/ 91 h 173"/>
              <a:gd name="T100" fmla="*/ 87 w 280"/>
              <a:gd name="T101" fmla="*/ 24 h 173"/>
              <a:gd name="T102" fmla="*/ 120 w 280"/>
              <a:gd name="T103" fmla="*/ 68 h 173"/>
              <a:gd name="T104" fmla="*/ 119 w 280"/>
              <a:gd name="T105" fmla="*/ 129 h 173"/>
              <a:gd name="T106" fmla="*/ 88 w 280"/>
              <a:gd name="T107" fmla="*/ 92 h 173"/>
              <a:gd name="T108" fmla="*/ 41 w 280"/>
              <a:gd name="T109" fmla="*/ 92 h 173"/>
              <a:gd name="T110" fmla="*/ 88 w 280"/>
              <a:gd name="T111" fmla="*/ 9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73">
                <a:moveTo>
                  <a:pt x="2" y="131"/>
                </a:moveTo>
                <a:cubicBezTo>
                  <a:pt x="4" y="129"/>
                  <a:pt x="6" y="126"/>
                  <a:pt x="10" y="124"/>
                </a:cubicBezTo>
                <a:cubicBezTo>
                  <a:pt x="14" y="121"/>
                  <a:pt x="18" y="118"/>
                  <a:pt x="25" y="116"/>
                </a:cubicBezTo>
                <a:cubicBezTo>
                  <a:pt x="31" y="114"/>
                  <a:pt x="39" y="114"/>
                  <a:pt x="47" y="117"/>
                </a:cubicBezTo>
                <a:cubicBezTo>
                  <a:pt x="51" y="119"/>
                  <a:pt x="55" y="121"/>
                  <a:pt x="59" y="123"/>
                </a:cubicBezTo>
                <a:cubicBezTo>
                  <a:pt x="62" y="126"/>
                  <a:pt x="66" y="129"/>
                  <a:pt x="69" y="131"/>
                </a:cubicBezTo>
                <a:cubicBezTo>
                  <a:pt x="76" y="137"/>
                  <a:pt x="83" y="143"/>
                  <a:pt x="91" y="147"/>
                </a:cubicBezTo>
                <a:cubicBezTo>
                  <a:pt x="95" y="149"/>
                  <a:pt x="99" y="150"/>
                  <a:pt x="103" y="151"/>
                </a:cubicBezTo>
                <a:cubicBezTo>
                  <a:pt x="104" y="151"/>
                  <a:pt x="105" y="152"/>
                  <a:pt x="107" y="152"/>
                </a:cubicBezTo>
                <a:cubicBezTo>
                  <a:pt x="108" y="152"/>
                  <a:pt x="109" y="152"/>
                  <a:pt x="110" y="152"/>
                </a:cubicBezTo>
                <a:cubicBezTo>
                  <a:pt x="111" y="152"/>
                  <a:pt x="112" y="152"/>
                  <a:pt x="113" y="152"/>
                </a:cubicBezTo>
                <a:cubicBezTo>
                  <a:pt x="117" y="152"/>
                  <a:pt x="117" y="152"/>
                  <a:pt x="117" y="152"/>
                </a:cubicBezTo>
                <a:cubicBezTo>
                  <a:pt x="121" y="152"/>
                  <a:pt x="126" y="151"/>
                  <a:pt x="130" y="150"/>
                </a:cubicBezTo>
                <a:cubicBezTo>
                  <a:pt x="135" y="148"/>
                  <a:pt x="139" y="146"/>
                  <a:pt x="143" y="144"/>
                </a:cubicBezTo>
                <a:cubicBezTo>
                  <a:pt x="152" y="139"/>
                  <a:pt x="160" y="133"/>
                  <a:pt x="168" y="127"/>
                </a:cubicBezTo>
                <a:cubicBezTo>
                  <a:pt x="175" y="120"/>
                  <a:pt x="184" y="114"/>
                  <a:pt x="192" y="109"/>
                </a:cubicBezTo>
                <a:cubicBezTo>
                  <a:pt x="195" y="108"/>
                  <a:pt x="197" y="107"/>
                  <a:pt x="199" y="106"/>
                </a:cubicBezTo>
                <a:cubicBezTo>
                  <a:pt x="202" y="105"/>
                  <a:pt x="204" y="104"/>
                  <a:pt x="207" y="103"/>
                </a:cubicBezTo>
                <a:cubicBezTo>
                  <a:pt x="212" y="102"/>
                  <a:pt x="217" y="102"/>
                  <a:pt x="221" y="102"/>
                </a:cubicBezTo>
                <a:cubicBezTo>
                  <a:pt x="231" y="102"/>
                  <a:pt x="240" y="104"/>
                  <a:pt x="247" y="108"/>
                </a:cubicBezTo>
                <a:cubicBezTo>
                  <a:pt x="254" y="111"/>
                  <a:pt x="260" y="116"/>
                  <a:pt x="265" y="120"/>
                </a:cubicBezTo>
                <a:cubicBezTo>
                  <a:pt x="269" y="125"/>
                  <a:pt x="273" y="130"/>
                  <a:pt x="275" y="134"/>
                </a:cubicBezTo>
                <a:cubicBezTo>
                  <a:pt x="277" y="138"/>
                  <a:pt x="278" y="141"/>
                  <a:pt x="279" y="143"/>
                </a:cubicBezTo>
                <a:cubicBezTo>
                  <a:pt x="280" y="146"/>
                  <a:pt x="280" y="147"/>
                  <a:pt x="280" y="147"/>
                </a:cubicBezTo>
                <a:cubicBezTo>
                  <a:pt x="280" y="147"/>
                  <a:pt x="280" y="146"/>
                  <a:pt x="279" y="144"/>
                </a:cubicBezTo>
                <a:cubicBezTo>
                  <a:pt x="277" y="142"/>
                  <a:pt x="276" y="139"/>
                  <a:pt x="273" y="135"/>
                </a:cubicBezTo>
                <a:cubicBezTo>
                  <a:pt x="270" y="132"/>
                  <a:pt x="267" y="128"/>
                  <a:pt x="262" y="124"/>
                </a:cubicBezTo>
                <a:cubicBezTo>
                  <a:pt x="257" y="120"/>
                  <a:pt x="251" y="117"/>
                  <a:pt x="244" y="114"/>
                </a:cubicBezTo>
                <a:cubicBezTo>
                  <a:pt x="238" y="112"/>
                  <a:pt x="230" y="110"/>
                  <a:pt x="221" y="111"/>
                </a:cubicBezTo>
                <a:cubicBezTo>
                  <a:pt x="217" y="111"/>
                  <a:pt x="213" y="111"/>
                  <a:pt x="209" y="112"/>
                </a:cubicBezTo>
                <a:cubicBezTo>
                  <a:pt x="207" y="113"/>
                  <a:pt x="205" y="114"/>
                  <a:pt x="204" y="115"/>
                </a:cubicBezTo>
                <a:cubicBezTo>
                  <a:pt x="201" y="116"/>
                  <a:pt x="200" y="117"/>
                  <a:pt x="198" y="118"/>
                </a:cubicBezTo>
                <a:cubicBezTo>
                  <a:pt x="190" y="123"/>
                  <a:pt x="182" y="129"/>
                  <a:pt x="175" y="136"/>
                </a:cubicBezTo>
                <a:cubicBezTo>
                  <a:pt x="167" y="142"/>
                  <a:pt x="159" y="149"/>
                  <a:pt x="149" y="154"/>
                </a:cubicBezTo>
                <a:cubicBezTo>
                  <a:pt x="139" y="159"/>
                  <a:pt x="128" y="163"/>
                  <a:pt x="117" y="163"/>
                </a:cubicBezTo>
                <a:cubicBezTo>
                  <a:pt x="113" y="163"/>
                  <a:pt x="113" y="163"/>
                  <a:pt x="113" y="163"/>
                </a:cubicBezTo>
                <a:cubicBezTo>
                  <a:pt x="112" y="163"/>
                  <a:pt x="110" y="163"/>
                  <a:pt x="109" y="163"/>
                </a:cubicBezTo>
                <a:cubicBezTo>
                  <a:pt x="108" y="163"/>
                  <a:pt x="106" y="163"/>
                  <a:pt x="105" y="162"/>
                </a:cubicBezTo>
                <a:cubicBezTo>
                  <a:pt x="104" y="162"/>
                  <a:pt x="102" y="162"/>
                  <a:pt x="101" y="162"/>
                </a:cubicBezTo>
                <a:cubicBezTo>
                  <a:pt x="96" y="160"/>
                  <a:pt x="91" y="158"/>
                  <a:pt x="86" y="156"/>
                </a:cubicBezTo>
                <a:cubicBezTo>
                  <a:pt x="81" y="153"/>
                  <a:pt x="77" y="150"/>
                  <a:pt x="74" y="147"/>
                </a:cubicBezTo>
                <a:cubicBezTo>
                  <a:pt x="70" y="144"/>
                  <a:pt x="67" y="141"/>
                  <a:pt x="64" y="138"/>
                </a:cubicBezTo>
                <a:cubicBezTo>
                  <a:pt x="62" y="136"/>
                  <a:pt x="60" y="135"/>
                  <a:pt x="59" y="133"/>
                </a:cubicBezTo>
                <a:cubicBezTo>
                  <a:pt x="58" y="133"/>
                  <a:pt x="57" y="132"/>
                  <a:pt x="56" y="131"/>
                </a:cubicBezTo>
                <a:cubicBezTo>
                  <a:pt x="56" y="131"/>
                  <a:pt x="55" y="130"/>
                  <a:pt x="54" y="129"/>
                </a:cubicBezTo>
                <a:cubicBezTo>
                  <a:pt x="51" y="127"/>
                  <a:pt x="48" y="125"/>
                  <a:pt x="45" y="123"/>
                </a:cubicBezTo>
                <a:cubicBezTo>
                  <a:pt x="38" y="120"/>
                  <a:pt x="32" y="119"/>
                  <a:pt x="26" y="120"/>
                </a:cubicBezTo>
                <a:cubicBezTo>
                  <a:pt x="20" y="121"/>
                  <a:pt x="15" y="123"/>
                  <a:pt x="11" y="125"/>
                </a:cubicBezTo>
                <a:cubicBezTo>
                  <a:pt x="7" y="127"/>
                  <a:pt x="4" y="130"/>
                  <a:pt x="2" y="131"/>
                </a:cubicBezTo>
                <a:cubicBezTo>
                  <a:pt x="1" y="133"/>
                  <a:pt x="0" y="133"/>
                  <a:pt x="0" y="133"/>
                </a:cubicBezTo>
                <a:cubicBezTo>
                  <a:pt x="0" y="133"/>
                  <a:pt x="0" y="132"/>
                  <a:pt x="2" y="131"/>
                </a:cubicBezTo>
                <a:close/>
                <a:moveTo>
                  <a:pt x="132" y="169"/>
                </a:moveTo>
                <a:cubicBezTo>
                  <a:pt x="131" y="168"/>
                  <a:pt x="130" y="168"/>
                  <a:pt x="130" y="168"/>
                </a:cubicBezTo>
                <a:cubicBezTo>
                  <a:pt x="130" y="168"/>
                  <a:pt x="131" y="168"/>
                  <a:pt x="131" y="169"/>
                </a:cubicBezTo>
                <a:cubicBezTo>
                  <a:pt x="132" y="169"/>
                  <a:pt x="134" y="170"/>
                  <a:pt x="135" y="171"/>
                </a:cubicBezTo>
                <a:cubicBezTo>
                  <a:pt x="136" y="171"/>
                  <a:pt x="137" y="171"/>
                  <a:pt x="138" y="172"/>
                </a:cubicBezTo>
                <a:cubicBezTo>
                  <a:pt x="139" y="172"/>
                  <a:pt x="141" y="172"/>
                  <a:pt x="142" y="172"/>
                </a:cubicBezTo>
                <a:cubicBezTo>
                  <a:pt x="144" y="173"/>
                  <a:pt x="147" y="173"/>
                  <a:pt x="151" y="173"/>
                </a:cubicBezTo>
                <a:cubicBezTo>
                  <a:pt x="152" y="173"/>
                  <a:pt x="154" y="173"/>
                  <a:pt x="156" y="172"/>
                </a:cubicBezTo>
                <a:cubicBezTo>
                  <a:pt x="157" y="172"/>
                  <a:pt x="159" y="172"/>
                  <a:pt x="161" y="171"/>
                </a:cubicBezTo>
                <a:cubicBezTo>
                  <a:pt x="165" y="170"/>
                  <a:pt x="168" y="169"/>
                  <a:pt x="172" y="167"/>
                </a:cubicBezTo>
                <a:cubicBezTo>
                  <a:pt x="175" y="165"/>
                  <a:pt x="179" y="163"/>
                  <a:pt x="182" y="160"/>
                </a:cubicBezTo>
                <a:cubicBezTo>
                  <a:pt x="186" y="158"/>
                  <a:pt x="189" y="155"/>
                  <a:pt x="192" y="152"/>
                </a:cubicBezTo>
                <a:cubicBezTo>
                  <a:pt x="197" y="148"/>
                  <a:pt x="197" y="148"/>
                  <a:pt x="197" y="148"/>
                </a:cubicBezTo>
                <a:cubicBezTo>
                  <a:pt x="198" y="146"/>
                  <a:pt x="200" y="145"/>
                  <a:pt x="201" y="144"/>
                </a:cubicBezTo>
                <a:cubicBezTo>
                  <a:pt x="204" y="141"/>
                  <a:pt x="207" y="139"/>
                  <a:pt x="211" y="138"/>
                </a:cubicBezTo>
                <a:cubicBezTo>
                  <a:pt x="214" y="136"/>
                  <a:pt x="217" y="134"/>
                  <a:pt x="221" y="134"/>
                </a:cubicBezTo>
                <a:cubicBezTo>
                  <a:pt x="221" y="133"/>
                  <a:pt x="222" y="133"/>
                  <a:pt x="223" y="133"/>
                </a:cubicBezTo>
                <a:cubicBezTo>
                  <a:pt x="224" y="133"/>
                  <a:pt x="225" y="133"/>
                  <a:pt x="225" y="133"/>
                </a:cubicBezTo>
                <a:cubicBezTo>
                  <a:pt x="227" y="132"/>
                  <a:pt x="228" y="133"/>
                  <a:pt x="230" y="133"/>
                </a:cubicBezTo>
                <a:cubicBezTo>
                  <a:pt x="231" y="133"/>
                  <a:pt x="233" y="133"/>
                  <a:pt x="234" y="133"/>
                </a:cubicBezTo>
                <a:cubicBezTo>
                  <a:pt x="235" y="134"/>
                  <a:pt x="236" y="134"/>
                  <a:pt x="237" y="135"/>
                </a:cubicBezTo>
                <a:cubicBezTo>
                  <a:pt x="238" y="136"/>
                  <a:pt x="239" y="136"/>
                  <a:pt x="240" y="137"/>
                </a:cubicBezTo>
                <a:cubicBezTo>
                  <a:pt x="241" y="137"/>
                  <a:pt x="242" y="138"/>
                  <a:pt x="243" y="139"/>
                </a:cubicBezTo>
                <a:cubicBezTo>
                  <a:pt x="244" y="140"/>
                  <a:pt x="245" y="141"/>
                  <a:pt x="245" y="142"/>
                </a:cubicBezTo>
                <a:cubicBezTo>
                  <a:pt x="246" y="143"/>
                  <a:pt x="246" y="143"/>
                  <a:pt x="246" y="143"/>
                </a:cubicBezTo>
                <a:cubicBezTo>
                  <a:pt x="246" y="143"/>
                  <a:pt x="246" y="143"/>
                  <a:pt x="246" y="142"/>
                </a:cubicBezTo>
                <a:cubicBezTo>
                  <a:pt x="245" y="141"/>
                  <a:pt x="245" y="141"/>
                  <a:pt x="245" y="140"/>
                </a:cubicBezTo>
                <a:cubicBezTo>
                  <a:pt x="244" y="139"/>
                  <a:pt x="244" y="139"/>
                  <a:pt x="243" y="138"/>
                </a:cubicBezTo>
                <a:cubicBezTo>
                  <a:pt x="243" y="137"/>
                  <a:pt x="242" y="136"/>
                  <a:pt x="241" y="136"/>
                </a:cubicBezTo>
                <a:cubicBezTo>
                  <a:pt x="241" y="135"/>
                  <a:pt x="240" y="134"/>
                  <a:pt x="239" y="133"/>
                </a:cubicBezTo>
                <a:cubicBezTo>
                  <a:pt x="238" y="132"/>
                  <a:pt x="236" y="132"/>
                  <a:pt x="235" y="131"/>
                </a:cubicBezTo>
                <a:cubicBezTo>
                  <a:pt x="234" y="130"/>
                  <a:pt x="232" y="130"/>
                  <a:pt x="230" y="129"/>
                </a:cubicBezTo>
                <a:cubicBezTo>
                  <a:pt x="227" y="129"/>
                  <a:pt x="223" y="129"/>
                  <a:pt x="220" y="129"/>
                </a:cubicBezTo>
                <a:cubicBezTo>
                  <a:pt x="216" y="130"/>
                  <a:pt x="212" y="131"/>
                  <a:pt x="208" y="133"/>
                </a:cubicBezTo>
                <a:cubicBezTo>
                  <a:pt x="205" y="135"/>
                  <a:pt x="201" y="137"/>
                  <a:pt x="198" y="139"/>
                </a:cubicBezTo>
                <a:cubicBezTo>
                  <a:pt x="196" y="141"/>
                  <a:pt x="194" y="142"/>
                  <a:pt x="193" y="144"/>
                </a:cubicBezTo>
                <a:cubicBezTo>
                  <a:pt x="188" y="148"/>
                  <a:pt x="188" y="148"/>
                  <a:pt x="188" y="148"/>
                </a:cubicBezTo>
                <a:cubicBezTo>
                  <a:pt x="185" y="151"/>
                  <a:pt x="182" y="153"/>
                  <a:pt x="179" y="156"/>
                </a:cubicBezTo>
                <a:cubicBezTo>
                  <a:pt x="178" y="157"/>
                  <a:pt x="176" y="158"/>
                  <a:pt x="174" y="159"/>
                </a:cubicBezTo>
                <a:cubicBezTo>
                  <a:pt x="173" y="160"/>
                  <a:pt x="171" y="162"/>
                  <a:pt x="169" y="162"/>
                </a:cubicBezTo>
                <a:cubicBezTo>
                  <a:pt x="166" y="164"/>
                  <a:pt x="163" y="166"/>
                  <a:pt x="160" y="167"/>
                </a:cubicBezTo>
                <a:cubicBezTo>
                  <a:pt x="156" y="168"/>
                  <a:pt x="153" y="169"/>
                  <a:pt x="150" y="170"/>
                </a:cubicBezTo>
                <a:cubicBezTo>
                  <a:pt x="147" y="170"/>
                  <a:pt x="145" y="170"/>
                  <a:pt x="142" y="170"/>
                </a:cubicBezTo>
                <a:cubicBezTo>
                  <a:pt x="141" y="170"/>
                  <a:pt x="140" y="170"/>
                  <a:pt x="139" y="170"/>
                </a:cubicBezTo>
                <a:cubicBezTo>
                  <a:pt x="138" y="170"/>
                  <a:pt x="137" y="170"/>
                  <a:pt x="136" y="170"/>
                </a:cubicBezTo>
                <a:cubicBezTo>
                  <a:pt x="134" y="169"/>
                  <a:pt x="133" y="169"/>
                  <a:pt x="132" y="169"/>
                </a:cubicBezTo>
                <a:close/>
                <a:moveTo>
                  <a:pt x="192" y="101"/>
                </a:moveTo>
                <a:cubicBezTo>
                  <a:pt x="191" y="100"/>
                  <a:pt x="191" y="100"/>
                  <a:pt x="191" y="100"/>
                </a:cubicBezTo>
                <a:cubicBezTo>
                  <a:pt x="181" y="84"/>
                  <a:pt x="152" y="94"/>
                  <a:pt x="136" y="91"/>
                </a:cubicBezTo>
                <a:cubicBezTo>
                  <a:pt x="141" y="77"/>
                  <a:pt x="173" y="44"/>
                  <a:pt x="162" y="30"/>
                </a:cubicBezTo>
                <a:cubicBezTo>
                  <a:pt x="152" y="17"/>
                  <a:pt x="87" y="0"/>
                  <a:pt x="87" y="24"/>
                </a:cubicBezTo>
                <a:cubicBezTo>
                  <a:pt x="88" y="36"/>
                  <a:pt x="112" y="36"/>
                  <a:pt x="124" y="38"/>
                </a:cubicBezTo>
                <a:cubicBezTo>
                  <a:pt x="148" y="40"/>
                  <a:pt x="127" y="58"/>
                  <a:pt x="120" y="68"/>
                </a:cubicBezTo>
                <a:cubicBezTo>
                  <a:pt x="111" y="78"/>
                  <a:pt x="102" y="88"/>
                  <a:pt x="100" y="101"/>
                </a:cubicBezTo>
                <a:cubicBezTo>
                  <a:pt x="99" y="114"/>
                  <a:pt x="106" y="128"/>
                  <a:pt x="119" y="129"/>
                </a:cubicBezTo>
                <a:cubicBezTo>
                  <a:pt x="146" y="130"/>
                  <a:pt x="168" y="91"/>
                  <a:pt x="192" y="101"/>
                </a:cubicBezTo>
                <a:close/>
                <a:moveTo>
                  <a:pt x="88" y="92"/>
                </a:moveTo>
                <a:cubicBezTo>
                  <a:pt x="88" y="79"/>
                  <a:pt x="78" y="68"/>
                  <a:pt x="65" y="68"/>
                </a:cubicBezTo>
                <a:cubicBezTo>
                  <a:pt x="52" y="68"/>
                  <a:pt x="41" y="79"/>
                  <a:pt x="41" y="92"/>
                </a:cubicBezTo>
                <a:cubicBezTo>
                  <a:pt x="41" y="105"/>
                  <a:pt x="52" y="116"/>
                  <a:pt x="65" y="116"/>
                </a:cubicBezTo>
                <a:cubicBezTo>
                  <a:pt x="78" y="116"/>
                  <a:pt x="88" y="105"/>
                  <a:pt x="88" y="9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25" name="Freeform 198">
            <a:extLst>
              <a:ext uri="{FF2B5EF4-FFF2-40B4-BE49-F238E27FC236}">
                <a16:creationId xmlns:a16="http://schemas.microsoft.com/office/drawing/2014/main" id="{19C46D1D-5CDE-4FC3-DF20-8E46062BAF8C}"/>
              </a:ext>
            </a:extLst>
          </p:cNvPr>
          <p:cNvSpPr>
            <a:spLocks noEditPoints="1"/>
          </p:cNvSpPr>
          <p:nvPr/>
        </p:nvSpPr>
        <p:spPr bwMode="auto">
          <a:xfrm>
            <a:off x="7862701" y="3305987"/>
            <a:ext cx="382873" cy="470497"/>
          </a:xfrm>
          <a:custGeom>
            <a:avLst/>
            <a:gdLst>
              <a:gd name="T0" fmla="*/ 69 w 236"/>
              <a:gd name="T1" fmla="*/ 54 h 280"/>
              <a:gd name="T2" fmla="*/ 42 w 236"/>
              <a:gd name="T3" fmla="*/ 27 h 280"/>
              <a:gd name="T4" fmla="*/ 69 w 236"/>
              <a:gd name="T5" fmla="*/ 0 h 280"/>
              <a:gd name="T6" fmla="*/ 95 w 236"/>
              <a:gd name="T7" fmla="*/ 27 h 280"/>
              <a:gd name="T8" fmla="*/ 69 w 236"/>
              <a:gd name="T9" fmla="*/ 54 h 280"/>
              <a:gd name="T10" fmla="*/ 0 w 236"/>
              <a:gd name="T11" fmla="*/ 272 h 280"/>
              <a:gd name="T12" fmla="*/ 9 w 236"/>
              <a:gd name="T13" fmla="*/ 280 h 280"/>
              <a:gd name="T14" fmla="*/ 227 w 236"/>
              <a:gd name="T15" fmla="*/ 280 h 280"/>
              <a:gd name="T16" fmla="*/ 236 w 236"/>
              <a:gd name="T17" fmla="*/ 272 h 280"/>
              <a:gd name="T18" fmla="*/ 227 w 236"/>
              <a:gd name="T19" fmla="*/ 263 h 280"/>
              <a:gd name="T20" fmla="*/ 117 w 236"/>
              <a:gd name="T21" fmla="*/ 263 h 280"/>
              <a:gd name="T22" fmla="*/ 119 w 236"/>
              <a:gd name="T23" fmla="*/ 249 h 280"/>
              <a:gd name="T24" fmla="*/ 101 w 236"/>
              <a:gd name="T25" fmla="*/ 202 h 280"/>
              <a:gd name="T26" fmla="*/ 100 w 236"/>
              <a:gd name="T27" fmla="*/ 200 h 280"/>
              <a:gd name="T28" fmla="*/ 130 w 236"/>
              <a:gd name="T29" fmla="*/ 173 h 280"/>
              <a:gd name="T30" fmla="*/ 131 w 236"/>
              <a:gd name="T31" fmla="*/ 172 h 280"/>
              <a:gd name="T32" fmla="*/ 131 w 236"/>
              <a:gd name="T33" fmla="*/ 197 h 280"/>
              <a:gd name="T34" fmla="*/ 144 w 236"/>
              <a:gd name="T35" fmla="*/ 211 h 280"/>
              <a:gd name="T36" fmla="*/ 150 w 236"/>
              <a:gd name="T37" fmla="*/ 210 h 280"/>
              <a:gd name="T38" fmla="*/ 153 w 236"/>
              <a:gd name="T39" fmla="*/ 210 h 280"/>
              <a:gd name="T40" fmla="*/ 203 w 236"/>
              <a:gd name="T41" fmla="*/ 204 h 280"/>
              <a:gd name="T42" fmla="*/ 216 w 236"/>
              <a:gd name="T43" fmla="*/ 190 h 280"/>
              <a:gd name="T44" fmla="*/ 200 w 236"/>
              <a:gd name="T45" fmla="*/ 178 h 280"/>
              <a:gd name="T46" fmla="*/ 158 w 236"/>
              <a:gd name="T47" fmla="*/ 183 h 280"/>
              <a:gd name="T48" fmla="*/ 158 w 236"/>
              <a:gd name="T49" fmla="*/ 147 h 280"/>
              <a:gd name="T50" fmla="*/ 154 w 236"/>
              <a:gd name="T51" fmla="*/ 138 h 280"/>
              <a:gd name="T52" fmla="*/ 151 w 236"/>
              <a:gd name="T53" fmla="*/ 125 h 280"/>
              <a:gd name="T54" fmla="*/ 118 w 236"/>
              <a:gd name="T55" fmla="*/ 72 h 280"/>
              <a:gd name="T56" fmla="*/ 146 w 236"/>
              <a:gd name="T57" fmla="*/ 63 h 280"/>
              <a:gd name="T58" fmla="*/ 143 w 236"/>
              <a:gd name="T59" fmla="*/ 95 h 280"/>
              <a:gd name="T60" fmla="*/ 153 w 236"/>
              <a:gd name="T61" fmla="*/ 108 h 280"/>
              <a:gd name="T62" fmla="*/ 165 w 236"/>
              <a:gd name="T63" fmla="*/ 97 h 280"/>
              <a:gd name="T64" fmla="*/ 169 w 236"/>
              <a:gd name="T65" fmla="*/ 55 h 280"/>
              <a:gd name="T66" fmla="*/ 167 w 236"/>
              <a:gd name="T67" fmla="*/ 46 h 280"/>
              <a:gd name="T68" fmla="*/ 167 w 236"/>
              <a:gd name="T69" fmla="*/ 45 h 280"/>
              <a:gd name="T70" fmla="*/ 150 w 236"/>
              <a:gd name="T71" fmla="*/ 39 h 280"/>
              <a:gd name="T72" fmla="*/ 104 w 236"/>
              <a:gd name="T73" fmla="*/ 53 h 280"/>
              <a:gd name="T74" fmla="*/ 100 w 236"/>
              <a:gd name="T75" fmla="*/ 55 h 280"/>
              <a:gd name="T76" fmla="*/ 79 w 236"/>
              <a:gd name="T77" fmla="*/ 57 h 280"/>
              <a:gd name="T78" fmla="*/ 67 w 236"/>
              <a:gd name="T79" fmla="*/ 78 h 280"/>
              <a:gd name="T80" fmla="*/ 65 w 236"/>
              <a:gd name="T81" fmla="*/ 82 h 280"/>
              <a:gd name="T82" fmla="*/ 51 w 236"/>
              <a:gd name="T83" fmla="*/ 117 h 280"/>
              <a:gd name="T84" fmla="*/ 28 w 236"/>
              <a:gd name="T85" fmla="*/ 95 h 280"/>
              <a:gd name="T86" fmla="*/ 12 w 236"/>
              <a:gd name="T87" fmla="*/ 95 h 280"/>
              <a:gd name="T88" fmla="*/ 13 w 236"/>
              <a:gd name="T89" fmla="*/ 112 h 280"/>
              <a:gd name="T90" fmla="*/ 44 w 236"/>
              <a:gd name="T91" fmla="*/ 140 h 280"/>
              <a:gd name="T92" fmla="*/ 52 w 236"/>
              <a:gd name="T93" fmla="*/ 144 h 280"/>
              <a:gd name="T94" fmla="*/ 53 w 236"/>
              <a:gd name="T95" fmla="*/ 144 h 280"/>
              <a:gd name="T96" fmla="*/ 68 w 236"/>
              <a:gd name="T97" fmla="*/ 135 h 280"/>
              <a:gd name="T98" fmla="*/ 79 w 236"/>
              <a:gd name="T99" fmla="*/ 106 h 280"/>
              <a:gd name="T100" fmla="*/ 107 w 236"/>
              <a:gd name="T101" fmla="*/ 152 h 280"/>
              <a:gd name="T102" fmla="*/ 110 w 236"/>
              <a:gd name="T103" fmla="*/ 156 h 280"/>
              <a:gd name="T104" fmla="*/ 75 w 236"/>
              <a:gd name="T105" fmla="*/ 187 h 280"/>
              <a:gd name="T106" fmla="*/ 73 w 236"/>
              <a:gd name="T107" fmla="*/ 206 h 280"/>
              <a:gd name="T108" fmla="*/ 76 w 236"/>
              <a:gd name="T109" fmla="*/ 209 h 280"/>
              <a:gd name="T110" fmla="*/ 76 w 236"/>
              <a:gd name="T111" fmla="*/ 211 h 280"/>
              <a:gd name="T112" fmla="*/ 94 w 236"/>
              <a:gd name="T113" fmla="*/ 258 h 280"/>
              <a:gd name="T114" fmla="*/ 97 w 236"/>
              <a:gd name="T115" fmla="*/ 263 h 280"/>
              <a:gd name="T116" fmla="*/ 9 w 236"/>
              <a:gd name="T117" fmla="*/ 263 h 280"/>
              <a:gd name="T118" fmla="*/ 0 w 236"/>
              <a:gd name="T119" fmla="*/ 27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 h="280">
                <a:moveTo>
                  <a:pt x="69" y="54"/>
                </a:moveTo>
                <a:cubicBezTo>
                  <a:pt x="54" y="54"/>
                  <a:pt x="42" y="42"/>
                  <a:pt x="42" y="27"/>
                </a:cubicBezTo>
                <a:cubicBezTo>
                  <a:pt x="42" y="12"/>
                  <a:pt x="54" y="0"/>
                  <a:pt x="69" y="0"/>
                </a:cubicBezTo>
                <a:cubicBezTo>
                  <a:pt x="83" y="0"/>
                  <a:pt x="95" y="12"/>
                  <a:pt x="95" y="27"/>
                </a:cubicBezTo>
                <a:cubicBezTo>
                  <a:pt x="95" y="42"/>
                  <a:pt x="83" y="54"/>
                  <a:pt x="69" y="54"/>
                </a:cubicBezTo>
                <a:close/>
                <a:moveTo>
                  <a:pt x="0" y="272"/>
                </a:moveTo>
                <a:cubicBezTo>
                  <a:pt x="0" y="276"/>
                  <a:pt x="4" y="280"/>
                  <a:pt x="9" y="280"/>
                </a:cubicBezTo>
                <a:cubicBezTo>
                  <a:pt x="227" y="280"/>
                  <a:pt x="227" y="280"/>
                  <a:pt x="227" y="280"/>
                </a:cubicBezTo>
                <a:cubicBezTo>
                  <a:pt x="232" y="280"/>
                  <a:pt x="236" y="276"/>
                  <a:pt x="236" y="272"/>
                </a:cubicBezTo>
                <a:cubicBezTo>
                  <a:pt x="236" y="267"/>
                  <a:pt x="232" y="263"/>
                  <a:pt x="227" y="263"/>
                </a:cubicBezTo>
                <a:cubicBezTo>
                  <a:pt x="117" y="263"/>
                  <a:pt x="117" y="263"/>
                  <a:pt x="117" y="263"/>
                </a:cubicBezTo>
                <a:cubicBezTo>
                  <a:pt x="119" y="259"/>
                  <a:pt x="120" y="254"/>
                  <a:pt x="119" y="249"/>
                </a:cubicBezTo>
                <a:cubicBezTo>
                  <a:pt x="101" y="202"/>
                  <a:pt x="101" y="202"/>
                  <a:pt x="101" y="202"/>
                </a:cubicBezTo>
                <a:cubicBezTo>
                  <a:pt x="101" y="201"/>
                  <a:pt x="101" y="201"/>
                  <a:pt x="100" y="200"/>
                </a:cubicBezTo>
                <a:cubicBezTo>
                  <a:pt x="130" y="173"/>
                  <a:pt x="130" y="173"/>
                  <a:pt x="130" y="173"/>
                </a:cubicBezTo>
                <a:cubicBezTo>
                  <a:pt x="131" y="173"/>
                  <a:pt x="131" y="173"/>
                  <a:pt x="131" y="172"/>
                </a:cubicBezTo>
                <a:cubicBezTo>
                  <a:pt x="131" y="197"/>
                  <a:pt x="131" y="197"/>
                  <a:pt x="131" y="197"/>
                </a:cubicBezTo>
                <a:cubicBezTo>
                  <a:pt x="131" y="205"/>
                  <a:pt x="137" y="211"/>
                  <a:pt x="144" y="211"/>
                </a:cubicBezTo>
                <a:cubicBezTo>
                  <a:pt x="146" y="211"/>
                  <a:pt x="148" y="211"/>
                  <a:pt x="150" y="210"/>
                </a:cubicBezTo>
                <a:cubicBezTo>
                  <a:pt x="151" y="210"/>
                  <a:pt x="152" y="210"/>
                  <a:pt x="153" y="210"/>
                </a:cubicBezTo>
                <a:cubicBezTo>
                  <a:pt x="203" y="204"/>
                  <a:pt x="203" y="204"/>
                  <a:pt x="203" y="204"/>
                </a:cubicBezTo>
                <a:cubicBezTo>
                  <a:pt x="211" y="204"/>
                  <a:pt x="216" y="197"/>
                  <a:pt x="216" y="190"/>
                </a:cubicBezTo>
                <a:cubicBezTo>
                  <a:pt x="215" y="183"/>
                  <a:pt x="208" y="177"/>
                  <a:pt x="200" y="178"/>
                </a:cubicBezTo>
                <a:cubicBezTo>
                  <a:pt x="158" y="183"/>
                  <a:pt x="158" y="183"/>
                  <a:pt x="158" y="183"/>
                </a:cubicBezTo>
                <a:cubicBezTo>
                  <a:pt x="158" y="147"/>
                  <a:pt x="158" y="147"/>
                  <a:pt x="158" y="147"/>
                </a:cubicBezTo>
                <a:cubicBezTo>
                  <a:pt x="158" y="143"/>
                  <a:pt x="156" y="140"/>
                  <a:pt x="154" y="138"/>
                </a:cubicBezTo>
                <a:cubicBezTo>
                  <a:pt x="154" y="133"/>
                  <a:pt x="153" y="129"/>
                  <a:pt x="151" y="125"/>
                </a:cubicBezTo>
                <a:cubicBezTo>
                  <a:pt x="118" y="72"/>
                  <a:pt x="118" y="72"/>
                  <a:pt x="118" y="72"/>
                </a:cubicBezTo>
                <a:cubicBezTo>
                  <a:pt x="146" y="63"/>
                  <a:pt x="146" y="63"/>
                  <a:pt x="146" y="63"/>
                </a:cubicBezTo>
                <a:cubicBezTo>
                  <a:pt x="143" y="95"/>
                  <a:pt x="143" y="95"/>
                  <a:pt x="143" y="95"/>
                </a:cubicBezTo>
                <a:cubicBezTo>
                  <a:pt x="143" y="101"/>
                  <a:pt x="147" y="107"/>
                  <a:pt x="153" y="108"/>
                </a:cubicBezTo>
                <a:cubicBezTo>
                  <a:pt x="159" y="108"/>
                  <a:pt x="165" y="103"/>
                  <a:pt x="165" y="97"/>
                </a:cubicBezTo>
                <a:cubicBezTo>
                  <a:pt x="169" y="55"/>
                  <a:pt x="169" y="55"/>
                  <a:pt x="169" y="55"/>
                </a:cubicBezTo>
                <a:cubicBezTo>
                  <a:pt x="169" y="51"/>
                  <a:pt x="168" y="48"/>
                  <a:pt x="167" y="46"/>
                </a:cubicBezTo>
                <a:cubicBezTo>
                  <a:pt x="167" y="46"/>
                  <a:pt x="167" y="46"/>
                  <a:pt x="167" y="45"/>
                </a:cubicBezTo>
                <a:cubicBezTo>
                  <a:pt x="165" y="40"/>
                  <a:pt x="157" y="37"/>
                  <a:pt x="150" y="39"/>
                </a:cubicBezTo>
                <a:cubicBezTo>
                  <a:pt x="104" y="53"/>
                  <a:pt x="104" y="53"/>
                  <a:pt x="104" y="53"/>
                </a:cubicBezTo>
                <a:cubicBezTo>
                  <a:pt x="102" y="54"/>
                  <a:pt x="101" y="54"/>
                  <a:pt x="100" y="55"/>
                </a:cubicBezTo>
                <a:cubicBezTo>
                  <a:pt x="93" y="52"/>
                  <a:pt x="86" y="53"/>
                  <a:pt x="79" y="57"/>
                </a:cubicBezTo>
                <a:cubicBezTo>
                  <a:pt x="71" y="62"/>
                  <a:pt x="67" y="70"/>
                  <a:pt x="67" y="78"/>
                </a:cubicBezTo>
                <a:cubicBezTo>
                  <a:pt x="66" y="79"/>
                  <a:pt x="65" y="80"/>
                  <a:pt x="65" y="82"/>
                </a:cubicBezTo>
                <a:cubicBezTo>
                  <a:pt x="51" y="117"/>
                  <a:pt x="51" y="117"/>
                  <a:pt x="51" y="117"/>
                </a:cubicBezTo>
                <a:cubicBezTo>
                  <a:pt x="28" y="95"/>
                  <a:pt x="28" y="95"/>
                  <a:pt x="28" y="95"/>
                </a:cubicBezTo>
                <a:cubicBezTo>
                  <a:pt x="23" y="91"/>
                  <a:pt x="16" y="91"/>
                  <a:pt x="12" y="95"/>
                </a:cubicBezTo>
                <a:cubicBezTo>
                  <a:pt x="8" y="100"/>
                  <a:pt x="8" y="107"/>
                  <a:pt x="13" y="112"/>
                </a:cubicBezTo>
                <a:cubicBezTo>
                  <a:pt x="44" y="140"/>
                  <a:pt x="44" y="140"/>
                  <a:pt x="44" y="140"/>
                </a:cubicBezTo>
                <a:cubicBezTo>
                  <a:pt x="46" y="142"/>
                  <a:pt x="49" y="144"/>
                  <a:pt x="52" y="144"/>
                </a:cubicBezTo>
                <a:cubicBezTo>
                  <a:pt x="53" y="144"/>
                  <a:pt x="53" y="144"/>
                  <a:pt x="53" y="144"/>
                </a:cubicBezTo>
                <a:cubicBezTo>
                  <a:pt x="59" y="146"/>
                  <a:pt x="65" y="142"/>
                  <a:pt x="68" y="135"/>
                </a:cubicBezTo>
                <a:cubicBezTo>
                  <a:pt x="79" y="106"/>
                  <a:pt x="79" y="106"/>
                  <a:pt x="79" y="106"/>
                </a:cubicBezTo>
                <a:cubicBezTo>
                  <a:pt x="107" y="152"/>
                  <a:pt x="107" y="152"/>
                  <a:pt x="107" y="152"/>
                </a:cubicBezTo>
                <a:cubicBezTo>
                  <a:pt x="108" y="153"/>
                  <a:pt x="109" y="155"/>
                  <a:pt x="110" y="156"/>
                </a:cubicBezTo>
                <a:cubicBezTo>
                  <a:pt x="75" y="187"/>
                  <a:pt x="75" y="187"/>
                  <a:pt x="75" y="187"/>
                </a:cubicBezTo>
                <a:cubicBezTo>
                  <a:pt x="69" y="192"/>
                  <a:pt x="68" y="201"/>
                  <a:pt x="73" y="206"/>
                </a:cubicBezTo>
                <a:cubicBezTo>
                  <a:pt x="74" y="207"/>
                  <a:pt x="75" y="208"/>
                  <a:pt x="76" y="209"/>
                </a:cubicBezTo>
                <a:cubicBezTo>
                  <a:pt x="76" y="209"/>
                  <a:pt x="76" y="210"/>
                  <a:pt x="76" y="211"/>
                </a:cubicBezTo>
                <a:cubicBezTo>
                  <a:pt x="94" y="258"/>
                  <a:pt x="94" y="258"/>
                  <a:pt x="94" y="258"/>
                </a:cubicBezTo>
                <a:cubicBezTo>
                  <a:pt x="95" y="260"/>
                  <a:pt x="96" y="262"/>
                  <a:pt x="97" y="263"/>
                </a:cubicBezTo>
                <a:cubicBezTo>
                  <a:pt x="9" y="263"/>
                  <a:pt x="9" y="263"/>
                  <a:pt x="9" y="263"/>
                </a:cubicBezTo>
                <a:cubicBezTo>
                  <a:pt x="4" y="263"/>
                  <a:pt x="0" y="267"/>
                  <a:pt x="0" y="27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Tree>
    <p:extLst>
      <p:ext uri="{BB962C8B-B14F-4D97-AF65-F5344CB8AC3E}">
        <p14:creationId xmlns:p14="http://schemas.microsoft.com/office/powerpoint/2010/main" val="301133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ectangle 168">
            <a:extLst>
              <a:ext uri="{FF2B5EF4-FFF2-40B4-BE49-F238E27FC236}">
                <a16:creationId xmlns:a16="http://schemas.microsoft.com/office/drawing/2014/main" id="{149AB41C-50F1-9BBC-0A97-B97638AB1B0A}"/>
              </a:ext>
            </a:extLst>
          </p:cNvPr>
          <p:cNvSpPr/>
          <p:nvPr/>
        </p:nvSpPr>
        <p:spPr>
          <a:xfrm>
            <a:off x="7573815" y="883329"/>
            <a:ext cx="4618185" cy="462444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0" name="Oval 9">
            <a:extLst>
              <a:ext uri="{FF2B5EF4-FFF2-40B4-BE49-F238E27FC236}">
                <a16:creationId xmlns:a16="http://schemas.microsoft.com/office/drawing/2014/main" id="{4B00E0B0-FFD6-7F15-0A28-410015B75C13}"/>
              </a:ext>
            </a:extLst>
          </p:cNvPr>
          <p:cNvSpPr/>
          <p:nvPr/>
        </p:nvSpPr>
        <p:spPr>
          <a:xfrm>
            <a:off x="8290444" y="1397708"/>
            <a:ext cx="3078480" cy="3078480"/>
          </a:xfrm>
          <a:prstGeom prst="ellipse">
            <a:avLst/>
          </a:pr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66" name="Rectangle 165">
            <a:extLst>
              <a:ext uri="{FF2B5EF4-FFF2-40B4-BE49-F238E27FC236}">
                <a16:creationId xmlns:a16="http://schemas.microsoft.com/office/drawing/2014/main" id="{D067D369-DD07-C1D7-EE78-FC3F7E06B680}"/>
              </a:ext>
            </a:extLst>
          </p:cNvPr>
          <p:cNvSpPr/>
          <p:nvPr/>
        </p:nvSpPr>
        <p:spPr>
          <a:xfrm>
            <a:off x="4005079" y="883328"/>
            <a:ext cx="3436293" cy="462444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 name="Title 1">
            <a:extLst>
              <a:ext uri="{FF2B5EF4-FFF2-40B4-BE49-F238E27FC236}">
                <a16:creationId xmlns:a16="http://schemas.microsoft.com/office/drawing/2014/main" id="{67717440-BC5C-93A7-F81C-F8361B9DB71A}"/>
              </a:ext>
            </a:extLst>
          </p:cNvPr>
          <p:cNvSpPr>
            <a:spLocks noGrp="1"/>
          </p:cNvSpPr>
          <p:nvPr>
            <p:ph type="title"/>
          </p:nvPr>
        </p:nvSpPr>
        <p:spPr>
          <a:xfrm>
            <a:off x="536240" y="414320"/>
            <a:ext cx="3154209" cy="5562000"/>
          </a:xfrm>
        </p:spPr>
        <p:txBody>
          <a:bodyPr/>
          <a:lstStyle/>
          <a:p>
            <a:r>
              <a:rPr lang="en-US" noProof="0"/>
              <a:t>Causes of obesity</a:t>
            </a:r>
          </a:p>
        </p:txBody>
      </p:sp>
      <p:sp>
        <p:nvSpPr>
          <p:cNvPr id="3" name="Text Placeholder 2">
            <a:extLst>
              <a:ext uri="{FF2B5EF4-FFF2-40B4-BE49-F238E27FC236}">
                <a16:creationId xmlns:a16="http://schemas.microsoft.com/office/drawing/2014/main" id="{720A434E-8B62-3600-25D0-E1407A827CEA}"/>
              </a:ext>
            </a:extLst>
          </p:cNvPr>
          <p:cNvSpPr>
            <a:spLocks noGrp="1"/>
          </p:cNvSpPr>
          <p:nvPr>
            <p:ph type="body" sz="quarter" idx="13"/>
          </p:nvPr>
        </p:nvSpPr>
        <p:spPr>
          <a:xfrm>
            <a:off x="4006851" y="6401983"/>
            <a:ext cx="7425390" cy="324000"/>
          </a:xfrm>
        </p:spPr>
        <p:txBody>
          <a:bodyPr>
            <a:noAutofit/>
          </a:bodyPr>
          <a:lstStyle/>
          <a:p>
            <a:r>
              <a:rPr lang="en-US" noProof="0" dirty="0"/>
              <a:t>*Genetic obesity refers to known genetic disorders that are characterized by hyperphagia, other abnormal eating behaviors, and early onset of excess adiposity, usually in the first years of life or during childhood. Genetic forms of obesity include, for example, Prader–Willi syndrome, congenital leptin deficiency, and melanocortin receptor 4 mutations.</a:t>
            </a:r>
            <a:br>
              <a:rPr lang="en-US" noProof="0" dirty="0"/>
            </a:br>
            <a:r>
              <a:rPr lang="en-US" noProof="0" dirty="0"/>
              <a:t>1</a:t>
            </a:r>
            <a:r>
              <a:rPr lang="en-US" dirty="0"/>
              <a:t>. Mahmoud et al. Int J Mol Sci 2022;23:11005; 2. Gadde </a:t>
            </a:r>
            <a:r>
              <a:rPr lang="en-US" noProof="0" dirty="0"/>
              <a:t>KM et al. J Am Coll </a:t>
            </a:r>
            <a:r>
              <a:rPr lang="en-US" noProof="0" dirty="0" err="1"/>
              <a:t>Cardiol</a:t>
            </a:r>
            <a:r>
              <a:rPr lang="en-US" noProof="0" dirty="0"/>
              <a:t> 2018;71:69–84</a:t>
            </a:r>
            <a:r>
              <a:rPr lang="en-US" dirty="0"/>
              <a:t>; 3. Rubino F et al. Lancet Diabetes Endocrinol 2025;13:221–262; 4</a:t>
            </a:r>
            <a:r>
              <a:rPr lang="en-US" noProof="0" dirty="0"/>
              <a:t>. </a:t>
            </a:r>
            <a:r>
              <a:rPr lang="en-US" dirty="0" err="1"/>
              <a:t>Kankowski</a:t>
            </a:r>
            <a:r>
              <a:rPr lang="en-US" dirty="0"/>
              <a:t> L et al. Front Endocrinol 2022;13:868441; 5. </a:t>
            </a:r>
            <a:r>
              <a:rPr lang="en-US" noProof="0" dirty="0" err="1"/>
              <a:t>Papatriantafyllou</a:t>
            </a:r>
            <a:r>
              <a:rPr lang="en-US" noProof="0" dirty="0"/>
              <a:t> E et al. Nutrients 2022;14:1549; 6</a:t>
            </a:r>
            <a:r>
              <a:rPr lang="en-US" dirty="0"/>
              <a:t>. Lane MM et al. BMJ 2024;384:e077310. </a:t>
            </a:r>
            <a:endParaRPr lang="en-US" noProof="0" dirty="0"/>
          </a:p>
        </p:txBody>
      </p:sp>
      <p:grpSp>
        <p:nvGrpSpPr>
          <p:cNvPr id="13" name="Group 12">
            <a:extLst>
              <a:ext uri="{FF2B5EF4-FFF2-40B4-BE49-F238E27FC236}">
                <a16:creationId xmlns:a16="http://schemas.microsoft.com/office/drawing/2014/main" id="{FEFD1BD5-ED02-86CE-A8DD-F452A52D99A0}"/>
              </a:ext>
            </a:extLst>
          </p:cNvPr>
          <p:cNvGrpSpPr/>
          <p:nvPr/>
        </p:nvGrpSpPr>
        <p:grpSpPr>
          <a:xfrm>
            <a:off x="4161630" y="3067821"/>
            <a:ext cx="3267635" cy="1664264"/>
            <a:chOff x="4161630" y="1570221"/>
            <a:chExt cx="3267635" cy="1664264"/>
          </a:xfrm>
        </p:grpSpPr>
        <p:sp>
          <p:nvSpPr>
            <p:cNvPr id="244" name="Rectangle 243">
              <a:extLst>
                <a:ext uri="{FF2B5EF4-FFF2-40B4-BE49-F238E27FC236}">
                  <a16:creationId xmlns:a16="http://schemas.microsoft.com/office/drawing/2014/main" id="{8E7FE6F8-9A1A-25F0-13C5-6EDB3E3C4B85}"/>
                </a:ext>
              </a:extLst>
            </p:cNvPr>
            <p:cNvSpPr/>
            <p:nvPr/>
          </p:nvSpPr>
          <p:spPr>
            <a:xfrm>
              <a:off x="4837601" y="1570221"/>
              <a:ext cx="2591664" cy="16642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noProof="0">
                  <a:solidFill>
                    <a:schemeClr val="tx1"/>
                  </a:solidFill>
                  <a:latin typeface="Arial" panose="020B0604020202020204" pitchFamily="34" charset="0"/>
                  <a:cs typeface="Arial" panose="020B0604020202020204" pitchFamily="34" charset="0"/>
                </a:rPr>
                <a:t>Several factors interact </a:t>
              </a:r>
              <a:br>
                <a:rPr lang="en-US" noProof="0">
                  <a:solidFill>
                    <a:schemeClr val="tx1"/>
                  </a:solidFill>
                  <a:latin typeface="Arial" panose="020B0604020202020204" pitchFamily="34" charset="0"/>
                  <a:cs typeface="Arial" panose="020B0604020202020204" pitchFamily="34" charset="0"/>
                </a:rPr>
              </a:br>
              <a:r>
                <a:rPr lang="en-US" noProof="0">
                  <a:solidFill>
                    <a:schemeClr val="tx1"/>
                  </a:solidFill>
                  <a:latin typeface="Arial" panose="020B0604020202020204" pitchFamily="34" charset="0"/>
                  <a:cs typeface="Arial" panose="020B0604020202020204" pitchFamily="34" charset="0"/>
                </a:rPr>
                <a:t>with the genetic </a:t>
              </a:r>
              <a:br>
                <a:rPr lang="en-US" noProof="0">
                  <a:solidFill>
                    <a:schemeClr val="tx1"/>
                  </a:solidFill>
                  <a:latin typeface="Arial" panose="020B0604020202020204" pitchFamily="34" charset="0"/>
                  <a:cs typeface="Arial" panose="020B0604020202020204" pitchFamily="34" charset="0"/>
                </a:rPr>
              </a:br>
              <a:r>
                <a:rPr lang="en-US" noProof="0">
                  <a:solidFill>
                    <a:schemeClr val="tx1"/>
                  </a:solidFill>
                  <a:latin typeface="Arial" panose="020B0604020202020204" pitchFamily="34" charset="0"/>
                  <a:cs typeface="Arial" panose="020B0604020202020204" pitchFamily="34" charset="0"/>
                </a:rPr>
                <a:t>predisposition for caloric retention to cause obesity</a:t>
              </a:r>
            </a:p>
          </p:txBody>
        </p:sp>
        <p:grpSp>
          <p:nvGrpSpPr>
            <p:cNvPr id="4" name="Group 3">
              <a:extLst>
                <a:ext uri="{FF2B5EF4-FFF2-40B4-BE49-F238E27FC236}">
                  <a16:creationId xmlns:a16="http://schemas.microsoft.com/office/drawing/2014/main" id="{54BF179F-E373-28BC-DD2C-F26AFF88024B}"/>
                </a:ext>
              </a:extLst>
            </p:cNvPr>
            <p:cNvGrpSpPr/>
            <p:nvPr/>
          </p:nvGrpSpPr>
          <p:grpSpPr>
            <a:xfrm>
              <a:off x="4161630" y="1875791"/>
              <a:ext cx="595620" cy="1030842"/>
              <a:chOff x="5234578" y="2207150"/>
              <a:chExt cx="426108" cy="737468"/>
            </a:xfrm>
            <a:solidFill>
              <a:schemeClr val="tx1"/>
            </a:solidFill>
          </p:grpSpPr>
          <p:sp>
            <p:nvSpPr>
              <p:cNvPr id="6" name="Freeform 26">
                <a:extLst>
                  <a:ext uri="{FF2B5EF4-FFF2-40B4-BE49-F238E27FC236}">
                    <a16:creationId xmlns:a16="http://schemas.microsoft.com/office/drawing/2014/main" id="{1360E1C6-2D44-52FC-3A06-D856C95C6F46}"/>
                  </a:ext>
                </a:extLst>
              </p:cNvPr>
              <p:cNvSpPr>
                <a:spLocks/>
              </p:cNvSpPr>
              <p:nvPr/>
            </p:nvSpPr>
            <p:spPr bwMode="auto">
              <a:xfrm>
                <a:off x="5234578" y="2339390"/>
                <a:ext cx="426108" cy="372233"/>
              </a:xfrm>
              <a:custGeom>
                <a:avLst/>
                <a:gdLst>
                  <a:gd name="T0" fmla="*/ 92 w 627"/>
                  <a:gd name="T1" fmla="*/ 212 h 548"/>
                  <a:gd name="T2" fmla="*/ 105 w 627"/>
                  <a:gd name="T3" fmla="*/ 212 h 548"/>
                  <a:gd name="T4" fmla="*/ 74 w 627"/>
                  <a:gd name="T5" fmla="*/ 348 h 548"/>
                  <a:gd name="T6" fmla="*/ 313 w 627"/>
                  <a:gd name="T7" fmla="*/ 548 h 548"/>
                  <a:gd name="T8" fmla="*/ 553 w 627"/>
                  <a:gd name="T9" fmla="*/ 348 h 548"/>
                  <a:gd name="T10" fmla="*/ 522 w 627"/>
                  <a:gd name="T11" fmla="*/ 212 h 548"/>
                  <a:gd name="T12" fmla="*/ 535 w 627"/>
                  <a:gd name="T13" fmla="*/ 212 h 548"/>
                  <a:gd name="T14" fmla="*/ 565 w 627"/>
                  <a:gd name="T15" fmla="*/ 348 h 548"/>
                  <a:gd name="T16" fmla="*/ 519 w 627"/>
                  <a:gd name="T17" fmla="*/ 484 h 548"/>
                  <a:gd name="T18" fmla="*/ 556 w 627"/>
                  <a:gd name="T19" fmla="*/ 513 h 548"/>
                  <a:gd name="T20" fmla="*/ 561 w 627"/>
                  <a:gd name="T21" fmla="*/ 513 h 548"/>
                  <a:gd name="T22" fmla="*/ 605 w 627"/>
                  <a:gd name="T23" fmla="*/ 475 h 548"/>
                  <a:gd name="T24" fmla="*/ 535 w 627"/>
                  <a:gd name="T25" fmla="*/ 73 h 548"/>
                  <a:gd name="T26" fmla="*/ 422 w 627"/>
                  <a:gd name="T27" fmla="*/ 0 h 548"/>
                  <a:gd name="T28" fmla="*/ 313 w 627"/>
                  <a:gd name="T29" fmla="*/ 57 h 548"/>
                  <a:gd name="T30" fmla="*/ 205 w 627"/>
                  <a:gd name="T31" fmla="*/ 0 h 548"/>
                  <a:gd name="T32" fmla="*/ 92 w 627"/>
                  <a:gd name="T33" fmla="*/ 73 h 548"/>
                  <a:gd name="T34" fmla="*/ 22 w 627"/>
                  <a:gd name="T35" fmla="*/ 475 h 548"/>
                  <a:gd name="T36" fmla="*/ 66 w 627"/>
                  <a:gd name="T37" fmla="*/ 513 h 548"/>
                  <a:gd name="T38" fmla="*/ 71 w 627"/>
                  <a:gd name="T39" fmla="*/ 513 h 548"/>
                  <a:gd name="T40" fmla="*/ 108 w 627"/>
                  <a:gd name="T41" fmla="*/ 484 h 548"/>
                  <a:gd name="T42" fmla="*/ 62 w 627"/>
                  <a:gd name="T43" fmla="*/ 348 h 548"/>
                  <a:gd name="T44" fmla="*/ 92 w 627"/>
                  <a:gd name="T45" fmla="*/ 21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548">
                    <a:moveTo>
                      <a:pt x="92" y="212"/>
                    </a:moveTo>
                    <a:cubicBezTo>
                      <a:pt x="105" y="212"/>
                      <a:pt x="105" y="212"/>
                      <a:pt x="105" y="212"/>
                    </a:cubicBezTo>
                    <a:cubicBezTo>
                      <a:pt x="86" y="255"/>
                      <a:pt x="74" y="302"/>
                      <a:pt x="74" y="348"/>
                    </a:cubicBezTo>
                    <a:cubicBezTo>
                      <a:pt x="74" y="495"/>
                      <a:pt x="188" y="548"/>
                      <a:pt x="313" y="548"/>
                    </a:cubicBezTo>
                    <a:cubicBezTo>
                      <a:pt x="439" y="548"/>
                      <a:pt x="553" y="495"/>
                      <a:pt x="553" y="348"/>
                    </a:cubicBezTo>
                    <a:cubicBezTo>
                      <a:pt x="553" y="302"/>
                      <a:pt x="541" y="255"/>
                      <a:pt x="522" y="212"/>
                    </a:cubicBezTo>
                    <a:cubicBezTo>
                      <a:pt x="535" y="212"/>
                      <a:pt x="535" y="212"/>
                      <a:pt x="535" y="212"/>
                    </a:cubicBezTo>
                    <a:cubicBezTo>
                      <a:pt x="554" y="256"/>
                      <a:pt x="565" y="303"/>
                      <a:pt x="565" y="348"/>
                    </a:cubicBezTo>
                    <a:cubicBezTo>
                      <a:pt x="565" y="404"/>
                      <a:pt x="550" y="449"/>
                      <a:pt x="519" y="484"/>
                    </a:cubicBezTo>
                    <a:cubicBezTo>
                      <a:pt x="525" y="499"/>
                      <a:pt x="538" y="511"/>
                      <a:pt x="556" y="513"/>
                    </a:cubicBezTo>
                    <a:cubicBezTo>
                      <a:pt x="557" y="513"/>
                      <a:pt x="559" y="513"/>
                      <a:pt x="561" y="513"/>
                    </a:cubicBezTo>
                    <a:cubicBezTo>
                      <a:pt x="583" y="513"/>
                      <a:pt x="602" y="497"/>
                      <a:pt x="605" y="475"/>
                    </a:cubicBezTo>
                    <a:cubicBezTo>
                      <a:pt x="627" y="291"/>
                      <a:pt x="604" y="156"/>
                      <a:pt x="535" y="73"/>
                    </a:cubicBezTo>
                    <a:cubicBezTo>
                      <a:pt x="494" y="22"/>
                      <a:pt x="447" y="6"/>
                      <a:pt x="422" y="0"/>
                    </a:cubicBezTo>
                    <a:cubicBezTo>
                      <a:pt x="398" y="35"/>
                      <a:pt x="359" y="57"/>
                      <a:pt x="313" y="57"/>
                    </a:cubicBezTo>
                    <a:cubicBezTo>
                      <a:pt x="268" y="57"/>
                      <a:pt x="229" y="35"/>
                      <a:pt x="205" y="0"/>
                    </a:cubicBezTo>
                    <a:cubicBezTo>
                      <a:pt x="180" y="6"/>
                      <a:pt x="133" y="22"/>
                      <a:pt x="92" y="73"/>
                    </a:cubicBezTo>
                    <a:cubicBezTo>
                      <a:pt x="23" y="156"/>
                      <a:pt x="0" y="291"/>
                      <a:pt x="22" y="475"/>
                    </a:cubicBezTo>
                    <a:cubicBezTo>
                      <a:pt x="25" y="497"/>
                      <a:pt x="44" y="513"/>
                      <a:pt x="66" y="513"/>
                    </a:cubicBezTo>
                    <a:cubicBezTo>
                      <a:pt x="68" y="513"/>
                      <a:pt x="69" y="513"/>
                      <a:pt x="71" y="513"/>
                    </a:cubicBezTo>
                    <a:cubicBezTo>
                      <a:pt x="89" y="511"/>
                      <a:pt x="102" y="499"/>
                      <a:pt x="108" y="484"/>
                    </a:cubicBezTo>
                    <a:cubicBezTo>
                      <a:pt x="77" y="449"/>
                      <a:pt x="62" y="404"/>
                      <a:pt x="62" y="348"/>
                    </a:cubicBezTo>
                    <a:cubicBezTo>
                      <a:pt x="62" y="303"/>
                      <a:pt x="73" y="256"/>
                      <a:pt x="9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7" name="Freeform 27">
                <a:extLst>
                  <a:ext uri="{FF2B5EF4-FFF2-40B4-BE49-F238E27FC236}">
                    <a16:creationId xmlns:a16="http://schemas.microsoft.com/office/drawing/2014/main" id="{3B2FC002-E837-4E9A-E5ED-F461F4F3956F}"/>
                  </a:ext>
                </a:extLst>
              </p:cNvPr>
              <p:cNvSpPr>
                <a:spLocks/>
              </p:cNvSpPr>
              <p:nvPr/>
            </p:nvSpPr>
            <p:spPr bwMode="auto">
              <a:xfrm>
                <a:off x="5312942" y="2673840"/>
                <a:ext cx="127343" cy="270778"/>
              </a:xfrm>
              <a:custGeom>
                <a:avLst/>
                <a:gdLst>
                  <a:gd name="T0" fmla="*/ 0 w 188"/>
                  <a:gd name="T1" fmla="*/ 0 h 399"/>
                  <a:gd name="T2" fmla="*/ 70 w 188"/>
                  <a:gd name="T3" fmla="*/ 351 h 399"/>
                  <a:gd name="T4" fmla="*/ 129 w 188"/>
                  <a:gd name="T5" fmla="*/ 399 h 399"/>
                  <a:gd name="T6" fmla="*/ 188 w 188"/>
                  <a:gd name="T7" fmla="*/ 351 h 399"/>
                  <a:gd name="T8" fmla="*/ 188 w 188"/>
                  <a:gd name="T9" fmla="*/ 67 h 399"/>
                  <a:gd name="T10" fmla="*/ 25 w 188"/>
                  <a:gd name="T11" fmla="*/ 21 h 399"/>
                  <a:gd name="T12" fmla="*/ 0 w 188"/>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0" y="0"/>
                    </a:moveTo>
                    <a:cubicBezTo>
                      <a:pt x="70" y="351"/>
                      <a:pt x="70" y="351"/>
                      <a:pt x="70" y="351"/>
                    </a:cubicBezTo>
                    <a:cubicBezTo>
                      <a:pt x="70" y="377"/>
                      <a:pt x="96" y="399"/>
                      <a:pt x="129" y="399"/>
                    </a:cubicBezTo>
                    <a:cubicBezTo>
                      <a:pt x="161" y="399"/>
                      <a:pt x="188" y="377"/>
                      <a:pt x="188" y="351"/>
                    </a:cubicBezTo>
                    <a:cubicBezTo>
                      <a:pt x="188" y="67"/>
                      <a:pt x="188" y="67"/>
                      <a:pt x="188" y="67"/>
                    </a:cubicBezTo>
                    <a:cubicBezTo>
                      <a:pt x="122" y="66"/>
                      <a:pt x="66" y="50"/>
                      <a:pt x="25" y="21"/>
                    </a:cubicBezTo>
                    <a:cubicBezTo>
                      <a:pt x="16" y="14"/>
                      <a:pt x="8"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8" name="Freeform 28">
                <a:extLst>
                  <a:ext uri="{FF2B5EF4-FFF2-40B4-BE49-F238E27FC236}">
                    <a16:creationId xmlns:a16="http://schemas.microsoft.com/office/drawing/2014/main" id="{D8D1379D-073D-286A-8A23-3A37CF7A1AAE}"/>
                  </a:ext>
                </a:extLst>
              </p:cNvPr>
              <p:cNvSpPr>
                <a:spLocks/>
              </p:cNvSpPr>
              <p:nvPr/>
            </p:nvSpPr>
            <p:spPr bwMode="auto">
              <a:xfrm>
                <a:off x="5454978" y="2673840"/>
                <a:ext cx="127343" cy="270778"/>
              </a:xfrm>
              <a:custGeom>
                <a:avLst/>
                <a:gdLst>
                  <a:gd name="T0" fmla="*/ 163 w 188"/>
                  <a:gd name="T1" fmla="*/ 21 h 399"/>
                  <a:gd name="T2" fmla="*/ 0 w 188"/>
                  <a:gd name="T3" fmla="*/ 67 h 399"/>
                  <a:gd name="T4" fmla="*/ 0 w 188"/>
                  <a:gd name="T5" fmla="*/ 351 h 399"/>
                  <a:gd name="T6" fmla="*/ 59 w 188"/>
                  <a:gd name="T7" fmla="*/ 399 h 399"/>
                  <a:gd name="T8" fmla="*/ 118 w 188"/>
                  <a:gd name="T9" fmla="*/ 351 h 399"/>
                  <a:gd name="T10" fmla="*/ 188 w 188"/>
                  <a:gd name="T11" fmla="*/ 0 h 399"/>
                  <a:gd name="T12" fmla="*/ 163 w 188"/>
                  <a:gd name="T13" fmla="*/ 21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163" y="21"/>
                    </a:moveTo>
                    <a:cubicBezTo>
                      <a:pt x="122" y="50"/>
                      <a:pt x="66" y="66"/>
                      <a:pt x="0" y="67"/>
                    </a:cubicBezTo>
                    <a:cubicBezTo>
                      <a:pt x="0" y="351"/>
                      <a:pt x="0" y="351"/>
                      <a:pt x="0" y="351"/>
                    </a:cubicBezTo>
                    <a:cubicBezTo>
                      <a:pt x="0" y="377"/>
                      <a:pt x="27" y="399"/>
                      <a:pt x="59" y="399"/>
                    </a:cubicBezTo>
                    <a:cubicBezTo>
                      <a:pt x="92" y="399"/>
                      <a:pt x="118" y="377"/>
                      <a:pt x="118" y="351"/>
                    </a:cubicBezTo>
                    <a:cubicBezTo>
                      <a:pt x="188" y="0"/>
                      <a:pt x="188" y="0"/>
                      <a:pt x="188" y="0"/>
                    </a:cubicBezTo>
                    <a:cubicBezTo>
                      <a:pt x="180" y="7"/>
                      <a:pt x="172" y="14"/>
                      <a:pt x="16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9" name="Oval 29">
                <a:extLst>
                  <a:ext uri="{FF2B5EF4-FFF2-40B4-BE49-F238E27FC236}">
                    <a16:creationId xmlns:a16="http://schemas.microsoft.com/office/drawing/2014/main" id="{18BB31D9-FC34-EC4C-DA39-83FCCF88181F}"/>
                  </a:ext>
                </a:extLst>
              </p:cNvPr>
              <p:cNvSpPr>
                <a:spLocks noChangeArrowheads="1"/>
              </p:cNvSpPr>
              <p:nvPr/>
            </p:nvSpPr>
            <p:spPr bwMode="auto">
              <a:xfrm>
                <a:off x="5365419" y="2207150"/>
                <a:ext cx="163027" cy="1630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grpSp>
      </p:grpSp>
      <p:grpSp>
        <p:nvGrpSpPr>
          <p:cNvPr id="168" name="Group 167">
            <a:extLst>
              <a:ext uri="{FF2B5EF4-FFF2-40B4-BE49-F238E27FC236}">
                <a16:creationId xmlns:a16="http://schemas.microsoft.com/office/drawing/2014/main" id="{A5A8AD1A-A65E-C3FA-629F-967CC48C3ED2}"/>
              </a:ext>
            </a:extLst>
          </p:cNvPr>
          <p:cNvGrpSpPr/>
          <p:nvPr/>
        </p:nvGrpSpPr>
        <p:grpSpPr>
          <a:xfrm>
            <a:off x="7221588" y="3817123"/>
            <a:ext cx="473093" cy="395156"/>
            <a:chOff x="7221588" y="2997973"/>
            <a:chExt cx="473093" cy="395156"/>
          </a:xfrm>
        </p:grpSpPr>
        <p:sp>
          <p:nvSpPr>
            <p:cNvPr id="164" name="Isosceles Triangle 163">
              <a:extLst>
                <a:ext uri="{FF2B5EF4-FFF2-40B4-BE49-F238E27FC236}">
                  <a16:creationId xmlns:a16="http://schemas.microsoft.com/office/drawing/2014/main" id="{07461B8A-EFEF-F4AB-0087-F18EA11E2918}"/>
                </a:ext>
              </a:extLst>
            </p:cNvPr>
            <p:cNvSpPr/>
            <p:nvPr/>
          </p:nvSpPr>
          <p:spPr>
            <a:xfrm rot="5400000">
              <a:off x="7194335" y="3025226"/>
              <a:ext cx="395156" cy="340650"/>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65" name="Isosceles Triangle 164">
              <a:extLst>
                <a:ext uri="{FF2B5EF4-FFF2-40B4-BE49-F238E27FC236}">
                  <a16:creationId xmlns:a16="http://schemas.microsoft.com/office/drawing/2014/main" id="{D61F7466-2022-0D77-6578-04D4EC485F73}"/>
                </a:ext>
              </a:extLst>
            </p:cNvPr>
            <p:cNvSpPr/>
            <p:nvPr/>
          </p:nvSpPr>
          <p:spPr>
            <a:xfrm rot="5400000">
              <a:off x="7326778" y="3025226"/>
              <a:ext cx="395156" cy="340650"/>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
        <p:nvSpPr>
          <p:cNvPr id="11" name="Oval 10">
            <a:extLst>
              <a:ext uri="{FF2B5EF4-FFF2-40B4-BE49-F238E27FC236}">
                <a16:creationId xmlns:a16="http://schemas.microsoft.com/office/drawing/2014/main" id="{6891275B-E94D-5D8C-551F-174F651B3A15}"/>
              </a:ext>
            </a:extLst>
          </p:cNvPr>
          <p:cNvSpPr/>
          <p:nvPr/>
        </p:nvSpPr>
        <p:spPr>
          <a:xfrm>
            <a:off x="9123330" y="2254865"/>
            <a:ext cx="1379570" cy="137957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2" name="Oval 11">
            <a:extLst>
              <a:ext uri="{FF2B5EF4-FFF2-40B4-BE49-F238E27FC236}">
                <a16:creationId xmlns:a16="http://schemas.microsoft.com/office/drawing/2014/main" id="{765D4472-AF32-035D-6D93-AD5F38696849}"/>
              </a:ext>
            </a:extLst>
          </p:cNvPr>
          <p:cNvSpPr/>
          <p:nvPr/>
        </p:nvSpPr>
        <p:spPr>
          <a:xfrm>
            <a:off x="8678830" y="1802902"/>
            <a:ext cx="2268570" cy="2268570"/>
          </a:xfrm>
          <a:prstGeom prst="ellipse">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157" name="Group 156">
            <a:extLst>
              <a:ext uri="{FF2B5EF4-FFF2-40B4-BE49-F238E27FC236}">
                <a16:creationId xmlns:a16="http://schemas.microsoft.com/office/drawing/2014/main" id="{69F42C9A-3707-7251-46ED-046472C8D918}"/>
              </a:ext>
            </a:extLst>
          </p:cNvPr>
          <p:cNvGrpSpPr/>
          <p:nvPr/>
        </p:nvGrpSpPr>
        <p:grpSpPr>
          <a:xfrm>
            <a:off x="9833575" y="3902439"/>
            <a:ext cx="1254381" cy="1438252"/>
            <a:chOff x="7273228" y="3842683"/>
            <a:chExt cx="1337372" cy="1533408"/>
          </a:xfrm>
        </p:grpSpPr>
        <p:sp>
          <p:nvSpPr>
            <p:cNvPr id="106" name="Freeform 64">
              <a:extLst>
                <a:ext uri="{FF2B5EF4-FFF2-40B4-BE49-F238E27FC236}">
                  <a16:creationId xmlns:a16="http://schemas.microsoft.com/office/drawing/2014/main" id="{48402AA6-036F-2202-D3FB-10AF9CEE8038}"/>
                </a:ext>
              </a:extLst>
            </p:cNvPr>
            <p:cNvSpPr>
              <a:spLocks/>
            </p:cNvSpPr>
            <p:nvPr/>
          </p:nvSpPr>
          <p:spPr bwMode="auto">
            <a:xfrm>
              <a:off x="7546031" y="3842683"/>
              <a:ext cx="740172" cy="733434"/>
            </a:xfrm>
            <a:prstGeom prst="ellipse">
              <a:avLst/>
            </a:prstGeom>
            <a:solidFill>
              <a:schemeClr val="tx2"/>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33" name="Freeform 63">
              <a:extLst>
                <a:ext uri="{FF2B5EF4-FFF2-40B4-BE49-F238E27FC236}">
                  <a16:creationId xmlns:a16="http://schemas.microsoft.com/office/drawing/2014/main" id="{196465A9-4D2A-E31E-13C7-CB3AD83506BF}"/>
                </a:ext>
              </a:extLst>
            </p:cNvPr>
            <p:cNvSpPr>
              <a:spLocks noEditPoints="1"/>
            </p:cNvSpPr>
            <p:nvPr/>
          </p:nvSpPr>
          <p:spPr bwMode="auto">
            <a:xfrm>
              <a:off x="7783299" y="3908218"/>
              <a:ext cx="284734" cy="595552"/>
            </a:xfrm>
            <a:custGeom>
              <a:avLst/>
              <a:gdLst>
                <a:gd name="T0" fmla="*/ 465 w 1854"/>
                <a:gd name="T1" fmla="*/ 3570 h 3884"/>
                <a:gd name="T2" fmla="*/ 427 w 1854"/>
                <a:gd name="T3" fmla="*/ 3509 h 3884"/>
                <a:gd name="T4" fmla="*/ 279 w 1854"/>
                <a:gd name="T5" fmla="*/ 3095 h 3884"/>
                <a:gd name="T6" fmla="*/ 283 w 1854"/>
                <a:gd name="T7" fmla="*/ 2999 h 3884"/>
                <a:gd name="T8" fmla="*/ 384 w 1854"/>
                <a:gd name="T9" fmla="*/ 2751 h 3884"/>
                <a:gd name="T10" fmla="*/ 469 w 1854"/>
                <a:gd name="T11" fmla="*/ 2557 h 3884"/>
                <a:gd name="T12" fmla="*/ 454 w 1854"/>
                <a:gd name="T13" fmla="*/ 2338 h 3884"/>
                <a:gd name="T14" fmla="*/ 414 w 1854"/>
                <a:gd name="T15" fmla="*/ 2242 h 3884"/>
                <a:gd name="T16" fmla="*/ 322 w 1854"/>
                <a:gd name="T17" fmla="*/ 2058 h 3884"/>
                <a:gd name="T18" fmla="*/ 226 w 1854"/>
                <a:gd name="T19" fmla="*/ 1791 h 3884"/>
                <a:gd name="T20" fmla="*/ 198 w 1854"/>
                <a:gd name="T21" fmla="*/ 1543 h 3884"/>
                <a:gd name="T22" fmla="*/ 157 w 1854"/>
                <a:gd name="T23" fmla="*/ 1493 h 3884"/>
                <a:gd name="T24" fmla="*/ 168 w 1854"/>
                <a:gd name="T25" fmla="*/ 1448 h 3884"/>
                <a:gd name="T26" fmla="*/ 110 w 1854"/>
                <a:gd name="T27" fmla="*/ 1453 h 3884"/>
                <a:gd name="T28" fmla="*/ 85 w 1854"/>
                <a:gd name="T29" fmla="*/ 1476 h 3884"/>
                <a:gd name="T30" fmla="*/ 56 w 1854"/>
                <a:gd name="T31" fmla="*/ 1465 h 3884"/>
                <a:gd name="T32" fmla="*/ 110 w 1854"/>
                <a:gd name="T33" fmla="*/ 1296 h 3884"/>
                <a:gd name="T34" fmla="*/ 103 w 1854"/>
                <a:gd name="T35" fmla="*/ 1217 h 3884"/>
                <a:gd name="T36" fmla="*/ 91 w 1854"/>
                <a:gd name="T37" fmla="*/ 1104 h 3884"/>
                <a:gd name="T38" fmla="*/ 70 w 1854"/>
                <a:gd name="T39" fmla="*/ 1016 h 3884"/>
                <a:gd name="T40" fmla="*/ 25 w 1854"/>
                <a:gd name="T41" fmla="*/ 1020 h 3884"/>
                <a:gd name="T42" fmla="*/ 0 w 1854"/>
                <a:gd name="T43" fmla="*/ 1017 h 3884"/>
                <a:gd name="T44" fmla="*/ 60 w 1854"/>
                <a:gd name="T45" fmla="*/ 951 h 3884"/>
                <a:gd name="T46" fmla="*/ 119 w 1854"/>
                <a:gd name="T47" fmla="*/ 881 h 3884"/>
                <a:gd name="T48" fmla="*/ 115 w 1854"/>
                <a:gd name="T49" fmla="*/ 679 h 3884"/>
                <a:gd name="T50" fmla="*/ 94 w 1854"/>
                <a:gd name="T51" fmla="*/ 513 h 3884"/>
                <a:gd name="T52" fmla="*/ 129 w 1854"/>
                <a:gd name="T53" fmla="*/ 387 h 3884"/>
                <a:gd name="T54" fmla="*/ 85 w 1854"/>
                <a:gd name="T55" fmla="*/ 392 h 3884"/>
                <a:gd name="T56" fmla="*/ 161 w 1854"/>
                <a:gd name="T57" fmla="*/ 305 h 3884"/>
                <a:gd name="T58" fmla="*/ 360 w 1854"/>
                <a:gd name="T59" fmla="*/ 246 h 3884"/>
                <a:gd name="T60" fmla="*/ 464 w 1854"/>
                <a:gd name="T61" fmla="*/ 239 h 3884"/>
                <a:gd name="T62" fmla="*/ 572 w 1854"/>
                <a:gd name="T63" fmla="*/ 115 h 3884"/>
                <a:gd name="T64" fmla="*/ 881 w 1854"/>
                <a:gd name="T65" fmla="*/ 6 h 3884"/>
                <a:gd name="T66" fmla="*/ 1229 w 1854"/>
                <a:gd name="T67" fmla="*/ 198 h 3884"/>
                <a:gd name="T68" fmla="*/ 1272 w 1854"/>
                <a:gd name="T69" fmla="*/ 343 h 3884"/>
                <a:gd name="T70" fmla="*/ 1216 w 1854"/>
                <a:gd name="T71" fmla="*/ 641 h 3884"/>
                <a:gd name="T72" fmla="*/ 1210 w 1854"/>
                <a:gd name="T73" fmla="*/ 831 h 3884"/>
                <a:gd name="T74" fmla="*/ 1121 w 1854"/>
                <a:gd name="T75" fmla="*/ 909 h 3884"/>
                <a:gd name="T76" fmla="*/ 1014 w 1854"/>
                <a:gd name="T77" fmla="*/ 1057 h 3884"/>
                <a:gd name="T78" fmla="*/ 820 w 1854"/>
                <a:gd name="T79" fmla="*/ 1115 h 3884"/>
                <a:gd name="T80" fmla="*/ 1015 w 1854"/>
                <a:gd name="T81" fmla="*/ 1302 h 3884"/>
                <a:gd name="T82" fmla="*/ 1407 w 1854"/>
                <a:gd name="T83" fmla="*/ 1810 h 3884"/>
                <a:gd name="T84" fmla="*/ 1592 w 1854"/>
                <a:gd name="T85" fmla="*/ 2089 h 3884"/>
                <a:gd name="T86" fmla="*/ 1852 w 1854"/>
                <a:gd name="T87" fmla="*/ 2610 h 3884"/>
                <a:gd name="T88" fmla="*/ 1489 w 1854"/>
                <a:gd name="T89" fmla="*/ 3198 h 3884"/>
                <a:gd name="T90" fmla="*/ 1344 w 1854"/>
                <a:gd name="T91" fmla="*/ 3339 h 3884"/>
                <a:gd name="T92" fmla="*/ 1265 w 1854"/>
                <a:gd name="T93" fmla="*/ 3884 h 3884"/>
                <a:gd name="T94" fmla="*/ 427 w 1854"/>
                <a:gd name="T95" fmla="*/ 927 h 3884"/>
                <a:gd name="T96" fmla="*/ 433 w 1854"/>
                <a:gd name="T97" fmla="*/ 551 h 3884"/>
                <a:gd name="T98" fmla="*/ 457 w 1854"/>
                <a:gd name="T99" fmla="*/ 395 h 3884"/>
                <a:gd name="T100" fmla="*/ 333 w 1854"/>
                <a:gd name="T101" fmla="*/ 533 h 3884"/>
                <a:gd name="T102" fmla="*/ 396 w 1854"/>
                <a:gd name="T103" fmla="*/ 729 h 3884"/>
                <a:gd name="T104" fmla="*/ 390 w 1854"/>
                <a:gd name="T105" fmla="*/ 740 h 3884"/>
                <a:gd name="T106" fmla="*/ 880 w 1854"/>
                <a:gd name="T107" fmla="*/ 1202 h 3884"/>
                <a:gd name="T108" fmla="*/ 376 w 1854"/>
                <a:gd name="T109" fmla="*/ 967 h 3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54" h="3884">
                  <a:moveTo>
                    <a:pt x="502" y="3884"/>
                  </a:moveTo>
                  <a:cubicBezTo>
                    <a:pt x="501" y="3840"/>
                    <a:pt x="499" y="3795"/>
                    <a:pt x="498" y="3750"/>
                  </a:cubicBezTo>
                  <a:cubicBezTo>
                    <a:pt x="496" y="3703"/>
                    <a:pt x="487" y="3657"/>
                    <a:pt x="475" y="3611"/>
                  </a:cubicBezTo>
                  <a:cubicBezTo>
                    <a:pt x="471" y="3597"/>
                    <a:pt x="462" y="3585"/>
                    <a:pt x="465" y="3570"/>
                  </a:cubicBezTo>
                  <a:cubicBezTo>
                    <a:pt x="465" y="3568"/>
                    <a:pt x="464" y="3565"/>
                    <a:pt x="462" y="3564"/>
                  </a:cubicBezTo>
                  <a:cubicBezTo>
                    <a:pt x="453" y="3558"/>
                    <a:pt x="450" y="3550"/>
                    <a:pt x="451" y="3539"/>
                  </a:cubicBezTo>
                  <a:cubicBezTo>
                    <a:pt x="451" y="3538"/>
                    <a:pt x="450" y="3536"/>
                    <a:pt x="450" y="3536"/>
                  </a:cubicBezTo>
                  <a:cubicBezTo>
                    <a:pt x="442" y="3527"/>
                    <a:pt x="435" y="3518"/>
                    <a:pt x="427" y="3509"/>
                  </a:cubicBezTo>
                  <a:cubicBezTo>
                    <a:pt x="425" y="3508"/>
                    <a:pt x="423" y="3506"/>
                    <a:pt x="422" y="3504"/>
                  </a:cubicBezTo>
                  <a:cubicBezTo>
                    <a:pt x="405" y="3478"/>
                    <a:pt x="387" y="3452"/>
                    <a:pt x="370" y="3426"/>
                  </a:cubicBezTo>
                  <a:cubicBezTo>
                    <a:pt x="319" y="3349"/>
                    <a:pt x="292" y="3264"/>
                    <a:pt x="284" y="3173"/>
                  </a:cubicBezTo>
                  <a:cubicBezTo>
                    <a:pt x="282" y="3147"/>
                    <a:pt x="281" y="3121"/>
                    <a:pt x="279" y="3095"/>
                  </a:cubicBezTo>
                  <a:cubicBezTo>
                    <a:pt x="279" y="3094"/>
                    <a:pt x="280" y="3092"/>
                    <a:pt x="279" y="3092"/>
                  </a:cubicBezTo>
                  <a:cubicBezTo>
                    <a:pt x="269" y="3072"/>
                    <a:pt x="278" y="3053"/>
                    <a:pt x="279" y="3033"/>
                  </a:cubicBezTo>
                  <a:cubicBezTo>
                    <a:pt x="279" y="3028"/>
                    <a:pt x="279" y="3023"/>
                    <a:pt x="279" y="3019"/>
                  </a:cubicBezTo>
                  <a:cubicBezTo>
                    <a:pt x="280" y="3012"/>
                    <a:pt x="279" y="3005"/>
                    <a:pt x="283" y="2999"/>
                  </a:cubicBezTo>
                  <a:cubicBezTo>
                    <a:pt x="301" y="2967"/>
                    <a:pt x="305" y="2931"/>
                    <a:pt x="318" y="2898"/>
                  </a:cubicBezTo>
                  <a:cubicBezTo>
                    <a:pt x="324" y="2884"/>
                    <a:pt x="329" y="2869"/>
                    <a:pt x="335" y="2855"/>
                  </a:cubicBezTo>
                  <a:cubicBezTo>
                    <a:pt x="344" y="2835"/>
                    <a:pt x="356" y="2816"/>
                    <a:pt x="362" y="2795"/>
                  </a:cubicBezTo>
                  <a:cubicBezTo>
                    <a:pt x="368" y="2779"/>
                    <a:pt x="375" y="2764"/>
                    <a:pt x="384" y="2751"/>
                  </a:cubicBezTo>
                  <a:cubicBezTo>
                    <a:pt x="386" y="2749"/>
                    <a:pt x="386" y="2746"/>
                    <a:pt x="386" y="2744"/>
                  </a:cubicBezTo>
                  <a:cubicBezTo>
                    <a:pt x="388" y="2700"/>
                    <a:pt x="414" y="2672"/>
                    <a:pt x="445" y="2647"/>
                  </a:cubicBezTo>
                  <a:cubicBezTo>
                    <a:pt x="453" y="2642"/>
                    <a:pt x="454" y="2637"/>
                    <a:pt x="453" y="2629"/>
                  </a:cubicBezTo>
                  <a:cubicBezTo>
                    <a:pt x="450" y="2603"/>
                    <a:pt x="450" y="2578"/>
                    <a:pt x="469" y="2557"/>
                  </a:cubicBezTo>
                  <a:cubicBezTo>
                    <a:pt x="470" y="2556"/>
                    <a:pt x="471" y="2554"/>
                    <a:pt x="471" y="2552"/>
                  </a:cubicBezTo>
                  <a:cubicBezTo>
                    <a:pt x="463" y="2531"/>
                    <a:pt x="479" y="2513"/>
                    <a:pt x="481" y="2493"/>
                  </a:cubicBezTo>
                  <a:cubicBezTo>
                    <a:pt x="484" y="2471"/>
                    <a:pt x="486" y="2449"/>
                    <a:pt x="479" y="2426"/>
                  </a:cubicBezTo>
                  <a:cubicBezTo>
                    <a:pt x="469" y="2397"/>
                    <a:pt x="462" y="2368"/>
                    <a:pt x="454" y="2338"/>
                  </a:cubicBezTo>
                  <a:cubicBezTo>
                    <a:pt x="453" y="2335"/>
                    <a:pt x="452" y="2330"/>
                    <a:pt x="449" y="2328"/>
                  </a:cubicBezTo>
                  <a:cubicBezTo>
                    <a:pt x="438" y="2319"/>
                    <a:pt x="437" y="2307"/>
                    <a:pt x="441" y="2294"/>
                  </a:cubicBezTo>
                  <a:cubicBezTo>
                    <a:pt x="444" y="2288"/>
                    <a:pt x="443" y="2284"/>
                    <a:pt x="436" y="2281"/>
                  </a:cubicBezTo>
                  <a:cubicBezTo>
                    <a:pt x="418" y="2274"/>
                    <a:pt x="412" y="2259"/>
                    <a:pt x="414" y="2242"/>
                  </a:cubicBezTo>
                  <a:cubicBezTo>
                    <a:pt x="416" y="2227"/>
                    <a:pt x="412" y="2214"/>
                    <a:pt x="405" y="2202"/>
                  </a:cubicBezTo>
                  <a:cubicBezTo>
                    <a:pt x="388" y="2168"/>
                    <a:pt x="372" y="2134"/>
                    <a:pt x="354" y="2100"/>
                  </a:cubicBezTo>
                  <a:cubicBezTo>
                    <a:pt x="352" y="2095"/>
                    <a:pt x="347" y="2091"/>
                    <a:pt x="344" y="2086"/>
                  </a:cubicBezTo>
                  <a:cubicBezTo>
                    <a:pt x="337" y="2077"/>
                    <a:pt x="329" y="2067"/>
                    <a:pt x="322" y="2058"/>
                  </a:cubicBezTo>
                  <a:cubicBezTo>
                    <a:pt x="317" y="2050"/>
                    <a:pt x="312" y="2041"/>
                    <a:pt x="308" y="2033"/>
                  </a:cubicBezTo>
                  <a:cubicBezTo>
                    <a:pt x="299" y="2017"/>
                    <a:pt x="290" y="2002"/>
                    <a:pt x="284" y="1986"/>
                  </a:cubicBezTo>
                  <a:cubicBezTo>
                    <a:pt x="267" y="1940"/>
                    <a:pt x="252" y="1893"/>
                    <a:pt x="238" y="1846"/>
                  </a:cubicBezTo>
                  <a:cubicBezTo>
                    <a:pt x="232" y="1828"/>
                    <a:pt x="231" y="1809"/>
                    <a:pt x="226" y="1791"/>
                  </a:cubicBezTo>
                  <a:cubicBezTo>
                    <a:pt x="217" y="1763"/>
                    <a:pt x="206" y="1735"/>
                    <a:pt x="197" y="1707"/>
                  </a:cubicBezTo>
                  <a:cubicBezTo>
                    <a:pt x="194" y="1697"/>
                    <a:pt x="195" y="1686"/>
                    <a:pt x="195" y="1675"/>
                  </a:cubicBezTo>
                  <a:cubicBezTo>
                    <a:pt x="194" y="1672"/>
                    <a:pt x="196" y="1669"/>
                    <a:pt x="196" y="1666"/>
                  </a:cubicBezTo>
                  <a:cubicBezTo>
                    <a:pt x="189" y="1625"/>
                    <a:pt x="191" y="1584"/>
                    <a:pt x="198" y="1543"/>
                  </a:cubicBezTo>
                  <a:cubicBezTo>
                    <a:pt x="199" y="1530"/>
                    <a:pt x="195" y="1520"/>
                    <a:pt x="190" y="1510"/>
                  </a:cubicBezTo>
                  <a:cubicBezTo>
                    <a:pt x="187" y="1503"/>
                    <a:pt x="184" y="1495"/>
                    <a:pt x="181" y="1486"/>
                  </a:cubicBezTo>
                  <a:cubicBezTo>
                    <a:pt x="170" y="1491"/>
                    <a:pt x="168" y="1504"/>
                    <a:pt x="161" y="1514"/>
                  </a:cubicBezTo>
                  <a:cubicBezTo>
                    <a:pt x="159" y="1507"/>
                    <a:pt x="158" y="1500"/>
                    <a:pt x="157" y="1493"/>
                  </a:cubicBezTo>
                  <a:cubicBezTo>
                    <a:pt x="152" y="1497"/>
                    <a:pt x="147" y="1503"/>
                    <a:pt x="142" y="1508"/>
                  </a:cubicBezTo>
                  <a:cubicBezTo>
                    <a:pt x="142" y="1508"/>
                    <a:pt x="141" y="1507"/>
                    <a:pt x="141" y="1507"/>
                  </a:cubicBezTo>
                  <a:cubicBezTo>
                    <a:pt x="151" y="1489"/>
                    <a:pt x="162" y="1470"/>
                    <a:pt x="172" y="1451"/>
                  </a:cubicBezTo>
                  <a:cubicBezTo>
                    <a:pt x="171" y="1450"/>
                    <a:pt x="170" y="1449"/>
                    <a:pt x="168" y="1448"/>
                  </a:cubicBezTo>
                  <a:cubicBezTo>
                    <a:pt x="162" y="1464"/>
                    <a:pt x="151" y="1468"/>
                    <a:pt x="135" y="1465"/>
                  </a:cubicBezTo>
                  <a:cubicBezTo>
                    <a:pt x="136" y="1462"/>
                    <a:pt x="138" y="1459"/>
                    <a:pt x="139" y="1455"/>
                  </a:cubicBezTo>
                  <a:cubicBezTo>
                    <a:pt x="132" y="1448"/>
                    <a:pt x="125" y="1446"/>
                    <a:pt x="116" y="1454"/>
                  </a:cubicBezTo>
                  <a:cubicBezTo>
                    <a:pt x="115" y="1455"/>
                    <a:pt x="110" y="1454"/>
                    <a:pt x="110" y="1453"/>
                  </a:cubicBezTo>
                  <a:cubicBezTo>
                    <a:pt x="109" y="1450"/>
                    <a:pt x="109" y="1446"/>
                    <a:pt x="111" y="1445"/>
                  </a:cubicBezTo>
                  <a:cubicBezTo>
                    <a:pt x="126" y="1439"/>
                    <a:pt x="120" y="1426"/>
                    <a:pt x="120" y="1413"/>
                  </a:cubicBezTo>
                  <a:cubicBezTo>
                    <a:pt x="107" y="1421"/>
                    <a:pt x="102" y="1432"/>
                    <a:pt x="98" y="1444"/>
                  </a:cubicBezTo>
                  <a:cubicBezTo>
                    <a:pt x="95" y="1455"/>
                    <a:pt x="89" y="1465"/>
                    <a:pt x="85" y="1476"/>
                  </a:cubicBezTo>
                  <a:cubicBezTo>
                    <a:pt x="83" y="1480"/>
                    <a:pt x="85" y="1484"/>
                    <a:pt x="84" y="1489"/>
                  </a:cubicBezTo>
                  <a:cubicBezTo>
                    <a:pt x="83" y="1502"/>
                    <a:pt x="89" y="1513"/>
                    <a:pt x="99" y="1522"/>
                  </a:cubicBezTo>
                  <a:cubicBezTo>
                    <a:pt x="96" y="1523"/>
                    <a:pt x="94" y="1523"/>
                    <a:pt x="92" y="1523"/>
                  </a:cubicBezTo>
                  <a:cubicBezTo>
                    <a:pt x="73" y="1513"/>
                    <a:pt x="51" y="1493"/>
                    <a:pt x="56" y="1465"/>
                  </a:cubicBezTo>
                  <a:cubicBezTo>
                    <a:pt x="61" y="1438"/>
                    <a:pt x="73" y="1416"/>
                    <a:pt x="91" y="1397"/>
                  </a:cubicBezTo>
                  <a:cubicBezTo>
                    <a:pt x="108" y="1379"/>
                    <a:pt x="121" y="1362"/>
                    <a:pt x="109" y="1337"/>
                  </a:cubicBezTo>
                  <a:cubicBezTo>
                    <a:pt x="108" y="1332"/>
                    <a:pt x="107" y="1327"/>
                    <a:pt x="107" y="1322"/>
                  </a:cubicBezTo>
                  <a:cubicBezTo>
                    <a:pt x="107" y="1314"/>
                    <a:pt x="105" y="1306"/>
                    <a:pt x="110" y="1296"/>
                  </a:cubicBezTo>
                  <a:cubicBezTo>
                    <a:pt x="114" y="1287"/>
                    <a:pt x="108" y="1273"/>
                    <a:pt x="107" y="1258"/>
                  </a:cubicBezTo>
                  <a:cubicBezTo>
                    <a:pt x="104" y="1261"/>
                    <a:pt x="103" y="1262"/>
                    <a:pt x="102" y="1264"/>
                  </a:cubicBezTo>
                  <a:cubicBezTo>
                    <a:pt x="101" y="1263"/>
                    <a:pt x="100" y="1262"/>
                    <a:pt x="101" y="1261"/>
                  </a:cubicBezTo>
                  <a:cubicBezTo>
                    <a:pt x="101" y="1246"/>
                    <a:pt x="103" y="1232"/>
                    <a:pt x="103" y="1217"/>
                  </a:cubicBezTo>
                  <a:cubicBezTo>
                    <a:pt x="103" y="1200"/>
                    <a:pt x="101" y="1183"/>
                    <a:pt x="89" y="1167"/>
                  </a:cubicBezTo>
                  <a:cubicBezTo>
                    <a:pt x="83" y="1160"/>
                    <a:pt x="82" y="1150"/>
                    <a:pt x="86" y="1139"/>
                  </a:cubicBezTo>
                  <a:cubicBezTo>
                    <a:pt x="90" y="1129"/>
                    <a:pt x="92" y="1119"/>
                    <a:pt x="94" y="1108"/>
                  </a:cubicBezTo>
                  <a:cubicBezTo>
                    <a:pt x="94" y="1107"/>
                    <a:pt x="92" y="1104"/>
                    <a:pt x="91" y="1104"/>
                  </a:cubicBezTo>
                  <a:cubicBezTo>
                    <a:pt x="72" y="1099"/>
                    <a:pt x="73" y="1083"/>
                    <a:pt x="71" y="1069"/>
                  </a:cubicBezTo>
                  <a:cubicBezTo>
                    <a:pt x="70" y="1060"/>
                    <a:pt x="69" y="1051"/>
                    <a:pt x="70" y="1043"/>
                  </a:cubicBezTo>
                  <a:cubicBezTo>
                    <a:pt x="72" y="1032"/>
                    <a:pt x="76" y="1021"/>
                    <a:pt x="79" y="1009"/>
                  </a:cubicBezTo>
                  <a:cubicBezTo>
                    <a:pt x="76" y="1011"/>
                    <a:pt x="74" y="1014"/>
                    <a:pt x="70" y="1016"/>
                  </a:cubicBezTo>
                  <a:cubicBezTo>
                    <a:pt x="66" y="1018"/>
                    <a:pt x="63" y="1028"/>
                    <a:pt x="55" y="1018"/>
                  </a:cubicBezTo>
                  <a:cubicBezTo>
                    <a:pt x="55" y="1017"/>
                    <a:pt x="46" y="1022"/>
                    <a:pt x="41" y="1023"/>
                  </a:cubicBezTo>
                  <a:cubicBezTo>
                    <a:pt x="36" y="1024"/>
                    <a:pt x="31" y="1024"/>
                    <a:pt x="26" y="1024"/>
                  </a:cubicBezTo>
                  <a:cubicBezTo>
                    <a:pt x="26" y="1023"/>
                    <a:pt x="26" y="1021"/>
                    <a:pt x="25" y="1020"/>
                  </a:cubicBezTo>
                  <a:cubicBezTo>
                    <a:pt x="31" y="1018"/>
                    <a:pt x="38" y="1015"/>
                    <a:pt x="44" y="1012"/>
                  </a:cubicBezTo>
                  <a:cubicBezTo>
                    <a:pt x="44" y="1012"/>
                    <a:pt x="43" y="1011"/>
                    <a:pt x="43" y="1011"/>
                  </a:cubicBezTo>
                  <a:cubicBezTo>
                    <a:pt x="29" y="1014"/>
                    <a:pt x="15" y="1017"/>
                    <a:pt x="1" y="1020"/>
                  </a:cubicBezTo>
                  <a:cubicBezTo>
                    <a:pt x="0" y="1019"/>
                    <a:pt x="0" y="1018"/>
                    <a:pt x="0" y="1017"/>
                  </a:cubicBezTo>
                  <a:cubicBezTo>
                    <a:pt x="4" y="1015"/>
                    <a:pt x="9" y="1013"/>
                    <a:pt x="13" y="1011"/>
                  </a:cubicBezTo>
                  <a:cubicBezTo>
                    <a:pt x="11" y="1008"/>
                    <a:pt x="9" y="1005"/>
                    <a:pt x="6" y="1001"/>
                  </a:cubicBezTo>
                  <a:cubicBezTo>
                    <a:pt x="17" y="994"/>
                    <a:pt x="29" y="988"/>
                    <a:pt x="38" y="979"/>
                  </a:cubicBezTo>
                  <a:cubicBezTo>
                    <a:pt x="46" y="971"/>
                    <a:pt x="61" y="967"/>
                    <a:pt x="60" y="951"/>
                  </a:cubicBezTo>
                  <a:cubicBezTo>
                    <a:pt x="60" y="950"/>
                    <a:pt x="62" y="949"/>
                    <a:pt x="64" y="948"/>
                  </a:cubicBezTo>
                  <a:cubicBezTo>
                    <a:pt x="73" y="942"/>
                    <a:pt x="83" y="936"/>
                    <a:pt x="93" y="929"/>
                  </a:cubicBezTo>
                  <a:cubicBezTo>
                    <a:pt x="89" y="919"/>
                    <a:pt x="85" y="910"/>
                    <a:pt x="99" y="903"/>
                  </a:cubicBezTo>
                  <a:cubicBezTo>
                    <a:pt x="107" y="899"/>
                    <a:pt x="114" y="889"/>
                    <a:pt x="119" y="881"/>
                  </a:cubicBezTo>
                  <a:cubicBezTo>
                    <a:pt x="128" y="863"/>
                    <a:pt x="136" y="845"/>
                    <a:pt x="144" y="827"/>
                  </a:cubicBezTo>
                  <a:cubicBezTo>
                    <a:pt x="146" y="822"/>
                    <a:pt x="145" y="816"/>
                    <a:pt x="144" y="811"/>
                  </a:cubicBezTo>
                  <a:cubicBezTo>
                    <a:pt x="137" y="780"/>
                    <a:pt x="130" y="749"/>
                    <a:pt x="122" y="717"/>
                  </a:cubicBezTo>
                  <a:cubicBezTo>
                    <a:pt x="120" y="705"/>
                    <a:pt x="118" y="692"/>
                    <a:pt x="115" y="679"/>
                  </a:cubicBezTo>
                  <a:cubicBezTo>
                    <a:pt x="114" y="675"/>
                    <a:pt x="113" y="672"/>
                    <a:pt x="112" y="669"/>
                  </a:cubicBezTo>
                  <a:cubicBezTo>
                    <a:pt x="108" y="656"/>
                    <a:pt x="104" y="644"/>
                    <a:pt x="102" y="632"/>
                  </a:cubicBezTo>
                  <a:cubicBezTo>
                    <a:pt x="97" y="603"/>
                    <a:pt x="93" y="573"/>
                    <a:pt x="90" y="544"/>
                  </a:cubicBezTo>
                  <a:cubicBezTo>
                    <a:pt x="90" y="534"/>
                    <a:pt x="92" y="523"/>
                    <a:pt x="94" y="513"/>
                  </a:cubicBezTo>
                  <a:cubicBezTo>
                    <a:pt x="97" y="494"/>
                    <a:pt x="99" y="475"/>
                    <a:pt x="105" y="456"/>
                  </a:cubicBezTo>
                  <a:cubicBezTo>
                    <a:pt x="111" y="435"/>
                    <a:pt x="121" y="414"/>
                    <a:pt x="129" y="394"/>
                  </a:cubicBezTo>
                  <a:cubicBezTo>
                    <a:pt x="130" y="394"/>
                    <a:pt x="128" y="394"/>
                    <a:pt x="126" y="395"/>
                  </a:cubicBezTo>
                  <a:cubicBezTo>
                    <a:pt x="127" y="392"/>
                    <a:pt x="128" y="390"/>
                    <a:pt x="129" y="387"/>
                  </a:cubicBezTo>
                  <a:cubicBezTo>
                    <a:pt x="100" y="407"/>
                    <a:pt x="84" y="436"/>
                    <a:pt x="63" y="464"/>
                  </a:cubicBezTo>
                  <a:cubicBezTo>
                    <a:pt x="59" y="450"/>
                    <a:pt x="62" y="443"/>
                    <a:pt x="73" y="428"/>
                  </a:cubicBezTo>
                  <a:cubicBezTo>
                    <a:pt x="81" y="417"/>
                    <a:pt x="86" y="404"/>
                    <a:pt x="94" y="391"/>
                  </a:cubicBezTo>
                  <a:cubicBezTo>
                    <a:pt x="89" y="392"/>
                    <a:pt x="87" y="392"/>
                    <a:pt x="85" y="392"/>
                  </a:cubicBezTo>
                  <a:cubicBezTo>
                    <a:pt x="85" y="391"/>
                    <a:pt x="85" y="390"/>
                    <a:pt x="86" y="390"/>
                  </a:cubicBezTo>
                  <a:cubicBezTo>
                    <a:pt x="98" y="373"/>
                    <a:pt x="110" y="357"/>
                    <a:pt x="124" y="341"/>
                  </a:cubicBezTo>
                  <a:cubicBezTo>
                    <a:pt x="131" y="333"/>
                    <a:pt x="141" y="327"/>
                    <a:pt x="150" y="320"/>
                  </a:cubicBezTo>
                  <a:cubicBezTo>
                    <a:pt x="154" y="316"/>
                    <a:pt x="157" y="310"/>
                    <a:pt x="161" y="305"/>
                  </a:cubicBezTo>
                  <a:cubicBezTo>
                    <a:pt x="176" y="283"/>
                    <a:pt x="198" y="274"/>
                    <a:pt x="224" y="271"/>
                  </a:cubicBezTo>
                  <a:cubicBezTo>
                    <a:pt x="245" y="268"/>
                    <a:pt x="267" y="265"/>
                    <a:pt x="288" y="262"/>
                  </a:cubicBezTo>
                  <a:cubicBezTo>
                    <a:pt x="292" y="262"/>
                    <a:pt x="296" y="261"/>
                    <a:pt x="299" y="262"/>
                  </a:cubicBezTo>
                  <a:cubicBezTo>
                    <a:pt x="323" y="272"/>
                    <a:pt x="341" y="259"/>
                    <a:pt x="360" y="246"/>
                  </a:cubicBezTo>
                  <a:cubicBezTo>
                    <a:pt x="368" y="241"/>
                    <a:pt x="376" y="236"/>
                    <a:pt x="388" y="238"/>
                  </a:cubicBezTo>
                  <a:cubicBezTo>
                    <a:pt x="407" y="241"/>
                    <a:pt x="426" y="241"/>
                    <a:pt x="445" y="242"/>
                  </a:cubicBezTo>
                  <a:cubicBezTo>
                    <a:pt x="448" y="242"/>
                    <a:pt x="451" y="240"/>
                    <a:pt x="454" y="239"/>
                  </a:cubicBezTo>
                  <a:cubicBezTo>
                    <a:pt x="457" y="238"/>
                    <a:pt x="463" y="237"/>
                    <a:pt x="464" y="239"/>
                  </a:cubicBezTo>
                  <a:cubicBezTo>
                    <a:pt x="470" y="247"/>
                    <a:pt x="478" y="245"/>
                    <a:pt x="484" y="240"/>
                  </a:cubicBezTo>
                  <a:cubicBezTo>
                    <a:pt x="495" y="230"/>
                    <a:pt x="506" y="219"/>
                    <a:pt x="515" y="207"/>
                  </a:cubicBezTo>
                  <a:cubicBezTo>
                    <a:pt x="526" y="192"/>
                    <a:pt x="535" y="175"/>
                    <a:pt x="545" y="159"/>
                  </a:cubicBezTo>
                  <a:cubicBezTo>
                    <a:pt x="554" y="144"/>
                    <a:pt x="561" y="128"/>
                    <a:pt x="572" y="115"/>
                  </a:cubicBezTo>
                  <a:cubicBezTo>
                    <a:pt x="595" y="87"/>
                    <a:pt x="619" y="58"/>
                    <a:pt x="655" y="44"/>
                  </a:cubicBezTo>
                  <a:cubicBezTo>
                    <a:pt x="676" y="36"/>
                    <a:pt x="695" y="25"/>
                    <a:pt x="717" y="17"/>
                  </a:cubicBezTo>
                  <a:cubicBezTo>
                    <a:pt x="734" y="11"/>
                    <a:pt x="752" y="8"/>
                    <a:pt x="770" y="6"/>
                  </a:cubicBezTo>
                  <a:cubicBezTo>
                    <a:pt x="807" y="0"/>
                    <a:pt x="844" y="2"/>
                    <a:pt x="881" y="6"/>
                  </a:cubicBezTo>
                  <a:cubicBezTo>
                    <a:pt x="917" y="10"/>
                    <a:pt x="952" y="13"/>
                    <a:pt x="988" y="19"/>
                  </a:cubicBezTo>
                  <a:cubicBezTo>
                    <a:pt x="1031" y="26"/>
                    <a:pt x="1070" y="47"/>
                    <a:pt x="1105" y="72"/>
                  </a:cubicBezTo>
                  <a:cubicBezTo>
                    <a:pt x="1140" y="98"/>
                    <a:pt x="1172" y="127"/>
                    <a:pt x="1203" y="157"/>
                  </a:cubicBezTo>
                  <a:cubicBezTo>
                    <a:pt x="1215" y="168"/>
                    <a:pt x="1221" y="184"/>
                    <a:pt x="1229" y="198"/>
                  </a:cubicBezTo>
                  <a:cubicBezTo>
                    <a:pt x="1234" y="207"/>
                    <a:pt x="1240" y="215"/>
                    <a:pt x="1244" y="224"/>
                  </a:cubicBezTo>
                  <a:cubicBezTo>
                    <a:pt x="1252" y="242"/>
                    <a:pt x="1259" y="261"/>
                    <a:pt x="1267" y="279"/>
                  </a:cubicBezTo>
                  <a:cubicBezTo>
                    <a:pt x="1276" y="298"/>
                    <a:pt x="1275" y="317"/>
                    <a:pt x="1273" y="336"/>
                  </a:cubicBezTo>
                  <a:cubicBezTo>
                    <a:pt x="1273" y="339"/>
                    <a:pt x="1273" y="342"/>
                    <a:pt x="1272" y="343"/>
                  </a:cubicBezTo>
                  <a:cubicBezTo>
                    <a:pt x="1259" y="352"/>
                    <a:pt x="1266" y="364"/>
                    <a:pt x="1265" y="375"/>
                  </a:cubicBezTo>
                  <a:cubicBezTo>
                    <a:pt x="1264" y="387"/>
                    <a:pt x="1263" y="399"/>
                    <a:pt x="1266" y="411"/>
                  </a:cubicBezTo>
                  <a:cubicBezTo>
                    <a:pt x="1280" y="473"/>
                    <a:pt x="1265" y="531"/>
                    <a:pt x="1244" y="589"/>
                  </a:cubicBezTo>
                  <a:cubicBezTo>
                    <a:pt x="1238" y="608"/>
                    <a:pt x="1230" y="625"/>
                    <a:pt x="1216" y="641"/>
                  </a:cubicBezTo>
                  <a:cubicBezTo>
                    <a:pt x="1202" y="657"/>
                    <a:pt x="1203" y="679"/>
                    <a:pt x="1206" y="700"/>
                  </a:cubicBezTo>
                  <a:cubicBezTo>
                    <a:pt x="1212" y="730"/>
                    <a:pt x="1221" y="760"/>
                    <a:pt x="1227" y="791"/>
                  </a:cubicBezTo>
                  <a:cubicBezTo>
                    <a:pt x="1229" y="797"/>
                    <a:pt x="1230" y="804"/>
                    <a:pt x="1229" y="811"/>
                  </a:cubicBezTo>
                  <a:cubicBezTo>
                    <a:pt x="1227" y="822"/>
                    <a:pt x="1221" y="829"/>
                    <a:pt x="1210" y="831"/>
                  </a:cubicBezTo>
                  <a:cubicBezTo>
                    <a:pt x="1202" y="831"/>
                    <a:pt x="1194" y="832"/>
                    <a:pt x="1186" y="832"/>
                  </a:cubicBezTo>
                  <a:cubicBezTo>
                    <a:pt x="1162" y="831"/>
                    <a:pt x="1145" y="843"/>
                    <a:pt x="1145" y="867"/>
                  </a:cubicBezTo>
                  <a:cubicBezTo>
                    <a:pt x="1145" y="887"/>
                    <a:pt x="1140" y="899"/>
                    <a:pt x="1118" y="901"/>
                  </a:cubicBezTo>
                  <a:cubicBezTo>
                    <a:pt x="1120" y="905"/>
                    <a:pt x="1120" y="907"/>
                    <a:pt x="1121" y="909"/>
                  </a:cubicBezTo>
                  <a:cubicBezTo>
                    <a:pt x="1127" y="927"/>
                    <a:pt x="1126" y="927"/>
                    <a:pt x="1112" y="939"/>
                  </a:cubicBezTo>
                  <a:cubicBezTo>
                    <a:pt x="1097" y="951"/>
                    <a:pt x="1081" y="963"/>
                    <a:pt x="1082" y="985"/>
                  </a:cubicBezTo>
                  <a:cubicBezTo>
                    <a:pt x="1082" y="992"/>
                    <a:pt x="1080" y="999"/>
                    <a:pt x="1078" y="1005"/>
                  </a:cubicBezTo>
                  <a:cubicBezTo>
                    <a:pt x="1072" y="1038"/>
                    <a:pt x="1047" y="1059"/>
                    <a:pt x="1014" y="1057"/>
                  </a:cubicBezTo>
                  <a:cubicBezTo>
                    <a:pt x="962" y="1054"/>
                    <a:pt x="910" y="1057"/>
                    <a:pt x="858" y="1048"/>
                  </a:cubicBezTo>
                  <a:cubicBezTo>
                    <a:pt x="851" y="1046"/>
                    <a:pt x="844" y="1045"/>
                    <a:pt x="837" y="1044"/>
                  </a:cubicBezTo>
                  <a:cubicBezTo>
                    <a:pt x="830" y="1064"/>
                    <a:pt x="823" y="1083"/>
                    <a:pt x="817" y="1103"/>
                  </a:cubicBezTo>
                  <a:cubicBezTo>
                    <a:pt x="816" y="1106"/>
                    <a:pt x="817" y="1112"/>
                    <a:pt x="820" y="1115"/>
                  </a:cubicBezTo>
                  <a:cubicBezTo>
                    <a:pt x="836" y="1134"/>
                    <a:pt x="853" y="1153"/>
                    <a:pt x="870" y="1171"/>
                  </a:cubicBezTo>
                  <a:cubicBezTo>
                    <a:pt x="885" y="1188"/>
                    <a:pt x="902" y="1202"/>
                    <a:pt x="917" y="1219"/>
                  </a:cubicBezTo>
                  <a:cubicBezTo>
                    <a:pt x="939" y="1244"/>
                    <a:pt x="968" y="1261"/>
                    <a:pt x="995" y="1280"/>
                  </a:cubicBezTo>
                  <a:cubicBezTo>
                    <a:pt x="1003" y="1285"/>
                    <a:pt x="1009" y="1294"/>
                    <a:pt x="1015" y="1302"/>
                  </a:cubicBezTo>
                  <a:cubicBezTo>
                    <a:pt x="1053" y="1357"/>
                    <a:pt x="1104" y="1399"/>
                    <a:pt x="1161" y="1435"/>
                  </a:cubicBezTo>
                  <a:cubicBezTo>
                    <a:pt x="1205" y="1464"/>
                    <a:pt x="1249" y="1493"/>
                    <a:pt x="1288" y="1529"/>
                  </a:cubicBezTo>
                  <a:cubicBezTo>
                    <a:pt x="1328" y="1566"/>
                    <a:pt x="1357" y="1610"/>
                    <a:pt x="1379" y="1660"/>
                  </a:cubicBezTo>
                  <a:cubicBezTo>
                    <a:pt x="1402" y="1708"/>
                    <a:pt x="1410" y="1758"/>
                    <a:pt x="1407" y="1810"/>
                  </a:cubicBezTo>
                  <a:cubicBezTo>
                    <a:pt x="1406" y="1830"/>
                    <a:pt x="1400" y="1850"/>
                    <a:pt x="1393" y="1869"/>
                  </a:cubicBezTo>
                  <a:cubicBezTo>
                    <a:pt x="1388" y="1883"/>
                    <a:pt x="1388" y="1896"/>
                    <a:pt x="1392" y="1910"/>
                  </a:cubicBezTo>
                  <a:cubicBezTo>
                    <a:pt x="1399" y="1931"/>
                    <a:pt x="1411" y="1949"/>
                    <a:pt x="1430" y="1962"/>
                  </a:cubicBezTo>
                  <a:cubicBezTo>
                    <a:pt x="1485" y="2004"/>
                    <a:pt x="1542" y="2043"/>
                    <a:pt x="1592" y="2089"/>
                  </a:cubicBezTo>
                  <a:cubicBezTo>
                    <a:pt x="1635" y="2128"/>
                    <a:pt x="1670" y="2174"/>
                    <a:pt x="1707" y="2218"/>
                  </a:cubicBezTo>
                  <a:cubicBezTo>
                    <a:pt x="1746" y="2265"/>
                    <a:pt x="1777" y="2318"/>
                    <a:pt x="1799" y="2376"/>
                  </a:cubicBezTo>
                  <a:cubicBezTo>
                    <a:pt x="1820" y="2433"/>
                    <a:pt x="1843" y="2489"/>
                    <a:pt x="1851" y="2550"/>
                  </a:cubicBezTo>
                  <a:cubicBezTo>
                    <a:pt x="1854" y="2569"/>
                    <a:pt x="1853" y="2590"/>
                    <a:pt x="1852" y="2610"/>
                  </a:cubicBezTo>
                  <a:cubicBezTo>
                    <a:pt x="1851" y="2671"/>
                    <a:pt x="1849" y="2732"/>
                    <a:pt x="1834" y="2792"/>
                  </a:cubicBezTo>
                  <a:cubicBezTo>
                    <a:pt x="1815" y="2868"/>
                    <a:pt x="1783" y="2939"/>
                    <a:pt x="1738" y="3003"/>
                  </a:cubicBezTo>
                  <a:cubicBezTo>
                    <a:pt x="1692" y="3068"/>
                    <a:pt x="1630" y="3115"/>
                    <a:pt x="1561" y="3153"/>
                  </a:cubicBezTo>
                  <a:cubicBezTo>
                    <a:pt x="1536" y="3166"/>
                    <a:pt x="1511" y="3180"/>
                    <a:pt x="1489" y="3198"/>
                  </a:cubicBezTo>
                  <a:cubicBezTo>
                    <a:pt x="1475" y="3209"/>
                    <a:pt x="1461" y="3216"/>
                    <a:pt x="1445" y="3221"/>
                  </a:cubicBezTo>
                  <a:cubicBezTo>
                    <a:pt x="1441" y="3223"/>
                    <a:pt x="1437" y="3225"/>
                    <a:pt x="1434" y="3228"/>
                  </a:cubicBezTo>
                  <a:cubicBezTo>
                    <a:pt x="1415" y="3242"/>
                    <a:pt x="1395" y="3257"/>
                    <a:pt x="1377" y="3272"/>
                  </a:cubicBezTo>
                  <a:cubicBezTo>
                    <a:pt x="1356" y="3290"/>
                    <a:pt x="1342" y="3308"/>
                    <a:pt x="1344" y="3339"/>
                  </a:cubicBezTo>
                  <a:cubicBezTo>
                    <a:pt x="1348" y="3413"/>
                    <a:pt x="1338" y="3487"/>
                    <a:pt x="1323" y="3560"/>
                  </a:cubicBezTo>
                  <a:cubicBezTo>
                    <a:pt x="1316" y="3594"/>
                    <a:pt x="1315" y="3630"/>
                    <a:pt x="1308" y="3665"/>
                  </a:cubicBezTo>
                  <a:cubicBezTo>
                    <a:pt x="1296" y="3735"/>
                    <a:pt x="1281" y="3806"/>
                    <a:pt x="1268" y="3876"/>
                  </a:cubicBezTo>
                  <a:cubicBezTo>
                    <a:pt x="1267" y="3879"/>
                    <a:pt x="1266" y="3882"/>
                    <a:pt x="1265" y="3884"/>
                  </a:cubicBezTo>
                  <a:cubicBezTo>
                    <a:pt x="1011" y="3884"/>
                    <a:pt x="756" y="3884"/>
                    <a:pt x="502" y="3884"/>
                  </a:cubicBezTo>
                  <a:close/>
                  <a:moveTo>
                    <a:pt x="392" y="962"/>
                  </a:moveTo>
                  <a:cubicBezTo>
                    <a:pt x="392" y="963"/>
                    <a:pt x="393" y="963"/>
                    <a:pt x="394" y="964"/>
                  </a:cubicBezTo>
                  <a:cubicBezTo>
                    <a:pt x="405" y="952"/>
                    <a:pt x="417" y="939"/>
                    <a:pt x="427" y="927"/>
                  </a:cubicBezTo>
                  <a:cubicBezTo>
                    <a:pt x="466" y="883"/>
                    <a:pt x="501" y="836"/>
                    <a:pt x="519" y="779"/>
                  </a:cubicBezTo>
                  <a:cubicBezTo>
                    <a:pt x="524" y="761"/>
                    <a:pt x="529" y="744"/>
                    <a:pt x="519" y="725"/>
                  </a:cubicBezTo>
                  <a:cubicBezTo>
                    <a:pt x="504" y="697"/>
                    <a:pt x="486" y="671"/>
                    <a:pt x="465" y="647"/>
                  </a:cubicBezTo>
                  <a:cubicBezTo>
                    <a:pt x="440" y="620"/>
                    <a:pt x="428" y="588"/>
                    <a:pt x="433" y="551"/>
                  </a:cubicBezTo>
                  <a:cubicBezTo>
                    <a:pt x="436" y="536"/>
                    <a:pt x="440" y="520"/>
                    <a:pt x="443" y="505"/>
                  </a:cubicBezTo>
                  <a:cubicBezTo>
                    <a:pt x="445" y="497"/>
                    <a:pt x="445" y="489"/>
                    <a:pt x="448" y="481"/>
                  </a:cubicBezTo>
                  <a:cubicBezTo>
                    <a:pt x="456" y="460"/>
                    <a:pt x="465" y="440"/>
                    <a:pt x="474" y="419"/>
                  </a:cubicBezTo>
                  <a:cubicBezTo>
                    <a:pt x="481" y="401"/>
                    <a:pt x="477" y="397"/>
                    <a:pt x="457" y="395"/>
                  </a:cubicBezTo>
                  <a:cubicBezTo>
                    <a:pt x="438" y="393"/>
                    <a:pt x="418" y="388"/>
                    <a:pt x="399" y="385"/>
                  </a:cubicBezTo>
                  <a:cubicBezTo>
                    <a:pt x="394" y="384"/>
                    <a:pt x="388" y="384"/>
                    <a:pt x="384" y="386"/>
                  </a:cubicBezTo>
                  <a:cubicBezTo>
                    <a:pt x="361" y="403"/>
                    <a:pt x="345" y="425"/>
                    <a:pt x="340" y="452"/>
                  </a:cubicBezTo>
                  <a:cubicBezTo>
                    <a:pt x="336" y="479"/>
                    <a:pt x="334" y="506"/>
                    <a:pt x="333" y="533"/>
                  </a:cubicBezTo>
                  <a:cubicBezTo>
                    <a:pt x="332" y="541"/>
                    <a:pt x="337" y="549"/>
                    <a:pt x="340" y="557"/>
                  </a:cubicBezTo>
                  <a:cubicBezTo>
                    <a:pt x="349" y="574"/>
                    <a:pt x="359" y="590"/>
                    <a:pt x="368" y="608"/>
                  </a:cubicBezTo>
                  <a:cubicBezTo>
                    <a:pt x="384" y="639"/>
                    <a:pt x="393" y="672"/>
                    <a:pt x="390" y="708"/>
                  </a:cubicBezTo>
                  <a:cubicBezTo>
                    <a:pt x="389" y="715"/>
                    <a:pt x="392" y="723"/>
                    <a:pt x="396" y="729"/>
                  </a:cubicBezTo>
                  <a:cubicBezTo>
                    <a:pt x="416" y="763"/>
                    <a:pt x="423" y="800"/>
                    <a:pt x="423" y="839"/>
                  </a:cubicBezTo>
                  <a:cubicBezTo>
                    <a:pt x="423" y="882"/>
                    <a:pt x="408" y="922"/>
                    <a:pt x="392" y="962"/>
                  </a:cubicBezTo>
                  <a:close/>
                  <a:moveTo>
                    <a:pt x="396" y="923"/>
                  </a:moveTo>
                  <a:cubicBezTo>
                    <a:pt x="429" y="865"/>
                    <a:pt x="416" y="759"/>
                    <a:pt x="390" y="740"/>
                  </a:cubicBezTo>
                  <a:cubicBezTo>
                    <a:pt x="405" y="800"/>
                    <a:pt x="410" y="861"/>
                    <a:pt x="396" y="923"/>
                  </a:cubicBezTo>
                  <a:close/>
                  <a:moveTo>
                    <a:pt x="821" y="1149"/>
                  </a:moveTo>
                  <a:cubicBezTo>
                    <a:pt x="830" y="1178"/>
                    <a:pt x="854" y="1191"/>
                    <a:pt x="878" y="1204"/>
                  </a:cubicBezTo>
                  <a:cubicBezTo>
                    <a:pt x="879" y="1203"/>
                    <a:pt x="880" y="1202"/>
                    <a:pt x="880" y="1202"/>
                  </a:cubicBezTo>
                  <a:cubicBezTo>
                    <a:pt x="860" y="1184"/>
                    <a:pt x="841" y="1166"/>
                    <a:pt x="821" y="1149"/>
                  </a:cubicBezTo>
                  <a:close/>
                  <a:moveTo>
                    <a:pt x="388" y="941"/>
                  </a:moveTo>
                  <a:cubicBezTo>
                    <a:pt x="386" y="940"/>
                    <a:pt x="384" y="940"/>
                    <a:pt x="382" y="939"/>
                  </a:cubicBezTo>
                  <a:cubicBezTo>
                    <a:pt x="380" y="948"/>
                    <a:pt x="378" y="957"/>
                    <a:pt x="376" y="967"/>
                  </a:cubicBezTo>
                  <a:cubicBezTo>
                    <a:pt x="377" y="967"/>
                    <a:pt x="378" y="967"/>
                    <a:pt x="379" y="968"/>
                  </a:cubicBezTo>
                  <a:cubicBezTo>
                    <a:pt x="382" y="959"/>
                    <a:pt x="385" y="950"/>
                    <a:pt x="388" y="9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75" name="TextBox 74">
              <a:extLst>
                <a:ext uri="{FF2B5EF4-FFF2-40B4-BE49-F238E27FC236}">
                  <a16:creationId xmlns:a16="http://schemas.microsoft.com/office/drawing/2014/main" id="{9D72654C-5454-9A3D-6E5A-46F79B8DD2B5}"/>
                </a:ext>
              </a:extLst>
            </p:cNvPr>
            <p:cNvSpPr txBox="1"/>
            <p:nvPr/>
          </p:nvSpPr>
          <p:spPr>
            <a:xfrm>
              <a:off x="7273228" y="4568869"/>
              <a:ext cx="1337372" cy="807222"/>
            </a:xfrm>
            <a:prstGeom prst="rect">
              <a:avLst/>
            </a:prstGeom>
            <a:noFill/>
          </p:spPr>
          <p:txBody>
            <a:bodyPr wrap="square" rtlCol="0">
              <a:spAutoFit/>
            </a:bodyPr>
            <a:lstStyle/>
            <a:p>
              <a:pPr algn="ctr">
                <a:lnSpc>
                  <a:spcPct val="90000"/>
                </a:lnSpc>
              </a:pPr>
              <a:r>
                <a:rPr lang="en-US" sz="1200" noProof="0">
                  <a:latin typeface="Arial" panose="020B0604020202020204" pitchFamily="34" charset="0"/>
                  <a:cs typeface="Arial" panose="020B0604020202020204" pitchFamily="34" charset="0"/>
                </a:rPr>
                <a:t>Pregnancy; </a:t>
              </a:r>
              <a:br>
                <a:rPr lang="en-US" sz="1200" noProof="0">
                  <a:latin typeface="Arial" panose="020B0604020202020204" pitchFamily="34" charset="0"/>
                  <a:cs typeface="Arial" panose="020B0604020202020204" pitchFamily="34" charset="0"/>
                </a:rPr>
              </a:br>
              <a:r>
                <a:rPr lang="en-US" sz="1200" noProof="0">
                  <a:latin typeface="Arial" panose="020B0604020202020204" pitchFamily="34" charset="0"/>
                  <a:cs typeface="Arial" panose="020B0604020202020204" pitchFamily="34" charset="0"/>
                </a:rPr>
                <a:t>maternal &amp; offspring factors</a:t>
              </a:r>
              <a:r>
                <a:rPr lang="en-US" sz="1200" baseline="30000">
                  <a:latin typeface="Arial" panose="020B0604020202020204" pitchFamily="34" charset="0"/>
                  <a:cs typeface="Arial" panose="020B0604020202020204" pitchFamily="34" charset="0"/>
                </a:rPr>
                <a:t>4</a:t>
              </a:r>
              <a:endParaRPr lang="en-US" sz="1200" baseline="30000" noProof="0">
                <a:latin typeface="Arial" panose="020B0604020202020204" pitchFamily="34" charset="0"/>
                <a:cs typeface="Arial" panose="020B0604020202020204" pitchFamily="34" charset="0"/>
              </a:endParaRPr>
            </a:p>
          </p:txBody>
        </p:sp>
      </p:grpSp>
      <p:grpSp>
        <p:nvGrpSpPr>
          <p:cNvPr id="154" name="Group 153">
            <a:extLst>
              <a:ext uri="{FF2B5EF4-FFF2-40B4-BE49-F238E27FC236}">
                <a16:creationId xmlns:a16="http://schemas.microsoft.com/office/drawing/2014/main" id="{A7754D1E-70D5-D63D-0C1C-631342E524E3}"/>
              </a:ext>
            </a:extLst>
          </p:cNvPr>
          <p:cNvGrpSpPr/>
          <p:nvPr/>
        </p:nvGrpSpPr>
        <p:grpSpPr>
          <a:xfrm>
            <a:off x="10248972" y="1682064"/>
            <a:ext cx="1533154" cy="1080932"/>
            <a:chOff x="10187239" y="3918883"/>
            <a:chExt cx="1634588" cy="1152448"/>
          </a:xfrm>
        </p:grpSpPr>
        <p:sp>
          <p:nvSpPr>
            <p:cNvPr id="104" name="Freeform 64">
              <a:extLst>
                <a:ext uri="{FF2B5EF4-FFF2-40B4-BE49-F238E27FC236}">
                  <a16:creationId xmlns:a16="http://schemas.microsoft.com/office/drawing/2014/main" id="{CA124C1F-5A4E-1B38-7EFD-934C515CBB1D}"/>
                </a:ext>
              </a:extLst>
            </p:cNvPr>
            <p:cNvSpPr>
              <a:spLocks/>
            </p:cNvSpPr>
            <p:nvPr/>
          </p:nvSpPr>
          <p:spPr bwMode="auto">
            <a:xfrm>
              <a:off x="10621112" y="3918883"/>
              <a:ext cx="740172" cy="733434"/>
            </a:xfrm>
            <a:prstGeom prst="ellipse">
              <a:avLst/>
            </a:prstGeom>
            <a:solidFill>
              <a:schemeClr val="tx2"/>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34" name="Freeform 133">
              <a:extLst>
                <a:ext uri="{FF2B5EF4-FFF2-40B4-BE49-F238E27FC236}">
                  <a16:creationId xmlns:a16="http://schemas.microsoft.com/office/drawing/2014/main" id="{53DEFE34-C561-34B9-B7AD-3F183905C740}"/>
                </a:ext>
              </a:extLst>
            </p:cNvPr>
            <p:cNvSpPr>
              <a:spLocks noEditPoints="1"/>
            </p:cNvSpPr>
            <p:nvPr/>
          </p:nvSpPr>
          <p:spPr bwMode="auto">
            <a:xfrm>
              <a:off x="10732969" y="4038522"/>
              <a:ext cx="515190" cy="482678"/>
            </a:xfrm>
            <a:custGeom>
              <a:avLst/>
              <a:gdLst>
                <a:gd name="T0" fmla="*/ 90 w 282"/>
                <a:gd name="T1" fmla="*/ 31 h 264"/>
                <a:gd name="T2" fmla="*/ 90 w 282"/>
                <a:gd name="T3" fmla="*/ 0 h 264"/>
                <a:gd name="T4" fmla="*/ 170 w 282"/>
                <a:gd name="T5" fmla="*/ 21 h 264"/>
                <a:gd name="T6" fmla="*/ 65 w 282"/>
                <a:gd name="T7" fmla="*/ 177 h 264"/>
                <a:gd name="T8" fmla="*/ 99 w 282"/>
                <a:gd name="T9" fmla="*/ 177 h 264"/>
                <a:gd name="T10" fmla="*/ 110 w 282"/>
                <a:gd name="T11" fmla="*/ 131 h 264"/>
                <a:gd name="T12" fmla="*/ 71 w 282"/>
                <a:gd name="T13" fmla="*/ 121 h 264"/>
                <a:gd name="T14" fmla="*/ 70 w 282"/>
                <a:gd name="T15" fmla="*/ 156 h 264"/>
                <a:gd name="T16" fmla="*/ 98 w 282"/>
                <a:gd name="T17" fmla="*/ 147 h 264"/>
                <a:gd name="T18" fmla="*/ 70 w 282"/>
                <a:gd name="T19" fmla="*/ 156 h 264"/>
                <a:gd name="T20" fmla="*/ 66 w 282"/>
                <a:gd name="T21" fmla="*/ 100 h 264"/>
                <a:gd name="T22" fmla="*/ 132 w 282"/>
                <a:gd name="T23" fmla="*/ 100 h 264"/>
                <a:gd name="T24" fmla="*/ 247 w 282"/>
                <a:gd name="T25" fmla="*/ 71 h 264"/>
                <a:gd name="T26" fmla="*/ 185 w 282"/>
                <a:gd name="T27" fmla="*/ 88 h 264"/>
                <a:gd name="T28" fmla="*/ 254 w 282"/>
                <a:gd name="T29" fmla="*/ 88 h 264"/>
                <a:gd name="T30" fmla="*/ 178 w 282"/>
                <a:gd name="T31" fmla="*/ 204 h 264"/>
                <a:gd name="T32" fmla="*/ 198 w 282"/>
                <a:gd name="T33" fmla="*/ 212 h 264"/>
                <a:gd name="T34" fmla="*/ 178 w 282"/>
                <a:gd name="T35" fmla="*/ 173 h 264"/>
                <a:gd name="T36" fmla="*/ 208 w 282"/>
                <a:gd name="T37" fmla="*/ 164 h 264"/>
                <a:gd name="T38" fmla="*/ 178 w 282"/>
                <a:gd name="T39" fmla="*/ 173 h 264"/>
                <a:gd name="T40" fmla="*/ 204 w 282"/>
                <a:gd name="T41" fmla="*/ 188 h 264"/>
                <a:gd name="T42" fmla="*/ 174 w 282"/>
                <a:gd name="T43" fmla="*/ 188 h 264"/>
                <a:gd name="T44" fmla="*/ 177 w 282"/>
                <a:gd name="T45" fmla="*/ 145 h 264"/>
                <a:gd name="T46" fmla="*/ 221 w 282"/>
                <a:gd name="T47" fmla="*/ 152 h 264"/>
                <a:gd name="T48" fmla="*/ 282 w 282"/>
                <a:gd name="T49" fmla="*/ 124 h 264"/>
                <a:gd name="T50" fmla="*/ 185 w 282"/>
                <a:gd name="T51" fmla="*/ 258 h 264"/>
                <a:gd name="T52" fmla="*/ 196 w 282"/>
                <a:gd name="T53" fmla="*/ 102 h 264"/>
                <a:gd name="T54" fmla="*/ 236 w 282"/>
                <a:gd name="T55" fmla="*/ 148 h 264"/>
                <a:gd name="T56" fmla="*/ 168 w 282"/>
                <a:gd name="T57" fmla="*/ 227 h 264"/>
                <a:gd name="T58" fmla="*/ 236 w 282"/>
                <a:gd name="T59" fmla="*/ 148 h 264"/>
                <a:gd name="T60" fmla="*/ 185 w 282"/>
                <a:gd name="T61" fmla="*/ 96 h 264"/>
                <a:gd name="T62" fmla="*/ 188 w 282"/>
                <a:gd name="T63" fmla="*/ 68 h 264"/>
                <a:gd name="T64" fmla="*/ 95 w 282"/>
                <a:gd name="T65" fmla="*/ 40 h 264"/>
                <a:gd name="T66" fmla="*/ 56 w 282"/>
                <a:gd name="T67" fmla="*/ 160 h 264"/>
                <a:gd name="T68" fmla="*/ 128 w 282"/>
                <a:gd name="T69" fmla="*/ 80 h 264"/>
                <a:gd name="T70" fmla="*/ 128 w 282"/>
                <a:gd name="T71" fmla="*/ 202 h 264"/>
                <a:gd name="T72" fmla="*/ 115 w 282"/>
                <a:gd name="T73" fmla="*/ 225 h 264"/>
                <a:gd name="T74" fmla="*/ 157 w 282"/>
                <a:gd name="T75" fmla="*/ 242 h 264"/>
                <a:gd name="T76" fmla="*/ 62 w 282"/>
                <a:gd name="T77" fmla="*/ 257 h 264"/>
                <a:gd name="T78" fmla="*/ 32 w 282"/>
                <a:gd name="T79" fmla="*/ 229 h 264"/>
                <a:gd name="T80" fmla="*/ 13 w 282"/>
                <a:gd name="T81" fmla="*/ 168 h 264"/>
                <a:gd name="T82" fmla="*/ 71 w 282"/>
                <a:gd name="T83" fmla="*/ 187 h 264"/>
                <a:gd name="T84" fmla="*/ 96 w 282"/>
                <a:gd name="T85" fmla="*/ 210 h 264"/>
                <a:gd name="T86" fmla="*/ 37 w 282"/>
                <a:gd name="T87" fmla="*/ 226 h 264"/>
                <a:gd name="T88" fmla="*/ 93 w 282"/>
                <a:gd name="T89" fmla="*/ 247 h 264"/>
                <a:gd name="T90" fmla="*/ 69 w 282"/>
                <a:gd name="T91" fmla="*/ 19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2" h="264">
                  <a:moveTo>
                    <a:pt x="170" y="21"/>
                  </a:moveTo>
                  <a:cubicBezTo>
                    <a:pt x="170" y="26"/>
                    <a:pt x="166" y="31"/>
                    <a:pt x="160" y="31"/>
                  </a:cubicBezTo>
                  <a:cubicBezTo>
                    <a:pt x="90" y="31"/>
                    <a:pt x="90" y="31"/>
                    <a:pt x="90" y="31"/>
                  </a:cubicBezTo>
                  <a:cubicBezTo>
                    <a:pt x="85" y="31"/>
                    <a:pt x="80" y="26"/>
                    <a:pt x="80" y="21"/>
                  </a:cubicBezTo>
                  <a:cubicBezTo>
                    <a:pt x="80" y="9"/>
                    <a:pt x="80" y="9"/>
                    <a:pt x="80" y="9"/>
                  </a:cubicBezTo>
                  <a:cubicBezTo>
                    <a:pt x="80" y="4"/>
                    <a:pt x="85" y="0"/>
                    <a:pt x="90" y="0"/>
                  </a:cubicBezTo>
                  <a:cubicBezTo>
                    <a:pt x="160" y="0"/>
                    <a:pt x="160" y="0"/>
                    <a:pt x="160" y="0"/>
                  </a:cubicBezTo>
                  <a:cubicBezTo>
                    <a:pt x="166" y="0"/>
                    <a:pt x="170" y="4"/>
                    <a:pt x="170" y="9"/>
                  </a:cubicBezTo>
                  <a:lnTo>
                    <a:pt x="170" y="21"/>
                  </a:lnTo>
                  <a:close/>
                  <a:moveTo>
                    <a:pt x="94" y="172"/>
                  </a:moveTo>
                  <a:cubicBezTo>
                    <a:pt x="70" y="172"/>
                    <a:pt x="70" y="172"/>
                    <a:pt x="70" y="172"/>
                  </a:cubicBezTo>
                  <a:cubicBezTo>
                    <a:pt x="67" y="172"/>
                    <a:pt x="65" y="174"/>
                    <a:pt x="65" y="177"/>
                  </a:cubicBezTo>
                  <a:cubicBezTo>
                    <a:pt x="65" y="180"/>
                    <a:pt x="67" y="182"/>
                    <a:pt x="70" y="182"/>
                  </a:cubicBezTo>
                  <a:cubicBezTo>
                    <a:pt x="94" y="182"/>
                    <a:pt x="94" y="182"/>
                    <a:pt x="94" y="182"/>
                  </a:cubicBezTo>
                  <a:cubicBezTo>
                    <a:pt x="96" y="182"/>
                    <a:pt x="99" y="180"/>
                    <a:pt x="99" y="177"/>
                  </a:cubicBezTo>
                  <a:cubicBezTo>
                    <a:pt x="99" y="174"/>
                    <a:pt x="96" y="172"/>
                    <a:pt x="94" y="172"/>
                  </a:cubicBezTo>
                  <a:close/>
                  <a:moveTo>
                    <a:pt x="71" y="131"/>
                  </a:moveTo>
                  <a:cubicBezTo>
                    <a:pt x="110" y="131"/>
                    <a:pt x="110" y="131"/>
                    <a:pt x="110" y="131"/>
                  </a:cubicBezTo>
                  <a:cubicBezTo>
                    <a:pt x="113" y="131"/>
                    <a:pt x="115" y="129"/>
                    <a:pt x="115" y="126"/>
                  </a:cubicBezTo>
                  <a:cubicBezTo>
                    <a:pt x="115" y="123"/>
                    <a:pt x="113" y="121"/>
                    <a:pt x="110" y="121"/>
                  </a:cubicBezTo>
                  <a:cubicBezTo>
                    <a:pt x="71" y="121"/>
                    <a:pt x="71" y="121"/>
                    <a:pt x="71" y="121"/>
                  </a:cubicBezTo>
                  <a:cubicBezTo>
                    <a:pt x="68" y="121"/>
                    <a:pt x="66" y="123"/>
                    <a:pt x="66" y="126"/>
                  </a:cubicBezTo>
                  <a:cubicBezTo>
                    <a:pt x="66" y="129"/>
                    <a:pt x="68" y="131"/>
                    <a:pt x="71" y="131"/>
                  </a:cubicBezTo>
                  <a:close/>
                  <a:moveTo>
                    <a:pt x="70" y="156"/>
                  </a:moveTo>
                  <a:cubicBezTo>
                    <a:pt x="98" y="156"/>
                    <a:pt x="98" y="156"/>
                    <a:pt x="98" y="156"/>
                  </a:cubicBezTo>
                  <a:cubicBezTo>
                    <a:pt x="100" y="156"/>
                    <a:pt x="102" y="154"/>
                    <a:pt x="102" y="152"/>
                  </a:cubicBezTo>
                  <a:cubicBezTo>
                    <a:pt x="102" y="149"/>
                    <a:pt x="100" y="147"/>
                    <a:pt x="98" y="147"/>
                  </a:cubicBezTo>
                  <a:cubicBezTo>
                    <a:pt x="70" y="147"/>
                    <a:pt x="70" y="147"/>
                    <a:pt x="70" y="147"/>
                  </a:cubicBezTo>
                  <a:cubicBezTo>
                    <a:pt x="68" y="147"/>
                    <a:pt x="66" y="149"/>
                    <a:pt x="66" y="152"/>
                  </a:cubicBezTo>
                  <a:cubicBezTo>
                    <a:pt x="66" y="154"/>
                    <a:pt x="68" y="156"/>
                    <a:pt x="70" y="156"/>
                  </a:cubicBezTo>
                  <a:close/>
                  <a:moveTo>
                    <a:pt x="127" y="96"/>
                  </a:moveTo>
                  <a:cubicBezTo>
                    <a:pt x="70" y="96"/>
                    <a:pt x="70" y="96"/>
                    <a:pt x="70" y="96"/>
                  </a:cubicBezTo>
                  <a:cubicBezTo>
                    <a:pt x="68" y="96"/>
                    <a:pt x="66" y="98"/>
                    <a:pt x="66" y="100"/>
                  </a:cubicBezTo>
                  <a:cubicBezTo>
                    <a:pt x="66" y="103"/>
                    <a:pt x="68" y="105"/>
                    <a:pt x="70" y="105"/>
                  </a:cubicBezTo>
                  <a:cubicBezTo>
                    <a:pt x="127" y="105"/>
                    <a:pt x="127" y="105"/>
                    <a:pt x="127" y="105"/>
                  </a:cubicBezTo>
                  <a:cubicBezTo>
                    <a:pt x="130" y="105"/>
                    <a:pt x="132" y="103"/>
                    <a:pt x="132" y="100"/>
                  </a:cubicBezTo>
                  <a:cubicBezTo>
                    <a:pt x="132" y="98"/>
                    <a:pt x="130" y="96"/>
                    <a:pt x="127" y="96"/>
                  </a:cubicBezTo>
                  <a:close/>
                  <a:moveTo>
                    <a:pt x="254" y="79"/>
                  </a:moveTo>
                  <a:cubicBezTo>
                    <a:pt x="254" y="75"/>
                    <a:pt x="251" y="71"/>
                    <a:pt x="247" y="71"/>
                  </a:cubicBezTo>
                  <a:cubicBezTo>
                    <a:pt x="192" y="71"/>
                    <a:pt x="192" y="71"/>
                    <a:pt x="192" y="71"/>
                  </a:cubicBezTo>
                  <a:cubicBezTo>
                    <a:pt x="188" y="71"/>
                    <a:pt x="185" y="75"/>
                    <a:pt x="185" y="79"/>
                  </a:cubicBezTo>
                  <a:cubicBezTo>
                    <a:pt x="185" y="88"/>
                    <a:pt x="185" y="88"/>
                    <a:pt x="185" y="88"/>
                  </a:cubicBezTo>
                  <a:cubicBezTo>
                    <a:pt x="185" y="92"/>
                    <a:pt x="188" y="95"/>
                    <a:pt x="192" y="95"/>
                  </a:cubicBezTo>
                  <a:cubicBezTo>
                    <a:pt x="247" y="95"/>
                    <a:pt x="247" y="95"/>
                    <a:pt x="247" y="95"/>
                  </a:cubicBezTo>
                  <a:cubicBezTo>
                    <a:pt x="251" y="95"/>
                    <a:pt x="254" y="92"/>
                    <a:pt x="254" y="88"/>
                  </a:cubicBezTo>
                  <a:lnTo>
                    <a:pt x="254" y="79"/>
                  </a:lnTo>
                  <a:close/>
                  <a:moveTo>
                    <a:pt x="198" y="204"/>
                  </a:moveTo>
                  <a:cubicBezTo>
                    <a:pt x="178" y="204"/>
                    <a:pt x="178" y="204"/>
                    <a:pt x="178" y="204"/>
                  </a:cubicBezTo>
                  <a:cubicBezTo>
                    <a:pt x="175" y="204"/>
                    <a:pt x="174" y="206"/>
                    <a:pt x="174" y="208"/>
                  </a:cubicBezTo>
                  <a:cubicBezTo>
                    <a:pt x="174" y="210"/>
                    <a:pt x="175" y="212"/>
                    <a:pt x="178" y="212"/>
                  </a:cubicBezTo>
                  <a:cubicBezTo>
                    <a:pt x="198" y="212"/>
                    <a:pt x="198" y="212"/>
                    <a:pt x="198" y="212"/>
                  </a:cubicBezTo>
                  <a:cubicBezTo>
                    <a:pt x="200" y="212"/>
                    <a:pt x="202" y="210"/>
                    <a:pt x="202" y="208"/>
                  </a:cubicBezTo>
                  <a:cubicBezTo>
                    <a:pt x="202" y="206"/>
                    <a:pt x="200" y="204"/>
                    <a:pt x="198" y="204"/>
                  </a:cubicBezTo>
                  <a:close/>
                  <a:moveTo>
                    <a:pt x="178" y="173"/>
                  </a:moveTo>
                  <a:cubicBezTo>
                    <a:pt x="208" y="173"/>
                    <a:pt x="208" y="173"/>
                    <a:pt x="208" y="173"/>
                  </a:cubicBezTo>
                  <a:cubicBezTo>
                    <a:pt x="210" y="173"/>
                    <a:pt x="212" y="171"/>
                    <a:pt x="212" y="168"/>
                  </a:cubicBezTo>
                  <a:cubicBezTo>
                    <a:pt x="212" y="166"/>
                    <a:pt x="210" y="164"/>
                    <a:pt x="208" y="164"/>
                  </a:cubicBezTo>
                  <a:cubicBezTo>
                    <a:pt x="178" y="164"/>
                    <a:pt x="178" y="164"/>
                    <a:pt x="178" y="164"/>
                  </a:cubicBezTo>
                  <a:cubicBezTo>
                    <a:pt x="176" y="164"/>
                    <a:pt x="174" y="166"/>
                    <a:pt x="174" y="168"/>
                  </a:cubicBezTo>
                  <a:cubicBezTo>
                    <a:pt x="174" y="171"/>
                    <a:pt x="176" y="173"/>
                    <a:pt x="178" y="173"/>
                  </a:cubicBezTo>
                  <a:close/>
                  <a:moveTo>
                    <a:pt x="177" y="192"/>
                  </a:moveTo>
                  <a:cubicBezTo>
                    <a:pt x="201" y="192"/>
                    <a:pt x="201" y="192"/>
                    <a:pt x="201" y="192"/>
                  </a:cubicBezTo>
                  <a:cubicBezTo>
                    <a:pt x="203" y="192"/>
                    <a:pt x="204" y="190"/>
                    <a:pt x="204" y="188"/>
                  </a:cubicBezTo>
                  <a:cubicBezTo>
                    <a:pt x="204" y="186"/>
                    <a:pt x="203" y="185"/>
                    <a:pt x="201" y="185"/>
                  </a:cubicBezTo>
                  <a:cubicBezTo>
                    <a:pt x="177" y="185"/>
                    <a:pt x="177" y="185"/>
                    <a:pt x="177" y="185"/>
                  </a:cubicBezTo>
                  <a:cubicBezTo>
                    <a:pt x="175" y="185"/>
                    <a:pt x="174" y="186"/>
                    <a:pt x="174" y="188"/>
                  </a:cubicBezTo>
                  <a:cubicBezTo>
                    <a:pt x="174" y="190"/>
                    <a:pt x="175" y="192"/>
                    <a:pt x="177" y="192"/>
                  </a:cubicBezTo>
                  <a:close/>
                  <a:moveTo>
                    <a:pt x="221" y="145"/>
                  </a:moveTo>
                  <a:cubicBezTo>
                    <a:pt x="177" y="145"/>
                    <a:pt x="177" y="145"/>
                    <a:pt x="177" y="145"/>
                  </a:cubicBezTo>
                  <a:cubicBezTo>
                    <a:pt x="175" y="145"/>
                    <a:pt x="174" y="147"/>
                    <a:pt x="174" y="149"/>
                  </a:cubicBezTo>
                  <a:cubicBezTo>
                    <a:pt x="174" y="151"/>
                    <a:pt x="175" y="152"/>
                    <a:pt x="177" y="152"/>
                  </a:cubicBezTo>
                  <a:cubicBezTo>
                    <a:pt x="221" y="152"/>
                    <a:pt x="221" y="152"/>
                    <a:pt x="221" y="152"/>
                  </a:cubicBezTo>
                  <a:cubicBezTo>
                    <a:pt x="223" y="152"/>
                    <a:pt x="225" y="151"/>
                    <a:pt x="225" y="149"/>
                  </a:cubicBezTo>
                  <a:cubicBezTo>
                    <a:pt x="225" y="147"/>
                    <a:pt x="223" y="145"/>
                    <a:pt x="221" y="145"/>
                  </a:cubicBezTo>
                  <a:close/>
                  <a:moveTo>
                    <a:pt x="282" y="124"/>
                  </a:moveTo>
                  <a:cubicBezTo>
                    <a:pt x="282" y="236"/>
                    <a:pt x="282" y="236"/>
                    <a:pt x="282" y="236"/>
                  </a:cubicBezTo>
                  <a:cubicBezTo>
                    <a:pt x="282" y="248"/>
                    <a:pt x="272" y="258"/>
                    <a:pt x="260" y="258"/>
                  </a:cubicBezTo>
                  <a:cubicBezTo>
                    <a:pt x="185" y="258"/>
                    <a:pt x="185" y="258"/>
                    <a:pt x="185" y="258"/>
                  </a:cubicBezTo>
                  <a:cubicBezTo>
                    <a:pt x="173" y="258"/>
                    <a:pt x="163" y="248"/>
                    <a:pt x="163" y="236"/>
                  </a:cubicBezTo>
                  <a:cubicBezTo>
                    <a:pt x="163" y="124"/>
                    <a:pt x="163" y="124"/>
                    <a:pt x="163" y="124"/>
                  </a:cubicBezTo>
                  <a:cubicBezTo>
                    <a:pt x="163" y="112"/>
                    <a:pt x="188" y="102"/>
                    <a:pt x="196" y="102"/>
                  </a:cubicBezTo>
                  <a:cubicBezTo>
                    <a:pt x="249" y="102"/>
                    <a:pt x="249" y="102"/>
                    <a:pt x="249" y="102"/>
                  </a:cubicBezTo>
                  <a:cubicBezTo>
                    <a:pt x="257" y="102"/>
                    <a:pt x="282" y="112"/>
                    <a:pt x="282" y="124"/>
                  </a:cubicBezTo>
                  <a:close/>
                  <a:moveTo>
                    <a:pt x="236" y="148"/>
                  </a:moveTo>
                  <a:cubicBezTo>
                    <a:pt x="236" y="140"/>
                    <a:pt x="230" y="133"/>
                    <a:pt x="222" y="133"/>
                  </a:cubicBezTo>
                  <a:cubicBezTo>
                    <a:pt x="168" y="133"/>
                    <a:pt x="168" y="133"/>
                    <a:pt x="168" y="133"/>
                  </a:cubicBezTo>
                  <a:cubicBezTo>
                    <a:pt x="168" y="227"/>
                    <a:pt x="168" y="227"/>
                    <a:pt x="168" y="227"/>
                  </a:cubicBezTo>
                  <a:cubicBezTo>
                    <a:pt x="222" y="227"/>
                    <a:pt x="222" y="227"/>
                    <a:pt x="222" y="227"/>
                  </a:cubicBezTo>
                  <a:cubicBezTo>
                    <a:pt x="230" y="227"/>
                    <a:pt x="236" y="220"/>
                    <a:pt x="236" y="212"/>
                  </a:cubicBezTo>
                  <a:lnTo>
                    <a:pt x="236" y="148"/>
                  </a:lnTo>
                  <a:close/>
                  <a:moveTo>
                    <a:pt x="157" y="242"/>
                  </a:moveTo>
                  <a:cubicBezTo>
                    <a:pt x="157" y="118"/>
                    <a:pt x="157" y="118"/>
                    <a:pt x="157" y="118"/>
                  </a:cubicBezTo>
                  <a:cubicBezTo>
                    <a:pt x="157" y="108"/>
                    <a:pt x="173" y="99"/>
                    <a:pt x="185" y="96"/>
                  </a:cubicBezTo>
                  <a:cubicBezTo>
                    <a:pt x="182" y="94"/>
                    <a:pt x="180" y="92"/>
                    <a:pt x="180" y="88"/>
                  </a:cubicBezTo>
                  <a:cubicBezTo>
                    <a:pt x="180" y="78"/>
                    <a:pt x="180" y="78"/>
                    <a:pt x="180" y="78"/>
                  </a:cubicBezTo>
                  <a:cubicBezTo>
                    <a:pt x="180" y="74"/>
                    <a:pt x="184" y="68"/>
                    <a:pt x="188" y="68"/>
                  </a:cubicBezTo>
                  <a:cubicBezTo>
                    <a:pt x="206" y="68"/>
                    <a:pt x="206" y="68"/>
                    <a:pt x="206" y="68"/>
                  </a:cubicBezTo>
                  <a:cubicBezTo>
                    <a:pt x="206" y="52"/>
                    <a:pt x="174" y="40"/>
                    <a:pt x="163" y="40"/>
                  </a:cubicBezTo>
                  <a:cubicBezTo>
                    <a:pt x="95" y="40"/>
                    <a:pt x="95" y="40"/>
                    <a:pt x="95" y="40"/>
                  </a:cubicBezTo>
                  <a:cubicBezTo>
                    <a:pt x="84" y="40"/>
                    <a:pt x="52" y="52"/>
                    <a:pt x="52" y="68"/>
                  </a:cubicBezTo>
                  <a:cubicBezTo>
                    <a:pt x="52" y="156"/>
                    <a:pt x="52" y="156"/>
                    <a:pt x="52" y="156"/>
                  </a:cubicBezTo>
                  <a:cubicBezTo>
                    <a:pt x="53" y="157"/>
                    <a:pt x="55" y="158"/>
                    <a:pt x="56" y="160"/>
                  </a:cubicBezTo>
                  <a:cubicBezTo>
                    <a:pt x="58" y="162"/>
                    <a:pt x="58" y="162"/>
                    <a:pt x="58" y="162"/>
                  </a:cubicBezTo>
                  <a:cubicBezTo>
                    <a:pt x="58" y="80"/>
                    <a:pt x="58" y="80"/>
                    <a:pt x="58" y="80"/>
                  </a:cubicBezTo>
                  <a:cubicBezTo>
                    <a:pt x="128" y="80"/>
                    <a:pt x="128" y="80"/>
                    <a:pt x="128" y="80"/>
                  </a:cubicBezTo>
                  <a:cubicBezTo>
                    <a:pt x="138" y="80"/>
                    <a:pt x="147" y="88"/>
                    <a:pt x="147" y="99"/>
                  </a:cubicBezTo>
                  <a:cubicBezTo>
                    <a:pt x="147" y="183"/>
                    <a:pt x="147" y="183"/>
                    <a:pt x="147" y="183"/>
                  </a:cubicBezTo>
                  <a:cubicBezTo>
                    <a:pt x="147" y="193"/>
                    <a:pt x="138" y="202"/>
                    <a:pt x="128" y="202"/>
                  </a:cubicBezTo>
                  <a:cubicBezTo>
                    <a:pt x="101" y="202"/>
                    <a:pt x="101" y="202"/>
                    <a:pt x="101" y="202"/>
                  </a:cubicBezTo>
                  <a:cubicBezTo>
                    <a:pt x="102" y="203"/>
                    <a:pt x="102" y="203"/>
                    <a:pt x="102" y="203"/>
                  </a:cubicBezTo>
                  <a:cubicBezTo>
                    <a:pt x="108" y="208"/>
                    <a:pt x="113" y="215"/>
                    <a:pt x="115" y="225"/>
                  </a:cubicBezTo>
                  <a:cubicBezTo>
                    <a:pt x="116" y="231"/>
                    <a:pt x="115" y="237"/>
                    <a:pt x="114" y="242"/>
                  </a:cubicBezTo>
                  <a:cubicBezTo>
                    <a:pt x="157" y="242"/>
                    <a:pt x="157" y="242"/>
                    <a:pt x="157" y="242"/>
                  </a:cubicBezTo>
                  <a:cubicBezTo>
                    <a:pt x="157" y="242"/>
                    <a:pt x="157" y="242"/>
                    <a:pt x="157" y="242"/>
                  </a:cubicBezTo>
                  <a:close/>
                  <a:moveTo>
                    <a:pt x="103" y="243"/>
                  </a:moveTo>
                  <a:cubicBezTo>
                    <a:pt x="101" y="247"/>
                    <a:pt x="98" y="250"/>
                    <a:pt x="95" y="253"/>
                  </a:cubicBezTo>
                  <a:cubicBezTo>
                    <a:pt x="86" y="262"/>
                    <a:pt x="72" y="264"/>
                    <a:pt x="62" y="257"/>
                  </a:cubicBezTo>
                  <a:cubicBezTo>
                    <a:pt x="59" y="254"/>
                    <a:pt x="56" y="251"/>
                    <a:pt x="53" y="248"/>
                  </a:cubicBezTo>
                  <a:cubicBezTo>
                    <a:pt x="48" y="243"/>
                    <a:pt x="39" y="235"/>
                    <a:pt x="33" y="230"/>
                  </a:cubicBezTo>
                  <a:cubicBezTo>
                    <a:pt x="33" y="229"/>
                    <a:pt x="32" y="229"/>
                    <a:pt x="32" y="229"/>
                  </a:cubicBezTo>
                  <a:cubicBezTo>
                    <a:pt x="24" y="221"/>
                    <a:pt x="17" y="214"/>
                    <a:pt x="9" y="207"/>
                  </a:cubicBezTo>
                  <a:cubicBezTo>
                    <a:pt x="2" y="200"/>
                    <a:pt x="0" y="188"/>
                    <a:pt x="5" y="179"/>
                  </a:cubicBezTo>
                  <a:cubicBezTo>
                    <a:pt x="7" y="174"/>
                    <a:pt x="10" y="171"/>
                    <a:pt x="13" y="168"/>
                  </a:cubicBezTo>
                  <a:cubicBezTo>
                    <a:pt x="17" y="164"/>
                    <a:pt x="22" y="161"/>
                    <a:pt x="27" y="160"/>
                  </a:cubicBezTo>
                  <a:cubicBezTo>
                    <a:pt x="36" y="158"/>
                    <a:pt x="44" y="161"/>
                    <a:pt x="50" y="167"/>
                  </a:cubicBezTo>
                  <a:cubicBezTo>
                    <a:pt x="57" y="173"/>
                    <a:pt x="64" y="180"/>
                    <a:pt x="71" y="187"/>
                  </a:cubicBezTo>
                  <a:cubicBezTo>
                    <a:pt x="72" y="187"/>
                    <a:pt x="72" y="188"/>
                    <a:pt x="73" y="188"/>
                  </a:cubicBezTo>
                  <a:cubicBezTo>
                    <a:pt x="74" y="190"/>
                    <a:pt x="76" y="191"/>
                    <a:pt x="77" y="192"/>
                  </a:cubicBezTo>
                  <a:cubicBezTo>
                    <a:pt x="82" y="197"/>
                    <a:pt x="91" y="205"/>
                    <a:pt x="96" y="210"/>
                  </a:cubicBezTo>
                  <a:cubicBezTo>
                    <a:pt x="101" y="215"/>
                    <a:pt x="105" y="219"/>
                    <a:pt x="106" y="226"/>
                  </a:cubicBezTo>
                  <a:cubicBezTo>
                    <a:pt x="107" y="232"/>
                    <a:pt x="106" y="238"/>
                    <a:pt x="103" y="243"/>
                  </a:cubicBezTo>
                  <a:close/>
                  <a:moveTo>
                    <a:pt x="37" y="226"/>
                  </a:moveTo>
                  <a:cubicBezTo>
                    <a:pt x="45" y="233"/>
                    <a:pt x="56" y="244"/>
                    <a:pt x="64" y="251"/>
                  </a:cubicBezTo>
                  <a:cubicBezTo>
                    <a:pt x="68" y="255"/>
                    <a:pt x="75" y="257"/>
                    <a:pt x="80" y="255"/>
                  </a:cubicBezTo>
                  <a:cubicBezTo>
                    <a:pt x="86" y="254"/>
                    <a:pt x="89" y="251"/>
                    <a:pt x="93" y="247"/>
                  </a:cubicBezTo>
                  <a:cubicBezTo>
                    <a:pt x="97" y="243"/>
                    <a:pt x="100" y="240"/>
                    <a:pt x="101" y="234"/>
                  </a:cubicBezTo>
                  <a:cubicBezTo>
                    <a:pt x="102" y="228"/>
                    <a:pt x="100" y="222"/>
                    <a:pt x="96" y="218"/>
                  </a:cubicBezTo>
                  <a:cubicBezTo>
                    <a:pt x="89" y="210"/>
                    <a:pt x="77" y="200"/>
                    <a:pt x="69" y="192"/>
                  </a:cubicBezTo>
                  <a:lnTo>
                    <a:pt x="37" y="2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76" name="TextBox 75">
              <a:extLst>
                <a:ext uri="{FF2B5EF4-FFF2-40B4-BE49-F238E27FC236}">
                  <a16:creationId xmlns:a16="http://schemas.microsoft.com/office/drawing/2014/main" id="{A214FD17-89C4-B35F-5B44-A093536BF57E}"/>
                </a:ext>
              </a:extLst>
            </p:cNvPr>
            <p:cNvSpPr txBox="1"/>
            <p:nvPr/>
          </p:nvSpPr>
          <p:spPr>
            <a:xfrm>
              <a:off x="10187239" y="4618498"/>
              <a:ext cx="1634588" cy="452833"/>
            </a:xfrm>
            <a:prstGeom prst="rect">
              <a:avLst/>
            </a:prstGeom>
            <a:noFill/>
          </p:spPr>
          <p:txBody>
            <a:bodyPr wrap="square" lIns="91440" tIns="45720" rIns="91440" bIns="45720" rtlCol="0" anchor="t">
              <a:spAutoFit/>
            </a:bodyPr>
            <a:lstStyle/>
            <a:p>
              <a:pPr algn="ctr">
                <a:lnSpc>
                  <a:spcPct val="90000"/>
                </a:lnSpc>
              </a:pPr>
              <a:r>
                <a:rPr lang="en-US" sz="1200" noProof="0">
                  <a:latin typeface="Arial"/>
                  <a:cs typeface="Arial"/>
                </a:rPr>
                <a:t>Weight-promoting medications</a:t>
              </a:r>
              <a:r>
                <a:rPr lang="en-US" sz="1200" baseline="30000">
                  <a:latin typeface="Arial"/>
                  <a:cs typeface="Arial"/>
                </a:rPr>
                <a:t>2</a:t>
              </a:r>
              <a:endParaRPr lang="en-US" noProof="0">
                <a:latin typeface="Arial" panose="020B0604020202020204" pitchFamily="34" charset="0"/>
              </a:endParaRPr>
            </a:p>
          </p:txBody>
        </p:sp>
      </p:grpSp>
      <p:sp>
        <p:nvSpPr>
          <p:cNvPr id="77" name="TextBox 76">
            <a:extLst>
              <a:ext uri="{FF2B5EF4-FFF2-40B4-BE49-F238E27FC236}">
                <a16:creationId xmlns:a16="http://schemas.microsoft.com/office/drawing/2014/main" id="{A27003E7-CD22-0DF1-2C39-929DDD9A6601}"/>
              </a:ext>
            </a:extLst>
          </p:cNvPr>
          <p:cNvSpPr txBox="1"/>
          <p:nvPr/>
        </p:nvSpPr>
        <p:spPr>
          <a:xfrm>
            <a:off x="8976902" y="2820229"/>
            <a:ext cx="1727418" cy="276999"/>
          </a:xfrm>
          <a:prstGeom prst="rect">
            <a:avLst/>
          </a:prstGeom>
          <a:noFill/>
        </p:spPr>
        <p:txBody>
          <a:bodyPr wrap="square" rtlCol="0">
            <a:spAutoFit/>
          </a:bodyPr>
          <a:lstStyle/>
          <a:p>
            <a:pPr algn="ctr"/>
            <a:endParaRPr lang="en-US" b="1" baseline="30000" noProof="0">
              <a:solidFill>
                <a:schemeClr val="accent3"/>
              </a:solidFill>
              <a:latin typeface="Arial" panose="020B0604020202020204" pitchFamily="34" charset="0"/>
              <a:cs typeface="Arial" panose="020B0604020202020204" pitchFamily="34" charset="0"/>
            </a:endParaRPr>
          </a:p>
        </p:txBody>
      </p:sp>
      <p:grpSp>
        <p:nvGrpSpPr>
          <p:cNvPr id="160" name="Group 159">
            <a:extLst>
              <a:ext uri="{FF2B5EF4-FFF2-40B4-BE49-F238E27FC236}">
                <a16:creationId xmlns:a16="http://schemas.microsoft.com/office/drawing/2014/main" id="{9511EA1D-CE0C-C707-B466-B0676D368A60}"/>
              </a:ext>
            </a:extLst>
          </p:cNvPr>
          <p:cNvGrpSpPr/>
          <p:nvPr/>
        </p:nvGrpSpPr>
        <p:grpSpPr>
          <a:xfrm>
            <a:off x="8238216" y="1712728"/>
            <a:ext cx="745681" cy="1029149"/>
            <a:chOff x="10101585" y="952163"/>
            <a:chExt cx="795016" cy="1097239"/>
          </a:xfrm>
        </p:grpSpPr>
        <p:sp>
          <p:nvSpPr>
            <p:cNvPr id="150" name="Freeform 64">
              <a:extLst>
                <a:ext uri="{FF2B5EF4-FFF2-40B4-BE49-F238E27FC236}">
                  <a16:creationId xmlns:a16="http://schemas.microsoft.com/office/drawing/2014/main" id="{4F4FE58C-5D22-84B2-3CC0-4F86DFF9A37E}"/>
                </a:ext>
              </a:extLst>
            </p:cNvPr>
            <p:cNvSpPr>
              <a:spLocks/>
            </p:cNvSpPr>
            <p:nvPr/>
          </p:nvSpPr>
          <p:spPr bwMode="auto">
            <a:xfrm>
              <a:off x="10125401" y="952163"/>
              <a:ext cx="740172" cy="733434"/>
            </a:xfrm>
            <a:prstGeom prst="ellipse">
              <a:avLst/>
            </a:prstGeom>
            <a:solidFill>
              <a:schemeClr val="tx2"/>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80" name="TextBox 79">
              <a:extLst>
                <a:ext uri="{FF2B5EF4-FFF2-40B4-BE49-F238E27FC236}">
                  <a16:creationId xmlns:a16="http://schemas.microsoft.com/office/drawing/2014/main" id="{794D1136-23D9-7F0B-716B-CDB2BD5D1F70}"/>
                </a:ext>
              </a:extLst>
            </p:cNvPr>
            <p:cNvSpPr txBox="1"/>
            <p:nvPr/>
          </p:nvSpPr>
          <p:spPr>
            <a:xfrm>
              <a:off x="10101585" y="1695011"/>
              <a:ext cx="795016" cy="354391"/>
            </a:xfrm>
            <a:prstGeom prst="rect">
              <a:avLst/>
            </a:prstGeom>
            <a:noFill/>
          </p:spPr>
          <p:txBody>
            <a:bodyPr wrap="square" lIns="0" tIns="0" rIns="0" bIns="0" rtlCol="0" anchor="t">
              <a:spAutoFit/>
            </a:bodyPr>
            <a:lstStyle/>
            <a:p>
              <a:pPr algn="ctr">
                <a:lnSpc>
                  <a:spcPct val="90000"/>
                </a:lnSpc>
              </a:pPr>
              <a:r>
                <a:rPr lang="en-US" sz="1200" noProof="0">
                  <a:latin typeface="Arial"/>
                  <a:cs typeface="Arial"/>
                </a:rPr>
                <a:t>Endocrine </a:t>
              </a:r>
              <a:br>
                <a:rPr lang="en-US" sz="1200" noProof="0">
                  <a:latin typeface="Arial"/>
                  <a:cs typeface="Arial"/>
                </a:rPr>
              </a:br>
              <a:r>
                <a:rPr lang="en-US" sz="1200" noProof="0">
                  <a:latin typeface="Arial"/>
                  <a:cs typeface="Arial"/>
                </a:rPr>
                <a:t>disruptors </a:t>
              </a:r>
              <a:endParaRPr lang="en-US" sz="1200" baseline="30000" noProof="0">
                <a:latin typeface="Arial"/>
                <a:cs typeface="Arial"/>
              </a:endParaRPr>
            </a:p>
          </p:txBody>
        </p:sp>
        <p:grpSp>
          <p:nvGrpSpPr>
            <p:cNvPr id="105" name="Group 104">
              <a:extLst>
                <a:ext uri="{FF2B5EF4-FFF2-40B4-BE49-F238E27FC236}">
                  <a16:creationId xmlns:a16="http://schemas.microsoft.com/office/drawing/2014/main" id="{0F0351A6-E0C3-7064-9697-61E87B51890C}"/>
                </a:ext>
              </a:extLst>
            </p:cNvPr>
            <p:cNvGrpSpPr/>
            <p:nvPr/>
          </p:nvGrpSpPr>
          <p:grpSpPr>
            <a:xfrm>
              <a:off x="10240189" y="1070294"/>
              <a:ext cx="504012" cy="492416"/>
              <a:chOff x="10176081" y="1057584"/>
              <a:chExt cx="556027" cy="543236"/>
            </a:xfrm>
          </p:grpSpPr>
          <p:sp>
            <p:nvSpPr>
              <p:cNvPr id="84" name="Freeform: Shape 83">
                <a:extLst>
                  <a:ext uri="{FF2B5EF4-FFF2-40B4-BE49-F238E27FC236}">
                    <a16:creationId xmlns:a16="http://schemas.microsoft.com/office/drawing/2014/main" id="{742D1EA8-86E6-8096-503A-1044CE7C926A}"/>
                  </a:ext>
                </a:extLst>
              </p:cNvPr>
              <p:cNvSpPr/>
              <p:nvPr/>
            </p:nvSpPr>
            <p:spPr>
              <a:xfrm>
                <a:off x="10183563" y="1126663"/>
                <a:ext cx="310679" cy="266922"/>
              </a:xfrm>
              <a:custGeom>
                <a:avLst/>
                <a:gdLst>
                  <a:gd name="connsiteX0" fmla="*/ 218448 w 270961"/>
                  <a:gd name="connsiteY0" fmla="*/ 24119 h 232797"/>
                  <a:gd name="connsiteX1" fmla="*/ 272679 w 270961"/>
                  <a:gd name="connsiteY1" fmla="*/ 118078 h 232797"/>
                  <a:gd name="connsiteX2" fmla="*/ 204519 w 270961"/>
                  <a:gd name="connsiteY2" fmla="*/ 236156 h 232797"/>
                  <a:gd name="connsiteX3" fmla="*/ 68161 w 270961"/>
                  <a:gd name="connsiteY3" fmla="*/ 236156 h 232797"/>
                  <a:gd name="connsiteX4" fmla="*/ 0 w 270961"/>
                  <a:gd name="connsiteY4" fmla="*/ 118078 h 232797"/>
                  <a:gd name="connsiteX5" fmla="*/ 68161 w 270961"/>
                  <a:gd name="connsiteY5" fmla="*/ 0 h 232797"/>
                  <a:gd name="connsiteX6" fmla="*/ 176659 w 270961"/>
                  <a:gd name="connsiteY6" fmla="*/ 0 h 23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1" h="232797">
                    <a:moveTo>
                      <a:pt x="218448" y="24119"/>
                    </a:moveTo>
                    <a:lnTo>
                      <a:pt x="272679" y="118078"/>
                    </a:lnTo>
                    <a:lnTo>
                      <a:pt x="204519" y="236156"/>
                    </a:lnTo>
                    <a:lnTo>
                      <a:pt x="68161" y="236156"/>
                    </a:lnTo>
                    <a:lnTo>
                      <a:pt x="0" y="118078"/>
                    </a:lnTo>
                    <a:lnTo>
                      <a:pt x="68161" y="0"/>
                    </a:lnTo>
                    <a:lnTo>
                      <a:pt x="176659" y="0"/>
                    </a:lnTo>
                  </a:path>
                </a:pathLst>
              </a:custGeom>
              <a:noFill/>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85" name="Freeform: Shape 84">
                <a:extLst>
                  <a:ext uri="{FF2B5EF4-FFF2-40B4-BE49-F238E27FC236}">
                    <a16:creationId xmlns:a16="http://schemas.microsoft.com/office/drawing/2014/main" id="{A40F6082-732B-87B2-30D8-1F2DACC7BA95}"/>
                  </a:ext>
                </a:extLst>
              </p:cNvPr>
              <p:cNvSpPr/>
              <p:nvPr/>
            </p:nvSpPr>
            <p:spPr>
              <a:xfrm>
                <a:off x="10283200" y="1360285"/>
                <a:ext cx="109394" cy="4375"/>
              </a:xfrm>
              <a:custGeom>
                <a:avLst/>
                <a:gdLst>
                  <a:gd name="connsiteX0" fmla="*/ 0 w 95409"/>
                  <a:gd name="connsiteY0" fmla="*/ 0 h 0"/>
                  <a:gd name="connsiteX1" fmla="*/ 98920 w 95409"/>
                  <a:gd name="connsiteY1" fmla="*/ 0 h 0"/>
                </a:gdLst>
                <a:ahLst/>
                <a:cxnLst>
                  <a:cxn ang="0">
                    <a:pos x="connsiteX0" y="connsiteY0"/>
                  </a:cxn>
                  <a:cxn ang="0">
                    <a:pos x="connsiteX1" y="connsiteY1"/>
                  </a:cxn>
                </a:cxnLst>
                <a:rect l="l" t="t" r="r" b="b"/>
                <a:pathLst>
                  <a:path w="95409">
                    <a:moveTo>
                      <a:pt x="0" y="0"/>
                    </a:moveTo>
                    <a:lnTo>
                      <a:pt x="98920" y="0"/>
                    </a:lnTo>
                  </a:path>
                </a:pathLst>
              </a:custGeom>
              <a:ln w="11448" cap="rnd">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86" name="Freeform: Shape 85">
                <a:extLst>
                  <a:ext uri="{FF2B5EF4-FFF2-40B4-BE49-F238E27FC236}">
                    <a16:creationId xmlns:a16="http://schemas.microsoft.com/office/drawing/2014/main" id="{1341E65B-5849-3DC5-AD2C-734F3E35525E}"/>
                  </a:ext>
                </a:extLst>
              </p:cNvPr>
              <p:cNvSpPr/>
              <p:nvPr/>
            </p:nvSpPr>
            <p:spPr>
              <a:xfrm>
                <a:off x="10417972" y="1262049"/>
                <a:ext cx="310679" cy="266922"/>
              </a:xfrm>
              <a:custGeom>
                <a:avLst/>
                <a:gdLst>
                  <a:gd name="connsiteX0" fmla="*/ 176659 w 270961"/>
                  <a:gd name="connsiteY0" fmla="*/ 236156 h 232797"/>
                  <a:gd name="connsiteX1" fmla="*/ 68198 w 270961"/>
                  <a:gd name="connsiteY1" fmla="*/ 236156 h 232797"/>
                  <a:gd name="connsiteX2" fmla="*/ 0 w 270961"/>
                  <a:gd name="connsiteY2" fmla="*/ 118078 h 232797"/>
                  <a:gd name="connsiteX3" fmla="*/ 68198 w 270961"/>
                  <a:gd name="connsiteY3" fmla="*/ 0 h 232797"/>
                  <a:gd name="connsiteX4" fmla="*/ 204519 w 270961"/>
                  <a:gd name="connsiteY4" fmla="*/ 0 h 232797"/>
                  <a:gd name="connsiteX5" fmla="*/ 272717 w 270961"/>
                  <a:gd name="connsiteY5" fmla="*/ 118078 h 232797"/>
                  <a:gd name="connsiteX6" fmla="*/ 218448 w 270961"/>
                  <a:gd name="connsiteY6" fmla="*/ 212075 h 23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1" h="232797">
                    <a:moveTo>
                      <a:pt x="176659" y="236156"/>
                    </a:moveTo>
                    <a:lnTo>
                      <a:pt x="68198" y="236156"/>
                    </a:lnTo>
                    <a:lnTo>
                      <a:pt x="0" y="118078"/>
                    </a:lnTo>
                    <a:lnTo>
                      <a:pt x="68198" y="0"/>
                    </a:lnTo>
                    <a:lnTo>
                      <a:pt x="204519" y="0"/>
                    </a:lnTo>
                    <a:lnTo>
                      <a:pt x="272717" y="118078"/>
                    </a:lnTo>
                    <a:lnTo>
                      <a:pt x="218448" y="212075"/>
                    </a:lnTo>
                  </a:path>
                </a:pathLst>
              </a:custGeom>
              <a:noFill/>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87" name="Freeform: Shape 86">
                <a:extLst>
                  <a:ext uri="{FF2B5EF4-FFF2-40B4-BE49-F238E27FC236}">
                    <a16:creationId xmlns:a16="http://schemas.microsoft.com/office/drawing/2014/main" id="{CA9854A8-2F43-AE21-5BDB-6971CE0D6E2F}"/>
                  </a:ext>
                </a:extLst>
              </p:cNvPr>
              <p:cNvSpPr/>
              <p:nvPr/>
            </p:nvSpPr>
            <p:spPr>
              <a:xfrm>
                <a:off x="10517608" y="1299200"/>
                <a:ext cx="109394" cy="4375"/>
              </a:xfrm>
              <a:custGeom>
                <a:avLst/>
                <a:gdLst>
                  <a:gd name="connsiteX0" fmla="*/ 0 w 95409"/>
                  <a:gd name="connsiteY0" fmla="*/ 0 h 0"/>
                  <a:gd name="connsiteX1" fmla="*/ 98920 w 95409"/>
                  <a:gd name="connsiteY1" fmla="*/ 0 h 0"/>
                </a:gdLst>
                <a:ahLst/>
                <a:cxnLst>
                  <a:cxn ang="0">
                    <a:pos x="connsiteX0" y="connsiteY0"/>
                  </a:cxn>
                  <a:cxn ang="0">
                    <a:pos x="connsiteX1" y="connsiteY1"/>
                  </a:cxn>
                </a:cxnLst>
                <a:rect l="l" t="t" r="r" b="b"/>
                <a:pathLst>
                  <a:path w="95409">
                    <a:moveTo>
                      <a:pt x="0" y="0"/>
                    </a:moveTo>
                    <a:lnTo>
                      <a:pt x="98920" y="0"/>
                    </a:lnTo>
                  </a:path>
                </a:pathLst>
              </a:custGeom>
              <a:ln w="11448" cap="rnd">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88" name="Freeform: Shape 87">
                <a:extLst>
                  <a:ext uri="{FF2B5EF4-FFF2-40B4-BE49-F238E27FC236}">
                    <a16:creationId xmlns:a16="http://schemas.microsoft.com/office/drawing/2014/main" id="{4D66D356-55EB-3C94-D31A-F991DF2B4F47}"/>
                  </a:ext>
                </a:extLst>
              </p:cNvPr>
              <p:cNvSpPr/>
              <p:nvPr/>
            </p:nvSpPr>
            <p:spPr>
              <a:xfrm>
                <a:off x="10652470" y="1187487"/>
                <a:ext cx="39381" cy="74388"/>
              </a:xfrm>
              <a:custGeom>
                <a:avLst/>
                <a:gdLst>
                  <a:gd name="connsiteX0" fmla="*/ 0 w 34347"/>
                  <a:gd name="connsiteY0" fmla="*/ 65031 h 64878"/>
                  <a:gd name="connsiteX1" fmla="*/ 36561 w 34347"/>
                  <a:gd name="connsiteY1" fmla="*/ 0 h 64878"/>
                </a:gdLst>
                <a:ahLst/>
                <a:cxnLst>
                  <a:cxn ang="0">
                    <a:pos x="connsiteX0" y="connsiteY0"/>
                  </a:cxn>
                  <a:cxn ang="0">
                    <a:pos x="connsiteX1" y="connsiteY1"/>
                  </a:cxn>
                </a:cxnLst>
                <a:rect l="l" t="t" r="r" b="b"/>
                <a:pathLst>
                  <a:path w="34347" h="64878">
                    <a:moveTo>
                      <a:pt x="0" y="65031"/>
                    </a:moveTo>
                    <a:lnTo>
                      <a:pt x="36561" y="0"/>
                    </a:lnTo>
                  </a:path>
                </a:pathLst>
              </a:custGeom>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89" name="Freeform: Shape 88">
                <a:extLst>
                  <a:ext uri="{FF2B5EF4-FFF2-40B4-BE49-F238E27FC236}">
                    <a16:creationId xmlns:a16="http://schemas.microsoft.com/office/drawing/2014/main" id="{A965DE74-9671-920F-1B28-BB916FD9930B}"/>
                  </a:ext>
                </a:extLst>
              </p:cNvPr>
              <p:cNvSpPr/>
              <p:nvPr/>
            </p:nvSpPr>
            <p:spPr>
              <a:xfrm>
                <a:off x="10679599" y="1135109"/>
                <a:ext cx="52509" cy="52509"/>
              </a:xfrm>
              <a:custGeom>
                <a:avLst/>
                <a:gdLst>
                  <a:gd name="connsiteX0" fmla="*/ 48468 w 45796"/>
                  <a:gd name="connsiteY0" fmla="*/ 24234 h 45796"/>
                  <a:gd name="connsiteX1" fmla="*/ 24234 w 45796"/>
                  <a:gd name="connsiteY1" fmla="*/ 48468 h 45796"/>
                  <a:gd name="connsiteX2" fmla="*/ -1 w 45796"/>
                  <a:gd name="connsiteY2" fmla="*/ 24234 h 45796"/>
                  <a:gd name="connsiteX3" fmla="*/ 24234 w 45796"/>
                  <a:gd name="connsiteY3" fmla="*/ 0 h 45796"/>
                  <a:gd name="connsiteX4" fmla="*/ 48468 w 45796"/>
                  <a:gd name="connsiteY4" fmla="*/ 24234 h 45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96" h="45796">
                    <a:moveTo>
                      <a:pt x="48468" y="24234"/>
                    </a:moveTo>
                    <a:cubicBezTo>
                      <a:pt x="48468" y="37618"/>
                      <a:pt x="37618" y="48468"/>
                      <a:pt x="24234" y="48468"/>
                    </a:cubicBezTo>
                    <a:cubicBezTo>
                      <a:pt x="10849" y="48468"/>
                      <a:pt x="-1" y="37618"/>
                      <a:pt x="-1" y="24234"/>
                    </a:cubicBezTo>
                    <a:cubicBezTo>
                      <a:pt x="-1" y="10850"/>
                      <a:pt x="10849" y="0"/>
                      <a:pt x="24234" y="0"/>
                    </a:cubicBezTo>
                    <a:cubicBezTo>
                      <a:pt x="37618" y="0"/>
                      <a:pt x="48468" y="10850"/>
                      <a:pt x="48468" y="24234"/>
                    </a:cubicBezTo>
                    <a:close/>
                  </a:path>
                </a:pathLst>
              </a:custGeom>
              <a:noFill/>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90" name="Freeform: Shape 89">
                <a:extLst>
                  <a:ext uri="{FF2B5EF4-FFF2-40B4-BE49-F238E27FC236}">
                    <a16:creationId xmlns:a16="http://schemas.microsoft.com/office/drawing/2014/main" id="{D114E079-4BBB-E603-FECE-831E47862A6F}"/>
                  </a:ext>
                </a:extLst>
              </p:cNvPr>
              <p:cNvSpPr/>
              <p:nvPr/>
            </p:nvSpPr>
            <p:spPr>
              <a:xfrm>
                <a:off x="10216862" y="1397436"/>
                <a:ext cx="43758" cy="78764"/>
              </a:xfrm>
              <a:custGeom>
                <a:avLst/>
                <a:gdLst>
                  <a:gd name="connsiteX0" fmla="*/ 39118 w 38163"/>
                  <a:gd name="connsiteY0" fmla="*/ 0 h 68694"/>
                  <a:gd name="connsiteX1" fmla="*/ 0 w 38163"/>
                  <a:gd name="connsiteY1" fmla="*/ 68733 h 68694"/>
                </a:gdLst>
                <a:ahLst/>
                <a:cxnLst>
                  <a:cxn ang="0">
                    <a:pos x="connsiteX0" y="connsiteY0"/>
                  </a:cxn>
                  <a:cxn ang="0">
                    <a:pos x="connsiteX1" y="connsiteY1"/>
                  </a:cxn>
                </a:cxnLst>
                <a:rect l="l" t="t" r="r" b="b"/>
                <a:pathLst>
                  <a:path w="38163" h="68694">
                    <a:moveTo>
                      <a:pt x="39118" y="0"/>
                    </a:moveTo>
                    <a:lnTo>
                      <a:pt x="0" y="68733"/>
                    </a:lnTo>
                  </a:path>
                </a:pathLst>
              </a:custGeom>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91" name="Freeform: Shape 90">
                <a:extLst>
                  <a:ext uri="{FF2B5EF4-FFF2-40B4-BE49-F238E27FC236}">
                    <a16:creationId xmlns:a16="http://schemas.microsoft.com/office/drawing/2014/main" id="{5624246D-15AB-60D2-9F7E-236421515069}"/>
                  </a:ext>
                </a:extLst>
              </p:cNvPr>
              <p:cNvSpPr/>
              <p:nvPr/>
            </p:nvSpPr>
            <p:spPr>
              <a:xfrm>
                <a:off x="10176081" y="1473049"/>
                <a:ext cx="52509" cy="52509"/>
              </a:xfrm>
              <a:custGeom>
                <a:avLst/>
                <a:gdLst>
                  <a:gd name="connsiteX0" fmla="*/ 0 w 45796"/>
                  <a:gd name="connsiteY0" fmla="*/ 24234 h 45796"/>
                  <a:gd name="connsiteX1" fmla="*/ 24234 w 45796"/>
                  <a:gd name="connsiteY1" fmla="*/ 0 h 45796"/>
                  <a:gd name="connsiteX2" fmla="*/ 48468 w 45796"/>
                  <a:gd name="connsiteY2" fmla="*/ 24234 h 45796"/>
                  <a:gd name="connsiteX3" fmla="*/ 24234 w 45796"/>
                  <a:gd name="connsiteY3" fmla="*/ 48468 h 45796"/>
                  <a:gd name="connsiteX4" fmla="*/ 0 w 45796"/>
                  <a:gd name="connsiteY4" fmla="*/ 24234 h 45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96" h="45796">
                    <a:moveTo>
                      <a:pt x="0" y="24234"/>
                    </a:moveTo>
                    <a:cubicBezTo>
                      <a:pt x="0" y="10838"/>
                      <a:pt x="10839" y="0"/>
                      <a:pt x="24234" y="0"/>
                    </a:cubicBezTo>
                    <a:cubicBezTo>
                      <a:pt x="37630" y="0"/>
                      <a:pt x="48468" y="10838"/>
                      <a:pt x="48468" y="24234"/>
                    </a:cubicBezTo>
                    <a:cubicBezTo>
                      <a:pt x="48468" y="37629"/>
                      <a:pt x="37630" y="48468"/>
                      <a:pt x="24234" y="48468"/>
                    </a:cubicBezTo>
                    <a:cubicBezTo>
                      <a:pt x="10839" y="48468"/>
                      <a:pt x="0" y="37629"/>
                      <a:pt x="0" y="24234"/>
                    </a:cubicBezTo>
                    <a:close/>
                  </a:path>
                </a:pathLst>
              </a:custGeom>
              <a:noFill/>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92" name="Freeform: Shape 91">
                <a:extLst>
                  <a:ext uri="{FF2B5EF4-FFF2-40B4-BE49-F238E27FC236}">
                    <a16:creationId xmlns:a16="http://schemas.microsoft.com/office/drawing/2014/main" id="{9326B637-20CF-44D1-3B13-D3663B92A03E}"/>
                  </a:ext>
                </a:extLst>
              </p:cNvPr>
              <p:cNvSpPr/>
              <p:nvPr/>
            </p:nvSpPr>
            <p:spPr>
              <a:xfrm>
                <a:off x="10418061" y="1057615"/>
                <a:ext cx="65636" cy="65636"/>
              </a:xfrm>
              <a:custGeom>
                <a:avLst/>
                <a:gdLst>
                  <a:gd name="connsiteX0" fmla="*/ 0 w 57245"/>
                  <a:gd name="connsiteY0" fmla="*/ 0 h 57245"/>
                  <a:gd name="connsiteX1" fmla="*/ 60260 w 57245"/>
                  <a:gd name="connsiteY1" fmla="*/ 60260 h 57245"/>
                </a:gdLst>
                <a:ahLst/>
                <a:cxnLst>
                  <a:cxn ang="0">
                    <a:pos x="connsiteX0" y="connsiteY0"/>
                  </a:cxn>
                  <a:cxn ang="0">
                    <a:pos x="connsiteX1" y="connsiteY1"/>
                  </a:cxn>
                </a:cxnLst>
                <a:rect l="l" t="t" r="r" b="b"/>
                <a:pathLst>
                  <a:path w="57245" h="57245">
                    <a:moveTo>
                      <a:pt x="0" y="0"/>
                    </a:moveTo>
                    <a:cubicBezTo>
                      <a:pt x="33240" y="0"/>
                      <a:pt x="60260" y="27020"/>
                      <a:pt x="60260" y="60260"/>
                    </a:cubicBezTo>
                  </a:path>
                </a:pathLst>
              </a:custGeom>
              <a:noFill/>
              <a:ln w="11448" cap="rnd">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93" name="Freeform: Shape 92">
                <a:extLst>
                  <a:ext uri="{FF2B5EF4-FFF2-40B4-BE49-F238E27FC236}">
                    <a16:creationId xmlns:a16="http://schemas.microsoft.com/office/drawing/2014/main" id="{57472E42-DC80-8F89-9E9B-E2AC7FA1F5A2}"/>
                  </a:ext>
                </a:extLst>
              </p:cNvPr>
              <p:cNvSpPr/>
              <p:nvPr/>
            </p:nvSpPr>
            <p:spPr>
              <a:xfrm>
                <a:off x="10376484" y="1084738"/>
                <a:ext cx="83139" cy="83139"/>
              </a:xfrm>
              <a:custGeom>
                <a:avLst/>
                <a:gdLst>
                  <a:gd name="connsiteX0" fmla="*/ 47063 w 72510"/>
                  <a:gd name="connsiteY0" fmla="*/ 10661 h 72510"/>
                  <a:gd name="connsiteX1" fmla="*/ 62141 w 72510"/>
                  <a:gd name="connsiteY1" fmla="*/ 47063 h 72510"/>
                  <a:gd name="connsiteX2" fmla="*/ 25739 w 72510"/>
                  <a:gd name="connsiteY2" fmla="*/ 62140 h 72510"/>
                  <a:gd name="connsiteX3" fmla="*/ 10662 w 72510"/>
                  <a:gd name="connsiteY3" fmla="*/ 25739 h 72510"/>
                  <a:gd name="connsiteX4" fmla="*/ 47063 w 72510"/>
                  <a:gd name="connsiteY4" fmla="*/ 10661 h 72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10" h="72510">
                    <a:moveTo>
                      <a:pt x="47063" y="10661"/>
                    </a:moveTo>
                    <a:cubicBezTo>
                      <a:pt x="61279" y="16550"/>
                      <a:pt x="68029" y="32847"/>
                      <a:pt x="62141" y="47063"/>
                    </a:cubicBezTo>
                    <a:cubicBezTo>
                      <a:pt x="56252" y="61278"/>
                      <a:pt x="39955" y="68029"/>
                      <a:pt x="25739" y="62140"/>
                    </a:cubicBezTo>
                    <a:cubicBezTo>
                      <a:pt x="11524" y="56252"/>
                      <a:pt x="4773" y="39955"/>
                      <a:pt x="10662" y="25739"/>
                    </a:cubicBezTo>
                    <a:cubicBezTo>
                      <a:pt x="16550" y="11524"/>
                      <a:pt x="32848" y="4773"/>
                      <a:pt x="47063" y="10661"/>
                    </a:cubicBezTo>
                    <a:close/>
                  </a:path>
                </a:pathLst>
              </a:custGeom>
              <a:noFill/>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94" name="Freeform: Shape 93">
                <a:extLst>
                  <a:ext uri="{FF2B5EF4-FFF2-40B4-BE49-F238E27FC236}">
                    <a16:creationId xmlns:a16="http://schemas.microsoft.com/office/drawing/2014/main" id="{3A6B7E85-9364-8C8F-8BD5-8DEEC4859E98}"/>
                  </a:ext>
                </a:extLst>
              </p:cNvPr>
              <p:cNvSpPr/>
              <p:nvPr/>
            </p:nvSpPr>
            <p:spPr>
              <a:xfrm>
                <a:off x="10652470" y="1532822"/>
                <a:ext cx="65636" cy="65636"/>
              </a:xfrm>
              <a:custGeom>
                <a:avLst/>
                <a:gdLst>
                  <a:gd name="connsiteX0" fmla="*/ 60260 w 57245"/>
                  <a:gd name="connsiteY0" fmla="*/ 0 h 57245"/>
                  <a:gd name="connsiteX1" fmla="*/ 0 w 57245"/>
                  <a:gd name="connsiteY1" fmla="*/ 60260 h 57245"/>
                </a:gdLst>
                <a:ahLst/>
                <a:cxnLst>
                  <a:cxn ang="0">
                    <a:pos x="connsiteX0" y="connsiteY0"/>
                  </a:cxn>
                  <a:cxn ang="0">
                    <a:pos x="connsiteX1" y="connsiteY1"/>
                  </a:cxn>
                </a:cxnLst>
                <a:rect l="l" t="t" r="r" b="b"/>
                <a:pathLst>
                  <a:path w="57245" h="57245">
                    <a:moveTo>
                      <a:pt x="60260" y="0"/>
                    </a:moveTo>
                    <a:cubicBezTo>
                      <a:pt x="60260" y="33202"/>
                      <a:pt x="33240" y="60260"/>
                      <a:pt x="0" y="60260"/>
                    </a:cubicBezTo>
                  </a:path>
                </a:pathLst>
              </a:custGeom>
              <a:noFill/>
              <a:ln w="11448" cap="rnd">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95" name="Freeform: Shape 94">
                <a:extLst>
                  <a:ext uri="{FF2B5EF4-FFF2-40B4-BE49-F238E27FC236}">
                    <a16:creationId xmlns:a16="http://schemas.microsoft.com/office/drawing/2014/main" id="{F5511446-B040-F661-071F-B50E2EC67590}"/>
                  </a:ext>
                </a:extLst>
              </p:cNvPr>
              <p:cNvSpPr/>
              <p:nvPr/>
            </p:nvSpPr>
            <p:spPr>
              <a:xfrm>
                <a:off x="10620526" y="1500878"/>
                <a:ext cx="61261" cy="61261"/>
              </a:xfrm>
              <a:custGeom>
                <a:avLst/>
                <a:gdLst>
                  <a:gd name="connsiteX0" fmla="*/ 55719 w 53429"/>
                  <a:gd name="connsiteY0" fmla="*/ 27859 h 53429"/>
                  <a:gd name="connsiteX1" fmla="*/ 27859 w 53429"/>
                  <a:gd name="connsiteY1" fmla="*/ 55719 h 53429"/>
                  <a:gd name="connsiteX2" fmla="*/ -1 w 53429"/>
                  <a:gd name="connsiteY2" fmla="*/ 27859 h 53429"/>
                  <a:gd name="connsiteX3" fmla="*/ 27859 w 53429"/>
                  <a:gd name="connsiteY3" fmla="*/ 0 h 53429"/>
                  <a:gd name="connsiteX4" fmla="*/ 55719 w 53429"/>
                  <a:gd name="connsiteY4" fmla="*/ 27859 h 5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29" h="53429">
                    <a:moveTo>
                      <a:pt x="55719" y="27859"/>
                    </a:moveTo>
                    <a:cubicBezTo>
                      <a:pt x="55719" y="43246"/>
                      <a:pt x="43246" y="55719"/>
                      <a:pt x="27859" y="55719"/>
                    </a:cubicBezTo>
                    <a:cubicBezTo>
                      <a:pt x="12472" y="55719"/>
                      <a:pt x="-1" y="43246"/>
                      <a:pt x="-1" y="27859"/>
                    </a:cubicBezTo>
                    <a:cubicBezTo>
                      <a:pt x="-1" y="12473"/>
                      <a:pt x="12472" y="0"/>
                      <a:pt x="27859" y="0"/>
                    </a:cubicBezTo>
                    <a:cubicBezTo>
                      <a:pt x="43246" y="0"/>
                      <a:pt x="55719" y="12473"/>
                      <a:pt x="55719" y="27859"/>
                    </a:cubicBezTo>
                    <a:close/>
                  </a:path>
                </a:pathLst>
              </a:custGeom>
              <a:noFill/>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96" name="Freeform: Shape 95">
                <a:extLst>
                  <a:ext uri="{FF2B5EF4-FFF2-40B4-BE49-F238E27FC236}">
                    <a16:creationId xmlns:a16="http://schemas.microsoft.com/office/drawing/2014/main" id="{14398A6C-74FF-7FD3-FC38-358CF5EA9575}"/>
                  </a:ext>
                </a:extLst>
              </p:cNvPr>
              <p:cNvSpPr/>
              <p:nvPr/>
            </p:nvSpPr>
            <p:spPr>
              <a:xfrm>
                <a:off x="10474026" y="1532822"/>
                <a:ext cx="21880" cy="35006"/>
              </a:xfrm>
              <a:custGeom>
                <a:avLst/>
                <a:gdLst>
                  <a:gd name="connsiteX0" fmla="*/ 19310 w 19081"/>
                  <a:gd name="connsiteY0" fmla="*/ 0 h 30530"/>
                  <a:gd name="connsiteX1" fmla="*/ 0 w 19081"/>
                  <a:gd name="connsiteY1" fmla="*/ 31103 h 30530"/>
                </a:gdLst>
                <a:ahLst/>
                <a:cxnLst>
                  <a:cxn ang="0">
                    <a:pos x="connsiteX0" y="connsiteY0"/>
                  </a:cxn>
                  <a:cxn ang="0">
                    <a:pos x="connsiteX1" y="connsiteY1"/>
                  </a:cxn>
                </a:cxnLst>
                <a:rect l="l" t="t" r="r" b="b"/>
                <a:pathLst>
                  <a:path w="19081" h="30530">
                    <a:moveTo>
                      <a:pt x="19310" y="0"/>
                    </a:moveTo>
                    <a:lnTo>
                      <a:pt x="0" y="31103"/>
                    </a:lnTo>
                  </a:path>
                </a:pathLst>
              </a:custGeom>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97" name="Freeform: Shape 96">
                <a:extLst>
                  <a:ext uri="{FF2B5EF4-FFF2-40B4-BE49-F238E27FC236}">
                    <a16:creationId xmlns:a16="http://schemas.microsoft.com/office/drawing/2014/main" id="{5E790E53-7619-C6BB-1B3E-83AEC1ABADBA}"/>
                  </a:ext>
                </a:extLst>
              </p:cNvPr>
              <p:cNvSpPr/>
              <p:nvPr/>
            </p:nvSpPr>
            <p:spPr>
              <a:xfrm>
                <a:off x="10445889" y="1565814"/>
                <a:ext cx="35006" cy="35006"/>
              </a:xfrm>
              <a:custGeom>
                <a:avLst/>
                <a:gdLst>
                  <a:gd name="connsiteX0" fmla="*/ 32058 w 30530"/>
                  <a:gd name="connsiteY0" fmla="*/ 16029 h 30530"/>
                  <a:gd name="connsiteX1" fmla="*/ 16029 w 30530"/>
                  <a:gd name="connsiteY1" fmla="*/ 0 h 30530"/>
                  <a:gd name="connsiteX2" fmla="*/ 0 w 30530"/>
                  <a:gd name="connsiteY2" fmla="*/ 16029 h 30530"/>
                  <a:gd name="connsiteX3" fmla="*/ 16029 w 30530"/>
                  <a:gd name="connsiteY3" fmla="*/ 32057 h 30530"/>
                  <a:gd name="connsiteX4" fmla="*/ 32058 w 30530"/>
                  <a:gd name="connsiteY4" fmla="*/ 16029 h 30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30" h="30530">
                    <a:moveTo>
                      <a:pt x="32058" y="16029"/>
                    </a:moveTo>
                    <a:cubicBezTo>
                      <a:pt x="32058" y="7175"/>
                      <a:pt x="24883" y="0"/>
                      <a:pt x="16029" y="0"/>
                    </a:cubicBezTo>
                    <a:cubicBezTo>
                      <a:pt x="7175" y="0"/>
                      <a:pt x="0" y="7175"/>
                      <a:pt x="0" y="16029"/>
                    </a:cubicBezTo>
                    <a:cubicBezTo>
                      <a:pt x="0" y="24883"/>
                      <a:pt x="7175" y="32057"/>
                      <a:pt x="16029" y="32057"/>
                    </a:cubicBezTo>
                    <a:cubicBezTo>
                      <a:pt x="24883" y="32096"/>
                      <a:pt x="32058" y="24921"/>
                      <a:pt x="32058" y="16029"/>
                    </a:cubicBezTo>
                    <a:close/>
                  </a:path>
                </a:pathLst>
              </a:custGeom>
              <a:noFill/>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98" name="Freeform: Shape 97">
                <a:extLst>
                  <a:ext uri="{FF2B5EF4-FFF2-40B4-BE49-F238E27FC236}">
                    <a16:creationId xmlns:a16="http://schemas.microsoft.com/office/drawing/2014/main" id="{F2201FC4-4397-546C-BFFB-589F39E4916D}"/>
                  </a:ext>
                </a:extLst>
              </p:cNvPr>
              <p:cNvSpPr/>
              <p:nvPr/>
            </p:nvSpPr>
            <p:spPr>
              <a:xfrm>
                <a:off x="10241104" y="1090564"/>
                <a:ext cx="17503" cy="35006"/>
              </a:xfrm>
              <a:custGeom>
                <a:avLst/>
                <a:gdLst>
                  <a:gd name="connsiteX0" fmla="*/ 17975 w 15265"/>
                  <a:gd name="connsiteY0" fmla="*/ 31485 h 30530"/>
                  <a:gd name="connsiteX1" fmla="*/ 0 w 15265"/>
                  <a:gd name="connsiteY1" fmla="*/ 0 h 30530"/>
                </a:gdLst>
                <a:ahLst/>
                <a:cxnLst>
                  <a:cxn ang="0">
                    <a:pos x="connsiteX0" y="connsiteY0"/>
                  </a:cxn>
                  <a:cxn ang="0">
                    <a:pos x="connsiteX1" y="connsiteY1"/>
                  </a:cxn>
                </a:cxnLst>
                <a:rect l="l" t="t" r="r" b="b"/>
                <a:pathLst>
                  <a:path w="15265" h="30530">
                    <a:moveTo>
                      <a:pt x="17975" y="31485"/>
                    </a:moveTo>
                    <a:lnTo>
                      <a:pt x="0" y="0"/>
                    </a:lnTo>
                  </a:path>
                </a:pathLst>
              </a:custGeom>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99" name="Freeform: Shape 98">
                <a:extLst>
                  <a:ext uri="{FF2B5EF4-FFF2-40B4-BE49-F238E27FC236}">
                    <a16:creationId xmlns:a16="http://schemas.microsoft.com/office/drawing/2014/main" id="{168845A8-B5E4-3A47-2657-728B122C43CE}"/>
                  </a:ext>
                </a:extLst>
              </p:cNvPr>
              <p:cNvSpPr/>
              <p:nvPr/>
            </p:nvSpPr>
            <p:spPr>
              <a:xfrm>
                <a:off x="10211293" y="1057584"/>
                <a:ext cx="35006" cy="35006"/>
              </a:xfrm>
              <a:custGeom>
                <a:avLst/>
                <a:gdLst>
                  <a:gd name="connsiteX0" fmla="*/ 10545 w 30530"/>
                  <a:gd name="connsiteY0" fmla="*/ 31131 h 30530"/>
                  <a:gd name="connsiteX1" fmla="*/ 31115 w 30530"/>
                  <a:gd name="connsiteY1" fmla="*/ 21552 h 30530"/>
                  <a:gd name="connsiteX2" fmla="*/ 21536 w 30530"/>
                  <a:gd name="connsiteY2" fmla="*/ 981 h 30530"/>
                  <a:gd name="connsiteX3" fmla="*/ 966 w 30530"/>
                  <a:gd name="connsiteY3" fmla="*/ 10560 h 30530"/>
                  <a:gd name="connsiteX4" fmla="*/ 10545 w 30530"/>
                  <a:gd name="connsiteY4" fmla="*/ 31131 h 30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30" h="30530">
                    <a:moveTo>
                      <a:pt x="10545" y="31131"/>
                    </a:moveTo>
                    <a:cubicBezTo>
                      <a:pt x="18865" y="34184"/>
                      <a:pt x="28062" y="29871"/>
                      <a:pt x="31115" y="21552"/>
                    </a:cubicBezTo>
                    <a:cubicBezTo>
                      <a:pt x="34168" y="13232"/>
                      <a:pt x="29856" y="4034"/>
                      <a:pt x="21536" y="981"/>
                    </a:cubicBezTo>
                    <a:cubicBezTo>
                      <a:pt x="13217" y="-2072"/>
                      <a:pt x="4020" y="2241"/>
                      <a:pt x="966" y="10560"/>
                    </a:cubicBezTo>
                    <a:cubicBezTo>
                      <a:pt x="-2049" y="18880"/>
                      <a:pt x="2225" y="28078"/>
                      <a:pt x="10545" y="31131"/>
                    </a:cubicBezTo>
                    <a:close/>
                  </a:path>
                </a:pathLst>
              </a:custGeom>
              <a:noFill/>
              <a:ln w="11448"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100" name="Freeform: Shape 99">
                <a:extLst>
                  <a:ext uri="{FF2B5EF4-FFF2-40B4-BE49-F238E27FC236}">
                    <a16:creationId xmlns:a16="http://schemas.microsoft.com/office/drawing/2014/main" id="{AA429B09-EC4C-8D3B-D6C6-EFF8D91E7624}"/>
                  </a:ext>
                </a:extLst>
              </p:cNvPr>
              <p:cNvSpPr/>
              <p:nvPr/>
            </p:nvSpPr>
            <p:spPr>
              <a:xfrm>
                <a:off x="10215725" y="1154537"/>
                <a:ext cx="144400" cy="179406"/>
              </a:xfrm>
              <a:custGeom>
                <a:avLst/>
                <a:gdLst>
                  <a:gd name="connsiteX0" fmla="*/ 0 w 125939"/>
                  <a:gd name="connsiteY0" fmla="*/ 93768 h 156470"/>
                  <a:gd name="connsiteX1" fmla="*/ 37476 w 125939"/>
                  <a:gd name="connsiteY1" fmla="*/ 158150 h 156470"/>
                  <a:gd name="connsiteX2" fmla="*/ 29233 w 125939"/>
                  <a:gd name="connsiteY2" fmla="*/ 104797 h 156470"/>
                  <a:gd name="connsiteX3" fmla="*/ 80868 w 125939"/>
                  <a:gd name="connsiteY3" fmla="*/ 17212 h 156470"/>
                  <a:gd name="connsiteX4" fmla="*/ 128458 w 125939"/>
                  <a:gd name="connsiteY4" fmla="*/ 0 h 156470"/>
                  <a:gd name="connsiteX5" fmla="*/ 54154 w 125939"/>
                  <a:gd name="connsiteY5" fmla="*/ 0 h 15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939" h="156470">
                    <a:moveTo>
                      <a:pt x="0" y="93768"/>
                    </a:moveTo>
                    <a:lnTo>
                      <a:pt x="37476" y="158150"/>
                    </a:lnTo>
                    <a:lnTo>
                      <a:pt x="29233" y="104797"/>
                    </a:lnTo>
                    <a:lnTo>
                      <a:pt x="80868" y="17212"/>
                    </a:lnTo>
                    <a:lnTo>
                      <a:pt x="128458" y="0"/>
                    </a:lnTo>
                    <a:lnTo>
                      <a:pt x="54154" y="0"/>
                    </a:lnTo>
                    <a:close/>
                  </a:path>
                </a:pathLst>
              </a:custGeom>
              <a:solidFill>
                <a:schemeClr val="bg1"/>
              </a:solidFill>
              <a:ln w="3816" cap="flat">
                <a:solidFill>
                  <a:schemeClr val="bg1"/>
                </a:solidFill>
                <a:prstDash val="solid"/>
                <a:miter/>
              </a:ln>
            </p:spPr>
            <p:txBody>
              <a:bodyPr rtlCol="0" anchor="ctr"/>
              <a:lstStyle/>
              <a:p>
                <a:endParaRPr lang="en-US" sz="1350" noProof="0">
                  <a:latin typeface="Arial" panose="020B0604020202020204" pitchFamily="34" charset="0"/>
                </a:endParaRPr>
              </a:p>
            </p:txBody>
          </p:sp>
          <p:sp>
            <p:nvSpPr>
              <p:cNvPr id="101" name="Freeform: Shape 100">
                <a:extLst>
                  <a:ext uri="{FF2B5EF4-FFF2-40B4-BE49-F238E27FC236}">
                    <a16:creationId xmlns:a16="http://schemas.microsoft.com/office/drawing/2014/main" id="{7FD34678-8046-A4AA-AE71-BA02B700C26F}"/>
                  </a:ext>
                </a:extLst>
              </p:cNvPr>
              <p:cNvSpPr/>
              <p:nvPr/>
            </p:nvSpPr>
            <p:spPr>
              <a:xfrm>
                <a:off x="10610331" y="1324055"/>
                <a:ext cx="87514" cy="153152"/>
              </a:xfrm>
              <a:custGeom>
                <a:avLst/>
                <a:gdLst>
                  <a:gd name="connsiteX0" fmla="*/ 0 w 76327"/>
                  <a:gd name="connsiteY0" fmla="*/ 134450 h 133572"/>
                  <a:gd name="connsiteX1" fmla="*/ 36752 w 76327"/>
                  <a:gd name="connsiteY1" fmla="*/ 121818 h 133572"/>
                  <a:gd name="connsiteX2" fmla="*/ 43621 w 76327"/>
                  <a:gd name="connsiteY2" fmla="*/ 122238 h 133572"/>
                  <a:gd name="connsiteX3" fmla="*/ 77014 w 76327"/>
                  <a:gd name="connsiteY3" fmla="*/ 64382 h 133572"/>
                  <a:gd name="connsiteX4" fmla="*/ 39538 w 76327"/>
                  <a:gd name="connsiteY4" fmla="*/ 0 h 133572"/>
                  <a:gd name="connsiteX5" fmla="*/ 47819 w 76327"/>
                  <a:gd name="connsiteY5" fmla="*/ 53315 h 133572"/>
                  <a:gd name="connsiteX6" fmla="*/ 0 w 76327"/>
                  <a:gd name="connsiteY6" fmla="*/ 134450 h 13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327" h="133572">
                    <a:moveTo>
                      <a:pt x="0" y="134450"/>
                    </a:moveTo>
                    <a:cubicBezTo>
                      <a:pt x="10189" y="126551"/>
                      <a:pt x="22936" y="121818"/>
                      <a:pt x="36752" y="121818"/>
                    </a:cubicBezTo>
                    <a:cubicBezTo>
                      <a:pt x="39079" y="121818"/>
                      <a:pt x="41370" y="121971"/>
                      <a:pt x="43621" y="122238"/>
                    </a:cubicBezTo>
                    <a:lnTo>
                      <a:pt x="77014" y="64382"/>
                    </a:lnTo>
                    <a:lnTo>
                      <a:pt x="39538" y="0"/>
                    </a:lnTo>
                    <a:lnTo>
                      <a:pt x="47819" y="53315"/>
                    </a:lnTo>
                    <a:lnTo>
                      <a:pt x="0" y="134450"/>
                    </a:lnTo>
                    <a:close/>
                  </a:path>
                </a:pathLst>
              </a:custGeom>
              <a:solidFill>
                <a:schemeClr val="bg1"/>
              </a:solidFill>
              <a:ln w="3816" cap="flat">
                <a:solidFill>
                  <a:schemeClr val="bg1"/>
                </a:solidFill>
                <a:prstDash val="solid"/>
                <a:miter/>
              </a:ln>
            </p:spPr>
            <p:txBody>
              <a:bodyPr rtlCol="0" anchor="ctr"/>
              <a:lstStyle/>
              <a:p>
                <a:endParaRPr lang="en-US" sz="1350" noProof="0">
                  <a:latin typeface="Arial" panose="020B0604020202020204" pitchFamily="34" charset="0"/>
                </a:endParaRPr>
              </a:p>
            </p:txBody>
          </p:sp>
        </p:grpSp>
      </p:grpSp>
      <p:grpSp>
        <p:nvGrpSpPr>
          <p:cNvPr id="156" name="Group 155">
            <a:extLst>
              <a:ext uri="{FF2B5EF4-FFF2-40B4-BE49-F238E27FC236}">
                <a16:creationId xmlns:a16="http://schemas.microsoft.com/office/drawing/2014/main" id="{B267F0FB-542C-B31B-500D-0530B8C67975}"/>
              </a:ext>
            </a:extLst>
          </p:cNvPr>
          <p:cNvGrpSpPr/>
          <p:nvPr/>
        </p:nvGrpSpPr>
        <p:grpSpPr>
          <a:xfrm>
            <a:off x="10542029" y="2960112"/>
            <a:ext cx="1483836" cy="1099876"/>
            <a:chOff x="8656734" y="4513243"/>
            <a:chExt cx="1582007" cy="1172645"/>
          </a:xfrm>
        </p:grpSpPr>
        <p:sp>
          <p:nvSpPr>
            <p:cNvPr id="74" name="TextBox 73">
              <a:extLst>
                <a:ext uri="{FF2B5EF4-FFF2-40B4-BE49-F238E27FC236}">
                  <a16:creationId xmlns:a16="http://schemas.microsoft.com/office/drawing/2014/main" id="{20231006-5F7C-6894-5A25-0C890F715715}"/>
                </a:ext>
              </a:extLst>
            </p:cNvPr>
            <p:cNvSpPr txBox="1"/>
            <p:nvPr/>
          </p:nvSpPr>
          <p:spPr>
            <a:xfrm>
              <a:off x="8656734" y="5224223"/>
              <a:ext cx="1582007" cy="461665"/>
            </a:xfrm>
            <a:prstGeom prst="rect">
              <a:avLst/>
            </a:prstGeom>
            <a:noFill/>
          </p:spPr>
          <p:txBody>
            <a:bodyPr wrap="square" rtlCol="0">
              <a:spAutoFit/>
            </a:bodyPr>
            <a:lstStyle/>
            <a:p>
              <a:pPr algn="ctr">
                <a:lnSpc>
                  <a:spcPct val="90000"/>
                </a:lnSpc>
              </a:pPr>
              <a:r>
                <a:rPr lang="en-US" sz="1200" noProof="0">
                  <a:latin typeface="Arial" panose="020B0604020202020204" pitchFamily="34" charset="0"/>
                  <a:cs typeface="Arial" panose="020B0604020202020204" pitchFamily="34" charset="0"/>
                </a:rPr>
                <a:t>Environmental &amp; social factors</a:t>
              </a:r>
              <a:r>
                <a:rPr lang="en-US" sz="1200" baseline="30000">
                  <a:latin typeface="Arial" panose="020B0604020202020204" pitchFamily="34" charset="0"/>
                  <a:cs typeface="Arial" panose="020B0604020202020204" pitchFamily="34" charset="0"/>
                </a:rPr>
                <a:t>2</a:t>
              </a:r>
              <a:endParaRPr lang="en-US" sz="1200" baseline="30000" noProof="0">
                <a:latin typeface="Arial" panose="020B0604020202020204" pitchFamily="34" charset="0"/>
                <a:cs typeface="Arial" panose="020B0604020202020204" pitchFamily="34" charset="0"/>
              </a:endParaRPr>
            </a:p>
          </p:txBody>
        </p:sp>
        <p:sp>
          <p:nvSpPr>
            <p:cNvPr id="81" name="Freeform 64">
              <a:extLst>
                <a:ext uri="{FF2B5EF4-FFF2-40B4-BE49-F238E27FC236}">
                  <a16:creationId xmlns:a16="http://schemas.microsoft.com/office/drawing/2014/main" id="{BBBF9E44-974C-5F00-6B6D-11FBE818C15C}"/>
                </a:ext>
              </a:extLst>
            </p:cNvPr>
            <p:cNvSpPr>
              <a:spLocks/>
            </p:cNvSpPr>
            <p:nvPr/>
          </p:nvSpPr>
          <p:spPr bwMode="auto">
            <a:xfrm>
              <a:off x="9077651" y="4513243"/>
              <a:ext cx="740172" cy="733434"/>
            </a:xfrm>
            <a:prstGeom prst="ellipse">
              <a:avLst/>
            </a:prstGeom>
            <a:solidFill>
              <a:schemeClr val="tx2"/>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grpSp>
      <p:grpSp>
        <p:nvGrpSpPr>
          <p:cNvPr id="159" name="Group 158">
            <a:extLst>
              <a:ext uri="{FF2B5EF4-FFF2-40B4-BE49-F238E27FC236}">
                <a16:creationId xmlns:a16="http://schemas.microsoft.com/office/drawing/2014/main" id="{9DA548F3-C94B-0E05-2F6C-5C0793D45E04}"/>
              </a:ext>
            </a:extLst>
          </p:cNvPr>
          <p:cNvGrpSpPr/>
          <p:nvPr/>
        </p:nvGrpSpPr>
        <p:grpSpPr>
          <a:xfrm>
            <a:off x="7633504" y="2875863"/>
            <a:ext cx="1367543" cy="1426946"/>
            <a:chOff x="7894360" y="634663"/>
            <a:chExt cx="1458020" cy="1521354"/>
          </a:xfrm>
        </p:grpSpPr>
        <p:sp>
          <p:nvSpPr>
            <p:cNvPr id="147" name="Freeform 64">
              <a:extLst>
                <a:ext uri="{FF2B5EF4-FFF2-40B4-BE49-F238E27FC236}">
                  <a16:creationId xmlns:a16="http://schemas.microsoft.com/office/drawing/2014/main" id="{E145BE6E-9A0B-C775-6FE2-914400981452}"/>
                </a:ext>
              </a:extLst>
            </p:cNvPr>
            <p:cNvSpPr>
              <a:spLocks/>
            </p:cNvSpPr>
            <p:nvPr/>
          </p:nvSpPr>
          <p:spPr bwMode="auto">
            <a:xfrm>
              <a:off x="8239451" y="634663"/>
              <a:ext cx="740172" cy="733434"/>
            </a:xfrm>
            <a:prstGeom prst="ellipse">
              <a:avLst/>
            </a:prstGeom>
            <a:solidFill>
              <a:schemeClr val="tx2"/>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71" name="TextBox 70">
              <a:extLst>
                <a:ext uri="{FF2B5EF4-FFF2-40B4-BE49-F238E27FC236}">
                  <a16:creationId xmlns:a16="http://schemas.microsoft.com/office/drawing/2014/main" id="{0A182D3B-E249-BEA3-8704-9B48FF3061FB}"/>
                </a:ext>
              </a:extLst>
            </p:cNvPr>
            <p:cNvSpPr txBox="1"/>
            <p:nvPr/>
          </p:nvSpPr>
          <p:spPr>
            <a:xfrm>
              <a:off x="7894360" y="1348793"/>
              <a:ext cx="1458020" cy="807224"/>
            </a:xfrm>
            <a:prstGeom prst="rect">
              <a:avLst/>
            </a:prstGeom>
            <a:noFill/>
          </p:spPr>
          <p:txBody>
            <a:bodyPr wrap="square" lIns="91440" tIns="45720" rIns="91440" bIns="45720" rtlCol="0" anchor="t">
              <a:spAutoFit/>
            </a:bodyPr>
            <a:lstStyle/>
            <a:p>
              <a:pPr algn="ctr">
                <a:lnSpc>
                  <a:spcPct val="90000"/>
                </a:lnSpc>
              </a:pPr>
              <a:r>
                <a:rPr lang="en-US" sz="1200" noProof="0" dirty="0" err="1">
                  <a:latin typeface="Arial"/>
                  <a:cs typeface="Arial"/>
                </a:rPr>
                <a:t>Ultraprocessed</a:t>
              </a:r>
              <a:r>
                <a:rPr lang="en-US" sz="1200" noProof="0" dirty="0">
                  <a:latin typeface="Arial"/>
                  <a:cs typeface="Arial"/>
                </a:rPr>
                <a:t> foods &amp; </a:t>
              </a:r>
              <a:br>
                <a:rPr lang="en-US" sz="1200" dirty="0">
                  <a:latin typeface="Arial"/>
                  <a:cs typeface="Arial"/>
                </a:rPr>
              </a:br>
              <a:r>
                <a:rPr lang="en-US" sz="1200" noProof="0" dirty="0">
                  <a:latin typeface="Arial"/>
                  <a:cs typeface="Arial"/>
                </a:rPr>
                <a:t>added sugars/ overnutrition</a:t>
              </a:r>
              <a:r>
                <a:rPr lang="en-US" sz="1200" baseline="30000" dirty="0">
                  <a:latin typeface="Arial"/>
                  <a:cs typeface="Arial"/>
                </a:rPr>
                <a:t>2</a:t>
              </a:r>
              <a:r>
                <a:rPr lang="en-US" sz="1200" baseline="30000" noProof="0" dirty="0">
                  <a:latin typeface="Arial"/>
                  <a:cs typeface="Arial"/>
                </a:rPr>
                <a:t>,</a:t>
              </a:r>
              <a:r>
                <a:rPr lang="en-US" sz="1200" baseline="30000" dirty="0">
                  <a:latin typeface="Arial"/>
                  <a:cs typeface="Arial"/>
                </a:rPr>
                <a:t>6</a:t>
              </a:r>
              <a:endParaRPr lang="en-US" sz="1200" baseline="30000" noProof="0" dirty="0">
                <a:latin typeface="Arial" panose="020B0604020202020204" pitchFamily="34" charset="0"/>
                <a:cs typeface="Arial" panose="020B0604020202020204" pitchFamily="34" charset="0"/>
              </a:endParaRPr>
            </a:p>
          </p:txBody>
        </p:sp>
        <p:pic>
          <p:nvPicPr>
            <p:cNvPr id="149" name="Graphic 148">
              <a:extLst>
                <a:ext uri="{FF2B5EF4-FFF2-40B4-BE49-F238E27FC236}">
                  <a16:creationId xmlns:a16="http://schemas.microsoft.com/office/drawing/2014/main" id="{F0FB4910-4F48-92B7-9EB6-C9F06FA82FE8}"/>
                </a:ext>
              </a:extLst>
            </p:cNvPr>
            <p:cNvPicPr>
              <a:picLocks noChangeAspect="1"/>
            </p:cNvPicPr>
            <p:nvPr/>
          </p:nvPicPr>
          <p:blipFill>
            <a:blip r:embed="rId3">
              <a:extLst>
                <a:ext uri="{96DAC541-7B7A-43D3-8B79-37D633B846F1}">
                  <asvg:svgBlip xmlns:asvg="http://schemas.microsoft.com/office/drawing/2016/SVG/main" r:embed="rId4"/>
                </a:ext>
              </a:extLst>
            </a:blip>
            <a:srcRect l="13" r="13"/>
            <a:stretch/>
          </p:blipFill>
          <p:spPr>
            <a:xfrm>
              <a:off x="8369300" y="742950"/>
              <a:ext cx="469900" cy="470022"/>
            </a:xfrm>
            <a:prstGeom prst="rect">
              <a:avLst/>
            </a:prstGeom>
          </p:spPr>
        </p:pic>
      </p:grpSp>
      <p:grpSp>
        <p:nvGrpSpPr>
          <p:cNvPr id="161" name="Group 160">
            <a:extLst>
              <a:ext uri="{FF2B5EF4-FFF2-40B4-BE49-F238E27FC236}">
                <a16:creationId xmlns:a16="http://schemas.microsoft.com/office/drawing/2014/main" id="{B6900E0B-5AA3-7D20-91EA-44E708805D08}"/>
              </a:ext>
            </a:extLst>
          </p:cNvPr>
          <p:cNvGrpSpPr/>
          <p:nvPr/>
        </p:nvGrpSpPr>
        <p:grpSpPr>
          <a:xfrm>
            <a:off x="9307650" y="1108076"/>
            <a:ext cx="985908" cy="1091498"/>
            <a:chOff x="11032914" y="2402503"/>
            <a:chExt cx="1051136" cy="1163713"/>
          </a:xfrm>
        </p:grpSpPr>
        <p:sp>
          <p:nvSpPr>
            <p:cNvPr id="38" name="Freeform 109">
              <a:extLst>
                <a:ext uri="{FF2B5EF4-FFF2-40B4-BE49-F238E27FC236}">
                  <a16:creationId xmlns:a16="http://schemas.microsoft.com/office/drawing/2014/main" id="{BBD2D4C7-4899-4EDE-7C70-61B53DAEAF52}"/>
                </a:ext>
              </a:extLst>
            </p:cNvPr>
            <p:cNvSpPr>
              <a:spLocks/>
            </p:cNvSpPr>
            <p:nvPr/>
          </p:nvSpPr>
          <p:spPr bwMode="auto">
            <a:xfrm>
              <a:off x="11333775" y="2592079"/>
              <a:ext cx="91365" cy="90871"/>
            </a:xfrm>
            <a:custGeom>
              <a:avLst/>
              <a:gdLst>
                <a:gd name="T0" fmla="*/ 93 w 185"/>
                <a:gd name="T1" fmla="*/ 0 h 184"/>
                <a:gd name="T2" fmla="*/ 185 w 185"/>
                <a:gd name="T3" fmla="*/ 92 h 184"/>
                <a:gd name="T4" fmla="*/ 95 w 185"/>
                <a:gd name="T5" fmla="*/ 183 h 184"/>
                <a:gd name="T6" fmla="*/ 1 w 185"/>
                <a:gd name="T7" fmla="*/ 93 h 184"/>
                <a:gd name="T8" fmla="*/ 93 w 185"/>
                <a:gd name="T9" fmla="*/ 0 h 184"/>
              </a:gdLst>
              <a:ahLst/>
              <a:cxnLst>
                <a:cxn ang="0">
                  <a:pos x="T0" y="T1"/>
                </a:cxn>
                <a:cxn ang="0">
                  <a:pos x="T2" y="T3"/>
                </a:cxn>
                <a:cxn ang="0">
                  <a:pos x="T4" y="T5"/>
                </a:cxn>
                <a:cxn ang="0">
                  <a:pos x="T6" y="T7"/>
                </a:cxn>
                <a:cxn ang="0">
                  <a:pos x="T8" y="T9"/>
                </a:cxn>
              </a:cxnLst>
              <a:rect l="0" t="0" r="r" b="b"/>
              <a:pathLst>
                <a:path w="185" h="184">
                  <a:moveTo>
                    <a:pt x="93" y="0"/>
                  </a:moveTo>
                  <a:cubicBezTo>
                    <a:pt x="144" y="0"/>
                    <a:pt x="185" y="40"/>
                    <a:pt x="185" y="92"/>
                  </a:cubicBezTo>
                  <a:cubicBezTo>
                    <a:pt x="185" y="141"/>
                    <a:pt x="145" y="182"/>
                    <a:pt x="95" y="183"/>
                  </a:cubicBezTo>
                  <a:cubicBezTo>
                    <a:pt x="43" y="184"/>
                    <a:pt x="2" y="144"/>
                    <a:pt x="1" y="93"/>
                  </a:cubicBezTo>
                  <a:cubicBezTo>
                    <a:pt x="0" y="42"/>
                    <a:pt x="41" y="1"/>
                    <a:pt x="93" y="0"/>
                  </a:cubicBezTo>
                  <a:close/>
                </a:path>
              </a:pathLst>
            </a:custGeom>
            <a:solidFill>
              <a:srgbClr val="27B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39" name="Freeform 114">
              <a:extLst>
                <a:ext uri="{FF2B5EF4-FFF2-40B4-BE49-F238E27FC236}">
                  <a16:creationId xmlns:a16="http://schemas.microsoft.com/office/drawing/2014/main" id="{BF9EC5FB-367D-92B4-BE08-EFFB862C739F}"/>
                </a:ext>
              </a:extLst>
            </p:cNvPr>
            <p:cNvSpPr>
              <a:spLocks/>
            </p:cNvSpPr>
            <p:nvPr/>
          </p:nvSpPr>
          <p:spPr bwMode="auto">
            <a:xfrm>
              <a:off x="11328836" y="2704680"/>
              <a:ext cx="131861" cy="107168"/>
            </a:xfrm>
            <a:custGeom>
              <a:avLst/>
              <a:gdLst>
                <a:gd name="T0" fmla="*/ 210 w 267"/>
                <a:gd name="T1" fmla="*/ 216 h 217"/>
                <a:gd name="T2" fmla="*/ 56 w 267"/>
                <a:gd name="T3" fmla="*/ 161 h 217"/>
                <a:gd name="T4" fmla="*/ 3 w 267"/>
                <a:gd name="T5" fmla="*/ 31 h 217"/>
                <a:gd name="T6" fmla="*/ 33 w 267"/>
                <a:gd name="T7" fmla="*/ 0 h 217"/>
                <a:gd name="T8" fmla="*/ 67 w 267"/>
                <a:gd name="T9" fmla="*/ 29 h 217"/>
                <a:gd name="T10" fmla="*/ 193 w 267"/>
                <a:gd name="T11" fmla="*/ 149 h 217"/>
                <a:gd name="T12" fmla="*/ 230 w 267"/>
                <a:gd name="T13" fmla="*/ 150 h 217"/>
                <a:gd name="T14" fmla="*/ 267 w 267"/>
                <a:gd name="T15" fmla="*/ 184 h 217"/>
                <a:gd name="T16" fmla="*/ 230 w 267"/>
                <a:gd name="T17" fmla="*/ 217 h 217"/>
                <a:gd name="T18" fmla="*/ 210 w 267"/>
                <a:gd name="T19"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7" h="217">
                  <a:moveTo>
                    <a:pt x="210" y="216"/>
                  </a:moveTo>
                  <a:cubicBezTo>
                    <a:pt x="153" y="214"/>
                    <a:pt x="99" y="202"/>
                    <a:pt x="56" y="161"/>
                  </a:cubicBezTo>
                  <a:cubicBezTo>
                    <a:pt x="18" y="126"/>
                    <a:pt x="0" y="82"/>
                    <a:pt x="3" y="31"/>
                  </a:cubicBezTo>
                  <a:cubicBezTo>
                    <a:pt x="4" y="12"/>
                    <a:pt x="16" y="1"/>
                    <a:pt x="33" y="0"/>
                  </a:cubicBezTo>
                  <a:cubicBezTo>
                    <a:pt x="53" y="0"/>
                    <a:pt x="67" y="11"/>
                    <a:pt x="67" y="29"/>
                  </a:cubicBezTo>
                  <a:cubicBezTo>
                    <a:pt x="68" y="108"/>
                    <a:pt x="121" y="141"/>
                    <a:pt x="193" y="149"/>
                  </a:cubicBezTo>
                  <a:cubicBezTo>
                    <a:pt x="205" y="150"/>
                    <a:pt x="218" y="150"/>
                    <a:pt x="230" y="150"/>
                  </a:cubicBezTo>
                  <a:cubicBezTo>
                    <a:pt x="253" y="151"/>
                    <a:pt x="267" y="164"/>
                    <a:pt x="267" y="184"/>
                  </a:cubicBezTo>
                  <a:cubicBezTo>
                    <a:pt x="267" y="203"/>
                    <a:pt x="253" y="216"/>
                    <a:pt x="230" y="217"/>
                  </a:cubicBezTo>
                  <a:cubicBezTo>
                    <a:pt x="223" y="217"/>
                    <a:pt x="217" y="216"/>
                    <a:pt x="210" y="216"/>
                  </a:cubicBezTo>
                  <a:close/>
                </a:path>
              </a:pathLst>
            </a:custGeom>
            <a:solidFill>
              <a:srgbClr val="27B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73" name="TextBox 72">
              <a:extLst>
                <a:ext uri="{FF2B5EF4-FFF2-40B4-BE49-F238E27FC236}">
                  <a16:creationId xmlns:a16="http://schemas.microsoft.com/office/drawing/2014/main" id="{CA44E67A-67CF-0316-162A-E46FFD35F760}"/>
                </a:ext>
              </a:extLst>
            </p:cNvPr>
            <p:cNvSpPr txBox="1"/>
            <p:nvPr/>
          </p:nvSpPr>
          <p:spPr>
            <a:xfrm>
              <a:off x="11032914" y="3104551"/>
              <a:ext cx="1051136" cy="461665"/>
            </a:xfrm>
            <a:prstGeom prst="rect">
              <a:avLst/>
            </a:prstGeom>
            <a:noFill/>
          </p:spPr>
          <p:txBody>
            <a:bodyPr wrap="square" rtlCol="0">
              <a:spAutoFit/>
            </a:bodyPr>
            <a:lstStyle/>
            <a:p>
              <a:pPr algn="ctr">
                <a:lnSpc>
                  <a:spcPct val="90000"/>
                </a:lnSpc>
              </a:pPr>
              <a:r>
                <a:rPr lang="en-US" sz="1200" noProof="0">
                  <a:latin typeface="Arial" panose="020B0604020202020204" pitchFamily="34" charset="0"/>
                  <a:cs typeface="Arial" panose="020B0604020202020204" pitchFamily="34" charset="0"/>
                </a:rPr>
                <a:t>Sedentary lifestyle</a:t>
              </a:r>
              <a:r>
                <a:rPr lang="en-US" sz="1200" baseline="30000">
                  <a:latin typeface="Arial" panose="020B0604020202020204" pitchFamily="34" charset="0"/>
                  <a:cs typeface="Arial" panose="020B0604020202020204" pitchFamily="34" charset="0"/>
                </a:rPr>
                <a:t>2</a:t>
              </a:r>
              <a:endParaRPr lang="en-US" sz="1200" baseline="30000" noProof="0">
                <a:latin typeface="Arial" panose="020B0604020202020204" pitchFamily="34" charset="0"/>
                <a:cs typeface="Arial" panose="020B0604020202020204" pitchFamily="34" charset="0"/>
              </a:endParaRPr>
            </a:p>
          </p:txBody>
        </p:sp>
        <p:sp>
          <p:nvSpPr>
            <p:cNvPr id="151" name="Freeform 64">
              <a:extLst>
                <a:ext uri="{FF2B5EF4-FFF2-40B4-BE49-F238E27FC236}">
                  <a16:creationId xmlns:a16="http://schemas.microsoft.com/office/drawing/2014/main" id="{3ABF166C-FA2E-DA9B-189E-4056CA589F92}"/>
                </a:ext>
              </a:extLst>
            </p:cNvPr>
            <p:cNvSpPr>
              <a:spLocks/>
            </p:cNvSpPr>
            <p:nvPr/>
          </p:nvSpPr>
          <p:spPr bwMode="auto">
            <a:xfrm>
              <a:off x="11192579" y="2402503"/>
              <a:ext cx="740172" cy="733434"/>
            </a:xfrm>
            <a:prstGeom prst="ellipse">
              <a:avLst/>
            </a:prstGeom>
            <a:solidFill>
              <a:schemeClr val="tx2"/>
            </a:solidFill>
            <a:ln>
              <a:noFill/>
            </a:ln>
          </p:spPr>
          <p:txBody>
            <a:bodyPr/>
            <a:lstStyle/>
            <a:p>
              <a:pPr defTabSz="1219170" fontAlgn="base">
                <a:spcBef>
                  <a:spcPct val="0"/>
                </a:spcBef>
                <a:spcAft>
                  <a:spcPct val="0"/>
                </a:spcAft>
                <a:defRPr/>
              </a:pPr>
              <a:endParaRPr lang="en-US" sz="1000" noProof="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pic>
          <p:nvPicPr>
            <p:cNvPr id="152" name="Graphic 151">
              <a:extLst>
                <a:ext uri="{FF2B5EF4-FFF2-40B4-BE49-F238E27FC236}">
                  <a16:creationId xmlns:a16="http://schemas.microsoft.com/office/drawing/2014/main" id="{1FBC5E65-2808-0ED0-140B-61051579861F}"/>
                </a:ext>
              </a:extLst>
            </p:cNvPr>
            <p:cNvPicPr>
              <a:picLocks noChangeAspect="1"/>
            </p:cNvPicPr>
            <p:nvPr/>
          </p:nvPicPr>
          <p:blipFill>
            <a:blip r:embed="rId5">
              <a:extLst>
                <a:ext uri="{96DAC541-7B7A-43D3-8B79-37D633B846F1}">
                  <asvg:svgBlip xmlns:asvg="http://schemas.microsoft.com/office/drawing/2016/SVG/main" r:embed="rId6"/>
                </a:ext>
              </a:extLst>
            </a:blip>
            <a:srcRect l="16" r="16"/>
            <a:stretch/>
          </p:blipFill>
          <p:spPr>
            <a:xfrm>
              <a:off x="11315700" y="2540000"/>
              <a:ext cx="469870" cy="470022"/>
            </a:xfrm>
            <a:prstGeom prst="rect">
              <a:avLst/>
            </a:prstGeom>
          </p:spPr>
        </p:pic>
      </p:grpSp>
      <p:pic>
        <p:nvPicPr>
          <p:cNvPr id="153" name="Graphic 152">
            <a:extLst>
              <a:ext uri="{FF2B5EF4-FFF2-40B4-BE49-F238E27FC236}">
                <a16:creationId xmlns:a16="http://schemas.microsoft.com/office/drawing/2014/main" id="{9B2136A9-149C-3D29-682D-698CBC652DF3}"/>
              </a:ext>
            </a:extLst>
          </p:cNvPr>
          <p:cNvPicPr>
            <a:picLocks noChangeAspect="1"/>
          </p:cNvPicPr>
          <p:nvPr/>
        </p:nvPicPr>
        <p:blipFill>
          <a:blip r:embed="rId7">
            <a:extLst>
              <a:ext uri="{96DAC541-7B7A-43D3-8B79-37D633B846F1}">
                <asvg:svgBlip xmlns:asvg="http://schemas.microsoft.com/office/drawing/2016/SVG/main" r:embed="rId8"/>
              </a:ext>
            </a:extLst>
          </a:blip>
          <a:srcRect l="24" r="24"/>
          <a:stretch/>
        </p:blipFill>
        <p:spPr>
          <a:xfrm>
            <a:off x="11015882" y="3046055"/>
            <a:ext cx="536129" cy="536382"/>
          </a:xfrm>
          <a:prstGeom prst="rect">
            <a:avLst/>
          </a:prstGeom>
        </p:spPr>
      </p:pic>
      <p:sp>
        <p:nvSpPr>
          <p:cNvPr id="5" name="Rectangle: Rounded Corners 4">
            <a:extLst>
              <a:ext uri="{FF2B5EF4-FFF2-40B4-BE49-F238E27FC236}">
                <a16:creationId xmlns:a16="http://schemas.microsoft.com/office/drawing/2014/main" id="{67A9769F-7571-4D81-CA4F-424E4CA2BDD9}"/>
              </a:ext>
            </a:extLst>
          </p:cNvPr>
          <p:cNvSpPr/>
          <p:nvPr/>
        </p:nvSpPr>
        <p:spPr>
          <a:xfrm>
            <a:off x="8789298" y="2700728"/>
            <a:ext cx="1977762" cy="47244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400" b="1" noProof="0">
                <a:solidFill>
                  <a:schemeClr val="bg1"/>
                </a:solidFill>
                <a:latin typeface="Arial" panose="020B0604020202020204" pitchFamily="34" charset="0"/>
                <a:cs typeface="Arial" panose="020B0604020202020204" pitchFamily="34" charset="0"/>
              </a:rPr>
              <a:t>Genetics</a:t>
            </a:r>
            <a:r>
              <a:rPr lang="en-US" sz="1400" b="1" baseline="30000">
                <a:solidFill>
                  <a:schemeClr val="bg1"/>
                </a:solidFill>
                <a:latin typeface="Arial" panose="020B0604020202020204" pitchFamily="34" charset="0"/>
                <a:cs typeface="Arial" panose="020B0604020202020204" pitchFamily="34" charset="0"/>
              </a:rPr>
              <a:t>2</a:t>
            </a:r>
            <a:r>
              <a:rPr lang="en-US" sz="1400" b="1" baseline="30000" noProof="0">
                <a:solidFill>
                  <a:schemeClr val="bg1"/>
                </a:solidFill>
                <a:latin typeface="Arial" panose="020B0604020202020204" pitchFamily="34" charset="0"/>
                <a:cs typeface="Arial" panose="020B0604020202020204" pitchFamily="34" charset="0"/>
              </a:rPr>
              <a:t>,3*</a:t>
            </a:r>
          </a:p>
        </p:txBody>
      </p:sp>
      <p:grpSp>
        <p:nvGrpSpPr>
          <p:cNvPr id="16" name="Group 15">
            <a:extLst>
              <a:ext uri="{FF2B5EF4-FFF2-40B4-BE49-F238E27FC236}">
                <a16:creationId xmlns:a16="http://schemas.microsoft.com/office/drawing/2014/main" id="{4BCDAB88-4590-E38B-3AA5-C10730222540}"/>
              </a:ext>
            </a:extLst>
          </p:cNvPr>
          <p:cNvGrpSpPr/>
          <p:nvPr/>
        </p:nvGrpSpPr>
        <p:grpSpPr>
          <a:xfrm>
            <a:off x="4278036" y="1680224"/>
            <a:ext cx="2929096" cy="1200329"/>
            <a:chOff x="4278036" y="3364760"/>
            <a:chExt cx="2929096" cy="1200329"/>
          </a:xfrm>
        </p:grpSpPr>
        <p:sp>
          <p:nvSpPr>
            <p:cNvPr id="17" name="TextBox 16">
              <a:extLst>
                <a:ext uri="{FF2B5EF4-FFF2-40B4-BE49-F238E27FC236}">
                  <a16:creationId xmlns:a16="http://schemas.microsoft.com/office/drawing/2014/main" id="{D50A856D-F5BD-2F34-55C7-E448C3971B08}"/>
                </a:ext>
              </a:extLst>
            </p:cNvPr>
            <p:cNvSpPr txBox="1"/>
            <p:nvPr/>
          </p:nvSpPr>
          <p:spPr>
            <a:xfrm>
              <a:off x="4843093" y="3364760"/>
              <a:ext cx="2364039" cy="1200329"/>
            </a:xfrm>
            <a:prstGeom prst="rect">
              <a:avLst/>
            </a:prstGeom>
            <a:noFill/>
          </p:spPr>
          <p:txBody>
            <a:bodyPr wrap="square">
              <a:spAutoFit/>
            </a:bodyPr>
            <a:lstStyle/>
            <a:p>
              <a:r>
                <a:rPr lang="en-US" b="1" noProof="0">
                  <a:latin typeface="Arial" panose="020B0604020202020204" pitchFamily="34" charset="0"/>
                  <a:cs typeface="Arial" panose="020B0604020202020204" pitchFamily="34" charset="0"/>
                </a:rPr>
                <a:t>O</a:t>
              </a:r>
              <a:r>
                <a:rPr lang="en-US" sz="1800" b="1" noProof="0">
                  <a:effectLst/>
                  <a:latin typeface="Arial" panose="020B0604020202020204" pitchFamily="34" charset="0"/>
                  <a:cs typeface="Arial" panose="020B0604020202020204" pitchFamily="34" charset="0"/>
                </a:rPr>
                <a:t>ver 500 </a:t>
              </a:r>
              <a:br>
                <a:rPr lang="en-US" sz="1800" b="1" noProof="0">
                  <a:effectLst/>
                  <a:latin typeface="Arial" panose="020B0604020202020204" pitchFamily="34" charset="0"/>
                  <a:cs typeface="Arial" panose="020B0604020202020204" pitchFamily="34" charset="0"/>
                </a:rPr>
              </a:br>
              <a:r>
                <a:rPr lang="en-US" sz="1800" b="1" noProof="0">
                  <a:effectLst/>
                  <a:latin typeface="Arial" panose="020B0604020202020204" pitchFamily="34" charset="0"/>
                  <a:cs typeface="Arial" panose="020B0604020202020204" pitchFamily="34" charset="0"/>
                </a:rPr>
                <a:t>obesity-related genes</a:t>
              </a:r>
              <a:r>
                <a:rPr lang="en-US" sz="1800" noProof="0">
                  <a:effectLst/>
                  <a:latin typeface="Arial" panose="020B0604020202020204" pitchFamily="34" charset="0"/>
                  <a:cs typeface="Arial" panose="020B0604020202020204" pitchFamily="34" charset="0"/>
                </a:rPr>
                <a:t> have been identified in humans</a:t>
              </a:r>
              <a:r>
                <a:rPr lang="en-US" baseline="30000">
                  <a:latin typeface="Arial" panose="020B0604020202020204" pitchFamily="34" charset="0"/>
                  <a:cs typeface="Arial" panose="020B0604020202020204" pitchFamily="34" charset="0"/>
                </a:rPr>
                <a:t>1</a:t>
              </a:r>
              <a:endParaRPr lang="en-US" sz="2000" noProof="0">
                <a:effectLst/>
                <a:latin typeface="Arial" panose="020B0604020202020204" pitchFamily="34" charset="0"/>
                <a:cs typeface="Arial" panose="020B0604020202020204" pitchFamily="34" charset="0"/>
              </a:endParaRPr>
            </a:p>
          </p:txBody>
        </p:sp>
        <p:sp>
          <p:nvSpPr>
            <p:cNvPr id="18" name="Freeform 86">
              <a:extLst>
                <a:ext uri="{FF2B5EF4-FFF2-40B4-BE49-F238E27FC236}">
                  <a16:creationId xmlns:a16="http://schemas.microsoft.com/office/drawing/2014/main" id="{18C17961-C8E7-6311-AA89-BACADFE05E62}"/>
                </a:ext>
              </a:extLst>
            </p:cNvPr>
            <p:cNvSpPr>
              <a:spLocks noEditPoints="1"/>
            </p:cNvSpPr>
            <p:nvPr/>
          </p:nvSpPr>
          <p:spPr bwMode="auto">
            <a:xfrm>
              <a:off x="4278036" y="3439704"/>
              <a:ext cx="396241" cy="1100664"/>
            </a:xfrm>
            <a:custGeom>
              <a:avLst/>
              <a:gdLst>
                <a:gd name="T0" fmla="*/ 20 w 111"/>
                <a:gd name="T1" fmla="*/ 252 h 309"/>
                <a:gd name="T2" fmla="*/ 0 w 111"/>
                <a:gd name="T3" fmla="*/ 308 h 309"/>
                <a:gd name="T4" fmla="*/ 19 w 111"/>
                <a:gd name="T5" fmla="*/ 305 h 309"/>
                <a:gd name="T6" fmla="*/ 88 w 111"/>
                <a:gd name="T7" fmla="*/ 298 h 309"/>
                <a:gd name="T8" fmla="*/ 88 w 111"/>
                <a:gd name="T9" fmla="*/ 309 h 309"/>
                <a:gd name="T10" fmla="*/ 107 w 111"/>
                <a:gd name="T11" fmla="*/ 306 h 309"/>
                <a:gd name="T12" fmla="*/ 64 w 111"/>
                <a:gd name="T13" fmla="*/ 230 h 309"/>
                <a:gd name="T14" fmla="*/ 96 w 111"/>
                <a:gd name="T15" fmla="*/ 200 h 309"/>
                <a:gd name="T16" fmla="*/ 66 w 111"/>
                <a:gd name="T17" fmla="*/ 81 h 309"/>
                <a:gd name="T18" fmla="*/ 66 w 111"/>
                <a:gd name="T19" fmla="*/ 80 h 309"/>
                <a:gd name="T20" fmla="*/ 111 w 111"/>
                <a:gd name="T21" fmla="*/ 6 h 309"/>
                <a:gd name="T22" fmla="*/ 92 w 111"/>
                <a:gd name="T23" fmla="*/ 1 h 309"/>
                <a:gd name="T24" fmla="*/ 92 w 111"/>
                <a:gd name="T25" fmla="*/ 14 h 309"/>
                <a:gd name="T26" fmla="*/ 22 w 111"/>
                <a:gd name="T27" fmla="*/ 5 h 309"/>
                <a:gd name="T28" fmla="*/ 4 w 111"/>
                <a:gd name="T29" fmla="*/ 0 h 309"/>
                <a:gd name="T30" fmla="*/ 46 w 111"/>
                <a:gd name="T31" fmla="*/ 80 h 309"/>
                <a:gd name="T32" fmla="*/ 2 w 111"/>
                <a:gd name="T33" fmla="*/ 154 h 309"/>
                <a:gd name="T34" fmla="*/ 71 w 111"/>
                <a:gd name="T35" fmla="*/ 204 h 309"/>
                <a:gd name="T36" fmla="*/ 35 w 111"/>
                <a:gd name="T37" fmla="*/ 199 h 309"/>
                <a:gd name="T38" fmla="*/ 81 w 111"/>
                <a:gd name="T39" fmla="*/ 189 h 309"/>
                <a:gd name="T40" fmla="*/ 83 w 111"/>
                <a:gd name="T41" fmla="*/ 185 h 309"/>
                <a:gd name="T42" fmla="*/ 22 w 111"/>
                <a:gd name="T43" fmla="*/ 169 h 309"/>
                <a:gd name="T44" fmla="*/ 83 w 111"/>
                <a:gd name="T45" fmla="*/ 185 h 309"/>
                <a:gd name="T46" fmla="*/ 21 w 111"/>
                <a:gd name="T47" fmla="*/ 165 h 309"/>
                <a:gd name="T48" fmla="*/ 21 w 111"/>
                <a:gd name="T49" fmla="*/ 149 h 309"/>
                <a:gd name="T50" fmla="*/ 90 w 111"/>
                <a:gd name="T51" fmla="*/ 156 h 309"/>
                <a:gd name="T52" fmla="*/ 26 w 111"/>
                <a:gd name="T53" fmla="*/ 130 h 309"/>
                <a:gd name="T54" fmla="*/ 89 w 111"/>
                <a:gd name="T55" fmla="*/ 143 h 309"/>
                <a:gd name="T56" fmla="*/ 21 w 111"/>
                <a:gd name="T57" fmla="*/ 146 h 309"/>
                <a:gd name="T58" fmla="*/ 27 w 111"/>
                <a:gd name="T59" fmla="*/ 127 h 309"/>
                <a:gd name="T60" fmla="*/ 76 w 111"/>
                <a:gd name="T61" fmla="*/ 111 h 309"/>
                <a:gd name="T62" fmla="*/ 27 w 111"/>
                <a:gd name="T63" fmla="*/ 127 h 309"/>
                <a:gd name="T64" fmla="*/ 39 w 111"/>
                <a:gd name="T65" fmla="*/ 52 h 309"/>
                <a:gd name="T66" fmla="*/ 29 w 111"/>
                <a:gd name="T67" fmla="*/ 36 h 309"/>
                <a:gd name="T68" fmla="*/ 75 w 111"/>
                <a:gd name="T69" fmla="*/ 52 h 309"/>
                <a:gd name="T70" fmla="*/ 86 w 111"/>
                <a:gd name="T71" fmla="*/ 33 h 309"/>
                <a:gd name="T72" fmla="*/ 23 w 111"/>
                <a:gd name="T73" fmla="*/ 16 h 309"/>
                <a:gd name="T74" fmla="*/ 73 w 111"/>
                <a:gd name="T75" fmla="*/ 56 h 309"/>
                <a:gd name="T76" fmla="*/ 53 w 111"/>
                <a:gd name="T77" fmla="*/ 70 h 309"/>
                <a:gd name="T78" fmla="*/ 73 w 111"/>
                <a:gd name="T79" fmla="*/ 56 h 309"/>
                <a:gd name="T80" fmla="*/ 38 w 111"/>
                <a:gd name="T81" fmla="*/ 108 h 309"/>
                <a:gd name="T82" fmla="*/ 56 w 111"/>
                <a:gd name="T83" fmla="*/ 88 h 309"/>
                <a:gd name="T84" fmla="*/ 20 w 111"/>
                <a:gd name="T85" fmla="*/ 294 h 309"/>
                <a:gd name="T86" fmla="*/ 83 w 111"/>
                <a:gd name="T87" fmla="*/ 278 h 309"/>
                <a:gd name="T88" fmla="*/ 88 w 111"/>
                <a:gd name="T89" fmla="*/ 294 h 309"/>
                <a:gd name="T90" fmla="*/ 26 w 111"/>
                <a:gd name="T91" fmla="*/ 274 h 309"/>
                <a:gd name="T92" fmla="*/ 72 w 111"/>
                <a:gd name="T93" fmla="*/ 259 h 309"/>
                <a:gd name="T94" fmla="*/ 26 w 111"/>
                <a:gd name="T95" fmla="*/ 274 h 309"/>
                <a:gd name="T96" fmla="*/ 54 w 111"/>
                <a:gd name="T97" fmla="*/ 238 h 309"/>
                <a:gd name="T98" fmla="*/ 38 w 111"/>
                <a:gd name="T99" fmla="*/ 255 h 309"/>
                <a:gd name="T100" fmla="*/ 41 w 111"/>
                <a:gd name="T101" fmla="*/ 207 h 309"/>
                <a:gd name="T102" fmla="*/ 55 w 111"/>
                <a:gd name="T103" fmla="*/ 223 h 309"/>
                <a:gd name="T104" fmla="*/ 55 w 111"/>
                <a:gd name="T105" fmla="*/ 223 h 309"/>
                <a:gd name="T106" fmla="*/ 41 w 111"/>
                <a:gd name="T107" fmla="*/ 20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 h="309">
                  <a:moveTo>
                    <a:pt x="45" y="230"/>
                  </a:moveTo>
                  <a:cubicBezTo>
                    <a:pt x="38" y="235"/>
                    <a:pt x="29" y="243"/>
                    <a:pt x="20" y="252"/>
                  </a:cubicBezTo>
                  <a:cubicBezTo>
                    <a:pt x="7" y="266"/>
                    <a:pt x="0" y="284"/>
                    <a:pt x="0" y="304"/>
                  </a:cubicBezTo>
                  <a:cubicBezTo>
                    <a:pt x="0" y="306"/>
                    <a:pt x="0" y="307"/>
                    <a:pt x="0" y="308"/>
                  </a:cubicBezTo>
                  <a:cubicBezTo>
                    <a:pt x="19" y="308"/>
                    <a:pt x="19" y="308"/>
                    <a:pt x="19" y="308"/>
                  </a:cubicBezTo>
                  <a:cubicBezTo>
                    <a:pt x="19" y="307"/>
                    <a:pt x="19" y="306"/>
                    <a:pt x="19" y="305"/>
                  </a:cubicBezTo>
                  <a:cubicBezTo>
                    <a:pt x="19" y="302"/>
                    <a:pt x="19" y="299"/>
                    <a:pt x="19" y="297"/>
                  </a:cubicBezTo>
                  <a:cubicBezTo>
                    <a:pt x="88" y="298"/>
                    <a:pt x="88" y="298"/>
                    <a:pt x="88" y="298"/>
                  </a:cubicBezTo>
                  <a:cubicBezTo>
                    <a:pt x="88" y="300"/>
                    <a:pt x="89" y="303"/>
                    <a:pt x="89" y="306"/>
                  </a:cubicBezTo>
                  <a:cubicBezTo>
                    <a:pt x="89" y="307"/>
                    <a:pt x="88" y="308"/>
                    <a:pt x="88" y="309"/>
                  </a:cubicBezTo>
                  <a:cubicBezTo>
                    <a:pt x="107" y="309"/>
                    <a:pt x="107" y="309"/>
                    <a:pt x="107" y="309"/>
                  </a:cubicBezTo>
                  <a:cubicBezTo>
                    <a:pt x="107" y="308"/>
                    <a:pt x="107" y="307"/>
                    <a:pt x="107" y="306"/>
                  </a:cubicBezTo>
                  <a:cubicBezTo>
                    <a:pt x="107" y="273"/>
                    <a:pt x="81" y="243"/>
                    <a:pt x="64" y="230"/>
                  </a:cubicBezTo>
                  <a:cubicBezTo>
                    <a:pt x="64" y="230"/>
                    <a:pt x="64" y="230"/>
                    <a:pt x="64" y="230"/>
                  </a:cubicBezTo>
                  <a:cubicBezTo>
                    <a:pt x="65" y="230"/>
                    <a:pt x="65" y="230"/>
                    <a:pt x="65" y="230"/>
                  </a:cubicBezTo>
                  <a:cubicBezTo>
                    <a:pt x="73" y="224"/>
                    <a:pt x="86" y="213"/>
                    <a:pt x="96" y="200"/>
                  </a:cubicBezTo>
                  <a:cubicBezTo>
                    <a:pt x="106" y="187"/>
                    <a:pt x="109" y="172"/>
                    <a:pt x="109" y="156"/>
                  </a:cubicBezTo>
                  <a:cubicBezTo>
                    <a:pt x="109" y="123"/>
                    <a:pt x="83" y="94"/>
                    <a:pt x="66" y="81"/>
                  </a:cubicBezTo>
                  <a:cubicBezTo>
                    <a:pt x="66" y="80"/>
                    <a:pt x="66" y="80"/>
                    <a:pt x="66" y="80"/>
                  </a:cubicBezTo>
                  <a:cubicBezTo>
                    <a:pt x="66" y="80"/>
                    <a:pt x="66" y="80"/>
                    <a:pt x="66" y="80"/>
                  </a:cubicBezTo>
                  <a:cubicBezTo>
                    <a:pt x="75" y="74"/>
                    <a:pt x="88" y="63"/>
                    <a:pt x="98" y="50"/>
                  </a:cubicBezTo>
                  <a:cubicBezTo>
                    <a:pt x="108" y="37"/>
                    <a:pt x="111" y="22"/>
                    <a:pt x="111" y="6"/>
                  </a:cubicBezTo>
                  <a:cubicBezTo>
                    <a:pt x="111" y="5"/>
                    <a:pt x="111" y="3"/>
                    <a:pt x="111" y="1"/>
                  </a:cubicBezTo>
                  <a:cubicBezTo>
                    <a:pt x="92" y="1"/>
                    <a:pt x="92" y="1"/>
                    <a:pt x="92" y="1"/>
                  </a:cubicBezTo>
                  <a:cubicBezTo>
                    <a:pt x="92" y="3"/>
                    <a:pt x="92" y="4"/>
                    <a:pt x="92" y="6"/>
                  </a:cubicBezTo>
                  <a:cubicBezTo>
                    <a:pt x="92" y="9"/>
                    <a:pt x="92" y="11"/>
                    <a:pt x="92" y="14"/>
                  </a:cubicBezTo>
                  <a:cubicBezTo>
                    <a:pt x="23" y="13"/>
                    <a:pt x="23" y="13"/>
                    <a:pt x="23" y="13"/>
                  </a:cubicBezTo>
                  <a:cubicBezTo>
                    <a:pt x="23" y="10"/>
                    <a:pt x="22" y="8"/>
                    <a:pt x="22" y="5"/>
                  </a:cubicBezTo>
                  <a:cubicBezTo>
                    <a:pt x="22" y="3"/>
                    <a:pt x="23" y="2"/>
                    <a:pt x="23" y="0"/>
                  </a:cubicBezTo>
                  <a:cubicBezTo>
                    <a:pt x="4" y="0"/>
                    <a:pt x="4" y="0"/>
                    <a:pt x="4" y="0"/>
                  </a:cubicBezTo>
                  <a:cubicBezTo>
                    <a:pt x="4" y="2"/>
                    <a:pt x="4" y="3"/>
                    <a:pt x="4" y="5"/>
                  </a:cubicBezTo>
                  <a:cubicBezTo>
                    <a:pt x="3" y="38"/>
                    <a:pt x="30" y="67"/>
                    <a:pt x="46" y="80"/>
                  </a:cubicBezTo>
                  <a:cubicBezTo>
                    <a:pt x="40" y="85"/>
                    <a:pt x="31" y="93"/>
                    <a:pt x="22" y="102"/>
                  </a:cubicBezTo>
                  <a:cubicBezTo>
                    <a:pt x="9" y="116"/>
                    <a:pt x="2" y="134"/>
                    <a:pt x="2" y="154"/>
                  </a:cubicBezTo>
                  <a:cubicBezTo>
                    <a:pt x="2" y="188"/>
                    <a:pt x="28" y="217"/>
                    <a:pt x="45" y="230"/>
                  </a:cubicBezTo>
                  <a:close/>
                  <a:moveTo>
                    <a:pt x="71" y="204"/>
                  </a:moveTo>
                  <a:cubicBezTo>
                    <a:pt x="38" y="204"/>
                    <a:pt x="38" y="204"/>
                    <a:pt x="38" y="204"/>
                  </a:cubicBezTo>
                  <a:cubicBezTo>
                    <a:pt x="37" y="203"/>
                    <a:pt x="36" y="201"/>
                    <a:pt x="35" y="199"/>
                  </a:cubicBezTo>
                  <a:cubicBezTo>
                    <a:pt x="33" y="196"/>
                    <a:pt x="31" y="192"/>
                    <a:pt x="29" y="188"/>
                  </a:cubicBezTo>
                  <a:cubicBezTo>
                    <a:pt x="81" y="189"/>
                    <a:pt x="81" y="189"/>
                    <a:pt x="81" y="189"/>
                  </a:cubicBezTo>
                  <a:cubicBezTo>
                    <a:pt x="78" y="194"/>
                    <a:pt x="75" y="200"/>
                    <a:pt x="71" y="204"/>
                  </a:cubicBezTo>
                  <a:close/>
                  <a:moveTo>
                    <a:pt x="83" y="185"/>
                  </a:moveTo>
                  <a:cubicBezTo>
                    <a:pt x="27" y="185"/>
                    <a:pt x="27" y="185"/>
                    <a:pt x="27" y="185"/>
                  </a:cubicBezTo>
                  <a:cubicBezTo>
                    <a:pt x="25" y="180"/>
                    <a:pt x="23" y="174"/>
                    <a:pt x="22" y="169"/>
                  </a:cubicBezTo>
                  <a:cubicBezTo>
                    <a:pt x="89" y="169"/>
                    <a:pt x="89" y="169"/>
                    <a:pt x="89" y="169"/>
                  </a:cubicBezTo>
                  <a:cubicBezTo>
                    <a:pt x="87" y="175"/>
                    <a:pt x="85" y="180"/>
                    <a:pt x="83" y="185"/>
                  </a:cubicBezTo>
                  <a:close/>
                  <a:moveTo>
                    <a:pt x="89" y="166"/>
                  </a:moveTo>
                  <a:cubicBezTo>
                    <a:pt x="21" y="165"/>
                    <a:pt x="21" y="165"/>
                    <a:pt x="21" y="165"/>
                  </a:cubicBezTo>
                  <a:cubicBezTo>
                    <a:pt x="21" y="162"/>
                    <a:pt x="20" y="158"/>
                    <a:pt x="20" y="155"/>
                  </a:cubicBezTo>
                  <a:cubicBezTo>
                    <a:pt x="20" y="153"/>
                    <a:pt x="21" y="151"/>
                    <a:pt x="21" y="149"/>
                  </a:cubicBezTo>
                  <a:cubicBezTo>
                    <a:pt x="90" y="150"/>
                    <a:pt x="90" y="150"/>
                    <a:pt x="90" y="150"/>
                  </a:cubicBezTo>
                  <a:cubicBezTo>
                    <a:pt x="90" y="152"/>
                    <a:pt x="90" y="154"/>
                    <a:pt x="90" y="156"/>
                  </a:cubicBezTo>
                  <a:cubicBezTo>
                    <a:pt x="90" y="159"/>
                    <a:pt x="90" y="163"/>
                    <a:pt x="89" y="166"/>
                  </a:cubicBezTo>
                  <a:close/>
                  <a:moveTo>
                    <a:pt x="26" y="130"/>
                  </a:moveTo>
                  <a:cubicBezTo>
                    <a:pt x="86" y="131"/>
                    <a:pt x="86" y="131"/>
                    <a:pt x="86" y="131"/>
                  </a:cubicBezTo>
                  <a:cubicBezTo>
                    <a:pt x="87" y="135"/>
                    <a:pt x="89" y="139"/>
                    <a:pt x="89" y="143"/>
                  </a:cubicBezTo>
                  <a:cubicBezTo>
                    <a:pt x="90" y="144"/>
                    <a:pt x="90" y="146"/>
                    <a:pt x="90" y="147"/>
                  </a:cubicBezTo>
                  <a:cubicBezTo>
                    <a:pt x="21" y="146"/>
                    <a:pt x="21" y="146"/>
                    <a:pt x="21" y="146"/>
                  </a:cubicBezTo>
                  <a:cubicBezTo>
                    <a:pt x="22" y="140"/>
                    <a:pt x="24" y="135"/>
                    <a:pt x="26" y="130"/>
                  </a:cubicBezTo>
                  <a:close/>
                  <a:moveTo>
                    <a:pt x="27" y="127"/>
                  </a:moveTo>
                  <a:cubicBezTo>
                    <a:pt x="30" y="121"/>
                    <a:pt x="33" y="116"/>
                    <a:pt x="36" y="111"/>
                  </a:cubicBezTo>
                  <a:cubicBezTo>
                    <a:pt x="76" y="111"/>
                    <a:pt x="76" y="111"/>
                    <a:pt x="76" y="111"/>
                  </a:cubicBezTo>
                  <a:cubicBezTo>
                    <a:pt x="79" y="116"/>
                    <a:pt x="82" y="122"/>
                    <a:pt x="84" y="127"/>
                  </a:cubicBezTo>
                  <a:lnTo>
                    <a:pt x="27" y="127"/>
                  </a:lnTo>
                  <a:close/>
                  <a:moveTo>
                    <a:pt x="75" y="52"/>
                  </a:moveTo>
                  <a:cubicBezTo>
                    <a:pt x="39" y="52"/>
                    <a:pt x="39" y="52"/>
                    <a:pt x="39" y="52"/>
                  </a:cubicBezTo>
                  <a:cubicBezTo>
                    <a:pt x="38" y="51"/>
                    <a:pt x="38" y="50"/>
                    <a:pt x="37" y="50"/>
                  </a:cubicBezTo>
                  <a:cubicBezTo>
                    <a:pt x="34" y="45"/>
                    <a:pt x="32" y="41"/>
                    <a:pt x="29" y="36"/>
                  </a:cubicBezTo>
                  <a:cubicBezTo>
                    <a:pt x="85" y="36"/>
                    <a:pt x="85" y="36"/>
                    <a:pt x="85" y="36"/>
                  </a:cubicBezTo>
                  <a:cubicBezTo>
                    <a:pt x="82" y="42"/>
                    <a:pt x="78" y="48"/>
                    <a:pt x="75" y="52"/>
                  </a:cubicBezTo>
                  <a:close/>
                  <a:moveTo>
                    <a:pt x="91" y="17"/>
                  </a:moveTo>
                  <a:cubicBezTo>
                    <a:pt x="90" y="23"/>
                    <a:pt x="88" y="28"/>
                    <a:pt x="86" y="33"/>
                  </a:cubicBezTo>
                  <a:cubicBezTo>
                    <a:pt x="28" y="32"/>
                    <a:pt x="28" y="32"/>
                    <a:pt x="28" y="32"/>
                  </a:cubicBezTo>
                  <a:cubicBezTo>
                    <a:pt x="26" y="27"/>
                    <a:pt x="24" y="22"/>
                    <a:pt x="23" y="16"/>
                  </a:cubicBezTo>
                  <a:lnTo>
                    <a:pt x="91" y="17"/>
                  </a:lnTo>
                  <a:close/>
                  <a:moveTo>
                    <a:pt x="73" y="56"/>
                  </a:moveTo>
                  <a:cubicBezTo>
                    <a:pt x="65" y="65"/>
                    <a:pt x="58" y="71"/>
                    <a:pt x="56" y="73"/>
                  </a:cubicBezTo>
                  <a:cubicBezTo>
                    <a:pt x="55" y="72"/>
                    <a:pt x="54" y="71"/>
                    <a:pt x="53" y="70"/>
                  </a:cubicBezTo>
                  <a:cubicBezTo>
                    <a:pt x="50" y="67"/>
                    <a:pt x="46" y="62"/>
                    <a:pt x="41" y="55"/>
                  </a:cubicBezTo>
                  <a:lnTo>
                    <a:pt x="73" y="56"/>
                  </a:lnTo>
                  <a:close/>
                  <a:moveTo>
                    <a:pt x="74" y="108"/>
                  </a:moveTo>
                  <a:cubicBezTo>
                    <a:pt x="38" y="108"/>
                    <a:pt x="38" y="108"/>
                    <a:pt x="38" y="108"/>
                  </a:cubicBezTo>
                  <a:cubicBezTo>
                    <a:pt x="47" y="96"/>
                    <a:pt x="55" y="89"/>
                    <a:pt x="56" y="88"/>
                  </a:cubicBezTo>
                  <a:cubicBezTo>
                    <a:pt x="56" y="88"/>
                    <a:pt x="56" y="88"/>
                    <a:pt x="56" y="88"/>
                  </a:cubicBezTo>
                  <a:cubicBezTo>
                    <a:pt x="57" y="88"/>
                    <a:pt x="65" y="96"/>
                    <a:pt x="74" y="108"/>
                  </a:cubicBezTo>
                  <a:close/>
                  <a:moveTo>
                    <a:pt x="20" y="294"/>
                  </a:moveTo>
                  <a:cubicBezTo>
                    <a:pt x="21" y="288"/>
                    <a:pt x="23" y="283"/>
                    <a:pt x="25" y="278"/>
                  </a:cubicBezTo>
                  <a:cubicBezTo>
                    <a:pt x="83" y="278"/>
                    <a:pt x="83" y="278"/>
                    <a:pt x="83" y="278"/>
                  </a:cubicBezTo>
                  <a:cubicBezTo>
                    <a:pt x="85" y="283"/>
                    <a:pt x="86" y="288"/>
                    <a:pt x="87" y="293"/>
                  </a:cubicBezTo>
                  <a:cubicBezTo>
                    <a:pt x="88" y="294"/>
                    <a:pt x="88" y="294"/>
                    <a:pt x="88" y="294"/>
                  </a:cubicBezTo>
                  <a:lnTo>
                    <a:pt x="20" y="294"/>
                  </a:lnTo>
                  <a:close/>
                  <a:moveTo>
                    <a:pt x="26" y="274"/>
                  </a:moveTo>
                  <a:cubicBezTo>
                    <a:pt x="29" y="268"/>
                    <a:pt x="32" y="263"/>
                    <a:pt x="36" y="258"/>
                  </a:cubicBezTo>
                  <a:cubicBezTo>
                    <a:pt x="72" y="259"/>
                    <a:pt x="72" y="259"/>
                    <a:pt x="72" y="259"/>
                  </a:cubicBezTo>
                  <a:cubicBezTo>
                    <a:pt x="76" y="264"/>
                    <a:pt x="79" y="269"/>
                    <a:pt x="82" y="275"/>
                  </a:cubicBezTo>
                  <a:lnTo>
                    <a:pt x="26" y="274"/>
                  </a:lnTo>
                  <a:close/>
                  <a:moveTo>
                    <a:pt x="54" y="238"/>
                  </a:moveTo>
                  <a:cubicBezTo>
                    <a:pt x="54" y="238"/>
                    <a:pt x="54" y="238"/>
                    <a:pt x="54" y="238"/>
                  </a:cubicBezTo>
                  <a:cubicBezTo>
                    <a:pt x="55" y="238"/>
                    <a:pt x="62" y="245"/>
                    <a:pt x="70" y="256"/>
                  </a:cubicBezTo>
                  <a:cubicBezTo>
                    <a:pt x="38" y="255"/>
                    <a:pt x="38" y="255"/>
                    <a:pt x="38" y="255"/>
                  </a:cubicBezTo>
                  <a:cubicBezTo>
                    <a:pt x="46" y="245"/>
                    <a:pt x="53" y="239"/>
                    <a:pt x="54" y="238"/>
                  </a:cubicBezTo>
                  <a:close/>
                  <a:moveTo>
                    <a:pt x="41" y="207"/>
                  </a:moveTo>
                  <a:cubicBezTo>
                    <a:pt x="69" y="208"/>
                    <a:pt x="69" y="208"/>
                    <a:pt x="69" y="208"/>
                  </a:cubicBezTo>
                  <a:cubicBezTo>
                    <a:pt x="62" y="216"/>
                    <a:pt x="56" y="221"/>
                    <a:pt x="55" y="223"/>
                  </a:cubicBezTo>
                  <a:cubicBezTo>
                    <a:pt x="55" y="223"/>
                    <a:pt x="55" y="223"/>
                    <a:pt x="55" y="223"/>
                  </a:cubicBezTo>
                  <a:cubicBezTo>
                    <a:pt x="55" y="223"/>
                    <a:pt x="55" y="223"/>
                    <a:pt x="55" y="223"/>
                  </a:cubicBezTo>
                  <a:cubicBezTo>
                    <a:pt x="53" y="221"/>
                    <a:pt x="52" y="220"/>
                    <a:pt x="51" y="219"/>
                  </a:cubicBezTo>
                  <a:cubicBezTo>
                    <a:pt x="49" y="217"/>
                    <a:pt x="45" y="213"/>
                    <a:pt x="41" y="20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grpSp>
      <p:grpSp>
        <p:nvGrpSpPr>
          <p:cNvPr id="15" name="Group 14">
            <a:extLst>
              <a:ext uri="{FF2B5EF4-FFF2-40B4-BE49-F238E27FC236}">
                <a16:creationId xmlns:a16="http://schemas.microsoft.com/office/drawing/2014/main" id="{65316B04-6C83-FA05-8DB2-A56F1CFC8159}"/>
              </a:ext>
            </a:extLst>
          </p:cNvPr>
          <p:cNvGrpSpPr/>
          <p:nvPr/>
        </p:nvGrpSpPr>
        <p:grpSpPr>
          <a:xfrm>
            <a:off x="8800907" y="3904775"/>
            <a:ext cx="877371" cy="1282765"/>
            <a:chOff x="8701788" y="3875747"/>
            <a:chExt cx="877371" cy="1282765"/>
          </a:xfrm>
        </p:grpSpPr>
        <p:grpSp>
          <p:nvGrpSpPr>
            <p:cNvPr id="14" name="Group 13">
              <a:extLst>
                <a:ext uri="{FF2B5EF4-FFF2-40B4-BE49-F238E27FC236}">
                  <a16:creationId xmlns:a16="http://schemas.microsoft.com/office/drawing/2014/main" id="{40C89969-8C3C-823D-A52B-E527936004B5}"/>
                </a:ext>
              </a:extLst>
            </p:cNvPr>
            <p:cNvGrpSpPr/>
            <p:nvPr/>
          </p:nvGrpSpPr>
          <p:grpSpPr>
            <a:xfrm>
              <a:off x="8701788" y="3875747"/>
              <a:ext cx="877371" cy="1282765"/>
              <a:chOff x="8701788" y="3875747"/>
              <a:chExt cx="877371" cy="1282765"/>
            </a:xfrm>
          </p:grpSpPr>
          <p:grpSp>
            <p:nvGrpSpPr>
              <p:cNvPr id="158" name="Group 157">
                <a:extLst>
                  <a:ext uri="{FF2B5EF4-FFF2-40B4-BE49-F238E27FC236}">
                    <a16:creationId xmlns:a16="http://schemas.microsoft.com/office/drawing/2014/main" id="{A8974AA5-9960-9B0C-EC88-20228EDB33A4}"/>
                  </a:ext>
                </a:extLst>
              </p:cNvPr>
              <p:cNvGrpSpPr/>
              <p:nvPr/>
            </p:nvGrpSpPr>
            <p:grpSpPr>
              <a:xfrm>
                <a:off x="8701788" y="3875747"/>
                <a:ext cx="877371" cy="1282765"/>
                <a:chOff x="7155117" y="2287412"/>
                <a:chExt cx="935418" cy="1367634"/>
              </a:xfrm>
            </p:grpSpPr>
            <p:sp>
              <p:nvSpPr>
                <p:cNvPr id="145" name="Freeform 64">
                  <a:extLst>
                    <a:ext uri="{FF2B5EF4-FFF2-40B4-BE49-F238E27FC236}">
                      <a16:creationId xmlns:a16="http://schemas.microsoft.com/office/drawing/2014/main" id="{1E32C410-71B3-EC63-0E15-BC88570B3A27}"/>
                    </a:ext>
                  </a:extLst>
                </p:cNvPr>
                <p:cNvSpPr>
                  <a:spLocks/>
                </p:cNvSpPr>
                <p:nvPr/>
              </p:nvSpPr>
              <p:spPr bwMode="auto">
                <a:xfrm>
                  <a:off x="7256472" y="2287412"/>
                  <a:ext cx="740172" cy="733433"/>
                </a:xfrm>
                <a:prstGeom prst="ellipse">
                  <a:avLst/>
                </a:prstGeom>
                <a:solidFill>
                  <a:schemeClr val="tx2"/>
                </a:solidFill>
                <a:ln>
                  <a:noFill/>
                </a:ln>
              </p:spPr>
              <p:txBody>
                <a:bodyPr/>
                <a:lstStyle/>
                <a:p>
                  <a:pPr defTabSz="1219170" fontAlgn="base">
                    <a:spcBef>
                      <a:spcPct val="0"/>
                    </a:spcBef>
                    <a:spcAft>
                      <a:spcPct val="0"/>
                    </a:spcAft>
                    <a:defRPr/>
                  </a:pPr>
                  <a:endParaRPr lang="en-US" sz="1000" noProof="0" dirty="0">
                    <a:solidFill>
                      <a:srgbClr val="001965"/>
                    </a:solidFill>
                    <a:latin typeface="Arial" panose="020B0604020202020204" pitchFamily="34" charset="0"/>
                    <a:ea typeface="Apis For Office" panose="020B0504010101010104" pitchFamily="34" charset="0"/>
                    <a:cs typeface="Arial" panose="020B0604020202020204" pitchFamily="34" charset="0"/>
                  </a:endParaRPr>
                </a:p>
              </p:txBody>
            </p:sp>
            <p:sp>
              <p:nvSpPr>
                <p:cNvPr id="72" name="TextBox 71">
                  <a:extLst>
                    <a:ext uri="{FF2B5EF4-FFF2-40B4-BE49-F238E27FC236}">
                      <a16:creationId xmlns:a16="http://schemas.microsoft.com/office/drawing/2014/main" id="{9C75E25C-F145-5C5C-6E9D-F78E490A8703}"/>
                    </a:ext>
                  </a:extLst>
                </p:cNvPr>
                <p:cNvSpPr txBox="1"/>
                <p:nvPr/>
              </p:nvSpPr>
              <p:spPr>
                <a:xfrm>
                  <a:off x="7155117" y="3025019"/>
                  <a:ext cx="935418" cy="630027"/>
                </a:xfrm>
                <a:prstGeom prst="rect">
                  <a:avLst/>
                </a:prstGeom>
                <a:noFill/>
              </p:spPr>
              <p:txBody>
                <a:bodyPr wrap="square" lIns="91440" tIns="45720" rIns="91440" bIns="45720" rtlCol="0" anchor="t">
                  <a:spAutoFit/>
                </a:bodyPr>
                <a:lstStyle/>
                <a:p>
                  <a:pPr algn="ctr">
                    <a:lnSpc>
                      <a:spcPct val="90000"/>
                    </a:lnSpc>
                  </a:pPr>
                  <a:r>
                    <a:rPr lang="en-US" sz="1200" noProof="0" dirty="0">
                      <a:latin typeface="Arial"/>
                      <a:cs typeface="Arial"/>
                    </a:rPr>
                    <a:t>Poor sleep </a:t>
                  </a:r>
                  <a:br>
                    <a:rPr lang="en-US" sz="1200" noProof="0" dirty="0">
                      <a:latin typeface="Arial"/>
                      <a:cs typeface="Arial"/>
                    </a:rPr>
                  </a:br>
                  <a:r>
                    <a:rPr lang="en-US" sz="1200" noProof="0" dirty="0">
                      <a:latin typeface="Arial"/>
                      <a:cs typeface="Arial"/>
                    </a:rPr>
                    <a:t>hygiene</a:t>
                  </a:r>
                  <a:r>
                    <a:rPr lang="en-US" sz="1200" baseline="30000" noProof="0" dirty="0">
                      <a:latin typeface="Arial"/>
                      <a:cs typeface="Arial"/>
                    </a:rPr>
                    <a:t>5</a:t>
                  </a:r>
                </a:p>
              </p:txBody>
            </p:sp>
            <p:grpSp>
              <p:nvGrpSpPr>
                <p:cNvPr id="146" name="Group 145">
                  <a:extLst>
                    <a:ext uri="{FF2B5EF4-FFF2-40B4-BE49-F238E27FC236}">
                      <a16:creationId xmlns:a16="http://schemas.microsoft.com/office/drawing/2014/main" id="{688A56C8-5AB0-4335-3193-AEEB41BB779D}"/>
                    </a:ext>
                  </a:extLst>
                </p:cNvPr>
                <p:cNvGrpSpPr/>
                <p:nvPr/>
              </p:nvGrpSpPr>
              <p:grpSpPr>
                <a:xfrm>
                  <a:off x="7320369" y="2412756"/>
                  <a:ext cx="584595" cy="466121"/>
                  <a:chOff x="7307669" y="2431806"/>
                  <a:chExt cx="584595" cy="466121"/>
                </a:xfrm>
              </p:grpSpPr>
              <p:sp>
                <p:nvSpPr>
                  <p:cNvPr id="116" name="Freeform 128">
                    <a:extLst>
                      <a:ext uri="{FF2B5EF4-FFF2-40B4-BE49-F238E27FC236}">
                        <a16:creationId xmlns:a16="http://schemas.microsoft.com/office/drawing/2014/main" id="{54B49939-016C-C630-E237-3B97C8D77325}"/>
                      </a:ext>
                    </a:extLst>
                  </p:cNvPr>
                  <p:cNvSpPr>
                    <a:spLocks/>
                  </p:cNvSpPr>
                  <p:nvPr/>
                </p:nvSpPr>
                <p:spPr bwMode="auto">
                  <a:xfrm>
                    <a:off x="7646610" y="2626462"/>
                    <a:ext cx="245654" cy="205075"/>
                  </a:xfrm>
                  <a:custGeom>
                    <a:avLst/>
                    <a:gdLst>
                      <a:gd name="T0" fmla="*/ 1052 w 1052"/>
                      <a:gd name="T1" fmla="*/ 879 h 879"/>
                      <a:gd name="T2" fmla="*/ 831 w 1052"/>
                      <a:gd name="T3" fmla="*/ 879 h 879"/>
                      <a:gd name="T4" fmla="*/ 831 w 1052"/>
                      <a:gd name="T5" fmla="*/ 855 h 879"/>
                      <a:gd name="T6" fmla="*/ 832 w 1052"/>
                      <a:gd name="T7" fmla="*/ 577 h 879"/>
                      <a:gd name="T8" fmla="*/ 807 w 1052"/>
                      <a:gd name="T9" fmla="*/ 553 h 879"/>
                      <a:gd name="T10" fmla="*/ 179 w 1052"/>
                      <a:gd name="T11" fmla="*/ 553 h 879"/>
                      <a:gd name="T12" fmla="*/ 153 w 1052"/>
                      <a:gd name="T13" fmla="*/ 553 h 879"/>
                      <a:gd name="T14" fmla="*/ 153 w 1052"/>
                      <a:gd name="T15" fmla="*/ 431 h 879"/>
                      <a:gd name="T16" fmla="*/ 175 w 1052"/>
                      <a:gd name="T17" fmla="*/ 431 h 879"/>
                      <a:gd name="T18" fmla="*/ 807 w 1052"/>
                      <a:gd name="T19" fmla="*/ 431 h 879"/>
                      <a:gd name="T20" fmla="*/ 831 w 1052"/>
                      <a:gd name="T21" fmla="*/ 407 h 879"/>
                      <a:gd name="T22" fmla="*/ 831 w 1052"/>
                      <a:gd name="T23" fmla="*/ 344 h 879"/>
                      <a:gd name="T24" fmla="*/ 821 w 1052"/>
                      <a:gd name="T25" fmla="*/ 352 h 879"/>
                      <a:gd name="T26" fmla="*/ 735 w 1052"/>
                      <a:gd name="T27" fmla="*/ 394 h 879"/>
                      <a:gd name="T28" fmla="*/ 153 w 1052"/>
                      <a:gd name="T29" fmla="*/ 394 h 879"/>
                      <a:gd name="T30" fmla="*/ 134 w 1052"/>
                      <a:gd name="T31" fmla="*/ 384 h 879"/>
                      <a:gd name="T32" fmla="*/ 15 w 1052"/>
                      <a:gd name="T33" fmla="*/ 226 h 879"/>
                      <a:gd name="T34" fmla="*/ 0 w 1052"/>
                      <a:gd name="T35" fmla="*/ 199 h 879"/>
                      <a:gd name="T36" fmla="*/ 30 w 1052"/>
                      <a:gd name="T37" fmla="*/ 199 h 879"/>
                      <a:gd name="T38" fmla="*/ 702 w 1052"/>
                      <a:gd name="T39" fmla="*/ 198 h 879"/>
                      <a:gd name="T40" fmla="*/ 831 w 1052"/>
                      <a:gd name="T41" fmla="*/ 246 h 879"/>
                      <a:gd name="T42" fmla="*/ 831 w 1052"/>
                      <a:gd name="T43" fmla="*/ 0 h 879"/>
                      <a:gd name="T44" fmla="*/ 953 w 1052"/>
                      <a:gd name="T45" fmla="*/ 0 h 879"/>
                      <a:gd name="T46" fmla="*/ 953 w 1052"/>
                      <a:gd name="T47" fmla="*/ 29 h 879"/>
                      <a:gd name="T48" fmla="*/ 974 w 1052"/>
                      <a:gd name="T49" fmla="*/ 50 h 879"/>
                      <a:gd name="T50" fmla="*/ 1052 w 1052"/>
                      <a:gd name="T51" fmla="*/ 51 h 879"/>
                      <a:gd name="T52" fmla="*/ 1052 w 1052"/>
                      <a:gd name="T5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52" h="879">
                        <a:moveTo>
                          <a:pt x="1052" y="879"/>
                        </a:moveTo>
                        <a:cubicBezTo>
                          <a:pt x="979" y="879"/>
                          <a:pt x="907" y="879"/>
                          <a:pt x="831" y="879"/>
                        </a:cubicBezTo>
                        <a:cubicBezTo>
                          <a:pt x="831" y="871"/>
                          <a:pt x="831" y="863"/>
                          <a:pt x="831" y="855"/>
                        </a:cubicBezTo>
                        <a:cubicBezTo>
                          <a:pt x="831" y="763"/>
                          <a:pt x="831" y="670"/>
                          <a:pt x="832" y="577"/>
                        </a:cubicBezTo>
                        <a:cubicBezTo>
                          <a:pt x="832" y="558"/>
                          <a:pt x="826" y="553"/>
                          <a:pt x="807" y="553"/>
                        </a:cubicBezTo>
                        <a:cubicBezTo>
                          <a:pt x="598" y="553"/>
                          <a:pt x="389" y="553"/>
                          <a:pt x="179" y="553"/>
                        </a:cubicBezTo>
                        <a:cubicBezTo>
                          <a:pt x="171" y="553"/>
                          <a:pt x="164" y="553"/>
                          <a:pt x="153" y="553"/>
                        </a:cubicBezTo>
                        <a:cubicBezTo>
                          <a:pt x="153" y="512"/>
                          <a:pt x="153" y="472"/>
                          <a:pt x="153" y="431"/>
                        </a:cubicBezTo>
                        <a:cubicBezTo>
                          <a:pt x="160" y="431"/>
                          <a:pt x="168" y="431"/>
                          <a:pt x="175" y="431"/>
                        </a:cubicBezTo>
                        <a:cubicBezTo>
                          <a:pt x="386" y="431"/>
                          <a:pt x="597" y="431"/>
                          <a:pt x="807" y="431"/>
                        </a:cubicBezTo>
                        <a:cubicBezTo>
                          <a:pt x="826" y="431"/>
                          <a:pt x="833" y="426"/>
                          <a:pt x="831" y="407"/>
                        </a:cubicBezTo>
                        <a:cubicBezTo>
                          <a:pt x="830" y="387"/>
                          <a:pt x="831" y="367"/>
                          <a:pt x="831" y="344"/>
                        </a:cubicBezTo>
                        <a:cubicBezTo>
                          <a:pt x="826" y="348"/>
                          <a:pt x="822" y="349"/>
                          <a:pt x="821" y="352"/>
                        </a:cubicBezTo>
                        <a:cubicBezTo>
                          <a:pt x="800" y="383"/>
                          <a:pt x="769" y="394"/>
                          <a:pt x="735" y="394"/>
                        </a:cubicBezTo>
                        <a:cubicBezTo>
                          <a:pt x="541" y="395"/>
                          <a:pt x="347" y="395"/>
                          <a:pt x="153" y="394"/>
                        </a:cubicBezTo>
                        <a:cubicBezTo>
                          <a:pt x="146" y="394"/>
                          <a:pt x="136" y="389"/>
                          <a:pt x="134" y="384"/>
                        </a:cubicBezTo>
                        <a:cubicBezTo>
                          <a:pt x="108" y="321"/>
                          <a:pt x="64" y="272"/>
                          <a:pt x="15" y="226"/>
                        </a:cubicBezTo>
                        <a:cubicBezTo>
                          <a:pt x="9" y="220"/>
                          <a:pt x="7" y="211"/>
                          <a:pt x="0" y="199"/>
                        </a:cubicBezTo>
                        <a:cubicBezTo>
                          <a:pt x="15" y="199"/>
                          <a:pt x="22" y="199"/>
                          <a:pt x="30" y="199"/>
                        </a:cubicBezTo>
                        <a:cubicBezTo>
                          <a:pt x="254" y="199"/>
                          <a:pt x="478" y="199"/>
                          <a:pt x="702" y="198"/>
                        </a:cubicBezTo>
                        <a:cubicBezTo>
                          <a:pt x="751" y="198"/>
                          <a:pt x="797" y="200"/>
                          <a:pt x="831" y="246"/>
                        </a:cubicBezTo>
                        <a:cubicBezTo>
                          <a:pt x="831" y="165"/>
                          <a:pt x="831" y="83"/>
                          <a:pt x="831" y="0"/>
                        </a:cubicBezTo>
                        <a:cubicBezTo>
                          <a:pt x="872" y="0"/>
                          <a:pt x="911" y="0"/>
                          <a:pt x="953" y="0"/>
                        </a:cubicBezTo>
                        <a:cubicBezTo>
                          <a:pt x="953" y="10"/>
                          <a:pt x="954" y="20"/>
                          <a:pt x="953" y="29"/>
                        </a:cubicBezTo>
                        <a:cubicBezTo>
                          <a:pt x="950" y="46"/>
                          <a:pt x="958" y="51"/>
                          <a:pt x="974" y="50"/>
                        </a:cubicBezTo>
                        <a:cubicBezTo>
                          <a:pt x="1000" y="49"/>
                          <a:pt x="1026" y="51"/>
                          <a:pt x="1052" y="51"/>
                        </a:cubicBezTo>
                        <a:cubicBezTo>
                          <a:pt x="1052" y="327"/>
                          <a:pt x="1052" y="603"/>
                          <a:pt x="1052" y="8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117" name="Freeform 129">
                    <a:extLst>
                      <a:ext uri="{FF2B5EF4-FFF2-40B4-BE49-F238E27FC236}">
                        <a16:creationId xmlns:a16="http://schemas.microsoft.com/office/drawing/2014/main" id="{2AE6C877-57BD-C040-848F-EAEE940C361E}"/>
                      </a:ext>
                    </a:extLst>
                  </p:cNvPr>
                  <p:cNvSpPr>
                    <a:spLocks/>
                  </p:cNvSpPr>
                  <p:nvPr/>
                </p:nvSpPr>
                <p:spPr bwMode="auto">
                  <a:xfrm>
                    <a:off x="7307669" y="2626462"/>
                    <a:ext cx="218446" cy="205075"/>
                  </a:xfrm>
                  <a:custGeom>
                    <a:avLst/>
                    <a:gdLst>
                      <a:gd name="T0" fmla="*/ 0 w 936"/>
                      <a:gd name="T1" fmla="*/ 51 h 879"/>
                      <a:gd name="T2" fmla="*/ 78 w 936"/>
                      <a:gd name="T3" fmla="*/ 50 h 879"/>
                      <a:gd name="T4" fmla="*/ 99 w 936"/>
                      <a:gd name="T5" fmla="*/ 29 h 879"/>
                      <a:gd name="T6" fmla="*/ 99 w 936"/>
                      <a:gd name="T7" fmla="*/ 0 h 879"/>
                      <a:gd name="T8" fmla="*/ 220 w 936"/>
                      <a:gd name="T9" fmla="*/ 0 h 879"/>
                      <a:gd name="T10" fmla="*/ 220 w 936"/>
                      <a:gd name="T11" fmla="*/ 250 h 879"/>
                      <a:gd name="T12" fmla="*/ 375 w 936"/>
                      <a:gd name="T13" fmla="*/ 208 h 879"/>
                      <a:gd name="T14" fmla="*/ 854 w 936"/>
                      <a:gd name="T15" fmla="*/ 199 h 879"/>
                      <a:gd name="T16" fmla="*/ 928 w 936"/>
                      <a:gd name="T17" fmla="*/ 199 h 879"/>
                      <a:gd name="T18" fmla="*/ 919 w 936"/>
                      <a:gd name="T19" fmla="*/ 238 h 879"/>
                      <a:gd name="T20" fmla="*/ 813 w 936"/>
                      <a:gd name="T21" fmla="*/ 384 h 879"/>
                      <a:gd name="T22" fmla="*/ 791 w 936"/>
                      <a:gd name="T23" fmla="*/ 394 h 879"/>
                      <a:gd name="T24" fmla="*/ 397 w 936"/>
                      <a:gd name="T25" fmla="*/ 394 h 879"/>
                      <a:gd name="T26" fmla="*/ 319 w 936"/>
                      <a:gd name="T27" fmla="*/ 394 h 879"/>
                      <a:gd name="T28" fmla="*/ 232 w 936"/>
                      <a:gd name="T29" fmla="*/ 353 h 879"/>
                      <a:gd name="T30" fmla="*/ 221 w 936"/>
                      <a:gd name="T31" fmla="*/ 344 h 879"/>
                      <a:gd name="T32" fmla="*/ 221 w 936"/>
                      <a:gd name="T33" fmla="*/ 420 h 879"/>
                      <a:gd name="T34" fmla="*/ 232 w 936"/>
                      <a:gd name="T35" fmla="*/ 430 h 879"/>
                      <a:gd name="T36" fmla="*/ 248 w 936"/>
                      <a:gd name="T37" fmla="*/ 431 h 879"/>
                      <a:gd name="T38" fmla="*/ 770 w 936"/>
                      <a:gd name="T39" fmla="*/ 431 h 879"/>
                      <a:gd name="T40" fmla="*/ 793 w 936"/>
                      <a:gd name="T41" fmla="*/ 431 h 879"/>
                      <a:gd name="T42" fmla="*/ 793 w 936"/>
                      <a:gd name="T43" fmla="*/ 553 h 879"/>
                      <a:gd name="T44" fmla="*/ 765 w 936"/>
                      <a:gd name="T45" fmla="*/ 553 h 879"/>
                      <a:gd name="T46" fmla="*/ 247 w 936"/>
                      <a:gd name="T47" fmla="*/ 553 h 879"/>
                      <a:gd name="T48" fmla="*/ 221 w 936"/>
                      <a:gd name="T49" fmla="*/ 579 h 879"/>
                      <a:gd name="T50" fmla="*/ 221 w 936"/>
                      <a:gd name="T51" fmla="*/ 855 h 879"/>
                      <a:gd name="T52" fmla="*/ 221 w 936"/>
                      <a:gd name="T53" fmla="*/ 879 h 879"/>
                      <a:gd name="T54" fmla="*/ 0 w 936"/>
                      <a:gd name="T55" fmla="*/ 879 h 879"/>
                      <a:gd name="T56" fmla="*/ 0 w 936"/>
                      <a:gd name="T57" fmla="*/ 51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6" h="879">
                        <a:moveTo>
                          <a:pt x="0" y="51"/>
                        </a:moveTo>
                        <a:cubicBezTo>
                          <a:pt x="26" y="51"/>
                          <a:pt x="52" y="49"/>
                          <a:pt x="78" y="50"/>
                        </a:cubicBezTo>
                        <a:cubicBezTo>
                          <a:pt x="94" y="51"/>
                          <a:pt x="101" y="46"/>
                          <a:pt x="99" y="29"/>
                        </a:cubicBezTo>
                        <a:cubicBezTo>
                          <a:pt x="98" y="20"/>
                          <a:pt x="99" y="11"/>
                          <a:pt x="99" y="0"/>
                        </a:cubicBezTo>
                        <a:cubicBezTo>
                          <a:pt x="139" y="0"/>
                          <a:pt x="178" y="0"/>
                          <a:pt x="220" y="0"/>
                        </a:cubicBezTo>
                        <a:cubicBezTo>
                          <a:pt x="220" y="82"/>
                          <a:pt x="220" y="164"/>
                          <a:pt x="220" y="250"/>
                        </a:cubicBezTo>
                        <a:cubicBezTo>
                          <a:pt x="268" y="210"/>
                          <a:pt x="323" y="210"/>
                          <a:pt x="375" y="208"/>
                        </a:cubicBezTo>
                        <a:cubicBezTo>
                          <a:pt x="535" y="203"/>
                          <a:pt x="695" y="202"/>
                          <a:pt x="854" y="199"/>
                        </a:cubicBezTo>
                        <a:cubicBezTo>
                          <a:pt x="879" y="198"/>
                          <a:pt x="904" y="199"/>
                          <a:pt x="928" y="199"/>
                        </a:cubicBezTo>
                        <a:cubicBezTo>
                          <a:pt x="936" y="215"/>
                          <a:pt x="931" y="227"/>
                          <a:pt x="919" y="238"/>
                        </a:cubicBezTo>
                        <a:cubicBezTo>
                          <a:pt x="873" y="279"/>
                          <a:pt x="837" y="327"/>
                          <a:pt x="813" y="384"/>
                        </a:cubicBezTo>
                        <a:cubicBezTo>
                          <a:pt x="808" y="396"/>
                          <a:pt x="799" y="394"/>
                          <a:pt x="791" y="394"/>
                        </a:cubicBezTo>
                        <a:cubicBezTo>
                          <a:pt x="659" y="394"/>
                          <a:pt x="528" y="394"/>
                          <a:pt x="397" y="394"/>
                        </a:cubicBezTo>
                        <a:cubicBezTo>
                          <a:pt x="371" y="394"/>
                          <a:pt x="345" y="395"/>
                          <a:pt x="319" y="394"/>
                        </a:cubicBezTo>
                        <a:cubicBezTo>
                          <a:pt x="284" y="394"/>
                          <a:pt x="253" y="383"/>
                          <a:pt x="232" y="353"/>
                        </a:cubicBezTo>
                        <a:cubicBezTo>
                          <a:pt x="230" y="350"/>
                          <a:pt x="227" y="348"/>
                          <a:pt x="221" y="344"/>
                        </a:cubicBezTo>
                        <a:cubicBezTo>
                          <a:pt x="221" y="371"/>
                          <a:pt x="220" y="396"/>
                          <a:pt x="221" y="420"/>
                        </a:cubicBezTo>
                        <a:cubicBezTo>
                          <a:pt x="222" y="424"/>
                          <a:pt x="228" y="429"/>
                          <a:pt x="232" y="430"/>
                        </a:cubicBezTo>
                        <a:cubicBezTo>
                          <a:pt x="237" y="432"/>
                          <a:pt x="243" y="431"/>
                          <a:pt x="248" y="431"/>
                        </a:cubicBezTo>
                        <a:cubicBezTo>
                          <a:pt x="422" y="431"/>
                          <a:pt x="596" y="431"/>
                          <a:pt x="770" y="431"/>
                        </a:cubicBezTo>
                        <a:cubicBezTo>
                          <a:pt x="778" y="431"/>
                          <a:pt x="786" y="431"/>
                          <a:pt x="793" y="431"/>
                        </a:cubicBezTo>
                        <a:cubicBezTo>
                          <a:pt x="793" y="472"/>
                          <a:pt x="793" y="512"/>
                          <a:pt x="793" y="553"/>
                        </a:cubicBezTo>
                        <a:cubicBezTo>
                          <a:pt x="782" y="553"/>
                          <a:pt x="773" y="553"/>
                          <a:pt x="765" y="553"/>
                        </a:cubicBezTo>
                        <a:cubicBezTo>
                          <a:pt x="592" y="553"/>
                          <a:pt x="420" y="553"/>
                          <a:pt x="247" y="553"/>
                        </a:cubicBezTo>
                        <a:cubicBezTo>
                          <a:pt x="221" y="553"/>
                          <a:pt x="221" y="553"/>
                          <a:pt x="221" y="579"/>
                        </a:cubicBezTo>
                        <a:cubicBezTo>
                          <a:pt x="221" y="671"/>
                          <a:pt x="221" y="763"/>
                          <a:pt x="221" y="855"/>
                        </a:cubicBezTo>
                        <a:cubicBezTo>
                          <a:pt x="221" y="862"/>
                          <a:pt x="221" y="870"/>
                          <a:pt x="221" y="879"/>
                        </a:cubicBezTo>
                        <a:cubicBezTo>
                          <a:pt x="146" y="879"/>
                          <a:pt x="73" y="879"/>
                          <a:pt x="0" y="879"/>
                        </a:cubicBezTo>
                        <a:cubicBezTo>
                          <a:pt x="0" y="603"/>
                          <a:pt x="0" y="327"/>
                          <a:pt x="0"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118" name="Freeform 130">
                    <a:extLst>
                      <a:ext uri="{FF2B5EF4-FFF2-40B4-BE49-F238E27FC236}">
                        <a16:creationId xmlns:a16="http://schemas.microsoft.com/office/drawing/2014/main" id="{14011848-3D2A-94CF-3E29-2286033D540C}"/>
                      </a:ext>
                    </a:extLst>
                  </p:cNvPr>
                  <p:cNvSpPr>
                    <a:spLocks noEditPoints="1"/>
                  </p:cNvSpPr>
                  <p:nvPr/>
                </p:nvSpPr>
                <p:spPr bwMode="auto">
                  <a:xfrm>
                    <a:off x="7454906" y="2440202"/>
                    <a:ext cx="271774" cy="457725"/>
                  </a:xfrm>
                  <a:custGeom>
                    <a:avLst/>
                    <a:gdLst>
                      <a:gd name="T0" fmla="*/ 342 w 1164"/>
                      <a:gd name="T1" fmla="*/ 560 h 1963"/>
                      <a:gd name="T2" fmla="*/ 198 w 1164"/>
                      <a:gd name="T3" fmla="*/ 533 h 1963"/>
                      <a:gd name="T4" fmla="*/ 68 w 1164"/>
                      <a:gd name="T5" fmla="*/ 483 h 1963"/>
                      <a:gd name="T6" fmla="*/ 59 w 1164"/>
                      <a:gd name="T7" fmla="*/ 315 h 1963"/>
                      <a:gd name="T8" fmla="*/ 258 w 1164"/>
                      <a:gd name="T9" fmla="*/ 195 h 1963"/>
                      <a:gd name="T10" fmla="*/ 339 w 1164"/>
                      <a:gd name="T11" fmla="*/ 161 h 1963"/>
                      <a:gd name="T12" fmla="*/ 360 w 1164"/>
                      <a:gd name="T13" fmla="*/ 141 h 1963"/>
                      <a:gd name="T14" fmla="*/ 546 w 1164"/>
                      <a:gd name="T15" fmla="*/ 8 h 1963"/>
                      <a:gd name="T16" fmla="*/ 753 w 1164"/>
                      <a:gd name="T17" fmla="*/ 127 h 1963"/>
                      <a:gd name="T18" fmla="*/ 769 w 1164"/>
                      <a:gd name="T19" fmla="*/ 142 h 1963"/>
                      <a:gd name="T20" fmla="*/ 1009 w 1164"/>
                      <a:gd name="T21" fmla="*/ 251 h 1963"/>
                      <a:gd name="T22" fmla="*/ 1106 w 1164"/>
                      <a:gd name="T23" fmla="*/ 327 h 1963"/>
                      <a:gd name="T24" fmla="*/ 1071 w 1164"/>
                      <a:gd name="T25" fmla="*/ 493 h 1963"/>
                      <a:gd name="T26" fmla="*/ 897 w 1164"/>
                      <a:gd name="T27" fmla="*/ 545 h 1963"/>
                      <a:gd name="T28" fmla="*/ 806 w 1164"/>
                      <a:gd name="T29" fmla="*/ 558 h 1963"/>
                      <a:gd name="T30" fmla="*/ 784 w 1164"/>
                      <a:gd name="T31" fmla="*/ 583 h 1963"/>
                      <a:gd name="T32" fmla="*/ 784 w 1164"/>
                      <a:gd name="T33" fmla="*/ 987 h 1963"/>
                      <a:gd name="T34" fmla="*/ 817 w 1164"/>
                      <a:gd name="T35" fmla="*/ 1066 h 1963"/>
                      <a:gd name="T36" fmla="*/ 922 w 1164"/>
                      <a:gd name="T37" fmla="*/ 1216 h 1963"/>
                      <a:gd name="T38" fmla="*/ 933 w 1164"/>
                      <a:gd name="T39" fmla="*/ 1334 h 1963"/>
                      <a:gd name="T40" fmla="*/ 887 w 1164"/>
                      <a:gd name="T41" fmla="*/ 1638 h 1963"/>
                      <a:gd name="T42" fmla="*/ 846 w 1164"/>
                      <a:gd name="T43" fmla="*/ 1870 h 1963"/>
                      <a:gd name="T44" fmla="*/ 775 w 1164"/>
                      <a:gd name="T45" fmla="*/ 1949 h 1963"/>
                      <a:gd name="T46" fmla="*/ 674 w 1164"/>
                      <a:gd name="T47" fmla="*/ 1918 h 1963"/>
                      <a:gd name="T48" fmla="*/ 652 w 1164"/>
                      <a:gd name="T49" fmla="*/ 1846 h 1963"/>
                      <a:gd name="T50" fmla="*/ 699 w 1164"/>
                      <a:gd name="T51" fmla="*/ 1566 h 1963"/>
                      <a:gd name="T52" fmla="*/ 737 w 1164"/>
                      <a:gd name="T53" fmla="*/ 1315 h 1963"/>
                      <a:gd name="T54" fmla="*/ 716 w 1164"/>
                      <a:gd name="T55" fmla="*/ 1245 h 1963"/>
                      <a:gd name="T56" fmla="*/ 677 w 1164"/>
                      <a:gd name="T57" fmla="*/ 1205 h 1963"/>
                      <a:gd name="T58" fmla="*/ 622 w 1164"/>
                      <a:gd name="T59" fmla="*/ 1192 h 1963"/>
                      <a:gd name="T60" fmla="*/ 499 w 1164"/>
                      <a:gd name="T61" fmla="*/ 1192 h 1963"/>
                      <a:gd name="T62" fmla="*/ 469 w 1164"/>
                      <a:gd name="T63" fmla="*/ 1199 h 1963"/>
                      <a:gd name="T64" fmla="*/ 415 w 1164"/>
                      <a:gd name="T65" fmla="*/ 1252 h 1963"/>
                      <a:gd name="T66" fmla="*/ 400 w 1164"/>
                      <a:gd name="T67" fmla="*/ 1312 h 1963"/>
                      <a:gd name="T68" fmla="*/ 442 w 1164"/>
                      <a:gd name="T69" fmla="*/ 1591 h 1963"/>
                      <a:gd name="T70" fmla="*/ 484 w 1164"/>
                      <a:gd name="T71" fmla="*/ 1833 h 1963"/>
                      <a:gd name="T72" fmla="*/ 421 w 1164"/>
                      <a:gd name="T73" fmla="*/ 1946 h 1963"/>
                      <a:gd name="T74" fmla="*/ 299 w 1164"/>
                      <a:gd name="T75" fmla="*/ 1898 h 1963"/>
                      <a:gd name="T76" fmla="*/ 290 w 1164"/>
                      <a:gd name="T77" fmla="*/ 1868 h 1963"/>
                      <a:gd name="T78" fmla="*/ 206 w 1164"/>
                      <a:gd name="T79" fmla="*/ 1371 h 1963"/>
                      <a:gd name="T80" fmla="*/ 329 w 1164"/>
                      <a:gd name="T81" fmla="*/ 1057 h 1963"/>
                      <a:gd name="T82" fmla="*/ 344 w 1164"/>
                      <a:gd name="T83" fmla="*/ 1020 h 1963"/>
                      <a:gd name="T84" fmla="*/ 343 w 1164"/>
                      <a:gd name="T85" fmla="*/ 984 h 1963"/>
                      <a:gd name="T86" fmla="*/ 343 w 1164"/>
                      <a:gd name="T87" fmla="*/ 586 h 1963"/>
                      <a:gd name="T88" fmla="*/ 342 w 1164"/>
                      <a:gd name="T89" fmla="*/ 560 h 1963"/>
                      <a:gd name="T90" fmla="*/ 253 w 1164"/>
                      <a:gd name="T91" fmla="*/ 372 h 1963"/>
                      <a:gd name="T92" fmla="*/ 254 w 1164"/>
                      <a:gd name="T93" fmla="*/ 377 h 1963"/>
                      <a:gd name="T94" fmla="*/ 337 w 1164"/>
                      <a:gd name="T95" fmla="*/ 391 h 1963"/>
                      <a:gd name="T96" fmla="*/ 428 w 1164"/>
                      <a:gd name="T97" fmla="*/ 421 h 1963"/>
                      <a:gd name="T98" fmla="*/ 710 w 1164"/>
                      <a:gd name="T99" fmla="*/ 414 h 1963"/>
                      <a:gd name="T100" fmla="*/ 742 w 1164"/>
                      <a:gd name="T101" fmla="*/ 401 h 1963"/>
                      <a:gd name="T102" fmla="*/ 899 w 1164"/>
                      <a:gd name="T103" fmla="*/ 378 h 1963"/>
                      <a:gd name="T104" fmla="*/ 885 w 1164"/>
                      <a:gd name="T105" fmla="*/ 364 h 1963"/>
                      <a:gd name="T106" fmla="*/ 777 w 1164"/>
                      <a:gd name="T107" fmla="*/ 318 h 1963"/>
                      <a:gd name="T108" fmla="*/ 748 w 1164"/>
                      <a:gd name="T109" fmla="*/ 328 h 1963"/>
                      <a:gd name="T110" fmla="*/ 458 w 1164"/>
                      <a:gd name="T111" fmla="*/ 413 h 1963"/>
                      <a:gd name="T112" fmla="*/ 370 w 1164"/>
                      <a:gd name="T113" fmla="*/ 326 h 1963"/>
                      <a:gd name="T114" fmla="*/ 253 w 1164"/>
                      <a:gd name="T115" fmla="*/ 372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4" h="1963">
                        <a:moveTo>
                          <a:pt x="342" y="560"/>
                        </a:moveTo>
                        <a:cubicBezTo>
                          <a:pt x="293" y="551"/>
                          <a:pt x="245" y="544"/>
                          <a:pt x="198" y="533"/>
                        </a:cubicBezTo>
                        <a:cubicBezTo>
                          <a:pt x="152" y="523"/>
                          <a:pt x="107" y="510"/>
                          <a:pt x="68" y="483"/>
                        </a:cubicBezTo>
                        <a:cubicBezTo>
                          <a:pt x="2" y="438"/>
                          <a:pt x="0" y="369"/>
                          <a:pt x="59" y="315"/>
                        </a:cubicBezTo>
                        <a:cubicBezTo>
                          <a:pt x="118" y="262"/>
                          <a:pt x="187" y="227"/>
                          <a:pt x="258" y="195"/>
                        </a:cubicBezTo>
                        <a:cubicBezTo>
                          <a:pt x="285" y="183"/>
                          <a:pt x="312" y="173"/>
                          <a:pt x="339" y="161"/>
                        </a:cubicBezTo>
                        <a:cubicBezTo>
                          <a:pt x="348" y="157"/>
                          <a:pt x="356" y="149"/>
                          <a:pt x="360" y="141"/>
                        </a:cubicBezTo>
                        <a:cubicBezTo>
                          <a:pt x="398" y="62"/>
                          <a:pt x="458" y="17"/>
                          <a:pt x="546" y="8"/>
                        </a:cubicBezTo>
                        <a:cubicBezTo>
                          <a:pt x="627" y="0"/>
                          <a:pt x="718" y="52"/>
                          <a:pt x="753" y="127"/>
                        </a:cubicBezTo>
                        <a:cubicBezTo>
                          <a:pt x="756" y="133"/>
                          <a:pt x="763" y="140"/>
                          <a:pt x="769" y="142"/>
                        </a:cubicBezTo>
                        <a:cubicBezTo>
                          <a:pt x="851" y="173"/>
                          <a:pt x="934" y="204"/>
                          <a:pt x="1009" y="251"/>
                        </a:cubicBezTo>
                        <a:cubicBezTo>
                          <a:pt x="1043" y="273"/>
                          <a:pt x="1076" y="299"/>
                          <a:pt x="1106" y="327"/>
                        </a:cubicBezTo>
                        <a:cubicBezTo>
                          <a:pt x="1164" y="382"/>
                          <a:pt x="1136" y="460"/>
                          <a:pt x="1071" y="493"/>
                        </a:cubicBezTo>
                        <a:cubicBezTo>
                          <a:pt x="1016" y="521"/>
                          <a:pt x="957" y="535"/>
                          <a:pt x="897" y="545"/>
                        </a:cubicBezTo>
                        <a:cubicBezTo>
                          <a:pt x="867" y="550"/>
                          <a:pt x="837" y="555"/>
                          <a:pt x="806" y="558"/>
                        </a:cubicBezTo>
                        <a:cubicBezTo>
                          <a:pt x="790" y="560"/>
                          <a:pt x="784" y="565"/>
                          <a:pt x="784" y="583"/>
                        </a:cubicBezTo>
                        <a:cubicBezTo>
                          <a:pt x="785" y="717"/>
                          <a:pt x="785" y="852"/>
                          <a:pt x="784" y="987"/>
                        </a:cubicBezTo>
                        <a:cubicBezTo>
                          <a:pt x="783" y="1020"/>
                          <a:pt x="788" y="1043"/>
                          <a:pt x="817" y="1066"/>
                        </a:cubicBezTo>
                        <a:cubicBezTo>
                          <a:pt x="866" y="1104"/>
                          <a:pt x="902" y="1155"/>
                          <a:pt x="922" y="1216"/>
                        </a:cubicBezTo>
                        <a:cubicBezTo>
                          <a:pt x="935" y="1254"/>
                          <a:pt x="939" y="1294"/>
                          <a:pt x="933" y="1334"/>
                        </a:cubicBezTo>
                        <a:cubicBezTo>
                          <a:pt x="919" y="1436"/>
                          <a:pt x="904" y="1537"/>
                          <a:pt x="887" y="1638"/>
                        </a:cubicBezTo>
                        <a:cubicBezTo>
                          <a:pt x="875" y="1716"/>
                          <a:pt x="860" y="1793"/>
                          <a:pt x="846" y="1870"/>
                        </a:cubicBezTo>
                        <a:cubicBezTo>
                          <a:pt x="839" y="1911"/>
                          <a:pt x="815" y="1938"/>
                          <a:pt x="775" y="1949"/>
                        </a:cubicBezTo>
                        <a:cubicBezTo>
                          <a:pt x="735" y="1960"/>
                          <a:pt x="701" y="1949"/>
                          <a:pt x="674" y="1918"/>
                        </a:cubicBezTo>
                        <a:cubicBezTo>
                          <a:pt x="656" y="1898"/>
                          <a:pt x="647" y="1873"/>
                          <a:pt x="652" y="1846"/>
                        </a:cubicBezTo>
                        <a:cubicBezTo>
                          <a:pt x="667" y="1753"/>
                          <a:pt x="684" y="1660"/>
                          <a:pt x="699" y="1566"/>
                        </a:cubicBezTo>
                        <a:cubicBezTo>
                          <a:pt x="712" y="1483"/>
                          <a:pt x="724" y="1399"/>
                          <a:pt x="737" y="1315"/>
                        </a:cubicBezTo>
                        <a:cubicBezTo>
                          <a:pt x="741" y="1289"/>
                          <a:pt x="733" y="1265"/>
                          <a:pt x="716" y="1245"/>
                        </a:cubicBezTo>
                        <a:cubicBezTo>
                          <a:pt x="704" y="1231"/>
                          <a:pt x="691" y="1218"/>
                          <a:pt x="677" y="1205"/>
                        </a:cubicBezTo>
                        <a:cubicBezTo>
                          <a:pt x="661" y="1190"/>
                          <a:pt x="645" y="1186"/>
                          <a:pt x="622" y="1192"/>
                        </a:cubicBezTo>
                        <a:cubicBezTo>
                          <a:pt x="582" y="1204"/>
                          <a:pt x="540" y="1201"/>
                          <a:pt x="499" y="1192"/>
                        </a:cubicBezTo>
                        <a:cubicBezTo>
                          <a:pt x="490" y="1190"/>
                          <a:pt x="476" y="1193"/>
                          <a:pt x="469" y="1199"/>
                        </a:cubicBezTo>
                        <a:cubicBezTo>
                          <a:pt x="449" y="1215"/>
                          <a:pt x="432" y="1233"/>
                          <a:pt x="415" y="1252"/>
                        </a:cubicBezTo>
                        <a:cubicBezTo>
                          <a:pt x="400" y="1269"/>
                          <a:pt x="396" y="1290"/>
                          <a:pt x="400" y="1312"/>
                        </a:cubicBezTo>
                        <a:cubicBezTo>
                          <a:pt x="414" y="1405"/>
                          <a:pt x="427" y="1498"/>
                          <a:pt x="442" y="1591"/>
                        </a:cubicBezTo>
                        <a:cubicBezTo>
                          <a:pt x="455" y="1672"/>
                          <a:pt x="470" y="1752"/>
                          <a:pt x="484" y="1833"/>
                        </a:cubicBezTo>
                        <a:cubicBezTo>
                          <a:pt x="493" y="1885"/>
                          <a:pt x="467" y="1930"/>
                          <a:pt x="421" y="1946"/>
                        </a:cubicBezTo>
                        <a:cubicBezTo>
                          <a:pt x="372" y="1963"/>
                          <a:pt x="324" y="1945"/>
                          <a:pt x="299" y="1898"/>
                        </a:cubicBezTo>
                        <a:cubicBezTo>
                          <a:pt x="294" y="1889"/>
                          <a:pt x="291" y="1878"/>
                          <a:pt x="290" y="1868"/>
                        </a:cubicBezTo>
                        <a:cubicBezTo>
                          <a:pt x="262" y="1702"/>
                          <a:pt x="236" y="1536"/>
                          <a:pt x="206" y="1371"/>
                        </a:cubicBezTo>
                        <a:cubicBezTo>
                          <a:pt x="183" y="1241"/>
                          <a:pt x="230" y="1139"/>
                          <a:pt x="329" y="1057"/>
                        </a:cubicBezTo>
                        <a:cubicBezTo>
                          <a:pt x="341" y="1047"/>
                          <a:pt x="348" y="1036"/>
                          <a:pt x="344" y="1020"/>
                        </a:cubicBezTo>
                        <a:cubicBezTo>
                          <a:pt x="342" y="1008"/>
                          <a:pt x="343" y="996"/>
                          <a:pt x="343" y="984"/>
                        </a:cubicBezTo>
                        <a:cubicBezTo>
                          <a:pt x="343" y="851"/>
                          <a:pt x="343" y="718"/>
                          <a:pt x="343" y="586"/>
                        </a:cubicBezTo>
                        <a:cubicBezTo>
                          <a:pt x="343" y="577"/>
                          <a:pt x="343" y="569"/>
                          <a:pt x="342" y="560"/>
                        </a:cubicBezTo>
                        <a:close/>
                        <a:moveTo>
                          <a:pt x="253" y="372"/>
                        </a:moveTo>
                        <a:cubicBezTo>
                          <a:pt x="253" y="373"/>
                          <a:pt x="254" y="375"/>
                          <a:pt x="254" y="377"/>
                        </a:cubicBezTo>
                        <a:cubicBezTo>
                          <a:pt x="282" y="382"/>
                          <a:pt x="310" y="386"/>
                          <a:pt x="337" y="391"/>
                        </a:cubicBezTo>
                        <a:cubicBezTo>
                          <a:pt x="369" y="397"/>
                          <a:pt x="399" y="399"/>
                          <a:pt x="428" y="421"/>
                        </a:cubicBezTo>
                        <a:cubicBezTo>
                          <a:pt x="509" y="481"/>
                          <a:pt x="630" y="476"/>
                          <a:pt x="710" y="414"/>
                        </a:cubicBezTo>
                        <a:cubicBezTo>
                          <a:pt x="719" y="407"/>
                          <a:pt x="731" y="403"/>
                          <a:pt x="742" y="401"/>
                        </a:cubicBezTo>
                        <a:cubicBezTo>
                          <a:pt x="794" y="393"/>
                          <a:pt x="847" y="386"/>
                          <a:pt x="899" y="378"/>
                        </a:cubicBezTo>
                        <a:cubicBezTo>
                          <a:pt x="895" y="370"/>
                          <a:pt x="890" y="367"/>
                          <a:pt x="885" y="364"/>
                        </a:cubicBezTo>
                        <a:cubicBezTo>
                          <a:pt x="849" y="349"/>
                          <a:pt x="813" y="334"/>
                          <a:pt x="777" y="318"/>
                        </a:cubicBezTo>
                        <a:cubicBezTo>
                          <a:pt x="763" y="311"/>
                          <a:pt x="756" y="313"/>
                          <a:pt x="748" y="328"/>
                        </a:cubicBezTo>
                        <a:cubicBezTo>
                          <a:pt x="690" y="432"/>
                          <a:pt x="563" y="468"/>
                          <a:pt x="458" y="413"/>
                        </a:cubicBezTo>
                        <a:cubicBezTo>
                          <a:pt x="420" y="393"/>
                          <a:pt x="393" y="363"/>
                          <a:pt x="370" y="326"/>
                        </a:cubicBezTo>
                        <a:cubicBezTo>
                          <a:pt x="330" y="341"/>
                          <a:pt x="292" y="356"/>
                          <a:pt x="253" y="3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latin typeface="Arial" panose="020B0604020202020204" pitchFamily="34" charset="0"/>
                    </a:endParaRPr>
                  </a:p>
                </p:txBody>
              </p:sp>
              <p:sp>
                <p:nvSpPr>
                  <p:cNvPr id="119" name="Freeform 131">
                    <a:extLst>
                      <a:ext uri="{FF2B5EF4-FFF2-40B4-BE49-F238E27FC236}">
                        <a16:creationId xmlns:a16="http://schemas.microsoft.com/office/drawing/2014/main" id="{D852EF52-8C54-3D21-F83E-5D9F34FCA288}"/>
                      </a:ext>
                    </a:extLst>
                  </p:cNvPr>
                  <p:cNvSpPr>
                    <a:spLocks noEditPoints="1"/>
                  </p:cNvSpPr>
                  <p:nvPr/>
                </p:nvSpPr>
                <p:spPr bwMode="auto">
                  <a:xfrm>
                    <a:off x="7730412" y="2431806"/>
                    <a:ext cx="108834" cy="113032"/>
                  </a:xfrm>
                  <a:custGeom>
                    <a:avLst/>
                    <a:gdLst>
                      <a:gd name="T0" fmla="*/ 56 w 466"/>
                      <a:gd name="T1" fmla="*/ 104 h 485"/>
                      <a:gd name="T2" fmla="*/ 37 w 466"/>
                      <a:gd name="T3" fmla="*/ 41 h 485"/>
                      <a:gd name="T4" fmla="*/ 98 w 466"/>
                      <a:gd name="T5" fmla="*/ 17 h 485"/>
                      <a:gd name="T6" fmla="*/ 112 w 466"/>
                      <a:gd name="T7" fmla="*/ 25 h 485"/>
                      <a:gd name="T8" fmla="*/ 147 w 466"/>
                      <a:gd name="T9" fmla="*/ 30 h 485"/>
                      <a:gd name="T10" fmla="*/ 347 w 466"/>
                      <a:gd name="T11" fmla="*/ 44 h 485"/>
                      <a:gd name="T12" fmla="*/ 365 w 466"/>
                      <a:gd name="T13" fmla="*/ 56 h 485"/>
                      <a:gd name="T14" fmla="*/ 447 w 466"/>
                      <a:gd name="T15" fmla="*/ 62 h 485"/>
                      <a:gd name="T16" fmla="*/ 426 w 466"/>
                      <a:gd name="T17" fmla="*/ 133 h 485"/>
                      <a:gd name="T18" fmla="*/ 346 w 466"/>
                      <a:gd name="T19" fmla="*/ 402 h 485"/>
                      <a:gd name="T20" fmla="*/ 373 w 466"/>
                      <a:gd name="T21" fmla="*/ 443 h 485"/>
                      <a:gd name="T22" fmla="*/ 361 w 466"/>
                      <a:gd name="T23" fmla="*/ 485 h 485"/>
                      <a:gd name="T24" fmla="*/ 323 w 466"/>
                      <a:gd name="T25" fmla="*/ 430 h 485"/>
                      <a:gd name="T26" fmla="*/ 299 w 466"/>
                      <a:gd name="T27" fmla="*/ 421 h 485"/>
                      <a:gd name="T28" fmla="*/ 135 w 466"/>
                      <a:gd name="T29" fmla="*/ 408 h 485"/>
                      <a:gd name="T30" fmla="*/ 116 w 466"/>
                      <a:gd name="T31" fmla="*/ 411 h 485"/>
                      <a:gd name="T32" fmla="*/ 67 w 466"/>
                      <a:gd name="T33" fmla="*/ 460 h 485"/>
                      <a:gd name="T34" fmla="*/ 46 w 466"/>
                      <a:gd name="T35" fmla="*/ 434 h 485"/>
                      <a:gd name="T36" fmla="*/ 94 w 466"/>
                      <a:gd name="T37" fmla="*/ 383 h 485"/>
                      <a:gd name="T38" fmla="*/ 56 w 466"/>
                      <a:gd name="T39" fmla="*/ 104 h 485"/>
                      <a:gd name="T40" fmla="*/ 398 w 466"/>
                      <a:gd name="T41" fmla="*/ 221 h 485"/>
                      <a:gd name="T42" fmla="*/ 233 w 466"/>
                      <a:gd name="T43" fmla="*/ 57 h 485"/>
                      <a:gd name="T44" fmla="*/ 68 w 466"/>
                      <a:gd name="T45" fmla="*/ 222 h 485"/>
                      <a:gd name="T46" fmla="*/ 233 w 466"/>
                      <a:gd name="T47" fmla="*/ 387 h 485"/>
                      <a:gd name="T48" fmla="*/ 398 w 466"/>
                      <a:gd name="T49" fmla="*/ 221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6" h="485">
                        <a:moveTo>
                          <a:pt x="56" y="104"/>
                        </a:moveTo>
                        <a:cubicBezTo>
                          <a:pt x="31" y="83"/>
                          <a:pt x="25" y="62"/>
                          <a:pt x="37" y="41"/>
                        </a:cubicBezTo>
                        <a:cubicBezTo>
                          <a:pt x="49" y="19"/>
                          <a:pt x="75" y="9"/>
                          <a:pt x="98" y="17"/>
                        </a:cubicBezTo>
                        <a:cubicBezTo>
                          <a:pt x="103" y="19"/>
                          <a:pt x="110" y="21"/>
                          <a:pt x="112" y="25"/>
                        </a:cubicBezTo>
                        <a:cubicBezTo>
                          <a:pt x="122" y="42"/>
                          <a:pt x="132" y="36"/>
                          <a:pt x="147" y="30"/>
                        </a:cubicBezTo>
                        <a:cubicBezTo>
                          <a:pt x="216" y="0"/>
                          <a:pt x="283" y="5"/>
                          <a:pt x="347" y="44"/>
                        </a:cubicBezTo>
                        <a:cubicBezTo>
                          <a:pt x="353" y="48"/>
                          <a:pt x="359" y="52"/>
                          <a:pt x="365" y="56"/>
                        </a:cubicBezTo>
                        <a:cubicBezTo>
                          <a:pt x="399" y="32"/>
                          <a:pt x="427" y="34"/>
                          <a:pt x="447" y="62"/>
                        </a:cubicBezTo>
                        <a:cubicBezTo>
                          <a:pt x="463" y="85"/>
                          <a:pt x="455" y="111"/>
                          <a:pt x="426" y="133"/>
                        </a:cubicBezTo>
                        <a:cubicBezTo>
                          <a:pt x="466" y="242"/>
                          <a:pt x="439" y="331"/>
                          <a:pt x="346" y="402"/>
                        </a:cubicBezTo>
                        <a:cubicBezTo>
                          <a:pt x="355" y="416"/>
                          <a:pt x="364" y="430"/>
                          <a:pt x="373" y="443"/>
                        </a:cubicBezTo>
                        <a:cubicBezTo>
                          <a:pt x="390" y="468"/>
                          <a:pt x="390" y="468"/>
                          <a:pt x="361" y="485"/>
                        </a:cubicBezTo>
                        <a:cubicBezTo>
                          <a:pt x="348" y="467"/>
                          <a:pt x="335" y="449"/>
                          <a:pt x="323" y="430"/>
                        </a:cubicBezTo>
                        <a:cubicBezTo>
                          <a:pt x="317" y="420"/>
                          <a:pt x="311" y="417"/>
                          <a:pt x="299" y="421"/>
                        </a:cubicBezTo>
                        <a:cubicBezTo>
                          <a:pt x="243" y="440"/>
                          <a:pt x="188" y="435"/>
                          <a:pt x="135" y="408"/>
                        </a:cubicBezTo>
                        <a:cubicBezTo>
                          <a:pt x="130" y="406"/>
                          <a:pt x="120" y="408"/>
                          <a:pt x="116" y="411"/>
                        </a:cubicBezTo>
                        <a:cubicBezTo>
                          <a:pt x="100" y="426"/>
                          <a:pt x="85" y="442"/>
                          <a:pt x="67" y="460"/>
                        </a:cubicBezTo>
                        <a:cubicBezTo>
                          <a:pt x="60" y="451"/>
                          <a:pt x="54" y="443"/>
                          <a:pt x="46" y="434"/>
                        </a:cubicBezTo>
                        <a:cubicBezTo>
                          <a:pt x="61" y="418"/>
                          <a:pt x="78" y="400"/>
                          <a:pt x="94" y="383"/>
                        </a:cubicBezTo>
                        <a:cubicBezTo>
                          <a:pt x="12" y="299"/>
                          <a:pt x="0" y="207"/>
                          <a:pt x="56" y="104"/>
                        </a:cubicBezTo>
                        <a:close/>
                        <a:moveTo>
                          <a:pt x="398" y="221"/>
                        </a:moveTo>
                        <a:cubicBezTo>
                          <a:pt x="397" y="130"/>
                          <a:pt x="324" y="57"/>
                          <a:pt x="233" y="57"/>
                        </a:cubicBezTo>
                        <a:cubicBezTo>
                          <a:pt x="140" y="57"/>
                          <a:pt x="68" y="130"/>
                          <a:pt x="68" y="222"/>
                        </a:cubicBezTo>
                        <a:cubicBezTo>
                          <a:pt x="68" y="313"/>
                          <a:pt x="142" y="387"/>
                          <a:pt x="233" y="387"/>
                        </a:cubicBezTo>
                        <a:cubicBezTo>
                          <a:pt x="324" y="386"/>
                          <a:pt x="398" y="312"/>
                          <a:pt x="398" y="2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120" name="Freeform 132">
                    <a:extLst>
                      <a:ext uri="{FF2B5EF4-FFF2-40B4-BE49-F238E27FC236}">
                        <a16:creationId xmlns:a16="http://schemas.microsoft.com/office/drawing/2014/main" id="{70A28210-6FB9-BD12-B13F-DF02DC8DD1A8}"/>
                      </a:ext>
                    </a:extLst>
                  </p:cNvPr>
                  <p:cNvSpPr>
                    <a:spLocks/>
                  </p:cNvSpPr>
                  <p:nvPr/>
                </p:nvSpPr>
                <p:spPr bwMode="auto">
                  <a:xfrm>
                    <a:off x="7368305" y="2745752"/>
                    <a:ext cx="77272" cy="30629"/>
                  </a:xfrm>
                  <a:custGeom>
                    <a:avLst/>
                    <a:gdLst>
                      <a:gd name="T0" fmla="*/ 166 w 331"/>
                      <a:gd name="T1" fmla="*/ 130 h 131"/>
                      <a:gd name="T2" fmla="*/ 68 w 331"/>
                      <a:gd name="T3" fmla="*/ 130 h 131"/>
                      <a:gd name="T4" fmla="*/ 5 w 331"/>
                      <a:gd name="T5" fmla="*/ 78 h 131"/>
                      <a:gd name="T6" fmla="*/ 40 w 331"/>
                      <a:gd name="T7" fmla="*/ 8 h 131"/>
                      <a:gd name="T8" fmla="*/ 73 w 331"/>
                      <a:gd name="T9" fmla="*/ 1 h 131"/>
                      <a:gd name="T10" fmla="*/ 260 w 331"/>
                      <a:gd name="T11" fmla="*/ 1 h 131"/>
                      <a:gd name="T12" fmla="*/ 331 w 331"/>
                      <a:gd name="T13" fmla="*/ 65 h 131"/>
                      <a:gd name="T14" fmla="*/ 262 w 331"/>
                      <a:gd name="T15" fmla="*/ 130 h 131"/>
                      <a:gd name="T16" fmla="*/ 166 w 331"/>
                      <a:gd name="T17" fmla="*/ 131 h 131"/>
                      <a:gd name="T18" fmla="*/ 166 w 331"/>
                      <a:gd name="T19" fmla="*/ 1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1" h="131">
                        <a:moveTo>
                          <a:pt x="166" y="130"/>
                        </a:moveTo>
                        <a:cubicBezTo>
                          <a:pt x="134" y="130"/>
                          <a:pt x="101" y="131"/>
                          <a:pt x="68" y="130"/>
                        </a:cubicBezTo>
                        <a:cubicBezTo>
                          <a:pt x="38" y="129"/>
                          <a:pt x="11" y="106"/>
                          <a:pt x="5" y="78"/>
                        </a:cubicBezTo>
                        <a:cubicBezTo>
                          <a:pt x="0" y="52"/>
                          <a:pt x="14" y="22"/>
                          <a:pt x="40" y="8"/>
                        </a:cubicBezTo>
                        <a:cubicBezTo>
                          <a:pt x="50" y="3"/>
                          <a:pt x="62" y="1"/>
                          <a:pt x="73" y="1"/>
                        </a:cubicBezTo>
                        <a:cubicBezTo>
                          <a:pt x="135" y="0"/>
                          <a:pt x="198" y="0"/>
                          <a:pt x="260" y="1"/>
                        </a:cubicBezTo>
                        <a:cubicBezTo>
                          <a:pt x="300" y="1"/>
                          <a:pt x="330" y="29"/>
                          <a:pt x="331" y="65"/>
                        </a:cubicBezTo>
                        <a:cubicBezTo>
                          <a:pt x="331" y="99"/>
                          <a:pt x="300" y="130"/>
                          <a:pt x="262" y="130"/>
                        </a:cubicBezTo>
                        <a:cubicBezTo>
                          <a:pt x="230" y="131"/>
                          <a:pt x="198" y="131"/>
                          <a:pt x="166" y="131"/>
                        </a:cubicBezTo>
                        <a:cubicBezTo>
                          <a:pt x="166" y="131"/>
                          <a:pt x="166" y="130"/>
                          <a:pt x="166" y="1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121" name="Freeform 133">
                    <a:extLst>
                      <a:ext uri="{FF2B5EF4-FFF2-40B4-BE49-F238E27FC236}">
                        <a16:creationId xmlns:a16="http://schemas.microsoft.com/office/drawing/2014/main" id="{C3C6EABA-0C5C-E25D-A598-ADA04DDA9D82}"/>
                      </a:ext>
                    </a:extLst>
                  </p:cNvPr>
                  <p:cNvSpPr>
                    <a:spLocks/>
                  </p:cNvSpPr>
                  <p:nvPr/>
                </p:nvSpPr>
                <p:spPr bwMode="auto">
                  <a:xfrm>
                    <a:off x="7555811" y="2842770"/>
                    <a:ext cx="63746" cy="27830"/>
                  </a:xfrm>
                  <a:custGeom>
                    <a:avLst/>
                    <a:gdLst>
                      <a:gd name="T0" fmla="*/ 14 w 273"/>
                      <a:gd name="T1" fmla="*/ 119 h 119"/>
                      <a:gd name="T2" fmla="*/ 10 w 273"/>
                      <a:gd name="T3" fmla="*/ 91 h 119"/>
                      <a:gd name="T4" fmla="*/ 56 w 273"/>
                      <a:gd name="T5" fmla="*/ 4 h 119"/>
                      <a:gd name="T6" fmla="*/ 73 w 273"/>
                      <a:gd name="T7" fmla="*/ 3 h 119"/>
                      <a:gd name="T8" fmla="*/ 196 w 273"/>
                      <a:gd name="T9" fmla="*/ 2 h 119"/>
                      <a:gd name="T10" fmla="*/ 224 w 273"/>
                      <a:gd name="T11" fmla="*/ 9 h 119"/>
                      <a:gd name="T12" fmla="*/ 260 w 273"/>
                      <a:gd name="T13" fmla="*/ 106 h 119"/>
                      <a:gd name="T14" fmla="*/ 247 w 273"/>
                      <a:gd name="T15" fmla="*/ 119 h 119"/>
                      <a:gd name="T16" fmla="*/ 14 w 273"/>
                      <a:gd name="T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119">
                        <a:moveTo>
                          <a:pt x="14" y="119"/>
                        </a:moveTo>
                        <a:cubicBezTo>
                          <a:pt x="13" y="108"/>
                          <a:pt x="12" y="99"/>
                          <a:pt x="10" y="91"/>
                        </a:cubicBezTo>
                        <a:cubicBezTo>
                          <a:pt x="0" y="49"/>
                          <a:pt x="27" y="26"/>
                          <a:pt x="56" y="4"/>
                        </a:cubicBezTo>
                        <a:cubicBezTo>
                          <a:pt x="60" y="1"/>
                          <a:pt x="67" y="2"/>
                          <a:pt x="73" y="3"/>
                        </a:cubicBezTo>
                        <a:cubicBezTo>
                          <a:pt x="114" y="10"/>
                          <a:pt x="155" y="9"/>
                          <a:pt x="196" y="2"/>
                        </a:cubicBezTo>
                        <a:cubicBezTo>
                          <a:pt x="205" y="0"/>
                          <a:pt x="217" y="4"/>
                          <a:pt x="224" y="9"/>
                        </a:cubicBezTo>
                        <a:cubicBezTo>
                          <a:pt x="257" y="33"/>
                          <a:pt x="273" y="65"/>
                          <a:pt x="260" y="106"/>
                        </a:cubicBezTo>
                        <a:cubicBezTo>
                          <a:pt x="258" y="111"/>
                          <a:pt x="251" y="119"/>
                          <a:pt x="247" y="119"/>
                        </a:cubicBezTo>
                        <a:cubicBezTo>
                          <a:pt x="170" y="119"/>
                          <a:pt x="93" y="119"/>
                          <a:pt x="14" y="1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grpSp>
          </p:grpSp>
          <p:sp>
            <p:nvSpPr>
              <p:cNvPr id="22" name="Freeform 134">
                <a:extLst>
                  <a:ext uri="{FF2B5EF4-FFF2-40B4-BE49-F238E27FC236}">
                    <a16:creationId xmlns:a16="http://schemas.microsoft.com/office/drawing/2014/main" id="{4A540D35-347A-834E-E89B-31744D614030}"/>
                  </a:ext>
                </a:extLst>
              </p:cNvPr>
              <p:cNvSpPr>
                <a:spLocks/>
              </p:cNvSpPr>
              <p:nvPr/>
            </p:nvSpPr>
            <p:spPr bwMode="auto">
              <a:xfrm rot="20711450">
                <a:off x="9161070" y="3972539"/>
                <a:ext cx="56338" cy="35363"/>
              </a:xfrm>
              <a:custGeom>
                <a:avLst/>
                <a:gdLst>
                  <a:gd name="T0" fmla="*/ 101 w 216"/>
                  <a:gd name="T1" fmla="*/ 4 h 136"/>
                  <a:gd name="T2" fmla="*/ 101 w 216"/>
                  <a:gd name="T3" fmla="*/ 91 h 136"/>
                  <a:gd name="T4" fmla="*/ 215 w 216"/>
                  <a:gd name="T5" fmla="*/ 0 h 136"/>
                  <a:gd name="T6" fmla="*/ 216 w 216"/>
                  <a:gd name="T7" fmla="*/ 1 h 136"/>
                  <a:gd name="T8" fmla="*/ 90 w 216"/>
                  <a:gd name="T9" fmla="*/ 136 h 136"/>
                  <a:gd name="T10" fmla="*/ 82 w 216"/>
                  <a:gd name="T11" fmla="*/ 132 h 136"/>
                  <a:gd name="T12" fmla="*/ 82 w 216"/>
                  <a:gd name="T13" fmla="*/ 39 h 136"/>
                  <a:gd name="T14" fmla="*/ 2 w 216"/>
                  <a:gd name="T15" fmla="*/ 81 h 136"/>
                  <a:gd name="T16" fmla="*/ 0 w 216"/>
                  <a:gd name="T17" fmla="*/ 77 h 136"/>
                  <a:gd name="T18" fmla="*/ 101 w 216"/>
                  <a:gd name="T19" fmla="*/ 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36">
                    <a:moveTo>
                      <a:pt x="101" y="4"/>
                    </a:moveTo>
                    <a:cubicBezTo>
                      <a:pt x="101" y="36"/>
                      <a:pt x="101" y="61"/>
                      <a:pt x="101" y="91"/>
                    </a:cubicBezTo>
                    <a:cubicBezTo>
                      <a:pt x="141" y="59"/>
                      <a:pt x="178" y="29"/>
                      <a:pt x="215" y="0"/>
                    </a:cubicBezTo>
                    <a:cubicBezTo>
                      <a:pt x="215" y="0"/>
                      <a:pt x="216" y="1"/>
                      <a:pt x="216" y="1"/>
                    </a:cubicBezTo>
                    <a:cubicBezTo>
                      <a:pt x="174" y="46"/>
                      <a:pt x="132" y="91"/>
                      <a:pt x="90" y="136"/>
                    </a:cubicBezTo>
                    <a:cubicBezTo>
                      <a:pt x="87" y="135"/>
                      <a:pt x="84" y="133"/>
                      <a:pt x="82" y="132"/>
                    </a:cubicBezTo>
                    <a:cubicBezTo>
                      <a:pt x="82" y="102"/>
                      <a:pt x="82" y="72"/>
                      <a:pt x="82" y="39"/>
                    </a:cubicBezTo>
                    <a:cubicBezTo>
                      <a:pt x="53" y="54"/>
                      <a:pt x="27" y="68"/>
                      <a:pt x="2" y="81"/>
                    </a:cubicBezTo>
                    <a:cubicBezTo>
                      <a:pt x="1" y="80"/>
                      <a:pt x="0" y="78"/>
                      <a:pt x="0" y="77"/>
                    </a:cubicBezTo>
                    <a:cubicBezTo>
                      <a:pt x="32" y="54"/>
                      <a:pt x="63" y="31"/>
                      <a:pt x="101"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3" name="Freeform 135">
                <a:extLst>
                  <a:ext uri="{FF2B5EF4-FFF2-40B4-BE49-F238E27FC236}">
                    <a16:creationId xmlns:a16="http://schemas.microsoft.com/office/drawing/2014/main" id="{623DEBA0-990F-165F-FF25-E10DFB70E530}"/>
                  </a:ext>
                </a:extLst>
              </p:cNvPr>
              <p:cNvSpPr>
                <a:spLocks/>
              </p:cNvSpPr>
              <p:nvPr/>
            </p:nvSpPr>
            <p:spPr bwMode="auto">
              <a:xfrm rot="2043312">
                <a:off x="9032493" y="3969427"/>
                <a:ext cx="51831" cy="26002"/>
              </a:xfrm>
              <a:custGeom>
                <a:avLst/>
                <a:gdLst>
                  <a:gd name="T0" fmla="*/ 1 w 199"/>
                  <a:gd name="T1" fmla="*/ 0 h 100"/>
                  <a:gd name="T2" fmla="*/ 116 w 199"/>
                  <a:gd name="T3" fmla="*/ 18 h 100"/>
                  <a:gd name="T4" fmla="*/ 58 w 199"/>
                  <a:gd name="T5" fmla="*/ 80 h 100"/>
                  <a:gd name="T6" fmla="*/ 199 w 199"/>
                  <a:gd name="T7" fmla="*/ 97 h 100"/>
                  <a:gd name="T8" fmla="*/ 199 w 199"/>
                  <a:gd name="T9" fmla="*/ 100 h 100"/>
                  <a:gd name="T10" fmla="*/ 11 w 199"/>
                  <a:gd name="T11" fmla="*/ 100 h 100"/>
                  <a:gd name="T12" fmla="*/ 81 w 199"/>
                  <a:gd name="T13" fmla="*/ 35 h 100"/>
                  <a:gd name="T14" fmla="*/ 77 w 199"/>
                  <a:gd name="T15" fmla="*/ 29 h 100"/>
                  <a:gd name="T16" fmla="*/ 0 w 199"/>
                  <a:gd name="T17" fmla="*/ 6 h 100"/>
                  <a:gd name="T18" fmla="*/ 1 w 19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9" h="100">
                    <a:moveTo>
                      <a:pt x="1" y="0"/>
                    </a:moveTo>
                    <a:cubicBezTo>
                      <a:pt x="38" y="6"/>
                      <a:pt x="74" y="12"/>
                      <a:pt x="116" y="18"/>
                    </a:cubicBezTo>
                    <a:cubicBezTo>
                      <a:pt x="95" y="40"/>
                      <a:pt x="78" y="59"/>
                      <a:pt x="58" y="80"/>
                    </a:cubicBezTo>
                    <a:cubicBezTo>
                      <a:pt x="107" y="86"/>
                      <a:pt x="153" y="91"/>
                      <a:pt x="199" y="97"/>
                    </a:cubicBezTo>
                    <a:cubicBezTo>
                      <a:pt x="199" y="98"/>
                      <a:pt x="199" y="99"/>
                      <a:pt x="199" y="100"/>
                    </a:cubicBezTo>
                    <a:cubicBezTo>
                      <a:pt x="138" y="100"/>
                      <a:pt x="77" y="100"/>
                      <a:pt x="11" y="100"/>
                    </a:cubicBezTo>
                    <a:cubicBezTo>
                      <a:pt x="37" y="76"/>
                      <a:pt x="59" y="56"/>
                      <a:pt x="81" y="35"/>
                    </a:cubicBezTo>
                    <a:cubicBezTo>
                      <a:pt x="80" y="33"/>
                      <a:pt x="78" y="31"/>
                      <a:pt x="77" y="29"/>
                    </a:cubicBezTo>
                    <a:cubicBezTo>
                      <a:pt x="52" y="21"/>
                      <a:pt x="26" y="13"/>
                      <a:pt x="0" y="6"/>
                    </a:cubicBezTo>
                    <a:cubicBezTo>
                      <a:pt x="1" y="4"/>
                      <a:pt x="1" y="2"/>
                      <a:pt x="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24" name="Freeform 138">
              <a:extLst>
                <a:ext uri="{FF2B5EF4-FFF2-40B4-BE49-F238E27FC236}">
                  <a16:creationId xmlns:a16="http://schemas.microsoft.com/office/drawing/2014/main" id="{E4951341-F5D2-8DD2-B718-18EBD9B52324}"/>
                </a:ext>
              </a:extLst>
            </p:cNvPr>
            <p:cNvSpPr>
              <a:spLocks/>
            </p:cNvSpPr>
            <p:nvPr/>
          </p:nvSpPr>
          <p:spPr bwMode="auto">
            <a:xfrm>
              <a:off x="9361273" y="3982428"/>
              <a:ext cx="19242" cy="26695"/>
            </a:xfrm>
            <a:custGeom>
              <a:avLst/>
              <a:gdLst>
                <a:gd name="T0" fmla="*/ 53 w 74"/>
                <a:gd name="T1" fmla="*/ 103 h 103"/>
                <a:gd name="T2" fmla="*/ 48 w 74"/>
                <a:gd name="T3" fmla="*/ 81 h 103"/>
                <a:gd name="T4" fmla="*/ 16 w 74"/>
                <a:gd name="T5" fmla="*/ 22 h 103"/>
                <a:gd name="T6" fmla="*/ 6 w 74"/>
                <a:gd name="T7" fmla="*/ 0 h 103"/>
                <a:gd name="T8" fmla="*/ 60 w 74"/>
                <a:gd name="T9" fmla="*/ 33 h 103"/>
                <a:gd name="T10" fmla="*/ 61 w 74"/>
                <a:gd name="T11" fmla="*/ 101 h 103"/>
                <a:gd name="T12" fmla="*/ 53 w 74"/>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74" h="103">
                  <a:moveTo>
                    <a:pt x="53" y="103"/>
                  </a:moveTo>
                  <a:cubicBezTo>
                    <a:pt x="51" y="95"/>
                    <a:pt x="46" y="88"/>
                    <a:pt x="48" y="81"/>
                  </a:cubicBezTo>
                  <a:cubicBezTo>
                    <a:pt x="52" y="54"/>
                    <a:pt x="42" y="32"/>
                    <a:pt x="16" y="22"/>
                  </a:cubicBezTo>
                  <a:cubicBezTo>
                    <a:pt x="3" y="18"/>
                    <a:pt x="0" y="13"/>
                    <a:pt x="6" y="0"/>
                  </a:cubicBezTo>
                  <a:cubicBezTo>
                    <a:pt x="31" y="0"/>
                    <a:pt x="49" y="13"/>
                    <a:pt x="60" y="33"/>
                  </a:cubicBezTo>
                  <a:cubicBezTo>
                    <a:pt x="72" y="55"/>
                    <a:pt x="74" y="79"/>
                    <a:pt x="61" y="101"/>
                  </a:cubicBezTo>
                  <a:cubicBezTo>
                    <a:pt x="58" y="101"/>
                    <a:pt x="56" y="102"/>
                    <a:pt x="53" y="10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5" name="Freeform 139">
              <a:extLst>
                <a:ext uri="{FF2B5EF4-FFF2-40B4-BE49-F238E27FC236}">
                  <a16:creationId xmlns:a16="http://schemas.microsoft.com/office/drawing/2014/main" id="{CCB977CC-5AAA-6B6A-CAA0-88C6BA21625A}"/>
                </a:ext>
              </a:extLst>
            </p:cNvPr>
            <p:cNvSpPr>
              <a:spLocks/>
            </p:cNvSpPr>
            <p:nvPr/>
          </p:nvSpPr>
          <p:spPr bwMode="auto">
            <a:xfrm>
              <a:off x="9216355" y="3991442"/>
              <a:ext cx="23055" cy="28949"/>
            </a:xfrm>
            <a:custGeom>
              <a:avLst/>
              <a:gdLst>
                <a:gd name="T0" fmla="*/ 30 w 89"/>
                <a:gd name="T1" fmla="*/ 111 h 111"/>
                <a:gd name="T2" fmla="*/ 84 w 89"/>
                <a:gd name="T3" fmla="*/ 7 h 111"/>
                <a:gd name="T4" fmla="*/ 74 w 89"/>
                <a:gd name="T5" fmla="*/ 27 h 111"/>
                <a:gd name="T6" fmla="*/ 40 w 89"/>
                <a:gd name="T7" fmla="*/ 88 h 111"/>
                <a:gd name="T8" fmla="*/ 30 w 89"/>
                <a:gd name="T9" fmla="*/ 111 h 111"/>
              </a:gdLst>
              <a:ahLst/>
              <a:cxnLst>
                <a:cxn ang="0">
                  <a:pos x="T0" y="T1"/>
                </a:cxn>
                <a:cxn ang="0">
                  <a:pos x="T2" y="T3"/>
                </a:cxn>
                <a:cxn ang="0">
                  <a:pos x="T4" y="T5"/>
                </a:cxn>
                <a:cxn ang="0">
                  <a:pos x="T6" y="T7"/>
                </a:cxn>
                <a:cxn ang="0">
                  <a:pos x="T8" y="T9"/>
                </a:cxn>
              </a:cxnLst>
              <a:rect l="0" t="0" r="r" b="b"/>
              <a:pathLst>
                <a:path w="89" h="111">
                  <a:moveTo>
                    <a:pt x="30" y="111"/>
                  </a:moveTo>
                  <a:cubicBezTo>
                    <a:pt x="0" y="62"/>
                    <a:pt x="40" y="0"/>
                    <a:pt x="84" y="7"/>
                  </a:cubicBezTo>
                  <a:cubicBezTo>
                    <a:pt x="89" y="17"/>
                    <a:pt x="86" y="23"/>
                    <a:pt x="74" y="27"/>
                  </a:cubicBezTo>
                  <a:cubicBezTo>
                    <a:pt x="45" y="39"/>
                    <a:pt x="36" y="56"/>
                    <a:pt x="40" y="88"/>
                  </a:cubicBezTo>
                  <a:cubicBezTo>
                    <a:pt x="41" y="94"/>
                    <a:pt x="35" y="101"/>
                    <a:pt x="30" y="1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6" name="Freeform 142">
              <a:extLst>
                <a:ext uri="{FF2B5EF4-FFF2-40B4-BE49-F238E27FC236}">
                  <a16:creationId xmlns:a16="http://schemas.microsoft.com/office/drawing/2014/main" id="{019BBC9E-32C9-D594-3696-9574C1DE5C77}"/>
                </a:ext>
              </a:extLst>
            </p:cNvPr>
            <p:cNvSpPr>
              <a:spLocks/>
            </p:cNvSpPr>
            <p:nvPr/>
          </p:nvSpPr>
          <p:spPr bwMode="auto">
            <a:xfrm>
              <a:off x="9298348" y="4013284"/>
              <a:ext cx="31203" cy="34669"/>
            </a:xfrm>
            <a:custGeom>
              <a:avLst/>
              <a:gdLst>
                <a:gd name="T0" fmla="*/ 0 w 120"/>
                <a:gd name="T1" fmla="*/ 123 h 133"/>
                <a:gd name="T2" fmla="*/ 11 w 120"/>
                <a:gd name="T3" fmla="*/ 6 h 133"/>
                <a:gd name="T4" fmla="*/ 43 w 120"/>
                <a:gd name="T5" fmla="*/ 30 h 133"/>
                <a:gd name="T6" fmla="*/ 38 w 120"/>
                <a:gd name="T7" fmla="*/ 92 h 133"/>
                <a:gd name="T8" fmla="*/ 120 w 120"/>
                <a:gd name="T9" fmla="*/ 100 h 133"/>
                <a:gd name="T10" fmla="*/ 118 w 120"/>
                <a:gd name="T11" fmla="*/ 133 h 133"/>
                <a:gd name="T12" fmla="*/ 0 w 120"/>
                <a:gd name="T13" fmla="*/ 123 h 133"/>
              </a:gdLst>
              <a:ahLst/>
              <a:cxnLst>
                <a:cxn ang="0">
                  <a:pos x="T0" y="T1"/>
                </a:cxn>
                <a:cxn ang="0">
                  <a:pos x="T2" y="T3"/>
                </a:cxn>
                <a:cxn ang="0">
                  <a:pos x="T4" y="T5"/>
                </a:cxn>
                <a:cxn ang="0">
                  <a:pos x="T6" y="T7"/>
                </a:cxn>
                <a:cxn ang="0">
                  <a:pos x="T8" y="T9"/>
                </a:cxn>
                <a:cxn ang="0">
                  <a:pos x="T10" y="T11"/>
                </a:cxn>
                <a:cxn ang="0">
                  <a:pos x="T12" y="T13"/>
                </a:cxn>
              </a:cxnLst>
              <a:rect l="0" t="0" r="r" b="b"/>
              <a:pathLst>
                <a:path w="120" h="133">
                  <a:moveTo>
                    <a:pt x="0" y="123"/>
                  </a:moveTo>
                  <a:cubicBezTo>
                    <a:pt x="4" y="82"/>
                    <a:pt x="8" y="44"/>
                    <a:pt x="11" y="6"/>
                  </a:cubicBezTo>
                  <a:cubicBezTo>
                    <a:pt x="42" y="0"/>
                    <a:pt x="45" y="2"/>
                    <a:pt x="43" y="30"/>
                  </a:cubicBezTo>
                  <a:cubicBezTo>
                    <a:pt x="41" y="50"/>
                    <a:pt x="40" y="70"/>
                    <a:pt x="38" y="92"/>
                  </a:cubicBezTo>
                  <a:cubicBezTo>
                    <a:pt x="66" y="95"/>
                    <a:pt x="92" y="97"/>
                    <a:pt x="120" y="100"/>
                  </a:cubicBezTo>
                  <a:cubicBezTo>
                    <a:pt x="119" y="112"/>
                    <a:pt x="119" y="121"/>
                    <a:pt x="118" y="133"/>
                  </a:cubicBezTo>
                  <a:cubicBezTo>
                    <a:pt x="78" y="130"/>
                    <a:pt x="41" y="127"/>
                    <a:pt x="0" y="1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Tree>
    <p:extLst>
      <p:ext uri="{BB962C8B-B14F-4D97-AF65-F5344CB8AC3E}">
        <p14:creationId xmlns:p14="http://schemas.microsoft.com/office/powerpoint/2010/main" val="214339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8D11C-B5C7-4BDB-89B4-10517CD9EB0F}"/>
              </a:ext>
            </a:extLst>
          </p:cNvPr>
          <p:cNvSpPr>
            <a:spLocks noGrp="1"/>
          </p:cNvSpPr>
          <p:nvPr>
            <p:ph type="title"/>
          </p:nvPr>
        </p:nvSpPr>
        <p:spPr>
          <a:xfrm>
            <a:off x="536240" y="414320"/>
            <a:ext cx="10896000" cy="1082209"/>
          </a:xfrm>
        </p:spPr>
        <p:txBody>
          <a:bodyPr>
            <a:normAutofit/>
          </a:bodyPr>
          <a:lstStyle/>
          <a:p>
            <a:r>
              <a:rPr lang="en-US" noProof="0"/>
              <a:t>Current landscape in obesity management</a:t>
            </a:r>
          </a:p>
        </p:txBody>
      </p:sp>
      <p:sp>
        <p:nvSpPr>
          <p:cNvPr id="4" name="Text Placeholder 3">
            <a:extLst>
              <a:ext uri="{FF2B5EF4-FFF2-40B4-BE49-F238E27FC236}">
                <a16:creationId xmlns:a16="http://schemas.microsoft.com/office/drawing/2014/main" id="{91C360E4-7BEA-0431-10AB-0CDF1E1F6278}"/>
              </a:ext>
            </a:extLst>
          </p:cNvPr>
          <p:cNvSpPr>
            <a:spLocks noGrp="1"/>
          </p:cNvSpPr>
          <p:nvPr>
            <p:ph type="body" sz="quarter" idx="13"/>
          </p:nvPr>
        </p:nvSpPr>
        <p:spPr/>
        <p:txBody>
          <a:bodyPr/>
          <a:lstStyle/>
          <a:p>
            <a:r>
              <a:rPr lang="en-US" sz="800" noProof="0" dirty="0">
                <a:latin typeface="Arial"/>
                <a:cs typeface="Arial"/>
              </a:rPr>
              <a:t>CKD, chronic kidney disease; CVD, cardiovascular disease; HTN, hypertension; OA, osteoarthritis; OSA, obstructive sleep apnea.</a:t>
            </a:r>
            <a:br>
              <a:rPr lang="en-US" sz="800" noProof="0" dirty="0"/>
            </a:br>
            <a:r>
              <a:rPr lang="en-US" sz="800" noProof="0" dirty="0"/>
              <a:t>1. </a:t>
            </a:r>
            <a:r>
              <a:rPr lang="en-US" sz="800" noProof="0" dirty="0">
                <a:latin typeface="Arial"/>
                <a:cs typeface="Arial"/>
              </a:rPr>
              <a:t>Kaplan LM et al. Obesity 2018;26:61–69; 2. </a:t>
            </a:r>
            <a:r>
              <a:rPr lang="en-US" sz="800" i="0" noProof="0" dirty="0">
                <a:solidFill>
                  <a:schemeClr val="tx1"/>
                </a:solidFill>
                <a:latin typeface="Arial"/>
                <a:cs typeface="Arial"/>
              </a:rPr>
              <a:t>Rubino F et al. Lancet Diabetes Endocrinol 2025;13:221–262; 3. Forhan M, Salas XR. Can J Diabetes 2013;37:205–209</a:t>
            </a:r>
            <a:r>
              <a:rPr lang="en-US" sz="800" noProof="0" dirty="0">
                <a:latin typeface="Arial"/>
                <a:cs typeface="Arial"/>
              </a:rPr>
              <a:t>.</a:t>
            </a:r>
          </a:p>
        </p:txBody>
      </p:sp>
      <p:sp>
        <p:nvSpPr>
          <p:cNvPr id="37" name="Rectangle 36">
            <a:extLst>
              <a:ext uri="{FF2B5EF4-FFF2-40B4-BE49-F238E27FC236}">
                <a16:creationId xmlns:a16="http://schemas.microsoft.com/office/drawing/2014/main" id="{8FED4CC1-6BA2-C24E-4B28-8B38FC14DC50}"/>
              </a:ext>
            </a:extLst>
          </p:cNvPr>
          <p:cNvSpPr/>
          <p:nvPr/>
        </p:nvSpPr>
        <p:spPr>
          <a:xfrm>
            <a:off x="0" y="1975850"/>
            <a:ext cx="12192000" cy="3876500"/>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DFC5726E-953A-4121-7840-825F8CA29773}"/>
              </a:ext>
            </a:extLst>
          </p:cNvPr>
          <p:cNvSpPr/>
          <p:nvPr/>
        </p:nvSpPr>
        <p:spPr>
          <a:xfrm>
            <a:off x="577561" y="2352038"/>
            <a:ext cx="6468704" cy="33375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40" name="TextBox 39">
            <a:extLst>
              <a:ext uri="{FF2B5EF4-FFF2-40B4-BE49-F238E27FC236}">
                <a16:creationId xmlns:a16="http://schemas.microsoft.com/office/drawing/2014/main" id="{4796EE10-D335-2EF6-898F-CF1C3E2C9AA2}"/>
              </a:ext>
            </a:extLst>
          </p:cNvPr>
          <p:cNvSpPr txBox="1"/>
          <p:nvPr/>
        </p:nvSpPr>
        <p:spPr>
          <a:xfrm>
            <a:off x="352014" y="4762267"/>
            <a:ext cx="3438001" cy="830997"/>
          </a:xfrm>
          <a:prstGeom prst="rect">
            <a:avLst/>
          </a:prstGeom>
          <a:noFill/>
          <a:effectLst/>
        </p:spPr>
        <p:txBody>
          <a:bodyPr wrap="square" lIns="91440" tIns="45720" rIns="91440" bIns="45720" rtlCol="0" anchor="t">
            <a:spAutoFit/>
          </a:bodyPr>
          <a:lstStyle/>
          <a:p>
            <a:pPr algn="ctr" defTabSz="914377">
              <a:defRPr/>
            </a:pPr>
            <a:r>
              <a:rPr lang="en-US" sz="1600" b="1" noProof="0">
                <a:latin typeface="Arial"/>
                <a:cs typeface="Arial"/>
              </a:rPr>
              <a:t>Lifestyle counseling </a:t>
            </a:r>
            <a:br>
              <a:rPr lang="en-US" sz="1600" b="1" i="0" u="none" strike="noStrike" kern="1200" cap="none" spc="0" normalizeH="0" baseline="0" noProof="0">
                <a:ln>
                  <a:noFill/>
                </a:ln>
                <a:effectLst>
                  <a:outerShdw blurRad="50800" dist="50800" dir="5400000" algn="ctr" rotWithShape="0">
                    <a:srgbClr val="E64A0E"/>
                  </a:outerShdw>
                </a:effectLst>
                <a:uLnTx/>
                <a:uFillTx/>
                <a:latin typeface="Arial" panose="020B0604020202020204" pitchFamily="34" charset="0"/>
                <a:cs typeface="Arial" panose="020B0604020202020204" pitchFamily="34" charset="0"/>
              </a:rPr>
            </a:br>
            <a:r>
              <a:rPr lang="en-US" sz="1600" noProof="0">
                <a:latin typeface="Arial"/>
                <a:cs typeface="Arial"/>
              </a:rPr>
              <a:t>to </a:t>
            </a:r>
            <a:r>
              <a:rPr lang="en-US" sz="1600" b="1" noProof="0">
                <a:latin typeface="Arial"/>
                <a:cs typeface="Arial"/>
              </a:rPr>
              <a:t>eat less </a:t>
            </a:r>
            <a:r>
              <a:rPr lang="en-US" sz="1600" noProof="0">
                <a:latin typeface="Arial"/>
                <a:cs typeface="Arial"/>
              </a:rPr>
              <a:t>&amp; </a:t>
            </a:r>
            <a:r>
              <a:rPr lang="en-US" sz="1600" b="1" noProof="0">
                <a:latin typeface="Arial"/>
                <a:cs typeface="Arial"/>
              </a:rPr>
              <a:t>move more</a:t>
            </a:r>
            <a:r>
              <a:rPr lang="en-US" sz="1600" noProof="0">
                <a:latin typeface="Arial"/>
                <a:cs typeface="Arial"/>
              </a:rPr>
              <a:t> is</a:t>
            </a:r>
            <a:r>
              <a:rPr kumimoji="0" lang="en-US" sz="1600" b="0" i="0" u="none" strike="noStrike" kern="1200" cap="none" spc="0" normalizeH="0" baseline="0" noProof="0">
                <a:ln>
                  <a:noFill/>
                </a:ln>
                <a:effectLst/>
                <a:uLnTx/>
                <a:uFillTx/>
                <a:latin typeface="Arial"/>
                <a:cs typeface="Arial"/>
              </a:rPr>
              <a:t> </a:t>
            </a:r>
            <a:br>
              <a:rPr kumimoji="0" lang="en-US" sz="1600" b="0" i="0" u="none" strike="noStrike" kern="1200" cap="none" spc="0" normalizeH="0" baseline="0" noProof="0">
                <a:ln>
                  <a:noFill/>
                </a:ln>
                <a:effectLst/>
                <a:uLnTx/>
                <a:uFillTx/>
                <a:latin typeface="Arial"/>
                <a:cs typeface="Arial"/>
              </a:rPr>
            </a:br>
            <a:r>
              <a:rPr kumimoji="0" lang="en-US" sz="1600" b="0" i="0" u="none" strike="noStrike" kern="1200" cap="none" spc="0" normalizeH="0" baseline="0" noProof="0">
                <a:ln>
                  <a:noFill/>
                </a:ln>
                <a:effectLst/>
                <a:uLnTx/>
                <a:uFillTx/>
                <a:latin typeface="Arial"/>
                <a:cs typeface="Arial"/>
              </a:rPr>
              <a:t>the singular intervention</a:t>
            </a:r>
            <a:endParaRPr lang="en-US" sz="1600" b="0" i="0" u="none" strike="noStrike" kern="1200" cap="none" spc="0" normalizeH="0" baseline="0" noProof="0">
              <a:ln>
                <a:noFill/>
              </a:ln>
              <a:effectLst/>
              <a:uLnTx/>
              <a:uFillTx/>
              <a:latin typeface="Arial"/>
              <a:cs typeface="Arial"/>
            </a:endParaRPr>
          </a:p>
        </p:txBody>
      </p:sp>
      <p:sp>
        <p:nvSpPr>
          <p:cNvPr id="66" name="TextBox 65">
            <a:extLst>
              <a:ext uri="{FF2B5EF4-FFF2-40B4-BE49-F238E27FC236}">
                <a16:creationId xmlns:a16="http://schemas.microsoft.com/office/drawing/2014/main" id="{913B07A8-8E2A-C742-FB4B-A3A8C4E03C03}"/>
              </a:ext>
            </a:extLst>
          </p:cNvPr>
          <p:cNvSpPr txBox="1"/>
          <p:nvPr/>
        </p:nvSpPr>
        <p:spPr>
          <a:xfrm>
            <a:off x="638831" y="2448290"/>
            <a:ext cx="7105860" cy="369332"/>
          </a:xfrm>
          <a:prstGeom prst="rect">
            <a:avLst/>
          </a:prstGeom>
          <a:noFill/>
          <a:effectLst/>
        </p:spPr>
        <p:txBody>
          <a:bodyPr wrap="square" lIns="91440" tIns="45720" rIns="91440" bIns="45720" rtlCol="0" anchor="t">
            <a:spAutoFit/>
          </a:bodyPr>
          <a:lstStyle/>
          <a:p>
            <a:pPr algn="ctr" defTabSz="914377">
              <a:defRPr/>
            </a:pPr>
            <a:r>
              <a:rPr lang="en-US" cap="all" spc="200" noProof="0">
                <a:latin typeface="Arial"/>
                <a:cs typeface="Arial"/>
              </a:rPr>
              <a:t>Current treatment</a:t>
            </a:r>
            <a:endParaRPr kumimoji="0" lang="en-US" i="0" u="none" strike="noStrike" kern="1200" cap="all" spc="200" normalizeH="0" noProof="0">
              <a:ln>
                <a:noFill/>
              </a:ln>
              <a:effectLst/>
              <a:uLnTx/>
              <a:uFillTx/>
              <a:latin typeface="Arial"/>
              <a:cs typeface="Arial"/>
            </a:endParaRPr>
          </a:p>
        </p:txBody>
      </p:sp>
      <p:sp>
        <p:nvSpPr>
          <p:cNvPr id="68" name="Rectangle: Rounded Corners 67">
            <a:extLst>
              <a:ext uri="{FF2B5EF4-FFF2-40B4-BE49-F238E27FC236}">
                <a16:creationId xmlns:a16="http://schemas.microsoft.com/office/drawing/2014/main" id="{21ABF1BE-E3D6-694B-D42E-8FE8DAA9BF73}"/>
              </a:ext>
            </a:extLst>
          </p:cNvPr>
          <p:cNvSpPr/>
          <p:nvPr/>
        </p:nvSpPr>
        <p:spPr>
          <a:xfrm>
            <a:off x="2934936" y="1737228"/>
            <a:ext cx="6388448" cy="4724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rial" panose="020B0604020202020204" pitchFamily="34" charset="0"/>
                <a:cs typeface="Arial" panose="020B0604020202020204" pitchFamily="34" charset="0"/>
              </a:rPr>
              <a:t>Obesity is not managed as a chronic disease</a:t>
            </a:r>
            <a:r>
              <a:rPr kumimoji="0" lang="en-US" sz="1800" b="1" i="0" u="none" strike="noStrike" kern="1200" cap="none" spc="0" normalizeH="0" baseline="30000" noProof="0">
                <a:ln>
                  <a:noFill/>
                </a:ln>
                <a:effectLst/>
                <a:uLnTx/>
                <a:uFillTx/>
                <a:latin typeface="Arial" panose="020B0604020202020204" pitchFamily="34" charset="0"/>
                <a:cs typeface="Arial" panose="020B0604020202020204" pitchFamily="34" charset="0"/>
              </a:rPr>
              <a:t>1–3</a:t>
            </a:r>
            <a:endParaRPr kumimoji="0" lang="en-US" sz="18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pic>
        <p:nvPicPr>
          <p:cNvPr id="70" name="Graphic 69">
            <a:extLst>
              <a:ext uri="{FF2B5EF4-FFF2-40B4-BE49-F238E27FC236}">
                <a16:creationId xmlns:a16="http://schemas.microsoft.com/office/drawing/2014/main" id="{2284E1EE-EFEB-AD6B-9F07-EAF493EF70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47840" y="3056245"/>
            <a:ext cx="1507072" cy="1507070"/>
          </a:xfrm>
          <a:prstGeom prst="rect">
            <a:avLst/>
          </a:prstGeom>
        </p:spPr>
      </p:pic>
      <p:pic>
        <p:nvPicPr>
          <p:cNvPr id="71" name="Graphic 70">
            <a:extLst>
              <a:ext uri="{FF2B5EF4-FFF2-40B4-BE49-F238E27FC236}">
                <a16:creationId xmlns:a16="http://schemas.microsoft.com/office/drawing/2014/main" id="{55ADAF74-19D5-7AEA-1953-54E58AADE53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395515" y="3056245"/>
            <a:ext cx="1507070" cy="1507070"/>
          </a:xfrm>
          <a:prstGeom prst="rect">
            <a:avLst/>
          </a:prstGeom>
        </p:spPr>
      </p:pic>
      <p:sp>
        <p:nvSpPr>
          <p:cNvPr id="72" name="TextBox 71">
            <a:extLst>
              <a:ext uri="{FF2B5EF4-FFF2-40B4-BE49-F238E27FC236}">
                <a16:creationId xmlns:a16="http://schemas.microsoft.com/office/drawing/2014/main" id="{45B07A09-7280-480D-C228-2911CF7A84C7}"/>
              </a:ext>
            </a:extLst>
          </p:cNvPr>
          <p:cNvSpPr txBox="1"/>
          <p:nvPr/>
        </p:nvSpPr>
        <p:spPr>
          <a:xfrm>
            <a:off x="3623093" y="4762267"/>
            <a:ext cx="3064060" cy="830997"/>
          </a:xfrm>
          <a:prstGeom prst="rect">
            <a:avLst/>
          </a:prstGeom>
          <a:noFill/>
        </p:spPr>
        <p:txBody>
          <a:bodyPr wrap="square">
            <a:spAutoFit/>
          </a:bodyPr>
          <a:lstStyle/>
          <a:p>
            <a:pPr algn="ctr"/>
            <a:r>
              <a:rPr lang="en-US" sz="1600" noProof="0">
                <a:latin typeface="Arial" panose="020B0604020202020204" pitchFamily="34" charset="0"/>
                <a:cs typeface="Arial" panose="020B0604020202020204" pitchFamily="34" charset="0"/>
              </a:rPr>
              <a:t>Treating the </a:t>
            </a:r>
            <a:r>
              <a:rPr lang="en-US" sz="1600" b="1" noProof="0">
                <a:latin typeface="Arial" panose="020B0604020202020204" pitchFamily="34" charset="0"/>
                <a:cs typeface="Arial" panose="020B0604020202020204" pitchFamily="34" charset="0"/>
              </a:rPr>
              <a:t>weight-related complications</a:t>
            </a:r>
            <a:r>
              <a:rPr lang="en-US" sz="1600" noProof="0">
                <a:latin typeface="Arial" panose="020B0604020202020204" pitchFamily="34" charset="0"/>
                <a:cs typeface="Arial" panose="020B0604020202020204" pitchFamily="34" charset="0"/>
              </a:rPr>
              <a:t>, but not the disease itself</a:t>
            </a:r>
          </a:p>
        </p:txBody>
      </p:sp>
      <p:cxnSp>
        <p:nvCxnSpPr>
          <p:cNvPr id="74" name="Straight Arrow Connector 73">
            <a:extLst>
              <a:ext uri="{FF2B5EF4-FFF2-40B4-BE49-F238E27FC236}">
                <a16:creationId xmlns:a16="http://schemas.microsoft.com/office/drawing/2014/main" id="{CDE7408C-6217-BFF6-E634-C81E20F850B3}"/>
              </a:ext>
            </a:extLst>
          </p:cNvPr>
          <p:cNvCxnSpPr>
            <a:cxnSpLocks/>
          </p:cNvCxnSpPr>
          <p:nvPr/>
        </p:nvCxnSpPr>
        <p:spPr>
          <a:xfrm>
            <a:off x="4189801" y="4345765"/>
            <a:ext cx="845128" cy="0"/>
          </a:xfrm>
          <a:prstGeom prst="straightConnector1">
            <a:avLst/>
          </a:prstGeom>
          <a:ln w="9525" cap="rnd">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7496D1E1-D2C5-DF35-0E39-7B7A9698A841}"/>
              </a:ext>
            </a:extLst>
          </p:cNvPr>
          <p:cNvCxnSpPr>
            <a:cxnSpLocks/>
          </p:cNvCxnSpPr>
          <p:nvPr/>
        </p:nvCxnSpPr>
        <p:spPr>
          <a:xfrm>
            <a:off x="4208851" y="3257857"/>
            <a:ext cx="914400" cy="0"/>
          </a:xfrm>
          <a:prstGeom prst="straightConnector1">
            <a:avLst/>
          </a:prstGeom>
          <a:ln w="9525" cap="rnd">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974A626A-DD49-C00D-769B-2B32EB5CCF9D}"/>
              </a:ext>
            </a:extLst>
          </p:cNvPr>
          <p:cNvCxnSpPr>
            <a:cxnSpLocks/>
          </p:cNvCxnSpPr>
          <p:nvPr/>
        </p:nvCxnSpPr>
        <p:spPr>
          <a:xfrm flipH="1">
            <a:off x="5270687" y="3585547"/>
            <a:ext cx="936105" cy="0"/>
          </a:xfrm>
          <a:prstGeom prst="straightConnector1">
            <a:avLst/>
          </a:prstGeom>
          <a:ln w="9525" cap="rnd">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44BD3A1-EAC4-6F95-19B1-5F24BF159B3A}"/>
              </a:ext>
            </a:extLst>
          </p:cNvPr>
          <p:cNvCxnSpPr>
            <a:cxnSpLocks/>
          </p:cNvCxnSpPr>
          <p:nvPr/>
        </p:nvCxnSpPr>
        <p:spPr>
          <a:xfrm flipH="1">
            <a:off x="5267325" y="3812228"/>
            <a:ext cx="847725" cy="0"/>
          </a:xfrm>
          <a:prstGeom prst="straightConnector1">
            <a:avLst/>
          </a:prstGeom>
          <a:ln w="9525" cap="rnd">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23150C1-F0EF-C547-6026-55DF1A89B0DF}"/>
              </a:ext>
            </a:extLst>
          </p:cNvPr>
          <p:cNvSpPr/>
          <p:nvPr/>
        </p:nvSpPr>
        <p:spPr>
          <a:xfrm>
            <a:off x="7383952" y="2352038"/>
            <a:ext cx="4511397" cy="33375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79" name="TextBox 78">
            <a:extLst>
              <a:ext uri="{FF2B5EF4-FFF2-40B4-BE49-F238E27FC236}">
                <a16:creationId xmlns:a16="http://schemas.microsoft.com/office/drawing/2014/main" id="{BAD65C0D-52F3-FEDA-D0B4-3148832AECCD}"/>
              </a:ext>
            </a:extLst>
          </p:cNvPr>
          <p:cNvSpPr txBox="1"/>
          <p:nvPr/>
        </p:nvSpPr>
        <p:spPr>
          <a:xfrm>
            <a:off x="7961790" y="2448290"/>
            <a:ext cx="3933559" cy="369332"/>
          </a:xfrm>
          <a:prstGeom prst="rect">
            <a:avLst/>
          </a:prstGeom>
          <a:noFill/>
          <a:effectLst/>
        </p:spPr>
        <p:txBody>
          <a:bodyPr wrap="square" lIns="91440" tIns="45720" rIns="91440" bIns="45720" rtlCol="0" anchor="t">
            <a:spAutoFit/>
          </a:bodyPr>
          <a:lstStyle/>
          <a:p>
            <a:pPr algn="ctr" defTabSz="914377">
              <a:defRPr/>
            </a:pPr>
            <a:r>
              <a:rPr lang="en-US" cap="all" spc="200" noProof="0">
                <a:latin typeface="Arial"/>
                <a:cs typeface="Arial"/>
              </a:rPr>
              <a:t>Should be treated as</a:t>
            </a:r>
            <a:endParaRPr kumimoji="0" lang="en-US" i="0" u="none" strike="noStrike" kern="1200" cap="all" spc="200" normalizeH="0" noProof="0">
              <a:ln>
                <a:noFill/>
              </a:ln>
              <a:effectLst/>
              <a:uLnTx/>
              <a:uFillTx/>
              <a:latin typeface="Arial"/>
              <a:cs typeface="Arial"/>
            </a:endParaRPr>
          </a:p>
        </p:txBody>
      </p:sp>
      <p:sp>
        <p:nvSpPr>
          <p:cNvPr id="80" name="TextBox 79">
            <a:extLst>
              <a:ext uri="{FF2B5EF4-FFF2-40B4-BE49-F238E27FC236}">
                <a16:creationId xmlns:a16="http://schemas.microsoft.com/office/drawing/2014/main" id="{1B300C60-F479-D575-CDCA-17F75A0B2CE1}"/>
              </a:ext>
            </a:extLst>
          </p:cNvPr>
          <p:cNvSpPr txBox="1"/>
          <p:nvPr/>
        </p:nvSpPr>
        <p:spPr>
          <a:xfrm>
            <a:off x="8025574" y="2948930"/>
            <a:ext cx="3814412" cy="3016210"/>
          </a:xfrm>
          <a:prstGeom prst="rect">
            <a:avLst/>
          </a:prstGeom>
          <a:noFill/>
        </p:spPr>
        <p:txBody>
          <a:bodyPr wrap="square" rtlCol="0">
            <a:spAutoFit/>
          </a:bodyPr>
          <a:lstStyle/>
          <a:p>
            <a:pPr>
              <a:spcAft>
                <a:spcPts val="1800"/>
              </a:spcAft>
            </a:pPr>
            <a:r>
              <a:rPr lang="en-US" sz="1600" noProof="0">
                <a:latin typeface="Arial" panose="020B0604020202020204" pitchFamily="34" charset="0"/>
                <a:cs typeface="Arial" panose="020B0604020202020204" pitchFamily="34" charset="0"/>
              </a:rPr>
              <a:t>A </a:t>
            </a:r>
            <a:r>
              <a:rPr lang="en-US" sz="1600" b="1" noProof="0">
                <a:latin typeface="Arial" panose="020B0604020202020204" pitchFamily="34" charset="0"/>
                <a:cs typeface="Arial" panose="020B0604020202020204" pitchFamily="34" charset="0"/>
              </a:rPr>
              <a:t>chronic disease</a:t>
            </a:r>
            <a:r>
              <a:rPr lang="en-US" sz="1600" noProof="0">
                <a:latin typeface="Arial" panose="020B0604020202020204" pitchFamily="34" charset="0"/>
                <a:cs typeface="Arial" panose="020B0604020202020204" pitchFamily="34" charset="0"/>
              </a:rPr>
              <a:t> receiving timely, evidence-based treatment, with the aim to induce improvement (or remission, when possible) of clinical manifestations of obesity and prevent progression to end-organ damage</a:t>
            </a:r>
          </a:p>
          <a:p>
            <a:pPr>
              <a:spcAft>
                <a:spcPts val="1800"/>
              </a:spcAft>
            </a:pPr>
            <a:r>
              <a:rPr lang="en-US" sz="1600" noProof="0">
                <a:latin typeface="Arial" panose="020B0604020202020204" pitchFamily="34" charset="0"/>
                <a:cs typeface="Arial" panose="020B0604020202020204" pitchFamily="34" charset="0"/>
              </a:rPr>
              <a:t>Bias-free and timely, as stigma toward patients with obesity is a key barrier to effective treatment access</a:t>
            </a:r>
          </a:p>
          <a:p>
            <a:pPr>
              <a:spcAft>
                <a:spcPts val="1800"/>
              </a:spcAft>
            </a:pPr>
            <a:endParaRPr lang="en-US" sz="1600" noProof="0">
              <a:latin typeface="Arial" panose="020B0604020202020204" pitchFamily="34" charset="0"/>
              <a:cs typeface="Arial" panose="020B0604020202020204" pitchFamily="34" charset="0"/>
            </a:endParaRPr>
          </a:p>
        </p:txBody>
      </p:sp>
      <p:pic>
        <p:nvPicPr>
          <p:cNvPr id="81" name="Graphic 80">
            <a:extLst>
              <a:ext uri="{FF2B5EF4-FFF2-40B4-BE49-F238E27FC236}">
                <a16:creationId xmlns:a16="http://schemas.microsoft.com/office/drawing/2014/main" id="{4A4EC197-8226-80A8-257A-3CE1D3017B5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550767" y="2952130"/>
            <a:ext cx="416216" cy="416216"/>
          </a:xfrm>
          <a:prstGeom prst="rect">
            <a:avLst/>
          </a:prstGeom>
        </p:spPr>
      </p:pic>
      <p:sp>
        <p:nvSpPr>
          <p:cNvPr id="82" name="Isosceles Triangle 81">
            <a:extLst>
              <a:ext uri="{FF2B5EF4-FFF2-40B4-BE49-F238E27FC236}">
                <a16:creationId xmlns:a16="http://schemas.microsoft.com/office/drawing/2014/main" id="{4EBC9FD0-AE15-77E3-F0A1-9618ECEFAC3A}"/>
              </a:ext>
            </a:extLst>
          </p:cNvPr>
          <p:cNvSpPr/>
          <p:nvPr/>
        </p:nvSpPr>
        <p:spPr>
          <a:xfrm rot="5400000">
            <a:off x="66898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83" name="Isosceles Triangle 82">
            <a:extLst>
              <a:ext uri="{FF2B5EF4-FFF2-40B4-BE49-F238E27FC236}">
                <a16:creationId xmlns:a16="http://schemas.microsoft.com/office/drawing/2014/main" id="{334B74CC-52F7-E86E-7005-F242077FC729}"/>
              </a:ext>
            </a:extLst>
          </p:cNvPr>
          <p:cNvSpPr/>
          <p:nvPr/>
        </p:nvSpPr>
        <p:spPr>
          <a:xfrm rot="5400000">
            <a:off x="68223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84" name="Graphic 83">
            <a:extLst>
              <a:ext uri="{FF2B5EF4-FFF2-40B4-BE49-F238E27FC236}">
                <a16:creationId xmlns:a16="http://schemas.microsoft.com/office/drawing/2014/main" id="{F2B6D119-E99A-231A-A3DD-B3FDB5B82D9D}"/>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550767" y="4679959"/>
            <a:ext cx="416216" cy="416216"/>
          </a:xfrm>
          <a:prstGeom prst="rect">
            <a:avLst/>
          </a:prstGeom>
        </p:spPr>
      </p:pic>
      <p:sp>
        <p:nvSpPr>
          <p:cNvPr id="7" name="TextBox 6">
            <a:extLst>
              <a:ext uri="{FF2B5EF4-FFF2-40B4-BE49-F238E27FC236}">
                <a16:creationId xmlns:a16="http://schemas.microsoft.com/office/drawing/2014/main" id="{4D228D54-A601-3119-5496-D692FB892DFF}"/>
              </a:ext>
            </a:extLst>
          </p:cNvPr>
          <p:cNvSpPr txBox="1"/>
          <p:nvPr/>
        </p:nvSpPr>
        <p:spPr>
          <a:xfrm>
            <a:off x="3826293" y="3134747"/>
            <a:ext cx="478386" cy="246221"/>
          </a:xfrm>
          <a:prstGeom prst="rect">
            <a:avLst/>
          </a:prstGeom>
          <a:noFill/>
        </p:spPr>
        <p:txBody>
          <a:bodyPr wrap="square">
            <a:spAutoFit/>
          </a:bodyPr>
          <a:lstStyle/>
          <a:p>
            <a:pPr algn="ctr"/>
            <a:r>
              <a:rPr lang="en-US" sz="1000" noProof="0" dirty="0">
                <a:latin typeface="Arial" panose="020B0604020202020204" pitchFamily="34" charset="0"/>
                <a:cs typeface="Arial" panose="020B0604020202020204" pitchFamily="34" charset="0"/>
              </a:rPr>
              <a:t>OSA</a:t>
            </a:r>
          </a:p>
        </p:txBody>
      </p:sp>
      <p:sp>
        <p:nvSpPr>
          <p:cNvPr id="9" name="TextBox 8">
            <a:extLst>
              <a:ext uri="{FF2B5EF4-FFF2-40B4-BE49-F238E27FC236}">
                <a16:creationId xmlns:a16="http://schemas.microsoft.com/office/drawing/2014/main" id="{D5109856-EF01-B581-4678-C603DEFAEF19}"/>
              </a:ext>
            </a:extLst>
          </p:cNvPr>
          <p:cNvSpPr txBox="1"/>
          <p:nvPr/>
        </p:nvSpPr>
        <p:spPr>
          <a:xfrm>
            <a:off x="6002875" y="3462437"/>
            <a:ext cx="736600" cy="246221"/>
          </a:xfrm>
          <a:prstGeom prst="rect">
            <a:avLst/>
          </a:prstGeom>
          <a:noFill/>
        </p:spPr>
        <p:txBody>
          <a:bodyPr wrap="square">
            <a:spAutoFit/>
          </a:bodyPr>
          <a:lstStyle/>
          <a:p>
            <a:pPr algn="ctr"/>
            <a:r>
              <a:rPr lang="en-US" sz="1000" noProof="0" dirty="0">
                <a:latin typeface="Arial" panose="020B0604020202020204" pitchFamily="34" charset="0"/>
                <a:cs typeface="Arial" panose="020B0604020202020204" pitchFamily="34" charset="0"/>
              </a:rPr>
              <a:t>CVD</a:t>
            </a:r>
          </a:p>
        </p:txBody>
      </p:sp>
      <p:sp>
        <p:nvSpPr>
          <p:cNvPr id="10" name="TextBox 9">
            <a:extLst>
              <a:ext uri="{FF2B5EF4-FFF2-40B4-BE49-F238E27FC236}">
                <a16:creationId xmlns:a16="http://schemas.microsoft.com/office/drawing/2014/main" id="{E3104EDB-C805-84C6-53C5-96B6C3AE8E67}"/>
              </a:ext>
            </a:extLst>
          </p:cNvPr>
          <p:cNvSpPr txBox="1"/>
          <p:nvPr/>
        </p:nvSpPr>
        <p:spPr>
          <a:xfrm>
            <a:off x="3828429" y="4228867"/>
            <a:ext cx="476250" cy="246221"/>
          </a:xfrm>
          <a:prstGeom prst="rect">
            <a:avLst/>
          </a:prstGeom>
          <a:noFill/>
        </p:spPr>
        <p:txBody>
          <a:bodyPr wrap="square">
            <a:spAutoFit/>
          </a:bodyPr>
          <a:lstStyle/>
          <a:p>
            <a:pPr algn="ctr"/>
            <a:r>
              <a:rPr lang="en-US" sz="1000" noProof="0">
                <a:latin typeface="Arial" panose="020B0604020202020204" pitchFamily="34" charset="0"/>
                <a:cs typeface="Arial" panose="020B0604020202020204" pitchFamily="34" charset="0"/>
              </a:rPr>
              <a:t>OA</a:t>
            </a:r>
          </a:p>
        </p:txBody>
      </p:sp>
      <p:sp>
        <p:nvSpPr>
          <p:cNvPr id="12" name="TextBox 11">
            <a:extLst>
              <a:ext uri="{FF2B5EF4-FFF2-40B4-BE49-F238E27FC236}">
                <a16:creationId xmlns:a16="http://schemas.microsoft.com/office/drawing/2014/main" id="{E818E010-B00A-C7A9-FE15-21068AD3F716}"/>
              </a:ext>
            </a:extLst>
          </p:cNvPr>
          <p:cNvSpPr txBox="1"/>
          <p:nvPr/>
        </p:nvSpPr>
        <p:spPr>
          <a:xfrm>
            <a:off x="5918716" y="3689117"/>
            <a:ext cx="736600" cy="246221"/>
          </a:xfrm>
          <a:prstGeom prst="rect">
            <a:avLst/>
          </a:prstGeom>
          <a:noFill/>
        </p:spPr>
        <p:txBody>
          <a:bodyPr wrap="square">
            <a:spAutoFit/>
          </a:bodyPr>
          <a:lstStyle/>
          <a:p>
            <a:pPr algn="ctr"/>
            <a:r>
              <a:rPr lang="en-US" sz="1000" noProof="0" dirty="0">
                <a:latin typeface="Arial" panose="020B0604020202020204" pitchFamily="34" charset="0"/>
                <a:cs typeface="Arial" panose="020B0604020202020204" pitchFamily="34" charset="0"/>
              </a:rPr>
              <a:t>CKD</a:t>
            </a:r>
          </a:p>
        </p:txBody>
      </p:sp>
      <p:cxnSp>
        <p:nvCxnSpPr>
          <p:cNvPr id="6" name="Straight Arrow Connector 5">
            <a:extLst>
              <a:ext uri="{FF2B5EF4-FFF2-40B4-BE49-F238E27FC236}">
                <a16:creationId xmlns:a16="http://schemas.microsoft.com/office/drawing/2014/main" id="{A3529EF5-0996-9658-6D00-D6E53D2DE713}"/>
              </a:ext>
            </a:extLst>
          </p:cNvPr>
          <p:cNvCxnSpPr>
            <a:cxnSpLocks/>
          </p:cNvCxnSpPr>
          <p:nvPr/>
        </p:nvCxnSpPr>
        <p:spPr>
          <a:xfrm>
            <a:off x="4138627" y="3492214"/>
            <a:ext cx="709144" cy="0"/>
          </a:xfrm>
          <a:prstGeom prst="straightConnector1">
            <a:avLst/>
          </a:prstGeom>
          <a:ln w="9525" cap="rnd">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674B082-5C8A-77DE-2414-07414B41D5AF}"/>
              </a:ext>
            </a:extLst>
          </p:cNvPr>
          <p:cNvSpPr txBox="1"/>
          <p:nvPr/>
        </p:nvSpPr>
        <p:spPr>
          <a:xfrm>
            <a:off x="3756069" y="3369104"/>
            <a:ext cx="478386" cy="246221"/>
          </a:xfrm>
          <a:prstGeom prst="rect">
            <a:avLst/>
          </a:prstGeom>
          <a:noFill/>
        </p:spPr>
        <p:txBody>
          <a:bodyPr wrap="square">
            <a:spAutoFit/>
          </a:bodyPr>
          <a:lstStyle/>
          <a:p>
            <a:pPr algn="ctr"/>
            <a:r>
              <a:rPr lang="en-US" sz="1000" noProof="0" dirty="0">
                <a:latin typeface="Arial" panose="020B0604020202020204" pitchFamily="34" charset="0"/>
                <a:cs typeface="Arial" panose="020B0604020202020204" pitchFamily="34" charset="0"/>
              </a:rPr>
              <a:t>HTN</a:t>
            </a:r>
          </a:p>
        </p:txBody>
      </p:sp>
    </p:spTree>
    <p:extLst>
      <p:ext uri="{BB962C8B-B14F-4D97-AF65-F5344CB8AC3E}">
        <p14:creationId xmlns:p14="http://schemas.microsoft.com/office/powerpoint/2010/main" val="118777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4FEBE87-5F96-3F69-DC0D-7CDA720094D0}"/>
              </a:ext>
            </a:extLst>
          </p:cNvPr>
          <p:cNvSpPr/>
          <p:nvPr/>
        </p:nvSpPr>
        <p:spPr>
          <a:xfrm>
            <a:off x="0" y="1838690"/>
            <a:ext cx="12192000" cy="3541030"/>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F6F01A21-72C2-48B7-8FEC-C4121EED19C4}"/>
              </a:ext>
            </a:extLst>
          </p:cNvPr>
          <p:cNvSpPr>
            <a:spLocks noGrp="1"/>
          </p:cNvSpPr>
          <p:nvPr>
            <p:ph type="title"/>
          </p:nvPr>
        </p:nvSpPr>
        <p:spPr/>
        <p:txBody>
          <a:bodyPr>
            <a:normAutofit/>
          </a:bodyPr>
          <a:lstStyle/>
          <a:p>
            <a:r>
              <a:rPr lang="en-US" noProof="0"/>
              <a:t>Significant </a:t>
            </a:r>
            <a:r>
              <a:rPr lang="en-US" b="1" noProof="0"/>
              <a:t>unmet need </a:t>
            </a:r>
            <a:r>
              <a:rPr lang="en-US" noProof="0"/>
              <a:t>in obesity management</a:t>
            </a:r>
          </a:p>
        </p:txBody>
      </p:sp>
      <p:sp>
        <p:nvSpPr>
          <p:cNvPr id="4" name="Text Placeholder 3">
            <a:extLst>
              <a:ext uri="{FF2B5EF4-FFF2-40B4-BE49-F238E27FC236}">
                <a16:creationId xmlns:a16="http://schemas.microsoft.com/office/drawing/2014/main" id="{79D32532-B692-3D35-4675-26D88D002855}"/>
              </a:ext>
            </a:extLst>
          </p:cNvPr>
          <p:cNvSpPr>
            <a:spLocks noGrp="1"/>
          </p:cNvSpPr>
          <p:nvPr>
            <p:ph type="body" sz="quarter" idx="13"/>
          </p:nvPr>
        </p:nvSpPr>
        <p:spPr/>
        <p:txBody>
          <a:bodyPr/>
          <a:lstStyle/>
          <a:p>
            <a:r>
              <a:rPr lang="en-US" sz="800" noProof="0">
                <a:latin typeface="+mj-lt"/>
                <a:cs typeface="Arial"/>
              </a:rPr>
              <a:t>*Includes lifestyle and behavioral counseling, anti-obesity medications, and bariatric surgery. </a:t>
            </a:r>
            <a:br>
              <a:rPr lang="en-US" sz="800" noProof="0">
                <a:latin typeface="+mj-lt"/>
                <a:cs typeface="Arial"/>
              </a:rPr>
            </a:br>
            <a:r>
              <a:rPr lang="en-US" sz="800" noProof="0">
                <a:latin typeface="+mj-lt"/>
                <a:cs typeface="Arial"/>
              </a:rPr>
              <a:t>1. Ma J et al. Obesity (Silver Spring) 2009;17:1077–1085; 2. Saxon DR et al. Obesity (Silver Spring) 2019; 27:1975–1981; 3. </a:t>
            </a:r>
            <a:r>
              <a:rPr lang="en-US" sz="800" noProof="0">
                <a:latin typeface="+mj-lt"/>
              </a:rPr>
              <a:t>Garvey WT et al. </a:t>
            </a:r>
            <a:r>
              <a:rPr lang="en-US" sz="800" noProof="0" err="1">
                <a:latin typeface="+mj-lt"/>
              </a:rPr>
              <a:t>Endocr</a:t>
            </a:r>
            <a:r>
              <a:rPr lang="en-US" sz="800" noProof="0">
                <a:latin typeface="+mj-lt"/>
              </a:rPr>
              <a:t> </a:t>
            </a:r>
            <a:r>
              <a:rPr lang="en-US" sz="800" noProof="0" err="1">
                <a:latin typeface="+mj-lt"/>
              </a:rPr>
              <a:t>Pract</a:t>
            </a:r>
            <a:r>
              <a:rPr lang="en-US" sz="800" noProof="0">
                <a:latin typeface="+mj-lt"/>
              </a:rPr>
              <a:t> 2016;22:1–203</a:t>
            </a:r>
            <a:r>
              <a:rPr lang="en-US" sz="800" noProof="0">
                <a:latin typeface="+mj-lt"/>
                <a:cs typeface="Arial"/>
              </a:rPr>
              <a:t>.</a:t>
            </a:r>
          </a:p>
        </p:txBody>
      </p:sp>
      <p:sp>
        <p:nvSpPr>
          <p:cNvPr id="329" name="Rectangle 328">
            <a:extLst>
              <a:ext uri="{FF2B5EF4-FFF2-40B4-BE49-F238E27FC236}">
                <a16:creationId xmlns:a16="http://schemas.microsoft.com/office/drawing/2014/main" id="{93B29FD6-4F18-4DE6-A1D4-4594CD9A351E}"/>
              </a:ext>
            </a:extLst>
          </p:cNvPr>
          <p:cNvSpPr/>
          <p:nvPr/>
        </p:nvSpPr>
        <p:spPr>
          <a:xfrm>
            <a:off x="9098012" y="1912462"/>
            <a:ext cx="2697480" cy="680266"/>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t"/>
          <a:lstStyle/>
          <a:p>
            <a:pPr algn="ctr" defTabSz="1219170">
              <a:defRPr/>
            </a:pPr>
            <a:r>
              <a:rPr lang="en-US" noProof="0">
                <a:solidFill>
                  <a:schemeClr val="tx1"/>
                </a:solidFill>
                <a:latin typeface="Arial" panose="020B0604020202020204" pitchFamily="34" charset="0"/>
                <a:ea typeface="Apis For Office" panose="020B0504010101010104" pitchFamily="34" charset="0"/>
                <a:cs typeface="Arial" panose="020B0604020202020204" pitchFamily="34" charset="0"/>
              </a:rPr>
              <a:t>People</a:t>
            </a:r>
            <a:r>
              <a:rPr lang="en-US" b="1" noProof="0">
                <a:solidFill>
                  <a:schemeClr val="tx1"/>
                </a:solidFill>
                <a:latin typeface="Arial" panose="020B0604020202020204" pitchFamily="34" charset="0"/>
                <a:ea typeface="Apis For Office" panose="020B0504010101010104" pitchFamily="34" charset="0"/>
                <a:cs typeface="Arial" panose="020B0604020202020204" pitchFamily="34" charset="0"/>
              </a:rPr>
              <a:t> prescribed</a:t>
            </a:r>
            <a:br>
              <a:rPr lang="en-US" noProof="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noProof="0">
                <a:solidFill>
                  <a:schemeClr val="tx1"/>
                </a:solidFill>
                <a:latin typeface="Arial" panose="020B0604020202020204" pitchFamily="34" charset="0"/>
                <a:ea typeface="Apis For Office" panose="020B0504010101010104" pitchFamily="34" charset="0"/>
                <a:cs typeface="Arial" panose="020B0604020202020204" pitchFamily="34" charset="0"/>
              </a:rPr>
              <a:t>anti-obesity medication</a:t>
            </a:r>
            <a:r>
              <a:rPr lang="en-US" b="1" baseline="30000" noProof="0">
                <a:solidFill>
                  <a:schemeClr val="tx1"/>
                </a:solidFill>
                <a:latin typeface="Arial" panose="020B0604020202020204" pitchFamily="34" charset="0"/>
                <a:ea typeface="Apis For Office" panose="020B0504010101010104" pitchFamily="34" charset="0"/>
                <a:cs typeface="Arial" panose="020B0604020202020204" pitchFamily="34" charset="0"/>
              </a:rPr>
              <a:t>2</a:t>
            </a:r>
          </a:p>
        </p:txBody>
      </p:sp>
      <p:sp>
        <p:nvSpPr>
          <p:cNvPr id="308" name="Rectangle 307">
            <a:extLst>
              <a:ext uri="{FF2B5EF4-FFF2-40B4-BE49-F238E27FC236}">
                <a16:creationId xmlns:a16="http://schemas.microsoft.com/office/drawing/2014/main" id="{43676F02-91CB-47DD-B148-9FBBD7F094C5}"/>
              </a:ext>
            </a:extLst>
          </p:cNvPr>
          <p:cNvSpPr/>
          <p:nvPr/>
        </p:nvSpPr>
        <p:spPr>
          <a:xfrm>
            <a:off x="487744" y="1912462"/>
            <a:ext cx="2697480" cy="666421"/>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t"/>
          <a:lstStyle/>
          <a:p>
            <a:pPr algn="ctr" defTabSz="1219170">
              <a:defRPr/>
            </a:pPr>
            <a:r>
              <a:rPr lang="en-US" noProof="0">
                <a:solidFill>
                  <a:schemeClr val="tx1"/>
                </a:solidFill>
                <a:latin typeface="Arial" panose="020B0604020202020204" pitchFamily="34" charset="0"/>
                <a:ea typeface="Apis For Office" panose="020B0504010101010104" pitchFamily="34" charset="0"/>
                <a:cs typeface="Arial" panose="020B0604020202020204" pitchFamily="34" charset="0"/>
              </a:rPr>
              <a:t>People</a:t>
            </a:r>
            <a:r>
              <a:rPr lang="en-US" b="1" noProof="0">
                <a:solidFill>
                  <a:schemeClr val="tx1"/>
                </a:solidFill>
                <a:latin typeface="Arial" panose="020B0604020202020204" pitchFamily="34" charset="0"/>
                <a:ea typeface="Apis For Office" panose="020B0504010101010104" pitchFamily="34" charset="0"/>
                <a:cs typeface="Arial" panose="020B0604020202020204" pitchFamily="34" charset="0"/>
              </a:rPr>
              <a:t> living </a:t>
            </a:r>
            <a:br>
              <a:rPr lang="en-US" b="1" noProof="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noProof="0">
                <a:solidFill>
                  <a:schemeClr val="tx1"/>
                </a:solidFill>
                <a:latin typeface="Arial" panose="020B0604020202020204" pitchFamily="34" charset="0"/>
                <a:ea typeface="Apis For Office" panose="020B0504010101010104" pitchFamily="34" charset="0"/>
                <a:cs typeface="Arial" panose="020B0604020202020204" pitchFamily="34" charset="0"/>
              </a:rPr>
              <a:t>with obesity </a:t>
            </a:r>
            <a:endParaRPr lang="en-US" b="1" noProof="0">
              <a:solidFill>
                <a:schemeClr val="tx1"/>
              </a:solidFill>
              <a:latin typeface="Arial" panose="020B0604020202020204" pitchFamily="34" charset="0"/>
              <a:ea typeface="Apis For Office" panose="020B0504010101010104" pitchFamily="34" charset="0"/>
              <a:cs typeface="Arial" panose="020B0604020202020204" pitchFamily="34" charset="0"/>
            </a:endParaRPr>
          </a:p>
        </p:txBody>
      </p:sp>
      <p:sp>
        <p:nvSpPr>
          <p:cNvPr id="327" name="Rectangle 326">
            <a:extLst>
              <a:ext uri="{FF2B5EF4-FFF2-40B4-BE49-F238E27FC236}">
                <a16:creationId xmlns:a16="http://schemas.microsoft.com/office/drawing/2014/main" id="{ADEA8DD2-CCEC-47CC-A321-F3FE6E568D52}"/>
              </a:ext>
            </a:extLst>
          </p:cNvPr>
          <p:cNvSpPr/>
          <p:nvPr/>
        </p:nvSpPr>
        <p:spPr>
          <a:xfrm>
            <a:off x="3224885" y="1920082"/>
            <a:ext cx="2697480" cy="680266"/>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t"/>
          <a:lstStyle/>
          <a:p>
            <a:pPr algn="ctr" defTabSz="1219170">
              <a:defRPr/>
            </a:pPr>
            <a:r>
              <a:rPr lang="en-US" noProof="0">
                <a:solidFill>
                  <a:schemeClr val="tx1"/>
                </a:solidFill>
                <a:latin typeface="Arial" panose="020B0604020202020204" pitchFamily="34" charset="0"/>
                <a:ea typeface="Apis For Office" panose="020B0504010101010104" pitchFamily="34" charset="0"/>
                <a:cs typeface="Arial" panose="020B0604020202020204" pitchFamily="34" charset="0"/>
              </a:rPr>
              <a:t>People</a:t>
            </a:r>
            <a:r>
              <a:rPr lang="en-US" b="1" noProof="0">
                <a:solidFill>
                  <a:schemeClr val="tx1"/>
                </a:solidFill>
                <a:latin typeface="Arial" panose="020B0604020202020204" pitchFamily="34" charset="0"/>
                <a:ea typeface="Apis For Office" panose="020B0504010101010104" pitchFamily="34" charset="0"/>
                <a:cs typeface="Arial" panose="020B0604020202020204" pitchFamily="34" charset="0"/>
              </a:rPr>
              <a:t> diagnosed </a:t>
            </a:r>
            <a:br>
              <a:rPr lang="en-US" b="1" noProof="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noProof="0">
                <a:solidFill>
                  <a:schemeClr val="tx1"/>
                </a:solidFill>
                <a:latin typeface="Arial" panose="020B0604020202020204" pitchFamily="34" charset="0"/>
                <a:ea typeface="Apis For Office" panose="020B0504010101010104" pitchFamily="34" charset="0"/>
                <a:cs typeface="Arial" panose="020B0604020202020204" pitchFamily="34" charset="0"/>
              </a:rPr>
              <a:t>with obesity</a:t>
            </a:r>
            <a:r>
              <a:rPr lang="en-US" b="1" baseline="30000" noProof="0">
                <a:solidFill>
                  <a:schemeClr val="tx1"/>
                </a:solidFill>
                <a:latin typeface="Arial" panose="020B0604020202020204" pitchFamily="34" charset="0"/>
                <a:ea typeface="Apis For Office" panose="020B0504010101010104" pitchFamily="34" charset="0"/>
                <a:cs typeface="Arial" panose="020B0604020202020204" pitchFamily="34" charset="0"/>
              </a:rPr>
              <a:t>1</a:t>
            </a:r>
          </a:p>
        </p:txBody>
      </p:sp>
      <p:sp>
        <p:nvSpPr>
          <p:cNvPr id="328" name="Rectangle 327">
            <a:extLst>
              <a:ext uri="{FF2B5EF4-FFF2-40B4-BE49-F238E27FC236}">
                <a16:creationId xmlns:a16="http://schemas.microsoft.com/office/drawing/2014/main" id="{670D9A51-3300-4025-A612-E7F6DDA88378}"/>
              </a:ext>
            </a:extLst>
          </p:cNvPr>
          <p:cNvSpPr/>
          <p:nvPr/>
        </p:nvSpPr>
        <p:spPr>
          <a:xfrm>
            <a:off x="5737581" y="1912462"/>
            <a:ext cx="3330574" cy="680266"/>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t"/>
          <a:lstStyle/>
          <a:p>
            <a:pPr algn="ctr" defTabSz="1219170">
              <a:defRPr/>
            </a:pPr>
            <a:r>
              <a:rPr lang="en-US" noProof="0">
                <a:solidFill>
                  <a:schemeClr val="tx1"/>
                </a:solidFill>
                <a:latin typeface="Arial" panose="020B0604020202020204" pitchFamily="34" charset="0"/>
                <a:ea typeface="Apis For Office" panose="020B0504010101010104" pitchFamily="34" charset="0"/>
                <a:cs typeface="Arial" panose="020B0604020202020204" pitchFamily="34" charset="0"/>
              </a:rPr>
              <a:t>People</a:t>
            </a:r>
            <a:r>
              <a:rPr lang="en-US" b="1" noProof="0">
                <a:solidFill>
                  <a:schemeClr val="tx1"/>
                </a:solidFill>
                <a:latin typeface="Arial" panose="020B0604020202020204" pitchFamily="34" charset="0"/>
                <a:ea typeface="Apis For Office" panose="020B0504010101010104" pitchFamily="34" charset="0"/>
                <a:cs typeface="Arial" panose="020B0604020202020204" pitchFamily="34" charset="0"/>
              </a:rPr>
              <a:t> receiving </a:t>
            </a:r>
            <a:r>
              <a:rPr lang="en-US" noProof="0">
                <a:solidFill>
                  <a:schemeClr val="tx1"/>
                </a:solidFill>
                <a:latin typeface="Arial" panose="020B0604020202020204" pitchFamily="34" charset="0"/>
                <a:ea typeface="Apis For Office" panose="020B0504010101010104" pitchFamily="34" charset="0"/>
                <a:cs typeface="Arial" panose="020B0604020202020204" pitchFamily="34" charset="0"/>
              </a:rPr>
              <a:t>evidence-based anti-obesity treatment</a:t>
            </a:r>
            <a:r>
              <a:rPr lang="en-US" baseline="30000" noProof="0">
                <a:solidFill>
                  <a:schemeClr val="tx1"/>
                </a:solidFill>
                <a:latin typeface="Arial" panose="020B0604020202020204" pitchFamily="34" charset="0"/>
                <a:ea typeface="Apis For Office" panose="020B0504010101010104" pitchFamily="34" charset="0"/>
                <a:cs typeface="Arial" panose="020B0604020202020204" pitchFamily="34" charset="0"/>
              </a:rPr>
              <a:t>*</a:t>
            </a:r>
            <a:r>
              <a:rPr lang="en-US" b="1" baseline="30000" noProof="0">
                <a:solidFill>
                  <a:schemeClr val="tx1"/>
                </a:solidFill>
                <a:latin typeface="Arial" panose="020B0604020202020204" pitchFamily="34" charset="0"/>
                <a:ea typeface="Apis For Office" panose="020B0504010101010104" pitchFamily="34" charset="0"/>
                <a:cs typeface="Arial" panose="020B0604020202020204" pitchFamily="34" charset="0"/>
              </a:rPr>
              <a:t>1</a:t>
            </a:r>
          </a:p>
        </p:txBody>
      </p:sp>
      <p:sp>
        <p:nvSpPr>
          <p:cNvPr id="11" name="Rectangle: Rounded Corners 10">
            <a:extLst>
              <a:ext uri="{FF2B5EF4-FFF2-40B4-BE49-F238E27FC236}">
                <a16:creationId xmlns:a16="http://schemas.microsoft.com/office/drawing/2014/main" id="{54D7008C-C4A9-D38D-521C-09BA32C361B4}"/>
              </a:ext>
            </a:extLst>
          </p:cNvPr>
          <p:cNvSpPr/>
          <p:nvPr/>
        </p:nvSpPr>
        <p:spPr>
          <a:xfrm>
            <a:off x="1506500" y="5153978"/>
            <a:ext cx="9245320" cy="4724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r>
              <a:rPr lang="en-US" sz="2000" noProof="0">
                <a:solidFill>
                  <a:schemeClr val="bg1"/>
                </a:solidFill>
                <a:effectLst/>
                <a:latin typeface="Arial"/>
                <a:cs typeface="Arial"/>
              </a:rPr>
              <a:t>Most people living with obesity </a:t>
            </a:r>
            <a:r>
              <a:rPr lang="en-US" sz="2000" b="1" noProof="0">
                <a:solidFill>
                  <a:schemeClr val="bg1"/>
                </a:solidFill>
                <a:effectLst/>
                <a:latin typeface="Arial"/>
                <a:cs typeface="Arial"/>
              </a:rPr>
              <a:t>do not receive effective obesity </a:t>
            </a:r>
            <a:r>
              <a:rPr lang="en-US" sz="2000" b="1" noProof="0">
                <a:solidFill>
                  <a:schemeClr val="bg1"/>
                </a:solidFill>
                <a:latin typeface="Arial"/>
                <a:cs typeface="Arial"/>
              </a:rPr>
              <a:t>treatment</a:t>
            </a:r>
            <a:r>
              <a:rPr lang="en-US" sz="2000" baseline="30000" noProof="0">
                <a:solidFill>
                  <a:schemeClr val="bg1"/>
                </a:solidFill>
                <a:latin typeface="Arial"/>
                <a:cs typeface="Arial"/>
              </a:rPr>
              <a:t>*,1–3</a:t>
            </a:r>
            <a:endParaRPr kumimoji="0" lang="en-US" sz="1200" b="0" i="0" u="none" strike="noStrike" kern="0" cap="none" spc="0" normalizeH="0" baseline="30000" noProof="0">
              <a:ln>
                <a:noFill/>
              </a:ln>
              <a:solidFill>
                <a:schemeClr val="bg1"/>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graphicFrame>
        <p:nvGraphicFramePr>
          <p:cNvPr id="17" name="Chart 16">
            <a:extLst>
              <a:ext uri="{FF2B5EF4-FFF2-40B4-BE49-F238E27FC236}">
                <a16:creationId xmlns:a16="http://schemas.microsoft.com/office/drawing/2014/main" id="{CAAFE49A-FE57-FB6D-D607-8EBF68ED293F}"/>
              </a:ext>
            </a:extLst>
          </p:cNvPr>
          <p:cNvGraphicFramePr/>
          <p:nvPr/>
        </p:nvGraphicFramePr>
        <p:xfrm>
          <a:off x="2293" y="2713662"/>
          <a:ext cx="3668382" cy="2445586"/>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285A4F31-AFC2-B582-B125-72BD7E70F241}"/>
              </a:ext>
            </a:extLst>
          </p:cNvPr>
          <p:cNvSpPr txBox="1"/>
          <p:nvPr/>
        </p:nvSpPr>
        <p:spPr>
          <a:xfrm>
            <a:off x="1308038" y="3590400"/>
            <a:ext cx="1043554" cy="603691"/>
          </a:xfrm>
          <a:prstGeom prst="rect">
            <a:avLst/>
          </a:prstGeom>
          <a:noFill/>
        </p:spPr>
        <p:txBody>
          <a:bodyPr wrap="none" lIns="0" tIns="0" rIns="0" bIns="0" rtlCol="0">
            <a:spAutoFit/>
          </a:bodyPr>
          <a:lstStyle/>
          <a:p>
            <a:pPr algn="ctr">
              <a:lnSpc>
                <a:spcPct val="120000"/>
              </a:lnSpc>
            </a:pPr>
            <a:r>
              <a:rPr lang="en-US" sz="3600" b="1" noProof="0"/>
              <a:t>100</a:t>
            </a:r>
            <a:r>
              <a:rPr lang="en-US" sz="2400" noProof="0"/>
              <a:t>%</a:t>
            </a:r>
            <a:endParaRPr lang="en-US" sz="3600" noProof="0"/>
          </a:p>
        </p:txBody>
      </p:sp>
      <p:graphicFrame>
        <p:nvGraphicFramePr>
          <p:cNvPr id="19" name="Chart 18">
            <a:extLst>
              <a:ext uri="{FF2B5EF4-FFF2-40B4-BE49-F238E27FC236}">
                <a16:creationId xmlns:a16="http://schemas.microsoft.com/office/drawing/2014/main" id="{5061F15C-9734-4B6C-98F4-0E531B25C584}"/>
              </a:ext>
            </a:extLst>
          </p:cNvPr>
          <p:cNvGraphicFramePr/>
          <p:nvPr/>
        </p:nvGraphicFramePr>
        <p:xfrm>
          <a:off x="2742623" y="2713662"/>
          <a:ext cx="3668382" cy="2445586"/>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B632E0BB-D17A-8FC8-2C47-AA967CF59805}"/>
              </a:ext>
            </a:extLst>
          </p:cNvPr>
          <p:cNvSpPr txBox="1"/>
          <p:nvPr/>
        </p:nvSpPr>
        <p:spPr>
          <a:xfrm>
            <a:off x="4207087" y="3590400"/>
            <a:ext cx="787075" cy="603691"/>
          </a:xfrm>
          <a:prstGeom prst="rect">
            <a:avLst/>
          </a:prstGeom>
          <a:noFill/>
        </p:spPr>
        <p:txBody>
          <a:bodyPr wrap="none" lIns="0" tIns="0" rIns="0" bIns="0" rtlCol="0">
            <a:spAutoFit/>
          </a:bodyPr>
          <a:lstStyle/>
          <a:p>
            <a:pPr algn="ctr">
              <a:lnSpc>
                <a:spcPct val="120000"/>
              </a:lnSpc>
            </a:pPr>
            <a:r>
              <a:rPr lang="en-US" sz="3600" b="1" noProof="0"/>
              <a:t>40</a:t>
            </a:r>
            <a:r>
              <a:rPr lang="en-US" sz="2400" noProof="0"/>
              <a:t>%</a:t>
            </a:r>
            <a:endParaRPr lang="en-US" sz="3600" noProof="0"/>
          </a:p>
        </p:txBody>
      </p:sp>
      <p:graphicFrame>
        <p:nvGraphicFramePr>
          <p:cNvPr id="21" name="Chart 20">
            <a:extLst>
              <a:ext uri="{FF2B5EF4-FFF2-40B4-BE49-F238E27FC236}">
                <a16:creationId xmlns:a16="http://schemas.microsoft.com/office/drawing/2014/main" id="{EB3BA50C-0FAE-17F3-2639-B0F75FDCA83B}"/>
              </a:ext>
            </a:extLst>
          </p:cNvPr>
          <p:cNvGraphicFramePr/>
          <p:nvPr/>
        </p:nvGraphicFramePr>
        <p:xfrm>
          <a:off x="5591537" y="2713662"/>
          <a:ext cx="3668382" cy="2445586"/>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a:extLst>
              <a:ext uri="{FF2B5EF4-FFF2-40B4-BE49-F238E27FC236}">
                <a16:creationId xmlns:a16="http://schemas.microsoft.com/office/drawing/2014/main" id="{EA1C6CA9-375A-6D09-864A-633285692BF9}"/>
              </a:ext>
            </a:extLst>
          </p:cNvPr>
          <p:cNvSpPr txBox="1"/>
          <p:nvPr/>
        </p:nvSpPr>
        <p:spPr>
          <a:xfrm>
            <a:off x="6903783" y="3590400"/>
            <a:ext cx="1056378" cy="603691"/>
          </a:xfrm>
          <a:prstGeom prst="rect">
            <a:avLst/>
          </a:prstGeom>
          <a:noFill/>
        </p:spPr>
        <p:txBody>
          <a:bodyPr wrap="none" lIns="0" tIns="0" rIns="0" bIns="0" rtlCol="0">
            <a:spAutoFit/>
          </a:bodyPr>
          <a:lstStyle/>
          <a:p>
            <a:pPr algn="ctr">
              <a:lnSpc>
                <a:spcPct val="120000"/>
              </a:lnSpc>
            </a:pPr>
            <a:r>
              <a:rPr lang="en-US" sz="3600" b="1" noProof="0"/>
              <a:t>&lt;20</a:t>
            </a:r>
            <a:r>
              <a:rPr lang="en-US" sz="2400" noProof="0"/>
              <a:t>%</a:t>
            </a:r>
            <a:endParaRPr lang="en-US" sz="3600" noProof="0"/>
          </a:p>
        </p:txBody>
      </p:sp>
      <p:graphicFrame>
        <p:nvGraphicFramePr>
          <p:cNvPr id="23" name="Chart 22">
            <a:extLst>
              <a:ext uri="{FF2B5EF4-FFF2-40B4-BE49-F238E27FC236}">
                <a16:creationId xmlns:a16="http://schemas.microsoft.com/office/drawing/2014/main" id="{2527DE85-B9EE-FBB6-1D5B-ADE190CB3A1C}"/>
              </a:ext>
            </a:extLst>
          </p:cNvPr>
          <p:cNvGraphicFramePr/>
          <p:nvPr/>
        </p:nvGraphicFramePr>
        <p:xfrm>
          <a:off x="8584578" y="2713662"/>
          <a:ext cx="3668382" cy="2445586"/>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1B66580A-F374-835A-170A-2DFAFBAD1390}"/>
              </a:ext>
            </a:extLst>
          </p:cNvPr>
          <p:cNvSpPr txBox="1"/>
          <p:nvPr/>
        </p:nvSpPr>
        <p:spPr>
          <a:xfrm>
            <a:off x="9998312" y="3590400"/>
            <a:ext cx="915315" cy="603691"/>
          </a:xfrm>
          <a:prstGeom prst="rect">
            <a:avLst/>
          </a:prstGeom>
          <a:noFill/>
        </p:spPr>
        <p:txBody>
          <a:bodyPr wrap="none" lIns="0" tIns="0" rIns="0" bIns="0" rtlCol="0">
            <a:spAutoFit/>
          </a:bodyPr>
          <a:lstStyle/>
          <a:p>
            <a:pPr algn="ctr">
              <a:lnSpc>
                <a:spcPct val="120000"/>
              </a:lnSpc>
            </a:pPr>
            <a:r>
              <a:rPr lang="en-US" sz="3600" b="1" noProof="0"/>
              <a:t>1.3</a:t>
            </a:r>
            <a:r>
              <a:rPr lang="en-US" sz="2400" noProof="0"/>
              <a:t>%</a:t>
            </a:r>
            <a:endParaRPr lang="en-US" sz="3600" noProof="0"/>
          </a:p>
        </p:txBody>
      </p:sp>
      <p:sp>
        <p:nvSpPr>
          <p:cNvPr id="25" name="Isosceles Triangle 24">
            <a:extLst>
              <a:ext uri="{FF2B5EF4-FFF2-40B4-BE49-F238E27FC236}">
                <a16:creationId xmlns:a16="http://schemas.microsoft.com/office/drawing/2014/main" id="{7612BA1A-CF49-20F7-77D0-4085CD4F4134}"/>
              </a:ext>
            </a:extLst>
          </p:cNvPr>
          <p:cNvSpPr/>
          <p:nvPr/>
        </p:nvSpPr>
        <p:spPr>
          <a:xfrm rot="10800000">
            <a:off x="1703858" y="2566077"/>
            <a:ext cx="228600" cy="197069"/>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6" name="Isosceles Triangle 25">
            <a:extLst>
              <a:ext uri="{FF2B5EF4-FFF2-40B4-BE49-F238E27FC236}">
                <a16:creationId xmlns:a16="http://schemas.microsoft.com/office/drawing/2014/main" id="{D4F83303-07FD-BC91-41FB-780F4FFFC126}"/>
              </a:ext>
            </a:extLst>
          </p:cNvPr>
          <p:cNvSpPr/>
          <p:nvPr/>
        </p:nvSpPr>
        <p:spPr>
          <a:xfrm rot="10800000">
            <a:off x="4457971" y="2566077"/>
            <a:ext cx="228600" cy="197069"/>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7" name="Isosceles Triangle 26">
            <a:extLst>
              <a:ext uri="{FF2B5EF4-FFF2-40B4-BE49-F238E27FC236}">
                <a16:creationId xmlns:a16="http://schemas.microsoft.com/office/drawing/2014/main" id="{F7514E00-73DF-E616-944C-94FE602210C7}"/>
              </a:ext>
            </a:extLst>
          </p:cNvPr>
          <p:cNvSpPr/>
          <p:nvPr/>
        </p:nvSpPr>
        <p:spPr>
          <a:xfrm rot="10800000">
            <a:off x="7314931" y="2566077"/>
            <a:ext cx="228600" cy="197069"/>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8" name="Isosceles Triangle 27">
            <a:extLst>
              <a:ext uri="{FF2B5EF4-FFF2-40B4-BE49-F238E27FC236}">
                <a16:creationId xmlns:a16="http://schemas.microsoft.com/office/drawing/2014/main" id="{E13BD751-B5DF-1179-0EEB-D2232DFB1853}"/>
              </a:ext>
            </a:extLst>
          </p:cNvPr>
          <p:cNvSpPr/>
          <p:nvPr/>
        </p:nvSpPr>
        <p:spPr>
          <a:xfrm rot="10800000">
            <a:off x="10332452" y="2566077"/>
            <a:ext cx="228600" cy="197069"/>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Tree>
    <p:extLst>
      <p:ext uri="{BB962C8B-B14F-4D97-AF65-F5344CB8AC3E}">
        <p14:creationId xmlns:p14="http://schemas.microsoft.com/office/powerpoint/2010/main" val="396717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23B2B-2B22-13C6-5187-98CD7D35D65A}"/>
              </a:ext>
            </a:extLst>
          </p:cNvPr>
          <p:cNvSpPr>
            <a:spLocks noGrp="1"/>
          </p:cNvSpPr>
          <p:nvPr>
            <p:ph type="title"/>
          </p:nvPr>
        </p:nvSpPr>
        <p:spPr>
          <a:xfrm>
            <a:off x="536240" y="414320"/>
            <a:ext cx="10896000" cy="1082209"/>
          </a:xfrm>
        </p:spPr>
        <p:txBody>
          <a:bodyPr/>
          <a:lstStyle/>
          <a:p>
            <a:r>
              <a:rPr lang="en-US" noProof="0"/>
              <a:t>The evolving definition of obesity</a:t>
            </a:r>
          </a:p>
        </p:txBody>
      </p:sp>
      <p:sp>
        <p:nvSpPr>
          <p:cNvPr id="50" name="Text Placeholder 49">
            <a:extLst>
              <a:ext uri="{FF2B5EF4-FFF2-40B4-BE49-F238E27FC236}">
                <a16:creationId xmlns:a16="http://schemas.microsoft.com/office/drawing/2014/main" id="{20B40453-8B87-0C0D-F354-CC9D618D3A6A}"/>
              </a:ext>
            </a:extLst>
          </p:cNvPr>
          <p:cNvSpPr>
            <a:spLocks noGrp="1"/>
          </p:cNvSpPr>
          <p:nvPr>
            <p:ph type="body" sz="quarter" idx="13"/>
          </p:nvPr>
        </p:nvSpPr>
        <p:spPr>
          <a:xfrm>
            <a:off x="536240" y="6013923"/>
            <a:ext cx="10896000" cy="324000"/>
          </a:xfrm>
        </p:spPr>
        <p:txBody>
          <a:bodyPr/>
          <a:lstStyle/>
          <a:p>
            <a:r>
              <a:rPr lang="en-US" noProof="0"/>
              <a:t>.</a:t>
            </a:r>
          </a:p>
        </p:txBody>
      </p:sp>
      <p:sp>
        <p:nvSpPr>
          <p:cNvPr id="9" name="Isosceles Triangle 8">
            <a:hlinkClick r:id="" action="ppaction://hlinkshowjump?jump=nextslide"/>
            <a:extLst>
              <a:ext uri="{FF2B5EF4-FFF2-40B4-BE49-F238E27FC236}">
                <a16:creationId xmlns:a16="http://schemas.microsoft.com/office/drawing/2014/main" id="{ABCB36E1-006A-7534-2110-225220BE2A93}"/>
              </a:ext>
            </a:extLst>
          </p:cNvPr>
          <p:cNvSpPr/>
          <p:nvPr/>
        </p:nvSpPr>
        <p:spPr>
          <a:xfrm rot="5400000">
            <a:off x="9953349" y="3429002"/>
            <a:ext cx="685800" cy="591207"/>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16" name="Group 15">
            <a:extLst>
              <a:ext uri="{FF2B5EF4-FFF2-40B4-BE49-F238E27FC236}">
                <a16:creationId xmlns:a16="http://schemas.microsoft.com/office/drawing/2014/main" id="{154FCA0F-031D-5848-0DCB-A041656597D4}"/>
              </a:ext>
            </a:extLst>
          </p:cNvPr>
          <p:cNvGrpSpPr/>
          <p:nvPr/>
        </p:nvGrpSpPr>
        <p:grpSpPr>
          <a:xfrm>
            <a:off x="3189574" y="1703502"/>
            <a:ext cx="5775960" cy="3903844"/>
            <a:chOff x="3189574" y="1703502"/>
            <a:chExt cx="5775960" cy="3903844"/>
          </a:xfrm>
        </p:grpSpPr>
        <p:sp>
          <p:nvSpPr>
            <p:cNvPr id="43" name="Rectangle 42">
              <a:extLst>
                <a:ext uri="{FF2B5EF4-FFF2-40B4-BE49-F238E27FC236}">
                  <a16:creationId xmlns:a16="http://schemas.microsoft.com/office/drawing/2014/main" id="{262038C9-12AF-1772-5E7F-03410DB267DA}"/>
                </a:ext>
              </a:extLst>
            </p:cNvPr>
            <p:cNvSpPr/>
            <p:nvPr/>
          </p:nvSpPr>
          <p:spPr>
            <a:xfrm>
              <a:off x="3189574" y="1703502"/>
              <a:ext cx="5775960" cy="3903844"/>
            </a:xfrm>
            <a:prstGeom prst="rect">
              <a:avLst/>
            </a:prstGeom>
            <a:solidFill>
              <a:schemeClr val="accent2">
                <a:lumMod val="20000"/>
                <a:lumOff val="80000"/>
              </a:schemeClr>
            </a:solidFill>
            <a:ln w="9525" cap="flat" cmpd="sng" algn="ctr">
              <a:noFill/>
              <a:prstDash val="solid"/>
            </a:ln>
            <a:effectLst/>
          </p:spPr>
          <p:txBody>
            <a:bodyPr bIns="91440" rtlCol="0" anchor="b"/>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As </a:t>
              </a:r>
              <a:r>
                <a:rPr kumimoji="0" lang="en-US" sz="2000" b="1"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research evolves </a:t>
              </a:r>
              <a:r>
                <a:rPr kumimoji="0" lang="en-US" sz="2000" b="0"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and </a:t>
              </a:r>
              <a:r>
                <a:rPr kumimoji="0" lang="en-US" sz="2000" b="1"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we</a:t>
              </a:r>
              <a:r>
                <a:rPr kumimoji="0" lang="en-US" sz="2000" b="0"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 </a:t>
              </a:r>
              <a:br>
                <a:rPr kumimoji="0" lang="en-US" sz="2000" b="0"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br>
              <a:r>
                <a:rPr kumimoji="0" lang="en-US" sz="2000" b="1"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learn more </a:t>
              </a:r>
              <a:r>
                <a:rPr kumimoji="0" lang="en-US" sz="2000" b="0"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about the </a:t>
              </a:r>
              <a:r>
                <a:rPr kumimoji="0" lang="en-US" sz="2000" b="1"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underlying mechanisms contributing to obesity</a:t>
              </a:r>
              <a:r>
                <a:rPr kumimoji="0" lang="en-US" sz="2000" b="0"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 the </a:t>
              </a:r>
              <a:r>
                <a:rPr kumimoji="0" lang="en-US" sz="2000" b="1"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definition</a:t>
              </a:r>
              <a:r>
                <a:rPr kumimoji="0" lang="en-US" sz="2000" b="0"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 of the </a:t>
              </a:r>
              <a:r>
                <a:rPr kumimoji="0" lang="en-US" sz="2000" b="1"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disease</a:t>
              </a:r>
              <a:r>
                <a:rPr kumimoji="0" lang="en-US" sz="2000" b="0"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 and </a:t>
              </a:r>
              <a:r>
                <a:rPr kumimoji="0" lang="en-US" sz="2000" b="1"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rPr>
                <a:t>how it is treated evolves with it</a:t>
              </a:r>
            </a:p>
          </p:txBody>
        </p:sp>
        <p:sp>
          <p:nvSpPr>
            <p:cNvPr id="10" name="Oval 9">
              <a:extLst>
                <a:ext uri="{FF2B5EF4-FFF2-40B4-BE49-F238E27FC236}">
                  <a16:creationId xmlns:a16="http://schemas.microsoft.com/office/drawing/2014/main" id="{483E442B-60AC-745A-796C-4908A3D70DA6}"/>
                </a:ext>
              </a:extLst>
            </p:cNvPr>
            <p:cNvSpPr/>
            <p:nvPr/>
          </p:nvSpPr>
          <p:spPr>
            <a:xfrm>
              <a:off x="4982244" y="1981200"/>
              <a:ext cx="2190620" cy="219062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2" name="Graphic 11">
              <a:extLst>
                <a:ext uri="{FF2B5EF4-FFF2-40B4-BE49-F238E27FC236}">
                  <a16:creationId xmlns:a16="http://schemas.microsoft.com/office/drawing/2014/main" id="{6146D51F-B5BD-50D1-A8D6-60E68C1ED5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66628" y="2269309"/>
              <a:ext cx="1621852" cy="1621852"/>
            </a:xfrm>
            <a:prstGeom prst="rect">
              <a:avLst/>
            </a:prstGeom>
          </p:spPr>
        </p:pic>
      </p:grpSp>
      <p:sp>
        <p:nvSpPr>
          <p:cNvPr id="57" name="Rectangle: Rounded Corners 56">
            <a:extLst>
              <a:ext uri="{FF2B5EF4-FFF2-40B4-BE49-F238E27FC236}">
                <a16:creationId xmlns:a16="http://schemas.microsoft.com/office/drawing/2014/main" id="{40063999-8011-8475-1041-1A4F24FF052E}"/>
              </a:ext>
            </a:extLst>
          </p:cNvPr>
          <p:cNvSpPr/>
          <p:nvPr/>
        </p:nvSpPr>
        <p:spPr>
          <a:xfrm>
            <a:off x="11439167" y="2956882"/>
            <a:ext cx="348280" cy="1580482"/>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58" name="Group 57">
            <a:extLst>
              <a:ext uri="{FF2B5EF4-FFF2-40B4-BE49-F238E27FC236}">
                <a16:creationId xmlns:a16="http://schemas.microsoft.com/office/drawing/2014/main" id="{B94ECCB9-AC48-E6FB-F537-0C01FCC31667}"/>
              </a:ext>
            </a:extLst>
          </p:cNvPr>
          <p:cNvGrpSpPr/>
          <p:nvPr/>
        </p:nvGrpSpPr>
        <p:grpSpPr>
          <a:xfrm>
            <a:off x="11499007" y="3111406"/>
            <a:ext cx="228600" cy="1257529"/>
            <a:chOff x="11475667" y="3202846"/>
            <a:chExt cx="228600" cy="1257529"/>
          </a:xfrm>
        </p:grpSpPr>
        <p:sp>
          <p:nvSpPr>
            <p:cNvPr id="59" name="Oval 58">
              <a:extLst>
                <a:ext uri="{FF2B5EF4-FFF2-40B4-BE49-F238E27FC236}">
                  <a16:creationId xmlns:a16="http://schemas.microsoft.com/office/drawing/2014/main" id="{DF4BE947-9F47-FF5B-5AF0-6FD99B648CC6}"/>
                </a:ext>
              </a:extLst>
            </p:cNvPr>
            <p:cNvSpPr/>
            <p:nvPr/>
          </p:nvSpPr>
          <p:spPr>
            <a:xfrm>
              <a:off x="11475667" y="3202846"/>
              <a:ext cx="228600" cy="2286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0" name="Oval 59">
              <a:extLst>
                <a:ext uri="{FF2B5EF4-FFF2-40B4-BE49-F238E27FC236}">
                  <a16:creationId xmlns:a16="http://schemas.microsoft.com/office/drawing/2014/main" id="{B4E11089-A83F-5207-BFDF-A53AB330F978}"/>
                </a:ext>
              </a:extLst>
            </p:cNvPr>
            <p:cNvSpPr/>
            <p:nvPr/>
          </p:nvSpPr>
          <p:spPr>
            <a:xfrm>
              <a:off x="11475667" y="3545822"/>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78" name="Oval 77">
              <a:extLst>
                <a:ext uri="{FF2B5EF4-FFF2-40B4-BE49-F238E27FC236}">
                  <a16:creationId xmlns:a16="http://schemas.microsoft.com/office/drawing/2014/main" id="{E7BCBEF7-6AE0-1969-0BEB-425772462F0E}"/>
                </a:ext>
              </a:extLst>
            </p:cNvPr>
            <p:cNvSpPr/>
            <p:nvPr/>
          </p:nvSpPr>
          <p:spPr>
            <a:xfrm>
              <a:off x="11475667" y="3888798"/>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82" name="Oval 81">
              <a:extLst>
                <a:ext uri="{FF2B5EF4-FFF2-40B4-BE49-F238E27FC236}">
                  <a16:creationId xmlns:a16="http://schemas.microsoft.com/office/drawing/2014/main" id="{4D36CD53-735E-F09B-F099-A2EEBDCFF052}"/>
                </a:ext>
              </a:extLst>
            </p:cNvPr>
            <p:cNvSpPr/>
            <p:nvPr/>
          </p:nvSpPr>
          <p:spPr>
            <a:xfrm>
              <a:off x="11475667" y="4231775"/>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Tree>
    <p:extLst>
      <p:ext uri="{BB962C8B-B14F-4D97-AF65-F5344CB8AC3E}">
        <p14:creationId xmlns:p14="http://schemas.microsoft.com/office/powerpoint/2010/main" val="37380944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500" fill="hold"/>
                                            <p:tgtEl>
                                              <p:spTgt spid="16"/>
                                            </p:tgtEl>
                                            <p:attrNameLst>
                                              <p:attrName>ppt_x</p:attrName>
                                              <p:attrName>ppt_y</p:attrName>
                                            </p:attrNameLst>
                                          </p:cBhvr>
                                          <p:rCtr x="859" y="0"/>
                                        </p:animMotion>
                                      </p:childTnLst>
                                    </p:cTn>
                                  </p:par>
                                  <p:par>
                                    <p:cTn id="10" presetID="23" presetClass="entr" presetSubtype="16"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200" fill="hold"/>
                                            <p:tgtEl>
                                              <p:spTgt spid="9"/>
                                            </p:tgtEl>
                                            <p:attrNameLst>
                                              <p:attrName>ppt_w</p:attrName>
                                            </p:attrNameLst>
                                          </p:cBhvr>
                                          <p:tavLst>
                                            <p:tav tm="0">
                                              <p:val>
                                                <p:fltVal val="0"/>
                                              </p:val>
                                            </p:tav>
                                            <p:tav tm="100000">
                                              <p:val>
                                                <p:strVal val="#ppt_w"/>
                                              </p:val>
                                            </p:tav>
                                          </p:tavLst>
                                        </p:anim>
                                        <p:anim calcmode="lin" valueType="num">
                                          <p:cBhvr>
                                            <p:cTn id="13" dur="200" fill="hold"/>
                                            <p:tgtEl>
                                              <p:spTgt spid="9"/>
                                            </p:tgtEl>
                                            <p:attrNameLst>
                                              <p:attrName>ppt_h</p:attrName>
                                            </p:attrNameLst>
                                          </p:cBhvr>
                                          <p:tavLst>
                                            <p:tav tm="0">
                                              <p:val>
                                                <p:fltVal val="0"/>
                                              </p:val>
                                            </p:tav>
                                            <p:tav tm="100000">
                                              <p:val>
                                                <p:strVal val="#ppt_h"/>
                                              </p:val>
                                            </p:tav>
                                          </p:tavLst>
                                        </p:anim>
                                      </p:childTnLst>
                                    </p:cTn>
                                  </p:par>
                                  <p:par>
                                    <p:cTn id="14" presetID="6" presetClass="emph" presetSubtype="0" fill="hold" grpId="1" nodeType="withEffect" p14:presetBounceEnd="99000">
                                      <p:stCondLst>
                                        <p:cond delay="0"/>
                                      </p:stCondLst>
                                      <p:childTnLst>
                                        <p:animScale p14:bounceEnd="99000">
                                          <p:cBhvr>
                                            <p:cTn id="15" dur="1000" fill="hold"/>
                                            <p:tgtEl>
                                              <p:spTgt spid="9"/>
                                            </p:tgtEl>
                                          </p:cBhvr>
                                          <p:by x="110000" y="110000"/>
                                        </p:animScale>
                                      </p:childTnLst>
                                    </p:cTn>
                                  </p:par>
                                  <p:par>
                                    <p:cTn id="16" presetID="6" presetClass="emph" presetSubtype="0" accel="50000" decel="50000" fill="hold" grpId="2" nodeType="withEffect">
                                      <p:stCondLst>
                                        <p:cond delay="0"/>
                                      </p:stCondLst>
                                      <p:childTnLst>
                                        <p:animScale>
                                          <p:cBhvr>
                                            <p:cTn id="17" dur="250" fill="hold"/>
                                            <p:tgtEl>
                                              <p:spTgt spid="9"/>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9" grpId="2"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500" fill="hold"/>
                                            <p:tgtEl>
                                              <p:spTgt spid="16"/>
                                            </p:tgtEl>
                                            <p:attrNameLst>
                                              <p:attrName>ppt_x</p:attrName>
                                              <p:attrName>ppt_y</p:attrName>
                                            </p:attrNameLst>
                                          </p:cBhvr>
                                          <p:rCtr x="859" y="0"/>
                                        </p:animMotion>
                                      </p:childTnLst>
                                    </p:cTn>
                                  </p:par>
                                  <p:par>
                                    <p:cTn id="10" presetID="23" presetClass="entr" presetSubtype="16"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200" fill="hold"/>
                                            <p:tgtEl>
                                              <p:spTgt spid="9"/>
                                            </p:tgtEl>
                                            <p:attrNameLst>
                                              <p:attrName>ppt_w</p:attrName>
                                            </p:attrNameLst>
                                          </p:cBhvr>
                                          <p:tavLst>
                                            <p:tav tm="0">
                                              <p:val>
                                                <p:fltVal val="0"/>
                                              </p:val>
                                            </p:tav>
                                            <p:tav tm="100000">
                                              <p:val>
                                                <p:strVal val="#ppt_w"/>
                                              </p:val>
                                            </p:tav>
                                          </p:tavLst>
                                        </p:anim>
                                        <p:anim calcmode="lin" valueType="num">
                                          <p:cBhvr>
                                            <p:cTn id="13" dur="200" fill="hold"/>
                                            <p:tgtEl>
                                              <p:spTgt spid="9"/>
                                            </p:tgtEl>
                                            <p:attrNameLst>
                                              <p:attrName>ppt_h</p:attrName>
                                            </p:attrNameLst>
                                          </p:cBhvr>
                                          <p:tavLst>
                                            <p:tav tm="0">
                                              <p:val>
                                                <p:fltVal val="0"/>
                                              </p:val>
                                            </p:tav>
                                            <p:tav tm="100000">
                                              <p:val>
                                                <p:strVal val="#ppt_h"/>
                                              </p:val>
                                            </p:tav>
                                          </p:tavLst>
                                        </p:anim>
                                      </p:childTnLst>
                                    </p:cTn>
                                  </p:par>
                                  <p:par>
                                    <p:cTn id="14" presetID="6" presetClass="emph" presetSubtype="0" fill="hold" grpId="1" nodeType="withEffect">
                                      <p:stCondLst>
                                        <p:cond delay="0"/>
                                      </p:stCondLst>
                                      <p:childTnLst>
                                        <p:animScale>
                                          <p:cBhvr>
                                            <p:cTn id="15" dur="1000" fill="hold"/>
                                            <p:tgtEl>
                                              <p:spTgt spid="9"/>
                                            </p:tgtEl>
                                          </p:cBhvr>
                                          <p:by x="110000" y="110000"/>
                                        </p:animScale>
                                      </p:childTnLst>
                                    </p:cTn>
                                  </p:par>
                                  <p:par>
                                    <p:cTn id="16" presetID="6" presetClass="emph" presetSubtype="0" accel="50000" decel="50000" fill="hold" grpId="2" nodeType="withEffect">
                                      <p:stCondLst>
                                        <p:cond delay="0"/>
                                      </p:stCondLst>
                                      <p:childTnLst>
                                        <p:animScale>
                                          <p:cBhvr>
                                            <p:cTn id="17" dur="250" fill="hold"/>
                                            <p:tgtEl>
                                              <p:spTgt spid="9"/>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9" grpId="2" animBg="1"/>
        </p:bldLst>
      </p:timing>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84B8A-700F-D9F6-CBD0-204AADE20A2E}"/>
            </a:ext>
          </a:extLst>
        </p:cNvPr>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3622BAF0-6391-880A-B1A3-2BC6D8E93F4A}"/>
              </a:ext>
            </a:extLst>
          </p:cNvPr>
          <p:cNvSpPr/>
          <p:nvPr/>
        </p:nvSpPr>
        <p:spPr>
          <a:xfrm>
            <a:off x="11439167" y="2956882"/>
            <a:ext cx="348280" cy="1580482"/>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 name="Title 1">
            <a:extLst>
              <a:ext uri="{FF2B5EF4-FFF2-40B4-BE49-F238E27FC236}">
                <a16:creationId xmlns:a16="http://schemas.microsoft.com/office/drawing/2014/main" id="{2C9CE3D7-9DDD-C3E6-9FC0-73E4B20442CC}"/>
              </a:ext>
            </a:extLst>
          </p:cNvPr>
          <p:cNvSpPr>
            <a:spLocks noGrp="1"/>
          </p:cNvSpPr>
          <p:nvPr>
            <p:ph type="title"/>
          </p:nvPr>
        </p:nvSpPr>
        <p:spPr>
          <a:xfrm>
            <a:off x="536240" y="414320"/>
            <a:ext cx="10896000" cy="1082209"/>
          </a:xfrm>
        </p:spPr>
        <p:txBody>
          <a:bodyPr/>
          <a:lstStyle/>
          <a:p>
            <a:r>
              <a:rPr lang="en-US" noProof="0"/>
              <a:t>The evolving definition of obesity</a:t>
            </a:r>
          </a:p>
        </p:txBody>
      </p:sp>
      <p:sp>
        <p:nvSpPr>
          <p:cNvPr id="50" name="Text Placeholder 49">
            <a:extLst>
              <a:ext uri="{FF2B5EF4-FFF2-40B4-BE49-F238E27FC236}">
                <a16:creationId xmlns:a16="http://schemas.microsoft.com/office/drawing/2014/main" id="{9AA6D516-282B-E75A-D1F9-608C64566FB4}"/>
              </a:ext>
            </a:extLst>
          </p:cNvPr>
          <p:cNvSpPr>
            <a:spLocks noGrp="1"/>
          </p:cNvSpPr>
          <p:nvPr>
            <p:ph type="body" sz="quarter" idx="13"/>
          </p:nvPr>
        </p:nvSpPr>
        <p:spPr>
          <a:xfrm>
            <a:off x="536240" y="6013923"/>
            <a:ext cx="10896000" cy="324000"/>
          </a:xfrm>
        </p:spPr>
        <p:txBody>
          <a:bodyPr/>
          <a:lstStyle/>
          <a:p>
            <a:r>
              <a:rPr lang="en-US" noProof="0" dirty="0"/>
              <a:t>CCK, cholecystokinin; GLP-1, glucagon-like peptide-1; PYY, pancreatic</a:t>
            </a:r>
            <a:r>
              <a:rPr lang="en-US" dirty="0"/>
              <a:t> tyrosine </a:t>
            </a:r>
            <a:r>
              <a:rPr lang="en-US" noProof="0" dirty="0"/>
              <a:t>tyrosine.</a:t>
            </a:r>
            <a:br>
              <a:rPr lang="en-US" noProof="0" dirty="0"/>
            </a:br>
            <a:r>
              <a:rPr lang="en-US" noProof="0" dirty="0"/>
              <a:t>1. Miller GD. Am J Lifestyle Med 2017;13:586–601.</a:t>
            </a:r>
          </a:p>
        </p:txBody>
      </p:sp>
      <p:grpSp>
        <p:nvGrpSpPr>
          <p:cNvPr id="3" name="Group 2">
            <a:extLst>
              <a:ext uri="{FF2B5EF4-FFF2-40B4-BE49-F238E27FC236}">
                <a16:creationId xmlns:a16="http://schemas.microsoft.com/office/drawing/2014/main" id="{AA65F7B3-3D84-835D-739E-2CFBA10A8F8A}"/>
              </a:ext>
            </a:extLst>
          </p:cNvPr>
          <p:cNvGrpSpPr/>
          <p:nvPr/>
        </p:nvGrpSpPr>
        <p:grpSpPr>
          <a:xfrm>
            <a:off x="3208020" y="1703502"/>
            <a:ext cx="5775960" cy="3903844"/>
            <a:chOff x="12986717" y="1703502"/>
            <a:chExt cx="5775960" cy="3903844"/>
          </a:xfrm>
        </p:grpSpPr>
        <p:sp>
          <p:nvSpPr>
            <p:cNvPr id="4" name="Rectangle 3">
              <a:extLst>
                <a:ext uri="{FF2B5EF4-FFF2-40B4-BE49-F238E27FC236}">
                  <a16:creationId xmlns:a16="http://schemas.microsoft.com/office/drawing/2014/main" id="{9784FB0B-66D4-4815-0EA7-B34A04E63F05}"/>
                </a:ext>
              </a:extLst>
            </p:cNvPr>
            <p:cNvSpPr/>
            <p:nvPr/>
          </p:nvSpPr>
          <p:spPr>
            <a:xfrm>
              <a:off x="12986717" y="1703502"/>
              <a:ext cx="5775960" cy="3903844"/>
            </a:xfrm>
            <a:prstGeom prst="rect">
              <a:avLst/>
            </a:prstGeom>
            <a:solidFill>
              <a:schemeClr val="accent2">
                <a:lumMod val="20000"/>
                <a:lumOff val="80000"/>
              </a:schemeClr>
            </a:solidFill>
            <a:ln w="9525" cap="flat" cmpd="sng" algn="ctr">
              <a:noFill/>
              <a:prstDash val="solid"/>
            </a:ln>
            <a:effectLst/>
          </p:spPr>
          <p:txBody>
            <a:bodyPr bIns="91440" rtlCol="0" anchor="b"/>
            <a:lstStyle/>
            <a:p>
              <a:pPr algn="ctr">
                <a:spcAft>
                  <a:spcPts val="600"/>
                </a:spcAft>
              </a:pPr>
              <a:r>
                <a:rPr lang="en-US" b="1" noProof="0">
                  <a:latin typeface="Arial" panose="020B0604020202020204" pitchFamily="34" charset="0"/>
                </a:rPr>
                <a:t>Appetite dysregulation</a:t>
              </a:r>
              <a:r>
                <a:rPr lang="en-US" b="1" baseline="30000" noProof="0">
                  <a:latin typeface="Arial" panose="020B0604020202020204" pitchFamily="34" charset="0"/>
                </a:rPr>
                <a:t>1</a:t>
              </a:r>
              <a:endParaRPr lang="en-US" noProof="0">
                <a:latin typeface="Arial" panose="020B0604020202020204" pitchFamily="34" charset="0"/>
              </a:endParaRPr>
            </a:p>
            <a:p>
              <a:pPr algn="ctr">
                <a:spcAft>
                  <a:spcPts val="600"/>
                </a:spcAft>
              </a:pPr>
              <a:r>
                <a:rPr lang="en-US" sz="1600" noProof="0">
                  <a:latin typeface="Arial" panose="020B0604020202020204" pitchFamily="34" charset="0"/>
                </a:rPr>
                <a:t>Dysfunction of hormones, peptides, and neurotransmitters can lead to weight gain and appetite dysregulation by altering feeding signals in the brain</a:t>
              </a:r>
            </a:p>
            <a:p>
              <a:pPr algn="ctr">
                <a:spcAft>
                  <a:spcPts val="600"/>
                </a:spcAft>
              </a:pPr>
              <a:r>
                <a:rPr lang="en-US" sz="1600" noProof="0">
                  <a:latin typeface="Arial" panose="020B0604020202020204" pitchFamily="34" charset="0"/>
                </a:rPr>
                <a:t>Peripheral signals come from leptin and insulin, and some hormones released from the gut that impact satiety are </a:t>
              </a:r>
              <a:br>
                <a:rPr lang="en-US" sz="1600" noProof="0">
                  <a:latin typeface="Arial" panose="020B0604020202020204" pitchFamily="34" charset="0"/>
                </a:rPr>
              </a:br>
              <a:r>
                <a:rPr lang="en-US" sz="1600" noProof="0">
                  <a:latin typeface="Arial" panose="020B0604020202020204" pitchFamily="34" charset="0"/>
                </a:rPr>
                <a:t>GLP-1, PYY, ghrelin, and CCK</a:t>
              </a:r>
              <a:endParaRPr kumimoji="0" lang="en-US" sz="1600" b="1" i="0" u="none" strike="noStrike" kern="0" cap="none" spc="0" normalizeH="0" baseline="0" noProof="0">
                <a:ln>
                  <a:noFill/>
                </a:ln>
                <a:solidFill>
                  <a:schemeClr val="accent1"/>
                </a:solidFill>
                <a:effectLst/>
                <a:uLnTx/>
                <a:uFillTx/>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58840EAA-6674-AC80-38C7-848F47501ADD}"/>
                </a:ext>
              </a:extLst>
            </p:cNvPr>
            <p:cNvSpPr/>
            <p:nvPr/>
          </p:nvSpPr>
          <p:spPr>
            <a:xfrm>
              <a:off x="15211545" y="1922747"/>
              <a:ext cx="1326304" cy="1326304"/>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6" name="Graphic 5">
              <a:extLst>
                <a:ext uri="{FF2B5EF4-FFF2-40B4-BE49-F238E27FC236}">
                  <a16:creationId xmlns:a16="http://schemas.microsoft.com/office/drawing/2014/main" id="{E9540EDE-99B4-7667-9987-BDDA30ECAE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362151" y="2054303"/>
              <a:ext cx="1025092" cy="1025092"/>
            </a:xfrm>
            <a:prstGeom prst="rect">
              <a:avLst/>
            </a:prstGeom>
          </p:spPr>
        </p:pic>
      </p:grpSp>
      <p:sp>
        <p:nvSpPr>
          <p:cNvPr id="7" name="Isosceles Triangle 6">
            <a:hlinkClick r:id="" action="ppaction://hlinkshowjump?jump=nextslide"/>
            <a:extLst>
              <a:ext uri="{FF2B5EF4-FFF2-40B4-BE49-F238E27FC236}">
                <a16:creationId xmlns:a16="http://schemas.microsoft.com/office/drawing/2014/main" id="{DD5E9B05-4944-7AE3-AD19-6552A64DBB1A}"/>
              </a:ext>
            </a:extLst>
          </p:cNvPr>
          <p:cNvSpPr/>
          <p:nvPr/>
        </p:nvSpPr>
        <p:spPr>
          <a:xfrm rot="5400000">
            <a:off x="9953349" y="3429002"/>
            <a:ext cx="685800" cy="591207"/>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49" name="Isosceles Triangle 48">
            <a:hlinkClick r:id="" action="ppaction://hlinkshowjump?jump=previousslide"/>
            <a:extLst>
              <a:ext uri="{FF2B5EF4-FFF2-40B4-BE49-F238E27FC236}">
                <a16:creationId xmlns:a16="http://schemas.microsoft.com/office/drawing/2014/main" id="{C6D06A11-D166-6434-838E-48F34B1F7AF5}"/>
              </a:ext>
            </a:extLst>
          </p:cNvPr>
          <p:cNvSpPr/>
          <p:nvPr/>
        </p:nvSpPr>
        <p:spPr>
          <a:xfrm rot="16200000">
            <a:off x="1515960" y="3421040"/>
            <a:ext cx="685800" cy="591207"/>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11" name="Group 10">
            <a:extLst>
              <a:ext uri="{FF2B5EF4-FFF2-40B4-BE49-F238E27FC236}">
                <a16:creationId xmlns:a16="http://schemas.microsoft.com/office/drawing/2014/main" id="{8C4A46DF-7980-163C-372C-3DD210EC5044}"/>
              </a:ext>
            </a:extLst>
          </p:cNvPr>
          <p:cNvGrpSpPr/>
          <p:nvPr/>
        </p:nvGrpSpPr>
        <p:grpSpPr>
          <a:xfrm>
            <a:off x="11499007" y="3111406"/>
            <a:ext cx="228600" cy="1257529"/>
            <a:chOff x="11475667" y="3202846"/>
            <a:chExt cx="228600" cy="1257529"/>
          </a:xfrm>
        </p:grpSpPr>
        <p:sp>
          <p:nvSpPr>
            <p:cNvPr id="13" name="Oval 12">
              <a:extLst>
                <a:ext uri="{FF2B5EF4-FFF2-40B4-BE49-F238E27FC236}">
                  <a16:creationId xmlns:a16="http://schemas.microsoft.com/office/drawing/2014/main" id="{B8533A60-501B-A611-D2EE-35CABD1CFB9C}"/>
                </a:ext>
              </a:extLst>
            </p:cNvPr>
            <p:cNvSpPr/>
            <p:nvPr/>
          </p:nvSpPr>
          <p:spPr>
            <a:xfrm>
              <a:off x="11475667" y="3202846"/>
              <a:ext cx="228600" cy="2286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4" name="Oval 13">
              <a:extLst>
                <a:ext uri="{FF2B5EF4-FFF2-40B4-BE49-F238E27FC236}">
                  <a16:creationId xmlns:a16="http://schemas.microsoft.com/office/drawing/2014/main" id="{E19058AA-D0F5-0070-9B2E-0E182DDCDA46}"/>
                </a:ext>
              </a:extLst>
            </p:cNvPr>
            <p:cNvSpPr/>
            <p:nvPr/>
          </p:nvSpPr>
          <p:spPr>
            <a:xfrm>
              <a:off x="11475667" y="3545822"/>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5" name="Oval 14">
              <a:extLst>
                <a:ext uri="{FF2B5EF4-FFF2-40B4-BE49-F238E27FC236}">
                  <a16:creationId xmlns:a16="http://schemas.microsoft.com/office/drawing/2014/main" id="{B955CB24-A33E-FC13-0787-C54502DECCA3}"/>
                </a:ext>
              </a:extLst>
            </p:cNvPr>
            <p:cNvSpPr/>
            <p:nvPr/>
          </p:nvSpPr>
          <p:spPr>
            <a:xfrm>
              <a:off x="11475667" y="3888798"/>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7" name="Oval 16">
              <a:extLst>
                <a:ext uri="{FF2B5EF4-FFF2-40B4-BE49-F238E27FC236}">
                  <a16:creationId xmlns:a16="http://schemas.microsoft.com/office/drawing/2014/main" id="{3D719FFC-2737-E6E3-5939-4ADC891D241A}"/>
                </a:ext>
              </a:extLst>
            </p:cNvPr>
            <p:cNvSpPr/>
            <p:nvPr/>
          </p:nvSpPr>
          <p:spPr>
            <a:xfrm>
              <a:off x="11475667" y="4231775"/>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Tree>
    <p:extLst>
      <p:ext uri="{BB962C8B-B14F-4D97-AF65-F5344CB8AC3E}">
        <p14:creationId xmlns:p14="http://schemas.microsoft.com/office/powerpoint/2010/main" val="155234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200" fill="hold"/>
                                            <p:tgtEl>
                                              <p:spTgt spid="7"/>
                                            </p:tgtEl>
                                            <p:attrNameLst>
                                              <p:attrName>ppt_w</p:attrName>
                                            </p:attrNameLst>
                                          </p:cBhvr>
                                          <p:tavLst>
                                            <p:tav tm="0">
                                              <p:val>
                                                <p:fltVal val="0"/>
                                              </p:val>
                                            </p:tav>
                                            <p:tav tm="100000">
                                              <p:val>
                                                <p:strVal val="#ppt_w"/>
                                              </p:val>
                                            </p:tav>
                                          </p:tavLst>
                                        </p:anim>
                                        <p:anim calcmode="lin" valueType="num">
                                          <p:cBhvr>
                                            <p:cTn id="8" dur="200" fill="hold"/>
                                            <p:tgtEl>
                                              <p:spTgt spid="7"/>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0"/>
                                      </p:stCondLst>
                                      <p:childTnLst>
                                        <p:animScale p14:bounceEnd="99000">
                                          <p:cBhvr>
                                            <p:cTn id="10" dur="1000" fill="hold"/>
                                            <p:tgtEl>
                                              <p:spTgt spid="7"/>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7"/>
                                            </p:tgtEl>
                                          </p:cBhvr>
                                          <p:by x="91000" y="91000"/>
                                        </p:animScale>
                                      </p:childTnLst>
                                    </p:cTn>
                                  </p:par>
                                  <p:par>
                                    <p:cTn id="13" presetID="23" presetClass="entr" presetSubtype="16"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p:cTn id="15" dur="200" fill="hold"/>
                                            <p:tgtEl>
                                              <p:spTgt spid="49"/>
                                            </p:tgtEl>
                                            <p:attrNameLst>
                                              <p:attrName>ppt_w</p:attrName>
                                            </p:attrNameLst>
                                          </p:cBhvr>
                                          <p:tavLst>
                                            <p:tav tm="0">
                                              <p:val>
                                                <p:fltVal val="0"/>
                                              </p:val>
                                            </p:tav>
                                            <p:tav tm="100000">
                                              <p:val>
                                                <p:strVal val="#ppt_w"/>
                                              </p:val>
                                            </p:tav>
                                          </p:tavLst>
                                        </p:anim>
                                        <p:anim calcmode="lin" valueType="num">
                                          <p:cBhvr>
                                            <p:cTn id="16" dur="200" fill="hold"/>
                                            <p:tgtEl>
                                              <p:spTgt spid="49"/>
                                            </p:tgtEl>
                                            <p:attrNameLst>
                                              <p:attrName>ppt_h</p:attrName>
                                            </p:attrNameLst>
                                          </p:cBhvr>
                                          <p:tavLst>
                                            <p:tav tm="0">
                                              <p:val>
                                                <p:fltVal val="0"/>
                                              </p:val>
                                            </p:tav>
                                            <p:tav tm="100000">
                                              <p:val>
                                                <p:strVal val="#ppt_h"/>
                                              </p:val>
                                            </p:tav>
                                          </p:tavLst>
                                        </p:anim>
                                      </p:childTnLst>
                                    </p:cTn>
                                  </p:par>
                                  <p:par>
                                    <p:cTn id="17" presetID="6" presetClass="emph" presetSubtype="0" fill="hold" grpId="1" nodeType="withEffect" p14:presetBounceEnd="99000">
                                      <p:stCondLst>
                                        <p:cond delay="0"/>
                                      </p:stCondLst>
                                      <p:childTnLst>
                                        <p:animScale p14:bounceEnd="99000">
                                          <p:cBhvr>
                                            <p:cTn id="18" dur="1000" fill="hold"/>
                                            <p:tgtEl>
                                              <p:spTgt spid="49"/>
                                            </p:tgtEl>
                                          </p:cBhvr>
                                          <p:by x="110000" y="110000"/>
                                        </p:animScale>
                                      </p:childTnLst>
                                    </p:cTn>
                                  </p:par>
                                  <p:par>
                                    <p:cTn id="19" presetID="6" presetClass="emph" presetSubtype="0" accel="50000" decel="50000" fill="hold" grpId="2" nodeType="withEffect">
                                      <p:stCondLst>
                                        <p:cond delay="0"/>
                                      </p:stCondLst>
                                      <p:childTnLst>
                                        <p:animScale>
                                          <p:cBhvr>
                                            <p:cTn id="20" dur="250" fill="hold"/>
                                            <p:tgtEl>
                                              <p:spTgt spid="49"/>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7" grpId="2" animBg="1"/>
          <p:bldP spid="49" grpId="0" animBg="1"/>
          <p:bldP spid="49" grpId="1" animBg="1"/>
          <p:bldP spid="49" grpId="2"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200" fill="hold"/>
                                            <p:tgtEl>
                                              <p:spTgt spid="7"/>
                                            </p:tgtEl>
                                            <p:attrNameLst>
                                              <p:attrName>ppt_w</p:attrName>
                                            </p:attrNameLst>
                                          </p:cBhvr>
                                          <p:tavLst>
                                            <p:tav tm="0">
                                              <p:val>
                                                <p:fltVal val="0"/>
                                              </p:val>
                                            </p:tav>
                                            <p:tav tm="100000">
                                              <p:val>
                                                <p:strVal val="#ppt_w"/>
                                              </p:val>
                                            </p:tav>
                                          </p:tavLst>
                                        </p:anim>
                                        <p:anim calcmode="lin" valueType="num">
                                          <p:cBhvr>
                                            <p:cTn id="8" dur="200" fill="hold"/>
                                            <p:tgtEl>
                                              <p:spTgt spid="7"/>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0"/>
                                      </p:stCondLst>
                                      <p:childTnLst>
                                        <p:animScale>
                                          <p:cBhvr>
                                            <p:cTn id="10" dur="1000" fill="hold"/>
                                            <p:tgtEl>
                                              <p:spTgt spid="7"/>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7"/>
                                            </p:tgtEl>
                                          </p:cBhvr>
                                          <p:by x="91000" y="91000"/>
                                        </p:animScale>
                                      </p:childTnLst>
                                    </p:cTn>
                                  </p:par>
                                  <p:par>
                                    <p:cTn id="13" presetID="23" presetClass="entr" presetSubtype="16"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p:cTn id="15" dur="200" fill="hold"/>
                                            <p:tgtEl>
                                              <p:spTgt spid="49"/>
                                            </p:tgtEl>
                                            <p:attrNameLst>
                                              <p:attrName>ppt_w</p:attrName>
                                            </p:attrNameLst>
                                          </p:cBhvr>
                                          <p:tavLst>
                                            <p:tav tm="0">
                                              <p:val>
                                                <p:fltVal val="0"/>
                                              </p:val>
                                            </p:tav>
                                            <p:tav tm="100000">
                                              <p:val>
                                                <p:strVal val="#ppt_w"/>
                                              </p:val>
                                            </p:tav>
                                          </p:tavLst>
                                        </p:anim>
                                        <p:anim calcmode="lin" valueType="num">
                                          <p:cBhvr>
                                            <p:cTn id="16" dur="200" fill="hold"/>
                                            <p:tgtEl>
                                              <p:spTgt spid="49"/>
                                            </p:tgtEl>
                                            <p:attrNameLst>
                                              <p:attrName>ppt_h</p:attrName>
                                            </p:attrNameLst>
                                          </p:cBhvr>
                                          <p:tavLst>
                                            <p:tav tm="0">
                                              <p:val>
                                                <p:fltVal val="0"/>
                                              </p:val>
                                            </p:tav>
                                            <p:tav tm="100000">
                                              <p:val>
                                                <p:strVal val="#ppt_h"/>
                                              </p:val>
                                            </p:tav>
                                          </p:tavLst>
                                        </p:anim>
                                      </p:childTnLst>
                                    </p:cTn>
                                  </p:par>
                                  <p:par>
                                    <p:cTn id="17" presetID="6" presetClass="emph" presetSubtype="0" fill="hold" grpId="1" nodeType="withEffect">
                                      <p:stCondLst>
                                        <p:cond delay="0"/>
                                      </p:stCondLst>
                                      <p:childTnLst>
                                        <p:animScale>
                                          <p:cBhvr>
                                            <p:cTn id="18" dur="1000" fill="hold"/>
                                            <p:tgtEl>
                                              <p:spTgt spid="49"/>
                                            </p:tgtEl>
                                          </p:cBhvr>
                                          <p:by x="110000" y="110000"/>
                                        </p:animScale>
                                      </p:childTnLst>
                                    </p:cTn>
                                  </p:par>
                                  <p:par>
                                    <p:cTn id="19" presetID="6" presetClass="emph" presetSubtype="0" accel="50000" decel="50000" fill="hold" grpId="2" nodeType="withEffect">
                                      <p:stCondLst>
                                        <p:cond delay="0"/>
                                      </p:stCondLst>
                                      <p:childTnLst>
                                        <p:animScale>
                                          <p:cBhvr>
                                            <p:cTn id="20" dur="250" fill="hold"/>
                                            <p:tgtEl>
                                              <p:spTgt spid="49"/>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7" grpId="2" animBg="1"/>
          <p:bldP spid="49" grpId="0" animBg="1"/>
          <p:bldP spid="49" grpId="1" animBg="1"/>
          <p:bldP spid="49" grpId="2" animBg="1"/>
        </p:bldLst>
      </p:timing>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E93AC-B353-8861-AAC8-C1861D0755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1174F3-47D7-07C1-3901-E568F3CA2622}"/>
              </a:ext>
            </a:extLst>
          </p:cNvPr>
          <p:cNvSpPr>
            <a:spLocks noGrp="1"/>
          </p:cNvSpPr>
          <p:nvPr>
            <p:ph type="title"/>
          </p:nvPr>
        </p:nvSpPr>
        <p:spPr>
          <a:xfrm>
            <a:off x="536240" y="414320"/>
            <a:ext cx="10896000" cy="1082209"/>
          </a:xfrm>
        </p:spPr>
        <p:txBody>
          <a:bodyPr/>
          <a:lstStyle/>
          <a:p>
            <a:r>
              <a:rPr lang="en-US" noProof="0"/>
              <a:t>The evolving definition of obesity</a:t>
            </a:r>
          </a:p>
        </p:txBody>
      </p:sp>
      <p:sp>
        <p:nvSpPr>
          <p:cNvPr id="50" name="Text Placeholder 49">
            <a:extLst>
              <a:ext uri="{FF2B5EF4-FFF2-40B4-BE49-F238E27FC236}">
                <a16:creationId xmlns:a16="http://schemas.microsoft.com/office/drawing/2014/main" id="{CE5B7660-909E-9295-5439-10657003D50B}"/>
              </a:ext>
            </a:extLst>
          </p:cNvPr>
          <p:cNvSpPr>
            <a:spLocks noGrp="1"/>
          </p:cNvSpPr>
          <p:nvPr>
            <p:ph type="body" sz="quarter" idx="13"/>
          </p:nvPr>
        </p:nvSpPr>
        <p:spPr>
          <a:xfrm>
            <a:off x="536240" y="6013923"/>
            <a:ext cx="10896000" cy="324000"/>
          </a:xfrm>
        </p:spPr>
        <p:txBody>
          <a:bodyPr/>
          <a:lstStyle/>
          <a:p>
            <a:r>
              <a:rPr lang="en-US" noProof="0"/>
              <a:t>MASLD, metabolic dysfunction–associated steatotic liver disease.</a:t>
            </a:r>
            <a:br>
              <a:rPr lang="en-US" noProof="0"/>
            </a:br>
            <a:r>
              <a:rPr lang="en-US" noProof="0"/>
              <a:t>1. Klein S et al. Cell </a:t>
            </a:r>
            <a:r>
              <a:rPr lang="en-US" noProof="0" err="1"/>
              <a:t>Metab</a:t>
            </a:r>
            <a:r>
              <a:rPr lang="en-US" noProof="0"/>
              <a:t> 2022;34:11–20.</a:t>
            </a:r>
          </a:p>
        </p:txBody>
      </p:sp>
      <p:grpSp>
        <p:nvGrpSpPr>
          <p:cNvPr id="39" name="Group 38">
            <a:extLst>
              <a:ext uri="{FF2B5EF4-FFF2-40B4-BE49-F238E27FC236}">
                <a16:creationId xmlns:a16="http://schemas.microsoft.com/office/drawing/2014/main" id="{00950C24-3559-6EB8-B562-DDA5F9F04328}"/>
              </a:ext>
            </a:extLst>
          </p:cNvPr>
          <p:cNvGrpSpPr/>
          <p:nvPr/>
        </p:nvGrpSpPr>
        <p:grpSpPr>
          <a:xfrm>
            <a:off x="3207829" y="1703502"/>
            <a:ext cx="5775960" cy="3903844"/>
            <a:chOff x="19082717" y="1703502"/>
            <a:chExt cx="5775960" cy="3903844"/>
          </a:xfrm>
        </p:grpSpPr>
        <p:sp>
          <p:nvSpPr>
            <p:cNvPr id="32" name="Rectangle 31">
              <a:extLst>
                <a:ext uri="{FF2B5EF4-FFF2-40B4-BE49-F238E27FC236}">
                  <a16:creationId xmlns:a16="http://schemas.microsoft.com/office/drawing/2014/main" id="{95CA0BEF-E5F8-2352-E21C-2E16D330E051}"/>
                </a:ext>
              </a:extLst>
            </p:cNvPr>
            <p:cNvSpPr/>
            <p:nvPr/>
          </p:nvSpPr>
          <p:spPr>
            <a:xfrm>
              <a:off x="19082717" y="1703502"/>
              <a:ext cx="5775960" cy="3903844"/>
            </a:xfrm>
            <a:prstGeom prst="rect">
              <a:avLst/>
            </a:prstGeom>
            <a:solidFill>
              <a:schemeClr val="accent2">
                <a:lumMod val="20000"/>
                <a:lumOff val="80000"/>
              </a:schemeClr>
            </a:solidFill>
            <a:ln w="9525" cap="flat" cmpd="sng" algn="ctr">
              <a:noFill/>
              <a:prstDash val="solid"/>
            </a:ln>
            <a:effectLst/>
          </p:spPr>
          <p:txBody>
            <a:bodyPr bIns="91440" rtlCol="0" anchor="b"/>
            <a:lstStyle/>
            <a:p>
              <a:pPr algn="ctr">
                <a:spcAft>
                  <a:spcPts val="600"/>
                </a:spcAft>
              </a:pPr>
              <a:r>
                <a:rPr lang="en-US" b="1" noProof="0">
                  <a:latin typeface="Arial" panose="020B0604020202020204" pitchFamily="34" charset="0"/>
                </a:rPr>
                <a:t>Excess body fat</a:t>
              </a:r>
              <a:r>
                <a:rPr lang="en-US" b="1" baseline="30000" noProof="0">
                  <a:latin typeface="Arial" panose="020B0604020202020204" pitchFamily="34" charset="0"/>
                </a:rPr>
                <a:t>1</a:t>
              </a:r>
              <a:endParaRPr lang="en-US" b="1" noProof="0">
                <a:latin typeface="Arial" panose="020B0604020202020204" pitchFamily="34" charset="0"/>
              </a:endParaRPr>
            </a:p>
            <a:p>
              <a:pPr algn="ctr">
                <a:spcAft>
                  <a:spcPts val="600"/>
                </a:spcAft>
              </a:pPr>
              <a:r>
                <a:rPr lang="en-US" sz="1600" noProof="0">
                  <a:latin typeface="Arial" panose="020B0604020202020204" pitchFamily="34" charset="0"/>
                </a:rPr>
                <a:t>This can cause metabolic </a:t>
              </a:r>
              <a:br>
                <a:rPr lang="en-US" sz="1600" noProof="0">
                  <a:latin typeface="Arial" panose="020B0604020202020204" pitchFamily="34" charset="0"/>
                </a:rPr>
              </a:br>
              <a:r>
                <a:rPr lang="en-US" sz="1600" noProof="0">
                  <a:latin typeface="Arial" panose="020B0604020202020204" pitchFamily="34" charset="0"/>
                </a:rPr>
                <a:t>abnormalities and diseases,</a:t>
              </a:r>
              <a:br>
                <a:rPr lang="en-US" sz="1600" noProof="0">
                  <a:latin typeface="Arial" panose="020B0604020202020204" pitchFamily="34" charset="0"/>
                </a:rPr>
              </a:br>
              <a:r>
                <a:rPr lang="en-US" sz="1600" noProof="0">
                  <a:latin typeface="Arial" panose="020B0604020202020204" pitchFamily="34" charset="0"/>
                </a:rPr>
                <a:t>including insulin resistance, </a:t>
              </a:r>
              <a:br>
                <a:rPr lang="en-US" sz="1600" noProof="0">
                  <a:latin typeface="Arial" panose="020B0604020202020204" pitchFamily="34" charset="0"/>
                </a:rPr>
              </a:br>
              <a:r>
                <a:rPr lang="en-US" sz="1600" noProof="0">
                  <a:latin typeface="Arial" panose="020B0604020202020204" pitchFamily="34" charset="0"/>
                </a:rPr>
                <a:t>atherogenic dyslipidemia, MASLD, </a:t>
              </a:r>
              <a:br>
                <a:rPr lang="en-US" sz="1600" noProof="0">
                  <a:latin typeface="Arial" panose="020B0604020202020204" pitchFamily="34" charset="0"/>
                </a:rPr>
              </a:br>
              <a:r>
                <a:rPr lang="en-US" sz="1600" noProof="0">
                  <a:cs typeface="Arial" panose="020B0604020202020204" pitchFamily="34" charset="0"/>
                </a:rPr>
                <a:t>β</a:t>
              </a:r>
              <a:r>
                <a:rPr lang="en-US" sz="1600" noProof="0">
                  <a:latin typeface="Arial" panose="020B0604020202020204" pitchFamily="34" charset="0"/>
                </a:rPr>
                <a:t>-cell dysfunction, prediabetes, </a:t>
              </a:r>
              <a:br>
                <a:rPr lang="en-US" sz="1600" noProof="0">
                  <a:latin typeface="Arial" panose="020B0604020202020204" pitchFamily="34" charset="0"/>
                </a:rPr>
              </a:br>
              <a:r>
                <a:rPr lang="en-US" sz="1600" noProof="0">
                  <a:latin typeface="Arial" panose="020B0604020202020204" pitchFamily="34" charset="0"/>
                </a:rPr>
                <a:t>and type 2 diabetes</a:t>
              </a:r>
            </a:p>
          </p:txBody>
        </p:sp>
        <p:sp>
          <p:nvSpPr>
            <p:cNvPr id="33" name="Oval 32">
              <a:extLst>
                <a:ext uri="{FF2B5EF4-FFF2-40B4-BE49-F238E27FC236}">
                  <a16:creationId xmlns:a16="http://schemas.microsoft.com/office/drawing/2014/main" id="{563C1B0B-8617-54DA-0E8A-5307E2120EE5}"/>
                </a:ext>
              </a:extLst>
            </p:cNvPr>
            <p:cNvSpPr/>
            <p:nvPr/>
          </p:nvSpPr>
          <p:spPr>
            <a:xfrm>
              <a:off x="21307545" y="1894807"/>
              <a:ext cx="1326304" cy="1326304"/>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34" name="Graphic 33">
              <a:extLst>
                <a:ext uri="{FF2B5EF4-FFF2-40B4-BE49-F238E27FC236}">
                  <a16:creationId xmlns:a16="http://schemas.microsoft.com/office/drawing/2014/main" id="{24C16433-2EBD-6FB3-33EB-CCE354A68C68}"/>
                </a:ext>
              </a:extLst>
            </p:cNvPr>
            <p:cNvPicPr>
              <a:picLocks noChangeAspect="1"/>
            </p:cNvPicPr>
            <p:nvPr/>
          </p:nvPicPr>
          <p:blipFill>
            <a:blip r:embed="rId3">
              <a:extLst>
                <a:ext uri="{96DAC541-7B7A-43D3-8B79-37D633B846F1}">
                  <asvg:svgBlip xmlns:asvg="http://schemas.microsoft.com/office/drawing/2016/SVG/main" r:embed="rId4"/>
                </a:ext>
              </a:extLst>
            </a:blip>
            <a:srcRect l="10" r="10"/>
            <a:stretch/>
          </p:blipFill>
          <p:spPr>
            <a:xfrm>
              <a:off x="21458151" y="2026363"/>
              <a:ext cx="1024892" cy="1025092"/>
            </a:xfrm>
            <a:prstGeom prst="rect">
              <a:avLst/>
            </a:prstGeom>
          </p:spPr>
        </p:pic>
      </p:grpSp>
      <p:sp>
        <p:nvSpPr>
          <p:cNvPr id="7" name="Isosceles Triangle 6">
            <a:hlinkClick r:id="" action="ppaction://hlinkshowjump?jump=nextslide"/>
            <a:extLst>
              <a:ext uri="{FF2B5EF4-FFF2-40B4-BE49-F238E27FC236}">
                <a16:creationId xmlns:a16="http://schemas.microsoft.com/office/drawing/2014/main" id="{2740381B-1FFC-FD72-0DAD-9D277AEBE4CB}"/>
              </a:ext>
            </a:extLst>
          </p:cNvPr>
          <p:cNvSpPr/>
          <p:nvPr/>
        </p:nvSpPr>
        <p:spPr>
          <a:xfrm rot="5400000">
            <a:off x="9953349" y="3429002"/>
            <a:ext cx="685800" cy="591207"/>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8" name="Isosceles Triangle 7">
            <a:hlinkClick r:id="" action="ppaction://hlinkshowjump?jump=previousslide"/>
            <a:extLst>
              <a:ext uri="{FF2B5EF4-FFF2-40B4-BE49-F238E27FC236}">
                <a16:creationId xmlns:a16="http://schemas.microsoft.com/office/drawing/2014/main" id="{6193D9FA-E84A-6BDF-577B-865202722BFD}"/>
              </a:ext>
            </a:extLst>
          </p:cNvPr>
          <p:cNvSpPr/>
          <p:nvPr/>
        </p:nvSpPr>
        <p:spPr>
          <a:xfrm rot="16200000">
            <a:off x="1515960" y="3421040"/>
            <a:ext cx="685800" cy="591207"/>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7" name="Rectangle: Rounded Corners 16">
            <a:extLst>
              <a:ext uri="{FF2B5EF4-FFF2-40B4-BE49-F238E27FC236}">
                <a16:creationId xmlns:a16="http://schemas.microsoft.com/office/drawing/2014/main" id="{E96FD95C-72F3-42F0-FA6F-E2ADA9D8574A}"/>
              </a:ext>
            </a:extLst>
          </p:cNvPr>
          <p:cNvSpPr/>
          <p:nvPr/>
        </p:nvSpPr>
        <p:spPr>
          <a:xfrm>
            <a:off x="11439167" y="2956882"/>
            <a:ext cx="348280" cy="1580482"/>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18" name="Group 17">
            <a:extLst>
              <a:ext uri="{FF2B5EF4-FFF2-40B4-BE49-F238E27FC236}">
                <a16:creationId xmlns:a16="http://schemas.microsoft.com/office/drawing/2014/main" id="{6DA5FACF-6DF1-0235-D2E5-89E8C2F3CB53}"/>
              </a:ext>
            </a:extLst>
          </p:cNvPr>
          <p:cNvGrpSpPr/>
          <p:nvPr/>
        </p:nvGrpSpPr>
        <p:grpSpPr>
          <a:xfrm>
            <a:off x="11499007" y="3111406"/>
            <a:ext cx="228600" cy="1257529"/>
            <a:chOff x="11475667" y="3202846"/>
            <a:chExt cx="228600" cy="1257529"/>
          </a:xfrm>
        </p:grpSpPr>
        <p:sp>
          <p:nvSpPr>
            <p:cNvPr id="19" name="Oval 18">
              <a:extLst>
                <a:ext uri="{FF2B5EF4-FFF2-40B4-BE49-F238E27FC236}">
                  <a16:creationId xmlns:a16="http://schemas.microsoft.com/office/drawing/2014/main" id="{E9C24DFC-A50A-D573-939A-B6765774CE62}"/>
                </a:ext>
              </a:extLst>
            </p:cNvPr>
            <p:cNvSpPr/>
            <p:nvPr/>
          </p:nvSpPr>
          <p:spPr>
            <a:xfrm>
              <a:off x="11475667" y="3202846"/>
              <a:ext cx="228600" cy="2286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0" name="Oval 19">
              <a:extLst>
                <a:ext uri="{FF2B5EF4-FFF2-40B4-BE49-F238E27FC236}">
                  <a16:creationId xmlns:a16="http://schemas.microsoft.com/office/drawing/2014/main" id="{0184D635-5097-F0E6-9274-EA75BBBCA32C}"/>
                </a:ext>
              </a:extLst>
            </p:cNvPr>
            <p:cNvSpPr/>
            <p:nvPr/>
          </p:nvSpPr>
          <p:spPr>
            <a:xfrm>
              <a:off x="11475667" y="3545822"/>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1" name="Oval 20">
              <a:extLst>
                <a:ext uri="{FF2B5EF4-FFF2-40B4-BE49-F238E27FC236}">
                  <a16:creationId xmlns:a16="http://schemas.microsoft.com/office/drawing/2014/main" id="{8FDFCDAB-BD16-39B2-F5C1-E0E6FA3617CA}"/>
                </a:ext>
              </a:extLst>
            </p:cNvPr>
            <p:cNvSpPr/>
            <p:nvPr/>
          </p:nvSpPr>
          <p:spPr>
            <a:xfrm>
              <a:off x="11475667" y="3888798"/>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2" name="Oval 21">
              <a:extLst>
                <a:ext uri="{FF2B5EF4-FFF2-40B4-BE49-F238E27FC236}">
                  <a16:creationId xmlns:a16="http://schemas.microsoft.com/office/drawing/2014/main" id="{3D574046-606A-5B10-DC47-4F9FDFEA5EF1}"/>
                </a:ext>
              </a:extLst>
            </p:cNvPr>
            <p:cNvSpPr/>
            <p:nvPr/>
          </p:nvSpPr>
          <p:spPr>
            <a:xfrm>
              <a:off x="11475667" y="4231775"/>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Tree>
    <p:extLst>
      <p:ext uri="{BB962C8B-B14F-4D97-AF65-F5344CB8AC3E}">
        <p14:creationId xmlns:p14="http://schemas.microsoft.com/office/powerpoint/2010/main" val="23759246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200" fill="hold"/>
                                            <p:tgtEl>
                                              <p:spTgt spid="7"/>
                                            </p:tgtEl>
                                            <p:attrNameLst>
                                              <p:attrName>ppt_w</p:attrName>
                                            </p:attrNameLst>
                                          </p:cBhvr>
                                          <p:tavLst>
                                            <p:tav tm="0">
                                              <p:val>
                                                <p:fltVal val="0"/>
                                              </p:val>
                                            </p:tav>
                                            <p:tav tm="100000">
                                              <p:val>
                                                <p:strVal val="#ppt_w"/>
                                              </p:val>
                                            </p:tav>
                                          </p:tavLst>
                                        </p:anim>
                                        <p:anim calcmode="lin" valueType="num">
                                          <p:cBhvr>
                                            <p:cTn id="8" dur="200" fill="hold"/>
                                            <p:tgtEl>
                                              <p:spTgt spid="7"/>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0"/>
                                      </p:stCondLst>
                                      <p:childTnLst>
                                        <p:animScale p14:bounceEnd="99000">
                                          <p:cBhvr>
                                            <p:cTn id="10" dur="1000" fill="hold"/>
                                            <p:tgtEl>
                                              <p:spTgt spid="7"/>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7"/>
                                            </p:tgtEl>
                                          </p:cBhvr>
                                          <p:by x="91000" y="91000"/>
                                        </p:animScale>
                                      </p:childTnLst>
                                    </p:cTn>
                                  </p:par>
                                  <p:par>
                                    <p:cTn id="13" presetID="23" presetClass="entr" presetSubtype="16"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p:cTn id="15" dur="200" fill="hold"/>
                                            <p:tgtEl>
                                              <p:spTgt spid="8"/>
                                            </p:tgtEl>
                                            <p:attrNameLst>
                                              <p:attrName>ppt_w</p:attrName>
                                            </p:attrNameLst>
                                          </p:cBhvr>
                                          <p:tavLst>
                                            <p:tav tm="0">
                                              <p:val>
                                                <p:fltVal val="0"/>
                                              </p:val>
                                            </p:tav>
                                            <p:tav tm="100000">
                                              <p:val>
                                                <p:strVal val="#ppt_w"/>
                                              </p:val>
                                            </p:tav>
                                          </p:tavLst>
                                        </p:anim>
                                        <p:anim calcmode="lin" valueType="num">
                                          <p:cBhvr>
                                            <p:cTn id="16" dur="200" fill="hold"/>
                                            <p:tgtEl>
                                              <p:spTgt spid="8"/>
                                            </p:tgtEl>
                                            <p:attrNameLst>
                                              <p:attrName>ppt_h</p:attrName>
                                            </p:attrNameLst>
                                          </p:cBhvr>
                                          <p:tavLst>
                                            <p:tav tm="0">
                                              <p:val>
                                                <p:fltVal val="0"/>
                                              </p:val>
                                            </p:tav>
                                            <p:tav tm="100000">
                                              <p:val>
                                                <p:strVal val="#ppt_h"/>
                                              </p:val>
                                            </p:tav>
                                          </p:tavLst>
                                        </p:anim>
                                      </p:childTnLst>
                                    </p:cTn>
                                  </p:par>
                                  <p:par>
                                    <p:cTn id="17" presetID="6" presetClass="emph" presetSubtype="0" fill="hold" grpId="1" nodeType="withEffect" p14:presetBounceEnd="99000">
                                      <p:stCondLst>
                                        <p:cond delay="0"/>
                                      </p:stCondLst>
                                      <p:childTnLst>
                                        <p:animScale p14:bounceEnd="99000">
                                          <p:cBhvr>
                                            <p:cTn id="18" dur="1000" fill="hold"/>
                                            <p:tgtEl>
                                              <p:spTgt spid="8"/>
                                            </p:tgtEl>
                                          </p:cBhvr>
                                          <p:by x="110000" y="110000"/>
                                        </p:animScale>
                                      </p:childTnLst>
                                    </p:cTn>
                                  </p:par>
                                  <p:par>
                                    <p:cTn id="19" presetID="6" presetClass="emph" presetSubtype="0" accel="50000" decel="50000" fill="hold" grpId="2" nodeType="withEffect">
                                      <p:stCondLst>
                                        <p:cond delay="0"/>
                                      </p:stCondLst>
                                      <p:childTnLst>
                                        <p:animScale>
                                          <p:cBhvr>
                                            <p:cTn id="20" dur="250" fill="hold"/>
                                            <p:tgtEl>
                                              <p:spTgt spid="8"/>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7" grpId="2" animBg="1"/>
          <p:bldP spid="8" grpId="0" animBg="1"/>
          <p:bldP spid="8" grpId="1" animBg="1"/>
          <p:bldP spid="8" grpId="2"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200" fill="hold"/>
                                            <p:tgtEl>
                                              <p:spTgt spid="7"/>
                                            </p:tgtEl>
                                            <p:attrNameLst>
                                              <p:attrName>ppt_w</p:attrName>
                                            </p:attrNameLst>
                                          </p:cBhvr>
                                          <p:tavLst>
                                            <p:tav tm="0">
                                              <p:val>
                                                <p:fltVal val="0"/>
                                              </p:val>
                                            </p:tav>
                                            <p:tav tm="100000">
                                              <p:val>
                                                <p:strVal val="#ppt_w"/>
                                              </p:val>
                                            </p:tav>
                                          </p:tavLst>
                                        </p:anim>
                                        <p:anim calcmode="lin" valueType="num">
                                          <p:cBhvr>
                                            <p:cTn id="8" dur="200" fill="hold"/>
                                            <p:tgtEl>
                                              <p:spTgt spid="7"/>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0"/>
                                      </p:stCondLst>
                                      <p:childTnLst>
                                        <p:animScale>
                                          <p:cBhvr>
                                            <p:cTn id="10" dur="1000" fill="hold"/>
                                            <p:tgtEl>
                                              <p:spTgt spid="7"/>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7"/>
                                            </p:tgtEl>
                                          </p:cBhvr>
                                          <p:by x="91000" y="91000"/>
                                        </p:animScale>
                                      </p:childTnLst>
                                    </p:cTn>
                                  </p:par>
                                  <p:par>
                                    <p:cTn id="13" presetID="23" presetClass="entr" presetSubtype="16"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p:cTn id="15" dur="200" fill="hold"/>
                                            <p:tgtEl>
                                              <p:spTgt spid="8"/>
                                            </p:tgtEl>
                                            <p:attrNameLst>
                                              <p:attrName>ppt_w</p:attrName>
                                            </p:attrNameLst>
                                          </p:cBhvr>
                                          <p:tavLst>
                                            <p:tav tm="0">
                                              <p:val>
                                                <p:fltVal val="0"/>
                                              </p:val>
                                            </p:tav>
                                            <p:tav tm="100000">
                                              <p:val>
                                                <p:strVal val="#ppt_w"/>
                                              </p:val>
                                            </p:tav>
                                          </p:tavLst>
                                        </p:anim>
                                        <p:anim calcmode="lin" valueType="num">
                                          <p:cBhvr>
                                            <p:cTn id="16" dur="200" fill="hold"/>
                                            <p:tgtEl>
                                              <p:spTgt spid="8"/>
                                            </p:tgtEl>
                                            <p:attrNameLst>
                                              <p:attrName>ppt_h</p:attrName>
                                            </p:attrNameLst>
                                          </p:cBhvr>
                                          <p:tavLst>
                                            <p:tav tm="0">
                                              <p:val>
                                                <p:fltVal val="0"/>
                                              </p:val>
                                            </p:tav>
                                            <p:tav tm="100000">
                                              <p:val>
                                                <p:strVal val="#ppt_h"/>
                                              </p:val>
                                            </p:tav>
                                          </p:tavLst>
                                        </p:anim>
                                      </p:childTnLst>
                                    </p:cTn>
                                  </p:par>
                                  <p:par>
                                    <p:cTn id="17" presetID="6" presetClass="emph" presetSubtype="0" fill="hold" grpId="1" nodeType="withEffect">
                                      <p:stCondLst>
                                        <p:cond delay="0"/>
                                      </p:stCondLst>
                                      <p:childTnLst>
                                        <p:animScale>
                                          <p:cBhvr>
                                            <p:cTn id="18" dur="1000" fill="hold"/>
                                            <p:tgtEl>
                                              <p:spTgt spid="8"/>
                                            </p:tgtEl>
                                          </p:cBhvr>
                                          <p:by x="110000" y="110000"/>
                                        </p:animScale>
                                      </p:childTnLst>
                                    </p:cTn>
                                  </p:par>
                                  <p:par>
                                    <p:cTn id="19" presetID="6" presetClass="emph" presetSubtype="0" accel="50000" decel="50000" fill="hold" grpId="2" nodeType="withEffect">
                                      <p:stCondLst>
                                        <p:cond delay="0"/>
                                      </p:stCondLst>
                                      <p:childTnLst>
                                        <p:animScale>
                                          <p:cBhvr>
                                            <p:cTn id="20" dur="250" fill="hold"/>
                                            <p:tgtEl>
                                              <p:spTgt spid="8"/>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7" grpId="2" animBg="1"/>
          <p:bldP spid="8" grpId="0" animBg="1"/>
          <p:bldP spid="8" grpId="1" animBg="1"/>
          <p:bldP spid="8" grpId="2" animBg="1"/>
        </p:bldLst>
      </p:timing>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86789A2-FDC9-3086-7308-2F63DD489205}"/>
              </a:ext>
            </a:extLst>
          </p:cNvPr>
          <p:cNvSpPr/>
          <p:nvPr/>
        </p:nvSpPr>
        <p:spPr>
          <a:xfrm>
            <a:off x="0" y="1430448"/>
            <a:ext cx="12192000" cy="408311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5B427F37-B136-E88A-7755-A86BE0AD2CAE}"/>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2"/>
                </a:solidFill>
                <a:effectLst/>
                <a:uLnTx/>
                <a:uFillTx/>
                <a:latin typeface="Arial"/>
                <a:ea typeface="+mn-ea"/>
                <a:cs typeface="Arial"/>
              </a:rPr>
              <a:t> </a:t>
            </a:r>
            <a:endParaRPr kumimoji="0" lang="en-US" sz="1800" b="1"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a:t>
            </a:r>
            <a:br>
              <a:rPr kumimoji="0" lang="en-US" sz="1400" b="0" i="0" u="none" strike="noStrike" kern="1200" cap="none" spc="0" normalizeH="0" baseline="0" noProof="0">
                <a:ln>
                  <a:noFill/>
                </a:ln>
                <a:solidFill>
                  <a:schemeClr val="tx2"/>
                </a:solidFill>
                <a:effectLst/>
                <a:uLnTx/>
                <a:uFillTx/>
                <a:latin typeface="Arial"/>
                <a:ea typeface="+mn-ea"/>
                <a:cs typeface="Arial"/>
              </a:rPr>
            </a:br>
            <a:r>
              <a:rPr kumimoji="0" lang="en-US" sz="1400" b="0" i="0" u="none" strike="noStrike" kern="1200" cap="none" spc="0" normalizeH="0" baseline="0" noProof="0">
                <a:ln>
                  <a:noFill/>
                </a:ln>
                <a:solidFill>
                  <a:schemeClr val="tx2"/>
                </a:solidFill>
                <a:effectLst/>
                <a:uLnTx/>
                <a:uFillTx/>
                <a:latin typeface="Arial"/>
                <a:ea typeface="+mn-ea"/>
                <a:cs typeface="Arial"/>
              </a:rPr>
              <a:t>FORWARD relies exclusively on open-source materials available to the general public</a:t>
            </a:r>
            <a:r>
              <a:rPr lang="en-US" sz="1400" noProof="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6FAA734D-3E8A-16CB-20D3-DEF6A3A7903C}"/>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January 2025</a:t>
            </a:r>
          </a:p>
        </p:txBody>
      </p:sp>
      <p:sp>
        <p:nvSpPr>
          <p:cNvPr id="9" name="TextBox 8">
            <a:extLst>
              <a:ext uri="{FF2B5EF4-FFF2-40B4-BE49-F238E27FC236}">
                <a16:creationId xmlns:a16="http://schemas.microsoft.com/office/drawing/2014/main" id="{B374CB64-56B3-32BC-8C0B-FFD4E5F6E16F}"/>
              </a:ext>
            </a:extLst>
          </p:cNvPr>
          <p:cNvSpPr txBox="1"/>
          <p:nvPr/>
        </p:nvSpPr>
        <p:spPr>
          <a:xfrm>
            <a:off x="3788485" y="6145316"/>
            <a:ext cx="4615031" cy="276999"/>
          </a:xfrm>
          <a:prstGeom prst="rect">
            <a:avLst/>
          </a:prstGeom>
          <a:noFill/>
        </p:spPr>
        <p:txBody>
          <a:bodyPr wrap="square" lIns="91440" tIns="45720" rIns="91440" bIns="45720" rtlCol="0" anchor="t">
            <a:spAutoFit/>
          </a:bodyPr>
          <a:lstStyle/>
          <a:p>
            <a:pPr algn="ctr"/>
            <a:r>
              <a:rPr lang="en-US" sz="1200">
                <a:solidFill>
                  <a:schemeClr val="tx2"/>
                </a:solidFill>
                <a:latin typeface="Arial"/>
                <a:cs typeface="Arial"/>
              </a:rPr>
              <a:t>Content current as of October 2025</a:t>
            </a:r>
          </a:p>
        </p:txBody>
      </p:sp>
      <p:grpSp>
        <p:nvGrpSpPr>
          <p:cNvPr id="8" name="Group 7">
            <a:extLst>
              <a:ext uri="{FF2B5EF4-FFF2-40B4-BE49-F238E27FC236}">
                <a16:creationId xmlns:a16="http://schemas.microsoft.com/office/drawing/2014/main" id="{D052B218-38AF-52F7-9F5B-71C6C1C2E7FD}"/>
              </a:ext>
            </a:extLst>
          </p:cNvPr>
          <p:cNvGrpSpPr/>
          <p:nvPr/>
        </p:nvGrpSpPr>
        <p:grpSpPr>
          <a:xfrm>
            <a:off x="4523650" y="4602787"/>
            <a:ext cx="3144701" cy="853112"/>
            <a:chOff x="4712365" y="4738255"/>
            <a:chExt cx="3144701" cy="853112"/>
          </a:xfrm>
        </p:grpSpPr>
        <p:sp>
          <p:nvSpPr>
            <p:cNvPr id="6" name="TextBox 5">
              <a:extLst>
                <a:ext uri="{FF2B5EF4-FFF2-40B4-BE49-F238E27FC236}">
                  <a16:creationId xmlns:a16="http://schemas.microsoft.com/office/drawing/2014/main" id="{14F082C8-5099-7350-D19C-C73DBD07A8E0}"/>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7" name="Rectangle: Rounded Corners 6">
              <a:extLst>
                <a:ext uri="{FF2B5EF4-FFF2-40B4-BE49-F238E27FC236}">
                  <a16:creationId xmlns:a16="http://schemas.microsoft.com/office/drawing/2014/main" id="{34D0C7F2-B9A1-FC75-7884-DE2537DBEDE3}"/>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graphicFrame>
        <p:nvGraphicFramePr>
          <p:cNvPr id="11" name="Object 10">
            <a:extLst>
              <a:ext uri="{FF2B5EF4-FFF2-40B4-BE49-F238E27FC236}">
                <a16:creationId xmlns:a16="http://schemas.microsoft.com/office/drawing/2014/main" id="{4C968490-DD94-CA5B-D3EC-B0AEE669A576}"/>
              </a:ext>
            </a:extLst>
          </p:cNvPr>
          <p:cNvGraphicFramePr>
            <a:graphicFrameLocks noChangeAspect="1"/>
          </p:cNvGraphicFramePr>
          <p:nvPr>
            <p:extLst>
              <p:ext uri="{D42A27DB-BD31-4B8C-83A1-F6EECF244321}">
                <p14:modId xmlns:p14="http://schemas.microsoft.com/office/powerpoint/2010/main" val="3710226344"/>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bat.Document.DC">
                  <p:embed/>
                </p:oleObj>
              </mc:Choice>
              <mc:Fallback>
                <p:oleObj name="Acrobat Document" showAsIcon="1" r:id="rId3" imgW="937800" imgH="791280" progId="Acrobat.Document.DC">
                  <p:embed/>
                  <p:pic>
                    <p:nvPicPr>
                      <p:cNvPr id="11" name="Object 10">
                        <a:extLst>
                          <a:ext uri="{FF2B5EF4-FFF2-40B4-BE49-F238E27FC236}">
                            <a16:creationId xmlns:a16="http://schemas.microsoft.com/office/drawing/2014/main" id="{4C968490-DD94-CA5B-D3EC-B0AEE669A576}"/>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spTree>
    <p:extLst>
      <p:ext uri="{BB962C8B-B14F-4D97-AF65-F5344CB8AC3E}">
        <p14:creationId xmlns:p14="http://schemas.microsoft.com/office/powerpoint/2010/main" val="408836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F13AB-5B5A-26C2-FF1F-A699529D9A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69DBEC-3E46-84CB-7541-425E9A720388}"/>
              </a:ext>
            </a:extLst>
          </p:cNvPr>
          <p:cNvSpPr>
            <a:spLocks noGrp="1"/>
          </p:cNvSpPr>
          <p:nvPr>
            <p:ph type="title"/>
          </p:nvPr>
        </p:nvSpPr>
        <p:spPr>
          <a:xfrm>
            <a:off x="536240" y="414320"/>
            <a:ext cx="10896000" cy="1082209"/>
          </a:xfrm>
        </p:spPr>
        <p:txBody>
          <a:bodyPr/>
          <a:lstStyle/>
          <a:p>
            <a:r>
              <a:rPr lang="en-US" noProof="0"/>
              <a:t>The evolving definition of obesity</a:t>
            </a:r>
          </a:p>
        </p:txBody>
      </p:sp>
      <p:sp>
        <p:nvSpPr>
          <p:cNvPr id="50" name="Text Placeholder 49">
            <a:extLst>
              <a:ext uri="{FF2B5EF4-FFF2-40B4-BE49-F238E27FC236}">
                <a16:creationId xmlns:a16="http://schemas.microsoft.com/office/drawing/2014/main" id="{CB752794-7A0C-7C56-D314-A01CADE44D03}"/>
              </a:ext>
            </a:extLst>
          </p:cNvPr>
          <p:cNvSpPr>
            <a:spLocks noGrp="1"/>
          </p:cNvSpPr>
          <p:nvPr>
            <p:ph type="body" sz="quarter" idx="13"/>
          </p:nvPr>
        </p:nvSpPr>
        <p:spPr>
          <a:xfrm>
            <a:off x="536240" y="6013923"/>
            <a:ext cx="10896000" cy="324000"/>
          </a:xfrm>
        </p:spPr>
        <p:txBody>
          <a:bodyPr/>
          <a:lstStyle/>
          <a:p>
            <a:r>
              <a:rPr lang="en-US" noProof="0"/>
              <a:t>FFA, free fatty acid; HF, heart failure.</a:t>
            </a:r>
            <a:br>
              <a:rPr lang="en-US" noProof="0"/>
            </a:br>
            <a:r>
              <a:rPr lang="en-US" noProof="0"/>
              <a:t>1. Uranga RM, Keller JN. Front </a:t>
            </a:r>
            <a:r>
              <a:rPr lang="en-US" noProof="0" err="1"/>
              <a:t>Neurosci</a:t>
            </a:r>
            <a:r>
              <a:rPr lang="en-US" noProof="0"/>
              <a:t> 2019;13:513.</a:t>
            </a:r>
          </a:p>
        </p:txBody>
      </p:sp>
      <p:sp>
        <p:nvSpPr>
          <p:cNvPr id="3" name="Isosceles Triangle 2">
            <a:hlinkClick r:id="" action="ppaction://hlinkshowjump?jump=previousslide"/>
            <a:extLst>
              <a:ext uri="{FF2B5EF4-FFF2-40B4-BE49-F238E27FC236}">
                <a16:creationId xmlns:a16="http://schemas.microsoft.com/office/drawing/2014/main" id="{91BE9B4F-145E-EF44-FDB2-E7756A1AD775}"/>
              </a:ext>
            </a:extLst>
          </p:cNvPr>
          <p:cNvSpPr/>
          <p:nvPr/>
        </p:nvSpPr>
        <p:spPr>
          <a:xfrm rot="16200000">
            <a:off x="1515960" y="3421040"/>
            <a:ext cx="685800" cy="591207"/>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7" name="Rectangle: Rounded Corners 16">
            <a:extLst>
              <a:ext uri="{FF2B5EF4-FFF2-40B4-BE49-F238E27FC236}">
                <a16:creationId xmlns:a16="http://schemas.microsoft.com/office/drawing/2014/main" id="{4CF2A65E-1DB3-7B2D-C733-1209E9E73B7F}"/>
              </a:ext>
            </a:extLst>
          </p:cNvPr>
          <p:cNvSpPr/>
          <p:nvPr/>
        </p:nvSpPr>
        <p:spPr>
          <a:xfrm>
            <a:off x="11439167" y="2956882"/>
            <a:ext cx="348280" cy="1580482"/>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18" name="Group 17">
            <a:extLst>
              <a:ext uri="{FF2B5EF4-FFF2-40B4-BE49-F238E27FC236}">
                <a16:creationId xmlns:a16="http://schemas.microsoft.com/office/drawing/2014/main" id="{B29E814A-206E-950C-418A-75C10A16D2F5}"/>
              </a:ext>
            </a:extLst>
          </p:cNvPr>
          <p:cNvGrpSpPr/>
          <p:nvPr/>
        </p:nvGrpSpPr>
        <p:grpSpPr>
          <a:xfrm>
            <a:off x="11499007" y="3111406"/>
            <a:ext cx="228600" cy="1257529"/>
            <a:chOff x="11475667" y="3202846"/>
            <a:chExt cx="228600" cy="1257529"/>
          </a:xfrm>
          <a:solidFill>
            <a:schemeClr val="accent1"/>
          </a:solidFill>
        </p:grpSpPr>
        <p:sp>
          <p:nvSpPr>
            <p:cNvPr id="19" name="Oval 18">
              <a:extLst>
                <a:ext uri="{FF2B5EF4-FFF2-40B4-BE49-F238E27FC236}">
                  <a16:creationId xmlns:a16="http://schemas.microsoft.com/office/drawing/2014/main" id="{161009E8-909C-DF8D-CB3D-570FB20180AB}"/>
                </a:ext>
              </a:extLst>
            </p:cNvPr>
            <p:cNvSpPr/>
            <p:nvPr/>
          </p:nvSpPr>
          <p:spPr>
            <a:xfrm>
              <a:off x="11475667" y="3202846"/>
              <a:ext cx="228600" cy="228600"/>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0" name="Oval 19">
              <a:extLst>
                <a:ext uri="{FF2B5EF4-FFF2-40B4-BE49-F238E27FC236}">
                  <a16:creationId xmlns:a16="http://schemas.microsoft.com/office/drawing/2014/main" id="{6E3065CC-34A6-07BA-8CE6-060A86334CD0}"/>
                </a:ext>
              </a:extLst>
            </p:cNvPr>
            <p:cNvSpPr/>
            <p:nvPr/>
          </p:nvSpPr>
          <p:spPr>
            <a:xfrm>
              <a:off x="11475667" y="3545822"/>
              <a:ext cx="228600" cy="228600"/>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1" name="Oval 20">
              <a:extLst>
                <a:ext uri="{FF2B5EF4-FFF2-40B4-BE49-F238E27FC236}">
                  <a16:creationId xmlns:a16="http://schemas.microsoft.com/office/drawing/2014/main" id="{1B58BC53-C8B5-90F1-EF73-286EC9006388}"/>
                </a:ext>
              </a:extLst>
            </p:cNvPr>
            <p:cNvSpPr/>
            <p:nvPr/>
          </p:nvSpPr>
          <p:spPr>
            <a:xfrm>
              <a:off x="11475667" y="3888798"/>
              <a:ext cx="228600" cy="228600"/>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2" name="Oval 21">
              <a:extLst>
                <a:ext uri="{FF2B5EF4-FFF2-40B4-BE49-F238E27FC236}">
                  <a16:creationId xmlns:a16="http://schemas.microsoft.com/office/drawing/2014/main" id="{3F4F9BEC-1ECD-DAB0-2304-39B78CA22582}"/>
                </a:ext>
              </a:extLst>
            </p:cNvPr>
            <p:cNvSpPr/>
            <p:nvPr/>
          </p:nvSpPr>
          <p:spPr>
            <a:xfrm>
              <a:off x="11475667" y="4231775"/>
              <a:ext cx="228600" cy="228600"/>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grpSp>
        <p:nvGrpSpPr>
          <p:cNvPr id="25" name="Group 24">
            <a:extLst>
              <a:ext uri="{FF2B5EF4-FFF2-40B4-BE49-F238E27FC236}">
                <a16:creationId xmlns:a16="http://schemas.microsoft.com/office/drawing/2014/main" id="{7C73CC8F-50D5-7609-7EE2-F55C31CB60A0}"/>
              </a:ext>
            </a:extLst>
          </p:cNvPr>
          <p:cNvGrpSpPr/>
          <p:nvPr/>
        </p:nvGrpSpPr>
        <p:grpSpPr>
          <a:xfrm>
            <a:off x="2501568" y="1703502"/>
            <a:ext cx="6965344" cy="3903844"/>
            <a:chOff x="13268325" y="1703502"/>
            <a:chExt cx="6965344" cy="3903844"/>
          </a:xfrm>
        </p:grpSpPr>
        <p:sp>
          <p:nvSpPr>
            <p:cNvPr id="26" name="Rectangle 25">
              <a:extLst>
                <a:ext uri="{FF2B5EF4-FFF2-40B4-BE49-F238E27FC236}">
                  <a16:creationId xmlns:a16="http://schemas.microsoft.com/office/drawing/2014/main" id="{191DB5D2-3063-5794-EF8E-F0DD87E3524D}"/>
                </a:ext>
              </a:extLst>
            </p:cNvPr>
            <p:cNvSpPr/>
            <p:nvPr/>
          </p:nvSpPr>
          <p:spPr>
            <a:xfrm>
              <a:off x="13268325" y="1703502"/>
              <a:ext cx="6965344" cy="3903844"/>
            </a:xfrm>
            <a:prstGeom prst="rect">
              <a:avLst/>
            </a:prstGeom>
            <a:solidFill>
              <a:schemeClr val="accent2">
                <a:lumMod val="20000"/>
                <a:lumOff val="80000"/>
              </a:schemeClr>
            </a:solidFill>
            <a:ln w="9525" cap="flat" cmpd="sng" algn="ctr">
              <a:solidFill>
                <a:srgbClr val="EEF6FC"/>
              </a:solidFill>
              <a:prstDash val="solid"/>
            </a:ln>
            <a:effectLst/>
          </p:spPr>
          <p:txBody>
            <a:bodyPr bIns="91440" rtlCol="0" anchor="ctr"/>
            <a:lstStyle/>
            <a:p>
              <a:pPr algn="ctr">
                <a:spcAft>
                  <a:spcPts val="600"/>
                </a:spcAft>
              </a:pPr>
              <a:r>
                <a:rPr lang="en-US" b="1" noProof="0">
                  <a:latin typeface="Arial" panose="020B0604020202020204" pitchFamily="34" charset="0"/>
                </a:rPr>
                <a:t>Altered organ system function</a:t>
              </a:r>
              <a:r>
                <a:rPr lang="en-US" b="1" baseline="30000" noProof="0">
                  <a:latin typeface="Arial" panose="020B0604020202020204" pitchFamily="34" charset="0"/>
                </a:rPr>
                <a:t>1</a:t>
              </a:r>
            </a:p>
            <a:p>
              <a:pPr algn="ctr">
                <a:spcAft>
                  <a:spcPts val="1800"/>
                </a:spcAft>
              </a:pPr>
              <a:r>
                <a:rPr lang="en-US" noProof="0">
                  <a:latin typeface="Arial" panose="020B0604020202020204" pitchFamily="34" charset="0"/>
                </a:rPr>
                <a:t>Some examples of how obesity can</a:t>
              </a:r>
              <a:br>
                <a:rPr lang="en-US" noProof="0">
                  <a:latin typeface="Arial" panose="020B0604020202020204" pitchFamily="34" charset="0"/>
                </a:rPr>
              </a:br>
              <a:r>
                <a:rPr lang="en-US" noProof="0">
                  <a:latin typeface="Arial" panose="020B0604020202020204" pitchFamily="34" charset="0"/>
                </a:rPr>
                <a:t>impact organ function:</a:t>
              </a:r>
            </a:p>
            <a:p>
              <a:pPr marL="828675" indent="-9525">
                <a:spcAft>
                  <a:spcPts val="1200"/>
                </a:spcAft>
              </a:pPr>
              <a:r>
                <a:rPr lang="en-US" b="1" noProof="0">
                  <a:solidFill>
                    <a:schemeClr val="accent1"/>
                  </a:solidFill>
                  <a:latin typeface="Arial" panose="020B0604020202020204" pitchFamily="34" charset="0"/>
                </a:rPr>
                <a:t>The liver </a:t>
              </a:r>
              <a:br>
                <a:rPr lang="en-US" b="1" noProof="0">
                  <a:solidFill>
                    <a:schemeClr val="accent1"/>
                  </a:solidFill>
                  <a:latin typeface="Arial" panose="020B0604020202020204" pitchFamily="34" charset="0"/>
                </a:rPr>
              </a:br>
              <a:r>
                <a:rPr lang="en-US" sz="1600" i="1" noProof="0">
                  <a:solidFill>
                    <a:schemeClr val="accent1"/>
                  </a:solidFill>
                  <a:latin typeface="Arial" panose="020B0604020202020204" pitchFamily="34" charset="0"/>
                </a:rPr>
                <a:t>increased</a:t>
              </a:r>
              <a:r>
                <a:rPr lang="en-US" sz="1600" noProof="0">
                  <a:solidFill>
                    <a:schemeClr val="accent1"/>
                  </a:solidFill>
                  <a:latin typeface="Arial" panose="020B0604020202020204" pitchFamily="34" charset="0"/>
                </a:rPr>
                <a:t> FFA uptake and cancer risk</a:t>
              </a:r>
            </a:p>
            <a:p>
              <a:pPr marL="828675" indent="-9525">
                <a:spcAft>
                  <a:spcPts val="1200"/>
                </a:spcAft>
              </a:pPr>
              <a:r>
                <a:rPr lang="en-US" b="1" noProof="0">
                  <a:solidFill>
                    <a:schemeClr val="accent1"/>
                  </a:solidFill>
                  <a:latin typeface="Arial" panose="020B0604020202020204" pitchFamily="34" charset="0"/>
                </a:rPr>
                <a:t>The cardiovascular system</a:t>
              </a:r>
              <a:br>
                <a:rPr lang="en-US" b="1" noProof="0">
                  <a:solidFill>
                    <a:schemeClr val="accent1"/>
                  </a:solidFill>
                  <a:latin typeface="Arial" panose="020B0604020202020204" pitchFamily="34" charset="0"/>
                </a:rPr>
              </a:br>
              <a:r>
                <a:rPr lang="en-US" sz="1600" i="1" noProof="0">
                  <a:solidFill>
                    <a:schemeClr val="accent1"/>
                  </a:solidFill>
                  <a:latin typeface="Arial" panose="020B0604020202020204" pitchFamily="34" charset="0"/>
                </a:rPr>
                <a:t>increased</a:t>
              </a:r>
              <a:r>
                <a:rPr lang="en-US" sz="1600" noProof="0">
                  <a:solidFill>
                    <a:schemeClr val="accent1"/>
                  </a:solidFill>
                  <a:latin typeface="Arial" panose="020B0604020202020204" pitchFamily="34" charset="0"/>
                </a:rPr>
                <a:t> coronary heart disease, HF, hypertension, cardiomyocyte hypertrophy, etc.</a:t>
              </a:r>
            </a:p>
            <a:p>
              <a:pPr marL="828675" indent="-9525">
                <a:spcAft>
                  <a:spcPts val="1200"/>
                </a:spcAft>
              </a:pPr>
              <a:r>
                <a:rPr lang="en-US" b="1" noProof="0">
                  <a:solidFill>
                    <a:schemeClr val="accent1"/>
                  </a:solidFill>
                  <a:latin typeface="Arial" panose="020B0604020202020204" pitchFamily="34" charset="0"/>
                </a:rPr>
                <a:t>The brain </a:t>
              </a:r>
              <a:br>
                <a:rPr lang="en-US" b="1" noProof="0">
                  <a:solidFill>
                    <a:schemeClr val="accent1"/>
                  </a:solidFill>
                  <a:latin typeface="Arial" panose="020B0604020202020204" pitchFamily="34" charset="0"/>
                </a:rPr>
              </a:br>
              <a:r>
                <a:rPr lang="en-US" sz="1600" i="1" noProof="0">
                  <a:solidFill>
                    <a:schemeClr val="accent1"/>
                  </a:solidFill>
                  <a:latin typeface="Arial" panose="020B0604020202020204" pitchFamily="34" charset="0"/>
                </a:rPr>
                <a:t>decreased</a:t>
              </a:r>
              <a:r>
                <a:rPr lang="en-US" sz="1600" noProof="0">
                  <a:solidFill>
                    <a:schemeClr val="accent1"/>
                  </a:solidFill>
                  <a:latin typeface="Arial" panose="020B0604020202020204" pitchFamily="34" charset="0"/>
                </a:rPr>
                <a:t> gray matter, cognitive function, and memory; </a:t>
              </a:r>
              <a:br>
                <a:rPr lang="en-US" sz="1600" noProof="0">
                  <a:solidFill>
                    <a:schemeClr val="accent1"/>
                  </a:solidFill>
                  <a:latin typeface="Arial" panose="020B0604020202020204" pitchFamily="34" charset="0"/>
                </a:rPr>
              </a:br>
              <a:r>
                <a:rPr lang="en-US" sz="1600" i="1" noProof="0">
                  <a:solidFill>
                    <a:schemeClr val="accent1"/>
                  </a:solidFill>
                  <a:latin typeface="Arial" panose="020B0604020202020204" pitchFamily="34" charset="0"/>
                </a:rPr>
                <a:t>increased</a:t>
              </a:r>
              <a:r>
                <a:rPr lang="en-US" sz="1600" noProof="0">
                  <a:solidFill>
                    <a:schemeClr val="accent1"/>
                  </a:solidFill>
                  <a:latin typeface="Arial" panose="020B0604020202020204" pitchFamily="34" charset="0"/>
                </a:rPr>
                <a:t> dementia, anxiety, and depression</a:t>
              </a:r>
            </a:p>
          </p:txBody>
        </p:sp>
        <p:sp>
          <p:nvSpPr>
            <p:cNvPr id="27" name="Oval 26">
              <a:extLst>
                <a:ext uri="{FF2B5EF4-FFF2-40B4-BE49-F238E27FC236}">
                  <a16:creationId xmlns:a16="http://schemas.microsoft.com/office/drawing/2014/main" id="{26970C90-0D24-0840-C753-67976378CCF7}"/>
                </a:ext>
              </a:extLst>
            </p:cNvPr>
            <p:cNvSpPr/>
            <p:nvPr/>
          </p:nvSpPr>
          <p:spPr>
            <a:xfrm>
              <a:off x="13517912" y="3833978"/>
              <a:ext cx="552330" cy="5523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8" name="Freeform 315">
              <a:extLst>
                <a:ext uri="{FF2B5EF4-FFF2-40B4-BE49-F238E27FC236}">
                  <a16:creationId xmlns:a16="http://schemas.microsoft.com/office/drawing/2014/main" id="{22D27896-617E-1CEA-4135-B070A5EFFC2B}"/>
                </a:ext>
              </a:extLst>
            </p:cNvPr>
            <p:cNvSpPr>
              <a:spLocks/>
            </p:cNvSpPr>
            <p:nvPr/>
          </p:nvSpPr>
          <p:spPr bwMode="auto">
            <a:xfrm>
              <a:off x="13646053" y="3911330"/>
              <a:ext cx="268993" cy="375064"/>
            </a:xfrm>
            <a:custGeom>
              <a:avLst/>
              <a:gdLst>
                <a:gd name="T0" fmla="*/ 614 w 935"/>
                <a:gd name="T1" fmla="*/ 1303 h 1303"/>
                <a:gd name="T2" fmla="*/ 522 w 935"/>
                <a:gd name="T3" fmla="*/ 1274 h 1303"/>
                <a:gd name="T4" fmla="*/ 74 w 935"/>
                <a:gd name="T5" fmla="*/ 898 h 1303"/>
                <a:gd name="T6" fmla="*/ 6 w 935"/>
                <a:gd name="T7" fmla="*/ 650 h 1303"/>
                <a:gd name="T8" fmla="*/ 102 w 935"/>
                <a:gd name="T9" fmla="*/ 432 h 1303"/>
                <a:gd name="T10" fmla="*/ 345 w 935"/>
                <a:gd name="T11" fmla="*/ 378 h 1303"/>
                <a:gd name="T12" fmla="*/ 402 w 935"/>
                <a:gd name="T13" fmla="*/ 397 h 1303"/>
                <a:gd name="T14" fmla="*/ 425 w 935"/>
                <a:gd name="T15" fmla="*/ 390 h 1303"/>
                <a:gd name="T16" fmla="*/ 458 w 935"/>
                <a:gd name="T17" fmla="*/ 327 h 1303"/>
                <a:gd name="T18" fmla="*/ 650 w 935"/>
                <a:gd name="T19" fmla="*/ 27 h 1303"/>
                <a:gd name="T20" fmla="*/ 671 w 935"/>
                <a:gd name="T21" fmla="*/ 0 h 1303"/>
                <a:gd name="T22" fmla="*/ 678 w 935"/>
                <a:gd name="T23" fmla="*/ 0 h 1303"/>
                <a:gd name="T24" fmla="*/ 709 w 935"/>
                <a:gd name="T25" fmla="*/ 29 h 1303"/>
                <a:gd name="T26" fmla="*/ 803 w 935"/>
                <a:gd name="T27" fmla="*/ 106 h 1303"/>
                <a:gd name="T28" fmla="*/ 733 w 935"/>
                <a:gd name="T29" fmla="*/ 186 h 1303"/>
                <a:gd name="T30" fmla="*/ 678 w 935"/>
                <a:gd name="T31" fmla="*/ 335 h 1303"/>
                <a:gd name="T32" fmla="*/ 681 w 935"/>
                <a:gd name="T33" fmla="*/ 360 h 1303"/>
                <a:gd name="T34" fmla="*/ 727 w 935"/>
                <a:gd name="T35" fmla="*/ 390 h 1303"/>
                <a:gd name="T36" fmla="*/ 692 w 935"/>
                <a:gd name="T37" fmla="*/ 424 h 1303"/>
                <a:gd name="T38" fmla="*/ 692 w 935"/>
                <a:gd name="T39" fmla="*/ 505 h 1303"/>
                <a:gd name="T40" fmla="*/ 678 w 935"/>
                <a:gd name="T41" fmla="*/ 609 h 1303"/>
                <a:gd name="T42" fmla="*/ 641 w 935"/>
                <a:gd name="T43" fmla="*/ 637 h 1303"/>
                <a:gd name="T44" fmla="*/ 620 w 935"/>
                <a:gd name="T45" fmla="*/ 595 h 1303"/>
                <a:gd name="T46" fmla="*/ 622 w 935"/>
                <a:gd name="T47" fmla="*/ 372 h 1303"/>
                <a:gd name="T48" fmla="*/ 683 w 935"/>
                <a:gd name="T49" fmla="*/ 153 h 1303"/>
                <a:gd name="T50" fmla="*/ 717 w 935"/>
                <a:gd name="T51" fmla="*/ 114 h 1303"/>
                <a:gd name="T52" fmla="*/ 681 w 935"/>
                <a:gd name="T53" fmla="*/ 84 h 1303"/>
                <a:gd name="T54" fmla="*/ 665 w 935"/>
                <a:gd name="T55" fmla="*/ 103 h 1303"/>
                <a:gd name="T56" fmla="*/ 512 w 935"/>
                <a:gd name="T57" fmla="*/ 353 h 1303"/>
                <a:gd name="T58" fmla="*/ 453 w 935"/>
                <a:gd name="T59" fmla="*/ 453 h 1303"/>
                <a:gd name="T60" fmla="*/ 430 w 935"/>
                <a:gd name="T61" fmla="*/ 464 h 1303"/>
                <a:gd name="T62" fmla="*/ 375 w 935"/>
                <a:gd name="T63" fmla="*/ 450 h 1303"/>
                <a:gd name="T64" fmla="*/ 231 w 935"/>
                <a:gd name="T65" fmla="*/ 430 h 1303"/>
                <a:gd name="T66" fmla="*/ 123 w 935"/>
                <a:gd name="T67" fmla="*/ 498 h 1303"/>
                <a:gd name="T68" fmla="*/ 88 w 935"/>
                <a:gd name="T69" fmla="*/ 790 h 1303"/>
                <a:gd name="T70" fmla="*/ 243 w 935"/>
                <a:gd name="T71" fmla="*/ 1016 h 1303"/>
                <a:gd name="T72" fmla="*/ 538 w 935"/>
                <a:gd name="T73" fmla="*/ 1216 h 1303"/>
                <a:gd name="T74" fmla="*/ 706 w 935"/>
                <a:gd name="T75" fmla="*/ 1237 h 1303"/>
                <a:gd name="T76" fmla="*/ 854 w 935"/>
                <a:gd name="T77" fmla="*/ 1104 h 1303"/>
                <a:gd name="T78" fmla="*/ 871 w 935"/>
                <a:gd name="T79" fmla="*/ 1062 h 1303"/>
                <a:gd name="T80" fmla="*/ 911 w 935"/>
                <a:gd name="T81" fmla="*/ 1039 h 1303"/>
                <a:gd name="T82" fmla="*/ 928 w 935"/>
                <a:gd name="T83" fmla="*/ 1080 h 1303"/>
                <a:gd name="T84" fmla="*/ 697 w 935"/>
                <a:gd name="T85" fmla="*/ 1300 h 1303"/>
                <a:gd name="T86" fmla="*/ 693 w 935"/>
                <a:gd name="T87" fmla="*/ 1303 h 1303"/>
                <a:gd name="T88" fmla="*/ 614 w 935"/>
                <a:gd name="T89" fmla="*/ 1303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35" h="1303">
                  <a:moveTo>
                    <a:pt x="614" y="1303"/>
                  </a:moveTo>
                  <a:cubicBezTo>
                    <a:pt x="583" y="1293"/>
                    <a:pt x="551" y="1286"/>
                    <a:pt x="522" y="1274"/>
                  </a:cubicBezTo>
                  <a:cubicBezTo>
                    <a:pt x="335" y="1194"/>
                    <a:pt x="182" y="1072"/>
                    <a:pt x="74" y="898"/>
                  </a:cubicBezTo>
                  <a:cubicBezTo>
                    <a:pt x="27" y="823"/>
                    <a:pt x="0" y="740"/>
                    <a:pt x="6" y="650"/>
                  </a:cubicBezTo>
                  <a:cubicBezTo>
                    <a:pt x="11" y="566"/>
                    <a:pt x="41" y="491"/>
                    <a:pt x="102" y="432"/>
                  </a:cubicBezTo>
                  <a:cubicBezTo>
                    <a:pt x="172" y="366"/>
                    <a:pt x="255" y="356"/>
                    <a:pt x="345" y="378"/>
                  </a:cubicBezTo>
                  <a:cubicBezTo>
                    <a:pt x="364" y="382"/>
                    <a:pt x="383" y="389"/>
                    <a:pt x="402" y="397"/>
                  </a:cubicBezTo>
                  <a:cubicBezTo>
                    <a:pt x="413" y="402"/>
                    <a:pt x="419" y="400"/>
                    <a:pt x="425" y="390"/>
                  </a:cubicBezTo>
                  <a:cubicBezTo>
                    <a:pt x="436" y="369"/>
                    <a:pt x="449" y="349"/>
                    <a:pt x="458" y="327"/>
                  </a:cubicBezTo>
                  <a:cubicBezTo>
                    <a:pt x="504" y="215"/>
                    <a:pt x="573" y="118"/>
                    <a:pt x="650" y="27"/>
                  </a:cubicBezTo>
                  <a:cubicBezTo>
                    <a:pt x="658" y="18"/>
                    <a:pt x="664" y="9"/>
                    <a:pt x="671" y="0"/>
                  </a:cubicBezTo>
                  <a:cubicBezTo>
                    <a:pt x="674" y="0"/>
                    <a:pt x="676" y="0"/>
                    <a:pt x="678" y="0"/>
                  </a:cubicBezTo>
                  <a:cubicBezTo>
                    <a:pt x="689" y="10"/>
                    <a:pt x="698" y="20"/>
                    <a:pt x="709" y="29"/>
                  </a:cubicBezTo>
                  <a:cubicBezTo>
                    <a:pt x="740" y="55"/>
                    <a:pt x="770" y="80"/>
                    <a:pt x="803" y="106"/>
                  </a:cubicBezTo>
                  <a:cubicBezTo>
                    <a:pt x="779" y="134"/>
                    <a:pt x="756" y="160"/>
                    <a:pt x="733" y="186"/>
                  </a:cubicBezTo>
                  <a:cubicBezTo>
                    <a:pt x="696" y="229"/>
                    <a:pt x="677" y="278"/>
                    <a:pt x="678" y="335"/>
                  </a:cubicBezTo>
                  <a:cubicBezTo>
                    <a:pt x="678" y="343"/>
                    <a:pt x="680" y="352"/>
                    <a:pt x="681" y="360"/>
                  </a:cubicBezTo>
                  <a:cubicBezTo>
                    <a:pt x="715" y="364"/>
                    <a:pt x="726" y="372"/>
                    <a:pt x="727" y="390"/>
                  </a:cubicBezTo>
                  <a:cubicBezTo>
                    <a:pt x="728" y="407"/>
                    <a:pt x="719" y="416"/>
                    <a:pt x="692" y="424"/>
                  </a:cubicBezTo>
                  <a:cubicBezTo>
                    <a:pt x="692" y="451"/>
                    <a:pt x="694" y="478"/>
                    <a:pt x="692" y="505"/>
                  </a:cubicBezTo>
                  <a:cubicBezTo>
                    <a:pt x="689" y="540"/>
                    <a:pt x="684" y="575"/>
                    <a:pt x="678" y="609"/>
                  </a:cubicBezTo>
                  <a:cubicBezTo>
                    <a:pt x="674" y="631"/>
                    <a:pt x="659" y="641"/>
                    <a:pt x="641" y="637"/>
                  </a:cubicBezTo>
                  <a:cubicBezTo>
                    <a:pt x="623" y="633"/>
                    <a:pt x="614" y="617"/>
                    <a:pt x="620" y="595"/>
                  </a:cubicBezTo>
                  <a:cubicBezTo>
                    <a:pt x="637" y="521"/>
                    <a:pt x="636" y="447"/>
                    <a:pt x="622" y="372"/>
                  </a:cubicBezTo>
                  <a:cubicBezTo>
                    <a:pt x="607" y="290"/>
                    <a:pt x="631" y="218"/>
                    <a:pt x="683" y="153"/>
                  </a:cubicBezTo>
                  <a:cubicBezTo>
                    <a:pt x="693" y="140"/>
                    <a:pt x="704" y="128"/>
                    <a:pt x="717" y="114"/>
                  </a:cubicBezTo>
                  <a:cubicBezTo>
                    <a:pt x="705" y="104"/>
                    <a:pt x="694" y="94"/>
                    <a:pt x="681" y="84"/>
                  </a:cubicBezTo>
                  <a:cubicBezTo>
                    <a:pt x="675" y="91"/>
                    <a:pt x="670" y="97"/>
                    <a:pt x="665" y="103"/>
                  </a:cubicBezTo>
                  <a:cubicBezTo>
                    <a:pt x="604" y="181"/>
                    <a:pt x="550" y="261"/>
                    <a:pt x="512" y="353"/>
                  </a:cubicBezTo>
                  <a:cubicBezTo>
                    <a:pt x="497" y="388"/>
                    <a:pt x="474" y="420"/>
                    <a:pt x="453" y="453"/>
                  </a:cubicBezTo>
                  <a:cubicBezTo>
                    <a:pt x="449" y="459"/>
                    <a:pt x="437" y="465"/>
                    <a:pt x="430" y="464"/>
                  </a:cubicBezTo>
                  <a:cubicBezTo>
                    <a:pt x="412" y="461"/>
                    <a:pt x="393" y="457"/>
                    <a:pt x="375" y="450"/>
                  </a:cubicBezTo>
                  <a:cubicBezTo>
                    <a:pt x="329" y="432"/>
                    <a:pt x="281" y="422"/>
                    <a:pt x="231" y="430"/>
                  </a:cubicBezTo>
                  <a:cubicBezTo>
                    <a:pt x="186" y="438"/>
                    <a:pt x="150" y="461"/>
                    <a:pt x="123" y="498"/>
                  </a:cubicBezTo>
                  <a:cubicBezTo>
                    <a:pt x="57" y="588"/>
                    <a:pt x="49" y="687"/>
                    <a:pt x="88" y="790"/>
                  </a:cubicBezTo>
                  <a:cubicBezTo>
                    <a:pt x="121" y="878"/>
                    <a:pt x="177" y="951"/>
                    <a:pt x="243" y="1016"/>
                  </a:cubicBezTo>
                  <a:cubicBezTo>
                    <a:pt x="329" y="1101"/>
                    <a:pt x="426" y="1169"/>
                    <a:pt x="538" y="1216"/>
                  </a:cubicBezTo>
                  <a:cubicBezTo>
                    <a:pt x="592" y="1239"/>
                    <a:pt x="647" y="1252"/>
                    <a:pt x="706" y="1237"/>
                  </a:cubicBezTo>
                  <a:cubicBezTo>
                    <a:pt x="778" y="1218"/>
                    <a:pt x="822" y="1168"/>
                    <a:pt x="854" y="1104"/>
                  </a:cubicBezTo>
                  <a:cubicBezTo>
                    <a:pt x="861" y="1091"/>
                    <a:pt x="866" y="1076"/>
                    <a:pt x="871" y="1062"/>
                  </a:cubicBezTo>
                  <a:cubicBezTo>
                    <a:pt x="879" y="1042"/>
                    <a:pt x="893" y="1033"/>
                    <a:pt x="911" y="1039"/>
                  </a:cubicBezTo>
                  <a:cubicBezTo>
                    <a:pt x="927" y="1045"/>
                    <a:pt x="935" y="1060"/>
                    <a:pt x="928" y="1080"/>
                  </a:cubicBezTo>
                  <a:cubicBezTo>
                    <a:pt x="889" y="1193"/>
                    <a:pt x="822" y="1277"/>
                    <a:pt x="697" y="1300"/>
                  </a:cubicBezTo>
                  <a:cubicBezTo>
                    <a:pt x="695" y="1300"/>
                    <a:pt x="694" y="1302"/>
                    <a:pt x="693" y="1303"/>
                  </a:cubicBezTo>
                  <a:cubicBezTo>
                    <a:pt x="666" y="1303"/>
                    <a:pt x="640" y="1303"/>
                    <a:pt x="614" y="130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9" name="Freeform 316">
              <a:extLst>
                <a:ext uri="{FF2B5EF4-FFF2-40B4-BE49-F238E27FC236}">
                  <a16:creationId xmlns:a16="http://schemas.microsoft.com/office/drawing/2014/main" id="{0C70D160-4410-FD0D-B179-9B7A6648C1EA}"/>
                </a:ext>
              </a:extLst>
            </p:cNvPr>
            <p:cNvSpPr>
              <a:spLocks/>
            </p:cNvSpPr>
            <p:nvPr/>
          </p:nvSpPr>
          <p:spPr bwMode="auto">
            <a:xfrm>
              <a:off x="13616483" y="3958833"/>
              <a:ext cx="96914" cy="53226"/>
            </a:xfrm>
            <a:custGeom>
              <a:avLst/>
              <a:gdLst>
                <a:gd name="T0" fmla="*/ 0 w 337"/>
                <a:gd name="T1" fmla="*/ 64 h 185"/>
                <a:gd name="T2" fmla="*/ 37 w 337"/>
                <a:gd name="T3" fmla="*/ 42 h 185"/>
                <a:gd name="T4" fmla="*/ 225 w 337"/>
                <a:gd name="T5" fmla="*/ 3 h 185"/>
                <a:gd name="T6" fmla="*/ 245 w 337"/>
                <a:gd name="T7" fmla="*/ 11 h 185"/>
                <a:gd name="T8" fmla="*/ 325 w 337"/>
                <a:gd name="T9" fmla="*/ 129 h 185"/>
                <a:gd name="T10" fmla="*/ 320 w 337"/>
                <a:gd name="T11" fmla="*/ 175 h 185"/>
                <a:gd name="T12" fmla="*/ 276 w 337"/>
                <a:gd name="T13" fmla="*/ 163 h 185"/>
                <a:gd name="T14" fmla="*/ 218 w 337"/>
                <a:gd name="T15" fmla="*/ 78 h 185"/>
                <a:gd name="T16" fmla="*/ 198 w 337"/>
                <a:gd name="T17" fmla="*/ 70 h 185"/>
                <a:gd name="T18" fmla="*/ 48 w 337"/>
                <a:gd name="T19" fmla="*/ 101 h 185"/>
                <a:gd name="T20" fmla="*/ 0 w 337"/>
                <a:gd name="T21" fmla="*/ 85 h 185"/>
                <a:gd name="T22" fmla="*/ 0 w 337"/>
                <a:gd name="T23" fmla="*/ 6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185">
                  <a:moveTo>
                    <a:pt x="0" y="64"/>
                  </a:moveTo>
                  <a:cubicBezTo>
                    <a:pt x="9" y="50"/>
                    <a:pt x="21" y="45"/>
                    <a:pt x="37" y="42"/>
                  </a:cubicBezTo>
                  <a:cubicBezTo>
                    <a:pt x="100" y="30"/>
                    <a:pt x="162" y="17"/>
                    <a:pt x="225" y="3"/>
                  </a:cubicBezTo>
                  <a:cubicBezTo>
                    <a:pt x="235" y="0"/>
                    <a:pt x="240" y="3"/>
                    <a:pt x="245" y="11"/>
                  </a:cubicBezTo>
                  <a:cubicBezTo>
                    <a:pt x="271" y="51"/>
                    <a:pt x="298" y="90"/>
                    <a:pt x="325" y="129"/>
                  </a:cubicBezTo>
                  <a:cubicBezTo>
                    <a:pt x="337" y="147"/>
                    <a:pt x="334" y="165"/>
                    <a:pt x="320" y="175"/>
                  </a:cubicBezTo>
                  <a:cubicBezTo>
                    <a:pt x="305" y="185"/>
                    <a:pt x="288" y="181"/>
                    <a:pt x="276" y="163"/>
                  </a:cubicBezTo>
                  <a:cubicBezTo>
                    <a:pt x="256" y="135"/>
                    <a:pt x="237" y="107"/>
                    <a:pt x="218" y="78"/>
                  </a:cubicBezTo>
                  <a:cubicBezTo>
                    <a:pt x="212" y="70"/>
                    <a:pt x="208" y="67"/>
                    <a:pt x="198" y="70"/>
                  </a:cubicBezTo>
                  <a:cubicBezTo>
                    <a:pt x="148" y="81"/>
                    <a:pt x="98" y="90"/>
                    <a:pt x="48" y="101"/>
                  </a:cubicBezTo>
                  <a:cubicBezTo>
                    <a:pt x="28" y="106"/>
                    <a:pt x="12" y="103"/>
                    <a:pt x="0" y="85"/>
                  </a:cubicBezTo>
                  <a:cubicBezTo>
                    <a:pt x="0" y="78"/>
                    <a:pt x="0" y="71"/>
                    <a:pt x="0" y="6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0" name="Freeform 317">
              <a:extLst>
                <a:ext uri="{FF2B5EF4-FFF2-40B4-BE49-F238E27FC236}">
                  <a16:creationId xmlns:a16="http://schemas.microsoft.com/office/drawing/2014/main" id="{40019278-B36F-916A-1178-77F497AA801E}"/>
                </a:ext>
              </a:extLst>
            </p:cNvPr>
            <p:cNvSpPr>
              <a:spLocks/>
            </p:cNvSpPr>
            <p:nvPr/>
          </p:nvSpPr>
          <p:spPr bwMode="auto">
            <a:xfrm>
              <a:off x="13910277" y="4074252"/>
              <a:ext cx="21176" cy="54371"/>
            </a:xfrm>
            <a:custGeom>
              <a:avLst/>
              <a:gdLst>
                <a:gd name="T0" fmla="*/ 74 w 74"/>
                <a:gd name="T1" fmla="*/ 162 h 189"/>
                <a:gd name="T2" fmla="*/ 61 w 74"/>
                <a:gd name="T3" fmla="*/ 176 h 189"/>
                <a:gd name="T4" fmla="*/ 14 w 74"/>
                <a:gd name="T5" fmla="*/ 149 h 189"/>
                <a:gd name="T6" fmla="*/ 3 w 74"/>
                <a:gd name="T7" fmla="*/ 43 h 189"/>
                <a:gd name="T8" fmla="*/ 26 w 74"/>
                <a:gd name="T9" fmla="*/ 4 h 189"/>
                <a:gd name="T10" fmla="*/ 62 w 74"/>
                <a:gd name="T11" fmla="*/ 32 h 189"/>
                <a:gd name="T12" fmla="*/ 74 w 74"/>
                <a:gd name="T13" fmla="*/ 105 h 189"/>
                <a:gd name="T14" fmla="*/ 74 w 74"/>
                <a:gd name="T15" fmla="*/ 162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89">
                  <a:moveTo>
                    <a:pt x="74" y="162"/>
                  </a:moveTo>
                  <a:cubicBezTo>
                    <a:pt x="70" y="167"/>
                    <a:pt x="66" y="172"/>
                    <a:pt x="61" y="176"/>
                  </a:cubicBezTo>
                  <a:cubicBezTo>
                    <a:pt x="40" y="189"/>
                    <a:pt x="17" y="175"/>
                    <a:pt x="14" y="149"/>
                  </a:cubicBezTo>
                  <a:cubicBezTo>
                    <a:pt x="11" y="114"/>
                    <a:pt x="7" y="79"/>
                    <a:pt x="3" y="43"/>
                  </a:cubicBezTo>
                  <a:cubicBezTo>
                    <a:pt x="0" y="22"/>
                    <a:pt x="8" y="8"/>
                    <a:pt x="26" y="4"/>
                  </a:cubicBezTo>
                  <a:cubicBezTo>
                    <a:pt x="43" y="0"/>
                    <a:pt x="57" y="11"/>
                    <a:pt x="62" y="32"/>
                  </a:cubicBezTo>
                  <a:cubicBezTo>
                    <a:pt x="67" y="56"/>
                    <a:pt x="70" y="81"/>
                    <a:pt x="74" y="105"/>
                  </a:cubicBezTo>
                  <a:cubicBezTo>
                    <a:pt x="74" y="124"/>
                    <a:pt x="74" y="143"/>
                    <a:pt x="74" y="16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1" name="Freeform 318">
              <a:extLst>
                <a:ext uri="{FF2B5EF4-FFF2-40B4-BE49-F238E27FC236}">
                  <a16:creationId xmlns:a16="http://schemas.microsoft.com/office/drawing/2014/main" id="{8C9F1734-1E46-6461-ABE5-95663B417DFC}"/>
                </a:ext>
              </a:extLst>
            </p:cNvPr>
            <p:cNvSpPr>
              <a:spLocks/>
            </p:cNvSpPr>
            <p:nvPr/>
          </p:nvSpPr>
          <p:spPr bwMode="auto">
            <a:xfrm>
              <a:off x="13905317" y="4142740"/>
              <a:ext cx="24419" cy="51891"/>
            </a:xfrm>
            <a:custGeom>
              <a:avLst/>
              <a:gdLst>
                <a:gd name="T0" fmla="*/ 85 w 85"/>
                <a:gd name="T1" fmla="*/ 35 h 180"/>
                <a:gd name="T2" fmla="*/ 61 w 85"/>
                <a:gd name="T3" fmla="*/ 157 h 180"/>
                <a:gd name="T4" fmla="*/ 26 w 85"/>
                <a:gd name="T5" fmla="*/ 177 h 180"/>
                <a:gd name="T6" fmla="*/ 3 w 85"/>
                <a:gd name="T7" fmla="*/ 144 h 180"/>
                <a:gd name="T8" fmla="*/ 25 w 85"/>
                <a:gd name="T9" fmla="*/ 24 h 180"/>
                <a:gd name="T10" fmla="*/ 59 w 85"/>
                <a:gd name="T11" fmla="*/ 2 h 180"/>
                <a:gd name="T12" fmla="*/ 85 w 85"/>
                <a:gd name="T13" fmla="*/ 35 h 180"/>
              </a:gdLst>
              <a:ahLst/>
              <a:cxnLst>
                <a:cxn ang="0">
                  <a:pos x="T0" y="T1"/>
                </a:cxn>
                <a:cxn ang="0">
                  <a:pos x="T2" y="T3"/>
                </a:cxn>
                <a:cxn ang="0">
                  <a:pos x="T4" y="T5"/>
                </a:cxn>
                <a:cxn ang="0">
                  <a:pos x="T6" y="T7"/>
                </a:cxn>
                <a:cxn ang="0">
                  <a:pos x="T8" y="T9"/>
                </a:cxn>
                <a:cxn ang="0">
                  <a:pos x="T10" y="T11"/>
                </a:cxn>
                <a:cxn ang="0">
                  <a:pos x="T12" y="T13"/>
                </a:cxn>
              </a:cxnLst>
              <a:rect l="0" t="0" r="r" b="b"/>
              <a:pathLst>
                <a:path w="85" h="180">
                  <a:moveTo>
                    <a:pt x="85" y="35"/>
                  </a:moveTo>
                  <a:cubicBezTo>
                    <a:pt x="77" y="76"/>
                    <a:pt x="70" y="116"/>
                    <a:pt x="61" y="157"/>
                  </a:cubicBezTo>
                  <a:cubicBezTo>
                    <a:pt x="57" y="173"/>
                    <a:pt x="42" y="180"/>
                    <a:pt x="26" y="177"/>
                  </a:cubicBezTo>
                  <a:cubicBezTo>
                    <a:pt x="11" y="174"/>
                    <a:pt x="0" y="161"/>
                    <a:pt x="3" y="144"/>
                  </a:cubicBezTo>
                  <a:cubicBezTo>
                    <a:pt x="10" y="104"/>
                    <a:pt x="17" y="64"/>
                    <a:pt x="25" y="24"/>
                  </a:cubicBezTo>
                  <a:cubicBezTo>
                    <a:pt x="28" y="8"/>
                    <a:pt x="44" y="0"/>
                    <a:pt x="59" y="2"/>
                  </a:cubicBezTo>
                  <a:cubicBezTo>
                    <a:pt x="75" y="5"/>
                    <a:pt x="84" y="17"/>
                    <a:pt x="85" y="3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Freeform 319">
              <a:extLst>
                <a:ext uri="{FF2B5EF4-FFF2-40B4-BE49-F238E27FC236}">
                  <a16:creationId xmlns:a16="http://schemas.microsoft.com/office/drawing/2014/main" id="{79E5CCC1-8D4E-619C-ACA9-71DE32AA7459}"/>
                </a:ext>
              </a:extLst>
            </p:cNvPr>
            <p:cNvSpPr>
              <a:spLocks/>
            </p:cNvSpPr>
            <p:nvPr/>
          </p:nvSpPr>
          <p:spPr bwMode="auto">
            <a:xfrm>
              <a:off x="13790279" y="4108592"/>
              <a:ext cx="39109" cy="46931"/>
            </a:xfrm>
            <a:custGeom>
              <a:avLst/>
              <a:gdLst>
                <a:gd name="T0" fmla="*/ 136 w 136"/>
                <a:gd name="T1" fmla="*/ 29 h 163"/>
                <a:gd name="T2" fmla="*/ 126 w 136"/>
                <a:gd name="T3" fmla="*/ 53 h 163"/>
                <a:gd name="T4" fmla="*/ 59 w 136"/>
                <a:gd name="T5" fmla="*/ 145 h 163"/>
                <a:gd name="T6" fmla="*/ 14 w 136"/>
                <a:gd name="T7" fmla="*/ 151 h 163"/>
                <a:gd name="T8" fmla="*/ 14 w 136"/>
                <a:gd name="T9" fmla="*/ 104 h 163"/>
                <a:gd name="T10" fmla="*/ 76 w 136"/>
                <a:gd name="T11" fmla="*/ 19 h 163"/>
                <a:gd name="T12" fmla="*/ 112 w 136"/>
                <a:gd name="T13" fmla="*/ 6 h 163"/>
                <a:gd name="T14" fmla="*/ 136 w 136"/>
                <a:gd name="T15" fmla="*/ 29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63">
                  <a:moveTo>
                    <a:pt x="136" y="29"/>
                  </a:moveTo>
                  <a:cubicBezTo>
                    <a:pt x="131" y="40"/>
                    <a:pt x="130" y="48"/>
                    <a:pt x="126" y="53"/>
                  </a:cubicBezTo>
                  <a:cubicBezTo>
                    <a:pt x="104" y="84"/>
                    <a:pt x="82" y="115"/>
                    <a:pt x="59" y="145"/>
                  </a:cubicBezTo>
                  <a:cubicBezTo>
                    <a:pt x="46" y="161"/>
                    <a:pt x="27" y="163"/>
                    <a:pt x="14" y="151"/>
                  </a:cubicBezTo>
                  <a:cubicBezTo>
                    <a:pt x="0" y="139"/>
                    <a:pt x="1" y="122"/>
                    <a:pt x="14" y="104"/>
                  </a:cubicBezTo>
                  <a:cubicBezTo>
                    <a:pt x="36" y="77"/>
                    <a:pt x="56" y="48"/>
                    <a:pt x="76" y="19"/>
                  </a:cubicBezTo>
                  <a:cubicBezTo>
                    <a:pt x="85" y="6"/>
                    <a:pt x="98" y="0"/>
                    <a:pt x="112" y="6"/>
                  </a:cubicBezTo>
                  <a:cubicBezTo>
                    <a:pt x="122" y="10"/>
                    <a:pt x="128" y="21"/>
                    <a:pt x="136" y="2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8" name="Freeform 320">
              <a:extLst>
                <a:ext uri="{FF2B5EF4-FFF2-40B4-BE49-F238E27FC236}">
                  <a16:creationId xmlns:a16="http://schemas.microsoft.com/office/drawing/2014/main" id="{63918859-BD0C-2C62-B561-786C8A1DD909}"/>
                </a:ext>
              </a:extLst>
            </p:cNvPr>
            <p:cNvSpPr>
              <a:spLocks/>
            </p:cNvSpPr>
            <p:nvPr/>
          </p:nvSpPr>
          <p:spPr bwMode="auto">
            <a:xfrm>
              <a:off x="13870214" y="4021026"/>
              <a:ext cx="44641" cy="40063"/>
            </a:xfrm>
            <a:custGeom>
              <a:avLst/>
              <a:gdLst>
                <a:gd name="T0" fmla="*/ 155 w 155"/>
                <a:gd name="T1" fmla="*/ 115 h 139"/>
                <a:gd name="T2" fmla="*/ 135 w 155"/>
                <a:gd name="T3" fmla="*/ 136 h 139"/>
                <a:gd name="T4" fmla="*/ 103 w 155"/>
                <a:gd name="T5" fmla="*/ 130 h 139"/>
                <a:gd name="T6" fmla="*/ 17 w 155"/>
                <a:gd name="T7" fmla="*/ 58 h 139"/>
                <a:gd name="T8" fmla="*/ 7 w 155"/>
                <a:gd name="T9" fmla="*/ 20 h 139"/>
                <a:gd name="T10" fmla="*/ 45 w 155"/>
                <a:gd name="T11" fmla="*/ 7 h 139"/>
                <a:gd name="T12" fmla="*/ 148 w 155"/>
                <a:gd name="T13" fmla="*/ 94 h 139"/>
                <a:gd name="T14" fmla="*/ 155 w 155"/>
                <a:gd name="T15" fmla="*/ 115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39">
                  <a:moveTo>
                    <a:pt x="155" y="115"/>
                  </a:moveTo>
                  <a:cubicBezTo>
                    <a:pt x="149" y="121"/>
                    <a:pt x="143" y="133"/>
                    <a:pt x="135" y="136"/>
                  </a:cubicBezTo>
                  <a:cubicBezTo>
                    <a:pt x="125" y="139"/>
                    <a:pt x="109" y="137"/>
                    <a:pt x="103" y="130"/>
                  </a:cubicBezTo>
                  <a:cubicBezTo>
                    <a:pt x="79" y="101"/>
                    <a:pt x="51" y="76"/>
                    <a:pt x="17" y="58"/>
                  </a:cubicBezTo>
                  <a:cubicBezTo>
                    <a:pt x="3" y="51"/>
                    <a:pt x="0" y="34"/>
                    <a:pt x="7" y="20"/>
                  </a:cubicBezTo>
                  <a:cubicBezTo>
                    <a:pt x="14" y="7"/>
                    <a:pt x="30" y="0"/>
                    <a:pt x="45" y="7"/>
                  </a:cubicBezTo>
                  <a:cubicBezTo>
                    <a:pt x="88" y="26"/>
                    <a:pt x="122" y="55"/>
                    <a:pt x="148" y="94"/>
                  </a:cubicBezTo>
                  <a:cubicBezTo>
                    <a:pt x="151" y="98"/>
                    <a:pt x="152" y="105"/>
                    <a:pt x="155" y="11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3" name="Freeform 321">
              <a:extLst>
                <a:ext uri="{FF2B5EF4-FFF2-40B4-BE49-F238E27FC236}">
                  <a16:creationId xmlns:a16="http://schemas.microsoft.com/office/drawing/2014/main" id="{ED29D0B4-07D0-84EC-0093-B140DC4844AA}"/>
                </a:ext>
              </a:extLst>
            </p:cNvPr>
            <p:cNvSpPr>
              <a:spLocks/>
            </p:cNvSpPr>
            <p:nvPr/>
          </p:nvSpPr>
          <p:spPr bwMode="auto">
            <a:xfrm>
              <a:off x="13690885" y="3914955"/>
              <a:ext cx="92144" cy="86040"/>
            </a:xfrm>
            <a:custGeom>
              <a:avLst/>
              <a:gdLst>
                <a:gd name="T0" fmla="*/ 247 w 320"/>
                <a:gd name="T1" fmla="*/ 0 h 299"/>
                <a:gd name="T2" fmla="*/ 270 w 320"/>
                <a:gd name="T3" fmla="*/ 22 h 299"/>
                <a:gd name="T4" fmla="*/ 318 w 320"/>
                <a:gd name="T5" fmla="*/ 166 h 299"/>
                <a:gd name="T6" fmla="*/ 316 w 320"/>
                <a:gd name="T7" fmla="*/ 182 h 299"/>
                <a:gd name="T8" fmla="*/ 264 w 320"/>
                <a:gd name="T9" fmla="*/ 288 h 299"/>
                <a:gd name="T10" fmla="*/ 243 w 320"/>
                <a:gd name="T11" fmla="*/ 296 h 299"/>
                <a:gd name="T12" fmla="*/ 102 w 320"/>
                <a:gd name="T13" fmla="*/ 248 h 299"/>
                <a:gd name="T14" fmla="*/ 84 w 320"/>
                <a:gd name="T15" fmla="*/ 233 h 299"/>
                <a:gd name="T16" fmla="*/ 11 w 320"/>
                <a:gd name="T17" fmla="*/ 107 h 299"/>
                <a:gd name="T18" fmla="*/ 19 w 320"/>
                <a:gd name="T19" fmla="*/ 60 h 299"/>
                <a:gd name="T20" fmla="*/ 63 w 320"/>
                <a:gd name="T21" fmla="*/ 77 h 299"/>
                <a:gd name="T22" fmla="*/ 124 w 320"/>
                <a:gd name="T23" fmla="*/ 182 h 299"/>
                <a:gd name="T24" fmla="*/ 146 w 320"/>
                <a:gd name="T25" fmla="*/ 200 h 299"/>
                <a:gd name="T26" fmla="*/ 215 w 320"/>
                <a:gd name="T27" fmla="*/ 223 h 299"/>
                <a:gd name="T28" fmla="*/ 233 w 320"/>
                <a:gd name="T29" fmla="*/ 216 h 299"/>
                <a:gd name="T30" fmla="*/ 252 w 320"/>
                <a:gd name="T31" fmla="*/ 176 h 299"/>
                <a:gd name="T32" fmla="*/ 252 w 320"/>
                <a:gd name="T33" fmla="*/ 156 h 299"/>
                <a:gd name="T34" fmla="*/ 215 w 320"/>
                <a:gd name="T35" fmla="*/ 42 h 299"/>
                <a:gd name="T36" fmla="*/ 247 w 320"/>
                <a:gd name="T3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99">
                  <a:moveTo>
                    <a:pt x="247" y="0"/>
                  </a:moveTo>
                  <a:cubicBezTo>
                    <a:pt x="255" y="7"/>
                    <a:pt x="267" y="13"/>
                    <a:pt x="270" y="22"/>
                  </a:cubicBezTo>
                  <a:cubicBezTo>
                    <a:pt x="288" y="69"/>
                    <a:pt x="303" y="118"/>
                    <a:pt x="318" y="166"/>
                  </a:cubicBezTo>
                  <a:cubicBezTo>
                    <a:pt x="320" y="170"/>
                    <a:pt x="318" y="177"/>
                    <a:pt x="316" y="182"/>
                  </a:cubicBezTo>
                  <a:cubicBezTo>
                    <a:pt x="299" y="218"/>
                    <a:pt x="281" y="252"/>
                    <a:pt x="264" y="288"/>
                  </a:cubicBezTo>
                  <a:cubicBezTo>
                    <a:pt x="259" y="299"/>
                    <a:pt x="254" y="299"/>
                    <a:pt x="243" y="296"/>
                  </a:cubicBezTo>
                  <a:cubicBezTo>
                    <a:pt x="196" y="280"/>
                    <a:pt x="149" y="265"/>
                    <a:pt x="102" y="248"/>
                  </a:cubicBezTo>
                  <a:cubicBezTo>
                    <a:pt x="95" y="246"/>
                    <a:pt x="87" y="240"/>
                    <a:pt x="84" y="233"/>
                  </a:cubicBezTo>
                  <a:cubicBezTo>
                    <a:pt x="59" y="191"/>
                    <a:pt x="35" y="149"/>
                    <a:pt x="11" y="107"/>
                  </a:cubicBezTo>
                  <a:cubicBezTo>
                    <a:pt x="0" y="87"/>
                    <a:pt x="3" y="69"/>
                    <a:pt x="19" y="60"/>
                  </a:cubicBezTo>
                  <a:cubicBezTo>
                    <a:pt x="36" y="51"/>
                    <a:pt x="52" y="57"/>
                    <a:pt x="63" y="77"/>
                  </a:cubicBezTo>
                  <a:cubicBezTo>
                    <a:pt x="84" y="112"/>
                    <a:pt x="103" y="147"/>
                    <a:pt x="124" y="182"/>
                  </a:cubicBezTo>
                  <a:cubicBezTo>
                    <a:pt x="128" y="190"/>
                    <a:pt x="137" y="196"/>
                    <a:pt x="146" y="200"/>
                  </a:cubicBezTo>
                  <a:cubicBezTo>
                    <a:pt x="168" y="209"/>
                    <a:pt x="192" y="215"/>
                    <a:pt x="215" y="223"/>
                  </a:cubicBezTo>
                  <a:cubicBezTo>
                    <a:pt x="224" y="226"/>
                    <a:pt x="229" y="225"/>
                    <a:pt x="233" y="216"/>
                  </a:cubicBezTo>
                  <a:cubicBezTo>
                    <a:pt x="239" y="202"/>
                    <a:pt x="247" y="190"/>
                    <a:pt x="252" y="176"/>
                  </a:cubicBezTo>
                  <a:cubicBezTo>
                    <a:pt x="254" y="170"/>
                    <a:pt x="254" y="162"/>
                    <a:pt x="252" y="156"/>
                  </a:cubicBezTo>
                  <a:cubicBezTo>
                    <a:pt x="240" y="118"/>
                    <a:pt x="227" y="80"/>
                    <a:pt x="215" y="42"/>
                  </a:cubicBezTo>
                  <a:cubicBezTo>
                    <a:pt x="208" y="21"/>
                    <a:pt x="222" y="3"/>
                    <a:pt x="247"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4" name="Oval 43">
              <a:extLst>
                <a:ext uri="{FF2B5EF4-FFF2-40B4-BE49-F238E27FC236}">
                  <a16:creationId xmlns:a16="http://schemas.microsoft.com/office/drawing/2014/main" id="{FB9F9703-72B1-CC18-ECA4-002E4FE7F824}"/>
                </a:ext>
              </a:extLst>
            </p:cNvPr>
            <p:cNvSpPr/>
            <p:nvPr/>
          </p:nvSpPr>
          <p:spPr>
            <a:xfrm>
              <a:off x="13517912" y="3024353"/>
              <a:ext cx="552330" cy="5523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45" name="Group 44">
              <a:extLst>
                <a:ext uri="{FF2B5EF4-FFF2-40B4-BE49-F238E27FC236}">
                  <a16:creationId xmlns:a16="http://schemas.microsoft.com/office/drawing/2014/main" id="{F602973C-88A5-E1D7-8FE2-299F10809CF8}"/>
                </a:ext>
              </a:extLst>
            </p:cNvPr>
            <p:cNvGrpSpPr/>
            <p:nvPr/>
          </p:nvGrpSpPr>
          <p:grpSpPr>
            <a:xfrm>
              <a:off x="13607204" y="3164312"/>
              <a:ext cx="392860" cy="283879"/>
              <a:chOff x="13607204" y="3164312"/>
              <a:chExt cx="392860" cy="283879"/>
            </a:xfrm>
          </p:grpSpPr>
          <p:sp>
            <p:nvSpPr>
              <p:cNvPr id="49" name="Freeform 325">
                <a:extLst>
                  <a:ext uri="{FF2B5EF4-FFF2-40B4-BE49-F238E27FC236}">
                    <a16:creationId xmlns:a16="http://schemas.microsoft.com/office/drawing/2014/main" id="{C3F720A5-10F7-6647-60A5-A69922D5F0A8}"/>
                  </a:ext>
                </a:extLst>
              </p:cNvPr>
              <p:cNvSpPr>
                <a:spLocks/>
              </p:cNvSpPr>
              <p:nvPr/>
            </p:nvSpPr>
            <p:spPr bwMode="auto">
              <a:xfrm>
                <a:off x="13607204" y="3174712"/>
                <a:ext cx="284758" cy="273479"/>
              </a:xfrm>
              <a:custGeom>
                <a:avLst/>
                <a:gdLst>
                  <a:gd name="T0" fmla="*/ 0 w 1291"/>
                  <a:gd name="T1" fmla="*/ 392 h 1238"/>
                  <a:gd name="T2" fmla="*/ 14 w 1291"/>
                  <a:gd name="T3" fmla="*/ 314 h 1238"/>
                  <a:gd name="T4" fmla="*/ 142 w 1291"/>
                  <a:gd name="T5" fmla="*/ 77 h 1238"/>
                  <a:gd name="T6" fmla="*/ 272 w 1291"/>
                  <a:gd name="T7" fmla="*/ 8 h 1238"/>
                  <a:gd name="T8" fmla="*/ 321 w 1291"/>
                  <a:gd name="T9" fmla="*/ 30 h 1238"/>
                  <a:gd name="T10" fmla="*/ 295 w 1291"/>
                  <a:gd name="T11" fmla="*/ 78 h 1238"/>
                  <a:gd name="T12" fmla="*/ 83 w 1291"/>
                  <a:gd name="T13" fmla="*/ 350 h 1238"/>
                  <a:gd name="T14" fmla="*/ 90 w 1291"/>
                  <a:gd name="T15" fmla="*/ 674 h 1238"/>
                  <a:gd name="T16" fmla="*/ 129 w 1291"/>
                  <a:gd name="T17" fmla="*/ 896 h 1238"/>
                  <a:gd name="T18" fmla="*/ 309 w 1291"/>
                  <a:gd name="T19" fmla="*/ 1141 h 1238"/>
                  <a:gd name="T20" fmla="*/ 508 w 1291"/>
                  <a:gd name="T21" fmla="*/ 1108 h 1238"/>
                  <a:gd name="T22" fmla="*/ 556 w 1291"/>
                  <a:gd name="T23" fmla="*/ 1037 h 1238"/>
                  <a:gd name="T24" fmla="*/ 669 w 1291"/>
                  <a:gd name="T25" fmla="*/ 907 h 1238"/>
                  <a:gd name="T26" fmla="*/ 870 w 1291"/>
                  <a:gd name="T27" fmla="*/ 791 h 1238"/>
                  <a:gd name="T28" fmla="*/ 1002 w 1291"/>
                  <a:gd name="T29" fmla="*/ 707 h 1238"/>
                  <a:gd name="T30" fmla="*/ 1068 w 1291"/>
                  <a:gd name="T31" fmla="*/ 578 h 1238"/>
                  <a:gd name="T32" fmla="*/ 1058 w 1291"/>
                  <a:gd name="T33" fmla="*/ 418 h 1238"/>
                  <a:gd name="T34" fmla="*/ 1088 w 1291"/>
                  <a:gd name="T35" fmla="*/ 371 h 1238"/>
                  <a:gd name="T36" fmla="*/ 1130 w 1291"/>
                  <a:gd name="T37" fmla="*/ 404 h 1238"/>
                  <a:gd name="T38" fmla="*/ 1133 w 1291"/>
                  <a:gd name="T39" fmla="*/ 419 h 1238"/>
                  <a:gd name="T40" fmla="*/ 1148 w 1291"/>
                  <a:gd name="T41" fmla="*/ 555 h 1238"/>
                  <a:gd name="T42" fmla="*/ 1239 w 1291"/>
                  <a:gd name="T43" fmla="*/ 528 h 1238"/>
                  <a:gd name="T44" fmla="*/ 1283 w 1291"/>
                  <a:gd name="T45" fmla="*/ 571 h 1238"/>
                  <a:gd name="T46" fmla="*/ 1254 w 1291"/>
                  <a:gd name="T47" fmla="*/ 600 h 1238"/>
                  <a:gd name="T48" fmla="*/ 1152 w 1291"/>
                  <a:gd name="T49" fmla="*/ 636 h 1238"/>
                  <a:gd name="T50" fmla="*/ 1129 w 1291"/>
                  <a:gd name="T51" fmla="*/ 659 h 1238"/>
                  <a:gd name="T52" fmla="*/ 1071 w 1291"/>
                  <a:gd name="T53" fmla="*/ 746 h 1238"/>
                  <a:gd name="T54" fmla="*/ 849 w 1291"/>
                  <a:gd name="T55" fmla="*/ 887 h 1238"/>
                  <a:gd name="T56" fmla="*/ 700 w 1291"/>
                  <a:gd name="T57" fmla="*/ 977 h 1238"/>
                  <a:gd name="T58" fmla="*/ 624 w 1291"/>
                  <a:gd name="T59" fmla="*/ 1068 h 1238"/>
                  <a:gd name="T60" fmla="*/ 428 w 1291"/>
                  <a:gd name="T61" fmla="*/ 1235 h 1238"/>
                  <a:gd name="T62" fmla="*/ 425 w 1291"/>
                  <a:gd name="T63" fmla="*/ 1238 h 1238"/>
                  <a:gd name="T64" fmla="*/ 350 w 1291"/>
                  <a:gd name="T65" fmla="*/ 1238 h 1238"/>
                  <a:gd name="T66" fmla="*/ 346 w 1291"/>
                  <a:gd name="T67" fmla="*/ 1235 h 1238"/>
                  <a:gd name="T68" fmla="*/ 84 w 1291"/>
                  <a:gd name="T69" fmla="*/ 997 h 1238"/>
                  <a:gd name="T70" fmla="*/ 23 w 1291"/>
                  <a:gd name="T71" fmla="*/ 735 h 1238"/>
                  <a:gd name="T72" fmla="*/ 0 w 1291"/>
                  <a:gd name="T73" fmla="*/ 547 h 1238"/>
                  <a:gd name="T74" fmla="*/ 0 w 1291"/>
                  <a:gd name="T75" fmla="*/ 392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91" h="1238">
                    <a:moveTo>
                      <a:pt x="0" y="392"/>
                    </a:moveTo>
                    <a:cubicBezTo>
                      <a:pt x="4" y="366"/>
                      <a:pt x="9" y="340"/>
                      <a:pt x="14" y="314"/>
                    </a:cubicBezTo>
                    <a:cubicBezTo>
                      <a:pt x="33" y="222"/>
                      <a:pt x="70" y="140"/>
                      <a:pt x="142" y="77"/>
                    </a:cubicBezTo>
                    <a:cubicBezTo>
                      <a:pt x="179" y="44"/>
                      <a:pt x="224" y="23"/>
                      <a:pt x="272" y="8"/>
                    </a:cubicBezTo>
                    <a:cubicBezTo>
                      <a:pt x="294" y="0"/>
                      <a:pt x="314" y="10"/>
                      <a:pt x="321" y="30"/>
                    </a:cubicBezTo>
                    <a:cubicBezTo>
                      <a:pt x="328" y="50"/>
                      <a:pt x="318" y="71"/>
                      <a:pt x="295" y="78"/>
                    </a:cubicBezTo>
                    <a:cubicBezTo>
                      <a:pt x="161" y="120"/>
                      <a:pt x="105" y="222"/>
                      <a:pt x="83" y="350"/>
                    </a:cubicBezTo>
                    <a:cubicBezTo>
                      <a:pt x="65" y="458"/>
                      <a:pt x="74" y="566"/>
                      <a:pt x="90" y="674"/>
                    </a:cubicBezTo>
                    <a:cubicBezTo>
                      <a:pt x="100" y="748"/>
                      <a:pt x="112" y="823"/>
                      <a:pt x="129" y="896"/>
                    </a:cubicBezTo>
                    <a:cubicBezTo>
                      <a:pt x="154" y="1002"/>
                      <a:pt x="209" y="1089"/>
                      <a:pt x="309" y="1141"/>
                    </a:cubicBezTo>
                    <a:cubicBezTo>
                      <a:pt x="380" y="1179"/>
                      <a:pt x="454" y="1168"/>
                      <a:pt x="508" y="1108"/>
                    </a:cubicBezTo>
                    <a:cubicBezTo>
                      <a:pt x="527" y="1087"/>
                      <a:pt x="544" y="1063"/>
                      <a:pt x="556" y="1037"/>
                    </a:cubicBezTo>
                    <a:cubicBezTo>
                      <a:pt x="581" y="983"/>
                      <a:pt x="619" y="938"/>
                      <a:pt x="669" y="907"/>
                    </a:cubicBezTo>
                    <a:cubicBezTo>
                      <a:pt x="735" y="866"/>
                      <a:pt x="803" y="830"/>
                      <a:pt x="870" y="791"/>
                    </a:cubicBezTo>
                    <a:cubicBezTo>
                      <a:pt x="915" y="764"/>
                      <a:pt x="958" y="735"/>
                      <a:pt x="1002" y="707"/>
                    </a:cubicBezTo>
                    <a:cubicBezTo>
                      <a:pt x="1049" y="677"/>
                      <a:pt x="1068" y="631"/>
                      <a:pt x="1068" y="578"/>
                    </a:cubicBezTo>
                    <a:cubicBezTo>
                      <a:pt x="1067" y="525"/>
                      <a:pt x="1062" y="471"/>
                      <a:pt x="1058" y="418"/>
                    </a:cubicBezTo>
                    <a:cubicBezTo>
                      <a:pt x="1056" y="393"/>
                      <a:pt x="1066" y="375"/>
                      <a:pt x="1088" y="371"/>
                    </a:cubicBezTo>
                    <a:cubicBezTo>
                      <a:pt x="1108" y="368"/>
                      <a:pt x="1124" y="380"/>
                      <a:pt x="1130" y="404"/>
                    </a:cubicBezTo>
                    <a:cubicBezTo>
                      <a:pt x="1132" y="409"/>
                      <a:pt x="1133" y="414"/>
                      <a:pt x="1133" y="419"/>
                    </a:cubicBezTo>
                    <a:cubicBezTo>
                      <a:pt x="1138" y="464"/>
                      <a:pt x="1143" y="508"/>
                      <a:pt x="1148" y="555"/>
                    </a:cubicBezTo>
                    <a:cubicBezTo>
                      <a:pt x="1177" y="546"/>
                      <a:pt x="1208" y="536"/>
                      <a:pt x="1239" y="528"/>
                    </a:cubicBezTo>
                    <a:cubicBezTo>
                      <a:pt x="1267" y="521"/>
                      <a:pt x="1291" y="544"/>
                      <a:pt x="1283" y="571"/>
                    </a:cubicBezTo>
                    <a:cubicBezTo>
                      <a:pt x="1279" y="583"/>
                      <a:pt x="1266" y="595"/>
                      <a:pt x="1254" y="600"/>
                    </a:cubicBezTo>
                    <a:cubicBezTo>
                      <a:pt x="1220" y="613"/>
                      <a:pt x="1185" y="623"/>
                      <a:pt x="1152" y="636"/>
                    </a:cubicBezTo>
                    <a:cubicBezTo>
                      <a:pt x="1142" y="639"/>
                      <a:pt x="1133" y="650"/>
                      <a:pt x="1129" y="659"/>
                    </a:cubicBezTo>
                    <a:cubicBezTo>
                      <a:pt x="1117" y="694"/>
                      <a:pt x="1099" y="722"/>
                      <a:pt x="1071" y="746"/>
                    </a:cubicBezTo>
                    <a:cubicBezTo>
                      <a:pt x="1004" y="805"/>
                      <a:pt x="926" y="844"/>
                      <a:pt x="849" y="887"/>
                    </a:cubicBezTo>
                    <a:cubicBezTo>
                      <a:pt x="799" y="916"/>
                      <a:pt x="749" y="945"/>
                      <a:pt x="700" y="977"/>
                    </a:cubicBezTo>
                    <a:cubicBezTo>
                      <a:pt x="666" y="999"/>
                      <a:pt x="642" y="1031"/>
                      <a:pt x="624" y="1068"/>
                    </a:cubicBezTo>
                    <a:cubicBezTo>
                      <a:pt x="584" y="1152"/>
                      <a:pt x="523" y="1215"/>
                      <a:pt x="428" y="1235"/>
                    </a:cubicBezTo>
                    <a:cubicBezTo>
                      <a:pt x="427" y="1235"/>
                      <a:pt x="426" y="1237"/>
                      <a:pt x="425" y="1238"/>
                    </a:cubicBezTo>
                    <a:cubicBezTo>
                      <a:pt x="400" y="1238"/>
                      <a:pt x="375" y="1238"/>
                      <a:pt x="350" y="1238"/>
                    </a:cubicBezTo>
                    <a:cubicBezTo>
                      <a:pt x="349" y="1237"/>
                      <a:pt x="348" y="1236"/>
                      <a:pt x="346" y="1235"/>
                    </a:cubicBezTo>
                    <a:cubicBezTo>
                      <a:pt x="220" y="1198"/>
                      <a:pt x="135" y="1116"/>
                      <a:pt x="84" y="997"/>
                    </a:cubicBezTo>
                    <a:cubicBezTo>
                      <a:pt x="49" y="913"/>
                      <a:pt x="35" y="824"/>
                      <a:pt x="23" y="735"/>
                    </a:cubicBezTo>
                    <a:cubicBezTo>
                      <a:pt x="15" y="672"/>
                      <a:pt x="7" y="609"/>
                      <a:pt x="0" y="547"/>
                    </a:cubicBezTo>
                    <a:cubicBezTo>
                      <a:pt x="0" y="495"/>
                      <a:pt x="0" y="443"/>
                      <a:pt x="0" y="39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1" name="Freeform 326">
                <a:extLst>
                  <a:ext uri="{FF2B5EF4-FFF2-40B4-BE49-F238E27FC236}">
                    <a16:creationId xmlns:a16="http://schemas.microsoft.com/office/drawing/2014/main" id="{1AECBFE4-3EC8-BD2C-1EE0-EF93174DF4AA}"/>
                  </a:ext>
                </a:extLst>
              </p:cNvPr>
              <p:cNvSpPr>
                <a:spLocks/>
              </p:cNvSpPr>
              <p:nvPr/>
            </p:nvSpPr>
            <p:spPr bwMode="auto">
              <a:xfrm>
                <a:off x="13758518" y="3164312"/>
                <a:ext cx="49950" cy="16845"/>
              </a:xfrm>
              <a:custGeom>
                <a:avLst/>
                <a:gdLst>
                  <a:gd name="T0" fmla="*/ 191 w 226"/>
                  <a:gd name="T1" fmla="*/ 0 h 76"/>
                  <a:gd name="T2" fmla="*/ 205 w 226"/>
                  <a:gd name="T3" fmla="*/ 7 h 76"/>
                  <a:gd name="T4" fmla="*/ 221 w 226"/>
                  <a:gd name="T5" fmla="*/ 49 h 76"/>
                  <a:gd name="T6" fmla="*/ 187 w 226"/>
                  <a:gd name="T7" fmla="*/ 75 h 76"/>
                  <a:gd name="T8" fmla="*/ 37 w 226"/>
                  <a:gd name="T9" fmla="*/ 73 h 76"/>
                  <a:gd name="T10" fmla="*/ 4 w 226"/>
                  <a:gd name="T11" fmla="*/ 49 h 76"/>
                  <a:gd name="T12" fmla="*/ 12 w 226"/>
                  <a:gd name="T13" fmla="*/ 10 h 76"/>
                  <a:gd name="T14" fmla="*/ 23 w 226"/>
                  <a:gd name="T15" fmla="*/ 0 h 76"/>
                  <a:gd name="T16" fmla="*/ 191 w 22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76">
                    <a:moveTo>
                      <a:pt x="191" y="0"/>
                    </a:moveTo>
                    <a:cubicBezTo>
                      <a:pt x="196" y="2"/>
                      <a:pt x="200" y="4"/>
                      <a:pt x="205" y="7"/>
                    </a:cubicBezTo>
                    <a:cubicBezTo>
                      <a:pt x="220" y="17"/>
                      <a:pt x="226" y="32"/>
                      <a:pt x="221" y="49"/>
                    </a:cubicBezTo>
                    <a:cubicBezTo>
                      <a:pt x="216" y="66"/>
                      <a:pt x="205" y="76"/>
                      <a:pt x="187" y="75"/>
                    </a:cubicBezTo>
                    <a:cubicBezTo>
                      <a:pt x="137" y="75"/>
                      <a:pt x="87" y="76"/>
                      <a:pt x="37" y="73"/>
                    </a:cubicBezTo>
                    <a:cubicBezTo>
                      <a:pt x="25" y="72"/>
                      <a:pt x="9" y="60"/>
                      <a:pt x="4" y="49"/>
                    </a:cubicBezTo>
                    <a:cubicBezTo>
                      <a:pt x="0" y="39"/>
                      <a:pt x="8" y="23"/>
                      <a:pt x="12" y="10"/>
                    </a:cubicBezTo>
                    <a:cubicBezTo>
                      <a:pt x="14" y="6"/>
                      <a:pt x="19" y="3"/>
                      <a:pt x="23" y="0"/>
                    </a:cubicBezTo>
                    <a:cubicBezTo>
                      <a:pt x="79" y="0"/>
                      <a:pt x="135" y="0"/>
                      <a:pt x="191"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327">
                <a:extLst>
                  <a:ext uri="{FF2B5EF4-FFF2-40B4-BE49-F238E27FC236}">
                    <a16:creationId xmlns:a16="http://schemas.microsoft.com/office/drawing/2014/main" id="{DA961C0C-25E8-F04C-8E58-BFAB3CE43740}"/>
                  </a:ext>
                </a:extLst>
              </p:cNvPr>
              <p:cNvSpPr>
                <a:spLocks/>
              </p:cNvSpPr>
              <p:nvPr/>
            </p:nvSpPr>
            <p:spPr bwMode="auto">
              <a:xfrm>
                <a:off x="13964616" y="3230668"/>
                <a:ext cx="35448" cy="45409"/>
              </a:xfrm>
              <a:custGeom>
                <a:avLst/>
                <a:gdLst>
                  <a:gd name="T0" fmla="*/ 161 w 161"/>
                  <a:gd name="T1" fmla="*/ 59 h 206"/>
                  <a:gd name="T2" fmla="*/ 79 w 161"/>
                  <a:gd name="T3" fmla="*/ 180 h 206"/>
                  <a:gd name="T4" fmla="*/ 63 w 161"/>
                  <a:gd name="T5" fmla="*/ 195 h 206"/>
                  <a:gd name="T6" fmla="*/ 13 w 161"/>
                  <a:gd name="T7" fmla="*/ 190 h 206"/>
                  <a:gd name="T8" fmla="*/ 14 w 161"/>
                  <a:gd name="T9" fmla="*/ 139 h 206"/>
                  <a:gd name="T10" fmla="*/ 92 w 161"/>
                  <a:gd name="T11" fmla="*/ 29 h 206"/>
                  <a:gd name="T12" fmla="*/ 161 w 161"/>
                  <a:gd name="T13" fmla="*/ 32 h 206"/>
                  <a:gd name="T14" fmla="*/ 161 w 161"/>
                  <a:gd name="T15" fmla="*/ 59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06">
                    <a:moveTo>
                      <a:pt x="161" y="59"/>
                    </a:moveTo>
                    <a:cubicBezTo>
                      <a:pt x="142" y="105"/>
                      <a:pt x="117" y="147"/>
                      <a:pt x="79" y="180"/>
                    </a:cubicBezTo>
                    <a:cubicBezTo>
                      <a:pt x="74" y="185"/>
                      <a:pt x="69" y="191"/>
                      <a:pt x="63" y="195"/>
                    </a:cubicBezTo>
                    <a:cubicBezTo>
                      <a:pt x="46" y="206"/>
                      <a:pt x="25" y="204"/>
                      <a:pt x="13" y="190"/>
                    </a:cubicBezTo>
                    <a:cubicBezTo>
                      <a:pt x="0" y="175"/>
                      <a:pt x="0" y="153"/>
                      <a:pt x="14" y="139"/>
                    </a:cubicBezTo>
                    <a:cubicBezTo>
                      <a:pt x="49" y="108"/>
                      <a:pt x="75" y="72"/>
                      <a:pt x="92" y="29"/>
                    </a:cubicBezTo>
                    <a:cubicBezTo>
                      <a:pt x="103" y="0"/>
                      <a:pt x="136" y="3"/>
                      <a:pt x="161" y="32"/>
                    </a:cubicBezTo>
                    <a:cubicBezTo>
                      <a:pt x="161" y="41"/>
                      <a:pt x="161" y="50"/>
                      <a:pt x="161" y="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328">
                <a:extLst>
                  <a:ext uri="{FF2B5EF4-FFF2-40B4-BE49-F238E27FC236}">
                    <a16:creationId xmlns:a16="http://schemas.microsoft.com/office/drawing/2014/main" id="{514F7493-B535-5646-2BC2-AA321560FD78}"/>
                  </a:ext>
                </a:extLst>
              </p:cNvPr>
              <p:cNvSpPr>
                <a:spLocks/>
              </p:cNvSpPr>
              <p:nvPr/>
            </p:nvSpPr>
            <p:spPr bwMode="auto">
              <a:xfrm>
                <a:off x="13905731" y="3274319"/>
                <a:ext cx="48924" cy="27392"/>
              </a:xfrm>
              <a:custGeom>
                <a:avLst/>
                <a:gdLst>
                  <a:gd name="T0" fmla="*/ 42 w 222"/>
                  <a:gd name="T1" fmla="*/ 124 h 124"/>
                  <a:gd name="T2" fmla="*/ 3 w 222"/>
                  <a:gd name="T3" fmla="*/ 88 h 124"/>
                  <a:gd name="T4" fmla="*/ 30 w 222"/>
                  <a:gd name="T5" fmla="*/ 46 h 124"/>
                  <a:gd name="T6" fmla="*/ 172 w 222"/>
                  <a:gd name="T7" fmla="*/ 5 h 124"/>
                  <a:gd name="T8" fmla="*/ 215 w 222"/>
                  <a:gd name="T9" fmla="*/ 27 h 124"/>
                  <a:gd name="T10" fmla="*/ 199 w 222"/>
                  <a:gd name="T11" fmla="*/ 73 h 124"/>
                  <a:gd name="T12" fmla="*/ 42 w 222"/>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222" h="124">
                    <a:moveTo>
                      <a:pt x="42" y="124"/>
                    </a:moveTo>
                    <a:cubicBezTo>
                      <a:pt x="20" y="119"/>
                      <a:pt x="6" y="107"/>
                      <a:pt x="3" y="88"/>
                    </a:cubicBezTo>
                    <a:cubicBezTo>
                      <a:pt x="0" y="68"/>
                      <a:pt x="10" y="52"/>
                      <a:pt x="30" y="46"/>
                    </a:cubicBezTo>
                    <a:cubicBezTo>
                      <a:pt x="77" y="32"/>
                      <a:pt x="125" y="19"/>
                      <a:pt x="172" y="5"/>
                    </a:cubicBezTo>
                    <a:cubicBezTo>
                      <a:pt x="190" y="0"/>
                      <a:pt x="208" y="10"/>
                      <a:pt x="215" y="27"/>
                    </a:cubicBezTo>
                    <a:cubicBezTo>
                      <a:pt x="222" y="45"/>
                      <a:pt x="217" y="66"/>
                      <a:pt x="199" y="73"/>
                    </a:cubicBezTo>
                    <a:cubicBezTo>
                      <a:pt x="147" y="91"/>
                      <a:pt x="94" y="107"/>
                      <a:pt x="42" y="12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329">
                <a:extLst>
                  <a:ext uri="{FF2B5EF4-FFF2-40B4-BE49-F238E27FC236}">
                    <a16:creationId xmlns:a16="http://schemas.microsoft.com/office/drawing/2014/main" id="{204331C1-2214-3347-1298-BC9BAFF14FAF}"/>
                  </a:ext>
                </a:extLst>
              </p:cNvPr>
              <p:cNvSpPr>
                <a:spLocks/>
              </p:cNvSpPr>
              <p:nvPr/>
            </p:nvSpPr>
            <p:spPr bwMode="auto">
              <a:xfrm>
                <a:off x="13888446" y="3171050"/>
                <a:ext cx="49657" cy="22412"/>
              </a:xfrm>
              <a:custGeom>
                <a:avLst/>
                <a:gdLst>
                  <a:gd name="T0" fmla="*/ 40 w 225"/>
                  <a:gd name="T1" fmla="*/ 0 h 102"/>
                  <a:gd name="T2" fmla="*/ 195 w 225"/>
                  <a:gd name="T3" fmla="*/ 28 h 102"/>
                  <a:gd name="T4" fmla="*/ 221 w 225"/>
                  <a:gd name="T5" fmla="*/ 70 h 102"/>
                  <a:gd name="T6" fmla="*/ 180 w 225"/>
                  <a:gd name="T7" fmla="*/ 99 h 102"/>
                  <a:gd name="T8" fmla="*/ 31 w 225"/>
                  <a:gd name="T9" fmla="*/ 75 h 102"/>
                  <a:gd name="T10" fmla="*/ 2 w 225"/>
                  <a:gd name="T11" fmla="*/ 34 h 102"/>
                  <a:gd name="T12" fmla="*/ 40 w 225"/>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225" h="102">
                    <a:moveTo>
                      <a:pt x="40" y="0"/>
                    </a:moveTo>
                    <a:cubicBezTo>
                      <a:pt x="92" y="9"/>
                      <a:pt x="143" y="17"/>
                      <a:pt x="195" y="28"/>
                    </a:cubicBezTo>
                    <a:cubicBezTo>
                      <a:pt x="214" y="32"/>
                      <a:pt x="225" y="52"/>
                      <a:pt x="221" y="70"/>
                    </a:cubicBezTo>
                    <a:cubicBezTo>
                      <a:pt x="217" y="89"/>
                      <a:pt x="200" y="102"/>
                      <a:pt x="180" y="99"/>
                    </a:cubicBezTo>
                    <a:cubicBezTo>
                      <a:pt x="130" y="92"/>
                      <a:pt x="81" y="84"/>
                      <a:pt x="31" y="75"/>
                    </a:cubicBezTo>
                    <a:cubicBezTo>
                      <a:pt x="11" y="71"/>
                      <a:pt x="0" y="54"/>
                      <a:pt x="2" y="34"/>
                    </a:cubicBezTo>
                    <a:cubicBezTo>
                      <a:pt x="4" y="15"/>
                      <a:pt x="20" y="2"/>
                      <a:pt x="40"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330">
                <a:extLst>
                  <a:ext uri="{FF2B5EF4-FFF2-40B4-BE49-F238E27FC236}">
                    <a16:creationId xmlns:a16="http://schemas.microsoft.com/office/drawing/2014/main" id="{DF978CDB-6072-CD75-F572-1289C6FF5470}"/>
                  </a:ext>
                </a:extLst>
              </p:cNvPr>
              <p:cNvSpPr>
                <a:spLocks/>
              </p:cNvSpPr>
              <p:nvPr/>
            </p:nvSpPr>
            <p:spPr bwMode="auto">
              <a:xfrm>
                <a:off x="13951433" y="3184087"/>
                <a:ext cx="44969" cy="34423"/>
              </a:xfrm>
              <a:custGeom>
                <a:avLst/>
                <a:gdLst>
                  <a:gd name="T0" fmla="*/ 172 w 204"/>
                  <a:gd name="T1" fmla="*/ 156 h 156"/>
                  <a:gd name="T2" fmla="*/ 143 w 204"/>
                  <a:gd name="T3" fmla="*/ 142 h 156"/>
                  <a:gd name="T4" fmla="*/ 37 w 204"/>
                  <a:gd name="T5" fmla="*/ 80 h 156"/>
                  <a:gd name="T6" fmla="*/ 7 w 204"/>
                  <a:gd name="T7" fmla="*/ 30 h 156"/>
                  <a:gd name="T8" fmla="*/ 64 w 204"/>
                  <a:gd name="T9" fmla="*/ 10 h 156"/>
                  <a:gd name="T10" fmla="*/ 193 w 204"/>
                  <a:gd name="T11" fmla="*/ 88 h 156"/>
                  <a:gd name="T12" fmla="*/ 201 w 204"/>
                  <a:gd name="T13" fmla="*/ 130 h 156"/>
                  <a:gd name="T14" fmla="*/ 172 w 204"/>
                  <a:gd name="T15" fmla="*/ 156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4" h="156">
                    <a:moveTo>
                      <a:pt x="172" y="156"/>
                    </a:moveTo>
                    <a:cubicBezTo>
                      <a:pt x="160" y="150"/>
                      <a:pt x="149" y="148"/>
                      <a:pt x="143" y="142"/>
                    </a:cubicBezTo>
                    <a:cubicBezTo>
                      <a:pt x="114" y="110"/>
                      <a:pt x="76" y="95"/>
                      <a:pt x="37" y="80"/>
                    </a:cubicBezTo>
                    <a:cubicBezTo>
                      <a:pt x="11" y="69"/>
                      <a:pt x="0" y="51"/>
                      <a:pt x="7" y="30"/>
                    </a:cubicBezTo>
                    <a:cubicBezTo>
                      <a:pt x="15" y="8"/>
                      <a:pt x="36" y="0"/>
                      <a:pt x="64" y="10"/>
                    </a:cubicBezTo>
                    <a:cubicBezTo>
                      <a:pt x="111" y="28"/>
                      <a:pt x="159" y="48"/>
                      <a:pt x="193" y="88"/>
                    </a:cubicBezTo>
                    <a:cubicBezTo>
                      <a:pt x="201" y="98"/>
                      <a:pt x="204" y="117"/>
                      <a:pt x="201" y="130"/>
                    </a:cubicBezTo>
                    <a:cubicBezTo>
                      <a:pt x="198" y="140"/>
                      <a:pt x="182" y="147"/>
                      <a:pt x="172" y="15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331">
                <a:extLst>
                  <a:ext uri="{FF2B5EF4-FFF2-40B4-BE49-F238E27FC236}">
                    <a16:creationId xmlns:a16="http://schemas.microsoft.com/office/drawing/2014/main" id="{354D0CD9-50B5-3200-F5CF-F53F39709B70}"/>
                  </a:ext>
                </a:extLst>
              </p:cNvPr>
              <p:cNvSpPr>
                <a:spLocks/>
              </p:cNvSpPr>
              <p:nvPr/>
            </p:nvSpPr>
            <p:spPr bwMode="auto">
              <a:xfrm>
                <a:off x="13693188" y="3165044"/>
                <a:ext cx="49217" cy="20361"/>
              </a:xfrm>
              <a:custGeom>
                <a:avLst/>
                <a:gdLst>
                  <a:gd name="T0" fmla="*/ 177 w 223"/>
                  <a:gd name="T1" fmla="*/ 0 h 92"/>
                  <a:gd name="T2" fmla="*/ 210 w 223"/>
                  <a:gd name="T3" fmla="*/ 12 h 92"/>
                  <a:gd name="T4" fmla="*/ 220 w 223"/>
                  <a:gd name="T5" fmla="*/ 49 h 92"/>
                  <a:gd name="T6" fmla="*/ 191 w 223"/>
                  <a:gd name="T7" fmla="*/ 74 h 92"/>
                  <a:gd name="T8" fmla="*/ 44 w 223"/>
                  <a:gd name="T9" fmla="*/ 90 h 92"/>
                  <a:gd name="T10" fmla="*/ 3 w 223"/>
                  <a:gd name="T11" fmla="*/ 59 h 92"/>
                  <a:gd name="T12" fmla="*/ 36 w 223"/>
                  <a:gd name="T13" fmla="*/ 16 h 92"/>
                  <a:gd name="T14" fmla="*/ 177 w 223"/>
                  <a:gd name="T15" fmla="*/ 0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 h="92">
                    <a:moveTo>
                      <a:pt x="177" y="0"/>
                    </a:moveTo>
                    <a:cubicBezTo>
                      <a:pt x="186" y="3"/>
                      <a:pt x="202" y="3"/>
                      <a:pt x="210" y="12"/>
                    </a:cubicBezTo>
                    <a:cubicBezTo>
                      <a:pt x="218" y="20"/>
                      <a:pt x="223" y="38"/>
                      <a:pt x="220" y="49"/>
                    </a:cubicBezTo>
                    <a:cubicBezTo>
                      <a:pt x="217" y="60"/>
                      <a:pt x="202" y="73"/>
                      <a:pt x="191" y="74"/>
                    </a:cubicBezTo>
                    <a:cubicBezTo>
                      <a:pt x="143" y="81"/>
                      <a:pt x="93" y="85"/>
                      <a:pt x="44" y="90"/>
                    </a:cubicBezTo>
                    <a:cubicBezTo>
                      <a:pt x="22" y="92"/>
                      <a:pt x="6" y="79"/>
                      <a:pt x="3" y="59"/>
                    </a:cubicBezTo>
                    <a:cubicBezTo>
                      <a:pt x="0" y="38"/>
                      <a:pt x="13" y="19"/>
                      <a:pt x="36" y="16"/>
                    </a:cubicBezTo>
                    <a:cubicBezTo>
                      <a:pt x="81" y="10"/>
                      <a:pt x="126" y="6"/>
                      <a:pt x="177"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332">
                <a:extLst>
                  <a:ext uri="{FF2B5EF4-FFF2-40B4-BE49-F238E27FC236}">
                    <a16:creationId xmlns:a16="http://schemas.microsoft.com/office/drawing/2014/main" id="{E35DADA6-FCDA-AA73-CBE3-DA4D5E28D2F9}"/>
                  </a:ext>
                </a:extLst>
              </p:cNvPr>
              <p:cNvSpPr>
                <a:spLocks/>
              </p:cNvSpPr>
              <p:nvPr/>
            </p:nvSpPr>
            <p:spPr bwMode="auto">
              <a:xfrm>
                <a:off x="13823848" y="3165923"/>
                <a:ext cx="49364" cy="18749"/>
              </a:xfrm>
              <a:custGeom>
                <a:avLst/>
                <a:gdLst>
                  <a:gd name="T0" fmla="*/ 113 w 224"/>
                  <a:gd name="T1" fmla="*/ 76 h 85"/>
                  <a:gd name="T2" fmla="*/ 42 w 224"/>
                  <a:gd name="T3" fmla="*/ 76 h 85"/>
                  <a:gd name="T4" fmla="*/ 0 w 224"/>
                  <a:gd name="T5" fmla="*/ 37 h 85"/>
                  <a:gd name="T6" fmla="*/ 44 w 224"/>
                  <a:gd name="T7" fmla="*/ 2 h 85"/>
                  <a:gd name="T8" fmla="*/ 179 w 224"/>
                  <a:gd name="T9" fmla="*/ 9 h 85"/>
                  <a:gd name="T10" fmla="*/ 222 w 224"/>
                  <a:gd name="T11" fmla="*/ 51 h 85"/>
                  <a:gd name="T12" fmla="*/ 172 w 224"/>
                  <a:gd name="T13" fmla="*/ 83 h 85"/>
                  <a:gd name="T14" fmla="*/ 113 w 224"/>
                  <a:gd name="T15" fmla="*/ 79 h 85"/>
                  <a:gd name="T16" fmla="*/ 113 w 224"/>
                  <a:gd name="T17"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85">
                    <a:moveTo>
                      <a:pt x="113" y="76"/>
                    </a:moveTo>
                    <a:cubicBezTo>
                      <a:pt x="89" y="76"/>
                      <a:pt x="66" y="76"/>
                      <a:pt x="42" y="76"/>
                    </a:cubicBezTo>
                    <a:cubicBezTo>
                      <a:pt x="16" y="75"/>
                      <a:pt x="0" y="60"/>
                      <a:pt x="0" y="37"/>
                    </a:cubicBezTo>
                    <a:cubicBezTo>
                      <a:pt x="1" y="14"/>
                      <a:pt x="17" y="0"/>
                      <a:pt x="44" y="2"/>
                    </a:cubicBezTo>
                    <a:cubicBezTo>
                      <a:pt x="89" y="4"/>
                      <a:pt x="134" y="6"/>
                      <a:pt x="179" y="9"/>
                    </a:cubicBezTo>
                    <a:cubicBezTo>
                      <a:pt x="208" y="11"/>
                      <a:pt x="224" y="27"/>
                      <a:pt x="222" y="51"/>
                    </a:cubicBezTo>
                    <a:cubicBezTo>
                      <a:pt x="219" y="73"/>
                      <a:pt x="201" y="85"/>
                      <a:pt x="172" y="83"/>
                    </a:cubicBezTo>
                    <a:cubicBezTo>
                      <a:pt x="152" y="81"/>
                      <a:pt x="133" y="80"/>
                      <a:pt x="113" y="79"/>
                    </a:cubicBezTo>
                    <a:cubicBezTo>
                      <a:pt x="113" y="78"/>
                      <a:pt x="113" y="77"/>
                      <a:pt x="113" y="7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46" name="Oval 45">
              <a:extLst>
                <a:ext uri="{FF2B5EF4-FFF2-40B4-BE49-F238E27FC236}">
                  <a16:creationId xmlns:a16="http://schemas.microsoft.com/office/drawing/2014/main" id="{4EC391BF-FAD5-B760-F0EF-F52C84E250FE}"/>
                </a:ext>
              </a:extLst>
            </p:cNvPr>
            <p:cNvSpPr/>
            <p:nvPr/>
          </p:nvSpPr>
          <p:spPr>
            <a:xfrm>
              <a:off x="13517912" y="4751553"/>
              <a:ext cx="552330" cy="5523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47" name="Freeform 13">
              <a:extLst>
                <a:ext uri="{FF2B5EF4-FFF2-40B4-BE49-F238E27FC236}">
                  <a16:creationId xmlns:a16="http://schemas.microsoft.com/office/drawing/2014/main" id="{D089D307-04DA-6B8F-BF7B-6532D652A531}"/>
                </a:ext>
              </a:extLst>
            </p:cNvPr>
            <p:cNvSpPr>
              <a:spLocks noEditPoints="1"/>
            </p:cNvSpPr>
            <p:nvPr/>
          </p:nvSpPr>
          <p:spPr bwMode="auto">
            <a:xfrm>
              <a:off x="13603042" y="4860575"/>
              <a:ext cx="427284" cy="361578"/>
            </a:xfrm>
            <a:custGeom>
              <a:avLst/>
              <a:gdLst>
                <a:gd name="T0" fmla="*/ 1450 w 1450"/>
                <a:gd name="T1" fmla="*/ 633 h 1226"/>
                <a:gd name="T2" fmla="*/ 1427 w 1450"/>
                <a:gd name="T3" fmla="*/ 708 h 1226"/>
                <a:gd name="T4" fmla="*/ 1218 w 1450"/>
                <a:gd name="T5" fmla="*/ 868 h 1226"/>
                <a:gd name="T6" fmla="*/ 914 w 1450"/>
                <a:gd name="T7" fmla="*/ 857 h 1226"/>
                <a:gd name="T8" fmla="*/ 885 w 1450"/>
                <a:gd name="T9" fmla="*/ 867 h 1226"/>
                <a:gd name="T10" fmla="*/ 658 w 1450"/>
                <a:gd name="T11" fmla="*/ 966 h 1226"/>
                <a:gd name="T12" fmla="*/ 634 w 1450"/>
                <a:gd name="T13" fmla="*/ 979 h 1226"/>
                <a:gd name="T14" fmla="*/ 504 w 1450"/>
                <a:gd name="T15" fmla="*/ 1226 h 1226"/>
                <a:gd name="T16" fmla="*/ 342 w 1450"/>
                <a:gd name="T17" fmla="*/ 1226 h 1226"/>
                <a:gd name="T18" fmla="*/ 372 w 1450"/>
                <a:gd name="T19" fmla="*/ 1045 h 1226"/>
                <a:gd name="T20" fmla="*/ 385 w 1450"/>
                <a:gd name="T21" fmla="*/ 953 h 1226"/>
                <a:gd name="T22" fmla="*/ 319 w 1450"/>
                <a:gd name="T23" fmla="*/ 953 h 1226"/>
                <a:gd name="T24" fmla="*/ 194 w 1450"/>
                <a:gd name="T25" fmla="*/ 924 h 1226"/>
                <a:gd name="T26" fmla="*/ 15 w 1450"/>
                <a:gd name="T27" fmla="*/ 694 h 1226"/>
                <a:gd name="T28" fmla="*/ 0 w 1450"/>
                <a:gd name="T29" fmla="*/ 618 h 1226"/>
                <a:gd name="T30" fmla="*/ 0 w 1450"/>
                <a:gd name="T31" fmla="*/ 530 h 1226"/>
                <a:gd name="T32" fmla="*/ 5 w 1450"/>
                <a:gd name="T33" fmla="*/ 498 h 1226"/>
                <a:gd name="T34" fmla="*/ 174 w 1450"/>
                <a:gd name="T35" fmla="*/ 189 h 1226"/>
                <a:gd name="T36" fmla="*/ 526 w 1450"/>
                <a:gd name="T37" fmla="*/ 65 h 1226"/>
                <a:gd name="T38" fmla="*/ 545 w 1450"/>
                <a:gd name="T39" fmla="*/ 59 h 1226"/>
                <a:gd name="T40" fmla="*/ 646 w 1450"/>
                <a:gd name="T41" fmla="*/ 13 h 1226"/>
                <a:gd name="T42" fmla="*/ 699 w 1450"/>
                <a:gd name="T43" fmla="*/ 0 h 1226"/>
                <a:gd name="T44" fmla="*/ 769 w 1450"/>
                <a:gd name="T45" fmla="*/ 0 h 1226"/>
                <a:gd name="T46" fmla="*/ 780 w 1450"/>
                <a:gd name="T47" fmla="*/ 3 h 1226"/>
                <a:gd name="T48" fmla="*/ 905 w 1450"/>
                <a:gd name="T49" fmla="*/ 57 h 1226"/>
                <a:gd name="T50" fmla="*/ 992 w 1450"/>
                <a:gd name="T51" fmla="*/ 86 h 1226"/>
                <a:gd name="T52" fmla="*/ 1262 w 1450"/>
                <a:gd name="T53" fmla="*/ 303 h 1226"/>
                <a:gd name="T54" fmla="*/ 1278 w 1450"/>
                <a:gd name="T55" fmla="*/ 323 h 1226"/>
                <a:gd name="T56" fmla="*/ 1423 w 1450"/>
                <a:gd name="T57" fmla="*/ 478 h 1226"/>
                <a:gd name="T58" fmla="*/ 1450 w 1450"/>
                <a:gd name="T59" fmla="*/ 563 h 1226"/>
                <a:gd name="T60" fmla="*/ 1450 w 1450"/>
                <a:gd name="T61" fmla="*/ 633 h 1226"/>
                <a:gd name="T62" fmla="*/ 860 w 1450"/>
                <a:gd name="T63" fmla="*/ 776 h 1226"/>
                <a:gd name="T64" fmla="*/ 878 w 1450"/>
                <a:gd name="T65" fmla="*/ 781 h 1226"/>
                <a:gd name="T66" fmla="*/ 1048 w 1450"/>
                <a:gd name="T67" fmla="*/ 819 h 1226"/>
                <a:gd name="T68" fmla="*/ 1259 w 1450"/>
                <a:gd name="T69" fmla="*/ 788 h 1226"/>
                <a:gd name="T70" fmla="*/ 1349 w 1450"/>
                <a:gd name="T71" fmla="*/ 472 h 1226"/>
                <a:gd name="T72" fmla="*/ 1236 w 1450"/>
                <a:gd name="T73" fmla="*/ 372 h 1226"/>
                <a:gd name="T74" fmla="*/ 1203 w 1450"/>
                <a:gd name="T75" fmla="*/ 327 h 1226"/>
                <a:gd name="T76" fmla="*/ 1052 w 1450"/>
                <a:gd name="T77" fmla="*/ 156 h 1226"/>
                <a:gd name="T78" fmla="*/ 937 w 1450"/>
                <a:gd name="T79" fmla="*/ 151 h 1226"/>
                <a:gd name="T80" fmla="*/ 904 w 1450"/>
                <a:gd name="T81" fmla="*/ 139 h 1226"/>
                <a:gd name="T82" fmla="*/ 794 w 1450"/>
                <a:gd name="T83" fmla="*/ 69 h 1226"/>
                <a:gd name="T84" fmla="*/ 590 w 1450"/>
                <a:gd name="T85" fmla="*/ 106 h 1226"/>
                <a:gd name="T86" fmla="*/ 507 w 1450"/>
                <a:gd name="T87" fmla="*/ 125 h 1226"/>
                <a:gd name="T88" fmla="*/ 501 w 1450"/>
                <a:gd name="T89" fmla="*/ 125 h 1226"/>
                <a:gd name="T90" fmla="*/ 268 w 1450"/>
                <a:gd name="T91" fmla="*/ 194 h 1226"/>
                <a:gd name="T92" fmla="*/ 73 w 1450"/>
                <a:gd name="T93" fmla="*/ 669 h 1226"/>
                <a:gd name="T94" fmla="*/ 217 w 1450"/>
                <a:gd name="T95" fmla="*/ 866 h 1226"/>
                <a:gd name="T96" fmla="*/ 321 w 1450"/>
                <a:gd name="T97" fmla="*/ 891 h 1226"/>
                <a:gd name="T98" fmla="*/ 457 w 1450"/>
                <a:gd name="T99" fmla="*/ 891 h 1226"/>
                <a:gd name="T100" fmla="*/ 417 w 1450"/>
                <a:gd name="T101" fmla="*/ 1164 h 1226"/>
                <a:gd name="T102" fmla="*/ 443 w 1450"/>
                <a:gd name="T103" fmla="*/ 1164 h 1226"/>
                <a:gd name="T104" fmla="*/ 479 w 1450"/>
                <a:gd name="T105" fmla="*/ 1143 h 1226"/>
                <a:gd name="T106" fmla="*/ 570 w 1450"/>
                <a:gd name="T107" fmla="*/ 968 h 1226"/>
                <a:gd name="T108" fmla="*/ 613 w 1450"/>
                <a:gd name="T109" fmla="*/ 888 h 1226"/>
                <a:gd name="T110" fmla="*/ 860 w 1450"/>
                <a:gd name="T111" fmla="*/ 77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0" h="1226">
                  <a:moveTo>
                    <a:pt x="1450" y="633"/>
                  </a:moveTo>
                  <a:cubicBezTo>
                    <a:pt x="1443" y="658"/>
                    <a:pt x="1438" y="684"/>
                    <a:pt x="1427" y="708"/>
                  </a:cubicBezTo>
                  <a:cubicBezTo>
                    <a:pt x="1385" y="796"/>
                    <a:pt x="1309" y="844"/>
                    <a:pt x="1218" y="868"/>
                  </a:cubicBezTo>
                  <a:cubicBezTo>
                    <a:pt x="1116" y="896"/>
                    <a:pt x="1014" y="885"/>
                    <a:pt x="914" y="857"/>
                  </a:cubicBezTo>
                  <a:cubicBezTo>
                    <a:pt x="900" y="853"/>
                    <a:pt x="894" y="855"/>
                    <a:pt x="885" y="867"/>
                  </a:cubicBezTo>
                  <a:cubicBezTo>
                    <a:pt x="829" y="944"/>
                    <a:pt x="752" y="974"/>
                    <a:pt x="658" y="966"/>
                  </a:cubicBezTo>
                  <a:cubicBezTo>
                    <a:pt x="645" y="965"/>
                    <a:pt x="640" y="969"/>
                    <a:pt x="634" y="979"/>
                  </a:cubicBezTo>
                  <a:cubicBezTo>
                    <a:pt x="591" y="1061"/>
                    <a:pt x="548" y="1144"/>
                    <a:pt x="504" y="1226"/>
                  </a:cubicBezTo>
                  <a:cubicBezTo>
                    <a:pt x="450" y="1226"/>
                    <a:pt x="396" y="1226"/>
                    <a:pt x="342" y="1226"/>
                  </a:cubicBezTo>
                  <a:cubicBezTo>
                    <a:pt x="352" y="1165"/>
                    <a:pt x="362" y="1105"/>
                    <a:pt x="372" y="1045"/>
                  </a:cubicBezTo>
                  <a:cubicBezTo>
                    <a:pt x="377" y="1015"/>
                    <a:pt x="381" y="985"/>
                    <a:pt x="385" y="953"/>
                  </a:cubicBezTo>
                  <a:cubicBezTo>
                    <a:pt x="361" y="953"/>
                    <a:pt x="340" y="953"/>
                    <a:pt x="319" y="953"/>
                  </a:cubicBezTo>
                  <a:cubicBezTo>
                    <a:pt x="275" y="952"/>
                    <a:pt x="233" y="943"/>
                    <a:pt x="194" y="924"/>
                  </a:cubicBezTo>
                  <a:cubicBezTo>
                    <a:pt x="97" y="876"/>
                    <a:pt x="44" y="795"/>
                    <a:pt x="15" y="694"/>
                  </a:cubicBezTo>
                  <a:cubicBezTo>
                    <a:pt x="9" y="669"/>
                    <a:pt x="5" y="644"/>
                    <a:pt x="0" y="618"/>
                  </a:cubicBezTo>
                  <a:cubicBezTo>
                    <a:pt x="0" y="589"/>
                    <a:pt x="0" y="560"/>
                    <a:pt x="0" y="530"/>
                  </a:cubicBezTo>
                  <a:cubicBezTo>
                    <a:pt x="2" y="519"/>
                    <a:pt x="3" y="509"/>
                    <a:pt x="5" y="498"/>
                  </a:cubicBezTo>
                  <a:cubicBezTo>
                    <a:pt x="26" y="375"/>
                    <a:pt x="81" y="272"/>
                    <a:pt x="174" y="189"/>
                  </a:cubicBezTo>
                  <a:cubicBezTo>
                    <a:pt x="274" y="99"/>
                    <a:pt x="389" y="51"/>
                    <a:pt x="526" y="65"/>
                  </a:cubicBezTo>
                  <a:cubicBezTo>
                    <a:pt x="532" y="66"/>
                    <a:pt x="539" y="62"/>
                    <a:pt x="545" y="59"/>
                  </a:cubicBezTo>
                  <a:cubicBezTo>
                    <a:pt x="578" y="44"/>
                    <a:pt x="612" y="27"/>
                    <a:pt x="646" y="13"/>
                  </a:cubicBezTo>
                  <a:cubicBezTo>
                    <a:pt x="663" y="6"/>
                    <a:pt x="682" y="4"/>
                    <a:pt x="699" y="0"/>
                  </a:cubicBezTo>
                  <a:cubicBezTo>
                    <a:pt x="723" y="0"/>
                    <a:pt x="746" y="0"/>
                    <a:pt x="769" y="0"/>
                  </a:cubicBezTo>
                  <a:cubicBezTo>
                    <a:pt x="773" y="1"/>
                    <a:pt x="776" y="3"/>
                    <a:pt x="780" y="3"/>
                  </a:cubicBezTo>
                  <a:cubicBezTo>
                    <a:pt x="826" y="10"/>
                    <a:pt x="870" y="26"/>
                    <a:pt x="905" y="57"/>
                  </a:cubicBezTo>
                  <a:cubicBezTo>
                    <a:pt x="931" y="81"/>
                    <a:pt x="958" y="86"/>
                    <a:pt x="992" y="86"/>
                  </a:cubicBezTo>
                  <a:cubicBezTo>
                    <a:pt x="1130" y="86"/>
                    <a:pt x="1230" y="168"/>
                    <a:pt x="1262" y="303"/>
                  </a:cubicBezTo>
                  <a:cubicBezTo>
                    <a:pt x="1264" y="311"/>
                    <a:pt x="1271" y="319"/>
                    <a:pt x="1278" y="323"/>
                  </a:cubicBezTo>
                  <a:cubicBezTo>
                    <a:pt x="1339" y="363"/>
                    <a:pt x="1392" y="411"/>
                    <a:pt x="1423" y="478"/>
                  </a:cubicBezTo>
                  <a:cubicBezTo>
                    <a:pt x="1435" y="505"/>
                    <a:pt x="1441" y="535"/>
                    <a:pt x="1450" y="563"/>
                  </a:cubicBezTo>
                  <a:cubicBezTo>
                    <a:pt x="1450" y="587"/>
                    <a:pt x="1450" y="610"/>
                    <a:pt x="1450" y="633"/>
                  </a:cubicBezTo>
                  <a:close/>
                  <a:moveTo>
                    <a:pt x="860" y="776"/>
                  </a:moveTo>
                  <a:cubicBezTo>
                    <a:pt x="867" y="778"/>
                    <a:pt x="873" y="779"/>
                    <a:pt x="878" y="781"/>
                  </a:cubicBezTo>
                  <a:cubicBezTo>
                    <a:pt x="934" y="801"/>
                    <a:pt x="990" y="815"/>
                    <a:pt x="1048" y="819"/>
                  </a:cubicBezTo>
                  <a:cubicBezTo>
                    <a:pt x="1121" y="826"/>
                    <a:pt x="1192" y="819"/>
                    <a:pt x="1259" y="788"/>
                  </a:cubicBezTo>
                  <a:cubicBezTo>
                    <a:pt x="1388" y="728"/>
                    <a:pt x="1428" y="588"/>
                    <a:pt x="1349" y="472"/>
                  </a:cubicBezTo>
                  <a:cubicBezTo>
                    <a:pt x="1320" y="429"/>
                    <a:pt x="1282" y="395"/>
                    <a:pt x="1236" y="372"/>
                  </a:cubicBezTo>
                  <a:cubicBezTo>
                    <a:pt x="1215" y="362"/>
                    <a:pt x="1207" y="349"/>
                    <a:pt x="1203" y="327"/>
                  </a:cubicBezTo>
                  <a:cubicBezTo>
                    <a:pt x="1187" y="240"/>
                    <a:pt x="1141" y="179"/>
                    <a:pt x="1052" y="156"/>
                  </a:cubicBezTo>
                  <a:cubicBezTo>
                    <a:pt x="1014" y="146"/>
                    <a:pt x="976" y="143"/>
                    <a:pt x="937" y="151"/>
                  </a:cubicBezTo>
                  <a:cubicBezTo>
                    <a:pt x="922" y="154"/>
                    <a:pt x="914" y="149"/>
                    <a:pt x="904" y="139"/>
                  </a:cubicBezTo>
                  <a:cubicBezTo>
                    <a:pt x="874" y="106"/>
                    <a:pt x="838" y="81"/>
                    <a:pt x="794" y="69"/>
                  </a:cubicBezTo>
                  <a:cubicBezTo>
                    <a:pt x="720" y="50"/>
                    <a:pt x="653" y="67"/>
                    <a:pt x="590" y="106"/>
                  </a:cubicBezTo>
                  <a:cubicBezTo>
                    <a:pt x="563" y="122"/>
                    <a:pt x="539" y="138"/>
                    <a:pt x="507" y="125"/>
                  </a:cubicBezTo>
                  <a:cubicBezTo>
                    <a:pt x="505" y="124"/>
                    <a:pt x="503" y="125"/>
                    <a:pt x="501" y="125"/>
                  </a:cubicBezTo>
                  <a:cubicBezTo>
                    <a:pt x="415" y="120"/>
                    <a:pt x="338" y="146"/>
                    <a:pt x="268" y="194"/>
                  </a:cubicBezTo>
                  <a:cubicBezTo>
                    <a:pt x="109" y="302"/>
                    <a:pt x="31" y="491"/>
                    <a:pt x="73" y="669"/>
                  </a:cubicBezTo>
                  <a:cubicBezTo>
                    <a:pt x="94" y="754"/>
                    <a:pt x="136" y="824"/>
                    <a:pt x="217" y="866"/>
                  </a:cubicBezTo>
                  <a:cubicBezTo>
                    <a:pt x="249" y="883"/>
                    <a:pt x="284" y="891"/>
                    <a:pt x="321" y="891"/>
                  </a:cubicBezTo>
                  <a:cubicBezTo>
                    <a:pt x="366" y="891"/>
                    <a:pt x="410" y="891"/>
                    <a:pt x="457" y="891"/>
                  </a:cubicBezTo>
                  <a:cubicBezTo>
                    <a:pt x="443" y="984"/>
                    <a:pt x="430" y="1073"/>
                    <a:pt x="417" y="1164"/>
                  </a:cubicBezTo>
                  <a:cubicBezTo>
                    <a:pt x="427" y="1164"/>
                    <a:pt x="435" y="1163"/>
                    <a:pt x="443" y="1164"/>
                  </a:cubicBezTo>
                  <a:cubicBezTo>
                    <a:pt x="461" y="1168"/>
                    <a:pt x="471" y="1159"/>
                    <a:pt x="479" y="1143"/>
                  </a:cubicBezTo>
                  <a:cubicBezTo>
                    <a:pt x="509" y="1084"/>
                    <a:pt x="540" y="1026"/>
                    <a:pt x="570" y="968"/>
                  </a:cubicBezTo>
                  <a:cubicBezTo>
                    <a:pt x="584" y="942"/>
                    <a:pt x="599" y="915"/>
                    <a:pt x="613" y="888"/>
                  </a:cubicBezTo>
                  <a:cubicBezTo>
                    <a:pt x="692" y="935"/>
                    <a:pt x="834" y="889"/>
                    <a:pt x="860" y="77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8" name="Freeform 14">
              <a:extLst>
                <a:ext uri="{FF2B5EF4-FFF2-40B4-BE49-F238E27FC236}">
                  <a16:creationId xmlns:a16="http://schemas.microsoft.com/office/drawing/2014/main" id="{A1A48FE2-4C42-9833-6355-FEB04F91AE87}"/>
                </a:ext>
              </a:extLst>
            </p:cNvPr>
            <p:cNvSpPr>
              <a:spLocks/>
            </p:cNvSpPr>
            <p:nvPr/>
          </p:nvSpPr>
          <p:spPr bwMode="auto">
            <a:xfrm>
              <a:off x="13672072" y="4925890"/>
              <a:ext cx="287854" cy="172674"/>
            </a:xfrm>
            <a:custGeom>
              <a:avLst/>
              <a:gdLst>
                <a:gd name="T0" fmla="*/ 839 w 977"/>
                <a:gd name="T1" fmla="*/ 275 h 585"/>
                <a:gd name="T2" fmla="*/ 936 w 977"/>
                <a:gd name="T3" fmla="*/ 301 h 585"/>
                <a:gd name="T4" fmla="*/ 806 w 977"/>
                <a:gd name="T5" fmla="*/ 364 h 585"/>
                <a:gd name="T6" fmla="*/ 795 w 977"/>
                <a:gd name="T7" fmla="*/ 383 h 585"/>
                <a:gd name="T8" fmla="*/ 974 w 977"/>
                <a:gd name="T9" fmla="*/ 463 h 585"/>
                <a:gd name="T10" fmla="*/ 937 w 977"/>
                <a:gd name="T11" fmla="*/ 505 h 585"/>
                <a:gd name="T12" fmla="*/ 856 w 977"/>
                <a:gd name="T13" fmla="*/ 444 h 585"/>
                <a:gd name="T14" fmla="*/ 657 w 977"/>
                <a:gd name="T15" fmla="*/ 310 h 585"/>
                <a:gd name="T16" fmla="*/ 540 w 977"/>
                <a:gd name="T17" fmla="*/ 220 h 585"/>
                <a:gd name="T18" fmla="*/ 495 w 977"/>
                <a:gd name="T19" fmla="*/ 388 h 585"/>
                <a:gd name="T20" fmla="*/ 450 w 977"/>
                <a:gd name="T21" fmla="*/ 424 h 585"/>
                <a:gd name="T22" fmla="*/ 422 w 977"/>
                <a:gd name="T23" fmla="*/ 278 h 585"/>
                <a:gd name="T24" fmla="*/ 355 w 977"/>
                <a:gd name="T25" fmla="*/ 247 h 585"/>
                <a:gd name="T26" fmla="*/ 225 w 977"/>
                <a:gd name="T27" fmla="*/ 400 h 585"/>
                <a:gd name="T28" fmla="*/ 319 w 977"/>
                <a:gd name="T29" fmla="*/ 524 h 585"/>
                <a:gd name="T30" fmla="*/ 274 w 977"/>
                <a:gd name="T31" fmla="*/ 568 h 585"/>
                <a:gd name="T32" fmla="*/ 125 w 977"/>
                <a:gd name="T33" fmla="*/ 493 h 585"/>
                <a:gd name="T34" fmla="*/ 50 w 977"/>
                <a:gd name="T35" fmla="*/ 492 h 585"/>
                <a:gd name="T36" fmla="*/ 163 w 977"/>
                <a:gd name="T37" fmla="*/ 420 h 585"/>
                <a:gd name="T38" fmla="*/ 117 w 977"/>
                <a:gd name="T39" fmla="*/ 318 h 585"/>
                <a:gd name="T40" fmla="*/ 35 w 977"/>
                <a:gd name="T41" fmla="*/ 179 h 585"/>
                <a:gd name="T42" fmla="*/ 159 w 977"/>
                <a:gd name="T43" fmla="*/ 264 h 585"/>
                <a:gd name="T44" fmla="*/ 297 w 977"/>
                <a:gd name="T45" fmla="*/ 198 h 585"/>
                <a:gd name="T46" fmla="*/ 364 w 977"/>
                <a:gd name="T47" fmla="*/ 158 h 585"/>
                <a:gd name="T48" fmla="*/ 293 w 977"/>
                <a:gd name="T49" fmla="*/ 31 h 585"/>
                <a:gd name="T50" fmla="*/ 424 w 977"/>
                <a:gd name="T51" fmla="*/ 137 h 585"/>
                <a:gd name="T52" fmla="*/ 461 w 977"/>
                <a:gd name="T53" fmla="*/ 199 h 585"/>
                <a:gd name="T54" fmla="*/ 515 w 977"/>
                <a:gd name="T55" fmla="*/ 86 h 585"/>
                <a:gd name="T56" fmla="*/ 576 w 977"/>
                <a:gd name="T57" fmla="*/ 82 h 585"/>
                <a:gd name="T58" fmla="*/ 586 w 977"/>
                <a:gd name="T59" fmla="*/ 170 h 585"/>
                <a:gd name="T60" fmla="*/ 782 w 977"/>
                <a:gd name="T61" fmla="*/ 124 h 585"/>
                <a:gd name="T62" fmla="*/ 832 w 977"/>
                <a:gd name="T63" fmla="*/ 161 h 585"/>
                <a:gd name="T64" fmla="*/ 714 w 977"/>
                <a:gd name="T65" fmla="*/ 27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7" h="585">
                  <a:moveTo>
                    <a:pt x="738" y="351"/>
                  </a:moveTo>
                  <a:cubicBezTo>
                    <a:pt x="764" y="312"/>
                    <a:pt x="795" y="285"/>
                    <a:pt x="839" y="275"/>
                  </a:cubicBezTo>
                  <a:cubicBezTo>
                    <a:pt x="859" y="270"/>
                    <a:pt x="881" y="269"/>
                    <a:pt x="902" y="269"/>
                  </a:cubicBezTo>
                  <a:cubicBezTo>
                    <a:pt x="925" y="269"/>
                    <a:pt x="937" y="282"/>
                    <a:pt x="936" y="301"/>
                  </a:cubicBezTo>
                  <a:cubicBezTo>
                    <a:pt x="935" y="321"/>
                    <a:pt x="922" y="331"/>
                    <a:pt x="899" y="330"/>
                  </a:cubicBezTo>
                  <a:cubicBezTo>
                    <a:pt x="863" y="328"/>
                    <a:pt x="831" y="336"/>
                    <a:pt x="806" y="364"/>
                  </a:cubicBezTo>
                  <a:cubicBezTo>
                    <a:pt x="803" y="367"/>
                    <a:pt x="800" y="371"/>
                    <a:pt x="797" y="375"/>
                  </a:cubicBezTo>
                  <a:cubicBezTo>
                    <a:pt x="796" y="377"/>
                    <a:pt x="796" y="379"/>
                    <a:pt x="795" y="383"/>
                  </a:cubicBezTo>
                  <a:cubicBezTo>
                    <a:pt x="813" y="383"/>
                    <a:pt x="830" y="384"/>
                    <a:pt x="846" y="383"/>
                  </a:cubicBezTo>
                  <a:cubicBezTo>
                    <a:pt x="912" y="378"/>
                    <a:pt x="958" y="406"/>
                    <a:pt x="974" y="463"/>
                  </a:cubicBezTo>
                  <a:cubicBezTo>
                    <a:pt x="977" y="474"/>
                    <a:pt x="974" y="490"/>
                    <a:pt x="968" y="498"/>
                  </a:cubicBezTo>
                  <a:cubicBezTo>
                    <a:pt x="962" y="505"/>
                    <a:pt x="946" y="508"/>
                    <a:pt x="937" y="505"/>
                  </a:cubicBezTo>
                  <a:cubicBezTo>
                    <a:pt x="929" y="504"/>
                    <a:pt x="921" y="493"/>
                    <a:pt x="917" y="484"/>
                  </a:cubicBezTo>
                  <a:cubicBezTo>
                    <a:pt x="903" y="451"/>
                    <a:pt x="892" y="444"/>
                    <a:pt x="856" y="444"/>
                  </a:cubicBezTo>
                  <a:cubicBezTo>
                    <a:pt x="831" y="445"/>
                    <a:pt x="806" y="446"/>
                    <a:pt x="782" y="442"/>
                  </a:cubicBezTo>
                  <a:cubicBezTo>
                    <a:pt x="712" y="432"/>
                    <a:pt x="669" y="385"/>
                    <a:pt x="657" y="310"/>
                  </a:cubicBezTo>
                  <a:cubicBezTo>
                    <a:pt x="655" y="293"/>
                    <a:pt x="653" y="276"/>
                    <a:pt x="652" y="262"/>
                  </a:cubicBezTo>
                  <a:cubicBezTo>
                    <a:pt x="614" y="248"/>
                    <a:pt x="577" y="234"/>
                    <a:pt x="540" y="220"/>
                  </a:cubicBezTo>
                  <a:cubicBezTo>
                    <a:pt x="524" y="232"/>
                    <a:pt x="504" y="246"/>
                    <a:pt x="484" y="261"/>
                  </a:cubicBezTo>
                  <a:cubicBezTo>
                    <a:pt x="502" y="300"/>
                    <a:pt x="507" y="343"/>
                    <a:pt x="495" y="388"/>
                  </a:cubicBezTo>
                  <a:cubicBezTo>
                    <a:pt x="493" y="393"/>
                    <a:pt x="492" y="398"/>
                    <a:pt x="489" y="403"/>
                  </a:cubicBezTo>
                  <a:cubicBezTo>
                    <a:pt x="482" y="421"/>
                    <a:pt x="466" y="429"/>
                    <a:pt x="450" y="424"/>
                  </a:cubicBezTo>
                  <a:cubicBezTo>
                    <a:pt x="432" y="418"/>
                    <a:pt x="425" y="402"/>
                    <a:pt x="432" y="382"/>
                  </a:cubicBezTo>
                  <a:cubicBezTo>
                    <a:pt x="444" y="346"/>
                    <a:pt x="442" y="311"/>
                    <a:pt x="422" y="278"/>
                  </a:cubicBezTo>
                  <a:cubicBezTo>
                    <a:pt x="419" y="273"/>
                    <a:pt x="416" y="268"/>
                    <a:pt x="413" y="264"/>
                  </a:cubicBezTo>
                  <a:cubicBezTo>
                    <a:pt x="390" y="236"/>
                    <a:pt x="390" y="236"/>
                    <a:pt x="355" y="247"/>
                  </a:cubicBezTo>
                  <a:cubicBezTo>
                    <a:pt x="340" y="252"/>
                    <a:pt x="325" y="255"/>
                    <a:pt x="309" y="259"/>
                  </a:cubicBezTo>
                  <a:cubicBezTo>
                    <a:pt x="237" y="274"/>
                    <a:pt x="204" y="329"/>
                    <a:pt x="225" y="400"/>
                  </a:cubicBezTo>
                  <a:cubicBezTo>
                    <a:pt x="235" y="436"/>
                    <a:pt x="257" y="462"/>
                    <a:pt x="283" y="488"/>
                  </a:cubicBezTo>
                  <a:cubicBezTo>
                    <a:pt x="295" y="500"/>
                    <a:pt x="307" y="512"/>
                    <a:pt x="319" y="524"/>
                  </a:cubicBezTo>
                  <a:cubicBezTo>
                    <a:pt x="334" y="541"/>
                    <a:pt x="334" y="559"/>
                    <a:pt x="321" y="572"/>
                  </a:cubicBezTo>
                  <a:cubicBezTo>
                    <a:pt x="308" y="585"/>
                    <a:pt x="289" y="583"/>
                    <a:pt x="274" y="568"/>
                  </a:cubicBezTo>
                  <a:cubicBezTo>
                    <a:pt x="260" y="553"/>
                    <a:pt x="245" y="539"/>
                    <a:pt x="232" y="523"/>
                  </a:cubicBezTo>
                  <a:cubicBezTo>
                    <a:pt x="203" y="488"/>
                    <a:pt x="167" y="482"/>
                    <a:pt x="125" y="493"/>
                  </a:cubicBezTo>
                  <a:cubicBezTo>
                    <a:pt x="114" y="497"/>
                    <a:pt x="103" y="502"/>
                    <a:pt x="92" y="506"/>
                  </a:cubicBezTo>
                  <a:cubicBezTo>
                    <a:pt x="75" y="513"/>
                    <a:pt x="57" y="507"/>
                    <a:pt x="50" y="492"/>
                  </a:cubicBezTo>
                  <a:cubicBezTo>
                    <a:pt x="43" y="476"/>
                    <a:pt x="48" y="457"/>
                    <a:pt x="66" y="451"/>
                  </a:cubicBezTo>
                  <a:cubicBezTo>
                    <a:pt x="98" y="439"/>
                    <a:pt x="131" y="430"/>
                    <a:pt x="163" y="420"/>
                  </a:cubicBezTo>
                  <a:cubicBezTo>
                    <a:pt x="161" y="393"/>
                    <a:pt x="158" y="362"/>
                    <a:pt x="155" y="327"/>
                  </a:cubicBezTo>
                  <a:cubicBezTo>
                    <a:pt x="145" y="325"/>
                    <a:pt x="131" y="322"/>
                    <a:pt x="117" y="318"/>
                  </a:cubicBezTo>
                  <a:cubicBezTo>
                    <a:pt x="66" y="303"/>
                    <a:pt x="23" y="278"/>
                    <a:pt x="7" y="223"/>
                  </a:cubicBezTo>
                  <a:cubicBezTo>
                    <a:pt x="0" y="197"/>
                    <a:pt x="13" y="176"/>
                    <a:pt x="35" y="179"/>
                  </a:cubicBezTo>
                  <a:cubicBezTo>
                    <a:pt x="45" y="180"/>
                    <a:pt x="60" y="188"/>
                    <a:pt x="62" y="196"/>
                  </a:cubicBezTo>
                  <a:cubicBezTo>
                    <a:pt x="76" y="246"/>
                    <a:pt x="117" y="255"/>
                    <a:pt x="159" y="264"/>
                  </a:cubicBezTo>
                  <a:cubicBezTo>
                    <a:pt x="176" y="268"/>
                    <a:pt x="188" y="265"/>
                    <a:pt x="200" y="250"/>
                  </a:cubicBezTo>
                  <a:cubicBezTo>
                    <a:pt x="225" y="221"/>
                    <a:pt x="259" y="205"/>
                    <a:pt x="297" y="198"/>
                  </a:cubicBezTo>
                  <a:cubicBezTo>
                    <a:pt x="313" y="195"/>
                    <a:pt x="330" y="188"/>
                    <a:pt x="346" y="185"/>
                  </a:cubicBezTo>
                  <a:cubicBezTo>
                    <a:pt x="361" y="182"/>
                    <a:pt x="365" y="172"/>
                    <a:pt x="364" y="158"/>
                  </a:cubicBezTo>
                  <a:cubicBezTo>
                    <a:pt x="363" y="118"/>
                    <a:pt x="347" y="86"/>
                    <a:pt x="311" y="66"/>
                  </a:cubicBezTo>
                  <a:cubicBezTo>
                    <a:pt x="297" y="58"/>
                    <a:pt x="290" y="47"/>
                    <a:pt x="293" y="31"/>
                  </a:cubicBezTo>
                  <a:cubicBezTo>
                    <a:pt x="296" y="10"/>
                    <a:pt x="319" y="0"/>
                    <a:pt x="340" y="11"/>
                  </a:cubicBezTo>
                  <a:cubicBezTo>
                    <a:pt x="390" y="39"/>
                    <a:pt x="418" y="81"/>
                    <a:pt x="424" y="137"/>
                  </a:cubicBezTo>
                  <a:cubicBezTo>
                    <a:pt x="426" y="149"/>
                    <a:pt x="425" y="162"/>
                    <a:pt x="425" y="174"/>
                  </a:cubicBezTo>
                  <a:cubicBezTo>
                    <a:pt x="424" y="197"/>
                    <a:pt x="439" y="208"/>
                    <a:pt x="461" y="199"/>
                  </a:cubicBezTo>
                  <a:cubicBezTo>
                    <a:pt x="498" y="183"/>
                    <a:pt x="511" y="152"/>
                    <a:pt x="515" y="115"/>
                  </a:cubicBezTo>
                  <a:cubicBezTo>
                    <a:pt x="516" y="106"/>
                    <a:pt x="515" y="96"/>
                    <a:pt x="515" y="86"/>
                  </a:cubicBezTo>
                  <a:cubicBezTo>
                    <a:pt x="514" y="68"/>
                    <a:pt x="526" y="54"/>
                    <a:pt x="542" y="53"/>
                  </a:cubicBezTo>
                  <a:cubicBezTo>
                    <a:pt x="560" y="51"/>
                    <a:pt x="575" y="62"/>
                    <a:pt x="576" y="82"/>
                  </a:cubicBezTo>
                  <a:cubicBezTo>
                    <a:pt x="576" y="102"/>
                    <a:pt x="576" y="122"/>
                    <a:pt x="573" y="142"/>
                  </a:cubicBezTo>
                  <a:cubicBezTo>
                    <a:pt x="570" y="156"/>
                    <a:pt x="574" y="163"/>
                    <a:pt x="586" y="170"/>
                  </a:cubicBezTo>
                  <a:cubicBezTo>
                    <a:pt x="648" y="209"/>
                    <a:pt x="709" y="201"/>
                    <a:pt x="763" y="146"/>
                  </a:cubicBezTo>
                  <a:cubicBezTo>
                    <a:pt x="770" y="139"/>
                    <a:pt x="776" y="131"/>
                    <a:pt x="782" y="124"/>
                  </a:cubicBezTo>
                  <a:cubicBezTo>
                    <a:pt x="794" y="110"/>
                    <a:pt x="813" y="107"/>
                    <a:pt x="827" y="118"/>
                  </a:cubicBezTo>
                  <a:cubicBezTo>
                    <a:pt x="839" y="128"/>
                    <a:pt x="842" y="146"/>
                    <a:pt x="832" y="161"/>
                  </a:cubicBezTo>
                  <a:cubicBezTo>
                    <a:pt x="806" y="197"/>
                    <a:pt x="773" y="225"/>
                    <a:pt x="731" y="241"/>
                  </a:cubicBezTo>
                  <a:cubicBezTo>
                    <a:pt x="717" y="247"/>
                    <a:pt x="713" y="254"/>
                    <a:pt x="714" y="270"/>
                  </a:cubicBezTo>
                  <a:cubicBezTo>
                    <a:pt x="717" y="297"/>
                    <a:pt x="721" y="324"/>
                    <a:pt x="738" y="3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29693851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200" fill="hold"/>
                                            <p:tgtEl>
                                              <p:spTgt spid="3"/>
                                            </p:tgtEl>
                                            <p:attrNameLst>
                                              <p:attrName>ppt_w</p:attrName>
                                            </p:attrNameLst>
                                          </p:cBhvr>
                                          <p:tavLst>
                                            <p:tav tm="0">
                                              <p:val>
                                                <p:fltVal val="0"/>
                                              </p:val>
                                            </p:tav>
                                            <p:tav tm="100000">
                                              <p:val>
                                                <p:strVal val="#ppt_w"/>
                                              </p:val>
                                            </p:tav>
                                          </p:tavLst>
                                        </p:anim>
                                        <p:anim calcmode="lin" valueType="num">
                                          <p:cBhvr>
                                            <p:cTn id="8" dur="200" fill="hold"/>
                                            <p:tgtEl>
                                              <p:spTgt spid="3"/>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0"/>
                                      </p:stCondLst>
                                      <p:childTnLst>
                                        <p:animScale p14:bounceEnd="99000">
                                          <p:cBhvr>
                                            <p:cTn id="10" dur="1000" fill="hold"/>
                                            <p:tgtEl>
                                              <p:spTgt spid="3"/>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3"/>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200" fill="hold"/>
                                            <p:tgtEl>
                                              <p:spTgt spid="3"/>
                                            </p:tgtEl>
                                            <p:attrNameLst>
                                              <p:attrName>ppt_w</p:attrName>
                                            </p:attrNameLst>
                                          </p:cBhvr>
                                          <p:tavLst>
                                            <p:tav tm="0">
                                              <p:val>
                                                <p:fltVal val="0"/>
                                              </p:val>
                                            </p:tav>
                                            <p:tav tm="100000">
                                              <p:val>
                                                <p:strVal val="#ppt_w"/>
                                              </p:val>
                                            </p:tav>
                                          </p:tavLst>
                                        </p:anim>
                                        <p:anim calcmode="lin" valueType="num">
                                          <p:cBhvr>
                                            <p:cTn id="8" dur="200" fill="hold"/>
                                            <p:tgtEl>
                                              <p:spTgt spid="3"/>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0"/>
                                      </p:stCondLst>
                                      <p:childTnLst>
                                        <p:animScale>
                                          <p:cBhvr>
                                            <p:cTn id="10" dur="1000" fill="hold"/>
                                            <p:tgtEl>
                                              <p:spTgt spid="3"/>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3"/>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Lst>
      </p:timing>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58A460B6-2188-FC73-CA56-C130E6CCADED}"/>
              </a:ext>
            </a:extLst>
          </p:cNvPr>
          <p:cNvSpPr/>
          <p:nvPr/>
        </p:nvSpPr>
        <p:spPr>
          <a:xfrm>
            <a:off x="0" y="2216727"/>
            <a:ext cx="12192000" cy="124999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 name="Title 1">
            <a:extLst>
              <a:ext uri="{FF2B5EF4-FFF2-40B4-BE49-F238E27FC236}">
                <a16:creationId xmlns:a16="http://schemas.microsoft.com/office/drawing/2014/main" id="{5DBCE0A1-60C5-4A58-923B-6E49D8939AF2}"/>
              </a:ext>
            </a:extLst>
          </p:cNvPr>
          <p:cNvSpPr>
            <a:spLocks noGrp="1"/>
          </p:cNvSpPr>
          <p:nvPr>
            <p:ph type="title"/>
          </p:nvPr>
        </p:nvSpPr>
        <p:spPr>
          <a:xfrm>
            <a:off x="536240" y="414320"/>
            <a:ext cx="10896000" cy="1082209"/>
          </a:xfrm>
        </p:spPr>
        <p:txBody>
          <a:bodyPr/>
          <a:lstStyle/>
          <a:p>
            <a:r>
              <a:rPr lang="en-US" noProof="0"/>
              <a:t>Current approaches to obesity care</a:t>
            </a:r>
          </a:p>
        </p:txBody>
      </p:sp>
      <p:sp>
        <p:nvSpPr>
          <p:cNvPr id="3" name="Text Placeholder 2">
            <a:extLst>
              <a:ext uri="{FF2B5EF4-FFF2-40B4-BE49-F238E27FC236}">
                <a16:creationId xmlns:a16="http://schemas.microsoft.com/office/drawing/2014/main" id="{86C32EAD-DEDC-4825-A148-691CAE9DA92F}"/>
              </a:ext>
            </a:extLst>
          </p:cNvPr>
          <p:cNvSpPr>
            <a:spLocks noGrp="1"/>
          </p:cNvSpPr>
          <p:nvPr>
            <p:ph type="body" sz="quarter" idx="13"/>
          </p:nvPr>
        </p:nvSpPr>
        <p:spPr>
          <a:xfrm>
            <a:off x="536240" y="5783580"/>
            <a:ext cx="10896000" cy="554343"/>
          </a:xfrm>
        </p:spPr>
        <p:txBody>
          <a:bodyPr/>
          <a:lstStyle/>
          <a:p>
            <a:r>
              <a:rPr lang="en-US" noProof="0" dirty="0"/>
              <a:t>*Calorie deficit of 500–1000 calories/day; </a:t>
            </a:r>
            <a:r>
              <a:rPr lang="en-US" baseline="30000" noProof="0" dirty="0"/>
              <a:t>†</a:t>
            </a:r>
            <a:r>
              <a:rPr lang="en-US" noProof="0" dirty="0"/>
              <a:t>Behavioral intervention should be tailored to a patient’s ethnic, cultural, socioeconomic and educational background; </a:t>
            </a:r>
            <a:r>
              <a:rPr lang="en-US" baseline="30000" noProof="0" dirty="0"/>
              <a:t>‡</a:t>
            </a:r>
            <a:r>
              <a:rPr lang="en-US" noProof="0" dirty="0"/>
              <a:t>Whenever possible, minimize medications for comorbid conditions that are associated with weight gain. </a:t>
            </a:r>
            <a:br>
              <a:rPr lang="en-US" noProof="0" dirty="0"/>
            </a:br>
            <a:r>
              <a:rPr lang="en-US" noProof="0" dirty="0"/>
              <a:t>AOM, anti-obesity medication; BMI, body mass index; HCP, healthcare professional.</a:t>
            </a:r>
            <a:br>
              <a:rPr lang="en-US" noProof="0" dirty="0"/>
            </a:br>
            <a:r>
              <a:rPr lang="en-US" noProof="0" dirty="0"/>
              <a:t>1. Garvey WT et al. </a:t>
            </a:r>
            <a:r>
              <a:rPr lang="en-US" noProof="0" dirty="0" err="1"/>
              <a:t>Endocr</a:t>
            </a:r>
            <a:r>
              <a:rPr lang="en-US" noProof="0" dirty="0"/>
              <a:t> </a:t>
            </a:r>
            <a:r>
              <a:rPr lang="en-US" noProof="0" dirty="0" err="1"/>
              <a:t>Pract</a:t>
            </a:r>
            <a:r>
              <a:rPr lang="en-US" noProof="0" dirty="0"/>
              <a:t> 2016;22:1–203; 2. ElSayed NA et al. Diabetes Care 2023;46(suppl 1):S128–S139; 3. Petrin C et al. Obesity Sci </a:t>
            </a:r>
            <a:r>
              <a:rPr lang="en-US" noProof="0" dirty="0" err="1"/>
              <a:t>Pract</a:t>
            </a:r>
            <a:r>
              <a:rPr lang="en-US" noProof="0" dirty="0"/>
              <a:t> 2016;2:266–271; 4. ASMBS. After 30 years – New guidelines for weight-loss surgery. </a:t>
            </a:r>
            <a:r>
              <a:rPr lang="en-US" noProof="0" dirty="0">
                <a:hlinkClick r:id="rId3">
                  <a:extLst>
                    <a:ext uri="{A12FA001-AC4F-418D-AE19-62706E023703}">
                      <ahyp:hlinkClr xmlns:ahyp="http://schemas.microsoft.com/office/drawing/2018/hyperlinkcolor" val="tx"/>
                    </a:ext>
                  </a:extLst>
                </a:hlinkClick>
              </a:rPr>
              <a:t>https://asmbs.org/articles/after-30-years-new-guidelines-for-weight-loss-surgery</a:t>
            </a:r>
            <a:r>
              <a:rPr lang="en-US" noProof="0" dirty="0"/>
              <a:t>. Accessed October 2025; 5. Turner M et al. Obesity 2018;26:665–671. </a:t>
            </a:r>
          </a:p>
        </p:txBody>
      </p:sp>
      <p:sp>
        <p:nvSpPr>
          <p:cNvPr id="11" name="TextBox 10">
            <a:extLst>
              <a:ext uri="{FF2B5EF4-FFF2-40B4-BE49-F238E27FC236}">
                <a16:creationId xmlns:a16="http://schemas.microsoft.com/office/drawing/2014/main" id="{FFBDCD3E-6F2E-4CAC-849D-192D47B54D9B}"/>
              </a:ext>
            </a:extLst>
          </p:cNvPr>
          <p:cNvSpPr txBox="1"/>
          <p:nvPr/>
        </p:nvSpPr>
        <p:spPr>
          <a:xfrm rot="16200000">
            <a:off x="-120690" y="2432425"/>
            <a:ext cx="1642374" cy="52322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Treatment </a:t>
            </a:r>
            <a:br>
              <a:rPr kumimoji="0" lang="en-US" sz="1400" b="1" i="0" u="none" strike="noStrike" kern="120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400" b="1" i="0" u="none" strike="noStrike" kern="120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guidelines</a:t>
            </a:r>
          </a:p>
        </p:txBody>
      </p:sp>
      <p:sp>
        <p:nvSpPr>
          <p:cNvPr id="12" name="Rectangle 11">
            <a:extLst>
              <a:ext uri="{FF2B5EF4-FFF2-40B4-BE49-F238E27FC236}">
                <a16:creationId xmlns:a16="http://schemas.microsoft.com/office/drawing/2014/main" id="{9CE0B82C-3432-424E-9097-FD9F426F8781}"/>
              </a:ext>
            </a:extLst>
          </p:cNvPr>
          <p:cNvSpPr/>
          <p:nvPr/>
        </p:nvSpPr>
        <p:spPr>
          <a:xfrm>
            <a:off x="1049021" y="2583859"/>
            <a:ext cx="1871390" cy="909706"/>
          </a:xfrm>
          <a:prstGeom prst="rect">
            <a:avLst/>
          </a:prstGeom>
          <a:noFill/>
          <a:ln w="9525" cap="flat" cmpd="sng" algn="ctr">
            <a:noFill/>
            <a:prstDash val="solid"/>
          </a:ln>
          <a:effectLst/>
        </p:spPr>
        <p:txBody>
          <a:bodyPr lIns="0" rIns="0" rtlCol="0" anchor="b"/>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150 min </a:t>
            </a:r>
            <a:b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prescriptive moderate physical activity/week</a:t>
            </a:r>
            <a:r>
              <a:rPr kumimoji="0" lang="en-US" sz="1100" b="0" i="0" u="none" strike="noStrike" kern="0" cap="none" spc="0" normalizeH="0" baseline="30000" noProof="0">
                <a:ln>
                  <a:noFill/>
                </a:ln>
                <a:effectLst/>
                <a:uLnTx/>
                <a:uFillTx/>
                <a:latin typeface="Arial" panose="020B0604020202020204" pitchFamily="34" charset="0"/>
                <a:ea typeface="Apis For Office" panose="020B0504010101010104" pitchFamily="34" charset="0"/>
                <a:cs typeface="Arial" panose="020B0604020202020204" pitchFamily="34" charset="0"/>
              </a:rPr>
              <a:t>1</a:t>
            </a:r>
          </a:p>
        </p:txBody>
      </p:sp>
      <p:sp>
        <p:nvSpPr>
          <p:cNvPr id="13" name="Rectangle 12">
            <a:extLst>
              <a:ext uri="{FF2B5EF4-FFF2-40B4-BE49-F238E27FC236}">
                <a16:creationId xmlns:a16="http://schemas.microsoft.com/office/drawing/2014/main" id="{E021CCD7-B7B9-41A8-BBA9-1283549C1933}"/>
              </a:ext>
            </a:extLst>
          </p:cNvPr>
          <p:cNvSpPr/>
          <p:nvPr/>
        </p:nvSpPr>
        <p:spPr>
          <a:xfrm>
            <a:off x="3208171" y="2583859"/>
            <a:ext cx="1871390" cy="909706"/>
          </a:xfrm>
          <a:prstGeom prst="rect">
            <a:avLst/>
          </a:prstGeom>
          <a:noFill/>
          <a:ln w="9525" cap="flat" cmpd="sng" algn="ctr">
            <a:noFill/>
            <a:prstDash val="solid"/>
          </a:ln>
          <a:effectLst/>
        </p:spPr>
        <p:txBody>
          <a:bodyPr lIns="0" rIns="0" rtlCol="0" anchor="b"/>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Reduced-calorie </a:t>
            </a:r>
            <a:b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healthy meal plan</a:t>
            </a:r>
            <a:r>
              <a:rPr kumimoji="0" lang="en-US" sz="1100" b="0" i="0" u="none" strike="noStrike" kern="0" cap="none" spc="0" normalizeH="0" baseline="30000" noProof="0">
                <a:ln>
                  <a:noFill/>
                </a:ln>
                <a:effectLst/>
                <a:uLnTx/>
                <a:uFillTx/>
                <a:latin typeface="Arial" panose="020B0604020202020204" pitchFamily="34" charset="0"/>
                <a:ea typeface="Apis For Office" panose="020B0504010101010104" pitchFamily="34" charset="0"/>
                <a:cs typeface="Arial" panose="020B0604020202020204" pitchFamily="34" charset="0"/>
              </a:rPr>
              <a:t>*,1</a:t>
            </a:r>
          </a:p>
        </p:txBody>
      </p:sp>
      <p:sp>
        <p:nvSpPr>
          <p:cNvPr id="14" name="Rectangle 13">
            <a:extLst>
              <a:ext uri="{FF2B5EF4-FFF2-40B4-BE49-F238E27FC236}">
                <a16:creationId xmlns:a16="http://schemas.microsoft.com/office/drawing/2014/main" id="{61C00EF6-6CDE-44A7-BB7F-98C1757D6948}"/>
              </a:ext>
            </a:extLst>
          </p:cNvPr>
          <p:cNvSpPr/>
          <p:nvPr/>
        </p:nvSpPr>
        <p:spPr>
          <a:xfrm>
            <a:off x="5411657" y="2581491"/>
            <a:ext cx="1871390" cy="909706"/>
          </a:xfrm>
          <a:prstGeom prst="rect">
            <a:avLst/>
          </a:prstGeom>
          <a:noFill/>
          <a:ln w="38100" cap="flat" cmpd="sng" algn="ctr">
            <a:noFill/>
            <a:prstDash val="solid"/>
          </a:ln>
          <a:effectLst/>
        </p:spPr>
        <p:txBody>
          <a:bodyPr lIns="0" rIns="0" rtlCol="0" anchor="b"/>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High frequency of </a:t>
            </a:r>
            <a:b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lifestyle counseling </a:t>
            </a:r>
            <a:b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16 sessions in </a:t>
            </a:r>
            <a:b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6 months)</a:t>
            </a:r>
            <a:r>
              <a:rPr lang="en-US" sz="1100" kern="0" baseline="30000" noProof="0">
                <a:latin typeface="Arial" panose="020B0604020202020204" pitchFamily="34" charset="0"/>
                <a:ea typeface="Apis For Office" panose="020B0504010101010104" pitchFamily="34" charset="0"/>
                <a:cs typeface="Arial" panose="020B0604020202020204" pitchFamily="34" charset="0"/>
              </a:rPr>
              <a:t>†,2</a:t>
            </a:r>
            <a:endParaRPr kumimoji="0" lang="en-US" sz="1100" b="0" i="0" u="none" strike="noStrike" kern="0" cap="none" spc="0" normalizeH="0" baseline="30000" noProof="0">
              <a:ln>
                <a:noFill/>
              </a:ln>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52454753-F30E-4294-BAE4-0EE622B830F4}"/>
              </a:ext>
            </a:extLst>
          </p:cNvPr>
          <p:cNvSpPr/>
          <p:nvPr/>
        </p:nvSpPr>
        <p:spPr>
          <a:xfrm>
            <a:off x="7565725" y="2583859"/>
            <a:ext cx="1871390" cy="909706"/>
          </a:xfrm>
          <a:prstGeom prst="rect">
            <a:avLst/>
          </a:prstGeom>
          <a:noFill/>
          <a:ln w="9525" cap="flat" cmpd="sng" algn="ctr">
            <a:noFill/>
            <a:prstDash val="solid"/>
          </a:ln>
          <a:effectLst/>
        </p:spPr>
        <p:txBody>
          <a:bodyPr lIns="0" rIns="0" rtlCol="0" anchor="b"/>
          <a:lstStyle/>
          <a:p>
            <a:pPr algn="ctr" defTabSz="914377">
              <a:defRPr/>
            </a:pPr>
            <a:r>
              <a:rPr lang="en-US" sz="1100" kern="0" noProof="0">
                <a:latin typeface="Arial" panose="020B0604020202020204" pitchFamily="34" charset="0"/>
                <a:ea typeface="Apis For Office" panose="020B0504010101010104" pitchFamily="34" charset="0"/>
                <a:cs typeface="Arial" panose="020B0604020202020204" pitchFamily="34" charset="0"/>
              </a:rPr>
              <a:t>BMI ≥30 kg/m</a:t>
            </a:r>
            <a:r>
              <a:rPr lang="en-US" sz="1100" kern="0" baseline="30000" noProof="0">
                <a:latin typeface="Arial" panose="020B0604020202020204" pitchFamily="34" charset="0"/>
                <a:ea typeface="Apis For Office" panose="020B0504010101010104" pitchFamily="34" charset="0"/>
                <a:cs typeface="Arial" panose="020B0604020202020204" pitchFamily="34" charset="0"/>
              </a:rPr>
              <a:t>2 </a:t>
            </a: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OR</a:t>
            </a:r>
          </a:p>
          <a:p>
            <a:pPr lvl="0" algn="ctr" defTabSz="914377">
              <a:defRPr/>
            </a:pP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BMI ≥27 kg/m</a:t>
            </a:r>
            <a:r>
              <a:rPr kumimoji="0" lang="en-US" sz="1100" b="0" i="0" u="none" strike="noStrike" kern="0" cap="none" spc="0" normalizeH="0" baseline="30000" noProof="0">
                <a:ln>
                  <a:noFill/>
                </a:ln>
                <a:effectLst/>
                <a:uLnTx/>
                <a:uFillTx/>
                <a:latin typeface="Arial" panose="020B0604020202020204" pitchFamily="34" charset="0"/>
                <a:ea typeface="Apis For Office" panose="020B0504010101010104" pitchFamily="34" charset="0"/>
                <a:cs typeface="Arial" panose="020B0604020202020204" pitchFamily="34" charset="0"/>
              </a:rPr>
              <a:t>2 </a:t>
            </a: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with significant comorbidity</a:t>
            </a:r>
            <a:r>
              <a:rPr kumimoji="0" lang="en-US" sz="1100" b="0" i="0" u="none" strike="noStrike" kern="0" cap="none" spc="0" normalizeH="0" baseline="30000" noProof="0">
                <a:ln>
                  <a:noFill/>
                </a:ln>
                <a:effectLst/>
                <a:uLnTx/>
                <a:uFillTx/>
                <a:latin typeface="Arial" panose="020B0604020202020204" pitchFamily="34" charset="0"/>
                <a:ea typeface="Apis For Office" panose="020B0504010101010104" pitchFamily="34" charset="0"/>
                <a:cs typeface="Arial" panose="020B0604020202020204" pitchFamily="34" charset="0"/>
              </a:rPr>
              <a:t>‡,1,3</a:t>
            </a:r>
            <a:endPar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B8983C3B-35FF-4DE8-B3A2-BB53831B7DF5}"/>
              </a:ext>
            </a:extLst>
          </p:cNvPr>
          <p:cNvSpPr/>
          <p:nvPr/>
        </p:nvSpPr>
        <p:spPr>
          <a:xfrm>
            <a:off x="9719793" y="2583859"/>
            <a:ext cx="1871390" cy="909706"/>
          </a:xfrm>
          <a:prstGeom prst="rect">
            <a:avLst/>
          </a:prstGeom>
          <a:noFill/>
          <a:ln w="9525" cap="flat" cmpd="sng" algn="ctr">
            <a:noFill/>
            <a:prstDash val="solid"/>
          </a:ln>
          <a:effectLst/>
        </p:spPr>
        <p:txBody>
          <a:bodyPr lIns="0" rIns="0" rtlCol="0" anchor="b"/>
          <a:lstStyle/>
          <a:p>
            <a:pPr algn="ctr" defTabSz="914377">
              <a:defRPr/>
            </a:pPr>
            <a:r>
              <a:rPr lang="en-US" sz="1100" kern="0" noProof="0">
                <a:latin typeface="Arial" panose="020B0604020202020204" pitchFamily="34" charset="0"/>
                <a:ea typeface="Apis For Office" panose="020B0504010101010104" pitchFamily="34" charset="0"/>
                <a:cs typeface="Arial" panose="020B0604020202020204" pitchFamily="34" charset="0"/>
              </a:rPr>
              <a:t>BMI ≥35 kg/m</a:t>
            </a:r>
            <a:r>
              <a:rPr lang="en-US" sz="1100" kern="0" baseline="30000" noProof="0">
                <a:latin typeface="Arial" panose="020B0604020202020204" pitchFamily="34" charset="0"/>
                <a:ea typeface="Apis For Office" panose="020B0504010101010104" pitchFamily="34" charset="0"/>
                <a:cs typeface="Arial" panose="020B0604020202020204" pitchFamily="34" charset="0"/>
              </a:rPr>
              <a:t>2</a:t>
            </a:r>
            <a:endParaRPr lang="en-US" sz="1100" kern="0" noProof="0">
              <a:latin typeface="Arial" panose="020B0604020202020204" pitchFamily="34" charset="0"/>
              <a:ea typeface="Apis For Office" panose="020B0504010101010104" pitchFamily="34" charset="0"/>
              <a:cs typeface="Arial" panose="020B060402020202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OR BMI ≥30 kg/m</a:t>
            </a:r>
            <a:r>
              <a:rPr kumimoji="0" lang="en-US" sz="1100" b="0" i="0" u="none" strike="noStrike" kern="0" cap="none" spc="0" normalizeH="0" baseline="30000" noProof="0">
                <a:ln>
                  <a:noFill/>
                </a:ln>
                <a:effectLst/>
                <a:uLnTx/>
                <a:uFillTx/>
                <a:latin typeface="Arial" panose="020B0604020202020204" pitchFamily="34" charset="0"/>
                <a:ea typeface="Apis For Office" panose="020B0504010101010104" pitchFamily="34" charset="0"/>
                <a:cs typeface="Arial" panose="020B0604020202020204" pitchFamily="34" charset="0"/>
              </a:rPr>
              <a:t>2 </a:t>
            </a:r>
            <a:r>
              <a:rPr kumimoji="0" lang="en-US" sz="1100" b="0"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and metabolic disease and in “appropriately selected children and adolescents”</a:t>
            </a:r>
            <a:r>
              <a:rPr kumimoji="0" lang="en-US" sz="1100" b="0" i="0" u="none" strike="noStrike" kern="0" cap="none" spc="0" normalizeH="0" baseline="30000" noProof="0">
                <a:ln>
                  <a:noFill/>
                </a:ln>
                <a:effectLst/>
                <a:uLnTx/>
                <a:uFillTx/>
                <a:latin typeface="Arial" panose="020B0604020202020204" pitchFamily="34" charset="0"/>
                <a:ea typeface="Apis For Office" panose="020B0504010101010104" pitchFamily="34" charset="0"/>
                <a:cs typeface="Arial" panose="020B0604020202020204" pitchFamily="34" charset="0"/>
              </a:rPr>
              <a:t>4</a:t>
            </a:r>
          </a:p>
        </p:txBody>
      </p:sp>
      <p:sp>
        <p:nvSpPr>
          <p:cNvPr id="19" name="TextBox 18">
            <a:extLst>
              <a:ext uri="{FF2B5EF4-FFF2-40B4-BE49-F238E27FC236}">
                <a16:creationId xmlns:a16="http://schemas.microsoft.com/office/drawing/2014/main" id="{A18E5178-EAD7-488E-8745-AB81E337BEE9}"/>
              </a:ext>
            </a:extLst>
          </p:cNvPr>
          <p:cNvSpPr txBox="1"/>
          <p:nvPr/>
        </p:nvSpPr>
        <p:spPr>
          <a:xfrm rot="16200000">
            <a:off x="-34029" y="4015724"/>
            <a:ext cx="1469057"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6">
                    <a:lumMod val="75000"/>
                  </a:schemeClr>
                </a:solidFill>
                <a:effectLst/>
                <a:uLnTx/>
                <a:uFillTx/>
                <a:latin typeface="Arial" panose="020B0604020202020204" pitchFamily="34" charset="0"/>
                <a:ea typeface="Apis For Office" panose="020B0504010101010104" pitchFamily="34" charset="0"/>
                <a:cs typeface="Arial" panose="020B0604020202020204" pitchFamily="34" charset="0"/>
              </a:rPr>
              <a:t>HCP adherence</a:t>
            </a:r>
          </a:p>
        </p:txBody>
      </p:sp>
      <p:sp>
        <p:nvSpPr>
          <p:cNvPr id="18" name="Rectangle 17">
            <a:extLst>
              <a:ext uri="{FF2B5EF4-FFF2-40B4-BE49-F238E27FC236}">
                <a16:creationId xmlns:a16="http://schemas.microsoft.com/office/drawing/2014/main" id="{3FD201C9-C4ED-4437-9C47-8D54B9946A5B}"/>
              </a:ext>
            </a:extLst>
          </p:cNvPr>
          <p:cNvSpPr/>
          <p:nvPr/>
        </p:nvSpPr>
        <p:spPr>
          <a:xfrm>
            <a:off x="999771" y="3530427"/>
            <a:ext cx="1969891" cy="1491848"/>
          </a:xfrm>
          <a:prstGeom prst="rect">
            <a:avLst/>
          </a:prstGeom>
          <a:solidFill>
            <a:schemeClr val="accent6">
              <a:lumMod val="75000"/>
            </a:schemeClr>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50% </a:t>
            </a:r>
            <a:br>
              <a:rPr kumimoji="0" lang="en-US" b="1"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recommend guideline </a:t>
            </a:r>
            <a:b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levels</a:t>
            </a:r>
            <a:r>
              <a:rPr kumimoji="0" lang="en-US" sz="1000" b="0" i="0" u="none" strike="noStrike" kern="0" cap="none" spc="0" normalizeH="0" baseline="3000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5</a:t>
            </a:r>
            <a:endPar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B44F09A5-E12B-4175-9CC8-473B17D3EC43}"/>
              </a:ext>
            </a:extLst>
          </p:cNvPr>
          <p:cNvSpPr/>
          <p:nvPr/>
        </p:nvSpPr>
        <p:spPr>
          <a:xfrm>
            <a:off x="3185760" y="3530427"/>
            <a:ext cx="1956136" cy="1491848"/>
          </a:xfrm>
          <a:prstGeom prst="rect">
            <a:avLst/>
          </a:prstGeom>
          <a:solidFill>
            <a:schemeClr val="accent6">
              <a:lumMod val="75000"/>
            </a:schemeClr>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33%</a:t>
            </a:r>
            <a:r>
              <a:rPr kumimoji="0" lang="en-US"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 </a:t>
            </a:r>
            <a:br>
              <a:rPr kumimoji="0" lang="en-US" sz="14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identified correct eating guidelines</a:t>
            </a:r>
            <a:r>
              <a:rPr kumimoji="0" lang="en-US" sz="1000" b="0" i="0" u="none" strike="noStrike" kern="0" cap="none" spc="0" normalizeH="0" baseline="3000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5</a:t>
            </a:r>
            <a:endPar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6884A687-5593-450F-9435-31F7147C4886}"/>
              </a:ext>
            </a:extLst>
          </p:cNvPr>
          <p:cNvSpPr/>
          <p:nvPr/>
        </p:nvSpPr>
        <p:spPr>
          <a:xfrm>
            <a:off x="5348753" y="3522801"/>
            <a:ext cx="1969891" cy="1501467"/>
          </a:xfrm>
          <a:prstGeom prst="rect">
            <a:avLst/>
          </a:prstGeom>
          <a:solidFill>
            <a:schemeClr val="accent6">
              <a:lumMod val="75000"/>
            </a:schemeClr>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lt;20% </a:t>
            </a:r>
            <a:br>
              <a:rPr kumimoji="0" lang="en-US" b="1"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recommend counseling</a:t>
            </a:r>
            <a:b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for people with obesity</a:t>
            </a:r>
            <a:r>
              <a:rPr kumimoji="0" lang="en-US" sz="1000" b="0" i="0" u="none" strike="noStrike" kern="0" cap="none" spc="0" normalizeH="0" baseline="3000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5</a:t>
            </a:r>
            <a:endPar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8A8AF409-3804-49A5-AB34-FE96A64FC979}"/>
              </a:ext>
            </a:extLst>
          </p:cNvPr>
          <p:cNvSpPr/>
          <p:nvPr/>
        </p:nvSpPr>
        <p:spPr>
          <a:xfrm>
            <a:off x="7516475" y="3530427"/>
            <a:ext cx="1969891" cy="1491848"/>
          </a:xfrm>
          <a:prstGeom prst="rect">
            <a:avLst/>
          </a:prstGeom>
          <a:solidFill>
            <a:schemeClr val="accent6">
              <a:lumMod val="75000"/>
            </a:schemeClr>
          </a:solidFill>
          <a:ln w="9525" cap="flat" cmpd="sng" algn="ctr">
            <a:noFill/>
            <a:prstDash val="solid"/>
          </a:ln>
          <a:effectLst/>
        </p:spPr>
        <p:txBody>
          <a:bodyPr lIns="91440" tIns="45720" rIns="91440" bIns="45720" rtlCol="0" anchor="ct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b="1"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40% </a:t>
            </a:r>
            <a:br>
              <a:rPr kumimoji="0" lang="en-US" sz="14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prescribe at the defined</a:t>
            </a:r>
            <a:b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BMI threshold</a:t>
            </a:r>
            <a:r>
              <a:rPr kumimoji="0" lang="en-US" sz="1000" b="0" i="0" u="none" strike="noStrike" kern="0" cap="none" spc="0" normalizeH="0" baseline="3000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3</a:t>
            </a:r>
          </a:p>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b="1"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31% </a:t>
            </a:r>
            <a:br>
              <a:rPr kumimoji="0" lang="en-US" sz="14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do not prescribe</a:t>
            </a:r>
            <a:r>
              <a:rPr kumimoji="0" lang="en-US" sz="1000" b="0" i="0" u="none" strike="noStrike" kern="0" cap="none" spc="0" normalizeH="0" baseline="3000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3</a:t>
            </a:r>
          </a:p>
          <a:p>
            <a:pPr marL="0" marR="0" lvl="0" indent="0" algn="ctr" defTabSz="914377" rtl="0" eaLnBrk="1" fontAlgn="auto" latinLnBrk="0" hangingPunct="1">
              <a:lnSpc>
                <a:spcPct val="90000"/>
              </a:lnSpc>
              <a:spcBef>
                <a:spcPts val="0"/>
              </a:spcBef>
              <a:spcAft>
                <a:spcPts val="0"/>
              </a:spcAft>
              <a:buClrTx/>
              <a:buSzTx/>
              <a:buFontTx/>
              <a:buNone/>
              <a:tabLst/>
              <a:defRPr/>
            </a:pPr>
            <a:r>
              <a:rPr lang="en-US" sz="1600" b="1" kern="0" noProof="0">
                <a:solidFill>
                  <a:srgbClr val="FFFFFF"/>
                </a:solidFill>
                <a:latin typeface="Arial"/>
                <a:ea typeface="Apis For Office" panose="020B0504010101010104" pitchFamily="34" charset="0"/>
                <a:cs typeface="Arial"/>
              </a:rPr>
              <a:t>0.7</a:t>
            </a:r>
            <a:r>
              <a:rPr lang="en-US" sz="1600" b="1" kern="0" noProof="0">
                <a:solidFill>
                  <a:schemeClr val="bg1"/>
                </a:solidFill>
                <a:latin typeface="Arial"/>
                <a:ea typeface="Apis For Office" panose="020B0504010101010104" pitchFamily="34" charset="0"/>
                <a:cs typeface="Arial"/>
              </a:rPr>
              <a:t>–</a:t>
            </a:r>
            <a:r>
              <a:rPr lang="en-US" sz="1600" b="1" kern="0" noProof="0">
                <a:solidFill>
                  <a:srgbClr val="FFFFFF"/>
                </a:solidFill>
                <a:latin typeface="Arial"/>
                <a:ea typeface="Apis For Office" panose="020B0504010101010104" pitchFamily="34" charset="0"/>
                <a:cs typeface="Arial"/>
              </a:rPr>
              <a:t>2% </a:t>
            </a:r>
            <a:br>
              <a:rPr lang="en-US" sz="1100" kern="0" noProof="0">
                <a:latin typeface="Arial" panose="020B0604020202020204" pitchFamily="34" charset="0"/>
                <a:ea typeface="Apis For Office" panose="020B0504010101010104" pitchFamily="34" charset="0"/>
                <a:cs typeface="Arial" panose="020B0604020202020204" pitchFamily="34" charset="0"/>
              </a:rPr>
            </a:br>
            <a:r>
              <a:rPr lang="en-US" sz="1000" kern="0" noProof="0">
                <a:solidFill>
                  <a:srgbClr val="FFFFFF"/>
                </a:solidFill>
                <a:latin typeface="Arial"/>
                <a:ea typeface="Apis For Office" panose="020B0504010101010104" pitchFamily="34" charset="0"/>
                <a:cs typeface="Arial"/>
              </a:rPr>
              <a:t>of eligible patients </a:t>
            </a:r>
            <a:br>
              <a:rPr lang="en-US" sz="1000" kern="0" noProof="0">
                <a:solidFill>
                  <a:srgbClr val="FFFFFF"/>
                </a:solidFill>
                <a:latin typeface="Arial"/>
                <a:ea typeface="Apis For Office" panose="020B0504010101010104" pitchFamily="34" charset="0"/>
                <a:cs typeface="Arial"/>
              </a:rPr>
            </a:br>
            <a:r>
              <a:rPr lang="en-US" sz="1000" kern="0" noProof="0">
                <a:solidFill>
                  <a:srgbClr val="FFFFFF"/>
                </a:solidFill>
                <a:latin typeface="Arial"/>
                <a:ea typeface="Apis For Office" panose="020B0504010101010104" pitchFamily="34" charset="0"/>
                <a:cs typeface="Arial"/>
              </a:rPr>
              <a:t>receive AOMs</a:t>
            </a:r>
            <a:r>
              <a:rPr lang="en-US" sz="1000" kern="0" baseline="30000" noProof="0">
                <a:solidFill>
                  <a:srgbClr val="FFFFFF"/>
                </a:solidFill>
                <a:latin typeface="Arial"/>
                <a:ea typeface="Apis For Office" panose="020B0504010101010104" pitchFamily="34" charset="0"/>
                <a:cs typeface="Arial"/>
              </a:rPr>
              <a:t>3</a:t>
            </a:r>
            <a:endParaRPr kumimoji="0" lang="en-US" sz="1000" b="0" i="0" u="none" strike="noStrike" kern="0" cap="none" spc="0" normalizeH="0" baseline="30000" noProof="0">
              <a:ln>
                <a:noFill/>
              </a:ln>
              <a:solidFill>
                <a:srgbClr val="FFFFFF"/>
              </a:solidFill>
              <a:effectLst/>
              <a:uLnTx/>
              <a:uFillTx/>
              <a:latin typeface="Arial"/>
              <a:ea typeface="Apis For Office" panose="020B0504010101010104" pitchFamily="34" charset="0"/>
              <a:cs typeface="Arial"/>
            </a:endParaRPr>
          </a:p>
        </p:txBody>
      </p:sp>
      <p:sp>
        <p:nvSpPr>
          <p:cNvPr id="23" name="Rectangle 22">
            <a:extLst>
              <a:ext uri="{FF2B5EF4-FFF2-40B4-BE49-F238E27FC236}">
                <a16:creationId xmlns:a16="http://schemas.microsoft.com/office/drawing/2014/main" id="{F7863A0F-7EB1-4457-AC8C-7C8F719C2E67}"/>
              </a:ext>
            </a:extLst>
          </p:cNvPr>
          <p:cNvSpPr/>
          <p:nvPr/>
        </p:nvSpPr>
        <p:spPr>
          <a:xfrm>
            <a:off x="9688710" y="3530427"/>
            <a:ext cx="1952428" cy="1491155"/>
          </a:xfrm>
          <a:prstGeom prst="rect">
            <a:avLst/>
          </a:prstGeom>
          <a:solidFill>
            <a:schemeClr val="accent6">
              <a:lumMod val="75000"/>
            </a:schemeClr>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lt;33%</a:t>
            </a:r>
            <a:r>
              <a:rPr kumimoji="0" lang="en-US"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 </a:t>
            </a:r>
            <a:br>
              <a:rPr kumimoji="0" lang="en-US" sz="2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refer people with obesity at the defined BMI threshold</a:t>
            </a:r>
            <a:r>
              <a:rPr kumimoji="0" lang="en-US" sz="1000" b="0" i="0" u="none" strike="noStrike" kern="0" cap="none" spc="0" normalizeH="0" baseline="3000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3</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11%</a:t>
            </a:r>
            <a:br>
              <a:rPr kumimoji="0" lang="en-US" sz="2000" b="1"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br>
            <a:r>
              <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do not propose surgery</a:t>
            </a:r>
            <a:r>
              <a:rPr kumimoji="0" lang="en-US" sz="1000" b="0" i="0" u="none" strike="noStrike" kern="0" cap="none" spc="0" normalizeH="0" baseline="3000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rPr>
              <a:t>3</a:t>
            </a:r>
            <a:endParaRPr kumimoji="0" lang="en-US" sz="1000" b="0" i="0" u="none" strike="noStrike" kern="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grpSp>
        <p:nvGrpSpPr>
          <p:cNvPr id="55" name="Group 54">
            <a:extLst>
              <a:ext uri="{FF2B5EF4-FFF2-40B4-BE49-F238E27FC236}">
                <a16:creationId xmlns:a16="http://schemas.microsoft.com/office/drawing/2014/main" id="{7FC7C736-8024-CCF8-9F26-BD9BB35EBD9E}"/>
              </a:ext>
            </a:extLst>
          </p:cNvPr>
          <p:cNvGrpSpPr/>
          <p:nvPr/>
        </p:nvGrpSpPr>
        <p:grpSpPr>
          <a:xfrm>
            <a:off x="5410051" y="1600239"/>
            <a:ext cx="1801196" cy="998216"/>
            <a:chOff x="5797166" y="1406277"/>
            <a:chExt cx="1801196" cy="998216"/>
          </a:xfrm>
        </p:grpSpPr>
        <p:sp>
          <p:nvSpPr>
            <p:cNvPr id="8" name="TextBox 7">
              <a:extLst>
                <a:ext uri="{FF2B5EF4-FFF2-40B4-BE49-F238E27FC236}">
                  <a16:creationId xmlns:a16="http://schemas.microsoft.com/office/drawing/2014/main" id="{D4ABE16A-A63D-4C2A-A08C-E3B3770C21E7}"/>
                </a:ext>
              </a:extLst>
            </p:cNvPr>
            <p:cNvSpPr txBox="1"/>
            <p:nvPr/>
          </p:nvSpPr>
          <p:spPr>
            <a:xfrm>
              <a:off x="5797166" y="1406277"/>
              <a:ext cx="1801196"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Arial" panose="020B0604020202020204" pitchFamily="34" charset="0"/>
                  <a:ea typeface="Apis For Office" panose="020B0504010101010104" pitchFamily="34" charset="0"/>
                  <a:cs typeface="Arial" panose="020B0604020202020204" pitchFamily="34" charset="0"/>
                </a:rPr>
                <a:t>Behavioral therapy</a:t>
              </a:r>
            </a:p>
          </p:txBody>
        </p:sp>
        <p:grpSp>
          <p:nvGrpSpPr>
            <p:cNvPr id="50" name="Group 49">
              <a:extLst>
                <a:ext uri="{FF2B5EF4-FFF2-40B4-BE49-F238E27FC236}">
                  <a16:creationId xmlns:a16="http://schemas.microsoft.com/office/drawing/2014/main" id="{E9104E36-EBD4-B344-3F54-87061BD259A5}"/>
                </a:ext>
              </a:extLst>
            </p:cNvPr>
            <p:cNvGrpSpPr/>
            <p:nvPr/>
          </p:nvGrpSpPr>
          <p:grpSpPr>
            <a:xfrm>
              <a:off x="6347352" y="1713672"/>
              <a:ext cx="691150" cy="690821"/>
              <a:chOff x="6347352" y="1713672"/>
              <a:chExt cx="691150" cy="690821"/>
            </a:xfrm>
          </p:grpSpPr>
          <p:sp>
            <p:nvSpPr>
              <p:cNvPr id="26" name="Oval 25">
                <a:extLst>
                  <a:ext uri="{FF2B5EF4-FFF2-40B4-BE49-F238E27FC236}">
                    <a16:creationId xmlns:a16="http://schemas.microsoft.com/office/drawing/2014/main" id="{B058EC10-DCE1-4219-BB91-27C02ED05B1F}"/>
                  </a:ext>
                </a:extLst>
              </p:cNvPr>
              <p:cNvSpPr/>
              <p:nvPr/>
            </p:nvSpPr>
            <p:spPr>
              <a:xfrm>
                <a:off x="6347352" y="1713672"/>
                <a:ext cx="691150" cy="690821"/>
              </a:xfrm>
              <a:prstGeom prst="ellipse">
                <a:avLst/>
              </a:prstGeom>
              <a:solidFill>
                <a:schemeClr val="accent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29" name="Freeform 5">
                <a:extLst>
                  <a:ext uri="{FF2B5EF4-FFF2-40B4-BE49-F238E27FC236}">
                    <a16:creationId xmlns:a16="http://schemas.microsoft.com/office/drawing/2014/main" id="{948B14AF-8D4D-4E32-A62E-0901EA17D036}"/>
                  </a:ext>
                </a:extLst>
              </p:cNvPr>
              <p:cNvSpPr>
                <a:spLocks noEditPoints="1"/>
              </p:cNvSpPr>
              <p:nvPr/>
            </p:nvSpPr>
            <p:spPr bwMode="auto">
              <a:xfrm>
                <a:off x="6451855" y="1825338"/>
                <a:ext cx="441774" cy="446959"/>
              </a:xfrm>
              <a:custGeom>
                <a:avLst/>
                <a:gdLst>
                  <a:gd name="T0" fmla="*/ 243 w 3218"/>
                  <a:gd name="T1" fmla="*/ 2271 h 3386"/>
                  <a:gd name="T2" fmla="*/ 241 w 3218"/>
                  <a:gd name="T3" fmla="*/ 2037 h 3386"/>
                  <a:gd name="T4" fmla="*/ 33 w 3218"/>
                  <a:gd name="T5" fmla="*/ 1782 h 3386"/>
                  <a:gd name="T6" fmla="*/ 376 w 3218"/>
                  <a:gd name="T7" fmla="*/ 1210 h 3386"/>
                  <a:gd name="T8" fmla="*/ 1157 w 3218"/>
                  <a:gd name="T9" fmla="*/ 126 h 3386"/>
                  <a:gd name="T10" fmla="*/ 2896 w 3218"/>
                  <a:gd name="T11" fmla="*/ 495 h 3386"/>
                  <a:gd name="T12" fmla="*/ 2759 w 3218"/>
                  <a:gd name="T13" fmla="*/ 2218 h 3386"/>
                  <a:gd name="T14" fmla="*/ 2879 w 3218"/>
                  <a:gd name="T15" fmla="*/ 3258 h 3386"/>
                  <a:gd name="T16" fmla="*/ 2258 w 3218"/>
                  <a:gd name="T17" fmla="*/ 3327 h 3386"/>
                  <a:gd name="T18" fmla="*/ 1282 w 3218"/>
                  <a:gd name="T19" fmla="*/ 2989 h 3386"/>
                  <a:gd name="T20" fmla="*/ 682 w 3218"/>
                  <a:gd name="T21" fmla="*/ 2972 h 3386"/>
                  <a:gd name="T22" fmla="*/ 316 w 3218"/>
                  <a:gd name="T23" fmla="*/ 2787 h 3386"/>
                  <a:gd name="T24" fmla="*/ 314 w 3218"/>
                  <a:gd name="T25" fmla="*/ 2454 h 3386"/>
                  <a:gd name="T26" fmla="*/ 312 w 3218"/>
                  <a:gd name="T27" fmla="*/ 2306 h 3386"/>
                  <a:gd name="T28" fmla="*/ 2513 w 3218"/>
                  <a:gd name="T29" fmla="*/ 1959 h 3386"/>
                  <a:gd name="T30" fmla="*/ 2787 w 3218"/>
                  <a:gd name="T31" fmla="*/ 1594 h 3386"/>
                  <a:gd name="T32" fmla="*/ 2826 w 3218"/>
                  <a:gd name="T33" fmla="*/ 1142 h 3386"/>
                  <a:gd name="T34" fmla="*/ 2612 w 3218"/>
                  <a:gd name="T35" fmla="*/ 702 h 3386"/>
                  <a:gd name="T36" fmla="*/ 2116 w 3218"/>
                  <a:gd name="T37" fmla="*/ 446 h 3386"/>
                  <a:gd name="T38" fmla="*/ 1652 w 3218"/>
                  <a:gd name="T39" fmla="*/ 441 h 3386"/>
                  <a:gd name="T40" fmla="*/ 1193 w 3218"/>
                  <a:gd name="T41" fmla="*/ 540 h 3386"/>
                  <a:gd name="T42" fmla="*/ 796 w 3218"/>
                  <a:gd name="T43" fmla="*/ 838 h 3386"/>
                  <a:gd name="T44" fmla="*/ 804 w 3218"/>
                  <a:gd name="T45" fmla="*/ 1506 h 3386"/>
                  <a:gd name="T46" fmla="*/ 1547 w 3218"/>
                  <a:gd name="T47" fmla="*/ 1555 h 3386"/>
                  <a:gd name="T48" fmla="*/ 1839 w 3218"/>
                  <a:gd name="T49" fmla="*/ 1666 h 3386"/>
                  <a:gd name="T50" fmla="*/ 1918 w 3218"/>
                  <a:gd name="T51" fmla="*/ 2316 h 3386"/>
                  <a:gd name="T52" fmla="*/ 2065 w 3218"/>
                  <a:gd name="T53" fmla="*/ 1889 h 3386"/>
                  <a:gd name="T54" fmla="*/ 2278 w 3218"/>
                  <a:gd name="T55" fmla="*/ 1577 h 3386"/>
                  <a:gd name="T56" fmla="*/ 2194 w 3218"/>
                  <a:gd name="T57" fmla="*/ 1084 h 3386"/>
                  <a:gd name="T58" fmla="*/ 1866 w 3218"/>
                  <a:gd name="T59" fmla="*/ 1191 h 3386"/>
                  <a:gd name="T60" fmla="*/ 1846 w 3218"/>
                  <a:gd name="T61" fmla="*/ 1422 h 3386"/>
                  <a:gd name="T62" fmla="*/ 1741 w 3218"/>
                  <a:gd name="T63" fmla="*/ 1231 h 3386"/>
                  <a:gd name="T64" fmla="*/ 1569 w 3218"/>
                  <a:gd name="T65" fmla="*/ 1191 h 3386"/>
                  <a:gd name="T66" fmla="*/ 1859 w 3218"/>
                  <a:gd name="T67" fmla="*/ 1012 h 3386"/>
                  <a:gd name="T68" fmla="*/ 1644 w 3218"/>
                  <a:gd name="T69" fmla="*/ 904 h 3386"/>
                  <a:gd name="T70" fmla="*/ 1266 w 3218"/>
                  <a:gd name="T71" fmla="*/ 1191 h 3386"/>
                  <a:gd name="T72" fmla="*/ 1009 w 3218"/>
                  <a:gd name="T73" fmla="*/ 1249 h 3386"/>
                  <a:gd name="T74" fmla="*/ 819 w 3218"/>
                  <a:gd name="T75" fmla="*/ 1314 h 3386"/>
                  <a:gd name="T76" fmla="*/ 1118 w 3218"/>
                  <a:gd name="T77" fmla="*/ 1166 h 3386"/>
                  <a:gd name="T78" fmla="*/ 1007 w 3218"/>
                  <a:gd name="T79" fmla="*/ 1015 h 3386"/>
                  <a:gd name="T80" fmla="*/ 1283 w 3218"/>
                  <a:gd name="T81" fmla="*/ 1087 h 3386"/>
                  <a:gd name="T82" fmla="*/ 1280 w 3218"/>
                  <a:gd name="T83" fmla="*/ 792 h 3386"/>
                  <a:gd name="T84" fmla="*/ 1498 w 3218"/>
                  <a:gd name="T85" fmla="*/ 847 h 3386"/>
                  <a:gd name="T86" fmla="*/ 1742 w 3218"/>
                  <a:gd name="T87" fmla="*/ 786 h 3386"/>
                  <a:gd name="T88" fmla="*/ 1875 w 3218"/>
                  <a:gd name="T89" fmla="*/ 684 h 3386"/>
                  <a:gd name="T90" fmla="*/ 1946 w 3218"/>
                  <a:gd name="T91" fmla="*/ 951 h 3386"/>
                  <a:gd name="T92" fmla="*/ 2100 w 3218"/>
                  <a:gd name="T93" fmla="*/ 862 h 3386"/>
                  <a:gd name="T94" fmla="*/ 2211 w 3218"/>
                  <a:gd name="T95" fmla="*/ 871 h 3386"/>
                  <a:gd name="T96" fmla="*/ 2241 w 3218"/>
                  <a:gd name="T97" fmla="*/ 1003 h 3386"/>
                  <a:gd name="T98" fmla="*/ 2556 w 3218"/>
                  <a:gd name="T99" fmla="*/ 1128 h 3386"/>
                  <a:gd name="T100" fmla="*/ 2683 w 3218"/>
                  <a:gd name="T101" fmla="*/ 1130 h 3386"/>
                  <a:gd name="T102" fmla="*/ 2461 w 3218"/>
                  <a:gd name="T103" fmla="*/ 1289 h 3386"/>
                  <a:gd name="T104" fmla="*/ 2500 w 3218"/>
                  <a:gd name="T105" fmla="*/ 1577 h 3386"/>
                  <a:gd name="T106" fmla="*/ 2507 w 3218"/>
                  <a:gd name="T107" fmla="*/ 1724 h 3386"/>
                  <a:gd name="T108" fmla="*/ 2357 w 3218"/>
                  <a:gd name="T109" fmla="*/ 1626 h 3386"/>
                  <a:gd name="T110" fmla="*/ 2147 w 3218"/>
                  <a:gd name="T111" fmla="*/ 2291 h 3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8" h="3386">
                    <a:moveTo>
                      <a:pt x="312" y="2306"/>
                    </a:moveTo>
                    <a:cubicBezTo>
                      <a:pt x="292" y="2296"/>
                      <a:pt x="273" y="2287"/>
                      <a:pt x="255" y="2278"/>
                    </a:cubicBezTo>
                    <a:cubicBezTo>
                      <a:pt x="251" y="2276"/>
                      <a:pt x="247" y="2274"/>
                      <a:pt x="243" y="2271"/>
                    </a:cubicBezTo>
                    <a:cubicBezTo>
                      <a:pt x="193" y="2240"/>
                      <a:pt x="188" y="2218"/>
                      <a:pt x="222" y="2169"/>
                    </a:cubicBezTo>
                    <a:cubicBezTo>
                      <a:pt x="229" y="2157"/>
                      <a:pt x="238" y="2146"/>
                      <a:pt x="246" y="2134"/>
                    </a:cubicBezTo>
                    <a:cubicBezTo>
                      <a:pt x="270" y="2099"/>
                      <a:pt x="271" y="2066"/>
                      <a:pt x="241" y="2037"/>
                    </a:cubicBezTo>
                    <a:cubicBezTo>
                      <a:pt x="212" y="2009"/>
                      <a:pt x="178" y="1986"/>
                      <a:pt x="145" y="1963"/>
                    </a:cubicBezTo>
                    <a:cubicBezTo>
                      <a:pt x="123" y="1948"/>
                      <a:pt x="98" y="1938"/>
                      <a:pt x="75" y="1925"/>
                    </a:cubicBezTo>
                    <a:cubicBezTo>
                      <a:pt x="14" y="1891"/>
                      <a:pt x="0" y="1842"/>
                      <a:pt x="33" y="1782"/>
                    </a:cubicBezTo>
                    <a:cubicBezTo>
                      <a:pt x="60" y="1733"/>
                      <a:pt x="101" y="1699"/>
                      <a:pt x="141" y="1662"/>
                    </a:cubicBezTo>
                    <a:cubicBezTo>
                      <a:pt x="248" y="1565"/>
                      <a:pt x="332" y="1453"/>
                      <a:pt x="367" y="1309"/>
                    </a:cubicBezTo>
                    <a:cubicBezTo>
                      <a:pt x="375" y="1277"/>
                      <a:pt x="375" y="1243"/>
                      <a:pt x="376" y="1210"/>
                    </a:cubicBezTo>
                    <a:cubicBezTo>
                      <a:pt x="377" y="1123"/>
                      <a:pt x="371" y="1036"/>
                      <a:pt x="378" y="950"/>
                    </a:cubicBezTo>
                    <a:cubicBezTo>
                      <a:pt x="395" y="731"/>
                      <a:pt x="494" y="553"/>
                      <a:pt x="660" y="410"/>
                    </a:cubicBezTo>
                    <a:cubicBezTo>
                      <a:pt x="807" y="283"/>
                      <a:pt x="977" y="195"/>
                      <a:pt x="1157" y="126"/>
                    </a:cubicBezTo>
                    <a:cubicBezTo>
                      <a:pt x="1388" y="37"/>
                      <a:pt x="1627" y="0"/>
                      <a:pt x="1875" y="22"/>
                    </a:cubicBezTo>
                    <a:cubicBezTo>
                      <a:pt x="2089" y="42"/>
                      <a:pt x="2291" y="104"/>
                      <a:pt x="2483" y="200"/>
                    </a:cubicBezTo>
                    <a:cubicBezTo>
                      <a:pt x="2636" y="277"/>
                      <a:pt x="2779" y="368"/>
                      <a:pt x="2896" y="495"/>
                    </a:cubicBezTo>
                    <a:cubicBezTo>
                      <a:pt x="3110" y="724"/>
                      <a:pt x="3218" y="995"/>
                      <a:pt x="3206" y="1309"/>
                    </a:cubicBezTo>
                    <a:cubicBezTo>
                      <a:pt x="3195" y="1572"/>
                      <a:pt x="3097" y="1802"/>
                      <a:pt x="2930" y="2002"/>
                    </a:cubicBezTo>
                    <a:cubicBezTo>
                      <a:pt x="2871" y="2073"/>
                      <a:pt x="2808" y="2140"/>
                      <a:pt x="2759" y="2218"/>
                    </a:cubicBezTo>
                    <a:cubicBezTo>
                      <a:pt x="2692" y="2324"/>
                      <a:pt x="2648" y="2437"/>
                      <a:pt x="2651" y="2564"/>
                    </a:cubicBezTo>
                    <a:cubicBezTo>
                      <a:pt x="2654" y="2663"/>
                      <a:pt x="2681" y="2756"/>
                      <a:pt x="2716" y="2847"/>
                    </a:cubicBezTo>
                    <a:cubicBezTo>
                      <a:pt x="2769" y="2985"/>
                      <a:pt x="2825" y="3121"/>
                      <a:pt x="2879" y="3258"/>
                    </a:cubicBezTo>
                    <a:cubicBezTo>
                      <a:pt x="2882" y="3265"/>
                      <a:pt x="2885" y="3273"/>
                      <a:pt x="2888" y="3282"/>
                    </a:cubicBezTo>
                    <a:cubicBezTo>
                      <a:pt x="2882" y="3284"/>
                      <a:pt x="2877" y="3285"/>
                      <a:pt x="2872" y="3286"/>
                    </a:cubicBezTo>
                    <a:cubicBezTo>
                      <a:pt x="2668" y="3300"/>
                      <a:pt x="2463" y="3313"/>
                      <a:pt x="2258" y="3327"/>
                    </a:cubicBezTo>
                    <a:cubicBezTo>
                      <a:pt x="1975" y="3346"/>
                      <a:pt x="1693" y="3365"/>
                      <a:pt x="1410" y="3385"/>
                    </a:cubicBezTo>
                    <a:cubicBezTo>
                      <a:pt x="1397" y="3386"/>
                      <a:pt x="1391" y="3383"/>
                      <a:pt x="1387" y="3370"/>
                    </a:cubicBezTo>
                    <a:cubicBezTo>
                      <a:pt x="1348" y="3244"/>
                      <a:pt x="1305" y="3119"/>
                      <a:pt x="1282" y="2989"/>
                    </a:cubicBezTo>
                    <a:cubicBezTo>
                      <a:pt x="1276" y="2950"/>
                      <a:pt x="1247" y="2932"/>
                      <a:pt x="1213" y="2923"/>
                    </a:cubicBezTo>
                    <a:cubicBezTo>
                      <a:pt x="1162" y="2909"/>
                      <a:pt x="1111" y="2910"/>
                      <a:pt x="1060" y="2917"/>
                    </a:cubicBezTo>
                    <a:cubicBezTo>
                      <a:pt x="934" y="2934"/>
                      <a:pt x="808" y="2955"/>
                      <a:pt x="682" y="2972"/>
                    </a:cubicBezTo>
                    <a:cubicBezTo>
                      <a:pt x="602" y="2982"/>
                      <a:pt x="522" y="2982"/>
                      <a:pt x="445" y="2954"/>
                    </a:cubicBezTo>
                    <a:cubicBezTo>
                      <a:pt x="407" y="2940"/>
                      <a:pt x="373" y="2922"/>
                      <a:pt x="347" y="2891"/>
                    </a:cubicBezTo>
                    <a:cubicBezTo>
                      <a:pt x="321" y="2861"/>
                      <a:pt x="310" y="2826"/>
                      <a:pt x="316" y="2787"/>
                    </a:cubicBezTo>
                    <a:cubicBezTo>
                      <a:pt x="327" y="2723"/>
                      <a:pt x="339" y="2660"/>
                      <a:pt x="347" y="2596"/>
                    </a:cubicBezTo>
                    <a:cubicBezTo>
                      <a:pt x="351" y="2565"/>
                      <a:pt x="348" y="2533"/>
                      <a:pt x="346" y="2502"/>
                    </a:cubicBezTo>
                    <a:cubicBezTo>
                      <a:pt x="344" y="2482"/>
                      <a:pt x="332" y="2466"/>
                      <a:pt x="314" y="2454"/>
                    </a:cubicBezTo>
                    <a:cubicBezTo>
                      <a:pt x="299" y="2444"/>
                      <a:pt x="285" y="2432"/>
                      <a:pt x="274" y="2418"/>
                    </a:cubicBezTo>
                    <a:cubicBezTo>
                      <a:pt x="248" y="2387"/>
                      <a:pt x="252" y="2353"/>
                      <a:pt x="283" y="2327"/>
                    </a:cubicBezTo>
                    <a:cubicBezTo>
                      <a:pt x="292" y="2320"/>
                      <a:pt x="301" y="2314"/>
                      <a:pt x="312" y="2306"/>
                    </a:cubicBezTo>
                    <a:close/>
                    <a:moveTo>
                      <a:pt x="2309" y="2313"/>
                    </a:moveTo>
                    <a:cubicBezTo>
                      <a:pt x="2311" y="2287"/>
                      <a:pt x="2312" y="2263"/>
                      <a:pt x="2316" y="2240"/>
                    </a:cubicBezTo>
                    <a:cubicBezTo>
                      <a:pt x="2338" y="2116"/>
                      <a:pt x="2407" y="2025"/>
                      <a:pt x="2513" y="1959"/>
                    </a:cubicBezTo>
                    <a:cubicBezTo>
                      <a:pt x="2548" y="1938"/>
                      <a:pt x="2584" y="1916"/>
                      <a:pt x="2616" y="1891"/>
                    </a:cubicBezTo>
                    <a:cubicBezTo>
                      <a:pt x="2702" y="1820"/>
                      <a:pt x="2758" y="1732"/>
                      <a:pt x="2773" y="1619"/>
                    </a:cubicBezTo>
                    <a:cubicBezTo>
                      <a:pt x="2774" y="1610"/>
                      <a:pt x="2781" y="1601"/>
                      <a:pt x="2787" y="1594"/>
                    </a:cubicBezTo>
                    <a:cubicBezTo>
                      <a:pt x="2827" y="1545"/>
                      <a:pt x="2859" y="1492"/>
                      <a:pt x="2879" y="1431"/>
                    </a:cubicBezTo>
                    <a:cubicBezTo>
                      <a:pt x="2910" y="1336"/>
                      <a:pt x="2898" y="1247"/>
                      <a:pt x="2835" y="1167"/>
                    </a:cubicBezTo>
                    <a:cubicBezTo>
                      <a:pt x="2830" y="1160"/>
                      <a:pt x="2827" y="1150"/>
                      <a:pt x="2826" y="1142"/>
                    </a:cubicBezTo>
                    <a:cubicBezTo>
                      <a:pt x="2823" y="1095"/>
                      <a:pt x="2823" y="1049"/>
                      <a:pt x="2818" y="1002"/>
                    </a:cubicBezTo>
                    <a:cubicBezTo>
                      <a:pt x="2810" y="932"/>
                      <a:pt x="2794" y="864"/>
                      <a:pt x="2759" y="802"/>
                    </a:cubicBezTo>
                    <a:cubicBezTo>
                      <a:pt x="2726" y="745"/>
                      <a:pt x="2680" y="708"/>
                      <a:pt x="2612" y="702"/>
                    </a:cubicBezTo>
                    <a:cubicBezTo>
                      <a:pt x="2606" y="702"/>
                      <a:pt x="2598" y="695"/>
                      <a:pt x="2595" y="689"/>
                    </a:cubicBezTo>
                    <a:cubicBezTo>
                      <a:pt x="2509" y="507"/>
                      <a:pt x="2356" y="424"/>
                      <a:pt x="2157" y="455"/>
                    </a:cubicBezTo>
                    <a:cubicBezTo>
                      <a:pt x="2141" y="458"/>
                      <a:pt x="2129" y="455"/>
                      <a:pt x="2116" y="446"/>
                    </a:cubicBezTo>
                    <a:cubicBezTo>
                      <a:pt x="2055" y="406"/>
                      <a:pt x="1990" y="375"/>
                      <a:pt x="1917" y="361"/>
                    </a:cubicBezTo>
                    <a:cubicBezTo>
                      <a:pt x="1822" y="342"/>
                      <a:pt x="1739" y="360"/>
                      <a:pt x="1673" y="438"/>
                    </a:cubicBezTo>
                    <a:cubicBezTo>
                      <a:pt x="1670" y="442"/>
                      <a:pt x="1658" y="443"/>
                      <a:pt x="1652" y="441"/>
                    </a:cubicBezTo>
                    <a:cubicBezTo>
                      <a:pt x="1576" y="413"/>
                      <a:pt x="1497" y="395"/>
                      <a:pt x="1415" y="403"/>
                    </a:cubicBezTo>
                    <a:cubicBezTo>
                      <a:pt x="1331" y="411"/>
                      <a:pt x="1264" y="449"/>
                      <a:pt x="1222" y="524"/>
                    </a:cubicBezTo>
                    <a:cubicBezTo>
                      <a:pt x="1215" y="537"/>
                      <a:pt x="1207" y="541"/>
                      <a:pt x="1193" y="540"/>
                    </a:cubicBezTo>
                    <a:cubicBezTo>
                      <a:pt x="1139" y="537"/>
                      <a:pt x="1086" y="543"/>
                      <a:pt x="1035" y="559"/>
                    </a:cubicBezTo>
                    <a:cubicBezTo>
                      <a:pt x="911" y="597"/>
                      <a:pt x="839" y="681"/>
                      <a:pt x="819" y="808"/>
                    </a:cubicBezTo>
                    <a:cubicBezTo>
                      <a:pt x="816" y="824"/>
                      <a:pt x="810" y="831"/>
                      <a:pt x="796" y="838"/>
                    </a:cubicBezTo>
                    <a:cubicBezTo>
                      <a:pt x="775" y="847"/>
                      <a:pt x="754" y="857"/>
                      <a:pt x="737" y="872"/>
                    </a:cubicBezTo>
                    <a:cubicBezTo>
                      <a:pt x="607" y="978"/>
                      <a:pt x="574" y="1121"/>
                      <a:pt x="598" y="1278"/>
                    </a:cubicBezTo>
                    <a:cubicBezTo>
                      <a:pt x="616" y="1396"/>
                      <a:pt x="699" y="1464"/>
                      <a:pt x="804" y="1506"/>
                    </a:cubicBezTo>
                    <a:cubicBezTo>
                      <a:pt x="925" y="1555"/>
                      <a:pt x="1049" y="1551"/>
                      <a:pt x="1172" y="1521"/>
                    </a:cubicBezTo>
                    <a:cubicBezTo>
                      <a:pt x="1212" y="1512"/>
                      <a:pt x="1243" y="1512"/>
                      <a:pt x="1281" y="1533"/>
                    </a:cubicBezTo>
                    <a:cubicBezTo>
                      <a:pt x="1365" y="1578"/>
                      <a:pt x="1457" y="1580"/>
                      <a:pt x="1547" y="1555"/>
                    </a:cubicBezTo>
                    <a:cubicBezTo>
                      <a:pt x="1594" y="1543"/>
                      <a:pt x="1634" y="1547"/>
                      <a:pt x="1675" y="1568"/>
                    </a:cubicBezTo>
                    <a:cubicBezTo>
                      <a:pt x="1694" y="1577"/>
                      <a:pt x="1715" y="1584"/>
                      <a:pt x="1733" y="1595"/>
                    </a:cubicBezTo>
                    <a:cubicBezTo>
                      <a:pt x="1769" y="1617"/>
                      <a:pt x="1806" y="1639"/>
                      <a:pt x="1839" y="1666"/>
                    </a:cubicBezTo>
                    <a:cubicBezTo>
                      <a:pt x="1893" y="1709"/>
                      <a:pt x="1920" y="1765"/>
                      <a:pt x="1919" y="1836"/>
                    </a:cubicBezTo>
                    <a:cubicBezTo>
                      <a:pt x="1916" y="1988"/>
                      <a:pt x="1918" y="2140"/>
                      <a:pt x="1918" y="2292"/>
                    </a:cubicBezTo>
                    <a:cubicBezTo>
                      <a:pt x="1918" y="2300"/>
                      <a:pt x="1918" y="2308"/>
                      <a:pt x="1918" y="2316"/>
                    </a:cubicBezTo>
                    <a:cubicBezTo>
                      <a:pt x="1969" y="2316"/>
                      <a:pt x="2017" y="2316"/>
                      <a:pt x="2067" y="2316"/>
                    </a:cubicBezTo>
                    <a:cubicBezTo>
                      <a:pt x="2067" y="2307"/>
                      <a:pt x="2067" y="2299"/>
                      <a:pt x="2067" y="2291"/>
                    </a:cubicBezTo>
                    <a:cubicBezTo>
                      <a:pt x="2066" y="2157"/>
                      <a:pt x="2064" y="2023"/>
                      <a:pt x="2065" y="1889"/>
                    </a:cubicBezTo>
                    <a:cubicBezTo>
                      <a:pt x="2065" y="1856"/>
                      <a:pt x="2071" y="1821"/>
                      <a:pt x="2080" y="1789"/>
                    </a:cubicBezTo>
                    <a:cubicBezTo>
                      <a:pt x="2096" y="1736"/>
                      <a:pt x="2137" y="1701"/>
                      <a:pt x="2179" y="1666"/>
                    </a:cubicBezTo>
                    <a:cubicBezTo>
                      <a:pt x="2213" y="1638"/>
                      <a:pt x="2250" y="1611"/>
                      <a:pt x="2278" y="1577"/>
                    </a:cubicBezTo>
                    <a:cubicBezTo>
                      <a:pt x="2357" y="1483"/>
                      <a:pt x="2378" y="1370"/>
                      <a:pt x="2368" y="1251"/>
                    </a:cubicBezTo>
                    <a:cubicBezTo>
                      <a:pt x="2363" y="1186"/>
                      <a:pt x="2325" y="1140"/>
                      <a:pt x="2267" y="1112"/>
                    </a:cubicBezTo>
                    <a:cubicBezTo>
                      <a:pt x="2243" y="1101"/>
                      <a:pt x="2219" y="1092"/>
                      <a:pt x="2194" y="1084"/>
                    </a:cubicBezTo>
                    <a:cubicBezTo>
                      <a:pt x="2125" y="1062"/>
                      <a:pt x="2054" y="1044"/>
                      <a:pt x="1981" y="1046"/>
                    </a:cubicBezTo>
                    <a:cubicBezTo>
                      <a:pt x="1945" y="1047"/>
                      <a:pt x="1918" y="1062"/>
                      <a:pt x="1899" y="1092"/>
                    </a:cubicBezTo>
                    <a:cubicBezTo>
                      <a:pt x="1879" y="1122"/>
                      <a:pt x="1869" y="1155"/>
                      <a:pt x="1866" y="1191"/>
                    </a:cubicBezTo>
                    <a:cubicBezTo>
                      <a:pt x="1863" y="1250"/>
                      <a:pt x="1880" y="1303"/>
                      <a:pt x="1906" y="1354"/>
                    </a:cubicBezTo>
                    <a:cubicBezTo>
                      <a:pt x="1909" y="1360"/>
                      <a:pt x="1911" y="1371"/>
                      <a:pt x="1908" y="1373"/>
                    </a:cubicBezTo>
                    <a:cubicBezTo>
                      <a:pt x="1889" y="1390"/>
                      <a:pt x="1868" y="1405"/>
                      <a:pt x="1846" y="1422"/>
                    </a:cubicBezTo>
                    <a:cubicBezTo>
                      <a:pt x="1813" y="1369"/>
                      <a:pt x="1790" y="1317"/>
                      <a:pt x="1783" y="1258"/>
                    </a:cubicBezTo>
                    <a:cubicBezTo>
                      <a:pt x="1780" y="1238"/>
                      <a:pt x="1772" y="1231"/>
                      <a:pt x="1753" y="1231"/>
                    </a:cubicBezTo>
                    <a:cubicBezTo>
                      <a:pt x="1749" y="1232"/>
                      <a:pt x="1745" y="1231"/>
                      <a:pt x="1741" y="1231"/>
                    </a:cubicBezTo>
                    <a:cubicBezTo>
                      <a:pt x="1677" y="1230"/>
                      <a:pt x="1618" y="1245"/>
                      <a:pt x="1572" y="1294"/>
                    </a:cubicBezTo>
                    <a:cubicBezTo>
                      <a:pt x="1548" y="1280"/>
                      <a:pt x="1526" y="1267"/>
                      <a:pt x="1497" y="1251"/>
                    </a:cubicBezTo>
                    <a:cubicBezTo>
                      <a:pt x="1524" y="1229"/>
                      <a:pt x="1545" y="1207"/>
                      <a:pt x="1569" y="1191"/>
                    </a:cubicBezTo>
                    <a:cubicBezTo>
                      <a:pt x="1631" y="1151"/>
                      <a:pt x="1700" y="1140"/>
                      <a:pt x="1772" y="1143"/>
                    </a:cubicBezTo>
                    <a:cubicBezTo>
                      <a:pt x="1785" y="1144"/>
                      <a:pt x="1791" y="1141"/>
                      <a:pt x="1795" y="1128"/>
                    </a:cubicBezTo>
                    <a:cubicBezTo>
                      <a:pt x="1807" y="1084"/>
                      <a:pt x="1830" y="1046"/>
                      <a:pt x="1859" y="1012"/>
                    </a:cubicBezTo>
                    <a:cubicBezTo>
                      <a:pt x="1863" y="1007"/>
                      <a:pt x="1867" y="1000"/>
                      <a:pt x="1866" y="995"/>
                    </a:cubicBezTo>
                    <a:cubicBezTo>
                      <a:pt x="1851" y="925"/>
                      <a:pt x="1775" y="874"/>
                      <a:pt x="1705" y="887"/>
                    </a:cubicBezTo>
                    <a:cubicBezTo>
                      <a:pt x="1685" y="891"/>
                      <a:pt x="1663" y="895"/>
                      <a:pt x="1644" y="904"/>
                    </a:cubicBezTo>
                    <a:cubicBezTo>
                      <a:pt x="1600" y="924"/>
                      <a:pt x="1555" y="934"/>
                      <a:pt x="1507" y="938"/>
                    </a:cubicBezTo>
                    <a:cubicBezTo>
                      <a:pt x="1501" y="939"/>
                      <a:pt x="1493" y="946"/>
                      <a:pt x="1491" y="951"/>
                    </a:cubicBezTo>
                    <a:cubicBezTo>
                      <a:pt x="1454" y="1067"/>
                      <a:pt x="1376" y="1144"/>
                      <a:pt x="1266" y="1191"/>
                    </a:cubicBezTo>
                    <a:cubicBezTo>
                      <a:pt x="1259" y="1194"/>
                      <a:pt x="1251" y="1197"/>
                      <a:pt x="1245" y="1202"/>
                    </a:cubicBezTo>
                    <a:cubicBezTo>
                      <a:pt x="1212" y="1229"/>
                      <a:pt x="1174" y="1247"/>
                      <a:pt x="1133" y="1250"/>
                    </a:cubicBezTo>
                    <a:cubicBezTo>
                      <a:pt x="1092" y="1253"/>
                      <a:pt x="1050" y="1251"/>
                      <a:pt x="1009" y="1249"/>
                    </a:cubicBezTo>
                    <a:cubicBezTo>
                      <a:pt x="945" y="1247"/>
                      <a:pt x="914" y="1270"/>
                      <a:pt x="901" y="1330"/>
                    </a:cubicBezTo>
                    <a:cubicBezTo>
                      <a:pt x="901" y="1331"/>
                      <a:pt x="900" y="1332"/>
                      <a:pt x="897" y="1335"/>
                    </a:cubicBezTo>
                    <a:cubicBezTo>
                      <a:pt x="871" y="1328"/>
                      <a:pt x="845" y="1321"/>
                      <a:pt x="819" y="1314"/>
                    </a:cubicBezTo>
                    <a:cubicBezTo>
                      <a:pt x="818" y="1311"/>
                      <a:pt x="817" y="1309"/>
                      <a:pt x="817" y="1308"/>
                    </a:cubicBezTo>
                    <a:cubicBezTo>
                      <a:pt x="848" y="1203"/>
                      <a:pt x="902" y="1156"/>
                      <a:pt x="998" y="1164"/>
                    </a:cubicBezTo>
                    <a:cubicBezTo>
                      <a:pt x="1038" y="1167"/>
                      <a:pt x="1078" y="1167"/>
                      <a:pt x="1118" y="1166"/>
                    </a:cubicBezTo>
                    <a:cubicBezTo>
                      <a:pt x="1134" y="1166"/>
                      <a:pt x="1150" y="1158"/>
                      <a:pt x="1169" y="1153"/>
                    </a:cubicBezTo>
                    <a:cubicBezTo>
                      <a:pt x="1136" y="1085"/>
                      <a:pt x="1094" y="1035"/>
                      <a:pt x="1019" y="1022"/>
                    </a:cubicBezTo>
                    <a:cubicBezTo>
                      <a:pt x="1015" y="1021"/>
                      <a:pt x="1007" y="1018"/>
                      <a:pt x="1007" y="1015"/>
                    </a:cubicBezTo>
                    <a:cubicBezTo>
                      <a:pt x="1005" y="989"/>
                      <a:pt x="1004" y="962"/>
                      <a:pt x="1003" y="934"/>
                    </a:cubicBezTo>
                    <a:cubicBezTo>
                      <a:pt x="1120" y="943"/>
                      <a:pt x="1194" y="1006"/>
                      <a:pt x="1248" y="1104"/>
                    </a:cubicBezTo>
                    <a:cubicBezTo>
                      <a:pt x="1260" y="1098"/>
                      <a:pt x="1272" y="1093"/>
                      <a:pt x="1283" y="1087"/>
                    </a:cubicBezTo>
                    <a:cubicBezTo>
                      <a:pt x="1347" y="1050"/>
                      <a:pt x="1386" y="994"/>
                      <a:pt x="1410" y="926"/>
                    </a:cubicBezTo>
                    <a:cubicBezTo>
                      <a:pt x="1415" y="913"/>
                      <a:pt x="1413" y="904"/>
                      <a:pt x="1405" y="893"/>
                    </a:cubicBezTo>
                    <a:cubicBezTo>
                      <a:pt x="1372" y="849"/>
                      <a:pt x="1332" y="816"/>
                      <a:pt x="1280" y="792"/>
                    </a:cubicBezTo>
                    <a:cubicBezTo>
                      <a:pt x="1289" y="764"/>
                      <a:pt x="1298" y="738"/>
                      <a:pt x="1307" y="709"/>
                    </a:cubicBezTo>
                    <a:cubicBezTo>
                      <a:pt x="1376" y="736"/>
                      <a:pt x="1431" y="775"/>
                      <a:pt x="1470" y="834"/>
                    </a:cubicBezTo>
                    <a:cubicBezTo>
                      <a:pt x="1477" y="845"/>
                      <a:pt x="1485" y="850"/>
                      <a:pt x="1498" y="847"/>
                    </a:cubicBezTo>
                    <a:cubicBezTo>
                      <a:pt x="1537" y="838"/>
                      <a:pt x="1576" y="829"/>
                      <a:pt x="1616" y="820"/>
                    </a:cubicBezTo>
                    <a:cubicBezTo>
                      <a:pt x="1648" y="814"/>
                      <a:pt x="1680" y="807"/>
                      <a:pt x="1712" y="803"/>
                    </a:cubicBezTo>
                    <a:cubicBezTo>
                      <a:pt x="1726" y="802"/>
                      <a:pt x="1735" y="798"/>
                      <a:pt x="1742" y="786"/>
                    </a:cubicBezTo>
                    <a:cubicBezTo>
                      <a:pt x="1764" y="745"/>
                      <a:pt x="1779" y="702"/>
                      <a:pt x="1784" y="654"/>
                    </a:cubicBezTo>
                    <a:cubicBezTo>
                      <a:pt x="1811" y="658"/>
                      <a:pt x="1836" y="663"/>
                      <a:pt x="1862" y="666"/>
                    </a:cubicBezTo>
                    <a:cubicBezTo>
                      <a:pt x="1875" y="667"/>
                      <a:pt x="1878" y="674"/>
                      <a:pt x="1875" y="684"/>
                    </a:cubicBezTo>
                    <a:cubicBezTo>
                      <a:pt x="1864" y="719"/>
                      <a:pt x="1853" y="754"/>
                      <a:pt x="1842" y="789"/>
                    </a:cubicBezTo>
                    <a:cubicBezTo>
                      <a:pt x="1838" y="799"/>
                      <a:pt x="1831" y="808"/>
                      <a:pt x="1826" y="818"/>
                    </a:cubicBezTo>
                    <a:cubicBezTo>
                      <a:pt x="1899" y="864"/>
                      <a:pt x="1907" y="874"/>
                      <a:pt x="1946" y="951"/>
                    </a:cubicBezTo>
                    <a:cubicBezTo>
                      <a:pt x="1947" y="955"/>
                      <a:pt x="1953" y="960"/>
                      <a:pt x="1957" y="960"/>
                    </a:cubicBezTo>
                    <a:cubicBezTo>
                      <a:pt x="1998" y="961"/>
                      <a:pt x="2039" y="960"/>
                      <a:pt x="2077" y="960"/>
                    </a:cubicBezTo>
                    <a:cubicBezTo>
                      <a:pt x="2084" y="930"/>
                      <a:pt x="2089" y="895"/>
                      <a:pt x="2100" y="862"/>
                    </a:cubicBezTo>
                    <a:cubicBezTo>
                      <a:pt x="2113" y="828"/>
                      <a:pt x="2139" y="803"/>
                      <a:pt x="2173" y="785"/>
                    </a:cubicBezTo>
                    <a:cubicBezTo>
                      <a:pt x="2190" y="811"/>
                      <a:pt x="2205" y="835"/>
                      <a:pt x="2221" y="859"/>
                    </a:cubicBezTo>
                    <a:cubicBezTo>
                      <a:pt x="2217" y="864"/>
                      <a:pt x="2214" y="867"/>
                      <a:pt x="2211" y="871"/>
                    </a:cubicBezTo>
                    <a:cubicBezTo>
                      <a:pt x="2187" y="898"/>
                      <a:pt x="2171" y="929"/>
                      <a:pt x="2175" y="967"/>
                    </a:cubicBezTo>
                    <a:cubicBezTo>
                      <a:pt x="2177" y="980"/>
                      <a:pt x="2181" y="989"/>
                      <a:pt x="2197" y="991"/>
                    </a:cubicBezTo>
                    <a:cubicBezTo>
                      <a:pt x="2212" y="993"/>
                      <a:pt x="2226" y="998"/>
                      <a:pt x="2241" y="1003"/>
                    </a:cubicBezTo>
                    <a:cubicBezTo>
                      <a:pt x="2326" y="1034"/>
                      <a:pt x="2399" y="1079"/>
                      <a:pt x="2440" y="1166"/>
                    </a:cubicBezTo>
                    <a:cubicBezTo>
                      <a:pt x="2442" y="1170"/>
                      <a:pt x="2453" y="1174"/>
                      <a:pt x="2459" y="1173"/>
                    </a:cubicBezTo>
                    <a:cubicBezTo>
                      <a:pt x="2496" y="1167"/>
                      <a:pt x="2528" y="1152"/>
                      <a:pt x="2556" y="1128"/>
                    </a:cubicBezTo>
                    <a:cubicBezTo>
                      <a:pt x="2576" y="1112"/>
                      <a:pt x="2594" y="1093"/>
                      <a:pt x="2614" y="1075"/>
                    </a:cubicBezTo>
                    <a:cubicBezTo>
                      <a:pt x="2637" y="1091"/>
                      <a:pt x="2661" y="1108"/>
                      <a:pt x="2684" y="1124"/>
                    </a:cubicBezTo>
                    <a:cubicBezTo>
                      <a:pt x="2683" y="1128"/>
                      <a:pt x="2683" y="1129"/>
                      <a:pt x="2683" y="1130"/>
                    </a:cubicBezTo>
                    <a:cubicBezTo>
                      <a:pt x="2680" y="1134"/>
                      <a:pt x="2676" y="1139"/>
                      <a:pt x="2673" y="1143"/>
                    </a:cubicBezTo>
                    <a:cubicBezTo>
                      <a:pt x="2620" y="1200"/>
                      <a:pt x="2557" y="1240"/>
                      <a:pt x="2482" y="1262"/>
                    </a:cubicBezTo>
                    <a:cubicBezTo>
                      <a:pt x="2466" y="1267"/>
                      <a:pt x="2462" y="1273"/>
                      <a:pt x="2461" y="1289"/>
                    </a:cubicBezTo>
                    <a:cubicBezTo>
                      <a:pt x="2458" y="1333"/>
                      <a:pt x="2454" y="1377"/>
                      <a:pt x="2447" y="1420"/>
                    </a:cubicBezTo>
                    <a:cubicBezTo>
                      <a:pt x="2441" y="1455"/>
                      <a:pt x="2429" y="1488"/>
                      <a:pt x="2420" y="1521"/>
                    </a:cubicBezTo>
                    <a:cubicBezTo>
                      <a:pt x="2447" y="1540"/>
                      <a:pt x="2475" y="1557"/>
                      <a:pt x="2500" y="1577"/>
                    </a:cubicBezTo>
                    <a:cubicBezTo>
                      <a:pt x="2535" y="1606"/>
                      <a:pt x="2561" y="1642"/>
                      <a:pt x="2571" y="1688"/>
                    </a:cubicBezTo>
                    <a:cubicBezTo>
                      <a:pt x="2574" y="1699"/>
                      <a:pt x="2572" y="1705"/>
                      <a:pt x="2560" y="1707"/>
                    </a:cubicBezTo>
                    <a:cubicBezTo>
                      <a:pt x="2542" y="1712"/>
                      <a:pt x="2524" y="1717"/>
                      <a:pt x="2507" y="1724"/>
                    </a:cubicBezTo>
                    <a:cubicBezTo>
                      <a:pt x="2492" y="1729"/>
                      <a:pt x="2486" y="1725"/>
                      <a:pt x="2480" y="1711"/>
                    </a:cubicBezTo>
                    <a:cubicBezTo>
                      <a:pt x="2462" y="1671"/>
                      <a:pt x="2436" y="1639"/>
                      <a:pt x="2394" y="1620"/>
                    </a:cubicBezTo>
                    <a:cubicBezTo>
                      <a:pt x="2380" y="1613"/>
                      <a:pt x="2370" y="1614"/>
                      <a:pt x="2357" y="1626"/>
                    </a:cubicBezTo>
                    <a:cubicBezTo>
                      <a:pt x="2316" y="1664"/>
                      <a:pt x="2276" y="1704"/>
                      <a:pt x="2231" y="1737"/>
                    </a:cubicBezTo>
                    <a:cubicBezTo>
                      <a:pt x="2173" y="1780"/>
                      <a:pt x="2152" y="1838"/>
                      <a:pt x="2151" y="1907"/>
                    </a:cubicBezTo>
                    <a:cubicBezTo>
                      <a:pt x="2149" y="2035"/>
                      <a:pt x="2148" y="2163"/>
                      <a:pt x="2147" y="2291"/>
                    </a:cubicBezTo>
                    <a:cubicBezTo>
                      <a:pt x="2147" y="2298"/>
                      <a:pt x="2147" y="2305"/>
                      <a:pt x="2148" y="2313"/>
                    </a:cubicBezTo>
                    <a:cubicBezTo>
                      <a:pt x="2202" y="2313"/>
                      <a:pt x="2255" y="2313"/>
                      <a:pt x="2309" y="231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grpSp>
      </p:grpSp>
      <p:sp>
        <p:nvSpPr>
          <p:cNvPr id="4" name="TextBox 3">
            <a:extLst>
              <a:ext uri="{FF2B5EF4-FFF2-40B4-BE49-F238E27FC236}">
                <a16:creationId xmlns:a16="http://schemas.microsoft.com/office/drawing/2014/main" id="{3C87F646-7D2A-4D2D-BDBB-61031DBA19DC}"/>
              </a:ext>
            </a:extLst>
          </p:cNvPr>
          <p:cNvSpPr txBox="1"/>
          <p:nvPr/>
        </p:nvSpPr>
        <p:spPr>
          <a:xfrm>
            <a:off x="1129772" y="1600239"/>
            <a:ext cx="1683036"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Arial" panose="020B0604020202020204" pitchFamily="34" charset="0"/>
                <a:ea typeface="Apis For Office" panose="020B0504010101010104" pitchFamily="34" charset="0"/>
                <a:cs typeface="Arial" panose="020B0604020202020204" pitchFamily="34" charset="0"/>
              </a:rPr>
              <a:t>Physical activity</a:t>
            </a:r>
          </a:p>
        </p:txBody>
      </p:sp>
      <p:sp>
        <p:nvSpPr>
          <p:cNvPr id="24" name="Oval 23">
            <a:extLst>
              <a:ext uri="{FF2B5EF4-FFF2-40B4-BE49-F238E27FC236}">
                <a16:creationId xmlns:a16="http://schemas.microsoft.com/office/drawing/2014/main" id="{6CA49D25-8B70-4DD9-B454-B188EA6103CF}"/>
              </a:ext>
            </a:extLst>
          </p:cNvPr>
          <p:cNvSpPr/>
          <p:nvPr/>
        </p:nvSpPr>
        <p:spPr>
          <a:xfrm>
            <a:off x="1625715" y="1907634"/>
            <a:ext cx="691150" cy="690821"/>
          </a:xfrm>
          <a:prstGeom prst="ellipse">
            <a:avLst/>
          </a:prstGeom>
          <a:solidFill>
            <a:schemeClr val="accent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1" name="Freeform 5">
            <a:extLst>
              <a:ext uri="{FF2B5EF4-FFF2-40B4-BE49-F238E27FC236}">
                <a16:creationId xmlns:a16="http://schemas.microsoft.com/office/drawing/2014/main" id="{6E733C65-0BA6-4B32-B578-715398DD9A4D}"/>
              </a:ext>
            </a:extLst>
          </p:cNvPr>
          <p:cNvSpPr>
            <a:spLocks/>
          </p:cNvSpPr>
          <p:nvPr/>
        </p:nvSpPr>
        <p:spPr bwMode="auto">
          <a:xfrm>
            <a:off x="1732488" y="2098339"/>
            <a:ext cx="407373" cy="367481"/>
          </a:xfrm>
          <a:custGeom>
            <a:avLst/>
            <a:gdLst>
              <a:gd name="T0" fmla="*/ 1137 w 1574"/>
              <a:gd name="T1" fmla="*/ 457 h 1560"/>
              <a:gd name="T2" fmla="*/ 957 w 1574"/>
              <a:gd name="T3" fmla="*/ 823 h 1560"/>
              <a:gd name="T4" fmla="*/ 1044 w 1574"/>
              <a:gd name="T5" fmla="*/ 897 h 1560"/>
              <a:gd name="T6" fmla="*/ 1177 w 1574"/>
              <a:gd name="T7" fmla="*/ 1011 h 1560"/>
              <a:gd name="T8" fmla="*/ 1179 w 1574"/>
              <a:gd name="T9" fmla="*/ 1157 h 1560"/>
              <a:gd name="T10" fmla="*/ 870 w 1574"/>
              <a:gd name="T11" fmla="*/ 1505 h 1560"/>
              <a:gd name="T12" fmla="*/ 719 w 1574"/>
              <a:gd name="T13" fmla="*/ 1516 h 1560"/>
              <a:gd name="T14" fmla="*/ 715 w 1574"/>
              <a:gd name="T15" fmla="*/ 1386 h 1560"/>
              <a:gd name="T16" fmla="*/ 873 w 1574"/>
              <a:gd name="T17" fmla="*/ 1208 h 1560"/>
              <a:gd name="T18" fmla="*/ 974 w 1574"/>
              <a:gd name="T19" fmla="*/ 1094 h 1560"/>
              <a:gd name="T20" fmla="*/ 734 w 1574"/>
              <a:gd name="T21" fmla="*/ 889 h 1560"/>
              <a:gd name="T22" fmla="*/ 684 w 1574"/>
              <a:gd name="T23" fmla="*/ 971 h 1560"/>
              <a:gd name="T24" fmla="*/ 574 w 1574"/>
              <a:gd name="T25" fmla="*/ 1144 h 1560"/>
              <a:gd name="T26" fmla="*/ 543 w 1574"/>
              <a:gd name="T27" fmla="*/ 1168 h 1560"/>
              <a:gd name="T28" fmla="*/ 179 w 1574"/>
              <a:gd name="T29" fmla="*/ 1294 h 1560"/>
              <a:gd name="T30" fmla="*/ 158 w 1574"/>
              <a:gd name="T31" fmla="*/ 1304 h 1560"/>
              <a:gd name="T32" fmla="*/ 30 w 1574"/>
              <a:gd name="T33" fmla="*/ 1277 h 1560"/>
              <a:gd name="T34" fmla="*/ 46 w 1574"/>
              <a:gd name="T35" fmla="*/ 1147 h 1560"/>
              <a:gd name="T36" fmla="*/ 99 w 1574"/>
              <a:gd name="T37" fmla="*/ 1126 h 1560"/>
              <a:gd name="T38" fmla="*/ 403 w 1574"/>
              <a:gd name="T39" fmla="*/ 1024 h 1560"/>
              <a:gd name="T40" fmla="*/ 447 w 1574"/>
              <a:gd name="T41" fmla="*/ 990 h 1560"/>
              <a:gd name="T42" fmla="*/ 654 w 1574"/>
              <a:gd name="T43" fmla="*/ 639 h 1560"/>
              <a:gd name="T44" fmla="*/ 720 w 1574"/>
              <a:gd name="T45" fmla="*/ 496 h 1560"/>
              <a:gd name="T46" fmla="*/ 861 w 1574"/>
              <a:gd name="T47" fmla="*/ 191 h 1560"/>
              <a:gd name="T48" fmla="*/ 826 w 1574"/>
              <a:gd name="T49" fmla="*/ 180 h 1560"/>
              <a:gd name="T50" fmla="*/ 735 w 1574"/>
              <a:gd name="T51" fmla="*/ 154 h 1560"/>
              <a:gd name="T52" fmla="*/ 710 w 1574"/>
              <a:gd name="T53" fmla="*/ 167 h 1560"/>
              <a:gd name="T54" fmla="*/ 617 w 1574"/>
              <a:gd name="T55" fmla="*/ 407 h 1560"/>
              <a:gd name="T56" fmla="*/ 532 w 1574"/>
              <a:gd name="T57" fmla="*/ 451 h 1560"/>
              <a:gd name="T58" fmla="*/ 493 w 1574"/>
              <a:gd name="T59" fmla="*/ 363 h 1560"/>
              <a:gd name="T60" fmla="*/ 612 w 1574"/>
              <a:gd name="T61" fmla="*/ 58 h 1560"/>
              <a:gd name="T62" fmla="*/ 707 w 1574"/>
              <a:gd name="T63" fmla="*/ 11 h 1560"/>
              <a:gd name="T64" fmla="*/ 1011 w 1574"/>
              <a:gd name="T65" fmla="*/ 95 h 1560"/>
              <a:gd name="T66" fmla="*/ 1107 w 1574"/>
              <a:gd name="T67" fmla="*/ 131 h 1560"/>
              <a:gd name="T68" fmla="*/ 1167 w 1574"/>
              <a:gd name="T69" fmla="*/ 190 h 1560"/>
              <a:gd name="T70" fmla="*/ 1272 w 1574"/>
              <a:gd name="T71" fmla="*/ 425 h 1560"/>
              <a:gd name="T72" fmla="*/ 1277 w 1574"/>
              <a:gd name="T73" fmla="*/ 437 h 1560"/>
              <a:gd name="T74" fmla="*/ 1387 w 1574"/>
              <a:gd name="T75" fmla="*/ 345 h 1560"/>
              <a:gd name="T76" fmla="*/ 1454 w 1574"/>
              <a:gd name="T77" fmla="*/ 288 h 1560"/>
              <a:gd name="T78" fmla="*/ 1532 w 1574"/>
              <a:gd name="T79" fmla="*/ 278 h 1560"/>
              <a:gd name="T80" fmla="*/ 1574 w 1574"/>
              <a:gd name="T81" fmla="*/ 352 h 1560"/>
              <a:gd name="T82" fmla="*/ 1552 w 1574"/>
              <a:gd name="T83" fmla="*/ 391 h 1560"/>
              <a:gd name="T84" fmla="*/ 1297 w 1574"/>
              <a:gd name="T85" fmla="*/ 609 h 1560"/>
              <a:gd name="T86" fmla="*/ 1183 w 1574"/>
              <a:gd name="T87" fmla="*/ 578 h 1560"/>
              <a:gd name="T88" fmla="*/ 1137 w 1574"/>
              <a:gd name="T89" fmla="*/ 457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74" h="1560">
                <a:moveTo>
                  <a:pt x="1137" y="457"/>
                </a:moveTo>
                <a:cubicBezTo>
                  <a:pt x="1072" y="579"/>
                  <a:pt x="1030" y="707"/>
                  <a:pt x="957" y="823"/>
                </a:cubicBezTo>
                <a:cubicBezTo>
                  <a:pt x="984" y="846"/>
                  <a:pt x="1014" y="872"/>
                  <a:pt x="1044" y="897"/>
                </a:cubicBezTo>
                <a:cubicBezTo>
                  <a:pt x="1088" y="935"/>
                  <a:pt x="1133" y="972"/>
                  <a:pt x="1177" y="1011"/>
                </a:cubicBezTo>
                <a:cubicBezTo>
                  <a:pt x="1219" y="1048"/>
                  <a:pt x="1219" y="1112"/>
                  <a:pt x="1179" y="1157"/>
                </a:cubicBezTo>
                <a:cubicBezTo>
                  <a:pt x="1076" y="1273"/>
                  <a:pt x="973" y="1389"/>
                  <a:pt x="870" y="1505"/>
                </a:cubicBezTo>
                <a:cubicBezTo>
                  <a:pt x="825" y="1556"/>
                  <a:pt x="765" y="1560"/>
                  <a:pt x="719" y="1516"/>
                </a:cubicBezTo>
                <a:cubicBezTo>
                  <a:pt x="685" y="1482"/>
                  <a:pt x="683" y="1424"/>
                  <a:pt x="715" y="1386"/>
                </a:cubicBezTo>
                <a:cubicBezTo>
                  <a:pt x="767" y="1326"/>
                  <a:pt x="820" y="1268"/>
                  <a:pt x="873" y="1208"/>
                </a:cubicBezTo>
                <a:cubicBezTo>
                  <a:pt x="906" y="1171"/>
                  <a:pt x="939" y="1134"/>
                  <a:pt x="974" y="1094"/>
                </a:cubicBezTo>
                <a:cubicBezTo>
                  <a:pt x="894" y="1026"/>
                  <a:pt x="815" y="958"/>
                  <a:pt x="734" y="889"/>
                </a:cubicBezTo>
                <a:cubicBezTo>
                  <a:pt x="716" y="918"/>
                  <a:pt x="701" y="944"/>
                  <a:pt x="684" y="971"/>
                </a:cubicBezTo>
                <a:cubicBezTo>
                  <a:pt x="648" y="1029"/>
                  <a:pt x="612" y="1087"/>
                  <a:pt x="574" y="1144"/>
                </a:cubicBezTo>
                <a:cubicBezTo>
                  <a:pt x="567" y="1154"/>
                  <a:pt x="555" y="1164"/>
                  <a:pt x="543" y="1168"/>
                </a:cubicBezTo>
                <a:cubicBezTo>
                  <a:pt x="422" y="1210"/>
                  <a:pt x="301" y="1252"/>
                  <a:pt x="179" y="1294"/>
                </a:cubicBezTo>
                <a:cubicBezTo>
                  <a:pt x="172" y="1296"/>
                  <a:pt x="164" y="1300"/>
                  <a:pt x="158" y="1304"/>
                </a:cubicBezTo>
                <a:cubicBezTo>
                  <a:pt x="114" y="1329"/>
                  <a:pt x="59" y="1318"/>
                  <a:pt x="30" y="1277"/>
                </a:cubicBezTo>
                <a:cubicBezTo>
                  <a:pt x="0" y="1237"/>
                  <a:pt x="6" y="1178"/>
                  <a:pt x="46" y="1147"/>
                </a:cubicBezTo>
                <a:cubicBezTo>
                  <a:pt x="60" y="1136"/>
                  <a:pt x="80" y="1132"/>
                  <a:pt x="99" y="1126"/>
                </a:cubicBezTo>
                <a:cubicBezTo>
                  <a:pt x="200" y="1092"/>
                  <a:pt x="302" y="1058"/>
                  <a:pt x="403" y="1024"/>
                </a:cubicBezTo>
                <a:cubicBezTo>
                  <a:pt x="423" y="1018"/>
                  <a:pt x="436" y="1008"/>
                  <a:pt x="447" y="990"/>
                </a:cubicBezTo>
                <a:cubicBezTo>
                  <a:pt x="515" y="873"/>
                  <a:pt x="587" y="757"/>
                  <a:pt x="654" y="639"/>
                </a:cubicBezTo>
                <a:cubicBezTo>
                  <a:pt x="680" y="594"/>
                  <a:pt x="698" y="544"/>
                  <a:pt x="720" y="496"/>
                </a:cubicBezTo>
                <a:cubicBezTo>
                  <a:pt x="767" y="395"/>
                  <a:pt x="813" y="294"/>
                  <a:pt x="861" y="191"/>
                </a:cubicBezTo>
                <a:cubicBezTo>
                  <a:pt x="849" y="187"/>
                  <a:pt x="837" y="183"/>
                  <a:pt x="826" y="180"/>
                </a:cubicBezTo>
                <a:cubicBezTo>
                  <a:pt x="796" y="171"/>
                  <a:pt x="765" y="163"/>
                  <a:pt x="735" y="154"/>
                </a:cubicBezTo>
                <a:cubicBezTo>
                  <a:pt x="722" y="151"/>
                  <a:pt x="715" y="153"/>
                  <a:pt x="710" y="167"/>
                </a:cubicBezTo>
                <a:cubicBezTo>
                  <a:pt x="679" y="247"/>
                  <a:pt x="648" y="327"/>
                  <a:pt x="617" y="407"/>
                </a:cubicBezTo>
                <a:cubicBezTo>
                  <a:pt x="603" y="444"/>
                  <a:pt x="566" y="463"/>
                  <a:pt x="532" y="451"/>
                </a:cubicBezTo>
                <a:cubicBezTo>
                  <a:pt x="496" y="438"/>
                  <a:pt x="479" y="400"/>
                  <a:pt x="493" y="363"/>
                </a:cubicBezTo>
                <a:cubicBezTo>
                  <a:pt x="532" y="261"/>
                  <a:pt x="572" y="159"/>
                  <a:pt x="612" y="58"/>
                </a:cubicBezTo>
                <a:cubicBezTo>
                  <a:pt x="627" y="20"/>
                  <a:pt x="667" y="0"/>
                  <a:pt x="707" y="11"/>
                </a:cubicBezTo>
                <a:cubicBezTo>
                  <a:pt x="808" y="39"/>
                  <a:pt x="910" y="66"/>
                  <a:pt x="1011" y="95"/>
                </a:cubicBezTo>
                <a:cubicBezTo>
                  <a:pt x="1044" y="105"/>
                  <a:pt x="1078" y="114"/>
                  <a:pt x="1107" y="131"/>
                </a:cubicBezTo>
                <a:cubicBezTo>
                  <a:pt x="1131" y="145"/>
                  <a:pt x="1155" y="166"/>
                  <a:pt x="1167" y="190"/>
                </a:cubicBezTo>
                <a:cubicBezTo>
                  <a:pt x="1205" y="267"/>
                  <a:pt x="1237" y="346"/>
                  <a:pt x="1272" y="425"/>
                </a:cubicBezTo>
                <a:cubicBezTo>
                  <a:pt x="1273" y="428"/>
                  <a:pt x="1275" y="432"/>
                  <a:pt x="1277" y="437"/>
                </a:cubicBezTo>
                <a:cubicBezTo>
                  <a:pt x="1315" y="406"/>
                  <a:pt x="1351" y="376"/>
                  <a:pt x="1387" y="345"/>
                </a:cubicBezTo>
                <a:cubicBezTo>
                  <a:pt x="1409" y="326"/>
                  <a:pt x="1431" y="307"/>
                  <a:pt x="1454" y="288"/>
                </a:cubicBezTo>
                <a:cubicBezTo>
                  <a:pt x="1479" y="268"/>
                  <a:pt x="1507" y="263"/>
                  <a:pt x="1532" y="278"/>
                </a:cubicBezTo>
                <a:cubicBezTo>
                  <a:pt x="1560" y="294"/>
                  <a:pt x="1574" y="321"/>
                  <a:pt x="1574" y="352"/>
                </a:cubicBezTo>
                <a:cubicBezTo>
                  <a:pt x="1574" y="365"/>
                  <a:pt x="1563" y="381"/>
                  <a:pt x="1552" y="391"/>
                </a:cubicBezTo>
                <a:cubicBezTo>
                  <a:pt x="1468" y="464"/>
                  <a:pt x="1382" y="536"/>
                  <a:pt x="1297" y="609"/>
                </a:cubicBezTo>
                <a:cubicBezTo>
                  <a:pt x="1253" y="646"/>
                  <a:pt x="1202" y="633"/>
                  <a:pt x="1183" y="578"/>
                </a:cubicBezTo>
                <a:cubicBezTo>
                  <a:pt x="1169" y="539"/>
                  <a:pt x="1153" y="500"/>
                  <a:pt x="1137" y="4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sp>
        <p:nvSpPr>
          <p:cNvPr id="32" name="Freeform 6">
            <a:extLst>
              <a:ext uri="{FF2B5EF4-FFF2-40B4-BE49-F238E27FC236}">
                <a16:creationId xmlns:a16="http://schemas.microsoft.com/office/drawing/2014/main" id="{A5E440F3-9A64-461D-B634-F060D2FD7C7A}"/>
              </a:ext>
            </a:extLst>
          </p:cNvPr>
          <p:cNvSpPr>
            <a:spLocks/>
          </p:cNvSpPr>
          <p:nvPr/>
        </p:nvSpPr>
        <p:spPr bwMode="auto">
          <a:xfrm>
            <a:off x="2000692" y="2043276"/>
            <a:ext cx="95468" cy="86711"/>
          </a:xfrm>
          <a:custGeom>
            <a:avLst/>
            <a:gdLst>
              <a:gd name="T0" fmla="*/ 186 w 369"/>
              <a:gd name="T1" fmla="*/ 368 h 368"/>
              <a:gd name="T2" fmla="*/ 1 w 369"/>
              <a:gd name="T3" fmla="*/ 186 h 368"/>
              <a:gd name="T4" fmla="*/ 183 w 369"/>
              <a:gd name="T5" fmla="*/ 2 h 368"/>
              <a:gd name="T6" fmla="*/ 368 w 369"/>
              <a:gd name="T7" fmla="*/ 184 h 368"/>
              <a:gd name="T8" fmla="*/ 186 w 369"/>
              <a:gd name="T9" fmla="*/ 368 h 368"/>
            </a:gdLst>
            <a:ahLst/>
            <a:cxnLst>
              <a:cxn ang="0">
                <a:pos x="T0" y="T1"/>
              </a:cxn>
              <a:cxn ang="0">
                <a:pos x="T2" y="T3"/>
              </a:cxn>
              <a:cxn ang="0">
                <a:pos x="T4" y="T5"/>
              </a:cxn>
              <a:cxn ang="0">
                <a:pos x="T6" y="T7"/>
              </a:cxn>
              <a:cxn ang="0">
                <a:pos x="T8" y="T9"/>
              </a:cxn>
            </a:cxnLst>
            <a:rect l="0" t="0" r="r" b="b"/>
            <a:pathLst>
              <a:path w="369" h="368">
                <a:moveTo>
                  <a:pt x="186" y="368"/>
                </a:moveTo>
                <a:cubicBezTo>
                  <a:pt x="84" y="368"/>
                  <a:pt x="2" y="287"/>
                  <a:pt x="1" y="186"/>
                </a:cubicBezTo>
                <a:cubicBezTo>
                  <a:pt x="0" y="86"/>
                  <a:pt x="82" y="4"/>
                  <a:pt x="183" y="2"/>
                </a:cubicBezTo>
                <a:cubicBezTo>
                  <a:pt x="282" y="0"/>
                  <a:pt x="367" y="84"/>
                  <a:pt x="368" y="184"/>
                </a:cubicBezTo>
                <a:cubicBezTo>
                  <a:pt x="369" y="284"/>
                  <a:pt x="286" y="367"/>
                  <a:pt x="186" y="36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grpSp>
        <p:nvGrpSpPr>
          <p:cNvPr id="57" name="Group 56">
            <a:extLst>
              <a:ext uri="{FF2B5EF4-FFF2-40B4-BE49-F238E27FC236}">
                <a16:creationId xmlns:a16="http://schemas.microsoft.com/office/drawing/2014/main" id="{40F7FECD-949B-3AD6-92DD-2EBC8AB2D83C}"/>
              </a:ext>
            </a:extLst>
          </p:cNvPr>
          <p:cNvGrpSpPr/>
          <p:nvPr/>
        </p:nvGrpSpPr>
        <p:grpSpPr>
          <a:xfrm>
            <a:off x="8075165" y="1600239"/>
            <a:ext cx="842370" cy="998216"/>
            <a:chOff x="8024539" y="1406277"/>
            <a:chExt cx="842370" cy="998216"/>
          </a:xfrm>
        </p:grpSpPr>
        <p:sp>
          <p:nvSpPr>
            <p:cNvPr id="7" name="TextBox 6">
              <a:extLst>
                <a:ext uri="{FF2B5EF4-FFF2-40B4-BE49-F238E27FC236}">
                  <a16:creationId xmlns:a16="http://schemas.microsoft.com/office/drawing/2014/main" id="{F09D8475-D9AB-49EC-BD22-7B643AF61524}"/>
                </a:ext>
              </a:extLst>
            </p:cNvPr>
            <p:cNvSpPr txBox="1"/>
            <p:nvPr/>
          </p:nvSpPr>
          <p:spPr>
            <a:xfrm>
              <a:off x="8024539" y="1406277"/>
              <a:ext cx="842370"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Arial" panose="020B0604020202020204" pitchFamily="34" charset="0"/>
                  <a:ea typeface="Apis For Office" panose="020B0504010101010104" pitchFamily="34" charset="0"/>
                  <a:cs typeface="Arial" panose="020B0604020202020204" pitchFamily="34" charset="0"/>
                </a:rPr>
                <a:t>AOMs</a:t>
              </a:r>
            </a:p>
          </p:txBody>
        </p:sp>
        <p:grpSp>
          <p:nvGrpSpPr>
            <p:cNvPr id="51" name="Group 50">
              <a:extLst>
                <a:ext uri="{FF2B5EF4-FFF2-40B4-BE49-F238E27FC236}">
                  <a16:creationId xmlns:a16="http://schemas.microsoft.com/office/drawing/2014/main" id="{0EC9714C-4946-891B-CE87-8937E78367CE}"/>
                </a:ext>
              </a:extLst>
            </p:cNvPr>
            <p:cNvGrpSpPr/>
            <p:nvPr/>
          </p:nvGrpSpPr>
          <p:grpSpPr>
            <a:xfrm>
              <a:off x="8100149" y="1713672"/>
              <a:ext cx="691150" cy="690821"/>
              <a:chOff x="8100149" y="1713672"/>
              <a:chExt cx="691150" cy="690821"/>
            </a:xfrm>
          </p:grpSpPr>
          <p:sp>
            <p:nvSpPr>
              <p:cNvPr id="27" name="Oval 26">
                <a:extLst>
                  <a:ext uri="{FF2B5EF4-FFF2-40B4-BE49-F238E27FC236}">
                    <a16:creationId xmlns:a16="http://schemas.microsoft.com/office/drawing/2014/main" id="{CF648C67-E4A6-40BF-B5BE-30AF94B9F5D1}"/>
                  </a:ext>
                </a:extLst>
              </p:cNvPr>
              <p:cNvSpPr/>
              <p:nvPr/>
            </p:nvSpPr>
            <p:spPr>
              <a:xfrm>
                <a:off x="8100149" y="1713672"/>
                <a:ext cx="691150" cy="690821"/>
              </a:xfrm>
              <a:prstGeom prst="ellipse">
                <a:avLst/>
              </a:prstGeom>
              <a:solidFill>
                <a:schemeClr val="accent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3" name="Freeform 385">
                <a:extLst>
                  <a:ext uri="{FF2B5EF4-FFF2-40B4-BE49-F238E27FC236}">
                    <a16:creationId xmlns:a16="http://schemas.microsoft.com/office/drawing/2014/main" id="{9D0D2BE5-8D9F-4969-83F7-70F07B956204}"/>
                  </a:ext>
                </a:extLst>
              </p:cNvPr>
              <p:cNvSpPr>
                <a:spLocks noEditPoints="1"/>
              </p:cNvSpPr>
              <p:nvPr/>
            </p:nvSpPr>
            <p:spPr bwMode="auto">
              <a:xfrm>
                <a:off x="8224986" y="1861435"/>
                <a:ext cx="433832" cy="394940"/>
              </a:xfrm>
              <a:custGeom>
                <a:avLst/>
                <a:gdLst>
                  <a:gd name="T0" fmla="*/ 19 w 203"/>
                  <a:gd name="T1" fmla="*/ 19 h 203"/>
                  <a:gd name="T2" fmla="*/ 18 w 203"/>
                  <a:gd name="T3" fmla="*/ 85 h 203"/>
                  <a:gd name="T4" fmla="*/ 114 w 203"/>
                  <a:gd name="T5" fmla="*/ 181 h 203"/>
                  <a:gd name="T6" fmla="*/ 184 w 203"/>
                  <a:gd name="T7" fmla="*/ 184 h 203"/>
                  <a:gd name="T8" fmla="*/ 181 w 203"/>
                  <a:gd name="T9" fmla="*/ 113 h 203"/>
                  <a:gd name="T10" fmla="*/ 85 w 203"/>
                  <a:gd name="T11" fmla="*/ 17 h 203"/>
                  <a:gd name="T12" fmla="*/ 19 w 203"/>
                  <a:gd name="T13" fmla="*/ 19 h 203"/>
                  <a:gd name="T14" fmla="*/ 169 w 203"/>
                  <a:gd name="T15" fmla="*/ 119 h 203"/>
                  <a:gd name="T16" fmla="*/ 184 w 203"/>
                  <a:gd name="T17" fmla="*/ 149 h 203"/>
                  <a:gd name="T18" fmla="*/ 175 w 203"/>
                  <a:gd name="T19" fmla="*/ 174 h 203"/>
                  <a:gd name="T20" fmla="*/ 150 w 203"/>
                  <a:gd name="T21" fmla="*/ 184 h 203"/>
                  <a:gd name="T22" fmla="*/ 119 w 203"/>
                  <a:gd name="T23" fmla="*/ 169 h 203"/>
                  <a:gd name="T24" fmla="*/ 76 w 203"/>
                  <a:gd name="T25" fmla="*/ 125 h 203"/>
                  <a:gd name="T26" fmla="*/ 126 w 203"/>
                  <a:gd name="T27" fmla="*/ 76 h 203"/>
                  <a:gd name="T28" fmla="*/ 169 w 203"/>
                  <a:gd name="T29" fmla="*/ 11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 h="203">
                    <a:moveTo>
                      <a:pt x="19" y="19"/>
                    </a:moveTo>
                    <a:cubicBezTo>
                      <a:pt x="0" y="38"/>
                      <a:pt x="1" y="68"/>
                      <a:pt x="18" y="85"/>
                    </a:cubicBezTo>
                    <a:cubicBezTo>
                      <a:pt x="114" y="181"/>
                      <a:pt x="114" y="181"/>
                      <a:pt x="114" y="181"/>
                    </a:cubicBezTo>
                    <a:cubicBezTo>
                      <a:pt x="135" y="202"/>
                      <a:pt x="165" y="203"/>
                      <a:pt x="184" y="184"/>
                    </a:cubicBezTo>
                    <a:cubicBezTo>
                      <a:pt x="203" y="165"/>
                      <a:pt x="203" y="135"/>
                      <a:pt x="181" y="113"/>
                    </a:cubicBezTo>
                    <a:cubicBezTo>
                      <a:pt x="85" y="17"/>
                      <a:pt x="85" y="17"/>
                      <a:pt x="85" y="17"/>
                    </a:cubicBezTo>
                    <a:cubicBezTo>
                      <a:pt x="69" y="1"/>
                      <a:pt x="38" y="0"/>
                      <a:pt x="19" y="19"/>
                    </a:cubicBezTo>
                    <a:moveTo>
                      <a:pt x="169" y="119"/>
                    </a:moveTo>
                    <a:cubicBezTo>
                      <a:pt x="181" y="131"/>
                      <a:pt x="184" y="140"/>
                      <a:pt x="184" y="149"/>
                    </a:cubicBezTo>
                    <a:cubicBezTo>
                      <a:pt x="184" y="159"/>
                      <a:pt x="181" y="167"/>
                      <a:pt x="175" y="174"/>
                    </a:cubicBezTo>
                    <a:cubicBezTo>
                      <a:pt x="168" y="181"/>
                      <a:pt x="159" y="184"/>
                      <a:pt x="150" y="184"/>
                    </a:cubicBezTo>
                    <a:cubicBezTo>
                      <a:pt x="140" y="184"/>
                      <a:pt x="131" y="180"/>
                      <a:pt x="119" y="169"/>
                    </a:cubicBezTo>
                    <a:cubicBezTo>
                      <a:pt x="76" y="125"/>
                      <a:pt x="76" y="125"/>
                      <a:pt x="76" y="125"/>
                    </a:cubicBezTo>
                    <a:cubicBezTo>
                      <a:pt x="126" y="76"/>
                      <a:pt x="126" y="76"/>
                      <a:pt x="126" y="76"/>
                    </a:cubicBezTo>
                    <a:lnTo>
                      <a:pt x="169" y="11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grpSp>
      </p:grpSp>
      <p:grpSp>
        <p:nvGrpSpPr>
          <p:cNvPr id="58" name="Group 57">
            <a:extLst>
              <a:ext uri="{FF2B5EF4-FFF2-40B4-BE49-F238E27FC236}">
                <a16:creationId xmlns:a16="http://schemas.microsoft.com/office/drawing/2014/main" id="{4CEE1797-60BE-62AC-B1CB-176922A1A5C7}"/>
              </a:ext>
            </a:extLst>
          </p:cNvPr>
          <p:cNvGrpSpPr/>
          <p:nvPr/>
        </p:nvGrpSpPr>
        <p:grpSpPr>
          <a:xfrm>
            <a:off x="10127431" y="1600239"/>
            <a:ext cx="1056114" cy="998216"/>
            <a:chOff x="9661546" y="1406277"/>
            <a:chExt cx="1056114" cy="998216"/>
          </a:xfrm>
        </p:grpSpPr>
        <p:sp>
          <p:nvSpPr>
            <p:cNvPr id="5" name="TextBox 4">
              <a:extLst>
                <a:ext uri="{FF2B5EF4-FFF2-40B4-BE49-F238E27FC236}">
                  <a16:creationId xmlns:a16="http://schemas.microsoft.com/office/drawing/2014/main" id="{3E795B84-AB20-4223-A068-D173CD8C9ACA}"/>
                </a:ext>
              </a:extLst>
            </p:cNvPr>
            <p:cNvSpPr txBox="1"/>
            <p:nvPr/>
          </p:nvSpPr>
          <p:spPr>
            <a:xfrm>
              <a:off x="9661546" y="1406277"/>
              <a:ext cx="1056114"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Arial" panose="020B0604020202020204" pitchFamily="34" charset="0"/>
                  <a:ea typeface="Apis For Office" panose="020B0504010101010104" pitchFamily="34" charset="0"/>
                  <a:cs typeface="Arial" panose="020B0604020202020204" pitchFamily="34" charset="0"/>
                </a:rPr>
                <a:t>Surgery</a:t>
              </a:r>
            </a:p>
          </p:txBody>
        </p:sp>
        <p:grpSp>
          <p:nvGrpSpPr>
            <p:cNvPr id="52" name="Group 51">
              <a:extLst>
                <a:ext uri="{FF2B5EF4-FFF2-40B4-BE49-F238E27FC236}">
                  <a16:creationId xmlns:a16="http://schemas.microsoft.com/office/drawing/2014/main" id="{6063BD72-76CF-8B03-034F-B525C12A5D3D}"/>
                </a:ext>
              </a:extLst>
            </p:cNvPr>
            <p:cNvGrpSpPr/>
            <p:nvPr/>
          </p:nvGrpSpPr>
          <p:grpSpPr>
            <a:xfrm>
              <a:off x="9852945" y="1713672"/>
              <a:ext cx="691150" cy="690821"/>
              <a:chOff x="9852945" y="1713672"/>
              <a:chExt cx="691150" cy="690821"/>
            </a:xfrm>
          </p:grpSpPr>
          <p:sp>
            <p:nvSpPr>
              <p:cNvPr id="28" name="Oval 27">
                <a:extLst>
                  <a:ext uri="{FF2B5EF4-FFF2-40B4-BE49-F238E27FC236}">
                    <a16:creationId xmlns:a16="http://schemas.microsoft.com/office/drawing/2014/main" id="{6DEEA0D0-E322-4D6F-AB7C-3E0250252100}"/>
                  </a:ext>
                </a:extLst>
              </p:cNvPr>
              <p:cNvSpPr/>
              <p:nvPr/>
            </p:nvSpPr>
            <p:spPr>
              <a:xfrm>
                <a:off x="9852945" y="1713672"/>
                <a:ext cx="691150" cy="690821"/>
              </a:xfrm>
              <a:prstGeom prst="ellipse">
                <a:avLst/>
              </a:prstGeom>
              <a:solidFill>
                <a:schemeClr val="accent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4" name="Freeform 393">
                <a:extLst>
                  <a:ext uri="{FF2B5EF4-FFF2-40B4-BE49-F238E27FC236}">
                    <a16:creationId xmlns:a16="http://schemas.microsoft.com/office/drawing/2014/main" id="{53841AFC-B10C-48A9-B7C2-D09BC555A099}"/>
                  </a:ext>
                </a:extLst>
              </p:cNvPr>
              <p:cNvSpPr>
                <a:spLocks/>
              </p:cNvSpPr>
              <p:nvPr/>
            </p:nvSpPr>
            <p:spPr bwMode="auto">
              <a:xfrm>
                <a:off x="9946940" y="1856025"/>
                <a:ext cx="485326" cy="436904"/>
              </a:xfrm>
              <a:custGeom>
                <a:avLst/>
                <a:gdLst>
                  <a:gd name="T0" fmla="*/ 0 w 204"/>
                  <a:gd name="T1" fmla="*/ 19 h 200"/>
                  <a:gd name="T2" fmla="*/ 108 w 204"/>
                  <a:gd name="T3" fmla="*/ 126 h 200"/>
                  <a:gd name="T4" fmla="*/ 116 w 204"/>
                  <a:gd name="T5" fmla="*/ 124 h 200"/>
                  <a:gd name="T6" fmla="*/ 155 w 204"/>
                  <a:gd name="T7" fmla="*/ 191 h 200"/>
                  <a:gd name="T8" fmla="*/ 188 w 204"/>
                  <a:gd name="T9" fmla="*/ 198 h 200"/>
                  <a:gd name="T10" fmla="*/ 204 w 204"/>
                  <a:gd name="T11" fmla="*/ 192 h 200"/>
                  <a:gd name="T12" fmla="*/ 127 w 204"/>
                  <a:gd name="T13" fmla="*/ 118 h 200"/>
                  <a:gd name="T14" fmla="*/ 125 w 204"/>
                  <a:gd name="T15" fmla="*/ 116 h 200"/>
                  <a:gd name="T16" fmla="*/ 127 w 204"/>
                  <a:gd name="T17" fmla="*/ 107 h 200"/>
                  <a:gd name="T18" fmla="*/ 19 w 204"/>
                  <a:gd name="T19" fmla="*/ 0 h 200"/>
                  <a:gd name="T20" fmla="*/ 6 w 204"/>
                  <a:gd name="T21" fmla="*/ 5 h 200"/>
                  <a:gd name="T22" fmla="*/ 0 w 204"/>
                  <a:gd name="T23" fmla="*/ 1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200">
                    <a:moveTo>
                      <a:pt x="0" y="19"/>
                    </a:moveTo>
                    <a:cubicBezTo>
                      <a:pt x="108" y="126"/>
                      <a:pt x="108" y="126"/>
                      <a:pt x="108" y="126"/>
                    </a:cubicBezTo>
                    <a:cubicBezTo>
                      <a:pt x="112" y="125"/>
                      <a:pt x="114" y="125"/>
                      <a:pt x="116" y="124"/>
                    </a:cubicBezTo>
                    <a:cubicBezTo>
                      <a:pt x="140" y="142"/>
                      <a:pt x="132" y="175"/>
                      <a:pt x="155" y="191"/>
                    </a:cubicBezTo>
                    <a:cubicBezTo>
                      <a:pt x="163" y="196"/>
                      <a:pt x="176" y="200"/>
                      <a:pt x="188" y="198"/>
                    </a:cubicBezTo>
                    <a:cubicBezTo>
                      <a:pt x="196" y="197"/>
                      <a:pt x="204" y="192"/>
                      <a:pt x="204" y="192"/>
                    </a:cubicBezTo>
                    <a:cubicBezTo>
                      <a:pt x="181" y="163"/>
                      <a:pt x="158" y="140"/>
                      <a:pt x="127" y="118"/>
                    </a:cubicBezTo>
                    <a:cubicBezTo>
                      <a:pt x="126" y="117"/>
                      <a:pt x="126" y="116"/>
                      <a:pt x="125" y="116"/>
                    </a:cubicBezTo>
                    <a:cubicBezTo>
                      <a:pt x="126" y="113"/>
                      <a:pt x="126" y="111"/>
                      <a:pt x="127" y="107"/>
                    </a:cubicBezTo>
                    <a:cubicBezTo>
                      <a:pt x="19" y="0"/>
                      <a:pt x="19" y="0"/>
                      <a:pt x="19" y="0"/>
                    </a:cubicBezTo>
                    <a:cubicBezTo>
                      <a:pt x="15" y="0"/>
                      <a:pt x="9" y="1"/>
                      <a:pt x="6" y="5"/>
                    </a:cubicBezTo>
                    <a:cubicBezTo>
                      <a:pt x="2" y="9"/>
                      <a:pt x="0" y="14"/>
                      <a:pt x="0" y="19"/>
                    </a:cubicBezTo>
                  </a:path>
                </a:pathLst>
              </a:custGeom>
              <a:solidFill>
                <a:schemeClr val="bg1"/>
              </a:solidFill>
              <a:ln>
                <a:noFill/>
              </a:ln>
            </p:spPr>
            <p:txBody>
              <a:bodyPr vert="horz" wrap="square" lIns="121920" tIns="60960" rIns="121920" bIns="6096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grpSp>
      </p:grpSp>
      <p:grpSp>
        <p:nvGrpSpPr>
          <p:cNvPr id="54" name="Group 53">
            <a:extLst>
              <a:ext uri="{FF2B5EF4-FFF2-40B4-BE49-F238E27FC236}">
                <a16:creationId xmlns:a16="http://schemas.microsoft.com/office/drawing/2014/main" id="{6703751D-73AA-BDEF-820F-5E1A1EE5B786}"/>
              </a:ext>
            </a:extLst>
          </p:cNvPr>
          <p:cNvGrpSpPr/>
          <p:nvPr/>
        </p:nvGrpSpPr>
        <p:grpSpPr>
          <a:xfrm>
            <a:off x="3769718" y="1600239"/>
            <a:ext cx="691150" cy="998216"/>
            <a:chOff x="4594556" y="1406277"/>
            <a:chExt cx="691150" cy="998216"/>
          </a:xfrm>
        </p:grpSpPr>
        <p:sp>
          <p:nvSpPr>
            <p:cNvPr id="6" name="TextBox 5">
              <a:extLst>
                <a:ext uri="{FF2B5EF4-FFF2-40B4-BE49-F238E27FC236}">
                  <a16:creationId xmlns:a16="http://schemas.microsoft.com/office/drawing/2014/main" id="{BBD620E6-1A41-4DFD-8199-304E3BB11994}"/>
                </a:ext>
              </a:extLst>
            </p:cNvPr>
            <p:cNvSpPr txBox="1"/>
            <p:nvPr/>
          </p:nvSpPr>
          <p:spPr>
            <a:xfrm>
              <a:off x="4594556" y="1406277"/>
              <a:ext cx="666308"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Arial" panose="020B0604020202020204" pitchFamily="34" charset="0"/>
                  <a:ea typeface="Apis For Office" panose="020B0504010101010104" pitchFamily="34" charset="0"/>
                  <a:cs typeface="Arial" panose="020B0604020202020204" pitchFamily="34" charset="0"/>
                </a:rPr>
                <a:t>Diet</a:t>
              </a:r>
            </a:p>
          </p:txBody>
        </p:sp>
        <p:grpSp>
          <p:nvGrpSpPr>
            <p:cNvPr id="49" name="Group 48">
              <a:extLst>
                <a:ext uri="{FF2B5EF4-FFF2-40B4-BE49-F238E27FC236}">
                  <a16:creationId xmlns:a16="http://schemas.microsoft.com/office/drawing/2014/main" id="{4F077DAF-118F-6B12-7C5F-5B4B4917B9CB}"/>
                </a:ext>
              </a:extLst>
            </p:cNvPr>
            <p:cNvGrpSpPr/>
            <p:nvPr/>
          </p:nvGrpSpPr>
          <p:grpSpPr>
            <a:xfrm>
              <a:off x="4594556" y="1713672"/>
              <a:ext cx="691150" cy="690821"/>
              <a:chOff x="4594556" y="1713672"/>
              <a:chExt cx="691150" cy="690821"/>
            </a:xfrm>
          </p:grpSpPr>
          <p:sp>
            <p:nvSpPr>
              <p:cNvPr id="25" name="Oval 24">
                <a:extLst>
                  <a:ext uri="{FF2B5EF4-FFF2-40B4-BE49-F238E27FC236}">
                    <a16:creationId xmlns:a16="http://schemas.microsoft.com/office/drawing/2014/main" id="{2796EEEE-5EF5-46BD-99E4-6E37E3C351B8}"/>
                  </a:ext>
                </a:extLst>
              </p:cNvPr>
              <p:cNvSpPr/>
              <p:nvPr/>
            </p:nvSpPr>
            <p:spPr>
              <a:xfrm>
                <a:off x="4594556" y="1713672"/>
                <a:ext cx="691150" cy="690821"/>
              </a:xfrm>
              <a:prstGeom prst="ellipse">
                <a:avLst/>
              </a:prstGeom>
              <a:solidFill>
                <a:schemeClr val="accent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36" name="Freeform 5">
                <a:extLst>
                  <a:ext uri="{FF2B5EF4-FFF2-40B4-BE49-F238E27FC236}">
                    <a16:creationId xmlns:a16="http://schemas.microsoft.com/office/drawing/2014/main" id="{B63CC07D-209B-4716-8B1C-5C90E990D38B}"/>
                  </a:ext>
                </a:extLst>
              </p:cNvPr>
              <p:cNvSpPr>
                <a:spLocks noEditPoints="1"/>
              </p:cNvSpPr>
              <p:nvPr/>
            </p:nvSpPr>
            <p:spPr bwMode="auto">
              <a:xfrm>
                <a:off x="4778435" y="1956643"/>
                <a:ext cx="315818" cy="163373"/>
              </a:xfrm>
              <a:custGeom>
                <a:avLst/>
                <a:gdLst>
                  <a:gd name="T0" fmla="*/ 22 w 962"/>
                  <a:gd name="T1" fmla="*/ 547 h 547"/>
                  <a:gd name="T2" fmla="*/ 9 w 962"/>
                  <a:gd name="T3" fmla="*/ 479 h 547"/>
                  <a:gd name="T4" fmla="*/ 3 w 962"/>
                  <a:gd name="T5" fmla="*/ 341 h 547"/>
                  <a:gd name="T6" fmla="*/ 20 w 962"/>
                  <a:gd name="T7" fmla="*/ 237 h 547"/>
                  <a:gd name="T8" fmla="*/ 38 w 962"/>
                  <a:gd name="T9" fmla="*/ 177 h 547"/>
                  <a:gd name="T10" fmla="*/ 126 w 962"/>
                  <a:gd name="T11" fmla="*/ 40 h 547"/>
                  <a:gd name="T12" fmla="*/ 214 w 962"/>
                  <a:gd name="T13" fmla="*/ 2 h 547"/>
                  <a:gd name="T14" fmla="*/ 276 w 962"/>
                  <a:gd name="T15" fmla="*/ 16 h 547"/>
                  <a:gd name="T16" fmla="*/ 370 w 962"/>
                  <a:gd name="T17" fmla="*/ 46 h 547"/>
                  <a:gd name="T18" fmla="*/ 486 w 962"/>
                  <a:gd name="T19" fmla="*/ 52 h 547"/>
                  <a:gd name="T20" fmla="*/ 616 w 962"/>
                  <a:gd name="T21" fmla="*/ 32 h 547"/>
                  <a:gd name="T22" fmla="*/ 709 w 962"/>
                  <a:gd name="T23" fmla="*/ 7 h 547"/>
                  <a:gd name="T24" fmla="*/ 798 w 962"/>
                  <a:gd name="T25" fmla="*/ 14 h 547"/>
                  <a:gd name="T26" fmla="*/ 853 w 962"/>
                  <a:gd name="T27" fmla="*/ 57 h 547"/>
                  <a:gd name="T28" fmla="*/ 930 w 962"/>
                  <a:gd name="T29" fmla="*/ 195 h 547"/>
                  <a:gd name="T30" fmla="*/ 959 w 962"/>
                  <a:gd name="T31" fmla="*/ 360 h 547"/>
                  <a:gd name="T32" fmla="*/ 940 w 962"/>
                  <a:gd name="T33" fmla="*/ 541 h 547"/>
                  <a:gd name="T34" fmla="*/ 932 w 962"/>
                  <a:gd name="T35" fmla="*/ 547 h 547"/>
                  <a:gd name="T36" fmla="*/ 858 w 962"/>
                  <a:gd name="T37" fmla="*/ 546 h 547"/>
                  <a:gd name="T38" fmla="*/ 672 w 962"/>
                  <a:gd name="T39" fmla="*/ 547 h 547"/>
                  <a:gd name="T40" fmla="*/ 76 w 962"/>
                  <a:gd name="T41" fmla="*/ 547 h 547"/>
                  <a:gd name="T42" fmla="*/ 22 w 962"/>
                  <a:gd name="T43" fmla="*/ 547 h 547"/>
                  <a:gd name="T44" fmla="*/ 189 w 962"/>
                  <a:gd name="T45" fmla="*/ 57 h 547"/>
                  <a:gd name="T46" fmla="*/ 177 w 962"/>
                  <a:gd name="T47" fmla="*/ 67 h 547"/>
                  <a:gd name="T48" fmla="*/ 112 w 962"/>
                  <a:gd name="T49" fmla="*/ 163 h 547"/>
                  <a:gd name="T50" fmla="*/ 117 w 962"/>
                  <a:gd name="T51" fmla="*/ 180 h 547"/>
                  <a:gd name="T52" fmla="*/ 133 w 962"/>
                  <a:gd name="T53" fmla="*/ 172 h 547"/>
                  <a:gd name="T54" fmla="*/ 165 w 962"/>
                  <a:gd name="T55" fmla="*/ 117 h 547"/>
                  <a:gd name="T56" fmla="*/ 197 w 962"/>
                  <a:gd name="T57" fmla="*/ 79 h 547"/>
                  <a:gd name="T58" fmla="*/ 200 w 962"/>
                  <a:gd name="T59" fmla="*/ 66 h 547"/>
                  <a:gd name="T60" fmla="*/ 189 w 962"/>
                  <a:gd name="T61" fmla="*/ 5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2" h="547">
                    <a:moveTo>
                      <a:pt x="22" y="547"/>
                    </a:moveTo>
                    <a:cubicBezTo>
                      <a:pt x="18" y="524"/>
                      <a:pt x="12" y="502"/>
                      <a:pt x="9" y="479"/>
                    </a:cubicBezTo>
                    <a:cubicBezTo>
                      <a:pt x="1" y="433"/>
                      <a:pt x="0" y="387"/>
                      <a:pt x="3" y="341"/>
                    </a:cubicBezTo>
                    <a:cubicBezTo>
                      <a:pt x="6" y="306"/>
                      <a:pt x="10" y="271"/>
                      <a:pt x="20" y="237"/>
                    </a:cubicBezTo>
                    <a:cubicBezTo>
                      <a:pt x="25" y="217"/>
                      <a:pt x="31" y="196"/>
                      <a:pt x="38" y="177"/>
                    </a:cubicBezTo>
                    <a:cubicBezTo>
                      <a:pt x="57" y="125"/>
                      <a:pt x="85" y="78"/>
                      <a:pt x="126" y="40"/>
                    </a:cubicBezTo>
                    <a:cubicBezTo>
                      <a:pt x="151" y="17"/>
                      <a:pt x="179" y="3"/>
                      <a:pt x="214" y="2"/>
                    </a:cubicBezTo>
                    <a:cubicBezTo>
                      <a:pt x="235" y="2"/>
                      <a:pt x="256" y="8"/>
                      <a:pt x="276" y="16"/>
                    </a:cubicBezTo>
                    <a:cubicBezTo>
                      <a:pt x="306" y="29"/>
                      <a:pt x="338" y="40"/>
                      <a:pt x="370" y="46"/>
                    </a:cubicBezTo>
                    <a:cubicBezTo>
                      <a:pt x="409" y="53"/>
                      <a:pt x="447" y="54"/>
                      <a:pt x="486" y="52"/>
                    </a:cubicBezTo>
                    <a:cubicBezTo>
                      <a:pt x="530" y="51"/>
                      <a:pt x="573" y="43"/>
                      <a:pt x="616" y="32"/>
                    </a:cubicBezTo>
                    <a:cubicBezTo>
                      <a:pt x="647" y="24"/>
                      <a:pt x="677" y="14"/>
                      <a:pt x="709" y="7"/>
                    </a:cubicBezTo>
                    <a:cubicBezTo>
                      <a:pt x="739" y="0"/>
                      <a:pt x="769" y="0"/>
                      <a:pt x="798" y="14"/>
                    </a:cubicBezTo>
                    <a:cubicBezTo>
                      <a:pt x="820" y="24"/>
                      <a:pt x="837" y="39"/>
                      <a:pt x="853" y="57"/>
                    </a:cubicBezTo>
                    <a:cubicBezTo>
                      <a:pt x="889" y="97"/>
                      <a:pt x="913" y="144"/>
                      <a:pt x="930" y="195"/>
                    </a:cubicBezTo>
                    <a:cubicBezTo>
                      <a:pt x="948" y="248"/>
                      <a:pt x="957" y="304"/>
                      <a:pt x="959" y="360"/>
                    </a:cubicBezTo>
                    <a:cubicBezTo>
                      <a:pt x="962" y="421"/>
                      <a:pt x="956" y="482"/>
                      <a:pt x="940" y="541"/>
                    </a:cubicBezTo>
                    <a:cubicBezTo>
                      <a:pt x="939" y="545"/>
                      <a:pt x="937" y="547"/>
                      <a:pt x="932" y="547"/>
                    </a:cubicBezTo>
                    <a:cubicBezTo>
                      <a:pt x="907" y="546"/>
                      <a:pt x="883" y="546"/>
                      <a:pt x="858" y="546"/>
                    </a:cubicBezTo>
                    <a:cubicBezTo>
                      <a:pt x="796" y="546"/>
                      <a:pt x="734" y="547"/>
                      <a:pt x="672" y="547"/>
                    </a:cubicBezTo>
                    <a:cubicBezTo>
                      <a:pt x="473" y="547"/>
                      <a:pt x="274" y="547"/>
                      <a:pt x="76" y="547"/>
                    </a:cubicBezTo>
                    <a:cubicBezTo>
                      <a:pt x="59" y="547"/>
                      <a:pt x="41" y="547"/>
                      <a:pt x="22" y="547"/>
                    </a:cubicBezTo>
                    <a:close/>
                    <a:moveTo>
                      <a:pt x="189" y="57"/>
                    </a:moveTo>
                    <a:cubicBezTo>
                      <a:pt x="184" y="61"/>
                      <a:pt x="180" y="63"/>
                      <a:pt x="177" y="67"/>
                    </a:cubicBezTo>
                    <a:cubicBezTo>
                      <a:pt x="150" y="95"/>
                      <a:pt x="127" y="127"/>
                      <a:pt x="112" y="163"/>
                    </a:cubicBezTo>
                    <a:cubicBezTo>
                      <a:pt x="109" y="171"/>
                      <a:pt x="111" y="177"/>
                      <a:pt x="117" y="180"/>
                    </a:cubicBezTo>
                    <a:cubicBezTo>
                      <a:pt x="124" y="183"/>
                      <a:pt x="129" y="179"/>
                      <a:pt x="133" y="172"/>
                    </a:cubicBezTo>
                    <a:cubicBezTo>
                      <a:pt x="144" y="153"/>
                      <a:pt x="153" y="135"/>
                      <a:pt x="165" y="117"/>
                    </a:cubicBezTo>
                    <a:cubicBezTo>
                      <a:pt x="174" y="104"/>
                      <a:pt x="186" y="92"/>
                      <a:pt x="197" y="79"/>
                    </a:cubicBezTo>
                    <a:cubicBezTo>
                      <a:pt x="200" y="75"/>
                      <a:pt x="202" y="70"/>
                      <a:pt x="200" y="66"/>
                    </a:cubicBezTo>
                    <a:cubicBezTo>
                      <a:pt x="198" y="63"/>
                      <a:pt x="194" y="60"/>
                      <a:pt x="189"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sp>
            <p:nvSpPr>
              <p:cNvPr id="37" name="Freeform 6">
                <a:extLst>
                  <a:ext uri="{FF2B5EF4-FFF2-40B4-BE49-F238E27FC236}">
                    <a16:creationId xmlns:a16="http://schemas.microsoft.com/office/drawing/2014/main" id="{9E32E9B8-5FE0-4D18-AD4F-69518F4BF28F}"/>
                  </a:ext>
                </a:extLst>
              </p:cNvPr>
              <p:cNvSpPr>
                <a:spLocks/>
              </p:cNvSpPr>
              <p:nvPr/>
            </p:nvSpPr>
            <p:spPr bwMode="auto">
              <a:xfrm>
                <a:off x="4733536" y="2123663"/>
                <a:ext cx="405755" cy="90805"/>
              </a:xfrm>
              <a:custGeom>
                <a:avLst/>
                <a:gdLst>
                  <a:gd name="T0" fmla="*/ 1178 w 1236"/>
                  <a:gd name="T1" fmla="*/ 11 h 304"/>
                  <a:gd name="T2" fmla="*/ 1236 w 1236"/>
                  <a:gd name="T3" fmla="*/ 11 h 304"/>
                  <a:gd name="T4" fmla="*/ 1236 w 1236"/>
                  <a:gd name="T5" fmla="*/ 304 h 304"/>
                  <a:gd name="T6" fmla="*/ 1228 w 1236"/>
                  <a:gd name="T7" fmla="*/ 304 h 304"/>
                  <a:gd name="T8" fmla="*/ 883 w 1236"/>
                  <a:gd name="T9" fmla="*/ 304 h 304"/>
                  <a:gd name="T10" fmla="*/ 489 w 1236"/>
                  <a:gd name="T11" fmla="*/ 304 h 304"/>
                  <a:gd name="T12" fmla="*/ 90 w 1236"/>
                  <a:gd name="T13" fmla="*/ 304 h 304"/>
                  <a:gd name="T14" fmla="*/ 31 w 1236"/>
                  <a:gd name="T15" fmla="*/ 302 h 304"/>
                  <a:gd name="T16" fmla="*/ 10 w 1236"/>
                  <a:gd name="T17" fmla="*/ 295 h 304"/>
                  <a:gd name="T18" fmla="*/ 0 w 1236"/>
                  <a:gd name="T19" fmla="*/ 276 h 304"/>
                  <a:gd name="T20" fmla="*/ 0 w 1236"/>
                  <a:gd name="T21" fmla="*/ 4 h 304"/>
                  <a:gd name="T22" fmla="*/ 0 w 1236"/>
                  <a:gd name="T23" fmla="*/ 0 h 304"/>
                  <a:gd name="T24" fmla="*/ 76 w 1236"/>
                  <a:gd name="T25" fmla="*/ 11 h 304"/>
                  <a:gd name="T26" fmla="*/ 97 w 1236"/>
                  <a:gd name="T27" fmla="*/ 11 h 304"/>
                  <a:gd name="T28" fmla="*/ 97 w 1236"/>
                  <a:gd name="T29" fmla="*/ 20 h 304"/>
                  <a:gd name="T30" fmla="*/ 97 w 1236"/>
                  <a:gd name="T31" fmla="*/ 135 h 304"/>
                  <a:gd name="T32" fmla="*/ 109 w 1236"/>
                  <a:gd name="T33" fmla="*/ 152 h 304"/>
                  <a:gd name="T34" fmla="*/ 120 w 1236"/>
                  <a:gd name="T35" fmla="*/ 135 h 304"/>
                  <a:gd name="T36" fmla="*/ 120 w 1236"/>
                  <a:gd name="T37" fmla="*/ 11 h 304"/>
                  <a:gd name="T38" fmla="*/ 273 w 1236"/>
                  <a:gd name="T39" fmla="*/ 11 h 304"/>
                  <a:gd name="T40" fmla="*/ 274 w 1236"/>
                  <a:gd name="T41" fmla="*/ 16 h 304"/>
                  <a:gd name="T42" fmla="*/ 274 w 1236"/>
                  <a:gd name="T43" fmla="*/ 75 h 304"/>
                  <a:gd name="T44" fmla="*/ 285 w 1236"/>
                  <a:gd name="T45" fmla="*/ 89 h 304"/>
                  <a:gd name="T46" fmla="*/ 297 w 1236"/>
                  <a:gd name="T47" fmla="*/ 76 h 304"/>
                  <a:gd name="T48" fmla="*/ 297 w 1236"/>
                  <a:gd name="T49" fmla="*/ 11 h 304"/>
                  <a:gd name="T50" fmla="*/ 450 w 1236"/>
                  <a:gd name="T51" fmla="*/ 11 h 304"/>
                  <a:gd name="T52" fmla="*/ 450 w 1236"/>
                  <a:gd name="T53" fmla="*/ 136 h 304"/>
                  <a:gd name="T54" fmla="*/ 450 w 1236"/>
                  <a:gd name="T55" fmla="*/ 139 h 304"/>
                  <a:gd name="T56" fmla="*/ 461 w 1236"/>
                  <a:gd name="T57" fmla="*/ 152 h 304"/>
                  <a:gd name="T58" fmla="*/ 473 w 1236"/>
                  <a:gd name="T59" fmla="*/ 139 h 304"/>
                  <a:gd name="T60" fmla="*/ 473 w 1236"/>
                  <a:gd name="T61" fmla="*/ 115 h 304"/>
                  <a:gd name="T62" fmla="*/ 473 w 1236"/>
                  <a:gd name="T63" fmla="*/ 18 h 304"/>
                  <a:gd name="T64" fmla="*/ 473 w 1236"/>
                  <a:gd name="T65" fmla="*/ 11 h 304"/>
                  <a:gd name="T66" fmla="*/ 626 w 1236"/>
                  <a:gd name="T67" fmla="*/ 11 h 304"/>
                  <a:gd name="T68" fmla="*/ 626 w 1236"/>
                  <a:gd name="T69" fmla="*/ 66 h 304"/>
                  <a:gd name="T70" fmla="*/ 626 w 1236"/>
                  <a:gd name="T71" fmla="*/ 77 h 304"/>
                  <a:gd name="T72" fmla="*/ 638 w 1236"/>
                  <a:gd name="T73" fmla="*/ 89 h 304"/>
                  <a:gd name="T74" fmla="*/ 649 w 1236"/>
                  <a:gd name="T75" fmla="*/ 76 h 304"/>
                  <a:gd name="T76" fmla="*/ 649 w 1236"/>
                  <a:gd name="T77" fmla="*/ 11 h 304"/>
                  <a:gd name="T78" fmla="*/ 803 w 1236"/>
                  <a:gd name="T79" fmla="*/ 11 h 304"/>
                  <a:gd name="T80" fmla="*/ 803 w 1236"/>
                  <a:gd name="T81" fmla="*/ 16 h 304"/>
                  <a:gd name="T82" fmla="*/ 803 w 1236"/>
                  <a:gd name="T83" fmla="*/ 138 h 304"/>
                  <a:gd name="T84" fmla="*/ 814 w 1236"/>
                  <a:gd name="T85" fmla="*/ 152 h 304"/>
                  <a:gd name="T86" fmla="*/ 826 w 1236"/>
                  <a:gd name="T87" fmla="*/ 138 h 304"/>
                  <a:gd name="T88" fmla="*/ 826 w 1236"/>
                  <a:gd name="T89" fmla="*/ 133 h 304"/>
                  <a:gd name="T90" fmla="*/ 826 w 1236"/>
                  <a:gd name="T91" fmla="*/ 26 h 304"/>
                  <a:gd name="T92" fmla="*/ 826 w 1236"/>
                  <a:gd name="T93" fmla="*/ 11 h 304"/>
                  <a:gd name="T94" fmla="*/ 979 w 1236"/>
                  <a:gd name="T95" fmla="*/ 11 h 304"/>
                  <a:gd name="T96" fmla="*/ 979 w 1236"/>
                  <a:gd name="T97" fmla="*/ 70 h 304"/>
                  <a:gd name="T98" fmla="*/ 979 w 1236"/>
                  <a:gd name="T99" fmla="*/ 76 h 304"/>
                  <a:gd name="T100" fmla="*/ 990 w 1236"/>
                  <a:gd name="T101" fmla="*/ 89 h 304"/>
                  <a:gd name="T102" fmla="*/ 1002 w 1236"/>
                  <a:gd name="T103" fmla="*/ 76 h 304"/>
                  <a:gd name="T104" fmla="*/ 1002 w 1236"/>
                  <a:gd name="T105" fmla="*/ 11 h 304"/>
                  <a:gd name="T106" fmla="*/ 1155 w 1236"/>
                  <a:gd name="T107" fmla="*/ 11 h 304"/>
                  <a:gd name="T108" fmla="*/ 1155 w 1236"/>
                  <a:gd name="T109" fmla="*/ 135 h 304"/>
                  <a:gd name="T110" fmla="*/ 1167 w 1236"/>
                  <a:gd name="T111" fmla="*/ 152 h 304"/>
                  <a:gd name="T112" fmla="*/ 1178 w 1236"/>
                  <a:gd name="T113" fmla="*/ 135 h 304"/>
                  <a:gd name="T114" fmla="*/ 1178 w 1236"/>
                  <a:gd name="T115" fmla="*/ 16 h 304"/>
                  <a:gd name="T116" fmla="*/ 1178 w 1236"/>
                  <a:gd name="T117" fmla="*/ 1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36" h="304">
                    <a:moveTo>
                      <a:pt x="1178" y="11"/>
                    </a:moveTo>
                    <a:cubicBezTo>
                      <a:pt x="1198" y="11"/>
                      <a:pt x="1216" y="11"/>
                      <a:pt x="1236" y="11"/>
                    </a:cubicBezTo>
                    <a:cubicBezTo>
                      <a:pt x="1236" y="109"/>
                      <a:pt x="1236" y="206"/>
                      <a:pt x="1236" y="304"/>
                    </a:cubicBezTo>
                    <a:cubicBezTo>
                      <a:pt x="1233" y="304"/>
                      <a:pt x="1230" y="304"/>
                      <a:pt x="1228" y="304"/>
                    </a:cubicBezTo>
                    <a:cubicBezTo>
                      <a:pt x="1113" y="304"/>
                      <a:pt x="998" y="304"/>
                      <a:pt x="883" y="304"/>
                    </a:cubicBezTo>
                    <a:cubicBezTo>
                      <a:pt x="752" y="304"/>
                      <a:pt x="621" y="304"/>
                      <a:pt x="489" y="304"/>
                    </a:cubicBezTo>
                    <a:cubicBezTo>
                      <a:pt x="356" y="304"/>
                      <a:pt x="223" y="304"/>
                      <a:pt x="90" y="304"/>
                    </a:cubicBezTo>
                    <a:cubicBezTo>
                      <a:pt x="70" y="304"/>
                      <a:pt x="50" y="304"/>
                      <a:pt x="31" y="302"/>
                    </a:cubicBezTo>
                    <a:cubicBezTo>
                      <a:pt x="23" y="302"/>
                      <a:pt x="16" y="298"/>
                      <a:pt x="10" y="295"/>
                    </a:cubicBezTo>
                    <a:cubicBezTo>
                      <a:pt x="3" y="291"/>
                      <a:pt x="0" y="285"/>
                      <a:pt x="0" y="276"/>
                    </a:cubicBezTo>
                    <a:cubicBezTo>
                      <a:pt x="0" y="186"/>
                      <a:pt x="0" y="95"/>
                      <a:pt x="0" y="4"/>
                    </a:cubicBezTo>
                    <a:cubicBezTo>
                      <a:pt x="0" y="3"/>
                      <a:pt x="0" y="2"/>
                      <a:pt x="0" y="0"/>
                    </a:cubicBezTo>
                    <a:cubicBezTo>
                      <a:pt x="24" y="15"/>
                      <a:pt x="50" y="10"/>
                      <a:pt x="76" y="11"/>
                    </a:cubicBezTo>
                    <a:cubicBezTo>
                      <a:pt x="83" y="11"/>
                      <a:pt x="90" y="11"/>
                      <a:pt x="97" y="11"/>
                    </a:cubicBezTo>
                    <a:cubicBezTo>
                      <a:pt x="97" y="14"/>
                      <a:pt x="97" y="17"/>
                      <a:pt x="97" y="20"/>
                    </a:cubicBezTo>
                    <a:cubicBezTo>
                      <a:pt x="97" y="58"/>
                      <a:pt x="97" y="97"/>
                      <a:pt x="97" y="135"/>
                    </a:cubicBezTo>
                    <a:cubicBezTo>
                      <a:pt x="97" y="146"/>
                      <a:pt x="101" y="152"/>
                      <a:pt x="109" y="152"/>
                    </a:cubicBezTo>
                    <a:cubicBezTo>
                      <a:pt x="116" y="152"/>
                      <a:pt x="120" y="146"/>
                      <a:pt x="120" y="135"/>
                    </a:cubicBezTo>
                    <a:cubicBezTo>
                      <a:pt x="120" y="94"/>
                      <a:pt x="120" y="53"/>
                      <a:pt x="120" y="11"/>
                    </a:cubicBezTo>
                    <a:cubicBezTo>
                      <a:pt x="171" y="11"/>
                      <a:pt x="222" y="11"/>
                      <a:pt x="273" y="11"/>
                    </a:cubicBezTo>
                    <a:cubicBezTo>
                      <a:pt x="273" y="13"/>
                      <a:pt x="274" y="14"/>
                      <a:pt x="274" y="16"/>
                    </a:cubicBezTo>
                    <a:cubicBezTo>
                      <a:pt x="274" y="36"/>
                      <a:pt x="274" y="56"/>
                      <a:pt x="274" y="75"/>
                    </a:cubicBezTo>
                    <a:cubicBezTo>
                      <a:pt x="274" y="84"/>
                      <a:pt x="278" y="89"/>
                      <a:pt x="285" y="89"/>
                    </a:cubicBezTo>
                    <a:cubicBezTo>
                      <a:pt x="292" y="89"/>
                      <a:pt x="297" y="84"/>
                      <a:pt x="297" y="76"/>
                    </a:cubicBezTo>
                    <a:cubicBezTo>
                      <a:pt x="297" y="54"/>
                      <a:pt x="297" y="33"/>
                      <a:pt x="297" y="11"/>
                    </a:cubicBezTo>
                    <a:cubicBezTo>
                      <a:pt x="348" y="11"/>
                      <a:pt x="399" y="11"/>
                      <a:pt x="450" y="11"/>
                    </a:cubicBezTo>
                    <a:cubicBezTo>
                      <a:pt x="450" y="53"/>
                      <a:pt x="450" y="94"/>
                      <a:pt x="450" y="136"/>
                    </a:cubicBezTo>
                    <a:cubicBezTo>
                      <a:pt x="450" y="137"/>
                      <a:pt x="450" y="138"/>
                      <a:pt x="450" y="139"/>
                    </a:cubicBezTo>
                    <a:cubicBezTo>
                      <a:pt x="450" y="147"/>
                      <a:pt x="455" y="152"/>
                      <a:pt x="461" y="152"/>
                    </a:cubicBezTo>
                    <a:cubicBezTo>
                      <a:pt x="468" y="152"/>
                      <a:pt x="473" y="146"/>
                      <a:pt x="473" y="139"/>
                    </a:cubicBezTo>
                    <a:cubicBezTo>
                      <a:pt x="473" y="131"/>
                      <a:pt x="473" y="123"/>
                      <a:pt x="473" y="115"/>
                    </a:cubicBezTo>
                    <a:cubicBezTo>
                      <a:pt x="473" y="82"/>
                      <a:pt x="473" y="50"/>
                      <a:pt x="473" y="18"/>
                    </a:cubicBezTo>
                    <a:cubicBezTo>
                      <a:pt x="473" y="16"/>
                      <a:pt x="473" y="14"/>
                      <a:pt x="473" y="11"/>
                    </a:cubicBezTo>
                    <a:cubicBezTo>
                      <a:pt x="524" y="11"/>
                      <a:pt x="575" y="11"/>
                      <a:pt x="626" y="11"/>
                    </a:cubicBezTo>
                    <a:cubicBezTo>
                      <a:pt x="626" y="29"/>
                      <a:pt x="626" y="47"/>
                      <a:pt x="626" y="66"/>
                    </a:cubicBezTo>
                    <a:cubicBezTo>
                      <a:pt x="626" y="69"/>
                      <a:pt x="626" y="73"/>
                      <a:pt x="626" y="77"/>
                    </a:cubicBezTo>
                    <a:cubicBezTo>
                      <a:pt x="627" y="84"/>
                      <a:pt x="632" y="90"/>
                      <a:pt x="638" y="89"/>
                    </a:cubicBezTo>
                    <a:cubicBezTo>
                      <a:pt x="645" y="89"/>
                      <a:pt x="649" y="84"/>
                      <a:pt x="649" y="76"/>
                    </a:cubicBezTo>
                    <a:cubicBezTo>
                      <a:pt x="649" y="55"/>
                      <a:pt x="649" y="33"/>
                      <a:pt x="649" y="11"/>
                    </a:cubicBezTo>
                    <a:cubicBezTo>
                      <a:pt x="700" y="11"/>
                      <a:pt x="751" y="11"/>
                      <a:pt x="803" y="11"/>
                    </a:cubicBezTo>
                    <a:cubicBezTo>
                      <a:pt x="803" y="13"/>
                      <a:pt x="803" y="14"/>
                      <a:pt x="803" y="16"/>
                    </a:cubicBezTo>
                    <a:cubicBezTo>
                      <a:pt x="803" y="56"/>
                      <a:pt x="803" y="97"/>
                      <a:pt x="803" y="138"/>
                    </a:cubicBezTo>
                    <a:cubicBezTo>
                      <a:pt x="803" y="146"/>
                      <a:pt x="807" y="152"/>
                      <a:pt x="814" y="152"/>
                    </a:cubicBezTo>
                    <a:cubicBezTo>
                      <a:pt x="821" y="152"/>
                      <a:pt x="825" y="146"/>
                      <a:pt x="826" y="138"/>
                    </a:cubicBezTo>
                    <a:cubicBezTo>
                      <a:pt x="826" y="136"/>
                      <a:pt x="826" y="135"/>
                      <a:pt x="826" y="133"/>
                    </a:cubicBezTo>
                    <a:cubicBezTo>
                      <a:pt x="826" y="97"/>
                      <a:pt x="826" y="62"/>
                      <a:pt x="826" y="26"/>
                    </a:cubicBezTo>
                    <a:cubicBezTo>
                      <a:pt x="826" y="21"/>
                      <a:pt x="826" y="16"/>
                      <a:pt x="826" y="11"/>
                    </a:cubicBezTo>
                    <a:cubicBezTo>
                      <a:pt x="876" y="11"/>
                      <a:pt x="927" y="11"/>
                      <a:pt x="979" y="11"/>
                    </a:cubicBezTo>
                    <a:cubicBezTo>
                      <a:pt x="979" y="31"/>
                      <a:pt x="979" y="51"/>
                      <a:pt x="979" y="70"/>
                    </a:cubicBezTo>
                    <a:cubicBezTo>
                      <a:pt x="979" y="72"/>
                      <a:pt x="979" y="74"/>
                      <a:pt x="979" y="76"/>
                    </a:cubicBezTo>
                    <a:cubicBezTo>
                      <a:pt x="979" y="84"/>
                      <a:pt x="984" y="89"/>
                      <a:pt x="990" y="89"/>
                    </a:cubicBezTo>
                    <a:cubicBezTo>
                      <a:pt x="997" y="89"/>
                      <a:pt x="1002" y="84"/>
                      <a:pt x="1002" y="76"/>
                    </a:cubicBezTo>
                    <a:cubicBezTo>
                      <a:pt x="1002" y="55"/>
                      <a:pt x="1002" y="33"/>
                      <a:pt x="1002" y="11"/>
                    </a:cubicBezTo>
                    <a:cubicBezTo>
                      <a:pt x="1053" y="11"/>
                      <a:pt x="1104" y="11"/>
                      <a:pt x="1155" y="11"/>
                    </a:cubicBezTo>
                    <a:cubicBezTo>
                      <a:pt x="1155" y="52"/>
                      <a:pt x="1155" y="94"/>
                      <a:pt x="1155" y="135"/>
                    </a:cubicBezTo>
                    <a:cubicBezTo>
                      <a:pt x="1155" y="146"/>
                      <a:pt x="1159" y="152"/>
                      <a:pt x="1167" y="152"/>
                    </a:cubicBezTo>
                    <a:cubicBezTo>
                      <a:pt x="1174" y="152"/>
                      <a:pt x="1178" y="146"/>
                      <a:pt x="1178" y="135"/>
                    </a:cubicBezTo>
                    <a:cubicBezTo>
                      <a:pt x="1178" y="95"/>
                      <a:pt x="1178" y="56"/>
                      <a:pt x="1178" y="16"/>
                    </a:cubicBezTo>
                    <a:cubicBezTo>
                      <a:pt x="1178" y="15"/>
                      <a:pt x="1178" y="13"/>
                      <a:pt x="1178" y="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sp>
            <p:nvSpPr>
              <p:cNvPr id="38" name="Freeform 7">
                <a:extLst>
                  <a:ext uri="{FF2B5EF4-FFF2-40B4-BE49-F238E27FC236}">
                    <a16:creationId xmlns:a16="http://schemas.microsoft.com/office/drawing/2014/main" id="{8C1BF0C3-ADFB-432E-B5BD-3EC98E896170}"/>
                  </a:ext>
                </a:extLst>
              </p:cNvPr>
              <p:cNvSpPr>
                <a:spLocks/>
              </p:cNvSpPr>
              <p:nvPr/>
            </p:nvSpPr>
            <p:spPr bwMode="auto">
              <a:xfrm>
                <a:off x="4852071" y="1855023"/>
                <a:ext cx="66866" cy="61501"/>
              </a:xfrm>
              <a:custGeom>
                <a:avLst/>
                <a:gdLst>
                  <a:gd name="T0" fmla="*/ 0 w 204"/>
                  <a:gd name="T1" fmla="*/ 83 h 206"/>
                  <a:gd name="T2" fmla="*/ 49 w 204"/>
                  <a:gd name="T3" fmla="*/ 89 h 206"/>
                  <a:gd name="T4" fmla="*/ 85 w 204"/>
                  <a:gd name="T5" fmla="*/ 94 h 206"/>
                  <a:gd name="T6" fmla="*/ 92 w 204"/>
                  <a:gd name="T7" fmla="*/ 98 h 206"/>
                  <a:gd name="T8" fmla="*/ 120 w 204"/>
                  <a:gd name="T9" fmla="*/ 137 h 206"/>
                  <a:gd name="T10" fmla="*/ 124 w 204"/>
                  <a:gd name="T11" fmla="*/ 142 h 206"/>
                  <a:gd name="T12" fmla="*/ 144 w 204"/>
                  <a:gd name="T13" fmla="*/ 130 h 206"/>
                  <a:gd name="T14" fmla="*/ 129 w 204"/>
                  <a:gd name="T15" fmla="*/ 109 h 206"/>
                  <a:gd name="T16" fmla="*/ 111 w 204"/>
                  <a:gd name="T17" fmla="*/ 85 h 206"/>
                  <a:gd name="T18" fmla="*/ 110 w 204"/>
                  <a:gd name="T19" fmla="*/ 78 h 206"/>
                  <a:gd name="T20" fmla="*/ 130 w 204"/>
                  <a:gd name="T21" fmla="*/ 0 h 206"/>
                  <a:gd name="T22" fmla="*/ 169 w 204"/>
                  <a:gd name="T23" fmla="*/ 38 h 206"/>
                  <a:gd name="T24" fmla="*/ 201 w 204"/>
                  <a:gd name="T25" fmla="*/ 81 h 206"/>
                  <a:gd name="T26" fmla="*/ 203 w 204"/>
                  <a:gd name="T27" fmla="*/ 90 h 206"/>
                  <a:gd name="T28" fmla="*/ 189 w 204"/>
                  <a:gd name="T29" fmla="*/ 168 h 206"/>
                  <a:gd name="T30" fmla="*/ 182 w 204"/>
                  <a:gd name="T31" fmla="*/ 206 h 206"/>
                  <a:gd name="T32" fmla="*/ 105 w 204"/>
                  <a:gd name="T33" fmla="*/ 197 h 206"/>
                  <a:gd name="T34" fmla="*/ 48 w 204"/>
                  <a:gd name="T35" fmla="*/ 191 h 206"/>
                  <a:gd name="T36" fmla="*/ 37 w 204"/>
                  <a:gd name="T37" fmla="*/ 184 h 206"/>
                  <a:gd name="T38" fmla="*/ 0 w 204"/>
                  <a:gd name="T39" fmla="*/ 8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4" h="206">
                    <a:moveTo>
                      <a:pt x="0" y="83"/>
                    </a:moveTo>
                    <a:cubicBezTo>
                      <a:pt x="17" y="85"/>
                      <a:pt x="33" y="87"/>
                      <a:pt x="49" y="89"/>
                    </a:cubicBezTo>
                    <a:cubicBezTo>
                      <a:pt x="61" y="90"/>
                      <a:pt x="73" y="92"/>
                      <a:pt x="85" y="94"/>
                    </a:cubicBezTo>
                    <a:cubicBezTo>
                      <a:pt x="87" y="94"/>
                      <a:pt x="91" y="96"/>
                      <a:pt x="92" y="98"/>
                    </a:cubicBezTo>
                    <a:cubicBezTo>
                      <a:pt x="102" y="111"/>
                      <a:pt x="111" y="124"/>
                      <a:pt x="120" y="137"/>
                    </a:cubicBezTo>
                    <a:cubicBezTo>
                      <a:pt x="122" y="139"/>
                      <a:pt x="123" y="140"/>
                      <a:pt x="124" y="142"/>
                    </a:cubicBezTo>
                    <a:cubicBezTo>
                      <a:pt x="131" y="138"/>
                      <a:pt x="137" y="134"/>
                      <a:pt x="144" y="130"/>
                    </a:cubicBezTo>
                    <a:cubicBezTo>
                      <a:pt x="138" y="123"/>
                      <a:pt x="133" y="116"/>
                      <a:pt x="129" y="109"/>
                    </a:cubicBezTo>
                    <a:cubicBezTo>
                      <a:pt x="123" y="101"/>
                      <a:pt x="117" y="93"/>
                      <a:pt x="111" y="85"/>
                    </a:cubicBezTo>
                    <a:cubicBezTo>
                      <a:pt x="110" y="83"/>
                      <a:pt x="109" y="80"/>
                      <a:pt x="110" y="78"/>
                    </a:cubicBezTo>
                    <a:cubicBezTo>
                      <a:pt x="116" y="53"/>
                      <a:pt x="123" y="28"/>
                      <a:pt x="130" y="0"/>
                    </a:cubicBezTo>
                    <a:cubicBezTo>
                      <a:pt x="144" y="13"/>
                      <a:pt x="157" y="25"/>
                      <a:pt x="169" y="38"/>
                    </a:cubicBezTo>
                    <a:cubicBezTo>
                      <a:pt x="181" y="51"/>
                      <a:pt x="191" y="66"/>
                      <a:pt x="201" y="81"/>
                    </a:cubicBezTo>
                    <a:cubicBezTo>
                      <a:pt x="203" y="84"/>
                      <a:pt x="204" y="87"/>
                      <a:pt x="203" y="90"/>
                    </a:cubicBezTo>
                    <a:cubicBezTo>
                      <a:pt x="199" y="116"/>
                      <a:pt x="194" y="142"/>
                      <a:pt x="189" y="168"/>
                    </a:cubicBezTo>
                    <a:cubicBezTo>
                      <a:pt x="187" y="181"/>
                      <a:pt x="185" y="193"/>
                      <a:pt x="182" y="206"/>
                    </a:cubicBezTo>
                    <a:cubicBezTo>
                      <a:pt x="156" y="203"/>
                      <a:pt x="131" y="200"/>
                      <a:pt x="105" y="197"/>
                    </a:cubicBezTo>
                    <a:cubicBezTo>
                      <a:pt x="86" y="195"/>
                      <a:pt x="67" y="193"/>
                      <a:pt x="48" y="191"/>
                    </a:cubicBezTo>
                    <a:cubicBezTo>
                      <a:pt x="43" y="191"/>
                      <a:pt x="39" y="189"/>
                      <a:pt x="37" y="184"/>
                    </a:cubicBezTo>
                    <a:cubicBezTo>
                      <a:pt x="20" y="154"/>
                      <a:pt x="8" y="122"/>
                      <a:pt x="0"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sp>
            <p:nvSpPr>
              <p:cNvPr id="39" name="Freeform 8">
                <a:extLst>
                  <a:ext uri="{FF2B5EF4-FFF2-40B4-BE49-F238E27FC236}">
                    <a16:creationId xmlns:a16="http://schemas.microsoft.com/office/drawing/2014/main" id="{D26D43AD-AE21-4251-BD22-BFE7727012BC}"/>
                  </a:ext>
                </a:extLst>
              </p:cNvPr>
              <p:cNvSpPr>
                <a:spLocks/>
              </p:cNvSpPr>
              <p:nvPr/>
            </p:nvSpPr>
            <p:spPr bwMode="auto">
              <a:xfrm>
                <a:off x="4848341" y="1838547"/>
                <a:ext cx="39788" cy="37353"/>
              </a:xfrm>
              <a:custGeom>
                <a:avLst/>
                <a:gdLst>
                  <a:gd name="T0" fmla="*/ 20 w 121"/>
                  <a:gd name="T1" fmla="*/ 0 h 125"/>
                  <a:gd name="T2" fmla="*/ 121 w 121"/>
                  <a:gd name="T3" fmla="*/ 43 h 125"/>
                  <a:gd name="T4" fmla="*/ 98 w 121"/>
                  <a:gd name="T5" fmla="*/ 125 h 125"/>
                  <a:gd name="T6" fmla="*/ 7 w 121"/>
                  <a:gd name="T7" fmla="*/ 114 h 125"/>
                  <a:gd name="T8" fmla="*/ 2 w 121"/>
                  <a:gd name="T9" fmla="*/ 13 h 125"/>
                  <a:gd name="T10" fmla="*/ 56 w 121"/>
                  <a:gd name="T11" fmla="*/ 87 h 125"/>
                  <a:gd name="T12" fmla="*/ 75 w 121"/>
                  <a:gd name="T13" fmla="*/ 75 h 125"/>
                  <a:gd name="T14" fmla="*/ 20 w 121"/>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25">
                    <a:moveTo>
                      <a:pt x="20" y="0"/>
                    </a:moveTo>
                    <a:cubicBezTo>
                      <a:pt x="57" y="10"/>
                      <a:pt x="90" y="23"/>
                      <a:pt x="121" y="43"/>
                    </a:cubicBezTo>
                    <a:cubicBezTo>
                      <a:pt x="113" y="70"/>
                      <a:pt x="106" y="98"/>
                      <a:pt x="98" y="125"/>
                    </a:cubicBezTo>
                    <a:cubicBezTo>
                      <a:pt x="68" y="122"/>
                      <a:pt x="37" y="118"/>
                      <a:pt x="7" y="114"/>
                    </a:cubicBezTo>
                    <a:cubicBezTo>
                      <a:pt x="2" y="81"/>
                      <a:pt x="0" y="48"/>
                      <a:pt x="2" y="13"/>
                    </a:cubicBezTo>
                    <a:cubicBezTo>
                      <a:pt x="20" y="39"/>
                      <a:pt x="38" y="63"/>
                      <a:pt x="56" y="87"/>
                    </a:cubicBezTo>
                    <a:cubicBezTo>
                      <a:pt x="62" y="83"/>
                      <a:pt x="68" y="79"/>
                      <a:pt x="75" y="75"/>
                    </a:cubicBezTo>
                    <a:cubicBezTo>
                      <a:pt x="57" y="50"/>
                      <a:pt x="39" y="26"/>
                      <a:pt x="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sp>
            <p:nvSpPr>
              <p:cNvPr id="40" name="Freeform 9">
                <a:extLst>
                  <a:ext uri="{FF2B5EF4-FFF2-40B4-BE49-F238E27FC236}">
                    <a16:creationId xmlns:a16="http://schemas.microsoft.com/office/drawing/2014/main" id="{8B29F773-C5EA-41A8-ADA6-F560CB62F557}"/>
                  </a:ext>
                </a:extLst>
              </p:cNvPr>
              <p:cNvSpPr>
                <a:spLocks/>
              </p:cNvSpPr>
              <p:nvPr/>
            </p:nvSpPr>
            <p:spPr bwMode="auto">
              <a:xfrm>
                <a:off x="4870998" y="1919542"/>
                <a:ext cx="61064" cy="30184"/>
              </a:xfrm>
              <a:custGeom>
                <a:avLst/>
                <a:gdLst>
                  <a:gd name="T0" fmla="*/ 186 w 186"/>
                  <a:gd name="T1" fmla="*/ 101 h 101"/>
                  <a:gd name="T2" fmla="*/ 0 w 186"/>
                  <a:gd name="T3" fmla="*/ 0 h 101"/>
                  <a:gd name="T4" fmla="*/ 88 w 186"/>
                  <a:gd name="T5" fmla="*/ 9 h 101"/>
                  <a:gd name="T6" fmla="*/ 119 w 186"/>
                  <a:gd name="T7" fmla="*/ 12 h 101"/>
                  <a:gd name="T8" fmla="*/ 132 w 186"/>
                  <a:gd name="T9" fmla="*/ 19 h 101"/>
                  <a:gd name="T10" fmla="*/ 182 w 186"/>
                  <a:gd name="T11" fmla="*/ 94 h 101"/>
                  <a:gd name="T12" fmla="*/ 186 w 186"/>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86" h="101">
                    <a:moveTo>
                      <a:pt x="186" y="101"/>
                    </a:moveTo>
                    <a:cubicBezTo>
                      <a:pt x="111" y="90"/>
                      <a:pt x="47" y="61"/>
                      <a:pt x="0" y="0"/>
                    </a:cubicBezTo>
                    <a:cubicBezTo>
                      <a:pt x="30" y="3"/>
                      <a:pt x="59" y="6"/>
                      <a:pt x="88" y="9"/>
                    </a:cubicBezTo>
                    <a:cubicBezTo>
                      <a:pt x="99" y="10"/>
                      <a:pt x="109" y="12"/>
                      <a:pt x="119" y="12"/>
                    </a:cubicBezTo>
                    <a:cubicBezTo>
                      <a:pt x="125" y="13"/>
                      <a:pt x="128" y="14"/>
                      <a:pt x="132" y="19"/>
                    </a:cubicBezTo>
                    <a:cubicBezTo>
                      <a:pt x="148" y="44"/>
                      <a:pt x="165" y="69"/>
                      <a:pt x="182" y="94"/>
                    </a:cubicBezTo>
                    <a:cubicBezTo>
                      <a:pt x="183" y="96"/>
                      <a:pt x="184" y="98"/>
                      <a:pt x="186" y="10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sp>
            <p:nvSpPr>
              <p:cNvPr id="41" name="Freeform 10">
                <a:extLst>
                  <a:ext uri="{FF2B5EF4-FFF2-40B4-BE49-F238E27FC236}">
                    <a16:creationId xmlns:a16="http://schemas.microsoft.com/office/drawing/2014/main" id="{C57F6152-087A-4368-A46E-97D799ECA3C6}"/>
                  </a:ext>
                </a:extLst>
              </p:cNvPr>
              <p:cNvSpPr>
                <a:spLocks/>
              </p:cNvSpPr>
              <p:nvPr/>
            </p:nvSpPr>
            <p:spPr bwMode="auto">
              <a:xfrm>
                <a:off x="4732845" y="2100396"/>
                <a:ext cx="44347" cy="19620"/>
              </a:xfrm>
              <a:custGeom>
                <a:avLst/>
                <a:gdLst>
                  <a:gd name="T0" fmla="*/ 122 w 135"/>
                  <a:gd name="T1" fmla="*/ 0 h 66"/>
                  <a:gd name="T2" fmla="*/ 135 w 135"/>
                  <a:gd name="T3" fmla="*/ 66 h 66"/>
                  <a:gd name="T4" fmla="*/ 114 w 135"/>
                  <a:gd name="T5" fmla="*/ 66 h 66"/>
                  <a:gd name="T6" fmla="*/ 41 w 135"/>
                  <a:gd name="T7" fmla="*/ 66 h 66"/>
                  <a:gd name="T8" fmla="*/ 12 w 135"/>
                  <a:gd name="T9" fmla="*/ 57 h 66"/>
                  <a:gd name="T10" fmla="*/ 3 w 135"/>
                  <a:gd name="T11" fmla="*/ 32 h 66"/>
                  <a:gd name="T12" fmla="*/ 40 w 135"/>
                  <a:gd name="T13" fmla="*/ 0 h 66"/>
                  <a:gd name="T14" fmla="*/ 122 w 135"/>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66">
                    <a:moveTo>
                      <a:pt x="122" y="0"/>
                    </a:moveTo>
                    <a:cubicBezTo>
                      <a:pt x="126" y="22"/>
                      <a:pt x="130" y="43"/>
                      <a:pt x="135" y="66"/>
                    </a:cubicBezTo>
                    <a:cubicBezTo>
                      <a:pt x="127" y="66"/>
                      <a:pt x="121" y="66"/>
                      <a:pt x="114" y="66"/>
                    </a:cubicBezTo>
                    <a:cubicBezTo>
                      <a:pt x="90" y="66"/>
                      <a:pt x="65" y="66"/>
                      <a:pt x="41" y="66"/>
                    </a:cubicBezTo>
                    <a:cubicBezTo>
                      <a:pt x="31" y="66"/>
                      <a:pt x="21" y="63"/>
                      <a:pt x="12" y="57"/>
                    </a:cubicBezTo>
                    <a:cubicBezTo>
                      <a:pt x="3" y="51"/>
                      <a:pt x="0" y="43"/>
                      <a:pt x="3" y="32"/>
                    </a:cubicBezTo>
                    <a:cubicBezTo>
                      <a:pt x="7" y="14"/>
                      <a:pt x="21" y="1"/>
                      <a:pt x="40" y="0"/>
                    </a:cubicBezTo>
                    <a:cubicBezTo>
                      <a:pt x="67" y="0"/>
                      <a:pt x="94" y="0"/>
                      <a:pt x="12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sp>
            <p:nvSpPr>
              <p:cNvPr id="42" name="Freeform 11">
                <a:extLst>
                  <a:ext uri="{FF2B5EF4-FFF2-40B4-BE49-F238E27FC236}">
                    <a16:creationId xmlns:a16="http://schemas.microsoft.com/office/drawing/2014/main" id="{AFC297DD-5467-4399-8675-D40927C63A1C}"/>
                  </a:ext>
                </a:extLst>
              </p:cNvPr>
              <p:cNvSpPr>
                <a:spLocks/>
              </p:cNvSpPr>
              <p:nvPr/>
            </p:nvSpPr>
            <p:spPr bwMode="auto">
              <a:xfrm>
                <a:off x="4941318" y="1887219"/>
                <a:ext cx="65347" cy="75964"/>
              </a:xfrm>
              <a:custGeom>
                <a:avLst/>
                <a:gdLst>
                  <a:gd name="T0" fmla="*/ 0 w 199"/>
                  <a:gd name="T1" fmla="*/ 254 h 254"/>
                  <a:gd name="T2" fmla="*/ 17 w 199"/>
                  <a:gd name="T3" fmla="*/ 193 h 254"/>
                  <a:gd name="T4" fmla="*/ 145 w 199"/>
                  <a:gd name="T5" fmla="*/ 37 h 254"/>
                  <a:gd name="T6" fmla="*/ 198 w 199"/>
                  <a:gd name="T7" fmla="*/ 0 h 254"/>
                  <a:gd name="T8" fmla="*/ 199 w 199"/>
                  <a:gd name="T9" fmla="*/ 1 h 254"/>
                  <a:gd name="T10" fmla="*/ 0 w 199"/>
                  <a:gd name="T11" fmla="*/ 254 h 254"/>
                </a:gdLst>
                <a:ahLst/>
                <a:cxnLst>
                  <a:cxn ang="0">
                    <a:pos x="T0" y="T1"/>
                  </a:cxn>
                  <a:cxn ang="0">
                    <a:pos x="T2" y="T3"/>
                  </a:cxn>
                  <a:cxn ang="0">
                    <a:pos x="T4" y="T5"/>
                  </a:cxn>
                  <a:cxn ang="0">
                    <a:pos x="T6" y="T7"/>
                  </a:cxn>
                  <a:cxn ang="0">
                    <a:pos x="T8" y="T9"/>
                  </a:cxn>
                  <a:cxn ang="0">
                    <a:pos x="T10" y="T11"/>
                  </a:cxn>
                </a:cxnLst>
                <a:rect l="0" t="0" r="r" b="b"/>
                <a:pathLst>
                  <a:path w="199" h="254">
                    <a:moveTo>
                      <a:pt x="0" y="254"/>
                    </a:moveTo>
                    <a:cubicBezTo>
                      <a:pt x="2" y="233"/>
                      <a:pt x="9" y="212"/>
                      <a:pt x="17" y="193"/>
                    </a:cubicBezTo>
                    <a:cubicBezTo>
                      <a:pt x="46" y="129"/>
                      <a:pt x="90" y="79"/>
                      <a:pt x="145" y="37"/>
                    </a:cubicBezTo>
                    <a:cubicBezTo>
                      <a:pt x="162" y="24"/>
                      <a:pt x="180" y="12"/>
                      <a:pt x="198" y="0"/>
                    </a:cubicBezTo>
                    <a:cubicBezTo>
                      <a:pt x="198" y="1"/>
                      <a:pt x="198" y="1"/>
                      <a:pt x="199" y="1"/>
                    </a:cubicBezTo>
                    <a:cubicBezTo>
                      <a:pt x="132" y="86"/>
                      <a:pt x="66" y="170"/>
                      <a:pt x="0" y="2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sp>
            <p:nvSpPr>
              <p:cNvPr id="43" name="Freeform 12">
                <a:extLst>
                  <a:ext uri="{FF2B5EF4-FFF2-40B4-BE49-F238E27FC236}">
                    <a16:creationId xmlns:a16="http://schemas.microsoft.com/office/drawing/2014/main" id="{3D4235D2-97B6-4C85-BBA8-5355F284DBAC}"/>
                  </a:ext>
                </a:extLst>
              </p:cNvPr>
              <p:cNvSpPr>
                <a:spLocks/>
              </p:cNvSpPr>
              <p:nvPr/>
            </p:nvSpPr>
            <p:spPr bwMode="auto">
              <a:xfrm>
                <a:off x="4919352" y="1891118"/>
                <a:ext cx="16717" cy="51188"/>
              </a:xfrm>
              <a:custGeom>
                <a:avLst/>
                <a:gdLst>
                  <a:gd name="T0" fmla="*/ 16 w 51"/>
                  <a:gd name="T1" fmla="*/ 0 h 171"/>
                  <a:gd name="T2" fmla="*/ 50 w 51"/>
                  <a:gd name="T3" fmla="*/ 171 h 171"/>
                  <a:gd name="T4" fmla="*/ 34 w 51"/>
                  <a:gd name="T5" fmla="*/ 146 h 171"/>
                  <a:gd name="T6" fmla="*/ 3 w 51"/>
                  <a:gd name="T7" fmla="*/ 99 h 171"/>
                  <a:gd name="T8" fmla="*/ 0 w 51"/>
                  <a:gd name="T9" fmla="*/ 89 h 171"/>
                  <a:gd name="T10" fmla="*/ 14 w 51"/>
                  <a:gd name="T11" fmla="*/ 15 h 171"/>
                  <a:gd name="T12" fmla="*/ 16 w 51"/>
                  <a:gd name="T13" fmla="*/ 0 h 171"/>
                </a:gdLst>
                <a:ahLst/>
                <a:cxnLst>
                  <a:cxn ang="0">
                    <a:pos x="T0" y="T1"/>
                  </a:cxn>
                  <a:cxn ang="0">
                    <a:pos x="T2" y="T3"/>
                  </a:cxn>
                  <a:cxn ang="0">
                    <a:pos x="T4" y="T5"/>
                  </a:cxn>
                  <a:cxn ang="0">
                    <a:pos x="T6" y="T7"/>
                  </a:cxn>
                  <a:cxn ang="0">
                    <a:pos x="T8" y="T9"/>
                  </a:cxn>
                  <a:cxn ang="0">
                    <a:pos x="T10" y="T11"/>
                  </a:cxn>
                  <a:cxn ang="0">
                    <a:pos x="T12" y="T13"/>
                  </a:cxn>
                </a:cxnLst>
                <a:rect l="0" t="0" r="r" b="b"/>
                <a:pathLst>
                  <a:path w="51" h="171">
                    <a:moveTo>
                      <a:pt x="16" y="0"/>
                    </a:moveTo>
                    <a:cubicBezTo>
                      <a:pt x="41" y="54"/>
                      <a:pt x="51" y="111"/>
                      <a:pt x="50" y="171"/>
                    </a:cubicBezTo>
                    <a:cubicBezTo>
                      <a:pt x="45" y="163"/>
                      <a:pt x="39" y="154"/>
                      <a:pt x="34" y="146"/>
                    </a:cubicBezTo>
                    <a:cubicBezTo>
                      <a:pt x="23" y="130"/>
                      <a:pt x="13" y="115"/>
                      <a:pt x="3" y="99"/>
                    </a:cubicBezTo>
                    <a:cubicBezTo>
                      <a:pt x="1" y="96"/>
                      <a:pt x="0" y="92"/>
                      <a:pt x="0" y="89"/>
                    </a:cubicBezTo>
                    <a:cubicBezTo>
                      <a:pt x="5" y="64"/>
                      <a:pt x="9" y="39"/>
                      <a:pt x="14" y="15"/>
                    </a:cubicBezTo>
                    <a:cubicBezTo>
                      <a:pt x="15" y="10"/>
                      <a:pt x="15" y="5"/>
                      <a:pt x="1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Arial" panose="020B0604020202020204" pitchFamily="34" charset="0"/>
                  <a:ea typeface="+mn-ea"/>
                  <a:cs typeface="+mn-cs"/>
                </a:endParaRPr>
              </a:p>
            </p:txBody>
          </p:sp>
        </p:grpSp>
      </p:grpSp>
      <p:sp>
        <p:nvSpPr>
          <p:cNvPr id="46" name="Rectangle: Rounded Corners 45">
            <a:extLst>
              <a:ext uri="{FF2B5EF4-FFF2-40B4-BE49-F238E27FC236}">
                <a16:creationId xmlns:a16="http://schemas.microsoft.com/office/drawing/2014/main" id="{2983D530-E424-9458-2813-5D6F512700C9}"/>
              </a:ext>
            </a:extLst>
          </p:cNvPr>
          <p:cNvSpPr/>
          <p:nvPr/>
        </p:nvSpPr>
        <p:spPr>
          <a:xfrm>
            <a:off x="999770" y="5105486"/>
            <a:ext cx="10641367" cy="4724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r>
              <a:rPr lang="en-US" sz="1600" b="1" noProof="0">
                <a:solidFill>
                  <a:schemeClr val="bg1"/>
                </a:solidFill>
                <a:effectLst/>
                <a:latin typeface="Arial"/>
                <a:cs typeface="Arial"/>
              </a:rPr>
              <a:t>84% </a:t>
            </a:r>
            <a:r>
              <a:rPr lang="en-US" sz="1600" noProof="0">
                <a:solidFill>
                  <a:schemeClr val="bg1"/>
                </a:solidFill>
                <a:effectLst/>
                <a:latin typeface="Arial"/>
                <a:cs typeface="Arial"/>
              </a:rPr>
              <a:t>of HCPs failed to identify practices consistent with evidence-based obesity treatment guidelines</a:t>
            </a:r>
            <a:r>
              <a:rPr lang="en-US" sz="1600" baseline="30000" noProof="0">
                <a:solidFill>
                  <a:schemeClr val="bg1"/>
                </a:solidFill>
                <a:effectLst/>
                <a:latin typeface="Arial"/>
                <a:cs typeface="Arial"/>
              </a:rPr>
              <a:t>4</a:t>
            </a:r>
          </a:p>
        </p:txBody>
      </p:sp>
    </p:spTree>
    <p:extLst>
      <p:ext uri="{BB962C8B-B14F-4D97-AF65-F5344CB8AC3E}">
        <p14:creationId xmlns:p14="http://schemas.microsoft.com/office/powerpoint/2010/main" val="2476925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19F3A334-DC8E-B15E-8AA8-C01DDA6BA20D}"/>
              </a:ext>
            </a:extLst>
          </p:cNvPr>
          <p:cNvSpPr/>
          <p:nvPr/>
        </p:nvSpPr>
        <p:spPr>
          <a:xfrm>
            <a:off x="0" y="3595256"/>
            <a:ext cx="12192000" cy="148872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57" name="Rectangle 56">
            <a:extLst>
              <a:ext uri="{FF2B5EF4-FFF2-40B4-BE49-F238E27FC236}">
                <a16:creationId xmlns:a16="http://schemas.microsoft.com/office/drawing/2014/main" id="{55343AFC-8E46-391D-A275-3CC8FA409864}"/>
              </a:ext>
            </a:extLst>
          </p:cNvPr>
          <p:cNvSpPr/>
          <p:nvPr/>
        </p:nvSpPr>
        <p:spPr>
          <a:xfrm>
            <a:off x="0" y="3144769"/>
            <a:ext cx="12192000" cy="46394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58" name="Rectangle 57">
            <a:extLst>
              <a:ext uri="{FF2B5EF4-FFF2-40B4-BE49-F238E27FC236}">
                <a16:creationId xmlns:a16="http://schemas.microsoft.com/office/drawing/2014/main" id="{65BE4BC0-6CD7-4040-FB04-2D6CDDDCE141}"/>
              </a:ext>
            </a:extLst>
          </p:cNvPr>
          <p:cNvSpPr/>
          <p:nvPr/>
        </p:nvSpPr>
        <p:spPr>
          <a:xfrm>
            <a:off x="0" y="1668826"/>
            <a:ext cx="12192000" cy="148265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 name="Title 1"/>
          <p:cNvSpPr>
            <a:spLocks noGrp="1"/>
          </p:cNvSpPr>
          <p:nvPr>
            <p:ph type="title"/>
          </p:nvPr>
        </p:nvSpPr>
        <p:spPr>
          <a:xfrm>
            <a:off x="536240" y="414320"/>
            <a:ext cx="10896000" cy="1082209"/>
          </a:xfrm>
        </p:spPr>
        <p:txBody>
          <a:bodyPr>
            <a:normAutofit/>
          </a:bodyPr>
          <a:lstStyle/>
          <a:p>
            <a:r>
              <a:rPr lang="en-US" noProof="0"/>
              <a:t>How can obesity be addressed?</a:t>
            </a:r>
            <a:br>
              <a:rPr lang="en-US" noProof="0"/>
            </a:br>
            <a:r>
              <a:rPr lang="en-US" i="1" noProof="0"/>
              <a:t>Efficacy of existing weight loss interventions</a:t>
            </a:r>
          </a:p>
        </p:txBody>
      </p:sp>
      <p:sp>
        <p:nvSpPr>
          <p:cNvPr id="61" name="Text Placeholder 60">
            <a:extLst>
              <a:ext uri="{FF2B5EF4-FFF2-40B4-BE49-F238E27FC236}">
                <a16:creationId xmlns:a16="http://schemas.microsoft.com/office/drawing/2014/main" id="{1B41C069-A933-4D01-8DD7-4D903A020DEE}"/>
              </a:ext>
            </a:extLst>
          </p:cNvPr>
          <p:cNvSpPr>
            <a:spLocks noGrp="1"/>
          </p:cNvSpPr>
          <p:nvPr>
            <p:ph type="body" sz="quarter" idx="13"/>
          </p:nvPr>
        </p:nvSpPr>
        <p:spPr>
          <a:xfrm>
            <a:off x="536240" y="5699439"/>
            <a:ext cx="10896000" cy="638484"/>
          </a:xfrm>
        </p:spPr>
        <p:txBody>
          <a:bodyPr/>
          <a:lstStyle/>
          <a:p>
            <a:r>
              <a:rPr lang="en-US" noProof="0" dirty="0"/>
              <a:t>AOM, anti-obesity medication; IBT, intensive behavioral therapy.</a:t>
            </a:r>
            <a:br>
              <a:rPr lang="en-US" noProof="0" dirty="0"/>
            </a:br>
            <a:r>
              <a:rPr lang="en-US" noProof="0" dirty="0"/>
              <a:t>*Based on mean weight loss achieved by the completer populations in the largest phase 3 clinical trial of each respective product’s clinical development program.</a:t>
            </a:r>
            <a:br>
              <a:rPr lang="en-US" noProof="0" dirty="0"/>
            </a:br>
            <a:r>
              <a:rPr lang="en-US" noProof="0" dirty="0"/>
              <a:t>1. le Roux CW et al. Lancet 2017;389:1399–1409; 2. Lean ME et al. Lancet 2018;391:541–551; 3. Tsai AG et al. Obesity 2006;14:1283–1293; 4. Wadden TA et al. Obesity 2011;19:1987–1998; 5. Wadden TA et al. Obesity 2019;27:75–86; </a:t>
            </a:r>
            <a:br>
              <a:rPr lang="en-US" noProof="0" dirty="0"/>
            </a:br>
            <a:r>
              <a:rPr lang="en-US" noProof="0" dirty="0"/>
              <a:t>6. Garvey WT et al. </a:t>
            </a:r>
            <a:r>
              <a:rPr lang="en-US" noProof="0" dirty="0" err="1"/>
              <a:t>Endocr</a:t>
            </a:r>
            <a:r>
              <a:rPr lang="en-US" noProof="0" dirty="0"/>
              <a:t> </a:t>
            </a:r>
            <a:r>
              <a:rPr lang="en-US" noProof="0" dirty="0" err="1"/>
              <a:t>Pract</a:t>
            </a:r>
            <a:r>
              <a:rPr lang="en-US" noProof="0" dirty="0"/>
              <a:t> 2016;22:1–203; 7. Coutinho W, Halpern B. </a:t>
            </a:r>
            <a:r>
              <a:rPr lang="en-US" noProof="0" dirty="0" err="1"/>
              <a:t>Diabetol</a:t>
            </a:r>
            <a:r>
              <a:rPr lang="en-US" noProof="0" dirty="0"/>
              <a:t> </a:t>
            </a:r>
            <a:r>
              <a:rPr lang="en-US" noProof="0" dirty="0" err="1"/>
              <a:t>Metab</a:t>
            </a:r>
            <a:r>
              <a:rPr lang="en-US" noProof="0" dirty="0"/>
              <a:t> Syndr 2024;16:6; 8. </a:t>
            </a:r>
            <a:r>
              <a:rPr lang="en-US" noProof="0" dirty="0" err="1"/>
              <a:t>Courcoulas</a:t>
            </a:r>
            <a:r>
              <a:rPr lang="en-US" noProof="0" dirty="0"/>
              <a:t> AP et al. JAMA 2013;310:2416–2425; 9. IFSO. Sleeve gastrectomy. </a:t>
            </a:r>
            <a:r>
              <a:rPr lang="en-US" noProof="0" dirty="0">
                <a:hlinkClick r:id="rId4">
                  <a:extLst>
                    <a:ext uri="{A12FA001-AC4F-418D-AE19-62706E023703}">
                      <ahyp:hlinkClr xmlns:ahyp="http://schemas.microsoft.com/office/drawing/2018/hyperlinkcolor" val="tx"/>
                    </a:ext>
                  </a:extLst>
                </a:hlinkClick>
              </a:rPr>
              <a:t>https://ifso.com/patient-sleeve-gastrectomy/</a:t>
            </a:r>
            <a:r>
              <a:rPr lang="en-US" noProof="0" dirty="0"/>
              <a:t>. Accessed </a:t>
            </a:r>
            <a:r>
              <a:rPr lang="en-US" dirty="0"/>
              <a:t>October 2025</a:t>
            </a:r>
            <a:r>
              <a:rPr lang="en-US" noProof="0" dirty="0"/>
              <a:t>; 10. Calderon G et al. Int J </a:t>
            </a:r>
            <a:r>
              <a:rPr lang="en-US" noProof="0" dirty="0" err="1"/>
              <a:t>Obes</a:t>
            </a:r>
            <a:r>
              <a:rPr lang="en-US" noProof="0" dirty="0"/>
              <a:t> (Lond) 2021;46:555–563.</a:t>
            </a:r>
          </a:p>
        </p:txBody>
      </p:sp>
      <p:sp>
        <p:nvSpPr>
          <p:cNvPr id="20" name="TextBox 19"/>
          <p:cNvSpPr txBox="1"/>
          <p:nvPr/>
        </p:nvSpPr>
        <p:spPr>
          <a:xfrm>
            <a:off x="2100816" y="5057970"/>
            <a:ext cx="411513" cy="276999"/>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rPr>
              <a:t>0</a:t>
            </a:r>
          </a:p>
        </p:txBody>
      </p:sp>
      <p:sp>
        <p:nvSpPr>
          <p:cNvPr id="21" name="TextBox 20"/>
          <p:cNvSpPr txBox="1"/>
          <p:nvPr/>
        </p:nvSpPr>
        <p:spPr>
          <a:xfrm>
            <a:off x="3525427" y="5057970"/>
            <a:ext cx="411513" cy="276999"/>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rPr>
              <a:t>5</a:t>
            </a:r>
          </a:p>
        </p:txBody>
      </p:sp>
      <p:sp>
        <p:nvSpPr>
          <p:cNvPr id="22" name="TextBox 21"/>
          <p:cNvSpPr txBox="1"/>
          <p:nvPr/>
        </p:nvSpPr>
        <p:spPr>
          <a:xfrm>
            <a:off x="4826241" y="5057970"/>
            <a:ext cx="632194" cy="276999"/>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rPr>
              <a:t>10</a:t>
            </a:r>
          </a:p>
        </p:txBody>
      </p:sp>
      <p:sp>
        <p:nvSpPr>
          <p:cNvPr id="23" name="TextBox 22"/>
          <p:cNvSpPr txBox="1"/>
          <p:nvPr/>
        </p:nvSpPr>
        <p:spPr>
          <a:xfrm>
            <a:off x="6285842" y="5057971"/>
            <a:ext cx="502983" cy="276999"/>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rPr>
              <a:t>15</a:t>
            </a:r>
          </a:p>
        </p:txBody>
      </p:sp>
      <p:sp>
        <p:nvSpPr>
          <p:cNvPr id="24" name="TextBox 23"/>
          <p:cNvSpPr txBox="1"/>
          <p:nvPr/>
        </p:nvSpPr>
        <p:spPr>
          <a:xfrm>
            <a:off x="7662651" y="5057970"/>
            <a:ext cx="580520" cy="276999"/>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rPr>
              <a:t>20</a:t>
            </a:r>
          </a:p>
        </p:txBody>
      </p:sp>
      <p:sp>
        <p:nvSpPr>
          <p:cNvPr id="25" name="TextBox 24"/>
          <p:cNvSpPr txBox="1"/>
          <p:nvPr/>
        </p:nvSpPr>
        <p:spPr>
          <a:xfrm>
            <a:off x="9117000" y="5057971"/>
            <a:ext cx="506972" cy="276999"/>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rPr>
              <a:t>25</a:t>
            </a:r>
          </a:p>
        </p:txBody>
      </p:sp>
      <p:sp>
        <p:nvSpPr>
          <p:cNvPr id="26" name="TextBox 25"/>
          <p:cNvSpPr txBox="1"/>
          <p:nvPr/>
        </p:nvSpPr>
        <p:spPr>
          <a:xfrm>
            <a:off x="10482326" y="5057970"/>
            <a:ext cx="560654" cy="276999"/>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rPr>
              <a:t>30</a:t>
            </a:r>
          </a:p>
        </p:txBody>
      </p:sp>
      <p:sp>
        <p:nvSpPr>
          <p:cNvPr id="39" name="TextBox 38"/>
          <p:cNvSpPr txBox="1"/>
          <p:nvPr/>
        </p:nvSpPr>
        <p:spPr>
          <a:xfrm>
            <a:off x="1060188" y="1726651"/>
            <a:ext cx="1277478"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Lifestyle </a:t>
            </a:r>
            <a:b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b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intervention</a:t>
            </a:r>
            <a:r>
              <a:rPr kumimoji="0" lang="en-US" sz="1333" i="0" u="none" strike="noStrike" kern="1200" cap="none" spc="0" normalizeH="0" baseline="30000" noProof="0">
                <a:ln>
                  <a:noFill/>
                </a:ln>
                <a:solidFill>
                  <a:schemeClr val="accent2">
                    <a:lumMod val="50000"/>
                  </a:schemeClr>
                </a:solidFill>
                <a:effectLst/>
                <a:uLnTx/>
                <a:uFillTx/>
                <a:latin typeface="Arial" panose="020B0604020202020204" pitchFamily="34" charset="0"/>
                <a:cs typeface="Arial" panose="020B0604020202020204" pitchFamily="34" charset="0"/>
              </a:rPr>
              <a:t>1</a:t>
            </a:r>
            <a:endPar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endParaRPr>
          </a:p>
        </p:txBody>
      </p:sp>
      <p:sp>
        <p:nvSpPr>
          <p:cNvPr id="40" name="TextBox 39"/>
          <p:cNvSpPr txBox="1"/>
          <p:nvPr/>
        </p:nvSpPr>
        <p:spPr>
          <a:xfrm>
            <a:off x="972649" y="2210266"/>
            <a:ext cx="1365017"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Very low calorie diet</a:t>
            </a:r>
            <a:r>
              <a:rPr kumimoji="0" lang="en-US" sz="1333" i="0" u="none" strike="noStrike" kern="1200" cap="none" spc="0" normalizeH="0" baseline="30000" noProof="0">
                <a:ln>
                  <a:noFill/>
                </a:ln>
                <a:solidFill>
                  <a:schemeClr val="accent2">
                    <a:lumMod val="50000"/>
                  </a:schemeClr>
                </a:solidFill>
                <a:effectLst/>
                <a:uLnTx/>
                <a:uFillTx/>
                <a:latin typeface="Arial" panose="020B0604020202020204" pitchFamily="34" charset="0"/>
                <a:cs typeface="Arial" panose="020B0604020202020204" pitchFamily="34" charset="0"/>
              </a:rPr>
              <a:t>2,3</a:t>
            </a:r>
            <a:endPar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endParaRPr>
          </a:p>
        </p:txBody>
      </p:sp>
      <p:sp>
        <p:nvSpPr>
          <p:cNvPr id="41" name="TextBox 40"/>
          <p:cNvSpPr txBox="1"/>
          <p:nvPr/>
        </p:nvSpPr>
        <p:spPr>
          <a:xfrm>
            <a:off x="1060188" y="2799895"/>
            <a:ext cx="1277478" cy="297454"/>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IBT</a:t>
            </a:r>
            <a:r>
              <a:rPr kumimoji="0" lang="en-US" sz="1333" i="0" u="none" strike="noStrike" kern="1200" cap="none" spc="0" normalizeH="0" baseline="30000" noProof="0">
                <a:ln>
                  <a:noFill/>
                </a:ln>
                <a:solidFill>
                  <a:schemeClr val="accent2">
                    <a:lumMod val="50000"/>
                  </a:schemeClr>
                </a:solidFill>
                <a:effectLst/>
                <a:uLnTx/>
                <a:uFillTx/>
                <a:latin typeface="Arial" panose="020B0604020202020204" pitchFamily="34" charset="0"/>
                <a:cs typeface="Arial" panose="020B0604020202020204" pitchFamily="34" charset="0"/>
              </a:rPr>
              <a:t>4,5</a:t>
            </a:r>
            <a:endPar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endParaRPr>
          </a:p>
        </p:txBody>
      </p:sp>
      <p:sp>
        <p:nvSpPr>
          <p:cNvPr id="42" name="TextBox 41"/>
          <p:cNvSpPr txBox="1"/>
          <p:nvPr/>
        </p:nvSpPr>
        <p:spPr>
          <a:xfrm>
            <a:off x="1060188" y="3232221"/>
            <a:ext cx="1277478" cy="297454"/>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AOM</a:t>
            </a:r>
            <a:r>
              <a:rPr kumimoji="0" lang="en-US" sz="1333" i="0" u="none" strike="noStrike" kern="1200" cap="none" spc="0" normalizeH="0" baseline="30000" noProof="0">
                <a:ln>
                  <a:noFill/>
                </a:ln>
                <a:solidFill>
                  <a:schemeClr val="accent2">
                    <a:lumMod val="50000"/>
                  </a:schemeClr>
                </a:solidFill>
                <a:effectLst/>
                <a:uLnTx/>
                <a:uFillTx/>
                <a:latin typeface="Arial" panose="020B0604020202020204" pitchFamily="34" charset="0"/>
                <a:cs typeface="Arial" panose="020B0604020202020204" pitchFamily="34" charset="0"/>
              </a:rPr>
              <a:t>6,7</a:t>
            </a:r>
            <a:endPar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endParaRPr>
          </a:p>
        </p:txBody>
      </p:sp>
      <p:sp>
        <p:nvSpPr>
          <p:cNvPr id="43" name="TextBox 42"/>
          <p:cNvSpPr txBox="1"/>
          <p:nvPr/>
        </p:nvSpPr>
        <p:spPr>
          <a:xfrm>
            <a:off x="1060188" y="3591833"/>
            <a:ext cx="1277478"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Gastric </a:t>
            </a:r>
            <a:b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b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band</a:t>
            </a:r>
            <a:r>
              <a:rPr kumimoji="0" lang="en-US" sz="1333" i="0" u="none" strike="noStrike" kern="1200" cap="none" spc="0" normalizeH="0" baseline="30000" noProof="0">
                <a:ln>
                  <a:noFill/>
                </a:ln>
                <a:solidFill>
                  <a:schemeClr val="accent2">
                    <a:lumMod val="50000"/>
                  </a:schemeClr>
                </a:solidFill>
                <a:effectLst/>
                <a:uLnTx/>
                <a:uFillTx/>
                <a:latin typeface="Arial" panose="020B0604020202020204" pitchFamily="34" charset="0"/>
                <a:cs typeface="Arial" panose="020B0604020202020204" pitchFamily="34" charset="0"/>
              </a:rPr>
              <a:t>8</a:t>
            </a:r>
            <a:endPar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endParaRPr>
          </a:p>
        </p:txBody>
      </p:sp>
      <p:sp>
        <p:nvSpPr>
          <p:cNvPr id="44" name="TextBox 43"/>
          <p:cNvSpPr txBox="1"/>
          <p:nvPr/>
        </p:nvSpPr>
        <p:spPr>
          <a:xfrm>
            <a:off x="1060188" y="4075448"/>
            <a:ext cx="1277478"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Gastric </a:t>
            </a:r>
            <a:b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b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sleeve</a:t>
            </a:r>
            <a:r>
              <a:rPr kumimoji="0" lang="en-US" sz="1333" i="0" u="none" strike="noStrike" kern="1200" cap="none" spc="0" normalizeH="0" baseline="30000" noProof="0">
                <a:ln>
                  <a:noFill/>
                </a:ln>
                <a:solidFill>
                  <a:schemeClr val="accent2">
                    <a:lumMod val="50000"/>
                  </a:schemeClr>
                </a:solidFill>
                <a:effectLst/>
                <a:uLnTx/>
                <a:uFillTx/>
                <a:latin typeface="Arial" panose="020B0604020202020204" pitchFamily="34" charset="0"/>
                <a:cs typeface="Arial" panose="020B0604020202020204" pitchFamily="34" charset="0"/>
              </a:rPr>
              <a:t>9</a:t>
            </a:r>
          </a:p>
        </p:txBody>
      </p:sp>
      <p:sp>
        <p:nvSpPr>
          <p:cNvPr id="45" name="TextBox 44"/>
          <p:cNvSpPr txBox="1"/>
          <p:nvPr/>
        </p:nvSpPr>
        <p:spPr>
          <a:xfrm>
            <a:off x="1060188" y="4559059"/>
            <a:ext cx="1277478"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Gastric </a:t>
            </a:r>
            <a:b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br>
            <a:r>
              <a:rPr kumimoji="0" lang="en-US" sz="1333" i="0" u="none" strike="noStrike" kern="1200" cap="none" spc="0" normalizeH="0" baseline="0" noProof="0">
                <a:ln>
                  <a:noFill/>
                </a:ln>
                <a:solidFill>
                  <a:schemeClr val="accent2">
                    <a:lumMod val="50000"/>
                  </a:schemeClr>
                </a:solidFill>
                <a:effectLst/>
                <a:uLnTx/>
                <a:uFillTx/>
                <a:latin typeface="Arial" panose="020B0604020202020204" pitchFamily="34" charset="0"/>
                <a:cs typeface="Arial" panose="020B0604020202020204" pitchFamily="34" charset="0"/>
              </a:rPr>
              <a:t>bypass</a:t>
            </a:r>
            <a:r>
              <a:rPr kumimoji="0" lang="en-US" sz="1333" i="0" u="none" strike="noStrike" kern="1200" cap="none" spc="0" normalizeH="0" baseline="30000" noProof="0">
                <a:ln>
                  <a:noFill/>
                </a:ln>
                <a:solidFill>
                  <a:schemeClr val="accent2">
                    <a:lumMod val="50000"/>
                  </a:schemeClr>
                </a:solidFill>
                <a:effectLst/>
                <a:uLnTx/>
                <a:uFillTx/>
                <a:latin typeface="Arial" panose="020B0604020202020204" pitchFamily="34" charset="0"/>
                <a:cs typeface="Arial" panose="020B0604020202020204" pitchFamily="34" charset="0"/>
              </a:rPr>
              <a:t>8</a:t>
            </a:r>
          </a:p>
        </p:txBody>
      </p:sp>
      <p:cxnSp>
        <p:nvCxnSpPr>
          <p:cNvPr id="4" name="Straight Connector 3"/>
          <p:cNvCxnSpPr/>
          <p:nvPr/>
        </p:nvCxnSpPr>
        <p:spPr>
          <a:xfrm>
            <a:off x="2348133" y="1668826"/>
            <a:ext cx="0" cy="340669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306571" y="5267515"/>
            <a:ext cx="9771130" cy="307777"/>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effectLst/>
                <a:uLnTx/>
                <a:uFillTx/>
                <a:latin typeface="Arial" panose="020B0604020202020204" pitchFamily="34" charset="0"/>
                <a:cs typeface="Arial" panose="020B0604020202020204" pitchFamily="34" charset="0"/>
              </a:rPr>
              <a:t>Weight loss (%)</a:t>
            </a:r>
          </a:p>
        </p:txBody>
      </p:sp>
      <p:sp>
        <p:nvSpPr>
          <p:cNvPr id="47" name="Rectangle: Rounded Corners 46"/>
          <p:cNvSpPr/>
          <p:nvPr/>
        </p:nvSpPr>
        <p:spPr>
          <a:xfrm>
            <a:off x="3009353" y="1795290"/>
            <a:ext cx="714808" cy="275647"/>
          </a:xfrm>
          <a:prstGeom prst="roundRect">
            <a:avLst>
              <a:gd name="adj" fmla="val 50000"/>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3–5</a:t>
            </a:r>
            <a:r>
              <a:rPr kumimoji="0" lang="en-US"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a:t>
            </a:r>
          </a:p>
        </p:txBody>
      </p:sp>
      <p:sp>
        <p:nvSpPr>
          <p:cNvPr id="48" name="Rectangle: Rounded Corners 47"/>
          <p:cNvSpPr/>
          <p:nvPr/>
        </p:nvSpPr>
        <p:spPr>
          <a:xfrm>
            <a:off x="3009353" y="3236198"/>
            <a:ext cx="5072927" cy="275647"/>
          </a:xfrm>
          <a:prstGeom prst="roundRect">
            <a:avLst>
              <a:gd name="adj" fmla="val 50000"/>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3–21</a:t>
            </a:r>
            <a:r>
              <a:rPr kumimoji="0" lang="en-US"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a:t>
            </a: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a:t>
            </a:r>
          </a:p>
        </p:txBody>
      </p:sp>
      <p:sp>
        <p:nvSpPr>
          <p:cNvPr id="49" name="Rectangle: Rounded Corners 48"/>
          <p:cNvSpPr/>
          <p:nvPr/>
        </p:nvSpPr>
        <p:spPr>
          <a:xfrm>
            <a:off x="3305175" y="2801084"/>
            <a:ext cx="695757" cy="275647"/>
          </a:xfrm>
          <a:prstGeom prst="roundRect">
            <a:avLst>
              <a:gd name="adj" fmla="val 50000"/>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4–6</a:t>
            </a:r>
            <a:r>
              <a:rPr kumimoji="0" lang="en-US"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a:t>
            </a:r>
          </a:p>
        </p:txBody>
      </p:sp>
      <p:sp>
        <p:nvSpPr>
          <p:cNvPr id="50" name="Rectangle: Rounded Corners 49"/>
          <p:cNvSpPr/>
          <p:nvPr/>
        </p:nvSpPr>
        <p:spPr>
          <a:xfrm>
            <a:off x="4000934" y="2277404"/>
            <a:ext cx="1123123" cy="275647"/>
          </a:xfrm>
          <a:prstGeom prst="roundRect">
            <a:avLst>
              <a:gd name="adj" fmla="val 50000"/>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6–10</a:t>
            </a:r>
            <a:r>
              <a:rPr kumimoji="0" lang="en-US"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a:t>
            </a:r>
          </a:p>
        </p:txBody>
      </p:sp>
      <p:sp>
        <p:nvSpPr>
          <p:cNvPr id="52" name="Rectangle: Rounded Corners 51"/>
          <p:cNvSpPr/>
          <p:nvPr/>
        </p:nvSpPr>
        <p:spPr>
          <a:xfrm>
            <a:off x="9069681" y="4687974"/>
            <a:ext cx="2924195" cy="275647"/>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24–38</a:t>
            </a:r>
            <a:r>
              <a:rPr kumimoji="0" lang="en-US"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a:t>
            </a:r>
          </a:p>
        </p:txBody>
      </p:sp>
      <p:sp>
        <p:nvSpPr>
          <p:cNvPr id="53" name="Rectangle: Rounded Corners 52"/>
          <p:cNvSpPr/>
          <p:nvPr/>
        </p:nvSpPr>
        <p:spPr>
          <a:xfrm>
            <a:off x="4438650" y="3723749"/>
            <a:ext cx="4436618" cy="275647"/>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7–23</a:t>
            </a:r>
            <a:r>
              <a:rPr kumimoji="0" lang="en-US"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a:t>
            </a:r>
          </a:p>
        </p:txBody>
      </p:sp>
      <p:sp>
        <p:nvSpPr>
          <p:cNvPr id="54" name="Rectangle: Rounded Corners 53"/>
          <p:cNvSpPr/>
          <p:nvPr/>
        </p:nvSpPr>
        <p:spPr>
          <a:xfrm>
            <a:off x="9334918" y="4205862"/>
            <a:ext cx="2252561" cy="275647"/>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400" b="1" noProof="0">
                <a:solidFill>
                  <a:srgbClr val="FFFFFF"/>
                </a:solidFill>
                <a:latin typeface="Arial"/>
                <a:cs typeface="Arial"/>
              </a:rPr>
              <a:t>25–35</a:t>
            </a:r>
            <a:r>
              <a:rPr kumimoji="0" lang="en-US" sz="1400" i="0" u="none" strike="noStrike" kern="1200" cap="none" spc="0" normalizeH="0" baseline="0" noProof="0">
                <a:ln>
                  <a:noFill/>
                </a:ln>
                <a:solidFill>
                  <a:srgbClr val="FFFFFF"/>
                </a:solidFill>
                <a:effectLst/>
                <a:uLnTx/>
                <a:uFillTx/>
                <a:latin typeface="Arial"/>
                <a:cs typeface="Arial"/>
              </a:rPr>
              <a:t>%</a:t>
            </a:r>
            <a:endParaRPr lang="en-US" sz="1400" i="0" u="none" strike="noStrike" kern="1200" cap="none" spc="0" normalizeH="0" baseline="0" noProof="0">
              <a:ln>
                <a:noFill/>
              </a:ln>
              <a:solidFill>
                <a:srgbClr val="FFFFFF"/>
              </a:solidFill>
              <a:effectLst/>
              <a:uLnTx/>
              <a:uFillTx/>
              <a:latin typeface="Arial"/>
              <a:cs typeface="Arial"/>
            </a:endParaRPr>
          </a:p>
        </p:txBody>
      </p:sp>
      <p:sp>
        <p:nvSpPr>
          <p:cNvPr id="7" name="TextBox 6"/>
          <p:cNvSpPr txBox="1"/>
          <p:nvPr/>
        </p:nvSpPr>
        <p:spPr>
          <a:xfrm>
            <a:off x="-4740" y="2186915"/>
            <a:ext cx="1390193" cy="523220"/>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accent3">
                    <a:lumMod val="75000"/>
                  </a:schemeClr>
                </a:solidFill>
                <a:effectLst/>
                <a:uLnTx/>
                <a:uFillTx/>
                <a:latin typeface="Arial" panose="020B0604020202020204" pitchFamily="34" charset="0"/>
                <a:cs typeface="Arial" panose="020B0604020202020204" pitchFamily="34" charset="0"/>
              </a:rPr>
              <a:t>Lifestyle intervention</a:t>
            </a:r>
          </a:p>
        </p:txBody>
      </p:sp>
      <p:sp>
        <p:nvSpPr>
          <p:cNvPr id="75" name="TextBox 74"/>
          <p:cNvSpPr txBox="1"/>
          <p:nvPr/>
        </p:nvSpPr>
        <p:spPr>
          <a:xfrm>
            <a:off x="9115" y="3234317"/>
            <a:ext cx="752884" cy="307777"/>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accent6">
                    <a:lumMod val="75000"/>
                  </a:schemeClr>
                </a:solidFill>
                <a:effectLst/>
                <a:uLnTx/>
                <a:uFillTx/>
                <a:latin typeface="Arial" panose="020B0604020202020204" pitchFamily="34" charset="0"/>
                <a:cs typeface="Arial" panose="020B0604020202020204" pitchFamily="34" charset="0"/>
              </a:rPr>
              <a:t>AOM</a:t>
            </a:r>
          </a:p>
        </p:txBody>
      </p:sp>
      <p:sp>
        <p:nvSpPr>
          <p:cNvPr id="18" name="TextBox 17">
            <a:extLst>
              <a:ext uri="{FF2B5EF4-FFF2-40B4-BE49-F238E27FC236}">
                <a16:creationId xmlns:a16="http://schemas.microsoft.com/office/drawing/2014/main" id="{DAE01293-DAAA-6684-6155-98C12115AC30}"/>
              </a:ext>
            </a:extLst>
          </p:cNvPr>
          <p:cNvSpPr txBox="1"/>
          <p:nvPr/>
        </p:nvSpPr>
        <p:spPr>
          <a:xfrm>
            <a:off x="8134895" y="3166272"/>
            <a:ext cx="2400046" cy="415498"/>
          </a:xfrm>
          <a:prstGeom prst="rect">
            <a:avLst/>
          </a:prstGeom>
          <a:noFill/>
        </p:spPr>
        <p:txBody>
          <a:bodyPr wrap="square" rtlCol="0">
            <a:spAutoFit/>
          </a:bodyPr>
          <a:lstStyle/>
          <a:p>
            <a:r>
              <a:rPr lang="en-US" sz="1050" i="1" noProof="0">
                <a:solidFill>
                  <a:schemeClr val="accent6">
                    <a:lumMod val="75000"/>
                  </a:schemeClr>
                </a:solidFill>
                <a:latin typeface="Arial" panose="020B0604020202020204" pitchFamily="34" charset="0"/>
                <a:cs typeface="Arial" panose="020B0604020202020204" pitchFamily="34" charset="0"/>
              </a:rPr>
              <a:t>Once treatment discontinued, </a:t>
            </a:r>
            <a:r>
              <a:rPr lang="en-US" sz="1050" b="1" i="1" noProof="0">
                <a:solidFill>
                  <a:schemeClr val="accent6">
                    <a:lumMod val="75000"/>
                  </a:schemeClr>
                </a:solidFill>
                <a:latin typeface="Arial" panose="020B0604020202020204" pitchFamily="34" charset="0"/>
                <a:cs typeface="Arial" panose="020B0604020202020204" pitchFamily="34" charset="0"/>
              </a:rPr>
              <a:t>96.3% </a:t>
            </a:r>
            <a:r>
              <a:rPr lang="en-US" sz="1050" i="1" noProof="0">
                <a:solidFill>
                  <a:schemeClr val="accent6">
                    <a:lumMod val="75000"/>
                  </a:schemeClr>
                </a:solidFill>
                <a:latin typeface="Arial" panose="020B0604020202020204" pitchFamily="34" charset="0"/>
                <a:cs typeface="Arial" panose="020B0604020202020204" pitchFamily="34" charset="0"/>
              </a:rPr>
              <a:t>saw weight regain after 12 months</a:t>
            </a:r>
            <a:r>
              <a:rPr lang="en-US" sz="1050" i="1" baseline="30000" noProof="0">
                <a:solidFill>
                  <a:schemeClr val="accent6">
                    <a:lumMod val="75000"/>
                  </a:schemeClr>
                </a:solidFill>
                <a:latin typeface="Arial" panose="020B0604020202020204" pitchFamily="34" charset="0"/>
                <a:cs typeface="Arial" panose="020B0604020202020204" pitchFamily="34" charset="0"/>
              </a:rPr>
              <a:t>10</a:t>
            </a:r>
            <a:endParaRPr lang="en-US" sz="1050" i="1" noProof="0">
              <a:solidFill>
                <a:schemeClr val="accent6">
                  <a:lumMod val="75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E4B3559-B333-6E19-D8E8-1B2E007346E6}"/>
              </a:ext>
            </a:extLst>
          </p:cNvPr>
          <p:cNvSpPr txBox="1"/>
          <p:nvPr/>
        </p:nvSpPr>
        <p:spPr>
          <a:xfrm>
            <a:off x="2344102" y="4614851"/>
            <a:ext cx="2983591" cy="430887"/>
          </a:xfrm>
          <a:prstGeom prst="rect">
            <a:avLst/>
          </a:prstGeom>
          <a:noFill/>
        </p:spPr>
        <p:txBody>
          <a:bodyPr wrap="square" rtlCol="0">
            <a:spAutoFit/>
          </a:bodyPr>
          <a:lstStyle/>
          <a:p>
            <a:r>
              <a:rPr lang="en-US" sz="1100" i="1" noProof="0">
                <a:solidFill>
                  <a:schemeClr val="accent2">
                    <a:lumMod val="50000"/>
                  </a:schemeClr>
                </a:solidFill>
                <a:latin typeface="Arial" panose="020B0604020202020204" pitchFamily="34" charset="0"/>
                <a:cs typeface="Arial" panose="020B0604020202020204" pitchFamily="34" charset="0"/>
              </a:rPr>
              <a:t>Weight regain can be seen with all interventions if there are changes in lifestyle</a:t>
            </a:r>
          </a:p>
        </p:txBody>
      </p:sp>
      <p:sp>
        <p:nvSpPr>
          <p:cNvPr id="59" name="TextBox 58">
            <a:extLst>
              <a:ext uri="{FF2B5EF4-FFF2-40B4-BE49-F238E27FC236}">
                <a16:creationId xmlns:a16="http://schemas.microsoft.com/office/drawing/2014/main" id="{9F0AEAB0-3303-70FF-FFE3-A2B7455753E5}"/>
              </a:ext>
            </a:extLst>
          </p:cNvPr>
          <p:cNvSpPr txBox="1"/>
          <p:nvPr/>
        </p:nvSpPr>
        <p:spPr>
          <a:xfrm>
            <a:off x="9115" y="4145465"/>
            <a:ext cx="2391184" cy="307777"/>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accent1">
                    <a:lumMod val="75000"/>
                  </a:schemeClr>
                </a:solidFill>
                <a:effectLst/>
                <a:uLnTx/>
                <a:uFillTx/>
                <a:latin typeface="Arial" panose="020B0604020202020204" pitchFamily="34" charset="0"/>
                <a:cs typeface="Arial" panose="020B0604020202020204" pitchFamily="34" charset="0"/>
              </a:rPr>
              <a:t>Surgery</a:t>
            </a:r>
          </a:p>
        </p:txBody>
      </p:sp>
    </p:spTree>
    <p:custDataLst>
      <p:tags r:id="rId1"/>
    </p:custDataLst>
    <p:extLst>
      <p:ext uri="{BB962C8B-B14F-4D97-AF65-F5344CB8AC3E}">
        <p14:creationId xmlns:p14="http://schemas.microsoft.com/office/powerpoint/2010/main" val="75973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a:xfrm>
            <a:off x="536240" y="414320"/>
            <a:ext cx="4630120" cy="5562000"/>
          </a:xfrm>
        </p:spPr>
        <p:txBody>
          <a:bodyPr/>
          <a:lstStyle/>
          <a:p>
            <a:r>
              <a:rPr lang="en-US" noProof="0"/>
              <a:t>Key </a:t>
            </a:r>
            <a:br>
              <a:rPr lang="en-US" noProof="0"/>
            </a:br>
            <a:r>
              <a:rPr lang="en-US" noProof="0"/>
              <a:t>takeaways</a:t>
            </a:r>
          </a:p>
        </p:txBody>
      </p:sp>
      <p:sp>
        <p:nvSpPr>
          <p:cNvPr id="6" name="Content Placeholder 2">
            <a:extLst>
              <a:ext uri="{FF2B5EF4-FFF2-40B4-BE49-F238E27FC236}">
                <a16:creationId xmlns:a16="http://schemas.microsoft.com/office/drawing/2014/main" id="{2ECFB2DE-0923-470E-9D45-CA95D55105EB}"/>
              </a:ext>
            </a:extLst>
          </p:cNvPr>
          <p:cNvSpPr txBox="1">
            <a:spLocks/>
          </p:cNvSpPr>
          <p:nvPr/>
        </p:nvSpPr>
        <p:spPr>
          <a:xfrm>
            <a:off x="838200" y="1825625"/>
            <a:ext cx="10515600" cy="435133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noProof="0">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A4ED853D-DE4C-D27E-0FCA-4BDF75BB361C}"/>
              </a:ext>
            </a:extLst>
          </p:cNvPr>
          <p:cNvGrpSpPr/>
          <p:nvPr/>
        </p:nvGrpSpPr>
        <p:grpSpPr>
          <a:xfrm>
            <a:off x="6045868" y="418465"/>
            <a:ext cx="5909909" cy="1341521"/>
            <a:chOff x="6045868" y="351790"/>
            <a:chExt cx="5909909"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624571"/>
              <a:ext cx="5259703" cy="923330"/>
            </a:xfrm>
            <a:prstGeom prst="rect">
              <a:avLst/>
            </a:prstGeom>
            <a:noFill/>
          </p:spPr>
          <p:txBody>
            <a:bodyPr wrap="square">
              <a:spAutoFit/>
            </a:bodyPr>
            <a:lstStyle/>
            <a:p>
              <a:r>
                <a:rPr lang="en-US" noProof="0">
                  <a:cs typeface="Arial"/>
                </a:rPr>
                <a:t>The disease of obesity is a </a:t>
              </a:r>
              <a:r>
                <a:rPr lang="en-US" b="1" noProof="0">
                  <a:cs typeface="Arial"/>
                </a:rPr>
                <a:t>chronic</a:t>
              </a:r>
              <a:r>
                <a:rPr lang="en-US" noProof="0">
                  <a:cs typeface="Arial"/>
                </a:rPr>
                <a:t>, </a:t>
              </a:r>
              <a:r>
                <a:rPr lang="en-US" b="1" noProof="0">
                  <a:cs typeface="Arial"/>
                </a:rPr>
                <a:t>progressive</a:t>
              </a:r>
              <a:r>
                <a:rPr lang="en-US" noProof="0">
                  <a:cs typeface="Arial"/>
                </a:rPr>
                <a:t> disorder of appetite and metabolic dysregulation, and not just increased caloric intake</a:t>
              </a:r>
              <a:endParaRPr lang="en-US" noProof="0">
                <a:latin typeface="Arial" panose="020B0604020202020204" pitchFamily="34" charset="0"/>
                <a:cs typeface="Arial" panose="020B0604020202020204" pitchFamily="34" charset="0"/>
              </a:endParaRP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6045868" y="1621690"/>
            <a:ext cx="5736557" cy="1341521"/>
            <a:chOff x="6045868" y="1358262"/>
            <a:chExt cx="5736557" cy="1341521"/>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5" y="1631043"/>
              <a:ext cx="5086350" cy="923330"/>
            </a:xfrm>
            <a:prstGeom prst="rect">
              <a:avLst/>
            </a:prstGeom>
            <a:noFill/>
          </p:spPr>
          <p:txBody>
            <a:bodyPr wrap="square">
              <a:spAutoFit/>
            </a:bodyPr>
            <a:lstStyle/>
            <a:p>
              <a:r>
                <a:rPr lang="en-US" noProof="0">
                  <a:cs typeface="Arial"/>
                </a:rPr>
                <a:t>Obesity involves </a:t>
              </a:r>
              <a:r>
                <a:rPr lang="en-US" b="1" noProof="0">
                  <a:cs typeface="Arial"/>
                </a:rPr>
                <a:t>control processes </a:t>
              </a:r>
              <a:r>
                <a:rPr lang="en-US" noProof="0">
                  <a:cs typeface="Arial"/>
                </a:rPr>
                <a:t>and </a:t>
              </a:r>
              <a:r>
                <a:rPr lang="en-US" b="1" noProof="0">
                  <a:cs typeface="Arial"/>
                </a:rPr>
                <a:t>interactions</a:t>
              </a:r>
              <a:r>
                <a:rPr lang="en-US" noProof="0">
                  <a:cs typeface="Arial"/>
                </a:rPr>
                <a:t> that are more complex than the voluntary accumulation of calories</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6045868" y="2824915"/>
            <a:ext cx="5736557" cy="1341521"/>
            <a:chOff x="6045868" y="2698109"/>
            <a:chExt cx="5736557" cy="1341521"/>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2970890"/>
              <a:ext cx="5086350" cy="923330"/>
            </a:xfrm>
            <a:prstGeom prst="rect">
              <a:avLst/>
            </a:prstGeom>
            <a:noFill/>
          </p:spPr>
          <p:txBody>
            <a:bodyPr wrap="square">
              <a:spAutoFit/>
            </a:bodyPr>
            <a:lstStyle/>
            <a:p>
              <a:r>
                <a:rPr lang="en-US" noProof="0">
                  <a:cs typeface="Arial"/>
                </a:rPr>
                <a:t>Excess </a:t>
              </a:r>
              <a:r>
                <a:rPr lang="en-US" b="1" noProof="0">
                  <a:cs typeface="Arial"/>
                </a:rPr>
                <a:t>adiposity</a:t>
              </a:r>
              <a:r>
                <a:rPr lang="en-US" noProof="0">
                  <a:cs typeface="Arial"/>
                </a:rPr>
                <a:t> and ultimately </a:t>
              </a:r>
              <a:r>
                <a:rPr lang="en-US" b="1" noProof="0">
                  <a:cs typeface="Arial"/>
                </a:rPr>
                <a:t>elevated BMI</a:t>
              </a:r>
              <a:r>
                <a:rPr lang="en-US" noProof="0">
                  <a:cs typeface="Arial"/>
                </a:rPr>
                <a:t>, results from this sustained positive energy balance over time</a:t>
              </a:r>
              <a:endParaRPr lang="en-US" noProof="0">
                <a:latin typeface="Arial" panose="020B0604020202020204" pitchFamily="34" charset="0"/>
                <a:cs typeface="Arial" panose="020B0604020202020204" pitchFamily="34" charset="0"/>
              </a:endParaRPr>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58AAB57F-FA48-29FE-872F-E39AB1AE62A4}"/>
              </a:ext>
            </a:extLst>
          </p:cNvPr>
          <p:cNvGrpSpPr/>
          <p:nvPr/>
        </p:nvGrpSpPr>
        <p:grpSpPr>
          <a:xfrm>
            <a:off x="6045868" y="4028140"/>
            <a:ext cx="5736557" cy="1341521"/>
            <a:chOff x="6045868" y="4037956"/>
            <a:chExt cx="5736557" cy="1341521"/>
          </a:xfrm>
        </p:grpSpPr>
        <p:sp>
          <p:nvSpPr>
            <p:cNvPr id="36" name="TextBox 35">
              <a:extLst>
                <a:ext uri="{FF2B5EF4-FFF2-40B4-BE49-F238E27FC236}">
                  <a16:creationId xmlns:a16="http://schemas.microsoft.com/office/drawing/2014/main" id="{27677DDC-79D5-8D16-005A-7DFF40052823}"/>
                </a:ext>
              </a:extLst>
            </p:cNvPr>
            <p:cNvSpPr txBox="1"/>
            <p:nvPr/>
          </p:nvSpPr>
          <p:spPr>
            <a:xfrm>
              <a:off x="6045868" y="4037956"/>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4</a:t>
              </a:r>
            </a:p>
          </p:txBody>
        </p:sp>
        <p:sp>
          <p:nvSpPr>
            <p:cNvPr id="37" name="TextBox 36">
              <a:extLst>
                <a:ext uri="{FF2B5EF4-FFF2-40B4-BE49-F238E27FC236}">
                  <a16:creationId xmlns:a16="http://schemas.microsoft.com/office/drawing/2014/main" id="{3D8B1CEA-71E6-98BC-5740-5FD21EEB9944}"/>
                </a:ext>
              </a:extLst>
            </p:cNvPr>
            <p:cNvSpPr txBox="1"/>
            <p:nvPr/>
          </p:nvSpPr>
          <p:spPr>
            <a:xfrm>
              <a:off x="6696075" y="4440996"/>
              <a:ext cx="5086350" cy="646331"/>
            </a:xfrm>
            <a:prstGeom prst="rect">
              <a:avLst/>
            </a:prstGeom>
            <a:noFill/>
          </p:spPr>
          <p:txBody>
            <a:bodyPr wrap="square">
              <a:spAutoFit/>
            </a:bodyPr>
            <a:lstStyle/>
            <a:p>
              <a:r>
                <a:rPr lang="en-US" noProof="0">
                  <a:latin typeface="Arial" panose="020B0604020202020204" pitchFamily="34" charset="0"/>
                  <a:cs typeface="Arial" panose="020B0604020202020204" pitchFamily="34" charset="0"/>
                </a:rPr>
                <a:t>Obesity is a </a:t>
              </a:r>
              <a:r>
                <a:rPr lang="en-US" b="1" noProof="0">
                  <a:latin typeface="Arial" panose="020B0604020202020204" pitchFamily="34" charset="0"/>
                  <a:cs typeface="Arial" panose="020B0604020202020204" pitchFamily="34" charset="0"/>
                </a:rPr>
                <a:t>complex interaction </a:t>
              </a:r>
              <a:r>
                <a:rPr lang="en-US" noProof="0">
                  <a:latin typeface="Arial" panose="020B0604020202020204" pitchFamily="34" charset="0"/>
                  <a:cs typeface="Arial" panose="020B0604020202020204" pitchFamily="34" charset="0"/>
                </a:rPr>
                <a:t>among many genetic, biological and environmental factors</a:t>
              </a:r>
            </a:p>
          </p:txBody>
        </p:sp>
        <p:cxnSp>
          <p:nvCxnSpPr>
            <p:cNvPr id="52" name="Straight Connector 51">
              <a:extLst>
                <a:ext uri="{FF2B5EF4-FFF2-40B4-BE49-F238E27FC236}">
                  <a16:creationId xmlns:a16="http://schemas.microsoft.com/office/drawing/2014/main" id="{A9918CF8-254D-CCA7-2B8E-AF8055ED8B40}"/>
                </a:ext>
              </a:extLst>
            </p:cNvPr>
            <p:cNvCxnSpPr>
              <a:cxnSpLocks/>
            </p:cNvCxnSpPr>
            <p:nvPr/>
          </p:nvCxnSpPr>
          <p:spPr>
            <a:xfrm>
              <a:off x="6671129" y="4397897"/>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38E190C-9AA3-60A5-0747-EDB0835D5082}"/>
              </a:ext>
            </a:extLst>
          </p:cNvPr>
          <p:cNvGrpSpPr/>
          <p:nvPr/>
        </p:nvGrpSpPr>
        <p:grpSpPr>
          <a:xfrm>
            <a:off x="6045868" y="5231364"/>
            <a:ext cx="5736557" cy="1341521"/>
            <a:chOff x="6045868" y="5164689"/>
            <a:chExt cx="5736557" cy="1341521"/>
          </a:xfrm>
        </p:grpSpPr>
        <p:sp>
          <p:nvSpPr>
            <p:cNvPr id="38" name="TextBox 37">
              <a:extLst>
                <a:ext uri="{FF2B5EF4-FFF2-40B4-BE49-F238E27FC236}">
                  <a16:creationId xmlns:a16="http://schemas.microsoft.com/office/drawing/2014/main" id="{2C2CE8EA-BA92-2BC7-F073-D29FABB88443}"/>
                </a:ext>
              </a:extLst>
            </p:cNvPr>
            <p:cNvSpPr txBox="1"/>
            <p:nvPr/>
          </p:nvSpPr>
          <p:spPr>
            <a:xfrm>
              <a:off x="6045868" y="5164689"/>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5</a:t>
              </a:r>
            </a:p>
          </p:txBody>
        </p:sp>
        <p:sp>
          <p:nvSpPr>
            <p:cNvPr id="39" name="TextBox 38">
              <a:extLst>
                <a:ext uri="{FF2B5EF4-FFF2-40B4-BE49-F238E27FC236}">
                  <a16:creationId xmlns:a16="http://schemas.microsoft.com/office/drawing/2014/main" id="{A647DCFE-D96B-BAE6-D261-E8A2458DB274}"/>
                </a:ext>
              </a:extLst>
            </p:cNvPr>
            <p:cNvSpPr txBox="1"/>
            <p:nvPr/>
          </p:nvSpPr>
          <p:spPr>
            <a:xfrm>
              <a:off x="6696075" y="5449603"/>
              <a:ext cx="5086350" cy="923330"/>
            </a:xfrm>
            <a:prstGeom prst="rect">
              <a:avLst/>
            </a:prstGeom>
            <a:noFill/>
          </p:spPr>
          <p:txBody>
            <a:bodyPr wrap="square">
              <a:spAutoFit/>
            </a:bodyPr>
            <a:lstStyle/>
            <a:p>
              <a:r>
                <a:rPr lang="en-US" noProof="0">
                  <a:latin typeface="Arial" panose="020B0604020202020204" pitchFamily="34" charset="0"/>
                  <a:cs typeface="Arial" panose="020B0604020202020204" pitchFamily="34" charset="0"/>
                </a:rPr>
                <a:t>This complexity underlies the importance of an </a:t>
              </a:r>
              <a:r>
                <a:rPr lang="en-US" b="1" noProof="0">
                  <a:latin typeface="Arial" panose="020B0604020202020204" pitchFamily="34" charset="0"/>
                  <a:cs typeface="Arial" panose="020B0604020202020204" pitchFamily="34" charset="0"/>
                </a:rPr>
                <a:t>individualized approach </a:t>
              </a:r>
              <a:r>
                <a:rPr lang="en-US" noProof="0">
                  <a:latin typeface="Arial" panose="020B0604020202020204" pitchFamily="34" charset="0"/>
                  <a:cs typeface="Arial" panose="020B0604020202020204" pitchFamily="34" charset="0"/>
                </a:rPr>
                <a:t>for the management of obesity</a:t>
              </a:r>
            </a:p>
          </p:txBody>
        </p:sp>
        <p:cxnSp>
          <p:nvCxnSpPr>
            <p:cNvPr id="53" name="Straight Connector 52">
              <a:extLst>
                <a:ext uri="{FF2B5EF4-FFF2-40B4-BE49-F238E27FC236}">
                  <a16:creationId xmlns:a16="http://schemas.microsoft.com/office/drawing/2014/main" id="{1CCCA1A6-AFD0-44ED-0F4F-FA851C2F0F95}"/>
                </a:ext>
              </a:extLst>
            </p:cNvPr>
            <p:cNvCxnSpPr>
              <a:cxnSpLocks/>
            </p:cNvCxnSpPr>
            <p:nvPr/>
          </p:nvCxnSpPr>
          <p:spPr>
            <a:xfrm>
              <a:off x="6671129" y="5525771"/>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250"/>
                                        <p:tgtEl>
                                          <p:spTgt spid="4"/>
                                        </p:tgtEl>
                                      </p:cBhvr>
                                    </p:animEffect>
                                  </p:childTnLst>
                                </p:cTn>
                              </p:par>
                              <p:par>
                                <p:cTn id="29" presetID="42" presetClass="path" presetSubtype="0" decel="100000" fill="hold" nodeType="withEffect">
                                  <p:stCondLst>
                                    <p:cond delay="0"/>
                                  </p:stCondLst>
                                  <p:childTnLst>
                                    <p:animMotion origin="layout" path="M -3.75E-6 -0.03472 L -3.75E-6 1.85185E-6 " pathEditMode="relative" rAng="0" ptsTypes="AA">
                                      <p:cBhvr>
                                        <p:cTn id="30" dur="500" fill="hold"/>
                                        <p:tgtEl>
                                          <p:spTgt spid="4"/>
                                        </p:tgtEl>
                                        <p:attrNameLst>
                                          <p:attrName>ppt_x</p:attrName>
                                          <p:attrName>ppt_y</p:attrName>
                                        </p:attrNameLst>
                                      </p:cBhvr>
                                      <p:rCtr x="0" y="1736"/>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250"/>
                                        <p:tgtEl>
                                          <p:spTgt spid="3"/>
                                        </p:tgtEl>
                                      </p:cBhvr>
                                    </p:animEffect>
                                  </p:childTnLst>
                                </p:cTn>
                              </p:par>
                              <p:par>
                                <p:cTn id="36" presetID="42" presetClass="path" presetSubtype="0" decel="100000" fill="hold" nodeType="withEffect">
                                  <p:stCondLst>
                                    <p:cond delay="0"/>
                                  </p:stCondLst>
                                  <p:childTnLst>
                                    <p:animMotion origin="layout" path="M -3.75E-6 -0.03472 L -3.75E-6 1.85185E-6 " pathEditMode="relative" rAng="0" ptsTypes="AA">
                                      <p:cBhvr>
                                        <p:cTn id="37"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3C2BE5D-DC57-7918-6CB5-5DD46626BB6E}"/>
              </a:ext>
            </a:extLst>
          </p:cNvPr>
          <p:cNvSpPr/>
          <p:nvPr/>
        </p:nvSpPr>
        <p:spPr>
          <a:xfrm>
            <a:off x="6436631" y="5870225"/>
            <a:ext cx="5029200" cy="429121"/>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4" name="Rectangle: Rounded Corners 3">
            <a:extLst>
              <a:ext uri="{FF2B5EF4-FFF2-40B4-BE49-F238E27FC236}">
                <a16:creationId xmlns:a16="http://schemas.microsoft.com/office/drawing/2014/main" id="{3595518C-83A0-7703-3D8B-3958EB6464D6}"/>
              </a:ext>
            </a:extLst>
          </p:cNvPr>
          <p:cNvSpPr/>
          <p:nvPr/>
        </p:nvSpPr>
        <p:spPr>
          <a:xfrm>
            <a:off x="6436632" y="3932023"/>
            <a:ext cx="731520" cy="223734"/>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3" name="Rectangle: Rounded Corners 2">
            <a:extLst>
              <a:ext uri="{FF2B5EF4-FFF2-40B4-BE49-F238E27FC236}">
                <a16:creationId xmlns:a16="http://schemas.microsoft.com/office/drawing/2014/main" id="{9D16790F-A0C5-8FDD-A2A6-F29D0C7A6E26}"/>
              </a:ext>
            </a:extLst>
          </p:cNvPr>
          <p:cNvSpPr/>
          <p:nvPr/>
        </p:nvSpPr>
        <p:spPr>
          <a:xfrm>
            <a:off x="6436632" y="1766453"/>
            <a:ext cx="3114300" cy="223734"/>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a:xfrm>
            <a:off x="2466108" y="414320"/>
            <a:ext cx="2700251" cy="5562000"/>
          </a:xfrm>
        </p:spPr>
        <p:txBody>
          <a:bodyPr/>
          <a:lstStyle/>
          <a:p>
            <a:r>
              <a:rPr lang="en-US" noProof="0">
                <a:latin typeface="Arial"/>
                <a:cs typeface="Arial"/>
              </a:rPr>
              <a:t>Assessments</a:t>
            </a:r>
          </a:p>
        </p:txBody>
      </p:sp>
      <p:sp>
        <p:nvSpPr>
          <p:cNvPr id="5" name="Content Placeholder 4">
            <a:extLst>
              <a:ext uri="{FF2B5EF4-FFF2-40B4-BE49-F238E27FC236}">
                <a16:creationId xmlns:a16="http://schemas.microsoft.com/office/drawing/2014/main" id="{917ADC10-BBA5-D2E6-C3B4-1CA02B9B0AED}"/>
              </a:ext>
            </a:extLst>
          </p:cNvPr>
          <p:cNvSpPr>
            <a:spLocks noGrp="1"/>
          </p:cNvSpPr>
          <p:nvPr>
            <p:ph idx="1"/>
          </p:nvPr>
        </p:nvSpPr>
        <p:spPr>
          <a:xfrm>
            <a:off x="6483050" y="768591"/>
            <a:ext cx="5577840" cy="5562000"/>
          </a:xfrm>
        </p:spPr>
        <p:txBody>
          <a:bodyPr/>
          <a:lstStyle/>
          <a:p>
            <a:pPr marL="0" indent="0">
              <a:lnSpc>
                <a:spcPct val="107000"/>
              </a:lnSpc>
              <a:spcAft>
                <a:spcPts val="800"/>
              </a:spcAft>
              <a:buNone/>
            </a:pPr>
            <a:r>
              <a:rPr lang="en-US" sz="1200" b="1" noProof="0" dirty="0">
                <a:latin typeface="Arial" panose="020B0604020202020204" pitchFamily="34" charset="0"/>
                <a:ea typeface="Calibri" panose="020F0502020204030204" pitchFamily="34" charset="0"/>
                <a:cs typeface="Arial" panose="020B0604020202020204" pitchFamily="34" charset="0"/>
              </a:rPr>
              <a:t>According to the Endocrine Society Pathogenesis Statement (2017), </a:t>
            </a:r>
            <a:br>
              <a:rPr lang="en-US" sz="1200" b="1" noProof="0" dirty="0">
                <a:latin typeface="Arial" panose="020B0604020202020204" pitchFamily="34" charset="0"/>
                <a:ea typeface="Calibri" panose="020F0502020204030204" pitchFamily="34" charset="0"/>
                <a:cs typeface="Arial" panose="020B0604020202020204" pitchFamily="34" charset="0"/>
              </a:rPr>
            </a:br>
            <a:r>
              <a:rPr lang="en-US" sz="1200" b="1" noProof="0" dirty="0">
                <a:latin typeface="Arial" panose="020B0604020202020204" pitchFamily="34" charset="0"/>
                <a:ea typeface="Calibri" panose="020F0502020204030204" pitchFamily="34" charset="0"/>
                <a:cs typeface="Arial" panose="020B0604020202020204" pitchFamily="34" charset="0"/>
              </a:rPr>
              <a:t>obesity is defined as a chronic progressive disease resulting </a:t>
            </a:r>
            <a:br>
              <a:rPr lang="en-US" sz="1200" b="1" noProof="0" dirty="0">
                <a:latin typeface="Arial" panose="020B0604020202020204" pitchFamily="34" charset="0"/>
                <a:ea typeface="Calibri" panose="020F0502020204030204" pitchFamily="34" charset="0"/>
                <a:cs typeface="Arial" panose="020B0604020202020204" pitchFamily="34" charset="0"/>
              </a:rPr>
            </a:br>
            <a:r>
              <a:rPr lang="en-US" sz="1200" b="1" noProof="0" dirty="0">
                <a:latin typeface="Arial" panose="020B0604020202020204" pitchFamily="34" charset="0"/>
                <a:ea typeface="Calibri" panose="020F0502020204030204" pitchFamily="34" charset="0"/>
                <a:cs typeface="Arial" panose="020B0604020202020204" pitchFamily="34" charset="0"/>
              </a:rPr>
              <a:t>in excess body fat as a result of which of the following?</a:t>
            </a:r>
          </a:p>
          <a:p>
            <a:pPr marL="247650" lvl="1" indent="-247650">
              <a:lnSpc>
                <a:spcPct val="107000"/>
              </a:lnSpc>
              <a:buFont typeface="+mj-lt"/>
              <a:buAutoNum type="alphaLcPeriod"/>
            </a:pPr>
            <a:r>
              <a:rPr lang="en-US" sz="1200" noProof="0" dirty="0">
                <a:latin typeface="Arial" panose="020B0604020202020204" pitchFamily="34" charset="0"/>
                <a:ea typeface="Calibri" panose="020F0502020204030204" pitchFamily="34" charset="0"/>
                <a:cs typeface="Arial" panose="020B0604020202020204" pitchFamily="34" charset="0"/>
              </a:rPr>
              <a:t>Poor self-control and lack of will power</a:t>
            </a:r>
          </a:p>
          <a:p>
            <a:pPr marL="247650" lvl="1" indent="-247650">
              <a:lnSpc>
                <a:spcPct val="107000"/>
              </a:lnSpc>
              <a:buFont typeface="+mj-lt"/>
              <a:buAutoNum type="alphaLcPeriod"/>
            </a:pPr>
            <a:r>
              <a:rPr lang="en-US" sz="1200" noProof="0" dirty="0">
                <a:latin typeface="Arial" panose="020B0604020202020204" pitchFamily="34" charset="0"/>
                <a:ea typeface="Calibri" panose="020F0502020204030204" pitchFamily="34" charset="0"/>
                <a:cs typeface="Arial" panose="020B0604020202020204" pitchFamily="34" charset="0"/>
              </a:rPr>
              <a:t>Disordered energy homeostasis system</a:t>
            </a:r>
          </a:p>
          <a:p>
            <a:pPr marL="247650" lvl="1" indent="-247650">
              <a:lnSpc>
                <a:spcPct val="107000"/>
              </a:lnSpc>
              <a:buFont typeface="+mj-lt"/>
              <a:buAutoNum type="alphaLcPeriod"/>
            </a:pPr>
            <a:r>
              <a:rPr lang="en-US" sz="1200" noProof="0" dirty="0">
                <a:latin typeface="Arial" panose="020B0604020202020204" pitchFamily="34" charset="0"/>
                <a:ea typeface="Calibri" panose="020F0502020204030204" pitchFamily="34" charset="0"/>
                <a:cs typeface="Arial" panose="020B0604020202020204" pitchFamily="34" charset="0"/>
              </a:rPr>
              <a:t>Voluntary food choices</a:t>
            </a:r>
          </a:p>
          <a:p>
            <a:pPr marL="247650" lvl="1" indent="-247650">
              <a:lnSpc>
                <a:spcPct val="107000"/>
              </a:lnSpc>
              <a:spcAft>
                <a:spcPts val="2000"/>
              </a:spcAft>
              <a:buFont typeface="+mj-lt"/>
              <a:buAutoNum type="alphaLcPeriod"/>
            </a:pPr>
            <a:r>
              <a:rPr lang="en-US" sz="1200" noProof="0" dirty="0">
                <a:latin typeface="Arial" panose="020B0604020202020204" pitchFamily="34" charset="0"/>
                <a:ea typeface="Calibri" panose="020F0502020204030204" pitchFamily="34" charset="0"/>
                <a:cs typeface="Arial" panose="020B0604020202020204" pitchFamily="34" charset="0"/>
              </a:rPr>
              <a:t>Genetic and environmental factors</a:t>
            </a:r>
          </a:p>
          <a:p>
            <a:pPr marL="0" indent="0">
              <a:lnSpc>
                <a:spcPct val="107000"/>
              </a:lnSpc>
              <a:spcAft>
                <a:spcPts val="800"/>
              </a:spcAft>
              <a:buNone/>
            </a:pPr>
            <a:r>
              <a:rPr lang="en-US" sz="1200" b="1" noProof="0" dirty="0">
                <a:latin typeface="Arial" panose="020B0604020202020204" pitchFamily="34" charset="0"/>
                <a:ea typeface="Calibri" panose="020F0502020204030204" pitchFamily="34" charset="0"/>
                <a:cs typeface="Arial" panose="020B0604020202020204" pitchFamily="34" charset="0"/>
              </a:rPr>
              <a:t>Lois has a BMI of 28 kg/m</a:t>
            </a:r>
            <a:r>
              <a:rPr lang="en-US" sz="1200" b="1" baseline="30000" noProof="0" dirty="0">
                <a:latin typeface="Arial" panose="020B0604020202020204" pitchFamily="34" charset="0"/>
                <a:ea typeface="Calibri" panose="020F0502020204030204" pitchFamily="34" charset="0"/>
                <a:cs typeface="Arial" panose="020B0604020202020204" pitchFamily="34" charset="0"/>
              </a:rPr>
              <a:t>2</a:t>
            </a:r>
            <a:r>
              <a:rPr lang="en-US" sz="1200" b="1" dirty="0">
                <a:latin typeface="Arial" panose="020B0604020202020204" pitchFamily="34" charset="0"/>
                <a:ea typeface="Calibri" panose="020F0502020204030204" pitchFamily="34" charset="0"/>
                <a:cs typeface="Arial" panose="020B0604020202020204" pitchFamily="34" charset="0"/>
              </a:rPr>
              <a:t> and </a:t>
            </a:r>
            <a:r>
              <a:rPr lang="en-US" sz="1200" b="1" noProof="0" dirty="0">
                <a:latin typeface="Arial" panose="020B0604020202020204" pitchFamily="34" charset="0"/>
                <a:ea typeface="Calibri" panose="020F0502020204030204" pitchFamily="34" charset="0"/>
                <a:cs typeface="Arial" panose="020B0604020202020204" pitchFamily="34" charset="0"/>
              </a:rPr>
              <a:t>has prediabetes. She aims to lose 14 </a:t>
            </a:r>
            <a:r>
              <a:rPr lang="en-US" sz="1200" b="1" dirty="0">
                <a:latin typeface="Arial" panose="020B0604020202020204" pitchFamily="34" charset="0"/>
                <a:ea typeface="Calibri" panose="020F0502020204030204" pitchFamily="34" charset="0"/>
                <a:cs typeface="Arial" panose="020B0604020202020204" pitchFamily="34" charset="0"/>
              </a:rPr>
              <a:t>lbs</a:t>
            </a:r>
            <a:r>
              <a:rPr lang="en-US" sz="1200" b="1" noProof="0" dirty="0">
                <a:latin typeface="Arial" panose="020B0604020202020204" pitchFamily="34" charset="0"/>
                <a:ea typeface="Calibri" panose="020F0502020204030204" pitchFamily="34" charset="0"/>
                <a:cs typeface="Arial" panose="020B0604020202020204" pitchFamily="34" charset="0"/>
              </a:rPr>
              <a:t> to reduce her risk of type 2 diabetes. Her physician recommends a reduced calorie diet and exercise plan to reduce weight. According to treatment guidelines, is </a:t>
            </a:r>
            <a:r>
              <a:rPr lang="en-US" sz="1200" b="1" dirty="0">
                <a:latin typeface="Arial" panose="020B0604020202020204" pitchFamily="34" charset="0"/>
                <a:ea typeface="Calibri" panose="020F0502020204030204" pitchFamily="34" charset="0"/>
                <a:cs typeface="Arial" panose="020B0604020202020204" pitchFamily="34" charset="0"/>
              </a:rPr>
              <a:t>a pharmacological intervention also be advisable for Lois?</a:t>
            </a:r>
            <a:endParaRPr lang="en-US" sz="1200" b="1" noProof="0" dirty="0">
              <a:latin typeface="Arial" panose="020B0604020202020204" pitchFamily="34" charset="0"/>
              <a:ea typeface="Calibri" panose="020F0502020204030204" pitchFamily="34" charset="0"/>
              <a:cs typeface="Arial" panose="020B0604020202020204" pitchFamily="34" charset="0"/>
            </a:endParaRPr>
          </a:p>
          <a:p>
            <a:pPr marL="247650" lvl="1" indent="-247650">
              <a:lnSpc>
                <a:spcPct val="107000"/>
              </a:lnSpc>
              <a:buFont typeface="+mj-lt"/>
              <a:buAutoNum type="alphaLcPeriod"/>
            </a:pPr>
            <a:r>
              <a:rPr lang="en-US" sz="1200" noProof="0" dirty="0">
                <a:latin typeface="Arial" panose="020B0604020202020204" pitchFamily="34" charset="0"/>
                <a:cs typeface="Arial" panose="020B0604020202020204" pitchFamily="34" charset="0"/>
              </a:rPr>
              <a:t>Yes</a:t>
            </a:r>
          </a:p>
          <a:p>
            <a:pPr marL="247650" lvl="1" indent="-247650">
              <a:lnSpc>
                <a:spcPct val="107000"/>
              </a:lnSpc>
              <a:spcAft>
                <a:spcPts val="2000"/>
              </a:spcAft>
              <a:buFont typeface="+mj-lt"/>
              <a:buAutoNum type="alphaLcPeriod"/>
            </a:pPr>
            <a:r>
              <a:rPr lang="en-US" sz="1200" noProof="0" dirty="0">
                <a:latin typeface="Arial" panose="020B0604020202020204" pitchFamily="34" charset="0"/>
                <a:cs typeface="Arial" panose="020B0604020202020204" pitchFamily="34" charset="0"/>
              </a:rPr>
              <a:t>No</a:t>
            </a:r>
            <a:endParaRPr lang="en-US" sz="1200" b="1" noProof="0" dirty="0">
              <a:latin typeface="Arial" panose="020B0604020202020204" pitchFamily="34" charset="0"/>
              <a:cs typeface="Arial" panose="020B0604020202020204" pitchFamily="34" charset="0"/>
            </a:endParaRPr>
          </a:p>
          <a:p>
            <a:pPr marL="0" indent="0">
              <a:lnSpc>
                <a:spcPct val="107000"/>
              </a:lnSpc>
              <a:spcAft>
                <a:spcPts val="800"/>
              </a:spcAft>
              <a:buNone/>
            </a:pPr>
            <a:r>
              <a:rPr lang="en-US" sz="1200" b="1" noProof="0" dirty="0">
                <a:latin typeface="Arial" panose="020B0604020202020204" pitchFamily="34" charset="0"/>
                <a:cs typeface="Arial" panose="020B0604020202020204" pitchFamily="34" charset="0"/>
              </a:rPr>
              <a:t>Which of the following statements is true </a:t>
            </a:r>
            <a:br>
              <a:rPr lang="en-US" sz="1200" b="1" noProof="0" dirty="0">
                <a:latin typeface="Arial" panose="020B0604020202020204" pitchFamily="34" charset="0"/>
                <a:cs typeface="Arial" panose="020B0604020202020204" pitchFamily="34" charset="0"/>
              </a:rPr>
            </a:br>
            <a:r>
              <a:rPr lang="en-US" sz="1200" b="1" noProof="0" dirty="0">
                <a:latin typeface="Arial" panose="020B0604020202020204" pitchFamily="34" charset="0"/>
                <a:cs typeface="Arial" panose="020B0604020202020204" pitchFamily="34" charset="0"/>
              </a:rPr>
              <a:t>with regards to BMI as a form of </a:t>
            </a:r>
            <a:br>
              <a:rPr lang="en-US" sz="1200" b="1" noProof="0" dirty="0">
                <a:latin typeface="Arial" panose="020B0604020202020204" pitchFamily="34" charset="0"/>
                <a:cs typeface="Arial" panose="020B0604020202020204" pitchFamily="34" charset="0"/>
              </a:rPr>
            </a:br>
            <a:r>
              <a:rPr lang="en-US" sz="1200" b="1" noProof="0" dirty="0">
                <a:latin typeface="Arial" panose="020B0604020202020204" pitchFamily="34" charset="0"/>
                <a:cs typeface="Arial" panose="020B0604020202020204" pitchFamily="34" charset="0"/>
              </a:rPr>
              <a:t>assessment for obesity?</a:t>
            </a:r>
          </a:p>
          <a:p>
            <a:pPr marL="247650" lvl="1" indent="-247650">
              <a:lnSpc>
                <a:spcPct val="107000"/>
              </a:lnSpc>
              <a:buFont typeface="+mj-lt"/>
              <a:buAutoNum type="alphaLcPeriod"/>
            </a:pPr>
            <a:r>
              <a:rPr lang="en-US" sz="1200" noProof="0" dirty="0">
                <a:latin typeface="Arial" panose="020B0604020202020204" pitchFamily="34" charset="0"/>
                <a:cs typeface="Arial" panose="020B0604020202020204" pitchFamily="34" charset="0"/>
              </a:rPr>
              <a:t>BMI is accurate at representing visceral fat content</a:t>
            </a:r>
          </a:p>
          <a:p>
            <a:pPr marL="247650" lvl="1" indent="-247650">
              <a:lnSpc>
                <a:spcPct val="107000"/>
              </a:lnSpc>
              <a:buFont typeface="+mj-lt"/>
              <a:buAutoNum type="alphaLcPeriod"/>
            </a:pPr>
            <a:r>
              <a:rPr lang="en-US" sz="1200" noProof="0" dirty="0">
                <a:latin typeface="Arial" panose="020B0604020202020204" pitchFamily="34" charset="0"/>
                <a:cs typeface="Arial" panose="020B0604020202020204" pitchFamily="34" charset="0"/>
              </a:rPr>
              <a:t>BMI is a better predictor of mortality than EOSS staging system</a:t>
            </a:r>
          </a:p>
          <a:p>
            <a:pPr marL="247650" lvl="1" indent="-247650">
              <a:lnSpc>
                <a:spcPct val="107000"/>
              </a:lnSpc>
              <a:buFont typeface="+mj-lt"/>
              <a:buAutoNum type="alphaLcPeriod"/>
            </a:pPr>
            <a:r>
              <a:rPr lang="en-US" sz="1200" noProof="0" dirty="0">
                <a:latin typeface="Arial" panose="020B0604020202020204" pitchFamily="34" charset="0"/>
                <a:cs typeface="Arial" panose="020B0604020202020204" pitchFamily="34" charset="0"/>
              </a:rPr>
              <a:t>BMI considers factors like age, sex, and ethnicity</a:t>
            </a:r>
          </a:p>
          <a:p>
            <a:pPr marL="247650" lvl="1" indent="-247650">
              <a:lnSpc>
                <a:spcPct val="107000"/>
              </a:lnSpc>
              <a:spcAft>
                <a:spcPts val="800"/>
              </a:spcAft>
              <a:buFont typeface="+mj-lt"/>
              <a:buAutoNum type="alphaLcPeriod"/>
            </a:pPr>
            <a:r>
              <a:rPr lang="en-US" sz="1200" noProof="0" dirty="0">
                <a:latin typeface="Arial" panose="020B0604020202020204" pitchFamily="34" charset="0"/>
                <a:cs typeface="Arial" panose="020B0604020202020204" pitchFamily="34" charset="0"/>
              </a:rPr>
              <a:t>BMI provides more accurate measurements across populations than individuals</a:t>
            </a:r>
            <a:endParaRPr lang="en-US" noProof="0" dirty="0"/>
          </a:p>
        </p:txBody>
      </p:sp>
      <p:sp>
        <p:nvSpPr>
          <p:cNvPr id="6" name="Content Placeholder 2">
            <a:extLst>
              <a:ext uri="{FF2B5EF4-FFF2-40B4-BE49-F238E27FC236}">
                <a16:creationId xmlns:a16="http://schemas.microsoft.com/office/drawing/2014/main" id="{2ECFB2DE-0923-470E-9D45-CA95D55105EB}"/>
              </a:ext>
            </a:extLst>
          </p:cNvPr>
          <p:cNvSpPr txBox="1">
            <a:spLocks/>
          </p:cNvSpPr>
          <p:nvPr/>
        </p:nvSpPr>
        <p:spPr>
          <a:xfrm>
            <a:off x="838200" y="1825625"/>
            <a:ext cx="10515600"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7000"/>
              </a:lnSpc>
              <a:spcAft>
                <a:spcPts val="800"/>
              </a:spcAft>
              <a:buFont typeface="+mj-lt"/>
              <a:buAutoNum type="arabicPeriod"/>
            </a:pPr>
            <a:endParaRPr lang="en-US" sz="1200" noProof="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8EBC8B0E-AAF1-5EC6-8DD2-D57AFBCC7EB3}"/>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3" name="Graphic 12">
            <a:extLst>
              <a:ext uri="{FF2B5EF4-FFF2-40B4-BE49-F238E27FC236}">
                <a16:creationId xmlns:a16="http://schemas.microsoft.com/office/drawing/2014/main" id="{716F5E14-5B47-C648-0538-FA9F2CD3E4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15" name="TextBox 14">
            <a:extLst>
              <a:ext uri="{FF2B5EF4-FFF2-40B4-BE49-F238E27FC236}">
                <a16:creationId xmlns:a16="http://schemas.microsoft.com/office/drawing/2014/main" id="{A1BBFE63-60B8-5B37-0AE1-CD8B7F8EF577}"/>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1</a:t>
            </a:r>
          </a:p>
        </p:txBody>
      </p:sp>
      <p:sp>
        <p:nvSpPr>
          <p:cNvPr id="19" name="TextBox 18">
            <a:extLst>
              <a:ext uri="{FF2B5EF4-FFF2-40B4-BE49-F238E27FC236}">
                <a16:creationId xmlns:a16="http://schemas.microsoft.com/office/drawing/2014/main" id="{C1D12AF6-7C0C-989A-5FDE-92C60D32EE06}"/>
              </a:ext>
            </a:extLst>
          </p:cNvPr>
          <p:cNvSpPr txBox="1"/>
          <p:nvPr/>
        </p:nvSpPr>
        <p:spPr>
          <a:xfrm>
            <a:off x="5779167" y="2424936"/>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2</a:t>
            </a:r>
          </a:p>
        </p:txBody>
      </p:sp>
      <p:cxnSp>
        <p:nvCxnSpPr>
          <p:cNvPr id="21" name="Straight Connector 20">
            <a:extLst>
              <a:ext uri="{FF2B5EF4-FFF2-40B4-BE49-F238E27FC236}">
                <a16:creationId xmlns:a16="http://schemas.microsoft.com/office/drawing/2014/main" id="{3E97F425-C8D3-91DA-924D-7477A457DF72}"/>
              </a:ext>
            </a:extLst>
          </p:cNvPr>
          <p:cNvCxnSpPr>
            <a:cxnSpLocks/>
          </p:cNvCxnSpPr>
          <p:nvPr/>
        </p:nvCxnSpPr>
        <p:spPr>
          <a:xfrm>
            <a:off x="6385833" y="2787444"/>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8AD9C77-91A5-F376-4FBA-CA37168ABE3B}"/>
              </a:ext>
            </a:extLst>
          </p:cNvPr>
          <p:cNvSpPr txBox="1"/>
          <p:nvPr/>
        </p:nvSpPr>
        <p:spPr>
          <a:xfrm>
            <a:off x="5779167" y="39401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25" name="Straight Connector 24">
            <a:extLst>
              <a:ext uri="{FF2B5EF4-FFF2-40B4-BE49-F238E27FC236}">
                <a16:creationId xmlns:a16="http://schemas.microsoft.com/office/drawing/2014/main" id="{E4492AC5-C75D-FFD2-B634-711B0AFBF95B}"/>
              </a:ext>
            </a:extLst>
          </p:cNvPr>
          <p:cNvCxnSpPr>
            <a:cxnSpLocks/>
          </p:cNvCxnSpPr>
          <p:nvPr/>
        </p:nvCxnSpPr>
        <p:spPr>
          <a:xfrm>
            <a:off x="6385833" y="428880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DEC51F2-6506-53D6-E567-E170EE8716D0}"/>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291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2AB13-8683-4622-AEA7-DA40B7BE71AD}"/>
              </a:ext>
            </a:extLst>
          </p:cNvPr>
          <p:cNvSpPr>
            <a:spLocks noGrp="1"/>
          </p:cNvSpPr>
          <p:nvPr>
            <p:ph type="title"/>
          </p:nvPr>
        </p:nvSpPr>
        <p:spPr>
          <a:xfrm>
            <a:off x="536575" y="414338"/>
            <a:ext cx="4629150" cy="5562600"/>
          </a:xfrm>
        </p:spPr>
        <p:txBody>
          <a:bodyPr/>
          <a:lstStyle/>
          <a:p>
            <a:r>
              <a:rPr lang="en-US" noProof="0"/>
              <a:t>Learning </a:t>
            </a:r>
            <a:br>
              <a:rPr lang="en-US" noProof="0"/>
            </a:br>
            <a:r>
              <a:rPr lang="en-US" noProof="0"/>
              <a:t>outcomes</a:t>
            </a:r>
          </a:p>
        </p:txBody>
      </p:sp>
      <p:sp>
        <p:nvSpPr>
          <p:cNvPr id="3" name="Content Placeholder 2">
            <a:extLst>
              <a:ext uri="{FF2B5EF4-FFF2-40B4-BE49-F238E27FC236}">
                <a16:creationId xmlns:a16="http://schemas.microsoft.com/office/drawing/2014/main" id="{1F6CE65F-98DF-4926-A6D4-5E7171D0ECA2}"/>
              </a:ext>
            </a:extLst>
          </p:cNvPr>
          <p:cNvSpPr>
            <a:spLocks noGrp="1"/>
          </p:cNvSpPr>
          <p:nvPr>
            <p:ph idx="1"/>
          </p:nvPr>
        </p:nvSpPr>
        <p:spPr>
          <a:xfrm>
            <a:off x="6096000" y="414320"/>
            <a:ext cx="5577840" cy="5562000"/>
          </a:xfrm>
        </p:spPr>
        <p:txBody>
          <a:bodyPr/>
          <a:lstStyle/>
          <a:p>
            <a:pPr marL="0" indent="0">
              <a:spcAft>
                <a:spcPts val="1800"/>
              </a:spcAft>
              <a:buNone/>
            </a:pPr>
            <a:r>
              <a:rPr lang="en-US" noProof="0"/>
              <a:t>After completing this module, </a:t>
            </a:r>
            <a:br>
              <a:rPr lang="en-US" noProof="0"/>
            </a:br>
            <a:r>
              <a:rPr lang="en-US" noProof="0"/>
              <a:t>the learner will be able to:</a:t>
            </a:r>
          </a:p>
          <a:p>
            <a:pPr marL="746125" lvl="1" indent="-6350">
              <a:spcAft>
                <a:spcPts val="1800"/>
              </a:spcAft>
              <a:buNone/>
            </a:pPr>
            <a:r>
              <a:rPr lang="en-US" noProof="0"/>
              <a:t>Describe obesity as a serious and progressive chronic disease with an emphasis on energy imbalance</a:t>
            </a:r>
          </a:p>
          <a:p>
            <a:pPr marL="746125" lvl="1" indent="-6350">
              <a:spcAft>
                <a:spcPts val="1800"/>
              </a:spcAft>
              <a:buNone/>
            </a:pPr>
            <a:r>
              <a:rPr lang="en-US" noProof="0"/>
              <a:t>Illustrate knowledge of the epidemiology of obesity and identify factors contributing to increased risk of obesity over time</a:t>
            </a:r>
          </a:p>
          <a:p>
            <a:pPr marL="746125" lvl="1" indent="-6350">
              <a:buNone/>
            </a:pPr>
            <a:r>
              <a:rPr lang="en-US" noProof="0"/>
              <a:t>State the unmet need for patients </a:t>
            </a:r>
            <a:br>
              <a:rPr lang="en-US" noProof="0"/>
            </a:br>
            <a:r>
              <a:rPr lang="en-US" noProof="0"/>
              <a:t>with obesity</a:t>
            </a:r>
            <a:br>
              <a:rPr lang="en-US" noProof="0"/>
            </a:br>
            <a:endParaRPr lang="en-US" noProof="0"/>
          </a:p>
          <a:p>
            <a:endParaRPr lang="en-US" noProof="0"/>
          </a:p>
        </p:txBody>
      </p:sp>
      <p:pic>
        <p:nvPicPr>
          <p:cNvPr id="21" name="Graphic 20">
            <a:extLst>
              <a:ext uri="{FF2B5EF4-FFF2-40B4-BE49-F238E27FC236}">
                <a16:creationId xmlns:a16="http://schemas.microsoft.com/office/drawing/2014/main" id="{C777F1D0-303A-1714-5227-F7C516DE48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1540" y="5455894"/>
            <a:ext cx="271325" cy="274759"/>
          </a:xfrm>
          <a:prstGeom prst="rect">
            <a:avLst/>
          </a:prstGeom>
        </p:spPr>
      </p:pic>
      <p:sp>
        <p:nvSpPr>
          <p:cNvPr id="22" name="TextBox 21">
            <a:extLst>
              <a:ext uri="{FF2B5EF4-FFF2-40B4-BE49-F238E27FC236}">
                <a16:creationId xmlns:a16="http://schemas.microsoft.com/office/drawing/2014/main" id="{E6F782F0-7BCA-E947-990A-3ED3582BD391}"/>
              </a:ext>
            </a:extLst>
          </p:cNvPr>
          <p:cNvSpPr txBox="1"/>
          <p:nvPr/>
        </p:nvSpPr>
        <p:spPr>
          <a:xfrm>
            <a:off x="6460790" y="54326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a:t>Estimated time to complete: </a:t>
            </a:r>
            <a:r>
              <a:rPr lang="en-US" sz="1400" b="1" noProof="0"/>
              <a:t>15</a:t>
            </a:r>
            <a:r>
              <a:rPr lang="en-US" sz="1400" noProof="0"/>
              <a:t> min</a:t>
            </a:r>
          </a:p>
        </p:txBody>
      </p:sp>
      <p:cxnSp>
        <p:nvCxnSpPr>
          <p:cNvPr id="24" name="Straight Connector 23">
            <a:extLst>
              <a:ext uri="{FF2B5EF4-FFF2-40B4-BE49-F238E27FC236}">
                <a16:creationId xmlns:a16="http://schemas.microsoft.com/office/drawing/2014/main" id="{AB8AA1BB-710B-C3C6-78F2-2150D7961511}"/>
              </a:ext>
            </a:extLst>
          </p:cNvPr>
          <p:cNvCxnSpPr/>
          <p:nvPr/>
        </p:nvCxnSpPr>
        <p:spPr>
          <a:xfrm>
            <a:off x="6103920" y="5265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C03D86D-1DAA-E76D-2509-2200952F7307}"/>
              </a:ext>
            </a:extLst>
          </p:cNvPr>
          <p:cNvCxnSpPr/>
          <p:nvPr/>
        </p:nvCxnSpPr>
        <p:spPr>
          <a:xfrm>
            <a:off x="6103920" y="58750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942F8F75-8D24-B7A0-4D81-7F4435FC2BF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2072283"/>
            <a:ext cx="683952" cy="683952"/>
          </a:xfrm>
          <a:prstGeom prst="rect">
            <a:avLst/>
          </a:prstGeom>
        </p:spPr>
      </p:pic>
      <p:pic>
        <p:nvPicPr>
          <p:cNvPr id="5" name="Graphic 4">
            <a:extLst>
              <a:ext uri="{FF2B5EF4-FFF2-40B4-BE49-F238E27FC236}">
                <a16:creationId xmlns:a16="http://schemas.microsoft.com/office/drawing/2014/main" id="{898D7D9B-5D59-0E6E-B098-1B7AA38EE3F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3123160"/>
            <a:ext cx="683952" cy="683952"/>
          </a:xfrm>
          <a:prstGeom prst="rect">
            <a:avLst/>
          </a:prstGeom>
        </p:spPr>
      </p:pic>
      <p:pic>
        <p:nvPicPr>
          <p:cNvPr id="6" name="Graphic 5">
            <a:extLst>
              <a:ext uri="{FF2B5EF4-FFF2-40B4-BE49-F238E27FC236}">
                <a16:creationId xmlns:a16="http://schemas.microsoft.com/office/drawing/2014/main" id="{DA9BCA09-F3FE-B615-5948-55DA9E330AC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4058574"/>
            <a:ext cx="683952" cy="683952"/>
          </a:xfrm>
          <a:prstGeom prst="rect">
            <a:avLst/>
          </a:prstGeom>
        </p:spPr>
      </p:pic>
    </p:spTree>
    <p:extLst>
      <p:ext uri="{BB962C8B-B14F-4D97-AF65-F5344CB8AC3E}">
        <p14:creationId xmlns:p14="http://schemas.microsoft.com/office/powerpoint/2010/main" val="356444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214C44B0-75B0-0EDD-784F-377DBFEAF1AD}"/>
              </a:ext>
            </a:extLst>
          </p:cNvPr>
          <p:cNvSpPr/>
          <p:nvPr/>
        </p:nvSpPr>
        <p:spPr>
          <a:xfrm>
            <a:off x="0" y="1717964"/>
            <a:ext cx="12192000" cy="3581400"/>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4" name="Title 33">
            <a:extLst>
              <a:ext uri="{FF2B5EF4-FFF2-40B4-BE49-F238E27FC236}">
                <a16:creationId xmlns:a16="http://schemas.microsoft.com/office/drawing/2014/main" id="{3F80901D-529B-4353-2209-46A494B7678F}"/>
              </a:ext>
            </a:extLst>
          </p:cNvPr>
          <p:cNvSpPr>
            <a:spLocks noGrp="1"/>
          </p:cNvSpPr>
          <p:nvPr>
            <p:ph type="title"/>
          </p:nvPr>
        </p:nvSpPr>
        <p:spPr>
          <a:xfrm>
            <a:off x="536240" y="414320"/>
            <a:ext cx="10896000" cy="1082209"/>
          </a:xfrm>
        </p:spPr>
        <p:txBody>
          <a:bodyPr/>
          <a:lstStyle/>
          <a:p>
            <a:r>
              <a:rPr lang="en-US" noProof="0"/>
              <a:t>Definition and classification of obesity</a:t>
            </a:r>
          </a:p>
        </p:txBody>
      </p:sp>
      <p:sp>
        <p:nvSpPr>
          <p:cNvPr id="5" name="Text Placeholder 4">
            <a:extLst>
              <a:ext uri="{FF2B5EF4-FFF2-40B4-BE49-F238E27FC236}">
                <a16:creationId xmlns:a16="http://schemas.microsoft.com/office/drawing/2014/main" id="{69C7C24F-5AF1-4B19-9E17-B375275BFEDA}"/>
              </a:ext>
            </a:extLst>
          </p:cNvPr>
          <p:cNvSpPr>
            <a:spLocks noGrp="1"/>
          </p:cNvSpPr>
          <p:nvPr>
            <p:ph type="body" sz="quarter" idx="15"/>
          </p:nvPr>
        </p:nvSpPr>
        <p:spPr>
          <a:xfrm>
            <a:off x="536240" y="5552063"/>
            <a:ext cx="10896000" cy="785860"/>
          </a:xfrm>
        </p:spPr>
        <p:txBody>
          <a:bodyPr/>
          <a:lstStyle/>
          <a:p>
            <a:r>
              <a:rPr lang="en-US" noProof="0" dirty="0"/>
              <a:t>*The Lancet Commission has recommended the term pre-obesity to replace overweight. This has not been adopted into professional society guidelines as of this update.</a:t>
            </a:r>
            <a:br>
              <a:rPr lang="en-US" noProof="0" dirty="0"/>
            </a:br>
            <a:r>
              <a:rPr lang="en-US" noProof="0" dirty="0"/>
              <a:t>BMI, body mass index; WHO, World Health Organization.</a:t>
            </a:r>
            <a:br>
              <a:rPr lang="en-US" noProof="0" dirty="0"/>
            </a:br>
            <a:r>
              <a:rPr lang="en-US" noProof="0" dirty="0"/>
              <a:t>1. Rubino F et al. Lancet Diabetes Endocrinol 2025;13:221–262; 2. American Society for Metabolic and Bariatric Surgery (ASMBS). Disease of </a:t>
            </a:r>
            <a:r>
              <a:rPr lang="en-US" dirty="0"/>
              <a:t>Obesity. </a:t>
            </a:r>
            <a:r>
              <a:rPr lang="en-US" dirty="0">
                <a:hlinkClick r:id="rId3"/>
              </a:rPr>
              <a:t>https://asmbs.org/patients/disease-of-obesity/</a:t>
            </a:r>
            <a:r>
              <a:rPr lang="en-US" dirty="0"/>
              <a:t>. Accessed October 2025; 3. Centers </a:t>
            </a:r>
            <a:r>
              <a:rPr lang="en-US" noProof="0" dirty="0"/>
              <a:t>for Disease Control and Prevention (CDC). </a:t>
            </a:r>
            <a:r>
              <a:rPr lang="en-US" dirty="0"/>
              <a:t>BMI categories for adults. </a:t>
            </a:r>
            <a:r>
              <a:rPr lang="en-US" dirty="0">
                <a:hlinkClick r:id="rId4"/>
              </a:rPr>
              <a:t>https://www.cdc.gov/bmi/adult-calculator/bmi-categories.html?CDC_AAref_Val=https://www.cdc.gov/obesity/basics/adult-defining.html</a:t>
            </a:r>
            <a:r>
              <a:rPr lang="en-US" dirty="0"/>
              <a:t>. Accessed October 2025; 4. Endocrine Society. Obesity Playbook (2023). </a:t>
            </a:r>
            <a:r>
              <a:rPr lang="en-US" u="sng" dirty="0"/>
              <a:t>https://www.endocrine.org/-/media/endocrine/files/obesity/obesity-playbook-final-october-2023.pdf.</a:t>
            </a:r>
            <a:r>
              <a:rPr lang="en-US" dirty="0"/>
              <a:t> Accessed October 2025; 5. Bhaskaran K et al. Lancet Diabetes Endocrinol 2018;6:944–953; 6. Misra A et al. J Assoc Physicians India 2009;57:163–170.</a:t>
            </a:r>
            <a:endParaRPr lang="en-US" noProof="0" dirty="0"/>
          </a:p>
        </p:txBody>
      </p:sp>
      <p:graphicFrame>
        <p:nvGraphicFramePr>
          <p:cNvPr id="20" name="Content Placeholder 9">
            <a:extLst>
              <a:ext uri="{FF2B5EF4-FFF2-40B4-BE49-F238E27FC236}">
                <a16:creationId xmlns:a16="http://schemas.microsoft.com/office/drawing/2014/main" id="{55C4A6AE-DDBE-4899-A248-6C106BF7CAA4}"/>
              </a:ext>
            </a:extLst>
          </p:cNvPr>
          <p:cNvGraphicFramePr>
            <a:graphicFrameLocks/>
          </p:cNvGraphicFramePr>
          <p:nvPr>
            <p:extLst>
              <p:ext uri="{D42A27DB-BD31-4B8C-83A1-F6EECF244321}">
                <p14:modId xmlns:p14="http://schemas.microsoft.com/office/powerpoint/2010/main" val="3886197129"/>
              </p:ext>
            </p:extLst>
          </p:nvPr>
        </p:nvGraphicFramePr>
        <p:xfrm>
          <a:off x="6395555" y="1909907"/>
          <a:ext cx="4970760" cy="3246895"/>
        </p:xfrm>
        <a:graphic>
          <a:graphicData uri="http://schemas.openxmlformats.org/drawingml/2006/table">
            <a:tbl>
              <a:tblPr firstRow="1" bandRow="1">
                <a:tableStyleId>{073A0DAA-6AF3-43AB-8588-CEC1D06C72B9}</a:tableStyleId>
              </a:tblPr>
              <a:tblGrid>
                <a:gridCol w="1925540">
                  <a:extLst>
                    <a:ext uri="{9D8B030D-6E8A-4147-A177-3AD203B41FA5}">
                      <a16:colId xmlns:a16="http://schemas.microsoft.com/office/drawing/2014/main" val="20000"/>
                    </a:ext>
                  </a:extLst>
                </a:gridCol>
                <a:gridCol w="1509117">
                  <a:extLst>
                    <a:ext uri="{9D8B030D-6E8A-4147-A177-3AD203B41FA5}">
                      <a16:colId xmlns:a16="http://schemas.microsoft.com/office/drawing/2014/main" val="20001"/>
                    </a:ext>
                  </a:extLst>
                </a:gridCol>
                <a:gridCol w="1536103">
                  <a:extLst>
                    <a:ext uri="{9D8B030D-6E8A-4147-A177-3AD203B41FA5}">
                      <a16:colId xmlns:a16="http://schemas.microsoft.com/office/drawing/2014/main" val="2329972700"/>
                    </a:ext>
                  </a:extLst>
                </a:gridCol>
              </a:tblGrid>
              <a:tr h="339789">
                <a:tc rowSpan="2">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US" sz="1200" b="1" u="none" strike="noStrike" cap="none" normalizeH="0" baseline="0" noProof="0">
                          <a:ln>
                            <a:noFill/>
                          </a:ln>
                          <a:effectLst/>
                        </a:rPr>
                        <a:t>Classification</a:t>
                      </a:r>
                      <a:endParaRPr kumimoji="0" lang="en-US" sz="1200" b="1" i="0" u="none" strike="noStrike" cap="none" normalizeH="0" baseline="0" noProof="0">
                        <a:ln>
                          <a:noFill/>
                        </a:ln>
                        <a:solidFill>
                          <a:schemeClr val="bg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b" horzOverflow="overflow">
                    <a:lnR w="12700" cap="flat" cmpd="sng" algn="ctr">
                      <a:solidFill>
                        <a:schemeClr val="tx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tx2"/>
                    </a:solidFill>
                  </a:tcPr>
                </a:tc>
                <a:tc gridSpan="2">
                  <a:txBody>
                    <a:bodyPr/>
                    <a:lstStyle/>
                    <a:p>
                      <a:pPr algn="ctr"/>
                      <a:r>
                        <a:rPr lang="en-US" sz="1200" b="1" noProof="0">
                          <a:solidFill>
                            <a:srgbClr val="FFFFFF"/>
                          </a:solidFill>
                        </a:rPr>
                        <a:t>BMI (kg/m</a:t>
                      </a:r>
                      <a:r>
                        <a:rPr lang="en-US" sz="1200" b="1" baseline="30000" noProof="0">
                          <a:solidFill>
                            <a:srgbClr val="FFFFFF"/>
                          </a:solidFill>
                        </a:rPr>
                        <a:t>2</a:t>
                      </a:r>
                      <a:r>
                        <a:rPr lang="en-US" sz="1200" b="1" baseline="0" noProof="0">
                          <a:solidFill>
                            <a:srgbClr val="FFFFFF"/>
                          </a:solidFill>
                        </a:rPr>
                        <a:t>)</a:t>
                      </a:r>
                      <a:endParaRPr lang="en-US" sz="1200" b="1" baseline="0" noProof="0">
                        <a:solidFill>
                          <a:srgbClr val="FFFFFF"/>
                        </a:solidFill>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lnL w="12700" cap="flat" cmpd="sng" algn="ctr">
                      <a:solidFill>
                        <a:schemeClr val="tx1"/>
                      </a:solidFill>
                      <a:prstDash val="solid"/>
                      <a:round/>
                      <a:headEnd type="none" w="med" len="med"/>
                      <a:tailEnd type="none" w="med" len="med"/>
                    </a:lnL>
                    <a:lnB w="19050" cap="flat" cmpd="sng" algn="ctr">
                      <a:solidFill>
                        <a:schemeClr val="bg1"/>
                      </a:solidFill>
                      <a:prstDash val="solid"/>
                      <a:round/>
                      <a:headEnd type="none" w="med" len="med"/>
                      <a:tailEnd type="none" w="med" len="med"/>
                    </a:lnB>
                  </a:tcPr>
                </a:tc>
                <a:tc hMerge="1">
                  <a:txBody>
                    <a:bodyPr/>
                    <a:lstStyle/>
                    <a:p>
                      <a:endParaRPr lang="en-GB"/>
                    </a:p>
                  </a:txBody>
                  <a:tcPr marL="73158" marR="73158" marT="54849" marB="54849" horzOverflow="overflow">
                    <a:lnL w="12700" cap="flat" cmpd="sng" algn="ctr">
                      <a:solidFill>
                        <a:srgbClr val="FFFFFF"/>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0000"/>
                  </a:ext>
                </a:extLst>
              </a:tr>
              <a:tr h="528583">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b="1" u="none" strike="noStrike" cap="none" normalizeH="0" baseline="0" noProof="0">
                          <a:ln>
                            <a:noFill/>
                          </a:ln>
                          <a:solidFill>
                            <a:srgbClr val="FFFFFF"/>
                          </a:solidFill>
                          <a:effectLst/>
                        </a:rPr>
                        <a:t>International classification</a:t>
                      </a:r>
                      <a:r>
                        <a:rPr kumimoji="0" lang="en-US" sz="1200" b="1" u="none" strike="noStrike" cap="none" normalizeH="0" baseline="30000" noProof="0">
                          <a:ln>
                            <a:noFill/>
                          </a:ln>
                          <a:solidFill>
                            <a:srgbClr val="FFFFFF"/>
                          </a:solidFill>
                          <a:effectLst/>
                        </a:rPr>
                        <a:t>3–5</a:t>
                      </a:r>
                      <a:endParaRPr kumimoji="0" lang="en-US" sz="1200" b="1" i="0" u="none" strike="noStrike" cap="none" normalizeH="0" baseline="0" noProof="0">
                        <a:ln>
                          <a:noFill/>
                        </a:ln>
                        <a:solidFill>
                          <a:srgbClr val="FFFFFF"/>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lnL w="12700" cap="flat" cmpd="sng" algn="ctr">
                      <a:solidFill>
                        <a:schemeClr val="tx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b="1" u="none" strike="noStrike" cap="none" normalizeH="0" baseline="0" noProof="0">
                          <a:ln>
                            <a:noFill/>
                          </a:ln>
                          <a:solidFill>
                            <a:srgbClr val="FFFFFF"/>
                          </a:solidFill>
                          <a:effectLst/>
                        </a:rPr>
                        <a:t> Asian </a:t>
                      </a:r>
                      <a:br>
                        <a:rPr kumimoji="0" lang="en-US" sz="1200" b="1" u="none" strike="noStrike" cap="none" normalizeH="0" baseline="0" noProof="0">
                          <a:ln>
                            <a:noFill/>
                          </a:ln>
                          <a:solidFill>
                            <a:srgbClr val="FFFFFF"/>
                          </a:solidFill>
                          <a:effectLst/>
                        </a:rPr>
                      </a:br>
                      <a:r>
                        <a:rPr kumimoji="0" lang="en-US" sz="1200" b="1" u="none" strike="noStrike" cap="none" normalizeH="0" baseline="0" noProof="0">
                          <a:ln>
                            <a:noFill/>
                          </a:ln>
                          <a:solidFill>
                            <a:srgbClr val="FFFFFF"/>
                          </a:solidFill>
                          <a:effectLst/>
                        </a:rPr>
                        <a:t>population</a:t>
                      </a:r>
                      <a:r>
                        <a:rPr kumimoji="0" lang="en-US" sz="1200" b="1" u="none" strike="noStrike" cap="none" normalizeH="0" baseline="30000" noProof="0">
                          <a:ln>
                            <a:noFill/>
                          </a:ln>
                          <a:solidFill>
                            <a:srgbClr val="FFFFFF"/>
                          </a:solidFill>
                          <a:effectLst/>
                        </a:rPr>
                        <a:t>6</a:t>
                      </a:r>
                      <a:endParaRPr kumimoji="0" lang="en-US" sz="1200" b="1" i="0" u="none" strike="noStrike" cap="none" normalizeH="0" baseline="30000" noProof="0">
                        <a:ln>
                          <a:noFill/>
                        </a:ln>
                        <a:solidFill>
                          <a:srgbClr val="FFFFFF"/>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645554181"/>
                  </a:ext>
                </a:extLst>
              </a:tr>
              <a:tr h="339789">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a:ln>
                            <a:noFill/>
                          </a:ln>
                          <a:solidFill>
                            <a:schemeClr val="tx1"/>
                          </a:solidFill>
                          <a:effectLst/>
                        </a:rPr>
                        <a:t>Underweight</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lnT w="19050" cap="flat" cmpd="sng" algn="ctr">
                      <a:solidFill>
                        <a:schemeClr val="bg1"/>
                      </a:solidFill>
                      <a:prstDash val="solid"/>
                      <a:round/>
                      <a:headEnd type="none" w="med" len="med"/>
                      <a:tailEnd type="none" w="med" len="med"/>
                    </a:lnT>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a:ln>
                            <a:noFill/>
                          </a:ln>
                          <a:solidFill>
                            <a:schemeClr val="tx1"/>
                          </a:solidFill>
                          <a:effectLst/>
                        </a:rPr>
                        <a:t>&lt;18.5</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lnT w="19050" cap="flat" cmpd="sng" algn="ctr">
                      <a:solidFill>
                        <a:schemeClr val="bg1"/>
                      </a:solidFill>
                      <a:prstDash val="solid"/>
                      <a:round/>
                      <a:headEnd type="none" w="med" len="med"/>
                      <a:tailEnd type="none" w="med" len="med"/>
                    </a:lnT>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lnT w="190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1"/>
                  </a:ext>
                </a:extLst>
              </a:tr>
              <a:tr h="339789">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a:ln>
                            <a:noFill/>
                          </a:ln>
                          <a:solidFill>
                            <a:schemeClr val="tx1"/>
                          </a:solidFill>
                          <a:effectLst/>
                        </a:rPr>
                        <a:t>Healthy weight</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solidFill>
                      <a:srgbClr val="CACBD2"/>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a:ln>
                            <a:noFill/>
                          </a:ln>
                          <a:solidFill>
                            <a:schemeClr val="tx1"/>
                          </a:solidFill>
                          <a:effectLst/>
                        </a:rPr>
                        <a:t>≥18.5 to &lt;25</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defRPr/>
                      </a:pPr>
                      <a:r>
                        <a:rPr lang="en-US" sz="1200" u="none" noProof="0">
                          <a:solidFill>
                            <a:schemeClr val="tx1"/>
                          </a:solidFill>
                        </a:rPr>
                        <a:t>≥18 to &lt;23</a:t>
                      </a:r>
                      <a:endParaRPr lang="en-US" sz="1200" b="0" i="0" u="none" noProof="0">
                        <a:solidFill>
                          <a:schemeClr val="tx1"/>
                        </a:solidFill>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extLst>
                  <a:ext uri="{0D108BD9-81ED-4DB2-BD59-A6C34878D82A}">
                    <a16:rowId xmlns:a16="http://schemas.microsoft.com/office/drawing/2014/main" val="10002"/>
                  </a:ext>
                </a:extLst>
              </a:tr>
              <a:tr h="339789">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US" sz="1200" b="0" u="none" strike="noStrike" cap="none" normalizeH="0" baseline="0" noProof="0">
                          <a:ln>
                            <a:noFill/>
                          </a:ln>
                          <a:solidFill>
                            <a:schemeClr val="tx1"/>
                          </a:solidFill>
                          <a:effectLst/>
                        </a:rPr>
                        <a:t>Overweight</a:t>
                      </a:r>
                      <a:r>
                        <a:rPr kumimoji="0" lang="en-US" sz="1200" b="0" u="none" strike="noStrike" cap="none" normalizeH="0" baseline="30000" noProof="0">
                          <a:ln>
                            <a:noFill/>
                          </a:ln>
                          <a:solidFill>
                            <a:schemeClr val="tx1"/>
                          </a:solidFill>
                          <a:effectLst/>
                        </a:rPr>
                        <a:t>*</a:t>
                      </a:r>
                      <a:endParaRPr kumimoji="0" lang="en-US" sz="1200" b="0" i="0" u="none" strike="noStrike" cap="none" normalizeH="0" baseline="3000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a:ln>
                            <a:noFill/>
                          </a:ln>
                          <a:solidFill>
                            <a:schemeClr val="tx1"/>
                          </a:solidFill>
                          <a:effectLst/>
                        </a:rPr>
                        <a:t>≥25 to &lt;30</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defRPr/>
                      </a:pPr>
                      <a:r>
                        <a:rPr lang="en-US" sz="1200" u="none" noProof="0">
                          <a:solidFill>
                            <a:schemeClr val="tx1"/>
                          </a:solidFill>
                        </a:rPr>
                        <a:t>≥23 to &lt;25</a:t>
                      </a:r>
                      <a:endParaRPr lang="en-US" sz="1200" b="0" i="0" u="none" noProof="0">
                        <a:solidFill>
                          <a:schemeClr val="tx1"/>
                        </a:solidFill>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extLst>
                  <a:ext uri="{0D108BD9-81ED-4DB2-BD59-A6C34878D82A}">
                    <a16:rowId xmlns:a16="http://schemas.microsoft.com/office/drawing/2014/main" val="10003"/>
                  </a:ext>
                </a:extLst>
              </a:tr>
              <a:tr h="339789">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a:ln>
                            <a:noFill/>
                          </a:ln>
                          <a:solidFill>
                            <a:schemeClr val="tx1"/>
                          </a:solidFill>
                          <a:effectLst/>
                        </a:rPr>
                        <a:t>Obesity</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a:ln>
                            <a:noFill/>
                          </a:ln>
                          <a:solidFill>
                            <a:schemeClr val="tx1"/>
                          </a:solidFill>
                          <a:effectLst/>
                        </a:rPr>
                        <a:t>≥30</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b="0" u="none" strike="noStrike" cap="none" normalizeH="0" baseline="0" noProof="0">
                          <a:ln>
                            <a:noFill/>
                          </a:ln>
                          <a:solidFill>
                            <a:schemeClr val="tx1"/>
                          </a:solidFill>
                          <a:effectLst/>
                        </a:rPr>
                        <a:t>&gt;25</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extLst>
                  <a:ext uri="{0D108BD9-81ED-4DB2-BD59-A6C34878D82A}">
                    <a16:rowId xmlns:a16="http://schemas.microsoft.com/office/drawing/2014/main" val="10004"/>
                  </a:ext>
                </a:extLst>
              </a:tr>
              <a:tr h="339789">
                <a:tc>
                  <a:txBody>
                    <a:bodyPr/>
                    <a:lstStyle/>
                    <a:p>
                      <a:pPr marL="182880" marR="0" lvl="0" indent="0" algn="l" defTabSz="914400" rtl="0" eaLnBrk="1" fontAlgn="base" latinLnBrk="0" hangingPunct="1">
                        <a:lnSpc>
                          <a:spcPct val="100000"/>
                        </a:lnSpc>
                        <a:spcBef>
                          <a:spcPct val="20000"/>
                        </a:spcBef>
                        <a:spcAft>
                          <a:spcPct val="0"/>
                        </a:spcAft>
                        <a:buClr>
                          <a:schemeClr val="accent1"/>
                        </a:buClr>
                        <a:buSzTx/>
                        <a:buFontTx/>
                        <a:buNone/>
                        <a:tabLst>
                          <a:tab pos="228600" algn="l"/>
                        </a:tabLst>
                      </a:pPr>
                      <a:r>
                        <a:rPr kumimoji="0" lang="en-US" sz="1200" u="none" strike="noStrike" cap="none" normalizeH="0" baseline="0" noProof="0">
                          <a:ln>
                            <a:noFill/>
                          </a:ln>
                          <a:solidFill>
                            <a:schemeClr val="tx1"/>
                          </a:solidFill>
                          <a:effectLst/>
                        </a:rPr>
                        <a:t>Obesity class 1</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a:ln>
                            <a:noFill/>
                          </a:ln>
                          <a:solidFill>
                            <a:schemeClr val="tx1"/>
                          </a:solidFill>
                          <a:effectLst/>
                        </a:rPr>
                        <a:t>≥30 to &lt;35</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extLst>
                  <a:ext uri="{0D108BD9-81ED-4DB2-BD59-A6C34878D82A}">
                    <a16:rowId xmlns:a16="http://schemas.microsoft.com/office/drawing/2014/main" val="10005"/>
                  </a:ext>
                </a:extLst>
              </a:tr>
              <a:tr h="339789">
                <a:tc>
                  <a:txBody>
                    <a:bodyPr/>
                    <a:lstStyle/>
                    <a:p>
                      <a:pPr marL="182880" marR="0" lvl="0" indent="0" algn="l" defTabSz="914400" rtl="0" eaLnBrk="1" fontAlgn="base" latinLnBrk="0" hangingPunct="1">
                        <a:lnSpc>
                          <a:spcPct val="100000"/>
                        </a:lnSpc>
                        <a:spcBef>
                          <a:spcPct val="20000"/>
                        </a:spcBef>
                        <a:spcAft>
                          <a:spcPct val="0"/>
                        </a:spcAft>
                        <a:buClr>
                          <a:schemeClr val="accent1"/>
                        </a:buClr>
                        <a:buSzTx/>
                        <a:buFontTx/>
                        <a:buNone/>
                        <a:tabLst>
                          <a:tab pos="228600" algn="l"/>
                        </a:tabLst>
                      </a:pPr>
                      <a:r>
                        <a:rPr kumimoji="0" lang="en-US" sz="1200" u="none" strike="noStrike" cap="none" normalizeH="0" baseline="0" noProof="0">
                          <a:ln>
                            <a:noFill/>
                          </a:ln>
                          <a:solidFill>
                            <a:schemeClr val="tx1"/>
                          </a:solidFill>
                          <a:effectLst/>
                        </a:rPr>
                        <a:t>Obesity class 2</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a:ln>
                            <a:noFill/>
                          </a:ln>
                          <a:solidFill>
                            <a:schemeClr val="tx1"/>
                          </a:solidFill>
                          <a:effectLst/>
                        </a:rPr>
                        <a:t>≥35 and &lt;40</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extLst>
                  <a:ext uri="{0D108BD9-81ED-4DB2-BD59-A6C34878D82A}">
                    <a16:rowId xmlns:a16="http://schemas.microsoft.com/office/drawing/2014/main" val="10006"/>
                  </a:ext>
                </a:extLst>
              </a:tr>
              <a:tr h="339789">
                <a:tc>
                  <a:txBody>
                    <a:bodyPr/>
                    <a:lstStyle/>
                    <a:p>
                      <a:pPr marL="182880" marR="0" lvl="0" indent="0" algn="l" defTabSz="914400" rtl="0" eaLnBrk="1" fontAlgn="base" latinLnBrk="0" hangingPunct="1">
                        <a:lnSpc>
                          <a:spcPct val="100000"/>
                        </a:lnSpc>
                        <a:spcBef>
                          <a:spcPct val="20000"/>
                        </a:spcBef>
                        <a:spcAft>
                          <a:spcPct val="0"/>
                        </a:spcAft>
                        <a:buClr>
                          <a:schemeClr val="accent1"/>
                        </a:buClr>
                        <a:buSzTx/>
                        <a:buFontTx/>
                        <a:buNone/>
                        <a:tabLst>
                          <a:tab pos="228600" algn="l"/>
                        </a:tabLst>
                      </a:pPr>
                      <a:r>
                        <a:rPr kumimoji="0" lang="en-US" sz="1200" u="none" strike="noStrike" kern="1200" cap="none" normalizeH="0" baseline="0" noProof="0">
                          <a:ln>
                            <a:noFill/>
                          </a:ln>
                          <a:solidFill>
                            <a:schemeClr val="tx1"/>
                          </a:solidFill>
                          <a:effectLst/>
                        </a:rPr>
                        <a:t>Obesit</a:t>
                      </a:r>
                      <a:r>
                        <a:rPr kumimoji="0" lang="en-US" sz="1200" u="none" strike="noStrike" cap="none" normalizeH="0" baseline="0" noProof="0">
                          <a:ln>
                            <a:noFill/>
                          </a:ln>
                          <a:solidFill>
                            <a:schemeClr val="tx1"/>
                          </a:solidFill>
                          <a:effectLst/>
                        </a:rPr>
                        <a:t>y class 3</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a:ln>
                            <a:noFill/>
                          </a:ln>
                          <a:solidFill>
                            <a:schemeClr val="tx1"/>
                          </a:solidFill>
                          <a:effectLst/>
                        </a:rPr>
                        <a:t>≥40</a:t>
                      </a: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US" sz="1200" b="0" i="0" u="none" strike="noStrike" cap="none" normalizeH="0" baseline="0" noProof="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73132" marB="73132" anchor="ctr" horzOverflow="overflow"/>
                </a:tc>
                <a:extLst>
                  <a:ext uri="{0D108BD9-81ED-4DB2-BD59-A6C34878D82A}">
                    <a16:rowId xmlns:a16="http://schemas.microsoft.com/office/drawing/2014/main" val="10007"/>
                  </a:ext>
                </a:extLst>
              </a:tr>
            </a:tbl>
          </a:graphicData>
        </a:graphic>
      </p:graphicFrame>
      <p:sp>
        <p:nvSpPr>
          <p:cNvPr id="39" name="Rectangle: Rounded Corners 38">
            <a:extLst>
              <a:ext uri="{FF2B5EF4-FFF2-40B4-BE49-F238E27FC236}">
                <a16:creationId xmlns:a16="http://schemas.microsoft.com/office/drawing/2014/main" id="{149950AB-99EB-5509-4132-07406D84CD4B}"/>
              </a:ext>
            </a:extLst>
          </p:cNvPr>
          <p:cNvSpPr/>
          <p:nvPr/>
        </p:nvSpPr>
        <p:spPr>
          <a:xfrm>
            <a:off x="771089" y="4530099"/>
            <a:ext cx="4908541" cy="573206"/>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400" noProof="0">
                <a:latin typeface="Arial" panose="020B0604020202020204" pitchFamily="34" charset="0"/>
                <a:cs typeface="Arial" panose="020B0604020202020204" pitchFamily="34" charset="0"/>
              </a:rPr>
              <a:t>The standard screening measurement </a:t>
            </a:r>
            <a:br>
              <a:rPr lang="en-US" sz="1400" noProof="0">
                <a:latin typeface="Arial" panose="020B0604020202020204" pitchFamily="34" charset="0"/>
                <a:cs typeface="Arial" panose="020B0604020202020204" pitchFamily="34" charset="0"/>
              </a:rPr>
            </a:br>
            <a:r>
              <a:rPr lang="en-US" sz="1400" noProof="0">
                <a:latin typeface="Arial" panose="020B0604020202020204" pitchFamily="34" charset="0"/>
                <a:cs typeface="Arial" panose="020B0604020202020204" pitchFamily="34" charset="0"/>
              </a:rPr>
              <a:t>of obesity is a </a:t>
            </a:r>
            <a:r>
              <a:rPr lang="en-US" sz="1400" b="1" noProof="0">
                <a:latin typeface="Arial" panose="020B0604020202020204" pitchFamily="34" charset="0"/>
                <a:cs typeface="Arial" panose="020B0604020202020204" pitchFamily="34" charset="0"/>
              </a:rPr>
              <a:t>BMI </a:t>
            </a:r>
            <a:r>
              <a:rPr lang="en-US" sz="1400" b="1" noProof="0">
                <a:latin typeface="Arial" panose="020B0604020202020204" pitchFamily="34" charset="0"/>
                <a:cs typeface="Arial" panose="020B0604020202020204" pitchFamily="34" charset="0"/>
                <a:sym typeface="Symbol" panose="05050102010706020507" pitchFamily="18" charset="2"/>
              </a:rPr>
              <a:t></a:t>
            </a:r>
            <a:r>
              <a:rPr lang="en-US" sz="1400" b="1" noProof="0">
                <a:latin typeface="Arial" panose="020B0604020202020204" pitchFamily="34" charset="0"/>
                <a:cs typeface="Arial" panose="020B0604020202020204" pitchFamily="34" charset="0"/>
              </a:rPr>
              <a:t>30 kg/m</a:t>
            </a:r>
            <a:r>
              <a:rPr lang="en-US" sz="1400" b="1" baseline="30000" noProof="0">
                <a:latin typeface="Arial" panose="020B0604020202020204" pitchFamily="34" charset="0"/>
                <a:cs typeface="Arial" panose="020B0604020202020204" pitchFamily="34" charset="0"/>
              </a:rPr>
              <a:t>2</a:t>
            </a:r>
            <a:endParaRPr lang="en-US" sz="1400" b="1" noProof="0">
              <a:latin typeface="Arial" panose="020B0604020202020204" pitchFamily="34" charset="0"/>
              <a:cs typeface="Arial" panose="020B0604020202020204" pitchFamily="34" charset="0"/>
            </a:endParaRPr>
          </a:p>
        </p:txBody>
      </p:sp>
      <p:grpSp>
        <p:nvGrpSpPr>
          <p:cNvPr id="45" name="Group 44">
            <a:extLst>
              <a:ext uri="{FF2B5EF4-FFF2-40B4-BE49-F238E27FC236}">
                <a16:creationId xmlns:a16="http://schemas.microsoft.com/office/drawing/2014/main" id="{6887C970-32F7-DCA4-6C5E-C5A8102B6EB7}"/>
              </a:ext>
            </a:extLst>
          </p:cNvPr>
          <p:cNvGrpSpPr/>
          <p:nvPr/>
        </p:nvGrpSpPr>
        <p:grpSpPr>
          <a:xfrm>
            <a:off x="2060488" y="3818391"/>
            <a:ext cx="2329741" cy="584213"/>
            <a:chOff x="2356626" y="3650058"/>
            <a:chExt cx="2329741" cy="584213"/>
          </a:xfrm>
        </p:grpSpPr>
        <p:sp>
          <p:nvSpPr>
            <p:cNvPr id="15" name="TextBox 14">
              <a:extLst>
                <a:ext uri="{FF2B5EF4-FFF2-40B4-BE49-F238E27FC236}">
                  <a16:creationId xmlns:a16="http://schemas.microsoft.com/office/drawing/2014/main" id="{920FAA9C-BE73-404C-B984-CB5D294BADD9}"/>
                </a:ext>
              </a:extLst>
            </p:cNvPr>
            <p:cNvSpPr txBox="1"/>
            <p:nvPr/>
          </p:nvSpPr>
          <p:spPr>
            <a:xfrm>
              <a:off x="3225360" y="3789502"/>
              <a:ext cx="288862" cy="307777"/>
            </a:xfrm>
            <a:prstGeom prst="rect">
              <a:avLst/>
            </a:prstGeom>
            <a:noFill/>
          </p:spPr>
          <p:txBody>
            <a:bodyPr wrap="none" rtlCol="0">
              <a:spAutoFit/>
            </a:bodyPr>
            <a:lstStyle/>
            <a:p>
              <a:pPr defTabSz="1219170" fontAlgn="base">
                <a:spcBef>
                  <a:spcPct val="0"/>
                </a:spcBef>
                <a:spcAft>
                  <a:spcPct val="0"/>
                </a:spcAft>
                <a:defRPr/>
              </a:pPr>
              <a:r>
                <a:rPr lang="en-US" sz="1400" noProof="0">
                  <a:latin typeface="Arial" panose="020B0604020202020204" pitchFamily="34" charset="0"/>
                  <a:ea typeface="Apis For Office" panose="020B0504010101010104" pitchFamily="34" charset="0"/>
                  <a:cs typeface="Arial" panose="020B0604020202020204" pitchFamily="34" charset="0"/>
                </a:rPr>
                <a:t>=</a:t>
              </a:r>
            </a:p>
          </p:txBody>
        </p:sp>
        <p:sp>
          <p:nvSpPr>
            <p:cNvPr id="16" name="TextBox 15">
              <a:extLst>
                <a:ext uri="{FF2B5EF4-FFF2-40B4-BE49-F238E27FC236}">
                  <a16:creationId xmlns:a16="http://schemas.microsoft.com/office/drawing/2014/main" id="{343E48C4-F9EF-4C6D-B9B6-3881E877FE6C}"/>
                </a:ext>
              </a:extLst>
            </p:cNvPr>
            <p:cNvSpPr txBox="1"/>
            <p:nvPr/>
          </p:nvSpPr>
          <p:spPr>
            <a:xfrm>
              <a:off x="3571738" y="3650058"/>
              <a:ext cx="1059906" cy="307777"/>
            </a:xfrm>
            <a:prstGeom prst="rect">
              <a:avLst/>
            </a:prstGeom>
            <a:noFill/>
          </p:spPr>
          <p:txBody>
            <a:bodyPr wrap="none" rtlCol="0">
              <a:spAutoFit/>
            </a:bodyPr>
            <a:lstStyle/>
            <a:p>
              <a:pPr defTabSz="1219170" fontAlgn="base">
                <a:spcBef>
                  <a:spcPct val="0"/>
                </a:spcBef>
                <a:spcAft>
                  <a:spcPct val="0"/>
                </a:spcAft>
                <a:defRPr/>
              </a:pPr>
              <a:r>
                <a:rPr lang="en-US" sz="1400" noProof="0">
                  <a:latin typeface="Arial" panose="020B0604020202020204" pitchFamily="34" charset="0"/>
                  <a:ea typeface="Apis For Office" panose="020B0504010101010104" pitchFamily="34" charset="0"/>
                  <a:cs typeface="Arial" panose="020B0604020202020204" pitchFamily="34" charset="0"/>
                </a:rPr>
                <a:t>weight (kg)</a:t>
              </a:r>
            </a:p>
          </p:txBody>
        </p:sp>
        <p:sp>
          <p:nvSpPr>
            <p:cNvPr id="17" name="TextBox 16">
              <a:extLst>
                <a:ext uri="{FF2B5EF4-FFF2-40B4-BE49-F238E27FC236}">
                  <a16:creationId xmlns:a16="http://schemas.microsoft.com/office/drawing/2014/main" id="{C29E3555-F122-4FCC-BA53-20C5578289B9}"/>
                </a:ext>
              </a:extLst>
            </p:cNvPr>
            <p:cNvSpPr txBox="1"/>
            <p:nvPr/>
          </p:nvSpPr>
          <p:spPr>
            <a:xfrm>
              <a:off x="3571738" y="3926494"/>
              <a:ext cx="1056700" cy="307777"/>
            </a:xfrm>
            <a:prstGeom prst="rect">
              <a:avLst/>
            </a:prstGeom>
            <a:noFill/>
          </p:spPr>
          <p:txBody>
            <a:bodyPr wrap="none" rtlCol="0">
              <a:spAutoFit/>
            </a:bodyPr>
            <a:lstStyle/>
            <a:p>
              <a:pPr defTabSz="1219170" fontAlgn="base">
                <a:spcBef>
                  <a:spcPct val="0"/>
                </a:spcBef>
                <a:spcAft>
                  <a:spcPct val="0"/>
                </a:spcAft>
                <a:defRPr/>
              </a:pPr>
              <a:r>
                <a:rPr lang="en-US" sz="1400" noProof="0">
                  <a:latin typeface="Arial" panose="020B0604020202020204" pitchFamily="34" charset="0"/>
                  <a:ea typeface="Apis For Office" panose="020B0504010101010104" pitchFamily="34" charset="0"/>
                  <a:cs typeface="Arial" panose="020B0604020202020204" pitchFamily="34" charset="0"/>
                </a:rPr>
                <a:t>height (m</a:t>
              </a:r>
              <a:r>
                <a:rPr lang="en-US" sz="1400" baseline="30000" noProof="0">
                  <a:latin typeface="Arial" panose="020B0604020202020204" pitchFamily="34" charset="0"/>
                  <a:ea typeface="Apis For Office" panose="020B0504010101010104" pitchFamily="34" charset="0"/>
                  <a:cs typeface="Arial" panose="020B0604020202020204" pitchFamily="34" charset="0"/>
                </a:rPr>
                <a:t>2</a:t>
              </a:r>
              <a:r>
                <a:rPr lang="en-US" sz="1400" noProof="0">
                  <a:latin typeface="Arial" panose="020B0604020202020204" pitchFamily="34" charset="0"/>
                  <a:ea typeface="Apis For Office" panose="020B0504010101010104" pitchFamily="34" charset="0"/>
                  <a:cs typeface="Arial" panose="020B0604020202020204" pitchFamily="34" charset="0"/>
                </a:rPr>
                <a:t>)</a:t>
              </a:r>
            </a:p>
          </p:txBody>
        </p:sp>
        <p:cxnSp>
          <p:nvCxnSpPr>
            <p:cNvPr id="18" name="Straight Connector 17">
              <a:extLst>
                <a:ext uri="{FF2B5EF4-FFF2-40B4-BE49-F238E27FC236}">
                  <a16:creationId xmlns:a16="http://schemas.microsoft.com/office/drawing/2014/main" id="{D26AE70A-7A8B-4F0B-A711-B9370C7BCE1F}"/>
                </a:ext>
              </a:extLst>
            </p:cNvPr>
            <p:cNvCxnSpPr/>
            <p:nvPr/>
          </p:nvCxnSpPr>
          <p:spPr>
            <a:xfrm>
              <a:off x="3529471" y="3930693"/>
              <a:ext cx="115689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9FB4BBAF-2393-FEEB-5F2C-07B027EFCEC7}"/>
                </a:ext>
              </a:extLst>
            </p:cNvPr>
            <p:cNvGrpSpPr/>
            <p:nvPr/>
          </p:nvGrpSpPr>
          <p:grpSpPr>
            <a:xfrm>
              <a:off x="2356626" y="3701557"/>
              <a:ext cx="471478" cy="471478"/>
              <a:chOff x="1681084" y="3368776"/>
              <a:chExt cx="1020552" cy="1020552"/>
            </a:xfrm>
          </p:grpSpPr>
          <p:sp>
            <p:nvSpPr>
              <p:cNvPr id="42" name="Oval 41">
                <a:extLst>
                  <a:ext uri="{FF2B5EF4-FFF2-40B4-BE49-F238E27FC236}">
                    <a16:creationId xmlns:a16="http://schemas.microsoft.com/office/drawing/2014/main" id="{30481E88-6D8F-2124-CA3D-B9D5931FDA3C}"/>
                  </a:ext>
                </a:extLst>
              </p:cNvPr>
              <p:cNvSpPr/>
              <p:nvPr/>
            </p:nvSpPr>
            <p:spPr>
              <a:xfrm>
                <a:off x="1681084" y="3368776"/>
                <a:ext cx="1020552" cy="1020552"/>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41" name="Graphic 40">
                <a:extLst>
                  <a:ext uri="{FF2B5EF4-FFF2-40B4-BE49-F238E27FC236}">
                    <a16:creationId xmlns:a16="http://schemas.microsoft.com/office/drawing/2014/main" id="{FF1754DF-0158-6951-4C8E-0759C0B4AF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26556" y="3514250"/>
                <a:ext cx="729608" cy="729606"/>
              </a:xfrm>
              <a:prstGeom prst="rect">
                <a:avLst/>
              </a:prstGeom>
            </p:spPr>
          </p:pic>
        </p:grpSp>
        <p:sp>
          <p:nvSpPr>
            <p:cNvPr id="43" name="TextBox 42">
              <a:extLst>
                <a:ext uri="{FF2B5EF4-FFF2-40B4-BE49-F238E27FC236}">
                  <a16:creationId xmlns:a16="http://schemas.microsoft.com/office/drawing/2014/main" id="{37DD99D7-9DFC-BEC5-5A62-148BBE4C94C1}"/>
                </a:ext>
              </a:extLst>
            </p:cNvPr>
            <p:cNvSpPr txBox="1"/>
            <p:nvPr/>
          </p:nvSpPr>
          <p:spPr>
            <a:xfrm>
              <a:off x="2805841" y="3783408"/>
              <a:ext cx="503664" cy="307777"/>
            </a:xfrm>
            <a:prstGeom prst="rect">
              <a:avLst/>
            </a:prstGeom>
            <a:noFill/>
          </p:spPr>
          <p:txBody>
            <a:bodyPr wrap="none" rtlCol="0">
              <a:spAutoFit/>
            </a:bodyPr>
            <a:lstStyle/>
            <a:p>
              <a:pPr algn="ctr" defTabSz="1219170" fontAlgn="base">
                <a:spcBef>
                  <a:spcPct val="0"/>
                </a:spcBef>
                <a:spcAft>
                  <a:spcPct val="0"/>
                </a:spcAft>
                <a:defRPr/>
              </a:pPr>
              <a:r>
                <a:rPr lang="en-US" sz="1400" noProof="0">
                  <a:latin typeface="Arial" panose="020B0604020202020204" pitchFamily="34" charset="0"/>
                  <a:ea typeface="Apis For Office" panose="020B0504010101010104" pitchFamily="34" charset="0"/>
                  <a:cs typeface="Arial" panose="020B0604020202020204" pitchFamily="34" charset="0"/>
                </a:rPr>
                <a:t>BMI</a:t>
              </a:r>
            </a:p>
          </p:txBody>
        </p:sp>
      </p:grpSp>
      <p:sp>
        <p:nvSpPr>
          <p:cNvPr id="22" name="Text Placeholder 47">
            <a:extLst>
              <a:ext uri="{FF2B5EF4-FFF2-40B4-BE49-F238E27FC236}">
                <a16:creationId xmlns:a16="http://schemas.microsoft.com/office/drawing/2014/main" id="{BB08CD84-FB18-3B5D-6812-C5A80E02C604}"/>
              </a:ext>
            </a:extLst>
          </p:cNvPr>
          <p:cNvSpPr>
            <a:spLocks noGrp="1"/>
          </p:cNvSpPr>
          <p:nvPr>
            <p:ph type="body" sz="quarter" idx="14"/>
          </p:nvPr>
        </p:nvSpPr>
        <p:spPr>
          <a:xfrm>
            <a:off x="816151" y="1897207"/>
            <a:ext cx="4863480" cy="1719984"/>
          </a:xfrm>
        </p:spPr>
        <p:txBody>
          <a:bodyPr/>
          <a:lstStyle/>
          <a:p>
            <a:pPr marL="0" indent="0" algn="ctr">
              <a:buNone/>
            </a:pPr>
            <a:r>
              <a:rPr lang="en-US" sz="1400" b="1" noProof="0">
                <a:solidFill>
                  <a:schemeClr val="accent1"/>
                </a:solidFill>
              </a:rPr>
              <a:t>Clinical obesity: </a:t>
            </a:r>
            <a:r>
              <a:rPr lang="en-US" sz="1400"/>
              <a:t>E</a:t>
            </a:r>
            <a:r>
              <a:rPr lang="en-US" sz="1400" noProof="0" err="1"/>
              <a:t>xcess</a:t>
            </a:r>
            <a:r>
              <a:rPr lang="en-US" sz="1400" noProof="0"/>
              <a:t> adiposity causing negative health outcomes that can be objectively documented by specific signs and symptoms</a:t>
            </a:r>
            <a:r>
              <a:rPr lang="en-US" sz="1400" baseline="30000" noProof="0"/>
              <a:t>1</a:t>
            </a:r>
            <a:r>
              <a:rPr lang="en-US" sz="1400" noProof="0"/>
              <a:t> </a:t>
            </a:r>
          </a:p>
          <a:p>
            <a:pPr marL="0" indent="0" algn="ctr">
              <a:buNone/>
            </a:pPr>
            <a:r>
              <a:rPr lang="en-US" sz="1400" noProof="0"/>
              <a:t>Obesity should be treated within a chronic disease framework, </a:t>
            </a:r>
            <a:r>
              <a:rPr lang="en-US" sz="1400" b="1" noProof="0">
                <a:solidFill>
                  <a:schemeClr val="accent1"/>
                </a:solidFill>
              </a:rPr>
              <a:t>JUST like </a:t>
            </a:r>
            <a:r>
              <a:rPr lang="en-US" sz="1400" noProof="0"/>
              <a:t>other chronic, progressive conditions</a:t>
            </a:r>
          </a:p>
          <a:p>
            <a:pPr marL="0" indent="0" algn="ctr">
              <a:buNone/>
            </a:pPr>
            <a:r>
              <a:rPr lang="en-US" sz="1400" noProof="0"/>
              <a:t>Like other chronic diseases, obesity is a result of multiple environmental and genetic factors</a:t>
            </a:r>
            <a:r>
              <a:rPr lang="en-US" sz="1400" baseline="30000" noProof="0"/>
              <a:t>2</a:t>
            </a:r>
          </a:p>
          <a:p>
            <a:pPr marL="0" indent="0" algn="ctr">
              <a:buNone/>
            </a:pPr>
            <a:endParaRPr lang="en-US" sz="1400" noProof="0"/>
          </a:p>
          <a:p>
            <a:pPr marL="0" indent="0" algn="ctr">
              <a:buNone/>
            </a:pPr>
            <a:endParaRPr lang="en-US" sz="1400" noProof="0"/>
          </a:p>
        </p:txBody>
      </p:sp>
    </p:spTree>
    <p:extLst>
      <p:ext uri="{BB962C8B-B14F-4D97-AF65-F5344CB8AC3E}">
        <p14:creationId xmlns:p14="http://schemas.microsoft.com/office/powerpoint/2010/main" val="241306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7AC92-BCB8-F472-E705-F8E5A285497C}"/>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0E71DC85-6088-8071-0334-E9933896FAEE}"/>
              </a:ext>
            </a:extLst>
          </p:cNvPr>
          <p:cNvSpPr/>
          <p:nvPr/>
        </p:nvSpPr>
        <p:spPr>
          <a:xfrm>
            <a:off x="0" y="2887570"/>
            <a:ext cx="12192000" cy="2508776"/>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1A0583E-9285-C742-C2AA-BF3B144E4023}"/>
              </a:ext>
            </a:extLst>
          </p:cNvPr>
          <p:cNvSpPr>
            <a:spLocks noGrp="1"/>
          </p:cNvSpPr>
          <p:nvPr>
            <p:ph type="title"/>
          </p:nvPr>
        </p:nvSpPr>
        <p:spPr>
          <a:xfrm>
            <a:off x="536240" y="414320"/>
            <a:ext cx="10896000" cy="1082209"/>
          </a:xfrm>
        </p:spPr>
        <p:txBody>
          <a:bodyPr>
            <a:normAutofit/>
          </a:bodyPr>
          <a:lstStyle/>
          <a:p>
            <a:r>
              <a:rPr lang="en-US" noProof="0" dirty="0"/>
              <a:t>Obesity staging</a:t>
            </a:r>
          </a:p>
        </p:txBody>
      </p:sp>
      <p:sp>
        <p:nvSpPr>
          <p:cNvPr id="33" name="Text Placeholder 32">
            <a:extLst>
              <a:ext uri="{FF2B5EF4-FFF2-40B4-BE49-F238E27FC236}">
                <a16:creationId xmlns:a16="http://schemas.microsoft.com/office/drawing/2014/main" id="{CF8C744F-05EF-4C7E-6BBC-16F45C723FA1}"/>
              </a:ext>
            </a:extLst>
          </p:cNvPr>
          <p:cNvSpPr>
            <a:spLocks noGrp="1"/>
          </p:cNvSpPr>
          <p:nvPr>
            <p:ph type="body" sz="quarter" idx="15"/>
          </p:nvPr>
        </p:nvSpPr>
        <p:spPr>
          <a:xfrm>
            <a:off x="546890" y="6021806"/>
            <a:ext cx="10896000" cy="324000"/>
          </a:xfrm>
        </p:spPr>
        <p:txBody>
          <a:bodyPr/>
          <a:lstStyle/>
          <a:p>
            <a:r>
              <a:rPr lang="en-US" noProof="0" dirty="0"/>
              <a:t>BMI, body mass index; EOSS, Edmonton Obesity Staging System.</a:t>
            </a:r>
            <a:br>
              <a:rPr lang="en-US" noProof="0" dirty="0"/>
            </a:br>
            <a:r>
              <a:rPr lang="en-US" dirty="0"/>
              <a:t>1. Sharma AM, Kushner RF. Int J </a:t>
            </a:r>
            <a:r>
              <a:rPr lang="en-US" dirty="0" err="1"/>
              <a:t>Obes</a:t>
            </a:r>
            <a:r>
              <a:rPr lang="en-US" dirty="0"/>
              <a:t> (Lond) 2009;33:289–295; 2</a:t>
            </a:r>
            <a:r>
              <a:rPr lang="en-US" noProof="0" dirty="0"/>
              <a:t>. Kodsi R et al. Nutrients 2022;14:967.</a:t>
            </a:r>
          </a:p>
        </p:txBody>
      </p:sp>
      <p:sp>
        <p:nvSpPr>
          <p:cNvPr id="7" name="TextBox 6">
            <a:extLst>
              <a:ext uri="{FF2B5EF4-FFF2-40B4-BE49-F238E27FC236}">
                <a16:creationId xmlns:a16="http://schemas.microsoft.com/office/drawing/2014/main" id="{C653122F-0252-2831-7F57-627B9A7C89F0}"/>
              </a:ext>
            </a:extLst>
          </p:cNvPr>
          <p:cNvSpPr txBox="1"/>
          <p:nvPr/>
        </p:nvSpPr>
        <p:spPr>
          <a:xfrm>
            <a:off x="546890" y="3345233"/>
            <a:ext cx="3784600" cy="923330"/>
          </a:xfrm>
          <a:prstGeom prst="rect">
            <a:avLst/>
          </a:prstGeom>
          <a:noFill/>
        </p:spPr>
        <p:txBody>
          <a:bodyPr wrap="square" rtlCol="0" anchor="ctr">
            <a:sp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The most well-known staging system is the Edmonton Obesity Staging System (EOSS)</a:t>
            </a:r>
            <a:r>
              <a:rPr lang="en-US" baseline="30000" dirty="0">
                <a:solidFill>
                  <a:schemeClr val="accent1"/>
                </a:solidFill>
                <a:latin typeface="Arial" panose="020B0604020202020204" pitchFamily="34" charset="0"/>
                <a:cs typeface="Arial" panose="020B0604020202020204" pitchFamily="34" charset="0"/>
              </a:rPr>
              <a:t>1,2</a:t>
            </a:r>
            <a:endParaRPr kumimoji="0" lang="en-US" b="0" i="0" u="none" strike="noStrike" kern="1200" cap="none" spc="0" normalizeH="0" baseline="30000" noProof="0" dirty="0">
              <a:ln>
                <a:noFill/>
              </a:ln>
              <a:solidFill>
                <a:schemeClr val="accent1"/>
              </a:solidFill>
              <a:effectLst/>
              <a:uLnTx/>
              <a:uFillTx/>
              <a:latin typeface="Arial" panose="020B0604020202020204" pitchFamily="34" charset="0"/>
              <a:ea typeface="+mn-ea"/>
              <a:cs typeface="Arial" panose="020B0604020202020204" pitchFamily="34" charset="0"/>
            </a:endParaRPr>
          </a:p>
        </p:txBody>
      </p:sp>
      <p:graphicFrame>
        <p:nvGraphicFramePr>
          <p:cNvPr id="54" name="Table 53">
            <a:extLst>
              <a:ext uri="{FF2B5EF4-FFF2-40B4-BE49-F238E27FC236}">
                <a16:creationId xmlns:a16="http://schemas.microsoft.com/office/drawing/2014/main" id="{5BAD649F-D596-CD7F-C6E9-642DC7B5E901}"/>
              </a:ext>
            </a:extLst>
          </p:cNvPr>
          <p:cNvGraphicFramePr>
            <a:graphicFrameLocks noGrp="1"/>
          </p:cNvGraphicFramePr>
          <p:nvPr>
            <p:extLst>
              <p:ext uri="{D42A27DB-BD31-4B8C-83A1-F6EECF244321}">
                <p14:modId xmlns:p14="http://schemas.microsoft.com/office/powerpoint/2010/main" val="3331263301"/>
              </p:ext>
            </p:extLst>
          </p:nvPr>
        </p:nvGraphicFramePr>
        <p:xfrm>
          <a:off x="4432301" y="3345233"/>
          <a:ext cx="7223129" cy="1645920"/>
        </p:xfrm>
        <a:graphic>
          <a:graphicData uri="http://schemas.openxmlformats.org/drawingml/2006/table">
            <a:tbl>
              <a:tblPr firstRow="1">
                <a:tableStyleId>{073A0DAA-6AF3-43AB-8588-CEC1D06C72B9}</a:tableStyleId>
              </a:tblPr>
              <a:tblGrid>
                <a:gridCol w="1454149">
                  <a:extLst>
                    <a:ext uri="{9D8B030D-6E8A-4147-A177-3AD203B41FA5}">
                      <a16:colId xmlns:a16="http://schemas.microsoft.com/office/drawing/2014/main" val="2876181240"/>
                    </a:ext>
                  </a:extLst>
                </a:gridCol>
                <a:gridCol w="1153796">
                  <a:extLst>
                    <a:ext uri="{9D8B030D-6E8A-4147-A177-3AD203B41FA5}">
                      <a16:colId xmlns:a16="http://schemas.microsoft.com/office/drawing/2014/main" val="769472839"/>
                    </a:ext>
                  </a:extLst>
                </a:gridCol>
                <a:gridCol w="1153796">
                  <a:extLst>
                    <a:ext uri="{9D8B030D-6E8A-4147-A177-3AD203B41FA5}">
                      <a16:colId xmlns:a16="http://schemas.microsoft.com/office/drawing/2014/main" val="3310692851"/>
                    </a:ext>
                  </a:extLst>
                </a:gridCol>
                <a:gridCol w="1153796">
                  <a:extLst>
                    <a:ext uri="{9D8B030D-6E8A-4147-A177-3AD203B41FA5}">
                      <a16:colId xmlns:a16="http://schemas.microsoft.com/office/drawing/2014/main" val="3279099378"/>
                    </a:ext>
                  </a:extLst>
                </a:gridCol>
                <a:gridCol w="1153796">
                  <a:extLst>
                    <a:ext uri="{9D8B030D-6E8A-4147-A177-3AD203B41FA5}">
                      <a16:colId xmlns:a16="http://schemas.microsoft.com/office/drawing/2014/main" val="2476124912"/>
                    </a:ext>
                  </a:extLst>
                </a:gridCol>
                <a:gridCol w="1153796">
                  <a:extLst>
                    <a:ext uri="{9D8B030D-6E8A-4147-A177-3AD203B41FA5}">
                      <a16:colId xmlns:a16="http://schemas.microsoft.com/office/drawing/2014/main" val="3921586031"/>
                    </a:ext>
                  </a:extLst>
                </a:gridCol>
              </a:tblGrid>
              <a:tr h="0">
                <a:tc>
                  <a:txBody>
                    <a:bodyPr/>
                    <a:lstStyle/>
                    <a:p>
                      <a:pPr algn="ctr"/>
                      <a:r>
                        <a:rPr lang="en-US" sz="1400" noProof="0">
                          <a:solidFill>
                            <a:schemeClr val="bg1"/>
                          </a:solidFill>
                        </a:rPr>
                        <a:t>Complications</a:t>
                      </a:r>
                      <a:endParaRPr lang="en-US" sz="1400" noProof="0">
                        <a:solidFill>
                          <a:schemeClr val="bg1"/>
                        </a:solidFill>
                        <a:latin typeface="Arial"/>
                        <a:cs typeface="Arial"/>
                      </a:endParaRPr>
                    </a:p>
                  </a:txBody>
                  <a:tcPr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ase"/>
                      <a:r>
                        <a:rPr lang="en-US" sz="1400" b="1" u="none" strike="noStrike" noProof="0">
                          <a:solidFill>
                            <a:schemeClr val="tx1"/>
                          </a:solidFill>
                          <a:effectLst/>
                        </a:rPr>
                        <a:t>Stage 0</a:t>
                      </a:r>
                      <a:endParaRPr lang="en-US" sz="1400" b="1" i="0" noProof="0">
                        <a:solidFill>
                          <a:schemeClr val="tx1"/>
                        </a:solidFill>
                        <a:effectLst/>
                        <a:latin typeface="Arial"/>
                        <a:cs typeface="Arial"/>
                      </a:endParaRPr>
                    </a:p>
                  </a:txBody>
                  <a:tcPr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6"/>
                    </a:solidFill>
                  </a:tcPr>
                </a:tc>
                <a:tc>
                  <a:txBody>
                    <a:bodyPr/>
                    <a:lstStyle/>
                    <a:p>
                      <a:pPr algn="ctr" fontAlgn="base"/>
                      <a:r>
                        <a:rPr lang="en-US" sz="1400" b="1" u="none" strike="noStrike" noProof="0">
                          <a:solidFill>
                            <a:schemeClr val="tx1"/>
                          </a:solidFill>
                          <a:effectLst/>
                        </a:rPr>
                        <a:t>Stage 1</a:t>
                      </a:r>
                      <a:endParaRPr lang="en-US" sz="1400" b="1" i="0" noProof="0">
                        <a:solidFill>
                          <a:schemeClr val="tx1"/>
                        </a:solidFill>
                        <a:effectLst/>
                        <a:latin typeface="Arial"/>
                        <a:cs typeface="Arial"/>
                      </a:endParaRPr>
                    </a:p>
                  </a:txBody>
                  <a:tcPr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6"/>
                    </a:solidFill>
                  </a:tcPr>
                </a:tc>
                <a:tc>
                  <a:txBody>
                    <a:bodyPr/>
                    <a:lstStyle/>
                    <a:p>
                      <a:pPr algn="ctr" fontAlgn="base"/>
                      <a:r>
                        <a:rPr lang="en-US" sz="1400" b="1" noProof="0">
                          <a:solidFill>
                            <a:schemeClr val="tx1"/>
                          </a:solidFill>
                          <a:effectLst/>
                        </a:rPr>
                        <a:t>Stage 2</a:t>
                      </a:r>
                      <a:endParaRPr lang="en-US" sz="1400" b="1" i="0" noProof="0">
                        <a:solidFill>
                          <a:schemeClr val="tx1"/>
                        </a:solidFill>
                        <a:effectLst/>
                        <a:latin typeface="Arial"/>
                        <a:cs typeface="Arial"/>
                      </a:endParaRPr>
                    </a:p>
                  </a:txBody>
                  <a:tcPr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6"/>
                    </a:solidFill>
                  </a:tcPr>
                </a:tc>
                <a:tc>
                  <a:txBody>
                    <a:bodyPr/>
                    <a:lstStyle/>
                    <a:p>
                      <a:pPr algn="ctr" fontAlgn="base"/>
                      <a:r>
                        <a:rPr lang="en-US" sz="1400" b="1" noProof="0">
                          <a:solidFill>
                            <a:schemeClr val="tx1"/>
                          </a:solidFill>
                          <a:effectLst/>
                        </a:rPr>
                        <a:t>Stage 3</a:t>
                      </a:r>
                      <a:endParaRPr lang="en-US" sz="1400" b="1" i="0" noProof="0">
                        <a:solidFill>
                          <a:schemeClr val="tx1"/>
                        </a:solidFill>
                        <a:effectLst/>
                        <a:latin typeface="Arial"/>
                        <a:cs typeface="Arial"/>
                      </a:endParaRPr>
                    </a:p>
                  </a:txBody>
                  <a:tcPr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6"/>
                    </a:solidFill>
                  </a:tcPr>
                </a:tc>
                <a:tc>
                  <a:txBody>
                    <a:bodyPr/>
                    <a:lstStyle/>
                    <a:p>
                      <a:pPr algn="ctr" fontAlgn="base"/>
                      <a:r>
                        <a:rPr lang="en-US" sz="1400" b="1" noProof="0">
                          <a:solidFill>
                            <a:schemeClr val="tx1"/>
                          </a:solidFill>
                          <a:effectLst/>
                        </a:rPr>
                        <a:t>Stage 4</a:t>
                      </a:r>
                      <a:endParaRPr lang="en-US" sz="1400" b="1" i="0" noProof="0">
                        <a:solidFill>
                          <a:schemeClr val="tx1"/>
                        </a:solidFill>
                        <a:effectLst/>
                        <a:latin typeface="Arial"/>
                        <a:cs typeface="Arial"/>
                      </a:endParaRPr>
                    </a:p>
                  </a:txBody>
                  <a:tcPr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6"/>
                    </a:solidFill>
                  </a:tcPr>
                </a:tc>
                <a:extLst>
                  <a:ext uri="{0D108BD9-81ED-4DB2-BD59-A6C34878D82A}">
                    <a16:rowId xmlns:a16="http://schemas.microsoft.com/office/drawing/2014/main" val="1476192717"/>
                  </a:ext>
                </a:extLst>
              </a:tr>
              <a:tr h="518160">
                <a:tc>
                  <a:txBody>
                    <a:bodyPr/>
                    <a:lstStyle/>
                    <a:p>
                      <a:pPr algn="ctr" fontAlgn="base"/>
                      <a:r>
                        <a:rPr lang="en-US" sz="1400" b="1" u="none" strike="noStrike" noProof="0" dirty="0">
                          <a:solidFill>
                            <a:schemeClr val="bg1"/>
                          </a:solidFill>
                          <a:effectLst/>
                        </a:rPr>
                        <a:t>Medical</a:t>
                      </a:r>
                      <a:endParaRPr lang="en-US" sz="1400" b="1" i="0" noProof="0" dirty="0">
                        <a:solidFill>
                          <a:schemeClr val="bg1"/>
                        </a:solidFill>
                        <a:effectLst/>
                        <a:latin typeface="Arial"/>
                        <a:cs typeface="Arial"/>
                      </a:endParaRP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3">
                  <a:txBody>
                    <a:bodyPr/>
                    <a:lstStyle/>
                    <a:p>
                      <a:pPr algn="ctr" fontAlgn="base"/>
                      <a:r>
                        <a:rPr lang="en-US" sz="1400" b="0" u="none" strike="noStrike" noProof="0" dirty="0">
                          <a:solidFill>
                            <a:schemeClr val="bg1"/>
                          </a:solidFill>
                          <a:effectLst/>
                        </a:rPr>
                        <a:t>Absent</a:t>
                      </a:r>
                      <a:endParaRPr lang="en-US" sz="1400" b="0" i="0" noProof="0" dirty="0">
                        <a:solidFill>
                          <a:schemeClr val="bg1"/>
                        </a:solidFill>
                        <a:effectLst/>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ase"/>
                      <a:r>
                        <a:rPr lang="en-US" sz="1400" b="0" u="none" strike="noStrike" noProof="0" dirty="0">
                          <a:solidFill>
                            <a:schemeClr val="tx1"/>
                          </a:solidFill>
                          <a:effectLst/>
                        </a:rPr>
                        <a:t>Preclinical risk factors</a:t>
                      </a:r>
                      <a:r>
                        <a:rPr lang="en-US" sz="1400" b="0" noProof="0" dirty="0">
                          <a:solidFill>
                            <a:schemeClr val="tx1"/>
                          </a:solidFill>
                          <a:effectLst/>
                        </a:rPr>
                        <a:t>​</a:t>
                      </a:r>
                      <a:endParaRPr lang="en-US" sz="1400" b="0" i="0" noProof="0" dirty="0">
                        <a:solidFill>
                          <a:schemeClr val="tx1"/>
                        </a:solidFill>
                        <a:effectLst/>
                        <a:latin typeface="Arial"/>
                        <a:cs typeface="Arial"/>
                      </a:endParaRPr>
                    </a:p>
                  </a:txBody>
                  <a:tcPr anchor="ctr">
                    <a:lnL w="12700" cap="flat" cmpd="sng" algn="ctr">
                      <a:no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fontAlgn="base"/>
                      <a:r>
                        <a:rPr lang="en-US" sz="1400" b="0" noProof="0" dirty="0">
                          <a:solidFill>
                            <a:schemeClr val="tx1"/>
                          </a:solidFill>
                          <a:effectLst/>
                        </a:rPr>
                        <a:t>Comorbidity</a:t>
                      </a:r>
                      <a:endParaRPr lang="en-US" sz="1400" b="0" i="0" noProof="0" dirty="0">
                        <a:solidFill>
                          <a:schemeClr val="tx1"/>
                        </a:solidFill>
                        <a:effectLst/>
                        <a:latin typeface="Arial"/>
                        <a:cs typeface="Arial"/>
                      </a:endParaRPr>
                    </a:p>
                  </a:txBody>
                  <a:tcPr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fontAlgn="base"/>
                      <a:r>
                        <a:rPr lang="en-US" sz="1400" b="0" noProof="0" dirty="0">
                          <a:solidFill>
                            <a:schemeClr val="tx1"/>
                          </a:solidFill>
                          <a:effectLst/>
                        </a:rPr>
                        <a:t>End-organ </a:t>
                      </a:r>
                      <a:br>
                        <a:rPr lang="en-US" sz="1400" b="0" noProof="0" dirty="0">
                          <a:solidFill>
                            <a:schemeClr val="tx1"/>
                          </a:solidFill>
                          <a:effectLst/>
                        </a:rPr>
                      </a:br>
                      <a:r>
                        <a:rPr lang="en-US" sz="1400" b="0" noProof="0" dirty="0">
                          <a:solidFill>
                            <a:schemeClr val="tx1"/>
                          </a:solidFill>
                          <a:effectLst/>
                        </a:rPr>
                        <a:t>damage</a:t>
                      </a:r>
                      <a:endParaRPr lang="en-US" sz="1400" b="0" i="0" noProof="0" dirty="0">
                        <a:solidFill>
                          <a:schemeClr val="tx1"/>
                        </a:solidFill>
                        <a:effectLst/>
                        <a:latin typeface="Arial"/>
                        <a:cs typeface="Arial"/>
                      </a:endParaRPr>
                    </a:p>
                  </a:txBody>
                  <a:tcPr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fontAlgn="base"/>
                      <a:r>
                        <a:rPr lang="en-GB" sz="1400" b="0" i="0" dirty="0">
                          <a:solidFill>
                            <a:schemeClr val="tx1"/>
                          </a:solidFill>
                          <a:effectLst/>
                          <a:latin typeface="Arial" panose="020B0604020202020204" pitchFamily="34" charset="0"/>
                          <a:cs typeface="Arial" panose="020B0604020202020204" pitchFamily="34" charset="0"/>
                        </a:rPr>
                        <a:t>Severe</a:t>
                      </a:r>
                    </a:p>
                  </a:txBody>
                  <a:tcPr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6E0FF"/>
                    </a:solidFill>
                  </a:tcPr>
                </a:tc>
                <a:extLst>
                  <a:ext uri="{0D108BD9-81ED-4DB2-BD59-A6C34878D82A}">
                    <a16:rowId xmlns:a16="http://schemas.microsoft.com/office/drawing/2014/main" val="3715470618"/>
                  </a:ext>
                </a:extLst>
              </a:tr>
              <a:tr h="0">
                <a:tc>
                  <a:txBody>
                    <a:bodyPr/>
                    <a:lstStyle/>
                    <a:p>
                      <a:pPr lvl="0" algn="ctr" fontAlgn="base"/>
                      <a:r>
                        <a:rPr lang="en-US" sz="1400" b="1" noProof="0">
                          <a:solidFill>
                            <a:schemeClr val="bg1"/>
                          </a:solidFill>
                          <a:effectLst/>
                        </a:rPr>
                        <a:t>Mental</a:t>
                      </a:r>
                      <a:endParaRPr lang="en-US" sz="1400" b="1" i="0" noProof="0">
                        <a:solidFill>
                          <a:schemeClr val="bg1"/>
                        </a:solidFill>
                        <a:effectLst/>
                        <a:latin typeface="Arial"/>
                        <a:cs typeface="Arial"/>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algn="ctr" fontAlgn="base"/>
                      <a:endParaRPr lang="en-GB" sz="1400" b="0" i="0">
                        <a:solidFill>
                          <a:schemeClr val="tx1"/>
                        </a:solidFill>
                        <a:effectLst/>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7512" cap="flat" cmpd="sng" algn="ctr">
                      <a:noFill/>
                      <a:prstDash val="solid"/>
                      <a:round/>
                      <a:headEnd type="none" w="med" len="med"/>
                      <a:tailEnd type="none" w="med" len="med"/>
                    </a:lnT>
                    <a:lnB w="7512" cap="flat" cmpd="sng" algn="ctr">
                      <a:solidFill>
                        <a:srgbClr val="CCC5BD"/>
                      </a:solidFill>
                      <a:prstDash val="solid"/>
                      <a:round/>
                      <a:headEnd type="none" w="med" len="med"/>
                      <a:tailEnd type="none" w="med" len="med"/>
                    </a:lnB>
                  </a:tcPr>
                </a:tc>
                <a:tc>
                  <a:txBody>
                    <a:bodyPr/>
                    <a:lstStyle/>
                    <a:p>
                      <a:pPr algn="ctr" fontAlgn="base"/>
                      <a:r>
                        <a:rPr lang="en-US" sz="1400" b="0" u="none" strike="noStrike" noProof="0" dirty="0">
                          <a:solidFill>
                            <a:schemeClr val="tx1"/>
                          </a:solidFill>
                          <a:effectLst/>
                        </a:rPr>
                        <a:t>Mild</a:t>
                      </a:r>
                      <a:r>
                        <a:rPr lang="en-US" sz="1400" b="0" noProof="0" dirty="0">
                          <a:solidFill>
                            <a:schemeClr val="tx1"/>
                          </a:solidFill>
                          <a:effectLst/>
                        </a:rPr>
                        <a:t>​</a:t>
                      </a:r>
                      <a:endParaRPr lang="en-US" sz="1400" b="0" i="0" noProof="0" dirty="0">
                        <a:solidFill>
                          <a:schemeClr val="tx1"/>
                        </a:solidFill>
                        <a:effectLst/>
                        <a:latin typeface="Arial"/>
                        <a:cs typeface="Arial"/>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6"/>
                    </a:solidFill>
                  </a:tcPr>
                </a:tc>
                <a:tc>
                  <a:txBody>
                    <a:bodyPr/>
                    <a:lstStyle/>
                    <a:p>
                      <a:pPr algn="ctr" fontAlgn="base"/>
                      <a:r>
                        <a:rPr lang="en-US" sz="1400" b="0" noProof="0" dirty="0">
                          <a:solidFill>
                            <a:schemeClr val="tx1"/>
                          </a:solidFill>
                          <a:effectLst/>
                        </a:rPr>
                        <a:t>Moderate</a:t>
                      </a:r>
                      <a:endParaRPr lang="en-US" sz="1400" b="0" i="0" noProof="0" dirty="0">
                        <a:solidFill>
                          <a:schemeClr val="tx1"/>
                        </a:solidFill>
                        <a:effectLst/>
                        <a:latin typeface="Arial"/>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6"/>
                    </a:solidFill>
                  </a:tcPr>
                </a:tc>
                <a:tc>
                  <a:txBody>
                    <a:bodyPr/>
                    <a:lstStyle/>
                    <a:p>
                      <a:pPr algn="ctr" fontAlgn="base"/>
                      <a:r>
                        <a:rPr lang="en-US" sz="1400" b="0" noProof="0" dirty="0">
                          <a:solidFill>
                            <a:schemeClr val="tx1"/>
                          </a:solidFill>
                          <a:effectLst/>
                        </a:rPr>
                        <a:t>Significant</a:t>
                      </a:r>
                      <a:endParaRPr lang="en-US" sz="1400" b="0" i="0" noProof="0" dirty="0">
                        <a:solidFill>
                          <a:schemeClr val="tx1"/>
                        </a:solidFill>
                        <a:effectLst/>
                        <a:latin typeface="Arial"/>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6"/>
                    </a:solidFill>
                  </a:tcPr>
                </a:tc>
                <a:tc>
                  <a:txBody>
                    <a:bodyPr/>
                    <a:lstStyle/>
                    <a:p>
                      <a:pPr algn="ctr" fontAlgn="base"/>
                      <a:r>
                        <a:rPr lang="en-GB" sz="1400" b="0" i="0" dirty="0">
                          <a:solidFill>
                            <a:schemeClr val="tx1"/>
                          </a:solidFill>
                          <a:effectLst/>
                          <a:latin typeface="Arial" panose="020B0604020202020204" pitchFamily="34" charset="0"/>
                          <a:cs typeface="Arial" panose="020B0604020202020204" pitchFamily="34" charset="0"/>
                        </a:rPr>
                        <a:t>Severe</a:t>
                      </a:r>
                    </a:p>
                  </a:txBody>
                  <a:tcPr anchor="ctr">
                    <a:lnL w="12700" cmpd="sng">
                      <a:noFill/>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6"/>
                    </a:solidFill>
                  </a:tcPr>
                </a:tc>
                <a:extLst>
                  <a:ext uri="{0D108BD9-81ED-4DB2-BD59-A6C34878D82A}">
                    <a16:rowId xmlns:a16="http://schemas.microsoft.com/office/drawing/2014/main" val="1420337844"/>
                  </a:ext>
                </a:extLst>
              </a:tr>
              <a:tr h="518160">
                <a:tc>
                  <a:txBody>
                    <a:bodyPr/>
                    <a:lstStyle/>
                    <a:p>
                      <a:pPr lvl="0" algn="ctr" fontAlgn="base"/>
                      <a:r>
                        <a:rPr lang="en-US" sz="1400" b="1" u="none" strike="noStrike" noProof="0">
                          <a:solidFill>
                            <a:schemeClr val="bg1"/>
                          </a:solidFill>
                          <a:effectLst/>
                        </a:rPr>
                        <a:t>Physical Function </a:t>
                      </a:r>
                      <a:endParaRPr lang="en-US" sz="1400" b="1" i="0" noProof="0">
                        <a:solidFill>
                          <a:schemeClr val="bg1"/>
                        </a:solidFill>
                        <a:effectLst/>
                        <a:latin typeface="Arial" panose="020B0604020202020204" pitchFamily="34" charset="0"/>
                        <a:cs typeface="Arial" panose="020B0604020202020204" pitchFamily="34" charset="0"/>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vMerge="1">
                  <a:txBody>
                    <a:bodyPr/>
                    <a:lstStyle/>
                    <a:p>
                      <a:pPr algn="ctr" fontAlgn="base"/>
                      <a:endParaRPr lang="en-GB" sz="1400" b="0" i="0">
                        <a:solidFill>
                          <a:schemeClr val="tx1"/>
                        </a:solidFill>
                        <a:effectLst/>
                        <a:latin typeface="Arial" panose="020B0604020202020204" pitchFamily="34" charset="0"/>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7512" cap="flat" cmpd="sng" algn="ctr">
                      <a:solidFill>
                        <a:srgbClr val="CCC5BD"/>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ase"/>
                      <a:r>
                        <a:rPr lang="en-US" sz="1400" b="0" u="none" strike="noStrike" noProof="0" dirty="0">
                          <a:solidFill>
                            <a:schemeClr val="tx1"/>
                          </a:solidFill>
                          <a:effectLst/>
                        </a:rPr>
                        <a:t>Mild</a:t>
                      </a:r>
                      <a:endParaRPr lang="en-US" sz="1400" b="0" i="0" noProof="0" dirty="0">
                        <a:solidFill>
                          <a:schemeClr val="tx1"/>
                        </a:solidFill>
                        <a:effectLst/>
                        <a:latin typeface="Arial"/>
                        <a:cs typeface="Arial"/>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fontAlgn="base"/>
                      <a:r>
                        <a:rPr lang="en-US" sz="1400" b="0" noProof="0" dirty="0">
                          <a:solidFill>
                            <a:schemeClr val="tx1"/>
                          </a:solidFill>
                          <a:effectLst/>
                        </a:rPr>
                        <a:t>Moderate</a:t>
                      </a:r>
                      <a:endParaRPr lang="en-US" sz="1400" b="0" i="0" noProof="0" dirty="0">
                        <a:solidFill>
                          <a:schemeClr val="tx1"/>
                        </a:solidFill>
                        <a:effectLst/>
                        <a:latin typeface="Arial"/>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fontAlgn="base"/>
                      <a:r>
                        <a:rPr lang="en-US" sz="1400" b="0" noProof="0" dirty="0">
                          <a:solidFill>
                            <a:schemeClr val="tx1"/>
                          </a:solidFill>
                          <a:effectLst/>
                        </a:rPr>
                        <a:t>Significant</a:t>
                      </a:r>
                      <a:endParaRPr lang="en-US" sz="1400" b="0" i="0" noProof="0" dirty="0">
                        <a:solidFill>
                          <a:schemeClr val="tx1"/>
                        </a:solidFill>
                        <a:effectLst/>
                        <a:latin typeface="+mn-lt"/>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fontAlgn="base"/>
                      <a:r>
                        <a:rPr lang="en-GB" sz="1400" b="0" i="0" dirty="0">
                          <a:solidFill>
                            <a:schemeClr val="tx1"/>
                          </a:solidFill>
                          <a:effectLst/>
                          <a:latin typeface="Arial" panose="020B0604020202020204" pitchFamily="34" charset="0"/>
                          <a:cs typeface="Arial" panose="020B0604020202020204" pitchFamily="34" charset="0"/>
                        </a:rPr>
                        <a:t>Severe</a:t>
                      </a:r>
                    </a:p>
                  </a:txBody>
                  <a:tcPr anchor="ctr">
                    <a:lnL w="12700" cmpd="sng">
                      <a:noFill/>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6E0FF"/>
                    </a:solidFill>
                  </a:tcPr>
                </a:tc>
                <a:extLst>
                  <a:ext uri="{0D108BD9-81ED-4DB2-BD59-A6C34878D82A}">
                    <a16:rowId xmlns:a16="http://schemas.microsoft.com/office/drawing/2014/main" val="46313757"/>
                  </a:ext>
                </a:extLst>
              </a:tr>
            </a:tbl>
          </a:graphicData>
        </a:graphic>
      </p:graphicFrame>
      <p:sp>
        <p:nvSpPr>
          <p:cNvPr id="17" name="Rectangle: Rounded Corners 16">
            <a:extLst>
              <a:ext uri="{FF2B5EF4-FFF2-40B4-BE49-F238E27FC236}">
                <a16:creationId xmlns:a16="http://schemas.microsoft.com/office/drawing/2014/main" id="{E38EB437-1CEF-C15B-B061-61B3C3CE8716}"/>
              </a:ext>
            </a:extLst>
          </p:cNvPr>
          <p:cNvSpPr/>
          <p:nvPr/>
        </p:nvSpPr>
        <p:spPr>
          <a:xfrm>
            <a:off x="736162" y="4417947"/>
            <a:ext cx="3406056" cy="573206"/>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39">
              <a:defRPr/>
            </a:pPr>
            <a:r>
              <a:rPr lang="en-US" sz="1400" noProof="0" dirty="0">
                <a:solidFill>
                  <a:srgbClr val="FFFFFF"/>
                </a:solidFill>
                <a:cs typeface="Arial"/>
              </a:rPr>
              <a:t>The EOSS is a better predictor of mortality than BMI alone</a:t>
            </a:r>
            <a:r>
              <a:rPr lang="en-US" sz="1400" baseline="30000" dirty="0">
                <a:solidFill>
                  <a:srgbClr val="FFFFFF"/>
                </a:solidFill>
                <a:cs typeface="Arial"/>
              </a:rPr>
              <a:t>2</a:t>
            </a:r>
            <a:endParaRPr lang="en-US" sz="1400" baseline="30000" noProof="0" dirty="0">
              <a:solidFill>
                <a:srgbClr val="FFFFFF"/>
              </a:solidFill>
              <a:latin typeface="Arial" panose="020B0604020202020204" pitchFamily="34" charset="0"/>
              <a:cs typeface="Arial" panose="020B0604020202020204" pitchFamily="34" charset="0"/>
            </a:endParaRPr>
          </a:p>
        </p:txBody>
      </p:sp>
      <p:sp>
        <p:nvSpPr>
          <p:cNvPr id="34" name="Text Placeholder 8">
            <a:extLst>
              <a:ext uri="{FF2B5EF4-FFF2-40B4-BE49-F238E27FC236}">
                <a16:creationId xmlns:a16="http://schemas.microsoft.com/office/drawing/2014/main" id="{E4D7DFA3-E797-1995-FDD7-8F8DE1D80F02}"/>
              </a:ext>
            </a:extLst>
          </p:cNvPr>
          <p:cNvSpPr txBox="1">
            <a:spLocks/>
          </p:cNvSpPr>
          <p:nvPr/>
        </p:nvSpPr>
        <p:spPr>
          <a:xfrm>
            <a:off x="1177205" y="1702147"/>
            <a:ext cx="9823304" cy="924578"/>
          </a:xfrm>
          <a:prstGeom prst="rect">
            <a:avLst/>
          </a:prstGeom>
        </p:spPr>
        <p:txBody>
          <a:bodyPr vert="horz" lIns="0" tIns="0" rIns="0" bIns="0" rtlCol="0">
            <a:noAutofit/>
          </a:bodyPr>
          <a:lst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indent="0" algn="ctr">
              <a:buFont typeface="Arial" panose="020B0604020202020204" pitchFamily="34" charset="0"/>
              <a:buNone/>
            </a:pPr>
            <a:r>
              <a:rPr lang="en-US" sz="1800" noProof="0" dirty="0"/>
              <a:t>BMI is </a:t>
            </a:r>
            <a:r>
              <a:rPr lang="en-US" sz="1800" b="1" noProof="0" dirty="0"/>
              <a:t>better suited </a:t>
            </a:r>
            <a:r>
              <a:rPr lang="en-US" sz="1800" noProof="0" dirty="0"/>
              <a:t>to </a:t>
            </a:r>
            <a:r>
              <a:rPr lang="en-US" sz="1800" b="1" noProof="0" dirty="0"/>
              <a:t>describing populations </a:t>
            </a:r>
            <a:r>
              <a:rPr lang="en-US" sz="1800" noProof="0" dirty="0"/>
              <a:t>than individuals</a:t>
            </a:r>
            <a:r>
              <a:rPr lang="en-US" sz="1800" baseline="30000" noProof="0" dirty="0"/>
              <a:t>1</a:t>
            </a:r>
            <a:endParaRPr lang="en-US" sz="1800" noProof="0" dirty="0"/>
          </a:p>
          <a:p>
            <a:pPr marL="0" indent="0" algn="ctr">
              <a:buFont typeface="Arial" panose="020B0604020202020204" pitchFamily="34" charset="0"/>
              <a:buNone/>
            </a:pPr>
            <a:r>
              <a:rPr lang="en-US" sz="1800" noProof="0" dirty="0"/>
              <a:t>Obesity staging systems </a:t>
            </a:r>
            <a:r>
              <a:rPr lang="en-US" sz="1800" b="1" noProof="0" dirty="0"/>
              <a:t>assist clinicians in characterizing obesity severity </a:t>
            </a:r>
            <a:br>
              <a:rPr lang="en-US" sz="1800" b="1" noProof="0" dirty="0"/>
            </a:br>
            <a:r>
              <a:rPr lang="en-US" sz="1800" noProof="0" dirty="0"/>
              <a:t>and aid in </a:t>
            </a:r>
            <a:r>
              <a:rPr lang="en-US" sz="1800" b="1" noProof="0" dirty="0"/>
              <a:t>clinical decision-making</a:t>
            </a:r>
            <a:r>
              <a:rPr lang="en-US" sz="1800" baseline="30000" noProof="0" dirty="0"/>
              <a:t>1</a:t>
            </a:r>
            <a:endParaRPr lang="en-US" sz="1800" b="1" noProof="0" dirty="0"/>
          </a:p>
        </p:txBody>
      </p:sp>
    </p:spTree>
    <p:extLst>
      <p:ext uri="{BB962C8B-B14F-4D97-AF65-F5344CB8AC3E}">
        <p14:creationId xmlns:p14="http://schemas.microsoft.com/office/powerpoint/2010/main" val="37237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33751-01AB-8087-CD5A-E94951E1196B}"/>
            </a:ext>
          </a:extLst>
        </p:cNvPr>
        <p:cNvGrpSpPr/>
        <p:nvPr/>
      </p:nvGrpSpPr>
      <p:grpSpPr>
        <a:xfrm>
          <a:off x="0" y="0"/>
          <a:ext cx="0" cy="0"/>
          <a:chOff x="0" y="0"/>
          <a:chExt cx="0" cy="0"/>
        </a:xfrm>
      </p:grpSpPr>
      <p:sp>
        <p:nvSpPr>
          <p:cNvPr id="4" name="Freeform 1323">
            <a:extLst>
              <a:ext uri="{FF2B5EF4-FFF2-40B4-BE49-F238E27FC236}">
                <a16:creationId xmlns:a16="http://schemas.microsoft.com/office/drawing/2014/main" id="{E418110D-8BB1-4545-DF2E-C3E3F5137AA6}"/>
              </a:ext>
            </a:extLst>
          </p:cNvPr>
          <p:cNvSpPr>
            <a:spLocks noEditPoints="1"/>
          </p:cNvSpPr>
          <p:nvPr/>
        </p:nvSpPr>
        <p:spPr bwMode="auto">
          <a:xfrm>
            <a:off x="2074920" y="1915439"/>
            <a:ext cx="5647266" cy="2676491"/>
          </a:xfrm>
          <a:custGeom>
            <a:avLst/>
            <a:gdLst>
              <a:gd name="T0" fmla="*/ 5084 w 5760"/>
              <a:gd name="T1" fmla="*/ 1151 h 3090"/>
              <a:gd name="T2" fmla="*/ 515 w 5760"/>
              <a:gd name="T3" fmla="*/ 2094 h 3090"/>
              <a:gd name="T4" fmla="*/ 515 w 5760"/>
              <a:gd name="T5" fmla="*/ 2011 h 3090"/>
              <a:gd name="T6" fmla="*/ 2951 w 5760"/>
              <a:gd name="T7" fmla="*/ 2580 h 3090"/>
              <a:gd name="T8" fmla="*/ 225 w 5760"/>
              <a:gd name="T9" fmla="*/ 202 h 3090"/>
              <a:gd name="T10" fmla="*/ 184 w 5760"/>
              <a:gd name="T11" fmla="*/ 42 h 3090"/>
              <a:gd name="T12" fmla="*/ 4670 w 5760"/>
              <a:gd name="T13" fmla="*/ 1993 h 3090"/>
              <a:gd name="T14" fmla="*/ 4000 w 5760"/>
              <a:gd name="T15" fmla="*/ 463 h 3090"/>
              <a:gd name="T16" fmla="*/ 5481 w 5760"/>
              <a:gd name="T17" fmla="*/ 741 h 3090"/>
              <a:gd name="T18" fmla="*/ 5618 w 5760"/>
              <a:gd name="T19" fmla="*/ 688 h 3090"/>
              <a:gd name="T20" fmla="*/ 5416 w 5760"/>
              <a:gd name="T21" fmla="*/ 439 h 3090"/>
              <a:gd name="T22" fmla="*/ 4563 w 5760"/>
              <a:gd name="T23" fmla="*/ 890 h 3090"/>
              <a:gd name="T24" fmla="*/ 4071 w 5760"/>
              <a:gd name="T25" fmla="*/ 724 h 3090"/>
              <a:gd name="T26" fmla="*/ 3698 w 5760"/>
              <a:gd name="T27" fmla="*/ 1020 h 3090"/>
              <a:gd name="T28" fmla="*/ 3994 w 5760"/>
              <a:gd name="T29" fmla="*/ 433 h 3090"/>
              <a:gd name="T30" fmla="*/ 3378 w 5760"/>
              <a:gd name="T31" fmla="*/ 302 h 3090"/>
              <a:gd name="T32" fmla="*/ 201 w 5760"/>
              <a:gd name="T33" fmla="*/ 30 h 3090"/>
              <a:gd name="T34" fmla="*/ 172 w 5760"/>
              <a:gd name="T35" fmla="*/ 279 h 3090"/>
              <a:gd name="T36" fmla="*/ 184 w 5760"/>
              <a:gd name="T37" fmla="*/ 136 h 3090"/>
              <a:gd name="T38" fmla="*/ 71 w 5760"/>
              <a:gd name="T39" fmla="*/ 380 h 3090"/>
              <a:gd name="T40" fmla="*/ 65 w 5760"/>
              <a:gd name="T41" fmla="*/ 611 h 3090"/>
              <a:gd name="T42" fmla="*/ 59 w 5760"/>
              <a:gd name="T43" fmla="*/ 1145 h 3090"/>
              <a:gd name="T44" fmla="*/ 225 w 5760"/>
              <a:gd name="T45" fmla="*/ 1530 h 3090"/>
              <a:gd name="T46" fmla="*/ 267 w 5760"/>
              <a:gd name="T47" fmla="*/ 1584 h 3090"/>
              <a:gd name="T48" fmla="*/ 338 w 5760"/>
              <a:gd name="T49" fmla="*/ 1785 h 3090"/>
              <a:gd name="T50" fmla="*/ 622 w 5760"/>
              <a:gd name="T51" fmla="*/ 2011 h 3090"/>
              <a:gd name="T52" fmla="*/ 1647 w 5760"/>
              <a:gd name="T53" fmla="*/ 2278 h 3090"/>
              <a:gd name="T54" fmla="*/ 2169 w 5760"/>
              <a:gd name="T55" fmla="*/ 2574 h 3090"/>
              <a:gd name="T56" fmla="*/ 2477 w 5760"/>
              <a:gd name="T57" fmla="*/ 2722 h 3090"/>
              <a:gd name="T58" fmla="*/ 2732 w 5760"/>
              <a:gd name="T59" fmla="*/ 2900 h 3090"/>
              <a:gd name="T60" fmla="*/ 2750 w 5760"/>
              <a:gd name="T61" fmla="*/ 2687 h 3090"/>
              <a:gd name="T62" fmla="*/ 2963 w 5760"/>
              <a:gd name="T63" fmla="*/ 2562 h 3090"/>
              <a:gd name="T64" fmla="*/ 3318 w 5760"/>
              <a:gd name="T65" fmla="*/ 2533 h 3090"/>
              <a:gd name="T66" fmla="*/ 3478 w 5760"/>
              <a:gd name="T67" fmla="*/ 2544 h 3090"/>
              <a:gd name="T68" fmla="*/ 3508 w 5760"/>
              <a:gd name="T69" fmla="*/ 2515 h 3090"/>
              <a:gd name="T70" fmla="*/ 3514 w 5760"/>
              <a:gd name="T71" fmla="*/ 2455 h 3090"/>
              <a:gd name="T72" fmla="*/ 3751 w 5760"/>
              <a:gd name="T73" fmla="*/ 2426 h 3090"/>
              <a:gd name="T74" fmla="*/ 3917 w 5760"/>
              <a:gd name="T75" fmla="*/ 2515 h 3090"/>
              <a:gd name="T76" fmla="*/ 4172 w 5760"/>
              <a:gd name="T77" fmla="*/ 2728 h 3090"/>
              <a:gd name="T78" fmla="*/ 4278 w 5760"/>
              <a:gd name="T79" fmla="*/ 2853 h 3090"/>
              <a:gd name="T80" fmla="*/ 4427 w 5760"/>
              <a:gd name="T81" fmla="*/ 2995 h 3090"/>
              <a:gd name="T82" fmla="*/ 4308 w 5760"/>
              <a:gd name="T83" fmla="*/ 2366 h 3090"/>
              <a:gd name="T84" fmla="*/ 4415 w 5760"/>
              <a:gd name="T85" fmla="*/ 2189 h 3090"/>
              <a:gd name="T86" fmla="*/ 4723 w 5760"/>
              <a:gd name="T87" fmla="*/ 1928 h 3090"/>
              <a:gd name="T88" fmla="*/ 4794 w 5760"/>
              <a:gd name="T89" fmla="*/ 1833 h 3090"/>
              <a:gd name="T90" fmla="*/ 4782 w 5760"/>
              <a:gd name="T91" fmla="*/ 1726 h 3090"/>
              <a:gd name="T92" fmla="*/ 4824 w 5760"/>
              <a:gd name="T93" fmla="*/ 1649 h 3090"/>
              <a:gd name="T94" fmla="*/ 4782 w 5760"/>
              <a:gd name="T95" fmla="*/ 1542 h 3090"/>
              <a:gd name="T96" fmla="*/ 4753 w 5760"/>
              <a:gd name="T97" fmla="*/ 1406 h 3090"/>
              <a:gd name="T98" fmla="*/ 4800 w 5760"/>
              <a:gd name="T99" fmla="*/ 1376 h 3090"/>
              <a:gd name="T100" fmla="*/ 4818 w 5760"/>
              <a:gd name="T101" fmla="*/ 1423 h 3090"/>
              <a:gd name="T102" fmla="*/ 4877 w 5760"/>
              <a:gd name="T103" fmla="*/ 1542 h 3090"/>
              <a:gd name="T104" fmla="*/ 4895 w 5760"/>
              <a:gd name="T105" fmla="*/ 1305 h 3090"/>
              <a:gd name="T106" fmla="*/ 5055 w 5760"/>
              <a:gd name="T107" fmla="*/ 1198 h 3090"/>
              <a:gd name="T108" fmla="*/ 5310 w 5760"/>
              <a:gd name="T109" fmla="*/ 1038 h 3090"/>
              <a:gd name="T110" fmla="*/ 5375 w 5760"/>
              <a:gd name="T111" fmla="*/ 961 h 3090"/>
              <a:gd name="T112" fmla="*/ 5464 w 5760"/>
              <a:gd name="T113" fmla="*/ 747 h 3090"/>
              <a:gd name="T114" fmla="*/ 5570 w 5760"/>
              <a:gd name="T115" fmla="*/ 658 h 3090"/>
              <a:gd name="T116" fmla="*/ 5713 w 5760"/>
              <a:gd name="T117" fmla="*/ 635 h 3090"/>
              <a:gd name="T118" fmla="*/ 3366 w 5760"/>
              <a:gd name="T119" fmla="*/ 2586 h 3090"/>
              <a:gd name="T120" fmla="*/ 3514 w 5760"/>
              <a:gd name="T121" fmla="*/ 2503 h 3090"/>
              <a:gd name="T122" fmla="*/ 4296 w 5760"/>
              <a:gd name="T123" fmla="*/ 3078 h 3090"/>
              <a:gd name="T124" fmla="*/ 4397 w 5760"/>
              <a:gd name="T125" fmla="*/ 2639 h 3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0" h="3090">
                <a:moveTo>
                  <a:pt x="5031" y="1192"/>
                </a:moveTo>
                <a:lnTo>
                  <a:pt x="5031" y="1192"/>
                </a:lnTo>
                <a:lnTo>
                  <a:pt x="5031" y="1186"/>
                </a:lnTo>
                <a:lnTo>
                  <a:pt x="5031" y="1186"/>
                </a:lnTo>
                <a:lnTo>
                  <a:pt x="5031" y="1186"/>
                </a:lnTo>
                <a:lnTo>
                  <a:pt x="5031" y="1186"/>
                </a:lnTo>
                <a:lnTo>
                  <a:pt x="5031" y="1186"/>
                </a:lnTo>
                <a:lnTo>
                  <a:pt x="5031" y="1186"/>
                </a:lnTo>
                <a:lnTo>
                  <a:pt x="5031" y="1186"/>
                </a:lnTo>
                <a:lnTo>
                  <a:pt x="5031" y="1186"/>
                </a:lnTo>
                <a:lnTo>
                  <a:pt x="5031" y="1180"/>
                </a:lnTo>
                <a:lnTo>
                  <a:pt x="5031" y="1180"/>
                </a:lnTo>
                <a:lnTo>
                  <a:pt x="5031" y="1180"/>
                </a:lnTo>
                <a:lnTo>
                  <a:pt x="5031" y="1174"/>
                </a:lnTo>
                <a:lnTo>
                  <a:pt x="5037" y="1174"/>
                </a:lnTo>
                <a:lnTo>
                  <a:pt x="5037" y="1174"/>
                </a:lnTo>
                <a:lnTo>
                  <a:pt x="5037" y="1174"/>
                </a:lnTo>
                <a:lnTo>
                  <a:pt x="5037" y="1174"/>
                </a:lnTo>
                <a:lnTo>
                  <a:pt x="5043" y="1174"/>
                </a:lnTo>
                <a:lnTo>
                  <a:pt x="5043" y="1174"/>
                </a:lnTo>
                <a:lnTo>
                  <a:pt x="5043" y="1174"/>
                </a:lnTo>
                <a:lnTo>
                  <a:pt x="5043" y="1174"/>
                </a:lnTo>
                <a:lnTo>
                  <a:pt x="5043" y="1174"/>
                </a:lnTo>
                <a:lnTo>
                  <a:pt x="5043" y="1174"/>
                </a:lnTo>
                <a:lnTo>
                  <a:pt x="5043" y="1174"/>
                </a:lnTo>
                <a:lnTo>
                  <a:pt x="5043" y="1174"/>
                </a:lnTo>
                <a:lnTo>
                  <a:pt x="5043" y="1174"/>
                </a:lnTo>
                <a:lnTo>
                  <a:pt x="5043" y="1174"/>
                </a:lnTo>
                <a:lnTo>
                  <a:pt x="5043" y="1174"/>
                </a:lnTo>
                <a:lnTo>
                  <a:pt x="5043" y="1180"/>
                </a:lnTo>
                <a:lnTo>
                  <a:pt x="5049" y="1180"/>
                </a:lnTo>
                <a:lnTo>
                  <a:pt x="5049" y="1180"/>
                </a:lnTo>
                <a:lnTo>
                  <a:pt x="5049" y="1180"/>
                </a:lnTo>
                <a:lnTo>
                  <a:pt x="5043" y="1186"/>
                </a:lnTo>
                <a:lnTo>
                  <a:pt x="5043" y="1186"/>
                </a:lnTo>
                <a:lnTo>
                  <a:pt x="5037" y="1186"/>
                </a:lnTo>
                <a:lnTo>
                  <a:pt x="5037" y="1186"/>
                </a:lnTo>
                <a:lnTo>
                  <a:pt x="5037" y="1186"/>
                </a:lnTo>
                <a:lnTo>
                  <a:pt x="5037" y="1192"/>
                </a:lnTo>
                <a:lnTo>
                  <a:pt x="5037" y="1192"/>
                </a:lnTo>
                <a:lnTo>
                  <a:pt x="5031" y="1192"/>
                </a:lnTo>
                <a:lnTo>
                  <a:pt x="5031" y="1192"/>
                </a:lnTo>
                <a:lnTo>
                  <a:pt x="5031" y="1192"/>
                </a:lnTo>
                <a:lnTo>
                  <a:pt x="5031" y="1192"/>
                </a:lnTo>
                <a:lnTo>
                  <a:pt x="5025" y="1192"/>
                </a:lnTo>
                <a:lnTo>
                  <a:pt x="5025" y="1192"/>
                </a:lnTo>
                <a:lnTo>
                  <a:pt x="5025" y="1192"/>
                </a:lnTo>
                <a:lnTo>
                  <a:pt x="5025" y="1192"/>
                </a:lnTo>
                <a:lnTo>
                  <a:pt x="5025" y="1192"/>
                </a:lnTo>
                <a:lnTo>
                  <a:pt x="5031" y="1192"/>
                </a:lnTo>
                <a:lnTo>
                  <a:pt x="5031" y="1192"/>
                </a:lnTo>
                <a:close/>
                <a:moveTo>
                  <a:pt x="5061" y="1151"/>
                </a:moveTo>
                <a:lnTo>
                  <a:pt x="5061" y="1151"/>
                </a:lnTo>
                <a:lnTo>
                  <a:pt x="5061" y="1145"/>
                </a:lnTo>
                <a:lnTo>
                  <a:pt x="5061" y="1145"/>
                </a:lnTo>
                <a:lnTo>
                  <a:pt x="5061" y="1145"/>
                </a:lnTo>
                <a:lnTo>
                  <a:pt x="5061" y="1145"/>
                </a:lnTo>
                <a:lnTo>
                  <a:pt x="5061" y="1145"/>
                </a:lnTo>
                <a:lnTo>
                  <a:pt x="5061" y="1145"/>
                </a:lnTo>
                <a:lnTo>
                  <a:pt x="5061" y="1145"/>
                </a:lnTo>
                <a:lnTo>
                  <a:pt x="5061" y="1145"/>
                </a:lnTo>
                <a:lnTo>
                  <a:pt x="5055" y="1157"/>
                </a:lnTo>
                <a:lnTo>
                  <a:pt x="5055" y="1157"/>
                </a:lnTo>
                <a:lnTo>
                  <a:pt x="5055" y="1162"/>
                </a:lnTo>
                <a:lnTo>
                  <a:pt x="5055" y="1162"/>
                </a:lnTo>
                <a:lnTo>
                  <a:pt x="5049" y="1162"/>
                </a:lnTo>
                <a:lnTo>
                  <a:pt x="5049" y="1168"/>
                </a:lnTo>
                <a:lnTo>
                  <a:pt x="5055" y="1168"/>
                </a:lnTo>
                <a:lnTo>
                  <a:pt x="5055" y="1168"/>
                </a:lnTo>
                <a:lnTo>
                  <a:pt x="5055" y="1162"/>
                </a:lnTo>
                <a:lnTo>
                  <a:pt x="5055" y="1162"/>
                </a:lnTo>
                <a:lnTo>
                  <a:pt x="5055" y="1162"/>
                </a:lnTo>
                <a:lnTo>
                  <a:pt x="5055" y="1162"/>
                </a:lnTo>
                <a:lnTo>
                  <a:pt x="5061" y="1157"/>
                </a:lnTo>
                <a:lnTo>
                  <a:pt x="5061" y="1157"/>
                </a:lnTo>
                <a:lnTo>
                  <a:pt x="5061" y="1151"/>
                </a:lnTo>
                <a:lnTo>
                  <a:pt x="5061" y="1151"/>
                </a:lnTo>
                <a:lnTo>
                  <a:pt x="5061" y="1151"/>
                </a:lnTo>
                <a:lnTo>
                  <a:pt x="5061" y="1151"/>
                </a:lnTo>
                <a:close/>
                <a:moveTo>
                  <a:pt x="5126" y="1174"/>
                </a:moveTo>
                <a:lnTo>
                  <a:pt x="5126" y="1174"/>
                </a:lnTo>
                <a:lnTo>
                  <a:pt x="5126" y="1174"/>
                </a:lnTo>
                <a:lnTo>
                  <a:pt x="5120" y="1174"/>
                </a:lnTo>
                <a:lnTo>
                  <a:pt x="5120" y="1174"/>
                </a:lnTo>
                <a:lnTo>
                  <a:pt x="5120" y="1174"/>
                </a:lnTo>
                <a:lnTo>
                  <a:pt x="5120" y="1174"/>
                </a:lnTo>
                <a:lnTo>
                  <a:pt x="5114" y="1174"/>
                </a:lnTo>
                <a:lnTo>
                  <a:pt x="5114" y="1174"/>
                </a:lnTo>
                <a:lnTo>
                  <a:pt x="5114" y="1174"/>
                </a:lnTo>
                <a:lnTo>
                  <a:pt x="5108" y="1180"/>
                </a:lnTo>
                <a:lnTo>
                  <a:pt x="5108" y="1180"/>
                </a:lnTo>
                <a:lnTo>
                  <a:pt x="5108" y="1180"/>
                </a:lnTo>
                <a:lnTo>
                  <a:pt x="5096" y="1180"/>
                </a:lnTo>
                <a:lnTo>
                  <a:pt x="5096" y="1186"/>
                </a:lnTo>
                <a:lnTo>
                  <a:pt x="5114" y="1180"/>
                </a:lnTo>
                <a:lnTo>
                  <a:pt x="5120" y="1174"/>
                </a:lnTo>
                <a:lnTo>
                  <a:pt x="5126" y="1174"/>
                </a:lnTo>
                <a:lnTo>
                  <a:pt x="5126" y="1174"/>
                </a:lnTo>
                <a:close/>
                <a:moveTo>
                  <a:pt x="5173" y="1157"/>
                </a:moveTo>
                <a:lnTo>
                  <a:pt x="5173" y="1157"/>
                </a:lnTo>
                <a:lnTo>
                  <a:pt x="5167" y="1162"/>
                </a:lnTo>
                <a:lnTo>
                  <a:pt x="5161" y="1162"/>
                </a:lnTo>
                <a:lnTo>
                  <a:pt x="5161" y="1162"/>
                </a:lnTo>
                <a:lnTo>
                  <a:pt x="5161" y="1162"/>
                </a:lnTo>
                <a:lnTo>
                  <a:pt x="5155" y="1162"/>
                </a:lnTo>
                <a:lnTo>
                  <a:pt x="5155" y="1168"/>
                </a:lnTo>
                <a:lnTo>
                  <a:pt x="5150" y="1168"/>
                </a:lnTo>
                <a:lnTo>
                  <a:pt x="5150" y="1168"/>
                </a:lnTo>
                <a:lnTo>
                  <a:pt x="5144" y="1174"/>
                </a:lnTo>
                <a:lnTo>
                  <a:pt x="5132" y="1174"/>
                </a:lnTo>
                <a:lnTo>
                  <a:pt x="5132" y="1174"/>
                </a:lnTo>
                <a:lnTo>
                  <a:pt x="5126" y="1174"/>
                </a:lnTo>
                <a:lnTo>
                  <a:pt x="5126" y="1174"/>
                </a:lnTo>
                <a:lnTo>
                  <a:pt x="5126" y="1174"/>
                </a:lnTo>
                <a:lnTo>
                  <a:pt x="5120" y="1174"/>
                </a:lnTo>
                <a:lnTo>
                  <a:pt x="5120" y="1174"/>
                </a:lnTo>
                <a:lnTo>
                  <a:pt x="5120" y="1180"/>
                </a:lnTo>
                <a:lnTo>
                  <a:pt x="5126" y="1174"/>
                </a:lnTo>
                <a:lnTo>
                  <a:pt x="5138" y="1174"/>
                </a:lnTo>
                <a:lnTo>
                  <a:pt x="5138" y="1174"/>
                </a:lnTo>
                <a:lnTo>
                  <a:pt x="5150" y="1168"/>
                </a:lnTo>
                <a:lnTo>
                  <a:pt x="5150" y="1168"/>
                </a:lnTo>
                <a:lnTo>
                  <a:pt x="5155" y="1168"/>
                </a:lnTo>
                <a:lnTo>
                  <a:pt x="5161" y="1168"/>
                </a:lnTo>
                <a:lnTo>
                  <a:pt x="5167" y="1162"/>
                </a:lnTo>
                <a:lnTo>
                  <a:pt x="5173" y="1162"/>
                </a:lnTo>
                <a:lnTo>
                  <a:pt x="5173" y="1157"/>
                </a:lnTo>
                <a:lnTo>
                  <a:pt x="5173" y="1157"/>
                </a:lnTo>
                <a:lnTo>
                  <a:pt x="5173" y="1157"/>
                </a:lnTo>
                <a:lnTo>
                  <a:pt x="5173" y="1157"/>
                </a:lnTo>
                <a:lnTo>
                  <a:pt x="5173" y="1157"/>
                </a:lnTo>
                <a:close/>
                <a:moveTo>
                  <a:pt x="5262" y="1115"/>
                </a:moveTo>
                <a:lnTo>
                  <a:pt x="5262" y="1115"/>
                </a:lnTo>
                <a:lnTo>
                  <a:pt x="5256" y="1115"/>
                </a:lnTo>
                <a:lnTo>
                  <a:pt x="5262" y="1121"/>
                </a:lnTo>
                <a:lnTo>
                  <a:pt x="5262" y="1121"/>
                </a:lnTo>
                <a:lnTo>
                  <a:pt x="5256" y="1121"/>
                </a:lnTo>
                <a:lnTo>
                  <a:pt x="5256" y="1115"/>
                </a:lnTo>
                <a:lnTo>
                  <a:pt x="5256" y="1121"/>
                </a:lnTo>
                <a:lnTo>
                  <a:pt x="5256" y="1121"/>
                </a:lnTo>
                <a:lnTo>
                  <a:pt x="5256" y="1121"/>
                </a:lnTo>
                <a:lnTo>
                  <a:pt x="5256" y="1121"/>
                </a:lnTo>
                <a:lnTo>
                  <a:pt x="5250" y="1121"/>
                </a:lnTo>
                <a:lnTo>
                  <a:pt x="5250" y="1121"/>
                </a:lnTo>
                <a:lnTo>
                  <a:pt x="5250" y="1121"/>
                </a:lnTo>
                <a:lnTo>
                  <a:pt x="5250" y="1121"/>
                </a:lnTo>
                <a:lnTo>
                  <a:pt x="5244" y="1127"/>
                </a:lnTo>
                <a:lnTo>
                  <a:pt x="5244" y="1127"/>
                </a:lnTo>
                <a:lnTo>
                  <a:pt x="5238" y="1127"/>
                </a:lnTo>
                <a:lnTo>
                  <a:pt x="5238" y="1127"/>
                </a:lnTo>
                <a:lnTo>
                  <a:pt x="5238" y="1127"/>
                </a:lnTo>
                <a:lnTo>
                  <a:pt x="5238" y="1127"/>
                </a:lnTo>
                <a:lnTo>
                  <a:pt x="5238" y="1121"/>
                </a:lnTo>
                <a:lnTo>
                  <a:pt x="5233" y="1121"/>
                </a:lnTo>
                <a:lnTo>
                  <a:pt x="5233" y="1121"/>
                </a:lnTo>
                <a:lnTo>
                  <a:pt x="5233" y="1127"/>
                </a:lnTo>
                <a:lnTo>
                  <a:pt x="5233" y="1127"/>
                </a:lnTo>
                <a:lnTo>
                  <a:pt x="5233" y="1127"/>
                </a:lnTo>
                <a:lnTo>
                  <a:pt x="5233" y="1121"/>
                </a:lnTo>
                <a:lnTo>
                  <a:pt x="5233" y="1121"/>
                </a:lnTo>
                <a:lnTo>
                  <a:pt x="5227" y="1121"/>
                </a:lnTo>
                <a:lnTo>
                  <a:pt x="5227" y="1121"/>
                </a:lnTo>
                <a:lnTo>
                  <a:pt x="5227" y="1121"/>
                </a:lnTo>
                <a:lnTo>
                  <a:pt x="5227" y="1121"/>
                </a:lnTo>
                <a:lnTo>
                  <a:pt x="5227" y="1121"/>
                </a:lnTo>
                <a:lnTo>
                  <a:pt x="5227" y="1127"/>
                </a:lnTo>
                <a:lnTo>
                  <a:pt x="5227" y="1127"/>
                </a:lnTo>
                <a:lnTo>
                  <a:pt x="5227" y="1127"/>
                </a:lnTo>
                <a:lnTo>
                  <a:pt x="5227" y="1127"/>
                </a:lnTo>
                <a:lnTo>
                  <a:pt x="5227" y="1127"/>
                </a:lnTo>
                <a:lnTo>
                  <a:pt x="5221" y="1127"/>
                </a:lnTo>
                <a:lnTo>
                  <a:pt x="5221" y="1127"/>
                </a:lnTo>
                <a:lnTo>
                  <a:pt x="5221" y="1121"/>
                </a:lnTo>
                <a:lnTo>
                  <a:pt x="5221" y="1121"/>
                </a:lnTo>
                <a:lnTo>
                  <a:pt x="5221" y="1121"/>
                </a:lnTo>
                <a:lnTo>
                  <a:pt x="5221" y="1121"/>
                </a:lnTo>
                <a:lnTo>
                  <a:pt x="5221" y="1121"/>
                </a:lnTo>
                <a:lnTo>
                  <a:pt x="5221" y="1127"/>
                </a:lnTo>
                <a:lnTo>
                  <a:pt x="5221" y="1127"/>
                </a:lnTo>
                <a:lnTo>
                  <a:pt x="5215" y="1127"/>
                </a:lnTo>
                <a:lnTo>
                  <a:pt x="5215" y="1127"/>
                </a:lnTo>
                <a:lnTo>
                  <a:pt x="5215" y="1133"/>
                </a:lnTo>
                <a:lnTo>
                  <a:pt x="5209" y="1133"/>
                </a:lnTo>
                <a:lnTo>
                  <a:pt x="5209" y="1133"/>
                </a:lnTo>
                <a:lnTo>
                  <a:pt x="5209" y="1133"/>
                </a:lnTo>
                <a:lnTo>
                  <a:pt x="5209" y="1133"/>
                </a:lnTo>
                <a:lnTo>
                  <a:pt x="5209" y="1133"/>
                </a:lnTo>
                <a:lnTo>
                  <a:pt x="5209" y="1139"/>
                </a:lnTo>
                <a:lnTo>
                  <a:pt x="5209" y="1139"/>
                </a:lnTo>
                <a:lnTo>
                  <a:pt x="5209" y="1139"/>
                </a:lnTo>
                <a:lnTo>
                  <a:pt x="5203" y="1139"/>
                </a:lnTo>
                <a:lnTo>
                  <a:pt x="5203" y="1139"/>
                </a:lnTo>
                <a:lnTo>
                  <a:pt x="5203" y="1139"/>
                </a:lnTo>
                <a:lnTo>
                  <a:pt x="5197" y="1139"/>
                </a:lnTo>
                <a:lnTo>
                  <a:pt x="5197" y="1139"/>
                </a:lnTo>
                <a:lnTo>
                  <a:pt x="5197" y="1139"/>
                </a:lnTo>
                <a:lnTo>
                  <a:pt x="5191" y="1139"/>
                </a:lnTo>
                <a:lnTo>
                  <a:pt x="5191" y="1139"/>
                </a:lnTo>
                <a:lnTo>
                  <a:pt x="5191" y="1139"/>
                </a:lnTo>
                <a:lnTo>
                  <a:pt x="5191" y="1139"/>
                </a:lnTo>
                <a:lnTo>
                  <a:pt x="5191" y="1139"/>
                </a:lnTo>
                <a:lnTo>
                  <a:pt x="5191" y="1139"/>
                </a:lnTo>
                <a:lnTo>
                  <a:pt x="5191" y="1139"/>
                </a:lnTo>
                <a:lnTo>
                  <a:pt x="5191" y="1139"/>
                </a:lnTo>
                <a:lnTo>
                  <a:pt x="5191" y="1139"/>
                </a:lnTo>
                <a:lnTo>
                  <a:pt x="5191" y="1139"/>
                </a:lnTo>
                <a:lnTo>
                  <a:pt x="5197" y="1133"/>
                </a:lnTo>
                <a:lnTo>
                  <a:pt x="5197" y="1133"/>
                </a:lnTo>
                <a:lnTo>
                  <a:pt x="5197" y="1133"/>
                </a:lnTo>
                <a:lnTo>
                  <a:pt x="5197" y="1133"/>
                </a:lnTo>
                <a:lnTo>
                  <a:pt x="5197" y="1133"/>
                </a:lnTo>
                <a:lnTo>
                  <a:pt x="5197" y="1133"/>
                </a:lnTo>
                <a:lnTo>
                  <a:pt x="5197" y="1127"/>
                </a:lnTo>
                <a:lnTo>
                  <a:pt x="5203" y="1127"/>
                </a:lnTo>
                <a:lnTo>
                  <a:pt x="5203" y="1127"/>
                </a:lnTo>
                <a:lnTo>
                  <a:pt x="5203" y="1127"/>
                </a:lnTo>
                <a:lnTo>
                  <a:pt x="5203" y="1127"/>
                </a:lnTo>
                <a:lnTo>
                  <a:pt x="5203" y="1127"/>
                </a:lnTo>
                <a:lnTo>
                  <a:pt x="5203" y="1127"/>
                </a:lnTo>
                <a:lnTo>
                  <a:pt x="5203" y="1127"/>
                </a:lnTo>
                <a:lnTo>
                  <a:pt x="5203" y="1127"/>
                </a:lnTo>
                <a:lnTo>
                  <a:pt x="5209" y="1127"/>
                </a:lnTo>
                <a:lnTo>
                  <a:pt x="5209" y="1127"/>
                </a:lnTo>
                <a:lnTo>
                  <a:pt x="5209" y="1127"/>
                </a:lnTo>
                <a:lnTo>
                  <a:pt x="5209" y="1127"/>
                </a:lnTo>
                <a:lnTo>
                  <a:pt x="5209" y="1127"/>
                </a:lnTo>
                <a:lnTo>
                  <a:pt x="5209" y="1127"/>
                </a:lnTo>
                <a:lnTo>
                  <a:pt x="5209" y="1127"/>
                </a:lnTo>
                <a:lnTo>
                  <a:pt x="5209" y="1127"/>
                </a:lnTo>
                <a:lnTo>
                  <a:pt x="5209" y="1127"/>
                </a:lnTo>
                <a:lnTo>
                  <a:pt x="5209" y="1127"/>
                </a:lnTo>
                <a:lnTo>
                  <a:pt x="5209" y="1127"/>
                </a:lnTo>
                <a:lnTo>
                  <a:pt x="5209" y="1121"/>
                </a:lnTo>
                <a:lnTo>
                  <a:pt x="5209" y="1121"/>
                </a:lnTo>
                <a:lnTo>
                  <a:pt x="5215" y="1121"/>
                </a:lnTo>
                <a:lnTo>
                  <a:pt x="5215" y="1121"/>
                </a:lnTo>
                <a:lnTo>
                  <a:pt x="5215" y="1121"/>
                </a:lnTo>
                <a:lnTo>
                  <a:pt x="5209" y="1121"/>
                </a:lnTo>
                <a:lnTo>
                  <a:pt x="5209" y="1121"/>
                </a:lnTo>
                <a:lnTo>
                  <a:pt x="5209" y="1121"/>
                </a:lnTo>
                <a:lnTo>
                  <a:pt x="5215" y="1115"/>
                </a:lnTo>
                <a:lnTo>
                  <a:pt x="5221" y="1109"/>
                </a:lnTo>
                <a:lnTo>
                  <a:pt x="5221" y="1115"/>
                </a:lnTo>
                <a:lnTo>
                  <a:pt x="5221" y="1115"/>
                </a:lnTo>
                <a:lnTo>
                  <a:pt x="5227" y="1115"/>
                </a:lnTo>
                <a:lnTo>
                  <a:pt x="5227" y="1109"/>
                </a:lnTo>
                <a:lnTo>
                  <a:pt x="5227" y="1109"/>
                </a:lnTo>
                <a:lnTo>
                  <a:pt x="5227" y="1109"/>
                </a:lnTo>
                <a:lnTo>
                  <a:pt x="5227" y="1109"/>
                </a:lnTo>
                <a:lnTo>
                  <a:pt x="5227" y="1109"/>
                </a:lnTo>
                <a:lnTo>
                  <a:pt x="5227" y="1109"/>
                </a:lnTo>
                <a:lnTo>
                  <a:pt x="5227" y="1109"/>
                </a:lnTo>
                <a:lnTo>
                  <a:pt x="5227" y="1109"/>
                </a:lnTo>
                <a:lnTo>
                  <a:pt x="5221" y="1109"/>
                </a:lnTo>
                <a:lnTo>
                  <a:pt x="5221" y="1109"/>
                </a:lnTo>
                <a:lnTo>
                  <a:pt x="5215" y="1109"/>
                </a:lnTo>
                <a:lnTo>
                  <a:pt x="5215" y="1109"/>
                </a:lnTo>
                <a:lnTo>
                  <a:pt x="5215" y="1109"/>
                </a:lnTo>
                <a:lnTo>
                  <a:pt x="5215" y="1115"/>
                </a:lnTo>
                <a:lnTo>
                  <a:pt x="5215" y="1115"/>
                </a:lnTo>
                <a:lnTo>
                  <a:pt x="5215" y="1115"/>
                </a:lnTo>
                <a:lnTo>
                  <a:pt x="5209" y="1115"/>
                </a:lnTo>
                <a:lnTo>
                  <a:pt x="5209" y="1115"/>
                </a:lnTo>
                <a:lnTo>
                  <a:pt x="5209" y="1115"/>
                </a:lnTo>
                <a:lnTo>
                  <a:pt x="5209" y="1115"/>
                </a:lnTo>
                <a:lnTo>
                  <a:pt x="5209" y="1115"/>
                </a:lnTo>
                <a:lnTo>
                  <a:pt x="5203" y="1121"/>
                </a:lnTo>
                <a:lnTo>
                  <a:pt x="5203" y="1121"/>
                </a:lnTo>
                <a:lnTo>
                  <a:pt x="5197" y="1127"/>
                </a:lnTo>
                <a:lnTo>
                  <a:pt x="5191" y="1127"/>
                </a:lnTo>
                <a:lnTo>
                  <a:pt x="5191" y="1127"/>
                </a:lnTo>
                <a:lnTo>
                  <a:pt x="5191" y="1127"/>
                </a:lnTo>
                <a:lnTo>
                  <a:pt x="5185" y="1133"/>
                </a:lnTo>
                <a:lnTo>
                  <a:pt x="5185" y="1133"/>
                </a:lnTo>
                <a:lnTo>
                  <a:pt x="5179" y="1133"/>
                </a:lnTo>
                <a:lnTo>
                  <a:pt x="5173" y="1133"/>
                </a:lnTo>
                <a:lnTo>
                  <a:pt x="5167" y="1133"/>
                </a:lnTo>
                <a:lnTo>
                  <a:pt x="5161" y="1133"/>
                </a:lnTo>
                <a:lnTo>
                  <a:pt x="5150" y="1133"/>
                </a:lnTo>
                <a:lnTo>
                  <a:pt x="5150" y="1133"/>
                </a:lnTo>
                <a:lnTo>
                  <a:pt x="5144" y="1133"/>
                </a:lnTo>
                <a:lnTo>
                  <a:pt x="5144" y="1133"/>
                </a:lnTo>
                <a:lnTo>
                  <a:pt x="5144" y="1133"/>
                </a:lnTo>
                <a:lnTo>
                  <a:pt x="5144" y="1133"/>
                </a:lnTo>
                <a:lnTo>
                  <a:pt x="5144" y="1133"/>
                </a:lnTo>
                <a:lnTo>
                  <a:pt x="5144" y="1133"/>
                </a:lnTo>
                <a:lnTo>
                  <a:pt x="5144" y="1133"/>
                </a:lnTo>
                <a:lnTo>
                  <a:pt x="5144" y="1133"/>
                </a:lnTo>
                <a:lnTo>
                  <a:pt x="5144" y="1133"/>
                </a:lnTo>
                <a:lnTo>
                  <a:pt x="5144" y="1133"/>
                </a:lnTo>
                <a:lnTo>
                  <a:pt x="5138" y="1133"/>
                </a:lnTo>
                <a:lnTo>
                  <a:pt x="5138" y="1133"/>
                </a:lnTo>
                <a:lnTo>
                  <a:pt x="5138" y="1133"/>
                </a:lnTo>
                <a:lnTo>
                  <a:pt x="5138" y="1133"/>
                </a:lnTo>
                <a:lnTo>
                  <a:pt x="5138" y="1139"/>
                </a:lnTo>
                <a:lnTo>
                  <a:pt x="5138" y="1139"/>
                </a:lnTo>
                <a:lnTo>
                  <a:pt x="5132" y="1139"/>
                </a:lnTo>
                <a:lnTo>
                  <a:pt x="5132" y="1139"/>
                </a:lnTo>
                <a:lnTo>
                  <a:pt x="5132" y="1139"/>
                </a:lnTo>
                <a:lnTo>
                  <a:pt x="5126" y="1139"/>
                </a:lnTo>
                <a:lnTo>
                  <a:pt x="5126" y="1139"/>
                </a:lnTo>
                <a:lnTo>
                  <a:pt x="5126" y="1139"/>
                </a:lnTo>
                <a:lnTo>
                  <a:pt x="5126" y="1139"/>
                </a:lnTo>
                <a:lnTo>
                  <a:pt x="5126" y="1139"/>
                </a:lnTo>
                <a:lnTo>
                  <a:pt x="5120" y="1139"/>
                </a:lnTo>
                <a:lnTo>
                  <a:pt x="5120" y="1139"/>
                </a:lnTo>
                <a:lnTo>
                  <a:pt x="5120" y="1139"/>
                </a:lnTo>
                <a:lnTo>
                  <a:pt x="5120" y="1139"/>
                </a:lnTo>
                <a:lnTo>
                  <a:pt x="5114" y="1139"/>
                </a:lnTo>
                <a:lnTo>
                  <a:pt x="5114" y="1139"/>
                </a:lnTo>
                <a:lnTo>
                  <a:pt x="5114" y="1133"/>
                </a:lnTo>
                <a:lnTo>
                  <a:pt x="5114" y="1133"/>
                </a:lnTo>
                <a:lnTo>
                  <a:pt x="5114" y="1133"/>
                </a:lnTo>
                <a:lnTo>
                  <a:pt x="5114" y="1133"/>
                </a:lnTo>
                <a:lnTo>
                  <a:pt x="5114" y="1133"/>
                </a:lnTo>
                <a:lnTo>
                  <a:pt x="5114" y="1133"/>
                </a:lnTo>
                <a:lnTo>
                  <a:pt x="5114" y="1139"/>
                </a:lnTo>
                <a:lnTo>
                  <a:pt x="5114" y="1139"/>
                </a:lnTo>
                <a:lnTo>
                  <a:pt x="5114" y="1139"/>
                </a:lnTo>
                <a:lnTo>
                  <a:pt x="5114" y="1139"/>
                </a:lnTo>
                <a:lnTo>
                  <a:pt x="5114" y="1139"/>
                </a:lnTo>
                <a:lnTo>
                  <a:pt x="5114" y="1139"/>
                </a:lnTo>
                <a:lnTo>
                  <a:pt x="5114" y="1139"/>
                </a:lnTo>
                <a:lnTo>
                  <a:pt x="5114" y="1139"/>
                </a:lnTo>
                <a:lnTo>
                  <a:pt x="5114" y="1139"/>
                </a:lnTo>
                <a:lnTo>
                  <a:pt x="5108" y="1139"/>
                </a:lnTo>
                <a:lnTo>
                  <a:pt x="5108" y="1139"/>
                </a:lnTo>
                <a:lnTo>
                  <a:pt x="5108" y="1139"/>
                </a:lnTo>
                <a:lnTo>
                  <a:pt x="5108" y="1139"/>
                </a:lnTo>
                <a:lnTo>
                  <a:pt x="5108" y="1139"/>
                </a:lnTo>
                <a:lnTo>
                  <a:pt x="5102" y="1133"/>
                </a:lnTo>
                <a:lnTo>
                  <a:pt x="5102" y="1139"/>
                </a:lnTo>
                <a:lnTo>
                  <a:pt x="5102" y="1139"/>
                </a:lnTo>
                <a:lnTo>
                  <a:pt x="5102" y="1139"/>
                </a:lnTo>
                <a:lnTo>
                  <a:pt x="5108" y="1139"/>
                </a:lnTo>
                <a:lnTo>
                  <a:pt x="5108" y="1139"/>
                </a:lnTo>
                <a:lnTo>
                  <a:pt x="5108" y="1145"/>
                </a:lnTo>
                <a:lnTo>
                  <a:pt x="5102" y="1145"/>
                </a:lnTo>
                <a:lnTo>
                  <a:pt x="5102" y="1145"/>
                </a:lnTo>
                <a:lnTo>
                  <a:pt x="5102" y="1145"/>
                </a:lnTo>
                <a:lnTo>
                  <a:pt x="5102" y="1145"/>
                </a:lnTo>
                <a:lnTo>
                  <a:pt x="5102" y="1145"/>
                </a:lnTo>
                <a:lnTo>
                  <a:pt x="5102" y="1145"/>
                </a:lnTo>
                <a:lnTo>
                  <a:pt x="5102" y="1145"/>
                </a:lnTo>
                <a:lnTo>
                  <a:pt x="5102" y="1139"/>
                </a:lnTo>
                <a:lnTo>
                  <a:pt x="5102" y="1145"/>
                </a:lnTo>
                <a:lnTo>
                  <a:pt x="5102" y="1145"/>
                </a:lnTo>
                <a:lnTo>
                  <a:pt x="5096" y="1145"/>
                </a:lnTo>
                <a:lnTo>
                  <a:pt x="5096" y="1145"/>
                </a:lnTo>
                <a:lnTo>
                  <a:pt x="5096" y="1139"/>
                </a:lnTo>
                <a:lnTo>
                  <a:pt x="5102" y="1145"/>
                </a:lnTo>
                <a:lnTo>
                  <a:pt x="5102" y="1145"/>
                </a:lnTo>
                <a:lnTo>
                  <a:pt x="5102" y="1139"/>
                </a:lnTo>
                <a:lnTo>
                  <a:pt x="5102" y="1139"/>
                </a:lnTo>
                <a:lnTo>
                  <a:pt x="5102" y="1139"/>
                </a:lnTo>
                <a:lnTo>
                  <a:pt x="5102" y="1139"/>
                </a:lnTo>
                <a:lnTo>
                  <a:pt x="5096" y="1139"/>
                </a:lnTo>
                <a:lnTo>
                  <a:pt x="5090" y="1139"/>
                </a:lnTo>
                <a:lnTo>
                  <a:pt x="5090" y="1145"/>
                </a:lnTo>
                <a:lnTo>
                  <a:pt x="5084" y="1145"/>
                </a:lnTo>
                <a:lnTo>
                  <a:pt x="5090" y="1151"/>
                </a:lnTo>
                <a:lnTo>
                  <a:pt x="5090" y="1151"/>
                </a:lnTo>
                <a:lnTo>
                  <a:pt x="5084" y="1151"/>
                </a:lnTo>
                <a:lnTo>
                  <a:pt x="5084" y="1151"/>
                </a:lnTo>
                <a:lnTo>
                  <a:pt x="5084" y="1151"/>
                </a:lnTo>
                <a:lnTo>
                  <a:pt x="5084" y="1145"/>
                </a:lnTo>
                <a:lnTo>
                  <a:pt x="5084" y="1145"/>
                </a:lnTo>
                <a:lnTo>
                  <a:pt x="5084" y="1145"/>
                </a:lnTo>
                <a:lnTo>
                  <a:pt x="5078" y="1145"/>
                </a:lnTo>
                <a:lnTo>
                  <a:pt x="5078" y="1145"/>
                </a:lnTo>
                <a:lnTo>
                  <a:pt x="5078" y="1145"/>
                </a:lnTo>
                <a:lnTo>
                  <a:pt x="5078" y="1151"/>
                </a:lnTo>
                <a:lnTo>
                  <a:pt x="5084" y="1151"/>
                </a:lnTo>
                <a:lnTo>
                  <a:pt x="5084" y="1151"/>
                </a:lnTo>
                <a:lnTo>
                  <a:pt x="5084" y="1151"/>
                </a:lnTo>
                <a:lnTo>
                  <a:pt x="5078" y="1151"/>
                </a:lnTo>
                <a:lnTo>
                  <a:pt x="5078" y="1151"/>
                </a:lnTo>
                <a:lnTo>
                  <a:pt x="5078" y="1151"/>
                </a:lnTo>
                <a:lnTo>
                  <a:pt x="5078" y="1151"/>
                </a:lnTo>
                <a:lnTo>
                  <a:pt x="5078" y="1151"/>
                </a:lnTo>
                <a:lnTo>
                  <a:pt x="5078" y="1151"/>
                </a:lnTo>
                <a:lnTo>
                  <a:pt x="5078" y="1151"/>
                </a:lnTo>
                <a:lnTo>
                  <a:pt x="5078" y="1151"/>
                </a:lnTo>
                <a:lnTo>
                  <a:pt x="5078" y="1157"/>
                </a:lnTo>
                <a:lnTo>
                  <a:pt x="5078" y="1157"/>
                </a:lnTo>
                <a:lnTo>
                  <a:pt x="5078" y="1157"/>
                </a:lnTo>
                <a:lnTo>
                  <a:pt x="5073" y="1157"/>
                </a:lnTo>
                <a:lnTo>
                  <a:pt x="5073" y="1157"/>
                </a:lnTo>
                <a:lnTo>
                  <a:pt x="5067" y="1157"/>
                </a:lnTo>
                <a:lnTo>
                  <a:pt x="5067" y="1157"/>
                </a:lnTo>
                <a:lnTo>
                  <a:pt x="5067" y="1157"/>
                </a:lnTo>
                <a:lnTo>
                  <a:pt x="5061" y="1157"/>
                </a:lnTo>
                <a:lnTo>
                  <a:pt x="5061" y="1157"/>
                </a:lnTo>
                <a:lnTo>
                  <a:pt x="5061" y="1157"/>
                </a:lnTo>
                <a:lnTo>
                  <a:pt x="5061" y="1157"/>
                </a:lnTo>
                <a:lnTo>
                  <a:pt x="5055" y="1162"/>
                </a:lnTo>
                <a:lnTo>
                  <a:pt x="5055" y="1162"/>
                </a:lnTo>
                <a:lnTo>
                  <a:pt x="5055" y="1168"/>
                </a:lnTo>
                <a:lnTo>
                  <a:pt x="5055" y="1168"/>
                </a:lnTo>
                <a:lnTo>
                  <a:pt x="5055" y="1168"/>
                </a:lnTo>
                <a:lnTo>
                  <a:pt x="5055" y="1168"/>
                </a:lnTo>
                <a:lnTo>
                  <a:pt x="5055" y="1168"/>
                </a:lnTo>
                <a:lnTo>
                  <a:pt x="5055" y="1168"/>
                </a:lnTo>
                <a:lnTo>
                  <a:pt x="5049" y="1168"/>
                </a:lnTo>
                <a:lnTo>
                  <a:pt x="5049" y="1168"/>
                </a:lnTo>
                <a:lnTo>
                  <a:pt x="5049" y="1174"/>
                </a:lnTo>
                <a:lnTo>
                  <a:pt x="5049" y="1174"/>
                </a:lnTo>
                <a:lnTo>
                  <a:pt x="5049" y="1174"/>
                </a:lnTo>
                <a:lnTo>
                  <a:pt x="5049" y="1174"/>
                </a:lnTo>
                <a:lnTo>
                  <a:pt x="5049" y="1174"/>
                </a:lnTo>
                <a:lnTo>
                  <a:pt x="5049" y="1180"/>
                </a:lnTo>
                <a:lnTo>
                  <a:pt x="5049" y="1180"/>
                </a:lnTo>
                <a:lnTo>
                  <a:pt x="5055" y="1180"/>
                </a:lnTo>
                <a:lnTo>
                  <a:pt x="5055" y="1180"/>
                </a:lnTo>
                <a:lnTo>
                  <a:pt x="5055" y="1180"/>
                </a:lnTo>
                <a:lnTo>
                  <a:pt x="5055" y="1180"/>
                </a:lnTo>
                <a:lnTo>
                  <a:pt x="5049" y="1180"/>
                </a:lnTo>
                <a:lnTo>
                  <a:pt x="5049" y="1180"/>
                </a:lnTo>
                <a:lnTo>
                  <a:pt x="5055" y="1186"/>
                </a:lnTo>
                <a:lnTo>
                  <a:pt x="5055" y="1186"/>
                </a:lnTo>
                <a:lnTo>
                  <a:pt x="5055" y="1186"/>
                </a:lnTo>
                <a:lnTo>
                  <a:pt x="5055" y="1186"/>
                </a:lnTo>
                <a:lnTo>
                  <a:pt x="5061" y="1186"/>
                </a:lnTo>
                <a:lnTo>
                  <a:pt x="5061" y="1180"/>
                </a:lnTo>
                <a:lnTo>
                  <a:pt x="5061" y="1180"/>
                </a:lnTo>
                <a:lnTo>
                  <a:pt x="5061" y="1180"/>
                </a:lnTo>
                <a:lnTo>
                  <a:pt x="5061" y="1180"/>
                </a:lnTo>
                <a:lnTo>
                  <a:pt x="5061" y="1180"/>
                </a:lnTo>
                <a:lnTo>
                  <a:pt x="5061" y="1186"/>
                </a:lnTo>
                <a:lnTo>
                  <a:pt x="5067" y="1180"/>
                </a:lnTo>
                <a:lnTo>
                  <a:pt x="5067" y="1180"/>
                </a:lnTo>
                <a:lnTo>
                  <a:pt x="5067" y="1180"/>
                </a:lnTo>
                <a:lnTo>
                  <a:pt x="5061" y="1180"/>
                </a:lnTo>
                <a:lnTo>
                  <a:pt x="5061" y="1174"/>
                </a:lnTo>
                <a:lnTo>
                  <a:pt x="5067" y="1174"/>
                </a:lnTo>
                <a:lnTo>
                  <a:pt x="5067" y="1174"/>
                </a:lnTo>
                <a:lnTo>
                  <a:pt x="5067" y="1174"/>
                </a:lnTo>
                <a:lnTo>
                  <a:pt x="5067" y="1174"/>
                </a:lnTo>
                <a:lnTo>
                  <a:pt x="5067" y="1174"/>
                </a:lnTo>
                <a:lnTo>
                  <a:pt x="5067" y="1174"/>
                </a:lnTo>
                <a:lnTo>
                  <a:pt x="5067" y="1174"/>
                </a:lnTo>
                <a:lnTo>
                  <a:pt x="5073" y="1174"/>
                </a:lnTo>
                <a:lnTo>
                  <a:pt x="5073" y="1174"/>
                </a:lnTo>
                <a:lnTo>
                  <a:pt x="5073" y="1174"/>
                </a:lnTo>
                <a:lnTo>
                  <a:pt x="5073" y="1174"/>
                </a:lnTo>
                <a:lnTo>
                  <a:pt x="5073" y="1180"/>
                </a:lnTo>
                <a:lnTo>
                  <a:pt x="5073" y="1180"/>
                </a:lnTo>
                <a:lnTo>
                  <a:pt x="5073" y="1180"/>
                </a:lnTo>
                <a:lnTo>
                  <a:pt x="5073" y="1180"/>
                </a:lnTo>
                <a:lnTo>
                  <a:pt x="5073" y="1180"/>
                </a:lnTo>
                <a:lnTo>
                  <a:pt x="5067" y="1180"/>
                </a:lnTo>
                <a:lnTo>
                  <a:pt x="5061" y="1186"/>
                </a:lnTo>
                <a:lnTo>
                  <a:pt x="5061" y="1186"/>
                </a:lnTo>
                <a:lnTo>
                  <a:pt x="5061" y="1186"/>
                </a:lnTo>
                <a:lnTo>
                  <a:pt x="5073" y="1180"/>
                </a:lnTo>
                <a:lnTo>
                  <a:pt x="5073" y="1180"/>
                </a:lnTo>
                <a:lnTo>
                  <a:pt x="5078" y="1180"/>
                </a:lnTo>
                <a:lnTo>
                  <a:pt x="5078" y="1180"/>
                </a:lnTo>
                <a:lnTo>
                  <a:pt x="5078" y="1180"/>
                </a:lnTo>
                <a:lnTo>
                  <a:pt x="5084" y="1180"/>
                </a:lnTo>
                <a:lnTo>
                  <a:pt x="5096" y="1180"/>
                </a:lnTo>
                <a:lnTo>
                  <a:pt x="5096" y="1180"/>
                </a:lnTo>
                <a:lnTo>
                  <a:pt x="5090" y="1180"/>
                </a:lnTo>
                <a:lnTo>
                  <a:pt x="5090" y="1180"/>
                </a:lnTo>
                <a:lnTo>
                  <a:pt x="5090" y="1180"/>
                </a:lnTo>
                <a:lnTo>
                  <a:pt x="5078" y="1180"/>
                </a:lnTo>
                <a:lnTo>
                  <a:pt x="5078" y="1180"/>
                </a:lnTo>
                <a:lnTo>
                  <a:pt x="5078" y="1180"/>
                </a:lnTo>
                <a:lnTo>
                  <a:pt x="5084" y="1180"/>
                </a:lnTo>
                <a:lnTo>
                  <a:pt x="5084" y="1180"/>
                </a:lnTo>
                <a:lnTo>
                  <a:pt x="5084" y="1174"/>
                </a:lnTo>
                <a:lnTo>
                  <a:pt x="5084" y="1180"/>
                </a:lnTo>
                <a:lnTo>
                  <a:pt x="5084" y="1180"/>
                </a:lnTo>
                <a:lnTo>
                  <a:pt x="5084" y="1180"/>
                </a:lnTo>
                <a:lnTo>
                  <a:pt x="5084" y="1180"/>
                </a:lnTo>
                <a:lnTo>
                  <a:pt x="5084" y="1180"/>
                </a:lnTo>
                <a:lnTo>
                  <a:pt x="5090" y="1180"/>
                </a:lnTo>
                <a:lnTo>
                  <a:pt x="5090" y="1180"/>
                </a:lnTo>
                <a:lnTo>
                  <a:pt x="5096" y="1174"/>
                </a:lnTo>
                <a:lnTo>
                  <a:pt x="5102" y="1174"/>
                </a:lnTo>
                <a:lnTo>
                  <a:pt x="5108" y="1174"/>
                </a:lnTo>
                <a:lnTo>
                  <a:pt x="5114" y="1174"/>
                </a:lnTo>
                <a:lnTo>
                  <a:pt x="5114" y="1174"/>
                </a:lnTo>
                <a:lnTo>
                  <a:pt x="5114" y="1174"/>
                </a:lnTo>
                <a:lnTo>
                  <a:pt x="5120" y="1168"/>
                </a:lnTo>
                <a:lnTo>
                  <a:pt x="5120" y="1168"/>
                </a:lnTo>
                <a:lnTo>
                  <a:pt x="5126" y="1168"/>
                </a:lnTo>
                <a:lnTo>
                  <a:pt x="5126" y="1168"/>
                </a:lnTo>
                <a:lnTo>
                  <a:pt x="5126" y="1168"/>
                </a:lnTo>
                <a:lnTo>
                  <a:pt x="5126" y="1162"/>
                </a:lnTo>
                <a:lnTo>
                  <a:pt x="5132" y="1168"/>
                </a:lnTo>
                <a:lnTo>
                  <a:pt x="5132" y="1168"/>
                </a:lnTo>
                <a:lnTo>
                  <a:pt x="5138" y="1168"/>
                </a:lnTo>
                <a:lnTo>
                  <a:pt x="5138" y="1168"/>
                </a:lnTo>
                <a:lnTo>
                  <a:pt x="5138" y="1168"/>
                </a:lnTo>
                <a:lnTo>
                  <a:pt x="5138" y="1168"/>
                </a:lnTo>
                <a:lnTo>
                  <a:pt x="5138" y="1162"/>
                </a:lnTo>
                <a:lnTo>
                  <a:pt x="5138" y="1162"/>
                </a:lnTo>
                <a:lnTo>
                  <a:pt x="5138" y="1162"/>
                </a:lnTo>
                <a:lnTo>
                  <a:pt x="5138" y="1162"/>
                </a:lnTo>
                <a:lnTo>
                  <a:pt x="5138" y="1162"/>
                </a:lnTo>
                <a:lnTo>
                  <a:pt x="5144" y="1162"/>
                </a:lnTo>
                <a:lnTo>
                  <a:pt x="5144" y="1162"/>
                </a:lnTo>
                <a:lnTo>
                  <a:pt x="5144" y="1162"/>
                </a:lnTo>
                <a:lnTo>
                  <a:pt x="5144" y="1162"/>
                </a:lnTo>
                <a:lnTo>
                  <a:pt x="5144" y="1162"/>
                </a:lnTo>
                <a:lnTo>
                  <a:pt x="5150" y="1162"/>
                </a:lnTo>
                <a:lnTo>
                  <a:pt x="5150" y="1162"/>
                </a:lnTo>
                <a:lnTo>
                  <a:pt x="5150" y="1162"/>
                </a:lnTo>
                <a:lnTo>
                  <a:pt x="5150" y="1162"/>
                </a:lnTo>
                <a:lnTo>
                  <a:pt x="5155" y="1162"/>
                </a:lnTo>
                <a:lnTo>
                  <a:pt x="5155" y="1162"/>
                </a:lnTo>
                <a:lnTo>
                  <a:pt x="5161" y="1162"/>
                </a:lnTo>
                <a:lnTo>
                  <a:pt x="5161" y="1162"/>
                </a:lnTo>
                <a:lnTo>
                  <a:pt x="5161" y="1157"/>
                </a:lnTo>
                <a:lnTo>
                  <a:pt x="5161" y="1162"/>
                </a:lnTo>
                <a:lnTo>
                  <a:pt x="5167" y="1162"/>
                </a:lnTo>
                <a:lnTo>
                  <a:pt x="5167" y="1157"/>
                </a:lnTo>
                <a:lnTo>
                  <a:pt x="5167" y="1157"/>
                </a:lnTo>
                <a:lnTo>
                  <a:pt x="5167" y="1157"/>
                </a:lnTo>
                <a:lnTo>
                  <a:pt x="5173" y="1157"/>
                </a:lnTo>
                <a:lnTo>
                  <a:pt x="5167" y="1157"/>
                </a:lnTo>
                <a:lnTo>
                  <a:pt x="5167" y="1157"/>
                </a:lnTo>
                <a:lnTo>
                  <a:pt x="5173" y="1157"/>
                </a:lnTo>
                <a:lnTo>
                  <a:pt x="5173" y="1157"/>
                </a:lnTo>
                <a:lnTo>
                  <a:pt x="5179" y="1157"/>
                </a:lnTo>
                <a:lnTo>
                  <a:pt x="5179" y="1157"/>
                </a:lnTo>
                <a:lnTo>
                  <a:pt x="5179" y="1151"/>
                </a:lnTo>
                <a:lnTo>
                  <a:pt x="5179" y="1157"/>
                </a:lnTo>
                <a:lnTo>
                  <a:pt x="5185" y="1157"/>
                </a:lnTo>
                <a:lnTo>
                  <a:pt x="5185" y="1157"/>
                </a:lnTo>
                <a:lnTo>
                  <a:pt x="5185" y="1157"/>
                </a:lnTo>
                <a:lnTo>
                  <a:pt x="5185" y="1157"/>
                </a:lnTo>
                <a:lnTo>
                  <a:pt x="5179" y="1157"/>
                </a:lnTo>
                <a:lnTo>
                  <a:pt x="5179" y="1157"/>
                </a:lnTo>
                <a:lnTo>
                  <a:pt x="5179" y="1157"/>
                </a:lnTo>
                <a:lnTo>
                  <a:pt x="5179" y="1157"/>
                </a:lnTo>
                <a:lnTo>
                  <a:pt x="5179" y="1157"/>
                </a:lnTo>
                <a:lnTo>
                  <a:pt x="5179" y="1157"/>
                </a:lnTo>
                <a:lnTo>
                  <a:pt x="5179" y="1157"/>
                </a:lnTo>
                <a:lnTo>
                  <a:pt x="5191" y="1157"/>
                </a:lnTo>
                <a:lnTo>
                  <a:pt x="5197" y="1151"/>
                </a:lnTo>
                <a:lnTo>
                  <a:pt x="5203" y="1151"/>
                </a:lnTo>
                <a:lnTo>
                  <a:pt x="5203" y="1151"/>
                </a:lnTo>
                <a:lnTo>
                  <a:pt x="5203" y="1151"/>
                </a:lnTo>
                <a:lnTo>
                  <a:pt x="5203" y="1145"/>
                </a:lnTo>
                <a:lnTo>
                  <a:pt x="5203" y="1145"/>
                </a:lnTo>
                <a:lnTo>
                  <a:pt x="5203" y="1145"/>
                </a:lnTo>
                <a:lnTo>
                  <a:pt x="5203" y="1145"/>
                </a:lnTo>
                <a:lnTo>
                  <a:pt x="5203" y="1145"/>
                </a:lnTo>
                <a:lnTo>
                  <a:pt x="5203" y="1145"/>
                </a:lnTo>
                <a:lnTo>
                  <a:pt x="5203" y="1145"/>
                </a:lnTo>
                <a:lnTo>
                  <a:pt x="5203" y="1145"/>
                </a:lnTo>
                <a:lnTo>
                  <a:pt x="5203" y="1145"/>
                </a:lnTo>
                <a:lnTo>
                  <a:pt x="5203" y="1145"/>
                </a:lnTo>
                <a:lnTo>
                  <a:pt x="5209" y="1145"/>
                </a:lnTo>
                <a:lnTo>
                  <a:pt x="5209" y="1145"/>
                </a:lnTo>
                <a:lnTo>
                  <a:pt x="5209" y="1145"/>
                </a:lnTo>
                <a:lnTo>
                  <a:pt x="5203" y="1145"/>
                </a:lnTo>
                <a:lnTo>
                  <a:pt x="5209" y="1145"/>
                </a:lnTo>
                <a:lnTo>
                  <a:pt x="5209" y="1145"/>
                </a:lnTo>
                <a:lnTo>
                  <a:pt x="5215" y="1145"/>
                </a:lnTo>
                <a:lnTo>
                  <a:pt x="5221" y="1139"/>
                </a:lnTo>
                <a:lnTo>
                  <a:pt x="5233" y="1139"/>
                </a:lnTo>
                <a:lnTo>
                  <a:pt x="5238" y="1133"/>
                </a:lnTo>
                <a:lnTo>
                  <a:pt x="5238" y="1133"/>
                </a:lnTo>
                <a:lnTo>
                  <a:pt x="5244" y="1127"/>
                </a:lnTo>
                <a:lnTo>
                  <a:pt x="5244" y="1127"/>
                </a:lnTo>
                <a:lnTo>
                  <a:pt x="5250" y="1127"/>
                </a:lnTo>
                <a:lnTo>
                  <a:pt x="5256" y="1121"/>
                </a:lnTo>
                <a:lnTo>
                  <a:pt x="5262" y="1121"/>
                </a:lnTo>
                <a:lnTo>
                  <a:pt x="5262" y="1121"/>
                </a:lnTo>
                <a:lnTo>
                  <a:pt x="5262" y="1121"/>
                </a:lnTo>
                <a:lnTo>
                  <a:pt x="5262" y="1121"/>
                </a:lnTo>
                <a:lnTo>
                  <a:pt x="5268" y="1121"/>
                </a:lnTo>
                <a:lnTo>
                  <a:pt x="5268" y="1121"/>
                </a:lnTo>
                <a:lnTo>
                  <a:pt x="5268" y="1121"/>
                </a:lnTo>
                <a:lnTo>
                  <a:pt x="5262" y="1115"/>
                </a:lnTo>
                <a:close/>
                <a:moveTo>
                  <a:pt x="5221" y="1115"/>
                </a:moveTo>
                <a:lnTo>
                  <a:pt x="5221" y="1115"/>
                </a:lnTo>
                <a:lnTo>
                  <a:pt x="5221" y="1115"/>
                </a:lnTo>
                <a:lnTo>
                  <a:pt x="5221" y="1115"/>
                </a:lnTo>
                <a:lnTo>
                  <a:pt x="5215" y="1115"/>
                </a:lnTo>
                <a:lnTo>
                  <a:pt x="5215" y="1115"/>
                </a:lnTo>
                <a:lnTo>
                  <a:pt x="5215" y="1115"/>
                </a:lnTo>
                <a:lnTo>
                  <a:pt x="5215" y="1115"/>
                </a:lnTo>
                <a:lnTo>
                  <a:pt x="5215" y="1115"/>
                </a:lnTo>
                <a:lnTo>
                  <a:pt x="5215" y="1121"/>
                </a:lnTo>
                <a:lnTo>
                  <a:pt x="5215" y="1121"/>
                </a:lnTo>
                <a:lnTo>
                  <a:pt x="5215" y="1121"/>
                </a:lnTo>
                <a:lnTo>
                  <a:pt x="5215" y="1121"/>
                </a:lnTo>
                <a:lnTo>
                  <a:pt x="5215" y="1121"/>
                </a:lnTo>
                <a:lnTo>
                  <a:pt x="5215" y="1121"/>
                </a:lnTo>
                <a:lnTo>
                  <a:pt x="5221" y="1121"/>
                </a:lnTo>
                <a:lnTo>
                  <a:pt x="5221" y="1121"/>
                </a:lnTo>
                <a:lnTo>
                  <a:pt x="5221" y="1121"/>
                </a:lnTo>
                <a:lnTo>
                  <a:pt x="5227" y="1121"/>
                </a:lnTo>
                <a:lnTo>
                  <a:pt x="5227" y="1121"/>
                </a:lnTo>
                <a:lnTo>
                  <a:pt x="5227" y="1121"/>
                </a:lnTo>
                <a:lnTo>
                  <a:pt x="5227" y="1121"/>
                </a:lnTo>
                <a:lnTo>
                  <a:pt x="5221" y="1121"/>
                </a:lnTo>
                <a:lnTo>
                  <a:pt x="5221" y="1121"/>
                </a:lnTo>
                <a:lnTo>
                  <a:pt x="5227" y="1121"/>
                </a:lnTo>
                <a:lnTo>
                  <a:pt x="5221" y="1121"/>
                </a:lnTo>
                <a:lnTo>
                  <a:pt x="5221" y="1121"/>
                </a:lnTo>
                <a:lnTo>
                  <a:pt x="5221" y="1115"/>
                </a:lnTo>
                <a:lnTo>
                  <a:pt x="5221" y="1115"/>
                </a:lnTo>
                <a:close/>
                <a:moveTo>
                  <a:pt x="5238" y="1115"/>
                </a:moveTo>
                <a:lnTo>
                  <a:pt x="5238" y="1115"/>
                </a:lnTo>
                <a:lnTo>
                  <a:pt x="5238" y="1115"/>
                </a:lnTo>
                <a:lnTo>
                  <a:pt x="5238" y="1115"/>
                </a:lnTo>
                <a:lnTo>
                  <a:pt x="5238" y="1115"/>
                </a:lnTo>
                <a:lnTo>
                  <a:pt x="5238" y="1115"/>
                </a:lnTo>
                <a:lnTo>
                  <a:pt x="5244" y="1121"/>
                </a:lnTo>
                <a:lnTo>
                  <a:pt x="5244" y="1121"/>
                </a:lnTo>
                <a:lnTo>
                  <a:pt x="5244" y="1121"/>
                </a:lnTo>
                <a:lnTo>
                  <a:pt x="5244" y="1121"/>
                </a:lnTo>
                <a:lnTo>
                  <a:pt x="5244" y="1115"/>
                </a:lnTo>
                <a:lnTo>
                  <a:pt x="5244" y="1115"/>
                </a:lnTo>
                <a:lnTo>
                  <a:pt x="5244" y="1115"/>
                </a:lnTo>
                <a:lnTo>
                  <a:pt x="5244" y="1115"/>
                </a:lnTo>
                <a:lnTo>
                  <a:pt x="5244" y="1115"/>
                </a:lnTo>
                <a:lnTo>
                  <a:pt x="5244" y="1115"/>
                </a:lnTo>
                <a:lnTo>
                  <a:pt x="5244" y="1115"/>
                </a:lnTo>
                <a:lnTo>
                  <a:pt x="5238" y="1115"/>
                </a:lnTo>
                <a:lnTo>
                  <a:pt x="5238" y="1109"/>
                </a:lnTo>
                <a:lnTo>
                  <a:pt x="5238" y="1115"/>
                </a:lnTo>
                <a:lnTo>
                  <a:pt x="5238" y="1115"/>
                </a:lnTo>
                <a:lnTo>
                  <a:pt x="5238" y="1115"/>
                </a:lnTo>
                <a:lnTo>
                  <a:pt x="5238" y="1115"/>
                </a:lnTo>
                <a:close/>
                <a:moveTo>
                  <a:pt x="5250" y="1091"/>
                </a:moveTo>
                <a:lnTo>
                  <a:pt x="5250" y="1097"/>
                </a:lnTo>
                <a:lnTo>
                  <a:pt x="5250" y="1091"/>
                </a:lnTo>
                <a:lnTo>
                  <a:pt x="5256" y="1091"/>
                </a:lnTo>
                <a:lnTo>
                  <a:pt x="5256" y="1091"/>
                </a:lnTo>
                <a:lnTo>
                  <a:pt x="5256" y="1091"/>
                </a:lnTo>
                <a:lnTo>
                  <a:pt x="5256" y="1091"/>
                </a:lnTo>
                <a:lnTo>
                  <a:pt x="5256" y="1091"/>
                </a:lnTo>
                <a:lnTo>
                  <a:pt x="5262" y="1091"/>
                </a:lnTo>
                <a:lnTo>
                  <a:pt x="5256" y="1091"/>
                </a:lnTo>
                <a:lnTo>
                  <a:pt x="5256" y="1091"/>
                </a:lnTo>
                <a:lnTo>
                  <a:pt x="5256" y="1091"/>
                </a:lnTo>
                <a:lnTo>
                  <a:pt x="5250" y="1091"/>
                </a:lnTo>
                <a:lnTo>
                  <a:pt x="5250" y="1091"/>
                </a:lnTo>
                <a:lnTo>
                  <a:pt x="5250" y="1091"/>
                </a:lnTo>
                <a:lnTo>
                  <a:pt x="5250" y="1091"/>
                </a:lnTo>
                <a:lnTo>
                  <a:pt x="5250" y="1091"/>
                </a:lnTo>
                <a:lnTo>
                  <a:pt x="5250" y="1091"/>
                </a:lnTo>
                <a:lnTo>
                  <a:pt x="5250" y="1091"/>
                </a:lnTo>
                <a:lnTo>
                  <a:pt x="5250" y="1091"/>
                </a:lnTo>
                <a:lnTo>
                  <a:pt x="5250" y="1091"/>
                </a:lnTo>
                <a:lnTo>
                  <a:pt x="5250" y="1091"/>
                </a:lnTo>
                <a:lnTo>
                  <a:pt x="5250" y="1097"/>
                </a:lnTo>
                <a:lnTo>
                  <a:pt x="5250" y="1091"/>
                </a:lnTo>
                <a:lnTo>
                  <a:pt x="5250" y="1091"/>
                </a:lnTo>
                <a:lnTo>
                  <a:pt x="5250" y="1091"/>
                </a:lnTo>
                <a:close/>
                <a:moveTo>
                  <a:pt x="4551" y="860"/>
                </a:moveTo>
                <a:lnTo>
                  <a:pt x="4551" y="860"/>
                </a:lnTo>
                <a:lnTo>
                  <a:pt x="4557" y="860"/>
                </a:lnTo>
                <a:lnTo>
                  <a:pt x="4557" y="860"/>
                </a:lnTo>
                <a:lnTo>
                  <a:pt x="4557" y="860"/>
                </a:lnTo>
                <a:lnTo>
                  <a:pt x="4563" y="854"/>
                </a:lnTo>
                <a:lnTo>
                  <a:pt x="4563" y="854"/>
                </a:lnTo>
                <a:lnTo>
                  <a:pt x="4563" y="854"/>
                </a:lnTo>
                <a:lnTo>
                  <a:pt x="4563" y="848"/>
                </a:lnTo>
                <a:lnTo>
                  <a:pt x="4557" y="848"/>
                </a:lnTo>
                <a:lnTo>
                  <a:pt x="4557" y="848"/>
                </a:lnTo>
                <a:lnTo>
                  <a:pt x="4557" y="848"/>
                </a:lnTo>
                <a:lnTo>
                  <a:pt x="4551" y="848"/>
                </a:lnTo>
                <a:lnTo>
                  <a:pt x="4551" y="854"/>
                </a:lnTo>
                <a:lnTo>
                  <a:pt x="4551" y="860"/>
                </a:lnTo>
                <a:lnTo>
                  <a:pt x="4551" y="860"/>
                </a:lnTo>
                <a:close/>
                <a:moveTo>
                  <a:pt x="4830" y="724"/>
                </a:moveTo>
                <a:lnTo>
                  <a:pt x="4830" y="724"/>
                </a:lnTo>
                <a:lnTo>
                  <a:pt x="4830" y="718"/>
                </a:lnTo>
                <a:lnTo>
                  <a:pt x="4830" y="718"/>
                </a:lnTo>
                <a:lnTo>
                  <a:pt x="4830" y="718"/>
                </a:lnTo>
                <a:lnTo>
                  <a:pt x="4830" y="718"/>
                </a:lnTo>
                <a:lnTo>
                  <a:pt x="4830" y="718"/>
                </a:lnTo>
                <a:lnTo>
                  <a:pt x="4824" y="718"/>
                </a:lnTo>
                <a:lnTo>
                  <a:pt x="4824" y="724"/>
                </a:lnTo>
                <a:lnTo>
                  <a:pt x="4824" y="724"/>
                </a:lnTo>
                <a:lnTo>
                  <a:pt x="4830" y="724"/>
                </a:lnTo>
                <a:close/>
                <a:moveTo>
                  <a:pt x="4835" y="688"/>
                </a:moveTo>
                <a:lnTo>
                  <a:pt x="4841" y="682"/>
                </a:lnTo>
                <a:lnTo>
                  <a:pt x="4847" y="682"/>
                </a:lnTo>
                <a:lnTo>
                  <a:pt x="4847" y="682"/>
                </a:lnTo>
                <a:lnTo>
                  <a:pt x="4847" y="682"/>
                </a:lnTo>
                <a:lnTo>
                  <a:pt x="4847" y="682"/>
                </a:lnTo>
                <a:lnTo>
                  <a:pt x="4847" y="676"/>
                </a:lnTo>
                <a:lnTo>
                  <a:pt x="4847" y="676"/>
                </a:lnTo>
                <a:lnTo>
                  <a:pt x="4847" y="676"/>
                </a:lnTo>
                <a:lnTo>
                  <a:pt x="4841" y="682"/>
                </a:lnTo>
                <a:lnTo>
                  <a:pt x="4841" y="676"/>
                </a:lnTo>
                <a:lnTo>
                  <a:pt x="4841" y="682"/>
                </a:lnTo>
                <a:lnTo>
                  <a:pt x="4841" y="682"/>
                </a:lnTo>
                <a:lnTo>
                  <a:pt x="4835" y="682"/>
                </a:lnTo>
                <a:lnTo>
                  <a:pt x="4835" y="682"/>
                </a:lnTo>
                <a:lnTo>
                  <a:pt x="4835" y="682"/>
                </a:lnTo>
                <a:lnTo>
                  <a:pt x="4835" y="682"/>
                </a:lnTo>
                <a:lnTo>
                  <a:pt x="4835" y="688"/>
                </a:lnTo>
                <a:close/>
                <a:moveTo>
                  <a:pt x="4847" y="676"/>
                </a:moveTo>
                <a:lnTo>
                  <a:pt x="4847" y="682"/>
                </a:lnTo>
                <a:lnTo>
                  <a:pt x="4847" y="682"/>
                </a:lnTo>
                <a:lnTo>
                  <a:pt x="4853" y="682"/>
                </a:lnTo>
                <a:lnTo>
                  <a:pt x="4853" y="676"/>
                </a:lnTo>
                <a:lnTo>
                  <a:pt x="4853" y="676"/>
                </a:lnTo>
                <a:lnTo>
                  <a:pt x="4859" y="676"/>
                </a:lnTo>
                <a:lnTo>
                  <a:pt x="4859" y="670"/>
                </a:lnTo>
                <a:lnTo>
                  <a:pt x="4859" y="670"/>
                </a:lnTo>
                <a:lnTo>
                  <a:pt x="4859" y="670"/>
                </a:lnTo>
                <a:lnTo>
                  <a:pt x="4859" y="670"/>
                </a:lnTo>
                <a:lnTo>
                  <a:pt x="4859" y="670"/>
                </a:lnTo>
                <a:lnTo>
                  <a:pt x="4859" y="670"/>
                </a:lnTo>
                <a:lnTo>
                  <a:pt x="4859" y="670"/>
                </a:lnTo>
                <a:lnTo>
                  <a:pt x="4859" y="670"/>
                </a:lnTo>
                <a:lnTo>
                  <a:pt x="4859" y="670"/>
                </a:lnTo>
                <a:lnTo>
                  <a:pt x="4853" y="670"/>
                </a:lnTo>
                <a:lnTo>
                  <a:pt x="4853" y="676"/>
                </a:lnTo>
                <a:lnTo>
                  <a:pt x="4853" y="676"/>
                </a:lnTo>
                <a:lnTo>
                  <a:pt x="4853" y="676"/>
                </a:lnTo>
                <a:lnTo>
                  <a:pt x="4853" y="676"/>
                </a:lnTo>
                <a:lnTo>
                  <a:pt x="4853" y="676"/>
                </a:lnTo>
                <a:lnTo>
                  <a:pt x="4853" y="670"/>
                </a:lnTo>
                <a:lnTo>
                  <a:pt x="4853" y="670"/>
                </a:lnTo>
                <a:lnTo>
                  <a:pt x="4853" y="676"/>
                </a:lnTo>
                <a:lnTo>
                  <a:pt x="4853" y="676"/>
                </a:lnTo>
                <a:lnTo>
                  <a:pt x="4847" y="676"/>
                </a:lnTo>
                <a:lnTo>
                  <a:pt x="4847" y="676"/>
                </a:lnTo>
                <a:lnTo>
                  <a:pt x="4847" y="676"/>
                </a:lnTo>
                <a:lnTo>
                  <a:pt x="4847" y="676"/>
                </a:lnTo>
                <a:lnTo>
                  <a:pt x="4847" y="676"/>
                </a:lnTo>
                <a:lnTo>
                  <a:pt x="4847" y="676"/>
                </a:lnTo>
                <a:lnTo>
                  <a:pt x="4847" y="676"/>
                </a:lnTo>
                <a:lnTo>
                  <a:pt x="4847" y="676"/>
                </a:lnTo>
                <a:close/>
                <a:moveTo>
                  <a:pt x="527" y="2100"/>
                </a:moveTo>
                <a:lnTo>
                  <a:pt x="527" y="2100"/>
                </a:lnTo>
                <a:lnTo>
                  <a:pt x="527" y="2100"/>
                </a:lnTo>
                <a:lnTo>
                  <a:pt x="527" y="2100"/>
                </a:lnTo>
                <a:lnTo>
                  <a:pt x="521" y="2094"/>
                </a:lnTo>
                <a:lnTo>
                  <a:pt x="521" y="2094"/>
                </a:lnTo>
                <a:lnTo>
                  <a:pt x="521" y="2094"/>
                </a:lnTo>
                <a:lnTo>
                  <a:pt x="521" y="2094"/>
                </a:lnTo>
                <a:lnTo>
                  <a:pt x="521" y="2094"/>
                </a:lnTo>
                <a:lnTo>
                  <a:pt x="521" y="2094"/>
                </a:lnTo>
                <a:lnTo>
                  <a:pt x="515" y="2094"/>
                </a:lnTo>
                <a:lnTo>
                  <a:pt x="515" y="2094"/>
                </a:lnTo>
                <a:lnTo>
                  <a:pt x="515" y="2094"/>
                </a:lnTo>
                <a:lnTo>
                  <a:pt x="515" y="2094"/>
                </a:lnTo>
                <a:lnTo>
                  <a:pt x="515" y="2094"/>
                </a:lnTo>
                <a:lnTo>
                  <a:pt x="515" y="2094"/>
                </a:lnTo>
                <a:lnTo>
                  <a:pt x="515" y="2094"/>
                </a:lnTo>
                <a:lnTo>
                  <a:pt x="515" y="2094"/>
                </a:lnTo>
                <a:lnTo>
                  <a:pt x="515" y="2094"/>
                </a:lnTo>
                <a:lnTo>
                  <a:pt x="515" y="2100"/>
                </a:lnTo>
                <a:lnTo>
                  <a:pt x="515" y="2100"/>
                </a:lnTo>
                <a:lnTo>
                  <a:pt x="515" y="2100"/>
                </a:lnTo>
                <a:lnTo>
                  <a:pt x="515" y="2100"/>
                </a:lnTo>
                <a:lnTo>
                  <a:pt x="515" y="2100"/>
                </a:lnTo>
                <a:lnTo>
                  <a:pt x="515" y="2100"/>
                </a:lnTo>
                <a:lnTo>
                  <a:pt x="521" y="2100"/>
                </a:lnTo>
                <a:lnTo>
                  <a:pt x="521" y="2100"/>
                </a:lnTo>
                <a:lnTo>
                  <a:pt x="521" y="2100"/>
                </a:lnTo>
                <a:lnTo>
                  <a:pt x="521" y="2100"/>
                </a:lnTo>
                <a:lnTo>
                  <a:pt x="521" y="2100"/>
                </a:lnTo>
                <a:lnTo>
                  <a:pt x="521" y="2100"/>
                </a:lnTo>
                <a:lnTo>
                  <a:pt x="521" y="2100"/>
                </a:lnTo>
                <a:lnTo>
                  <a:pt x="527" y="2100"/>
                </a:lnTo>
                <a:lnTo>
                  <a:pt x="527" y="2100"/>
                </a:lnTo>
                <a:lnTo>
                  <a:pt x="527" y="2100"/>
                </a:lnTo>
                <a:lnTo>
                  <a:pt x="527" y="2100"/>
                </a:lnTo>
                <a:lnTo>
                  <a:pt x="527" y="2100"/>
                </a:lnTo>
                <a:lnTo>
                  <a:pt x="527" y="2100"/>
                </a:lnTo>
                <a:lnTo>
                  <a:pt x="527" y="2100"/>
                </a:lnTo>
                <a:lnTo>
                  <a:pt x="527" y="2100"/>
                </a:lnTo>
                <a:close/>
                <a:moveTo>
                  <a:pt x="640" y="2088"/>
                </a:moveTo>
                <a:lnTo>
                  <a:pt x="640" y="2088"/>
                </a:lnTo>
                <a:lnTo>
                  <a:pt x="640" y="2088"/>
                </a:lnTo>
                <a:lnTo>
                  <a:pt x="640" y="2088"/>
                </a:lnTo>
                <a:lnTo>
                  <a:pt x="640" y="2088"/>
                </a:lnTo>
                <a:lnTo>
                  <a:pt x="640" y="2088"/>
                </a:lnTo>
                <a:lnTo>
                  <a:pt x="640" y="2088"/>
                </a:lnTo>
                <a:lnTo>
                  <a:pt x="640" y="2088"/>
                </a:lnTo>
                <a:lnTo>
                  <a:pt x="640" y="2088"/>
                </a:lnTo>
                <a:lnTo>
                  <a:pt x="640" y="2088"/>
                </a:lnTo>
                <a:lnTo>
                  <a:pt x="640" y="2088"/>
                </a:lnTo>
                <a:lnTo>
                  <a:pt x="640" y="2088"/>
                </a:lnTo>
                <a:lnTo>
                  <a:pt x="640" y="2082"/>
                </a:lnTo>
                <a:lnTo>
                  <a:pt x="634" y="2082"/>
                </a:lnTo>
                <a:lnTo>
                  <a:pt x="634" y="2082"/>
                </a:lnTo>
                <a:lnTo>
                  <a:pt x="634" y="2082"/>
                </a:lnTo>
                <a:lnTo>
                  <a:pt x="634" y="2082"/>
                </a:lnTo>
                <a:lnTo>
                  <a:pt x="634" y="2082"/>
                </a:lnTo>
                <a:lnTo>
                  <a:pt x="634" y="2082"/>
                </a:lnTo>
                <a:lnTo>
                  <a:pt x="634" y="2082"/>
                </a:lnTo>
                <a:lnTo>
                  <a:pt x="634" y="2082"/>
                </a:lnTo>
                <a:lnTo>
                  <a:pt x="634" y="2082"/>
                </a:lnTo>
                <a:lnTo>
                  <a:pt x="634" y="2082"/>
                </a:lnTo>
                <a:lnTo>
                  <a:pt x="634" y="2082"/>
                </a:lnTo>
                <a:lnTo>
                  <a:pt x="634" y="2076"/>
                </a:lnTo>
                <a:lnTo>
                  <a:pt x="634" y="2076"/>
                </a:lnTo>
                <a:lnTo>
                  <a:pt x="634" y="2076"/>
                </a:lnTo>
                <a:lnTo>
                  <a:pt x="634" y="2076"/>
                </a:lnTo>
                <a:lnTo>
                  <a:pt x="634" y="2076"/>
                </a:lnTo>
                <a:lnTo>
                  <a:pt x="634" y="2076"/>
                </a:lnTo>
                <a:lnTo>
                  <a:pt x="628" y="2076"/>
                </a:lnTo>
                <a:lnTo>
                  <a:pt x="628" y="2076"/>
                </a:lnTo>
                <a:lnTo>
                  <a:pt x="628" y="2076"/>
                </a:lnTo>
                <a:lnTo>
                  <a:pt x="628" y="2076"/>
                </a:lnTo>
                <a:lnTo>
                  <a:pt x="628" y="2076"/>
                </a:lnTo>
                <a:lnTo>
                  <a:pt x="628" y="2076"/>
                </a:lnTo>
                <a:lnTo>
                  <a:pt x="628" y="2076"/>
                </a:lnTo>
                <a:lnTo>
                  <a:pt x="628" y="2076"/>
                </a:lnTo>
                <a:lnTo>
                  <a:pt x="628"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0"/>
                </a:lnTo>
                <a:lnTo>
                  <a:pt x="622" y="2070"/>
                </a:lnTo>
                <a:lnTo>
                  <a:pt x="616" y="2070"/>
                </a:lnTo>
                <a:lnTo>
                  <a:pt x="616" y="2070"/>
                </a:lnTo>
                <a:lnTo>
                  <a:pt x="616" y="2070"/>
                </a:lnTo>
                <a:lnTo>
                  <a:pt x="616" y="2070"/>
                </a:lnTo>
                <a:lnTo>
                  <a:pt x="616" y="2070"/>
                </a:lnTo>
                <a:lnTo>
                  <a:pt x="616" y="2070"/>
                </a:lnTo>
                <a:lnTo>
                  <a:pt x="616" y="2070"/>
                </a:lnTo>
                <a:lnTo>
                  <a:pt x="616" y="2070"/>
                </a:lnTo>
                <a:lnTo>
                  <a:pt x="616" y="2070"/>
                </a:lnTo>
                <a:lnTo>
                  <a:pt x="616" y="2070"/>
                </a:lnTo>
                <a:lnTo>
                  <a:pt x="616" y="2070"/>
                </a:lnTo>
                <a:lnTo>
                  <a:pt x="610" y="2070"/>
                </a:lnTo>
                <a:lnTo>
                  <a:pt x="610" y="2070"/>
                </a:lnTo>
                <a:lnTo>
                  <a:pt x="610" y="2070"/>
                </a:lnTo>
                <a:lnTo>
                  <a:pt x="610" y="2070"/>
                </a:lnTo>
                <a:lnTo>
                  <a:pt x="610" y="2070"/>
                </a:lnTo>
                <a:lnTo>
                  <a:pt x="610" y="2070"/>
                </a:lnTo>
                <a:lnTo>
                  <a:pt x="610" y="2070"/>
                </a:lnTo>
                <a:lnTo>
                  <a:pt x="616" y="2076"/>
                </a:lnTo>
                <a:lnTo>
                  <a:pt x="616" y="2076"/>
                </a:lnTo>
                <a:lnTo>
                  <a:pt x="616" y="2076"/>
                </a:lnTo>
                <a:lnTo>
                  <a:pt x="616" y="2076"/>
                </a:lnTo>
                <a:lnTo>
                  <a:pt x="616" y="2076"/>
                </a:lnTo>
                <a:lnTo>
                  <a:pt x="616" y="2076"/>
                </a:lnTo>
                <a:lnTo>
                  <a:pt x="616" y="2076"/>
                </a:lnTo>
                <a:lnTo>
                  <a:pt x="616" y="2076"/>
                </a:lnTo>
                <a:lnTo>
                  <a:pt x="616" y="2076"/>
                </a:lnTo>
                <a:lnTo>
                  <a:pt x="616" y="2076"/>
                </a:lnTo>
                <a:lnTo>
                  <a:pt x="616" y="2076"/>
                </a:lnTo>
                <a:lnTo>
                  <a:pt x="616" y="2076"/>
                </a:lnTo>
                <a:lnTo>
                  <a:pt x="616" y="2076"/>
                </a:lnTo>
                <a:lnTo>
                  <a:pt x="616" y="2076"/>
                </a:lnTo>
                <a:lnTo>
                  <a:pt x="622" y="2076"/>
                </a:lnTo>
                <a:lnTo>
                  <a:pt x="622" y="2076"/>
                </a:lnTo>
                <a:lnTo>
                  <a:pt x="622" y="2076"/>
                </a:lnTo>
                <a:lnTo>
                  <a:pt x="622" y="2076"/>
                </a:lnTo>
                <a:lnTo>
                  <a:pt x="622" y="2076"/>
                </a:lnTo>
                <a:lnTo>
                  <a:pt x="622" y="2076"/>
                </a:lnTo>
                <a:lnTo>
                  <a:pt x="622" y="2076"/>
                </a:lnTo>
                <a:lnTo>
                  <a:pt x="622" y="2082"/>
                </a:lnTo>
                <a:lnTo>
                  <a:pt x="622" y="2082"/>
                </a:lnTo>
                <a:lnTo>
                  <a:pt x="622" y="2082"/>
                </a:lnTo>
                <a:lnTo>
                  <a:pt x="622" y="2082"/>
                </a:lnTo>
                <a:lnTo>
                  <a:pt x="622" y="2082"/>
                </a:lnTo>
                <a:lnTo>
                  <a:pt x="622" y="2082"/>
                </a:lnTo>
                <a:lnTo>
                  <a:pt x="622" y="2082"/>
                </a:lnTo>
                <a:lnTo>
                  <a:pt x="622" y="2082"/>
                </a:lnTo>
                <a:lnTo>
                  <a:pt x="622" y="2082"/>
                </a:lnTo>
                <a:lnTo>
                  <a:pt x="622" y="2082"/>
                </a:lnTo>
                <a:lnTo>
                  <a:pt x="622" y="2088"/>
                </a:lnTo>
                <a:lnTo>
                  <a:pt x="622" y="2088"/>
                </a:lnTo>
                <a:lnTo>
                  <a:pt x="622" y="2088"/>
                </a:lnTo>
                <a:lnTo>
                  <a:pt x="622" y="2088"/>
                </a:lnTo>
                <a:lnTo>
                  <a:pt x="622" y="2088"/>
                </a:lnTo>
                <a:lnTo>
                  <a:pt x="628" y="2088"/>
                </a:lnTo>
                <a:lnTo>
                  <a:pt x="628" y="2088"/>
                </a:lnTo>
                <a:lnTo>
                  <a:pt x="628" y="2088"/>
                </a:lnTo>
                <a:lnTo>
                  <a:pt x="628" y="2088"/>
                </a:lnTo>
                <a:lnTo>
                  <a:pt x="634" y="2088"/>
                </a:lnTo>
                <a:lnTo>
                  <a:pt x="634" y="2088"/>
                </a:lnTo>
                <a:lnTo>
                  <a:pt x="634" y="2088"/>
                </a:lnTo>
                <a:lnTo>
                  <a:pt x="634" y="2088"/>
                </a:lnTo>
                <a:lnTo>
                  <a:pt x="640" y="2094"/>
                </a:lnTo>
                <a:lnTo>
                  <a:pt x="640" y="2094"/>
                </a:lnTo>
                <a:lnTo>
                  <a:pt x="640" y="2094"/>
                </a:lnTo>
                <a:lnTo>
                  <a:pt x="640" y="2094"/>
                </a:lnTo>
                <a:lnTo>
                  <a:pt x="640" y="2094"/>
                </a:lnTo>
                <a:lnTo>
                  <a:pt x="640" y="2094"/>
                </a:lnTo>
                <a:lnTo>
                  <a:pt x="640" y="2088"/>
                </a:lnTo>
                <a:lnTo>
                  <a:pt x="640" y="2088"/>
                </a:lnTo>
                <a:lnTo>
                  <a:pt x="640" y="2088"/>
                </a:lnTo>
                <a:close/>
                <a:moveTo>
                  <a:pt x="652" y="2034"/>
                </a:moveTo>
                <a:lnTo>
                  <a:pt x="652" y="2034"/>
                </a:lnTo>
                <a:lnTo>
                  <a:pt x="646" y="2034"/>
                </a:lnTo>
                <a:lnTo>
                  <a:pt x="646" y="2034"/>
                </a:lnTo>
                <a:lnTo>
                  <a:pt x="646" y="2034"/>
                </a:lnTo>
                <a:lnTo>
                  <a:pt x="646" y="2034"/>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52" y="2040"/>
                </a:lnTo>
                <a:lnTo>
                  <a:pt x="652" y="2034"/>
                </a:lnTo>
                <a:close/>
                <a:moveTo>
                  <a:pt x="438" y="2005"/>
                </a:moveTo>
                <a:lnTo>
                  <a:pt x="438" y="2005"/>
                </a:lnTo>
                <a:lnTo>
                  <a:pt x="438" y="2005"/>
                </a:lnTo>
                <a:lnTo>
                  <a:pt x="438" y="2005"/>
                </a:lnTo>
                <a:lnTo>
                  <a:pt x="438" y="2005"/>
                </a:lnTo>
                <a:lnTo>
                  <a:pt x="438" y="2005"/>
                </a:lnTo>
                <a:lnTo>
                  <a:pt x="438" y="2005"/>
                </a:lnTo>
                <a:lnTo>
                  <a:pt x="438" y="2005"/>
                </a:lnTo>
                <a:lnTo>
                  <a:pt x="438" y="1999"/>
                </a:lnTo>
                <a:lnTo>
                  <a:pt x="438" y="1999"/>
                </a:lnTo>
                <a:lnTo>
                  <a:pt x="438" y="1999"/>
                </a:lnTo>
                <a:lnTo>
                  <a:pt x="438" y="1999"/>
                </a:lnTo>
                <a:lnTo>
                  <a:pt x="438" y="1999"/>
                </a:lnTo>
                <a:lnTo>
                  <a:pt x="438" y="1999"/>
                </a:lnTo>
                <a:lnTo>
                  <a:pt x="438" y="1999"/>
                </a:lnTo>
                <a:lnTo>
                  <a:pt x="433" y="1999"/>
                </a:lnTo>
                <a:lnTo>
                  <a:pt x="433" y="1999"/>
                </a:lnTo>
                <a:lnTo>
                  <a:pt x="433" y="1999"/>
                </a:lnTo>
                <a:lnTo>
                  <a:pt x="433" y="1999"/>
                </a:lnTo>
                <a:lnTo>
                  <a:pt x="433" y="2005"/>
                </a:lnTo>
                <a:lnTo>
                  <a:pt x="433" y="1999"/>
                </a:lnTo>
                <a:lnTo>
                  <a:pt x="427" y="2005"/>
                </a:lnTo>
                <a:lnTo>
                  <a:pt x="427" y="2005"/>
                </a:lnTo>
                <a:lnTo>
                  <a:pt x="427" y="2005"/>
                </a:lnTo>
                <a:lnTo>
                  <a:pt x="427" y="2005"/>
                </a:lnTo>
                <a:lnTo>
                  <a:pt x="427" y="2005"/>
                </a:lnTo>
                <a:lnTo>
                  <a:pt x="433" y="2005"/>
                </a:lnTo>
                <a:lnTo>
                  <a:pt x="433" y="2005"/>
                </a:lnTo>
                <a:lnTo>
                  <a:pt x="433" y="2005"/>
                </a:lnTo>
                <a:lnTo>
                  <a:pt x="433" y="2005"/>
                </a:lnTo>
                <a:lnTo>
                  <a:pt x="433" y="2005"/>
                </a:lnTo>
                <a:lnTo>
                  <a:pt x="433" y="2005"/>
                </a:lnTo>
                <a:lnTo>
                  <a:pt x="433" y="2005"/>
                </a:lnTo>
                <a:lnTo>
                  <a:pt x="433" y="2005"/>
                </a:lnTo>
                <a:lnTo>
                  <a:pt x="438" y="2005"/>
                </a:lnTo>
                <a:lnTo>
                  <a:pt x="438" y="2005"/>
                </a:lnTo>
                <a:lnTo>
                  <a:pt x="438" y="2005"/>
                </a:lnTo>
                <a:lnTo>
                  <a:pt x="438" y="2005"/>
                </a:lnTo>
                <a:lnTo>
                  <a:pt x="438" y="2005"/>
                </a:lnTo>
                <a:lnTo>
                  <a:pt x="444" y="2005"/>
                </a:lnTo>
                <a:lnTo>
                  <a:pt x="444" y="2005"/>
                </a:lnTo>
                <a:lnTo>
                  <a:pt x="444" y="2005"/>
                </a:lnTo>
                <a:lnTo>
                  <a:pt x="444" y="2005"/>
                </a:lnTo>
                <a:lnTo>
                  <a:pt x="438" y="2005"/>
                </a:lnTo>
                <a:close/>
                <a:moveTo>
                  <a:pt x="474" y="2011"/>
                </a:moveTo>
                <a:lnTo>
                  <a:pt x="474" y="2011"/>
                </a:lnTo>
                <a:lnTo>
                  <a:pt x="474" y="2011"/>
                </a:lnTo>
                <a:lnTo>
                  <a:pt x="474" y="2011"/>
                </a:lnTo>
                <a:lnTo>
                  <a:pt x="474" y="2011"/>
                </a:lnTo>
                <a:lnTo>
                  <a:pt x="468" y="2011"/>
                </a:lnTo>
                <a:lnTo>
                  <a:pt x="468" y="2011"/>
                </a:lnTo>
                <a:lnTo>
                  <a:pt x="468" y="2005"/>
                </a:lnTo>
                <a:lnTo>
                  <a:pt x="468" y="2005"/>
                </a:lnTo>
                <a:lnTo>
                  <a:pt x="468" y="2005"/>
                </a:lnTo>
                <a:lnTo>
                  <a:pt x="468" y="2005"/>
                </a:lnTo>
                <a:lnTo>
                  <a:pt x="468" y="2005"/>
                </a:lnTo>
                <a:lnTo>
                  <a:pt x="468" y="2005"/>
                </a:lnTo>
                <a:lnTo>
                  <a:pt x="468" y="2005"/>
                </a:lnTo>
                <a:lnTo>
                  <a:pt x="468" y="2005"/>
                </a:lnTo>
                <a:lnTo>
                  <a:pt x="468" y="2005"/>
                </a:lnTo>
                <a:lnTo>
                  <a:pt x="462" y="2005"/>
                </a:lnTo>
                <a:lnTo>
                  <a:pt x="456" y="2005"/>
                </a:lnTo>
                <a:lnTo>
                  <a:pt x="456" y="2005"/>
                </a:lnTo>
                <a:lnTo>
                  <a:pt x="456" y="2005"/>
                </a:lnTo>
                <a:lnTo>
                  <a:pt x="456" y="2005"/>
                </a:lnTo>
                <a:lnTo>
                  <a:pt x="456" y="2005"/>
                </a:lnTo>
                <a:lnTo>
                  <a:pt x="456" y="2005"/>
                </a:lnTo>
                <a:lnTo>
                  <a:pt x="450" y="2005"/>
                </a:lnTo>
                <a:lnTo>
                  <a:pt x="450" y="2005"/>
                </a:lnTo>
                <a:lnTo>
                  <a:pt x="450" y="2005"/>
                </a:lnTo>
                <a:lnTo>
                  <a:pt x="450" y="2011"/>
                </a:lnTo>
                <a:lnTo>
                  <a:pt x="450" y="2011"/>
                </a:lnTo>
                <a:lnTo>
                  <a:pt x="450" y="2011"/>
                </a:lnTo>
                <a:lnTo>
                  <a:pt x="450" y="2011"/>
                </a:lnTo>
                <a:lnTo>
                  <a:pt x="450" y="2011"/>
                </a:lnTo>
                <a:lnTo>
                  <a:pt x="450" y="2017"/>
                </a:lnTo>
                <a:lnTo>
                  <a:pt x="456" y="2017"/>
                </a:lnTo>
                <a:lnTo>
                  <a:pt x="456" y="2017"/>
                </a:lnTo>
                <a:lnTo>
                  <a:pt x="456" y="2017"/>
                </a:lnTo>
                <a:lnTo>
                  <a:pt x="456" y="2017"/>
                </a:lnTo>
                <a:lnTo>
                  <a:pt x="456" y="2017"/>
                </a:lnTo>
                <a:lnTo>
                  <a:pt x="456" y="2022"/>
                </a:lnTo>
                <a:lnTo>
                  <a:pt x="462" y="2022"/>
                </a:lnTo>
                <a:lnTo>
                  <a:pt x="462" y="2022"/>
                </a:lnTo>
                <a:lnTo>
                  <a:pt x="462" y="2022"/>
                </a:lnTo>
                <a:lnTo>
                  <a:pt x="462" y="2022"/>
                </a:lnTo>
                <a:lnTo>
                  <a:pt x="462" y="2017"/>
                </a:lnTo>
                <a:lnTo>
                  <a:pt x="462" y="2017"/>
                </a:lnTo>
                <a:lnTo>
                  <a:pt x="462" y="2017"/>
                </a:lnTo>
                <a:lnTo>
                  <a:pt x="468" y="2017"/>
                </a:lnTo>
                <a:lnTo>
                  <a:pt x="468" y="2017"/>
                </a:lnTo>
                <a:lnTo>
                  <a:pt x="468" y="2017"/>
                </a:lnTo>
                <a:lnTo>
                  <a:pt x="474" y="2017"/>
                </a:lnTo>
                <a:lnTo>
                  <a:pt x="474" y="2017"/>
                </a:lnTo>
                <a:lnTo>
                  <a:pt x="474" y="2017"/>
                </a:lnTo>
                <a:lnTo>
                  <a:pt x="474" y="2011"/>
                </a:lnTo>
                <a:close/>
                <a:moveTo>
                  <a:pt x="515" y="2005"/>
                </a:moveTo>
                <a:lnTo>
                  <a:pt x="515" y="2005"/>
                </a:lnTo>
                <a:lnTo>
                  <a:pt x="515" y="2005"/>
                </a:lnTo>
                <a:lnTo>
                  <a:pt x="515" y="2005"/>
                </a:lnTo>
                <a:lnTo>
                  <a:pt x="521" y="2005"/>
                </a:lnTo>
                <a:lnTo>
                  <a:pt x="521" y="2005"/>
                </a:lnTo>
                <a:lnTo>
                  <a:pt x="521" y="2005"/>
                </a:lnTo>
                <a:lnTo>
                  <a:pt x="521" y="2005"/>
                </a:lnTo>
                <a:lnTo>
                  <a:pt x="515" y="1999"/>
                </a:lnTo>
                <a:lnTo>
                  <a:pt x="515" y="2005"/>
                </a:lnTo>
                <a:lnTo>
                  <a:pt x="515" y="2005"/>
                </a:lnTo>
                <a:lnTo>
                  <a:pt x="510" y="2005"/>
                </a:lnTo>
                <a:lnTo>
                  <a:pt x="510" y="2005"/>
                </a:lnTo>
                <a:lnTo>
                  <a:pt x="510" y="2005"/>
                </a:lnTo>
                <a:lnTo>
                  <a:pt x="510" y="2005"/>
                </a:lnTo>
                <a:lnTo>
                  <a:pt x="510" y="2005"/>
                </a:lnTo>
                <a:lnTo>
                  <a:pt x="510" y="2005"/>
                </a:lnTo>
                <a:lnTo>
                  <a:pt x="510" y="2005"/>
                </a:lnTo>
                <a:lnTo>
                  <a:pt x="504" y="2005"/>
                </a:lnTo>
                <a:lnTo>
                  <a:pt x="504" y="2005"/>
                </a:lnTo>
                <a:lnTo>
                  <a:pt x="504" y="2005"/>
                </a:lnTo>
                <a:lnTo>
                  <a:pt x="504" y="2005"/>
                </a:lnTo>
                <a:lnTo>
                  <a:pt x="504" y="2005"/>
                </a:lnTo>
                <a:lnTo>
                  <a:pt x="504" y="2005"/>
                </a:lnTo>
                <a:lnTo>
                  <a:pt x="504" y="2005"/>
                </a:lnTo>
                <a:lnTo>
                  <a:pt x="504" y="2005"/>
                </a:lnTo>
                <a:lnTo>
                  <a:pt x="498" y="2005"/>
                </a:lnTo>
                <a:lnTo>
                  <a:pt x="498" y="2005"/>
                </a:lnTo>
                <a:lnTo>
                  <a:pt x="498" y="2005"/>
                </a:lnTo>
                <a:lnTo>
                  <a:pt x="498" y="2005"/>
                </a:lnTo>
                <a:lnTo>
                  <a:pt x="498" y="2005"/>
                </a:lnTo>
                <a:lnTo>
                  <a:pt x="498" y="1999"/>
                </a:lnTo>
                <a:lnTo>
                  <a:pt x="498" y="1999"/>
                </a:lnTo>
                <a:lnTo>
                  <a:pt x="492" y="1999"/>
                </a:lnTo>
                <a:lnTo>
                  <a:pt x="492" y="1999"/>
                </a:lnTo>
                <a:lnTo>
                  <a:pt x="492" y="1999"/>
                </a:lnTo>
                <a:lnTo>
                  <a:pt x="492" y="1999"/>
                </a:lnTo>
                <a:lnTo>
                  <a:pt x="492" y="2005"/>
                </a:lnTo>
                <a:lnTo>
                  <a:pt x="492" y="1999"/>
                </a:lnTo>
                <a:lnTo>
                  <a:pt x="486" y="1999"/>
                </a:lnTo>
                <a:lnTo>
                  <a:pt x="486" y="1999"/>
                </a:lnTo>
                <a:lnTo>
                  <a:pt x="486" y="1999"/>
                </a:lnTo>
                <a:lnTo>
                  <a:pt x="480" y="1999"/>
                </a:lnTo>
                <a:lnTo>
                  <a:pt x="480" y="1999"/>
                </a:lnTo>
                <a:lnTo>
                  <a:pt x="480" y="1999"/>
                </a:lnTo>
                <a:lnTo>
                  <a:pt x="480" y="1999"/>
                </a:lnTo>
                <a:lnTo>
                  <a:pt x="480" y="1999"/>
                </a:lnTo>
                <a:lnTo>
                  <a:pt x="480" y="1999"/>
                </a:lnTo>
                <a:lnTo>
                  <a:pt x="480" y="1999"/>
                </a:lnTo>
                <a:lnTo>
                  <a:pt x="480" y="1999"/>
                </a:lnTo>
                <a:lnTo>
                  <a:pt x="480" y="1999"/>
                </a:lnTo>
                <a:lnTo>
                  <a:pt x="480" y="2005"/>
                </a:lnTo>
                <a:lnTo>
                  <a:pt x="486" y="2005"/>
                </a:lnTo>
                <a:lnTo>
                  <a:pt x="486" y="2005"/>
                </a:lnTo>
                <a:lnTo>
                  <a:pt x="486" y="2005"/>
                </a:lnTo>
                <a:lnTo>
                  <a:pt x="486" y="2005"/>
                </a:lnTo>
                <a:lnTo>
                  <a:pt x="486" y="2005"/>
                </a:lnTo>
                <a:lnTo>
                  <a:pt x="486" y="2011"/>
                </a:lnTo>
                <a:lnTo>
                  <a:pt x="486" y="2011"/>
                </a:lnTo>
                <a:lnTo>
                  <a:pt x="486" y="2011"/>
                </a:lnTo>
                <a:lnTo>
                  <a:pt x="486" y="2011"/>
                </a:lnTo>
                <a:lnTo>
                  <a:pt x="486" y="2011"/>
                </a:lnTo>
                <a:lnTo>
                  <a:pt x="486" y="2011"/>
                </a:lnTo>
                <a:lnTo>
                  <a:pt x="492" y="2011"/>
                </a:lnTo>
                <a:lnTo>
                  <a:pt x="492" y="2011"/>
                </a:lnTo>
                <a:lnTo>
                  <a:pt x="492" y="2011"/>
                </a:lnTo>
                <a:lnTo>
                  <a:pt x="492" y="2011"/>
                </a:lnTo>
                <a:lnTo>
                  <a:pt x="498" y="2011"/>
                </a:lnTo>
                <a:lnTo>
                  <a:pt x="498" y="2011"/>
                </a:lnTo>
                <a:lnTo>
                  <a:pt x="498" y="2011"/>
                </a:lnTo>
                <a:lnTo>
                  <a:pt x="498" y="2011"/>
                </a:lnTo>
                <a:lnTo>
                  <a:pt x="498" y="2011"/>
                </a:lnTo>
                <a:lnTo>
                  <a:pt x="498" y="2011"/>
                </a:lnTo>
                <a:lnTo>
                  <a:pt x="498" y="2011"/>
                </a:lnTo>
                <a:lnTo>
                  <a:pt x="504" y="2011"/>
                </a:lnTo>
                <a:lnTo>
                  <a:pt x="504" y="2011"/>
                </a:lnTo>
                <a:lnTo>
                  <a:pt x="504" y="2011"/>
                </a:lnTo>
                <a:lnTo>
                  <a:pt x="504" y="2011"/>
                </a:lnTo>
                <a:lnTo>
                  <a:pt x="504" y="2011"/>
                </a:lnTo>
                <a:lnTo>
                  <a:pt x="504" y="2011"/>
                </a:lnTo>
                <a:lnTo>
                  <a:pt x="504" y="2011"/>
                </a:lnTo>
                <a:lnTo>
                  <a:pt x="504" y="2011"/>
                </a:lnTo>
                <a:lnTo>
                  <a:pt x="504" y="2011"/>
                </a:lnTo>
                <a:lnTo>
                  <a:pt x="504" y="2011"/>
                </a:lnTo>
                <a:lnTo>
                  <a:pt x="504" y="2011"/>
                </a:lnTo>
                <a:lnTo>
                  <a:pt x="504" y="2011"/>
                </a:lnTo>
                <a:lnTo>
                  <a:pt x="510" y="2011"/>
                </a:lnTo>
                <a:lnTo>
                  <a:pt x="510" y="2011"/>
                </a:lnTo>
                <a:lnTo>
                  <a:pt x="510" y="2011"/>
                </a:lnTo>
                <a:lnTo>
                  <a:pt x="515" y="2011"/>
                </a:lnTo>
                <a:lnTo>
                  <a:pt x="515" y="2011"/>
                </a:lnTo>
                <a:lnTo>
                  <a:pt x="515" y="2011"/>
                </a:lnTo>
                <a:lnTo>
                  <a:pt x="515" y="2005"/>
                </a:lnTo>
                <a:close/>
                <a:moveTo>
                  <a:pt x="634" y="2147"/>
                </a:moveTo>
                <a:lnTo>
                  <a:pt x="628" y="2141"/>
                </a:lnTo>
                <a:lnTo>
                  <a:pt x="628" y="2141"/>
                </a:lnTo>
                <a:lnTo>
                  <a:pt x="628" y="2141"/>
                </a:lnTo>
                <a:lnTo>
                  <a:pt x="628" y="2141"/>
                </a:lnTo>
                <a:lnTo>
                  <a:pt x="622" y="2135"/>
                </a:lnTo>
                <a:lnTo>
                  <a:pt x="622" y="2135"/>
                </a:lnTo>
                <a:lnTo>
                  <a:pt x="622" y="2135"/>
                </a:lnTo>
                <a:lnTo>
                  <a:pt x="622" y="2135"/>
                </a:lnTo>
                <a:lnTo>
                  <a:pt x="622" y="2135"/>
                </a:lnTo>
                <a:lnTo>
                  <a:pt x="622" y="2135"/>
                </a:lnTo>
                <a:lnTo>
                  <a:pt x="622" y="2129"/>
                </a:lnTo>
                <a:lnTo>
                  <a:pt x="616" y="2129"/>
                </a:lnTo>
                <a:lnTo>
                  <a:pt x="616" y="2129"/>
                </a:lnTo>
                <a:lnTo>
                  <a:pt x="616" y="2129"/>
                </a:lnTo>
                <a:lnTo>
                  <a:pt x="616" y="2123"/>
                </a:lnTo>
                <a:lnTo>
                  <a:pt x="616" y="2123"/>
                </a:lnTo>
                <a:lnTo>
                  <a:pt x="616" y="2123"/>
                </a:lnTo>
                <a:lnTo>
                  <a:pt x="616" y="2123"/>
                </a:lnTo>
                <a:lnTo>
                  <a:pt x="616" y="2123"/>
                </a:lnTo>
                <a:lnTo>
                  <a:pt x="610" y="2123"/>
                </a:lnTo>
                <a:lnTo>
                  <a:pt x="610" y="2123"/>
                </a:lnTo>
                <a:lnTo>
                  <a:pt x="610" y="2123"/>
                </a:lnTo>
                <a:lnTo>
                  <a:pt x="610" y="2123"/>
                </a:lnTo>
                <a:lnTo>
                  <a:pt x="610" y="2123"/>
                </a:lnTo>
                <a:lnTo>
                  <a:pt x="610" y="2123"/>
                </a:lnTo>
                <a:lnTo>
                  <a:pt x="610" y="2129"/>
                </a:lnTo>
                <a:lnTo>
                  <a:pt x="616" y="2129"/>
                </a:lnTo>
                <a:lnTo>
                  <a:pt x="616" y="2129"/>
                </a:lnTo>
                <a:lnTo>
                  <a:pt x="616" y="2135"/>
                </a:lnTo>
                <a:lnTo>
                  <a:pt x="616" y="2135"/>
                </a:lnTo>
                <a:lnTo>
                  <a:pt x="616" y="2135"/>
                </a:lnTo>
                <a:lnTo>
                  <a:pt x="616" y="2135"/>
                </a:lnTo>
                <a:lnTo>
                  <a:pt x="616" y="2135"/>
                </a:lnTo>
                <a:lnTo>
                  <a:pt x="616" y="2141"/>
                </a:lnTo>
                <a:lnTo>
                  <a:pt x="616" y="2141"/>
                </a:lnTo>
                <a:lnTo>
                  <a:pt x="616" y="2141"/>
                </a:lnTo>
                <a:lnTo>
                  <a:pt x="622" y="2141"/>
                </a:lnTo>
                <a:lnTo>
                  <a:pt x="622" y="2141"/>
                </a:lnTo>
                <a:lnTo>
                  <a:pt x="622" y="2141"/>
                </a:lnTo>
                <a:lnTo>
                  <a:pt x="622" y="2141"/>
                </a:lnTo>
                <a:lnTo>
                  <a:pt x="622" y="2141"/>
                </a:lnTo>
                <a:lnTo>
                  <a:pt x="622" y="2147"/>
                </a:lnTo>
                <a:lnTo>
                  <a:pt x="622" y="2147"/>
                </a:lnTo>
                <a:lnTo>
                  <a:pt x="622" y="2147"/>
                </a:lnTo>
                <a:lnTo>
                  <a:pt x="628" y="2147"/>
                </a:lnTo>
                <a:lnTo>
                  <a:pt x="628" y="2147"/>
                </a:lnTo>
                <a:lnTo>
                  <a:pt x="628" y="2147"/>
                </a:lnTo>
                <a:lnTo>
                  <a:pt x="628" y="2153"/>
                </a:lnTo>
                <a:lnTo>
                  <a:pt x="628" y="2153"/>
                </a:lnTo>
                <a:lnTo>
                  <a:pt x="628" y="2153"/>
                </a:lnTo>
                <a:lnTo>
                  <a:pt x="628" y="2153"/>
                </a:lnTo>
                <a:lnTo>
                  <a:pt x="628" y="2153"/>
                </a:lnTo>
                <a:lnTo>
                  <a:pt x="628" y="2153"/>
                </a:lnTo>
                <a:lnTo>
                  <a:pt x="634" y="2147"/>
                </a:lnTo>
                <a:lnTo>
                  <a:pt x="634" y="2147"/>
                </a:lnTo>
                <a:lnTo>
                  <a:pt x="634" y="2147"/>
                </a:lnTo>
                <a:lnTo>
                  <a:pt x="634" y="2147"/>
                </a:lnTo>
                <a:lnTo>
                  <a:pt x="634" y="2147"/>
                </a:lnTo>
                <a:lnTo>
                  <a:pt x="634" y="2147"/>
                </a:lnTo>
                <a:lnTo>
                  <a:pt x="634" y="2147"/>
                </a:lnTo>
                <a:lnTo>
                  <a:pt x="634" y="2147"/>
                </a:lnTo>
                <a:lnTo>
                  <a:pt x="634" y="2147"/>
                </a:lnTo>
                <a:close/>
                <a:moveTo>
                  <a:pt x="124" y="409"/>
                </a:moveTo>
                <a:lnTo>
                  <a:pt x="124" y="409"/>
                </a:lnTo>
                <a:lnTo>
                  <a:pt x="130" y="409"/>
                </a:lnTo>
                <a:lnTo>
                  <a:pt x="130" y="409"/>
                </a:lnTo>
                <a:lnTo>
                  <a:pt x="130" y="409"/>
                </a:lnTo>
                <a:lnTo>
                  <a:pt x="130" y="409"/>
                </a:lnTo>
                <a:lnTo>
                  <a:pt x="130" y="409"/>
                </a:lnTo>
                <a:lnTo>
                  <a:pt x="130" y="409"/>
                </a:lnTo>
                <a:lnTo>
                  <a:pt x="130" y="403"/>
                </a:lnTo>
                <a:lnTo>
                  <a:pt x="130" y="403"/>
                </a:lnTo>
                <a:lnTo>
                  <a:pt x="130" y="403"/>
                </a:lnTo>
                <a:lnTo>
                  <a:pt x="124" y="403"/>
                </a:lnTo>
                <a:lnTo>
                  <a:pt x="124" y="403"/>
                </a:lnTo>
                <a:lnTo>
                  <a:pt x="124" y="403"/>
                </a:lnTo>
                <a:lnTo>
                  <a:pt x="124" y="403"/>
                </a:lnTo>
                <a:lnTo>
                  <a:pt x="124" y="403"/>
                </a:lnTo>
                <a:lnTo>
                  <a:pt x="124" y="403"/>
                </a:lnTo>
                <a:lnTo>
                  <a:pt x="124" y="403"/>
                </a:lnTo>
                <a:lnTo>
                  <a:pt x="124" y="403"/>
                </a:lnTo>
                <a:lnTo>
                  <a:pt x="124" y="409"/>
                </a:lnTo>
                <a:close/>
                <a:moveTo>
                  <a:pt x="2779" y="2693"/>
                </a:moveTo>
                <a:lnTo>
                  <a:pt x="2779" y="2693"/>
                </a:lnTo>
                <a:lnTo>
                  <a:pt x="2779" y="2693"/>
                </a:lnTo>
                <a:lnTo>
                  <a:pt x="2773" y="2693"/>
                </a:lnTo>
                <a:lnTo>
                  <a:pt x="2773" y="2693"/>
                </a:lnTo>
                <a:lnTo>
                  <a:pt x="2773" y="2693"/>
                </a:lnTo>
                <a:lnTo>
                  <a:pt x="2773" y="2693"/>
                </a:lnTo>
                <a:lnTo>
                  <a:pt x="2773" y="2693"/>
                </a:lnTo>
                <a:lnTo>
                  <a:pt x="2773" y="2693"/>
                </a:lnTo>
                <a:lnTo>
                  <a:pt x="2773" y="2693"/>
                </a:lnTo>
                <a:lnTo>
                  <a:pt x="2767" y="2699"/>
                </a:lnTo>
                <a:lnTo>
                  <a:pt x="2767" y="2705"/>
                </a:lnTo>
                <a:lnTo>
                  <a:pt x="2767" y="2705"/>
                </a:lnTo>
                <a:lnTo>
                  <a:pt x="2767" y="2705"/>
                </a:lnTo>
                <a:lnTo>
                  <a:pt x="2767" y="2705"/>
                </a:lnTo>
                <a:lnTo>
                  <a:pt x="2767" y="2705"/>
                </a:lnTo>
                <a:lnTo>
                  <a:pt x="2767" y="2705"/>
                </a:lnTo>
                <a:lnTo>
                  <a:pt x="2767" y="2710"/>
                </a:lnTo>
                <a:lnTo>
                  <a:pt x="2767" y="2710"/>
                </a:lnTo>
                <a:lnTo>
                  <a:pt x="2767" y="2710"/>
                </a:lnTo>
                <a:lnTo>
                  <a:pt x="2767" y="2710"/>
                </a:lnTo>
                <a:lnTo>
                  <a:pt x="2761" y="2710"/>
                </a:lnTo>
                <a:lnTo>
                  <a:pt x="2761" y="2716"/>
                </a:lnTo>
                <a:lnTo>
                  <a:pt x="2761" y="2716"/>
                </a:lnTo>
                <a:lnTo>
                  <a:pt x="2755" y="2722"/>
                </a:lnTo>
                <a:lnTo>
                  <a:pt x="2761" y="2722"/>
                </a:lnTo>
                <a:lnTo>
                  <a:pt x="2761" y="2722"/>
                </a:lnTo>
                <a:lnTo>
                  <a:pt x="2761" y="2716"/>
                </a:lnTo>
                <a:lnTo>
                  <a:pt x="2761" y="2716"/>
                </a:lnTo>
                <a:lnTo>
                  <a:pt x="2767" y="2716"/>
                </a:lnTo>
                <a:lnTo>
                  <a:pt x="2767" y="2710"/>
                </a:lnTo>
                <a:lnTo>
                  <a:pt x="2779" y="2699"/>
                </a:lnTo>
                <a:lnTo>
                  <a:pt x="2779" y="2699"/>
                </a:lnTo>
                <a:lnTo>
                  <a:pt x="2779" y="2699"/>
                </a:lnTo>
                <a:lnTo>
                  <a:pt x="2779" y="2693"/>
                </a:lnTo>
                <a:lnTo>
                  <a:pt x="2779" y="2693"/>
                </a:lnTo>
                <a:lnTo>
                  <a:pt x="2779" y="2693"/>
                </a:lnTo>
                <a:lnTo>
                  <a:pt x="2779" y="2693"/>
                </a:lnTo>
                <a:lnTo>
                  <a:pt x="2779" y="2693"/>
                </a:lnTo>
                <a:close/>
                <a:moveTo>
                  <a:pt x="2821" y="2663"/>
                </a:moveTo>
                <a:lnTo>
                  <a:pt x="2821" y="2663"/>
                </a:lnTo>
                <a:lnTo>
                  <a:pt x="2821" y="2663"/>
                </a:lnTo>
                <a:lnTo>
                  <a:pt x="2821" y="2663"/>
                </a:lnTo>
                <a:lnTo>
                  <a:pt x="2821" y="2663"/>
                </a:lnTo>
                <a:lnTo>
                  <a:pt x="2821" y="2663"/>
                </a:lnTo>
                <a:lnTo>
                  <a:pt x="2821" y="2663"/>
                </a:lnTo>
                <a:lnTo>
                  <a:pt x="2821" y="2663"/>
                </a:lnTo>
                <a:lnTo>
                  <a:pt x="2821" y="2663"/>
                </a:lnTo>
                <a:lnTo>
                  <a:pt x="2821" y="2663"/>
                </a:lnTo>
                <a:lnTo>
                  <a:pt x="2821" y="2663"/>
                </a:lnTo>
                <a:lnTo>
                  <a:pt x="2821" y="2669"/>
                </a:lnTo>
                <a:lnTo>
                  <a:pt x="2815" y="2669"/>
                </a:lnTo>
                <a:lnTo>
                  <a:pt x="2815" y="2669"/>
                </a:lnTo>
                <a:lnTo>
                  <a:pt x="2815" y="2669"/>
                </a:lnTo>
                <a:lnTo>
                  <a:pt x="2809" y="2669"/>
                </a:lnTo>
                <a:lnTo>
                  <a:pt x="2809" y="2669"/>
                </a:lnTo>
                <a:lnTo>
                  <a:pt x="2809" y="2669"/>
                </a:lnTo>
                <a:lnTo>
                  <a:pt x="2809" y="2669"/>
                </a:lnTo>
                <a:lnTo>
                  <a:pt x="2803" y="2675"/>
                </a:lnTo>
                <a:lnTo>
                  <a:pt x="2803" y="2675"/>
                </a:lnTo>
                <a:lnTo>
                  <a:pt x="2803" y="2675"/>
                </a:lnTo>
                <a:lnTo>
                  <a:pt x="2803" y="2675"/>
                </a:lnTo>
                <a:lnTo>
                  <a:pt x="2803" y="2675"/>
                </a:lnTo>
                <a:lnTo>
                  <a:pt x="2797" y="2675"/>
                </a:lnTo>
                <a:lnTo>
                  <a:pt x="2797" y="2675"/>
                </a:lnTo>
                <a:lnTo>
                  <a:pt x="2797" y="2681"/>
                </a:lnTo>
                <a:lnTo>
                  <a:pt x="2797" y="2681"/>
                </a:lnTo>
                <a:lnTo>
                  <a:pt x="2797" y="2681"/>
                </a:lnTo>
                <a:lnTo>
                  <a:pt x="2791" y="2681"/>
                </a:lnTo>
                <a:lnTo>
                  <a:pt x="2791" y="2681"/>
                </a:lnTo>
                <a:lnTo>
                  <a:pt x="2791" y="2681"/>
                </a:lnTo>
                <a:lnTo>
                  <a:pt x="2791" y="2681"/>
                </a:lnTo>
                <a:lnTo>
                  <a:pt x="2785" y="2687"/>
                </a:lnTo>
                <a:lnTo>
                  <a:pt x="2785" y="2687"/>
                </a:lnTo>
                <a:lnTo>
                  <a:pt x="2779" y="2687"/>
                </a:lnTo>
                <a:lnTo>
                  <a:pt x="2779" y="2687"/>
                </a:lnTo>
                <a:lnTo>
                  <a:pt x="2779" y="2687"/>
                </a:lnTo>
                <a:lnTo>
                  <a:pt x="2779" y="2687"/>
                </a:lnTo>
                <a:lnTo>
                  <a:pt x="2779" y="2693"/>
                </a:lnTo>
                <a:lnTo>
                  <a:pt x="2779" y="2693"/>
                </a:lnTo>
                <a:lnTo>
                  <a:pt x="2779" y="2693"/>
                </a:lnTo>
                <a:lnTo>
                  <a:pt x="2779" y="2693"/>
                </a:lnTo>
                <a:lnTo>
                  <a:pt x="2779" y="2693"/>
                </a:lnTo>
                <a:lnTo>
                  <a:pt x="2779" y="2699"/>
                </a:lnTo>
                <a:lnTo>
                  <a:pt x="2779" y="2699"/>
                </a:lnTo>
                <a:lnTo>
                  <a:pt x="2779" y="2699"/>
                </a:lnTo>
                <a:lnTo>
                  <a:pt x="2779" y="2699"/>
                </a:lnTo>
                <a:lnTo>
                  <a:pt x="2779" y="2693"/>
                </a:lnTo>
                <a:lnTo>
                  <a:pt x="2779" y="2693"/>
                </a:lnTo>
                <a:lnTo>
                  <a:pt x="2785" y="2693"/>
                </a:lnTo>
                <a:lnTo>
                  <a:pt x="2791" y="2687"/>
                </a:lnTo>
                <a:lnTo>
                  <a:pt x="2791" y="2687"/>
                </a:lnTo>
                <a:lnTo>
                  <a:pt x="2803" y="2681"/>
                </a:lnTo>
                <a:lnTo>
                  <a:pt x="2809" y="2675"/>
                </a:lnTo>
                <a:lnTo>
                  <a:pt x="2809" y="2675"/>
                </a:lnTo>
                <a:lnTo>
                  <a:pt x="2809" y="2675"/>
                </a:lnTo>
                <a:lnTo>
                  <a:pt x="2809" y="2675"/>
                </a:lnTo>
                <a:lnTo>
                  <a:pt x="2815" y="2675"/>
                </a:lnTo>
                <a:lnTo>
                  <a:pt x="2821" y="2669"/>
                </a:lnTo>
                <a:lnTo>
                  <a:pt x="2821" y="2669"/>
                </a:lnTo>
                <a:lnTo>
                  <a:pt x="2821" y="2669"/>
                </a:lnTo>
                <a:lnTo>
                  <a:pt x="2821" y="2669"/>
                </a:lnTo>
                <a:lnTo>
                  <a:pt x="2821" y="2669"/>
                </a:lnTo>
                <a:lnTo>
                  <a:pt x="2821" y="2669"/>
                </a:lnTo>
                <a:lnTo>
                  <a:pt x="2821" y="2663"/>
                </a:lnTo>
                <a:lnTo>
                  <a:pt x="2821" y="2663"/>
                </a:lnTo>
                <a:lnTo>
                  <a:pt x="2821" y="2663"/>
                </a:lnTo>
                <a:close/>
                <a:moveTo>
                  <a:pt x="2833" y="2657"/>
                </a:moveTo>
                <a:lnTo>
                  <a:pt x="2827" y="2657"/>
                </a:lnTo>
                <a:lnTo>
                  <a:pt x="2827" y="2663"/>
                </a:lnTo>
                <a:lnTo>
                  <a:pt x="2827" y="2657"/>
                </a:lnTo>
                <a:lnTo>
                  <a:pt x="2827" y="2657"/>
                </a:lnTo>
                <a:lnTo>
                  <a:pt x="2833" y="2657"/>
                </a:lnTo>
                <a:lnTo>
                  <a:pt x="2833" y="2657"/>
                </a:lnTo>
                <a:lnTo>
                  <a:pt x="2833" y="2657"/>
                </a:lnTo>
                <a:lnTo>
                  <a:pt x="2833" y="2657"/>
                </a:lnTo>
                <a:lnTo>
                  <a:pt x="2833" y="2657"/>
                </a:lnTo>
                <a:lnTo>
                  <a:pt x="2838" y="2651"/>
                </a:lnTo>
                <a:lnTo>
                  <a:pt x="2838" y="2651"/>
                </a:lnTo>
                <a:lnTo>
                  <a:pt x="2838" y="2651"/>
                </a:lnTo>
                <a:lnTo>
                  <a:pt x="2838" y="2651"/>
                </a:lnTo>
                <a:lnTo>
                  <a:pt x="2838" y="2651"/>
                </a:lnTo>
                <a:lnTo>
                  <a:pt x="2838" y="2651"/>
                </a:lnTo>
                <a:lnTo>
                  <a:pt x="2838" y="2651"/>
                </a:lnTo>
                <a:lnTo>
                  <a:pt x="2838" y="2651"/>
                </a:lnTo>
                <a:lnTo>
                  <a:pt x="2833" y="2651"/>
                </a:lnTo>
                <a:lnTo>
                  <a:pt x="2833" y="2657"/>
                </a:lnTo>
                <a:close/>
                <a:moveTo>
                  <a:pt x="2726" y="2847"/>
                </a:moveTo>
                <a:lnTo>
                  <a:pt x="2726" y="2853"/>
                </a:lnTo>
                <a:lnTo>
                  <a:pt x="2726" y="2853"/>
                </a:lnTo>
                <a:lnTo>
                  <a:pt x="2726" y="2853"/>
                </a:lnTo>
                <a:lnTo>
                  <a:pt x="2726" y="2859"/>
                </a:lnTo>
                <a:lnTo>
                  <a:pt x="2732" y="2859"/>
                </a:lnTo>
                <a:lnTo>
                  <a:pt x="2732" y="2859"/>
                </a:lnTo>
                <a:lnTo>
                  <a:pt x="2732" y="2859"/>
                </a:lnTo>
                <a:lnTo>
                  <a:pt x="2732" y="2859"/>
                </a:lnTo>
                <a:lnTo>
                  <a:pt x="2732" y="2865"/>
                </a:lnTo>
                <a:lnTo>
                  <a:pt x="2732" y="2871"/>
                </a:lnTo>
                <a:lnTo>
                  <a:pt x="2732" y="2871"/>
                </a:lnTo>
                <a:lnTo>
                  <a:pt x="2738" y="2877"/>
                </a:lnTo>
                <a:lnTo>
                  <a:pt x="2738" y="2877"/>
                </a:lnTo>
                <a:lnTo>
                  <a:pt x="2738" y="2877"/>
                </a:lnTo>
                <a:lnTo>
                  <a:pt x="2738" y="2877"/>
                </a:lnTo>
                <a:lnTo>
                  <a:pt x="2738" y="2888"/>
                </a:lnTo>
                <a:lnTo>
                  <a:pt x="2738" y="2888"/>
                </a:lnTo>
                <a:lnTo>
                  <a:pt x="2738" y="2894"/>
                </a:lnTo>
                <a:lnTo>
                  <a:pt x="2744" y="2900"/>
                </a:lnTo>
                <a:lnTo>
                  <a:pt x="2744" y="2912"/>
                </a:lnTo>
                <a:lnTo>
                  <a:pt x="2744" y="2918"/>
                </a:lnTo>
                <a:lnTo>
                  <a:pt x="2744" y="2918"/>
                </a:lnTo>
                <a:lnTo>
                  <a:pt x="2744" y="2918"/>
                </a:lnTo>
                <a:lnTo>
                  <a:pt x="2744" y="2918"/>
                </a:lnTo>
                <a:lnTo>
                  <a:pt x="2744" y="2918"/>
                </a:lnTo>
                <a:lnTo>
                  <a:pt x="2744" y="2912"/>
                </a:lnTo>
                <a:lnTo>
                  <a:pt x="2744" y="2912"/>
                </a:lnTo>
                <a:lnTo>
                  <a:pt x="2744" y="2906"/>
                </a:lnTo>
                <a:lnTo>
                  <a:pt x="2744" y="2906"/>
                </a:lnTo>
                <a:lnTo>
                  <a:pt x="2744" y="2900"/>
                </a:lnTo>
                <a:lnTo>
                  <a:pt x="2744" y="2894"/>
                </a:lnTo>
                <a:lnTo>
                  <a:pt x="2744" y="2894"/>
                </a:lnTo>
                <a:lnTo>
                  <a:pt x="2738" y="2888"/>
                </a:lnTo>
                <a:lnTo>
                  <a:pt x="2738" y="2888"/>
                </a:lnTo>
                <a:lnTo>
                  <a:pt x="2738" y="2882"/>
                </a:lnTo>
                <a:lnTo>
                  <a:pt x="2738" y="2882"/>
                </a:lnTo>
                <a:lnTo>
                  <a:pt x="2738" y="2882"/>
                </a:lnTo>
                <a:lnTo>
                  <a:pt x="2726" y="2847"/>
                </a:lnTo>
                <a:lnTo>
                  <a:pt x="2726" y="2829"/>
                </a:lnTo>
                <a:lnTo>
                  <a:pt x="2726" y="2829"/>
                </a:lnTo>
                <a:lnTo>
                  <a:pt x="2726" y="2823"/>
                </a:lnTo>
                <a:lnTo>
                  <a:pt x="2726" y="2799"/>
                </a:lnTo>
                <a:lnTo>
                  <a:pt x="2726" y="2794"/>
                </a:lnTo>
                <a:lnTo>
                  <a:pt x="2726" y="2794"/>
                </a:lnTo>
                <a:lnTo>
                  <a:pt x="2726" y="2794"/>
                </a:lnTo>
                <a:lnTo>
                  <a:pt x="2726" y="2799"/>
                </a:lnTo>
                <a:lnTo>
                  <a:pt x="2720" y="2799"/>
                </a:lnTo>
                <a:lnTo>
                  <a:pt x="2720" y="2805"/>
                </a:lnTo>
                <a:lnTo>
                  <a:pt x="2720" y="2805"/>
                </a:lnTo>
                <a:lnTo>
                  <a:pt x="2720" y="2805"/>
                </a:lnTo>
                <a:lnTo>
                  <a:pt x="2720" y="2811"/>
                </a:lnTo>
                <a:lnTo>
                  <a:pt x="2720" y="2811"/>
                </a:lnTo>
                <a:lnTo>
                  <a:pt x="2720" y="2811"/>
                </a:lnTo>
                <a:lnTo>
                  <a:pt x="2720" y="2817"/>
                </a:lnTo>
                <a:lnTo>
                  <a:pt x="2720" y="2817"/>
                </a:lnTo>
                <a:lnTo>
                  <a:pt x="2720" y="2817"/>
                </a:lnTo>
                <a:lnTo>
                  <a:pt x="2726" y="2817"/>
                </a:lnTo>
                <a:lnTo>
                  <a:pt x="2726" y="2829"/>
                </a:lnTo>
                <a:lnTo>
                  <a:pt x="2726" y="2829"/>
                </a:lnTo>
                <a:lnTo>
                  <a:pt x="2726" y="2835"/>
                </a:lnTo>
                <a:lnTo>
                  <a:pt x="2726" y="2835"/>
                </a:lnTo>
                <a:lnTo>
                  <a:pt x="2720" y="2835"/>
                </a:lnTo>
                <a:lnTo>
                  <a:pt x="2726" y="2841"/>
                </a:lnTo>
                <a:lnTo>
                  <a:pt x="2726" y="2841"/>
                </a:lnTo>
                <a:lnTo>
                  <a:pt x="2726" y="2841"/>
                </a:lnTo>
                <a:lnTo>
                  <a:pt x="2726" y="2847"/>
                </a:lnTo>
                <a:lnTo>
                  <a:pt x="2726" y="2847"/>
                </a:lnTo>
                <a:lnTo>
                  <a:pt x="2726" y="2847"/>
                </a:lnTo>
                <a:lnTo>
                  <a:pt x="2726" y="2847"/>
                </a:lnTo>
                <a:lnTo>
                  <a:pt x="2726" y="2847"/>
                </a:lnTo>
                <a:lnTo>
                  <a:pt x="2726" y="2847"/>
                </a:lnTo>
                <a:lnTo>
                  <a:pt x="2726" y="2847"/>
                </a:lnTo>
                <a:lnTo>
                  <a:pt x="2726" y="2847"/>
                </a:lnTo>
                <a:lnTo>
                  <a:pt x="2726" y="2847"/>
                </a:lnTo>
                <a:lnTo>
                  <a:pt x="2726" y="2847"/>
                </a:lnTo>
                <a:lnTo>
                  <a:pt x="2726" y="2847"/>
                </a:lnTo>
                <a:lnTo>
                  <a:pt x="2726" y="2847"/>
                </a:lnTo>
                <a:lnTo>
                  <a:pt x="2726" y="2847"/>
                </a:lnTo>
                <a:close/>
                <a:moveTo>
                  <a:pt x="2755" y="2722"/>
                </a:moveTo>
                <a:lnTo>
                  <a:pt x="2755" y="2722"/>
                </a:lnTo>
                <a:lnTo>
                  <a:pt x="2755" y="2722"/>
                </a:lnTo>
                <a:lnTo>
                  <a:pt x="2755" y="2728"/>
                </a:lnTo>
                <a:lnTo>
                  <a:pt x="2755" y="2728"/>
                </a:lnTo>
                <a:lnTo>
                  <a:pt x="2755" y="2728"/>
                </a:lnTo>
                <a:lnTo>
                  <a:pt x="2750" y="2728"/>
                </a:lnTo>
                <a:lnTo>
                  <a:pt x="2750" y="2734"/>
                </a:lnTo>
                <a:lnTo>
                  <a:pt x="2750" y="2734"/>
                </a:lnTo>
                <a:lnTo>
                  <a:pt x="2744" y="2746"/>
                </a:lnTo>
                <a:lnTo>
                  <a:pt x="2744" y="2746"/>
                </a:lnTo>
                <a:lnTo>
                  <a:pt x="2738" y="2746"/>
                </a:lnTo>
                <a:lnTo>
                  <a:pt x="2738" y="2746"/>
                </a:lnTo>
                <a:lnTo>
                  <a:pt x="2738" y="2746"/>
                </a:lnTo>
                <a:lnTo>
                  <a:pt x="2738" y="2746"/>
                </a:lnTo>
                <a:lnTo>
                  <a:pt x="2738" y="2746"/>
                </a:lnTo>
                <a:lnTo>
                  <a:pt x="2738" y="2746"/>
                </a:lnTo>
                <a:lnTo>
                  <a:pt x="2738" y="2746"/>
                </a:lnTo>
                <a:lnTo>
                  <a:pt x="2738" y="2752"/>
                </a:lnTo>
                <a:lnTo>
                  <a:pt x="2738" y="2752"/>
                </a:lnTo>
                <a:lnTo>
                  <a:pt x="2738" y="2752"/>
                </a:lnTo>
                <a:lnTo>
                  <a:pt x="2738" y="2758"/>
                </a:lnTo>
                <a:lnTo>
                  <a:pt x="2732" y="2758"/>
                </a:lnTo>
                <a:lnTo>
                  <a:pt x="2732" y="2764"/>
                </a:lnTo>
                <a:lnTo>
                  <a:pt x="2732" y="2764"/>
                </a:lnTo>
                <a:lnTo>
                  <a:pt x="2732" y="2764"/>
                </a:lnTo>
                <a:lnTo>
                  <a:pt x="2732" y="2770"/>
                </a:lnTo>
                <a:lnTo>
                  <a:pt x="2732" y="2770"/>
                </a:lnTo>
                <a:lnTo>
                  <a:pt x="2726" y="2770"/>
                </a:lnTo>
                <a:lnTo>
                  <a:pt x="2726" y="2776"/>
                </a:lnTo>
                <a:lnTo>
                  <a:pt x="2726" y="2782"/>
                </a:lnTo>
                <a:lnTo>
                  <a:pt x="2726" y="2794"/>
                </a:lnTo>
                <a:lnTo>
                  <a:pt x="2720" y="2794"/>
                </a:lnTo>
                <a:lnTo>
                  <a:pt x="2726" y="2794"/>
                </a:lnTo>
                <a:lnTo>
                  <a:pt x="2726" y="2794"/>
                </a:lnTo>
                <a:lnTo>
                  <a:pt x="2726" y="2794"/>
                </a:lnTo>
                <a:lnTo>
                  <a:pt x="2726" y="2794"/>
                </a:lnTo>
                <a:lnTo>
                  <a:pt x="2726" y="2794"/>
                </a:lnTo>
                <a:lnTo>
                  <a:pt x="2726" y="2788"/>
                </a:lnTo>
                <a:lnTo>
                  <a:pt x="2726" y="2788"/>
                </a:lnTo>
                <a:lnTo>
                  <a:pt x="2726" y="2788"/>
                </a:lnTo>
                <a:lnTo>
                  <a:pt x="2732" y="2776"/>
                </a:lnTo>
                <a:lnTo>
                  <a:pt x="2738" y="2764"/>
                </a:lnTo>
                <a:lnTo>
                  <a:pt x="2738" y="2764"/>
                </a:lnTo>
                <a:lnTo>
                  <a:pt x="2738" y="2758"/>
                </a:lnTo>
                <a:lnTo>
                  <a:pt x="2744" y="2746"/>
                </a:lnTo>
                <a:lnTo>
                  <a:pt x="2750" y="2740"/>
                </a:lnTo>
                <a:lnTo>
                  <a:pt x="2755" y="2728"/>
                </a:lnTo>
                <a:lnTo>
                  <a:pt x="2755" y="2722"/>
                </a:lnTo>
                <a:lnTo>
                  <a:pt x="2755" y="2722"/>
                </a:lnTo>
                <a:lnTo>
                  <a:pt x="2755" y="2722"/>
                </a:lnTo>
                <a:close/>
                <a:moveTo>
                  <a:pt x="2981" y="2550"/>
                </a:moveTo>
                <a:lnTo>
                  <a:pt x="2981" y="2550"/>
                </a:lnTo>
                <a:lnTo>
                  <a:pt x="2981" y="2550"/>
                </a:lnTo>
                <a:lnTo>
                  <a:pt x="2981" y="2550"/>
                </a:lnTo>
                <a:lnTo>
                  <a:pt x="2981" y="2550"/>
                </a:lnTo>
                <a:lnTo>
                  <a:pt x="2981" y="2550"/>
                </a:lnTo>
                <a:lnTo>
                  <a:pt x="2981" y="2550"/>
                </a:lnTo>
                <a:lnTo>
                  <a:pt x="2981" y="2550"/>
                </a:lnTo>
                <a:lnTo>
                  <a:pt x="2981" y="2550"/>
                </a:lnTo>
                <a:lnTo>
                  <a:pt x="2981" y="2550"/>
                </a:lnTo>
                <a:lnTo>
                  <a:pt x="2981" y="2550"/>
                </a:lnTo>
                <a:lnTo>
                  <a:pt x="2981" y="2550"/>
                </a:lnTo>
                <a:lnTo>
                  <a:pt x="2975" y="2550"/>
                </a:lnTo>
                <a:lnTo>
                  <a:pt x="2975" y="2550"/>
                </a:lnTo>
                <a:lnTo>
                  <a:pt x="2981" y="2556"/>
                </a:lnTo>
                <a:lnTo>
                  <a:pt x="2981" y="2556"/>
                </a:lnTo>
                <a:lnTo>
                  <a:pt x="2981" y="2556"/>
                </a:lnTo>
                <a:lnTo>
                  <a:pt x="2975" y="2556"/>
                </a:lnTo>
                <a:lnTo>
                  <a:pt x="2975" y="2556"/>
                </a:lnTo>
                <a:lnTo>
                  <a:pt x="2975" y="2556"/>
                </a:lnTo>
                <a:lnTo>
                  <a:pt x="2975" y="2556"/>
                </a:lnTo>
                <a:lnTo>
                  <a:pt x="2975" y="2562"/>
                </a:lnTo>
                <a:lnTo>
                  <a:pt x="2975" y="2562"/>
                </a:lnTo>
                <a:lnTo>
                  <a:pt x="2969" y="2562"/>
                </a:lnTo>
                <a:lnTo>
                  <a:pt x="2969" y="2562"/>
                </a:lnTo>
                <a:lnTo>
                  <a:pt x="2969" y="2562"/>
                </a:lnTo>
                <a:lnTo>
                  <a:pt x="2969" y="2568"/>
                </a:lnTo>
                <a:lnTo>
                  <a:pt x="2969" y="2568"/>
                </a:lnTo>
                <a:lnTo>
                  <a:pt x="2969" y="2568"/>
                </a:lnTo>
                <a:lnTo>
                  <a:pt x="2963" y="2568"/>
                </a:lnTo>
                <a:lnTo>
                  <a:pt x="2957" y="2574"/>
                </a:lnTo>
                <a:lnTo>
                  <a:pt x="2951" y="2580"/>
                </a:lnTo>
                <a:lnTo>
                  <a:pt x="2951" y="2580"/>
                </a:lnTo>
                <a:lnTo>
                  <a:pt x="2951" y="2580"/>
                </a:lnTo>
                <a:lnTo>
                  <a:pt x="2951" y="2580"/>
                </a:lnTo>
                <a:lnTo>
                  <a:pt x="2951" y="2580"/>
                </a:lnTo>
                <a:lnTo>
                  <a:pt x="2951" y="2580"/>
                </a:lnTo>
                <a:lnTo>
                  <a:pt x="2951" y="2580"/>
                </a:lnTo>
                <a:lnTo>
                  <a:pt x="2969" y="2568"/>
                </a:lnTo>
                <a:lnTo>
                  <a:pt x="2969" y="2568"/>
                </a:lnTo>
                <a:lnTo>
                  <a:pt x="2975" y="2568"/>
                </a:lnTo>
                <a:lnTo>
                  <a:pt x="2987" y="2556"/>
                </a:lnTo>
                <a:lnTo>
                  <a:pt x="2987" y="2556"/>
                </a:lnTo>
                <a:lnTo>
                  <a:pt x="2987" y="2556"/>
                </a:lnTo>
                <a:lnTo>
                  <a:pt x="2981" y="2550"/>
                </a:lnTo>
                <a:close/>
                <a:moveTo>
                  <a:pt x="3757" y="546"/>
                </a:moveTo>
                <a:lnTo>
                  <a:pt x="3757" y="552"/>
                </a:lnTo>
                <a:lnTo>
                  <a:pt x="3757" y="546"/>
                </a:lnTo>
                <a:lnTo>
                  <a:pt x="3757" y="546"/>
                </a:lnTo>
                <a:lnTo>
                  <a:pt x="3757" y="546"/>
                </a:lnTo>
                <a:lnTo>
                  <a:pt x="3757" y="546"/>
                </a:lnTo>
                <a:lnTo>
                  <a:pt x="3757" y="546"/>
                </a:lnTo>
                <a:lnTo>
                  <a:pt x="3757" y="540"/>
                </a:lnTo>
                <a:lnTo>
                  <a:pt x="3757" y="540"/>
                </a:lnTo>
                <a:lnTo>
                  <a:pt x="3757" y="540"/>
                </a:lnTo>
                <a:lnTo>
                  <a:pt x="3751" y="540"/>
                </a:lnTo>
                <a:lnTo>
                  <a:pt x="3751" y="540"/>
                </a:lnTo>
                <a:lnTo>
                  <a:pt x="3751" y="540"/>
                </a:lnTo>
                <a:lnTo>
                  <a:pt x="3751" y="540"/>
                </a:lnTo>
                <a:lnTo>
                  <a:pt x="3751" y="540"/>
                </a:lnTo>
                <a:lnTo>
                  <a:pt x="3751" y="540"/>
                </a:lnTo>
                <a:lnTo>
                  <a:pt x="3751" y="546"/>
                </a:lnTo>
                <a:lnTo>
                  <a:pt x="3751" y="546"/>
                </a:lnTo>
                <a:lnTo>
                  <a:pt x="3751" y="546"/>
                </a:lnTo>
                <a:lnTo>
                  <a:pt x="3745" y="546"/>
                </a:lnTo>
                <a:lnTo>
                  <a:pt x="3745" y="546"/>
                </a:lnTo>
                <a:lnTo>
                  <a:pt x="3745" y="552"/>
                </a:lnTo>
                <a:lnTo>
                  <a:pt x="3745" y="552"/>
                </a:lnTo>
                <a:lnTo>
                  <a:pt x="3745" y="552"/>
                </a:lnTo>
                <a:lnTo>
                  <a:pt x="3739" y="558"/>
                </a:lnTo>
                <a:lnTo>
                  <a:pt x="3739" y="558"/>
                </a:lnTo>
                <a:lnTo>
                  <a:pt x="3739" y="558"/>
                </a:lnTo>
                <a:lnTo>
                  <a:pt x="3739" y="558"/>
                </a:lnTo>
                <a:lnTo>
                  <a:pt x="3733" y="558"/>
                </a:lnTo>
                <a:lnTo>
                  <a:pt x="3733" y="558"/>
                </a:lnTo>
                <a:lnTo>
                  <a:pt x="3733" y="558"/>
                </a:lnTo>
                <a:lnTo>
                  <a:pt x="3733" y="563"/>
                </a:lnTo>
                <a:lnTo>
                  <a:pt x="3733" y="563"/>
                </a:lnTo>
                <a:lnTo>
                  <a:pt x="3733" y="569"/>
                </a:lnTo>
                <a:lnTo>
                  <a:pt x="3733" y="569"/>
                </a:lnTo>
                <a:lnTo>
                  <a:pt x="3727" y="569"/>
                </a:lnTo>
                <a:lnTo>
                  <a:pt x="3727" y="575"/>
                </a:lnTo>
                <a:lnTo>
                  <a:pt x="3727" y="575"/>
                </a:lnTo>
                <a:lnTo>
                  <a:pt x="3727" y="575"/>
                </a:lnTo>
                <a:lnTo>
                  <a:pt x="3727" y="575"/>
                </a:lnTo>
                <a:lnTo>
                  <a:pt x="3727" y="575"/>
                </a:lnTo>
                <a:lnTo>
                  <a:pt x="3727" y="575"/>
                </a:lnTo>
                <a:lnTo>
                  <a:pt x="3721" y="581"/>
                </a:lnTo>
                <a:lnTo>
                  <a:pt x="3721" y="587"/>
                </a:lnTo>
                <a:lnTo>
                  <a:pt x="3715" y="593"/>
                </a:lnTo>
                <a:lnTo>
                  <a:pt x="3715" y="599"/>
                </a:lnTo>
                <a:lnTo>
                  <a:pt x="3721" y="605"/>
                </a:lnTo>
                <a:lnTo>
                  <a:pt x="3727" y="605"/>
                </a:lnTo>
                <a:lnTo>
                  <a:pt x="3727" y="605"/>
                </a:lnTo>
                <a:lnTo>
                  <a:pt x="3727" y="605"/>
                </a:lnTo>
                <a:lnTo>
                  <a:pt x="3733" y="599"/>
                </a:lnTo>
                <a:lnTo>
                  <a:pt x="3733" y="599"/>
                </a:lnTo>
                <a:lnTo>
                  <a:pt x="3733" y="593"/>
                </a:lnTo>
                <a:lnTo>
                  <a:pt x="3739" y="593"/>
                </a:lnTo>
                <a:lnTo>
                  <a:pt x="3739" y="593"/>
                </a:lnTo>
                <a:lnTo>
                  <a:pt x="3739" y="593"/>
                </a:lnTo>
                <a:lnTo>
                  <a:pt x="3739" y="593"/>
                </a:lnTo>
                <a:lnTo>
                  <a:pt x="3739" y="587"/>
                </a:lnTo>
                <a:lnTo>
                  <a:pt x="3739" y="587"/>
                </a:lnTo>
                <a:lnTo>
                  <a:pt x="3745" y="575"/>
                </a:lnTo>
                <a:lnTo>
                  <a:pt x="3745" y="575"/>
                </a:lnTo>
                <a:lnTo>
                  <a:pt x="3745" y="575"/>
                </a:lnTo>
                <a:lnTo>
                  <a:pt x="3745" y="569"/>
                </a:lnTo>
                <a:lnTo>
                  <a:pt x="3745" y="569"/>
                </a:lnTo>
                <a:lnTo>
                  <a:pt x="3751" y="575"/>
                </a:lnTo>
                <a:lnTo>
                  <a:pt x="3751" y="575"/>
                </a:lnTo>
                <a:lnTo>
                  <a:pt x="3751" y="575"/>
                </a:lnTo>
                <a:lnTo>
                  <a:pt x="3751" y="569"/>
                </a:lnTo>
                <a:lnTo>
                  <a:pt x="3751" y="569"/>
                </a:lnTo>
                <a:lnTo>
                  <a:pt x="3751" y="569"/>
                </a:lnTo>
                <a:lnTo>
                  <a:pt x="3751" y="569"/>
                </a:lnTo>
                <a:lnTo>
                  <a:pt x="3751" y="569"/>
                </a:lnTo>
                <a:lnTo>
                  <a:pt x="3751" y="569"/>
                </a:lnTo>
                <a:lnTo>
                  <a:pt x="3751" y="563"/>
                </a:lnTo>
                <a:lnTo>
                  <a:pt x="3751" y="563"/>
                </a:lnTo>
                <a:lnTo>
                  <a:pt x="3751" y="558"/>
                </a:lnTo>
                <a:lnTo>
                  <a:pt x="3751" y="558"/>
                </a:lnTo>
                <a:lnTo>
                  <a:pt x="3751" y="558"/>
                </a:lnTo>
                <a:lnTo>
                  <a:pt x="3751" y="563"/>
                </a:lnTo>
                <a:lnTo>
                  <a:pt x="3751" y="558"/>
                </a:lnTo>
                <a:lnTo>
                  <a:pt x="3751" y="558"/>
                </a:lnTo>
                <a:lnTo>
                  <a:pt x="3751" y="558"/>
                </a:lnTo>
                <a:lnTo>
                  <a:pt x="3751" y="558"/>
                </a:lnTo>
                <a:lnTo>
                  <a:pt x="3751" y="552"/>
                </a:lnTo>
                <a:lnTo>
                  <a:pt x="3751" y="552"/>
                </a:lnTo>
                <a:lnTo>
                  <a:pt x="3751" y="552"/>
                </a:lnTo>
                <a:lnTo>
                  <a:pt x="3751" y="546"/>
                </a:lnTo>
                <a:lnTo>
                  <a:pt x="3751" y="546"/>
                </a:lnTo>
                <a:lnTo>
                  <a:pt x="3757" y="546"/>
                </a:lnTo>
                <a:close/>
                <a:moveTo>
                  <a:pt x="3775" y="528"/>
                </a:moveTo>
                <a:lnTo>
                  <a:pt x="3775" y="528"/>
                </a:lnTo>
                <a:lnTo>
                  <a:pt x="3769" y="522"/>
                </a:lnTo>
                <a:lnTo>
                  <a:pt x="3769" y="522"/>
                </a:lnTo>
                <a:lnTo>
                  <a:pt x="3769" y="522"/>
                </a:lnTo>
                <a:lnTo>
                  <a:pt x="3769" y="522"/>
                </a:lnTo>
                <a:lnTo>
                  <a:pt x="3763" y="522"/>
                </a:lnTo>
                <a:lnTo>
                  <a:pt x="3763" y="522"/>
                </a:lnTo>
                <a:lnTo>
                  <a:pt x="3763" y="522"/>
                </a:lnTo>
                <a:lnTo>
                  <a:pt x="3763" y="522"/>
                </a:lnTo>
                <a:lnTo>
                  <a:pt x="3763" y="528"/>
                </a:lnTo>
                <a:lnTo>
                  <a:pt x="3763" y="528"/>
                </a:lnTo>
                <a:lnTo>
                  <a:pt x="3763" y="534"/>
                </a:lnTo>
                <a:lnTo>
                  <a:pt x="3763" y="534"/>
                </a:lnTo>
                <a:lnTo>
                  <a:pt x="3763" y="534"/>
                </a:lnTo>
                <a:lnTo>
                  <a:pt x="3763" y="534"/>
                </a:lnTo>
                <a:lnTo>
                  <a:pt x="3763" y="534"/>
                </a:lnTo>
                <a:lnTo>
                  <a:pt x="3769" y="534"/>
                </a:lnTo>
                <a:lnTo>
                  <a:pt x="3769" y="534"/>
                </a:lnTo>
                <a:lnTo>
                  <a:pt x="3769" y="534"/>
                </a:lnTo>
                <a:lnTo>
                  <a:pt x="3769" y="528"/>
                </a:lnTo>
                <a:lnTo>
                  <a:pt x="3775" y="528"/>
                </a:lnTo>
                <a:close/>
                <a:moveTo>
                  <a:pt x="3395" y="320"/>
                </a:moveTo>
                <a:lnTo>
                  <a:pt x="3395" y="320"/>
                </a:lnTo>
                <a:lnTo>
                  <a:pt x="3401" y="320"/>
                </a:lnTo>
                <a:lnTo>
                  <a:pt x="3401" y="320"/>
                </a:lnTo>
                <a:lnTo>
                  <a:pt x="3401" y="314"/>
                </a:lnTo>
                <a:lnTo>
                  <a:pt x="3401" y="314"/>
                </a:lnTo>
                <a:lnTo>
                  <a:pt x="3395" y="314"/>
                </a:lnTo>
                <a:lnTo>
                  <a:pt x="3390" y="314"/>
                </a:lnTo>
                <a:lnTo>
                  <a:pt x="3390" y="320"/>
                </a:lnTo>
                <a:lnTo>
                  <a:pt x="3390" y="320"/>
                </a:lnTo>
                <a:lnTo>
                  <a:pt x="3384" y="326"/>
                </a:lnTo>
                <a:lnTo>
                  <a:pt x="3378" y="326"/>
                </a:lnTo>
                <a:lnTo>
                  <a:pt x="3378" y="332"/>
                </a:lnTo>
                <a:lnTo>
                  <a:pt x="3384" y="332"/>
                </a:lnTo>
                <a:lnTo>
                  <a:pt x="3384" y="326"/>
                </a:lnTo>
                <a:lnTo>
                  <a:pt x="3390" y="326"/>
                </a:lnTo>
                <a:lnTo>
                  <a:pt x="3395" y="326"/>
                </a:lnTo>
                <a:lnTo>
                  <a:pt x="3390" y="326"/>
                </a:lnTo>
                <a:lnTo>
                  <a:pt x="3390" y="320"/>
                </a:lnTo>
                <a:lnTo>
                  <a:pt x="3395" y="320"/>
                </a:lnTo>
                <a:close/>
                <a:moveTo>
                  <a:pt x="3407" y="302"/>
                </a:moveTo>
                <a:lnTo>
                  <a:pt x="3407" y="302"/>
                </a:lnTo>
                <a:lnTo>
                  <a:pt x="3407" y="302"/>
                </a:lnTo>
                <a:lnTo>
                  <a:pt x="3407" y="302"/>
                </a:lnTo>
                <a:lnTo>
                  <a:pt x="3401" y="302"/>
                </a:lnTo>
                <a:lnTo>
                  <a:pt x="3395" y="302"/>
                </a:lnTo>
                <a:lnTo>
                  <a:pt x="3395" y="302"/>
                </a:lnTo>
                <a:lnTo>
                  <a:pt x="3395" y="308"/>
                </a:lnTo>
                <a:lnTo>
                  <a:pt x="3395" y="308"/>
                </a:lnTo>
                <a:lnTo>
                  <a:pt x="3401" y="308"/>
                </a:lnTo>
                <a:lnTo>
                  <a:pt x="3401" y="308"/>
                </a:lnTo>
                <a:lnTo>
                  <a:pt x="3401" y="308"/>
                </a:lnTo>
                <a:lnTo>
                  <a:pt x="3407" y="308"/>
                </a:lnTo>
                <a:lnTo>
                  <a:pt x="3401" y="308"/>
                </a:lnTo>
                <a:lnTo>
                  <a:pt x="3407" y="302"/>
                </a:lnTo>
                <a:lnTo>
                  <a:pt x="3407" y="302"/>
                </a:lnTo>
                <a:close/>
                <a:moveTo>
                  <a:pt x="3390" y="308"/>
                </a:moveTo>
                <a:lnTo>
                  <a:pt x="3390" y="302"/>
                </a:lnTo>
                <a:lnTo>
                  <a:pt x="3390" y="302"/>
                </a:lnTo>
                <a:lnTo>
                  <a:pt x="3390" y="302"/>
                </a:lnTo>
                <a:lnTo>
                  <a:pt x="3384" y="302"/>
                </a:lnTo>
                <a:lnTo>
                  <a:pt x="3384" y="297"/>
                </a:lnTo>
                <a:lnTo>
                  <a:pt x="3384" y="302"/>
                </a:lnTo>
                <a:lnTo>
                  <a:pt x="3384" y="302"/>
                </a:lnTo>
                <a:lnTo>
                  <a:pt x="3384" y="302"/>
                </a:lnTo>
                <a:lnTo>
                  <a:pt x="3384" y="302"/>
                </a:lnTo>
                <a:lnTo>
                  <a:pt x="3384" y="308"/>
                </a:lnTo>
                <a:lnTo>
                  <a:pt x="3390" y="308"/>
                </a:lnTo>
                <a:lnTo>
                  <a:pt x="3390" y="308"/>
                </a:lnTo>
                <a:lnTo>
                  <a:pt x="3390" y="308"/>
                </a:lnTo>
                <a:close/>
                <a:moveTo>
                  <a:pt x="3360" y="297"/>
                </a:moveTo>
                <a:lnTo>
                  <a:pt x="3360" y="297"/>
                </a:lnTo>
                <a:lnTo>
                  <a:pt x="3366" y="302"/>
                </a:lnTo>
                <a:lnTo>
                  <a:pt x="3366" y="297"/>
                </a:lnTo>
                <a:lnTo>
                  <a:pt x="3366" y="297"/>
                </a:lnTo>
                <a:lnTo>
                  <a:pt x="3366" y="297"/>
                </a:lnTo>
                <a:lnTo>
                  <a:pt x="3366" y="291"/>
                </a:lnTo>
                <a:lnTo>
                  <a:pt x="3366" y="297"/>
                </a:lnTo>
                <a:lnTo>
                  <a:pt x="3360" y="297"/>
                </a:lnTo>
                <a:close/>
                <a:moveTo>
                  <a:pt x="3419" y="285"/>
                </a:moveTo>
                <a:lnTo>
                  <a:pt x="3419" y="285"/>
                </a:lnTo>
                <a:lnTo>
                  <a:pt x="3419" y="285"/>
                </a:lnTo>
                <a:lnTo>
                  <a:pt x="3413" y="285"/>
                </a:lnTo>
                <a:lnTo>
                  <a:pt x="3413" y="285"/>
                </a:lnTo>
                <a:lnTo>
                  <a:pt x="3413" y="291"/>
                </a:lnTo>
                <a:lnTo>
                  <a:pt x="3413" y="297"/>
                </a:lnTo>
                <a:lnTo>
                  <a:pt x="3419" y="291"/>
                </a:lnTo>
                <a:lnTo>
                  <a:pt x="3419" y="291"/>
                </a:lnTo>
                <a:lnTo>
                  <a:pt x="3419" y="285"/>
                </a:lnTo>
                <a:lnTo>
                  <a:pt x="3419" y="285"/>
                </a:lnTo>
                <a:lnTo>
                  <a:pt x="3419" y="285"/>
                </a:lnTo>
                <a:close/>
                <a:moveTo>
                  <a:pt x="130" y="415"/>
                </a:moveTo>
                <a:lnTo>
                  <a:pt x="136" y="415"/>
                </a:lnTo>
                <a:lnTo>
                  <a:pt x="136" y="415"/>
                </a:lnTo>
                <a:lnTo>
                  <a:pt x="136" y="421"/>
                </a:lnTo>
                <a:lnTo>
                  <a:pt x="142" y="421"/>
                </a:lnTo>
                <a:lnTo>
                  <a:pt x="142" y="421"/>
                </a:lnTo>
                <a:lnTo>
                  <a:pt x="142" y="415"/>
                </a:lnTo>
                <a:lnTo>
                  <a:pt x="136" y="415"/>
                </a:lnTo>
                <a:lnTo>
                  <a:pt x="136" y="415"/>
                </a:lnTo>
                <a:lnTo>
                  <a:pt x="136" y="415"/>
                </a:lnTo>
                <a:lnTo>
                  <a:pt x="136" y="415"/>
                </a:lnTo>
                <a:lnTo>
                  <a:pt x="136" y="409"/>
                </a:lnTo>
                <a:lnTo>
                  <a:pt x="130" y="409"/>
                </a:lnTo>
                <a:lnTo>
                  <a:pt x="130" y="409"/>
                </a:lnTo>
                <a:lnTo>
                  <a:pt x="130" y="415"/>
                </a:lnTo>
                <a:lnTo>
                  <a:pt x="130" y="415"/>
                </a:lnTo>
                <a:lnTo>
                  <a:pt x="130" y="415"/>
                </a:lnTo>
                <a:close/>
                <a:moveTo>
                  <a:pt x="77" y="380"/>
                </a:moveTo>
                <a:lnTo>
                  <a:pt x="77" y="380"/>
                </a:lnTo>
                <a:lnTo>
                  <a:pt x="77" y="374"/>
                </a:lnTo>
                <a:lnTo>
                  <a:pt x="77" y="374"/>
                </a:lnTo>
                <a:lnTo>
                  <a:pt x="77" y="374"/>
                </a:lnTo>
                <a:lnTo>
                  <a:pt x="77" y="374"/>
                </a:lnTo>
                <a:lnTo>
                  <a:pt x="77" y="374"/>
                </a:lnTo>
                <a:lnTo>
                  <a:pt x="77" y="374"/>
                </a:lnTo>
                <a:lnTo>
                  <a:pt x="77" y="368"/>
                </a:lnTo>
                <a:lnTo>
                  <a:pt x="77" y="368"/>
                </a:lnTo>
                <a:lnTo>
                  <a:pt x="77" y="368"/>
                </a:lnTo>
                <a:lnTo>
                  <a:pt x="77" y="368"/>
                </a:lnTo>
                <a:lnTo>
                  <a:pt x="77" y="374"/>
                </a:lnTo>
                <a:lnTo>
                  <a:pt x="77" y="374"/>
                </a:lnTo>
                <a:lnTo>
                  <a:pt x="77" y="374"/>
                </a:lnTo>
                <a:lnTo>
                  <a:pt x="77" y="380"/>
                </a:lnTo>
                <a:lnTo>
                  <a:pt x="77" y="380"/>
                </a:lnTo>
                <a:close/>
                <a:moveTo>
                  <a:pt x="231" y="237"/>
                </a:moveTo>
                <a:lnTo>
                  <a:pt x="225" y="243"/>
                </a:lnTo>
                <a:lnTo>
                  <a:pt x="225" y="243"/>
                </a:lnTo>
                <a:lnTo>
                  <a:pt x="225" y="243"/>
                </a:lnTo>
                <a:lnTo>
                  <a:pt x="225" y="243"/>
                </a:lnTo>
                <a:lnTo>
                  <a:pt x="225" y="243"/>
                </a:lnTo>
                <a:lnTo>
                  <a:pt x="225" y="243"/>
                </a:lnTo>
                <a:lnTo>
                  <a:pt x="225" y="243"/>
                </a:lnTo>
                <a:lnTo>
                  <a:pt x="231" y="243"/>
                </a:lnTo>
                <a:lnTo>
                  <a:pt x="231" y="243"/>
                </a:lnTo>
                <a:lnTo>
                  <a:pt x="237" y="237"/>
                </a:lnTo>
                <a:lnTo>
                  <a:pt x="237" y="237"/>
                </a:lnTo>
                <a:lnTo>
                  <a:pt x="237" y="237"/>
                </a:lnTo>
                <a:lnTo>
                  <a:pt x="231" y="237"/>
                </a:lnTo>
                <a:lnTo>
                  <a:pt x="231" y="237"/>
                </a:lnTo>
                <a:lnTo>
                  <a:pt x="231" y="231"/>
                </a:lnTo>
                <a:lnTo>
                  <a:pt x="231" y="231"/>
                </a:lnTo>
                <a:lnTo>
                  <a:pt x="231" y="231"/>
                </a:lnTo>
                <a:lnTo>
                  <a:pt x="231" y="225"/>
                </a:lnTo>
                <a:lnTo>
                  <a:pt x="231" y="225"/>
                </a:lnTo>
                <a:lnTo>
                  <a:pt x="231" y="225"/>
                </a:lnTo>
                <a:lnTo>
                  <a:pt x="225" y="225"/>
                </a:lnTo>
                <a:lnTo>
                  <a:pt x="225" y="225"/>
                </a:lnTo>
                <a:lnTo>
                  <a:pt x="225" y="225"/>
                </a:lnTo>
                <a:lnTo>
                  <a:pt x="225" y="219"/>
                </a:lnTo>
                <a:lnTo>
                  <a:pt x="225" y="225"/>
                </a:lnTo>
                <a:lnTo>
                  <a:pt x="225" y="225"/>
                </a:lnTo>
                <a:lnTo>
                  <a:pt x="225" y="225"/>
                </a:lnTo>
                <a:lnTo>
                  <a:pt x="225" y="225"/>
                </a:lnTo>
                <a:lnTo>
                  <a:pt x="225" y="225"/>
                </a:lnTo>
                <a:lnTo>
                  <a:pt x="225" y="231"/>
                </a:lnTo>
                <a:lnTo>
                  <a:pt x="225" y="231"/>
                </a:lnTo>
                <a:lnTo>
                  <a:pt x="219" y="237"/>
                </a:lnTo>
                <a:lnTo>
                  <a:pt x="219" y="237"/>
                </a:lnTo>
                <a:lnTo>
                  <a:pt x="219" y="243"/>
                </a:lnTo>
                <a:lnTo>
                  <a:pt x="219" y="243"/>
                </a:lnTo>
                <a:lnTo>
                  <a:pt x="219" y="243"/>
                </a:lnTo>
                <a:lnTo>
                  <a:pt x="219" y="243"/>
                </a:lnTo>
                <a:lnTo>
                  <a:pt x="219" y="243"/>
                </a:lnTo>
                <a:lnTo>
                  <a:pt x="219" y="243"/>
                </a:lnTo>
                <a:lnTo>
                  <a:pt x="219" y="243"/>
                </a:lnTo>
                <a:lnTo>
                  <a:pt x="219" y="243"/>
                </a:lnTo>
                <a:lnTo>
                  <a:pt x="225" y="249"/>
                </a:lnTo>
                <a:lnTo>
                  <a:pt x="225" y="249"/>
                </a:lnTo>
                <a:lnTo>
                  <a:pt x="225" y="243"/>
                </a:lnTo>
                <a:lnTo>
                  <a:pt x="225" y="243"/>
                </a:lnTo>
                <a:lnTo>
                  <a:pt x="225" y="243"/>
                </a:lnTo>
                <a:lnTo>
                  <a:pt x="225" y="243"/>
                </a:lnTo>
                <a:lnTo>
                  <a:pt x="225" y="243"/>
                </a:lnTo>
                <a:lnTo>
                  <a:pt x="225" y="243"/>
                </a:lnTo>
                <a:lnTo>
                  <a:pt x="225" y="237"/>
                </a:lnTo>
                <a:lnTo>
                  <a:pt x="225" y="237"/>
                </a:lnTo>
                <a:lnTo>
                  <a:pt x="225" y="237"/>
                </a:lnTo>
                <a:lnTo>
                  <a:pt x="225" y="237"/>
                </a:lnTo>
                <a:lnTo>
                  <a:pt x="225" y="237"/>
                </a:lnTo>
                <a:lnTo>
                  <a:pt x="231" y="237"/>
                </a:lnTo>
                <a:lnTo>
                  <a:pt x="231" y="237"/>
                </a:lnTo>
                <a:lnTo>
                  <a:pt x="231" y="237"/>
                </a:lnTo>
                <a:lnTo>
                  <a:pt x="231" y="237"/>
                </a:lnTo>
                <a:close/>
                <a:moveTo>
                  <a:pt x="207" y="267"/>
                </a:moveTo>
                <a:lnTo>
                  <a:pt x="207" y="267"/>
                </a:lnTo>
                <a:lnTo>
                  <a:pt x="201" y="267"/>
                </a:lnTo>
                <a:lnTo>
                  <a:pt x="201" y="267"/>
                </a:lnTo>
                <a:lnTo>
                  <a:pt x="201" y="273"/>
                </a:lnTo>
                <a:lnTo>
                  <a:pt x="201" y="273"/>
                </a:lnTo>
                <a:lnTo>
                  <a:pt x="201" y="273"/>
                </a:lnTo>
                <a:lnTo>
                  <a:pt x="201" y="273"/>
                </a:lnTo>
                <a:lnTo>
                  <a:pt x="201" y="273"/>
                </a:lnTo>
                <a:lnTo>
                  <a:pt x="201" y="273"/>
                </a:lnTo>
                <a:lnTo>
                  <a:pt x="201" y="273"/>
                </a:lnTo>
                <a:lnTo>
                  <a:pt x="201" y="273"/>
                </a:lnTo>
                <a:lnTo>
                  <a:pt x="201" y="273"/>
                </a:lnTo>
                <a:lnTo>
                  <a:pt x="201" y="273"/>
                </a:lnTo>
                <a:lnTo>
                  <a:pt x="201" y="273"/>
                </a:lnTo>
                <a:lnTo>
                  <a:pt x="201" y="279"/>
                </a:lnTo>
                <a:lnTo>
                  <a:pt x="201" y="279"/>
                </a:lnTo>
                <a:lnTo>
                  <a:pt x="201" y="279"/>
                </a:lnTo>
                <a:lnTo>
                  <a:pt x="201" y="279"/>
                </a:lnTo>
                <a:lnTo>
                  <a:pt x="201" y="279"/>
                </a:lnTo>
                <a:lnTo>
                  <a:pt x="201" y="279"/>
                </a:lnTo>
                <a:lnTo>
                  <a:pt x="207" y="279"/>
                </a:lnTo>
                <a:lnTo>
                  <a:pt x="207" y="273"/>
                </a:lnTo>
                <a:lnTo>
                  <a:pt x="207" y="273"/>
                </a:lnTo>
                <a:lnTo>
                  <a:pt x="207" y="273"/>
                </a:lnTo>
                <a:lnTo>
                  <a:pt x="207" y="273"/>
                </a:lnTo>
                <a:lnTo>
                  <a:pt x="207" y="273"/>
                </a:lnTo>
                <a:lnTo>
                  <a:pt x="207" y="267"/>
                </a:lnTo>
                <a:lnTo>
                  <a:pt x="207" y="267"/>
                </a:lnTo>
                <a:close/>
                <a:moveTo>
                  <a:pt x="190" y="255"/>
                </a:moveTo>
                <a:lnTo>
                  <a:pt x="190" y="255"/>
                </a:lnTo>
                <a:lnTo>
                  <a:pt x="190" y="255"/>
                </a:lnTo>
                <a:lnTo>
                  <a:pt x="190" y="255"/>
                </a:lnTo>
                <a:lnTo>
                  <a:pt x="190" y="249"/>
                </a:lnTo>
                <a:lnTo>
                  <a:pt x="190" y="255"/>
                </a:lnTo>
                <a:lnTo>
                  <a:pt x="190" y="255"/>
                </a:lnTo>
                <a:lnTo>
                  <a:pt x="184" y="255"/>
                </a:lnTo>
                <a:lnTo>
                  <a:pt x="184" y="255"/>
                </a:lnTo>
                <a:lnTo>
                  <a:pt x="184" y="255"/>
                </a:lnTo>
                <a:lnTo>
                  <a:pt x="184" y="255"/>
                </a:lnTo>
                <a:lnTo>
                  <a:pt x="184" y="255"/>
                </a:lnTo>
                <a:lnTo>
                  <a:pt x="184" y="255"/>
                </a:lnTo>
                <a:lnTo>
                  <a:pt x="184" y="255"/>
                </a:lnTo>
                <a:lnTo>
                  <a:pt x="184" y="261"/>
                </a:lnTo>
                <a:lnTo>
                  <a:pt x="184" y="261"/>
                </a:lnTo>
                <a:lnTo>
                  <a:pt x="184" y="261"/>
                </a:lnTo>
                <a:lnTo>
                  <a:pt x="184" y="261"/>
                </a:lnTo>
                <a:lnTo>
                  <a:pt x="184" y="267"/>
                </a:lnTo>
                <a:lnTo>
                  <a:pt x="184" y="267"/>
                </a:lnTo>
                <a:lnTo>
                  <a:pt x="184" y="267"/>
                </a:lnTo>
                <a:lnTo>
                  <a:pt x="184" y="267"/>
                </a:lnTo>
                <a:lnTo>
                  <a:pt x="184" y="267"/>
                </a:lnTo>
                <a:lnTo>
                  <a:pt x="184" y="267"/>
                </a:lnTo>
                <a:lnTo>
                  <a:pt x="184" y="273"/>
                </a:lnTo>
                <a:lnTo>
                  <a:pt x="184" y="273"/>
                </a:lnTo>
                <a:lnTo>
                  <a:pt x="190" y="267"/>
                </a:lnTo>
                <a:lnTo>
                  <a:pt x="190" y="267"/>
                </a:lnTo>
                <a:lnTo>
                  <a:pt x="190" y="267"/>
                </a:lnTo>
                <a:lnTo>
                  <a:pt x="190" y="267"/>
                </a:lnTo>
                <a:lnTo>
                  <a:pt x="190" y="267"/>
                </a:lnTo>
                <a:lnTo>
                  <a:pt x="190" y="261"/>
                </a:lnTo>
                <a:lnTo>
                  <a:pt x="190" y="261"/>
                </a:lnTo>
                <a:lnTo>
                  <a:pt x="190" y="261"/>
                </a:lnTo>
                <a:lnTo>
                  <a:pt x="190" y="261"/>
                </a:lnTo>
                <a:lnTo>
                  <a:pt x="190" y="255"/>
                </a:lnTo>
                <a:close/>
                <a:moveTo>
                  <a:pt x="219" y="202"/>
                </a:moveTo>
                <a:lnTo>
                  <a:pt x="213" y="208"/>
                </a:lnTo>
                <a:lnTo>
                  <a:pt x="213" y="208"/>
                </a:lnTo>
                <a:lnTo>
                  <a:pt x="219" y="208"/>
                </a:lnTo>
                <a:lnTo>
                  <a:pt x="219" y="208"/>
                </a:lnTo>
                <a:lnTo>
                  <a:pt x="219" y="208"/>
                </a:lnTo>
                <a:lnTo>
                  <a:pt x="219" y="214"/>
                </a:lnTo>
                <a:lnTo>
                  <a:pt x="225" y="214"/>
                </a:lnTo>
                <a:lnTo>
                  <a:pt x="225" y="208"/>
                </a:lnTo>
                <a:lnTo>
                  <a:pt x="225" y="208"/>
                </a:lnTo>
                <a:lnTo>
                  <a:pt x="225" y="208"/>
                </a:lnTo>
                <a:lnTo>
                  <a:pt x="225" y="208"/>
                </a:lnTo>
                <a:lnTo>
                  <a:pt x="225" y="208"/>
                </a:lnTo>
                <a:lnTo>
                  <a:pt x="225" y="208"/>
                </a:lnTo>
                <a:lnTo>
                  <a:pt x="225" y="208"/>
                </a:lnTo>
                <a:lnTo>
                  <a:pt x="225" y="208"/>
                </a:lnTo>
                <a:lnTo>
                  <a:pt x="225" y="208"/>
                </a:lnTo>
                <a:lnTo>
                  <a:pt x="225" y="208"/>
                </a:lnTo>
                <a:lnTo>
                  <a:pt x="225" y="202"/>
                </a:lnTo>
                <a:lnTo>
                  <a:pt x="225" y="202"/>
                </a:lnTo>
                <a:lnTo>
                  <a:pt x="225" y="202"/>
                </a:lnTo>
                <a:lnTo>
                  <a:pt x="225" y="202"/>
                </a:lnTo>
                <a:lnTo>
                  <a:pt x="225" y="202"/>
                </a:lnTo>
                <a:lnTo>
                  <a:pt x="225" y="202"/>
                </a:lnTo>
                <a:lnTo>
                  <a:pt x="225" y="202"/>
                </a:lnTo>
                <a:lnTo>
                  <a:pt x="225" y="202"/>
                </a:lnTo>
                <a:lnTo>
                  <a:pt x="225" y="196"/>
                </a:lnTo>
                <a:lnTo>
                  <a:pt x="225" y="196"/>
                </a:lnTo>
                <a:lnTo>
                  <a:pt x="225" y="196"/>
                </a:lnTo>
                <a:lnTo>
                  <a:pt x="219" y="190"/>
                </a:lnTo>
                <a:lnTo>
                  <a:pt x="219" y="190"/>
                </a:lnTo>
                <a:lnTo>
                  <a:pt x="219" y="190"/>
                </a:lnTo>
                <a:lnTo>
                  <a:pt x="219" y="190"/>
                </a:lnTo>
                <a:lnTo>
                  <a:pt x="219" y="190"/>
                </a:lnTo>
                <a:lnTo>
                  <a:pt x="219" y="190"/>
                </a:lnTo>
                <a:lnTo>
                  <a:pt x="219" y="190"/>
                </a:lnTo>
                <a:lnTo>
                  <a:pt x="219" y="190"/>
                </a:lnTo>
                <a:lnTo>
                  <a:pt x="219" y="196"/>
                </a:lnTo>
                <a:lnTo>
                  <a:pt x="219" y="196"/>
                </a:lnTo>
                <a:lnTo>
                  <a:pt x="219" y="196"/>
                </a:lnTo>
                <a:lnTo>
                  <a:pt x="213" y="196"/>
                </a:lnTo>
                <a:lnTo>
                  <a:pt x="213" y="196"/>
                </a:lnTo>
                <a:lnTo>
                  <a:pt x="213" y="202"/>
                </a:lnTo>
                <a:lnTo>
                  <a:pt x="213" y="202"/>
                </a:lnTo>
                <a:lnTo>
                  <a:pt x="213" y="202"/>
                </a:lnTo>
                <a:lnTo>
                  <a:pt x="219" y="202"/>
                </a:lnTo>
                <a:lnTo>
                  <a:pt x="219" y="202"/>
                </a:lnTo>
                <a:lnTo>
                  <a:pt x="219" y="202"/>
                </a:lnTo>
                <a:close/>
                <a:moveTo>
                  <a:pt x="201" y="142"/>
                </a:moveTo>
                <a:lnTo>
                  <a:pt x="201" y="142"/>
                </a:lnTo>
                <a:lnTo>
                  <a:pt x="201" y="142"/>
                </a:lnTo>
                <a:lnTo>
                  <a:pt x="201" y="136"/>
                </a:lnTo>
                <a:lnTo>
                  <a:pt x="201" y="136"/>
                </a:lnTo>
                <a:lnTo>
                  <a:pt x="201" y="136"/>
                </a:lnTo>
                <a:lnTo>
                  <a:pt x="201" y="136"/>
                </a:lnTo>
                <a:lnTo>
                  <a:pt x="201" y="136"/>
                </a:lnTo>
                <a:lnTo>
                  <a:pt x="201" y="136"/>
                </a:lnTo>
                <a:lnTo>
                  <a:pt x="201" y="136"/>
                </a:lnTo>
                <a:lnTo>
                  <a:pt x="201" y="142"/>
                </a:lnTo>
                <a:lnTo>
                  <a:pt x="201" y="142"/>
                </a:lnTo>
                <a:lnTo>
                  <a:pt x="201" y="142"/>
                </a:lnTo>
                <a:lnTo>
                  <a:pt x="201" y="142"/>
                </a:lnTo>
                <a:lnTo>
                  <a:pt x="201" y="148"/>
                </a:lnTo>
                <a:lnTo>
                  <a:pt x="207" y="148"/>
                </a:lnTo>
                <a:lnTo>
                  <a:pt x="207" y="148"/>
                </a:lnTo>
                <a:lnTo>
                  <a:pt x="207" y="142"/>
                </a:lnTo>
                <a:lnTo>
                  <a:pt x="207" y="142"/>
                </a:lnTo>
                <a:lnTo>
                  <a:pt x="207" y="142"/>
                </a:lnTo>
                <a:lnTo>
                  <a:pt x="207" y="136"/>
                </a:lnTo>
                <a:lnTo>
                  <a:pt x="207" y="136"/>
                </a:lnTo>
                <a:lnTo>
                  <a:pt x="201" y="130"/>
                </a:lnTo>
                <a:lnTo>
                  <a:pt x="201" y="130"/>
                </a:lnTo>
                <a:lnTo>
                  <a:pt x="201" y="130"/>
                </a:lnTo>
                <a:lnTo>
                  <a:pt x="201" y="130"/>
                </a:lnTo>
                <a:lnTo>
                  <a:pt x="201" y="130"/>
                </a:lnTo>
                <a:lnTo>
                  <a:pt x="201" y="136"/>
                </a:lnTo>
                <a:lnTo>
                  <a:pt x="201" y="136"/>
                </a:lnTo>
                <a:lnTo>
                  <a:pt x="201" y="136"/>
                </a:lnTo>
                <a:lnTo>
                  <a:pt x="201" y="142"/>
                </a:lnTo>
                <a:close/>
                <a:moveTo>
                  <a:pt x="195" y="113"/>
                </a:moveTo>
                <a:lnTo>
                  <a:pt x="195" y="113"/>
                </a:lnTo>
                <a:lnTo>
                  <a:pt x="201" y="119"/>
                </a:lnTo>
                <a:lnTo>
                  <a:pt x="201" y="119"/>
                </a:lnTo>
                <a:lnTo>
                  <a:pt x="201" y="119"/>
                </a:lnTo>
                <a:lnTo>
                  <a:pt x="201" y="119"/>
                </a:lnTo>
                <a:lnTo>
                  <a:pt x="201" y="119"/>
                </a:lnTo>
                <a:lnTo>
                  <a:pt x="201" y="119"/>
                </a:lnTo>
                <a:lnTo>
                  <a:pt x="201" y="119"/>
                </a:lnTo>
                <a:lnTo>
                  <a:pt x="207" y="125"/>
                </a:lnTo>
                <a:lnTo>
                  <a:pt x="207" y="125"/>
                </a:lnTo>
                <a:lnTo>
                  <a:pt x="207" y="125"/>
                </a:lnTo>
                <a:lnTo>
                  <a:pt x="207" y="125"/>
                </a:lnTo>
                <a:lnTo>
                  <a:pt x="213" y="125"/>
                </a:lnTo>
                <a:lnTo>
                  <a:pt x="213" y="125"/>
                </a:lnTo>
                <a:lnTo>
                  <a:pt x="213" y="130"/>
                </a:lnTo>
                <a:lnTo>
                  <a:pt x="213" y="136"/>
                </a:lnTo>
                <a:lnTo>
                  <a:pt x="213" y="136"/>
                </a:lnTo>
                <a:lnTo>
                  <a:pt x="213" y="142"/>
                </a:lnTo>
                <a:lnTo>
                  <a:pt x="213" y="142"/>
                </a:lnTo>
                <a:lnTo>
                  <a:pt x="213" y="142"/>
                </a:lnTo>
                <a:lnTo>
                  <a:pt x="213" y="142"/>
                </a:lnTo>
                <a:lnTo>
                  <a:pt x="213" y="148"/>
                </a:lnTo>
                <a:lnTo>
                  <a:pt x="219" y="148"/>
                </a:lnTo>
                <a:lnTo>
                  <a:pt x="219" y="148"/>
                </a:lnTo>
                <a:lnTo>
                  <a:pt x="219" y="148"/>
                </a:lnTo>
                <a:lnTo>
                  <a:pt x="219" y="154"/>
                </a:lnTo>
                <a:lnTo>
                  <a:pt x="219" y="154"/>
                </a:lnTo>
                <a:lnTo>
                  <a:pt x="219" y="154"/>
                </a:lnTo>
                <a:lnTo>
                  <a:pt x="219" y="154"/>
                </a:lnTo>
                <a:lnTo>
                  <a:pt x="225" y="154"/>
                </a:lnTo>
                <a:lnTo>
                  <a:pt x="225" y="154"/>
                </a:lnTo>
                <a:lnTo>
                  <a:pt x="225" y="148"/>
                </a:lnTo>
                <a:lnTo>
                  <a:pt x="225" y="148"/>
                </a:lnTo>
                <a:lnTo>
                  <a:pt x="225" y="148"/>
                </a:lnTo>
                <a:lnTo>
                  <a:pt x="231" y="154"/>
                </a:lnTo>
                <a:lnTo>
                  <a:pt x="231" y="154"/>
                </a:lnTo>
                <a:lnTo>
                  <a:pt x="231" y="160"/>
                </a:lnTo>
                <a:lnTo>
                  <a:pt x="231" y="160"/>
                </a:lnTo>
                <a:lnTo>
                  <a:pt x="231" y="160"/>
                </a:lnTo>
                <a:lnTo>
                  <a:pt x="231" y="160"/>
                </a:lnTo>
                <a:lnTo>
                  <a:pt x="231" y="160"/>
                </a:lnTo>
                <a:lnTo>
                  <a:pt x="231" y="160"/>
                </a:lnTo>
                <a:lnTo>
                  <a:pt x="231" y="160"/>
                </a:lnTo>
                <a:lnTo>
                  <a:pt x="231" y="160"/>
                </a:lnTo>
                <a:lnTo>
                  <a:pt x="231" y="160"/>
                </a:lnTo>
                <a:lnTo>
                  <a:pt x="231" y="160"/>
                </a:lnTo>
                <a:lnTo>
                  <a:pt x="231" y="160"/>
                </a:lnTo>
                <a:lnTo>
                  <a:pt x="231" y="160"/>
                </a:lnTo>
                <a:lnTo>
                  <a:pt x="231" y="160"/>
                </a:lnTo>
                <a:lnTo>
                  <a:pt x="237" y="160"/>
                </a:lnTo>
                <a:lnTo>
                  <a:pt x="237" y="160"/>
                </a:lnTo>
                <a:lnTo>
                  <a:pt x="237" y="160"/>
                </a:lnTo>
                <a:lnTo>
                  <a:pt x="237" y="160"/>
                </a:lnTo>
                <a:lnTo>
                  <a:pt x="237" y="160"/>
                </a:lnTo>
                <a:lnTo>
                  <a:pt x="237" y="160"/>
                </a:lnTo>
                <a:lnTo>
                  <a:pt x="237" y="160"/>
                </a:lnTo>
                <a:lnTo>
                  <a:pt x="237" y="160"/>
                </a:lnTo>
                <a:lnTo>
                  <a:pt x="237" y="154"/>
                </a:lnTo>
                <a:lnTo>
                  <a:pt x="237" y="154"/>
                </a:lnTo>
                <a:lnTo>
                  <a:pt x="237" y="154"/>
                </a:lnTo>
                <a:lnTo>
                  <a:pt x="237" y="154"/>
                </a:lnTo>
                <a:lnTo>
                  <a:pt x="237" y="154"/>
                </a:lnTo>
                <a:lnTo>
                  <a:pt x="237" y="154"/>
                </a:lnTo>
                <a:lnTo>
                  <a:pt x="237" y="154"/>
                </a:lnTo>
                <a:lnTo>
                  <a:pt x="237" y="148"/>
                </a:lnTo>
                <a:lnTo>
                  <a:pt x="237" y="148"/>
                </a:lnTo>
                <a:lnTo>
                  <a:pt x="237" y="148"/>
                </a:lnTo>
                <a:lnTo>
                  <a:pt x="225" y="142"/>
                </a:lnTo>
                <a:lnTo>
                  <a:pt x="225" y="136"/>
                </a:lnTo>
                <a:lnTo>
                  <a:pt x="225" y="136"/>
                </a:lnTo>
                <a:lnTo>
                  <a:pt x="225" y="136"/>
                </a:lnTo>
                <a:lnTo>
                  <a:pt x="219" y="136"/>
                </a:lnTo>
                <a:lnTo>
                  <a:pt x="219" y="136"/>
                </a:lnTo>
                <a:lnTo>
                  <a:pt x="219" y="136"/>
                </a:lnTo>
                <a:lnTo>
                  <a:pt x="219" y="136"/>
                </a:lnTo>
                <a:lnTo>
                  <a:pt x="225" y="142"/>
                </a:lnTo>
                <a:lnTo>
                  <a:pt x="219" y="142"/>
                </a:lnTo>
                <a:lnTo>
                  <a:pt x="219" y="148"/>
                </a:lnTo>
                <a:lnTo>
                  <a:pt x="219" y="148"/>
                </a:lnTo>
                <a:lnTo>
                  <a:pt x="219" y="148"/>
                </a:lnTo>
                <a:lnTo>
                  <a:pt x="219" y="148"/>
                </a:lnTo>
                <a:lnTo>
                  <a:pt x="219" y="136"/>
                </a:lnTo>
                <a:lnTo>
                  <a:pt x="219" y="130"/>
                </a:lnTo>
                <a:lnTo>
                  <a:pt x="219" y="125"/>
                </a:lnTo>
                <a:lnTo>
                  <a:pt x="213" y="119"/>
                </a:lnTo>
                <a:lnTo>
                  <a:pt x="213" y="119"/>
                </a:lnTo>
                <a:lnTo>
                  <a:pt x="213" y="119"/>
                </a:lnTo>
                <a:lnTo>
                  <a:pt x="213" y="119"/>
                </a:lnTo>
                <a:lnTo>
                  <a:pt x="207" y="113"/>
                </a:lnTo>
                <a:lnTo>
                  <a:pt x="207" y="113"/>
                </a:lnTo>
                <a:lnTo>
                  <a:pt x="201" y="113"/>
                </a:lnTo>
                <a:lnTo>
                  <a:pt x="201" y="113"/>
                </a:lnTo>
                <a:lnTo>
                  <a:pt x="201" y="113"/>
                </a:lnTo>
                <a:lnTo>
                  <a:pt x="207" y="113"/>
                </a:lnTo>
                <a:lnTo>
                  <a:pt x="207" y="113"/>
                </a:lnTo>
                <a:lnTo>
                  <a:pt x="207" y="107"/>
                </a:lnTo>
                <a:lnTo>
                  <a:pt x="207" y="107"/>
                </a:lnTo>
                <a:lnTo>
                  <a:pt x="207" y="107"/>
                </a:lnTo>
                <a:lnTo>
                  <a:pt x="213" y="107"/>
                </a:lnTo>
                <a:lnTo>
                  <a:pt x="213" y="107"/>
                </a:lnTo>
                <a:lnTo>
                  <a:pt x="213" y="107"/>
                </a:lnTo>
                <a:lnTo>
                  <a:pt x="213" y="101"/>
                </a:lnTo>
                <a:lnTo>
                  <a:pt x="213" y="101"/>
                </a:lnTo>
                <a:lnTo>
                  <a:pt x="213" y="101"/>
                </a:lnTo>
                <a:lnTo>
                  <a:pt x="213" y="101"/>
                </a:lnTo>
                <a:lnTo>
                  <a:pt x="219" y="107"/>
                </a:lnTo>
                <a:lnTo>
                  <a:pt x="219" y="107"/>
                </a:lnTo>
                <a:lnTo>
                  <a:pt x="219" y="107"/>
                </a:lnTo>
                <a:lnTo>
                  <a:pt x="219" y="107"/>
                </a:lnTo>
                <a:lnTo>
                  <a:pt x="219" y="107"/>
                </a:lnTo>
                <a:lnTo>
                  <a:pt x="219" y="107"/>
                </a:lnTo>
                <a:lnTo>
                  <a:pt x="219" y="107"/>
                </a:lnTo>
                <a:lnTo>
                  <a:pt x="219" y="101"/>
                </a:lnTo>
                <a:lnTo>
                  <a:pt x="213" y="95"/>
                </a:lnTo>
                <a:lnTo>
                  <a:pt x="213" y="95"/>
                </a:lnTo>
                <a:lnTo>
                  <a:pt x="213" y="89"/>
                </a:lnTo>
                <a:lnTo>
                  <a:pt x="213" y="89"/>
                </a:lnTo>
                <a:lnTo>
                  <a:pt x="213" y="89"/>
                </a:lnTo>
                <a:lnTo>
                  <a:pt x="213" y="89"/>
                </a:lnTo>
                <a:lnTo>
                  <a:pt x="213" y="89"/>
                </a:lnTo>
                <a:lnTo>
                  <a:pt x="213" y="89"/>
                </a:lnTo>
                <a:lnTo>
                  <a:pt x="213" y="89"/>
                </a:lnTo>
                <a:lnTo>
                  <a:pt x="213" y="89"/>
                </a:lnTo>
                <a:lnTo>
                  <a:pt x="213" y="89"/>
                </a:lnTo>
                <a:lnTo>
                  <a:pt x="213" y="89"/>
                </a:lnTo>
                <a:lnTo>
                  <a:pt x="213" y="89"/>
                </a:lnTo>
                <a:lnTo>
                  <a:pt x="213" y="89"/>
                </a:lnTo>
                <a:lnTo>
                  <a:pt x="213" y="89"/>
                </a:lnTo>
                <a:lnTo>
                  <a:pt x="207" y="89"/>
                </a:lnTo>
                <a:lnTo>
                  <a:pt x="207" y="89"/>
                </a:lnTo>
                <a:lnTo>
                  <a:pt x="207" y="95"/>
                </a:lnTo>
                <a:lnTo>
                  <a:pt x="201" y="101"/>
                </a:lnTo>
                <a:lnTo>
                  <a:pt x="201" y="113"/>
                </a:lnTo>
                <a:lnTo>
                  <a:pt x="195" y="113"/>
                </a:lnTo>
                <a:close/>
                <a:moveTo>
                  <a:pt x="201" y="59"/>
                </a:moveTo>
                <a:lnTo>
                  <a:pt x="201" y="59"/>
                </a:lnTo>
                <a:lnTo>
                  <a:pt x="201" y="59"/>
                </a:lnTo>
                <a:lnTo>
                  <a:pt x="201" y="59"/>
                </a:lnTo>
                <a:lnTo>
                  <a:pt x="201" y="65"/>
                </a:lnTo>
                <a:lnTo>
                  <a:pt x="201" y="65"/>
                </a:lnTo>
                <a:lnTo>
                  <a:pt x="201" y="65"/>
                </a:lnTo>
                <a:lnTo>
                  <a:pt x="201" y="65"/>
                </a:lnTo>
                <a:lnTo>
                  <a:pt x="207" y="65"/>
                </a:lnTo>
                <a:lnTo>
                  <a:pt x="207" y="65"/>
                </a:lnTo>
                <a:lnTo>
                  <a:pt x="207" y="65"/>
                </a:lnTo>
                <a:lnTo>
                  <a:pt x="207" y="65"/>
                </a:lnTo>
                <a:lnTo>
                  <a:pt x="207" y="65"/>
                </a:lnTo>
                <a:lnTo>
                  <a:pt x="207" y="65"/>
                </a:lnTo>
                <a:lnTo>
                  <a:pt x="207" y="59"/>
                </a:lnTo>
                <a:lnTo>
                  <a:pt x="201" y="59"/>
                </a:lnTo>
                <a:lnTo>
                  <a:pt x="201" y="59"/>
                </a:lnTo>
                <a:lnTo>
                  <a:pt x="201" y="59"/>
                </a:lnTo>
                <a:lnTo>
                  <a:pt x="201" y="59"/>
                </a:lnTo>
                <a:lnTo>
                  <a:pt x="201" y="59"/>
                </a:lnTo>
                <a:lnTo>
                  <a:pt x="201" y="59"/>
                </a:lnTo>
                <a:close/>
                <a:moveTo>
                  <a:pt x="184" y="83"/>
                </a:moveTo>
                <a:lnTo>
                  <a:pt x="190" y="83"/>
                </a:lnTo>
                <a:lnTo>
                  <a:pt x="190" y="83"/>
                </a:lnTo>
                <a:lnTo>
                  <a:pt x="195" y="83"/>
                </a:lnTo>
                <a:lnTo>
                  <a:pt x="195" y="77"/>
                </a:lnTo>
                <a:lnTo>
                  <a:pt x="195" y="77"/>
                </a:lnTo>
                <a:lnTo>
                  <a:pt x="190" y="77"/>
                </a:lnTo>
                <a:lnTo>
                  <a:pt x="190" y="77"/>
                </a:lnTo>
                <a:lnTo>
                  <a:pt x="190" y="77"/>
                </a:lnTo>
                <a:lnTo>
                  <a:pt x="190" y="77"/>
                </a:lnTo>
                <a:lnTo>
                  <a:pt x="190" y="77"/>
                </a:lnTo>
                <a:lnTo>
                  <a:pt x="190" y="77"/>
                </a:lnTo>
                <a:lnTo>
                  <a:pt x="190" y="77"/>
                </a:lnTo>
                <a:lnTo>
                  <a:pt x="190" y="77"/>
                </a:lnTo>
                <a:lnTo>
                  <a:pt x="190" y="71"/>
                </a:lnTo>
                <a:lnTo>
                  <a:pt x="190" y="65"/>
                </a:lnTo>
                <a:lnTo>
                  <a:pt x="184" y="65"/>
                </a:lnTo>
                <a:lnTo>
                  <a:pt x="184" y="65"/>
                </a:lnTo>
                <a:lnTo>
                  <a:pt x="184" y="65"/>
                </a:lnTo>
                <a:lnTo>
                  <a:pt x="184" y="65"/>
                </a:lnTo>
                <a:lnTo>
                  <a:pt x="184" y="65"/>
                </a:lnTo>
                <a:lnTo>
                  <a:pt x="184" y="65"/>
                </a:lnTo>
                <a:lnTo>
                  <a:pt x="184" y="71"/>
                </a:lnTo>
                <a:lnTo>
                  <a:pt x="184" y="71"/>
                </a:lnTo>
                <a:lnTo>
                  <a:pt x="184" y="71"/>
                </a:lnTo>
                <a:lnTo>
                  <a:pt x="184" y="71"/>
                </a:lnTo>
                <a:lnTo>
                  <a:pt x="178" y="71"/>
                </a:lnTo>
                <a:lnTo>
                  <a:pt x="178" y="77"/>
                </a:lnTo>
                <a:lnTo>
                  <a:pt x="178" y="77"/>
                </a:lnTo>
                <a:lnTo>
                  <a:pt x="184" y="83"/>
                </a:lnTo>
                <a:lnTo>
                  <a:pt x="184" y="83"/>
                </a:lnTo>
                <a:lnTo>
                  <a:pt x="184" y="83"/>
                </a:lnTo>
                <a:lnTo>
                  <a:pt x="184" y="83"/>
                </a:lnTo>
                <a:lnTo>
                  <a:pt x="184" y="83"/>
                </a:lnTo>
                <a:lnTo>
                  <a:pt x="184" y="83"/>
                </a:lnTo>
                <a:lnTo>
                  <a:pt x="184" y="83"/>
                </a:lnTo>
                <a:close/>
                <a:moveTo>
                  <a:pt x="154" y="59"/>
                </a:moveTo>
                <a:lnTo>
                  <a:pt x="154" y="59"/>
                </a:lnTo>
                <a:lnTo>
                  <a:pt x="160" y="65"/>
                </a:lnTo>
                <a:lnTo>
                  <a:pt x="160" y="71"/>
                </a:lnTo>
                <a:lnTo>
                  <a:pt x="160" y="71"/>
                </a:lnTo>
                <a:lnTo>
                  <a:pt x="160" y="71"/>
                </a:lnTo>
                <a:lnTo>
                  <a:pt x="160" y="77"/>
                </a:lnTo>
                <a:lnTo>
                  <a:pt x="160" y="77"/>
                </a:lnTo>
                <a:lnTo>
                  <a:pt x="166" y="77"/>
                </a:lnTo>
                <a:lnTo>
                  <a:pt x="166" y="77"/>
                </a:lnTo>
                <a:lnTo>
                  <a:pt x="166" y="77"/>
                </a:lnTo>
                <a:lnTo>
                  <a:pt x="166" y="77"/>
                </a:lnTo>
                <a:lnTo>
                  <a:pt x="166" y="77"/>
                </a:lnTo>
                <a:lnTo>
                  <a:pt x="166" y="77"/>
                </a:lnTo>
                <a:lnTo>
                  <a:pt x="166" y="77"/>
                </a:lnTo>
                <a:lnTo>
                  <a:pt x="172" y="77"/>
                </a:lnTo>
                <a:lnTo>
                  <a:pt x="172" y="77"/>
                </a:lnTo>
                <a:lnTo>
                  <a:pt x="172" y="77"/>
                </a:lnTo>
                <a:lnTo>
                  <a:pt x="172" y="77"/>
                </a:lnTo>
                <a:lnTo>
                  <a:pt x="172" y="83"/>
                </a:lnTo>
                <a:lnTo>
                  <a:pt x="172" y="83"/>
                </a:lnTo>
                <a:lnTo>
                  <a:pt x="172" y="77"/>
                </a:lnTo>
                <a:lnTo>
                  <a:pt x="178" y="77"/>
                </a:lnTo>
                <a:lnTo>
                  <a:pt x="178" y="83"/>
                </a:lnTo>
                <a:lnTo>
                  <a:pt x="178" y="77"/>
                </a:lnTo>
                <a:lnTo>
                  <a:pt x="178" y="77"/>
                </a:lnTo>
                <a:lnTo>
                  <a:pt x="178" y="77"/>
                </a:lnTo>
                <a:lnTo>
                  <a:pt x="172" y="77"/>
                </a:lnTo>
                <a:lnTo>
                  <a:pt x="172" y="77"/>
                </a:lnTo>
                <a:lnTo>
                  <a:pt x="172" y="77"/>
                </a:lnTo>
                <a:lnTo>
                  <a:pt x="172" y="77"/>
                </a:lnTo>
                <a:lnTo>
                  <a:pt x="172" y="71"/>
                </a:lnTo>
                <a:lnTo>
                  <a:pt x="172" y="71"/>
                </a:lnTo>
                <a:lnTo>
                  <a:pt x="172" y="71"/>
                </a:lnTo>
                <a:lnTo>
                  <a:pt x="172" y="71"/>
                </a:lnTo>
                <a:lnTo>
                  <a:pt x="172" y="71"/>
                </a:lnTo>
                <a:lnTo>
                  <a:pt x="172" y="71"/>
                </a:lnTo>
                <a:lnTo>
                  <a:pt x="172" y="71"/>
                </a:lnTo>
                <a:lnTo>
                  <a:pt x="178" y="71"/>
                </a:lnTo>
                <a:lnTo>
                  <a:pt x="178" y="71"/>
                </a:lnTo>
                <a:lnTo>
                  <a:pt x="178" y="71"/>
                </a:lnTo>
                <a:lnTo>
                  <a:pt x="178" y="65"/>
                </a:lnTo>
                <a:lnTo>
                  <a:pt x="172" y="65"/>
                </a:lnTo>
                <a:lnTo>
                  <a:pt x="172" y="65"/>
                </a:lnTo>
                <a:lnTo>
                  <a:pt x="172" y="65"/>
                </a:lnTo>
                <a:lnTo>
                  <a:pt x="172" y="65"/>
                </a:lnTo>
                <a:lnTo>
                  <a:pt x="166" y="59"/>
                </a:lnTo>
                <a:lnTo>
                  <a:pt x="166" y="59"/>
                </a:lnTo>
                <a:lnTo>
                  <a:pt x="166" y="59"/>
                </a:lnTo>
                <a:lnTo>
                  <a:pt x="166" y="59"/>
                </a:lnTo>
                <a:lnTo>
                  <a:pt x="166" y="59"/>
                </a:lnTo>
                <a:lnTo>
                  <a:pt x="166" y="59"/>
                </a:lnTo>
                <a:lnTo>
                  <a:pt x="160" y="53"/>
                </a:lnTo>
                <a:lnTo>
                  <a:pt x="160" y="53"/>
                </a:lnTo>
                <a:lnTo>
                  <a:pt x="160" y="53"/>
                </a:lnTo>
                <a:lnTo>
                  <a:pt x="154" y="59"/>
                </a:lnTo>
                <a:lnTo>
                  <a:pt x="154" y="59"/>
                </a:lnTo>
                <a:lnTo>
                  <a:pt x="154" y="59"/>
                </a:lnTo>
                <a:close/>
                <a:moveTo>
                  <a:pt x="166" y="0"/>
                </a:moveTo>
                <a:lnTo>
                  <a:pt x="172" y="0"/>
                </a:lnTo>
                <a:lnTo>
                  <a:pt x="172" y="0"/>
                </a:lnTo>
                <a:lnTo>
                  <a:pt x="172" y="0"/>
                </a:lnTo>
                <a:lnTo>
                  <a:pt x="172" y="0"/>
                </a:lnTo>
                <a:lnTo>
                  <a:pt x="166" y="0"/>
                </a:lnTo>
                <a:lnTo>
                  <a:pt x="166" y="0"/>
                </a:lnTo>
                <a:lnTo>
                  <a:pt x="166" y="0"/>
                </a:lnTo>
                <a:lnTo>
                  <a:pt x="166" y="0"/>
                </a:lnTo>
                <a:close/>
                <a:moveTo>
                  <a:pt x="172" y="59"/>
                </a:moveTo>
                <a:lnTo>
                  <a:pt x="172" y="59"/>
                </a:lnTo>
                <a:lnTo>
                  <a:pt x="172" y="59"/>
                </a:lnTo>
                <a:lnTo>
                  <a:pt x="172" y="59"/>
                </a:lnTo>
                <a:lnTo>
                  <a:pt x="172" y="59"/>
                </a:lnTo>
                <a:lnTo>
                  <a:pt x="178" y="53"/>
                </a:lnTo>
                <a:lnTo>
                  <a:pt x="178" y="53"/>
                </a:lnTo>
                <a:lnTo>
                  <a:pt x="178" y="53"/>
                </a:lnTo>
                <a:lnTo>
                  <a:pt x="178" y="53"/>
                </a:lnTo>
                <a:lnTo>
                  <a:pt x="178" y="53"/>
                </a:lnTo>
                <a:lnTo>
                  <a:pt x="178" y="53"/>
                </a:lnTo>
                <a:lnTo>
                  <a:pt x="178" y="53"/>
                </a:lnTo>
                <a:lnTo>
                  <a:pt x="178" y="53"/>
                </a:lnTo>
                <a:lnTo>
                  <a:pt x="178" y="53"/>
                </a:lnTo>
                <a:lnTo>
                  <a:pt x="178" y="59"/>
                </a:lnTo>
                <a:lnTo>
                  <a:pt x="178" y="59"/>
                </a:lnTo>
                <a:lnTo>
                  <a:pt x="184" y="59"/>
                </a:lnTo>
                <a:lnTo>
                  <a:pt x="184" y="59"/>
                </a:lnTo>
                <a:lnTo>
                  <a:pt x="184" y="59"/>
                </a:lnTo>
                <a:lnTo>
                  <a:pt x="184" y="59"/>
                </a:lnTo>
                <a:lnTo>
                  <a:pt x="184" y="59"/>
                </a:lnTo>
                <a:lnTo>
                  <a:pt x="184" y="59"/>
                </a:lnTo>
                <a:lnTo>
                  <a:pt x="190" y="59"/>
                </a:lnTo>
                <a:lnTo>
                  <a:pt x="184" y="47"/>
                </a:lnTo>
                <a:lnTo>
                  <a:pt x="184" y="47"/>
                </a:lnTo>
                <a:lnTo>
                  <a:pt x="184" y="47"/>
                </a:lnTo>
                <a:lnTo>
                  <a:pt x="184" y="47"/>
                </a:lnTo>
                <a:lnTo>
                  <a:pt x="184" y="47"/>
                </a:lnTo>
                <a:lnTo>
                  <a:pt x="184" y="47"/>
                </a:lnTo>
                <a:lnTo>
                  <a:pt x="184" y="42"/>
                </a:lnTo>
                <a:lnTo>
                  <a:pt x="184" y="42"/>
                </a:lnTo>
                <a:lnTo>
                  <a:pt x="184" y="42"/>
                </a:lnTo>
                <a:lnTo>
                  <a:pt x="184" y="42"/>
                </a:lnTo>
                <a:lnTo>
                  <a:pt x="184" y="47"/>
                </a:lnTo>
                <a:lnTo>
                  <a:pt x="184" y="47"/>
                </a:lnTo>
                <a:lnTo>
                  <a:pt x="184" y="47"/>
                </a:lnTo>
                <a:lnTo>
                  <a:pt x="184" y="47"/>
                </a:lnTo>
                <a:lnTo>
                  <a:pt x="190" y="53"/>
                </a:lnTo>
                <a:lnTo>
                  <a:pt x="190" y="53"/>
                </a:lnTo>
                <a:lnTo>
                  <a:pt x="190" y="53"/>
                </a:lnTo>
                <a:lnTo>
                  <a:pt x="190" y="59"/>
                </a:lnTo>
                <a:lnTo>
                  <a:pt x="195" y="53"/>
                </a:lnTo>
                <a:lnTo>
                  <a:pt x="195" y="53"/>
                </a:lnTo>
                <a:lnTo>
                  <a:pt x="195" y="53"/>
                </a:lnTo>
                <a:lnTo>
                  <a:pt x="195" y="53"/>
                </a:lnTo>
                <a:lnTo>
                  <a:pt x="195" y="53"/>
                </a:lnTo>
                <a:lnTo>
                  <a:pt x="195" y="53"/>
                </a:lnTo>
                <a:lnTo>
                  <a:pt x="195" y="53"/>
                </a:lnTo>
                <a:lnTo>
                  <a:pt x="195" y="53"/>
                </a:lnTo>
                <a:lnTo>
                  <a:pt x="195" y="53"/>
                </a:lnTo>
                <a:lnTo>
                  <a:pt x="195" y="47"/>
                </a:lnTo>
                <a:lnTo>
                  <a:pt x="201" y="47"/>
                </a:lnTo>
                <a:lnTo>
                  <a:pt x="201" y="47"/>
                </a:lnTo>
                <a:lnTo>
                  <a:pt x="195" y="47"/>
                </a:lnTo>
                <a:lnTo>
                  <a:pt x="190" y="42"/>
                </a:lnTo>
                <a:lnTo>
                  <a:pt x="184" y="42"/>
                </a:lnTo>
                <a:lnTo>
                  <a:pt x="184" y="42"/>
                </a:lnTo>
                <a:lnTo>
                  <a:pt x="184" y="42"/>
                </a:lnTo>
                <a:lnTo>
                  <a:pt x="178" y="47"/>
                </a:lnTo>
                <a:lnTo>
                  <a:pt x="178" y="47"/>
                </a:lnTo>
                <a:lnTo>
                  <a:pt x="178" y="47"/>
                </a:lnTo>
                <a:lnTo>
                  <a:pt x="172" y="47"/>
                </a:lnTo>
                <a:lnTo>
                  <a:pt x="172" y="47"/>
                </a:lnTo>
                <a:lnTo>
                  <a:pt x="172" y="53"/>
                </a:lnTo>
                <a:lnTo>
                  <a:pt x="172" y="53"/>
                </a:lnTo>
                <a:lnTo>
                  <a:pt x="172" y="53"/>
                </a:lnTo>
                <a:lnTo>
                  <a:pt x="172" y="53"/>
                </a:lnTo>
                <a:lnTo>
                  <a:pt x="172" y="59"/>
                </a:lnTo>
                <a:close/>
                <a:moveTo>
                  <a:pt x="207" y="42"/>
                </a:moveTo>
                <a:lnTo>
                  <a:pt x="207" y="47"/>
                </a:lnTo>
                <a:lnTo>
                  <a:pt x="207" y="47"/>
                </a:lnTo>
                <a:lnTo>
                  <a:pt x="207" y="47"/>
                </a:lnTo>
                <a:lnTo>
                  <a:pt x="207" y="47"/>
                </a:lnTo>
                <a:lnTo>
                  <a:pt x="207" y="47"/>
                </a:lnTo>
                <a:lnTo>
                  <a:pt x="207" y="47"/>
                </a:lnTo>
                <a:lnTo>
                  <a:pt x="213" y="53"/>
                </a:lnTo>
                <a:lnTo>
                  <a:pt x="213" y="53"/>
                </a:lnTo>
                <a:lnTo>
                  <a:pt x="213" y="53"/>
                </a:lnTo>
                <a:lnTo>
                  <a:pt x="213" y="47"/>
                </a:lnTo>
                <a:lnTo>
                  <a:pt x="213" y="47"/>
                </a:lnTo>
                <a:lnTo>
                  <a:pt x="213" y="47"/>
                </a:lnTo>
                <a:lnTo>
                  <a:pt x="213" y="47"/>
                </a:lnTo>
                <a:lnTo>
                  <a:pt x="213" y="47"/>
                </a:lnTo>
                <a:lnTo>
                  <a:pt x="213" y="47"/>
                </a:lnTo>
                <a:lnTo>
                  <a:pt x="207" y="47"/>
                </a:lnTo>
                <a:lnTo>
                  <a:pt x="207" y="42"/>
                </a:lnTo>
                <a:lnTo>
                  <a:pt x="207" y="42"/>
                </a:lnTo>
                <a:lnTo>
                  <a:pt x="207" y="42"/>
                </a:lnTo>
                <a:lnTo>
                  <a:pt x="207" y="42"/>
                </a:lnTo>
                <a:lnTo>
                  <a:pt x="207" y="42"/>
                </a:lnTo>
                <a:lnTo>
                  <a:pt x="201" y="36"/>
                </a:lnTo>
                <a:lnTo>
                  <a:pt x="201" y="36"/>
                </a:lnTo>
                <a:lnTo>
                  <a:pt x="201" y="36"/>
                </a:lnTo>
                <a:lnTo>
                  <a:pt x="201" y="42"/>
                </a:lnTo>
                <a:lnTo>
                  <a:pt x="201" y="42"/>
                </a:lnTo>
                <a:lnTo>
                  <a:pt x="201" y="42"/>
                </a:lnTo>
                <a:lnTo>
                  <a:pt x="207" y="42"/>
                </a:lnTo>
                <a:close/>
                <a:moveTo>
                  <a:pt x="4883" y="1584"/>
                </a:moveTo>
                <a:lnTo>
                  <a:pt x="4883" y="1584"/>
                </a:lnTo>
                <a:lnTo>
                  <a:pt x="4883" y="1590"/>
                </a:lnTo>
                <a:lnTo>
                  <a:pt x="4883" y="1595"/>
                </a:lnTo>
                <a:lnTo>
                  <a:pt x="4883" y="1595"/>
                </a:lnTo>
                <a:lnTo>
                  <a:pt x="4883" y="1590"/>
                </a:lnTo>
                <a:lnTo>
                  <a:pt x="4889" y="1584"/>
                </a:lnTo>
                <a:lnTo>
                  <a:pt x="4889" y="1584"/>
                </a:lnTo>
                <a:lnTo>
                  <a:pt x="4889" y="1584"/>
                </a:lnTo>
                <a:lnTo>
                  <a:pt x="4889" y="1584"/>
                </a:lnTo>
                <a:lnTo>
                  <a:pt x="4889" y="1584"/>
                </a:lnTo>
                <a:lnTo>
                  <a:pt x="4883" y="1584"/>
                </a:lnTo>
                <a:close/>
                <a:moveTo>
                  <a:pt x="4865" y="1625"/>
                </a:moveTo>
                <a:lnTo>
                  <a:pt x="4865" y="1625"/>
                </a:lnTo>
                <a:lnTo>
                  <a:pt x="4865" y="1625"/>
                </a:lnTo>
                <a:lnTo>
                  <a:pt x="4859" y="1625"/>
                </a:lnTo>
                <a:lnTo>
                  <a:pt x="4859" y="1625"/>
                </a:lnTo>
                <a:lnTo>
                  <a:pt x="4859" y="1625"/>
                </a:lnTo>
                <a:lnTo>
                  <a:pt x="4859" y="1625"/>
                </a:lnTo>
                <a:lnTo>
                  <a:pt x="4859" y="1625"/>
                </a:lnTo>
                <a:lnTo>
                  <a:pt x="4859" y="1625"/>
                </a:lnTo>
                <a:lnTo>
                  <a:pt x="4859" y="1625"/>
                </a:lnTo>
                <a:lnTo>
                  <a:pt x="4865" y="1625"/>
                </a:lnTo>
                <a:lnTo>
                  <a:pt x="4865" y="1625"/>
                </a:lnTo>
                <a:lnTo>
                  <a:pt x="4865" y="1625"/>
                </a:lnTo>
                <a:lnTo>
                  <a:pt x="4865" y="1625"/>
                </a:lnTo>
                <a:lnTo>
                  <a:pt x="4865" y="1625"/>
                </a:lnTo>
                <a:lnTo>
                  <a:pt x="4871" y="1619"/>
                </a:lnTo>
                <a:lnTo>
                  <a:pt x="4871" y="1619"/>
                </a:lnTo>
                <a:lnTo>
                  <a:pt x="4871" y="1619"/>
                </a:lnTo>
                <a:lnTo>
                  <a:pt x="4871" y="1619"/>
                </a:lnTo>
                <a:lnTo>
                  <a:pt x="4871" y="1613"/>
                </a:lnTo>
                <a:lnTo>
                  <a:pt x="4871" y="1613"/>
                </a:lnTo>
                <a:lnTo>
                  <a:pt x="4871" y="1613"/>
                </a:lnTo>
                <a:lnTo>
                  <a:pt x="4871" y="1613"/>
                </a:lnTo>
                <a:lnTo>
                  <a:pt x="4871" y="1613"/>
                </a:lnTo>
                <a:lnTo>
                  <a:pt x="4871" y="1619"/>
                </a:lnTo>
                <a:lnTo>
                  <a:pt x="4871" y="1619"/>
                </a:lnTo>
                <a:lnTo>
                  <a:pt x="4871" y="1619"/>
                </a:lnTo>
                <a:lnTo>
                  <a:pt x="4865" y="1619"/>
                </a:lnTo>
                <a:lnTo>
                  <a:pt x="4865" y="1613"/>
                </a:lnTo>
                <a:lnTo>
                  <a:pt x="4865" y="1613"/>
                </a:lnTo>
                <a:lnTo>
                  <a:pt x="4865" y="1613"/>
                </a:lnTo>
                <a:lnTo>
                  <a:pt x="4865" y="1613"/>
                </a:lnTo>
                <a:lnTo>
                  <a:pt x="4865" y="1613"/>
                </a:lnTo>
                <a:lnTo>
                  <a:pt x="4865" y="1607"/>
                </a:lnTo>
                <a:lnTo>
                  <a:pt x="4865" y="1607"/>
                </a:lnTo>
                <a:lnTo>
                  <a:pt x="4865" y="1607"/>
                </a:lnTo>
                <a:lnTo>
                  <a:pt x="4865" y="1607"/>
                </a:lnTo>
                <a:lnTo>
                  <a:pt x="4865" y="1607"/>
                </a:lnTo>
                <a:lnTo>
                  <a:pt x="4865" y="1607"/>
                </a:lnTo>
                <a:lnTo>
                  <a:pt x="4865" y="1607"/>
                </a:lnTo>
                <a:lnTo>
                  <a:pt x="4865" y="1607"/>
                </a:lnTo>
                <a:lnTo>
                  <a:pt x="4865" y="1607"/>
                </a:lnTo>
                <a:lnTo>
                  <a:pt x="4865" y="1607"/>
                </a:lnTo>
                <a:lnTo>
                  <a:pt x="4865" y="1613"/>
                </a:lnTo>
                <a:lnTo>
                  <a:pt x="4865" y="1619"/>
                </a:lnTo>
                <a:lnTo>
                  <a:pt x="4865" y="1619"/>
                </a:lnTo>
                <a:lnTo>
                  <a:pt x="4865" y="1619"/>
                </a:lnTo>
                <a:lnTo>
                  <a:pt x="4865" y="1619"/>
                </a:lnTo>
                <a:lnTo>
                  <a:pt x="4865" y="1625"/>
                </a:lnTo>
                <a:lnTo>
                  <a:pt x="4865" y="1625"/>
                </a:lnTo>
                <a:lnTo>
                  <a:pt x="4865" y="1625"/>
                </a:lnTo>
                <a:lnTo>
                  <a:pt x="4865" y="1625"/>
                </a:lnTo>
                <a:close/>
                <a:moveTo>
                  <a:pt x="4889" y="1578"/>
                </a:moveTo>
                <a:lnTo>
                  <a:pt x="4889" y="1578"/>
                </a:lnTo>
                <a:lnTo>
                  <a:pt x="4895" y="1572"/>
                </a:lnTo>
                <a:lnTo>
                  <a:pt x="4895" y="1572"/>
                </a:lnTo>
                <a:lnTo>
                  <a:pt x="4889" y="1566"/>
                </a:lnTo>
                <a:lnTo>
                  <a:pt x="4889" y="1572"/>
                </a:lnTo>
                <a:lnTo>
                  <a:pt x="4889" y="1572"/>
                </a:lnTo>
                <a:lnTo>
                  <a:pt x="4889" y="1572"/>
                </a:lnTo>
                <a:lnTo>
                  <a:pt x="4889" y="1572"/>
                </a:lnTo>
                <a:lnTo>
                  <a:pt x="4889" y="1572"/>
                </a:lnTo>
                <a:lnTo>
                  <a:pt x="4889" y="1578"/>
                </a:lnTo>
                <a:lnTo>
                  <a:pt x="4889" y="1578"/>
                </a:lnTo>
                <a:lnTo>
                  <a:pt x="4889" y="1578"/>
                </a:lnTo>
                <a:lnTo>
                  <a:pt x="4883" y="1578"/>
                </a:lnTo>
                <a:lnTo>
                  <a:pt x="4889" y="1584"/>
                </a:lnTo>
                <a:lnTo>
                  <a:pt x="4889" y="1578"/>
                </a:lnTo>
                <a:lnTo>
                  <a:pt x="4889" y="1578"/>
                </a:lnTo>
                <a:lnTo>
                  <a:pt x="4889" y="1578"/>
                </a:lnTo>
                <a:lnTo>
                  <a:pt x="4889" y="1578"/>
                </a:lnTo>
                <a:close/>
                <a:moveTo>
                  <a:pt x="4521" y="2117"/>
                </a:moveTo>
                <a:lnTo>
                  <a:pt x="4521" y="2123"/>
                </a:lnTo>
                <a:lnTo>
                  <a:pt x="4521" y="2123"/>
                </a:lnTo>
                <a:lnTo>
                  <a:pt x="4515" y="2123"/>
                </a:lnTo>
                <a:lnTo>
                  <a:pt x="4515" y="2123"/>
                </a:lnTo>
                <a:lnTo>
                  <a:pt x="4515" y="2129"/>
                </a:lnTo>
                <a:lnTo>
                  <a:pt x="4521" y="2129"/>
                </a:lnTo>
                <a:lnTo>
                  <a:pt x="4521" y="2123"/>
                </a:lnTo>
                <a:lnTo>
                  <a:pt x="4521" y="2123"/>
                </a:lnTo>
                <a:lnTo>
                  <a:pt x="4521" y="2117"/>
                </a:lnTo>
                <a:lnTo>
                  <a:pt x="4521" y="2117"/>
                </a:lnTo>
                <a:lnTo>
                  <a:pt x="4521" y="2117"/>
                </a:lnTo>
                <a:lnTo>
                  <a:pt x="4521" y="2117"/>
                </a:lnTo>
                <a:close/>
                <a:moveTo>
                  <a:pt x="5298" y="1103"/>
                </a:moveTo>
                <a:lnTo>
                  <a:pt x="5292" y="1103"/>
                </a:lnTo>
                <a:lnTo>
                  <a:pt x="5298" y="1103"/>
                </a:lnTo>
                <a:lnTo>
                  <a:pt x="5298" y="1097"/>
                </a:lnTo>
                <a:lnTo>
                  <a:pt x="5292" y="1097"/>
                </a:lnTo>
                <a:lnTo>
                  <a:pt x="5292" y="1097"/>
                </a:lnTo>
                <a:lnTo>
                  <a:pt x="5292" y="1097"/>
                </a:lnTo>
                <a:lnTo>
                  <a:pt x="5292" y="1097"/>
                </a:lnTo>
                <a:lnTo>
                  <a:pt x="5292" y="1097"/>
                </a:lnTo>
                <a:lnTo>
                  <a:pt x="5292" y="1097"/>
                </a:lnTo>
                <a:lnTo>
                  <a:pt x="5292" y="1103"/>
                </a:lnTo>
                <a:lnTo>
                  <a:pt x="5292" y="1103"/>
                </a:lnTo>
                <a:lnTo>
                  <a:pt x="5292" y="1103"/>
                </a:lnTo>
                <a:lnTo>
                  <a:pt x="5292" y="1103"/>
                </a:lnTo>
                <a:lnTo>
                  <a:pt x="5292" y="1103"/>
                </a:lnTo>
                <a:lnTo>
                  <a:pt x="5292" y="1103"/>
                </a:lnTo>
                <a:lnTo>
                  <a:pt x="5292" y="1109"/>
                </a:lnTo>
                <a:lnTo>
                  <a:pt x="5292" y="1109"/>
                </a:lnTo>
                <a:lnTo>
                  <a:pt x="5292" y="1109"/>
                </a:lnTo>
                <a:lnTo>
                  <a:pt x="5298" y="1109"/>
                </a:lnTo>
                <a:lnTo>
                  <a:pt x="5298" y="1103"/>
                </a:lnTo>
                <a:lnTo>
                  <a:pt x="5298" y="1103"/>
                </a:lnTo>
                <a:lnTo>
                  <a:pt x="5298" y="1103"/>
                </a:lnTo>
                <a:close/>
                <a:moveTo>
                  <a:pt x="5315" y="1056"/>
                </a:moveTo>
                <a:lnTo>
                  <a:pt x="5315" y="1050"/>
                </a:lnTo>
                <a:lnTo>
                  <a:pt x="5315" y="1050"/>
                </a:lnTo>
                <a:lnTo>
                  <a:pt x="5315" y="1050"/>
                </a:lnTo>
                <a:lnTo>
                  <a:pt x="5315" y="1050"/>
                </a:lnTo>
                <a:lnTo>
                  <a:pt x="5315" y="1050"/>
                </a:lnTo>
                <a:lnTo>
                  <a:pt x="5315" y="1050"/>
                </a:lnTo>
                <a:lnTo>
                  <a:pt x="5310" y="1056"/>
                </a:lnTo>
                <a:lnTo>
                  <a:pt x="5310" y="1056"/>
                </a:lnTo>
                <a:lnTo>
                  <a:pt x="5310" y="1056"/>
                </a:lnTo>
                <a:lnTo>
                  <a:pt x="5315" y="1062"/>
                </a:lnTo>
                <a:lnTo>
                  <a:pt x="5310" y="1062"/>
                </a:lnTo>
                <a:lnTo>
                  <a:pt x="5310" y="1062"/>
                </a:lnTo>
                <a:lnTo>
                  <a:pt x="5310" y="1062"/>
                </a:lnTo>
                <a:lnTo>
                  <a:pt x="5310" y="1062"/>
                </a:lnTo>
                <a:lnTo>
                  <a:pt x="5310" y="1062"/>
                </a:lnTo>
                <a:lnTo>
                  <a:pt x="5310" y="1062"/>
                </a:lnTo>
                <a:lnTo>
                  <a:pt x="5310" y="1062"/>
                </a:lnTo>
                <a:lnTo>
                  <a:pt x="5310" y="1062"/>
                </a:lnTo>
                <a:lnTo>
                  <a:pt x="5310" y="1062"/>
                </a:lnTo>
                <a:lnTo>
                  <a:pt x="5310" y="1062"/>
                </a:lnTo>
                <a:lnTo>
                  <a:pt x="5310" y="1062"/>
                </a:lnTo>
                <a:lnTo>
                  <a:pt x="5310" y="1068"/>
                </a:lnTo>
                <a:lnTo>
                  <a:pt x="5310" y="1068"/>
                </a:lnTo>
                <a:lnTo>
                  <a:pt x="5310" y="1068"/>
                </a:lnTo>
                <a:lnTo>
                  <a:pt x="5315" y="1068"/>
                </a:lnTo>
                <a:lnTo>
                  <a:pt x="5315" y="1062"/>
                </a:lnTo>
                <a:lnTo>
                  <a:pt x="5315" y="1062"/>
                </a:lnTo>
                <a:lnTo>
                  <a:pt x="5315" y="1062"/>
                </a:lnTo>
                <a:lnTo>
                  <a:pt x="5315" y="1062"/>
                </a:lnTo>
                <a:lnTo>
                  <a:pt x="5315" y="1062"/>
                </a:lnTo>
                <a:lnTo>
                  <a:pt x="5315" y="1056"/>
                </a:lnTo>
                <a:lnTo>
                  <a:pt x="5315" y="1056"/>
                </a:lnTo>
                <a:close/>
                <a:moveTo>
                  <a:pt x="5327" y="1044"/>
                </a:moveTo>
                <a:lnTo>
                  <a:pt x="5327" y="1044"/>
                </a:lnTo>
                <a:lnTo>
                  <a:pt x="5327" y="1044"/>
                </a:lnTo>
                <a:lnTo>
                  <a:pt x="5327" y="1044"/>
                </a:lnTo>
                <a:lnTo>
                  <a:pt x="5321" y="1044"/>
                </a:lnTo>
                <a:lnTo>
                  <a:pt x="5321" y="1044"/>
                </a:lnTo>
                <a:lnTo>
                  <a:pt x="5321" y="1050"/>
                </a:lnTo>
                <a:lnTo>
                  <a:pt x="5321" y="1050"/>
                </a:lnTo>
                <a:lnTo>
                  <a:pt x="5321" y="1050"/>
                </a:lnTo>
                <a:lnTo>
                  <a:pt x="5321" y="1050"/>
                </a:lnTo>
                <a:lnTo>
                  <a:pt x="5321" y="1050"/>
                </a:lnTo>
                <a:lnTo>
                  <a:pt x="5321" y="1050"/>
                </a:lnTo>
                <a:lnTo>
                  <a:pt x="5321" y="1050"/>
                </a:lnTo>
                <a:lnTo>
                  <a:pt x="5321" y="1050"/>
                </a:lnTo>
                <a:lnTo>
                  <a:pt x="5321" y="1056"/>
                </a:lnTo>
                <a:lnTo>
                  <a:pt x="5321" y="1056"/>
                </a:lnTo>
                <a:lnTo>
                  <a:pt x="5321" y="1056"/>
                </a:lnTo>
                <a:lnTo>
                  <a:pt x="5321" y="1056"/>
                </a:lnTo>
                <a:lnTo>
                  <a:pt x="5321" y="1056"/>
                </a:lnTo>
                <a:lnTo>
                  <a:pt x="5321" y="1056"/>
                </a:lnTo>
                <a:lnTo>
                  <a:pt x="5321" y="1062"/>
                </a:lnTo>
                <a:lnTo>
                  <a:pt x="5321" y="1062"/>
                </a:lnTo>
                <a:lnTo>
                  <a:pt x="5321" y="1062"/>
                </a:lnTo>
                <a:lnTo>
                  <a:pt x="5321" y="1062"/>
                </a:lnTo>
                <a:lnTo>
                  <a:pt x="5315" y="1062"/>
                </a:lnTo>
                <a:lnTo>
                  <a:pt x="5315" y="1062"/>
                </a:lnTo>
                <a:lnTo>
                  <a:pt x="5315" y="1068"/>
                </a:lnTo>
                <a:lnTo>
                  <a:pt x="5315" y="1068"/>
                </a:lnTo>
                <a:lnTo>
                  <a:pt x="5315" y="1068"/>
                </a:lnTo>
                <a:lnTo>
                  <a:pt x="5315" y="1068"/>
                </a:lnTo>
                <a:lnTo>
                  <a:pt x="5315" y="1068"/>
                </a:lnTo>
                <a:lnTo>
                  <a:pt x="5315" y="1068"/>
                </a:lnTo>
                <a:lnTo>
                  <a:pt x="5321" y="1068"/>
                </a:lnTo>
                <a:lnTo>
                  <a:pt x="5321" y="1068"/>
                </a:lnTo>
                <a:lnTo>
                  <a:pt x="5321" y="1068"/>
                </a:lnTo>
                <a:lnTo>
                  <a:pt x="5321" y="1062"/>
                </a:lnTo>
                <a:lnTo>
                  <a:pt x="5327" y="1062"/>
                </a:lnTo>
                <a:lnTo>
                  <a:pt x="5327" y="1062"/>
                </a:lnTo>
                <a:lnTo>
                  <a:pt x="5327" y="1062"/>
                </a:lnTo>
                <a:lnTo>
                  <a:pt x="5327" y="1062"/>
                </a:lnTo>
                <a:lnTo>
                  <a:pt x="5327" y="1062"/>
                </a:lnTo>
                <a:lnTo>
                  <a:pt x="5327" y="1062"/>
                </a:lnTo>
                <a:lnTo>
                  <a:pt x="5327" y="1056"/>
                </a:lnTo>
                <a:lnTo>
                  <a:pt x="5327" y="1056"/>
                </a:lnTo>
                <a:lnTo>
                  <a:pt x="5327" y="1056"/>
                </a:lnTo>
                <a:lnTo>
                  <a:pt x="5327" y="1050"/>
                </a:lnTo>
                <a:lnTo>
                  <a:pt x="5327" y="1044"/>
                </a:lnTo>
                <a:lnTo>
                  <a:pt x="5327" y="1038"/>
                </a:lnTo>
                <a:lnTo>
                  <a:pt x="5327" y="1038"/>
                </a:lnTo>
                <a:lnTo>
                  <a:pt x="5327" y="1044"/>
                </a:lnTo>
                <a:close/>
                <a:moveTo>
                  <a:pt x="5315" y="1050"/>
                </a:moveTo>
                <a:lnTo>
                  <a:pt x="5315" y="1050"/>
                </a:lnTo>
                <a:lnTo>
                  <a:pt x="5315" y="1050"/>
                </a:lnTo>
                <a:lnTo>
                  <a:pt x="5321" y="1050"/>
                </a:lnTo>
                <a:lnTo>
                  <a:pt x="5321" y="1050"/>
                </a:lnTo>
                <a:lnTo>
                  <a:pt x="5321" y="1050"/>
                </a:lnTo>
                <a:lnTo>
                  <a:pt x="5321" y="1044"/>
                </a:lnTo>
                <a:lnTo>
                  <a:pt x="5321" y="1044"/>
                </a:lnTo>
                <a:lnTo>
                  <a:pt x="5321" y="1044"/>
                </a:lnTo>
                <a:lnTo>
                  <a:pt x="5315" y="1044"/>
                </a:lnTo>
                <a:lnTo>
                  <a:pt x="5315" y="1038"/>
                </a:lnTo>
                <a:lnTo>
                  <a:pt x="5315" y="1038"/>
                </a:lnTo>
                <a:lnTo>
                  <a:pt x="5315" y="1038"/>
                </a:lnTo>
                <a:lnTo>
                  <a:pt x="5315" y="1038"/>
                </a:lnTo>
                <a:lnTo>
                  <a:pt x="5315" y="1038"/>
                </a:lnTo>
                <a:lnTo>
                  <a:pt x="5315" y="1038"/>
                </a:lnTo>
                <a:lnTo>
                  <a:pt x="5315" y="1044"/>
                </a:lnTo>
                <a:lnTo>
                  <a:pt x="5315" y="1044"/>
                </a:lnTo>
                <a:lnTo>
                  <a:pt x="5315" y="1044"/>
                </a:lnTo>
                <a:lnTo>
                  <a:pt x="5315" y="1044"/>
                </a:lnTo>
                <a:lnTo>
                  <a:pt x="5315" y="1044"/>
                </a:lnTo>
                <a:lnTo>
                  <a:pt x="5315" y="1044"/>
                </a:lnTo>
                <a:lnTo>
                  <a:pt x="5315" y="1050"/>
                </a:lnTo>
                <a:lnTo>
                  <a:pt x="5315" y="1050"/>
                </a:lnTo>
                <a:close/>
                <a:moveTo>
                  <a:pt x="5019" y="1329"/>
                </a:moveTo>
                <a:lnTo>
                  <a:pt x="5019" y="1329"/>
                </a:lnTo>
                <a:lnTo>
                  <a:pt x="5013" y="1329"/>
                </a:lnTo>
                <a:lnTo>
                  <a:pt x="5019" y="1329"/>
                </a:lnTo>
                <a:lnTo>
                  <a:pt x="5013" y="1334"/>
                </a:lnTo>
                <a:lnTo>
                  <a:pt x="5013" y="1334"/>
                </a:lnTo>
                <a:lnTo>
                  <a:pt x="5013" y="1334"/>
                </a:lnTo>
                <a:lnTo>
                  <a:pt x="5013" y="1334"/>
                </a:lnTo>
                <a:lnTo>
                  <a:pt x="5013" y="1334"/>
                </a:lnTo>
                <a:lnTo>
                  <a:pt x="5013" y="1334"/>
                </a:lnTo>
                <a:lnTo>
                  <a:pt x="5013" y="1334"/>
                </a:lnTo>
                <a:lnTo>
                  <a:pt x="5007" y="1334"/>
                </a:lnTo>
                <a:lnTo>
                  <a:pt x="5007" y="1334"/>
                </a:lnTo>
                <a:lnTo>
                  <a:pt x="5007" y="1334"/>
                </a:lnTo>
                <a:lnTo>
                  <a:pt x="5013" y="1340"/>
                </a:lnTo>
                <a:lnTo>
                  <a:pt x="5019" y="1334"/>
                </a:lnTo>
                <a:lnTo>
                  <a:pt x="5019" y="1334"/>
                </a:lnTo>
                <a:lnTo>
                  <a:pt x="5019" y="1329"/>
                </a:lnTo>
                <a:lnTo>
                  <a:pt x="5019" y="1329"/>
                </a:lnTo>
                <a:lnTo>
                  <a:pt x="5019" y="1329"/>
                </a:lnTo>
                <a:lnTo>
                  <a:pt x="5019" y="1329"/>
                </a:lnTo>
                <a:lnTo>
                  <a:pt x="5019" y="1329"/>
                </a:lnTo>
                <a:lnTo>
                  <a:pt x="5025" y="1329"/>
                </a:lnTo>
                <a:lnTo>
                  <a:pt x="5019" y="1329"/>
                </a:lnTo>
                <a:lnTo>
                  <a:pt x="5019" y="1329"/>
                </a:lnTo>
                <a:close/>
                <a:moveTo>
                  <a:pt x="5043" y="1293"/>
                </a:moveTo>
                <a:lnTo>
                  <a:pt x="5043" y="1293"/>
                </a:lnTo>
                <a:lnTo>
                  <a:pt x="5037" y="1293"/>
                </a:lnTo>
                <a:lnTo>
                  <a:pt x="5037" y="1293"/>
                </a:lnTo>
                <a:lnTo>
                  <a:pt x="5037" y="1299"/>
                </a:lnTo>
                <a:lnTo>
                  <a:pt x="5037" y="1299"/>
                </a:lnTo>
                <a:lnTo>
                  <a:pt x="5031" y="1311"/>
                </a:lnTo>
                <a:lnTo>
                  <a:pt x="5031" y="1317"/>
                </a:lnTo>
                <a:lnTo>
                  <a:pt x="5031" y="1317"/>
                </a:lnTo>
                <a:lnTo>
                  <a:pt x="5025" y="1317"/>
                </a:lnTo>
                <a:lnTo>
                  <a:pt x="5025" y="1317"/>
                </a:lnTo>
                <a:lnTo>
                  <a:pt x="5025" y="1317"/>
                </a:lnTo>
                <a:lnTo>
                  <a:pt x="5025" y="1317"/>
                </a:lnTo>
                <a:lnTo>
                  <a:pt x="5025" y="1323"/>
                </a:lnTo>
                <a:lnTo>
                  <a:pt x="5025" y="1323"/>
                </a:lnTo>
                <a:lnTo>
                  <a:pt x="5025" y="1317"/>
                </a:lnTo>
                <a:lnTo>
                  <a:pt x="5031" y="1317"/>
                </a:lnTo>
                <a:lnTo>
                  <a:pt x="5037" y="1311"/>
                </a:lnTo>
                <a:lnTo>
                  <a:pt x="5037" y="1305"/>
                </a:lnTo>
                <a:lnTo>
                  <a:pt x="5037" y="1305"/>
                </a:lnTo>
                <a:lnTo>
                  <a:pt x="5037" y="1299"/>
                </a:lnTo>
                <a:lnTo>
                  <a:pt x="5037" y="1299"/>
                </a:lnTo>
                <a:lnTo>
                  <a:pt x="5043" y="1293"/>
                </a:lnTo>
                <a:lnTo>
                  <a:pt x="5043" y="1293"/>
                </a:lnTo>
                <a:lnTo>
                  <a:pt x="5043" y="1293"/>
                </a:lnTo>
                <a:lnTo>
                  <a:pt x="5043" y="1293"/>
                </a:lnTo>
                <a:lnTo>
                  <a:pt x="5043" y="1293"/>
                </a:lnTo>
                <a:close/>
                <a:moveTo>
                  <a:pt x="4883" y="1773"/>
                </a:moveTo>
                <a:lnTo>
                  <a:pt x="4883" y="1779"/>
                </a:lnTo>
                <a:lnTo>
                  <a:pt x="4889" y="1779"/>
                </a:lnTo>
                <a:lnTo>
                  <a:pt x="4889" y="1779"/>
                </a:lnTo>
                <a:lnTo>
                  <a:pt x="4889" y="1785"/>
                </a:lnTo>
                <a:lnTo>
                  <a:pt x="4889" y="1785"/>
                </a:lnTo>
                <a:lnTo>
                  <a:pt x="4889" y="1785"/>
                </a:lnTo>
                <a:lnTo>
                  <a:pt x="4889" y="1785"/>
                </a:lnTo>
                <a:lnTo>
                  <a:pt x="4889" y="1785"/>
                </a:lnTo>
                <a:lnTo>
                  <a:pt x="4889" y="1785"/>
                </a:lnTo>
                <a:lnTo>
                  <a:pt x="4889" y="1785"/>
                </a:lnTo>
                <a:lnTo>
                  <a:pt x="4889" y="1785"/>
                </a:lnTo>
                <a:lnTo>
                  <a:pt x="4889" y="1785"/>
                </a:lnTo>
                <a:lnTo>
                  <a:pt x="4889" y="1785"/>
                </a:lnTo>
                <a:lnTo>
                  <a:pt x="4895" y="1779"/>
                </a:lnTo>
                <a:lnTo>
                  <a:pt x="4889" y="1779"/>
                </a:lnTo>
                <a:lnTo>
                  <a:pt x="4889" y="1779"/>
                </a:lnTo>
                <a:lnTo>
                  <a:pt x="4889" y="1773"/>
                </a:lnTo>
                <a:lnTo>
                  <a:pt x="4889" y="1773"/>
                </a:lnTo>
                <a:lnTo>
                  <a:pt x="4889" y="1773"/>
                </a:lnTo>
                <a:lnTo>
                  <a:pt x="4889" y="1773"/>
                </a:lnTo>
                <a:lnTo>
                  <a:pt x="4889" y="1773"/>
                </a:lnTo>
                <a:lnTo>
                  <a:pt x="4883" y="1773"/>
                </a:lnTo>
                <a:lnTo>
                  <a:pt x="4883" y="1773"/>
                </a:lnTo>
                <a:lnTo>
                  <a:pt x="4883" y="1773"/>
                </a:lnTo>
                <a:lnTo>
                  <a:pt x="4883" y="1773"/>
                </a:lnTo>
                <a:lnTo>
                  <a:pt x="4883" y="1773"/>
                </a:lnTo>
                <a:lnTo>
                  <a:pt x="4883" y="1773"/>
                </a:lnTo>
                <a:lnTo>
                  <a:pt x="4883" y="1773"/>
                </a:lnTo>
                <a:lnTo>
                  <a:pt x="4883" y="1773"/>
                </a:lnTo>
                <a:lnTo>
                  <a:pt x="4883" y="1773"/>
                </a:lnTo>
                <a:lnTo>
                  <a:pt x="4883" y="1773"/>
                </a:lnTo>
                <a:lnTo>
                  <a:pt x="4883" y="1773"/>
                </a:lnTo>
                <a:lnTo>
                  <a:pt x="4883" y="1773"/>
                </a:lnTo>
                <a:lnTo>
                  <a:pt x="4883" y="1773"/>
                </a:lnTo>
                <a:close/>
                <a:moveTo>
                  <a:pt x="4658" y="2022"/>
                </a:moveTo>
                <a:lnTo>
                  <a:pt x="4658" y="2022"/>
                </a:lnTo>
                <a:lnTo>
                  <a:pt x="4658" y="2022"/>
                </a:lnTo>
                <a:lnTo>
                  <a:pt x="4658" y="2022"/>
                </a:lnTo>
                <a:lnTo>
                  <a:pt x="4652" y="2022"/>
                </a:lnTo>
                <a:lnTo>
                  <a:pt x="4652" y="2022"/>
                </a:lnTo>
                <a:lnTo>
                  <a:pt x="4652" y="2022"/>
                </a:lnTo>
                <a:lnTo>
                  <a:pt x="4652" y="2022"/>
                </a:lnTo>
                <a:lnTo>
                  <a:pt x="4652" y="2022"/>
                </a:lnTo>
                <a:lnTo>
                  <a:pt x="4652" y="2022"/>
                </a:lnTo>
                <a:lnTo>
                  <a:pt x="4658" y="2028"/>
                </a:lnTo>
                <a:lnTo>
                  <a:pt x="4658" y="2028"/>
                </a:lnTo>
                <a:lnTo>
                  <a:pt x="4658" y="2028"/>
                </a:lnTo>
                <a:lnTo>
                  <a:pt x="4658" y="2022"/>
                </a:lnTo>
                <a:lnTo>
                  <a:pt x="4658" y="2017"/>
                </a:lnTo>
                <a:lnTo>
                  <a:pt x="4658" y="2017"/>
                </a:lnTo>
                <a:lnTo>
                  <a:pt x="4658" y="2017"/>
                </a:lnTo>
                <a:lnTo>
                  <a:pt x="4658" y="2022"/>
                </a:lnTo>
                <a:close/>
                <a:moveTo>
                  <a:pt x="4670" y="1987"/>
                </a:moveTo>
                <a:lnTo>
                  <a:pt x="4670" y="1987"/>
                </a:lnTo>
                <a:lnTo>
                  <a:pt x="4670" y="1993"/>
                </a:lnTo>
                <a:lnTo>
                  <a:pt x="4670" y="1993"/>
                </a:lnTo>
                <a:lnTo>
                  <a:pt x="4670" y="1999"/>
                </a:lnTo>
                <a:lnTo>
                  <a:pt x="4670" y="1999"/>
                </a:lnTo>
                <a:lnTo>
                  <a:pt x="4670" y="1999"/>
                </a:lnTo>
                <a:lnTo>
                  <a:pt x="4670" y="1993"/>
                </a:lnTo>
                <a:lnTo>
                  <a:pt x="4670" y="1987"/>
                </a:lnTo>
                <a:lnTo>
                  <a:pt x="4670" y="1987"/>
                </a:lnTo>
                <a:lnTo>
                  <a:pt x="4670" y="1987"/>
                </a:lnTo>
                <a:lnTo>
                  <a:pt x="4670" y="1987"/>
                </a:lnTo>
                <a:lnTo>
                  <a:pt x="4670" y="1987"/>
                </a:lnTo>
                <a:lnTo>
                  <a:pt x="4670" y="1987"/>
                </a:lnTo>
                <a:lnTo>
                  <a:pt x="4670" y="1987"/>
                </a:lnTo>
                <a:lnTo>
                  <a:pt x="4670" y="1987"/>
                </a:lnTo>
                <a:lnTo>
                  <a:pt x="4670" y="1987"/>
                </a:lnTo>
                <a:close/>
                <a:moveTo>
                  <a:pt x="4717" y="1945"/>
                </a:moveTo>
                <a:lnTo>
                  <a:pt x="4717" y="1945"/>
                </a:lnTo>
                <a:lnTo>
                  <a:pt x="4717" y="1945"/>
                </a:lnTo>
                <a:lnTo>
                  <a:pt x="4717" y="1945"/>
                </a:lnTo>
                <a:lnTo>
                  <a:pt x="4711" y="1945"/>
                </a:lnTo>
                <a:lnTo>
                  <a:pt x="4711" y="1945"/>
                </a:lnTo>
                <a:lnTo>
                  <a:pt x="4711" y="1945"/>
                </a:lnTo>
                <a:lnTo>
                  <a:pt x="4711" y="1951"/>
                </a:lnTo>
                <a:lnTo>
                  <a:pt x="4693" y="1957"/>
                </a:lnTo>
                <a:lnTo>
                  <a:pt x="4693" y="1957"/>
                </a:lnTo>
                <a:lnTo>
                  <a:pt x="4693" y="1963"/>
                </a:lnTo>
                <a:lnTo>
                  <a:pt x="4693" y="1963"/>
                </a:lnTo>
                <a:lnTo>
                  <a:pt x="4693" y="1963"/>
                </a:lnTo>
                <a:lnTo>
                  <a:pt x="4693" y="1963"/>
                </a:lnTo>
                <a:lnTo>
                  <a:pt x="4699" y="1957"/>
                </a:lnTo>
                <a:lnTo>
                  <a:pt x="4705" y="1951"/>
                </a:lnTo>
                <a:lnTo>
                  <a:pt x="4705" y="1951"/>
                </a:lnTo>
                <a:lnTo>
                  <a:pt x="4705" y="1951"/>
                </a:lnTo>
                <a:lnTo>
                  <a:pt x="4717" y="1945"/>
                </a:lnTo>
                <a:lnTo>
                  <a:pt x="4717" y="1945"/>
                </a:lnTo>
                <a:lnTo>
                  <a:pt x="4717" y="1945"/>
                </a:lnTo>
                <a:lnTo>
                  <a:pt x="4717" y="1945"/>
                </a:lnTo>
                <a:lnTo>
                  <a:pt x="4717" y="1945"/>
                </a:lnTo>
                <a:lnTo>
                  <a:pt x="4717" y="1945"/>
                </a:lnTo>
                <a:lnTo>
                  <a:pt x="4717" y="1945"/>
                </a:lnTo>
                <a:lnTo>
                  <a:pt x="4717" y="1945"/>
                </a:lnTo>
                <a:lnTo>
                  <a:pt x="4717" y="1945"/>
                </a:lnTo>
                <a:close/>
                <a:moveTo>
                  <a:pt x="4764" y="1922"/>
                </a:moveTo>
                <a:lnTo>
                  <a:pt x="4747" y="1928"/>
                </a:lnTo>
                <a:lnTo>
                  <a:pt x="4747" y="1928"/>
                </a:lnTo>
                <a:lnTo>
                  <a:pt x="4747" y="1928"/>
                </a:lnTo>
                <a:lnTo>
                  <a:pt x="4747" y="1928"/>
                </a:lnTo>
                <a:lnTo>
                  <a:pt x="4770" y="1922"/>
                </a:lnTo>
                <a:lnTo>
                  <a:pt x="4776" y="1922"/>
                </a:lnTo>
                <a:lnTo>
                  <a:pt x="4788" y="1922"/>
                </a:lnTo>
                <a:lnTo>
                  <a:pt x="4788" y="1922"/>
                </a:lnTo>
                <a:lnTo>
                  <a:pt x="4782" y="1922"/>
                </a:lnTo>
                <a:lnTo>
                  <a:pt x="4764" y="1922"/>
                </a:lnTo>
                <a:close/>
                <a:moveTo>
                  <a:pt x="4847" y="1880"/>
                </a:moveTo>
                <a:lnTo>
                  <a:pt x="4847" y="1880"/>
                </a:lnTo>
                <a:lnTo>
                  <a:pt x="4847" y="1880"/>
                </a:lnTo>
                <a:lnTo>
                  <a:pt x="4847" y="1880"/>
                </a:lnTo>
                <a:lnTo>
                  <a:pt x="4847" y="1880"/>
                </a:lnTo>
                <a:lnTo>
                  <a:pt x="4841" y="1880"/>
                </a:lnTo>
                <a:lnTo>
                  <a:pt x="4841" y="1880"/>
                </a:lnTo>
                <a:lnTo>
                  <a:pt x="4841" y="1880"/>
                </a:lnTo>
                <a:lnTo>
                  <a:pt x="4841" y="1880"/>
                </a:lnTo>
                <a:lnTo>
                  <a:pt x="4841" y="1886"/>
                </a:lnTo>
                <a:lnTo>
                  <a:pt x="4841" y="1886"/>
                </a:lnTo>
                <a:lnTo>
                  <a:pt x="4841" y="1886"/>
                </a:lnTo>
                <a:lnTo>
                  <a:pt x="4841" y="1886"/>
                </a:lnTo>
                <a:lnTo>
                  <a:pt x="4841" y="1886"/>
                </a:lnTo>
                <a:lnTo>
                  <a:pt x="4847" y="1880"/>
                </a:lnTo>
                <a:lnTo>
                  <a:pt x="4847" y="1880"/>
                </a:lnTo>
                <a:lnTo>
                  <a:pt x="4847" y="1880"/>
                </a:lnTo>
                <a:lnTo>
                  <a:pt x="4847" y="1880"/>
                </a:lnTo>
                <a:lnTo>
                  <a:pt x="4847" y="1880"/>
                </a:lnTo>
                <a:lnTo>
                  <a:pt x="4847" y="1880"/>
                </a:lnTo>
                <a:lnTo>
                  <a:pt x="4847" y="1880"/>
                </a:lnTo>
                <a:lnTo>
                  <a:pt x="4847" y="1880"/>
                </a:lnTo>
                <a:lnTo>
                  <a:pt x="4847" y="1880"/>
                </a:lnTo>
                <a:lnTo>
                  <a:pt x="4847" y="1880"/>
                </a:lnTo>
                <a:close/>
                <a:moveTo>
                  <a:pt x="4871" y="1862"/>
                </a:moveTo>
                <a:lnTo>
                  <a:pt x="4871" y="1868"/>
                </a:lnTo>
                <a:lnTo>
                  <a:pt x="4865" y="1868"/>
                </a:lnTo>
                <a:lnTo>
                  <a:pt x="4859" y="1874"/>
                </a:lnTo>
                <a:lnTo>
                  <a:pt x="4859" y="1874"/>
                </a:lnTo>
                <a:lnTo>
                  <a:pt x="4859" y="1874"/>
                </a:lnTo>
                <a:lnTo>
                  <a:pt x="4853" y="1874"/>
                </a:lnTo>
                <a:lnTo>
                  <a:pt x="4853" y="1874"/>
                </a:lnTo>
                <a:lnTo>
                  <a:pt x="4853" y="1874"/>
                </a:lnTo>
                <a:lnTo>
                  <a:pt x="4853" y="1880"/>
                </a:lnTo>
                <a:lnTo>
                  <a:pt x="4865" y="1868"/>
                </a:lnTo>
                <a:lnTo>
                  <a:pt x="4871" y="1868"/>
                </a:lnTo>
                <a:lnTo>
                  <a:pt x="4871" y="1868"/>
                </a:lnTo>
                <a:lnTo>
                  <a:pt x="4871" y="1868"/>
                </a:lnTo>
                <a:lnTo>
                  <a:pt x="4871" y="1862"/>
                </a:lnTo>
                <a:lnTo>
                  <a:pt x="4877" y="1862"/>
                </a:lnTo>
                <a:lnTo>
                  <a:pt x="4877" y="1862"/>
                </a:lnTo>
                <a:lnTo>
                  <a:pt x="4877" y="1862"/>
                </a:lnTo>
                <a:lnTo>
                  <a:pt x="4877" y="1862"/>
                </a:lnTo>
                <a:lnTo>
                  <a:pt x="4871" y="1862"/>
                </a:lnTo>
                <a:lnTo>
                  <a:pt x="4871" y="1862"/>
                </a:lnTo>
                <a:close/>
                <a:moveTo>
                  <a:pt x="4907" y="1809"/>
                </a:moveTo>
                <a:lnTo>
                  <a:pt x="4907" y="1803"/>
                </a:lnTo>
                <a:lnTo>
                  <a:pt x="4907" y="1803"/>
                </a:lnTo>
                <a:lnTo>
                  <a:pt x="4907" y="1803"/>
                </a:lnTo>
                <a:lnTo>
                  <a:pt x="4907" y="1797"/>
                </a:lnTo>
                <a:lnTo>
                  <a:pt x="4907" y="1797"/>
                </a:lnTo>
                <a:lnTo>
                  <a:pt x="4907" y="1797"/>
                </a:lnTo>
                <a:lnTo>
                  <a:pt x="4901" y="1791"/>
                </a:lnTo>
                <a:lnTo>
                  <a:pt x="4901" y="1791"/>
                </a:lnTo>
                <a:lnTo>
                  <a:pt x="4901" y="1791"/>
                </a:lnTo>
                <a:lnTo>
                  <a:pt x="4901" y="1791"/>
                </a:lnTo>
                <a:lnTo>
                  <a:pt x="4901" y="1791"/>
                </a:lnTo>
                <a:lnTo>
                  <a:pt x="4901" y="1797"/>
                </a:lnTo>
                <a:lnTo>
                  <a:pt x="4901" y="1797"/>
                </a:lnTo>
                <a:lnTo>
                  <a:pt x="4901" y="1797"/>
                </a:lnTo>
                <a:lnTo>
                  <a:pt x="4901" y="1797"/>
                </a:lnTo>
                <a:lnTo>
                  <a:pt x="4901" y="1803"/>
                </a:lnTo>
                <a:lnTo>
                  <a:pt x="4907" y="1803"/>
                </a:lnTo>
                <a:lnTo>
                  <a:pt x="4907" y="1809"/>
                </a:lnTo>
                <a:lnTo>
                  <a:pt x="4907" y="1809"/>
                </a:lnTo>
                <a:lnTo>
                  <a:pt x="4907" y="1815"/>
                </a:lnTo>
                <a:lnTo>
                  <a:pt x="4907" y="1815"/>
                </a:lnTo>
                <a:lnTo>
                  <a:pt x="4907" y="1821"/>
                </a:lnTo>
                <a:lnTo>
                  <a:pt x="4907" y="1821"/>
                </a:lnTo>
                <a:lnTo>
                  <a:pt x="4907" y="1821"/>
                </a:lnTo>
                <a:lnTo>
                  <a:pt x="4907" y="1821"/>
                </a:lnTo>
                <a:lnTo>
                  <a:pt x="4907" y="1821"/>
                </a:lnTo>
                <a:lnTo>
                  <a:pt x="4907" y="1821"/>
                </a:lnTo>
                <a:lnTo>
                  <a:pt x="4907" y="1821"/>
                </a:lnTo>
                <a:lnTo>
                  <a:pt x="4907" y="1827"/>
                </a:lnTo>
                <a:lnTo>
                  <a:pt x="4907" y="1827"/>
                </a:lnTo>
                <a:lnTo>
                  <a:pt x="4907" y="1827"/>
                </a:lnTo>
                <a:lnTo>
                  <a:pt x="4907" y="1833"/>
                </a:lnTo>
                <a:lnTo>
                  <a:pt x="4907" y="1833"/>
                </a:lnTo>
                <a:lnTo>
                  <a:pt x="4907" y="1833"/>
                </a:lnTo>
                <a:lnTo>
                  <a:pt x="4901" y="1839"/>
                </a:lnTo>
                <a:lnTo>
                  <a:pt x="4901" y="1839"/>
                </a:lnTo>
                <a:lnTo>
                  <a:pt x="4901" y="1839"/>
                </a:lnTo>
                <a:lnTo>
                  <a:pt x="4901" y="1845"/>
                </a:lnTo>
                <a:lnTo>
                  <a:pt x="4901" y="1850"/>
                </a:lnTo>
                <a:lnTo>
                  <a:pt x="4901" y="1850"/>
                </a:lnTo>
                <a:lnTo>
                  <a:pt x="4901" y="1850"/>
                </a:lnTo>
                <a:lnTo>
                  <a:pt x="4901" y="1856"/>
                </a:lnTo>
                <a:lnTo>
                  <a:pt x="4895" y="1856"/>
                </a:lnTo>
                <a:lnTo>
                  <a:pt x="4883" y="1862"/>
                </a:lnTo>
                <a:lnTo>
                  <a:pt x="4883" y="1862"/>
                </a:lnTo>
                <a:lnTo>
                  <a:pt x="4883" y="1862"/>
                </a:lnTo>
                <a:lnTo>
                  <a:pt x="4883" y="1862"/>
                </a:lnTo>
                <a:lnTo>
                  <a:pt x="4883" y="1862"/>
                </a:lnTo>
                <a:lnTo>
                  <a:pt x="4883" y="1856"/>
                </a:lnTo>
                <a:lnTo>
                  <a:pt x="4883" y="1856"/>
                </a:lnTo>
                <a:lnTo>
                  <a:pt x="4883" y="1856"/>
                </a:lnTo>
                <a:lnTo>
                  <a:pt x="4883" y="1856"/>
                </a:lnTo>
                <a:lnTo>
                  <a:pt x="4883" y="1856"/>
                </a:lnTo>
                <a:lnTo>
                  <a:pt x="4883" y="1862"/>
                </a:lnTo>
                <a:lnTo>
                  <a:pt x="4883" y="1862"/>
                </a:lnTo>
                <a:lnTo>
                  <a:pt x="4883" y="1862"/>
                </a:lnTo>
                <a:lnTo>
                  <a:pt x="4883" y="1862"/>
                </a:lnTo>
                <a:lnTo>
                  <a:pt x="4883" y="1862"/>
                </a:lnTo>
                <a:lnTo>
                  <a:pt x="4883" y="1862"/>
                </a:lnTo>
                <a:lnTo>
                  <a:pt x="4883" y="1862"/>
                </a:lnTo>
                <a:lnTo>
                  <a:pt x="4883" y="1862"/>
                </a:lnTo>
                <a:lnTo>
                  <a:pt x="4883" y="1862"/>
                </a:lnTo>
                <a:lnTo>
                  <a:pt x="4883" y="1862"/>
                </a:lnTo>
                <a:lnTo>
                  <a:pt x="4877" y="1862"/>
                </a:lnTo>
                <a:lnTo>
                  <a:pt x="4877" y="1862"/>
                </a:lnTo>
                <a:lnTo>
                  <a:pt x="4877" y="1862"/>
                </a:lnTo>
                <a:lnTo>
                  <a:pt x="4883" y="1862"/>
                </a:lnTo>
                <a:lnTo>
                  <a:pt x="4883" y="1862"/>
                </a:lnTo>
                <a:lnTo>
                  <a:pt x="4883" y="1862"/>
                </a:lnTo>
                <a:lnTo>
                  <a:pt x="4883" y="1862"/>
                </a:lnTo>
                <a:lnTo>
                  <a:pt x="4883" y="1862"/>
                </a:lnTo>
                <a:lnTo>
                  <a:pt x="4883" y="1862"/>
                </a:lnTo>
                <a:lnTo>
                  <a:pt x="4889" y="1862"/>
                </a:lnTo>
                <a:lnTo>
                  <a:pt x="4889" y="1862"/>
                </a:lnTo>
                <a:lnTo>
                  <a:pt x="4889" y="1862"/>
                </a:lnTo>
                <a:lnTo>
                  <a:pt x="4895" y="1856"/>
                </a:lnTo>
                <a:lnTo>
                  <a:pt x="4895" y="1856"/>
                </a:lnTo>
                <a:lnTo>
                  <a:pt x="4895" y="1856"/>
                </a:lnTo>
                <a:lnTo>
                  <a:pt x="4901" y="1856"/>
                </a:lnTo>
                <a:lnTo>
                  <a:pt x="4901" y="1856"/>
                </a:lnTo>
                <a:lnTo>
                  <a:pt x="4901" y="1856"/>
                </a:lnTo>
                <a:lnTo>
                  <a:pt x="4901" y="1856"/>
                </a:lnTo>
                <a:lnTo>
                  <a:pt x="4901" y="1856"/>
                </a:lnTo>
                <a:lnTo>
                  <a:pt x="4901" y="1850"/>
                </a:lnTo>
                <a:lnTo>
                  <a:pt x="4907" y="1845"/>
                </a:lnTo>
                <a:lnTo>
                  <a:pt x="4907" y="1839"/>
                </a:lnTo>
                <a:lnTo>
                  <a:pt x="4907" y="1827"/>
                </a:lnTo>
                <a:lnTo>
                  <a:pt x="4907" y="1821"/>
                </a:lnTo>
                <a:lnTo>
                  <a:pt x="4907" y="1815"/>
                </a:lnTo>
                <a:lnTo>
                  <a:pt x="4907" y="1809"/>
                </a:lnTo>
                <a:lnTo>
                  <a:pt x="4907" y="1809"/>
                </a:lnTo>
                <a:close/>
                <a:moveTo>
                  <a:pt x="4800" y="1934"/>
                </a:moveTo>
                <a:lnTo>
                  <a:pt x="4800" y="1928"/>
                </a:lnTo>
                <a:lnTo>
                  <a:pt x="4800" y="1928"/>
                </a:lnTo>
                <a:lnTo>
                  <a:pt x="4800" y="1928"/>
                </a:lnTo>
                <a:lnTo>
                  <a:pt x="4794" y="1928"/>
                </a:lnTo>
                <a:lnTo>
                  <a:pt x="4788" y="1928"/>
                </a:lnTo>
                <a:lnTo>
                  <a:pt x="4788" y="1928"/>
                </a:lnTo>
                <a:lnTo>
                  <a:pt x="4788" y="1928"/>
                </a:lnTo>
                <a:lnTo>
                  <a:pt x="4788" y="1928"/>
                </a:lnTo>
                <a:lnTo>
                  <a:pt x="4794" y="1928"/>
                </a:lnTo>
                <a:lnTo>
                  <a:pt x="4800" y="1934"/>
                </a:lnTo>
                <a:lnTo>
                  <a:pt x="4800" y="1934"/>
                </a:lnTo>
                <a:lnTo>
                  <a:pt x="4800" y="1934"/>
                </a:lnTo>
                <a:lnTo>
                  <a:pt x="4800" y="1934"/>
                </a:lnTo>
                <a:close/>
                <a:moveTo>
                  <a:pt x="4830" y="1898"/>
                </a:moveTo>
                <a:lnTo>
                  <a:pt x="4830" y="1898"/>
                </a:lnTo>
                <a:lnTo>
                  <a:pt x="4830" y="1898"/>
                </a:lnTo>
                <a:lnTo>
                  <a:pt x="4830" y="1898"/>
                </a:lnTo>
                <a:lnTo>
                  <a:pt x="4824" y="1904"/>
                </a:lnTo>
                <a:lnTo>
                  <a:pt x="4812" y="1910"/>
                </a:lnTo>
                <a:lnTo>
                  <a:pt x="4800" y="1934"/>
                </a:lnTo>
                <a:lnTo>
                  <a:pt x="4800" y="1934"/>
                </a:lnTo>
                <a:lnTo>
                  <a:pt x="4800" y="1934"/>
                </a:lnTo>
                <a:lnTo>
                  <a:pt x="4800" y="1939"/>
                </a:lnTo>
                <a:lnTo>
                  <a:pt x="4800" y="1934"/>
                </a:lnTo>
                <a:lnTo>
                  <a:pt x="4800" y="1934"/>
                </a:lnTo>
                <a:lnTo>
                  <a:pt x="4812" y="1916"/>
                </a:lnTo>
                <a:lnTo>
                  <a:pt x="4818" y="1910"/>
                </a:lnTo>
                <a:lnTo>
                  <a:pt x="4818" y="1904"/>
                </a:lnTo>
                <a:lnTo>
                  <a:pt x="4818" y="1904"/>
                </a:lnTo>
                <a:lnTo>
                  <a:pt x="4824" y="1904"/>
                </a:lnTo>
                <a:lnTo>
                  <a:pt x="4824" y="1904"/>
                </a:lnTo>
                <a:lnTo>
                  <a:pt x="4824" y="1904"/>
                </a:lnTo>
                <a:lnTo>
                  <a:pt x="4830" y="1898"/>
                </a:lnTo>
                <a:lnTo>
                  <a:pt x="4830" y="1898"/>
                </a:lnTo>
                <a:lnTo>
                  <a:pt x="4830" y="1898"/>
                </a:lnTo>
                <a:lnTo>
                  <a:pt x="4835" y="1892"/>
                </a:lnTo>
                <a:lnTo>
                  <a:pt x="4830" y="1892"/>
                </a:lnTo>
                <a:lnTo>
                  <a:pt x="4830" y="1898"/>
                </a:lnTo>
                <a:close/>
                <a:moveTo>
                  <a:pt x="3567" y="2455"/>
                </a:moveTo>
                <a:lnTo>
                  <a:pt x="3561" y="2455"/>
                </a:lnTo>
                <a:lnTo>
                  <a:pt x="3561" y="2455"/>
                </a:lnTo>
                <a:lnTo>
                  <a:pt x="3561" y="2455"/>
                </a:lnTo>
                <a:lnTo>
                  <a:pt x="3567" y="2455"/>
                </a:lnTo>
                <a:lnTo>
                  <a:pt x="3567" y="2455"/>
                </a:lnTo>
                <a:lnTo>
                  <a:pt x="3567" y="2455"/>
                </a:lnTo>
                <a:close/>
                <a:moveTo>
                  <a:pt x="3609" y="2455"/>
                </a:moveTo>
                <a:lnTo>
                  <a:pt x="3609" y="2455"/>
                </a:lnTo>
                <a:lnTo>
                  <a:pt x="3615" y="2455"/>
                </a:lnTo>
                <a:lnTo>
                  <a:pt x="3615" y="2455"/>
                </a:lnTo>
                <a:lnTo>
                  <a:pt x="3615" y="2455"/>
                </a:lnTo>
                <a:lnTo>
                  <a:pt x="3615" y="2455"/>
                </a:lnTo>
                <a:lnTo>
                  <a:pt x="3609" y="2455"/>
                </a:lnTo>
                <a:lnTo>
                  <a:pt x="3609" y="2455"/>
                </a:lnTo>
                <a:close/>
                <a:moveTo>
                  <a:pt x="3550" y="2455"/>
                </a:moveTo>
                <a:lnTo>
                  <a:pt x="3550" y="2455"/>
                </a:lnTo>
                <a:lnTo>
                  <a:pt x="3550" y="2455"/>
                </a:lnTo>
                <a:lnTo>
                  <a:pt x="3550" y="2455"/>
                </a:lnTo>
                <a:lnTo>
                  <a:pt x="3550" y="2455"/>
                </a:lnTo>
                <a:lnTo>
                  <a:pt x="3550" y="2455"/>
                </a:lnTo>
                <a:lnTo>
                  <a:pt x="3550" y="2455"/>
                </a:lnTo>
                <a:lnTo>
                  <a:pt x="3550" y="2455"/>
                </a:lnTo>
                <a:lnTo>
                  <a:pt x="3550" y="2455"/>
                </a:lnTo>
                <a:lnTo>
                  <a:pt x="3550" y="2450"/>
                </a:lnTo>
                <a:lnTo>
                  <a:pt x="3550" y="2450"/>
                </a:lnTo>
                <a:lnTo>
                  <a:pt x="3550" y="2450"/>
                </a:lnTo>
                <a:lnTo>
                  <a:pt x="3550" y="2450"/>
                </a:lnTo>
                <a:lnTo>
                  <a:pt x="3555" y="2450"/>
                </a:lnTo>
                <a:lnTo>
                  <a:pt x="3555" y="2450"/>
                </a:lnTo>
                <a:lnTo>
                  <a:pt x="3555" y="2450"/>
                </a:lnTo>
                <a:lnTo>
                  <a:pt x="3555" y="2450"/>
                </a:lnTo>
                <a:lnTo>
                  <a:pt x="3550" y="2450"/>
                </a:lnTo>
                <a:lnTo>
                  <a:pt x="3550" y="2450"/>
                </a:lnTo>
                <a:lnTo>
                  <a:pt x="3550" y="2450"/>
                </a:lnTo>
                <a:lnTo>
                  <a:pt x="3544" y="2450"/>
                </a:lnTo>
                <a:lnTo>
                  <a:pt x="3544" y="2450"/>
                </a:lnTo>
                <a:lnTo>
                  <a:pt x="3550" y="2450"/>
                </a:lnTo>
                <a:lnTo>
                  <a:pt x="3550" y="2450"/>
                </a:lnTo>
                <a:lnTo>
                  <a:pt x="3550" y="2455"/>
                </a:lnTo>
                <a:lnTo>
                  <a:pt x="3550" y="2455"/>
                </a:lnTo>
                <a:lnTo>
                  <a:pt x="3550" y="2455"/>
                </a:lnTo>
                <a:lnTo>
                  <a:pt x="3550" y="2455"/>
                </a:lnTo>
                <a:lnTo>
                  <a:pt x="3550" y="2455"/>
                </a:lnTo>
                <a:lnTo>
                  <a:pt x="3550" y="2455"/>
                </a:lnTo>
                <a:close/>
                <a:moveTo>
                  <a:pt x="3597" y="2450"/>
                </a:moveTo>
                <a:lnTo>
                  <a:pt x="3597" y="2450"/>
                </a:lnTo>
                <a:lnTo>
                  <a:pt x="3591" y="2450"/>
                </a:lnTo>
                <a:lnTo>
                  <a:pt x="3591" y="2450"/>
                </a:lnTo>
                <a:lnTo>
                  <a:pt x="3585" y="2450"/>
                </a:lnTo>
                <a:lnTo>
                  <a:pt x="3585" y="2450"/>
                </a:lnTo>
                <a:lnTo>
                  <a:pt x="3585" y="2450"/>
                </a:lnTo>
                <a:lnTo>
                  <a:pt x="3585" y="2450"/>
                </a:lnTo>
                <a:lnTo>
                  <a:pt x="3585" y="2450"/>
                </a:lnTo>
                <a:lnTo>
                  <a:pt x="3603" y="2455"/>
                </a:lnTo>
                <a:lnTo>
                  <a:pt x="3603" y="2455"/>
                </a:lnTo>
                <a:lnTo>
                  <a:pt x="3603" y="2455"/>
                </a:lnTo>
                <a:lnTo>
                  <a:pt x="3603" y="2450"/>
                </a:lnTo>
                <a:lnTo>
                  <a:pt x="3603" y="2450"/>
                </a:lnTo>
                <a:lnTo>
                  <a:pt x="3597" y="2450"/>
                </a:lnTo>
                <a:close/>
                <a:moveTo>
                  <a:pt x="4142" y="979"/>
                </a:moveTo>
                <a:lnTo>
                  <a:pt x="4142" y="979"/>
                </a:lnTo>
                <a:lnTo>
                  <a:pt x="4142" y="985"/>
                </a:lnTo>
                <a:lnTo>
                  <a:pt x="4142" y="979"/>
                </a:lnTo>
                <a:lnTo>
                  <a:pt x="4142" y="979"/>
                </a:lnTo>
                <a:lnTo>
                  <a:pt x="4142" y="967"/>
                </a:lnTo>
                <a:lnTo>
                  <a:pt x="4142" y="967"/>
                </a:lnTo>
                <a:lnTo>
                  <a:pt x="4142" y="979"/>
                </a:lnTo>
                <a:close/>
                <a:moveTo>
                  <a:pt x="3846" y="575"/>
                </a:moveTo>
                <a:lnTo>
                  <a:pt x="3846" y="575"/>
                </a:lnTo>
                <a:lnTo>
                  <a:pt x="3846" y="575"/>
                </a:lnTo>
                <a:lnTo>
                  <a:pt x="3846" y="575"/>
                </a:lnTo>
                <a:lnTo>
                  <a:pt x="3846" y="575"/>
                </a:lnTo>
                <a:lnTo>
                  <a:pt x="3840" y="581"/>
                </a:lnTo>
                <a:lnTo>
                  <a:pt x="3846" y="581"/>
                </a:lnTo>
                <a:lnTo>
                  <a:pt x="3846" y="581"/>
                </a:lnTo>
                <a:lnTo>
                  <a:pt x="3846" y="581"/>
                </a:lnTo>
                <a:lnTo>
                  <a:pt x="3846" y="575"/>
                </a:lnTo>
                <a:lnTo>
                  <a:pt x="3852" y="575"/>
                </a:lnTo>
                <a:lnTo>
                  <a:pt x="3852" y="575"/>
                </a:lnTo>
                <a:lnTo>
                  <a:pt x="3846" y="575"/>
                </a:lnTo>
                <a:close/>
                <a:moveTo>
                  <a:pt x="3858" y="563"/>
                </a:moveTo>
                <a:lnTo>
                  <a:pt x="3858" y="563"/>
                </a:lnTo>
                <a:lnTo>
                  <a:pt x="3858" y="563"/>
                </a:lnTo>
                <a:lnTo>
                  <a:pt x="3858" y="563"/>
                </a:lnTo>
                <a:lnTo>
                  <a:pt x="3858" y="558"/>
                </a:lnTo>
                <a:lnTo>
                  <a:pt x="3858" y="558"/>
                </a:lnTo>
                <a:lnTo>
                  <a:pt x="3852" y="558"/>
                </a:lnTo>
                <a:lnTo>
                  <a:pt x="3852" y="558"/>
                </a:lnTo>
                <a:lnTo>
                  <a:pt x="3852" y="563"/>
                </a:lnTo>
                <a:lnTo>
                  <a:pt x="3852" y="569"/>
                </a:lnTo>
                <a:lnTo>
                  <a:pt x="3858" y="569"/>
                </a:lnTo>
                <a:lnTo>
                  <a:pt x="3858" y="569"/>
                </a:lnTo>
                <a:lnTo>
                  <a:pt x="3858" y="569"/>
                </a:lnTo>
                <a:lnTo>
                  <a:pt x="3858" y="569"/>
                </a:lnTo>
                <a:lnTo>
                  <a:pt x="3858" y="563"/>
                </a:lnTo>
                <a:close/>
                <a:moveTo>
                  <a:pt x="3870" y="516"/>
                </a:moveTo>
                <a:lnTo>
                  <a:pt x="3870" y="516"/>
                </a:lnTo>
                <a:lnTo>
                  <a:pt x="3870" y="516"/>
                </a:lnTo>
                <a:lnTo>
                  <a:pt x="3870" y="516"/>
                </a:lnTo>
                <a:lnTo>
                  <a:pt x="3875" y="528"/>
                </a:lnTo>
                <a:lnTo>
                  <a:pt x="3875" y="528"/>
                </a:lnTo>
                <a:lnTo>
                  <a:pt x="3875" y="522"/>
                </a:lnTo>
                <a:lnTo>
                  <a:pt x="3875" y="522"/>
                </a:lnTo>
                <a:lnTo>
                  <a:pt x="3870" y="522"/>
                </a:lnTo>
                <a:lnTo>
                  <a:pt x="3870" y="516"/>
                </a:lnTo>
                <a:close/>
                <a:moveTo>
                  <a:pt x="3905" y="474"/>
                </a:moveTo>
                <a:lnTo>
                  <a:pt x="3911" y="474"/>
                </a:lnTo>
                <a:lnTo>
                  <a:pt x="3905" y="474"/>
                </a:lnTo>
                <a:lnTo>
                  <a:pt x="3905" y="474"/>
                </a:lnTo>
                <a:lnTo>
                  <a:pt x="3899" y="474"/>
                </a:lnTo>
                <a:lnTo>
                  <a:pt x="3899" y="474"/>
                </a:lnTo>
                <a:lnTo>
                  <a:pt x="3899" y="474"/>
                </a:lnTo>
                <a:lnTo>
                  <a:pt x="3899" y="480"/>
                </a:lnTo>
                <a:lnTo>
                  <a:pt x="3899" y="480"/>
                </a:lnTo>
                <a:lnTo>
                  <a:pt x="3899" y="480"/>
                </a:lnTo>
                <a:lnTo>
                  <a:pt x="3899" y="480"/>
                </a:lnTo>
                <a:lnTo>
                  <a:pt x="3899" y="486"/>
                </a:lnTo>
                <a:lnTo>
                  <a:pt x="3899" y="492"/>
                </a:lnTo>
                <a:lnTo>
                  <a:pt x="3893" y="492"/>
                </a:lnTo>
                <a:lnTo>
                  <a:pt x="3893" y="492"/>
                </a:lnTo>
                <a:lnTo>
                  <a:pt x="3899" y="498"/>
                </a:lnTo>
                <a:lnTo>
                  <a:pt x="3899" y="498"/>
                </a:lnTo>
                <a:lnTo>
                  <a:pt x="3905" y="498"/>
                </a:lnTo>
                <a:lnTo>
                  <a:pt x="3905" y="498"/>
                </a:lnTo>
                <a:lnTo>
                  <a:pt x="3911" y="492"/>
                </a:lnTo>
                <a:lnTo>
                  <a:pt x="3911" y="492"/>
                </a:lnTo>
                <a:lnTo>
                  <a:pt x="3905" y="486"/>
                </a:lnTo>
                <a:lnTo>
                  <a:pt x="3905" y="486"/>
                </a:lnTo>
                <a:lnTo>
                  <a:pt x="3905" y="480"/>
                </a:lnTo>
                <a:lnTo>
                  <a:pt x="3905" y="480"/>
                </a:lnTo>
                <a:lnTo>
                  <a:pt x="3905" y="480"/>
                </a:lnTo>
                <a:lnTo>
                  <a:pt x="3905" y="480"/>
                </a:lnTo>
                <a:lnTo>
                  <a:pt x="3905" y="474"/>
                </a:lnTo>
                <a:lnTo>
                  <a:pt x="3905" y="474"/>
                </a:lnTo>
                <a:lnTo>
                  <a:pt x="3905" y="474"/>
                </a:lnTo>
                <a:close/>
                <a:moveTo>
                  <a:pt x="4018" y="469"/>
                </a:moveTo>
                <a:lnTo>
                  <a:pt x="4018" y="469"/>
                </a:lnTo>
                <a:lnTo>
                  <a:pt x="4018" y="463"/>
                </a:lnTo>
                <a:lnTo>
                  <a:pt x="4012" y="469"/>
                </a:lnTo>
                <a:lnTo>
                  <a:pt x="4012" y="469"/>
                </a:lnTo>
                <a:lnTo>
                  <a:pt x="4012" y="469"/>
                </a:lnTo>
                <a:lnTo>
                  <a:pt x="4012" y="469"/>
                </a:lnTo>
                <a:lnTo>
                  <a:pt x="4012" y="469"/>
                </a:lnTo>
                <a:lnTo>
                  <a:pt x="4006" y="463"/>
                </a:lnTo>
                <a:lnTo>
                  <a:pt x="4000" y="463"/>
                </a:lnTo>
                <a:lnTo>
                  <a:pt x="4000" y="469"/>
                </a:lnTo>
                <a:lnTo>
                  <a:pt x="4000" y="469"/>
                </a:lnTo>
                <a:lnTo>
                  <a:pt x="4006" y="474"/>
                </a:lnTo>
                <a:lnTo>
                  <a:pt x="4006" y="474"/>
                </a:lnTo>
                <a:lnTo>
                  <a:pt x="4012" y="480"/>
                </a:lnTo>
                <a:lnTo>
                  <a:pt x="4012" y="480"/>
                </a:lnTo>
                <a:lnTo>
                  <a:pt x="4012" y="480"/>
                </a:lnTo>
                <a:lnTo>
                  <a:pt x="4018" y="480"/>
                </a:lnTo>
                <a:lnTo>
                  <a:pt x="4018" y="480"/>
                </a:lnTo>
                <a:lnTo>
                  <a:pt x="4018" y="474"/>
                </a:lnTo>
                <a:lnTo>
                  <a:pt x="4018" y="474"/>
                </a:lnTo>
                <a:lnTo>
                  <a:pt x="4024" y="469"/>
                </a:lnTo>
                <a:lnTo>
                  <a:pt x="4018" y="469"/>
                </a:lnTo>
                <a:lnTo>
                  <a:pt x="4018" y="469"/>
                </a:lnTo>
                <a:close/>
                <a:moveTo>
                  <a:pt x="3911" y="469"/>
                </a:moveTo>
                <a:lnTo>
                  <a:pt x="3911" y="469"/>
                </a:lnTo>
                <a:lnTo>
                  <a:pt x="3911" y="469"/>
                </a:lnTo>
                <a:lnTo>
                  <a:pt x="3911" y="469"/>
                </a:lnTo>
                <a:lnTo>
                  <a:pt x="3911" y="469"/>
                </a:lnTo>
                <a:lnTo>
                  <a:pt x="3911" y="469"/>
                </a:lnTo>
                <a:lnTo>
                  <a:pt x="3911" y="469"/>
                </a:lnTo>
                <a:lnTo>
                  <a:pt x="3911" y="469"/>
                </a:lnTo>
                <a:lnTo>
                  <a:pt x="3911" y="469"/>
                </a:lnTo>
                <a:lnTo>
                  <a:pt x="3911" y="463"/>
                </a:lnTo>
                <a:lnTo>
                  <a:pt x="3905" y="463"/>
                </a:lnTo>
                <a:lnTo>
                  <a:pt x="3905" y="463"/>
                </a:lnTo>
                <a:lnTo>
                  <a:pt x="3905" y="463"/>
                </a:lnTo>
                <a:lnTo>
                  <a:pt x="3905" y="463"/>
                </a:lnTo>
                <a:lnTo>
                  <a:pt x="3905" y="463"/>
                </a:lnTo>
                <a:lnTo>
                  <a:pt x="3905" y="469"/>
                </a:lnTo>
                <a:lnTo>
                  <a:pt x="3905" y="469"/>
                </a:lnTo>
                <a:lnTo>
                  <a:pt x="3911" y="469"/>
                </a:lnTo>
                <a:lnTo>
                  <a:pt x="3911" y="469"/>
                </a:lnTo>
                <a:close/>
                <a:moveTo>
                  <a:pt x="4024" y="445"/>
                </a:moveTo>
                <a:lnTo>
                  <a:pt x="4024" y="445"/>
                </a:lnTo>
                <a:lnTo>
                  <a:pt x="4018" y="445"/>
                </a:lnTo>
                <a:lnTo>
                  <a:pt x="4018" y="445"/>
                </a:lnTo>
                <a:lnTo>
                  <a:pt x="4018" y="439"/>
                </a:lnTo>
                <a:lnTo>
                  <a:pt x="4018" y="439"/>
                </a:lnTo>
                <a:lnTo>
                  <a:pt x="4018" y="439"/>
                </a:lnTo>
                <a:lnTo>
                  <a:pt x="4012" y="439"/>
                </a:lnTo>
                <a:lnTo>
                  <a:pt x="4012" y="439"/>
                </a:lnTo>
                <a:lnTo>
                  <a:pt x="4012" y="445"/>
                </a:lnTo>
                <a:lnTo>
                  <a:pt x="4012" y="445"/>
                </a:lnTo>
                <a:lnTo>
                  <a:pt x="4018" y="445"/>
                </a:lnTo>
                <a:lnTo>
                  <a:pt x="4018" y="445"/>
                </a:lnTo>
                <a:lnTo>
                  <a:pt x="4018" y="445"/>
                </a:lnTo>
                <a:lnTo>
                  <a:pt x="4012" y="445"/>
                </a:lnTo>
                <a:lnTo>
                  <a:pt x="4018" y="445"/>
                </a:lnTo>
                <a:lnTo>
                  <a:pt x="4018" y="445"/>
                </a:lnTo>
                <a:lnTo>
                  <a:pt x="4024" y="445"/>
                </a:lnTo>
                <a:lnTo>
                  <a:pt x="4024" y="445"/>
                </a:lnTo>
                <a:close/>
                <a:moveTo>
                  <a:pt x="4071" y="445"/>
                </a:moveTo>
                <a:lnTo>
                  <a:pt x="4071" y="445"/>
                </a:lnTo>
                <a:lnTo>
                  <a:pt x="4071" y="439"/>
                </a:lnTo>
                <a:lnTo>
                  <a:pt x="4071" y="439"/>
                </a:lnTo>
                <a:lnTo>
                  <a:pt x="4071" y="445"/>
                </a:lnTo>
                <a:lnTo>
                  <a:pt x="4071" y="445"/>
                </a:lnTo>
                <a:lnTo>
                  <a:pt x="4071" y="445"/>
                </a:lnTo>
                <a:lnTo>
                  <a:pt x="4077" y="445"/>
                </a:lnTo>
                <a:lnTo>
                  <a:pt x="4077" y="451"/>
                </a:lnTo>
                <a:lnTo>
                  <a:pt x="4077" y="451"/>
                </a:lnTo>
                <a:lnTo>
                  <a:pt x="4077" y="451"/>
                </a:lnTo>
                <a:lnTo>
                  <a:pt x="4077" y="445"/>
                </a:lnTo>
                <a:lnTo>
                  <a:pt x="4077" y="445"/>
                </a:lnTo>
                <a:lnTo>
                  <a:pt x="4083" y="445"/>
                </a:lnTo>
                <a:lnTo>
                  <a:pt x="4083" y="445"/>
                </a:lnTo>
                <a:lnTo>
                  <a:pt x="4083" y="451"/>
                </a:lnTo>
                <a:lnTo>
                  <a:pt x="4083" y="451"/>
                </a:lnTo>
                <a:lnTo>
                  <a:pt x="4089" y="451"/>
                </a:lnTo>
                <a:lnTo>
                  <a:pt x="4089" y="445"/>
                </a:lnTo>
                <a:lnTo>
                  <a:pt x="4089" y="445"/>
                </a:lnTo>
                <a:lnTo>
                  <a:pt x="4095" y="451"/>
                </a:lnTo>
                <a:lnTo>
                  <a:pt x="4095" y="451"/>
                </a:lnTo>
                <a:lnTo>
                  <a:pt x="4101" y="451"/>
                </a:lnTo>
                <a:lnTo>
                  <a:pt x="4101" y="451"/>
                </a:lnTo>
                <a:lnTo>
                  <a:pt x="4107" y="451"/>
                </a:lnTo>
                <a:lnTo>
                  <a:pt x="4107" y="445"/>
                </a:lnTo>
                <a:lnTo>
                  <a:pt x="4107" y="445"/>
                </a:lnTo>
                <a:lnTo>
                  <a:pt x="4107" y="439"/>
                </a:lnTo>
                <a:lnTo>
                  <a:pt x="4107" y="439"/>
                </a:lnTo>
                <a:lnTo>
                  <a:pt x="4107" y="439"/>
                </a:lnTo>
                <a:lnTo>
                  <a:pt x="4107" y="439"/>
                </a:lnTo>
                <a:lnTo>
                  <a:pt x="4101" y="433"/>
                </a:lnTo>
                <a:lnTo>
                  <a:pt x="4101" y="433"/>
                </a:lnTo>
                <a:lnTo>
                  <a:pt x="4101" y="427"/>
                </a:lnTo>
                <a:lnTo>
                  <a:pt x="4101" y="427"/>
                </a:lnTo>
                <a:lnTo>
                  <a:pt x="4095" y="427"/>
                </a:lnTo>
                <a:lnTo>
                  <a:pt x="4089" y="427"/>
                </a:lnTo>
                <a:lnTo>
                  <a:pt x="4083" y="427"/>
                </a:lnTo>
                <a:lnTo>
                  <a:pt x="4083" y="427"/>
                </a:lnTo>
                <a:lnTo>
                  <a:pt x="4089" y="427"/>
                </a:lnTo>
                <a:lnTo>
                  <a:pt x="4089" y="427"/>
                </a:lnTo>
                <a:lnTo>
                  <a:pt x="4089" y="427"/>
                </a:lnTo>
                <a:lnTo>
                  <a:pt x="4089" y="433"/>
                </a:lnTo>
                <a:lnTo>
                  <a:pt x="4089" y="433"/>
                </a:lnTo>
                <a:lnTo>
                  <a:pt x="4089" y="433"/>
                </a:lnTo>
                <a:lnTo>
                  <a:pt x="4089" y="433"/>
                </a:lnTo>
                <a:lnTo>
                  <a:pt x="4083" y="433"/>
                </a:lnTo>
                <a:lnTo>
                  <a:pt x="4083" y="433"/>
                </a:lnTo>
                <a:lnTo>
                  <a:pt x="4083" y="439"/>
                </a:lnTo>
                <a:lnTo>
                  <a:pt x="4077" y="439"/>
                </a:lnTo>
                <a:lnTo>
                  <a:pt x="4077" y="439"/>
                </a:lnTo>
                <a:lnTo>
                  <a:pt x="4077" y="439"/>
                </a:lnTo>
                <a:lnTo>
                  <a:pt x="4077" y="439"/>
                </a:lnTo>
                <a:lnTo>
                  <a:pt x="4077" y="439"/>
                </a:lnTo>
                <a:lnTo>
                  <a:pt x="4071" y="439"/>
                </a:lnTo>
                <a:lnTo>
                  <a:pt x="4071" y="439"/>
                </a:lnTo>
                <a:lnTo>
                  <a:pt x="4071" y="439"/>
                </a:lnTo>
                <a:lnTo>
                  <a:pt x="4065" y="439"/>
                </a:lnTo>
                <a:lnTo>
                  <a:pt x="4071" y="445"/>
                </a:lnTo>
                <a:lnTo>
                  <a:pt x="4071" y="445"/>
                </a:lnTo>
                <a:close/>
                <a:moveTo>
                  <a:pt x="4041" y="391"/>
                </a:moveTo>
                <a:lnTo>
                  <a:pt x="4041" y="391"/>
                </a:lnTo>
                <a:lnTo>
                  <a:pt x="4035" y="391"/>
                </a:lnTo>
                <a:lnTo>
                  <a:pt x="4035" y="391"/>
                </a:lnTo>
                <a:lnTo>
                  <a:pt x="4035" y="397"/>
                </a:lnTo>
                <a:lnTo>
                  <a:pt x="4035" y="397"/>
                </a:lnTo>
                <a:lnTo>
                  <a:pt x="4041" y="403"/>
                </a:lnTo>
                <a:lnTo>
                  <a:pt x="4041" y="403"/>
                </a:lnTo>
                <a:lnTo>
                  <a:pt x="4041" y="403"/>
                </a:lnTo>
                <a:lnTo>
                  <a:pt x="4047" y="403"/>
                </a:lnTo>
                <a:lnTo>
                  <a:pt x="4047" y="403"/>
                </a:lnTo>
                <a:lnTo>
                  <a:pt x="4047" y="397"/>
                </a:lnTo>
                <a:lnTo>
                  <a:pt x="4041" y="391"/>
                </a:lnTo>
                <a:close/>
                <a:moveTo>
                  <a:pt x="3787" y="368"/>
                </a:moveTo>
                <a:lnTo>
                  <a:pt x="3787" y="368"/>
                </a:lnTo>
                <a:lnTo>
                  <a:pt x="3793" y="368"/>
                </a:lnTo>
                <a:lnTo>
                  <a:pt x="3793" y="368"/>
                </a:lnTo>
                <a:lnTo>
                  <a:pt x="3793" y="374"/>
                </a:lnTo>
                <a:lnTo>
                  <a:pt x="3793" y="374"/>
                </a:lnTo>
                <a:lnTo>
                  <a:pt x="3793" y="374"/>
                </a:lnTo>
                <a:lnTo>
                  <a:pt x="3793" y="374"/>
                </a:lnTo>
                <a:lnTo>
                  <a:pt x="3793" y="374"/>
                </a:lnTo>
                <a:lnTo>
                  <a:pt x="3793" y="368"/>
                </a:lnTo>
                <a:lnTo>
                  <a:pt x="3793" y="368"/>
                </a:lnTo>
                <a:lnTo>
                  <a:pt x="3793" y="374"/>
                </a:lnTo>
                <a:lnTo>
                  <a:pt x="3793" y="374"/>
                </a:lnTo>
                <a:lnTo>
                  <a:pt x="3793" y="374"/>
                </a:lnTo>
                <a:lnTo>
                  <a:pt x="3798" y="374"/>
                </a:lnTo>
                <a:lnTo>
                  <a:pt x="3798" y="374"/>
                </a:lnTo>
                <a:lnTo>
                  <a:pt x="3798" y="368"/>
                </a:lnTo>
                <a:lnTo>
                  <a:pt x="3798" y="368"/>
                </a:lnTo>
                <a:lnTo>
                  <a:pt x="3798" y="368"/>
                </a:lnTo>
                <a:lnTo>
                  <a:pt x="3793" y="368"/>
                </a:lnTo>
                <a:lnTo>
                  <a:pt x="3793" y="368"/>
                </a:lnTo>
                <a:lnTo>
                  <a:pt x="3793" y="368"/>
                </a:lnTo>
                <a:lnTo>
                  <a:pt x="3793" y="368"/>
                </a:lnTo>
                <a:lnTo>
                  <a:pt x="3798" y="362"/>
                </a:lnTo>
                <a:lnTo>
                  <a:pt x="3793" y="362"/>
                </a:lnTo>
                <a:lnTo>
                  <a:pt x="3793" y="362"/>
                </a:lnTo>
                <a:lnTo>
                  <a:pt x="3793" y="356"/>
                </a:lnTo>
                <a:lnTo>
                  <a:pt x="3793" y="356"/>
                </a:lnTo>
                <a:lnTo>
                  <a:pt x="3787" y="356"/>
                </a:lnTo>
                <a:lnTo>
                  <a:pt x="3787" y="362"/>
                </a:lnTo>
                <a:lnTo>
                  <a:pt x="3787" y="362"/>
                </a:lnTo>
                <a:lnTo>
                  <a:pt x="3787" y="368"/>
                </a:lnTo>
                <a:lnTo>
                  <a:pt x="3787" y="368"/>
                </a:lnTo>
                <a:close/>
                <a:moveTo>
                  <a:pt x="3603" y="255"/>
                </a:moveTo>
                <a:lnTo>
                  <a:pt x="3603" y="261"/>
                </a:lnTo>
                <a:lnTo>
                  <a:pt x="3597" y="261"/>
                </a:lnTo>
                <a:lnTo>
                  <a:pt x="3597" y="261"/>
                </a:lnTo>
                <a:lnTo>
                  <a:pt x="3597" y="267"/>
                </a:lnTo>
                <a:lnTo>
                  <a:pt x="3597" y="273"/>
                </a:lnTo>
                <a:lnTo>
                  <a:pt x="3597" y="273"/>
                </a:lnTo>
                <a:lnTo>
                  <a:pt x="3609" y="273"/>
                </a:lnTo>
                <a:lnTo>
                  <a:pt x="3609" y="279"/>
                </a:lnTo>
                <a:lnTo>
                  <a:pt x="3609" y="279"/>
                </a:lnTo>
                <a:lnTo>
                  <a:pt x="3609" y="279"/>
                </a:lnTo>
                <a:lnTo>
                  <a:pt x="3615" y="279"/>
                </a:lnTo>
                <a:lnTo>
                  <a:pt x="3615" y="279"/>
                </a:lnTo>
                <a:lnTo>
                  <a:pt x="3615" y="273"/>
                </a:lnTo>
                <a:lnTo>
                  <a:pt x="3615" y="273"/>
                </a:lnTo>
                <a:lnTo>
                  <a:pt x="3615" y="273"/>
                </a:lnTo>
                <a:lnTo>
                  <a:pt x="3615" y="273"/>
                </a:lnTo>
                <a:lnTo>
                  <a:pt x="3615" y="267"/>
                </a:lnTo>
                <a:lnTo>
                  <a:pt x="3615" y="267"/>
                </a:lnTo>
                <a:lnTo>
                  <a:pt x="3621" y="267"/>
                </a:lnTo>
                <a:lnTo>
                  <a:pt x="3621" y="267"/>
                </a:lnTo>
                <a:lnTo>
                  <a:pt x="3621" y="273"/>
                </a:lnTo>
                <a:lnTo>
                  <a:pt x="3615" y="279"/>
                </a:lnTo>
                <a:lnTo>
                  <a:pt x="3615" y="279"/>
                </a:lnTo>
                <a:lnTo>
                  <a:pt x="3615" y="279"/>
                </a:lnTo>
                <a:lnTo>
                  <a:pt x="3615" y="285"/>
                </a:lnTo>
                <a:lnTo>
                  <a:pt x="3609" y="285"/>
                </a:lnTo>
                <a:lnTo>
                  <a:pt x="3609" y="285"/>
                </a:lnTo>
                <a:lnTo>
                  <a:pt x="3609" y="285"/>
                </a:lnTo>
                <a:lnTo>
                  <a:pt x="3615" y="297"/>
                </a:lnTo>
                <a:lnTo>
                  <a:pt x="3615" y="297"/>
                </a:lnTo>
                <a:lnTo>
                  <a:pt x="3621" y="297"/>
                </a:lnTo>
                <a:lnTo>
                  <a:pt x="3621" y="291"/>
                </a:lnTo>
                <a:lnTo>
                  <a:pt x="3627" y="285"/>
                </a:lnTo>
                <a:lnTo>
                  <a:pt x="3627" y="279"/>
                </a:lnTo>
                <a:lnTo>
                  <a:pt x="3627" y="279"/>
                </a:lnTo>
                <a:lnTo>
                  <a:pt x="3633" y="279"/>
                </a:lnTo>
                <a:lnTo>
                  <a:pt x="3633" y="273"/>
                </a:lnTo>
                <a:lnTo>
                  <a:pt x="3633" y="273"/>
                </a:lnTo>
                <a:lnTo>
                  <a:pt x="3633" y="273"/>
                </a:lnTo>
                <a:lnTo>
                  <a:pt x="3633" y="273"/>
                </a:lnTo>
                <a:lnTo>
                  <a:pt x="3633" y="273"/>
                </a:lnTo>
                <a:lnTo>
                  <a:pt x="3633" y="273"/>
                </a:lnTo>
                <a:lnTo>
                  <a:pt x="3633" y="267"/>
                </a:lnTo>
                <a:lnTo>
                  <a:pt x="3638" y="267"/>
                </a:lnTo>
                <a:lnTo>
                  <a:pt x="3638" y="261"/>
                </a:lnTo>
                <a:lnTo>
                  <a:pt x="3638" y="261"/>
                </a:lnTo>
                <a:lnTo>
                  <a:pt x="3638" y="261"/>
                </a:lnTo>
                <a:lnTo>
                  <a:pt x="3638" y="261"/>
                </a:lnTo>
                <a:lnTo>
                  <a:pt x="3644" y="261"/>
                </a:lnTo>
                <a:lnTo>
                  <a:pt x="3644" y="255"/>
                </a:lnTo>
                <a:lnTo>
                  <a:pt x="3644" y="255"/>
                </a:lnTo>
                <a:lnTo>
                  <a:pt x="3650" y="255"/>
                </a:lnTo>
                <a:lnTo>
                  <a:pt x="3650" y="255"/>
                </a:lnTo>
                <a:lnTo>
                  <a:pt x="3650" y="249"/>
                </a:lnTo>
                <a:lnTo>
                  <a:pt x="3650" y="249"/>
                </a:lnTo>
                <a:lnTo>
                  <a:pt x="3656" y="249"/>
                </a:lnTo>
                <a:lnTo>
                  <a:pt x="3656" y="249"/>
                </a:lnTo>
                <a:lnTo>
                  <a:pt x="3662" y="243"/>
                </a:lnTo>
                <a:lnTo>
                  <a:pt x="3662" y="243"/>
                </a:lnTo>
                <a:lnTo>
                  <a:pt x="3656" y="237"/>
                </a:lnTo>
                <a:lnTo>
                  <a:pt x="3656" y="237"/>
                </a:lnTo>
                <a:lnTo>
                  <a:pt x="3656" y="237"/>
                </a:lnTo>
                <a:lnTo>
                  <a:pt x="3656" y="237"/>
                </a:lnTo>
                <a:lnTo>
                  <a:pt x="3662" y="237"/>
                </a:lnTo>
                <a:lnTo>
                  <a:pt x="3668" y="237"/>
                </a:lnTo>
                <a:lnTo>
                  <a:pt x="3668" y="237"/>
                </a:lnTo>
                <a:lnTo>
                  <a:pt x="3674" y="237"/>
                </a:lnTo>
                <a:lnTo>
                  <a:pt x="3674" y="237"/>
                </a:lnTo>
                <a:lnTo>
                  <a:pt x="3680" y="237"/>
                </a:lnTo>
                <a:lnTo>
                  <a:pt x="3680" y="237"/>
                </a:lnTo>
                <a:lnTo>
                  <a:pt x="3686" y="237"/>
                </a:lnTo>
                <a:lnTo>
                  <a:pt x="3686" y="231"/>
                </a:lnTo>
                <a:lnTo>
                  <a:pt x="3686" y="231"/>
                </a:lnTo>
                <a:lnTo>
                  <a:pt x="3686" y="231"/>
                </a:lnTo>
                <a:lnTo>
                  <a:pt x="3686" y="231"/>
                </a:lnTo>
                <a:lnTo>
                  <a:pt x="3680" y="225"/>
                </a:lnTo>
                <a:lnTo>
                  <a:pt x="3680" y="225"/>
                </a:lnTo>
                <a:lnTo>
                  <a:pt x="3674" y="225"/>
                </a:lnTo>
                <a:lnTo>
                  <a:pt x="3650" y="225"/>
                </a:lnTo>
                <a:lnTo>
                  <a:pt x="3644" y="225"/>
                </a:lnTo>
                <a:lnTo>
                  <a:pt x="3638" y="231"/>
                </a:lnTo>
                <a:lnTo>
                  <a:pt x="3638" y="231"/>
                </a:lnTo>
                <a:lnTo>
                  <a:pt x="3633" y="231"/>
                </a:lnTo>
                <a:lnTo>
                  <a:pt x="3633" y="231"/>
                </a:lnTo>
                <a:lnTo>
                  <a:pt x="3633" y="231"/>
                </a:lnTo>
                <a:lnTo>
                  <a:pt x="3633" y="231"/>
                </a:lnTo>
                <a:lnTo>
                  <a:pt x="3633" y="231"/>
                </a:lnTo>
                <a:lnTo>
                  <a:pt x="3627" y="231"/>
                </a:lnTo>
                <a:lnTo>
                  <a:pt x="3627" y="231"/>
                </a:lnTo>
                <a:lnTo>
                  <a:pt x="3621" y="237"/>
                </a:lnTo>
                <a:lnTo>
                  <a:pt x="3615" y="243"/>
                </a:lnTo>
                <a:lnTo>
                  <a:pt x="3609" y="255"/>
                </a:lnTo>
                <a:lnTo>
                  <a:pt x="3603" y="255"/>
                </a:lnTo>
                <a:close/>
                <a:moveTo>
                  <a:pt x="3538" y="166"/>
                </a:moveTo>
                <a:lnTo>
                  <a:pt x="3538" y="166"/>
                </a:lnTo>
                <a:lnTo>
                  <a:pt x="3538" y="166"/>
                </a:lnTo>
                <a:lnTo>
                  <a:pt x="3538" y="172"/>
                </a:lnTo>
                <a:lnTo>
                  <a:pt x="3538" y="172"/>
                </a:lnTo>
                <a:lnTo>
                  <a:pt x="3538" y="172"/>
                </a:lnTo>
                <a:lnTo>
                  <a:pt x="3538" y="172"/>
                </a:lnTo>
                <a:lnTo>
                  <a:pt x="3544" y="172"/>
                </a:lnTo>
                <a:lnTo>
                  <a:pt x="3544" y="172"/>
                </a:lnTo>
                <a:lnTo>
                  <a:pt x="3544" y="172"/>
                </a:lnTo>
                <a:lnTo>
                  <a:pt x="3561" y="166"/>
                </a:lnTo>
                <a:lnTo>
                  <a:pt x="3567" y="166"/>
                </a:lnTo>
                <a:lnTo>
                  <a:pt x="3567" y="160"/>
                </a:lnTo>
                <a:lnTo>
                  <a:pt x="3561" y="160"/>
                </a:lnTo>
                <a:lnTo>
                  <a:pt x="3561" y="160"/>
                </a:lnTo>
                <a:lnTo>
                  <a:pt x="3561" y="160"/>
                </a:lnTo>
                <a:lnTo>
                  <a:pt x="3561" y="154"/>
                </a:lnTo>
                <a:lnTo>
                  <a:pt x="3591" y="148"/>
                </a:lnTo>
                <a:lnTo>
                  <a:pt x="3597" y="142"/>
                </a:lnTo>
                <a:lnTo>
                  <a:pt x="3597" y="136"/>
                </a:lnTo>
                <a:lnTo>
                  <a:pt x="3597" y="136"/>
                </a:lnTo>
                <a:lnTo>
                  <a:pt x="3597" y="136"/>
                </a:lnTo>
                <a:lnTo>
                  <a:pt x="3597" y="136"/>
                </a:lnTo>
                <a:lnTo>
                  <a:pt x="3597" y="136"/>
                </a:lnTo>
                <a:lnTo>
                  <a:pt x="3603" y="130"/>
                </a:lnTo>
                <a:lnTo>
                  <a:pt x="3609" y="125"/>
                </a:lnTo>
                <a:lnTo>
                  <a:pt x="3609" y="125"/>
                </a:lnTo>
                <a:lnTo>
                  <a:pt x="3615" y="125"/>
                </a:lnTo>
                <a:lnTo>
                  <a:pt x="3615" y="119"/>
                </a:lnTo>
                <a:lnTo>
                  <a:pt x="3615" y="119"/>
                </a:lnTo>
                <a:lnTo>
                  <a:pt x="3615" y="125"/>
                </a:lnTo>
                <a:lnTo>
                  <a:pt x="3609" y="125"/>
                </a:lnTo>
                <a:lnTo>
                  <a:pt x="3609" y="125"/>
                </a:lnTo>
                <a:lnTo>
                  <a:pt x="3609" y="125"/>
                </a:lnTo>
                <a:lnTo>
                  <a:pt x="3609" y="119"/>
                </a:lnTo>
                <a:lnTo>
                  <a:pt x="3609" y="119"/>
                </a:lnTo>
                <a:lnTo>
                  <a:pt x="3603" y="125"/>
                </a:lnTo>
                <a:lnTo>
                  <a:pt x="3603" y="125"/>
                </a:lnTo>
                <a:lnTo>
                  <a:pt x="3597" y="125"/>
                </a:lnTo>
                <a:lnTo>
                  <a:pt x="3597" y="125"/>
                </a:lnTo>
                <a:lnTo>
                  <a:pt x="3597" y="125"/>
                </a:lnTo>
                <a:lnTo>
                  <a:pt x="3585" y="130"/>
                </a:lnTo>
                <a:lnTo>
                  <a:pt x="3585" y="130"/>
                </a:lnTo>
                <a:lnTo>
                  <a:pt x="3585" y="130"/>
                </a:lnTo>
                <a:lnTo>
                  <a:pt x="3579" y="136"/>
                </a:lnTo>
                <a:lnTo>
                  <a:pt x="3573" y="136"/>
                </a:lnTo>
                <a:lnTo>
                  <a:pt x="3573" y="136"/>
                </a:lnTo>
                <a:lnTo>
                  <a:pt x="3573" y="142"/>
                </a:lnTo>
                <a:lnTo>
                  <a:pt x="3567" y="142"/>
                </a:lnTo>
                <a:lnTo>
                  <a:pt x="3567" y="142"/>
                </a:lnTo>
                <a:lnTo>
                  <a:pt x="3561" y="142"/>
                </a:lnTo>
                <a:lnTo>
                  <a:pt x="3561" y="148"/>
                </a:lnTo>
                <a:lnTo>
                  <a:pt x="3550" y="154"/>
                </a:lnTo>
                <a:lnTo>
                  <a:pt x="3538" y="160"/>
                </a:lnTo>
                <a:lnTo>
                  <a:pt x="3538" y="160"/>
                </a:lnTo>
                <a:lnTo>
                  <a:pt x="3538" y="160"/>
                </a:lnTo>
                <a:lnTo>
                  <a:pt x="3544" y="160"/>
                </a:lnTo>
                <a:lnTo>
                  <a:pt x="3544" y="160"/>
                </a:lnTo>
                <a:lnTo>
                  <a:pt x="3538" y="166"/>
                </a:lnTo>
                <a:close/>
                <a:moveTo>
                  <a:pt x="5481" y="747"/>
                </a:moveTo>
                <a:lnTo>
                  <a:pt x="5481" y="747"/>
                </a:lnTo>
                <a:lnTo>
                  <a:pt x="5481" y="747"/>
                </a:lnTo>
                <a:lnTo>
                  <a:pt x="5481" y="747"/>
                </a:lnTo>
                <a:lnTo>
                  <a:pt x="5481" y="753"/>
                </a:lnTo>
                <a:lnTo>
                  <a:pt x="5487" y="753"/>
                </a:lnTo>
                <a:lnTo>
                  <a:pt x="5487" y="747"/>
                </a:lnTo>
                <a:lnTo>
                  <a:pt x="5487" y="747"/>
                </a:lnTo>
                <a:lnTo>
                  <a:pt x="5487" y="747"/>
                </a:lnTo>
                <a:lnTo>
                  <a:pt x="5487" y="747"/>
                </a:lnTo>
                <a:lnTo>
                  <a:pt x="5481" y="741"/>
                </a:lnTo>
                <a:lnTo>
                  <a:pt x="5481" y="747"/>
                </a:lnTo>
                <a:close/>
                <a:moveTo>
                  <a:pt x="5481" y="730"/>
                </a:moveTo>
                <a:lnTo>
                  <a:pt x="5481" y="730"/>
                </a:lnTo>
                <a:lnTo>
                  <a:pt x="5481" y="724"/>
                </a:lnTo>
                <a:lnTo>
                  <a:pt x="5481" y="730"/>
                </a:lnTo>
                <a:lnTo>
                  <a:pt x="5481" y="730"/>
                </a:lnTo>
                <a:lnTo>
                  <a:pt x="5481" y="730"/>
                </a:lnTo>
                <a:lnTo>
                  <a:pt x="5481" y="735"/>
                </a:lnTo>
                <a:lnTo>
                  <a:pt x="5475" y="735"/>
                </a:lnTo>
                <a:lnTo>
                  <a:pt x="5475" y="735"/>
                </a:lnTo>
                <a:lnTo>
                  <a:pt x="5475" y="735"/>
                </a:lnTo>
                <a:lnTo>
                  <a:pt x="5475"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0"/>
                </a:lnTo>
                <a:lnTo>
                  <a:pt x="5481" y="730"/>
                </a:lnTo>
                <a:close/>
                <a:moveTo>
                  <a:pt x="5588" y="712"/>
                </a:moveTo>
                <a:lnTo>
                  <a:pt x="5588" y="712"/>
                </a:lnTo>
                <a:lnTo>
                  <a:pt x="5588" y="712"/>
                </a:lnTo>
                <a:lnTo>
                  <a:pt x="5588" y="712"/>
                </a:lnTo>
                <a:lnTo>
                  <a:pt x="5582" y="712"/>
                </a:lnTo>
                <a:lnTo>
                  <a:pt x="5582" y="718"/>
                </a:lnTo>
                <a:lnTo>
                  <a:pt x="5582" y="718"/>
                </a:lnTo>
                <a:lnTo>
                  <a:pt x="5582" y="718"/>
                </a:lnTo>
                <a:lnTo>
                  <a:pt x="5582" y="718"/>
                </a:lnTo>
                <a:lnTo>
                  <a:pt x="5588" y="718"/>
                </a:lnTo>
                <a:lnTo>
                  <a:pt x="5588" y="718"/>
                </a:lnTo>
                <a:lnTo>
                  <a:pt x="5588" y="718"/>
                </a:lnTo>
                <a:lnTo>
                  <a:pt x="5588" y="718"/>
                </a:lnTo>
                <a:lnTo>
                  <a:pt x="5588" y="712"/>
                </a:lnTo>
                <a:lnTo>
                  <a:pt x="5588" y="712"/>
                </a:lnTo>
                <a:close/>
                <a:moveTo>
                  <a:pt x="5570" y="712"/>
                </a:moveTo>
                <a:lnTo>
                  <a:pt x="5570" y="712"/>
                </a:lnTo>
                <a:lnTo>
                  <a:pt x="5570" y="712"/>
                </a:lnTo>
                <a:lnTo>
                  <a:pt x="5564" y="712"/>
                </a:lnTo>
                <a:lnTo>
                  <a:pt x="5564" y="712"/>
                </a:lnTo>
                <a:lnTo>
                  <a:pt x="5564" y="706"/>
                </a:lnTo>
                <a:lnTo>
                  <a:pt x="5564" y="706"/>
                </a:lnTo>
                <a:lnTo>
                  <a:pt x="5558" y="706"/>
                </a:lnTo>
                <a:lnTo>
                  <a:pt x="5558" y="706"/>
                </a:lnTo>
                <a:lnTo>
                  <a:pt x="5558" y="712"/>
                </a:lnTo>
                <a:lnTo>
                  <a:pt x="5564" y="712"/>
                </a:lnTo>
                <a:lnTo>
                  <a:pt x="5564" y="712"/>
                </a:lnTo>
                <a:lnTo>
                  <a:pt x="5564" y="712"/>
                </a:lnTo>
                <a:lnTo>
                  <a:pt x="5564" y="712"/>
                </a:lnTo>
                <a:lnTo>
                  <a:pt x="5564" y="718"/>
                </a:lnTo>
                <a:lnTo>
                  <a:pt x="5564" y="718"/>
                </a:lnTo>
                <a:lnTo>
                  <a:pt x="5564" y="718"/>
                </a:lnTo>
                <a:lnTo>
                  <a:pt x="5570" y="718"/>
                </a:lnTo>
                <a:lnTo>
                  <a:pt x="5570" y="718"/>
                </a:lnTo>
                <a:lnTo>
                  <a:pt x="5570" y="718"/>
                </a:lnTo>
                <a:lnTo>
                  <a:pt x="5570" y="718"/>
                </a:lnTo>
                <a:lnTo>
                  <a:pt x="5570" y="718"/>
                </a:lnTo>
                <a:lnTo>
                  <a:pt x="5570" y="712"/>
                </a:lnTo>
                <a:lnTo>
                  <a:pt x="5570" y="712"/>
                </a:lnTo>
                <a:lnTo>
                  <a:pt x="5570" y="712"/>
                </a:lnTo>
                <a:lnTo>
                  <a:pt x="5570" y="712"/>
                </a:lnTo>
                <a:lnTo>
                  <a:pt x="5570" y="712"/>
                </a:lnTo>
                <a:close/>
                <a:moveTo>
                  <a:pt x="5558" y="682"/>
                </a:moveTo>
                <a:lnTo>
                  <a:pt x="5558" y="682"/>
                </a:lnTo>
                <a:lnTo>
                  <a:pt x="5558" y="682"/>
                </a:lnTo>
                <a:lnTo>
                  <a:pt x="5558" y="682"/>
                </a:lnTo>
                <a:lnTo>
                  <a:pt x="5558" y="682"/>
                </a:lnTo>
                <a:lnTo>
                  <a:pt x="5558" y="682"/>
                </a:lnTo>
                <a:lnTo>
                  <a:pt x="5558" y="688"/>
                </a:lnTo>
                <a:lnTo>
                  <a:pt x="5558" y="688"/>
                </a:lnTo>
                <a:lnTo>
                  <a:pt x="5558" y="688"/>
                </a:lnTo>
                <a:lnTo>
                  <a:pt x="5558" y="688"/>
                </a:lnTo>
                <a:lnTo>
                  <a:pt x="5558" y="682"/>
                </a:lnTo>
                <a:lnTo>
                  <a:pt x="5558" y="682"/>
                </a:lnTo>
                <a:lnTo>
                  <a:pt x="5564" y="682"/>
                </a:lnTo>
                <a:lnTo>
                  <a:pt x="5558" y="676"/>
                </a:lnTo>
                <a:lnTo>
                  <a:pt x="5558" y="676"/>
                </a:lnTo>
                <a:lnTo>
                  <a:pt x="5558" y="682"/>
                </a:lnTo>
                <a:lnTo>
                  <a:pt x="5558" y="682"/>
                </a:lnTo>
                <a:close/>
                <a:moveTo>
                  <a:pt x="5612" y="700"/>
                </a:moveTo>
                <a:lnTo>
                  <a:pt x="5612" y="700"/>
                </a:lnTo>
                <a:lnTo>
                  <a:pt x="5606" y="694"/>
                </a:lnTo>
                <a:lnTo>
                  <a:pt x="5606" y="700"/>
                </a:lnTo>
                <a:lnTo>
                  <a:pt x="5606" y="700"/>
                </a:lnTo>
                <a:lnTo>
                  <a:pt x="5606" y="700"/>
                </a:lnTo>
                <a:lnTo>
                  <a:pt x="5606" y="700"/>
                </a:lnTo>
                <a:lnTo>
                  <a:pt x="5606" y="700"/>
                </a:lnTo>
                <a:lnTo>
                  <a:pt x="5606" y="694"/>
                </a:lnTo>
                <a:lnTo>
                  <a:pt x="5606" y="694"/>
                </a:lnTo>
                <a:lnTo>
                  <a:pt x="5600" y="700"/>
                </a:lnTo>
                <a:lnTo>
                  <a:pt x="5600" y="700"/>
                </a:lnTo>
                <a:lnTo>
                  <a:pt x="5600" y="700"/>
                </a:lnTo>
                <a:lnTo>
                  <a:pt x="5600" y="700"/>
                </a:lnTo>
                <a:lnTo>
                  <a:pt x="5600" y="700"/>
                </a:lnTo>
                <a:lnTo>
                  <a:pt x="5600" y="700"/>
                </a:lnTo>
                <a:lnTo>
                  <a:pt x="5600" y="700"/>
                </a:lnTo>
                <a:lnTo>
                  <a:pt x="5600" y="700"/>
                </a:lnTo>
                <a:lnTo>
                  <a:pt x="5606" y="700"/>
                </a:lnTo>
                <a:lnTo>
                  <a:pt x="5606" y="700"/>
                </a:lnTo>
                <a:lnTo>
                  <a:pt x="5606" y="700"/>
                </a:lnTo>
                <a:lnTo>
                  <a:pt x="5606" y="706"/>
                </a:lnTo>
                <a:lnTo>
                  <a:pt x="5612" y="706"/>
                </a:lnTo>
                <a:lnTo>
                  <a:pt x="5612" y="700"/>
                </a:lnTo>
                <a:lnTo>
                  <a:pt x="5612" y="700"/>
                </a:lnTo>
                <a:lnTo>
                  <a:pt x="5612" y="700"/>
                </a:lnTo>
                <a:lnTo>
                  <a:pt x="5612" y="700"/>
                </a:lnTo>
                <a:lnTo>
                  <a:pt x="5612" y="700"/>
                </a:lnTo>
                <a:close/>
                <a:moveTo>
                  <a:pt x="5558" y="706"/>
                </a:moveTo>
                <a:lnTo>
                  <a:pt x="5558" y="706"/>
                </a:lnTo>
                <a:lnTo>
                  <a:pt x="5564" y="706"/>
                </a:lnTo>
                <a:lnTo>
                  <a:pt x="5564" y="706"/>
                </a:lnTo>
                <a:lnTo>
                  <a:pt x="5564" y="706"/>
                </a:lnTo>
                <a:lnTo>
                  <a:pt x="5564" y="706"/>
                </a:lnTo>
                <a:lnTo>
                  <a:pt x="5570" y="700"/>
                </a:lnTo>
                <a:lnTo>
                  <a:pt x="5570" y="700"/>
                </a:lnTo>
                <a:lnTo>
                  <a:pt x="5570" y="700"/>
                </a:lnTo>
                <a:lnTo>
                  <a:pt x="5570" y="700"/>
                </a:lnTo>
                <a:lnTo>
                  <a:pt x="5570" y="700"/>
                </a:lnTo>
                <a:lnTo>
                  <a:pt x="5564" y="700"/>
                </a:lnTo>
                <a:lnTo>
                  <a:pt x="5558" y="700"/>
                </a:lnTo>
                <a:lnTo>
                  <a:pt x="5558" y="700"/>
                </a:lnTo>
                <a:lnTo>
                  <a:pt x="5558" y="706"/>
                </a:lnTo>
                <a:lnTo>
                  <a:pt x="5558" y="706"/>
                </a:lnTo>
                <a:lnTo>
                  <a:pt x="5558" y="706"/>
                </a:lnTo>
                <a:lnTo>
                  <a:pt x="5558" y="706"/>
                </a:lnTo>
                <a:lnTo>
                  <a:pt x="5558" y="706"/>
                </a:lnTo>
                <a:lnTo>
                  <a:pt x="5558" y="706"/>
                </a:lnTo>
                <a:lnTo>
                  <a:pt x="5558" y="706"/>
                </a:lnTo>
                <a:close/>
                <a:moveTo>
                  <a:pt x="5588" y="700"/>
                </a:moveTo>
                <a:lnTo>
                  <a:pt x="5588" y="700"/>
                </a:lnTo>
                <a:lnTo>
                  <a:pt x="5588" y="694"/>
                </a:lnTo>
                <a:lnTo>
                  <a:pt x="5582" y="694"/>
                </a:lnTo>
                <a:lnTo>
                  <a:pt x="5582" y="694"/>
                </a:lnTo>
                <a:lnTo>
                  <a:pt x="5588" y="694"/>
                </a:lnTo>
                <a:lnTo>
                  <a:pt x="5588" y="694"/>
                </a:lnTo>
                <a:lnTo>
                  <a:pt x="5588" y="694"/>
                </a:lnTo>
                <a:lnTo>
                  <a:pt x="5588" y="688"/>
                </a:lnTo>
                <a:lnTo>
                  <a:pt x="5588" y="688"/>
                </a:lnTo>
                <a:lnTo>
                  <a:pt x="5588" y="688"/>
                </a:lnTo>
                <a:lnTo>
                  <a:pt x="5588" y="688"/>
                </a:lnTo>
                <a:lnTo>
                  <a:pt x="5588" y="688"/>
                </a:lnTo>
                <a:lnTo>
                  <a:pt x="5588" y="688"/>
                </a:lnTo>
                <a:lnTo>
                  <a:pt x="5582" y="682"/>
                </a:lnTo>
                <a:lnTo>
                  <a:pt x="5582" y="682"/>
                </a:lnTo>
                <a:lnTo>
                  <a:pt x="5582" y="682"/>
                </a:lnTo>
                <a:lnTo>
                  <a:pt x="5582" y="688"/>
                </a:lnTo>
                <a:lnTo>
                  <a:pt x="5582" y="688"/>
                </a:lnTo>
                <a:lnTo>
                  <a:pt x="5582" y="688"/>
                </a:lnTo>
                <a:lnTo>
                  <a:pt x="5582" y="688"/>
                </a:lnTo>
                <a:lnTo>
                  <a:pt x="5582" y="688"/>
                </a:lnTo>
                <a:lnTo>
                  <a:pt x="5582" y="688"/>
                </a:lnTo>
                <a:lnTo>
                  <a:pt x="5582" y="694"/>
                </a:lnTo>
                <a:lnTo>
                  <a:pt x="5582" y="694"/>
                </a:lnTo>
                <a:lnTo>
                  <a:pt x="5576" y="694"/>
                </a:lnTo>
                <a:lnTo>
                  <a:pt x="5576" y="694"/>
                </a:lnTo>
                <a:lnTo>
                  <a:pt x="5576" y="694"/>
                </a:lnTo>
                <a:lnTo>
                  <a:pt x="5576" y="694"/>
                </a:lnTo>
                <a:lnTo>
                  <a:pt x="5576" y="694"/>
                </a:lnTo>
                <a:lnTo>
                  <a:pt x="5576" y="694"/>
                </a:lnTo>
                <a:lnTo>
                  <a:pt x="5576" y="700"/>
                </a:lnTo>
                <a:lnTo>
                  <a:pt x="5576" y="700"/>
                </a:lnTo>
                <a:lnTo>
                  <a:pt x="5576" y="700"/>
                </a:lnTo>
                <a:lnTo>
                  <a:pt x="5576" y="700"/>
                </a:lnTo>
                <a:lnTo>
                  <a:pt x="5582" y="700"/>
                </a:lnTo>
                <a:lnTo>
                  <a:pt x="5582" y="700"/>
                </a:lnTo>
                <a:lnTo>
                  <a:pt x="5588" y="700"/>
                </a:lnTo>
                <a:close/>
                <a:moveTo>
                  <a:pt x="5689" y="652"/>
                </a:moveTo>
                <a:lnTo>
                  <a:pt x="5689" y="652"/>
                </a:lnTo>
                <a:lnTo>
                  <a:pt x="5689" y="652"/>
                </a:lnTo>
                <a:lnTo>
                  <a:pt x="5689" y="652"/>
                </a:lnTo>
                <a:lnTo>
                  <a:pt x="5689" y="652"/>
                </a:lnTo>
                <a:lnTo>
                  <a:pt x="5689" y="652"/>
                </a:lnTo>
                <a:lnTo>
                  <a:pt x="5689" y="652"/>
                </a:lnTo>
                <a:lnTo>
                  <a:pt x="5689" y="658"/>
                </a:lnTo>
                <a:lnTo>
                  <a:pt x="5689" y="658"/>
                </a:lnTo>
                <a:lnTo>
                  <a:pt x="5689" y="658"/>
                </a:lnTo>
                <a:lnTo>
                  <a:pt x="5689" y="658"/>
                </a:lnTo>
                <a:lnTo>
                  <a:pt x="5695" y="658"/>
                </a:lnTo>
                <a:lnTo>
                  <a:pt x="5695" y="658"/>
                </a:lnTo>
                <a:lnTo>
                  <a:pt x="5689" y="652"/>
                </a:lnTo>
                <a:lnTo>
                  <a:pt x="5689" y="652"/>
                </a:lnTo>
                <a:close/>
                <a:moveTo>
                  <a:pt x="5718" y="635"/>
                </a:moveTo>
                <a:lnTo>
                  <a:pt x="5718" y="635"/>
                </a:lnTo>
                <a:lnTo>
                  <a:pt x="5718" y="635"/>
                </a:lnTo>
                <a:lnTo>
                  <a:pt x="5718" y="641"/>
                </a:lnTo>
                <a:lnTo>
                  <a:pt x="5718" y="641"/>
                </a:lnTo>
                <a:lnTo>
                  <a:pt x="5724" y="641"/>
                </a:lnTo>
                <a:lnTo>
                  <a:pt x="5724" y="635"/>
                </a:lnTo>
                <a:lnTo>
                  <a:pt x="5724" y="635"/>
                </a:lnTo>
                <a:lnTo>
                  <a:pt x="5718" y="635"/>
                </a:lnTo>
                <a:lnTo>
                  <a:pt x="5718" y="635"/>
                </a:lnTo>
                <a:close/>
                <a:moveTo>
                  <a:pt x="5760" y="593"/>
                </a:moveTo>
                <a:lnTo>
                  <a:pt x="5760" y="593"/>
                </a:lnTo>
                <a:lnTo>
                  <a:pt x="5760" y="587"/>
                </a:lnTo>
                <a:lnTo>
                  <a:pt x="5760" y="587"/>
                </a:lnTo>
                <a:lnTo>
                  <a:pt x="5760" y="587"/>
                </a:lnTo>
                <a:lnTo>
                  <a:pt x="5754" y="593"/>
                </a:lnTo>
                <a:lnTo>
                  <a:pt x="5754" y="593"/>
                </a:lnTo>
                <a:lnTo>
                  <a:pt x="5754" y="593"/>
                </a:lnTo>
                <a:lnTo>
                  <a:pt x="5754" y="599"/>
                </a:lnTo>
                <a:lnTo>
                  <a:pt x="5754" y="599"/>
                </a:lnTo>
                <a:lnTo>
                  <a:pt x="5754" y="599"/>
                </a:lnTo>
                <a:lnTo>
                  <a:pt x="5754" y="599"/>
                </a:lnTo>
                <a:lnTo>
                  <a:pt x="5754" y="599"/>
                </a:lnTo>
                <a:lnTo>
                  <a:pt x="5754" y="605"/>
                </a:lnTo>
                <a:lnTo>
                  <a:pt x="5754" y="605"/>
                </a:lnTo>
                <a:lnTo>
                  <a:pt x="5754" y="605"/>
                </a:lnTo>
                <a:lnTo>
                  <a:pt x="5754" y="605"/>
                </a:lnTo>
                <a:lnTo>
                  <a:pt x="5754" y="605"/>
                </a:lnTo>
                <a:lnTo>
                  <a:pt x="5760" y="605"/>
                </a:lnTo>
                <a:lnTo>
                  <a:pt x="5760" y="605"/>
                </a:lnTo>
                <a:lnTo>
                  <a:pt x="5760" y="605"/>
                </a:lnTo>
                <a:lnTo>
                  <a:pt x="5754" y="599"/>
                </a:lnTo>
                <a:lnTo>
                  <a:pt x="5760" y="599"/>
                </a:lnTo>
                <a:lnTo>
                  <a:pt x="5760" y="599"/>
                </a:lnTo>
                <a:lnTo>
                  <a:pt x="5760" y="599"/>
                </a:lnTo>
                <a:lnTo>
                  <a:pt x="5760" y="593"/>
                </a:lnTo>
                <a:lnTo>
                  <a:pt x="5760" y="593"/>
                </a:lnTo>
                <a:lnTo>
                  <a:pt x="5760" y="593"/>
                </a:lnTo>
                <a:lnTo>
                  <a:pt x="5760" y="593"/>
                </a:lnTo>
                <a:close/>
                <a:moveTo>
                  <a:pt x="5742" y="593"/>
                </a:moveTo>
                <a:lnTo>
                  <a:pt x="5748" y="593"/>
                </a:lnTo>
                <a:lnTo>
                  <a:pt x="5748" y="599"/>
                </a:lnTo>
                <a:lnTo>
                  <a:pt x="5748" y="599"/>
                </a:lnTo>
                <a:lnTo>
                  <a:pt x="5748" y="599"/>
                </a:lnTo>
                <a:lnTo>
                  <a:pt x="5748" y="599"/>
                </a:lnTo>
                <a:lnTo>
                  <a:pt x="5748" y="593"/>
                </a:lnTo>
                <a:lnTo>
                  <a:pt x="5748" y="593"/>
                </a:lnTo>
                <a:lnTo>
                  <a:pt x="5748" y="593"/>
                </a:lnTo>
                <a:lnTo>
                  <a:pt x="5748" y="587"/>
                </a:lnTo>
                <a:lnTo>
                  <a:pt x="5742" y="593"/>
                </a:lnTo>
                <a:lnTo>
                  <a:pt x="5742" y="593"/>
                </a:lnTo>
                <a:close/>
                <a:moveTo>
                  <a:pt x="5748" y="587"/>
                </a:moveTo>
                <a:lnTo>
                  <a:pt x="5748" y="593"/>
                </a:lnTo>
                <a:lnTo>
                  <a:pt x="5748" y="593"/>
                </a:lnTo>
                <a:lnTo>
                  <a:pt x="5754" y="593"/>
                </a:lnTo>
                <a:lnTo>
                  <a:pt x="5754" y="593"/>
                </a:lnTo>
                <a:lnTo>
                  <a:pt x="5754" y="587"/>
                </a:lnTo>
                <a:lnTo>
                  <a:pt x="5754" y="587"/>
                </a:lnTo>
                <a:lnTo>
                  <a:pt x="5754" y="587"/>
                </a:lnTo>
                <a:lnTo>
                  <a:pt x="5754" y="581"/>
                </a:lnTo>
                <a:lnTo>
                  <a:pt x="5754" y="581"/>
                </a:lnTo>
                <a:lnTo>
                  <a:pt x="5754" y="581"/>
                </a:lnTo>
                <a:lnTo>
                  <a:pt x="5754" y="581"/>
                </a:lnTo>
                <a:lnTo>
                  <a:pt x="5754" y="581"/>
                </a:lnTo>
                <a:lnTo>
                  <a:pt x="5754" y="581"/>
                </a:lnTo>
                <a:lnTo>
                  <a:pt x="5754" y="581"/>
                </a:lnTo>
                <a:lnTo>
                  <a:pt x="5754" y="581"/>
                </a:lnTo>
                <a:lnTo>
                  <a:pt x="5754" y="581"/>
                </a:lnTo>
                <a:lnTo>
                  <a:pt x="5748" y="581"/>
                </a:lnTo>
                <a:lnTo>
                  <a:pt x="5748" y="581"/>
                </a:lnTo>
                <a:lnTo>
                  <a:pt x="5748" y="587"/>
                </a:lnTo>
                <a:lnTo>
                  <a:pt x="5748" y="587"/>
                </a:lnTo>
                <a:lnTo>
                  <a:pt x="5748" y="587"/>
                </a:lnTo>
                <a:close/>
                <a:moveTo>
                  <a:pt x="5624" y="664"/>
                </a:moveTo>
                <a:lnTo>
                  <a:pt x="5624" y="664"/>
                </a:lnTo>
                <a:lnTo>
                  <a:pt x="5624" y="664"/>
                </a:lnTo>
                <a:lnTo>
                  <a:pt x="5624" y="664"/>
                </a:lnTo>
                <a:lnTo>
                  <a:pt x="5624" y="658"/>
                </a:lnTo>
                <a:lnTo>
                  <a:pt x="5624" y="658"/>
                </a:lnTo>
                <a:lnTo>
                  <a:pt x="5618" y="658"/>
                </a:lnTo>
                <a:lnTo>
                  <a:pt x="5612" y="664"/>
                </a:lnTo>
                <a:lnTo>
                  <a:pt x="5612" y="664"/>
                </a:lnTo>
                <a:lnTo>
                  <a:pt x="5612" y="664"/>
                </a:lnTo>
                <a:lnTo>
                  <a:pt x="5612" y="670"/>
                </a:lnTo>
                <a:lnTo>
                  <a:pt x="5612" y="670"/>
                </a:lnTo>
                <a:lnTo>
                  <a:pt x="5612" y="670"/>
                </a:lnTo>
                <a:lnTo>
                  <a:pt x="5612" y="670"/>
                </a:lnTo>
                <a:lnTo>
                  <a:pt x="5612" y="670"/>
                </a:lnTo>
                <a:lnTo>
                  <a:pt x="5612" y="670"/>
                </a:lnTo>
                <a:lnTo>
                  <a:pt x="5606" y="676"/>
                </a:lnTo>
                <a:lnTo>
                  <a:pt x="5606" y="676"/>
                </a:lnTo>
                <a:lnTo>
                  <a:pt x="5606" y="682"/>
                </a:lnTo>
                <a:lnTo>
                  <a:pt x="5606" y="682"/>
                </a:lnTo>
                <a:lnTo>
                  <a:pt x="5606" y="682"/>
                </a:lnTo>
                <a:lnTo>
                  <a:pt x="5606" y="682"/>
                </a:lnTo>
                <a:lnTo>
                  <a:pt x="5612" y="682"/>
                </a:lnTo>
                <a:lnTo>
                  <a:pt x="5612" y="682"/>
                </a:lnTo>
                <a:lnTo>
                  <a:pt x="5606" y="682"/>
                </a:lnTo>
                <a:lnTo>
                  <a:pt x="5606" y="688"/>
                </a:lnTo>
                <a:lnTo>
                  <a:pt x="5612" y="688"/>
                </a:lnTo>
                <a:lnTo>
                  <a:pt x="5612" y="688"/>
                </a:lnTo>
                <a:lnTo>
                  <a:pt x="5612" y="688"/>
                </a:lnTo>
                <a:lnTo>
                  <a:pt x="5612" y="688"/>
                </a:lnTo>
                <a:lnTo>
                  <a:pt x="5612" y="688"/>
                </a:lnTo>
                <a:lnTo>
                  <a:pt x="5612" y="688"/>
                </a:lnTo>
                <a:lnTo>
                  <a:pt x="5612" y="688"/>
                </a:lnTo>
                <a:lnTo>
                  <a:pt x="5618" y="688"/>
                </a:lnTo>
                <a:lnTo>
                  <a:pt x="5618" y="694"/>
                </a:lnTo>
                <a:lnTo>
                  <a:pt x="5618" y="688"/>
                </a:lnTo>
                <a:lnTo>
                  <a:pt x="5618" y="688"/>
                </a:lnTo>
                <a:lnTo>
                  <a:pt x="5618" y="688"/>
                </a:lnTo>
                <a:lnTo>
                  <a:pt x="5618" y="688"/>
                </a:lnTo>
                <a:lnTo>
                  <a:pt x="5618" y="688"/>
                </a:lnTo>
                <a:lnTo>
                  <a:pt x="5618" y="682"/>
                </a:lnTo>
                <a:lnTo>
                  <a:pt x="5618" y="682"/>
                </a:lnTo>
                <a:lnTo>
                  <a:pt x="5618" y="682"/>
                </a:lnTo>
                <a:lnTo>
                  <a:pt x="5618" y="682"/>
                </a:lnTo>
                <a:lnTo>
                  <a:pt x="5618" y="682"/>
                </a:lnTo>
                <a:lnTo>
                  <a:pt x="5624" y="682"/>
                </a:lnTo>
                <a:lnTo>
                  <a:pt x="5624" y="682"/>
                </a:lnTo>
                <a:lnTo>
                  <a:pt x="5630" y="682"/>
                </a:lnTo>
                <a:lnTo>
                  <a:pt x="5630" y="676"/>
                </a:lnTo>
                <a:lnTo>
                  <a:pt x="5630" y="670"/>
                </a:lnTo>
                <a:lnTo>
                  <a:pt x="5624" y="664"/>
                </a:lnTo>
                <a:close/>
                <a:moveTo>
                  <a:pt x="5600" y="676"/>
                </a:moveTo>
                <a:lnTo>
                  <a:pt x="5600" y="676"/>
                </a:lnTo>
                <a:lnTo>
                  <a:pt x="5600" y="676"/>
                </a:lnTo>
                <a:lnTo>
                  <a:pt x="5600" y="676"/>
                </a:lnTo>
                <a:lnTo>
                  <a:pt x="5600" y="676"/>
                </a:lnTo>
                <a:lnTo>
                  <a:pt x="5600" y="676"/>
                </a:lnTo>
                <a:lnTo>
                  <a:pt x="5600" y="670"/>
                </a:lnTo>
                <a:lnTo>
                  <a:pt x="5600" y="670"/>
                </a:lnTo>
                <a:lnTo>
                  <a:pt x="5600" y="670"/>
                </a:lnTo>
                <a:lnTo>
                  <a:pt x="5600" y="670"/>
                </a:lnTo>
                <a:lnTo>
                  <a:pt x="5600" y="670"/>
                </a:lnTo>
                <a:lnTo>
                  <a:pt x="5600" y="670"/>
                </a:lnTo>
                <a:lnTo>
                  <a:pt x="5600" y="670"/>
                </a:lnTo>
                <a:lnTo>
                  <a:pt x="5600" y="670"/>
                </a:lnTo>
                <a:lnTo>
                  <a:pt x="5600" y="670"/>
                </a:lnTo>
                <a:lnTo>
                  <a:pt x="5600" y="676"/>
                </a:lnTo>
                <a:lnTo>
                  <a:pt x="5600" y="676"/>
                </a:lnTo>
                <a:lnTo>
                  <a:pt x="5600" y="676"/>
                </a:lnTo>
                <a:lnTo>
                  <a:pt x="5600" y="676"/>
                </a:lnTo>
                <a:lnTo>
                  <a:pt x="5600" y="676"/>
                </a:lnTo>
                <a:lnTo>
                  <a:pt x="5600" y="676"/>
                </a:lnTo>
                <a:lnTo>
                  <a:pt x="5600" y="676"/>
                </a:lnTo>
                <a:close/>
                <a:moveTo>
                  <a:pt x="5558" y="676"/>
                </a:moveTo>
                <a:lnTo>
                  <a:pt x="5564" y="676"/>
                </a:lnTo>
                <a:lnTo>
                  <a:pt x="5564" y="676"/>
                </a:lnTo>
                <a:lnTo>
                  <a:pt x="5564" y="676"/>
                </a:lnTo>
                <a:lnTo>
                  <a:pt x="5564" y="670"/>
                </a:lnTo>
                <a:lnTo>
                  <a:pt x="5564" y="670"/>
                </a:lnTo>
                <a:lnTo>
                  <a:pt x="5564" y="670"/>
                </a:lnTo>
                <a:lnTo>
                  <a:pt x="5558" y="670"/>
                </a:lnTo>
                <a:lnTo>
                  <a:pt x="5558" y="670"/>
                </a:lnTo>
                <a:lnTo>
                  <a:pt x="5558" y="676"/>
                </a:lnTo>
                <a:lnTo>
                  <a:pt x="5558" y="676"/>
                </a:lnTo>
                <a:lnTo>
                  <a:pt x="5558" y="676"/>
                </a:lnTo>
                <a:lnTo>
                  <a:pt x="5558" y="676"/>
                </a:lnTo>
                <a:lnTo>
                  <a:pt x="5558" y="676"/>
                </a:lnTo>
                <a:close/>
                <a:moveTo>
                  <a:pt x="5754" y="605"/>
                </a:moveTo>
                <a:lnTo>
                  <a:pt x="5748" y="605"/>
                </a:lnTo>
                <a:lnTo>
                  <a:pt x="5748" y="605"/>
                </a:lnTo>
                <a:lnTo>
                  <a:pt x="5748" y="605"/>
                </a:lnTo>
                <a:lnTo>
                  <a:pt x="5748" y="605"/>
                </a:lnTo>
                <a:lnTo>
                  <a:pt x="5748" y="605"/>
                </a:lnTo>
                <a:lnTo>
                  <a:pt x="5748" y="605"/>
                </a:lnTo>
                <a:lnTo>
                  <a:pt x="5748" y="605"/>
                </a:lnTo>
                <a:lnTo>
                  <a:pt x="5748" y="605"/>
                </a:lnTo>
                <a:lnTo>
                  <a:pt x="5748" y="605"/>
                </a:lnTo>
                <a:lnTo>
                  <a:pt x="5748" y="605"/>
                </a:lnTo>
                <a:lnTo>
                  <a:pt x="5748" y="605"/>
                </a:lnTo>
                <a:lnTo>
                  <a:pt x="5748" y="599"/>
                </a:lnTo>
                <a:lnTo>
                  <a:pt x="5742" y="599"/>
                </a:lnTo>
                <a:lnTo>
                  <a:pt x="5742" y="599"/>
                </a:lnTo>
                <a:lnTo>
                  <a:pt x="5742" y="599"/>
                </a:lnTo>
                <a:lnTo>
                  <a:pt x="5748" y="605"/>
                </a:lnTo>
                <a:lnTo>
                  <a:pt x="5742" y="605"/>
                </a:lnTo>
                <a:lnTo>
                  <a:pt x="5742" y="605"/>
                </a:lnTo>
                <a:lnTo>
                  <a:pt x="5742" y="605"/>
                </a:lnTo>
                <a:lnTo>
                  <a:pt x="5742" y="605"/>
                </a:lnTo>
                <a:lnTo>
                  <a:pt x="5742" y="599"/>
                </a:lnTo>
                <a:lnTo>
                  <a:pt x="5742" y="599"/>
                </a:lnTo>
                <a:lnTo>
                  <a:pt x="5742" y="599"/>
                </a:lnTo>
                <a:lnTo>
                  <a:pt x="5742" y="599"/>
                </a:lnTo>
                <a:lnTo>
                  <a:pt x="5736" y="599"/>
                </a:lnTo>
                <a:lnTo>
                  <a:pt x="5736" y="599"/>
                </a:lnTo>
                <a:lnTo>
                  <a:pt x="5736" y="599"/>
                </a:lnTo>
                <a:lnTo>
                  <a:pt x="5742" y="599"/>
                </a:lnTo>
                <a:lnTo>
                  <a:pt x="5742" y="599"/>
                </a:lnTo>
                <a:lnTo>
                  <a:pt x="5742" y="599"/>
                </a:lnTo>
                <a:lnTo>
                  <a:pt x="5736" y="605"/>
                </a:lnTo>
                <a:lnTo>
                  <a:pt x="5736" y="605"/>
                </a:lnTo>
                <a:lnTo>
                  <a:pt x="5736" y="605"/>
                </a:lnTo>
                <a:lnTo>
                  <a:pt x="5742" y="605"/>
                </a:lnTo>
                <a:lnTo>
                  <a:pt x="5736" y="605"/>
                </a:lnTo>
                <a:lnTo>
                  <a:pt x="5736" y="599"/>
                </a:lnTo>
                <a:lnTo>
                  <a:pt x="5736" y="599"/>
                </a:lnTo>
                <a:lnTo>
                  <a:pt x="5736" y="605"/>
                </a:lnTo>
                <a:lnTo>
                  <a:pt x="5736" y="605"/>
                </a:lnTo>
                <a:lnTo>
                  <a:pt x="5736" y="605"/>
                </a:lnTo>
                <a:lnTo>
                  <a:pt x="5736" y="611"/>
                </a:lnTo>
                <a:lnTo>
                  <a:pt x="5736" y="605"/>
                </a:lnTo>
                <a:lnTo>
                  <a:pt x="5730" y="599"/>
                </a:lnTo>
                <a:lnTo>
                  <a:pt x="5730" y="599"/>
                </a:lnTo>
                <a:lnTo>
                  <a:pt x="5730" y="599"/>
                </a:lnTo>
                <a:lnTo>
                  <a:pt x="5730" y="599"/>
                </a:lnTo>
                <a:lnTo>
                  <a:pt x="5730" y="593"/>
                </a:lnTo>
                <a:lnTo>
                  <a:pt x="5730" y="593"/>
                </a:lnTo>
                <a:lnTo>
                  <a:pt x="5730" y="593"/>
                </a:lnTo>
                <a:lnTo>
                  <a:pt x="5730" y="593"/>
                </a:lnTo>
                <a:lnTo>
                  <a:pt x="5736" y="599"/>
                </a:lnTo>
                <a:lnTo>
                  <a:pt x="5736" y="599"/>
                </a:lnTo>
                <a:lnTo>
                  <a:pt x="5736" y="599"/>
                </a:lnTo>
                <a:lnTo>
                  <a:pt x="5736" y="599"/>
                </a:lnTo>
                <a:lnTo>
                  <a:pt x="5736" y="599"/>
                </a:lnTo>
                <a:lnTo>
                  <a:pt x="5736" y="593"/>
                </a:lnTo>
                <a:lnTo>
                  <a:pt x="5736" y="593"/>
                </a:lnTo>
                <a:lnTo>
                  <a:pt x="5736" y="593"/>
                </a:lnTo>
                <a:lnTo>
                  <a:pt x="5736" y="593"/>
                </a:lnTo>
                <a:lnTo>
                  <a:pt x="5736" y="587"/>
                </a:lnTo>
                <a:lnTo>
                  <a:pt x="5736" y="587"/>
                </a:lnTo>
                <a:lnTo>
                  <a:pt x="5742" y="593"/>
                </a:lnTo>
                <a:lnTo>
                  <a:pt x="5742" y="593"/>
                </a:lnTo>
                <a:lnTo>
                  <a:pt x="5742" y="593"/>
                </a:lnTo>
                <a:lnTo>
                  <a:pt x="5742" y="587"/>
                </a:lnTo>
                <a:lnTo>
                  <a:pt x="5742" y="587"/>
                </a:lnTo>
                <a:lnTo>
                  <a:pt x="5742" y="587"/>
                </a:lnTo>
                <a:lnTo>
                  <a:pt x="5748" y="587"/>
                </a:lnTo>
                <a:lnTo>
                  <a:pt x="5742" y="587"/>
                </a:lnTo>
                <a:lnTo>
                  <a:pt x="5742" y="587"/>
                </a:lnTo>
                <a:lnTo>
                  <a:pt x="5742" y="581"/>
                </a:lnTo>
                <a:lnTo>
                  <a:pt x="5742" y="581"/>
                </a:lnTo>
                <a:lnTo>
                  <a:pt x="5742" y="581"/>
                </a:lnTo>
                <a:lnTo>
                  <a:pt x="5736" y="575"/>
                </a:lnTo>
                <a:lnTo>
                  <a:pt x="5736" y="575"/>
                </a:lnTo>
                <a:lnTo>
                  <a:pt x="5736" y="575"/>
                </a:lnTo>
                <a:lnTo>
                  <a:pt x="5742" y="575"/>
                </a:lnTo>
                <a:lnTo>
                  <a:pt x="5736" y="569"/>
                </a:lnTo>
                <a:lnTo>
                  <a:pt x="5736" y="569"/>
                </a:lnTo>
                <a:lnTo>
                  <a:pt x="5736" y="569"/>
                </a:lnTo>
                <a:lnTo>
                  <a:pt x="5736" y="569"/>
                </a:lnTo>
                <a:lnTo>
                  <a:pt x="5736" y="569"/>
                </a:lnTo>
                <a:lnTo>
                  <a:pt x="5736" y="569"/>
                </a:lnTo>
                <a:lnTo>
                  <a:pt x="5736" y="563"/>
                </a:lnTo>
                <a:lnTo>
                  <a:pt x="5736" y="563"/>
                </a:lnTo>
                <a:lnTo>
                  <a:pt x="5736" y="563"/>
                </a:lnTo>
                <a:lnTo>
                  <a:pt x="5736" y="563"/>
                </a:lnTo>
                <a:lnTo>
                  <a:pt x="5736" y="563"/>
                </a:lnTo>
                <a:lnTo>
                  <a:pt x="5730" y="563"/>
                </a:lnTo>
                <a:lnTo>
                  <a:pt x="5730" y="563"/>
                </a:lnTo>
                <a:lnTo>
                  <a:pt x="5730" y="563"/>
                </a:lnTo>
                <a:lnTo>
                  <a:pt x="5730" y="558"/>
                </a:lnTo>
                <a:lnTo>
                  <a:pt x="5730" y="558"/>
                </a:lnTo>
                <a:lnTo>
                  <a:pt x="5730" y="558"/>
                </a:lnTo>
                <a:lnTo>
                  <a:pt x="5730" y="558"/>
                </a:lnTo>
                <a:lnTo>
                  <a:pt x="5730" y="558"/>
                </a:lnTo>
                <a:lnTo>
                  <a:pt x="5730" y="558"/>
                </a:lnTo>
                <a:lnTo>
                  <a:pt x="5730" y="558"/>
                </a:lnTo>
                <a:lnTo>
                  <a:pt x="5730" y="558"/>
                </a:lnTo>
                <a:lnTo>
                  <a:pt x="5730" y="558"/>
                </a:lnTo>
                <a:lnTo>
                  <a:pt x="5730" y="558"/>
                </a:lnTo>
                <a:lnTo>
                  <a:pt x="5730" y="558"/>
                </a:lnTo>
                <a:lnTo>
                  <a:pt x="5730" y="558"/>
                </a:lnTo>
                <a:lnTo>
                  <a:pt x="5724" y="552"/>
                </a:lnTo>
                <a:lnTo>
                  <a:pt x="5724" y="552"/>
                </a:lnTo>
                <a:lnTo>
                  <a:pt x="5724" y="552"/>
                </a:lnTo>
                <a:lnTo>
                  <a:pt x="5724" y="552"/>
                </a:lnTo>
                <a:lnTo>
                  <a:pt x="5724" y="558"/>
                </a:lnTo>
                <a:lnTo>
                  <a:pt x="5724" y="558"/>
                </a:lnTo>
                <a:lnTo>
                  <a:pt x="5724" y="558"/>
                </a:lnTo>
                <a:lnTo>
                  <a:pt x="5724" y="558"/>
                </a:lnTo>
                <a:lnTo>
                  <a:pt x="5724" y="558"/>
                </a:lnTo>
                <a:lnTo>
                  <a:pt x="5718" y="558"/>
                </a:lnTo>
                <a:lnTo>
                  <a:pt x="5718" y="563"/>
                </a:lnTo>
                <a:lnTo>
                  <a:pt x="5718" y="558"/>
                </a:lnTo>
                <a:lnTo>
                  <a:pt x="5713" y="558"/>
                </a:lnTo>
                <a:lnTo>
                  <a:pt x="5713" y="558"/>
                </a:lnTo>
                <a:lnTo>
                  <a:pt x="5707" y="552"/>
                </a:lnTo>
                <a:lnTo>
                  <a:pt x="5707" y="552"/>
                </a:lnTo>
                <a:lnTo>
                  <a:pt x="5707" y="546"/>
                </a:lnTo>
                <a:lnTo>
                  <a:pt x="5701" y="546"/>
                </a:lnTo>
                <a:lnTo>
                  <a:pt x="5701" y="540"/>
                </a:lnTo>
                <a:lnTo>
                  <a:pt x="5701" y="540"/>
                </a:lnTo>
                <a:lnTo>
                  <a:pt x="5701" y="540"/>
                </a:lnTo>
                <a:lnTo>
                  <a:pt x="5701" y="540"/>
                </a:lnTo>
                <a:lnTo>
                  <a:pt x="5707" y="534"/>
                </a:lnTo>
                <a:lnTo>
                  <a:pt x="5707" y="528"/>
                </a:lnTo>
                <a:lnTo>
                  <a:pt x="5701" y="516"/>
                </a:lnTo>
                <a:lnTo>
                  <a:pt x="5701" y="516"/>
                </a:lnTo>
                <a:lnTo>
                  <a:pt x="5701" y="510"/>
                </a:lnTo>
                <a:lnTo>
                  <a:pt x="5701" y="510"/>
                </a:lnTo>
                <a:lnTo>
                  <a:pt x="5701" y="510"/>
                </a:lnTo>
                <a:lnTo>
                  <a:pt x="5707" y="510"/>
                </a:lnTo>
                <a:lnTo>
                  <a:pt x="5707" y="510"/>
                </a:lnTo>
                <a:lnTo>
                  <a:pt x="5707" y="510"/>
                </a:lnTo>
                <a:lnTo>
                  <a:pt x="5707" y="504"/>
                </a:lnTo>
                <a:lnTo>
                  <a:pt x="5707" y="504"/>
                </a:lnTo>
                <a:lnTo>
                  <a:pt x="5707" y="504"/>
                </a:lnTo>
                <a:lnTo>
                  <a:pt x="5707" y="504"/>
                </a:lnTo>
                <a:lnTo>
                  <a:pt x="5707" y="498"/>
                </a:lnTo>
                <a:lnTo>
                  <a:pt x="5707" y="498"/>
                </a:lnTo>
                <a:lnTo>
                  <a:pt x="5707" y="498"/>
                </a:lnTo>
                <a:lnTo>
                  <a:pt x="5695" y="498"/>
                </a:lnTo>
                <a:lnTo>
                  <a:pt x="5695" y="498"/>
                </a:lnTo>
                <a:lnTo>
                  <a:pt x="5689" y="498"/>
                </a:lnTo>
                <a:lnTo>
                  <a:pt x="5683" y="498"/>
                </a:lnTo>
                <a:lnTo>
                  <a:pt x="5683" y="492"/>
                </a:lnTo>
                <a:lnTo>
                  <a:pt x="5677" y="492"/>
                </a:lnTo>
                <a:lnTo>
                  <a:pt x="5677" y="492"/>
                </a:lnTo>
                <a:lnTo>
                  <a:pt x="5677" y="492"/>
                </a:lnTo>
                <a:lnTo>
                  <a:pt x="5677" y="492"/>
                </a:lnTo>
                <a:lnTo>
                  <a:pt x="5671" y="486"/>
                </a:lnTo>
                <a:lnTo>
                  <a:pt x="5665" y="480"/>
                </a:lnTo>
                <a:lnTo>
                  <a:pt x="5665" y="480"/>
                </a:lnTo>
                <a:lnTo>
                  <a:pt x="5665" y="474"/>
                </a:lnTo>
                <a:lnTo>
                  <a:pt x="5665" y="480"/>
                </a:lnTo>
                <a:lnTo>
                  <a:pt x="5665" y="474"/>
                </a:lnTo>
                <a:lnTo>
                  <a:pt x="5665" y="474"/>
                </a:lnTo>
                <a:lnTo>
                  <a:pt x="5671" y="474"/>
                </a:lnTo>
                <a:lnTo>
                  <a:pt x="5671" y="474"/>
                </a:lnTo>
                <a:lnTo>
                  <a:pt x="5671" y="474"/>
                </a:lnTo>
                <a:lnTo>
                  <a:pt x="5671" y="469"/>
                </a:lnTo>
                <a:lnTo>
                  <a:pt x="5671" y="469"/>
                </a:lnTo>
                <a:lnTo>
                  <a:pt x="5671" y="469"/>
                </a:lnTo>
                <a:lnTo>
                  <a:pt x="5671" y="469"/>
                </a:lnTo>
                <a:lnTo>
                  <a:pt x="5671" y="463"/>
                </a:lnTo>
                <a:lnTo>
                  <a:pt x="5671" y="463"/>
                </a:lnTo>
                <a:lnTo>
                  <a:pt x="5671" y="463"/>
                </a:lnTo>
                <a:lnTo>
                  <a:pt x="5671" y="463"/>
                </a:lnTo>
                <a:lnTo>
                  <a:pt x="5671" y="457"/>
                </a:lnTo>
                <a:lnTo>
                  <a:pt x="5671" y="457"/>
                </a:lnTo>
                <a:lnTo>
                  <a:pt x="5671" y="457"/>
                </a:lnTo>
                <a:lnTo>
                  <a:pt x="5671" y="457"/>
                </a:lnTo>
                <a:lnTo>
                  <a:pt x="5671" y="457"/>
                </a:lnTo>
                <a:lnTo>
                  <a:pt x="5671" y="451"/>
                </a:lnTo>
                <a:lnTo>
                  <a:pt x="5671" y="451"/>
                </a:lnTo>
                <a:lnTo>
                  <a:pt x="5671" y="451"/>
                </a:lnTo>
                <a:lnTo>
                  <a:pt x="5671" y="451"/>
                </a:lnTo>
                <a:lnTo>
                  <a:pt x="5671" y="451"/>
                </a:lnTo>
                <a:lnTo>
                  <a:pt x="5671" y="445"/>
                </a:lnTo>
                <a:lnTo>
                  <a:pt x="5671" y="445"/>
                </a:lnTo>
                <a:lnTo>
                  <a:pt x="5671" y="427"/>
                </a:lnTo>
                <a:lnTo>
                  <a:pt x="5671" y="427"/>
                </a:lnTo>
                <a:lnTo>
                  <a:pt x="5671" y="427"/>
                </a:lnTo>
                <a:lnTo>
                  <a:pt x="5671" y="409"/>
                </a:lnTo>
                <a:lnTo>
                  <a:pt x="5671" y="391"/>
                </a:lnTo>
                <a:lnTo>
                  <a:pt x="5671" y="386"/>
                </a:lnTo>
                <a:lnTo>
                  <a:pt x="5671" y="386"/>
                </a:lnTo>
                <a:lnTo>
                  <a:pt x="5671" y="368"/>
                </a:lnTo>
                <a:lnTo>
                  <a:pt x="5671" y="350"/>
                </a:lnTo>
                <a:lnTo>
                  <a:pt x="5671" y="350"/>
                </a:lnTo>
                <a:lnTo>
                  <a:pt x="5671" y="344"/>
                </a:lnTo>
                <a:lnTo>
                  <a:pt x="5671" y="332"/>
                </a:lnTo>
                <a:lnTo>
                  <a:pt x="5671" y="314"/>
                </a:lnTo>
                <a:lnTo>
                  <a:pt x="5671" y="308"/>
                </a:lnTo>
                <a:lnTo>
                  <a:pt x="5671" y="308"/>
                </a:lnTo>
                <a:lnTo>
                  <a:pt x="5671" y="291"/>
                </a:lnTo>
                <a:lnTo>
                  <a:pt x="5671" y="285"/>
                </a:lnTo>
                <a:lnTo>
                  <a:pt x="5671" y="285"/>
                </a:lnTo>
                <a:lnTo>
                  <a:pt x="5671" y="285"/>
                </a:lnTo>
                <a:lnTo>
                  <a:pt x="5671" y="285"/>
                </a:lnTo>
                <a:lnTo>
                  <a:pt x="5665" y="279"/>
                </a:lnTo>
                <a:lnTo>
                  <a:pt x="5665" y="279"/>
                </a:lnTo>
                <a:lnTo>
                  <a:pt x="5659" y="273"/>
                </a:lnTo>
                <a:lnTo>
                  <a:pt x="5653" y="273"/>
                </a:lnTo>
                <a:lnTo>
                  <a:pt x="5653" y="273"/>
                </a:lnTo>
                <a:lnTo>
                  <a:pt x="5653" y="267"/>
                </a:lnTo>
                <a:lnTo>
                  <a:pt x="5653" y="267"/>
                </a:lnTo>
                <a:lnTo>
                  <a:pt x="5653" y="261"/>
                </a:lnTo>
                <a:lnTo>
                  <a:pt x="5647" y="261"/>
                </a:lnTo>
                <a:lnTo>
                  <a:pt x="5641" y="255"/>
                </a:lnTo>
                <a:lnTo>
                  <a:pt x="5635" y="255"/>
                </a:lnTo>
                <a:lnTo>
                  <a:pt x="5635" y="249"/>
                </a:lnTo>
                <a:lnTo>
                  <a:pt x="5635" y="249"/>
                </a:lnTo>
                <a:lnTo>
                  <a:pt x="5630" y="249"/>
                </a:lnTo>
                <a:lnTo>
                  <a:pt x="5630" y="243"/>
                </a:lnTo>
                <a:lnTo>
                  <a:pt x="5624" y="243"/>
                </a:lnTo>
                <a:lnTo>
                  <a:pt x="5618" y="243"/>
                </a:lnTo>
                <a:lnTo>
                  <a:pt x="5618" y="243"/>
                </a:lnTo>
                <a:lnTo>
                  <a:pt x="5612" y="243"/>
                </a:lnTo>
                <a:lnTo>
                  <a:pt x="5612" y="249"/>
                </a:lnTo>
                <a:lnTo>
                  <a:pt x="5612" y="249"/>
                </a:lnTo>
                <a:lnTo>
                  <a:pt x="5612" y="249"/>
                </a:lnTo>
                <a:lnTo>
                  <a:pt x="5612" y="249"/>
                </a:lnTo>
                <a:lnTo>
                  <a:pt x="5612" y="249"/>
                </a:lnTo>
                <a:lnTo>
                  <a:pt x="5612" y="249"/>
                </a:lnTo>
                <a:lnTo>
                  <a:pt x="5612" y="249"/>
                </a:lnTo>
                <a:lnTo>
                  <a:pt x="5606" y="249"/>
                </a:lnTo>
                <a:lnTo>
                  <a:pt x="5606" y="255"/>
                </a:lnTo>
                <a:lnTo>
                  <a:pt x="5606" y="255"/>
                </a:lnTo>
                <a:lnTo>
                  <a:pt x="5606" y="255"/>
                </a:lnTo>
                <a:lnTo>
                  <a:pt x="5606" y="249"/>
                </a:lnTo>
                <a:lnTo>
                  <a:pt x="5606" y="249"/>
                </a:lnTo>
                <a:lnTo>
                  <a:pt x="5600" y="249"/>
                </a:lnTo>
                <a:lnTo>
                  <a:pt x="5600" y="249"/>
                </a:lnTo>
                <a:lnTo>
                  <a:pt x="5594" y="249"/>
                </a:lnTo>
                <a:lnTo>
                  <a:pt x="5594" y="255"/>
                </a:lnTo>
                <a:lnTo>
                  <a:pt x="5588" y="255"/>
                </a:lnTo>
                <a:lnTo>
                  <a:pt x="5588" y="255"/>
                </a:lnTo>
                <a:lnTo>
                  <a:pt x="5588" y="255"/>
                </a:lnTo>
                <a:lnTo>
                  <a:pt x="5588" y="255"/>
                </a:lnTo>
                <a:lnTo>
                  <a:pt x="5588" y="261"/>
                </a:lnTo>
                <a:lnTo>
                  <a:pt x="5582" y="261"/>
                </a:lnTo>
                <a:lnTo>
                  <a:pt x="5576" y="261"/>
                </a:lnTo>
                <a:lnTo>
                  <a:pt x="5576" y="261"/>
                </a:lnTo>
                <a:lnTo>
                  <a:pt x="5558" y="267"/>
                </a:lnTo>
                <a:lnTo>
                  <a:pt x="5558" y="267"/>
                </a:lnTo>
                <a:lnTo>
                  <a:pt x="5547" y="261"/>
                </a:lnTo>
                <a:lnTo>
                  <a:pt x="5547" y="255"/>
                </a:lnTo>
                <a:lnTo>
                  <a:pt x="5547" y="255"/>
                </a:lnTo>
                <a:lnTo>
                  <a:pt x="5547" y="255"/>
                </a:lnTo>
                <a:lnTo>
                  <a:pt x="5547" y="249"/>
                </a:lnTo>
                <a:lnTo>
                  <a:pt x="5547" y="249"/>
                </a:lnTo>
                <a:lnTo>
                  <a:pt x="5541" y="249"/>
                </a:lnTo>
                <a:lnTo>
                  <a:pt x="5547" y="237"/>
                </a:lnTo>
                <a:lnTo>
                  <a:pt x="5547" y="231"/>
                </a:lnTo>
                <a:lnTo>
                  <a:pt x="5547" y="231"/>
                </a:lnTo>
                <a:lnTo>
                  <a:pt x="5541" y="231"/>
                </a:lnTo>
                <a:lnTo>
                  <a:pt x="5529" y="225"/>
                </a:lnTo>
                <a:lnTo>
                  <a:pt x="5529" y="225"/>
                </a:lnTo>
                <a:lnTo>
                  <a:pt x="5523" y="231"/>
                </a:lnTo>
                <a:lnTo>
                  <a:pt x="5523" y="231"/>
                </a:lnTo>
                <a:lnTo>
                  <a:pt x="5517" y="237"/>
                </a:lnTo>
                <a:lnTo>
                  <a:pt x="5517" y="243"/>
                </a:lnTo>
                <a:lnTo>
                  <a:pt x="5505" y="255"/>
                </a:lnTo>
                <a:lnTo>
                  <a:pt x="5499" y="273"/>
                </a:lnTo>
                <a:lnTo>
                  <a:pt x="5487" y="285"/>
                </a:lnTo>
                <a:lnTo>
                  <a:pt x="5481" y="297"/>
                </a:lnTo>
                <a:lnTo>
                  <a:pt x="5475" y="302"/>
                </a:lnTo>
                <a:lnTo>
                  <a:pt x="5470" y="308"/>
                </a:lnTo>
                <a:lnTo>
                  <a:pt x="5464" y="320"/>
                </a:lnTo>
                <a:lnTo>
                  <a:pt x="5458" y="320"/>
                </a:lnTo>
                <a:lnTo>
                  <a:pt x="5452" y="338"/>
                </a:lnTo>
                <a:lnTo>
                  <a:pt x="5452" y="338"/>
                </a:lnTo>
                <a:lnTo>
                  <a:pt x="5452" y="338"/>
                </a:lnTo>
                <a:lnTo>
                  <a:pt x="5446" y="344"/>
                </a:lnTo>
                <a:lnTo>
                  <a:pt x="5446" y="350"/>
                </a:lnTo>
                <a:lnTo>
                  <a:pt x="5446" y="350"/>
                </a:lnTo>
                <a:lnTo>
                  <a:pt x="5446" y="368"/>
                </a:lnTo>
                <a:lnTo>
                  <a:pt x="5446" y="368"/>
                </a:lnTo>
                <a:lnTo>
                  <a:pt x="5446" y="374"/>
                </a:lnTo>
                <a:lnTo>
                  <a:pt x="5446" y="380"/>
                </a:lnTo>
                <a:lnTo>
                  <a:pt x="5446" y="380"/>
                </a:lnTo>
                <a:lnTo>
                  <a:pt x="5434" y="386"/>
                </a:lnTo>
                <a:lnTo>
                  <a:pt x="5434" y="386"/>
                </a:lnTo>
                <a:lnTo>
                  <a:pt x="5434" y="386"/>
                </a:lnTo>
                <a:lnTo>
                  <a:pt x="5434" y="391"/>
                </a:lnTo>
                <a:lnTo>
                  <a:pt x="5434" y="391"/>
                </a:lnTo>
                <a:lnTo>
                  <a:pt x="5428" y="391"/>
                </a:lnTo>
                <a:lnTo>
                  <a:pt x="5428" y="391"/>
                </a:lnTo>
                <a:lnTo>
                  <a:pt x="5428" y="397"/>
                </a:lnTo>
                <a:lnTo>
                  <a:pt x="5428" y="397"/>
                </a:lnTo>
                <a:lnTo>
                  <a:pt x="5428" y="397"/>
                </a:lnTo>
                <a:lnTo>
                  <a:pt x="5428" y="397"/>
                </a:lnTo>
                <a:lnTo>
                  <a:pt x="5428" y="397"/>
                </a:lnTo>
                <a:lnTo>
                  <a:pt x="5428" y="403"/>
                </a:lnTo>
                <a:lnTo>
                  <a:pt x="5422" y="409"/>
                </a:lnTo>
                <a:lnTo>
                  <a:pt x="5422" y="415"/>
                </a:lnTo>
                <a:lnTo>
                  <a:pt x="5422" y="415"/>
                </a:lnTo>
                <a:lnTo>
                  <a:pt x="5428" y="415"/>
                </a:lnTo>
                <a:lnTo>
                  <a:pt x="5428" y="421"/>
                </a:lnTo>
                <a:lnTo>
                  <a:pt x="5428" y="421"/>
                </a:lnTo>
                <a:lnTo>
                  <a:pt x="5428" y="421"/>
                </a:lnTo>
                <a:lnTo>
                  <a:pt x="5422" y="427"/>
                </a:lnTo>
                <a:lnTo>
                  <a:pt x="5422" y="427"/>
                </a:lnTo>
                <a:lnTo>
                  <a:pt x="5422" y="427"/>
                </a:lnTo>
                <a:lnTo>
                  <a:pt x="5422" y="427"/>
                </a:lnTo>
                <a:lnTo>
                  <a:pt x="5422" y="433"/>
                </a:lnTo>
                <a:lnTo>
                  <a:pt x="5422" y="433"/>
                </a:lnTo>
                <a:lnTo>
                  <a:pt x="5422" y="433"/>
                </a:lnTo>
                <a:lnTo>
                  <a:pt x="5422" y="433"/>
                </a:lnTo>
                <a:lnTo>
                  <a:pt x="5422" y="433"/>
                </a:lnTo>
                <a:lnTo>
                  <a:pt x="5422" y="433"/>
                </a:lnTo>
                <a:lnTo>
                  <a:pt x="5422" y="433"/>
                </a:lnTo>
                <a:lnTo>
                  <a:pt x="5422" y="433"/>
                </a:lnTo>
                <a:lnTo>
                  <a:pt x="5422" y="433"/>
                </a:lnTo>
                <a:lnTo>
                  <a:pt x="5422" y="433"/>
                </a:lnTo>
                <a:lnTo>
                  <a:pt x="5422" y="433"/>
                </a:lnTo>
                <a:lnTo>
                  <a:pt x="5416" y="439"/>
                </a:lnTo>
                <a:lnTo>
                  <a:pt x="5416" y="439"/>
                </a:lnTo>
                <a:lnTo>
                  <a:pt x="5416" y="445"/>
                </a:lnTo>
                <a:lnTo>
                  <a:pt x="5422" y="445"/>
                </a:lnTo>
                <a:lnTo>
                  <a:pt x="5422" y="445"/>
                </a:lnTo>
                <a:lnTo>
                  <a:pt x="5422" y="445"/>
                </a:lnTo>
                <a:lnTo>
                  <a:pt x="5422" y="445"/>
                </a:lnTo>
                <a:lnTo>
                  <a:pt x="5422" y="445"/>
                </a:lnTo>
                <a:lnTo>
                  <a:pt x="5422" y="445"/>
                </a:lnTo>
                <a:lnTo>
                  <a:pt x="5428" y="445"/>
                </a:lnTo>
                <a:lnTo>
                  <a:pt x="5422" y="451"/>
                </a:lnTo>
                <a:lnTo>
                  <a:pt x="5422" y="451"/>
                </a:lnTo>
                <a:lnTo>
                  <a:pt x="5422" y="457"/>
                </a:lnTo>
                <a:lnTo>
                  <a:pt x="5422" y="457"/>
                </a:lnTo>
                <a:lnTo>
                  <a:pt x="5422" y="457"/>
                </a:lnTo>
                <a:lnTo>
                  <a:pt x="5410" y="463"/>
                </a:lnTo>
                <a:lnTo>
                  <a:pt x="5410" y="469"/>
                </a:lnTo>
                <a:lnTo>
                  <a:pt x="5410" y="469"/>
                </a:lnTo>
                <a:lnTo>
                  <a:pt x="5410" y="469"/>
                </a:lnTo>
                <a:lnTo>
                  <a:pt x="5410" y="469"/>
                </a:lnTo>
                <a:lnTo>
                  <a:pt x="5410" y="469"/>
                </a:lnTo>
                <a:lnTo>
                  <a:pt x="5410" y="469"/>
                </a:lnTo>
                <a:lnTo>
                  <a:pt x="5410" y="474"/>
                </a:lnTo>
                <a:lnTo>
                  <a:pt x="5410" y="474"/>
                </a:lnTo>
                <a:lnTo>
                  <a:pt x="5410" y="474"/>
                </a:lnTo>
                <a:lnTo>
                  <a:pt x="5410" y="480"/>
                </a:lnTo>
                <a:lnTo>
                  <a:pt x="5410" y="480"/>
                </a:lnTo>
                <a:lnTo>
                  <a:pt x="5410" y="480"/>
                </a:lnTo>
                <a:lnTo>
                  <a:pt x="5404" y="480"/>
                </a:lnTo>
                <a:lnTo>
                  <a:pt x="5404" y="480"/>
                </a:lnTo>
                <a:lnTo>
                  <a:pt x="5404" y="480"/>
                </a:lnTo>
                <a:lnTo>
                  <a:pt x="5404" y="480"/>
                </a:lnTo>
                <a:lnTo>
                  <a:pt x="5404" y="480"/>
                </a:lnTo>
                <a:lnTo>
                  <a:pt x="5404" y="480"/>
                </a:lnTo>
                <a:lnTo>
                  <a:pt x="5398" y="486"/>
                </a:lnTo>
                <a:lnTo>
                  <a:pt x="5393" y="486"/>
                </a:lnTo>
                <a:lnTo>
                  <a:pt x="5393" y="492"/>
                </a:lnTo>
                <a:lnTo>
                  <a:pt x="5387" y="498"/>
                </a:lnTo>
                <a:lnTo>
                  <a:pt x="5381" y="504"/>
                </a:lnTo>
                <a:lnTo>
                  <a:pt x="5381" y="504"/>
                </a:lnTo>
                <a:lnTo>
                  <a:pt x="5381" y="510"/>
                </a:lnTo>
                <a:lnTo>
                  <a:pt x="5381" y="510"/>
                </a:lnTo>
                <a:lnTo>
                  <a:pt x="5381" y="510"/>
                </a:lnTo>
                <a:lnTo>
                  <a:pt x="5381" y="516"/>
                </a:lnTo>
                <a:lnTo>
                  <a:pt x="5381" y="516"/>
                </a:lnTo>
                <a:lnTo>
                  <a:pt x="5381" y="516"/>
                </a:lnTo>
                <a:lnTo>
                  <a:pt x="5387" y="522"/>
                </a:lnTo>
                <a:lnTo>
                  <a:pt x="5387" y="522"/>
                </a:lnTo>
                <a:lnTo>
                  <a:pt x="5387" y="522"/>
                </a:lnTo>
                <a:lnTo>
                  <a:pt x="5387" y="522"/>
                </a:lnTo>
                <a:lnTo>
                  <a:pt x="5387" y="528"/>
                </a:lnTo>
                <a:lnTo>
                  <a:pt x="5381" y="528"/>
                </a:lnTo>
                <a:lnTo>
                  <a:pt x="5381" y="528"/>
                </a:lnTo>
                <a:lnTo>
                  <a:pt x="5381" y="528"/>
                </a:lnTo>
                <a:lnTo>
                  <a:pt x="5375" y="522"/>
                </a:lnTo>
                <a:lnTo>
                  <a:pt x="5375" y="522"/>
                </a:lnTo>
                <a:lnTo>
                  <a:pt x="5369" y="522"/>
                </a:lnTo>
                <a:lnTo>
                  <a:pt x="5369" y="522"/>
                </a:lnTo>
                <a:lnTo>
                  <a:pt x="5369" y="522"/>
                </a:lnTo>
                <a:lnTo>
                  <a:pt x="5369" y="522"/>
                </a:lnTo>
                <a:lnTo>
                  <a:pt x="5369" y="528"/>
                </a:lnTo>
                <a:lnTo>
                  <a:pt x="5369" y="528"/>
                </a:lnTo>
                <a:lnTo>
                  <a:pt x="5369" y="534"/>
                </a:lnTo>
                <a:lnTo>
                  <a:pt x="5369" y="534"/>
                </a:lnTo>
                <a:lnTo>
                  <a:pt x="5369" y="540"/>
                </a:lnTo>
                <a:lnTo>
                  <a:pt x="5369" y="540"/>
                </a:lnTo>
                <a:lnTo>
                  <a:pt x="5369" y="540"/>
                </a:lnTo>
                <a:lnTo>
                  <a:pt x="5363" y="540"/>
                </a:lnTo>
                <a:lnTo>
                  <a:pt x="5363" y="540"/>
                </a:lnTo>
                <a:lnTo>
                  <a:pt x="5363" y="540"/>
                </a:lnTo>
                <a:lnTo>
                  <a:pt x="5363" y="546"/>
                </a:lnTo>
                <a:lnTo>
                  <a:pt x="5363" y="546"/>
                </a:lnTo>
                <a:lnTo>
                  <a:pt x="5363" y="546"/>
                </a:lnTo>
                <a:lnTo>
                  <a:pt x="5363" y="546"/>
                </a:lnTo>
                <a:lnTo>
                  <a:pt x="5363" y="546"/>
                </a:lnTo>
                <a:lnTo>
                  <a:pt x="5363" y="552"/>
                </a:lnTo>
                <a:lnTo>
                  <a:pt x="5363" y="546"/>
                </a:lnTo>
                <a:lnTo>
                  <a:pt x="5357" y="534"/>
                </a:lnTo>
                <a:lnTo>
                  <a:pt x="5357" y="534"/>
                </a:lnTo>
                <a:lnTo>
                  <a:pt x="5351" y="534"/>
                </a:lnTo>
                <a:lnTo>
                  <a:pt x="5351" y="534"/>
                </a:lnTo>
                <a:lnTo>
                  <a:pt x="5351" y="534"/>
                </a:lnTo>
                <a:lnTo>
                  <a:pt x="5345" y="534"/>
                </a:lnTo>
                <a:lnTo>
                  <a:pt x="5345" y="540"/>
                </a:lnTo>
                <a:lnTo>
                  <a:pt x="5345" y="540"/>
                </a:lnTo>
                <a:lnTo>
                  <a:pt x="5345" y="540"/>
                </a:lnTo>
                <a:lnTo>
                  <a:pt x="5345" y="540"/>
                </a:lnTo>
                <a:lnTo>
                  <a:pt x="5345" y="540"/>
                </a:lnTo>
                <a:lnTo>
                  <a:pt x="5345" y="540"/>
                </a:lnTo>
                <a:lnTo>
                  <a:pt x="5339" y="540"/>
                </a:lnTo>
                <a:lnTo>
                  <a:pt x="5339" y="540"/>
                </a:lnTo>
                <a:lnTo>
                  <a:pt x="5339" y="540"/>
                </a:lnTo>
                <a:lnTo>
                  <a:pt x="5339" y="540"/>
                </a:lnTo>
                <a:lnTo>
                  <a:pt x="5339" y="546"/>
                </a:lnTo>
                <a:lnTo>
                  <a:pt x="5339" y="546"/>
                </a:lnTo>
                <a:lnTo>
                  <a:pt x="5339" y="546"/>
                </a:lnTo>
                <a:lnTo>
                  <a:pt x="5333" y="546"/>
                </a:lnTo>
                <a:lnTo>
                  <a:pt x="5333" y="546"/>
                </a:lnTo>
                <a:lnTo>
                  <a:pt x="5333" y="546"/>
                </a:lnTo>
                <a:lnTo>
                  <a:pt x="5333" y="546"/>
                </a:lnTo>
                <a:lnTo>
                  <a:pt x="5327" y="546"/>
                </a:lnTo>
                <a:lnTo>
                  <a:pt x="5321" y="540"/>
                </a:lnTo>
                <a:lnTo>
                  <a:pt x="5321" y="540"/>
                </a:lnTo>
                <a:lnTo>
                  <a:pt x="5321" y="540"/>
                </a:lnTo>
                <a:lnTo>
                  <a:pt x="5321" y="540"/>
                </a:lnTo>
                <a:lnTo>
                  <a:pt x="5321" y="540"/>
                </a:lnTo>
                <a:lnTo>
                  <a:pt x="5315" y="540"/>
                </a:lnTo>
                <a:lnTo>
                  <a:pt x="5315" y="546"/>
                </a:lnTo>
                <a:lnTo>
                  <a:pt x="5315" y="546"/>
                </a:lnTo>
                <a:lnTo>
                  <a:pt x="5315" y="546"/>
                </a:lnTo>
                <a:lnTo>
                  <a:pt x="5315" y="546"/>
                </a:lnTo>
                <a:lnTo>
                  <a:pt x="5310" y="546"/>
                </a:lnTo>
                <a:lnTo>
                  <a:pt x="5310" y="546"/>
                </a:lnTo>
                <a:lnTo>
                  <a:pt x="5310" y="552"/>
                </a:lnTo>
                <a:lnTo>
                  <a:pt x="5304" y="552"/>
                </a:lnTo>
                <a:lnTo>
                  <a:pt x="5310" y="552"/>
                </a:lnTo>
                <a:lnTo>
                  <a:pt x="5310" y="552"/>
                </a:lnTo>
                <a:lnTo>
                  <a:pt x="5310" y="558"/>
                </a:lnTo>
                <a:lnTo>
                  <a:pt x="5310" y="558"/>
                </a:lnTo>
                <a:lnTo>
                  <a:pt x="5310" y="563"/>
                </a:lnTo>
                <a:lnTo>
                  <a:pt x="5310" y="563"/>
                </a:lnTo>
                <a:lnTo>
                  <a:pt x="5310" y="563"/>
                </a:lnTo>
                <a:lnTo>
                  <a:pt x="5310" y="563"/>
                </a:lnTo>
                <a:lnTo>
                  <a:pt x="5304" y="563"/>
                </a:lnTo>
                <a:lnTo>
                  <a:pt x="5304" y="563"/>
                </a:lnTo>
                <a:lnTo>
                  <a:pt x="5304" y="569"/>
                </a:lnTo>
                <a:lnTo>
                  <a:pt x="5304" y="569"/>
                </a:lnTo>
                <a:lnTo>
                  <a:pt x="5304" y="575"/>
                </a:lnTo>
                <a:lnTo>
                  <a:pt x="5304" y="575"/>
                </a:lnTo>
                <a:lnTo>
                  <a:pt x="5304" y="575"/>
                </a:lnTo>
                <a:lnTo>
                  <a:pt x="5298" y="575"/>
                </a:lnTo>
                <a:lnTo>
                  <a:pt x="5304" y="575"/>
                </a:lnTo>
                <a:lnTo>
                  <a:pt x="5304" y="581"/>
                </a:lnTo>
                <a:lnTo>
                  <a:pt x="5304" y="581"/>
                </a:lnTo>
                <a:lnTo>
                  <a:pt x="5292" y="581"/>
                </a:lnTo>
                <a:lnTo>
                  <a:pt x="5280" y="581"/>
                </a:lnTo>
                <a:lnTo>
                  <a:pt x="5280" y="581"/>
                </a:lnTo>
                <a:lnTo>
                  <a:pt x="5274" y="581"/>
                </a:lnTo>
                <a:lnTo>
                  <a:pt x="5262" y="581"/>
                </a:lnTo>
                <a:lnTo>
                  <a:pt x="5256" y="581"/>
                </a:lnTo>
                <a:lnTo>
                  <a:pt x="5250" y="581"/>
                </a:lnTo>
                <a:lnTo>
                  <a:pt x="5238" y="581"/>
                </a:lnTo>
                <a:lnTo>
                  <a:pt x="5233" y="581"/>
                </a:lnTo>
                <a:lnTo>
                  <a:pt x="5221" y="581"/>
                </a:lnTo>
                <a:lnTo>
                  <a:pt x="5221" y="581"/>
                </a:lnTo>
                <a:lnTo>
                  <a:pt x="5209" y="581"/>
                </a:lnTo>
                <a:lnTo>
                  <a:pt x="5203" y="581"/>
                </a:lnTo>
                <a:lnTo>
                  <a:pt x="5191" y="581"/>
                </a:lnTo>
                <a:lnTo>
                  <a:pt x="5191" y="581"/>
                </a:lnTo>
                <a:lnTo>
                  <a:pt x="5179" y="581"/>
                </a:lnTo>
                <a:lnTo>
                  <a:pt x="5173" y="581"/>
                </a:lnTo>
                <a:lnTo>
                  <a:pt x="5161" y="581"/>
                </a:lnTo>
                <a:lnTo>
                  <a:pt x="5150" y="581"/>
                </a:lnTo>
                <a:lnTo>
                  <a:pt x="5144" y="581"/>
                </a:lnTo>
                <a:lnTo>
                  <a:pt x="5132" y="581"/>
                </a:lnTo>
                <a:lnTo>
                  <a:pt x="5132" y="581"/>
                </a:lnTo>
                <a:lnTo>
                  <a:pt x="5126" y="581"/>
                </a:lnTo>
                <a:lnTo>
                  <a:pt x="5120" y="581"/>
                </a:lnTo>
                <a:lnTo>
                  <a:pt x="5120" y="581"/>
                </a:lnTo>
                <a:lnTo>
                  <a:pt x="5120" y="581"/>
                </a:lnTo>
                <a:lnTo>
                  <a:pt x="5114" y="581"/>
                </a:lnTo>
                <a:lnTo>
                  <a:pt x="5114" y="581"/>
                </a:lnTo>
                <a:lnTo>
                  <a:pt x="5114" y="581"/>
                </a:lnTo>
                <a:lnTo>
                  <a:pt x="5102" y="581"/>
                </a:lnTo>
                <a:lnTo>
                  <a:pt x="5090" y="581"/>
                </a:lnTo>
                <a:lnTo>
                  <a:pt x="5084" y="581"/>
                </a:lnTo>
                <a:lnTo>
                  <a:pt x="5073" y="581"/>
                </a:lnTo>
                <a:lnTo>
                  <a:pt x="5073" y="581"/>
                </a:lnTo>
                <a:lnTo>
                  <a:pt x="5061" y="581"/>
                </a:lnTo>
                <a:lnTo>
                  <a:pt x="5055" y="581"/>
                </a:lnTo>
                <a:lnTo>
                  <a:pt x="5043" y="581"/>
                </a:lnTo>
                <a:lnTo>
                  <a:pt x="5031" y="581"/>
                </a:lnTo>
                <a:lnTo>
                  <a:pt x="5025" y="581"/>
                </a:lnTo>
                <a:lnTo>
                  <a:pt x="5013" y="581"/>
                </a:lnTo>
                <a:lnTo>
                  <a:pt x="5001" y="581"/>
                </a:lnTo>
                <a:lnTo>
                  <a:pt x="4995" y="581"/>
                </a:lnTo>
                <a:lnTo>
                  <a:pt x="4984" y="581"/>
                </a:lnTo>
                <a:lnTo>
                  <a:pt x="4984" y="581"/>
                </a:lnTo>
                <a:lnTo>
                  <a:pt x="4978" y="581"/>
                </a:lnTo>
                <a:lnTo>
                  <a:pt x="4966" y="581"/>
                </a:lnTo>
                <a:lnTo>
                  <a:pt x="4966" y="581"/>
                </a:lnTo>
                <a:lnTo>
                  <a:pt x="4960" y="581"/>
                </a:lnTo>
                <a:lnTo>
                  <a:pt x="4960" y="581"/>
                </a:lnTo>
                <a:lnTo>
                  <a:pt x="4954" y="587"/>
                </a:lnTo>
                <a:lnTo>
                  <a:pt x="4954" y="587"/>
                </a:lnTo>
                <a:lnTo>
                  <a:pt x="4954" y="587"/>
                </a:lnTo>
                <a:lnTo>
                  <a:pt x="4948" y="587"/>
                </a:lnTo>
                <a:lnTo>
                  <a:pt x="4948" y="593"/>
                </a:lnTo>
                <a:lnTo>
                  <a:pt x="4948" y="593"/>
                </a:lnTo>
                <a:lnTo>
                  <a:pt x="4942" y="593"/>
                </a:lnTo>
                <a:lnTo>
                  <a:pt x="4924" y="599"/>
                </a:lnTo>
                <a:lnTo>
                  <a:pt x="4918" y="611"/>
                </a:lnTo>
                <a:lnTo>
                  <a:pt x="4907" y="617"/>
                </a:lnTo>
                <a:lnTo>
                  <a:pt x="4895" y="629"/>
                </a:lnTo>
                <a:lnTo>
                  <a:pt x="4883" y="641"/>
                </a:lnTo>
                <a:lnTo>
                  <a:pt x="4877" y="646"/>
                </a:lnTo>
                <a:lnTo>
                  <a:pt x="4877" y="652"/>
                </a:lnTo>
                <a:lnTo>
                  <a:pt x="4877" y="652"/>
                </a:lnTo>
                <a:lnTo>
                  <a:pt x="4877" y="652"/>
                </a:lnTo>
                <a:lnTo>
                  <a:pt x="4877" y="652"/>
                </a:lnTo>
                <a:lnTo>
                  <a:pt x="4877" y="658"/>
                </a:lnTo>
                <a:lnTo>
                  <a:pt x="4877" y="658"/>
                </a:lnTo>
                <a:lnTo>
                  <a:pt x="4877" y="664"/>
                </a:lnTo>
                <a:lnTo>
                  <a:pt x="4871" y="664"/>
                </a:lnTo>
                <a:lnTo>
                  <a:pt x="4871" y="664"/>
                </a:lnTo>
                <a:lnTo>
                  <a:pt x="4871" y="670"/>
                </a:lnTo>
                <a:lnTo>
                  <a:pt x="4871" y="670"/>
                </a:lnTo>
                <a:lnTo>
                  <a:pt x="4865" y="670"/>
                </a:lnTo>
                <a:lnTo>
                  <a:pt x="4865" y="670"/>
                </a:lnTo>
                <a:lnTo>
                  <a:pt x="4865" y="670"/>
                </a:lnTo>
                <a:lnTo>
                  <a:pt x="4859" y="670"/>
                </a:lnTo>
                <a:lnTo>
                  <a:pt x="4859" y="676"/>
                </a:lnTo>
                <a:lnTo>
                  <a:pt x="4847" y="688"/>
                </a:lnTo>
                <a:lnTo>
                  <a:pt x="4835" y="694"/>
                </a:lnTo>
                <a:lnTo>
                  <a:pt x="4818" y="706"/>
                </a:lnTo>
                <a:lnTo>
                  <a:pt x="4818" y="706"/>
                </a:lnTo>
                <a:lnTo>
                  <a:pt x="4818" y="706"/>
                </a:lnTo>
                <a:lnTo>
                  <a:pt x="4818" y="712"/>
                </a:lnTo>
                <a:lnTo>
                  <a:pt x="4818" y="712"/>
                </a:lnTo>
                <a:lnTo>
                  <a:pt x="4824" y="712"/>
                </a:lnTo>
                <a:lnTo>
                  <a:pt x="4824" y="712"/>
                </a:lnTo>
                <a:lnTo>
                  <a:pt x="4824" y="712"/>
                </a:lnTo>
                <a:lnTo>
                  <a:pt x="4824" y="718"/>
                </a:lnTo>
                <a:lnTo>
                  <a:pt x="4824" y="718"/>
                </a:lnTo>
                <a:lnTo>
                  <a:pt x="4824" y="718"/>
                </a:lnTo>
                <a:lnTo>
                  <a:pt x="4824" y="718"/>
                </a:lnTo>
                <a:lnTo>
                  <a:pt x="4824" y="718"/>
                </a:lnTo>
                <a:lnTo>
                  <a:pt x="4824" y="718"/>
                </a:lnTo>
                <a:lnTo>
                  <a:pt x="4824" y="712"/>
                </a:lnTo>
                <a:lnTo>
                  <a:pt x="4830" y="712"/>
                </a:lnTo>
                <a:lnTo>
                  <a:pt x="4835" y="712"/>
                </a:lnTo>
                <a:lnTo>
                  <a:pt x="4835" y="712"/>
                </a:lnTo>
                <a:lnTo>
                  <a:pt x="4841" y="712"/>
                </a:lnTo>
                <a:lnTo>
                  <a:pt x="4835" y="712"/>
                </a:lnTo>
                <a:lnTo>
                  <a:pt x="4835" y="712"/>
                </a:lnTo>
                <a:lnTo>
                  <a:pt x="4835" y="718"/>
                </a:lnTo>
                <a:lnTo>
                  <a:pt x="4835" y="718"/>
                </a:lnTo>
                <a:lnTo>
                  <a:pt x="4841" y="712"/>
                </a:lnTo>
                <a:lnTo>
                  <a:pt x="4841" y="712"/>
                </a:lnTo>
                <a:lnTo>
                  <a:pt x="4841" y="712"/>
                </a:lnTo>
                <a:lnTo>
                  <a:pt x="4841" y="718"/>
                </a:lnTo>
                <a:lnTo>
                  <a:pt x="4841" y="718"/>
                </a:lnTo>
                <a:lnTo>
                  <a:pt x="4835" y="718"/>
                </a:lnTo>
                <a:lnTo>
                  <a:pt x="4835" y="718"/>
                </a:lnTo>
                <a:lnTo>
                  <a:pt x="4835" y="724"/>
                </a:lnTo>
                <a:lnTo>
                  <a:pt x="4830" y="724"/>
                </a:lnTo>
                <a:lnTo>
                  <a:pt x="4835" y="724"/>
                </a:lnTo>
                <a:lnTo>
                  <a:pt x="4841" y="724"/>
                </a:lnTo>
                <a:lnTo>
                  <a:pt x="4841" y="724"/>
                </a:lnTo>
                <a:lnTo>
                  <a:pt x="4841" y="724"/>
                </a:lnTo>
                <a:lnTo>
                  <a:pt x="4847" y="718"/>
                </a:lnTo>
                <a:lnTo>
                  <a:pt x="4847" y="724"/>
                </a:lnTo>
                <a:lnTo>
                  <a:pt x="4847" y="724"/>
                </a:lnTo>
                <a:lnTo>
                  <a:pt x="4847" y="724"/>
                </a:lnTo>
                <a:lnTo>
                  <a:pt x="4847" y="724"/>
                </a:lnTo>
                <a:lnTo>
                  <a:pt x="4847" y="724"/>
                </a:lnTo>
                <a:lnTo>
                  <a:pt x="4841" y="730"/>
                </a:lnTo>
                <a:lnTo>
                  <a:pt x="4841" y="730"/>
                </a:lnTo>
                <a:lnTo>
                  <a:pt x="4841" y="730"/>
                </a:lnTo>
                <a:lnTo>
                  <a:pt x="4841" y="730"/>
                </a:lnTo>
                <a:lnTo>
                  <a:pt x="4841" y="735"/>
                </a:lnTo>
                <a:lnTo>
                  <a:pt x="4835" y="735"/>
                </a:lnTo>
                <a:lnTo>
                  <a:pt x="4835" y="741"/>
                </a:lnTo>
                <a:lnTo>
                  <a:pt x="4830" y="741"/>
                </a:lnTo>
                <a:lnTo>
                  <a:pt x="4830" y="741"/>
                </a:lnTo>
                <a:lnTo>
                  <a:pt x="4830" y="741"/>
                </a:lnTo>
                <a:lnTo>
                  <a:pt x="4830" y="735"/>
                </a:lnTo>
                <a:lnTo>
                  <a:pt x="4824" y="735"/>
                </a:lnTo>
                <a:lnTo>
                  <a:pt x="4824" y="741"/>
                </a:lnTo>
                <a:lnTo>
                  <a:pt x="4824" y="741"/>
                </a:lnTo>
                <a:lnTo>
                  <a:pt x="4824" y="741"/>
                </a:lnTo>
                <a:lnTo>
                  <a:pt x="4824" y="741"/>
                </a:lnTo>
                <a:lnTo>
                  <a:pt x="4830" y="747"/>
                </a:lnTo>
                <a:lnTo>
                  <a:pt x="4830" y="747"/>
                </a:lnTo>
                <a:lnTo>
                  <a:pt x="4830" y="747"/>
                </a:lnTo>
                <a:lnTo>
                  <a:pt x="4830" y="747"/>
                </a:lnTo>
                <a:lnTo>
                  <a:pt x="4830" y="747"/>
                </a:lnTo>
                <a:lnTo>
                  <a:pt x="4830" y="747"/>
                </a:lnTo>
                <a:lnTo>
                  <a:pt x="4830" y="747"/>
                </a:lnTo>
                <a:lnTo>
                  <a:pt x="4830" y="753"/>
                </a:lnTo>
                <a:lnTo>
                  <a:pt x="4830" y="759"/>
                </a:lnTo>
                <a:lnTo>
                  <a:pt x="4830" y="759"/>
                </a:lnTo>
                <a:lnTo>
                  <a:pt x="4830" y="759"/>
                </a:lnTo>
                <a:lnTo>
                  <a:pt x="4830" y="765"/>
                </a:lnTo>
                <a:lnTo>
                  <a:pt x="4830" y="765"/>
                </a:lnTo>
                <a:lnTo>
                  <a:pt x="4830" y="771"/>
                </a:lnTo>
                <a:lnTo>
                  <a:pt x="4835" y="771"/>
                </a:lnTo>
                <a:lnTo>
                  <a:pt x="4835" y="765"/>
                </a:lnTo>
                <a:lnTo>
                  <a:pt x="4835" y="765"/>
                </a:lnTo>
                <a:lnTo>
                  <a:pt x="4835" y="765"/>
                </a:lnTo>
                <a:lnTo>
                  <a:pt x="4830" y="777"/>
                </a:lnTo>
                <a:lnTo>
                  <a:pt x="4830" y="777"/>
                </a:lnTo>
                <a:lnTo>
                  <a:pt x="4835" y="777"/>
                </a:lnTo>
                <a:lnTo>
                  <a:pt x="4835" y="783"/>
                </a:lnTo>
                <a:lnTo>
                  <a:pt x="4830" y="783"/>
                </a:lnTo>
                <a:lnTo>
                  <a:pt x="4830" y="789"/>
                </a:lnTo>
                <a:lnTo>
                  <a:pt x="4818" y="789"/>
                </a:lnTo>
                <a:lnTo>
                  <a:pt x="4818" y="789"/>
                </a:lnTo>
                <a:lnTo>
                  <a:pt x="4812" y="789"/>
                </a:lnTo>
                <a:lnTo>
                  <a:pt x="4812" y="789"/>
                </a:lnTo>
                <a:lnTo>
                  <a:pt x="4806" y="789"/>
                </a:lnTo>
                <a:lnTo>
                  <a:pt x="4806" y="795"/>
                </a:lnTo>
                <a:lnTo>
                  <a:pt x="4794" y="801"/>
                </a:lnTo>
                <a:lnTo>
                  <a:pt x="4788" y="801"/>
                </a:lnTo>
                <a:lnTo>
                  <a:pt x="4788" y="807"/>
                </a:lnTo>
                <a:lnTo>
                  <a:pt x="4782" y="813"/>
                </a:lnTo>
                <a:lnTo>
                  <a:pt x="4782" y="813"/>
                </a:lnTo>
                <a:lnTo>
                  <a:pt x="4776" y="813"/>
                </a:lnTo>
                <a:lnTo>
                  <a:pt x="4776" y="813"/>
                </a:lnTo>
                <a:lnTo>
                  <a:pt x="4776" y="813"/>
                </a:lnTo>
                <a:lnTo>
                  <a:pt x="4770" y="818"/>
                </a:lnTo>
                <a:lnTo>
                  <a:pt x="4758" y="818"/>
                </a:lnTo>
                <a:lnTo>
                  <a:pt x="4758" y="818"/>
                </a:lnTo>
                <a:lnTo>
                  <a:pt x="4758" y="818"/>
                </a:lnTo>
                <a:lnTo>
                  <a:pt x="4758" y="818"/>
                </a:lnTo>
                <a:lnTo>
                  <a:pt x="4758" y="824"/>
                </a:lnTo>
                <a:lnTo>
                  <a:pt x="4758" y="824"/>
                </a:lnTo>
                <a:lnTo>
                  <a:pt x="4758" y="824"/>
                </a:lnTo>
                <a:lnTo>
                  <a:pt x="4758" y="824"/>
                </a:lnTo>
                <a:lnTo>
                  <a:pt x="4758" y="824"/>
                </a:lnTo>
                <a:lnTo>
                  <a:pt x="4758" y="824"/>
                </a:lnTo>
                <a:lnTo>
                  <a:pt x="4758" y="824"/>
                </a:lnTo>
                <a:lnTo>
                  <a:pt x="4758" y="824"/>
                </a:lnTo>
                <a:lnTo>
                  <a:pt x="4753" y="824"/>
                </a:lnTo>
                <a:lnTo>
                  <a:pt x="4753" y="824"/>
                </a:lnTo>
                <a:lnTo>
                  <a:pt x="4753" y="824"/>
                </a:lnTo>
                <a:lnTo>
                  <a:pt x="4753" y="818"/>
                </a:lnTo>
                <a:lnTo>
                  <a:pt x="4717" y="818"/>
                </a:lnTo>
                <a:lnTo>
                  <a:pt x="4711" y="818"/>
                </a:lnTo>
                <a:lnTo>
                  <a:pt x="4699" y="824"/>
                </a:lnTo>
                <a:lnTo>
                  <a:pt x="4693" y="824"/>
                </a:lnTo>
                <a:lnTo>
                  <a:pt x="4693" y="824"/>
                </a:lnTo>
                <a:lnTo>
                  <a:pt x="4687" y="818"/>
                </a:lnTo>
                <a:lnTo>
                  <a:pt x="4681" y="818"/>
                </a:lnTo>
                <a:lnTo>
                  <a:pt x="4681" y="813"/>
                </a:lnTo>
                <a:lnTo>
                  <a:pt x="4681" y="813"/>
                </a:lnTo>
                <a:lnTo>
                  <a:pt x="4681" y="813"/>
                </a:lnTo>
                <a:lnTo>
                  <a:pt x="4646" y="807"/>
                </a:lnTo>
                <a:lnTo>
                  <a:pt x="4634" y="807"/>
                </a:lnTo>
                <a:lnTo>
                  <a:pt x="4616" y="807"/>
                </a:lnTo>
                <a:lnTo>
                  <a:pt x="4587" y="813"/>
                </a:lnTo>
                <a:lnTo>
                  <a:pt x="4581" y="813"/>
                </a:lnTo>
                <a:lnTo>
                  <a:pt x="4569" y="813"/>
                </a:lnTo>
                <a:lnTo>
                  <a:pt x="4557" y="818"/>
                </a:lnTo>
                <a:lnTo>
                  <a:pt x="4551" y="818"/>
                </a:lnTo>
                <a:lnTo>
                  <a:pt x="4551" y="824"/>
                </a:lnTo>
                <a:lnTo>
                  <a:pt x="4551" y="824"/>
                </a:lnTo>
                <a:lnTo>
                  <a:pt x="4551" y="836"/>
                </a:lnTo>
                <a:lnTo>
                  <a:pt x="4551" y="836"/>
                </a:lnTo>
                <a:lnTo>
                  <a:pt x="4551" y="836"/>
                </a:lnTo>
                <a:lnTo>
                  <a:pt x="4551" y="842"/>
                </a:lnTo>
                <a:lnTo>
                  <a:pt x="4551" y="842"/>
                </a:lnTo>
                <a:lnTo>
                  <a:pt x="4551" y="842"/>
                </a:lnTo>
                <a:lnTo>
                  <a:pt x="4551" y="842"/>
                </a:lnTo>
                <a:lnTo>
                  <a:pt x="4545" y="842"/>
                </a:lnTo>
                <a:lnTo>
                  <a:pt x="4545" y="842"/>
                </a:lnTo>
                <a:lnTo>
                  <a:pt x="4545" y="842"/>
                </a:lnTo>
                <a:lnTo>
                  <a:pt x="4551" y="848"/>
                </a:lnTo>
                <a:lnTo>
                  <a:pt x="4563" y="848"/>
                </a:lnTo>
                <a:lnTo>
                  <a:pt x="4563" y="854"/>
                </a:lnTo>
                <a:lnTo>
                  <a:pt x="4563" y="854"/>
                </a:lnTo>
                <a:lnTo>
                  <a:pt x="4563" y="860"/>
                </a:lnTo>
                <a:lnTo>
                  <a:pt x="4563" y="860"/>
                </a:lnTo>
                <a:lnTo>
                  <a:pt x="4563" y="866"/>
                </a:lnTo>
                <a:lnTo>
                  <a:pt x="4563" y="866"/>
                </a:lnTo>
                <a:lnTo>
                  <a:pt x="4563" y="866"/>
                </a:lnTo>
                <a:lnTo>
                  <a:pt x="4563" y="872"/>
                </a:lnTo>
                <a:lnTo>
                  <a:pt x="4563" y="872"/>
                </a:lnTo>
                <a:lnTo>
                  <a:pt x="4569" y="878"/>
                </a:lnTo>
                <a:lnTo>
                  <a:pt x="4569" y="878"/>
                </a:lnTo>
                <a:lnTo>
                  <a:pt x="4569" y="878"/>
                </a:lnTo>
                <a:lnTo>
                  <a:pt x="4569" y="884"/>
                </a:lnTo>
                <a:lnTo>
                  <a:pt x="4569" y="890"/>
                </a:lnTo>
                <a:lnTo>
                  <a:pt x="4569" y="890"/>
                </a:lnTo>
                <a:lnTo>
                  <a:pt x="4563" y="890"/>
                </a:lnTo>
                <a:lnTo>
                  <a:pt x="4563" y="890"/>
                </a:lnTo>
                <a:lnTo>
                  <a:pt x="4557" y="896"/>
                </a:lnTo>
                <a:lnTo>
                  <a:pt x="4551" y="896"/>
                </a:lnTo>
                <a:lnTo>
                  <a:pt x="4551" y="902"/>
                </a:lnTo>
                <a:lnTo>
                  <a:pt x="4545" y="907"/>
                </a:lnTo>
                <a:lnTo>
                  <a:pt x="4545" y="907"/>
                </a:lnTo>
                <a:lnTo>
                  <a:pt x="4545" y="907"/>
                </a:lnTo>
                <a:lnTo>
                  <a:pt x="4545" y="913"/>
                </a:lnTo>
                <a:lnTo>
                  <a:pt x="4539" y="913"/>
                </a:lnTo>
                <a:lnTo>
                  <a:pt x="4539" y="913"/>
                </a:lnTo>
                <a:lnTo>
                  <a:pt x="4539" y="919"/>
                </a:lnTo>
                <a:lnTo>
                  <a:pt x="4539" y="919"/>
                </a:lnTo>
                <a:lnTo>
                  <a:pt x="4533" y="919"/>
                </a:lnTo>
                <a:lnTo>
                  <a:pt x="4527" y="925"/>
                </a:lnTo>
                <a:lnTo>
                  <a:pt x="4521" y="925"/>
                </a:lnTo>
                <a:lnTo>
                  <a:pt x="4521" y="925"/>
                </a:lnTo>
                <a:lnTo>
                  <a:pt x="4515" y="931"/>
                </a:lnTo>
                <a:lnTo>
                  <a:pt x="4515" y="931"/>
                </a:lnTo>
                <a:lnTo>
                  <a:pt x="4515" y="931"/>
                </a:lnTo>
                <a:lnTo>
                  <a:pt x="4515" y="931"/>
                </a:lnTo>
                <a:lnTo>
                  <a:pt x="4510" y="931"/>
                </a:lnTo>
                <a:lnTo>
                  <a:pt x="4510" y="937"/>
                </a:lnTo>
                <a:lnTo>
                  <a:pt x="4504" y="943"/>
                </a:lnTo>
                <a:lnTo>
                  <a:pt x="4498" y="943"/>
                </a:lnTo>
                <a:lnTo>
                  <a:pt x="4498" y="949"/>
                </a:lnTo>
                <a:lnTo>
                  <a:pt x="4492" y="949"/>
                </a:lnTo>
                <a:lnTo>
                  <a:pt x="4486" y="955"/>
                </a:lnTo>
                <a:lnTo>
                  <a:pt x="4480" y="955"/>
                </a:lnTo>
                <a:lnTo>
                  <a:pt x="4480" y="961"/>
                </a:lnTo>
                <a:lnTo>
                  <a:pt x="4480" y="961"/>
                </a:lnTo>
                <a:lnTo>
                  <a:pt x="4468" y="961"/>
                </a:lnTo>
                <a:lnTo>
                  <a:pt x="4462" y="967"/>
                </a:lnTo>
                <a:lnTo>
                  <a:pt x="4456" y="967"/>
                </a:lnTo>
                <a:lnTo>
                  <a:pt x="4450" y="973"/>
                </a:lnTo>
                <a:lnTo>
                  <a:pt x="4450" y="973"/>
                </a:lnTo>
                <a:lnTo>
                  <a:pt x="4444" y="979"/>
                </a:lnTo>
                <a:lnTo>
                  <a:pt x="4444" y="979"/>
                </a:lnTo>
                <a:lnTo>
                  <a:pt x="4444" y="979"/>
                </a:lnTo>
                <a:lnTo>
                  <a:pt x="4444" y="979"/>
                </a:lnTo>
                <a:lnTo>
                  <a:pt x="4444" y="973"/>
                </a:lnTo>
                <a:lnTo>
                  <a:pt x="4444" y="973"/>
                </a:lnTo>
                <a:lnTo>
                  <a:pt x="4444" y="973"/>
                </a:lnTo>
                <a:lnTo>
                  <a:pt x="4450" y="973"/>
                </a:lnTo>
                <a:lnTo>
                  <a:pt x="4450" y="973"/>
                </a:lnTo>
                <a:lnTo>
                  <a:pt x="4444" y="973"/>
                </a:lnTo>
                <a:lnTo>
                  <a:pt x="4444" y="973"/>
                </a:lnTo>
                <a:lnTo>
                  <a:pt x="4444" y="973"/>
                </a:lnTo>
                <a:lnTo>
                  <a:pt x="4438" y="973"/>
                </a:lnTo>
                <a:lnTo>
                  <a:pt x="4438" y="979"/>
                </a:lnTo>
                <a:lnTo>
                  <a:pt x="4438" y="979"/>
                </a:lnTo>
                <a:lnTo>
                  <a:pt x="4438" y="979"/>
                </a:lnTo>
                <a:lnTo>
                  <a:pt x="4433" y="985"/>
                </a:lnTo>
                <a:lnTo>
                  <a:pt x="4415" y="990"/>
                </a:lnTo>
                <a:lnTo>
                  <a:pt x="4409" y="990"/>
                </a:lnTo>
                <a:lnTo>
                  <a:pt x="4409" y="996"/>
                </a:lnTo>
                <a:lnTo>
                  <a:pt x="4409" y="996"/>
                </a:lnTo>
                <a:lnTo>
                  <a:pt x="4403" y="996"/>
                </a:lnTo>
                <a:lnTo>
                  <a:pt x="4379" y="1008"/>
                </a:lnTo>
                <a:lnTo>
                  <a:pt x="4373" y="1008"/>
                </a:lnTo>
                <a:lnTo>
                  <a:pt x="4367" y="1008"/>
                </a:lnTo>
                <a:lnTo>
                  <a:pt x="4367" y="1008"/>
                </a:lnTo>
                <a:lnTo>
                  <a:pt x="4367" y="1008"/>
                </a:lnTo>
                <a:lnTo>
                  <a:pt x="4367" y="1008"/>
                </a:lnTo>
                <a:lnTo>
                  <a:pt x="4367" y="1014"/>
                </a:lnTo>
                <a:lnTo>
                  <a:pt x="4361" y="1014"/>
                </a:lnTo>
                <a:lnTo>
                  <a:pt x="4361" y="1014"/>
                </a:lnTo>
                <a:lnTo>
                  <a:pt x="4355" y="1014"/>
                </a:lnTo>
                <a:lnTo>
                  <a:pt x="4320" y="1032"/>
                </a:lnTo>
                <a:lnTo>
                  <a:pt x="4290" y="1056"/>
                </a:lnTo>
                <a:lnTo>
                  <a:pt x="4284" y="1062"/>
                </a:lnTo>
                <a:lnTo>
                  <a:pt x="4284" y="1062"/>
                </a:lnTo>
                <a:lnTo>
                  <a:pt x="4278" y="1062"/>
                </a:lnTo>
                <a:lnTo>
                  <a:pt x="4278" y="1062"/>
                </a:lnTo>
                <a:lnTo>
                  <a:pt x="4273" y="1062"/>
                </a:lnTo>
                <a:lnTo>
                  <a:pt x="4273" y="1062"/>
                </a:lnTo>
                <a:lnTo>
                  <a:pt x="4273" y="1062"/>
                </a:lnTo>
                <a:lnTo>
                  <a:pt x="4273" y="1062"/>
                </a:lnTo>
                <a:lnTo>
                  <a:pt x="4267" y="1062"/>
                </a:lnTo>
                <a:lnTo>
                  <a:pt x="4255" y="1062"/>
                </a:lnTo>
                <a:lnTo>
                  <a:pt x="4255" y="1062"/>
                </a:lnTo>
                <a:lnTo>
                  <a:pt x="4237" y="1062"/>
                </a:lnTo>
                <a:lnTo>
                  <a:pt x="4231" y="1068"/>
                </a:lnTo>
                <a:lnTo>
                  <a:pt x="4225" y="1068"/>
                </a:lnTo>
                <a:lnTo>
                  <a:pt x="4219" y="1068"/>
                </a:lnTo>
                <a:lnTo>
                  <a:pt x="4219" y="1068"/>
                </a:lnTo>
                <a:lnTo>
                  <a:pt x="4219" y="1074"/>
                </a:lnTo>
                <a:lnTo>
                  <a:pt x="4213" y="1074"/>
                </a:lnTo>
                <a:lnTo>
                  <a:pt x="4207" y="1074"/>
                </a:lnTo>
                <a:lnTo>
                  <a:pt x="4207" y="1074"/>
                </a:lnTo>
                <a:lnTo>
                  <a:pt x="4201" y="1074"/>
                </a:lnTo>
                <a:lnTo>
                  <a:pt x="4195" y="1068"/>
                </a:lnTo>
                <a:lnTo>
                  <a:pt x="4195" y="1068"/>
                </a:lnTo>
                <a:lnTo>
                  <a:pt x="4190" y="1068"/>
                </a:lnTo>
                <a:lnTo>
                  <a:pt x="4190" y="1068"/>
                </a:lnTo>
                <a:lnTo>
                  <a:pt x="4190" y="1062"/>
                </a:lnTo>
                <a:lnTo>
                  <a:pt x="4190" y="1062"/>
                </a:lnTo>
                <a:lnTo>
                  <a:pt x="4190" y="1062"/>
                </a:lnTo>
                <a:lnTo>
                  <a:pt x="4190" y="1062"/>
                </a:lnTo>
                <a:lnTo>
                  <a:pt x="4190" y="1068"/>
                </a:lnTo>
                <a:lnTo>
                  <a:pt x="4195" y="1068"/>
                </a:lnTo>
                <a:lnTo>
                  <a:pt x="4195" y="1074"/>
                </a:lnTo>
                <a:lnTo>
                  <a:pt x="4190" y="1068"/>
                </a:lnTo>
                <a:lnTo>
                  <a:pt x="4190" y="1068"/>
                </a:lnTo>
                <a:lnTo>
                  <a:pt x="4184" y="1068"/>
                </a:lnTo>
                <a:lnTo>
                  <a:pt x="4184" y="1068"/>
                </a:lnTo>
                <a:lnTo>
                  <a:pt x="4184" y="1068"/>
                </a:lnTo>
                <a:lnTo>
                  <a:pt x="4184" y="1068"/>
                </a:lnTo>
                <a:lnTo>
                  <a:pt x="4178" y="1068"/>
                </a:lnTo>
                <a:lnTo>
                  <a:pt x="4178" y="1068"/>
                </a:lnTo>
                <a:lnTo>
                  <a:pt x="4178" y="1062"/>
                </a:lnTo>
                <a:lnTo>
                  <a:pt x="4172" y="1068"/>
                </a:lnTo>
                <a:lnTo>
                  <a:pt x="4166" y="1068"/>
                </a:lnTo>
                <a:lnTo>
                  <a:pt x="4166" y="1068"/>
                </a:lnTo>
                <a:lnTo>
                  <a:pt x="4160" y="1068"/>
                </a:lnTo>
                <a:lnTo>
                  <a:pt x="4160" y="1068"/>
                </a:lnTo>
                <a:lnTo>
                  <a:pt x="4160" y="1068"/>
                </a:lnTo>
                <a:lnTo>
                  <a:pt x="4160" y="1068"/>
                </a:lnTo>
                <a:lnTo>
                  <a:pt x="4160" y="1068"/>
                </a:lnTo>
                <a:lnTo>
                  <a:pt x="4154" y="1068"/>
                </a:lnTo>
                <a:lnTo>
                  <a:pt x="4148" y="1068"/>
                </a:lnTo>
                <a:lnTo>
                  <a:pt x="4154" y="1068"/>
                </a:lnTo>
                <a:lnTo>
                  <a:pt x="4154" y="1068"/>
                </a:lnTo>
                <a:lnTo>
                  <a:pt x="4160" y="1062"/>
                </a:lnTo>
                <a:lnTo>
                  <a:pt x="4160" y="1068"/>
                </a:lnTo>
                <a:lnTo>
                  <a:pt x="4160" y="1068"/>
                </a:lnTo>
                <a:lnTo>
                  <a:pt x="4160" y="1062"/>
                </a:lnTo>
                <a:lnTo>
                  <a:pt x="4160" y="1062"/>
                </a:lnTo>
                <a:lnTo>
                  <a:pt x="4160" y="1062"/>
                </a:lnTo>
                <a:lnTo>
                  <a:pt x="4160" y="1062"/>
                </a:lnTo>
                <a:lnTo>
                  <a:pt x="4166" y="1062"/>
                </a:lnTo>
                <a:lnTo>
                  <a:pt x="4172" y="1062"/>
                </a:lnTo>
                <a:lnTo>
                  <a:pt x="4172" y="1062"/>
                </a:lnTo>
                <a:lnTo>
                  <a:pt x="4172" y="1062"/>
                </a:lnTo>
                <a:lnTo>
                  <a:pt x="4178" y="1062"/>
                </a:lnTo>
                <a:lnTo>
                  <a:pt x="4178" y="1062"/>
                </a:lnTo>
                <a:lnTo>
                  <a:pt x="4184" y="1062"/>
                </a:lnTo>
                <a:lnTo>
                  <a:pt x="4184" y="1056"/>
                </a:lnTo>
                <a:lnTo>
                  <a:pt x="4184" y="1056"/>
                </a:lnTo>
                <a:lnTo>
                  <a:pt x="4184" y="1056"/>
                </a:lnTo>
                <a:lnTo>
                  <a:pt x="4178" y="1056"/>
                </a:lnTo>
                <a:lnTo>
                  <a:pt x="4178" y="1056"/>
                </a:lnTo>
                <a:lnTo>
                  <a:pt x="4178" y="1056"/>
                </a:lnTo>
                <a:lnTo>
                  <a:pt x="4178" y="1056"/>
                </a:lnTo>
                <a:lnTo>
                  <a:pt x="4178" y="1056"/>
                </a:lnTo>
                <a:lnTo>
                  <a:pt x="4178" y="1056"/>
                </a:lnTo>
                <a:lnTo>
                  <a:pt x="4172" y="1050"/>
                </a:lnTo>
                <a:lnTo>
                  <a:pt x="4172" y="1050"/>
                </a:lnTo>
                <a:lnTo>
                  <a:pt x="4172" y="1050"/>
                </a:lnTo>
                <a:lnTo>
                  <a:pt x="4172" y="1050"/>
                </a:lnTo>
                <a:lnTo>
                  <a:pt x="4172" y="1050"/>
                </a:lnTo>
                <a:lnTo>
                  <a:pt x="4172" y="1056"/>
                </a:lnTo>
                <a:lnTo>
                  <a:pt x="4172" y="1056"/>
                </a:lnTo>
                <a:lnTo>
                  <a:pt x="4172" y="1056"/>
                </a:lnTo>
                <a:lnTo>
                  <a:pt x="4166" y="1056"/>
                </a:lnTo>
                <a:lnTo>
                  <a:pt x="4166" y="1056"/>
                </a:lnTo>
                <a:lnTo>
                  <a:pt x="4160" y="1056"/>
                </a:lnTo>
                <a:lnTo>
                  <a:pt x="4160" y="1056"/>
                </a:lnTo>
                <a:lnTo>
                  <a:pt x="4160" y="1056"/>
                </a:lnTo>
                <a:lnTo>
                  <a:pt x="4154" y="1056"/>
                </a:lnTo>
                <a:lnTo>
                  <a:pt x="4148" y="1050"/>
                </a:lnTo>
                <a:lnTo>
                  <a:pt x="4148" y="1044"/>
                </a:lnTo>
                <a:lnTo>
                  <a:pt x="4142" y="1044"/>
                </a:lnTo>
                <a:lnTo>
                  <a:pt x="4142" y="1044"/>
                </a:lnTo>
                <a:lnTo>
                  <a:pt x="4136" y="1044"/>
                </a:lnTo>
                <a:lnTo>
                  <a:pt x="4130" y="1038"/>
                </a:lnTo>
                <a:lnTo>
                  <a:pt x="4124" y="1038"/>
                </a:lnTo>
                <a:lnTo>
                  <a:pt x="4124" y="1032"/>
                </a:lnTo>
                <a:lnTo>
                  <a:pt x="4124" y="1032"/>
                </a:lnTo>
                <a:lnTo>
                  <a:pt x="4124" y="1032"/>
                </a:lnTo>
                <a:lnTo>
                  <a:pt x="4118" y="1032"/>
                </a:lnTo>
                <a:lnTo>
                  <a:pt x="4118" y="1032"/>
                </a:lnTo>
                <a:lnTo>
                  <a:pt x="4113" y="1032"/>
                </a:lnTo>
                <a:lnTo>
                  <a:pt x="4113" y="1032"/>
                </a:lnTo>
                <a:lnTo>
                  <a:pt x="4113" y="1032"/>
                </a:lnTo>
                <a:lnTo>
                  <a:pt x="4113" y="1026"/>
                </a:lnTo>
                <a:lnTo>
                  <a:pt x="4113" y="1026"/>
                </a:lnTo>
                <a:lnTo>
                  <a:pt x="4113" y="1026"/>
                </a:lnTo>
                <a:lnTo>
                  <a:pt x="4113" y="1026"/>
                </a:lnTo>
                <a:lnTo>
                  <a:pt x="4113" y="1026"/>
                </a:lnTo>
                <a:lnTo>
                  <a:pt x="4113" y="1026"/>
                </a:lnTo>
                <a:lnTo>
                  <a:pt x="4113" y="1020"/>
                </a:lnTo>
                <a:lnTo>
                  <a:pt x="4113" y="1020"/>
                </a:lnTo>
                <a:lnTo>
                  <a:pt x="4113" y="1020"/>
                </a:lnTo>
                <a:lnTo>
                  <a:pt x="4118" y="1008"/>
                </a:lnTo>
                <a:lnTo>
                  <a:pt x="4118" y="1008"/>
                </a:lnTo>
                <a:lnTo>
                  <a:pt x="4124" y="1008"/>
                </a:lnTo>
                <a:lnTo>
                  <a:pt x="4124" y="1008"/>
                </a:lnTo>
                <a:lnTo>
                  <a:pt x="4124" y="1002"/>
                </a:lnTo>
                <a:lnTo>
                  <a:pt x="4130" y="1002"/>
                </a:lnTo>
                <a:lnTo>
                  <a:pt x="4130" y="1002"/>
                </a:lnTo>
                <a:lnTo>
                  <a:pt x="4130" y="1002"/>
                </a:lnTo>
                <a:lnTo>
                  <a:pt x="4130" y="1002"/>
                </a:lnTo>
                <a:lnTo>
                  <a:pt x="4130" y="996"/>
                </a:lnTo>
                <a:lnTo>
                  <a:pt x="4130" y="996"/>
                </a:lnTo>
                <a:lnTo>
                  <a:pt x="4130" y="996"/>
                </a:lnTo>
                <a:lnTo>
                  <a:pt x="4136" y="996"/>
                </a:lnTo>
                <a:lnTo>
                  <a:pt x="4136" y="990"/>
                </a:lnTo>
                <a:lnTo>
                  <a:pt x="4136" y="990"/>
                </a:lnTo>
                <a:lnTo>
                  <a:pt x="4136" y="990"/>
                </a:lnTo>
                <a:lnTo>
                  <a:pt x="4136" y="990"/>
                </a:lnTo>
                <a:lnTo>
                  <a:pt x="4136" y="990"/>
                </a:lnTo>
                <a:lnTo>
                  <a:pt x="4136" y="990"/>
                </a:lnTo>
                <a:lnTo>
                  <a:pt x="4136" y="990"/>
                </a:lnTo>
                <a:lnTo>
                  <a:pt x="4136" y="990"/>
                </a:lnTo>
                <a:lnTo>
                  <a:pt x="4136" y="985"/>
                </a:lnTo>
                <a:lnTo>
                  <a:pt x="4136" y="985"/>
                </a:lnTo>
                <a:lnTo>
                  <a:pt x="4136" y="985"/>
                </a:lnTo>
                <a:lnTo>
                  <a:pt x="4136" y="985"/>
                </a:lnTo>
                <a:lnTo>
                  <a:pt x="4136" y="985"/>
                </a:lnTo>
                <a:lnTo>
                  <a:pt x="4136" y="979"/>
                </a:lnTo>
                <a:lnTo>
                  <a:pt x="4136" y="979"/>
                </a:lnTo>
                <a:lnTo>
                  <a:pt x="4136" y="979"/>
                </a:lnTo>
                <a:lnTo>
                  <a:pt x="4142" y="961"/>
                </a:lnTo>
                <a:lnTo>
                  <a:pt x="4142" y="961"/>
                </a:lnTo>
                <a:lnTo>
                  <a:pt x="4148" y="955"/>
                </a:lnTo>
                <a:lnTo>
                  <a:pt x="4148" y="949"/>
                </a:lnTo>
                <a:lnTo>
                  <a:pt x="4154" y="949"/>
                </a:lnTo>
                <a:lnTo>
                  <a:pt x="4160" y="949"/>
                </a:lnTo>
                <a:lnTo>
                  <a:pt x="4160" y="943"/>
                </a:lnTo>
                <a:lnTo>
                  <a:pt x="4160" y="943"/>
                </a:lnTo>
                <a:lnTo>
                  <a:pt x="4166" y="943"/>
                </a:lnTo>
                <a:lnTo>
                  <a:pt x="4166" y="943"/>
                </a:lnTo>
                <a:lnTo>
                  <a:pt x="4166" y="943"/>
                </a:lnTo>
                <a:lnTo>
                  <a:pt x="4166" y="937"/>
                </a:lnTo>
                <a:lnTo>
                  <a:pt x="4166" y="937"/>
                </a:lnTo>
                <a:lnTo>
                  <a:pt x="4172" y="931"/>
                </a:lnTo>
                <a:lnTo>
                  <a:pt x="4172" y="931"/>
                </a:lnTo>
                <a:lnTo>
                  <a:pt x="4172" y="931"/>
                </a:lnTo>
                <a:lnTo>
                  <a:pt x="4166" y="931"/>
                </a:lnTo>
                <a:lnTo>
                  <a:pt x="4166" y="925"/>
                </a:lnTo>
                <a:lnTo>
                  <a:pt x="4166" y="925"/>
                </a:lnTo>
                <a:lnTo>
                  <a:pt x="4172" y="919"/>
                </a:lnTo>
                <a:lnTo>
                  <a:pt x="4172" y="919"/>
                </a:lnTo>
                <a:lnTo>
                  <a:pt x="4172" y="919"/>
                </a:lnTo>
                <a:lnTo>
                  <a:pt x="4178" y="919"/>
                </a:lnTo>
                <a:lnTo>
                  <a:pt x="4178" y="913"/>
                </a:lnTo>
                <a:lnTo>
                  <a:pt x="4178" y="913"/>
                </a:lnTo>
                <a:lnTo>
                  <a:pt x="4178" y="913"/>
                </a:lnTo>
                <a:lnTo>
                  <a:pt x="4178" y="913"/>
                </a:lnTo>
                <a:lnTo>
                  <a:pt x="4178" y="913"/>
                </a:lnTo>
                <a:lnTo>
                  <a:pt x="4178" y="907"/>
                </a:lnTo>
                <a:lnTo>
                  <a:pt x="4172" y="907"/>
                </a:lnTo>
                <a:lnTo>
                  <a:pt x="4178" y="907"/>
                </a:lnTo>
                <a:lnTo>
                  <a:pt x="4178" y="907"/>
                </a:lnTo>
                <a:lnTo>
                  <a:pt x="4184" y="902"/>
                </a:lnTo>
                <a:lnTo>
                  <a:pt x="4184" y="902"/>
                </a:lnTo>
                <a:lnTo>
                  <a:pt x="4184" y="902"/>
                </a:lnTo>
                <a:lnTo>
                  <a:pt x="4190" y="902"/>
                </a:lnTo>
                <a:lnTo>
                  <a:pt x="4190" y="902"/>
                </a:lnTo>
                <a:lnTo>
                  <a:pt x="4195" y="902"/>
                </a:lnTo>
                <a:lnTo>
                  <a:pt x="4195" y="902"/>
                </a:lnTo>
                <a:lnTo>
                  <a:pt x="4190" y="907"/>
                </a:lnTo>
                <a:lnTo>
                  <a:pt x="4190" y="907"/>
                </a:lnTo>
                <a:lnTo>
                  <a:pt x="4190" y="907"/>
                </a:lnTo>
                <a:lnTo>
                  <a:pt x="4195" y="907"/>
                </a:lnTo>
                <a:lnTo>
                  <a:pt x="4195" y="913"/>
                </a:lnTo>
                <a:lnTo>
                  <a:pt x="4190" y="913"/>
                </a:lnTo>
                <a:lnTo>
                  <a:pt x="4195" y="913"/>
                </a:lnTo>
                <a:lnTo>
                  <a:pt x="4195" y="919"/>
                </a:lnTo>
                <a:lnTo>
                  <a:pt x="4190" y="919"/>
                </a:lnTo>
                <a:lnTo>
                  <a:pt x="4190" y="919"/>
                </a:lnTo>
                <a:lnTo>
                  <a:pt x="4190" y="919"/>
                </a:lnTo>
                <a:lnTo>
                  <a:pt x="4190" y="919"/>
                </a:lnTo>
                <a:lnTo>
                  <a:pt x="4195" y="919"/>
                </a:lnTo>
                <a:lnTo>
                  <a:pt x="4195" y="919"/>
                </a:lnTo>
                <a:lnTo>
                  <a:pt x="4195" y="919"/>
                </a:lnTo>
                <a:lnTo>
                  <a:pt x="4195" y="919"/>
                </a:lnTo>
                <a:lnTo>
                  <a:pt x="4201" y="919"/>
                </a:lnTo>
                <a:lnTo>
                  <a:pt x="4201" y="919"/>
                </a:lnTo>
                <a:lnTo>
                  <a:pt x="4201" y="913"/>
                </a:lnTo>
                <a:lnTo>
                  <a:pt x="4201" y="913"/>
                </a:lnTo>
                <a:lnTo>
                  <a:pt x="4201" y="913"/>
                </a:lnTo>
                <a:lnTo>
                  <a:pt x="4207" y="907"/>
                </a:lnTo>
                <a:lnTo>
                  <a:pt x="4207" y="907"/>
                </a:lnTo>
                <a:lnTo>
                  <a:pt x="4207" y="902"/>
                </a:lnTo>
                <a:lnTo>
                  <a:pt x="4207" y="896"/>
                </a:lnTo>
                <a:lnTo>
                  <a:pt x="4207" y="890"/>
                </a:lnTo>
                <a:lnTo>
                  <a:pt x="4207" y="890"/>
                </a:lnTo>
                <a:lnTo>
                  <a:pt x="4207" y="890"/>
                </a:lnTo>
                <a:lnTo>
                  <a:pt x="4207" y="890"/>
                </a:lnTo>
                <a:lnTo>
                  <a:pt x="4207" y="890"/>
                </a:lnTo>
                <a:lnTo>
                  <a:pt x="4207" y="890"/>
                </a:lnTo>
                <a:lnTo>
                  <a:pt x="4207" y="890"/>
                </a:lnTo>
                <a:lnTo>
                  <a:pt x="4207" y="890"/>
                </a:lnTo>
                <a:lnTo>
                  <a:pt x="4207" y="884"/>
                </a:lnTo>
                <a:lnTo>
                  <a:pt x="4207" y="884"/>
                </a:lnTo>
                <a:lnTo>
                  <a:pt x="4207" y="884"/>
                </a:lnTo>
                <a:lnTo>
                  <a:pt x="4207" y="884"/>
                </a:lnTo>
                <a:lnTo>
                  <a:pt x="4207" y="884"/>
                </a:lnTo>
                <a:lnTo>
                  <a:pt x="4207" y="878"/>
                </a:lnTo>
                <a:lnTo>
                  <a:pt x="4207" y="878"/>
                </a:lnTo>
                <a:lnTo>
                  <a:pt x="4207" y="872"/>
                </a:lnTo>
                <a:lnTo>
                  <a:pt x="4213" y="872"/>
                </a:lnTo>
                <a:lnTo>
                  <a:pt x="4213" y="872"/>
                </a:lnTo>
                <a:lnTo>
                  <a:pt x="4213" y="866"/>
                </a:lnTo>
                <a:lnTo>
                  <a:pt x="4213" y="866"/>
                </a:lnTo>
                <a:lnTo>
                  <a:pt x="4213" y="860"/>
                </a:lnTo>
                <a:lnTo>
                  <a:pt x="4213" y="860"/>
                </a:lnTo>
                <a:lnTo>
                  <a:pt x="4213" y="860"/>
                </a:lnTo>
                <a:lnTo>
                  <a:pt x="4213" y="860"/>
                </a:lnTo>
                <a:lnTo>
                  <a:pt x="4213" y="860"/>
                </a:lnTo>
                <a:lnTo>
                  <a:pt x="4213" y="860"/>
                </a:lnTo>
                <a:lnTo>
                  <a:pt x="4213" y="854"/>
                </a:lnTo>
                <a:lnTo>
                  <a:pt x="4213" y="854"/>
                </a:lnTo>
                <a:lnTo>
                  <a:pt x="4207" y="848"/>
                </a:lnTo>
                <a:lnTo>
                  <a:pt x="4207" y="848"/>
                </a:lnTo>
                <a:lnTo>
                  <a:pt x="4207" y="848"/>
                </a:lnTo>
                <a:lnTo>
                  <a:pt x="4201" y="824"/>
                </a:lnTo>
                <a:lnTo>
                  <a:pt x="4201" y="801"/>
                </a:lnTo>
                <a:lnTo>
                  <a:pt x="4195" y="789"/>
                </a:lnTo>
                <a:lnTo>
                  <a:pt x="4190" y="747"/>
                </a:lnTo>
                <a:lnTo>
                  <a:pt x="4190" y="741"/>
                </a:lnTo>
                <a:lnTo>
                  <a:pt x="4190" y="735"/>
                </a:lnTo>
                <a:lnTo>
                  <a:pt x="4190" y="735"/>
                </a:lnTo>
                <a:lnTo>
                  <a:pt x="4190" y="735"/>
                </a:lnTo>
                <a:lnTo>
                  <a:pt x="4184" y="724"/>
                </a:lnTo>
                <a:lnTo>
                  <a:pt x="4178" y="724"/>
                </a:lnTo>
                <a:lnTo>
                  <a:pt x="4178" y="718"/>
                </a:lnTo>
                <a:lnTo>
                  <a:pt x="4166" y="712"/>
                </a:lnTo>
                <a:lnTo>
                  <a:pt x="4160" y="712"/>
                </a:lnTo>
                <a:lnTo>
                  <a:pt x="4160" y="712"/>
                </a:lnTo>
                <a:lnTo>
                  <a:pt x="4154" y="712"/>
                </a:lnTo>
                <a:lnTo>
                  <a:pt x="4154" y="718"/>
                </a:lnTo>
                <a:lnTo>
                  <a:pt x="4148" y="718"/>
                </a:lnTo>
                <a:lnTo>
                  <a:pt x="4148" y="718"/>
                </a:lnTo>
                <a:lnTo>
                  <a:pt x="4142" y="718"/>
                </a:lnTo>
                <a:lnTo>
                  <a:pt x="4142" y="724"/>
                </a:lnTo>
                <a:lnTo>
                  <a:pt x="4142" y="724"/>
                </a:lnTo>
                <a:lnTo>
                  <a:pt x="4142" y="724"/>
                </a:lnTo>
                <a:lnTo>
                  <a:pt x="4130" y="724"/>
                </a:lnTo>
                <a:lnTo>
                  <a:pt x="4130" y="724"/>
                </a:lnTo>
                <a:lnTo>
                  <a:pt x="4130" y="724"/>
                </a:lnTo>
                <a:lnTo>
                  <a:pt x="4130" y="724"/>
                </a:lnTo>
                <a:lnTo>
                  <a:pt x="4124" y="730"/>
                </a:lnTo>
                <a:lnTo>
                  <a:pt x="4124" y="730"/>
                </a:lnTo>
                <a:lnTo>
                  <a:pt x="4124" y="730"/>
                </a:lnTo>
                <a:lnTo>
                  <a:pt x="4118" y="735"/>
                </a:lnTo>
                <a:lnTo>
                  <a:pt x="4118" y="735"/>
                </a:lnTo>
                <a:lnTo>
                  <a:pt x="4118" y="735"/>
                </a:lnTo>
                <a:lnTo>
                  <a:pt x="4124" y="735"/>
                </a:lnTo>
                <a:lnTo>
                  <a:pt x="4124" y="735"/>
                </a:lnTo>
                <a:lnTo>
                  <a:pt x="4118" y="741"/>
                </a:lnTo>
                <a:lnTo>
                  <a:pt x="4118" y="741"/>
                </a:lnTo>
                <a:lnTo>
                  <a:pt x="4118" y="747"/>
                </a:lnTo>
                <a:lnTo>
                  <a:pt x="4118" y="747"/>
                </a:lnTo>
                <a:lnTo>
                  <a:pt x="4113" y="753"/>
                </a:lnTo>
                <a:lnTo>
                  <a:pt x="4107" y="759"/>
                </a:lnTo>
                <a:lnTo>
                  <a:pt x="4107" y="765"/>
                </a:lnTo>
                <a:lnTo>
                  <a:pt x="4107" y="765"/>
                </a:lnTo>
                <a:lnTo>
                  <a:pt x="4107" y="759"/>
                </a:lnTo>
                <a:lnTo>
                  <a:pt x="4107" y="759"/>
                </a:lnTo>
                <a:lnTo>
                  <a:pt x="4107" y="759"/>
                </a:lnTo>
                <a:lnTo>
                  <a:pt x="4101" y="759"/>
                </a:lnTo>
                <a:lnTo>
                  <a:pt x="4095" y="771"/>
                </a:lnTo>
                <a:lnTo>
                  <a:pt x="4095" y="777"/>
                </a:lnTo>
                <a:lnTo>
                  <a:pt x="4089" y="777"/>
                </a:lnTo>
                <a:lnTo>
                  <a:pt x="4083" y="777"/>
                </a:lnTo>
                <a:lnTo>
                  <a:pt x="4083" y="771"/>
                </a:lnTo>
                <a:lnTo>
                  <a:pt x="4077" y="771"/>
                </a:lnTo>
                <a:lnTo>
                  <a:pt x="4071" y="771"/>
                </a:lnTo>
                <a:lnTo>
                  <a:pt x="4071" y="765"/>
                </a:lnTo>
                <a:lnTo>
                  <a:pt x="4065" y="765"/>
                </a:lnTo>
                <a:lnTo>
                  <a:pt x="4065" y="765"/>
                </a:lnTo>
                <a:lnTo>
                  <a:pt x="4065" y="759"/>
                </a:lnTo>
                <a:lnTo>
                  <a:pt x="4059" y="753"/>
                </a:lnTo>
                <a:lnTo>
                  <a:pt x="4065" y="753"/>
                </a:lnTo>
                <a:lnTo>
                  <a:pt x="4065" y="753"/>
                </a:lnTo>
                <a:lnTo>
                  <a:pt x="4065" y="747"/>
                </a:lnTo>
                <a:lnTo>
                  <a:pt x="4065" y="741"/>
                </a:lnTo>
                <a:lnTo>
                  <a:pt x="4065" y="741"/>
                </a:lnTo>
                <a:lnTo>
                  <a:pt x="4065" y="741"/>
                </a:lnTo>
                <a:lnTo>
                  <a:pt x="4065" y="741"/>
                </a:lnTo>
                <a:lnTo>
                  <a:pt x="4065" y="741"/>
                </a:lnTo>
                <a:lnTo>
                  <a:pt x="4065" y="730"/>
                </a:lnTo>
                <a:lnTo>
                  <a:pt x="4071" y="724"/>
                </a:lnTo>
                <a:lnTo>
                  <a:pt x="4077" y="724"/>
                </a:lnTo>
                <a:lnTo>
                  <a:pt x="4077" y="724"/>
                </a:lnTo>
                <a:lnTo>
                  <a:pt x="4077" y="724"/>
                </a:lnTo>
                <a:lnTo>
                  <a:pt x="4077" y="724"/>
                </a:lnTo>
                <a:lnTo>
                  <a:pt x="4083" y="724"/>
                </a:lnTo>
                <a:lnTo>
                  <a:pt x="4083" y="724"/>
                </a:lnTo>
                <a:lnTo>
                  <a:pt x="4083" y="718"/>
                </a:lnTo>
                <a:lnTo>
                  <a:pt x="4083" y="724"/>
                </a:lnTo>
                <a:lnTo>
                  <a:pt x="4089" y="724"/>
                </a:lnTo>
                <a:lnTo>
                  <a:pt x="4089" y="724"/>
                </a:lnTo>
                <a:lnTo>
                  <a:pt x="4089" y="724"/>
                </a:lnTo>
                <a:lnTo>
                  <a:pt x="4089" y="718"/>
                </a:lnTo>
                <a:lnTo>
                  <a:pt x="4089" y="718"/>
                </a:lnTo>
                <a:lnTo>
                  <a:pt x="4089" y="712"/>
                </a:lnTo>
                <a:lnTo>
                  <a:pt x="4095" y="712"/>
                </a:lnTo>
                <a:lnTo>
                  <a:pt x="4095" y="712"/>
                </a:lnTo>
                <a:lnTo>
                  <a:pt x="4095" y="712"/>
                </a:lnTo>
                <a:lnTo>
                  <a:pt x="4095" y="712"/>
                </a:lnTo>
                <a:lnTo>
                  <a:pt x="4095" y="712"/>
                </a:lnTo>
                <a:lnTo>
                  <a:pt x="4101" y="706"/>
                </a:lnTo>
                <a:lnTo>
                  <a:pt x="4101" y="706"/>
                </a:lnTo>
                <a:lnTo>
                  <a:pt x="4101" y="706"/>
                </a:lnTo>
                <a:lnTo>
                  <a:pt x="4101" y="694"/>
                </a:lnTo>
                <a:lnTo>
                  <a:pt x="4101" y="688"/>
                </a:lnTo>
                <a:lnTo>
                  <a:pt x="4101" y="688"/>
                </a:lnTo>
                <a:lnTo>
                  <a:pt x="4107" y="682"/>
                </a:lnTo>
                <a:lnTo>
                  <a:pt x="4107" y="682"/>
                </a:lnTo>
                <a:lnTo>
                  <a:pt x="4113" y="682"/>
                </a:lnTo>
                <a:lnTo>
                  <a:pt x="4113" y="682"/>
                </a:lnTo>
                <a:lnTo>
                  <a:pt x="4113" y="688"/>
                </a:lnTo>
                <a:lnTo>
                  <a:pt x="4113" y="688"/>
                </a:lnTo>
                <a:lnTo>
                  <a:pt x="4113" y="682"/>
                </a:lnTo>
                <a:lnTo>
                  <a:pt x="4118" y="676"/>
                </a:lnTo>
                <a:lnTo>
                  <a:pt x="4118" y="676"/>
                </a:lnTo>
                <a:lnTo>
                  <a:pt x="4118" y="676"/>
                </a:lnTo>
                <a:lnTo>
                  <a:pt x="4118" y="676"/>
                </a:lnTo>
                <a:lnTo>
                  <a:pt x="4118" y="676"/>
                </a:lnTo>
                <a:lnTo>
                  <a:pt x="4124" y="676"/>
                </a:lnTo>
                <a:lnTo>
                  <a:pt x="4124" y="670"/>
                </a:lnTo>
                <a:lnTo>
                  <a:pt x="4124" y="670"/>
                </a:lnTo>
                <a:lnTo>
                  <a:pt x="4124" y="664"/>
                </a:lnTo>
                <a:lnTo>
                  <a:pt x="4124" y="635"/>
                </a:lnTo>
                <a:lnTo>
                  <a:pt x="4124" y="635"/>
                </a:lnTo>
                <a:lnTo>
                  <a:pt x="4124" y="629"/>
                </a:lnTo>
                <a:lnTo>
                  <a:pt x="4130" y="623"/>
                </a:lnTo>
                <a:lnTo>
                  <a:pt x="4130" y="623"/>
                </a:lnTo>
                <a:lnTo>
                  <a:pt x="4124" y="617"/>
                </a:lnTo>
                <a:lnTo>
                  <a:pt x="4124" y="611"/>
                </a:lnTo>
                <a:lnTo>
                  <a:pt x="4124" y="605"/>
                </a:lnTo>
                <a:lnTo>
                  <a:pt x="4124" y="605"/>
                </a:lnTo>
                <a:lnTo>
                  <a:pt x="4124" y="599"/>
                </a:lnTo>
                <a:lnTo>
                  <a:pt x="4124" y="599"/>
                </a:lnTo>
                <a:lnTo>
                  <a:pt x="4124" y="599"/>
                </a:lnTo>
                <a:lnTo>
                  <a:pt x="4124" y="599"/>
                </a:lnTo>
                <a:lnTo>
                  <a:pt x="4124" y="599"/>
                </a:lnTo>
                <a:lnTo>
                  <a:pt x="4118" y="599"/>
                </a:lnTo>
                <a:lnTo>
                  <a:pt x="4118" y="593"/>
                </a:lnTo>
                <a:lnTo>
                  <a:pt x="4118" y="593"/>
                </a:lnTo>
                <a:lnTo>
                  <a:pt x="4113" y="593"/>
                </a:lnTo>
                <a:lnTo>
                  <a:pt x="4113" y="587"/>
                </a:lnTo>
                <a:lnTo>
                  <a:pt x="4113" y="587"/>
                </a:lnTo>
                <a:lnTo>
                  <a:pt x="4113" y="587"/>
                </a:lnTo>
                <a:lnTo>
                  <a:pt x="4113" y="587"/>
                </a:lnTo>
                <a:lnTo>
                  <a:pt x="4113" y="581"/>
                </a:lnTo>
                <a:lnTo>
                  <a:pt x="4113" y="581"/>
                </a:lnTo>
                <a:lnTo>
                  <a:pt x="4113" y="581"/>
                </a:lnTo>
                <a:lnTo>
                  <a:pt x="4113" y="581"/>
                </a:lnTo>
                <a:lnTo>
                  <a:pt x="4113" y="581"/>
                </a:lnTo>
                <a:lnTo>
                  <a:pt x="4113" y="581"/>
                </a:lnTo>
                <a:lnTo>
                  <a:pt x="4113" y="581"/>
                </a:lnTo>
                <a:lnTo>
                  <a:pt x="4113" y="581"/>
                </a:lnTo>
                <a:lnTo>
                  <a:pt x="4113" y="575"/>
                </a:lnTo>
                <a:lnTo>
                  <a:pt x="4113" y="575"/>
                </a:lnTo>
                <a:lnTo>
                  <a:pt x="4113" y="569"/>
                </a:lnTo>
                <a:lnTo>
                  <a:pt x="4118" y="569"/>
                </a:lnTo>
                <a:lnTo>
                  <a:pt x="4118" y="569"/>
                </a:lnTo>
                <a:lnTo>
                  <a:pt x="4124" y="575"/>
                </a:lnTo>
                <a:lnTo>
                  <a:pt x="4124" y="575"/>
                </a:lnTo>
                <a:lnTo>
                  <a:pt x="4124" y="575"/>
                </a:lnTo>
                <a:lnTo>
                  <a:pt x="4124" y="575"/>
                </a:lnTo>
                <a:lnTo>
                  <a:pt x="4130" y="575"/>
                </a:lnTo>
                <a:lnTo>
                  <a:pt x="4130" y="575"/>
                </a:lnTo>
                <a:lnTo>
                  <a:pt x="4124" y="575"/>
                </a:lnTo>
                <a:lnTo>
                  <a:pt x="4124" y="569"/>
                </a:lnTo>
                <a:lnTo>
                  <a:pt x="4124" y="569"/>
                </a:lnTo>
                <a:lnTo>
                  <a:pt x="4124" y="569"/>
                </a:lnTo>
                <a:lnTo>
                  <a:pt x="4124" y="569"/>
                </a:lnTo>
                <a:lnTo>
                  <a:pt x="4124" y="569"/>
                </a:lnTo>
                <a:lnTo>
                  <a:pt x="4124" y="569"/>
                </a:lnTo>
                <a:lnTo>
                  <a:pt x="4124" y="569"/>
                </a:lnTo>
                <a:lnTo>
                  <a:pt x="4124" y="563"/>
                </a:lnTo>
                <a:lnTo>
                  <a:pt x="4124" y="563"/>
                </a:lnTo>
                <a:lnTo>
                  <a:pt x="4124" y="563"/>
                </a:lnTo>
                <a:lnTo>
                  <a:pt x="4124" y="563"/>
                </a:lnTo>
                <a:lnTo>
                  <a:pt x="4124" y="558"/>
                </a:lnTo>
                <a:lnTo>
                  <a:pt x="4124" y="558"/>
                </a:lnTo>
                <a:lnTo>
                  <a:pt x="4124" y="558"/>
                </a:lnTo>
                <a:lnTo>
                  <a:pt x="4118" y="558"/>
                </a:lnTo>
                <a:lnTo>
                  <a:pt x="4118" y="558"/>
                </a:lnTo>
                <a:lnTo>
                  <a:pt x="4118" y="552"/>
                </a:lnTo>
                <a:lnTo>
                  <a:pt x="4118" y="552"/>
                </a:lnTo>
                <a:lnTo>
                  <a:pt x="4113" y="546"/>
                </a:lnTo>
                <a:lnTo>
                  <a:pt x="4118" y="546"/>
                </a:lnTo>
                <a:lnTo>
                  <a:pt x="4118" y="546"/>
                </a:lnTo>
                <a:lnTo>
                  <a:pt x="4118" y="546"/>
                </a:lnTo>
                <a:lnTo>
                  <a:pt x="4113" y="540"/>
                </a:lnTo>
                <a:lnTo>
                  <a:pt x="4113" y="534"/>
                </a:lnTo>
                <a:lnTo>
                  <a:pt x="4107" y="534"/>
                </a:lnTo>
                <a:lnTo>
                  <a:pt x="4101" y="528"/>
                </a:lnTo>
                <a:lnTo>
                  <a:pt x="4095" y="528"/>
                </a:lnTo>
                <a:lnTo>
                  <a:pt x="4095" y="528"/>
                </a:lnTo>
                <a:lnTo>
                  <a:pt x="4095" y="528"/>
                </a:lnTo>
                <a:lnTo>
                  <a:pt x="4089" y="528"/>
                </a:lnTo>
                <a:lnTo>
                  <a:pt x="4089" y="528"/>
                </a:lnTo>
                <a:lnTo>
                  <a:pt x="4089" y="522"/>
                </a:lnTo>
                <a:lnTo>
                  <a:pt x="4083" y="522"/>
                </a:lnTo>
                <a:lnTo>
                  <a:pt x="4083" y="522"/>
                </a:lnTo>
                <a:lnTo>
                  <a:pt x="4077" y="522"/>
                </a:lnTo>
                <a:lnTo>
                  <a:pt x="4077" y="522"/>
                </a:lnTo>
                <a:lnTo>
                  <a:pt x="4077" y="522"/>
                </a:lnTo>
                <a:lnTo>
                  <a:pt x="4071" y="522"/>
                </a:lnTo>
                <a:lnTo>
                  <a:pt x="4071" y="516"/>
                </a:lnTo>
                <a:lnTo>
                  <a:pt x="4065" y="516"/>
                </a:lnTo>
                <a:lnTo>
                  <a:pt x="4065" y="510"/>
                </a:lnTo>
                <a:lnTo>
                  <a:pt x="4047" y="510"/>
                </a:lnTo>
                <a:lnTo>
                  <a:pt x="4047" y="510"/>
                </a:lnTo>
                <a:lnTo>
                  <a:pt x="4041" y="510"/>
                </a:lnTo>
                <a:lnTo>
                  <a:pt x="4041" y="504"/>
                </a:lnTo>
                <a:lnTo>
                  <a:pt x="4041" y="504"/>
                </a:lnTo>
                <a:lnTo>
                  <a:pt x="4041" y="498"/>
                </a:lnTo>
                <a:lnTo>
                  <a:pt x="4041" y="498"/>
                </a:lnTo>
                <a:lnTo>
                  <a:pt x="4035" y="492"/>
                </a:lnTo>
                <a:lnTo>
                  <a:pt x="4035" y="492"/>
                </a:lnTo>
                <a:lnTo>
                  <a:pt x="4030" y="486"/>
                </a:lnTo>
                <a:lnTo>
                  <a:pt x="4024" y="486"/>
                </a:lnTo>
                <a:lnTo>
                  <a:pt x="4018" y="486"/>
                </a:lnTo>
                <a:lnTo>
                  <a:pt x="4012" y="486"/>
                </a:lnTo>
                <a:lnTo>
                  <a:pt x="4006" y="486"/>
                </a:lnTo>
                <a:lnTo>
                  <a:pt x="4000" y="480"/>
                </a:lnTo>
                <a:lnTo>
                  <a:pt x="3988" y="474"/>
                </a:lnTo>
                <a:lnTo>
                  <a:pt x="3982" y="469"/>
                </a:lnTo>
                <a:lnTo>
                  <a:pt x="3982" y="469"/>
                </a:lnTo>
                <a:lnTo>
                  <a:pt x="3982" y="469"/>
                </a:lnTo>
                <a:lnTo>
                  <a:pt x="3976" y="469"/>
                </a:lnTo>
                <a:lnTo>
                  <a:pt x="3976" y="474"/>
                </a:lnTo>
                <a:lnTo>
                  <a:pt x="3976" y="474"/>
                </a:lnTo>
                <a:lnTo>
                  <a:pt x="3976" y="474"/>
                </a:lnTo>
                <a:lnTo>
                  <a:pt x="3964" y="474"/>
                </a:lnTo>
                <a:lnTo>
                  <a:pt x="3958" y="474"/>
                </a:lnTo>
                <a:lnTo>
                  <a:pt x="3958" y="474"/>
                </a:lnTo>
                <a:lnTo>
                  <a:pt x="3958" y="474"/>
                </a:lnTo>
                <a:lnTo>
                  <a:pt x="3964" y="480"/>
                </a:lnTo>
                <a:lnTo>
                  <a:pt x="3964" y="480"/>
                </a:lnTo>
                <a:lnTo>
                  <a:pt x="3964" y="480"/>
                </a:lnTo>
                <a:lnTo>
                  <a:pt x="3958" y="486"/>
                </a:lnTo>
                <a:lnTo>
                  <a:pt x="3953" y="492"/>
                </a:lnTo>
                <a:lnTo>
                  <a:pt x="3947" y="492"/>
                </a:lnTo>
                <a:lnTo>
                  <a:pt x="3947" y="498"/>
                </a:lnTo>
                <a:lnTo>
                  <a:pt x="3947" y="504"/>
                </a:lnTo>
                <a:lnTo>
                  <a:pt x="3947" y="510"/>
                </a:lnTo>
                <a:lnTo>
                  <a:pt x="3947" y="510"/>
                </a:lnTo>
                <a:lnTo>
                  <a:pt x="3953" y="516"/>
                </a:lnTo>
                <a:lnTo>
                  <a:pt x="3953" y="522"/>
                </a:lnTo>
                <a:lnTo>
                  <a:pt x="3953" y="522"/>
                </a:lnTo>
                <a:lnTo>
                  <a:pt x="3964" y="522"/>
                </a:lnTo>
                <a:lnTo>
                  <a:pt x="3964" y="522"/>
                </a:lnTo>
                <a:lnTo>
                  <a:pt x="3964" y="528"/>
                </a:lnTo>
                <a:lnTo>
                  <a:pt x="3958" y="528"/>
                </a:lnTo>
                <a:lnTo>
                  <a:pt x="3953" y="528"/>
                </a:lnTo>
                <a:lnTo>
                  <a:pt x="3947" y="528"/>
                </a:lnTo>
                <a:lnTo>
                  <a:pt x="3941" y="528"/>
                </a:lnTo>
                <a:lnTo>
                  <a:pt x="3923" y="540"/>
                </a:lnTo>
                <a:lnTo>
                  <a:pt x="3923" y="540"/>
                </a:lnTo>
                <a:lnTo>
                  <a:pt x="3917" y="546"/>
                </a:lnTo>
                <a:lnTo>
                  <a:pt x="3917" y="552"/>
                </a:lnTo>
                <a:lnTo>
                  <a:pt x="3917" y="569"/>
                </a:lnTo>
                <a:lnTo>
                  <a:pt x="3917" y="581"/>
                </a:lnTo>
                <a:lnTo>
                  <a:pt x="3917" y="593"/>
                </a:lnTo>
                <a:lnTo>
                  <a:pt x="3911" y="605"/>
                </a:lnTo>
                <a:lnTo>
                  <a:pt x="3905" y="617"/>
                </a:lnTo>
                <a:lnTo>
                  <a:pt x="3905" y="617"/>
                </a:lnTo>
                <a:lnTo>
                  <a:pt x="3899" y="617"/>
                </a:lnTo>
                <a:lnTo>
                  <a:pt x="3899" y="617"/>
                </a:lnTo>
                <a:lnTo>
                  <a:pt x="3899" y="611"/>
                </a:lnTo>
                <a:lnTo>
                  <a:pt x="3899" y="611"/>
                </a:lnTo>
                <a:lnTo>
                  <a:pt x="3899" y="611"/>
                </a:lnTo>
                <a:lnTo>
                  <a:pt x="3905" y="611"/>
                </a:lnTo>
                <a:lnTo>
                  <a:pt x="3905" y="605"/>
                </a:lnTo>
                <a:lnTo>
                  <a:pt x="3905" y="605"/>
                </a:lnTo>
                <a:lnTo>
                  <a:pt x="3905" y="599"/>
                </a:lnTo>
                <a:lnTo>
                  <a:pt x="3905" y="599"/>
                </a:lnTo>
                <a:lnTo>
                  <a:pt x="3905" y="599"/>
                </a:lnTo>
                <a:lnTo>
                  <a:pt x="3905" y="593"/>
                </a:lnTo>
                <a:lnTo>
                  <a:pt x="3905" y="587"/>
                </a:lnTo>
                <a:lnTo>
                  <a:pt x="3911" y="587"/>
                </a:lnTo>
                <a:lnTo>
                  <a:pt x="3911" y="587"/>
                </a:lnTo>
                <a:lnTo>
                  <a:pt x="3911" y="587"/>
                </a:lnTo>
                <a:lnTo>
                  <a:pt x="3911" y="581"/>
                </a:lnTo>
                <a:lnTo>
                  <a:pt x="3905" y="581"/>
                </a:lnTo>
                <a:lnTo>
                  <a:pt x="3905" y="581"/>
                </a:lnTo>
                <a:lnTo>
                  <a:pt x="3905" y="581"/>
                </a:lnTo>
                <a:lnTo>
                  <a:pt x="3905" y="581"/>
                </a:lnTo>
                <a:lnTo>
                  <a:pt x="3905" y="587"/>
                </a:lnTo>
                <a:lnTo>
                  <a:pt x="3905" y="587"/>
                </a:lnTo>
                <a:lnTo>
                  <a:pt x="3905" y="593"/>
                </a:lnTo>
                <a:lnTo>
                  <a:pt x="3905" y="593"/>
                </a:lnTo>
                <a:lnTo>
                  <a:pt x="3899" y="593"/>
                </a:lnTo>
                <a:lnTo>
                  <a:pt x="3899" y="593"/>
                </a:lnTo>
                <a:lnTo>
                  <a:pt x="3905" y="599"/>
                </a:lnTo>
                <a:lnTo>
                  <a:pt x="3905" y="599"/>
                </a:lnTo>
                <a:lnTo>
                  <a:pt x="3899" y="599"/>
                </a:lnTo>
                <a:lnTo>
                  <a:pt x="3899" y="599"/>
                </a:lnTo>
                <a:lnTo>
                  <a:pt x="3899" y="605"/>
                </a:lnTo>
                <a:lnTo>
                  <a:pt x="3899" y="605"/>
                </a:lnTo>
                <a:lnTo>
                  <a:pt x="3899" y="611"/>
                </a:lnTo>
                <a:lnTo>
                  <a:pt x="3899" y="611"/>
                </a:lnTo>
                <a:lnTo>
                  <a:pt x="3899" y="611"/>
                </a:lnTo>
                <a:lnTo>
                  <a:pt x="3893" y="611"/>
                </a:lnTo>
                <a:lnTo>
                  <a:pt x="3893" y="611"/>
                </a:lnTo>
                <a:lnTo>
                  <a:pt x="3893" y="605"/>
                </a:lnTo>
                <a:lnTo>
                  <a:pt x="3893" y="605"/>
                </a:lnTo>
                <a:lnTo>
                  <a:pt x="3893" y="599"/>
                </a:lnTo>
                <a:lnTo>
                  <a:pt x="3899" y="587"/>
                </a:lnTo>
                <a:lnTo>
                  <a:pt x="3899" y="587"/>
                </a:lnTo>
                <a:lnTo>
                  <a:pt x="3899" y="587"/>
                </a:lnTo>
                <a:lnTo>
                  <a:pt x="3899" y="581"/>
                </a:lnTo>
                <a:lnTo>
                  <a:pt x="3893" y="581"/>
                </a:lnTo>
                <a:lnTo>
                  <a:pt x="3893" y="587"/>
                </a:lnTo>
                <a:lnTo>
                  <a:pt x="3893" y="581"/>
                </a:lnTo>
                <a:lnTo>
                  <a:pt x="3893" y="581"/>
                </a:lnTo>
                <a:lnTo>
                  <a:pt x="3899" y="575"/>
                </a:lnTo>
                <a:lnTo>
                  <a:pt x="3899" y="575"/>
                </a:lnTo>
                <a:lnTo>
                  <a:pt x="3899" y="575"/>
                </a:lnTo>
                <a:lnTo>
                  <a:pt x="3899" y="569"/>
                </a:lnTo>
                <a:lnTo>
                  <a:pt x="3899" y="563"/>
                </a:lnTo>
                <a:lnTo>
                  <a:pt x="3899" y="563"/>
                </a:lnTo>
                <a:lnTo>
                  <a:pt x="3899" y="563"/>
                </a:lnTo>
                <a:lnTo>
                  <a:pt x="3899" y="558"/>
                </a:lnTo>
                <a:lnTo>
                  <a:pt x="3899" y="558"/>
                </a:lnTo>
                <a:lnTo>
                  <a:pt x="3899" y="558"/>
                </a:lnTo>
                <a:lnTo>
                  <a:pt x="3905" y="552"/>
                </a:lnTo>
                <a:lnTo>
                  <a:pt x="3905" y="552"/>
                </a:lnTo>
                <a:lnTo>
                  <a:pt x="3899" y="552"/>
                </a:lnTo>
                <a:lnTo>
                  <a:pt x="3899" y="558"/>
                </a:lnTo>
                <a:lnTo>
                  <a:pt x="3899" y="558"/>
                </a:lnTo>
                <a:lnTo>
                  <a:pt x="3893" y="558"/>
                </a:lnTo>
                <a:lnTo>
                  <a:pt x="3893" y="558"/>
                </a:lnTo>
                <a:lnTo>
                  <a:pt x="3893" y="558"/>
                </a:lnTo>
                <a:lnTo>
                  <a:pt x="3887" y="563"/>
                </a:lnTo>
                <a:lnTo>
                  <a:pt x="3887" y="569"/>
                </a:lnTo>
                <a:lnTo>
                  <a:pt x="3881" y="569"/>
                </a:lnTo>
                <a:lnTo>
                  <a:pt x="3881" y="575"/>
                </a:lnTo>
                <a:lnTo>
                  <a:pt x="3881" y="575"/>
                </a:lnTo>
                <a:lnTo>
                  <a:pt x="3875" y="587"/>
                </a:lnTo>
                <a:lnTo>
                  <a:pt x="3875" y="587"/>
                </a:lnTo>
                <a:lnTo>
                  <a:pt x="3875" y="587"/>
                </a:lnTo>
                <a:lnTo>
                  <a:pt x="3870" y="587"/>
                </a:lnTo>
                <a:lnTo>
                  <a:pt x="3870" y="587"/>
                </a:lnTo>
                <a:lnTo>
                  <a:pt x="3870" y="587"/>
                </a:lnTo>
                <a:lnTo>
                  <a:pt x="3864" y="587"/>
                </a:lnTo>
                <a:lnTo>
                  <a:pt x="3864" y="587"/>
                </a:lnTo>
                <a:lnTo>
                  <a:pt x="3864" y="587"/>
                </a:lnTo>
                <a:lnTo>
                  <a:pt x="3864" y="587"/>
                </a:lnTo>
                <a:lnTo>
                  <a:pt x="3864" y="587"/>
                </a:lnTo>
                <a:lnTo>
                  <a:pt x="3864" y="587"/>
                </a:lnTo>
                <a:lnTo>
                  <a:pt x="3864" y="587"/>
                </a:lnTo>
                <a:lnTo>
                  <a:pt x="3858" y="593"/>
                </a:lnTo>
                <a:lnTo>
                  <a:pt x="3858" y="593"/>
                </a:lnTo>
                <a:lnTo>
                  <a:pt x="3858" y="593"/>
                </a:lnTo>
                <a:lnTo>
                  <a:pt x="3858" y="593"/>
                </a:lnTo>
                <a:lnTo>
                  <a:pt x="3858" y="593"/>
                </a:lnTo>
                <a:lnTo>
                  <a:pt x="3858" y="593"/>
                </a:lnTo>
                <a:lnTo>
                  <a:pt x="3852" y="593"/>
                </a:lnTo>
                <a:lnTo>
                  <a:pt x="3852" y="593"/>
                </a:lnTo>
                <a:lnTo>
                  <a:pt x="3852" y="593"/>
                </a:lnTo>
                <a:lnTo>
                  <a:pt x="3852" y="599"/>
                </a:lnTo>
                <a:lnTo>
                  <a:pt x="3846" y="611"/>
                </a:lnTo>
                <a:lnTo>
                  <a:pt x="3852" y="617"/>
                </a:lnTo>
                <a:lnTo>
                  <a:pt x="3846" y="617"/>
                </a:lnTo>
                <a:lnTo>
                  <a:pt x="3846" y="617"/>
                </a:lnTo>
                <a:lnTo>
                  <a:pt x="3846" y="617"/>
                </a:lnTo>
                <a:lnTo>
                  <a:pt x="3846" y="617"/>
                </a:lnTo>
                <a:lnTo>
                  <a:pt x="3846" y="617"/>
                </a:lnTo>
                <a:lnTo>
                  <a:pt x="3840" y="617"/>
                </a:lnTo>
                <a:lnTo>
                  <a:pt x="3840" y="617"/>
                </a:lnTo>
                <a:lnTo>
                  <a:pt x="3840" y="617"/>
                </a:lnTo>
                <a:lnTo>
                  <a:pt x="3840" y="617"/>
                </a:lnTo>
                <a:lnTo>
                  <a:pt x="3834" y="623"/>
                </a:lnTo>
                <a:lnTo>
                  <a:pt x="3834" y="623"/>
                </a:lnTo>
                <a:lnTo>
                  <a:pt x="3828" y="629"/>
                </a:lnTo>
                <a:lnTo>
                  <a:pt x="3834" y="629"/>
                </a:lnTo>
                <a:lnTo>
                  <a:pt x="3834" y="635"/>
                </a:lnTo>
                <a:lnTo>
                  <a:pt x="3834" y="635"/>
                </a:lnTo>
                <a:lnTo>
                  <a:pt x="3834" y="641"/>
                </a:lnTo>
                <a:lnTo>
                  <a:pt x="3834" y="652"/>
                </a:lnTo>
                <a:lnTo>
                  <a:pt x="3834" y="652"/>
                </a:lnTo>
                <a:lnTo>
                  <a:pt x="3834" y="652"/>
                </a:lnTo>
                <a:lnTo>
                  <a:pt x="3834" y="658"/>
                </a:lnTo>
                <a:lnTo>
                  <a:pt x="3828" y="658"/>
                </a:lnTo>
                <a:lnTo>
                  <a:pt x="3834" y="664"/>
                </a:lnTo>
                <a:lnTo>
                  <a:pt x="3828" y="670"/>
                </a:lnTo>
                <a:lnTo>
                  <a:pt x="3828" y="676"/>
                </a:lnTo>
                <a:lnTo>
                  <a:pt x="3822" y="682"/>
                </a:lnTo>
                <a:lnTo>
                  <a:pt x="3822" y="694"/>
                </a:lnTo>
                <a:lnTo>
                  <a:pt x="3816" y="700"/>
                </a:lnTo>
                <a:lnTo>
                  <a:pt x="3810" y="706"/>
                </a:lnTo>
                <a:lnTo>
                  <a:pt x="3804" y="712"/>
                </a:lnTo>
                <a:lnTo>
                  <a:pt x="3804" y="718"/>
                </a:lnTo>
                <a:lnTo>
                  <a:pt x="3804" y="718"/>
                </a:lnTo>
                <a:lnTo>
                  <a:pt x="3810" y="724"/>
                </a:lnTo>
                <a:lnTo>
                  <a:pt x="3810" y="724"/>
                </a:lnTo>
                <a:lnTo>
                  <a:pt x="3810" y="724"/>
                </a:lnTo>
                <a:lnTo>
                  <a:pt x="3810" y="730"/>
                </a:lnTo>
                <a:lnTo>
                  <a:pt x="3810" y="730"/>
                </a:lnTo>
                <a:lnTo>
                  <a:pt x="3810" y="735"/>
                </a:lnTo>
                <a:lnTo>
                  <a:pt x="3810" y="735"/>
                </a:lnTo>
                <a:lnTo>
                  <a:pt x="3816" y="747"/>
                </a:lnTo>
                <a:lnTo>
                  <a:pt x="3816" y="753"/>
                </a:lnTo>
                <a:lnTo>
                  <a:pt x="3810" y="759"/>
                </a:lnTo>
                <a:lnTo>
                  <a:pt x="3804" y="765"/>
                </a:lnTo>
                <a:lnTo>
                  <a:pt x="3804" y="771"/>
                </a:lnTo>
                <a:lnTo>
                  <a:pt x="3804" y="771"/>
                </a:lnTo>
                <a:lnTo>
                  <a:pt x="3804" y="777"/>
                </a:lnTo>
                <a:lnTo>
                  <a:pt x="3804" y="783"/>
                </a:lnTo>
                <a:lnTo>
                  <a:pt x="3804" y="783"/>
                </a:lnTo>
                <a:lnTo>
                  <a:pt x="3822" y="824"/>
                </a:lnTo>
                <a:lnTo>
                  <a:pt x="3822" y="824"/>
                </a:lnTo>
                <a:lnTo>
                  <a:pt x="3828" y="824"/>
                </a:lnTo>
                <a:lnTo>
                  <a:pt x="3834" y="824"/>
                </a:lnTo>
                <a:lnTo>
                  <a:pt x="3834" y="824"/>
                </a:lnTo>
                <a:lnTo>
                  <a:pt x="3828" y="824"/>
                </a:lnTo>
                <a:lnTo>
                  <a:pt x="3828" y="830"/>
                </a:lnTo>
                <a:lnTo>
                  <a:pt x="3828" y="830"/>
                </a:lnTo>
                <a:lnTo>
                  <a:pt x="3822" y="830"/>
                </a:lnTo>
                <a:lnTo>
                  <a:pt x="3828" y="830"/>
                </a:lnTo>
                <a:lnTo>
                  <a:pt x="3828" y="848"/>
                </a:lnTo>
                <a:lnTo>
                  <a:pt x="3834" y="848"/>
                </a:lnTo>
                <a:lnTo>
                  <a:pt x="3834" y="854"/>
                </a:lnTo>
                <a:lnTo>
                  <a:pt x="3834" y="860"/>
                </a:lnTo>
                <a:lnTo>
                  <a:pt x="3834" y="860"/>
                </a:lnTo>
                <a:lnTo>
                  <a:pt x="3834" y="860"/>
                </a:lnTo>
                <a:lnTo>
                  <a:pt x="3834" y="860"/>
                </a:lnTo>
                <a:lnTo>
                  <a:pt x="3834" y="860"/>
                </a:lnTo>
                <a:lnTo>
                  <a:pt x="3834" y="860"/>
                </a:lnTo>
                <a:lnTo>
                  <a:pt x="3834" y="860"/>
                </a:lnTo>
                <a:lnTo>
                  <a:pt x="3834" y="860"/>
                </a:lnTo>
                <a:lnTo>
                  <a:pt x="3834" y="860"/>
                </a:lnTo>
                <a:lnTo>
                  <a:pt x="3834" y="860"/>
                </a:lnTo>
                <a:lnTo>
                  <a:pt x="3834" y="866"/>
                </a:lnTo>
                <a:lnTo>
                  <a:pt x="3834" y="902"/>
                </a:lnTo>
                <a:lnTo>
                  <a:pt x="3828" y="931"/>
                </a:lnTo>
                <a:lnTo>
                  <a:pt x="3828" y="943"/>
                </a:lnTo>
                <a:lnTo>
                  <a:pt x="3822" y="961"/>
                </a:lnTo>
                <a:lnTo>
                  <a:pt x="3810" y="979"/>
                </a:lnTo>
                <a:lnTo>
                  <a:pt x="3798" y="1002"/>
                </a:lnTo>
                <a:lnTo>
                  <a:pt x="3793" y="1008"/>
                </a:lnTo>
                <a:lnTo>
                  <a:pt x="3787" y="1020"/>
                </a:lnTo>
                <a:lnTo>
                  <a:pt x="3781" y="1020"/>
                </a:lnTo>
                <a:lnTo>
                  <a:pt x="3781" y="1020"/>
                </a:lnTo>
                <a:lnTo>
                  <a:pt x="3781" y="1026"/>
                </a:lnTo>
                <a:lnTo>
                  <a:pt x="3775" y="1026"/>
                </a:lnTo>
                <a:lnTo>
                  <a:pt x="3757" y="1038"/>
                </a:lnTo>
                <a:lnTo>
                  <a:pt x="3739" y="1044"/>
                </a:lnTo>
                <a:lnTo>
                  <a:pt x="3727" y="1044"/>
                </a:lnTo>
                <a:lnTo>
                  <a:pt x="3721" y="1044"/>
                </a:lnTo>
                <a:lnTo>
                  <a:pt x="3715" y="1044"/>
                </a:lnTo>
                <a:lnTo>
                  <a:pt x="3715" y="1038"/>
                </a:lnTo>
                <a:lnTo>
                  <a:pt x="3715" y="1038"/>
                </a:lnTo>
                <a:lnTo>
                  <a:pt x="3715" y="1038"/>
                </a:lnTo>
                <a:lnTo>
                  <a:pt x="3710" y="1038"/>
                </a:lnTo>
                <a:lnTo>
                  <a:pt x="3710" y="1038"/>
                </a:lnTo>
                <a:lnTo>
                  <a:pt x="3704" y="1032"/>
                </a:lnTo>
                <a:lnTo>
                  <a:pt x="3698" y="1020"/>
                </a:lnTo>
                <a:lnTo>
                  <a:pt x="3698" y="1020"/>
                </a:lnTo>
                <a:lnTo>
                  <a:pt x="3698" y="1008"/>
                </a:lnTo>
                <a:lnTo>
                  <a:pt x="3692" y="1002"/>
                </a:lnTo>
                <a:lnTo>
                  <a:pt x="3692" y="990"/>
                </a:lnTo>
                <a:lnTo>
                  <a:pt x="3692" y="990"/>
                </a:lnTo>
                <a:lnTo>
                  <a:pt x="3692" y="985"/>
                </a:lnTo>
                <a:lnTo>
                  <a:pt x="3692" y="985"/>
                </a:lnTo>
                <a:lnTo>
                  <a:pt x="3692" y="985"/>
                </a:lnTo>
                <a:lnTo>
                  <a:pt x="3686" y="985"/>
                </a:lnTo>
                <a:lnTo>
                  <a:pt x="3686" y="979"/>
                </a:lnTo>
                <a:lnTo>
                  <a:pt x="3686" y="979"/>
                </a:lnTo>
                <a:lnTo>
                  <a:pt x="3686" y="979"/>
                </a:lnTo>
                <a:lnTo>
                  <a:pt x="3686" y="979"/>
                </a:lnTo>
                <a:lnTo>
                  <a:pt x="3680" y="979"/>
                </a:lnTo>
                <a:lnTo>
                  <a:pt x="3680" y="973"/>
                </a:lnTo>
                <a:lnTo>
                  <a:pt x="3680" y="973"/>
                </a:lnTo>
                <a:lnTo>
                  <a:pt x="3680" y="967"/>
                </a:lnTo>
                <a:lnTo>
                  <a:pt x="3680" y="961"/>
                </a:lnTo>
                <a:lnTo>
                  <a:pt x="3674" y="955"/>
                </a:lnTo>
                <a:lnTo>
                  <a:pt x="3674" y="949"/>
                </a:lnTo>
                <a:lnTo>
                  <a:pt x="3674" y="943"/>
                </a:lnTo>
                <a:lnTo>
                  <a:pt x="3674" y="943"/>
                </a:lnTo>
                <a:lnTo>
                  <a:pt x="3674" y="943"/>
                </a:lnTo>
                <a:lnTo>
                  <a:pt x="3680" y="943"/>
                </a:lnTo>
                <a:lnTo>
                  <a:pt x="3680" y="931"/>
                </a:lnTo>
                <a:lnTo>
                  <a:pt x="3680" y="931"/>
                </a:lnTo>
                <a:lnTo>
                  <a:pt x="3680" y="919"/>
                </a:lnTo>
                <a:lnTo>
                  <a:pt x="3680" y="919"/>
                </a:lnTo>
                <a:lnTo>
                  <a:pt x="3680" y="913"/>
                </a:lnTo>
                <a:lnTo>
                  <a:pt x="3680" y="913"/>
                </a:lnTo>
                <a:lnTo>
                  <a:pt x="3680" y="913"/>
                </a:lnTo>
                <a:lnTo>
                  <a:pt x="3680" y="907"/>
                </a:lnTo>
                <a:lnTo>
                  <a:pt x="3680" y="907"/>
                </a:lnTo>
                <a:lnTo>
                  <a:pt x="3680" y="907"/>
                </a:lnTo>
                <a:lnTo>
                  <a:pt x="3680" y="902"/>
                </a:lnTo>
                <a:lnTo>
                  <a:pt x="3680" y="902"/>
                </a:lnTo>
                <a:lnTo>
                  <a:pt x="3680" y="890"/>
                </a:lnTo>
                <a:lnTo>
                  <a:pt x="3680" y="890"/>
                </a:lnTo>
                <a:lnTo>
                  <a:pt x="3680" y="884"/>
                </a:lnTo>
                <a:lnTo>
                  <a:pt x="3674" y="878"/>
                </a:lnTo>
                <a:lnTo>
                  <a:pt x="3674" y="878"/>
                </a:lnTo>
                <a:lnTo>
                  <a:pt x="3674" y="878"/>
                </a:lnTo>
                <a:lnTo>
                  <a:pt x="3674" y="866"/>
                </a:lnTo>
                <a:lnTo>
                  <a:pt x="3674" y="860"/>
                </a:lnTo>
                <a:lnTo>
                  <a:pt x="3674" y="860"/>
                </a:lnTo>
                <a:lnTo>
                  <a:pt x="3668" y="860"/>
                </a:lnTo>
                <a:lnTo>
                  <a:pt x="3668" y="854"/>
                </a:lnTo>
                <a:lnTo>
                  <a:pt x="3668" y="854"/>
                </a:lnTo>
                <a:lnTo>
                  <a:pt x="3668" y="848"/>
                </a:lnTo>
                <a:lnTo>
                  <a:pt x="3674" y="848"/>
                </a:lnTo>
                <a:lnTo>
                  <a:pt x="3674" y="848"/>
                </a:lnTo>
                <a:lnTo>
                  <a:pt x="3668" y="848"/>
                </a:lnTo>
                <a:lnTo>
                  <a:pt x="3668" y="842"/>
                </a:lnTo>
                <a:lnTo>
                  <a:pt x="3668" y="842"/>
                </a:lnTo>
                <a:lnTo>
                  <a:pt x="3668" y="842"/>
                </a:lnTo>
                <a:lnTo>
                  <a:pt x="3668" y="836"/>
                </a:lnTo>
                <a:lnTo>
                  <a:pt x="3668" y="836"/>
                </a:lnTo>
                <a:lnTo>
                  <a:pt x="3668" y="830"/>
                </a:lnTo>
                <a:lnTo>
                  <a:pt x="3668" y="830"/>
                </a:lnTo>
                <a:lnTo>
                  <a:pt x="3668" y="830"/>
                </a:lnTo>
                <a:lnTo>
                  <a:pt x="3668" y="824"/>
                </a:lnTo>
                <a:lnTo>
                  <a:pt x="3668" y="813"/>
                </a:lnTo>
                <a:lnTo>
                  <a:pt x="3674" y="807"/>
                </a:lnTo>
                <a:lnTo>
                  <a:pt x="3680" y="795"/>
                </a:lnTo>
                <a:lnTo>
                  <a:pt x="3680" y="789"/>
                </a:lnTo>
                <a:lnTo>
                  <a:pt x="3680" y="783"/>
                </a:lnTo>
                <a:lnTo>
                  <a:pt x="3680" y="783"/>
                </a:lnTo>
                <a:lnTo>
                  <a:pt x="3680" y="777"/>
                </a:lnTo>
                <a:lnTo>
                  <a:pt x="3686" y="771"/>
                </a:lnTo>
                <a:lnTo>
                  <a:pt x="3686" y="765"/>
                </a:lnTo>
                <a:lnTo>
                  <a:pt x="3686" y="759"/>
                </a:lnTo>
                <a:lnTo>
                  <a:pt x="3686" y="759"/>
                </a:lnTo>
                <a:lnTo>
                  <a:pt x="3686" y="759"/>
                </a:lnTo>
                <a:lnTo>
                  <a:pt x="3686" y="759"/>
                </a:lnTo>
                <a:lnTo>
                  <a:pt x="3686" y="759"/>
                </a:lnTo>
                <a:lnTo>
                  <a:pt x="3686" y="753"/>
                </a:lnTo>
                <a:lnTo>
                  <a:pt x="3686" y="753"/>
                </a:lnTo>
                <a:lnTo>
                  <a:pt x="3686" y="753"/>
                </a:lnTo>
                <a:lnTo>
                  <a:pt x="3686" y="747"/>
                </a:lnTo>
                <a:lnTo>
                  <a:pt x="3686" y="747"/>
                </a:lnTo>
                <a:lnTo>
                  <a:pt x="3686" y="747"/>
                </a:lnTo>
                <a:lnTo>
                  <a:pt x="3686" y="741"/>
                </a:lnTo>
                <a:lnTo>
                  <a:pt x="3686" y="730"/>
                </a:lnTo>
                <a:lnTo>
                  <a:pt x="3686" y="730"/>
                </a:lnTo>
                <a:lnTo>
                  <a:pt x="3686" y="730"/>
                </a:lnTo>
                <a:lnTo>
                  <a:pt x="3686" y="730"/>
                </a:lnTo>
                <a:lnTo>
                  <a:pt x="3686" y="724"/>
                </a:lnTo>
                <a:lnTo>
                  <a:pt x="3692" y="718"/>
                </a:lnTo>
                <a:lnTo>
                  <a:pt x="3692" y="706"/>
                </a:lnTo>
                <a:lnTo>
                  <a:pt x="3698" y="706"/>
                </a:lnTo>
                <a:lnTo>
                  <a:pt x="3698" y="706"/>
                </a:lnTo>
                <a:lnTo>
                  <a:pt x="3704" y="700"/>
                </a:lnTo>
                <a:lnTo>
                  <a:pt x="3704" y="700"/>
                </a:lnTo>
                <a:lnTo>
                  <a:pt x="3710" y="700"/>
                </a:lnTo>
                <a:lnTo>
                  <a:pt x="3710" y="694"/>
                </a:lnTo>
                <a:lnTo>
                  <a:pt x="3710" y="694"/>
                </a:lnTo>
                <a:lnTo>
                  <a:pt x="3710" y="688"/>
                </a:lnTo>
                <a:lnTo>
                  <a:pt x="3704" y="682"/>
                </a:lnTo>
                <a:lnTo>
                  <a:pt x="3704" y="676"/>
                </a:lnTo>
                <a:lnTo>
                  <a:pt x="3704" y="676"/>
                </a:lnTo>
                <a:lnTo>
                  <a:pt x="3704" y="676"/>
                </a:lnTo>
                <a:lnTo>
                  <a:pt x="3704" y="670"/>
                </a:lnTo>
                <a:lnTo>
                  <a:pt x="3704" y="670"/>
                </a:lnTo>
                <a:lnTo>
                  <a:pt x="3710" y="670"/>
                </a:lnTo>
                <a:lnTo>
                  <a:pt x="3710" y="664"/>
                </a:lnTo>
                <a:lnTo>
                  <a:pt x="3710" y="646"/>
                </a:lnTo>
                <a:lnTo>
                  <a:pt x="3710" y="641"/>
                </a:lnTo>
                <a:lnTo>
                  <a:pt x="3715" y="635"/>
                </a:lnTo>
                <a:lnTo>
                  <a:pt x="3721" y="629"/>
                </a:lnTo>
                <a:lnTo>
                  <a:pt x="3721" y="629"/>
                </a:lnTo>
                <a:lnTo>
                  <a:pt x="3721" y="629"/>
                </a:lnTo>
                <a:lnTo>
                  <a:pt x="3721" y="623"/>
                </a:lnTo>
                <a:lnTo>
                  <a:pt x="3721" y="623"/>
                </a:lnTo>
                <a:lnTo>
                  <a:pt x="3721" y="623"/>
                </a:lnTo>
                <a:lnTo>
                  <a:pt x="3727" y="611"/>
                </a:lnTo>
                <a:lnTo>
                  <a:pt x="3727" y="611"/>
                </a:lnTo>
                <a:lnTo>
                  <a:pt x="3721" y="611"/>
                </a:lnTo>
                <a:lnTo>
                  <a:pt x="3721" y="605"/>
                </a:lnTo>
                <a:lnTo>
                  <a:pt x="3721" y="605"/>
                </a:lnTo>
                <a:lnTo>
                  <a:pt x="3715" y="599"/>
                </a:lnTo>
                <a:lnTo>
                  <a:pt x="3715" y="599"/>
                </a:lnTo>
                <a:lnTo>
                  <a:pt x="3710" y="599"/>
                </a:lnTo>
                <a:lnTo>
                  <a:pt x="3710" y="599"/>
                </a:lnTo>
                <a:lnTo>
                  <a:pt x="3710" y="599"/>
                </a:lnTo>
                <a:lnTo>
                  <a:pt x="3704" y="605"/>
                </a:lnTo>
                <a:lnTo>
                  <a:pt x="3704" y="605"/>
                </a:lnTo>
                <a:lnTo>
                  <a:pt x="3704" y="605"/>
                </a:lnTo>
                <a:lnTo>
                  <a:pt x="3698" y="605"/>
                </a:lnTo>
                <a:lnTo>
                  <a:pt x="3698" y="605"/>
                </a:lnTo>
                <a:lnTo>
                  <a:pt x="3692" y="605"/>
                </a:lnTo>
                <a:lnTo>
                  <a:pt x="3692" y="611"/>
                </a:lnTo>
                <a:lnTo>
                  <a:pt x="3686" y="617"/>
                </a:lnTo>
                <a:lnTo>
                  <a:pt x="3686" y="623"/>
                </a:lnTo>
                <a:lnTo>
                  <a:pt x="3686" y="623"/>
                </a:lnTo>
                <a:lnTo>
                  <a:pt x="3686" y="623"/>
                </a:lnTo>
                <a:lnTo>
                  <a:pt x="3686" y="629"/>
                </a:lnTo>
                <a:lnTo>
                  <a:pt x="3680" y="629"/>
                </a:lnTo>
                <a:lnTo>
                  <a:pt x="3680" y="629"/>
                </a:lnTo>
                <a:lnTo>
                  <a:pt x="3674" y="635"/>
                </a:lnTo>
                <a:lnTo>
                  <a:pt x="3668" y="635"/>
                </a:lnTo>
                <a:lnTo>
                  <a:pt x="3668" y="641"/>
                </a:lnTo>
                <a:lnTo>
                  <a:pt x="3668" y="641"/>
                </a:lnTo>
                <a:lnTo>
                  <a:pt x="3668" y="646"/>
                </a:lnTo>
                <a:lnTo>
                  <a:pt x="3662" y="646"/>
                </a:lnTo>
                <a:lnTo>
                  <a:pt x="3662" y="646"/>
                </a:lnTo>
                <a:lnTo>
                  <a:pt x="3656" y="646"/>
                </a:lnTo>
                <a:lnTo>
                  <a:pt x="3656" y="646"/>
                </a:lnTo>
                <a:lnTo>
                  <a:pt x="3656" y="641"/>
                </a:lnTo>
                <a:lnTo>
                  <a:pt x="3656" y="641"/>
                </a:lnTo>
                <a:lnTo>
                  <a:pt x="3656" y="641"/>
                </a:lnTo>
                <a:lnTo>
                  <a:pt x="3656" y="635"/>
                </a:lnTo>
                <a:lnTo>
                  <a:pt x="3656" y="635"/>
                </a:lnTo>
                <a:lnTo>
                  <a:pt x="3656" y="635"/>
                </a:lnTo>
                <a:lnTo>
                  <a:pt x="3656" y="629"/>
                </a:lnTo>
                <a:lnTo>
                  <a:pt x="3656" y="629"/>
                </a:lnTo>
                <a:lnTo>
                  <a:pt x="3662" y="629"/>
                </a:lnTo>
                <a:lnTo>
                  <a:pt x="3662" y="629"/>
                </a:lnTo>
                <a:lnTo>
                  <a:pt x="3656" y="629"/>
                </a:lnTo>
                <a:lnTo>
                  <a:pt x="3656" y="623"/>
                </a:lnTo>
                <a:lnTo>
                  <a:pt x="3662" y="623"/>
                </a:lnTo>
                <a:lnTo>
                  <a:pt x="3662" y="623"/>
                </a:lnTo>
                <a:lnTo>
                  <a:pt x="3662" y="617"/>
                </a:lnTo>
                <a:lnTo>
                  <a:pt x="3662" y="617"/>
                </a:lnTo>
                <a:lnTo>
                  <a:pt x="3662" y="617"/>
                </a:lnTo>
                <a:lnTo>
                  <a:pt x="3662" y="617"/>
                </a:lnTo>
                <a:lnTo>
                  <a:pt x="3668" y="611"/>
                </a:lnTo>
                <a:lnTo>
                  <a:pt x="3668" y="611"/>
                </a:lnTo>
                <a:lnTo>
                  <a:pt x="3668" y="611"/>
                </a:lnTo>
                <a:lnTo>
                  <a:pt x="3668" y="605"/>
                </a:lnTo>
                <a:lnTo>
                  <a:pt x="3674" y="599"/>
                </a:lnTo>
                <a:lnTo>
                  <a:pt x="3674" y="599"/>
                </a:lnTo>
                <a:lnTo>
                  <a:pt x="3674" y="593"/>
                </a:lnTo>
                <a:lnTo>
                  <a:pt x="3674" y="587"/>
                </a:lnTo>
                <a:lnTo>
                  <a:pt x="3680" y="587"/>
                </a:lnTo>
                <a:lnTo>
                  <a:pt x="3692" y="587"/>
                </a:lnTo>
                <a:lnTo>
                  <a:pt x="3692" y="587"/>
                </a:lnTo>
                <a:lnTo>
                  <a:pt x="3692" y="581"/>
                </a:lnTo>
                <a:lnTo>
                  <a:pt x="3692" y="581"/>
                </a:lnTo>
                <a:lnTo>
                  <a:pt x="3698" y="581"/>
                </a:lnTo>
                <a:lnTo>
                  <a:pt x="3698" y="575"/>
                </a:lnTo>
                <a:lnTo>
                  <a:pt x="3698" y="575"/>
                </a:lnTo>
                <a:lnTo>
                  <a:pt x="3698" y="575"/>
                </a:lnTo>
                <a:lnTo>
                  <a:pt x="3698" y="569"/>
                </a:lnTo>
                <a:lnTo>
                  <a:pt x="3698" y="569"/>
                </a:lnTo>
                <a:lnTo>
                  <a:pt x="3698" y="569"/>
                </a:lnTo>
                <a:lnTo>
                  <a:pt x="3698" y="563"/>
                </a:lnTo>
                <a:lnTo>
                  <a:pt x="3698" y="558"/>
                </a:lnTo>
                <a:lnTo>
                  <a:pt x="3704" y="558"/>
                </a:lnTo>
                <a:lnTo>
                  <a:pt x="3721" y="522"/>
                </a:lnTo>
                <a:lnTo>
                  <a:pt x="3721" y="522"/>
                </a:lnTo>
                <a:lnTo>
                  <a:pt x="3727" y="516"/>
                </a:lnTo>
                <a:lnTo>
                  <a:pt x="3727" y="516"/>
                </a:lnTo>
                <a:lnTo>
                  <a:pt x="3727" y="516"/>
                </a:lnTo>
                <a:lnTo>
                  <a:pt x="3727" y="510"/>
                </a:lnTo>
                <a:lnTo>
                  <a:pt x="3727" y="504"/>
                </a:lnTo>
                <a:lnTo>
                  <a:pt x="3733" y="504"/>
                </a:lnTo>
                <a:lnTo>
                  <a:pt x="3733" y="498"/>
                </a:lnTo>
                <a:lnTo>
                  <a:pt x="3739" y="498"/>
                </a:lnTo>
                <a:lnTo>
                  <a:pt x="3739" y="486"/>
                </a:lnTo>
                <a:lnTo>
                  <a:pt x="3745" y="486"/>
                </a:lnTo>
                <a:lnTo>
                  <a:pt x="3745" y="486"/>
                </a:lnTo>
                <a:lnTo>
                  <a:pt x="3751" y="480"/>
                </a:lnTo>
                <a:lnTo>
                  <a:pt x="3751" y="480"/>
                </a:lnTo>
                <a:lnTo>
                  <a:pt x="3751" y="480"/>
                </a:lnTo>
                <a:lnTo>
                  <a:pt x="3751" y="474"/>
                </a:lnTo>
                <a:lnTo>
                  <a:pt x="3751" y="469"/>
                </a:lnTo>
                <a:lnTo>
                  <a:pt x="3751" y="463"/>
                </a:lnTo>
                <a:lnTo>
                  <a:pt x="3757" y="463"/>
                </a:lnTo>
                <a:lnTo>
                  <a:pt x="3757" y="463"/>
                </a:lnTo>
                <a:lnTo>
                  <a:pt x="3757" y="451"/>
                </a:lnTo>
                <a:lnTo>
                  <a:pt x="3757" y="451"/>
                </a:lnTo>
                <a:lnTo>
                  <a:pt x="3763" y="451"/>
                </a:lnTo>
                <a:lnTo>
                  <a:pt x="3763" y="451"/>
                </a:lnTo>
                <a:lnTo>
                  <a:pt x="3763" y="457"/>
                </a:lnTo>
                <a:lnTo>
                  <a:pt x="3763" y="457"/>
                </a:lnTo>
                <a:lnTo>
                  <a:pt x="3763" y="457"/>
                </a:lnTo>
                <a:lnTo>
                  <a:pt x="3757" y="463"/>
                </a:lnTo>
                <a:lnTo>
                  <a:pt x="3757" y="463"/>
                </a:lnTo>
                <a:lnTo>
                  <a:pt x="3757" y="463"/>
                </a:lnTo>
                <a:lnTo>
                  <a:pt x="3757" y="469"/>
                </a:lnTo>
                <a:lnTo>
                  <a:pt x="3757" y="469"/>
                </a:lnTo>
                <a:lnTo>
                  <a:pt x="3757" y="469"/>
                </a:lnTo>
                <a:lnTo>
                  <a:pt x="3763" y="474"/>
                </a:lnTo>
                <a:lnTo>
                  <a:pt x="3757" y="480"/>
                </a:lnTo>
                <a:lnTo>
                  <a:pt x="3757" y="480"/>
                </a:lnTo>
                <a:lnTo>
                  <a:pt x="3763" y="486"/>
                </a:lnTo>
                <a:lnTo>
                  <a:pt x="3763" y="486"/>
                </a:lnTo>
                <a:lnTo>
                  <a:pt x="3763" y="480"/>
                </a:lnTo>
                <a:lnTo>
                  <a:pt x="3763" y="480"/>
                </a:lnTo>
                <a:lnTo>
                  <a:pt x="3769" y="480"/>
                </a:lnTo>
                <a:lnTo>
                  <a:pt x="3769" y="480"/>
                </a:lnTo>
                <a:lnTo>
                  <a:pt x="3769" y="480"/>
                </a:lnTo>
                <a:lnTo>
                  <a:pt x="3775" y="480"/>
                </a:lnTo>
                <a:lnTo>
                  <a:pt x="3775" y="474"/>
                </a:lnTo>
                <a:lnTo>
                  <a:pt x="3775" y="474"/>
                </a:lnTo>
                <a:lnTo>
                  <a:pt x="3775" y="469"/>
                </a:lnTo>
                <a:lnTo>
                  <a:pt x="3775" y="469"/>
                </a:lnTo>
                <a:lnTo>
                  <a:pt x="3775" y="469"/>
                </a:lnTo>
                <a:lnTo>
                  <a:pt x="3781" y="469"/>
                </a:lnTo>
                <a:lnTo>
                  <a:pt x="3781" y="469"/>
                </a:lnTo>
                <a:lnTo>
                  <a:pt x="3781" y="463"/>
                </a:lnTo>
                <a:lnTo>
                  <a:pt x="3781" y="463"/>
                </a:lnTo>
                <a:lnTo>
                  <a:pt x="3781" y="457"/>
                </a:lnTo>
                <a:lnTo>
                  <a:pt x="3781" y="457"/>
                </a:lnTo>
                <a:lnTo>
                  <a:pt x="3787" y="457"/>
                </a:lnTo>
                <a:lnTo>
                  <a:pt x="3787" y="463"/>
                </a:lnTo>
                <a:lnTo>
                  <a:pt x="3793" y="463"/>
                </a:lnTo>
                <a:lnTo>
                  <a:pt x="3793" y="463"/>
                </a:lnTo>
                <a:lnTo>
                  <a:pt x="3793" y="457"/>
                </a:lnTo>
                <a:lnTo>
                  <a:pt x="3793" y="457"/>
                </a:lnTo>
                <a:lnTo>
                  <a:pt x="3798" y="457"/>
                </a:lnTo>
                <a:lnTo>
                  <a:pt x="3798" y="457"/>
                </a:lnTo>
                <a:lnTo>
                  <a:pt x="3798" y="457"/>
                </a:lnTo>
                <a:lnTo>
                  <a:pt x="3804" y="457"/>
                </a:lnTo>
                <a:lnTo>
                  <a:pt x="3804" y="457"/>
                </a:lnTo>
                <a:lnTo>
                  <a:pt x="3804" y="457"/>
                </a:lnTo>
                <a:lnTo>
                  <a:pt x="3798" y="469"/>
                </a:lnTo>
                <a:lnTo>
                  <a:pt x="3798" y="469"/>
                </a:lnTo>
                <a:lnTo>
                  <a:pt x="3804" y="469"/>
                </a:lnTo>
                <a:lnTo>
                  <a:pt x="3804" y="469"/>
                </a:lnTo>
                <a:lnTo>
                  <a:pt x="3804" y="474"/>
                </a:lnTo>
                <a:lnTo>
                  <a:pt x="3798" y="474"/>
                </a:lnTo>
                <a:lnTo>
                  <a:pt x="3798" y="474"/>
                </a:lnTo>
                <a:lnTo>
                  <a:pt x="3798" y="469"/>
                </a:lnTo>
                <a:lnTo>
                  <a:pt x="3798" y="469"/>
                </a:lnTo>
                <a:lnTo>
                  <a:pt x="3798" y="469"/>
                </a:lnTo>
                <a:lnTo>
                  <a:pt x="3793" y="469"/>
                </a:lnTo>
                <a:lnTo>
                  <a:pt x="3793" y="469"/>
                </a:lnTo>
                <a:lnTo>
                  <a:pt x="3793" y="474"/>
                </a:lnTo>
                <a:lnTo>
                  <a:pt x="3793" y="474"/>
                </a:lnTo>
                <a:lnTo>
                  <a:pt x="3793" y="474"/>
                </a:lnTo>
                <a:lnTo>
                  <a:pt x="3793" y="474"/>
                </a:lnTo>
                <a:lnTo>
                  <a:pt x="3793" y="474"/>
                </a:lnTo>
                <a:lnTo>
                  <a:pt x="3793" y="474"/>
                </a:lnTo>
                <a:lnTo>
                  <a:pt x="3793" y="474"/>
                </a:lnTo>
                <a:lnTo>
                  <a:pt x="3793" y="474"/>
                </a:lnTo>
                <a:lnTo>
                  <a:pt x="3793" y="480"/>
                </a:lnTo>
                <a:lnTo>
                  <a:pt x="3793" y="480"/>
                </a:lnTo>
                <a:lnTo>
                  <a:pt x="3787" y="486"/>
                </a:lnTo>
                <a:lnTo>
                  <a:pt x="3787" y="486"/>
                </a:lnTo>
                <a:lnTo>
                  <a:pt x="3787" y="492"/>
                </a:lnTo>
                <a:lnTo>
                  <a:pt x="3787" y="492"/>
                </a:lnTo>
                <a:lnTo>
                  <a:pt x="3793" y="492"/>
                </a:lnTo>
                <a:lnTo>
                  <a:pt x="3793" y="492"/>
                </a:lnTo>
                <a:lnTo>
                  <a:pt x="3793" y="498"/>
                </a:lnTo>
                <a:lnTo>
                  <a:pt x="3798" y="498"/>
                </a:lnTo>
                <a:lnTo>
                  <a:pt x="3798" y="498"/>
                </a:lnTo>
                <a:lnTo>
                  <a:pt x="3798" y="492"/>
                </a:lnTo>
                <a:lnTo>
                  <a:pt x="3798" y="492"/>
                </a:lnTo>
                <a:lnTo>
                  <a:pt x="3798" y="492"/>
                </a:lnTo>
                <a:lnTo>
                  <a:pt x="3798" y="492"/>
                </a:lnTo>
                <a:lnTo>
                  <a:pt x="3793" y="492"/>
                </a:lnTo>
                <a:lnTo>
                  <a:pt x="3793" y="486"/>
                </a:lnTo>
                <a:lnTo>
                  <a:pt x="3798" y="486"/>
                </a:lnTo>
                <a:lnTo>
                  <a:pt x="3798" y="486"/>
                </a:lnTo>
                <a:lnTo>
                  <a:pt x="3798" y="486"/>
                </a:lnTo>
                <a:lnTo>
                  <a:pt x="3798" y="486"/>
                </a:lnTo>
                <a:lnTo>
                  <a:pt x="3798" y="480"/>
                </a:lnTo>
                <a:lnTo>
                  <a:pt x="3798" y="480"/>
                </a:lnTo>
                <a:lnTo>
                  <a:pt x="3804" y="480"/>
                </a:lnTo>
                <a:lnTo>
                  <a:pt x="3804" y="480"/>
                </a:lnTo>
                <a:lnTo>
                  <a:pt x="3804" y="474"/>
                </a:lnTo>
                <a:lnTo>
                  <a:pt x="3804" y="474"/>
                </a:lnTo>
                <a:lnTo>
                  <a:pt x="3804" y="474"/>
                </a:lnTo>
                <a:lnTo>
                  <a:pt x="3804" y="474"/>
                </a:lnTo>
                <a:lnTo>
                  <a:pt x="3810" y="474"/>
                </a:lnTo>
                <a:lnTo>
                  <a:pt x="3810" y="474"/>
                </a:lnTo>
                <a:lnTo>
                  <a:pt x="3816" y="469"/>
                </a:lnTo>
                <a:lnTo>
                  <a:pt x="3816" y="469"/>
                </a:lnTo>
                <a:lnTo>
                  <a:pt x="3816" y="469"/>
                </a:lnTo>
                <a:lnTo>
                  <a:pt x="3816" y="469"/>
                </a:lnTo>
                <a:lnTo>
                  <a:pt x="3822" y="469"/>
                </a:lnTo>
                <a:lnTo>
                  <a:pt x="3822" y="469"/>
                </a:lnTo>
                <a:lnTo>
                  <a:pt x="3822" y="469"/>
                </a:lnTo>
                <a:lnTo>
                  <a:pt x="3822" y="463"/>
                </a:lnTo>
                <a:lnTo>
                  <a:pt x="3822" y="457"/>
                </a:lnTo>
                <a:lnTo>
                  <a:pt x="3828" y="451"/>
                </a:lnTo>
                <a:lnTo>
                  <a:pt x="3834" y="445"/>
                </a:lnTo>
                <a:lnTo>
                  <a:pt x="3852" y="445"/>
                </a:lnTo>
                <a:lnTo>
                  <a:pt x="3852" y="445"/>
                </a:lnTo>
                <a:lnTo>
                  <a:pt x="3858" y="445"/>
                </a:lnTo>
                <a:lnTo>
                  <a:pt x="3864" y="451"/>
                </a:lnTo>
                <a:lnTo>
                  <a:pt x="3864" y="445"/>
                </a:lnTo>
                <a:lnTo>
                  <a:pt x="3864" y="445"/>
                </a:lnTo>
                <a:lnTo>
                  <a:pt x="3870" y="445"/>
                </a:lnTo>
                <a:lnTo>
                  <a:pt x="3881" y="445"/>
                </a:lnTo>
                <a:lnTo>
                  <a:pt x="3893" y="445"/>
                </a:lnTo>
                <a:lnTo>
                  <a:pt x="3893" y="439"/>
                </a:lnTo>
                <a:lnTo>
                  <a:pt x="3893" y="439"/>
                </a:lnTo>
                <a:lnTo>
                  <a:pt x="3899" y="433"/>
                </a:lnTo>
                <a:lnTo>
                  <a:pt x="3905" y="427"/>
                </a:lnTo>
                <a:lnTo>
                  <a:pt x="3905" y="427"/>
                </a:lnTo>
                <a:lnTo>
                  <a:pt x="3911" y="427"/>
                </a:lnTo>
                <a:lnTo>
                  <a:pt x="3917" y="421"/>
                </a:lnTo>
                <a:lnTo>
                  <a:pt x="3917" y="421"/>
                </a:lnTo>
                <a:lnTo>
                  <a:pt x="3917" y="427"/>
                </a:lnTo>
                <a:lnTo>
                  <a:pt x="3917" y="427"/>
                </a:lnTo>
                <a:lnTo>
                  <a:pt x="3923" y="427"/>
                </a:lnTo>
                <a:lnTo>
                  <a:pt x="3923" y="427"/>
                </a:lnTo>
                <a:lnTo>
                  <a:pt x="3923" y="427"/>
                </a:lnTo>
                <a:lnTo>
                  <a:pt x="3923" y="427"/>
                </a:lnTo>
                <a:lnTo>
                  <a:pt x="3929" y="427"/>
                </a:lnTo>
                <a:lnTo>
                  <a:pt x="3929" y="427"/>
                </a:lnTo>
                <a:lnTo>
                  <a:pt x="3941" y="427"/>
                </a:lnTo>
                <a:lnTo>
                  <a:pt x="3941" y="433"/>
                </a:lnTo>
                <a:lnTo>
                  <a:pt x="3947" y="433"/>
                </a:lnTo>
                <a:lnTo>
                  <a:pt x="3953" y="439"/>
                </a:lnTo>
                <a:lnTo>
                  <a:pt x="3958" y="439"/>
                </a:lnTo>
                <a:lnTo>
                  <a:pt x="3958" y="445"/>
                </a:lnTo>
                <a:lnTo>
                  <a:pt x="3964" y="445"/>
                </a:lnTo>
                <a:lnTo>
                  <a:pt x="3964" y="445"/>
                </a:lnTo>
                <a:lnTo>
                  <a:pt x="3964" y="451"/>
                </a:lnTo>
                <a:lnTo>
                  <a:pt x="3964" y="451"/>
                </a:lnTo>
                <a:lnTo>
                  <a:pt x="3970" y="451"/>
                </a:lnTo>
                <a:lnTo>
                  <a:pt x="3970" y="451"/>
                </a:lnTo>
                <a:lnTo>
                  <a:pt x="3970" y="451"/>
                </a:lnTo>
                <a:lnTo>
                  <a:pt x="3970" y="457"/>
                </a:lnTo>
                <a:lnTo>
                  <a:pt x="3976" y="457"/>
                </a:lnTo>
                <a:lnTo>
                  <a:pt x="3976" y="463"/>
                </a:lnTo>
                <a:lnTo>
                  <a:pt x="3982" y="463"/>
                </a:lnTo>
                <a:lnTo>
                  <a:pt x="3988" y="457"/>
                </a:lnTo>
                <a:lnTo>
                  <a:pt x="3982" y="457"/>
                </a:lnTo>
                <a:lnTo>
                  <a:pt x="3982" y="457"/>
                </a:lnTo>
                <a:lnTo>
                  <a:pt x="3982" y="451"/>
                </a:lnTo>
                <a:lnTo>
                  <a:pt x="3988" y="451"/>
                </a:lnTo>
                <a:lnTo>
                  <a:pt x="3982" y="451"/>
                </a:lnTo>
                <a:lnTo>
                  <a:pt x="3982" y="445"/>
                </a:lnTo>
                <a:lnTo>
                  <a:pt x="3982" y="445"/>
                </a:lnTo>
                <a:lnTo>
                  <a:pt x="3988" y="445"/>
                </a:lnTo>
                <a:lnTo>
                  <a:pt x="3988" y="445"/>
                </a:lnTo>
                <a:lnTo>
                  <a:pt x="3988" y="445"/>
                </a:lnTo>
                <a:lnTo>
                  <a:pt x="3988" y="439"/>
                </a:lnTo>
                <a:lnTo>
                  <a:pt x="3988" y="433"/>
                </a:lnTo>
                <a:lnTo>
                  <a:pt x="3994" y="433"/>
                </a:lnTo>
                <a:lnTo>
                  <a:pt x="3994" y="433"/>
                </a:lnTo>
                <a:lnTo>
                  <a:pt x="4000" y="433"/>
                </a:lnTo>
                <a:lnTo>
                  <a:pt x="4000" y="433"/>
                </a:lnTo>
                <a:lnTo>
                  <a:pt x="4000" y="433"/>
                </a:lnTo>
                <a:lnTo>
                  <a:pt x="4000" y="439"/>
                </a:lnTo>
                <a:lnTo>
                  <a:pt x="4006" y="439"/>
                </a:lnTo>
                <a:lnTo>
                  <a:pt x="4006" y="439"/>
                </a:lnTo>
                <a:lnTo>
                  <a:pt x="4006" y="439"/>
                </a:lnTo>
                <a:lnTo>
                  <a:pt x="4006" y="439"/>
                </a:lnTo>
                <a:lnTo>
                  <a:pt x="4006" y="439"/>
                </a:lnTo>
                <a:lnTo>
                  <a:pt x="4006" y="439"/>
                </a:lnTo>
                <a:lnTo>
                  <a:pt x="4006" y="439"/>
                </a:lnTo>
                <a:lnTo>
                  <a:pt x="4012" y="445"/>
                </a:lnTo>
                <a:lnTo>
                  <a:pt x="4012" y="439"/>
                </a:lnTo>
                <a:lnTo>
                  <a:pt x="4012" y="439"/>
                </a:lnTo>
                <a:lnTo>
                  <a:pt x="4018" y="439"/>
                </a:lnTo>
                <a:lnTo>
                  <a:pt x="4018" y="439"/>
                </a:lnTo>
                <a:lnTo>
                  <a:pt x="4024" y="439"/>
                </a:lnTo>
                <a:lnTo>
                  <a:pt x="4024" y="439"/>
                </a:lnTo>
                <a:lnTo>
                  <a:pt x="4024" y="439"/>
                </a:lnTo>
                <a:lnTo>
                  <a:pt x="4024" y="439"/>
                </a:lnTo>
                <a:lnTo>
                  <a:pt x="4024" y="439"/>
                </a:lnTo>
                <a:lnTo>
                  <a:pt x="4024" y="439"/>
                </a:lnTo>
                <a:lnTo>
                  <a:pt x="4030" y="439"/>
                </a:lnTo>
                <a:lnTo>
                  <a:pt x="4030" y="439"/>
                </a:lnTo>
                <a:lnTo>
                  <a:pt x="4035" y="439"/>
                </a:lnTo>
                <a:lnTo>
                  <a:pt x="4053" y="445"/>
                </a:lnTo>
                <a:lnTo>
                  <a:pt x="4053" y="445"/>
                </a:lnTo>
                <a:lnTo>
                  <a:pt x="4059" y="445"/>
                </a:lnTo>
                <a:lnTo>
                  <a:pt x="4059" y="445"/>
                </a:lnTo>
                <a:lnTo>
                  <a:pt x="4059" y="445"/>
                </a:lnTo>
                <a:lnTo>
                  <a:pt x="4059" y="445"/>
                </a:lnTo>
                <a:lnTo>
                  <a:pt x="4065" y="445"/>
                </a:lnTo>
                <a:lnTo>
                  <a:pt x="4065" y="445"/>
                </a:lnTo>
                <a:lnTo>
                  <a:pt x="4065" y="445"/>
                </a:lnTo>
                <a:lnTo>
                  <a:pt x="4065" y="439"/>
                </a:lnTo>
                <a:lnTo>
                  <a:pt x="4065" y="439"/>
                </a:lnTo>
                <a:lnTo>
                  <a:pt x="4065" y="439"/>
                </a:lnTo>
                <a:lnTo>
                  <a:pt x="4065" y="439"/>
                </a:lnTo>
                <a:lnTo>
                  <a:pt x="4065" y="433"/>
                </a:lnTo>
                <a:lnTo>
                  <a:pt x="4059" y="433"/>
                </a:lnTo>
                <a:lnTo>
                  <a:pt x="4059" y="433"/>
                </a:lnTo>
                <a:lnTo>
                  <a:pt x="4059" y="433"/>
                </a:lnTo>
                <a:lnTo>
                  <a:pt x="4059" y="433"/>
                </a:lnTo>
                <a:lnTo>
                  <a:pt x="4053" y="433"/>
                </a:lnTo>
                <a:lnTo>
                  <a:pt x="4053" y="427"/>
                </a:lnTo>
                <a:lnTo>
                  <a:pt x="4053" y="427"/>
                </a:lnTo>
                <a:lnTo>
                  <a:pt x="4053" y="421"/>
                </a:lnTo>
                <a:lnTo>
                  <a:pt x="4053" y="421"/>
                </a:lnTo>
                <a:lnTo>
                  <a:pt x="4053" y="421"/>
                </a:lnTo>
                <a:lnTo>
                  <a:pt x="4053" y="421"/>
                </a:lnTo>
                <a:lnTo>
                  <a:pt x="4053" y="421"/>
                </a:lnTo>
                <a:lnTo>
                  <a:pt x="4053" y="421"/>
                </a:lnTo>
                <a:lnTo>
                  <a:pt x="4047" y="415"/>
                </a:lnTo>
                <a:lnTo>
                  <a:pt x="4047" y="415"/>
                </a:lnTo>
                <a:lnTo>
                  <a:pt x="4047" y="415"/>
                </a:lnTo>
                <a:lnTo>
                  <a:pt x="4047" y="415"/>
                </a:lnTo>
                <a:lnTo>
                  <a:pt x="4047" y="415"/>
                </a:lnTo>
                <a:lnTo>
                  <a:pt x="4047" y="415"/>
                </a:lnTo>
                <a:lnTo>
                  <a:pt x="4041" y="415"/>
                </a:lnTo>
                <a:lnTo>
                  <a:pt x="4041" y="415"/>
                </a:lnTo>
                <a:lnTo>
                  <a:pt x="4035" y="415"/>
                </a:lnTo>
                <a:lnTo>
                  <a:pt x="4035" y="415"/>
                </a:lnTo>
                <a:lnTo>
                  <a:pt x="4035" y="415"/>
                </a:lnTo>
                <a:lnTo>
                  <a:pt x="4035" y="415"/>
                </a:lnTo>
                <a:lnTo>
                  <a:pt x="4030" y="409"/>
                </a:lnTo>
                <a:lnTo>
                  <a:pt x="4030" y="409"/>
                </a:lnTo>
                <a:lnTo>
                  <a:pt x="4035" y="409"/>
                </a:lnTo>
                <a:lnTo>
                  <a:pt x="4035" y="403"/>
                </a:lnTo>
                <a:lnTo>
                  <a:pt x="4041" y="403"/>
                </a:lnTo>
                <a:lnTo>
                  <a:pt x="4035" y="403"/>
                </a:lnTo>
                <a:lnTo>
                  <a:pt x="4035" y="397"/>
                </a:lnTo>
                <a:lnTo>
                  <a:pt x="4035" y="397"/>
                </a:lnTo>
                <a:lnTo>
                  <a:pt x="4035" y="391"/>
                </a:lnTo>
                <a:lnTo>
                  <a:pt x="4041" y="391"/>
                </a:lnTo>
                <a:lnTo>
                  <a:pt x="4041" y="391"/>
                </a:lnTo>
                <a:lnTo>
                  <a:pt x="4041" y="391"/>
                </a:lnTo>
                <a:lnTo>
                  <a:pt x="4041" y="391"/>
                </a:lnTo>
                <a:lnTo>
                  <a:pt x="4047" y="391"/>
                </a:lnTo>
                <a:lnTo>
                  <a:pt x="4047" y="391"/>
                </a:lnTo>
                <a:lnTo>
                  <a:pt x="4047" y="391"/>
                </a:lnTo>
                <a:lnTo>
                  <a:pt x="4047" y="391"/>
                </a:lnTo>
                <a:lnTo>
                  <a:pt x="4047" y="391"/>
                </a:lnTo>
                <a:lnTo>
                  <a:pt x="4041" y="386"/>
                </a:lnTo>
                <a:lnTo>
                  <a:pt x="4041" y="386"/>
                </a:lnTo>
                <a:lnTo>
                  <a:pt x="4041" y="386"/>
                </a:lnTo>
                <a:lnTo>
                  <a:pt x="4041" y="380"/>
                </a:lnTo>
                <a:lnTo>
                  <a:pt x="4047" y="368"/>
                </a:lnTo>
                <a:lnTo>
                  <a:pt x="4047" y="362"/>
                </a:lnTo>
                <a:lnTo>
                  <a:pt x="4041" y="362"/>
                </a:lnTo>
                <a:lnTo>
                  <a:pt x="4035" y="362"/>
                </a:lnTo>
                <a:lnTo>
                  <a:pt x="4035" y="362"/>
                </a:lnTo>
                <a:lnTo>
                  <a:pt x="4024" y="368"/>
                </a:lnTo>
                <a:lnTo>
                  <a:pt x="4024" y="368"/>
                </a:lnTo>
                <a:lnTo>
                  <a:pt x="4018" y="368"/>
                </a:lnTo>
                <a:lnTo>
                  <a:pt x="4012" y="368"/>
                </a:lnTo>
                <a:lnTo>
                  <a:pt x="4012" y="368"/>
                </a:lnTo>
                <a:lnTo>
                  <a:pt x="4012" y="368"/>
                </a:lnTo>
                <a:lnTo>
                  <a:pt x="4012" y="368"/>
                </a:lnTo>
                <a:lnTo>
                  <a:pt x="4012" y="374"/>
                </a:lnTo>
                <a:lnTo>
                  <a:pt x="4012" y="374"/>
                </a:lnTo>
                <a:lnTo>
                  <a:pt x="4006" y="374"/>
                </a:lnTo>
                <a:lnTo>
                  <a:pt x="4006" y="374"/>
                </a:lnTo>
                <a:lnTo>
                  <a:pt x="4006" y="374"/>
                </a:lnTo>
                <a:lnTo>
                  <a:pt x="4006" y="380"/>
                </a:lnTo>
                <a:lnTo>
                  <a:pt x="4000" y="380"/>
                </a:lnTo>
                <a:lnTo>
                  <a:pt x="3994" y="380"/>
                </a:lnTo>
                <a:lnTo>
                  <a:pt x="4000" y="374"/>
                </a:lnTo>
                <a:lnTo>
                  <a:pt x="3994" y="368"/>
                </a:lnTo>
                <a:lnTo>
                  <a:pt x="3994" y="368"/>
                </a:lnTo>
                <a:lnTo>
                  <a:pt x="3988" y="368"/>
                </a:lnTo>
                <a:lnTo>
                  <a:pt x="3988" y="374"/>
                </a:lnTo>
                <a:lnTo>
                  <a:pt x="3982" y="374"/>
                </a:lnTo>
                <a:lnTo>
                  <a:pt x="3976" y="374"/>
                </a:lnTo>
                <a:lnTo>
                  <a:pt x="3976" y="374"/>
                </a:lnTo>
                <a:lnTo>
                  <a:pt x="3976" y="374"/>
                </a:lnTo>
                <a:lnTo>
                  <a:pt x="3970" y="374"/>
                </a:lnTo>
                <a:lnTo>
                  <a:pt x="3964" y="368"/>
                </a:lnTo>
                <a:lnTo>
                  <a:pt x="3964" y="368"/>
                </a:lnTo>
                <a:lnTo>
                  <a:pt x="3964" y="368"/>
                </a:lnTo>
                <a:lnTo>
                  <a:pt x="3964" y="368"/>
                </a:lnTo>
                <a:lnTo>
                  <a:pt x="3958" y="368"/>
                </a:lnTo>
                <a:lnTo>
                  <a:pt x="3958" y="368"/>
                </a:lnTo>
                <a:lnTo>
                  <a:pt x="3958" y="368"/>
                </a:lnTo>
                <a:lnTo>
                  <a:pt x="3953" y="368"/>
                </a:lnTo>
                <a:lnTo>
                  <a:pt x="3953" y="368"/>
                </a:lnTo>
                <a:lnTo>
                  <a:pt x="3953" y="368"/>
                </a:lnTo>
                <a:lnTo>
                  <a:pt x="3953" y="362"/>
                </a:lnTo>
                <a:lnTo>
                  <a:pt x="3953" y="362"/>
                </a:lnTo>
                <a:lnTo>
                  <a:pt x="3953" y="356"/>
                </a:lnTo>
                <a:lnTo>
                  <a:pt x="3953" y="350"/>
                </a:lnTo>
                <a:lnTo>
                  <a:pt x="3958" y="338"/>
                </a:lnTo>
                <a:lnTo>
                  <a:pt x="3958" y="332"/>
                </a:lnTo>
                <a:lnTo>
                  <a:pt x="3958" y="332"/>
                </a:lnTo>
                <a:lnTo>
                  <a:pt x="3958" y="332"/>
                </a:lnTo>
                <a:lnTo>
                  <a:pt x="3958" y="326"/>
                </a:lnTo>
                <a:lnTo>
                  <a:pt x="3964" y="326"/>
                </a:lnTo>
                <a:lnTo>
                  <a:pt x="3958" y="326"/>
                </a:lnTo>
                <a:lnTo>
                  <a:pt x="3953" y="326"/>
                </a:lnTo>
                <a:lnTo>
                  <a:pt x="3953" y="326"/>
                </a:lnTo>
                <a:lnTo>
                  <a:pt x="3947" y="326"/>
                </a:lnTo>
                <a:lnTo>
                  <a:pt x="3935" y="326"/>
                </a:lnTo>
                <a:lnTo>
                  <a:pt x="3929" y="332"/>
                </a:lnTo>
                <a:lnTo>
                  <a:pt x="3911" y="338"/>
                </a:lnTo>
                <a:lnTo>
                  <a:pt x="3905" y="344"/>
                </a:lnTo>
                <a:lnTo>
                  <a:pt x="3870" y="338"/>
                </a:lnTo>
                <a:lnTo>
                  <a:pt x="3870" y="338"/>
                </a:lnTo>
                <a:lnTo>
                  <a:pt x="3870" y="338"/>
                </a:lnTo>
                <a:lnTo>
                  <a:pt x="3864" y="338"/>
                </a:lnTo>
                <a:lnTo>
                  <a:pt x="3846" y="344"/>
                </a:lnTo>
                <a:lnTo>
                  <a:pt x="3846" y="344"/>
                </a:lnTo>
                <a:lnTo>
                  <a:pt x="3846" y="338"/>
                </a:lnTo>
                <a:lnTo>
                  <a:pt x="3828" y="350"/>
                </a:lnTo>
                <a:lnTo>
                  <a:pt x="3816" y="356"/>
                </a:lnTo>
                <a:lnTo>
                  <a:pt x="3816" y="362"/>
                </a:lnTo>
                <a:lnTo>
                  <a:pt x="3810" y="362"/>
                </a:lnTo>
                <a:lnTo>
                  <a:pt x="3810" y="362"/>
                </a:lnTo>
                <a:lnTo>
                  <a:pt x="3804" y="362"/>
                </a:lnTo>
                <a:lnTo>
                  <a:pt x="3804" y="368"/>
                </a:lnTo>
                <a:lnTo>
                  <a:pt x="3798" y="374"/>
                </a:lnTo>
                <a:lnTo>
                  <a:pt x="3793" y="374"/>
                </a:lnTo>
                <a:lnTo>
                  <a:pt x="3793" y="380"/>
                </a:lnTo>
                <a:lnTo>
                  <a:pt x="3793" y="374"/>
                </a:lnTo>
                <a:lnTo>
                  <a:pt x="3793" y="374"/>
                </a:lnTo>
                <a:lnTo>
                  <a:pt x="3793" y="374"/>
                </a:lnTo>
                <a:lnTo>
                  <a:pt x="3793" y="374"/>
                </a:lnTo>
                <a:lnTo>
                  <a:pt x="3787" y="374"/>
                </a:lnTo>
                <a:lnTo>
                  <a:pt x="3787" y="374"/>
                </a:lnTo>
                <a:lnTo>
                  <a:pt x="3787" y="368"/>
                </a:lnTo>
                <a:lnTo>
                  <a:pt x="3781" y="368"/>
                </a:lnTo>
                <a:lnTo>
                  <a:pt x="3781" y="368"/>
                </a:lnTo>
                <a:lnTo>
                  <a:pt x="3775" y="374"/>
                </a:lnTo>
                <a:lnTo>
                  <a:pt x="3775" y="374"/>
                </a:lnTo>
                <a:lnTo>
                  <a:pt x="3775" y="374"/>
                </a:lnTo>
                <a:lnTo>
                  <a:pt x="3769" y="374"/>
                </a:lnTo>
                <a:lnTo>
                  <a:pt x="3769" y="374"/>
                </a:lnTo>
                <a:lnTo>
                  <a:pt x="3769" y="368"/>
                </a:lnTo>
                <a:lnTo>
                  <a:pt x="3769" y="368"/>
                </a:lnTo>
                <a:lnTo>
                  <a:pt x="3769" y="368"/>
                </a:lnTo>
                <a:lnTo>
                  <a:pt x="3763" y="368"/>
                </a:lnTo>
                <a:lnTo>
                  <a:pt x="3763" y="368"/>
                </a:lnTo>
                <a:lnTo>
                  <a:pt x="3763" y="362"/>
                </a:lnTo>
                <a:lnTo>
                  <a:pt x="3763" y="362"/>
                </a:lnTo>
                <a:lnTo>
                  <a:pt x="3763" y="362"/>
                </a:lnTo>
                <a:lnTo>
                  <a:pt x="3757" y="362"/>
                </a:lnTo>
                <a:lnTo>
                  <a:pt x="3757" y="362"/>
                </a:lnTo>
                <a:lnTo>
                  <a:pt x="3757" y="362"/>
                </a:lnTo>
                <a:lnTo>
                  <a:pt x="3757" y="362"/>
                </a:lnTo>
                <a:lnTo>
                  <a:pt x="3757" y="362"/>
                </a:lnTo>
                <a:lnTo>
                  <a:pt x="3751" y="362"/>
                </a:lnTo>
                <a:lnTo>
                  <a:pt x="3751" y="362"/>
                </a:lnTo>
                <a:lnTo>
                  <a:pt x="3751" y="362"/>
                </a:lnTo>
                <a:lnTo>
                  <a:pt x="3751" y="362"/>
                </a:lnTo>
                <a:lnTo>
                  <a:pt x="3745" y="368"/>
                </a:lnTo>
                <a:lnTo>
                  <a:pt x="3745" y="368"/>
                </a:lnTo>
                <a:lnTo>
                  <a:pt x="3745" y="368"/>
                </a:lnTo>
                <a:lnTo>
                  <a:pt x="3739" y="368"/>
                </a:lnTo>
                <a:lnTo>
                  <a:pt x="3733" y="368"/>
                </a:lnTo>
                <a:lnTo>
                  <a:pt x="3721" y="368"/>
                </a:lnTo>
                <a:lnTo>
                  <a:pt x="3721" y="362"/>
                </a:lnTo>
                <a:lnTo>
                  <a:pt x="3721" y="362"/>
                </a:lnTo>
                <a:lnTo>
                  <a:pt x="3721" y="356"/>
                </a:lnTo>
                <a:lnTo>
                  <a:pt x="3721" y="356"/>
                </a:lnTo>
                <a:lnTo>
                  <a:pt x="3715" y="350"/>
                </a:lnTo>
                <a:lnTo>
                  <a:pt x="3710" y="350"/>
                </a:lnTo>
                <a:lnTo>
                  <a:pt x="3710" y="350"/>
                </a:lnTo>
                <a:lnTo>
                  <a:pt x="3710" y="344"/>
                </a:lnTo>
                <a:lnTo>
                  <a:pt x="3710" y="344"/>
                </a:lnTo>
                <a:lnTo>
                  <a:pt x="3710" y="344"/>
                </a:lnTo>
                <a:lnTo>
                  <a:pt x="3704" y="338"/>
                </a:lnTo>
                <a:lnTo>
                  <a:pt x="3704" y="338"/>
                </a:lnTo>
                <a:lnTo>
                  <a:pt x="3704" y="338"/>
                </a:lnTo>
                <a:lnTo>
                  <a:pt x="3698" y="332"/>
                </a:lnTo>
                <a:lnTo>
                  <a:pt x="3698" y="332"/>
                </a:lnTo>
                <a:lnTo>
                  <a:pt x="3698" y="320"/>
                </a:lnTo>
                <a:lnTo>
                  <a:pt x="3698" y="320"/>
                </a:lnTo>
                <a:lnTo>
                  <a:pt x="3692" y="320"/>
                </a:lnTo>
                <a:lnTo>
                  <a:pt x="3692" y="320"/>
                </a:lnTo>
                <a:lnTo>
                  <a:pt x="3692" y="320"/>
                </a:lnTo>
                <a:lnTo>
                  <a:pt x="3692" y="314"/>
                </a:lnTo>
                <a:lnTo>
                  <a:pt x="3692" y="314"/>
                </a:lnTo>
                <a:lnTo>
                  <a:pt x="3686" y="320"/>
                </a:lnTo>
                <a:lnTo>
                  <a:pt x="3686" y="320"/>
                </a:lnTo>
                <a:lnTo>
                  <a:pt x="3686" y="314"/>
                </a:lnTo>
                <a:lnTo>
                  <a:pt x="3686" y="314"/>
                </a:lnTo>
                <a:lnTo>
                  <a:pt x="3686" y="314"/>
                </a:lnTo>
                <a:lnTo>
                  <a:pt x="3680" y="314"/>
                </a:lnTo>
                <a:lnTo>
                  <a:pt x="3680" y="314"/>
                </a:lnTo>
                <a:lnTo>
                  <a:pt x="3680" y="314"/>
                </a:lnTo>
                <a:lnTo>
                  <a:pt x="3680" y="308"/>
                </a:lnTo>
                <a:lnTo>
                  <a:pt x="3680" y="308"/>
                </a:lnTo>
                <a:lnTo>
                  <a:pt x="3668" y="308"/>
                </a:lnTo>
                <a:lnTo>
                  <a:pt x="3650" y="302"/>
                </a:lnTo>
                <a:lnTo>
                  <a:pt x="3644" y="308"/>
                </a:lnTo>
                <a:lnTo>
                  <a:pt x="3638" y="308"/>
                </a:lnTo>
                <a:lnTo>
                  <a:pt x="3638" y="308"/>
                </a:lnTo>
                <a:lnTo>
                  <a:pt x="3638" y="314"/>
                </a:lnTo>
                <a:lnTo>
                  <a:pt x="3633" y="314"/>
                </a:lnTo>
                <a:lnTo>
                  <a:pt x="3633" y="320"/>
                </a:lnTo>
                <a:lnTo>
                  <a:pt x="3627" y="320"/>
                </a:lnTo>
                <a:lnTo>
                  <a:pt x="3627" y="320"/>
                </a:lnTo>
                <a:lnTo>
                  <a:pt x="3633" y="314"/>
                </a:lnTo>
                <a:lnTo>
                  <a:pt x="3633" y="314"/>
                </a:lnTo>
                <a:lnTo>
                  <a:pt x="3633" y="308"/>
                </a:lnTo>
                <a:lnTo>
                  <a:pt x="3638" y="302"/>
                </a:lnTo>
                <a:lnTo>
                  <a:pt x="3644" y="302"/>
                </a:lnTo>
                <a:lnTo>
                  <a:pt x="3644" y="302"/>
                </a:lnTo>
                <a:lnTo>
                  <a:pt x="3638" y="297"/>
                </a:lnTo>
                <a:lnTo>
                  <a:pt x="3638" y="302"/>
                </a:lnTo>
                <a:lnTo>
                  <a:pt x="3633" y="302"/>
                </a:lnTo>
                <a:lnTo>
                  <a:pt x="3633" y="308"/>
                </a:lnTo>
                <a:lnTo>
                  <a:pt x="3627" y="308"/>
                </a:lnTo>
                <a:lnTo>
                  <a:pt x="3627" y="314"/>
                </a:lnTo>
                <a:lnTo>
                  <a:pt x="3621" y="314"/>
                </a:lnTo>
                <a:lnTo>
                  <a:pt x="3621" y="314"/>
                </a:lnTo>
                <a:lnTo>
                  <a:pt x="3621" y="314"/>
                </a:lnTo>
                <a:lnTo>
                  <a:pt x="3621" y="314"/>
                </a:lnTo>
                <a:lnTo>
                  <a:pt x="3615" y="326"/>
                </a:lnTo>
                <a:lnTo>
                  <a:pt x="3609" y="326"/>
                </a:lnTo>
                <a:lnTo>
                  <a:pt x="3609" y="326"/>
                </a:lnTo>
                <a:lnTo>
                  <a:pt x="3609" y="326"/>
                </a:lnTo>
                <a:lnTo>
                  <a:pt x="3609" y="326"/>
                </a:lnTo>
                <a:lnTo>
                  <a:pt x="3615" y="326"/>
                </a:lnTo>
                <a:lnTo>
                  <a:pt x="3615" y="326"/>
                </a:lnTo>
                <a:lnTo>
                  <a:pt x="3615" y="326"/>
                </a:lnTo>
                <a:lnTo>
                  <a:pt x="3615" y="320"/>
                </a:lnTo>
                <a:lnTo>
                  <a:pt x="3609" y="320"/>
                </a:lnTo>
                <a:lnTo>
                  <a:pt x="3609" y="320"/>
                </a:lnTo>
                <a:lnTo>
                  <a:pt x="3609" y="314"/>
                </a:lnTo>
                <a:lnTo>
                  <a:pt x="3609" y="314"/>
                </a:lnTo>
                <a:lnTo>
                  <a:pt x="3609" y="314"/>
                </a:lnTo>
                <a:lnTo>
                  <a:pt x="3609" y="314"/>
                </a:lnTo>
                <a:lnTo>
                  <a:pt x="3609" y="308"/>
                </a:lnTo>
                <a:lnTo>
                  <a:pt x="3615" y="308"/>
                </a:lnTo>
                <a:lnTo>
                  <a:pt x="3615" y="302"/>
                </a:lnTo>
                <a:lnTo>
                  <a:pt x="3615" y="302"/>
                </a:lnTo>
                <a:lnTo>
                  <a:pt x="3615" y="297"/>
                </a:lnTo>
                <a:lnTo>
                  <a:pt x="3615" y="297"/>
                </a:lnTo>
                <a:lnTo>
                  <a:pt x="3615" y="291"/>
                </a:lnTo>
                <a:lnTo>
                  <a:pt x="3609" y="291"/>
                </a:lnTo>
                <a:lnTo>
                  <a:pt x="3609" y="291"/>
                </a:lnTo>
                <a:lnTo>
                  <a:pt x="3609" y="291"/>
                </a:lnTo>
                <a:lnTo>
                  <a:pt x="3609" y="291"/>
                </a:lnTo>
                <a:lnTo>
                  <a:pt x="3609" y="291"/>
                </a:lnTo>
                <a:lnTo>
                  <a:pt x="3609" y="291"/>
                </a:lnTo>
                <a:lnTo>
                  <a:pt x="3609" y="291"/>
                </a:lnTo>
                <a:lnTo>
                  <a:pt x="3609" y="285"/>
                </a:lnTo>
                <a:lnTo>
                  <a:pt x="3609" y="285"/>
                </a:lnTo>
                <a:lnTo>
                  <a:pt x="3609" y="279"/>
                </a:lnTo>
                <a:lnTo>
                  <a:pt x="3609" y="279"/>
                </a:lnTo>
                <a:lnTo>
                  <a:pt x="3603" y="279"/>
                </a:lnTo>
                <a:lnTo>
                  <a:pt x="3603" y="279"/>
                </a:lnTo>
                <a:lnTo>
                  <a:pt x="3597" y="273"/>
                </a:lnTo>
                <a:lnTo>
                  <a:pt x="3597" y="273"/>
                </a:lnTo>
                <a:lnTo>
                  <a:pt x="3597" y="273"/>
                </a:lnTo>
                <a:lnTo>
                  <a:pt x="3597" y="267"/>
                </a:lnTo>
                <a:lnTo>
                  <a:pt x="3597" y="267"/>
                </a:lnTo>
                <a:lnTo>
                  <a:pt x="3597" y="261"/>
                </a:lnTo>
                <a:lnTo>
                  <a:pt x="3591" y="261"/>
                </a:lnTo>
                <a:lnTo>
                  <a:pt x="3591" y="261"/>
                </a:lnTo>
                <a:lnTo>
                  <a:pt x="3573" y="279"/>
                </a:lnTo>
                <a:lnTo>
                  <a:pt x="3573" y="279"/>
                </a:lnTo>
                <a:lnTo>
                  <a:pt x="3567" y="279"/>
                </a:lnTo>
                <a:lnTo>
                  <a:pt x="3567" y="285"/>
                </a:lnTo>
                <a:lnTo>
                  <a:pt x="3567" y="285"/>
                </a:lnTo>
                <a:lnTo>
                  <a:pt x="3567" y="285"/>
                </a:lnTo>
                <a:lnTo>
                  <a:pt x="3561" y="291"/>
                </a:lnTo>
                <a:lnTo>
                  <a:pt x="3561" y="291"/>
                </a:lnTo>
                <a:lnTo>
                  <a:pt x="3561" y="291"/>
                </a:lnTo>
                <a:lnTo>
                  <a:pt x="3555" y="291"/>
                </a:lnTo>
                <a:lnTo>
                  <a:pt x="3555" y="297"/>
                </a:lnTo>
                <a:lnTo>
                  <a:pt x="3555" y="297"/>
                </a:lnTo>
                <a:lnTo>
                  <a:pt x="3550" y="297"/>
                </a:lnTo>
                <a:lnTo>
                  <a:pt x="3544" y="297"/>
                </a:lnTo>
                <a:lnTo>
                  <a:pt x="3544" y="297"/>
                </a:lnTo>
                <a:lnTo>
                  <a:pt x="3538" y="302"/>
                </a:lnTo>
                <a:lnTo>
                  <a:pt x="3526" y="308"/>
                </a:lnTo>
                <a:lnTo>
                  <a:pt x="3520" y="314"/>
                </a:lnTo>
                <a:lnTo>
                  <a:pt x="3478" y="320"/>
                </a:lnTo>
                <a:lnTo>
                  <a:pt x="3478" y="320"/>
                </a:lnTo>
                <a:lnTo>
                  <a:pt x="3455" y="338"/>
                </a:lnTo>
                <a:lnTo>
                  <a:pt x="3455" y="344"/>
                </a:lnTo>
                <a:lnTo>
                  <a:pt x="3437" y="350"/>
                </a:lnTo>
                <a:lnTo>
                  <a:pt x="3431" y="350"/>
                </a:lnTo>
                <a:lnTo>
                  <a:pt x="3431" y="350"/>
                </a:lnTo>
                <a:lnTo>
                  <a:pt x="3425" y="350"/>
                </a:lnTo>
                <a:lnTo>
                  <a:pt x="3425" y="350"/>
                </a:lnTo>
                <a:lnTo>
                  <a:pt x="3419" y="356"/>
                </a:lnTo>
                <a:lnTo>
                  <a:pt x="3419" y="356"/>
                </a:lnTo>
                <a:lnTo>
                  <a:pt x="3413" y="356"/>
                </a:lnTo>
                <a:lnTo>
                  <a:pt x="3413" y="356"/>
                </a:lnTo>
                <a:lnTo>
                  <a:pt x="3407" y="356"/>
                </a:lnTo>
                <a:lnTo>
                  <a:pt x="3401" y="350"/>
                </a:lnTo>
                <a:lnTo>
                  <a:pt x="3395" y="350"/>
                </a:lnTo>
                <a:lnTo>
                  <a:pt x="3384" y="338"/>
                </a:lnTo>
                <a:lnTo>
                  <a:pt x="3384" y="338"/>
                </a:lnTo>
                <a:lnTo>
                  <a:pt x="3384" y="338"/>
                </a:lnTo>
                <a:lnTo>
                  <a:pt x="3390" y="344"/>
                </a:lnTo>
                <a:lnTo>
                  <a:pt x="3384" y="344"/>
                </a:lnTo>
                <a:lnTo>
                  <a:pt x="3384" y="344"/>
                </a:lnTo>
                <a:lnTo>
                  <a:pt x="3384" y="344"/>
                </a:lnTo>
                <a:lnTo>
                  <a:pt x="3384" y="344"/>
                </a:lnTo>
                <a:lnTo>
                  <a:pt x="3384" y="344"/>
                </a:lnTo>
                <a:lnTo>
                  <a:pt x="3384" y="344"/>
                </a:lnTo>
                <a:lnTo>
                  <a:pt x="3384" y="344"/>
                </a:lnTo>
                <a:lnTo>
                  <a:pt x="3384" y="350"/>
                </a:lnTo>
                <a:lnTo>
                  <a:pt x="3372" y="356"/>
                </a:lnTo>
                <a:lnTo>
                  <a:pt x="3366" y="356"/>
                </a:lnTo>
                <a:lnTo>
                  <a:pt x="3366" y="350"/>
                </a:lnTo>
                <a:lnTo>
                  <a:pt x="3366" y="350"/>
                </a:lnTo>
                <a:lnTo>
                  <a:pt x="3366" y="344"/>
                </a:lnTo>
                <a:lnTo>
                  <a:pt x="3372" y="338"/>
                </a:lnTo>
                <a:lnTo>
                  <a:pt x="3372" y="338"/>
                </a:lnTo>
                <a:lnTo>
                  <a:pt x="3372" y="338"/>
                </a:lnTo>
                <a:lnTo>
                  <a:pt x="3372" y="332"/>
                </a:lnTo>
                <a:lnTo>
                  <a:pt x="3372" y="332"/>
                </a:lnTo>
                <a:lnTo>
                  <a:pt x="3372" y="332"/>
                </a:lnTo>
                <a:lnTo>
                  <a:pt x="3372" y="326"/>
                </a:lnTo>
                <a:lnTo>
                  <a:pt x="3372" y="326"/>
                </a:lnTo>
                <a:lnTo>
                  <a:pt x="3378" y="326"/>
                </a:lnTo>
                <a:lnTo>
                  <a:pt x="3378" y="320"/>
                </a:lnTo>
                <a:lnTo>
                  <a:pt x="3378" y="314"/>
                </a:lnTo>
                <a:lnTo>
                  <a:pt x="3384" y="314"/>
                </a:lnTo>
                <a:lnTo>
                  <a:pt x="3384" y="314"/>
                </a:lnTo>
                <a:lnTo>
                  <a:pt x="3384" y="314"/>
                </a:lnTo>
                <a:lnTo>
                  <a:pt x="3384" y="308"/>
                </a:lnTo>
                <a:lnTo>
                  <a:pt x="3384" y="308"/>
                </a:lnTo>
                <a:lnTo>
                  <a:pt x="3384" y="308"/>
                </a:lnTo>
                <a:lnTo>
                  <a:pt x="3384" y="308"/>
                </a:lnTo>
                <a:lnTo>
                  <a:pt x="3384" y="302"/>
                </a:lnTo>
                <a:lnTo>
                  <a:pt x="3378" y="302"/>
                </a:lnTo>
                <a:lnTo>
                  <a:pt x="3378" y="302"/>
                </a:lnTo>
                <a:lnTo>
                  <a:pt x="3378" y="302"/>
                </a:lnTo>
                <a:lnTo>
                  <a:pt x="3378" y="302"/>
                </a:lnTo>
                <a:lnTo>
                  <a:pt x="3378" y="302"/>
                </a:lnTo>
                <a:lnTo>
                  <a:pt x="3378" y="302"/>
                </a:lnTo>
                <a:lnTo>
                  <a:pt x="3378" y="302"/>
                </a:lnTo>
                <a:lnTo>
                  <a:pt x="3372" y="302"/>
                </a:lnTo>
                <a:lnTo>
                  <a:pt x="3372" y="297"/>
                </a:lnTo>
                <a:lnTo>
                  <a:pt x="3372" y="302"/>
                </a:lnTo>
                <a:lnTo>
                  <a:pt x="3372" y="302"/>
                </a:lnTo>
                <a:lnTo>
                  <a:pt x="3372" y="302"/>
                </a:lnTo>
                <a:lnTo>
                  <a:pt x="3372" y="302"/>
                </a:lnTo>
                <a:lnTo>
                  <a:pt x="3372" y="302"/>
                </a:lnTo>
                <a:lnTo>
                  <a:pt x="3366" y="302"/>
                </a:lnTo>
                <a:lnTo>
                  <a:pt x="3366" y="302"/>
                </a:lnTo>
                <a:lnTo>
                  <a:pt x="3366" y="302"/>
                </a:lnTo>
                <a:lnTo>
                  <a:pt x="3366" y="302"/>
                </a:lnTo>
                <a:lnTo>
                  <a:pt x="3366" y="302"/>
                </a:lnTo>
                <a:lnTo>
                  <a:pt x="3360" y="302"/>
                </a:lnTo>
                <a:lnTo>
                  <a:pt x="3360" y="302"/>
                </a:lnTo>
                <a:lnTo>
                  <a:pt x="3360" y="302"/>
                </a:lnTo>
                <a:lnTo>
                  <a:pt x="3360" y="302"/>
                </a:lnTo>
                <a:lnTo>
                  <a:pt x="3354" y="308"/>
                </a:lnTo>
                <a:lnTo>
                  <a:pt x="3354" y="308"/>
                </a:lnTo>
                <a:lnTo>
                  <a:pt x="3354" y="308"/>
                </a:lnTo>
                <a:lnTo>
                  <a:pt x="3354" y="308"/>
                </a:lnTo>
                <a:lnTo>
                  <a:pt x="3354" y="308"/>
                </a:lnTo>
                <a:lnTo>
                  <a:pt x="3354" y="308"/>
                </a:lnTo>
                <a:lnTo>
                  <a:pt x="3354" y="308"/>
                </a:lnTo>
                <a:lnTo>
                  <a:pt x="3348" y="308"/>
                </a:lnTo>
                <a:lnTo>
                  <a:pt x="3348" y="314"/>
                </a:lnTo>
                <a:lnTo>
                  <a:pt x="3348" y="314"/>
                </a:lnTo>
                <a:lnTo>
                  <a:pt x="3348" y="314"/>
                </a:lnTo>
                <a:lnTo>
                  <a:pt x="3342" y="314"/>
                </a:lnTo>
                <a:lnTo>
                  <a:pt x="3348" y="314"/>
                </a:lnTo>
                <a:lnTo>
                  <a:pt x="3348" y="314"/>
                </a:lnTo>
                <a:lnTo>
                  <a:pt x="3342" y="314"/>
                </a:lnTo>
                <a:lnTo>
                  <a:pt x="3342" y="314"/>
                </a:lnTo>
                <a:lnTo>
                  <a:pt x="3342" y="314"/>
                </a:lnTo>
                <a:lnTo>
                  <a:pt x="3342" y="314"/>
                </a:lnTo>
                <a:lnTo>
                  <a:pt x="3342" y="314"/>
                </a:lnTo>
                <a:lnTo>
                  <a:pt x="3342" y="314"/>
                </a:lnTo>
                <a:lnTo>
                  <a:pt x="3336" y="314"/>
                </a:lnTo>
                <a:lnTo>
                  <a:pt x="3330" y="314"/>
                </a:lnTo>
                <a:lnTo>
                  <a:pt x="3324" y="320"/>
                </a:lnTo>
                <a:lnTo>
                  <a:pt x="3318" y="326"/>
                </a:lnTo>
                <a:lnTo>
                  <a:pt x="3318" y="326"/>
                </a:lnTo>
                <a:lnTo>
                  <a:pt x="3313" y="326"/>
                </a:lnTo>
                <a:lnTo>
                  <a:pt x="3301" y="332"/>
                </a:lnTo>
                <a:lnTo>
                  <a:pt x="3283" y="338"/>
                </a:lnTo>
                <a:lnTo>
                  <a:pt x="3265" y="338"/>
                </a:lnTo>
                <a:lnTo>
                  <a:pt x="3265" y="338"/>
                </a:lnTo>
                <a:lnTo>
                  <a:pt x="3259" y="338"/>
                </a:lnTo>
                <a:lnTo>
                  <a:pt x="3253" y="338"/>
                </a:lnTo>
                <a:lnTo>
                  <a:pt x="3253" y="338"/>
                </a:lnTo>
                <a:lnTo>
                  <a:pt x="3253" y="332"/>
                </a:lnTo>
                <a:lnTo>
                  <a:pt x="3247" y="332"/>
                </a:lnTo>
                <a:lnTo>
                  <a:pt x="3247" y="326"/>
                </a:lnTo>
                <a:lnTo>
                  <a:pt x="3247" y="326"/>
                </a:lnTo>
                <a:lnTo>
                  <a:pt x="3253" y="326"/>
                </a:lnTo>
                <a:lnTo>
                  <a:pt x="3253" y="320"/>
                </a:lnTo>
                <a:lnTo>
                  <a:pt x="3265" y="314"/>
                </a:lnTo>
                <a:lnTo>
                  <a:pt x="3271" y="308"/>
                </a:lnTo>
                <a:lnTo>
                  <a:pt x="3277" y="308"/>
                </a:lnTo>
                <a:lnTo>
                  <a:pt x="3283" y="302"/>
                </a:lnTo>
                <a:lnTo>
                  <a:pt x="3283" y="297"/>
                </a:lnTo>
                <a:lnTo>
                  <a:pt x="3289" y="297"/>
                </a:lnTo>
                <a:lnTo>
                  <a:pt x="3295" y="291"/>
                </a:lnTo>
                <a:lnTo>
                  <a:pt x="3295" y="291"/>
                </a:lnTo>
                <a:lnTo>
                  <a:pt x="3295" y="285"/>
                </a:lnTo>
                <a:lnTo>
                  <a:pt x="3295" y="285"/>
                </a:lnTo>
                <a:lnTo>
                  <a:pt x="3295" y="285"/>
                </a:lnTo>
                <a:lnTo>
                  <a:pt x="3301" y="285"/>
                </a:lnTo>
                <a:lnTo>
                  <a:pt x="3301" y="285"/>
                </a:lnTo>
                <a:lnTo>
                  <a:pt x="3301" y="285"/>
                </a:lnTo>
                <a:lnTo>
                  <a:pt x="3301" y="279"/>
                </a:lnTo>
                <a:lnTo>
                  <a:pt x="3307" y="279"/>
                </a:lnTo>
                <a:lnTo>
                  <a:pt x="3360" y="225"/>
                </a:lnTo>
                <a:lnTo>
                  <a:pt x="3366" y="219"/>
                </a:lnTo>
                <a:lnTo>
                  <a:pt x="3378" y="208"/>
                </a:lnTo>
                <a:lnTo>
                  <a:pt x="3407" y="190"/>
                </a:lnTo>
                <a:lnTo>
                  <a:pt x="3419" y="184"/>
                </a:lnTo>
                <a:lnTo>
                  <a:pt x="3425" y="184"/>
                </a:lnTo>
                <a:lnTo>
                  <a:pt x="3425" y="184"/>
                </a:lnTo>
                <a:lnTo>
                  <a:pt x="3431" y="184"/>
                </a:lnTo>
                <a:lnTo>
                  <a:pt x="3449" y="178"/>
                </a:lnTo>
                <a:lnTo>
                  <a:pt x="3484" y="160"/>
                </a:lnTo>
                <a:lnTo>
                  <a:pt x="3484" y="154"/>
                </a:lnTo>
                <a:lnTo>
                  <a:pt x="3490" y="154"/>
                </a:lnTo>
                <a:lnTo>
                  <a:pt x="3490" y="154"/>
                </a:lnTo>
                <a:lnTo>
                  <a:pt x="3496" y="148"/>
                </a:lnTo>
                <a:lnTo>
                  <a:pt x="3496" y="148"/>
                </a:lnTo>
                <a:lnTo>
                  <a:pt x="3496" y="148"/>
                </a:lnTo>
                <a:lnTo>
                  <a:pt x="3502" y="148"/>
                </a:lnTo>
                <a:lnTo>
                  <a:pt x="3502" y="148"/>
                </a:lnTo>
                <a:lnTo>
                  <a:pt x="3502" y="148"/>
                </a:lnTo>
                <a:lnTo>
                  <a:pt x="3502" y="148"/>
                </a:lnTo>
                <a:lnTo>
                  <a:pt x="3496" y="148"/>
                </a:lnTo>
                <a:lnTo>
                  <a:pt x="3490" y="148"/>
                </a:lnTo>
                <a:lnTo>
                  <a:pt x="3490" y="148"/>
                </a:lnTo>
                <a:lnTo>
                  <a:pt x="3490" y="148"/>
                </a:lnTo>
                <a:lnTo>
                  <a:pt x="3484" y="148"/>
                </a:lnTo>
                <a:lnTo>
                  <a:pt x="3484" y="148"/>
                </a:lnTo>
                <a:lnTo>
                  <a:pt x="3484" y="142"/>
                </a:lnTo>
                <a:lnTo>
                  <a:pt x="3478" y="142"/>
                </a:lnTo>
                <a:lnTo>
                  <a:pt x="3478" y="148"/>
                </a:lnTo>
                <a:lnTo>
                  <a:pt x="3467" y="148"/>
                </a:lnTo>
                <a:lnTo>
                  <a:pt x="3467" y="148"/>
                </a:lnTo>
                <a:lnTo>
                  <a:pt x="3467" y="148"/>
                </a:lnTo>
                <a:lnTo>
                  <a:pt x="3461" y="148"/>
                </a:lnTo>
                <a:lnTo>
                  <a:pt x="3461" y="148"/>
                </a:lnTo>
                <a:lnTo>
                  <a:pt x="3461" y="142"/>
                </a:lnTo>
                <a:lnTo>
                  <a:pt x="3461" y="142"/>
                </a:lnTo>
                <a:lnTo>
                  <a:pt x="3461" y="142"/>
                </a:lnTo>
                <a:lnTo>
                  <a:pt x="3455" y="136"/>
                </a:lnTo>
                <a:lnTo>
                  <a:pt x="3455" y="136"/>
                </a:lnTo>
                <a:lnTo>
                  <a:pt x="3455" y="130"/>
                </a:lnTo>
                <a:lnTo>
                  <a:pt x="3449" y="130"/>
                </a:lnTo>
                <a:lnTo>
                  <a:pt x="3449" y="130"/>
                </a:lnTo>
                <a:lnTo>
                  <a:pt x="3443" y="130"/>
                </a:lnTo>
                <a:lnTo>
                  <a:pt x="3437" y="130"/>
                </a:lnTo>
                <a:lnTo>
                  <a:pt x="3413" y="136"/>
                </a:lnTo>
                <a:lnTo>
                  <a:pt x="3413" y="136"/>
                </a:lnTo>
                <a:lnTo>
                  <a:pt x="3413" y="136"/>
                </a:lnTo>
                <a:lnTo>
                  <a:pt x="3413" y="136"/>
                </a:lnTo>
                <a:lnTo>
                  <a:pt x="3413" y="136"/>
                </a:lnTo>
                <a:lnTo>
                  <a:pt x="3413" y="136"/>
                </a:lnTo>
                <a:lnTo>
                  <a:pt x="3407" y="136"/>
                </a:lnTo>
                <a:lnTo>
                  <a:pt x="3407" y="136"/>
                </a:lnTo>
                <a:lnTo>
                  <a:pt x="3407" y="136"/>
                </a:lnTo>
                <a:lnTo>
                  <a:pt x="3407" y="136"/>
                </a:lnTo>
                <a:lnTo>
                  <a:pt x="3407" y="136"/>
                </a:lnTo>
                <a:lnTo>
                  <a:pt x="3407" y="136"/>
                </a:lnTo>
                <a:lnTo>
                  <a:pt x="3401" y="136"/>
                </a:lnTo>
                <a:lnTo>
                  <a:pt x="3401" y="136"/>
                </a:lnTo>
                <a:lnTo>
                  <a:pt x="3401" y="130"/>
                </a:lnTo>
                <a:lnTo>
                  <a:pt x="3401" y="130"/>
                </a:lnTo>
                <a:lnTo>
                  <a:pt x="3401" y="130"/>
                </a:lnTo>
                <a:lnTo>
                  <a:pt x="3401" y="130"/>
                </a:lnTo>
                <a:lnTo>
                  <a:pt x="3401" y="130"/>
                </a:lnTo>
                <a:lnTo>
                  <a:pt x="3390" y="136"/>
                </a:lnTo>
                <a:lnTo>
                  <a:pt x="3384" y="136"/>
                </a:lnTo>
                <a:lnTo>
                  <a:pt x="3384" y="136"/>
                </a:lnTo>
                <a:lnTo>
                  <a:pt x="3384" y="136"/>
                </a:lnTo>
                <a:lnTo>
                  <a:pt x="3384" y="130"/>
                </a:lnTo>
                <a:lnTo>
                  <a:pt x="3378" y="130"/>
                </a:lnTo>
                <a:lnTo>
                  <a:pt x="3378" y="130"/>
                </a:lnTo>
                <a:lnTo>
                  <a:pt x="3378" y="130"/>
                </a:lnTo>
                <a:lnTo>
                  <a:pt x="3378" y="125"/>
                </a:lnTo>
                <a:lnTo>
                  <a:pt x="3378" y="125"/>
                </a:lnTo>
                <a:lnTo>
                  <a:pt x="3378" y="125"/>
                </a:lnTo>
                <a:lnTo>
                  <a:pt x="3378" y="125"/>
                </a:lnTo>
                <a:lnTo>
                  <a:pt x="3378" y="125"/>
                </a:lnTo>
                <a:lnTo>
                  <a:pt x="3378" y="125"/>
                </a:lnTo>
                <a:lnTo>
                  <a:pt x="3378" y="119"/>
                </a:lnTo>
                <a:lnTo>
                  <a:pt x="3378" y="119"/>
                </a:lnTo>
                <a:lnTo>
                  <a:pt x="3372" y="119"/>
                </a:lnTo>
                <a:lnTo>
                  <a:pt x="3378" y="119"/>
                </a:lnTo>
                <a:lnTo>
                  <a:pt x="3378" y="119"/>
                </a:lnTo>
                <a:lnTo>
                  <a:pt x="3378" y="119"/>
                </a:lnTo>
                <a:lnTo>
                  <a:pt x="3378" y="119"/>
                </a:lnTo>
                <a:lnTo>
                  <a:pt x="3378" y="113"/>
                </a:lnTo>
                <a:lnTo>
                  <a:pt x="3372" y="113"/>
                </a:lnTo>
                <a:lnTo>
                  <a:pt x="3372" y="113"/>
                </a:lnTo>
                <a:lnTo>
                  <a:pt x="3366" y="113"/>
                </a:lnTo>
                <a:lnTo>
                  <a:pt x="3366" y="113"/>
                </a:lnTo>
                <a:lnTo>
                  <a:pt x="3360" y="119"/>
                </a:lnTo>
                <a:lnTo>
                  <a:pt x="3360" y="119"/>
                </a:lnTo>
                <a:lnTo>
                  <a:pt x="3354" y="119"/>
                </a:lnTo>
                <a:lnTo>
                  <a:pt x="3354" y="125"/>
                </a:lnTo>
                <a:lnTo>
                  <a:pt x="3342" y="130"/>
                </a:lnTo>
                <a:lnTo>
                  <a:pt x="3342" y="130"/>
                </a:lnTo>
                <a:lnTo>
                  <a:pt x="3336" y="130"/>
                </a:lnTo>
                <a:lnTo>
                  <a:pt x="3336" y="136"/>
                </a:lnTo>
                <a:lnTo>
                  <a:pt x="3336" y="136"/>
                </a:lnTo>
                <a:lnTo>
                  <a:pt x="3330" y="136"/>
                </a:lnTo>
                <a:lnTo>
                  <a:pt x="3330" y="136"/>
                </a:lnTo>
                <a:lnTo>
                  <a:pt x="3330" y="136"/>
                </a:lnTo>
                <a:lnTo>
                  <a:pt x="3324" y="136"/>
                </a:lnTo>
                <a:lnTo>
                  <a:pt x="3324" y="142"/>
                </a:lnTo>
                <a:lnTo>
                  <a:pt x="3318" y="142"/>
                </a:lnTo>
                <a:lnTo>
                  <a:pt x="3318" y="142"/>
                </a:lnTo>
                <a:lnTo>
                  <a:pt x="3313" y="142"/>
                </a:lnTo>
                <a:lnTo>
                  <a:pt x="3313" y="142"/>
                </a:lnTo>
                <a:lnTo>
                  <a:pt x="3313" y="142"/>
                </a:lnTo>
                <a:lnTo>
                  <a:pt x="3313" y="142"/>
                </a:lnTo>
                <a:lnTo>
                  <a:pt x="3313" y="142"/>
                </a:lnTo>
                <a:lnTo>
                  <a:pt x="3301" y="142"/>
                </a:lnTo>
                <a:lnTo>
                  <a:pt x="3301" y="142"/>
                </a:lnTo>
                <a:lnTo>
                  <a:pt x="3301" y="142"/>
                </a:lnTo>
                <a:lnTo>
                  <a:pt x="3301" y="142"/>
                </a:lnTo>
                <a:lnTo>
                  <a:pt x="3301" y="136"/>
                </a:lnTo>
                <a:lnTo>
                  <a:pt x="3301" y="136"/>
                </a:lnTo>
                <a:lnTo>
                  <a:pt x="3301" y="136"/>
                </a:lnTo>
                <a:lnTo>
                  <a:pt x="3301" y="136"/>
                </a:lnTo>
                <a:lnTo>
                  <a:pt x="3301" y="136"/>
                </a:lnTo>
                <a:lnTo>
                  <a:pt x="3301" y="136"/>
                </a:lnTo>
                <a:lnTo>
                  <a:pt x="3301" y="136"/>
                </a:lnTo>
                <a:lnTo>
                  <a:pt x="3301" y="136"/>
                </a:lnTo>
                <a:lnTo>
                  <a:pt x="3301" y="136"/>
                </a:lnTo>
                <a:lnTo>
                  <a:pt x="3301" y="136"/>
                </a:lnTo>
                <a:lnTo>
                  <a:pt x="3289" y="130"/>
                </a:lnTo>
                <a:lnTo>
                  <a:pt x="3289" y="130"/>
                </a:lnTo>
                <a:lnTo>
                  <a:pt x="3289" y="130"/>
                </a:lnTo>
                <a:lnTo>
                  <a:pt x="3289" y="125"/>
                </a:lnTo>
                <a:lnTo>
                  <a:pt x="3289" y="125"/>
                </a:lnTo>
                <a:lnTo>
                  <a:pt x="3289" y="125"/>
                </a:lnTo>
                <a:lnTo>
                  <a:pt x="3283" y="119"/>
                </a:lnTo>
                <a:lnTo>
                  <a:pt x="3283" y="119"/>
                </a:lnTo>
                <a:lnTo>
                  <a:pt x="3283" y="119"/>
                </a:lnTo>
                <a:lnTo>
                  <a:pt x="3277" y="119"/>
                </a:lnTo>
                <a:lnTo>
                  <a:pt x="3277" y="119"/>
                </a:lnTo>
                <a:lnTo>
                  <a:pt x="3265" y="113"/>
                </a:lnTo>
                <a:lnTo>
                  <a:pt x="3265" y="113"/>
                </a:lnTo>
                <a:lnTo>
                  <a:pt x="3265" y="113"/>
                </a:lnTo>
                <a:lnTo>
                  <a:pt x="3259" y="113"/>
                </a:lnTo>
                <a:lnTo>
                  <a:pt x="3259" y="107"/>
                </a:lnTo>
                <a:lnTo>
                  <a:pt x="3259" y="107"/>
                </a:lnTo>
                <a:lnTo>
                  <a:pt x="3259" y="107"/>
                </a:lnTo>
                <a:lnTo>
                  <a:pt x="3259" y="107"/>
                </a:lnTo>
                <a:lnTo>
                  <a:pt x="3259" y="101"/>
                </a:lnTo>
                <a:lnTo>
                  <a:pt x="3259" y="101"/>
                </a:lnTo>
                <a:lnTo>
                  <a:pt x="3259" y="101"/>
                </a:lnTo>
                <a:lnTo>
                  <a:pt x="3253" y="101"/>
                </a:lnTo>
                <a:lnTo>
                  <a:pt x="3253" y="101"/>
                </a:lnTo>
                <a:lnTo>
                  <a:pt x="3253" y="95"/>
                </a:lnTo>
                <a:lnTo>
                  <a:pt x="3253" y="95"/>
                </a:lnTo>
                <a:lnTo>
                  <a:pt x="3247" y="95"/>
                </a:lnTo>
                <a:lnTo>
                  <a:pt x="3235" y="95"/>
                </a:lnTo>
                <a:lnTo>
                  <a:pt x="3235" y="95"/>
                </a:lnTo>
                <a:lnTo>
                  <a:pt x="3235" y="95"/>
                </a:lnTo>
                <a:lnTo>
                  <a:pt x="3230" y="101"/>
                </a:lnTo>
                <a:lnTo>
                  <a:pt x="3230" y="101"/>
                </a:lnTo>
                <a:lnTo>
                  <a:pt x="3230" y="101"/>
                </a:lnTo>
                <a:lnTo>
                  <a:pt x="3230" y="107"/>
                </a:lnTo>
                <a:lnTo>
                  <a:pt x="3230" y="107"/>
                </a:lnTo>
                <a:lnTo>
                  <a:pt x="3230" y="113"/>
                </a:lnTo>
                <a:lnTo>
                  <a:pt x="3230" y="113"/>
                </a:lnTo>
                <a:lnTo>
                  <a:pt x="3230" y="113"/>
                </a:lnTo>
                <a:lnTo>
                  <a:pt x="3230" y="113"/>
                </a:lnTo>
                <a:lnTo>
                  <a:pt x="3224" y="113"/>
                </a:lnTo>
                <a:lnTo>
                  <a:pt x="3224" y="113"/>
                </a:lnTo>
                <a:lnTo>
                  <a:pt x="3224" y="113"/>
                </a:lnTo>
                <a:lnTo>
                  <a:pt x="3224" y="113"/>
                </a:lnTo>
                <a:lnTo>
                  <a:pt x="3218" y="107"/>
                </a:lnTo>
                <a:lnTo>
                  <a:pt x="3218" y="107"/>
                </a:lnTo>
                <a:lnTo>
                  <a:pt x="3218" y="101"/>
                </a:lnTo>
                <a:lnTo>
                  <a:pt x="3212" y="101"/>
                </a:lnTo>
                <a:lnTo>
                  <a:pt x="3212" y="95"/>
                </a:lnTo>
                <a:lnTo>
                  <a:pt x="3212" y="95"/>
                </a:lnTo>
                <a:lnTo>
                  <a:pt x="3212" y="95"/>
                </a:lnTo>
                <a:lnTo>
                  <a:pt x="3212" y="89"/>
                </a:lnTo>
                <a:lnTo>
                  <a:pt x="3212" y="89"/>
                </a:lnTo>
                <a:lnTo>
                  <a:pt x="3212" y="89"/>
                </a:lnTo>
                <a:lnTo>
                  <a:pt x="3212" y="89"/>
                </a:lnTo>
                <a:lnTo>
                  <a:pt x="3212" y="83"/>
                </a:lnTo>
                <a:lnTo>
                  <a:pt x="3206" y="83"/>
                </a:lnTo>
                <a:lnTo>
                  <a:pt x="3206" y="83"/>
                </a:lnTo>
                <a:lnTo>
                  <a:pt x="3206" y="83"/>
                </a:lnTo>
                <a:lnTo>
                  <a:pt x="3200" y="83"/>
                </a:lnTo>
                <a:lnTo>
                  <a:pt x="3194" y="83"/>
                </a:lnTo>
                <a:lnTo>
                  <a:pt x="3194" y="83"/>
                </a:lnTo>
                <a:lnTo>
                  <a:pt x="3194" y="83"/>
                </a:lnTo>
                <a:lnTo>
                  <a:pt x="3188" y="83"/>
                </a:lnTo>
                <a:lnTo>
                  <a:pt x="3188" y="83"/>
                </a:lnTo>
                <a:lnTo>
                  <a:pt x="3188" y="77"/>
                </a:lnTo>
                <a:lnTo>
                  <a:pt x="3188" y="77"/>
                </a:lnTo>
                <a:lnTo>
                  <a:pt x="3188" y="77"/>
                </a:lnTo>
                <a:lnTo>
                  <a:pt x="3194" y="77"/>
                </a:lnTo>
                <a:lnTo>
                  <a:pt x="3194" y="71"/>
                </a:lnTo>
                <a:lnTo>
                  <a:pt x="3194" y="71"/>
                </a:lnTo>
                <a:lnTo>
                  <a:pt x="3194" y="71"/>
                </a:lnTo>
                <a:lnTo>
                  <a:pt x="3194" y="71"/>
                </a:lnTo>
                <a:lnTo>
                  <a:pt x="3200" y="71"/>
                </a:lnTo>
                <a:lnTo>
                  <a:pt x="3200" y="71"/>
                </a:lnTo>
                <a:lnTo>
                  <a:pt x="3200" y="71"/>
                </a:lnTo>
                <a:lnTo>
                  <a:pt x="3200" y="71"/>
                </a:lnTo>
                <a:lnTo>
                  <a:pt x="3194" y="65"/>
                </a:lnTo>
                <a:lnTo>
                  <a:pt x="3194" y="65"/>
                </a:lnTo>
                <a:lnTo>
                  <a:pt x="3188" y="65"/>
                </a:lnTo>
                <a:lnTo>
                  <a:pt x="3176" y="59"/>
                </a:lnTo>
                <a:lnTo>
                  <a:pt x="3170" y="59"/>
                </a:lnTo>
                <a:lnTo>
                  <a:pt x="3170" y="59"/>
                </a:lnTo>
                <a:lnTo>
                  <a:pt x="3170" y="59"/>
                </a:lnTo>
                <a:lnTo>
                  <a:pt x="3164" y="53"/>
                </a:lnTo>
                <a:lnTo>
                  <a:pt x="3164" y="53"/>
                </a:lnTo>
                <a:lnTo>
                  <a:pt x="3164" y="53"/>
                </a:lnTo>
                <a:lnTo>
                  <a:pt x="3147" y="53"/>
                </a:lnTo>
                <a:lnTo>
                  <a:pt x="3135" y="53"/>
                </a:lnTo>
                <a:lnTo>
                  <a:pt x="3135" y="53"/>
                </a:lnTo>
                <a:lnTo>
                  <a:pt x="3123" y="53"/>
                </a:lnTo>
                <a:lnTo>
                  <a:pt x="3123" y="59"/>
                </a:lnTo>
                <a:lnTo>
                  <a:pt x="3117" y="59"/>
                </a:lnTo>
                <a:lnTo>
                  <a:pt x="3117" y="59"/>
                </a:lnTo>
                <a:lnTo>
                  <a:pt x="3117" y="59"/>
                </a:lnTo>
                <a:lnTo>
                  <a:pt x="3117" y="59"/>
                </a:lnTo>
                <a:lnTo>
                  <a:pt x="3117" y="59"/>
                </a:lnTo>
                <a:lnTo>
                  <a:pt x="3117" y="59"/>
                </a:lnTo>
                <a:lnTo>
                  <a:pt x="3117" y="59"/>
                </a:lnTo>
                <a:lnTo>
                  <a:pt x="3117" y="65"/>
                </a:lnTo>
                <a:lnTo>
                  <a:pt x="3111" y="65"/>
                </a:lnTo>
                <a:lnTo>
                  <a:pt x="3111" y="65"/>
                </a:lnTo>
                <a:lnTo>
                  <a:pt x="3105" y="65"/>
                </a:lnTo>
                <a:lnTo>
                  <a:pt x="3105" y="65"/>
                </a:lnTo>
                <a:lnTo>
                  <a:pt x="3099" y="71"/>
                </a:lnTo>
                <a:lnTo>
                  <a:pt x="3099" y="71"/>
                </a:lnTo>
                <a:lnTo>
                  <a:pt x="3099" y="71"/>
                </a:lnTo>
                <a:lnTo>
                  <a:pt x="3087" y="71"/>
                </a:lnTo>
                <a:lnTo>
                  <a:pt x="3087" y="71"/>
                </a:lnTo>
                <a:lnTo>
                  <a:pt x="3081" y="71"/>
                </a:lnTo>
                <a:lnTo>
                  <a:pt x="3081" y="65"/>
                </a:lnTo>
                <a:lnTo>
                  <a:pt x="3081" y="65"/>
                </a:lnTo>
                <a:lnTo>
                  <a:pt x="3081" y="59"/>
                </a:lnTo>
                <a:lnTo>
                  <a:pt x="3075" y="53"/>
                </a:lnTo>
                <a:lnTo>
                  <a:pt x="3075" y="53"/>
                </a:lnTo>
                <a:lnTo>
                  <a:pt x="3075" y="53"/>
                </a:lnTo>
                <a:lnTo>
                  <a:pt x="3058" y="53"/>
                </a:lnTo>
                <a:lnTo>
                  <a:pt x="3040" y="47"/>
                </a:lnTo>
                <a:lnTo>
                  <a:pt x="3040" y="47"/>
                </a:lnTo>
                <a:lnTo>
                  <a:pt x="3040" y="47"/>
                </a:lnTo>
                <a:lnTo>
                  <a:pt x="3034" y="47"/>
                </a:lnTo>
                <a:lnTo>
                  <a:pt x="3034" y="47"/>
                </a:lnTo>
                <a:lnTo>
                  <a:pt x="3034" y="47"/>
                </a:lnTo>
                <a:lnTo>
                  <a:pt x="3034" y="47"/>
                </a:lnTo>
                <a:lnTo>
                  <a:pt x="3034" y="47"/>
                </a:lnTo>
                <a:lnTo>
                  <a:pt x="3034" y="47"/>
                </a:lnTo>
                <a:lnTo>
                  <a:pt x="3034" y="47"/>
                </a:lnTo>
                <a:lnTo>
                  <a:pt x="3034" y="42"/>
                </a:lnTo>
                <a:lnTo>
                  <a:pt x="3034" y="42"/>
                </a:lnTo>
                <a:lnTo>
                  <a:pt x="3034" y="42"/>
                </a:lnTo>
                <a:lnTo>
                  <a:pt x="3034" y="42"/>
                </a:lnTo>
                <a:lnTo>
                  <a:pt x="3034" y="42"/>
                </a:lnTo>
                <a:lnTo>
                  <a:pt x="3034" y="42"/>
                </a:lnTo>
                <a:lnTo>
                  <a:pt x="3034" y="42"/>
                </a:lnTo>
                <a:lnTo>
                  <a:pt x="3034" y="42"/>
                </a:lnTo>
                <a:lnTo>
                  <a:pt x="3028" y="42"/>
                </a:lnTo>
                <a:lnTo>
                  <a:pt x="3016" y="42"/>
                </a:lnTo>
                <a:lnTo>
                  <a:pt x="3010" y="42"/>
                </a:lnTo>
                <a:lnTo>
                  <a:pt x="3004" y="42"/>
                </a:lnTo>
                <a:lnTo>
                  <a:pt x="2993" y="30"/>
                </a:lnTo>
                <a:lnTo>
                  <a:pt x="2993" y="30"/>
                </a:lnTo>
                <a:lnTo>
                  <a:pt x="2993" y="30"/>
                </a:lnTo>
                <a:lnTo>
                  <a:pt x="2993" y="30"/>
                </a:lnTo>
                <a:lnTo>
                  <a:pt x="2993" y="24"/>
                </a:lnTo>
                <a:lnTo>
                  <a:pt x="2993" y="24"/>
                </a:lnTo>
                <a:lnTo>
                  <a:pt x="2993" y="24"/>
                </a:lnTo>
                <a:lnTo>
                  <a:pt x="2993" y="24"/>
                </a:lnTo>
                <a:lnTo>
                  <a:pt x="2993" y="24"/>
                </a:lnTo>
                <a:lnTo>
                  <a:pt x="2993" y="24"/>
                </a:lnTo>
                <a:lnTo>
                  <a:pt x="2993" y="18"/>
                </a:lnTo>
                <a:lnTo>
                  <a:pt x="2993" y="12"/>
                </a:lnTo>
                <a:lnTo>
                  <a:pt x="2987" y="0"/>
                </a:lnTo>
                <a:lnTo>
                  <a:pt x="2987" y="0"/>
                </a:lnTo>
                <a:lnTo>
                  <a:pt x="201" y="0"/>
                </a:lnTo>
                <a:lnTo>
                  <a:pt x="201" y="6"/>
                </a:lnTo>
                <a:lnTo>
                  <a:pt x="195" y="0"/>
                </a:lnTo>
                <a:lnTo>
                  <a:pt x="195" y="6"/>
                </a:lnTo>
                <a:lnTo>
                  <a:pt x="190" y="6"/>
                </a:lnTo>
                <a:lnTo>
                  <a:pt x="195" y="6"/>
                </a:lnTo>
                <a:lnTo>
                  <a:pt x="195" y="6"/>
                </a:lnTo>
                <a:lnTo>
                  <a:pt x="195" y="6"/>
                </a:lnTo>
                <a:lnTo>
                  <a:pt x="195" y="6"/>
                </a:lnTo>
                <a:lnTo>
                  <a:pt x="201" y="12"/>
                </a:lnTo>
                <a:lnTo>
                  <a:pt x="201" y="12"/>
                </a:lnTo>
                <a:lnTo>
                  <a:pt x="195" y="12"/>
                </a:lnTo>
                <a:lnTo>
                  <a:pt x="195" y="12"/>
                </a:lnTo>
                <a:lnTo>
                  <a:pt x="195" y="12"/>
                </a:lnTo>
                <a:lnTo>
                  <a:pt x="195" y="12"/>
                </a:lnTo>
                <a:lnTo>
                  <a:pt x="195" y="18"/>
                </a:lnTo>
                <a:lnTo>
                  <a:pt x="195" y="18"/>
                </a:lnTo>
                <a:lnTo>
                  <a:pt x="195" y="18"/>
                </a:lnTo>
                <a:lnTo>
                  <a:pt x="195" y="18"/>
                </a:lnTo>
                <a:lnTo>
                  <a:pt x="201" y="24"/>
                </a:lnTo>
                <a:lnTo>
                  <a:pt x="201" y="24"/>
                </a:lnTo>
                <a:lnTo>
                  <a:pt x="201" y="24"/>
                </a:lnTo>
                <a:lnTo>
                  <a:pt x="201" y="24"/>
                </a:lnTo>
                <a:lnTo>
                  <a:pt x="201" y="30"/>
                </a:lnTo>
                <a:lnTo>
                  <a:pt x="201" y="30"/>
                </a:lnTo>
                <a:lnTo>
                  <a:pt x="201" y="30"/>
                </a:lnTo>
                <a:lnTo>
                  <a:pt x="207" y="30"/>
                </a:lnTo>
                <a:lnTo>
                  <a:pt x="207" y="30"/>
                </a:lnTo>
                <a:lnTo>
                  <a:pt x="207" y="30"/>
                </a:lnTo>
                <a:lnTo>
                  <a:pt x="207" y="36"/>
                </a:lnTo>
                <a:lnTo>
                  <a:pt x="207" y="36"/>
                </a:lnTo>
                <a:lnTo>
                  <a:pt x="207" y="36"/>
                </a:lnTo>
                <a:lnTo>
                  <a:pt x="207" y="36"/>
                </a:lnTo>
                <a:lnTo>
                  <a:pt x="207" y="36"/>
                </a:lnTo>
                <a:lnTo>
                  <a:pt x="207" y="36"/>
                </a:lnTo>
                <a:lnTo>
                  <a:pt x="207" y="36"/>
                </a:lnTo>
                <a:lnTo>
                  <a:pt x="207" y="36"/>
                </a:lnTo>
                <a:lnTo>
                  <a:pt x="207" y="42"/>
                </a:lnTo>
                <a:lnTo>
                  <a:pt x="207" y="42"/>
                </a:lnTo>
                <a:lnTo>
                  <a:pt x="207" y="42"/>
                </a:lnTo>
                <a:lnTo>
                  <a:pt x="213" y="36"/>
                </a:lnTo>
                <a:lnTo>
                  <a:pt x="213" y="30"/>
                </a:lnTo>
                <a:lnTo>
                  <a:pt x="213" y="30"/>
                </a:lnTo>
                <a:lnTo>
                  <a:pt x="219" y="30"/>
                </a:lnTo>
                <a:lnTo>
                  <a:pt x="219" y="30"/>
                </a:lnTo>
                <a:lnTo>
                  <a:pt x="225" y="36"/>
                </a:lnTo>
                <a:lnTo>
                  <a:pt x="225" y="36"/>
                </a:lnTo>
                <a:lnTo>
                  <a:pt x="225" y="36"/>
                </a:lnTo>
                <a:lnTo>
                  <a:pt x="219" y="42"/>
                </a:lnTo>
                <a:lnTo>
                  <a:pt x="219" y="42"/>
                </a:lnTo>
                <a:lnTo>
                  <a:pt x="225" y="47"/>
                </a:lnTo>
                <a:lnTo>
                  <a:pt x="225" y="47"/>
                </a:lnTo>
                <a:lnTo>
                  <a:pt x="225" y="47"/>
                </a:lnTo>
                <a:lnTo>
                  <a:pt x="225" y="47"/>
                </a:lnTo>
                <a:lnTo>
                  <a:pt x="225" y="47"/>
                </a:lnTo>
                <a:lnTo>
                  <a:pt x="225" y="53"/>
                </a:lnTo>
                <a:lnTo>
                  <a:pt x="225" y="53"/>
                </a:lnTo>
                <a:lnTo>
                  <a:pt x="225" y="53"/>
                </a:lnTo>
                <a:lnTo>
                  <a:pt x="225" y="53"/>
                </a:lnTo>
                <a:lnTo>
                  <a:pt x="225" y="53"/>
                </a:lnTo>
                <a:lnTo>
                  <a:pt x="225" y="53"/>
                </a:lnTo>
                <a:lnTo>
                  <a:pt x="225" y="53"/>
                </a:lnTo>
                <a:lnTo>
                  <a:pt x="231" y="59"/>
                </a:lnTo>
                <a:lnTo>
                  <a:pt x="231" y="59"/>
                </a:lnTo>
                <a:lnTo>
                  <a:pt x="231" y="65"/>
                </a:lnTo>
                <a:lnTo>
                  <a:pt x="231" y="65"/>
                </a:lnTo>
                <a:lnTo>
                  <a:pt x="225" y="65"/>
                </a:lnTo>
                <a:lnTo>
                  <a:pt x="225" y="65"/>
                </a:lnTo>
                <a:lnTo>
                  <a:pt x="225" y="65"/>
                </a:lnTo>
                <a:lnTo>
                  <a:pt x="219" y="59"/>
                </a:lnTo>
                <a:lnTo>
                  <a:pt x="219" y="59"/>
                </a:lnTo>
                <a:lnTo>
                  <a:pt x="219" y="59"/>
                </a:lnTo>
                <a:lnTo>
                  <a:pt x="219" y="59"/>
                </a:lnTo>
                <a:lnTo>
                  <a:pt x="219" y="65"/>
                </a:lnTo>
                <a:lnTo>
                  <a:pt x="225" y="65"/>
                </a:lnTo>
                <a:lnTo>
                  <a:pt x="225" y="71"/>
                </a:lnTo>
                <a:lnTo>
                  <a:pt x="225" y="71"/>
                </a:lnTo>
                <a:lnTo>
                  <a:pt x="225" y="71"/>
                </a:lnTo>
                <a:lnTo>
                  <a:pt x="225" y="71"/>
                </a:lnTo>
                <a:lnTo>
                  <a:pt x="225" y="77"/>
                </a:lnTo>
                <a:lnTo>
                  <a:pt x="225" y="77"/>
                </a:lnTo>
                <a:lnTo>
                  <a:pt x="225" y="77"/>
                </a:lnTo>
                <a:lnTo>
                  <a:pt x="225" y="77"/>
                </a:lnTo>
                <a:lnTo>
                  <a:pt x="225" y="77"/>
                </a:lnTo>
                <a:lnTo>
                  <a:pt x="225" y="77"/>
                </a:lnTo>
                <a:lnTo>
                  <a:pt x="225" y="77"/>
                </a:lnTo>
                <a:lnTo>
                  <a:pt x="225" y="77"/>
                </a:lnTo>
                <a:lnTo>
                  <a:pt x="225" y="83"/>
                </a:lnTo>
                <a:lnTo>
                  <a:pt x="219" y="83"/>
                </a:lnTo>
                <a:lnTo>
                  <a:pt x="219" y="77"/>
                </a:lnTo>
                <a:lnTo>
                  <a:pt x="219" y="77"/>
                </a:lnTo>
                <a:lnTo>
                  <a:pt x="219" y="77"/>
                </a:lnTo>
                <a:lnTo>
                  <a:pt x="213" y="77"/>
                </a:lnTo>
                <a:lnTo>
                  <a:pt x="213" y="77"/>
                </a:lnTo>
                <a:lnTo>
                  <a:pt x="213" y="77"/>
                </a:lnTo>
                <a:lnTo>
                  <a:pt x="213" y="77"/>
                </a:lnTo>
                <a:lnTo>
                  <a:pt x="213" y="77"/>
                </a:lnTo>
                <a:lnTo>
                  <a:pt x="213" y="71"/>
                </a:lnTo>
                <a:lnTo>
                  <a:pt x="207" y="71"/>
                </a:lnTo>
                <a:lnTo>
                  <a:pt x="207" y="71"/>
                </a:lnTo>
                <a:lnTo>
                  <a:pt x="207" y="71"/>
                </a:lnTo>
                <a:lnTo>
                  <a:pt x="207" y="71"/>
                </a:lnTo>
                <a:lnTo>
                  <a:pt x="207" y="71"/>
                </a:lnTo>
                <a:lnTo>
                  <a:pt x="207" y="71"/>
                </a:lnTo>
                <a:lnTo>
                  <a:pt x="201" y="71"/>
                </a:lnTo>
                <a:lnTo>
                  <a:pt x="201" y="71"/>
                </a:lnTo>
                <a:lnTo>
                  <a:pt x="201" y="71"/>
                </a:lnTo>
                <a:lnTo>
                  <a:pt x="201" y="77"/>
                </a:lnTo>
                <a:lnTo>
                  <a:pt x="201" y="77"/>
                </a:lnTo>
                <a:lnTo>
                  <a:pt x="207" y="77"/>
                </a:lnTo>
                <a:lnTo>
                  <a:pt x="207" y="77"/>
                </a:lnTo>
                <a:lnTo>
                  <a:pt x="207" y="77"/>
                </a:lnTo>
                <a:lnTo>
                  <a:pt x="207" y="77"/>
                </a:lnTo>
                <a:lnTo>
                  <a:pt x="207" y="77"/>
                </a:lnTo>
                <a:lnTo>
                  <a:pt x="207" y="83"/>
                </a:lnTo>
                <a:lnTo>
                  <a:pt x="207" y="83"/>
                </a:lnTo>
                <a:lnTo>
                  <a:pt x="207" y="83"/>
                </a:lnTo>
                <a:lnTo>
                  <a:pt x="207" y="83"/>
                </a:lnTo>
                <a:lnTo>
                  <a:pt x="207" y="89"/>
                </a:lnTo>
                <a:lnTo>
                  <a:pt x="207" y="89"/>
                </a:lnTo>
                <a:lnTo>
                  <a:pt x="207" y="89"/>
                </a:lnTo>
                <a:lnTo>
                  <a:pt x="213" y="89"/>
                </a:lnTo>
                <a:lnTo>
                  <a:pt x="213" y="89"/>
                </a:lnTo>
                <a:lnTo>
                  <a:pt x="213" y="89"/>
                </a:lnTo>
                <a:lnTo>
                  <a:pt x="213" y="83"/>
                </a:lnTo>
                <a:lnTo>
                  <a:pt x="213" y="83"/>
                </a:lnTo>
                <a:lnTo>
                  <a:pt x="213" y="83"/>
                </a:lnTo>
                <a:lnTo>
                  <a:pt x="213" y="83"/>
                </a:lnTo>
                <a:lnTo>
                  <a:pt x="213" y="83"/>
                </a:lnTo>
                <a:lnTo>
                  <a:pt x="219" y="83"/>
                </a:lnTo>
                <a:lnTo>
                  <a:pt x="219" y="83"/>
                </a:lnTo>
                <a:lnTo>
                  <a:pt x="219" y="83"/>
                </a:lnTo>
                <a:lnTo>
                  <a:pt x="219" y="89"/>
                </a:lnTo>
                <a:lnTo>
                  <a:pt x="219" y="89"/>
                </a:lnTo>
                <a:lnTo>
                  <a:pt x="219" y="89"/>
                </a:lnTo>
                <a:lnTo>
                  <a:pt x="219" y="95"/>
                </a:lnTo>
                <a:lnTo>
                  <a:pt x="225" y="95"/>
                </a:lnTo>
                <a:lnTo>
                  <a:pt x="225" y="95"/>
                </a:lnTo>
                <a:lnTo>
                  <a:pt x="225" y="95"/>
                </a:lnTo>
                <a:lnTo>
                  <a:pt x="225" y="95"/>
                </a:lnTo>
                <a:lnTo>
                  <a:pt x="231" y="101"/>
                </a:lnTo>
                <a:lnTo>
                  <a:pt x="237" y="101"/>
                </a:lnTo>
                <a:lnTo>
                  <a:pt x="237" y="101"/>
                </a:lnTo>
                <a:lnTo>
                  <a:pt x="237" y="101"/>
                </a:lnTo>
                <a:lnTo>
                  <a:pt x="237" y="101"/>
                </a:lnTo>
                <a:lnTo>
                  <a:pt x="237" y="101"/>
                </a:lnTo>
                <a:lnTo>
                  <a:pt x="237" y="107"/>
                </a:lnTo>
                <a:lnTo>
                  <a:pt x="237" y="107"/>
                </a:lnTo>
                <a:lnTo>
                  <a:pt x="237" y="107"/>
                </a:lnTo>
                <a:lnTo>
                  <a:pt x="237" y="107"/>
                </a:lnTo>
                <a:lnTo>
                  <a:pt x="237" y="113"/>
                </a:lnTo>
                <a:lnTo>
                  <a:pt x="237" y="113"/>
                </a:lnTo>
                <a:lnTo>
                  <a:pt x="237" y="113"/>
                </a:lnTo>
                <a:lnTo>
                  <a:pt x="231" y="113"/>
                </a:lnTo>
                <a:lnTo>
                  <a:pt x="231" y="113"/>
                </a:lnTo>
                <a:lnTo>
                  <a:pt x="231" y="113"/>
                </a:lnTo>
                <a:lnTo>
                  <a:pt x="231" y="107"/>
                </a:lnTo>
                <a:lnTo>
                  <a:pt x="231" y="107"/>
                </a:lnTo>
                <a:lnTo>
                  <a:pt x="225" y="107"/>
                </a:lnTo>
                <a:lnTo>
                  <a:pt x="225" y="107"/>
                </a:lnTo>
                <a:lnTo>
                  <a:pt x="225" y="113"/>
                </a:lnTo>
                <a:lnTo>
                  <a:pt x="225" y="113"/>
                </a:lnTo>
                <a:lnTo>
                  <a:pt x="219" y="113"/>
                </a:lnTo>
                <a:lnTo>
                  <a:pt x="219" y="113"/>
                </a:lnTo>
                <a:lnTo>
                  <a:pt x="219" y="113"/>
                </a:lnTo>
                <a:lnTo>
                  <a:pt x="219" y="119"/>
                </a:lnTo>
                <a:lnTo>
                  <a:pt x="219" y="119"/>
                </a:lnTo>
                <a:lnTo>
                  <a:pt x="219" y="119"/>
                </a:lnTo>
                <a:lnTo>
                  <a:pt x="219" y="125"/>
                </a:lnTo>
                <a:lnTo>
                  <a:pt x="219" y="125"/>
                </a:lnTo>
                <a:lnTo>
                  <a:pt x="225" y="125"/>
                </a:lnTo>
                <a:lnTo>
                  <a:pt x="225" y="130"/>
                </a:lnTo>
                <a:lnTo>
                  <a:pt x="231" y="136"/>
                </a:lnTo>
                <a:lnTo>
                  <a:pt x="231" y="136"/>
                </a:lnTo>
                <a:lnTo>
                  <a:pt x="237" y="136"/>
                </a:lnTo>
                <a:lnTo>
                  <a:pt x="237" y="142"/>
                </a:lnTo>
                <a:lnTo>
                  <a:pt x="237" y="142"/>
                </a:lnTo>
                <a:lnTo>
                  <a:pt x="237" y="142"/>
                </a:lnTo>
                <a:lnTo>
                  <a:pt x="237" y="136"/>
                </a:lnTo>
                <a:lnTo>
                  <a:pt x="237" y="130"/>
                </a:lnTo>
                <a:lnTo>
                  <a:pt x="231" y="130"/>
                </a:lnTo>
                <a:lnTo>
                  <a:pt x="231" y="130"/>
                </a:lnTo>
                <a:lnTo>
                  <a:pt x="231" y="130"/>
                </a:lnTo>
                <a:lnTo>
                  <a:pt x="231" y="130"/>
                </a:lnTo>
                <a:lnTo>
                  <a:pt x="225" y="125"/>
                </a:lnTo>
                <a:lnTo>
                  <a:pt x="225" y="125"/>
                </a:lnTo>
                <a:lnTo>
                  <a:pt x="225" y="119"/>
                </a:lnTo>
                <a:lnTo>
                  <a:pt x="225" y="119"/>
                </a:lnTo>
                <a:lnTo>
                  <a:pt x="225" y="119"/>
                </a:lnTo>
                <a:lnTo>
                  <a:pt x="231" y="119"/>
                </a:lnTo>
                <a:lnTo>
                  <a:pt x="231" y="119"/>
                </a:lnTo>
                <a:lnTo>
                  <a:pt x="231" y="113"/>
                </a:lnTo>
                <a:lnTo>
                  <a:pt x="231" y="113"/>
                </a:lnTo>
                <a:lnTo>
                  <a:pt x="231" y="113"/>
                </a:lnTo>
                <a:lnTo>
                  <a:pt x="231" y="113"/>
                </a:lnTo>
                <a:lnTo>
                  <a:pt x="231" y="113"/>
                </a:lnTo>
                <a:lnTo>
                  <a:pt x="231" y="113"/>
                </a:lnTo>
                <a:lnTo>
                  <a:pt x="231" y="113"/>
                </a:lnTo>
                <a:lnTo>
                  <a:pt x="231" y="113"/>
                </a:lnTo>
                <a:lnTo>
                  <a:pt x="237" y="119"/>
                </a:lnTo>
                <a:lnTo>
                  <a:pt x="237" y="119"/>
                </a:lnTo>
                <a:lnTo>
                  <a:pt x="237" y="125"/>
                </a:lnTo>
                <a:lnTo>
                  <a:pt x="237" y="130"/>
                </a:lnTo>
                <a:lnTo>
                  <a:pt x="237" y="136"/>
                </a:lnTo>
                <a:lnTo>
                  <a:pt x="243" y="136"/>
                </a:lnTo>
                <a:lnTo>
                  <a:pt x="249" y="142"/>
                </a:lnTo>
                <a:lnTo>
                  <a:pt x="249" y="142"/>
                </a:lnTo>
                <a:lnTo>
                  <a:pt x="255" y="142"/>
                </a:lnTo>
                <a:lnTo>
                  <a:pt x="255" y="142"/>
                </a:lnTo>
                <a:lnTo>
                  <a:pt x="255" y="142"/>
                </a:lnTo>
                <a:lnTo>
                  <a:pt x="255" y="142"/>
                </a:lnTo>
                <a:lnTo>
                  <a:pt x="255" y="142"/>
                </a:lnTo>
                <a:lnTo>
                  <a:pt x="255" y="142"/>
                </a:lnTo>
                <a:lnTo>
                  <a:pt x="255" y="142"/>
                </a:lnTo>
                <a:lnTo>
                  <a:pt x="255" y="148"/>
                </a:lnTo>
                <a:lnTo>
                  <a:pt x="255" y="148"/>
                </a:lnTo>
                <a:lnTo>
                  <a:pt x="255" y="148"/>
                </a:lnTo>
                <a:lnTo>
                  <a:pt x="255" y="148"/>
                </a:lnTo>
                <a:lnTo>
                  <a:pt x="249" y="148"/>
                </a:lnTo>
                <a:lnTo>
                  <a:pt x="249" y="154"/>
                </a:lnTo>
                <a:lnTo>
                  <a:pt x="249" y="154"/>
                </a:lnTo>
                <a:lnTo>
                  <a:pt x="249" y="154"/>
                </a:lnTo>
                <a:lnTo>
                  <a:pt x="243" y="154"/>
                </a:lnTo>
                <a:lnTo>
                  <a:pt x="243" y="154"/>
                </a:lnTo>
                <a:lnTo>
                  <a:pt x="243" y="154"/>
                </a:lnTo>
                <a:lnTo>
                  <a:pt x="243" y="154"/>
                </a:lnTo>
                <a:lnTo>
                  <a:pt x="243" y="154"/>
                </a:lnTo>
                <a:lnTo>
                  <a:pt x="243" y="154"/>
                </a:lnTo>
                <a:lnTo>
                  <a:pt x="243" y="154"/>
                </a:lnTo>
                <a:lnTo>
                  <a:pt x="243" y="154"/>
                </a:lnTo>
                <a:lnTo>
                  <a:pt x="243" y="154"/>
                </a:lnTo>
                <a:lnTo>
                  <a:pt x="243" y="160"/>
                </a:lnTo>
                <a:lnTo>
                  <a:pt x="243" y="160"/>
                </a:lnTo>
                <a:lnTo>
                  <a:pt x="243" y="160"/>
                </a:lnTo>
                <a:lnTo>
                  <a:pt x="243" y="160"/>
                </a:lnTo>
                <a:lnTo>
                  <a:pt x="243" y="160"/>
                </a:lnTo>
                <a:lnTo>
                  <a:pt x="237" y="166"/>
                </a:lnTo>
                <a:lnTo>
                  <a:pt x="237" y="166"/>
                </a:lnTo>
                <a:lnTo>
                  <a:pt x="237" y="172"/>
                </a:lnTo>
                <a:lnTo>
                  <a:pt x="237" y="172"/>
                </a:lnTo>
                <a:lnTo>
                  <a:pt x="237" y="172"/>
                </a:lnTo>
                <a:lnTo>
                  <a:pt x="231" y="178"/>
                </a:lnTo>
                <a:lnTo>
                  <a:pt x="231" y="178"/>
                </a:lnTo>
                <a:lnTo>
                  <a:pt x="231" y="178"/>
                </a:lnTo>
                <a:lnTo>
                  <a:pt x="231" y="178"/>
                </a:lnTo>
                <a:lnTo>
                  <a:pt x="231" y="178"/>
                </a:lnTo>
                <a:lnTo>
                  <a:pt x="231" y="184"/>
                </a:lnTo>
                <a:lnTo>
                  <a:pt x="231" y="184"/>
                </a:lnTo>
                <a:lnTo>
                  <a:pt x="231" y="184"/>
                </a:lnTo>
                <a:lnTo>
                  <a:pt x="237" y="184"/>
                </a:lnTo>
                <a:lnTo>
                  <a:pt x="237" y="190"/>
                </a:lnTo>
                <a:lnTo>
                  <a:pt x="237" y="190"/>
                </a:lnTo>
                <a:lnTo>
                  <a:pt x="237" y="190"/>
                </a:lnTo>
                <a:lnTo>
                  <a:pt x="237" y="190"/>
                </a:lnTo>
                <a:lnTo>
                  <a:pt x="231" y="196"/>
                </a:lnTo>
                <a:lnTo>
                  <a:pt x="231" y="196"/>
                </a:lnTo>
                <a:lnTo>
                  <a:pt x="231" y="196"/>
                </a:lnTo>
                <a:lnTo>
                  <a:pt x="231" y="196"/>
                </a:lnTo>
                <a:lnTo>
                  <a:pt x="231" y="196"/>
                </a:lnTo>
                <a:lnTo>
                  <a:pt x="231" y="196"/>
                </a:lnTo>
                <a:lnTo>
                  <a:pt x="231" y="196"/>
                </a:lnTo>
                <a:lnTo>
                  <a:pt x="231" y="202"/>
                </a:lnTo>
                <a:lnTo>
                  <a:pt x="231" y="202"/>
                </a:lnTo>
                <a:lnTo>
                  <a:pt x="231" y="202"/>
                </a:lnTo>
                <a:lnTo>
                  <a:pt x="231" y="202"/>
                </a:lnTo>
                <a:lnTo>
                  <a:pt x="231" y="202"/>
                </a:lnTo>
                <a:lnTo>
                  <a:pt x="237" y="202"/>
                </a:lnTo>
                <a:lnTo>
                  <a:pt x="237" y="208"/>
                </a:lnTo>
                <a:lnTo>
                  <a:pt x="237" y="208"/>
                </a:lnTo>
                <a:lnTo>
                  <a:pt x="237" y="208"/>
                </a:lnTo>
                <a:lnTo>
                  <a:pt x="237" y="208"/>
                </a:lnTo>
                <a:lnTo>
                  <a:pt x="237" y="208"/>
                </a:lnTo>
                <a:lnTo>
                  <a:pt x="237" y="214"/>
                </a:lnTo>
                <a:lnTo>
                  <a:pt x="237" y="214"/>
                </a:lnTo>
                <a:lnTo>
                  <a:pt x="237" y="214"/>
                </a:lnTo>
                <a:lnTo>
                  <a:pt x="237" y="208"/>
                </a:lnTo>
                <a:lnTo>
                  <a:pt x="237" y="208"/>
                </a:lnTo>
                <a:lnTo>
                  <a:pt x="237" y="208"/>
                </a:lnTo>
                <a:lnTo>
                  <a:pt x="237" y="208"/>
                </a:lnTo>
                <a:lnTo>
                  <a:pt x="231" y="208"/>
                </a:lnTo>
                <a:lnTo>
                  <a:pt x="231" y="214"/>
                </a:lnTo>
                <a:lnTo>
                  <a:pt x="231" y="214"/>
                </a:lnTo>
                <a:lnTo>
                  <a:pt x="231" y="214"/>
                </a:lnTo>
                <a:lnTo>
                  <a:pt x="231" y="214"/>
                </a:lnTo>
                <a:lnTo>
                  <a:pt x="237" y="219"/>
                </a:lnTo>
                <a:lnTo>
                  <a:pt x="237" y="219"/>
                </a:lnTo>
                <a:lnTo>
                  <a:pt x="237" y="219"/>
                </a:lnTo>
                <a:lnTo>
                  <a:pt x="237" y="225"/>
                </a:lnTo>
                <a:lnTo>
                  <a:pt x="237" y="225"/>
                </a:lnTo>
                <a:lnTo>
                  <a:pt x="237" y="231"/>
                </a:lnTo>
                <a:lnTo>
                  <a:pt x="237" y="231"/>
                </a:lnTo>
                <a:lnTo>
                  <a:pt x="237" y="231"/>
                </a:lnTo>
                <a:lnTo>
                  <a:pt x="243" y="237"/>
                </a:lnTo>
                <a:lnTo>
                  <a:pt x="243" y="237"/>
                </a:lnTo>
                <a:lnTo>
                  <a:pt x="243" y="243"/>
                </a:lnTo>
                <a:lnTo>
                  <a:pt x="243" y="243"/>
                </a:lnTo>
                <a:lnTo>
                  <a:pt x="243" y="243"/>
                </a:lnTo>
                <a:lnTo>
                  <a:pt x="243" y="243"/>
                </a:lnTo>
                <a:lnTo>
                  <a:pt x="243" y="243"/>
                </a:lnTo>
                <a:lnTo>
                  <a:pt x="237" y="243"/>
                </a:lnTo>
                <a:lnTo>
                  <a:pt x="237" y="243"/>
                </a:lnTo>
                <a:lnTo>
                  <a:pt x="237" y="249"/>
                </a:lnTo>
                <a:lnTo>
                  <a:pt x="231" y="249"/>
                </a:lnTo>
                <a:lnTo>
                  <a:pt x="231" y="249"/>
                </a:lnTo>
                <a:lnTo>
                  <a:pt x="231" y="249"/>
                </a:lnTo>
                <a:lnTo>
                  <a:pt x="231" y="249"/>
                </a:lnTo>
                <a:lnTo>
                  <a:pt x="231" y="249"/>
                </a:lnTo>
                <a:lnTo>
                  <a:pt x="231" y="249"/>
                </a:lnTo>
                <a:lnTo>
                  <a:pt x="231" y="249"/>
                </a:lnTo>
                <a:lnTo>
                  <a:pt x="231" y="255"/>
                </a:lnTo>
                <a:lnTo>
                  <a:pt x="231" y="255"/>
                </a:lnTo>
                <a:lnTo>
                  <a:pt x="231" y="255"/>
                </a:lnTo>
                <a:lnTo>
                  <a:pt x="231" y="255"/>
                </a:lnTo>
                <a:lnTo>
                  <a:pt x="231" y="255"/>
                </a:lnTo>
                <a:lnTo>
                  <a:pt x="231" y="255"/>
                </a:lnTo>
                <a:lnTo>
                  <a:pt x="231" y="255"/>
                </a:lnTo>
                <a:lnTo>
                  <a:pt x="225" y="255"/>
                </a:lnTo>
                <a:lnTo>
                  <a:pt x="219" y="249"/>
                </a:lnTo>
                <a:lnTo>
                  <a:pt x="219" y="249"/>
                </a:lnTo>
                <a:lnTo>
                  <a:pt x="219" y="255"/>
                </a:lnTo>
                <a:lnTo>
                  <a:pt x="219" y="261"/>
                </a:lnTo>
                <a:lnTo>
                  <a:pt x="219" y="261"/>
                </a:lnTo>
                <a:lnTo>
                  <a:pt x="219" y="267"/>
                </a:lnTo>
                <a:lnTo>
                  <a:pt x="213" y="273"/>
                </a:lnTo>
                <a:lnTo>
                  <a:pt x="207" y="279"/>
                </a:lnTo>
                <a:lnTo>
                  <a:pt x="207" y="279"/>
                </a:lnTo>
                <a:lnTo>
                  <a:pt x="207" y="279"/>
                </a:lnTo>
                <a:lnTo>
                  <a:pt x="201" y="285"/>
                </a:lnTo>
                <a:lnTo>
                  <a:pt x="201" y="285"/>
                </a:lnTo>
                <a:lnTo>
                  <a:pt x="201" y="279"/>
                </a:lnTo>
                <a:lnTo>
                  <a:pt x="201" y="279"/>
                </a:lnTo>
                <a:lnTo>
                  <a:pt x="201" y="279"/>
                </a:lnTo>
                <a:lnTo>
                  <a:pt x="195" y="279"/>
                </a:lnTo>
                <a:lnTo>
                  <a:pt x="195" y="279"/>
                </a:lnTo>
                <a:lnTo>
                  <a:pt x="195" y="279"/>
                </a:lnTo>
                <a:lnTo>
                  <a:pt x="195" y="273"/>
                </a:lnTo>
                <a:lnTo>
                  <a:pt x="195" y="273"/>
                </a:lnTo>
                <a:lnTo>
                  <a:pt x="195" y="273"/>
                </a:lnTo>
                <a:lnTo>
                  <a:pt x="190" y="273"/>
                </a:lnTo>
                <a:lnTo>
                  <a:pt x="190" y="273"/>
                </a:lnTo>
                <a:lnTo>
                  <a:pt x="190" y="273"/>
                </a:lnTo>
                <a:lnTo>
                  <a:pt x="190" y="273"/>
                </a:lnTo>
                <a:lnTo>
                  <a:pt x="190" y="273"/>
                </a:lnTo>
                <a:lnTo>
                  <a:pt x="190" y="273"/>
                </a:lnTo>
                <a:lnTo>
                  <a:pt x="190" y="273"/>
                </a:lnTo>
                <a:lnTo>
                  <a:pt x="190" y="279"/>
                </a:lnTo>
                <a:lnTo>
                  <a:pt x="190" y="279"/>
                </a:lnTo>
                <a:lnTo>
                  <a:pt x="190" y="279"/>
                </a:lnTo>
                <a:lnTo>
                  <a:pt x="190" y="273"/>
                </a:lnTo>
                <a:lnTo>
                  <a:pt x="190" y="273"/>
                </a:lnTo>
                <a:lnTo>
                  <a:pt x="190" y="273"/>
                </a:lnTo>
                <a:lnTo>
                  <a:pt x="190" y="273"/>
                </a:lnTo>
                <a:lnTo>
                  <a:pt x="190" y="273"/>
                </a:lnTo>
                <a:lnTo>
                  <a:pt x="184" y="273"/>
                </a:lnTo>
                <a:lnTo>
                  <a:pt x="184" y="279"/>
                </a:lnTo>
                <a:lnTo>
                  <a:pt x="184" y="279"/>
                </a:lnTo>
                <a:lnTo>
                  <a:pt x="184" y="279"/>
                </a:lnTo>
                <a:lnTo>
                  <a:pt x="184" y="279"/>
                </a:lnTo>
                <a:lnTo>
                  <a:pt x="184" y="285"/>
                </a:lnTo>
                <a:lnTo>
                  <a:pt x="184" y="285"/>
                </a:lnTo>
                <a:lnTo>
                  <a:pt x="184" y="285"/>
                </a:lnTo>
                <a:lnTo>
                  <a:pt x="184" y="285"/>
                </a:lnTo>
                <a:lnTo>
                  <a:pt x="184" y="285"/>
                </a:lnTo>
                <a:lnTo>
                  <a:pt x="184" y="285"/>
                </a:lnTo>
                <a:lnTo>
                  <a:pt x="184" y="285"/>
                </a:lnTo>
                <a:lnTo>
                  <a:pt x="184" y="291"/>
                </a:lnTo>
                <a:lnTo>
                  <a:pt x="184" y="291"/>
                </a:lnTo>
                <a:lnTo>
                  <a:pt x="184" y="285"/>
                </a:lnTo>
                <a:lnTo>
                  <a:pt x="184" y="285"/>
                </a:lnTo>
                <a:lnTo>
                  <a:pt x="184" y="285"/>
                </a:lnTo>
                <a:lnTo>
                  <a:pt x="184" y="285"/>
                </a:lnTo>
                <a:lnTo>
                  <a:pt x="178" y="285"/>
                </a:lnTo>
                <a:lnTo>
                  <a:pt x="178" y="285"/>
                </a:lnTo>
                <a:lnTo>
                  <a:pt x="184" y="279"/>
                </a:lnTo>
                <a:lnTo>
                  <a:pt x="184" y="279"/>
                </a:lnTo>
                <a:lnTo>
                  <a:pt x="184" y="279"/>
                </a:lnTo>
                <a:lnTo>
                  <a:pt x="178" y="279"/>
                </a:lnTo>
                <a:lnTo>
                  <a:pt x="178" y="279"/>
                </a:lnTo>
                <a:lnTo>
                  <a:pt x="178" y="279"/>
                </a:lnTo>
                <a:lnTo>
                  <a:pt x="178" y="285"/>
                </a:lnTo>
                <a:lnTo>
                  <a:pt x="178" y="285"/>
                </a:lnTo>
                <a:lnTo>
                  <a:pt x="172" y="285"/>
                </a:lnTo>
                <a:lnTo>
                  <a:pt x="172" y="285"/>
                </a:lnTo>
                <a:lnTo>
                  <a:pt x="178" y="279"/>
                </a:lnTo>
                <a:lnTo>
                  <a:pt x="178" y="273"/>
                </a:lnTo>
                <a:lnTo>
                  <a:pt x="178" y="267"/>
                </a:lnTo>
                <a:lnTo>
                  <a:pt x="178" y="267"/>
                </a:lnTo>
                <a:lnTo>
                  <a:pt x="178" y="273"/>
                </a:lnTo>
                <a:lnTo>
                  <a:pt x="178" y="273"/>
                </a:lnTo>
                <a:lnTo>
                  <a:pt x="178" y="273"/>
                </a:lnTo>
                <a:lnTo>
                  <a:pt x="178" y="273"/>
                </a:lnTo>
                <a:lnTo>
                  <a:pt x="178" y="273"/>
                </a:lnTo>
                <a:lnTo>
                  <a:pt x="166" y="279"/>
                </a:lnTo>
                <a:lnTo>
                  <a:pt x="166" y="279"/>
                </a:lnTo>
                <a:lnTo>
                  <a:pt x="166" y="279"/>
                </a:lnTo>
                <a:lnTo>
                  <a:pt x="166" y="279"/>
                </a:lnTo>
                <a:lnTo>
                  <a:pt x="172" y="279"/>
                </a:lnTo>
                <a:lnTo>
                  <a:pt x="172" y="279"/>
                </a:lnTo>
                <a:lnTo>
                  <a:pt x="172" y="279"/>
                </a:lnTo>
                <a:lnTo>
                  <a:pt x="172" y="279"/>
                </a:lnTo>
                <a:lnTo>
                  <a:pt x="172" y="279"/>
                </a:lnTo>
                <a:lnTo>
                  <a:pt x="172" y="273"/>
                </a:lnTo>
                <a:lnTo>
                  <a:pt x="172" y="273"/>
                </a:lnTo>
                <a:lnTo>
                  <a:pt x="172" y="273"/>
                </a:lnTo>
                <a:lnTo>
                  <a:pt x="172" y="273"/>
                </a:lnTo>
                <a:lnTo>
                  <a:pt x="166" y="273"/>
                </a:lnTo>
                <a:lnTo>
                  <a:pt x="166" y="279"/>
                </a:lnTo>
                <a:lnTo>
                  <a:pt x="166" y="279"/>
                </a:lnTo>
                <a:lnTo>
                  <a:pt x="166" y="273"/>
                </a:lnTo>
                <a:lnTo>
                  <a:pt x="166" y="273"/>
                </a:lnTo>
                <a:lnTo>
                  <a:pt x="172" y="273"/>
                </a:lnTo>
                <a:lnTo>
                  <a:pt x="172" y="273"/>
                </a:lnTo>
                <a:lnTo>
                  <a:pt x="172" y="273"/>
                </a:lnTo>
                <a:lnTo>
                  <a:pt x="178" y="273"/>
                </a:lnTo>
                <a:lnTo>
                  <a:pt x="178" y="267"/>
                </a:lnTo>
                <a:lnTo>
                  <a:pt x="178" y="267"/>
                </a:lnTo>
                <a:lnTo>
                  <a:pt x="178" y="267"/>
                </a:lnTo>
                <a:lnTo>
                  <a:pt x="184" y="255"/>
                </a:lnTo>
                <a:lnTo>
                  <a:pt x="184" y="255"/>
                </a:lnTo>
                <a:lnTo>
                  <a:pt x="184" y="255"/>
                </a:lnTo>
                <a:lnTo>
                  <a:pt x="184" y="255"/>
                </a:lnTo>
                <a:lnTo>
                  <a:pt x="184" y="255"/>
                </a:lnTo>
                <a:lnTo>
                  <a:pt x="190" y="249"/>
                </a:lnTo>
                <a:lnTo>
                  <a:pt x="190" y="249"/>
                </a:lnTo>
                <a:lnTo>
                  <a:pt x="190" y="249"/>
                </a:lnTo>
                <a:lnTo>
                  <a:pt x="190" y="249"/>
                </a:lnTo>
                <a:lnTo>
                  <a:pt x="190" y="237"/>
                </a:lnTo>
                <a:lnTo>
                  <a:pt x="195" y="237"/>
                </a:lnTo>
                <a:lnTo>
                  <a:pt x="190" y="237"/>
                </a:lnTo>
                <a:lnTo>
                  <a:pt x="190" y="237"/>
                </a:lnTo>
                <a:lnTo>
                  <a:pt x="195" y="237"/>
                </a:lnTo>
                <a:lnTo>
                  <a:pt x="195" y="243"/>
                </a:lnTo>
                <a:lnTo>
                  <a:pt x="195" y="243"/>
                </a:lnTo>
                <a:lnTo>
                  <a:pt x="195" y="243"/>
                </a:lnTo>
                <a:lnTo>
                  <a:pt x="195" y="243"/>
                </a:lnTo>
                <a:lnTo>
                  <a:pt x="195" y="243"/>
                </a:lnTo>
                <a:lnTo>
                  <a:pt x="195" y="249"/>
                </a:lnTo>
                <a:lnTo>
                  <a:pt x="195" y="249"/>
                </a:lnTo>
                <a:lnTo>
                  <a:pt x="195" y="255"/>
                </a:lnTo>
                <a:lnTo>
                  <a:pt x="190" y="255"/>
                </a:lnTo>
                <a:lnTo>
                  <a:pt x="190" y="255"/>
                </a:lnTo>
                <a:lnTo>
                  <a:pt x="190" y="261"/>
                </a:lnTo>
                <a:lnTo>
                  <a:pt x="190" y="261"/>
                </a:lnTo>
                <a:lnTo>
                  <a:pt x="195" y="267"/>
                </a:lnTo>
                <a:lnTo>
                  <a:pt x="195" y="267"/>
                </a:lnTo>
                <a:lnTo>
                  <a:pt x="195" y="273"/>
                </a:lnTo>
                <a:lnTo>
                  <a:pt x="201" y="267"/>
                </a:lnTo>
                <a:lnTo>
                  <a:pt x="201" y="267"/>
                </a:lnTo>
                <a:lnTo>
                  <a:pt x="201" y="267"/>
                </a:lnTo>
                <a:lnTo>
                  <a:pt x="201" y="267"/>
                </a:lnTo>
                <a:lnTo>
                  <a:pt x="201" y="267"/>
                </a:lnTo>
                <a:lnTo>
                  <a:pt x="201" y="267"/>
                </a:lnTo>
                <a:lnTo>
                  <a:pt x="201" y="261"/>
                </a:lnTo>
                <a:lnTo>
                  <a:pt x="201" y="261"/>
                </a:lnTo>
                <a:lnTo>
                  <a:pt x="201" y="261"/>
                </a:lnTo>
                <a:lnTo>
                  <a:pt x="201" y="261"/>
                </a:lnTo>
                <a:lnTo>
                  <a:pt x="201" y="261"/>
                </a:lnTo>
                <a:lnTo>
                  <a:pt x="201" y="261"/>
                </a:lnTo>
                <a:lnTo>
                  <a:pt x="201" y="261"/>
                </a:lnTo>
                <a:lnTo>
                  <a:pt x="201" y="261"/>
                </a:lnTo>
                <a:lnTo>
                  <a:pt x="201" y="261"/>
                </a:lnTo>
                <a:lnTo>
                  <a:pt x="201" y="261"/>
                </a:lnTo>
                <a:lnTo>
                  <a:pt x="201" y="255"/>
                </a:lnTo>
                <a:lnTo>
                  <a:pt x="195" y="255"/>
                </a:lnTo>
                <a:lnTo>
                  <a:pt x="201" y="255"/>
                </a:lnTo>
                <a:lnTo>
                  <a:pt x="201" y="255"/>
                </a:lnTo>
                <a:lnTo>
                  <a:pt x="201" y="249"/>
                </a:lnTo>
                <a:lnTo>
                  <a:pt x="201" y="249"/>
                </a:lnTo>
                <a:lnTo>
                  <a:pt x="201" y="249"/>
                </a:lnTo>
                <a:lnTo>
                  <a:pt x="201" y="249"/>
                </a:lnTo>
                <a:lnTo>
                  <a:pt x="201" y="249"/>
                </a:lnTo>
                <a:lnTo>
                  <a:pt x="201" y="249"/>
                </a:lnTo>
                <a:lnTo>
                  <a:pt x="201" y="249"/>
                </a:lnTo>
                <a:lnTo>
                  <a:pt x="201" y="243"/>
                </a:lnTo>
                <a:lnTo>
                  <a:pt x="201" y="243"/>
                </a:lnTo>
                <a:lnTo>
                  <a:pt x="201" y="243"/>
                </a:lnTo>
                <a:lnTo>
                  <a:pt x="201" y="243"/>
                </a:lnTo>
                <a:lnTo>
                  <a:pt x="201" y="243"/>
                </a:lnTo>
                <a:lnTo>
                  <a:pt x="207" y="243"/>
                </a:lnTo>
                <a:lnTo>
                  <a:pt x="207" y="237"/>
                </a:lnTo>
                <a:lnTo>
                  <a:pt x="207" y="237"/>
                </a:lnTo>
                <a:lnTo>
                  <a:pt x="207" y="237"/>
                </a:lnTo>
                <a:lnTo>
                  <a:pt x="207" y="237"/>
                </a:lnTo>
                <a:lnTo>
                  <a:pt x="213" y="237"/>
                </a:lnTo>
                <a:lnTo>
                  <a:pt x="213" y="243"/>
                </a:lnTo>
                <a:lnTo>
                  <a:pt x="207" y="243"/>
                </a:lnTo>
                <a:lnTo>
                  <a:pt x="207" y="243"/>
                </a:lnTo>
                <a:lnTo>
                  <a:pt x="207" y="243"/>
                </a:lnTo>
                <a:lnTo>
                  <a:pt x="207" y="249"/>
                </a:lnTo>
                <a:lnTo>
                  <a:pt x="207" y="249"/>
                </a:lnTo>
                <a:lnTo>
                  <a:pt x="207" y="249"/>
                </a:lnTo>
                <a:lnTo>
                  <a:pt x="207" y="249"/>
                </a:lnTo>
                <a:lnTo>
                  <a:pt x="207" y="249"/>
                </a:lnTo>
                <a:lnTo>
                  <a:pt x="207" y="249"/>
                </a:lnTo>
                <a:lnTo>
                  <a:pt x="207" y="255"/>
                </a:lnTo>
                <a:lnTo>
                  <a:pt x="213" y="255"/>
                </a:lnTo>
                <a:lnTo>
                  <a:pt x="219" y="255"/>
                </a:lnTo>
                <a:lnTo>
                  <a:pt x="219" y="255"/>
                </a:lnTo>
                <a:lnTo>
                  <a:pt x="219" y="255"/>
                </a:lnTo>
                <a:lnTo>
                  <a:pt x="219" y="249"/>
                </a:lnTo>
                <a:lnTo>
                  <a:pt x="213" y="243"/>
                </a:lnTo>
                <a:lnTo>
                  <a:pt x="219" y="243"/>
                </a:lnTo>
                <a:lnTo>
                  <a:pt x="219" y="243"/>
                </a:lnTo>
                <a:lnTo>
                  <a:pt x="219" y="243"/>
                </a:lnTo>
                <a:lnTo>
                  <a:pt x="219" y="243"/>
                </a:lnTo>
                <a:lnTo>
                  <a:pt x="219" y="243"/>
                </a:lnTo>
                <a:lnTo>
                  <a:pt x="219" y="237"/>
                </a:lnTo>
                <a:lnTo>
                  <a:pt x="219" y="237"/>
                </a:lnTo>
                <a:lnTo>
                  <a:pt x="219" y="237"/>
                </a:lnTo>
                <a:lnTo>
                  <a:pt x="219" y="231"/>
                </a:lnTo>
                <a:lnTo>
                  <a:pt x="219" y="231"/>
                </a:lnTo>
                <a:lnTo>
                  <a:pt x="219" y="225"/>
                </a:lnTo>
                <a:lnTo>
                  <a:pt x="219" y="225"/>
                </a:lnTo>
                <a:lnTo>
                  <a:pt x="225" y="219"/>
                </a:lnTo>
                <a:lnTo>
                  <a:pt x="225" y="219"/>
                </a:lnTo>
                <a:lnTo>
                  <a:pt x="225" y="219"/>
                </a:lnTo>
                <a:lnTo>
                  <a:pt x="219" y="219"/>
                </a:lnTo>
                <a:lnTo>
                  <a:pt x="219" y="214"/>
                </a:lnTo>
                <a:lnTo>
                  <a:pt x="219" y="214"/>
                </a:lnTo>
                <a:lnTo>
                  <a:pt x="219" y="208"/>
                </a:lnTo>
                <a:lnTo>
                  <a:pt x="213" y="214"/>
                </a:lnTo>
                <a:lnTo>
                  <a:pt x="213" y="214"/>
                </a:lnTo>
                <a:lnTo>
                  <a:pt x="213" y="214"/>
                </a:lnTo>
                <a:lnTo>
                  <a:pt x="207" y="219"/>
                </a:lnTo>
                <a:lnTo>
                  <a:pt x="207" y="219"/>
                </a:lnTo>
                <a:lnTo>
                  <a:pt x="207" y="214"/>
                </a:lnTo>
                <a:lnTo>
                  <a:pt x="207" y="214"/>
                </a:lnTo>
                <a:lnTo>
                  <a:pt x="207" y="214"/>
                </a:lnTo>
                <a:lnTo>
                  <a:pt x="207" y="214"/>
                </a:lnTo>
                <a:lnTo>
                  <a:pt x="207" y="214"/>
                </a:lnTo>
                <a:lnTo>
                  <a:pt x="207" y="214"/>
                </a:lnTo>
                <a:lnTo>
                  <a:pt x="207" y="214"/>
                </a:lnTo>
                <a:lnTo>
                  <a:pt x="207" y="214"/>
                </a:lnTo>
                <a:lnTo>
                  <a:pt x="207" y="214"/>
                </a:lnTo>
                <a:lnTo>
                  <a:pt x="207" y="214"/>
                </a:lnTo>
                <a:lnTo>
                  <a:pt x="207" y="208"/>
                </a:lnTo>
                <a:lnTo>
                  <a:pt x="207" y="208"/>
                </a:lnTo>
                <a:lnTo>
                  <a:pt x="207" y="208"/>
                </a:lnTo>
                <a:lnTo>
                  <a:pt x="201" y="208"/>
                </a:lnTo>
                <a:lnTo>
                  <a:pt x="201" y="202"/>
                </a:lnTo>
                <a:lnTo>
                  <a:pt x="201" y="202"/>
                </a:lnTo>
                <a:lnTo>
                  <a:pt x="207" y="202"/>
                </a:lnTo>
                <a:lnTo>
                  <a:pt x="207" y="202"/>
                </a:lnTo>
                <a:lnTo>
                  <a:pt x="207" y="208"/>
                </a:lnTo>
                <a:lnTo>
                  <a:pt x="213" y="214"/>
                </a:lnTo>
                <a:lnTo>
                  <a:pt x="213" y="208"/>
                </a:lnTo>
                <a:lnTo>
                  <a:pt x="213" y="208"/>
                </a:lnTo>
                <a:lnTo>
                  <a:pt x="213" y="208"/>
                </a:lnTo>
                <a:lnTo>
                  <a:pt x="213" y="208"/>
                </a:lnTo>
                <a:lnTo>
                  <a:pt x="213" y="202"/>
                </a:lnTo>
                <a:lnTo>
                  <a:pt x="213" y="196"/>
                </a:lnTo>
                <a:lnTo>
                  <a:pt x="213" y="196"/>
                </a:lnTo>
                <a:lnTo>
                  <a:pt x="207" y="190"/>
                </a:lnTo>
                <a:lnTo>
                  <a:pt x="207" y="190"/>
                </a:lnTo>
                <a:lnTo>
                  <a:pt x="207" y="190"/>
                </a:lnTo>
                <a:lnTo>
                  <a:pt x="207" y="190"/>
                </a:lnTo>
                <a:lnTo>
                  <a:pt x="207" y="190"/>
                </a:lnTo>
                <a:lnTo>
                  <a:pt x="207" y="190"/>
                </a:lnTo>
                <a:lnTo>
                  <a:pt x="207" y="190"/>
                </a:lnTo>
                <a:lnTo>
                  <a:pt x="207" y="190"/>
                </a:lnTo>
                <a:lnTo>
                  <a:pt x="207" y="190"/>
                </a:lnTo>
                <a:lnTo>
                  <a:pt x="207" y="190"/>
                </a:lnTo>
                <a:lnTo>
                  <a:pt x="213" y="196"/>
                </a:lnTo>
                <a:lnTo>
                  <a:pt x="213" y="190"/>
                </a:lnTo>
                <a:lnTo>
                  <a:pt x="219" y="190"/>
                </a:lnTo>
                <a:lnTo>
                  <a:pt x="219" y="190"/>
                </a:lnTo>
                <a:lnTo>
                  <a:pt x="219" y="190"/>
                </a:lnTo>
                <a:lnTo>
                  <a:pt x="219" y="190"/>
                </a:lnTo>
                <a:lnTo>
                  <a:pt x="219" y="184"/>
                </a:lnTo>
                <a:lnTo>
                  <a:pt x="219" y="184"/>
                </a:lnTo>
                <a:lnTo>
                  <a:pt x="225" y="190"/>
                </a:lnTo>
                <a:lnTo>
                  <a:pt x="225" y="190"/>
                </a:lnTo>
                <a:lnTo>
                  <a:pt x="225" y="190"/>
                </a:lnTo>
                <a:lnTo>
                  <a:pt x="225" y="184"/>
                </a:lnTo>
                <a:lnTo>
                  <a:pt x="225" y="184"/>
                </a:lnTo>
                <a:lnTo>
                  <a:pt x="225" y="184"/>
                </a:lnTo>
                <a:lnTo>
                  <a:pt x="225" y="184"/>
                </a:lnTo>
                <a:lnTo>
                  <a:pt x="225" y="184"/>
                </a:lnTo>
                <a:lnTo>
                  <a:pt x="225" y="184"/>
                </a:lnTo>
                <a:lnTo>
                  <a:pt x="225" y="184"/>
                </a:lnTo>
                <a:lnTo>
                  <a:pt x="225" y="184"/>
                </a:lnTo>
                <a:lnTo>
                  <a:pt x="225" y="184"/>
                </a:lnTo>
                <a:lnTo>
                  <a:pt x="225" y="184"/>
                </a:lnTo>
                <a:lnTo>
                  <a:pt x="225" y="178"/>
                </a:lnTo>
                <a:lnTo>
                  <a:pt x="225" y="178"/>
                </a:lnTo>
                <a:lnTo>
                  <a:pt x="225" y="178"/>
                </a:lnTo>
                <a:lnTo>
                  <a:pt x="225" y="178"/>
                </a:lnTo>
                <a:lnTo>
                  <a:pt x="225" y="178"/>
                </a:lnTo>
                <a:lnTo>
                  <a:pt x="225" y="172"/>
                </a:lnTo>
                <a:lnTo>
                  <a:pt x="225" y="172"/>
                </a:lnTo>
                <a:lnTo>
                  <a:pt x="225" y="172"/>
                </a:lnTo>
                <a:lnTo>
                  <a:pt x="225" y="172"/>
                </a:lnTo>
                <a:lnTo>
                  <a:pt x="219" y="166"/>
                </a:lnTo>
                <a:lnTo>
                  <a:pt x="219" y="166"/>
                </a:lnTo>
                <a:lnTo>
                  <a:pt x="219" y="160"/>
                </a:lnTo>
                <a:lnTo>
                  <a:pt x="219" y="160"/>
                </a:lnTo>
                <a:lnTo>
                  <a:pt x="219" y="160"/>
                </a:lnTo>
                <a:lnTo>
                  <a:pt x="213" y="154"/>
                </a:lnTo>
                <a:lnTo>
                  <a:pt x="213" y="160"/>
                </a:lnTo>
                <a:lnTo>
                  <a:pt x="213" y="160"/>
                </a:lnTo>
                <a:lnTo>
                  <a:pt x="213" y="160"/>
                </a:lnTo>
                <a:lnTo>
                  <a:pt x="219" y="172"/>
                </a:lnTo>
                <a:lnTo>
                  <a:pt x="219" y="172"/>
                </a:lnTo>
                <a:lnTo>
                  <a:pt x="219" y="172"/>
                </a:lnTo>
                <a:lnTo>
                  <a:pt x="219" y="172"/>
                </a:lnTo>
                <a:lnTo>
                  <a:pt x="213" y="172"/>
                </a:lnTo>
                <a:lnTo>
                  <a:pt x="213" y="172"/>
                </a:lnTo>
                <a:lnTo>
                  <a:pt x="213" y="172"/>
                </a:lnTo>
                <a:lnTo>
                  <a:pt x="213" y="172"/>
                </a:lnTo>
                <a:lnTo>
                  <a:pt x="213" y="172"/>
                </a:lnTo>
                <a:lnTo>
                  <a:pt x="213" y="172"/>
                </a:lnTo>
                <a:lnTo>
                  <a:pt x="213" y="172"/>
                </a:lnTo>
                <a:lnTo>
                  <a:pt x="213" y="172"/>
                </a:lnTo>
                <a:lnTo>
                  <a:pt x="207" y="172"/>
                </a:lnTo>
                <a:lnTo>
                  <a:pt x="201" y="184"/>
                </a:lnTo>
                <a:lnTo>
                  <a:pt x="201" y="190"/>
                </a:lnTo>
                <a:lnTo>
                  <a:pt x="201" y="190"/>
                </a:lnTo>
                <a:lnTo>
                  <a:pt x="195" y="196"/>
                </a:lnTo>
                <a:lnTo>
                  <a:pt x="195" y="196"/>
                </a:lnTo>
                <a:lnTo>
                  <a:pt x="195" y="196"/>
                </a:lnTo>
                <a:lnTo>
                  <a:pt x="195" y="202"/>
                </a:lnTo>
                <a:lnTo>
                  <a:pt x="184" y="202"/>
                </a:lnTo>
                <a:lnTo>
                  <a:pt x="178" y="208"/>
                </a:lnTo>
                <a:lnTo>
                  <a:pt x="178" y="208"/>
                </a:lnTo>
                <a:lnTo>
                  <a:pt x="172" y="219"/>
                </a:lnTo>
                <a:lnTo>
                  <a:pt x="166" y="231"/>
                </a:lnTo>
                <a:lnTo>
                  <a:pt x="166" y="231"/>
                </a:lnTo>
                <a:lnTo>
                  <a:pt x="166" y="231"/>
                </a:lnTo>
                <a:lnTo>
                  <a:pt x="166" y="231"/>
                </a:lnTo>
                <a:lnTo>
                  <a:pt x="166" y="237"/>
                </a:lnTo>
                <a:lnTo>
                  <a:pt x="160" y="237"/>
                </a:lnTo>
                <a:lnTo>
                  <a:pt x="160" y="237"/>
                </a:lnTo>
                <a:lnTo>
                  <a:pt x="160" y="237"/>
                </a:lnTo>
                <a:lnTo>
                  <a:pt x="166" y="243"/>
                </a:lnTo>
                <a:lnTo>
                  <a:pt x="166" y="243"/>
                </a:lnTo>
                <a:lnTo>
                  <a:pt x="178" y="237"/>
                </a:lnTo>
                <a:lnTo>
                  <a:pt x="184" y="231"/>
                </a:lnTo>
                <a:lnTo>
                  <a:pt x="190" y="231"/>
                </a:lnTo>
                <a:lnTo>
                  <a:pt x="190" y="231"/>
                </a:lnTo>
                <a:lnTo>
                  <a:pt x="190" y="231"/>
                </a:lnTo>
                <a:lnTo>
                  <a:pt x="184" y="237"/>
                </a:lnTo>
                <a:lnTo>
                  <a:pt x="184" y="237"/>
                </a:lnTo>
                <a:lnTo>
                  <a:pt x="166" y="243"/>
                </a:lnTo>
                <a:lnTo>
                  <a:pt x="160" y="243"/>
                </a:lnTo>
                <a:lnTo>
                  <a:pt x="160" y="243"/>
                </a:lnTo>
                <a:lnTo>
                  <a:pt x="160" y="243"/>
                </a:lnTo>
                <a:lnTo>
                  <a:pt x="160" y="243"/>
                </a:lnTo>
                <a:lnTo>
                  <a:pt x="160" y="243"/>
                </a:lnTo>
                <a:lnTo>
                  <a:pt x="160" y="237"/>
                </a:lnTo>
                <a:lnTo>
                  <a:pt x="160" y="237"/>
                </a:lnTo>
                <a:lnTo>
                  <a:pt x="160" y="231"/>
                </a:lnTo>
                <a:lnTo>
                  <a:pt x="160" y="231"/>
                </a:lnTo>
                <a:lnTo>
                  <a:pt x="160" y="231"/>
                </a:lnTo>
                <a:lnTo>
                  <a:pt x="166" y="225"/>
                </a:lnTo>
                <a:lnTo>
                  <a:pt x="166" y="225"/>
                </a:lnTo>
                <a:lnTo>
                  <a:pt x="166" y="225"/>
                </a:lnTo>
                <a:lnTo>
                  <a:pt x="166" y="225"/>
                </a:lnTo>
                <a:lnTo>
                  <a:pt x="166" y="219"/>
                </a:lnTo>
                <a:lnTo>
                  <a:pt x="172" y="214"/>
                </a:lnTo>
                <a:lnTo>
                  <a:pt x="172" y="214"/>
                </a:lnTo>
                <a:lnTo>
                  <a:pt x="172" y="214"/>
                </a:lnTo>
                <a:lnTo>
                  <a:pt x="178" y="202"/>
                </a:lnTo>
                <a:lnTo>
                  <a:pt x="178" y="202"/>
                </a:lnTo>
                <a:lnTo>
                  <a:pt x="178" y="202"/>
                </a:lnTo>
                <a:lnTo>
                  <a:pt x="178" y="202"/>
                </a:lnTo>
                <a:lnTo>
                  <a:pt x="184" y="202"/>
                </a:lnTo>
                <a:lnTo>
                  <a:pt x="184" y="202"/>
                </a:lnTo>
                <a:lnTo>
                  <a:pt x="184" y="196"/>
                </a:lnTo>
                <a:lnTo>
                  <a:pt x="184" y="196"/>
                </a:lnTo>
                <a:lnTo>
                  <a:pt x="184" y="196"/>
                </a:lnTo>
                <a:lnTo>
                  <a:pt x="184" y="196"/>
                </a:lnTo>
                <a:lnTo>
                  <a:pt x="184" y="190"/>
                </a:lnTo>
                <a:lnTo>
                  <a:pt x="184" y="190"/>
                </a:lnTo>
                <a:lnTo>
                  <a:pt x="190" y="190"/>
                </a:lnTo>
                <a:lnTo>
                  <a:pt x="190" y="190"/>
                </a:lnTo>
                <a:lnTo>
                  <a:pt x="190" y="184"/>
                </a:lnTo>
                <a:lnTo>
                  <a:pt x="190" y="184"/>
                </a:lnTo>
                <a:lnTo>
                  <a:pt x="190" y="184"/>
                </a:lnTo>
                <a:lnTo>
                  <a:pt x="190" y="178"/>
                </a:lnTo>
                <a:lnTo>
                  <a:pt x="190" y="178"/>
                </a:lnTo>
                <a:lnTo>
                  <a:pt x="190" y="178"/>
                </a:lnTo>
                <a:lnTo>
                  <a:pt x="190" y="178"/>
                </a:lnTo>
                <a:lnTo>
                  <a:pt x="190" y="172"/>
                </a:lnTo>
                <a:lnTo>
                  <a:pt x="190" y="172"/>
                </a:lnTo>
                <a:lnTo>
                  <a:pt x="190" y="172"/>
                </a:lnTo>
                <a:lnTo>
                  <a:pt x="190" y="178"/>
                </a:lnTo>
                <a:lnTo>
                  <a:pt x="190" y="178"/>
                </a:lnTo>
                <a:lnTo>
                  <a:pt x="190" y="178"/>
                </a:lnTo>
                <a:lnTo>
                  <a:pt x="190" y="178"/>
                </a:lnTo>
                <a:lnTo>
                  <a:pt x="190" y="178"/>
                </a:lnTo>
                <a:lnTo>
                  <a:pt x="190" y="172"/>
                </a:lnTo>
                <a:lnTo>
                  <a:pt x="195" y="172"/>
                </a:lnTo>
                <a:lnTo>
                  <a:pt x="195" y="172"/>
                </a:lnTo>
                <a:lnTo>
                  <a:pt x="195" y="178"/>
                </a:lnTo>
                <a:lnTo>
                  <a:pt x="195" y="178"/>
                </a:lnTo>
                <a:lnTo>
                  <a:pt x="195" y="184"/>
                </a:lnTo>
                <a:lnTo>
                  <a:pt x="190" y="190"/>
                </a:lnTo>
                <a:lnTo>
                  <a:pt x="190" y="196"/>
                </a:lnTo>
                <a:lnTo>
                  <a:pt x="190" y="196"/>
                </a:lnTo>
                <a:lnTo>
                  <a:pt x="190" y="196"/>
                </a:lnTo>
                <a:lnTo>
                  <a:pt x="190" y="196"/>
                </a:lnTo>
                <a:lnTo>
                  <a:pt x="195" y="196"/>
                </a:lnTo>
                <a:lnTo>
                  <a:pt x="195" y="196"/>
                </a:lnTo>
                <a:lnTo>
                  <a:pt x="195" y="196"/>
                </a:lnTo>
                <a:lnTo>
                  <a:pt x="195" y="190"/>
                </a:lnTo>
                <a:lnTo>
                  <a:pt x="195" y="190"/>
                </a:lnTo>
                <a:lnTo>
                  <a:pt x="195" y="190"/>
                </a:lnTo>
                <a:lnTo>
                  <a:pt x="195" y="184"/>
                </a:lnTo>
                <a:lnTo>
                  <a:pt x="201" y="184"/>
                </a:lnTo>
                <a:lnTo>
                  <a:pt x="201" y="178"/>
                </a:lnTo>
                <a:lnTo>
                  <a:pt x="201" y="172"/>
                </a:lnTo>
                <a:lnTo>
                  <a:pt x="207" y="172"/>
                </a:lnTo>
                <a:lnTo>
                  <a:pt x="207" y="172"/>
                </a:lnTo>
                <a:lnTo>
                  <a:pt x="207" y="172"/>
                </a:lnTo>
                <a:lnTo>
                  <a:pt x="207" y="166"/>
                </a:lnTo>
                <a:lnTo>
                  <a:pt x="207" y="166"/>
                </a:lnTo>
                <a:lnTo>
                  <a:pt x="207" y="166"/>
                </a:lnTo>
                <a:lnTo>
                  <a:pt x="207" y="166"/>
                </a:lnTo>
                <a:lnTo>
                  <a:pt x="213" y="166"/>
                </a:lnTo>
                <a:lnTo>
                  <a:pt x="213" y="166"/>
                </a:lnTo>
                <a:lnTo>
                  <a:pt x="213" y="166"/>
                </a:lnTo>
                <a:lnTo>
                  <a:pt x="213" y="166"/>
                </a:lnTo>
                <a:lnTo>
                  <a:pt x="213" y="166"/>
                </a:lnTo>
                <a:lnTo>
                  <a:pt x="207" y="160"/>
                </a:lnTo>
                <a:lnTo>
                  <a:pt x="207" y="154"/>
                </a:lnTo>
                <a:lnTo>
                  <a:pt x="207" y="154"/>
                </a:lnTo>
                <a:lnTo>
                  <a:pt x="207" y="154"/>
                </a:lnTo>
                <a:lnTo>
                  <a:pt x="207" y="154"/>
                </a:lnTo>
                <a:lnTo>
                  <a:pt x="207" y="154"/>
                </a:lnTo>
                <a:lnTo>
                  <a:pt x="201" y="148"/>
                </a:lnTo>
                <a:lnTo>
                  <a:pt x="201" y="148"/>
                </a:lnTo>
                <a:lnTo>
                  <a:pt x="201" y="148"/>
                </a:lnTo>
                <a:lnTo>
                  <a:pt x="201" y="142"/>
                </a:lnTo>
                <a:lnTo>
                  <a:pt x="195" y="142"/>
                </a:lnTo>
                <a:lnTo>
                  <a:pt x="195" y="142"/>
                </a:lnTo>
                <a:lnTo>
                  <a:pt x="195" y="136"/>
                </a:lnTo>
                <a:lnTo>
                  <a:pt x="195" y="136"/>
                </a:lnTo>
                <a:lnTo>
                  <a:pt x="195" y="136"/>
                </a:lnTo>
                <a:lnTo>
                  <a:pt x="195" y="136"/>
                </a:lnTo>
                <a:lnTo>
                  <a:pt x="195" y="136"/>
                </a:lnTo>
                <a:lnTo>
                  <a:pt x="195" y="136"/>
                </a:lnTo>
                <a:lnTo>
                  <a:pt x="195" y="130"/>
                </a:lnTo>
                <a:lnTo>
                  <a:pt x="195" y="130"/>
                </a:lnTo>
                <a:lnTo>
                  <a:pt x="195" y="130"/>
                </a:lnTo>
                <a:lnTo>
                  <a:pt x="195" y="130"/>
                </a:lnTo>
                <a:lnTo>
                  <a:pt x="201" y="130"/>
                </a:lnTo>
                <a:lnTo>
                  <a:pt x="195" y="130"/>
                </a:lnTo>
                <a:lnTo>
                  <a:pt x="195" y="125"/>
                </a:lnTo>
                <a:lnTo>
                  <a:pt x="195" y="125"/>
                </a:lnTo>
                <a:lnTo>
                  <a:pt x="190" y="130"/>
                </a:lnTo>
                <a:lnTo>
                  <a:pt x="190" y="130"/>
                </a:lnTo>
                <a:lnTo>
                  <a:pt x="190" y="130"/>
                </a:lnTo>
                <a:lnTo>
                  <a:pt x="190" y="130"/>
                </a:lnTo>
                <a:lnTo>
                  <a:pt x="184" y="130"/>
                </a:lnTo>
                <a:lnTo>
                  <a:pt x="184" y="130"/>
                </a:lnTo>
                <a:lnTo>
                  <a:pt x="184" y="136"/>
                </a:lnTo>
                <a:lnTo>
                  <a:pt x="184" y="136"/>
                </a:lnTo>
                <a:lnTo>
                  <a:pt x="184" y="136"/>
                </a:lnTo>
                <a:lnTo>
                  <a:pt x="190" y="142"/>
                </a:lnTo>
                <a:lnTo>
                  <a:pt x="190" y="142"/>
                </a:lnTo>
                <a:lnTo>
                  <a:pt x="190" y="148"/>
                </a:lnTo>
                <a:lnTo>
                  <a:pt x="190" y="148"/>
                </a:lnTo>
                <a:lnTo>
                  <a:pt x="190" y="148"/>
                </a:lnTo>
                <a:lnTo>
                  <a:pt x="184" y="148"/>
                </a:lnTo>
                <a:lnTo>
                  <a:pt x="184" y="148"/>
                </a:lnTo>
                <a:lnTo>
                  <a:pt x="190" y="148"/>
                </a:lnTo>
                <a:lnTo>
                  <a:pt x="190" y="148"/>
                </a:lnTo>
                <a:lnTo>
                  <a:pt x="190" y="142"/>
                </a:lnTo>
                <a:lnTo>
                  <a:pt x="190" y="142"/>
                </a:lnTo>
                <a:lnTo>
                  <a:pt x="184" y="142"/>
                </a:lnTo>
                <a:lnTo>
                  <a:pt x="184" y="142"/>
                </a:lnTo>
                <a:lnTo>
                  <a:pt x="184" y="136"/>
                </a:lnTo>
                <a:lnTo>
                  <a:pt x="184" y="136"/>
                </a:lnTo>
                <a:lnTo>
                  <a:pt x="184" y="136"/>
                </a:lnTo>
                <a:lnTo>
                  <a:pt x="184" y="136"/>
                </a:lnTo>
                <a:lnTo>
                  <a:pt x="184" y="136"/>
                </a:lnTo>
                <a:lnTo>
                  <a:pt x="184" y="136"/>
                </a:lnTo>
                <a:lnTo>
                  <a:pt x="184" y="136"/>
                </a:lnTo>
                <a:lnTo>
                  <a:pt x="184" y="136"/>
                </a:lnTo>
                <a:lnTo>
                  <a:pt x="184" y="136"/>
                </a:lnTo>
                <a:lnTo>
                  <a:pt x="178" y="130"/>
                </a:lnTo>
                <a:lnTo>
                  <a:pt x="178" y="130"/>
                </a:lnTo>
                <a:lnTo>
                  <a:pt x="172" y="136"/>
                </a:lnTo>
                <a:lnTo>
                  <a:pt x="172" y="136"/>
                </a:lnTo>
                <a:lnTo>
                  <a:pt x="172" y="136"/>
                </a:lnTo>
                <a:lnTo>
                  <a:pt x="172" y="142"/>
                </a:lnTo>
                <a:lnTo>
                  <a:pt x="172" y="142"/>
                </a:lnTo>
                <a:lnTo>
                  <a:pt x="172" y="142"/>
                </a:lnTo>
                <a:lnTo>
                  <a:pt x="172" y="142"/>
                </a:lnTo>
                <a:lnTo>
                  <a:pt x="172" y="136"/>
                </a:lnTo>
                <a:lnTo>
                  <a:pt x="172" y="136"/>
                </a:lnTo>
                <a:lnTo>
                  <a:pt x="172" y="136"/>
                </a:lnTo>
                <a:lnTo>
                  <a:pt x="166" y="130"/>
                </a:lnTo>
                <a:lnTo>
                  <a:pt x="166" y="130"/>
                </a:lnTo>
                <a:lnTo>
                  <a:pt x="166" y="130"/>
                </a:lnTo>
                <a:lnTo>
                  <a:pt x="160" y="125"/>
                </a:lnTo>
                <a:lnTo>
                  <a:pt x="160" y="125"/>
                </a:lnTo>
                <a:lnTo>
                  <a:pt x="160" y="125"/>
                </a:lnTo>
                <a:lnTo>
                  <a:pt x="160" y="125"/>
                </a:lnTo>
                <a:lnTo>
                  <a:pt x="160" y="125"/>
                </a:lnTo>
                <a:lnTo>
                  <a:pt x="160" y="125"/>
                </a:lnTo>
                <a:lnTo>
                  <a:pt x="160" y="119"/>
                </a:lnTo>
                <a:lnTo>
                  <a:pt x="166" y="119"/>
                </a:lnTo>
                <a:lnTo>
                  <a:pt x="160" y="119"/>
                </a:lnTo>
                <a:lnTo>
                  <a:pt x="160" y="125"/>
                </a:lnTo>
                <a:lnTo>
                  <a:pt x="154" y="125"/>
                </a:lnTo>
                <a:lnTo>
                  <a:pt x="154" y="125"/>
                </a:lnTo>
                <a:lnTo>
                  <a:pt x="154" y="130"/>
                </a:lnTo>
                <a:lnTo>
                  <a:pt x="148" y="130"/>
                </a:lnTo>
                <a:lnTo>
                  <a:pt x="148" y="130"/>
                </a:lnTo>
                <a:lnTo>
                  <a:pt x="142" y="130"/>
                </a:lnTo>
                <a:lnTo>
                  <a:pt x="142" y="130"/>
                </a:lnTo>
                <a:lnTo>
                  <a:pt x="142" y="130"/>
                </a:lnTo>
                <a:lnTo>
                  <a:pt x="136" y="130"/>
                </a:lnTo>
                <a:lnTo>
                  <a:pt x="136" y="130"/>
                </a:lnTo>
                <a:lnTo>
                  <a:pt x="130" y="130"/>
                </a:lnTo>
                <a:lnTo>
                  <a:pt x="130" y="130"/>
                </a:lnTo>
                <a:lnTo>
                  <a:pt x="130" y="130"/>
                </a:lnTo>
                <a:lnTo>
                  <a:pt x="130" y="130"/>
                </a:lnTo>
                <a:lnTo>
                  <a:pt x="130" y="130"/>
                </a:lnTo>
                <a:lnTo>
                  <a:pt x="130" y="125"/>
                </a:lnTo>
                <a:lnTo>
                  <a:pt x="136" y="125"/>
                </a:lnTo>
                <a:lnTo>
                  <a:pt x="130" y="125"/>
                </a:lnTo>
                <a:lnTo>
                  <a:pt x="130" y="125"/>
                </a:lnTo>
                <a:lnTo>
                  <a:pt x="124" y="130"/>
                </a:lnTo>
                <a:lnTo>
                  <a:pt x="124" y="130"/>
                </a:lnTo>
                <a:lnTo>
                  <a:pt x="124" y="130"/>
                </a:lnTo>
                <a:lnTo>
                  <a:pt x="118" y="125"/>
                </a:lnTo>
                <a:lnTo>
                  <a:pt x="118" y="125"/>
                </a:lnTo>
                <a:lnTo>
                  <a:pt x="118" y="125"/>
                </a:lnTo>
                <a:lnTo>
                  <a:pt x="118" y="130"/>
                </a:lnTo>
                <a:lnTo>
                  <a:pt x="113" y="125"/>
                </a:lnTo>
                <a:lnTo>
                  <a:pt x="113" y="125"/>
                </a:lnTo>
                <a:lnTo>
                  <a:pt x="107" y="125"/>
                </a:lnTo>
                <a:lnTo>
                  <a:pt x="101" y="125"/>
                </a:lnTo>
                <a:lnTo>
                  <a:pt x="95" y="125"/>
                </a:lnTo>
                <a:lnTo>
                  <a:pt x="95" y="125"/>
                </a:lnTo>
                <a:lnTo>
                  <a:pt x="95" y="125"/>
                </a:lnTo>
                <a:lnTo>
                  <a:pt x="95" y="125"/>
                </a:lnTo>
                <a:lnTo>
                  <a:pt x="89" y="125"/>
                </a:lnTo>
                <a:lnTo>
                  <a:pt x="89" y="125"/>
                </a:lnTo>
                <a:lnTo>
                  <a:pt x="83" y="125"/>
                </a:lnTo>
                <a:lnTo>
                  <a:pt x="77" y="125"/>
                </a:lnTo>
                <a:lnTo>
                  <a:pt x="77" y="125"/>
                </a:lnTo>
                <a:lnTo>
                  <a:pt x="77" y="125"/>
                </a:lnTo>
                <a:lnTo>
                  <a:pt x="71" y="119"/>
                </a:lnTo>
                <a:lnTo>
                  <a:pt x="65" y="119"/>
                </a:lnTo>
                <a:lnTo>
                  <a:pt x="65" y="119"/>
                </a:lnTo>
                <a:lnTo>
                  <a:pt x="65" y="119"/>
                </a:lnTo>
                <a:lnTo>
                  <a:pt x="65" y="113"/>
                </a:lnTo>
                <a:lnTo>
                  <a:pt x="59" y="113"/>
                </a:lnTo>
                <a:lnTo>
                  <a:pt x="59" y="113"/>
                </a:lnTo>
                <a:lnTo>
                  <a:pt x="53" y="107"/>
                </a:lnTo>
                <a:lnTo>
                  <a:pt x="47" y="107"/>
                </a:lnTo>
                <a:lnTo>
                  <a:pt x="47" y="107"/>
                </a:lnTo>
                <a:lnTo>
                  <a:pt x="47" y="107"/>
                </a:lnTo>
                <a:lnTo>
                  <a:pt x="41" y="107"/>
                </a:lnTo>
                <a:lnTo>
                  <a:pt x="41" y="107"/>
                </a:lnTo>
                <a:lnTo>
                  <a:pt x="41" y="107"/>
                </a:lnTo>
                <a:lnTo>
                  <a:pt x="41" y="107"/>
                </a:lnTo>
                <a:lnTo>
                  <a:pt x="35" y="107"/>
                </a:lnTo>
                <a:lnTo>
                  <a:pt x="30" y="101"/>
                </a:lnTo>
                <a:lnTo>
                  <a:pt x="24" y="95"/>
                </a:lnTo>
                <a:lnTo>
                  <a:pt x="18" y="95"/>
                </a:lnTo>
                <a:lnTo>
                  <a:pt x="18" y="89"/>
                </a:lnTo>
                <a:lnTo>
                  <a:pt x="18" y="89"/>
                </a:lnTo>
                <a:lnTo>
                  <a:pt x="12" y="95"/>
                </a:lnTo>
                <a:lnTo>
                  <a:pt x="12" y="95"/>
                </a:lnTo>
                <a:lnTo>
                  <a:pt x="12" y="95"/>
                </a:lnTo>
                <a:lnTo>
                  <a:pt x="12" y="89"/>
                </a:lnTo>
                <a:lnTo>
                  <a:pt x="6" y="89"/>
                </a:lnTo>
                <a:lnTo>
                  <a:pt x="6" y="89"/>
                </a:lnTo>
                <a:lnTo>
                  <a:pt x="0" y="89"/>
                </a:lnTo>
                <a:lnTo>
                  <a:pt x="0" y="95"/>
                </a:lnTo>
                <a:lnTo>
                  <a:pt x="0" y="95"/>
                </a:lnTo>
                <a:lnTo>
                  <a:pt x="0" y="95"/>
                </a:lnTo>
                <a:lnTo>
                  <a:pt x="6" y="95"/>
                </a:lnTo>
                <a:lnTo>
                  <a:pt x="6" y="95"/>
                </a:lnTo>
                <a:lnTo>
                  <a:pt x="6" y="95"/>
                </a:lnTo>
                <a:lnTo>
                  <a:pt x="6" y="101"/>
                </a:lnTo>
                <a:lnTo>
                  <a:pt x="6" y="101"/>
                </a:lnTo>
                <a:lnTo>
                  <a:pt x="6" y="101"/>
                </a:lnTo>
                <a:lnTo>
                  <a:pt x="6" y="101"/>
                </a:lnTo>
                <a:lnTo>
                  <a:pt x="6" y="101"/>
                </a:lnTo>
                <a:lnTo>
                  <a:pt x="6" y="101"/>
                </a:lnTo>
                <a:lnTo>
                  <a:pt x="6" y="101"/>
                </a:lnTo>
                <a:lnTo>
                  <a:pt x="6" y="101"/>
                </a:lnTo>
                <a:lnTo>
                  <a:pt x="6" y="107"/>
                </a:lnTo>
                <a:lnTo>
                  <a:pt x="6" y="107"/>
                </a:lnTo>
                <a:lnTo>
                  <a:pt x="6" y="107"/>
                </a:lnTo>
                <a:lnTo>
                  <a:pt x="6" y="107"/>
                </a:lnTo>
                <a:lnTo>
                  <a:pt x="6" y="113"/>
                </a:lnTo>
                <a:lnTo>
                  <a:pt x="6" y="113"/>
                </a:lnTo>
                <a:lnTo>
                  <a:pt x="6" y="113"/>
                </a:lnTo>
                <a:lnTo>
                  <a:pt x="6" y="113"/>
                </a:lnTo>
                <a:lnTo>
                  <a:pt x="6" y="113"/>
                </a:lnTo>
                <a:lnTo>
                  <a:pt x="6" y="113"/>
                </a:lnTo>
                <a:lnTo>
                  <a:pt x="6" y="119"/>
                </a:lnTo>
                <a:lnTo>
                  <a:pt x="6" y="119"/>
                </a:lnTo>
                <a:lnTo>
                  <a:pt x="6" y="119"/>
                </a:lnTo>
                <a:lnTo>
                  <a:pt x="6" y="119"/>
                </a:lnTo>
                <a:lnTo>
                  <a:pt x="0" y="119"/>
                </a:lnTo>
                <a:lnTo>
                  <a:pt x="0" y="125"/>
                </a:lnTo>
                <a:lnTo>
                  <a:pt x="0" y="125"/>
                </a:lnTo>
                <a:lnTo>
                  <a:pt x="0" y="125"/>
                </a:lnTo>
                <a:lnTo>
                  <a:pt x="0" y="125"/>
                </a:lnTo>
                <a:lnTo>
                  <a:pt x="6" y="130"/>
                </a:lnTo>
                <a:lnTo>
                  <a:pt x="6" y="136"/>
                </a:lnTo>
                <a:lnTo>
                  <a:pt x="6" y="136"/>
                </a:lnTo>
                <a:lnTo>
                  <a:pt x="6" y="142"/>
                </a:lnTo>
                <a:lnTo>
                  <a:pt x="6" y="148"/>
                </a:lnTo>
                <a:lnTo>
                  <a:pt x="6" y="154"/>
                </a:lnTo>
                <a:lnTo>
                  <a:pt x="12" y="160"/>
                </a:lnTo>
                <a:lnTo>
                  <a:pt x="12" y="160"/>
                </a:lnTo>
                <a:lnTo>
                  <a:pt x="12" y="166"/>
                </a:lnTo>
                <a:lnTo>
                  <a:pt x="18" y="166"/>
                </a:lnTo>
                <a:lnTo>
                  <a:pt x="18" y="166"/>
                </a:lnTo>
                <a:lnTo>
                  <a:pt x="18" y="172"/>
                </a:lnTo>
                <a:lnTo>
                  <a:pt x="18" y="172"/>
                </a:lnTo>
                <a:lnTo>
                  <a:pt x="24" y="178"/>
                </a:lnTo>
                <a:lnTo>
                  <a:pt x="24" y="178"/>
                </a:lnTo>
                <a:lnTo>
                  <a:pt x="30" y="178"/>
                </a:lnTo>
                <a:lnTo>
                  <a:pt x="30" y="184"/>
                </a:lnTo>
                <a:lnTo>
                  <a:pt x="30" y="184"/>
                </a:lnTo>
                <a:lnTo>
                  <a:pt x="30" y="184"/>
                </a:lnTo>
                <a:lnTo>
                  <a:pt x="30" y="184"/>
                </a:lnTo>
                <a:lnTo>
                  <a:pt x="35" y="190"/>
                </a:lnTo>
                <a:lnTo>
                  <a:pt x="35" y="196"/>
                </a:lnTo>
                <a:lnTo>
                  <a:pt x="35" y="196"/>
                </a:lnTo>
                <a:lnTo>
                  <a:pt x="35" y="202"/>
                </a:lnTo>
                <a:lnTo>
                  <a:pt x="35" y="202"/>
                </a:lnTo>
                <a:lnTo>
                  <a:pt x="35" y="208"/>
                </a:lnTo>
                <a:lnTo>
                  <a:pt x="35" y="208"/>
                </a:lnTo>
                <a:lnTo>
                  <a:pt x="41" y="214"/>
                </a:lnTo>
                <a:lnTo>
                  <a:pt x="41" y="219"/>
                </a:lnTo>
                <a:lnTo>
                  <a:pt x="41" y="219"/>
                </a:lnTo>
                <a:lnTo>
                  <a:pt x="41" y="243"/>
                </a:lnTo>
                <a:lnTo>
                  <a:pt x="41" y="243"/>
                </a:lnTo>
                <a:lnTo>
                  <a:pt x="47" y="243"/>
                </a:lnTo>
                <a:lnTo>
                  <a:pt x="47" y="243"/>
                </a:lnTo>
                <a:lnTo>
                  <a:pt x="47" y="243"/>
                </a:lnTo>
                <a:lnTo>
                  <a:pt x="47" y="243"/>
                </a:lnTo>
                <a:lnTo>
                  <a:pt x="47" y="243"/>
                </a:lnTo>
                <a:lnTo>
                  <a:pt x="47" y="243"/>
                </a:lnTo>
                <a:lnTo>
                  <a:pt x="41" y="243"/>
                </a:lnTo>
                <a:lnTo>
                  <a:pt x="47" y="249"/>
                </a:lnTo>
                <a:lnTo>
                  <a:pt x="47" y="249"/>
                </a:lnTo>
                <a:lnTo>
                  <a:pt x="47" y="249"/>
                </a:lnTo>
                <a:lnTo>
                  <a:pt x="47" y="249"/>
                </a:lnTo>
                <a:lnTo>
                  <a:pt x="47" y="249"/>
                </a:lnTo>
                <a:lnTo>
                  <a:pt x="47" y="249"/>
                </a:lnTo>
                <a:lnTo>
                  <a:pt x="47" y="249"/>
                </a:lnTo>
                <a:lnTo>
                  <a:pt x="47" y="255"/>
                </a:lnTo>
                <a:lnTo>
                  <a:pt x="53" y="255"/>
                </a:lnTo>
                <a:lnTo>
                  <a:pt x="53" y="255"/>
                </a:lnTo>
                <a:lnTo>
                  <a:pt x="53" y="261"/>
                </a:lnTo>
                <a:lnTo>
                  <a:pt x="53" y="267"/>
                </a:lnTo>
                <a:lnTo>
                  <a:pt x="53" y="267"/>
                </a:lnTo>
                <a:lnTo>
                  <a:pt x="59" y="279"/>
                </a:lnTo>
                <a:lnTo>
                  <a:pt x="59" y="285"/>
                </a:lnTo>
                <a:lnTo>
                  <a:pt x="59" y="291"/>
                </a:lnTo>
                <a:lnTo>
                  <a:pt x="59" y="297"/>
                </a:lnTo>
                <a:lnTo>
                  <a:pt x="59" y="302"/>
                </a:lnTo>
                <a:lnTo>
                  <a:pt x="59" y="302"/>
                </a:lnTo>
                <a:lnTo>
                  <a:pt x="59" y="302"/>
                </a:lnTo>
                <a:lnTo>
                  <a:pt x="59" y="302"/>
                </a:lnTo>
                <a:lnTo>
                  <a:pt x="59" y="308"/>
                </a:lnTo>
                <a:lnTo>
                  <a:pt x="59" y="308"/>
                </a:lnTo>
                <a:lnTo>
                  <a:pt x="59" y="308"/>
                </a:lnTo>
                <a:lnTo>
                  <a:pt x="59" y="308"/>
                </a:lnTo>
                <a:lnTo>
                  <a:pt x="59" y="302"/>
                </a:lnTo>
                <a:lnTo>
                  <a:pt x="59" y="302"/>
                </a:lnTo>
                <a:lnTo>
                  <a:pt x="59" y="302"/>
                </a:lnTo>
                <a:lnTo>
                  <a:pt x="59" y="302"/>
                </a:lnTo>
                <a:lnTo>
                  <a:pt x="59" y="302"/>
                </a:lnTo>
                <a:lnTo>
                  <a:pt x="65" y="302"/>
                </a:lnTo>
                <a:lnTo>
                  <a:pt x="65" y="302"/>
                </a:lnTo>
                <a:lnTo>
                  <a:pt x="65" y="302"/>
                </a:lnTo>
                <a:lnTo>
                  <a:pt x="65" y="302"/>
                </a:lnTo>
                <a:lnTo>
                  <a:pt x="65" y="302"/>
                </a:lnTo>
                <a:lnTo>
                  <a:pt x="59" y="302"/>
                </a:lnTo>
                <a:lnTo>
                  <a:pt x="59" y="302"/>
                </a:lnTo>
                <a:lnTo>
                  <a:pt x="59" y="302"/>
                </a:lnTo>
                <a:lnTo>
                  <a:pt x="59" y="302"/>
                </a:lnTo>
                <a:lnTo>
                  <a:pt x="59" y="302"/>
                </a:lnTo>
                <a:lnTo>
                  <a:pt x="59" y="297"/>
                </a:lnTo>
                <a:lnTo>
                  <a:pt x="59" y="297"/>
                </a:lnTo>
                <a:lnTo>
                  <a:pt x="59" y="297"/>
                </a:lnTo>
                <a:lnTo>
                  <a:pt x="59" y="297"/>
                </a:lnTo>
                <a:lnTo>
                  <a:pt x="59" y="291"/>
                </a:lnTo>
                <a:lnTo>
                  <a:pt x="59" y="291"/>
                </a:lnTo>
                <a:lnTo>
                  <a:pt x="59" y="291"/>
                </a:lnTo>
                <a:lnTo>
                  <a:pt x="59" y="291"/>
                </a:lnTo>
                <a:lnTo>
                  <a:pt x="59" y="291"/>
                </a:lnTo>
                <a:lnTo>
                  <a:pt x="65" y="291"/>
                </a:lnTo>
                <a:lnTo>
                  <a:pt x="65" y="291"/>
                </a:lnTo>
                <a:lnTo>
                  <a:pt x="65" y="291"/>
                </a:lnTo>
                <a:lnTo>
                  <a:pt x="71" y="291"/>
                </a:lnTo>
                <a:lnTo>
                  <a:pt x="71" y="291"/>
                </a:lnTo>
                <a:lnTo>
                  <a:pt x="71" y="297"/>
                </a:lnTo>
                <a:lnTo>
                  <a:pt x="71" y="297"/>
                </a:lnTo>
                <a:lnTo>
                  <a:pt x="71" y="297"/>
                </a:lnTo>
                <a:lnTo>
                  <a:pt x="71" y="297"/>
                </a:lnTo>
                <a:lnTo>
                  <a:pt x="71" y="297"/>
                </a:lnTo>
                <a:lnTo>
                  <a:pt x="77" y="297"/>
                </a:lnTo>
                <a:lnTo>
                  <a:pt x="77" y="297"/>
                </a:lnTo>
                <a:lnTo>
                  <a:pt x="83" y="297"/>
                </a:lnTo>
                <a:lnTo>
                  <a:pt x="83" y="297"/>
                </a:lnTo>
                <a:lnTo>
                  <a:pt x="77" y="297"/>
                </a:lnTo>
                <a:lnTo>
                  <a:pt x="77" y="297"/>
                </a:lnTo>
                <a:lnTo>
                  <a:pt x="77" y="297"/>
                </a:lnTo>
                <a:lnTo>
                  <a:pt x="77" y="302"/>
                </a:lnTo>
                <a:lnTo>
                  <a:pt x="89" y="302"/>
                </a:lnTo>
                <a:lnTo>
                  <a:pt x="89" y="302"/>
                </a:lnTo>
                <a:lnTo>
                  <a:pt x="89" y="302"/>
                </a:lnTo>
                <a:lnTo>
                  <a:pt x="95" y="302"/>
                </a:lnTo>
                <a:lnTo>
                  <a:pt x="95" y="302"/>
                </a:lnTo>
                <a:lnTo>
                  <a:pt x="89" y="302"/>
                </a:lnTo>
                <a:lnTo>
                  <a:pt x="89" y="302"/>
                </a:lnTo>
                <a:lnTo>
                  <a:pt x="77" y="308"/>
                </a:lnTo>
                <a:lnTo>
                  <a:pt x="77" y="308"/>
                </a:lnTo>
                <a:lnTo>
                  <a:pt x="71" y="308"/>
                </a:lnTo>
                <a:lnTo>
                  <a:pt x="71" y="308"/>
                </a:lnTo>
                <a:lnTo>
                  <a:pt x="71" y="308"/>
                </a:lnTo>
                <a:lnTo>
                  <a:pt x="71" y="308"/>
                </a:lnTo>
                <a:lnTo>
                  <a:pt x="71" y="314"/>
                </a:lnTo>
                <a:lnTo>
                  <a:pt x="71" y="314"/>
                </a:lnTo>
                <a:lnTo>
                  <a:pt x="71" y="314"/>
                </a:lnTo>
                <a:lnTo>
                  <a:pt x="71" y="314"/>
                </a:lnTo>
                <a:lnTo>
                  <a:pt x="71" y="314"/>
                </a:lnTo>
                <a:lnTo>
                  <a:pt x="71" y="314"/>
                </a:lnTo>
                <a:lnTo>
                  <a:pt x="71" y="314"/>
                </a:lnTo>
                <a:lnTo>
                  <a:pt x="71" y="314"/>
                </a:lnTo>
                <a:lnTo>
                  <a:pt x="71" y="320"/>
                </a:lnTo>
                <a:lnTo>
                  <a:pt x="71" y="320"/>
                </a:lnTo>
                <a:lnTo>
                  <a:pt x="71" y="320"/>
                </a:lnTo>
                <a:lnTo>
                  <a:pt x="71" y="320"/>
                </a:lnTo>
                <a:lnTo>
                  <a:pt x="71" y="320"/>
                </a:lnTo>
                <a:lnTo>
                  <a:pt x="71" y="320"/>
                </a:lnTo>
                <a:lnTo>
                  <a:pt x="71" y="320"/>
                </a:lnTo>
                <a:lnTo>
                  <a:pt x="71" y="320"/>
                </a:lnTo>
                <a:lnTo>
                  <a:pt x="65" y="320"/>
                </a:lnTo>
                <a:lnTo>
                  <a:pt x="65" y="314"/>
                </a:lnTo>
                <a:lnTo>
                  <a:pt x="65" y="314"/>
                </a:lnTo>
                <a:lnTo>
                  <a:pt x="65" y="314"/>
                </a:lnTo>
                <a:lnTo>
                  <a:pt x="65" y="314"/>
                </a:lnTo>
                <a:lnTo>
                  <a:pt x="65" y="308"/>
                </a:lnTo>
                <a:lnTo>
                  <a:pt x="65" y="308"/>
                </a:lnTo>
                <a:lnTo>
                  <a:pt x="65" y="308"/>
                </a:lnTo>
                <a:lnTo>
                  <a:pt x="59" y="308"/>
                </a:lnTo>
                <a:lnTo>
                  <a:pt x="59" y="308"/>
                </a:lnTo>
                <a:lnTo>
                  <a:pt x="59" y="314"/>
                </a:lnTo>
                <a:lnTo>
                  <a:pt x="65" y="314"/>
                </a:lnTo>
                <a:lnTo>
                  <a:pt x="65" y="320"/>
                </a:lnTo>
                <a:lnTo>
                  <a:pt x="65" y="320"/>
                </a:lnTo>
                <a:lnTo>
                  <a:pt x="65" y="326"/>
                </a:lnTo>
                <a:lnTo>
                  <a:pt x="65" y="326"/>
                </a:lnTo>
                <a:lnTo>
                  <a:pt x="65" y="332"/>
                </a:lnTo>
                <a:lnTo>
                  <a:pt x="65" y="332"/>
                </a:lnTo>
                <a:lnTo>
                  <a:pt x="65" y="332"/>
                </a:lnTo>
                <a:lnTo>
                  <a:pt x="71" y="338"/>
                </a:lnTo>
                <a:lnTo>
                  <a:pt x="71" y="338"/>
                </a:lnTo>
                <a:lnTo>
                  <a:pt x="71" y="338"/>
                </a:lnTo>
                <a:lnTo>
                  <a:pt x="77" y="338"/>
                </a:lnTo>
                <a:lnTo>
                  <a:pt x="77" y="338"/>
                </a:lnTo>
                <a:lnTo>
                  <a:pt x="77" y="338"/>
                </a:lnTo>
                <a:lnTo>
                  <a:pt x="77" y="338"/>
                </a:lnTo>
                <a:lnTo>
                  <a:pt x="77" y="338"/>
                </a:lnTo>
                <a:lnTo>
                  <a:pt x="77" y="338"/>
                </a:lnTo>
                <a:lnTo>
                  <a:pt x="77" y="338"/>
                </a:lnTo>
                <a:lnTo>
                  <a:pt x="77" y="338"/>
                </a:lnTo>
                <a:lnTo>
                  <a:pt x="77" y="332"/>
                </a:lnTo>
                <a:lnTo>
                  <a:pt x="77" y="338"/>
                </a:lnTo>
                <a:lnTo>
                  <a:pt x="83" y="332"/>
                </a:lnTo>
                <a:lnTo>
                  <a:pt x="83" y="332"/>
                </a:lnTo>
                <a:lnTo>
                  <a:pt x="83" y="332"/>
                </a:lnTo>
                <a:lnTo>
                  <a:pt x="83" y="332"/>
                </a:lnTo>
                <a:lnTo>
                  <a:pt x="83" y="332"/>
                </a:lnTo>
                <a:lnTo>
                  <a:pt x="83" y="332"/>
                </a:lnTo>
                <a:lnTo>
                  <a:pt x="89" y="332"/>
                </a:lnTo>
                <a:lnTo>
                  <a:pt x="89" y="338"/>
                </a:lnTo>
                <a:lnTo>
                  <a:pt x="89" y="338"/>
                </a:lnTo>
                <a:lnTo>
                  <a:pt x="95" y="338"/>
                </a:lnTo>
                <a:lnTo>
                  <a:pt x="95" y="338"/>
                </a:lnTo>
                <a:lnTo>
                  <a:pt x="95" y="344"/>
                </a:lnTo>
                <a:lnTo>
                  <a:pt x="95" y="344"/>
                </a:lnTo>
                <a:lnTo>
                  <a:pt x="95" y="344"/>
                </a:lnTo>
                <a:lnTo>
                  <a:pt x="95" y="344"/>
                </a:lnTo>
                <a:lnTo>
                  <a:pt x="95" y="344"/>
                </a:lnTo>
                <a:lnTo>
                  <a:pt x="95" y="344"/>
                </a:lnTo>
                <a:lnTo>
                  <a:pt x="89" y="344"/>
                </a:lnTo>
                <a:lnTo>
                  <a:pt x="89" y="338"/>
                </a:lnTo>
                <a:lnTo>
                  <a:pt x="89" y="338"/>
                </a:lnTo>
                <a:lnTo>
                  <a:pt x="89" y="338"/>
                </a:lnTo>
                <a:lnTo>
                  <a:pt x="83" y="344"/>
                </a:lnTo>
                <a:lnTo>
                  <a:pt x="83" y="344"/>
                </a:lnTo>
                <a:lnTo>
                  <a:pt x="83" y="344"/>
                </a:lnTo>
                <a:lnTo>
                  <a:pt x="83" y="350"/>
                </a:lnTo>
                <a:lnTo>
                  <a:pt x="83" y="356"/>
                </a:lnTo>
                <a:lnTo>
                  <a:pt x="83" y="356"/>
                </a:lnTo>
                <a:lnTo>
                  <a:pt x="83" y="350"/>
                </a:lnTo>
                <a:lnTo>
                  <a:pt x="83" y="350"/>
                </a:lnTo>
                <a:lnTo>
                  <a:pt x="77" y="350"/>
                </a:lnTo>
                <a:lnTo>
                  <a:pt x="77" y="350"/>
                </a:lnTo>
                <a:lnTo>
                  <a:pt x="83" y="356"/>
                </a:lnTo>
                <a:lnTo>
                  <a:pt x="83" y="362"/>
                </a:lnTo>
                <a:lnTo>
                  <a:pt x="83" y="362"/>
                </a:lnTo>
                <a:lnTo>
                  <a:pt x="83" y="362"/>
                </a:lnTo>
                <a:lnTo>
                  <a:pt x="83" y="362"/>
                </a:lnTo>
                <a:lnTo>
                  <a:pt x="83" y="362"/>
                </a:lnTo>
                <a:lnTo>
                  <a:pt x="83" y="362"/>
                </a:lnTo>
                <a:lnTo>
                  <a:pt x="83" y="368"/>
                </a:lnTo>
                <a:lnTo>
                  <a:pt x="83" y="368"/>
                </a:lnTo>
                <a:lnTo>
                  <a:pt x="83" y="368"/>
                </a:lnTo>
                <a:lnTo>
                  <a:pt x="83" y="368"/>
                </a:lnTo>
                <a:lnTo>
                  <a:pt x="83" y="368"/>
                </a:lnTo>
                <a:lnTo>
                  <a:pt x="83" y="368"/>
                </a:lnTo>
                <a:lnTo>
                  <a:pt x="83" y="368"/>
                </a:lnTo>
                <a:lnTo>
                  <a:pt x="83" y="374"/>
                </a:lnTo>
                <a:lnTo>
                  <a:pt x="83" y="374"/>
                </a:lnTo>
                <a:lnTo>
                  <a:pt x="83" y="374"/>
                </a:lnTo>
                <a:lnTo>
                  <a:pt x="83" y="374"/>
                </a:lnTo>
                <a:lnTo>
                  <a:pt x="83" y="374"/>
                </a:lnTo>
                <a:lnTo>
                  <a:pt x="83" y="374"/>
                </a:lnTo>
                <a:lnTo>
                  <a:pt x="83" y="374"/>
                </a:lnTo>
                <a:lnTo>
                  <a:pt x="83" y="374"/>
                </a:lnTo>
                <a:lnTo>
                  <a:pt x="83" y="374"/>
                </a:lnTo>
                <a:lnTo>
                  <a:pt x="83" y="374"/>
                </a:lnTo>
                <a:lnTo>
                  <a:pt x="83" y="374"/>
                </a:lnTo>
                <a:lnTo>
                  <a:pt x="89" y="380"/>
                </a:lnTo>
                <a:lnTo>
                  <a:pt x="89" y="380"/>
                </a:lnTo>
                <a:lnTo>
                  <a:pt x="89" y="380"/>
                </a:lnTo>
                <a:lnTo>
                  <a:pt x="89" y="380"/>
                </a:lnTo>
                <a:lnTo>
                  <a:pt x="89" y="386"/>
                </a:lnTo>
                <a:lnTo>
                  <a:pt x="89" y="380"/>
                </a:lnTo>
                <a:lnTo>
                  <a:pt x="83" y="380"/>
                </a:lnTo>
                <a:lnTo>
                  <a:pt x="83" y="380"/>
                </a:lnTo>
                <a:lnTo>
                  <a:pt x="83" y="380"/>
                </a:lnTo>
                <a:lnTo>
                  <a:pt x="83" y="380"/>
                </a:lnTo>
                <a:lnTo>
                  <a:pt x="83" y="380"/>
                </a:lnTo>
                <a:lnTo>
                  <a:pt x="77" y="380"/>
                </a:lnTo>
                <a:lnTo>
                  <a:pt x="77" y="380"/>
                </a:lnTo>
                <a:lnTo>
                  <a:pt x="77" y="386"/>
                </a:lnTo>
                <a:lnTo>
                  <a:pt x="77" y="386"/>
                </a:lnTo>
                <a:lnTo>
                  <a:pt x="77" y="386"/>
                </a:lnTo>
                <a:lnTo>
                  <a:pt x="71" y="386"/>
                </a:lnTo>
                <a:lnTo>
                  <a:pt x="71" y="380"/>
                </a:lnTo>
                <a:lnTo>
                  <a:pt x="71" y="380"/>
                </a:lnTo>
                <a:lnTo>
                  <a:pt x="71" y="374"/>
                </a:lnTo>
                <a:lnTo>
                  <a:pt x="71" y="374"/>
                </a:lnTo>
                <a:lnTo>
                  <a:pt x="71" y="368"/>
                </a:lnTo>
                <a:lnTo>
                  <a:pt x="71" y="368"/>
                </a:lnTo>
                <a:lnTo>
                  <a:pt x="71" y="356"/>
                </a:lnTo>
                <a:lnTo>
                  <a:pt x="71" y="356"/>
                </a:lnTo>
                <a:lnTo>
                  <a:pt x="71" y="356"/>
                </a:lnTo>
                <a:lnTo>
                  <a:pt x="71" y="356"/>
                </a:lnTo>
                <a:lnTo>
                  <a:pt x="71" y="350"/>
                </a:lnTo>
                <a:lnTo>
                  <a:pt x="71" y="350"/>
                </a:lnTo>
                <a:lnTo>
                  <a:pt x="71" y="350"/>
                </a:lnTo>
                <a:lnTo>
                  <a:pt x="71" y="350"/>
                </a:lnTo>
                <a:lnTo>
                  <a:pt x="71" y="350"/>
                </a:lnTo>
                <a:lnTo>
                  <a:pt x="65" y="344"/>
                </a:lnTo>
                <a:lnTo>
                  <a:pt x="65" y="344"/>
                </a:lnTo>
                <a:lnTo>
                  <a:pt x="65" y="350"/>
                </a:lnTo>
                <a:lnTo>
                  <a:pt x="65" y="356"/>
                </a:lnTo>
                <a:lnTo>
                  <a:pt x="65" y="368"/>
                </a:lnTo>
                <a:lnTo>
                  <a:pt x="65" y="380"/>
                </a:lnTo>
                <a:lnTo>
                  <a:pt x="65" y="386"/>
                </a:lnTo>
                <a:lnTo>
                  <a:pt x="65" y="386"/>
                </a:lnTo>
                <a:lnTo>
                  <a:pt x="65" y="391"/>
                </a:lnTo>
                <a:lnTo>
                  <a:pt x="65" y="391"/>
                </a:lnTo>
                <a:lnTo>
                  <a:pt x="65" y="391"/>
                </a:lnTo>
                <a:lnTo>
                  <a:pt x="65" y="391"/>
                </a:lnTo>
                <a:lnTo>
                  <a:pt x="65" y="397"/>
                </a:lnTo>
                <a:lnTo>
                  <a:pt x="65" y="397"/>
                </a:lnTo>
                <a:lnTo>
                  <a:pt x="65" y="397"/>
                </a:lnTo>
                <a:lnTo>
                  <a:pt x="65" y="397"/>
                </a:lnTo>
                <a:lnTo>
                  <a:pt x="65" y="397"/>
                </a:lnTo>
                <a:lnTo>
                  <a:pt x="65" y="403"/>
                </a:lnTo>
                <a:lnTo>
                  <a:pt x="65" y="403"/>
                </a:lnTo>
                <a:lnTo>
                  <a:pt x="65" y="403"/>
                </a:lnTo>
                <a:lnTo>
                  <a:pt x="65" y="403"/>
                </a:lnTo>
                <a:lnTo>
                  <a:pt x="71" y="403"/>
                </a:lnTo>
                <a:lnTo>
                  <a:pt x="71" y="403"/>
                </a:lnTo>
                <a:lnTo>
                  <a:pt x="71" y="403"/>
                </a:lnTo>
                <a:lnTo>
                  <a:pt x="71" y="397"/>
                </a:lnTo>
                <a:lnTo>
                  <a:pt x="71" y="397"/>
                </a:lnTo>
                <a:lnTo>
                  <a:pt x="71" y="397"/>
                </a:lnTo>
                <a:lnTo>
                  <a:pt x="71" y="397"/>
                </a:lnTo>
                <a:lnTo>
                  <a:pt x="71" y="397"/>
                </a:lnTo>
                <a:lnTo>
                  <a:pt x="71" y="397"/>
                </a:lnTo>
                <a:lnTo>
                  <a:pt x="71" y="397"/>
                </a:lnTo>
                <a:lnTo>
                  <a:pt x="71" y="397"/>
                </a:lnTo>
                <a:lnTo>
                  <a:pt x="71" y="397"/>
                </a:lnTo>
                <a:lnTo>
                  <a:pt x="71" y="397"/>
                </a:lnTo>
                <a:lnTo>
                  <a:pt x="77" y="397"/>
                </a:lnTo>
                <a:lnTo>
                  <a:pt x="77" y="397"/>
                </a:lnTo>
                <a:lnTo>
                  <a:pt x="77" y="397"/>
                </a:lnTo>
                <a:lnTo>
                  <a:pt x="77" y="403"/>
                </a:lnTo>
                <a:lnTo>
                  <a:pt x="83" y="403"/>
                </a:lnTo>
                <a:lnTo>
                  <a:pt x="83" y="403"/>
                </a:lnTo>
                <a:lnTo>
                  <a:pt x="83" y="403"/>
                </a:lnTo>
                <a:lnTo>
                  <a:pt x="83" y="403"/>
                </a:lnTo>
                <a:lnTo>
                  <a:pt x="83" y="403"/>
                </a:lnTo>
                <a:lnTo>
                  <a:pt x="83" y="403"/>
                </a:lnTo>
                <a:lnTo>
                  <a:pt x="89" y="403"/>
                </a:lnTo>
                <a:lnTo>
                  <a:pt x="89" y="403"/>
                </a:lnTo>
                <a:lnTo>
                  <a:pt x="89" y="403"/>
                </a:lnTo>
                <a:lnTo>
                  <a:pt x="89" y="403"/>
                </a:lnTo>
                <a:lnTo>
                  <a:pt x="89" y="403"/>
                </a:lnTo>
                <a:lnTo>
                  <a:pt x="89" y="403"/>
                </a:lnTo>
                <a:lnTo>
                  <a:pt x="95" y="403"/>
                </a:lnTo>
                <a:lnTo>
                  <a:pt x="95" y="403"/>
                </a:lnTo>
                <a:lnTo>
                  <a:pt x="95" y="403"/>
                </a:lnTo>
                <a:lnTo>
                  <a:pt x="95" y="397"/>
                </a:lnTo>
                <a:lnTo>
                  <a:pt x="95" y="397"/>
                </a:lnTo>
                <a:lnTo>
                  <a:pt x="95" y="397"/>
                </a:lnTo>
                <a:lnTo>
                  <a:pt x="95" y="403"/>
                </a:lnTo>
                <a:lnTo>
                  <a:pt x="95" y="403"/>
                </a:lnTo>
                <a:lnTo>
                  <a:pt x="95" y="403"/>
                </a:lnTo>
                <a:lnTo>
                  <a:pt x="95" y="403"/>
                </a:lnTo>
                <a:lnTo>
                  <a:pt x="101" y="403"/>
                </a:lnTo>
                <a:lnTo>
                  <a:pt x="101" y="397"/>
                </a:lnTo>
                <a:lnTo>
                  <a:pt x="101" y="397"/>
                </a:lnTo>
                <a:lnTo>
                  <a:pt x="101" y="397"/>
                </a:lnTo>
                <a:lnTo>
                  <a:pt x="101" y="397"/>
                </a:lnTo>
                <a:lnTo>
                  <a:pt x="101" y="397"/>
                </a:lnTo>
                <a:lnTo>
                  <a:pt x="101" y="397"/>
                </a:lnTo>
                <a:lnTo>
                  <a:pt x="101" y="397"/>
                </a:lnTo>
                <a:lnTo>
                  <a:pt x="101" y="397"/>
                </a:lnTo>
                <a:lnTo>
                  <a:pt x="101" y="397"/>
                </a:lnTo>
                <a:lnTo>
                  <a:pt x="101" y="397"/>
                </a:lnTo>
                <a:lnTo>
                  <a:pt x="101" y="397"/>
                </a:lnTo>
                <a:lnTo>
                  <a:pt x="107" y="397"/>
                </a:lnTo>
                <a:lnTo>
                  <a:pt x="107" y="397"/>
                </a:lnTo>
                <a:lnTo>
                  <a:pt x="107" y="397"/>
                </a:lnTo>
                <a:lnTo>
                  <a:pt x="107" y="397"/>
                </a:lnTo>
                <a:lnTo>
                  <a:pt x="107" y="397"/>
                </a:lnTo>
                <a:lnTo>
                  <a:pt x="107" y="397"/>
                </a:lnTo>
                <a:lnTo>
                  <a:pt x="107" y="397"/>
                </a:lnTo>
                <a:lnTo>
                  <a:pt x="107" y="397"/>
                </a:lnTo>
                <a:lnTo>
                  <a:pt x="107" y="403"/>
                </a:lnTo>
                <a:lnTo>
                  <a:pt x="113" y="403"/>
                </a:lnTo>
                <a:lnTo>
                  <a:pt x="113" y="403"/>
                </a:lnTo>
                <a:lnTo>
                  <a:pt x="118" y="403"/>
                </a:lnTo>
                <a:lnTo>
                  <a:pt x="124" y="403"/>
                </a:lnTo>
                <a:lnTo>
                  <a:pt x="130" y="403"/>
                </a:lnTo>
                <a:lnTo>
                  <a:pt x="130" y="403"/>
                </a:lnTo>
                <a:lnTo>
                  <a:pt x="130" y="403"/>
                </a:lnTo>
                <a:lnTo>
                  <a:pt x="130" y="409"/>
                </a:lnTo>
                <a:lnTo>
                  <a:pt x="130" y="409"/>
                </a:lnTo>
                <a:lnTo>
                  <a:pt x="136" y="409"/>
                </a:lnTo>
                <a:lnTo>
                  <a:pt x="136" y="409"/>
                </a:lnTo>
                <a:lnTo>
                  <a:pt x="142" y="415"/>
                </a:lnTo>
                <a:lnTo>
                  <a:pt x="142" y="421"/>
                </a:lnTo>
                <a:lnTo>
                  <a:pt x="148" y="421"/>
                </a:lnTo>
                <a:lnTo>
                  <a:pt x="148" y="415"/>
                </a:lnTo>
                <a:lnTo>
                  <a:pt x="154" y="415"/>
                </a:lnTo>
                <a:lnTo>
                  <a:pt x="154" y="415"/>
                </a:lnTo>
                <a:lnTo>
                  <a:pt x="154" y="415"/>
                </a:lnTo>
                <a:lnTo>
                  <a:pt x="154" y="415"/>
                </a:lnTo>
                <a:lnTo>
                  <a:pt x="154" y="415"/>
                </a:lnTo>
                <a:lnTo>
                  <a:pt x="154" y="415"/>
                </a:lnTo>
                <a:lnTo>
                  <a:pt x="154" y="415"/>
                </a:lnTo>
                <a:lnTo>
                  <a:pt x="154" y="421"/>
                </a:lnTo>
                <a:lnTo>
                  <a:pt x="148" y="421"/>
                </a:lnTo>
                <a:lnTo>
                  <a:pt x="148" y="421"/>
                </a:lnTo>
                <a:lnTo>
                  <a:pt x="148" y="421"/>
                </a:lnTo>
                <a:lnTo>
                  <a:pt x="142" y="421"/>
                </a:lnTo>
                <a:lnTo>
                  <a:pt x="142" y="421"/>
                </a:lnTo>
                <a:lnTo>
                  <a:pt x="142" y="421"/>
                </a:lnTo>
                <a:lnTo>
                  <a:pt x="136" y="421"/>
                </a:lnTo>
                <a:lnTo>
                  <a:pt x="136" y="415"/>
                </a:lnTo>
                <a:lnTo>
                  <a:pt x="130" y="415"/>
                </a:lnTo>
                <a:lnTo>
                  <a:pt x="130" y="415"/>
                </a:lnTo>
                <a:lnTo>
                  <a:pt x="130" y="415"/>
                </a:lnTo>
                <a:lnTo>
                  <a:pt x="130" y="415"/>
                </a:lnTo>
                <a:lnTo>
                  <a:pt x="130" y="415"/>
                </a:lnTo>
                <a:lnTo>
                  <a:pt x="130" y="409"/>
                </a:lnTo>
                <a:lnTo>
                  <a:pt x="130" y="409"/>
                </a:lnTo>
                <a:lnTo>
                  <a:pt x="124" y="409"/>
                </a:lnTo>
                <a:lnTo>
                  <a:pt x="124" y="409"/>
                </a:lnTo>
                <a:lnTo>
                  <a:pt x="124" y="409"/>
                </a:lnTo>
                <a:lnTo>
                  <a:pt x="124" y="409"/>
                </a:lnTo>
                <a:lnTo>
                  <a:pt x="124" y="409"/>
                </a:lnTo>
                <a:lnTo>
                  <a:pt x="124" y="409"/>
                </a:lnTo>
                <a:lnTo>
                  <a:pt x="118" y="409"/>
                </a:lnTo>
                <a:lnTo>
                  <a:pt x="118" y="409"/>
                </a:lnTo>
                <a:lnTo>
                  <a:pt x="118" y="409"/>
                </a:lnTo>
                <a:lnTo>
                  <a:pt x="118" y="409"/>
                </a:lnTo>
                <a:lnTo>
                  <a:pt x="118" y="409"/>
                </a:lnTo>
                <a:lnTo>
                  <a:pt x="113" y="409"/>
                </a:lnTo>
                <a:lnTo>
                  <a:pt x="113" y="409"/>
                </a:lnTo>
                <a:lnTo>
                  <a:pt x="113" y="409"/>
                </a:lnTo>
                <a:lnTo>
                  <a:pt x="113" y="409"/>
                </a:lnTo>
                <a:lnTo>
                  <a:pt x="113" y="415"/>
                </a:lnTo>
                <a:lnTo>
                  <a:pt x="113" y="415"/>
                </a:lnTo>
                <a:lnTo>
                  <a:pt x="113" y="415"/>
                </a:lnTo>
                <a:lnTo>
                  <a:pt x="101" y="415"/>
                </a:lnTo>
                <a:lnTo>
                  <a:pt x="101" y="415"/>
                </a:lnTo>
                <a:lnTo>
                  <a:pt x="101" y="415"/>
                </a:lnTo>
                <a:lnTo>
                  <a:pt x="101" y="415"/>
                </a:lnTo>
                <a:lnTo>
                  <a:pt x="101" y="415"/>
                </a:lnTo>
                <a:lnTo>
                  <a:pt x="101" y="415"/>
                </a:lnTo>
                <a:lnTo>
                  <a:pt x="101" y="409"/>
                </a:lnTo>
                <a:lnTo>
                  <a:pt x="95" y="409"/>
                </a:lnTo>
                <a:lnTo>
                  <a:pt x="95" y="409"/>
                </a:lnTo>
                <a:lnTo>
                  <a:pt x="95" y="415"/>
                </a:lnTo>
                <a:lnTo>
                  <a:pt x="95" y="415"/>
                </a:lnTo>
                <a:lnTo>
                  <a:pt x="95" y="415"/>
                </a:lnTo>
                <a:lnTo>
                  <a:pt x="89" y="415"/>
                </a:lnTo>
                <a:lnTo>
                  <a:pt x="89" y="415"/>
                </a:lnTo>
                <a:lnTo>
                  <a:pt x="89" y="415"/>
                </a:lnTo>
                <a:lnTo>
                  <a:pt x="89" y="415"/>
                </a:lnTo>
                <a:lnTo>
                  <a:pt x="89" y="415"/>
                </a:lnTo>
                <a:lnTo>
                  <a:pt x="89" y="415"/>
                </a:lnTo>
                <a:lnTo>
                  <a:pt x="89" y="415"/>
                </a:lnTo>
                <a:lnTo>
                  <a:pt x="89" y="415"/>
                </a:lnTo>
                <a:lnTo>
                  <a:pt x="89" y="415"/>
                </a:lnTo>
                <a:lnTo>
                  <a:pt x="89" y="415"/>
                </a:lnTo>
                <a:lnTo>
                  <a:pt x="95" y="415"/>
                </a:lnTo>
                <a:lnTo>
                  <a:pt x="95" y="415"/>
                </a:lnTo>
                <a:lnTo>
                  <a:pt x="95" y="421"/>
                </a:lnTo>
                <a:lnTo>
                  <a:pt x="95" y="421"/>
                </a:lnTo>
                <a:lnTo>
                  <a:pt x="95" y="421"/>
                </a:lnTo>
                <a:lnTo>
                  <a:pt x="95" y="421"/>
                </a:lnTo>
                <a:lnTo>
                  <a:pt x="95" y="421"/>
                </a:lnTo>
                <a:lnTo>
                  <a:pt x="95" y="421"/>
                </a:lnTo>
                <a:lnTo>
                  <a:pt x="95" y="421"/>
                </a:lnTo>
                <a:lnTo>
                  <a:pt x="95" y="421"/>
                </a:lnTo>
                <a:lnTo>
                  <a:pt x="95" y="427"/>
                </a:lnTo>
                <a:lnTo>
                  <a:pt x="95" y="421"/>
                </a:lnTo>
                <a:lnTo>
                  <a:pt x="95" y="421"/>
                </a:lnTo>
                <a:lnTo>
                  <a:pt x="95" y="421"/>
                </a:lnTo>
                <a:lnTo>
                  <a:pt x="89" y="415"/>
                </a:lnTo>
                <a:lnTo>
                  <a:pt x="89" y="415"/>
                </a:lnTo>
                <a:lnTo>
                  <a:pt x="89" y="415"/>
                </a:lnTo>
                <a:lnTo>
                  <a:pt x="89" y="415"/>
                </a:lnTo>
                <a:lnTo>
                  <a:pt x="83" y="415"/>
                </a:lnTo>
                <a:lnTo>
                  <a:pt x="83" y="415"/>
                </a:lnTo>
                <a:lnTo>
                  <a:pt x="83" y="415"/>
                </a:lnTo>
                <a:lnTo>
                  <a:pt x="83" y="415"/>
                </a:lnTo>
                <a:lnTo>
                  <a:pt x="83" y="415"/>
                </a:lnTo>
                <a:lnTo>
                  <a:pt x="83" y="415"/>
                </a:lnTo>
                <a:lnTo>
                  <a:pt x="83" y="415"/>
                </a:lnTo>
                <a:lnTo>
                  <a:pt x="83" y="415"/>
                </a:lnTo>
                <a:lnTo>
                  <a:pt x="83" y="415"/>
                </a:lnTo>
                <a:lnTo>
                  <a:pt x="77" y="409"/>
                </a:lnTo>
                <a:lnTo>
                  <a:pt x="77" y="409"/>
                </a:lnTo>
                <a:lnTo>
                  <a:pt x="77" y="409"/>
                </a:lnTo>
                <a:lnTo>
                  <a:pt x="77" y="409"/>
                </a:lnTo>
                <a:lnTo>
                  <a:pt x="77" y="409"/>
                </a:lnTo>
                <a:lnTo>
                  <a:pt x="71" y="403"/>
                </a:lnTo>
                <a:lnTo>
                  <a:pt x="71" y="409"/>
                </a:lnTo>
                <a:lnTo>
                  <a:pt x="71" y="409"/>
                </a:lnTo>
                <a:lnTo>
                  <a:pt x="71" y="409"/>
                </a:lnTo>
                <a:lnTo>
                  <a:pt x="77" y="409"/>
                </a:lnTo>
                <a:lnTo>
                  <a:pt x="77" y="421"/>
                </a:lnTo>
                <a:lnTo>
                  <a:pt x="83" y="427"/>
                </a:lnTo>
                <a:lnTo>
                  <a:pt x="83" y="427"/>
                </a:lnTo>
                <a:lnTo>
                  <a:pt x="83" y="433"/>
                </a:lnTo>
                <a:lnTo>
                  <a:pt x="83" y="433"/>
                </a:lnTo>
                <a:lnTo>
                  <a:pt x="83" y="439"/>
                </a:lnTo>
                <a:lnTo>
                  <a:pt x="83" y="439"/>
                </a:lnTo>
                <a:lnTo>
                  <a:pt x="83" y="445"/>
                </a:lnTo>
                <a:lnTo>
                  <a:pt x="77" y="445"/>
                </a:lnTo>
                <a:lnTo>
                  <a:pt x="77" y="445"/>
                </a:lnTo>
                <a:lnTo>
                  <a:pt x="77" y="445"/>
                </a:lnTo>
                <a:lnTo>
                  <a:pt x="77" y="445"/>
                </a:lnTo>
                <a:lnTo>
                  <a:pt x="77" y="445"/>
                </a:lnTo>
                <a:lnTo>
                  <a:pt x="77" y="451"/>
                </a:lnTo>
                <a:lnTo>
                  <a:pt x="77" y="451"/>
                </a:lnTo>
                <a:lnTo>
                  <a:pt x="77" y="451"/>
                </a:lnTo>
                <a:lnTo>
                  <a:pt x="77" y="457"/>
                </a:lnTo>
                <a:lnTo>
                  <a:pt x="77" y="457"/>
                </a:lnTo>
                <a:lnTo>
                  <a:pt x="77" y="457"/>
                </a:lnTo>
                <a:lnTo>
                  <a:pt x="77" y="469"/>
                </a:lnTo>
                <a:lnTo>
                  <a:pt x="77" y="469"/>
                </a:lnTo>
                <a:lnTo>
                  <a:pt x="77" y="469"/>
                </a:lnTo>
                <a:lnTo>
                  <a:pt x="77" y="469"/>
                </a:lnTo>
                <a:lnTo>
                  <a:pt x="77" y="469"/>
                </a:lnTo>
                <a:lnTo>
                  <a:pt x="77" y="474"/>
                </a:lnTo>
                <a:lnTo>
                  <a:pt x="77" y="474"/>
                </a:lnTo>
                <a:lnTo>
                  <a:pt x="77" y="474"/>
                </a:lnTo>
                <a:lnTo>
                  <a:pt x="77" y="474"/>
                </a:lnTo>
                <a:lnTo>
                  <a:pt x="77" y="474"/>
                </a:lnTo>
                <a:lnTo>
                  <a:pt x="77" y="474"/>
                </a:lnTo>
                <a:lnTo>
                  <a:pt x="77" y="474"/>
                </a:lnTo>
                <a:lnTo>
                  <a:pt x="77" y="474"/>
                </a:lnTo>
                <a:lnTo>
                  <a:pt x="77" y="480"/>
                </a:lnTo>
                <a:lnTo>
                  <a:pt x="77" y="480"/>
                </a:lnTo>
                <a:lnTo>
                  <a:pt x="83" y="480"/>
                </a:lnTo>
                <a:lnTo>
                  <a:pt x="83" y="480"/>
                </a:lnTo>
                <a:lnTo>
                  <a:pt x="83" y="486"/>
                </a:lnTo>
                <a:lnTo>
                  <a:pt x="83" y="486"/>
                </a:lnTo>
                <a:lnTo>
                  <a:pt x="83" y="486"/>
                </a:lnTo>
                <a:lnTo>
                  <a:pt x="83" y="486"/>
                </a:lnTo>
                <a:lnTo>
                  <a:pt x="83" y="486"/>
                </a:lnTo>
                <a:lnTo>
                  <a:pt x="83" y="486"/>
                </a:lnTo>
                <a:lnTo>
                  <a:pt x="83" y="486"/>
                </a:lnTo>
                <a:lnTo>
                  <a:pt x="83" y="486"/>
                </a:lnTo>
                <a:lnTo>
                  <a:pt x="83" y="486"/>
                </a:lnTo>
                <a:lnTo>
                  <a:pt x="83" y="480"/>
                </a:lnTo>
                <a:lnTo>
                  <a:pt x="83" y="480"/>
                </a:lnTo>
                <a:lnTo>
                  <a:pt x="83" y="480"/>
                </a:lnTo>
                <a:lnTo>
                  <a:pt x="83" y="480"/>
                </a:lnTo>
                <a:lnTo>
                  <a:pt x="83" y="486"/>
                </a:lnTo>
                <a:lnTo>
                  <a:pt x="83" y="486"/>
                </a:lnTo>
                <a:lnTo>
                  <a:pt x="89" y="486"/>
                </a:lnTo>
                <a:lnTo>
                  <a:pt x="89" y="486"/>
                </a:lnTo>
                <a:lnTo>
                  <a:pt x="89" y="486"/>
                </a:lnTo>
                <a:lnTo>
                  <a:pt x="89" y="480"/>
                </a:lnTo>
                <a:lnTo>
                  <a:pt x="89" y="486"/>
                </a:lnTo>
                <a:lnTo>
                  <a:pt x="83" y="486"/>
                </a:lnTo>
                <a:lnTo>
                  <a:pt x="83" y="486"/>
                </a:lnTo>
                <a:lnTo>
                  <a:pt x="83" y="486"/>
                </a:lnTo>
                <a:lnTo>
                  <a:pt x="83" y="486"/>
                </a:lnTo>
                <a:lnTo>
                  <a:pt x="83" y="486"/>
                </a:lnTo>
                <a:lnTo>
                  <a:pt x="83" y="486"/>
                </a:lnTo>
                <a:lnTo>
                  <a:pt x="83" y="486"/>
                </a:lnTo>
                <a:lnTo>
                  <a:pt x="83" y="486"/>
                </a:lnTo>
                <a:lnTo>
                  <a:pt x="77" y="492"/>
                </a:lnTo>
                <a:lnTo>
                  <a:pt x="77" y="492"/>
                </a:lnTo>
                <a:lnTo>
                  <a:pt x="77" y="498"/>
                </a:lnTo>
                <a:lnTo>
                  <a:pt x="77" y="498"/>
                </a:lnTo>
                <a:lnTo>
                  <a:pt x="77" y="498"/>
                </a:lnTo>
                <a:lnTo>
                  <a:pt x="77" y="504"/>
                </a:lnTo>
                <a:lnTo>
                  <a:pt x="83" y="504"/>
                </a:lnTo>
                <a:lnTo>
                  <a:pt x="83" y="504"/>
                </a:lnTo>
                <a:lnTo>
                  <a:pt x="83" y="504"/>
                </a:lnTo>
                <a:lnTo>
                  <a:pt x="83" y="504"/>
                </a:lnTo>
                <a:lnTo>
                  <a:pt x="83" y="510"/>
                </a:lnTo>
                <a:lnTo>
                  <a:pt x="83" y="510"/>
                </a:lnTo>
                <a:lnTo>
                  <a:pt x="83" y="510"/>
                </a:lnTo>
                <a:lnTo>
                  <a:pt x="83" y="510"/>
                </a:lnTo>
                <a:lnTo>
                  <a:pt x="83" y="510"/>
                </a:lnTo>
                <a:lnTo>
                  <a:pt x="83" y="510"/>
                </a:lnTo>
                <a:lnTo>
                  <a:pt x="83" y="516"/>
                </a:lnTo>
                <a:lnTo>
                  <a:pt x="83" y="516"/>
                </a:lnTo>
                <a:lnTo>
                  <a:pt x="83" y="516"/>
                </a:lnTo>
                <a:lnTo>
                  <a:pt x="83" y="516"/>
                </a:lnTo>
                <a:lnTo>
                  <a:pt x="83" y="516"/>
                </a:lnTo>
                <a:lnTo>
                  <a:pt x="83" y="516"/>
                </a:lnTo>
                <a:lnTo>
                  <a:pt x="83" y="510"/>
                </a:lnTo>
                <a:lnTo>
                  <a:pt x="83" y="510"/>
                </a:lnTo>
                <a:lnTo>
                  <a:pt x="83" y="510"/>
                </a:lnTo>
                <a:lnTo>
                  <a:pt x="77" y="510"/>
                </a:lnTo>
                <a:lnTo>
                  <a:pt x="77" y="504"/>
                </a:lnTo>
                <a:lnTo>
                  <a:pt x="77" y="504"/>
                </a:lnTo>
                <a:lnTo>
                  <a:pt x="77" y="504"/>
                </a:lnTo>
                <a:lnTo>
                  <a:pt x="77" y="510"/>
                </a:lnTo>
                <a:lnTo>
                  <a:pt x="77" y="510"/>
                </a:lnTo>
                <a:lnTo>
                  <a:pt x="77" y="510"/>
                </a:lnTo>
                <a:lnTo>
                  <a:pt x="77" y="516"/>
                </a:lnTo>
                <a:lnTo>
                  <a:pt x="77" y="516"/>
                </a:lnTo>
                <a:lnTo>
                  <a:pt x="77" y="522"/>
                </a:lnTo>
                <a:lnTo>
                  <a:pt x="83" y="522"/>
                </a:lnTo>
                <a:lnTo>
                  <a:pt x="83" y="522"/>
                </a:lnTo>
                <a:lnTo>
                  <a:pt x="83" y="528"/>
                </a:lnTo>
                <a:lnTo>
                  <a:pt x="77" y="528"/>
                </a:lnTo>
                <a:lnTo>
                  <a:pt x="77" y="528"/>
                </a:lnTo>
                <a:lnTo>
                  <a:pt x="77" y="528"/>
                </a:lnTo>
                <a:lnTo>
                  <a:pt x="77" y="528"/>
                </a:lnTo>
                <a:lnTo>
                  <a:pt x="77" y="522"/>
                </a:lnTo>
                <a:lnTo>
                  <a:pt x="77" y="522"/>
                </a:lnTo>
                <a:lnTo>
                  <a:pt x="77" y="522"/>
                </a:lnTo>
                <a:lnTo>
                  <a:pt x="77" y="522"/>
                </a:lnTo>
                <a:lnTo>
                  <a:pt x="77" y="522"/>
                </a:lnTo>
                <a:lnTo>
                  <a:pt x="77" y="522"/>
                </a:lnTo>
                <a:lnTo>
                  <a:pt x="77" y="528"/>
                </a:lnTo>
                <a:lnTo>
                  <a:pt x="77" y="528"/>
                </a:lnTo>
                <a:lnTo>
                  <a:pt x="77" y="528"/>
                </a:lnTo>
                <a:lnTo>
                  <a:pt x="77" y="534"/>
                </a:lnTo>
                <a:lnTo>
                  <a:pt x="77" y="534"/>
                </a:lnTo>
                <a:lnTo>
                  <a:pt x="77" y="534"/>
                </a:lnTo>
                <a:lnTo>
                  <a:pt x="71" y="534"/>
                </a:lnTo>
                <a:lnTo>
                  <a:pt x="71" y="534"/>
                </a:lnTo>
                <a:lnTo>
                  <a:pt x="77" y="534"/>
                </a:lnTo>
                <a:lnTo>
                  <a:pt x="77" y="534"/>
                </a:lnTo>
                <a:lnTo>
                  <a:pt x="77" y="534"/>
                </a:lnTo>
                <a:lnTo>
                  <a:pt x="77" y="540"/>
                </a:lnTo>
                <a:lnTo>
                  <a:pt x="77" y="540"/>
                </a:lnTo>
                <a:lnTo>
                  <a:pt x="77" y="546"/>
                </a:lnTo>
                <a:lnTo>
                  <a:pt x="77" y="546"/>
                </a:lnTo>
                <a:lnTo>
                  <a:pt x="77" y="546"/>
                </a:lnTo>
                <a:lnTo>
                  <a:pt x="77" y="546"/>
                </a:lnTo>
                <a:lnTo>
                  <a:pt x="77" y="546"/>
                </a:lnTo>
                <a:lnTo>
                  <a:pt x="77" y="552"/>
                </a:lnTo>
                <a:lnTo>
                  <a:pt x="77" y="552"/>
                </a:lnTo>
                <a:lnTo>
                  <a:pt x="77" y="558"/>
                </a:lnTo>
                <a:lnTo>
                  <a:pt x="77" y="558"/>
                </a:lnTo>
                <a:lnTo>
                  <a:pt x="77" y="558"/>
                </a:lnTo>
                <a:lnTo>
                  <a:pt x="77" y="563"/>
                </a:lnTo>
                <a:lnTo>
                  <a:pt x="77" y="563"/>
                </a:lnTo>
                <a:lnTo>
                  <a:pt x="77" y="563"/>
                </a:lnTo>
                <a:lnTo>
                  <a:pt x="77" y="569"/>
                </a:lnTo>
                <a:lnTo>
                  <a:pt x="71" y="569"/>
                </a:lnTo>
                <a:lnTo>
                  <a:pt x="71" y="575"/>
                </a:lnTo>
                <a:lnTo>
                  <a:pt x="71" y="575"/>
                </a:lnTo>
                <a:lnTo>
                  <a:pt x="71" y="575"/>
                </a:lnTo>
                <a:lnTo>
                  <a:pt x="71" y="575"/>
                </a:lnTo>
                <a:lnTo>
                  <a:pt x="71" y="581"/>
                </a:lnTo>
                <a:lnTo>
                  <a:pt x="71" y="587"/>
                </a:lnTo>
                <a:lnTo>
                  <a:pt x="71" y="587"/>
                </a:lnTo>
                <a:lnTo>
                  <a:pt x="71" y="587"/>
                </a:lnTo>
                <a:lnTo>
                  <a:pt x="71" y="593"/>
                </a:lnTo>
                <a:lnTo>
                  <a:pt x="71" y="593"/>
                </a:lnTo>
                <a:lnTo>
                  <a:pt x="71" y="593"/>
                </a:lnTo>
                <a:lnTo>
                  <a:pt x="71" y="593"/>
                </a:lnTo>
                <a:lnTo>
                  <a:pt x="71" y="593"/>
                </a:lnTo>
                <a:lnTo>
                  <a:pt x="71" y="593"/>
                </a:lnTo>
                <a:lnTo>
                  <a:pt x="71" y="593"/>
                </a:lnTo>
                <a:lnTo>
                  <a:pt x="71" y="593"/>
                </a:lnTo>
                <a:lnTo>
                  <a:pt x="71" y="599"/>
                </a:lnTo>
                <a:lnTo>
                  <a:pt x="71" y="599"/>
                </a:lnTo>
                <a:lnTo>
                  <a:pt x="71" y="599"/>
                </a:lnTo>
                <a:lnTo>
                  <a:pt x="71" y="605"/>
                </a:lnTo>
                <a:lnTo>
                  <a:pt x="71" y="605"/>
                </a:lnTo>
                <a:lnTo>
                  <a:pt x="71" y="605"/>
                </a:lnTo>
                <a:lnTo>
                  <a:pt x="65" y="605"/>
                </a:lnTo>
                <a:lnTo>
                  <a:pt x="65" y="611"/>
                </a:lnTo>
                <a:lnTo>
                  <a:pt x="65" y="611"/>
                </a:lnTo>
                <a:lnTo>
                  <a:pt x="65" y="617"/>
                </a:lnTo>
                <a:lnTo>
                  <a:pt x="65" y="617"/>
                </a:lnTo>
                <a:lnTo>
                  <a:pt x="65" y="617"/>
                </a:lnTo>
                <a:lnTo>
                  <a:pt x="71" y="617"/>
                </a:lnTo>
                <a:lnTo>
                  <a:pt x="71" y="623"/>
                </a:lnTo>
                <a:lnTo>
                  <a:pt x="65" y="623"/>
                </a:lnTo>
                <a:lnTo>
                  <a:pt x="65" y="629"/>
                </a:lnTo>
                <a:lnTo>
                  <a:pt x="65" y="629"/>
                </a:lnTo>
                <a:lnTo>
                  <a:pt x="65" y="629"/>
                </a:lnTo>
                <a:lnTo>
                  <a:pt x="65" y="629"/>
                </a:lnTo>
                <a:lnTo>
                  <a:pt x="65" y="629"/>
                </a:lnTo>
                <a:lnTo>
                  <a:pt x="65" y="629"/>
                </a:lnTo>
                <a:lnTo>
                  <a:pt x="65" y="629"/>
                </a:lnTo>
                <a:lnTo>
                  <a:pt x="71" y="629"/>
                </a:lnTo>
                <a:lnTo>
                  <a:pt x="71" y="629"/>
                </a:lnTo>
                <a:lnTo>
                  <a:pt x="71" y="629"/>
                </a:lnTo>
                <a:lnTo>
                  <a:pt x="65" y="635"/>
                </a:lnTo>
                <a:lnTo>
                  <a:pt x="65" y="635"/>
                </a:lnTo>
                <a:lnTo>
                  <a:pt x="65" y="635"/>
                </a:lnTo>
                <a:lnTo>
                  <a:pt x="65" y="635"/>
                </a:lnTo>
                <a:lnTo>
                  <a:pt x="71" y="635"/>
                </a:lnTo>
                <a:lnTo>
                  <a:pt x="71" y="635"/>
                </a:lnTo>
                <a:lnTo>
                  <a:pt x="71" y="635"/>
                </a:lnTo>
                <a:lnTo>
                  <a:pt x="71" y="635"/>
                </a:lnTo>
                <a:lnTo>
                  <a:pt x="71" y="635"/>
                </a:lnTo>
                <a:lnTo>
                  <a:pt x="71" y="635"/>
                </a:lnTo>
                <a:lnTo>
                  <a:pt x="71" y="635"/>
                </a:lnTo>
                <a:lnTo>
                  <a:pt x="71" y="635"/>
                </a:lnTo>
                <a:lnTo>
                  <a:pt x="71" y="635"/>
                </a:lnTo>
                <a:lnTo>
                  <a:pt x="71" y="635"/>
                </a:lnTo>
                <a:lnTo>
                  <a:pt x="71" y="635"/>
                </a:lnTo>
                <a:lnTo>
                  <a:pt x="71" y="635"/>
                </a:lnTo>
                <a:lnTo>
                  <a:pt x="71" y="641"/>
                </a:lnTo>
                <a:lnTo>
                  <a:pt x="71" y="635"/>
                </a:lnTo>
                <a:lnTo>
                  <a:pt x="71" y="635"/>
                </a:lnTo>
                <a:lnTo>
                  <a:pt x="71" y="635"/>
                </a:lnTo>
                <a:lnTo>
                  <a:pt x="71" y="635"/>
                </a:lnTo>
                <a:lnTo>
                  <a:pt x="71" y="635"/>
                </a:lnTo>
                <a:lnTo>
                  <a:pt x="71" y="635"/>
                </a:lnTo>
                <a:lnTo>
                  <a:pt x="65" y="635"/>
                </a:lnTo>
                <a:lnTo>
                  <a:pt x="65" y="646"/>
                </a:lnTo>
                <a:lnTo>
                  <a:pt x="65" y="652"/>
                </a:lnTo>
                <a:lnTo>
                  <a:pt x="65" y="658"/>
                </a:lnTo>
                <a:lnTo>
                  <a:pt x="65" y="658"/>
                </a:lnTo>
                <a:lnTo>
                  <a:pt x="65" y="658"/>
                </a:lnTo>
                <a:lnTo>
                  <a:pt x="65" y="658"/>
                </a:lnTo>
                <a:lnTo>
                  <a:pt x="65" y="664"/>
                </a:lnTo>
                <a:lnTo>
                  <a:pt x="65" y="664"/>
                </a:lnTo>
                <a:lnTo>
                  <a:pt x="65" y="664"/>
                </a:lnTo>
                <a:lnTo>
                  <a:pt x="65" y="658"/>
                </a:lnTo>
                <a:lnTo>
                  <a:pt x="71" y="658"/>
                </a:lnTo>
                <a:lnTo>
                  <a:pt x="71" y="658"/>
                </a:lnTo>
                <a:lnTo>
                  <a:pt x="71" y="658"/>
                </a:lnTo>
                <a:lnTo>
                  <a:pt x="71" y="664"/>
                </a:lnTo>
                <a:lnTo>
                  <a:pt x="71" y="664"/>
                </a:lnTo>
                <a:lnTo>
                  <a:pt x="71" y="664"/>
                </a:lnTo>
                <a:lnTo>
                  <a:pt x="71" y="664"/>
                </a:lnTo>
                <a:lnTo>
                  <a:pt x="71" y="664"/>
                </a:lnTo>
                <a:lnTo>
                  <a:pt x="65" y="664"/>
                </a:lnTo>
                <a:lnTo>
                  <a:pt x="65" y="664"/>
                </a:lnTo>
                <a:lnTo>
                  <a:pt x="65" y="664"/>
                </a:lnTo>
                <a:lnTo>
                  <a:pt x="65" y="670"/>
                </a:lnTo>
                <a:lnTo>
                  <a:pt x="65" y="676"/>
                </a:lnTo>
                <a:lnTo>
                  <a:pt x="65" y="676"/>
                </a:lnTo>
                <a:lnTo>
                  <a:pt x="65" y="676"/>
                </a:lnTo>
                <a:lnTo>
                  <a:pt x="65" y="676"/>
                </a:lnTo>
                <a:lnTo>
                  <a:pt x="65" y="676"/>
                </a:lnTo>
                <a:lnTo>
                  <a:pt x="65" y="676"/>
                </a:lnTo>
                <a:lnTo>
                  <a:pt x="65" y="682"/>
                </a:lnTo>
                <a:lnTo>
                  <a:pt x="65" y="682"/>
                </a:lnTo>
                <a:lnTo>
                  <a:pt x="65" y="682"/>
                </a:lnTo>
                <a:lnTo>
                  <a:pt x="65" y="682"/>
                </a:lnTo>
                <a:lnTo>
                  <a:pt x="65" y="682"/>
                </a:lnTo>
                <a:lnTo>
                  <a:pt x="65" y="682"/>
                </a:lnTo>
                <a:lnTo>
                  <a:pt x="65" y="688"/>
                </a:lnTo>
                <a:lnTo>
                  <a:pt x="65" y="688"/>
                </a:lnTo>
                <a:lnTo>
                  <a:pt x="65" y="694"/>
                </a:lnTo>
                <a:lnTo>
                  <a:pt x="65" y="694"/>
                </a:lnTo>
                <a:lnTo>
                  <a:pt x="59" y="706"/>
                </a:lnTo>
                <a:lnTo>
                  <a:pt x="59" y="718"/>
                </a:lnTo>
                <a:lnTo>
                  <a:pt x="59" y="718"/>
                </a:lnTo>
                <a:lnTo>
                  <a:pt x="65" y="724"/>
                </a:lnTo>
                <a:lnTo>
                  <a:pt x="65" y="724"/>
                </a:lnTo>
                <a:lnTo>
                  <a:pt x="59" y="724"/>
                </a:lnTo>
                <a:lnTo>
                  <a:pt x="59" y="724"/>
                </a:lnTo>
                <a:lnTo>
                  <a:pt x="59" y="724"/>
                </a:lnTo>
                <a:lnTo>
                  <a:pt x="59" y="724"/>
                </a:lnTo>
                <a:lnTo>
                  <a:pt x="59" y="724"/>
                </a:lnTo>
                <a:lnTo>
                  <a:pt x="59" y="730"/>
                </a:lnTo>
                <a:lnTo>
                  <a:pt x="59" y="730"/>
                </a:lnTo>
                <a:lnTo>
                  <a:pt x="59" y="735"/>
                </a:lnTo>
                <a:lnTo>
                  <a:pt x="59" y="741"/>
                </a:lnTo>
                <a:lnTo>
                  <a:pt x="59" y="753"/>
                </a:lnTo>
                <a:lnTo>
                  <a:pt x="53" y="759"/>
                </a:lnTo>
                <a:lnTo>
                  <a:pt x="53" y="759"/>
                </a:lnTo>
                <a:lnTo>
                  <a:pt x="53" y="765"/>
                </a:lnTo>
                <a:lnTo>
                  <a:pt x="53" y="765"/>
                </a:lnTo>
                <a:lnTo>
                  <a:pt x="53" y="765"/>
                </a:lnTo>
                <a:lnTo>
                  <a:pt x="59" y="765"/>
                </a:lnTo>
                <a:lnTo>
                  <a:pt x="59" y="765"/>
                </a:lnTo>
                <a:lnTo>
                  <a:pt x="59" y="759"/>
                </a:lnTo>
                <a:lnTo>
                  <a:pt x="59" y="759"/>
                </a:lnTo>
                <a:lnTo>
                  <a:pt x="59" y="759"/>
                </a:lnTo>
                <a:lnTo>
                  <a:pt x="59" y="759"/>
                </a:lnTo>
                <a:lnTo>
                  <a:pt x="65" y="759"/>
                </a:lnTo>
                <a:lnTo>
                  <a:pt x="65" y="759"/>
                </a:lnTo>
                <a:lnTo>
                  <a:pt x="65" y="759"/>
                </a:lnTo>
                <a:lnTo>
                  <a:pt x="65" y="759"/>
                </a:lnTo>
                <a:lnTo>
                  <a:pt x="65" y="759"/>
                </a:lnTo>
                <a:lnTo>
                  <a:pt x="65" y="765"/>
                </a:lnTo>
                <a:lnTo>
                  <a:pt x="65" y="765"/>
                </a:lnTo>
                <a:lnTo>
                  <a:pt x="65" y="765"/>
                </a:lnTo>
                <a:lnTo>
                  <a:pt x="65" y="759"/>
                </a:lnTo>
                <a:lnTo>
                  <a:pt x="59" y="759"/>
                </a:lnTo>
                <a:lnTo>
                  <a:pt x="59" y="759"/>
                </a:lnTo>
                <a:lnTo>
                  <a:pt x="59" y="759"/>
                </a:lnTo>
                <a:lnTo>
                  <a:pt x="59" y="759"/>
                </a:lnTo>
                <a:lnTo>
                  <a:pt x="59" y="759"/>
                </a:lnTo>
                <a:lnTo>
                  <a:pt x="59" y="759"/>
                </a:lnTo>
                <a:lnTo>
                  <a:pt x="59" y="765"/>
                </a:lnTo>
                <a:lnTo>
                  <a:pt x="59" y="765"/>
                </a:lnTo>
                <a:lnTo>
                  <a:pt x="59" y="765"/>
                </a:lnTo>
                <a:lnTo>
                  <a:pt x="59" y="765"/>
                </a:lnTo>
                <a:lnTo>
                  <a:pt x="53" y="771"/>
                </a:lnTo>
                <a:lnTo>
                  <a:pt x="53" y="771"/>
                </a:lnTo>
                <a:lnTo>
                  <a:pt x="53" y="771"/>
                </a:lnTo>
                <a:lnTo>
                  <a:pt x="53" y="771"/>
                </a:lnTo>
                <a:lnTo>
                  <a:pt x="53" y="771"/>
                </a:lnTo>
                <a:lnTo>
                  <a:pt x="53" y="777"/>
                </a:lnTo>
                <a:lnTo>
                  <a:pt x="53" y="777"/>
                </a:lnTo>
                <a:lnTo>
                  <a:pt x="53" y="783"/>
                </a:lnTo>
                <a:lnTo>
                  <a:pt x="53" y="783"/>
                </a:lnTo>
                <a:lnTo>
                  <a:pt x="47" y="789"/>
                </a:lnTo>
                <a:lnTo>
                  <a:pt x="47" y="801"/>
                </a:lnTo>
                <a:lnTo>
                  <a:pt x="41" y="807"/>
                </a:lnTo>
                <a:lnTo>
                  <a:pt x="41" y="813"/>
                </a:lnTo>
                <a:lnTo>
                  <a:pt x="47" y="807"/>
                </a:lnTo>
                <a:lnTo>
                  <a:pt x="47" y="801"/>
                </a:lnTo>
                <a:lnTo>
                  <a:pt x="47" y="801"/>
                </a:lnTo>
                <a:lnTo>
                  <a:pt x="47" y="801"/>
                </a:lnTo>
                <a:lnTo>
                  <a:pt x="47" y="801"/>
                </a:lnTo>
                <a:lnTo>
                  <a:pt x="53" y="801"/>
                </a:lnTo>
                <a:lnTo>
                  <a:pt x="53" y="795"/>
                </a:lnTo>
                <a:lnTo>
                  <a:pt x="53" y="795"/>
                </a:lnTo>
                <a:lnTo>
                  <a:pt x="53" y="801"/>
                </a:lnTo>
                <a:lnTo>
                  <a:pt x="53" y="801"/>
                </a:lnTo>
                <a:lnTo>
                  <a:pt x="53" y="801"/>
                </a:lnTo>
                <a:lnTo>
                  <a:pt x="53" y="801"/>
                </a:lnTo>
                <a:lnTo>
                  <a:pt x="53" y="801"/>
                </a:lnTo>
                <a:lnTo>
                  <a:pt x="53" y="801"/>
                </a:lnTo>
                <a:lnTo>
                  <a:pt x="53" y="807"/>
                </a:lnTo>
                <a:lnTo>
                  <a:pt x="53" y="807"/>
                </a:lnTo>
                <a:lnTo>
                  <a:pt x="59" y="807"/>
                </a:lnTo>
                <a:lnTo>
                  <a:pt x="59" y="807"/>
                </a:lnTo>
                <a:lnTo>
                  <a:pt x="59" y="807"/>
                </a:lnTo>
                <a:lnTo>
                  <a:pt x="59" y="807"/>
                </a:lnTo>
                <a:lnTo>
                  <a:pt x="59" y="807"/>
                </a:lnTo>
                <a:lnTo>
                  <a:pt x="53" y="807"/>
                </a:lnTo>
                <a:lnTo>
                  <a:pt x="53" y="807"/>
                </a:lnTo>
                <a:lnTo>
                  <a:pt x="53" y="807"/>
                </a:lnTo>
                <a:lnTo>
                  <a:pt x="53" y="807"/>
                </a:lnTo>
                <a:lnTo>
                  <a:pt x="53" y="807"/>
                </a:lnTo>
                <a:lnTo>
                  <a:pt x="53" y="807"/>
                </a:lnTo>
                <a:lnTo>
                  <a:pt x="53" y="801"/>
                </a:lnTo>
                <a:lnTo>
                  <a:pt x="53" y="801"/>
                </a:lnTo>
                <a:lnTo>
                  <a:pt x="53" y="801"/>
                </a:lnTo>
                <a:lnTo>
                  <a:pt x="53" y="801"/>
                </a:lnTo>
                <a:lnTo>
                  <a:pt x="53" y="801"/>
                </a:lnTo>
                <a:lnTo>
                  <a:pt x="53" y="801"/>
                </a:lnTo>
                <a:lnTo>
                  <a:pt x="47" y="801"/>
                </a:lnTo>
                <a:lnTo>
                  <a:pt x="47" y="801"/>
                </a:lnTo>
                <a:lnTo>
                  <a:pt x="47" y="807"/>
                </a:lnTo>
                <a:lnTo>
                  <a:pt x="47" y="807"/>
                </a:lnTo>
                <a:lnTo>
                  <a:pt x="47" y="807"/>
                </a:lnTo>
                <a:lnTo>
                  <a:pt x="47" y="807"/>
                </a:lnTo>
                <a:lnTo>
                  <a:pt x="41" y="813"/>
                </a:lnTo>
                <a:lnTo>
                  <a:pt x="41" y="813"/>
                </a:lnTo>
                <a:lnTo>
                  <a:pt x="41" y="813"/>
                </a:lnTo>
                <a:lnTo>
                  <a:pt x="41" y="813"/>
                </a:lnTo>
                <a:lnTo>
                  <a:pt x="41" y="813"/>
                </a:lnTo>
                <a:lnTo>
                  <a:pt x="41" y="818"/>
                </a:lnTo>
                <a:lnTo>
                  <a:pt x="41" y="818"/>
                </a:lnTo>
                <a:lnTo>
                  <a:pt x="41" y="818"/>
                </a:lnTo>
                <a:lnTo>
                  <a:pt x="41" y="818"/>
                </a:lnTo>
                <a:lnTo>
                  <a:pt x="41" y="818"/>
                </a:lnTo>
                <a:lnTo>
                  <a:pt x="41" y="813"/>
                </a:lnTo>
                <a:lnTo>
                  <a:pt x="41" y="813"/>
                </a:lnTo>
                <a:lnTo>
                  <a:pt x="41" y="813"/>
                </a:lnTo>
                <a:lnTo>
                  <a:pt x="41" y="813"/>
                </a:lnTo>
                <a:lnTo>
                  <a:pt x="35" y="813"/>
                </a:lnTo>
                <a:lnTo>
                  <a:pt x="35" y="813"/>
                </a:lnTo>
                <a:lnTo>
                  <a:pt x="35" y="813"/>
                </a:lnTo>
                <a:lnTo>
                  <a:pt x="35" y="813"/>
                </a:lnTo>
                <a:lnTo>
                  <a:pt x="35" y="818"/>
                </a:lnTo>
                <a:lnTo>
                  <a:pt x="35" y="818"/>
                </a:lnTo>
                <a:lnTo>
                  <a:pt x="35" y="818"/>
                </a:lnTo>
                <a:lnTo>
                  <a:pt x="35" y="824"/>
                </a:lnTo>
                <a:lnTo>
                  <a:pt x="35" y="836"/>
                </a:lnTo>
                <a:lnTo>
                  <a:pt x="30" y="842"/>
                </a:lnTo>
                <a:lnTo>
                  <a:pt x="35" y="842"/>
                </a:lnTo>
                <a:lnTo>
                  <a:pt x="35" y="842"/>
                </a:lnTo>
                <a:lnTo>
                  <a:pt x="30" y="842"/>
                </a:lnTo>
                <a:lnTo>
                  <a:pt x="30" y="842"/>
                </a:lnTo>
                <a:lnTo>
                  <a:pt x="30" y="848"/>
                </a:lnTo>
                <a:lnTo>
                  <a:pt x="30" y="854"/>
                </a:lnTo>
                <a:lnTo>
                  <a:pt x="30" y="854"/>
                </a:lnTo>
                <a:lnTo>
                  <a:pt x="30" y="854"/>
                </a:lnTo>
                <a:lnTo>
                  <a:pt x="30" y="860"/>
                </a:lnTo>
                <a:lnTo>
                  <a:pt x="30" y="860"/>
                </a:lnTo>
                <a:lnTo>
                  <a:pt x="24" y="866"/>
                </a:lnTo>
                <a:lnTo>
                  <a:pt x="24" y="872"/>
                </a:lnTo>
                <a:lnTo>
                  <a:pt x="24" y="878"/>
                </a:lnTo>
                <a:lnTo>
                  <a:pt x="18" y="878"/>
                </a:lnTo>
                <a:lnTo>
                  <a:pt x="18" y="884"/>
                </a:lnTo>
                <a:lnTo>
                  <a:pt x="18" y="884"/>
                </a:lnTo>
                <a:lnTo>
                  <a:pt x="18" y="884"/>
                </a:lnTo>
                <a:lnTo>
                  <a:pt x="18" y="884"/>
                </a:lnTo>
                <a:lnTo>
                  <a:pt x="24" y="884"/>
                </a:lnTo>
                <a:lnTo>
                  <a:pt x="24" y="896"/>
                </a:lnTo>
                <a:lnTo>
                  <a:pt x="24" y="896"/>
                </a:lnTo>
                <a:lnTo>
                  <a:pt x="24" y="896"/>
                </a:lnTo>
                <a:lnTo>
                  <a:pt x="24" y="896"/>
                </a:lnTo>
                <a:lnTo>
                  <a:pt x="30" y="896"/>
                </a:lnTo>
                <a:lnTo>
                  <a:pt x="30" y="902"/>
                </a:lnTo>
                <a:lnTo>
                  <a:pt x="30" y="902"/>
                </a:lnTo>
                <a:lnTo>
                  <a:pt x="30" y="902"/>
                </a:lnTo>
                <a:lnTo>
                  <a:pt x="30" y="902"/>
                </a:lnTo>
                <a:lnTo>
                  <a:pt x="35" y="907"/>
                </a:lnTo>
                <a:lnTo>
                  <a:pt x="35" y="907"/>
                </a:lnTo>
                <a:lnTo>
                  <a:pt x="35" y="907"/>
                </a:lnTo>
                <a:lnTo>
                  <a:pt x="35" y="907"/>
                </a:lnTo>
                <a:lnTo>
                  <a:pt x="35" y="913"/>
                </a:lnTo>
                <a:lnTo>
                  <a:pt x="35" y="913"/>
                </a:lnTo>
                <a:lnTo>
                  <a:pt x="35" y="913"/>
                </a:lnTo>
                <a:lnTo>
                  <a:pt x="35" y="913"/>
                </a:lnTo>
                <a:lnTo>
                  <a:pt x="35" y="919"/>
                </a:lnTo>
                <a:lnTo>
                  <a:pt x="35" y="919"/>
                </a:lnTo>
                <a:lnTo>
                  <a:pt x="35" y="919"/>
                </a:lnTo>
                <a:lnTo>
                  <a:pt x="35" y="925"/>
                </a:lnTo>
                <a:lnTo>
                  <a:pt x="35" y="925"/>
                </a:lnTo>
                <a:lnTo>
                  <a:pt x="35" y="925"/>
                </a:lnTo>
                <a:lnTo>
                  <a:pt x="30" y="931"/>
                </a:lnTo>
                <a:lnTo>
                  <a:pt x="30" y="931"/>
                </a:lnTo>
                <a:lnTo>
                  <a:pt x="30" y="931"/>
                </a:lnTo>
                <a:lnTo>
                  <a:pt x="30" y="931"/>
                </a:lnTo>
                <a:lnTo>
                  <a:pt x="30" y="937"/>
                </a:lnTo>
                <a:lnTo>
                  <a:pt x="30" y="937"/>
                </a:lnTo>
                <a:lnTo>
                  <a:pt x="30" y="937"/>
                </a:lnTo>
                <a:lnTo>
                  <a:pt x="30" y="943"/>
                </a:lnTo>
                <a:lnTo>
                  <a:pt x="30" y="943"/>
                </a:lnTo>
                <a:lnTo>
                  <a:pt x="30" y="943"/>
                </a:lnTo>
                <a:lnTo>
                  <a:pt x="30" y="949"/>
                </a:lnTo>
                <a:lnTo>
                  <a:pt x="30" y="949"/>
                </a:lnTo>
                <a:lnTo>
                  <a:pt x="30" y="949"/>
                </a:lnTo>
                <a:lnTo>
                  <a:pt x="30" y="949"/>
                </a:lnTo>
                <a:lnTo>
                  <a:pt x="30" y="949"/>
                </a:lnTo>
                <a:lnTo>
                  <a:pt x="30" y="949"/>
                </a:lnTo>
                <a:lnTo>
                  <a:pt x="30" y="949"/>
                </a:lnTo>
                <a:lnTo>
                  <a:pt x="35" y="955"/>
                </a:lnTo>
                <a:lnTo>
                  <a:pt x="35" y="955"/>
                </a:lnTo>
                <a:lnTo>
                  <a:pt x="35" y="961"/>
                </a:lnTo>
                <a:lnTo>
                  <a:pt x="35" y="961"/>
                </a:lnTo>
                <a:lnTo>
                  <a:pt x="35" y="961"/>
                </a:lnTo>
                <a:lnTo>
                  <a:pt x="35" y="961"/>
                </a:lnTo>
                <a:lnTo>
                  <a:pt x="35" y="961"/>
                </a:lnTo>
                <a:lnTo>
                  <a:pt x="35" y="961"/>
                </a:lnTo>
                <a:lnTo>
                  <a:pt x="35" y="967"/>
                </a:lnTo>
                <a:lnTo>
                  <a:pt x="35" y="967"/>
                </a:lnTo>
                <a:lnTo>
                  <a:pt x="35" y="967"/>
                </a:lnTo>
                <a:lnTo>
                  <a:pt x="35" y="973"/>
                </a:lnTo>
                <a:lnTo>
                  <a:pt x="35" y="973"/>
                </a:lnTo>
                <a:lnTo>
                  <a:pt x="35" y="973"/>
                </a:lnTo>
                <a:lnTo>
                  <a:pt x="41" y="979"/>
                </a:lnTo>
                <a:lnTo>
                  <a:pt x="41" y="979"/>
                </a:lnTo>
                <a:lnTo>
                  <a:pt x="35" y="979"/>
                </a:lnTo>
                <a:lnTo>
                  <a:pt x="41" y="979"/>
                </a:lnTo>
                <a:lnTo>
                  <a:pt x="41" y="985"/>
                </a:lnTo>
                <a:lnTo>
                  <a:pt x="47" y="990"/>
                </a:lnTo>
                <a:lnTo>
                  <a:pt x="47" y="990"/>
                </a:lnTo>
                <a:lnTo>
                  <a:pt x="47" y="990"/>
                </a:lnTo>
                <a:lnTo>
                  <a:pt x="47" y="990"/>
                </a:lnTo>
                <a:lnTo>
                  <a:pt x="53" y="990"/>
                </a:lnTo>
                <a:lnTo>
                  <a:pt x="53" y="996"/>
                </a:lnTo>
                <a:lnTo>
                  <a:pt x="53" y="996"/>
                </a:lnTo>
                <a:lnTo>
                  <a:pt x="53" y="996"/>
                </a:lnTo>
                <a:lnTo>
                  <a:pt x="53" y="996"/>
                </a:lnTo>
                <a:lnTo>
                  <a:pt x="53" y="996"/>
                </a:lnTo>
                <a:lnTo>
                  <a:pt x="53" y="996"/>
                </a:lnTo>
                <a:lnTo>
                  <a:pt x="53" y="996"/>
                </a:lnTo>
                <a:lnTo>
                  <a:pt x="53" y="1002"/>
                </a:lnTo>
                <a:lnTo>
                  <a:pt x="53" y="1008"/>
                </a:lnTo>
                <a:lnTo>
                  <a:pt x="53" y="1014"/>
                </a:lnTo>
                <a:lnTo>
                  <a:pt x="53" y="1020"/>
                </a:lnTo>
                <a:lnTo>
                  <a:pt x="47" y="1020"/>
                </a:lnTo>
                <a:lnTo>
                  <a:pt x="47" y="1020"/>
                </a:lnTo>
                <a:lnTo>
                  <a:pt x="47" y="1026"/>
                </a:lnTo>
                <a:lnTo>
                  <a:pt x="47" y="1026"/>
                </a:lnTo>
                <a:lnTo>
                  <a:pt x="53" y="1026"/>
                </a:lnTo>
                <a:lnTo>
                  <a:pt x="53" y="1032"/>
                </a:lnTo>
                <a:lnTo>
                  <a:pt x="53" y="1026"/>
                </a:lnTo>
                <a:lnTo>
                  <a:pt x="53" y="1026"/>
                </a:lnTo>
                <a:lnTo>
                  <a:pt x="59" y="1026"/>
                </a:lnTo>
                <a:lnTo>
                  <a:pt x="59" y="1032"/>
                </a:lnTo>
                <a:lnTo>
                  <a:pt x="59" y="1032"/>
                </a:lnTo>
                <a:lnTo>
                  <a:pt x="59" y="1032"/>
                </a:lnTo>
                <a:lnTo>
                  <a:pt x="59" y="1038"/>
                </a:lnTo>
                <a:lnTo>
                  <a:pt x="59" y="1038"/>
                </a:lnTo>
                <a:lnTo>
                  <a:pt x="59" y="1038"/>
                </a:lnTo>
                <a:lnTo>
                  <a:pt x="59" y="1044"/>
                </a:lnTo>
                <a:lnTo>
                  <a:pt x="59" y="1044"/>
                </a:lnTo>
                <a:lnTo>
                  <a:pt x="65" y="1044"/>
                </a:lnTo>
                <a:lnTo>
                  <a:pt x="65" y="1044"/>
                </a:lnTo>
                <a:lnTo>
                  <a:pt x="65" y="1050"/>
                </a:lnTo>
                <a:lnTo>
                  <a:pt x="65" y="1050"/>
                </a:lnTo>
                <a:lnTo>
                  <a:pt x="65" y="1050"/>
                </a:lnTo>
                <a:lnTo>
                  <a:pt x="65" y="1050"/>
                </a:lnTo>
                <a:lnTo>
                  <a:pt x="65" y="1050"/>
                </a:lnTo>
                <a:lnTo>
                  <a:pt x="65" y="1056"/>
                </a:lnTo>
                <a:lnTo>
                  <a:pt x="65" y="1056"/>
                </a:lnTo>
                <a:lnTo>
                  <a:pt x="65" y="1056"/>
                </a:lnTo>
                <a:lnTo>
                  <a:pt x="65" y="1056"/>
                </a:lnTo>
                <a:lnTo>
                  <a:pt x="65" y="1056"/>
                </a:lnTo>
                <a:lnTo>
                  <a:pt x="65" y="1056"/>
                </a:lnTo>
                <a:lnTo>
                  <a:pt x="65" y="1062"/>
                </a:lnTo>
                <a:lnTo>
                  <a:pt x="65" y="1068"/>
                </a:lnTo>
                <a:lnTo>
                  <a:pt x="65" y="1074"/>
                </a:lnTo>
                <a:lnTo>
                  <a:pt x="65" y="1079"/>
                </a:lnTo>
                <a:lnTo>
                  <a:pt x="65" y="1091"/>
                </a:lnTo>
                <a:lnTo>
                  <a:pt x="65" y="1091"/>
                </a:lnTo>
                <a:lnTo>
                  <a:pt x="65" y="1097"/>
                </a:lnTo>
                <a:lnTo>
                  <a:pt x="59" y="1103"/>
                </a:lnTo>
                <a:lnTo>
                  <a:pt x="59" y="1109"/>
                </a:lnTo>
                <a:lnTo>
                  <a:pt x="59" y="1109"/>
                </a:lnTo>
                <a:lnTo>
                  <a:pt x="59" y="1109"/>
                </a:lnTo>
                <a:lnTo>
                  <a:pt x="59" y="1109"/>
                </a:lnTo>
                <a:lnTo>
                  <a:pt x="59" y="1109"/>
                </a:lnTo>
                <a:lnTo>
                  <a:pt x="59" y="1109"/>
                </a:lnTo>
                <a:lnTo>
                  <a:pt x="59" y="1109"/>
                </a:lnTo>
                <a:lnTo>
                  <a:pt x="59" y="1109"/>
                </a:lnTo>
                <a:lnTo>
                  <a:pt x="59" y="1115"/>
                </a:lnTo>
                <a:lnTo>
                  <a:pt x="59" y="1115"/>
                </a:lnTo>
                <a:lnTo>
                  <a:pt x="59" y="1115"/>
                </a:lnTo>
                <a:lnTo>
                  <a:pt x="59" y="1115"/>
                </a:lnTo>
                <a:lnTo>
                  <a:pt x="59" y="1115"/>
                </a:lnTo>
                <a:lnTo>
                  <a:pt x="59" y="1121"/>
                </a:lnTo>
                <a:lnTo>
                  <a:pt x="59" y="1121"/>
                </a:lnTo>
                <a:lnTo>
                  <a:pt x="59" y="1121"/>
                </a:lnTo>
                <a:lnTo>
                  <a:pt x="59" y="1121"/>
                </a:lnTo>
                <a:lnTo>
                  <a:pt x="65" y="1121"/>
                </a:lnTo>
                <a:lnTo>
                  <a:pt x="65" y="1121"/>
                </a:lnTo>
                <a:lnTo>
                  <a:pt x="65" y="1121"/>
                </a:lnTo>
                <a:lnTo>
                  <a:pt x="65" y="1127"/>
                </a:lnTo>
                <a:lnTo>
                  <a:pt x="59" y="1133"/>
                </a:lnTo>
                <a:lnTo>
                  <a:pt x="59" y="1139"/>
                </a:lnTo>
                <a:lnTo>
                  <a:pt x="59" y="1151"/>
                </a:lnTo>
                <a:lnTo>
                  <a:pt x="53" y="1157"/>
                </a:lnTo>
                <a:lnTo>
                  <a:pt x="53" y="1157"/>
                </a:lnTo>
                <a:lnTo>
                  <a:pt x="53" y="1157"/>
                </a:lnTo>
                <a:lnTo>
                  <a:pt x="53" y="1162"/>
                </a:lnTo>
                <a:lnTo>
                  <a:pt x="53" y="1157"/>
                </a:lnTo>
                <a:lnTo>
                  <a:pt x="53" y="1157"/>
                </a:lnTo>
                <a:lnTo>
                  <a:pt x="53" y="1151"/>
                </a:lnTo>
                <a:lnTo>
                  <a:pt x="59" y="1151"/>
                </a:lnTo>
                <a:lnTo>
                  <a:pt x="59" y="1151"/>
                </a:lnTo>
                <a:lnTo>
                  <a:pt x="59" y="1151"/>
                </a:lnTo>
                <a:lnTo>
                  <a:pt x="59" y="1151"/>
                </a:lnTo>
                <a:lnTo>
                  <a:pt x="59" y="1145"/>
                </a:lnTo>
                <a:lnTo>
                  <a:pt x="59" y="1145"/>
                </a:lnTo>
                <a:lnTo>
                  <a:pt x="59" y="1145"/>
                </a:lnTo>
                <a:lnTo>
                  <a:pt x="59" y="1145"/>
                </a:lnTo>
                <a:lnTo>
                  <a:pt x="59" y="1145"/>
                </a:lnTo>
                <a:lnTo>
                  <a:pt x="59" y="1145"/>
                </a:lnTo>
                <a:lnTo>
                  <a:pt x="59" y="1145"/>
                </a:lnTo>
                <a:lnTo>
                  <a:pt x="59" y="1145"/>
                </a:lnTo>
                <a:lnTo>
                  <a:pt x="59" y="1145"/>
                </a:lnTo>
                <a:lnTo>
                  <a:pt x="59" y="1145"/>
                </a:lnTo>
                <a:lnTo>
                  <a:pt x="65" y="1145"/>
                </a:lnTo>
                <a:lnTo>
                  <a:pt x="65" y="1145"/>
                </a:lnTo>
                <a:lnTo>
                  <a:pt x="65" y="1145"/>
                </a:lnTo>
                <a:lnTo>
                  <a:pt x="65" y="1145"/>
                </a:lnTo>
                <a:lnTo>
                  <a:pt x="65" y="1145"/>
                </a:lnTo>
                <a:lnTo>
                  <a:pt x="65" y="1145"/>
                </a:lnTo>
                <a:lnTo>
                  <a:pt x="65" y="1151"/>
                </a:lnTo>
                <a:lnTo>
                  <a:pt x="65" y="1151"/>
                </a:lnTo>
                <a:lnTo>
                  <a:pt x="65" y="1151"/>
                </a:lnTo>
                <a:lnTo>
                  <a:pt x="65" y="1151"/>
                </a:lnTo>
                <a:lnTo>
                  <a:pt x="59" y="1151"/>
                </a:lnTo>
                <a:lnTo>
                  <a:pt x="59" y="1151"/>
                </a:lnTo>
                <a:lnTo>
                  <a:pt x="59" y="1151"/>
                </a:lnTo>
                <a:lnTo>
                  <a:pt x="59" y="1151"/>
                </a:lnTo>
                <a:lnTo>
                  <a:pt x="59" y="1151"/>
                </a:lnTo>
                <a:lnTo>
                  <a:pt x="59" y="1151"/>
                </a:lnTo>
                <a:lnTo>
                  <a:pt x="59" y="1151"/>
                </a:lnTo>
                <a:lnTo>
                  <a:pt x="53" y="1157"/>
                </a:lnTo>
                <a:lnTo>
                  <a:pt x="53" y="1157"/>
                </a:lnTo>
                <a:lnTo>
                  <a:pt x="53" y="1157"/>
                </a:lnTo>
                <a:lnTo>
                  <a:pt x="53" y="1157"/>
                </a:lnTo>
                <a:lnTo>
                  <a:pt x="53" y="1157"/>
                </a:lnTo>
                <a:lnTo>
                  <a:pt x="53" y="1157"/>
                </a:lnTo>
                <a:lnTo>
                  <a:pt x="53" y="1162"/>
                </a:lnTo>
                <a:lnTo>
                  <a:pt x="53" y="1162"/>
                </a:lnTo>
                <a:lnTo>
                  <a:pt x="53" y="1162"/>
                </a:lnTo>
                <a:lnTo>
                  <a:pt x="53" y="1162"/>
                </a:lnTo>
                <a:lnTo>
                  <a:pt x="53" y="1162"/>
                </a:lnTo>
                <a:lnTo>
                  <a:pt x="53" y="1162"/>
                </a:lnTo>
                <a:lnTo>
                  <a:pt x="53" y="1162"/>
                </a:lnTo>
                <a:lnTo>
                  <a:pt x="53" y="1162"/>
                </a:lnTo>
                <a:lnTo>
                  <a:pt x="53" y="1162"/>
                </a:lnTo>
                <a:lnTo>
                  <a:pt x="53" y="1162"/>
                </a:lnTo>
                <a:lnTo>
                  <a:pt x="53" y="1168"/>
                </a:lnTo>
                <a:lnTo>
                  <a:pt x="53" y="1168"/>
                </a:lnTo>
                <a:lnTo>
                  <a:pt x="53" y="1168"/>
                </a:lnTo>
                <a:lnTo>
                  <a:pt x="53" y="1168"/>
                </a:lnTo>
                <a:lnTo>
                  <a:pt x="53" y="1168"/>
                </a:lnTo>
                <a:lnTo>
                  <a:pt x="53" y="1168"/>
                </a:lnTo>
                <a:lnTo>
                  <a:pt x="53" y="1168"/>
                </a:lnTo>
                <a:lnTo>
                  <a:pt x="53" y="1168"/>
                </a:lnTo>
                <a:lnTo>
                  <a:pt x="53" y="1168"/>
                </a:lnTo>
                <a:lnTo>
                  <a:pt x="53" y="1168"/>
                </a:lnTo>
                <a:lnTo>
                  <a:pt x="53" y="1168"/>
                </a:lnTo>
                <a:lnTo>
                  <a:pt x="47" y="1168"/>
                </a:lnTo>
                <a:lnTo>
                  <a:pt x="47" y="1168"/>
                </a:lnTo>
                <a:lnTo>
                  <a:pt x="47" y="1168"/>
                </a:lnTo>
                <a:lnTo>
                  <a:pt x="47" y="1168"/>
                </a:lnTo>
                <a:lnTo>
                  <a:pt x="47" y="1168"/>
                </a:lnTo>
                <a:lnTo>
                  <a:pt x="47" y="1168"/>
                </a:lnTo>
                <a:lnTo>
                  <a:pt x="47" y="1162"/>
                </a:lnTo>
                <a:lnTo>
                  <a:pt x="53" y="1162"/>
                </a:lnTo>
                <a:lnTo>
                  <a:pt x="53" y="1162"/>
                </a:lnTo>
                <a:lnTo>
                  <a:pt x="47" y="1157"/>
                </a:lnTo>
                <a:lnTo>
                  <a:pt x="47" y="1162"/>
                </a:lnTo>
                <a:lnTo>
                  <a:pt x="47" y="1168"/>
                </a:lnTo>
                <a:lnTo>
                  <a:pt x="47" y="1168"/>
                </a:lnTo>
                <a:lnTo>
                  <a:pt x="47" y="1168"/>
                </a:lnTo>
                <a:lnTo>
                  <a:pt x="47" y="1168"/>
                </a:lnTo>
                <a:lnTo>
                  <a:pt x="41" y="1174"/>
                </a:lnTo>
                <a:lnTo>
                  <a:pt x="41" y="1174"/>
                </a:lnTo>
                <a:lnTo>
                  <a:pt x="41" y="1174"/>
                </a:lnTo>
                <a:lnTo>
                  <a:pt x="41" y="1174"/>
                </a:lnTo>
                <a:lnTo>
                  <a:pt x="41" y="1174"/>
                </a:lnTo>
                <a:lnTo>
                  <a:pt x="41" y="1174"/>
                </a:lnTo>
                <a:lnTo>
                  <a:pt x="41" y="1174"/>
                </a:lnTo>
                <a:lnTo>
                  <a:pt x="41" y="1174"/>
                </a:lnTo>
                <a:lnTo>
                  <a:pt x="41" y="1174"/>
                </a:lnTo>
                <a:lnTo>
                  <a:pt x="41" y="1174"/>
                </a:lnTo>
                <a:lnTo>
                  <a:pt x="41" y="1174"/>
                </a:lnTo>
                <a:lnTo>
                  <a:pt x="41" y="1174"/>
                </a:lnTo>
                <a:lnTo>
                  <a:pt x="41" y="1174"/>
                </a:lnTo>
                <a:lnTo>
                  <a:pt x="41" y="1180"/>
                </a:lnTo>
                <a:lnTo>
                  <a:pt x="41" y="1180"/>
                </a:lnTo>
                <a:lnTo>
                  <a:pt x="41" y="1180"/>
                </a:lnTo>
                <a:lnTo>
                  <a:pt x="41" y="1180"/>
                </a:lnTo>
                <a:lnTo>
                  <a:pt x="41" y="1186"/>
                </a:lnTo>
                <a:lnTo>
                  <a:pt x="41" y="1186"/>
                </a:lnTo>
                <a:lnTo>
                  <a:pt x="35" y="1186"/>
                </a:lnTo>
                <a:lnTo>
                  <a:pt x="35" y="1192"/>
                </a:lnTo>
                <a:lnTo>
                  <a:pt x="35" y="1192"/>
                </a:lnTo>
                <a:lnTo>
                  <a:pt x="35" y="1192"/>
                </a:lnTo>
                <a:lnTo>
                  <a:pt x="35" y="1198"/>
                </a:lnTo>
                <a:lnTo>
                  <a:pt x="35" y="1198"/>
                </a:lnTo>
                <a:lnTo>
                  <a:pt x="35" y="1198"/>
                </a:lnTo>
                <a:lnTo>
                  <a:pt x="35" y="1204"/>
                </a:lnTo>
                <a:lnTo>
                  <a:pt x="35" y="1204"/>
                </a:lnTo>
                <a:lnTo>
                  <a:pt x="35" y="1210"/>
                </a:lnTo>
                <a:lnTo>
                  <a:pt x="35" y="1210"/>
                </a:lnTo>
                <a:lnTo>
                  <a:pt x="35" y="1216"/>
                </a:lnTo>
                <a:lnTo>
                  <a:pt x="41" y="1216"/>
                </a:lnTo>
                <a:lnTo>
                  <a:pt x="35" y="1222"/>
                </a:lnTo>
                <a:lnTo>
                  <a:pt x="35" y="1222"/>
                </a:lnTo>
                <a:lnTo>
                  <a:pt x="35" y="1222"/>
                </a:lnTo>
                <a:lnTo>
                  <a:pt x="41" y="1228"/>
                </a:lnTo>
                <a:lnTo>
                  <a:pt x="41" y="1228"/>
                </a:lnTo>
                <a:lnTo>
                  <a:pt x="41" y="1228"/>
                </a:lnTo>
                <a:lnTo>
                  <a:pt x="41" y="1228"/>
                </a:lnTo>
                <a:lnTo>
                  <a:pt x="41" y="1228"/>
                </a:lnTo>
                <a:lnTo>
                  <a:pt x="47" y="1234"/>
                </a:lnTo>
                <a:lnTo>
                  <a:pt x="53" y="1240"/>
                </a:lnTo>
                <a:lnTo>
                  <a:pt x="53" y="1240"/>
                </a:lnTo>
                <a:lnTo>
                  <a:pt x="53" y="1240"/>
                </a:lnTo>
                <a:lnTo>
                  <a:pt x="53" y="1240"/>
                </a:lnTo>
                <a:lnTo>
                  <a:pt x="59" y="1246"/>
                </a:lnTo>
                <a:lnTo>
                  <a:pt x="65" y="1246"/>
                </a:lnTo>
                <a:lnTo>
                  <a:pt x="65" y="1251"/>
                </a:lnTo>
                <a:lnTo>
                  <a:pt x="65" y="1251"/>
                </a:lnTo>
                <a:lnTo>
                  <a:pt x="65" y="1251"/>
                </a:lnTo>
                <a:lnTo>
                  <a:pt x="65" y="1251"/>
                </a:lnTo>
                <a:lnTo>
                  <a:pt x="65" y="1257"/>
                </a:lnTo>
                <a:lnTo>
                  <a:pt x="65" y="1257"/>
                </a:lnTo>
                <a:lnTo>
                  <a:pt x="65" y="1257"/>
                </a:lnTo>
                <a:lnTo>
                  <a:pt x="65" y="1257"/>
                </a:lnTo>
                <a:lnTo>
                  <a:pt x="65" y="1257"/>
                </a:lnTo>
                <a:lnTo>
                  <a:pt x="71" y="1257"/>
                </a:lnTo>
                <a:lnTo>
                  <a:pt x="71" y="1257"/>
                </a:lnTo>
                <a:lnTo>
                  <a:pt x="71" y="1257"/>
                </a:lnTo>
                <a:lnTo>
                  <a:pt x="71" y="1257"/>
                </a:lnTo>
                <a:lnTo>
                  <a:pt x="71" y="1257"/>
                </a:lnTo>
                <a:lnTo>
                  <a:pt x="77" y="1263"/>
                </a:lnTo>
                <a:lnTo>
                  <a:pt x="77" y="1263"/>
                </a:lnTo>
                <a:lnTo>
                  <a:pt x="77" y="1269"/>
                </a:lnTo>
                <a:lnTo>
                  <a:pt x="83" y="1269"/>
                </a:lnTo>
                <a:lnTo>
                  <a:pt x="83" y="1275"/>
                </a:lnTo>
                <a:lnTo>
                  <a:pt x="89" y="1281"/>
                </a:lnTo>
                <a:lnTo>
                  <a:pt x="89" y="1281"/>
                </a:lnTo>
                <a:lnTo>
                  <a:pt x="89" y="1281"/>
                </a:lnTo>
                <a:lnTo>
                  <a:pt x="89" y="1287"/>
                </a:lnTo>
                <a:lnTo>
                  <a:pt x="89" y="1287"/>
                </a:lnTo>
                <a:lnTo>
                  <a:pt x="89" y="1287"/>
                </a:lnTo>
                <a:lnTo>
                  <a:pt x="89" y="1287"/>
                </a:lnTo>
                <a:lnTo>
                  <a:pt x="89" y="1293"/>
                </a:lnTo>
                <a:lnTo>
                  <a:pt x="89" y="1293"/>
                </a:lnTo>
                <a:lnTo>
                  <a:pt x="89" y="1293"/>
                </a:lnTo>
                <a:lnTo>
                  <a:pt x="89" y="1293"/>
                </a:lnTo>
                <a:lnTo>
                  <a:pt x="95" y="1299"/>
                </a:lnTo>
                <a:lnTo>
                  <a:pt x="95" y="1299"/>
                </a:lnTo>
                <a:lnTo>
                  <a:pt x="95" y="1299"/>
                </a:lnTo>
                <a:lnTo>
                  <a:pt x="95" y="1299"/>
                </a:lnTo>
                <a:lnTo>
                  <a:pt x="95" y="1299"/>
                </a:lnTo>
                <a:lnTo>
                  <a:pt x="95" y="1305"/>
                </a:lnTo>
                <a:lnTo>
                  <a:pt x="95" y="1305"/>
                </a:lnTo>
                <a:lnTo>
                  <a:pt x="95" y="1305"/>
                </a:lnTo>
                <a:lnTo>
                  <a:pt x="95" y="1311"/>
                </a:lnTo>
                <a:lnTo>
                  <a:pt x="95" y="1311"/>
                </a:lnTo>
                <a:lnTo>
                  <a:pt x="95" y="1317"/>
                </a:lnTo>
                <a:lnTo>
                  <a:pt x="95" y="1317"/>
                </a:lnTo>
                <a:lnTo>
                  <a:pt x="95" y="1317"/>
                </a:lnTo>
                <a:lnTo>
                  <a:pt x="95" y="1323"/>
                </a:lnTo>
                <a:lnTo>
                  <a:pt x="95" y="1323"/>
                </a:lnTo>
                <a:lnTo>
                  <a:pt x="95" y="1329"/>
                </a:lnTo>
                <a:lnTo>
                  <a:pt x="95" y="1329"/>
                </a:lnTo>
                <a:lnTo>
                  <a:pt x="95" y="1334"/>
                </a:lnTo>
                <a:lnTo>
                  <a:pt x="89" y="1340"/>
                </a:lnTo>
                <a:lnTo>
                  <a:pt x="89" y="1340"/>
                </a:lnTo>
                <a:lnTo>
                  <a:pt x="95" y="1346"/>
                </a:lnTo>
                <a:lnTo>
                  <a:pt x="95" y="1346"/>
                </a:lnTo>
                <a:lnTo>
                  <a:pt x="95" y="1352"/>
                </a:lnTo>
                <a:lnTo>
                  <a:pt x="95" y="1352"/>
                </a:lnTo>
                <a:lnTo>
                  <a:pt x="95" y="1352"/>
                </a:lnTo>
                <a:lnTo>
                  <a:pt x="95" y="1352"/>
                </a:lnTo>
                <a:lnTo>
                  <a:pt x="95" y="1358"/>
                </a:lnTo>
                <a:lnTo>
                  <a:pt x="95" y="1364"/>
                </a:lnTo>
                <a:lnTo>
                  <a:pt x="101" y="1364"/>
                </a:lnTo>
                <a:lnTo>
                  <a:pt x="101" y="1370"/>
                </a:lnTo>
                <a:lnTo>
                  <a:pt x="101" y="1370"/>
                </a:lnTo>
                <a:lnTo>
                  <a:pt x="101" y="1370"/>
                </a:lnTo>
                <a:lnTo>
                  <a:pt x="101" y="1370"/>
                </a:lnTo>
                <a:lnTo>
                  <a:pt x="101" y="1370"/>
                </a:lnTo>
                <a:lnTo>
                  <a:pt x="101" y="1376"/>
                </a:lnTo>
                <a:lnTo>
                  <a:pt x="101" y="1376"/>
                </a:lnTo>
                <a:lnTo>
                  <a:pt x="101" y="1376"/>
                </a:lnTo>
                <a:lnTo>
                  <a:pt x="107" y="1382"/>
                </a:lnTo>
                <a:lnTo>
                  <a:pt x="107" y="1382"/>
                </a:lnTo>
                <a:lnTo>
                  <a:pt x="107" y="1382"/>
                </a:lnTo>
                <a:lnTo>
                  <a:pt x="107" y="1382"/>
                </a:lnTo>
                <a:lnTo>
                  <a:pt x="107" y="1388"/>
                </a:lnTo>
                <a:lnTo>
                  <a:pt x="107" y="1388"/>
                </a:lnTo>
                <a:lnTo>
                  <a:pt x="107" y="1388"/>
                </a:lnTo>
                <a:lnTo>
                  <a:pt x="101" y="1388"/>
                </a:lnTo>
                <a:lnTo>
                  <a:pt x="101" y="1394"/>
                </a:lnTo>
                <a:lnTo>
                  <a:pt x="101" y="1394"/>
                </a:lnTo>
                <a:lnTo>
                  <a:pt x="101" y="1394"/>
                </a:lnTo>
                <a:lnTo>
                  <a:pt x="101" y="1394"/>
                </a:lnTo>
                <a:lnTo>
                  <a:pt x="101" y="1394"/>
                </a:lnTo>
                <a:lnTo>
                  <a:pt x="101" y="1394"/>
                </a:lnTo>
                <a:lnTo>
                  <a:pt x="101" y="1400"/>
                </a:lnTo>
                <a:lnTo>
                  <a:pt x="101" y="1400"/>
                </a:lnTo>
                <a:lnTo>
                  <a:pt x="107" y="1400"/>
                </a:lnTo>
                <a:lnTo>
                  <a:pt x="107" y="1406"/>
                </a:lnTo>
                <a:lnTo>
                  <a:pt x="107" y="1406"/>
                </a:lnTo>
                <a:lnTo>
                  <a:pt x="107" y="1406"/>
                </a:lnTo>
                <a:lnTo>
                  <a:pt x="113" y="1406"/>
                </a:lnTo>
                <a:lnTo>
                  <a:pt x="113" y="1412"/>
                </a:lnTo>
                <a:lnTo>
                  <a:pt x="113" y="1412"/>
                </a:lnTo>
                <a:lnTo>
                  <a:pt x="113" y="1412"/>
                </a:lnTo>
                <a:lnTo>
                  <a:pt x="118" y="1412"/>
                </a:lnTo>
                <a:lnTo>
                  <a:pt x="118" y="1418"/>
                </a:lnTo>
                <a:lnTo>
                  <a:pt x="118" y="1418"/>
                </a:lnTo>
                <a:lnTo>
                  <a:pt x="118" y="1418"/>
                </a:lnTo>
                <a:lnTo>
                  <a:pt x="118" y="1418"/>
                </a:lnTo>
                <a:lnTo>
                  <a:pt x="124" y="1418"/>
                </a:lnTo>
                <a:lnTo>
                  <a:pt x="124" y="1418"/>
                </a:lnTo>
                <a:lnTo>
                  <a:pt x="124" y="1423"/>
                </a:lnTo>
                <a:lnTo>
                  <a:pt x="124" y="1423"/>
                </a:lnTo>
                <a:lnTo>
                  <a:pt x="130" y="1429"/>
                </a:lnTo>
                <a:lnTo>
                  <a:pt x="130" y="1429"/>
                </a:lnTo>
                <a:lnTo>
                  <a:pt x="130" y="1429"/>
                </a:lnTo>
                <a:lnTo>
                  <a:pt x="130" y="1429"/>
                </a:lnTo>
                <a:lnTo>
                  <a:pt x="130" y="1429"/>
                </a:lnTo>
                <a:lnTo>
                  <a:pt x="136" y="1435"/>
                </a:lnTo>
                <a:lnTo>
                  <a:pt x="136" y="1435"/>
                </a:lnTo>
                <a:lnTo>
                  <a:pt x="136" y="1435"/>
                </a:lnTo>
                <a:lnTo>
                  <a:pt x="136" y="1441"/>
                </a:lnTo>
                <a:lnTo>
                  <a:pt x="136" y="1441"/>
                </a:lnTo>
                <a:lnTo>
                  <a:pt x="142" y="1441"/>
                </a:lnTo>
                <a:lnTo>
                  <a:pt x="142" y="1441"/>
                </a:lnTo>
                <a:lnTo>
                  <a:pt x="142" y="1441"/>
                </a:lnTo>
                <a:lnTo>
                  <a:pt x="142" y="1447"/>
                </a:lnTo>
                <a:lnTo>
                  <a:pt x="142" y="1447"/>
                </a:lnTo>
                <a:lnTo>
                  <a:pt x="148" y="1447"/>
                </a:lnTo>
                <a:lnTo>
                  <a:pt x="148" y="1453"/>
                </a:lnTo>
                <a:lnTo>
                  <a:pt x="154" y="1453"/>
                </a:lnTo>
                <a:lnTo>
                  <a:pt x="154" y="1453"/>
                </a:lnTo>
                <a:lnTo>
                  <a:pt x="160" y="1453"/>
                </a:lnTo>
                <a:lnTo>
                  <a:pt x="160" y="1459"/>
                </a:lnTo>
                <a:lnTo>
                  <a:pt x="160" y="1459"/>
                </a:lnTo>
                <a:lnTo>
                  <a:pt x="160" y="1459"/>
                </a:lnTo>
                <a:lnTo>
                  <a:pt x="160" y="1459"/>
                </a:lnTo>
                <a:lnTo>
                  <a:pt x="160" y="1465"/>
                </a:lnTo>
                <a:lnTo>
                  <a:pt x="166" y="1465"/>
                </a:lnTo>
                <a:lnTo>
                  <a:pt x="166" y="1465"/>
                </a:lnTo>
                <a:lnTo>
                  <a:pt x="166" y="1465"/>
                </a:lnTo>
                <a:lnTo>
                  <a:pt x="166" y="1465"/>
                </a:lnTo>
                <a:lnTo>
                  <a:pt x="166" y="1465"/>
                </a:lnTo>
                <a:lnTo>
                  <a:pt x="166" y="1471"/>
                </a:lnTo>
                <a:lnTo>
                  <a:pt x="166" y="1471"/>
                </a:lnTo>
                <a:lnTo>
                  <a:pt x="166" y="1471"/>
                </a:lnTo>
                <a:lnTo>
                  <a:pt x="166" y="1471"/>
                </a:lnTo>
                <a:lnTo>
                  <a:pt x="166" y="1471"/>
                </a:lnTo>
                <a:lnTo>
                  <a:pt x="166" y="1471"/>
                </a:lnTo>
                <a:lnTo>
                  <a:pt x="166" y="1477"/>
                </a:lnTo>
                <a:lnTo>
                  <a:pt x="166" y="1477"/>
                </a:lnTo>
                <a:lnTo>
                  <a:pt x="166" y="1477"/>
                </a:lnTo>
                <a:lnTo>
                  <a:pt x="166" y="1477"/>
                </a:lnTo>
                <a:lnTo>
                  <a:pt x="166" y="1477"/>
                </a:lnTo>
                <a:lnTo>
                  <a:pt x="166" y="1477"/>
                </a:lnTo>
                <a:lnTo>
                  <a:pt x="172" y="1477"/>
                </a:lnTo>
                <a:lnTo>
                  <a:pt x="172" y="1477"/>
                </a:lnTo>
                <a:lnTo>
                  <a:pt x="172" y="1477"/>
                </a:lnTo>
                <a:lnTo>
                  <a:pt x="172" y="1477"/>
                </a:lnTo>
                <a:lnTo>
                  <a:pt x="172" y="1477"/>
                </a:lnTo>
                <a:lnTo>
                  <a:pt x="178" y="1483"/>
                </a:lnTo>
                <a:lnTo>
                  <a:pt x="178" y="1483"/>
                </a:lnTo>
                <a:lnTo>
                  <a:pt x="178" y="1483"/>
                </a:lnTo>
                <a:lnTo>
                  <a:pt x="178" y="1483"/>
                </a:lnTo>
                <a:lnTo>
                  <a:pt x="178" y="1483"/>
                </a:lnTo>
                <a:lnTo>
                  <a:pt x="178" y="1489"/>
                </a:lnTo>
                <a:lnTo>
                  <a:pt x="178" y="1489"/>
                </a:lnTo>
                <a:lnTo>
                  <a:pt x="178" y="1489"/>
                </a:lnTo>
                <a:lnTo>
                  <a:pt x="178" y="1489"/>
                </a:lnTo>
                <a:lnTo>
                  <a:pt x="178" y="1489"/>
                </a:lnTo>
                <a:lnTo>
                  <a:pt x="178" y="1489"/>
                </a:lnTo>
                <a:lnTo>
                  <a:pt x="178" y="1489"/>
                </a:lnTo>
                <a:lnTo>
                  <a:pt x="184" y="1495"/>
                </a:lnTo>
                <a:lnTo>
                  <a:pt x="184" y="1495"/>
                </a:lnTo>
                <a:lnTo>
                  <a:pt x="190" y="1501"/>
                </a:lnTo>
                <a:lnTo>
                  <a:pt x="190" y="1501"/>
                </a:lnTo>
                <a:lnTo>
                  <a:pt x="190" y="1501"/>
                </a:lnTo>
                <a:lnTo>
                  <a:pt x="190" y="1506"/>
                </a:lnTo>
                <a:lnTo>
                  <a:pt x="190" y="1506"/>
                </a:lnTo>
                <a:lnTo>
                  <a:pt x="190" y="1506"/>
                </a:lnTo>
                <a:lnTo>
                  <a:pt x="190" y="1506"/>
                </a:lnTo>
                <a:lnTo>
                  <a:pt x="190" y="1501"/>
                </a:lnTo>
                <a:lnTo>
                  <a:pt x="190" y="1501"/>
                </a:lnTo>
                <a:lnTo>
                  <a:pt x="184" y="1501"/>
                </a:lnTo>
                <a:lnTo>
                  <a:pt x="184" y="1501"/>
                </a:lnTo>
                <a:lnTo>
                  <a:pt x="184" y="1495"/>
                </a:lnTo>
                <a:lnTo>
                  <a:pt x="184" y="1495"/>
                </a:lnTo>
                <a:lnTo>
                  <a:pt x="178" y="1489"/>
                </a:lnTo>
                <a:lnTo>
                  <a:pt x="178" y="1483"/>
                </a:lnTo>
                <a:lnTo>
                  <a:pt x="178" y="1483"/>
                </a:lnTo>
                <a:lnTo>
                  <a:pt x="172" y="1483"/>
                </a:lnTo>
                <a:lnTo>
                  <a:pt x="172" y="1483"/>
                </a:lnTo>
                <a:lnTo>
                  <a:pt x="172" y="1489"/>
                </a:lnTo>
                <a:lnTo>
                  <a:pt x="178" y="1489"/>
                </a:lnTo>
                <a:lnTo>
                  <a:pt x="178" y="1489"/>
                </a:lnTo>
                <a:lnTo>
                  <a:pt x="178" y="1489"/>
                </a:lnTo>
                <a:lnTo>
                  <a:pt x="178" y="1495"/>
                </a:lnTo>
                <a:lnTo>
                  <a:pt x="178" y="1495"/>
                </a:lnTo>
                <a:lnTo>
                  <a:pt x="178" y="1495"/>
                </a:lnTo>
                <a:lnTo>
                  <a:pt x="178" y="1495"/>
                </a:lnTo>
                <a:lnTo>
                  <a:pt x="178" y="1501"/>
                </a:lnTo>
                <a:lnTo>
                  <a:pt x="172" y="1506"/>
                </a:lnTo>
                <a:lnTo>
                  <a:pt x="172" y="1512"/>
                </a:lnTo>
                <a:lnTo>
                  <a:pt x="172" y="1512"/>
                </a:lnTo>
                <a:lnTo>
                  <a:pt x="172" y="1512"/>
                </a:lnTo>
                <a:lnTo>
                  <a:pt x="172" y="1518"/>
                </a:lnTo>
                <a:lnTo>
                  <a:pt x="172" y="1518"/>
                </a:lnTo>
                <a:lnTo>
                  <a:pt x="172" y="1518"/>
                </a:lnTo>
                <a:lnTo>
                  <a:pt x="178" y="1518"/>
                </a:lnTo>
                <a:lnTo>
                  <a:pt x="178" y="1518"/>
                </a:lnTo>
                <a:lnTo>
                  <a:pt x="178" y="1518"/>
                </a:lnTo>
                <a:lnTo>
                  <a:pt x="178" y="1518"/>
                </a:lnTo>
                <a:lnTo>
                  <a:pt x="178" y="1518"/>
                </a:lnTo>
                <a:lnTo>
                  <a:pt x="178" y="1518"/>
                </a:lnTo>
                <a:lnTo>
                  <a:pt x="178" y="1518"/>
                </a:lnTo>
                <a:lnTo>
                  <a:pt x="178" y="1512"/>
                </a:lnTo>
                <a:lnTo>
                  <a:pt x="178" y="1512"/>
                </a:lnTo>
                <a:lnTo>
                  <a:pt x="178" y="1512"/>
                </a:lnTo>
                <a:lnTo>
                  <a:pt x="178" y="1512"/>
                </a:lnTo>
                <a:lnTo>
                  <a:pt x="178" y="1512"/>
                </a:lnTo>
                <a:lnTo>
                  <a:pt x="178" y="1512"/>
                </a:lnTo>
                <a:lnTo>
                  <a:pt x="178" y="1512"/>
                </a:lnTo>
                <a:lnTo>
                  <a:pt x="178" y="1512"/>
                </a:lnTo>
                <a:lnTo>
                  <a:pt x="178" y="1512"/>
                </a:lnTo>
                <a:lnTo>
                  <a:pt x="178" y="1512"/>
                </a:lnTo>
                <a:lnTo>
                  <a:pt x="178" y="1512"/>
                </a:lnTo>
                <a:lnTo>
                  <a:pt x="178" y="1506"/>
                </a:lnTo>
                <a:lnTo>
                  <a:pt x="178" y="1506"/>
                </a:lnTo>
                <a:lnTo>
                  <a:pt x="178" y="1506"/>
                </a:lnTo>
                <a:lnTo>
                  <a:pt x="178" y="1506"/>
                </a:lnTo>
                <a:lnTo>
                  <a:pt x="178" y="1506"/>
                </a:lnTo>
                <a:lnTo>
                  <a:pt x="184" y="1506"/>
                </a:lnTo>
                <a:lnTo>
                  <a:pt x="178" y="1506"/>
                </a:lnTo>
                <a:lnTo>
                  <a:pt x="178" y="1506"/>
                </a:lnTo>
                <a:lnTo>
                  <a:pt x="184" y="1512"/>
                </a:lnTo>
                <a:lnTo>
                  <a:pt x="184" y="1512"/>
                </a:lnTo>
                <a:lnTo>
                  <a:pt x="184" y="1512"/>
                </a:lnTo>
                <a:lnTo>
                  <a:pt x="190" y="1512"/>
                </a:lnTo>
                <a:lnTo>
                  <a:pt x="190" y="1518"/>
                </a:lnTo>
                <a:lnTo>
                  <a:pt x="190" y="1518"/>
                </a:lnTo>
                <a:lnTo>
                  <a:pt x="195" y="1518"/>
                </a:lnTo>
                <a:lnTo>
                  <a:pt x="195" y="1518"/>
                </a:lnTo>
                <a:lnTo>
                  <a:pt x="195" y="1524"/>
                </a:lnTo>
                <a:lnTo>
                  <a:pt x="195" y="1524"/>
                </a:lnTo>
                <a:lnTo>
                  <a:pt x="201" y="1524"/>
                </a:lnTo>
                <a:lnTo>
                  <a:pt x="201" y="1524"/>
                </a:lnTo>
                <a:lnTo>
                  <a:pt x="201" y="1530"/>
                </a:lnTo>
                <a:lnTo>
                  <a:pt x="201" y="1530"/>
                </a:lnTo>
                <a:lnTo>
                  <a:pt x="201" y="1530"/>
                </a:lnTo>
                <a:lnTo>
                  <a:pt x="201" y="1530"/>
                </a:lnTo>
                <a:lnTo>
                  <a:pt x="201" y="1530"/>
                </a:lnTo>
                <a:lnTo>
                  <a:pt x="201" y="1530"/>
                </a:lnTo>
                <a:lnTo>
                  <a:pt x="201" y="1530"/>
                </a:lnTo>
                <a:lnTo>
                  <a:pt x="207" y="1530"/>
                </a:lnTo>
                <a:lnTo>
                  <a:pt x="207" y="1524"/>
                </a:lnTo>
                <a:lnTo>
                  <a:pt x="207" y="1530"/>
                </a:lnTo>
                <a:lnTo>
                  <a:pt x="213" y="1530"/>
                </a:lnTo>
                <a:lnTo>
                  <a:pt x="213" y="1530"/>
                </a:lnTo>
                <a:lnTo>
                  <a:pt x="213" y="1530"/>
                </a:lnTo>
                <a:lnTo>
                  <a:pt x="213" y="1536"/>
                </a:lnTo>
                <a:lnTo>
                  <a:pt x="219" y="1536"/>
                </a:lnTo>
                <a:lnTo>
                  <a:pt x="219" y="1536"/>
                </a:lnTo>
                <a:lnTo>
                  <a:pt x="219" y="1536"/>
                </a:lnTo>
                <a:lnTo>
                  <a:pt x="219" y="1536"/>
                </a:lnTo>
                <a:lnTo>
                  <a:pt x="219" y="1536"/>
                </a:lnTo>
                <a:lnTo>
                  <a:pt x="219" y="1536"/>
                </a:lnTo>
                <a:lnTo>
                  <a:pt x="225" y="1536"/>
                </a:lnTo>
                <a:lnTo>
                  <a:pt x="225" y="1536"/>
                </a:lnTo>
                <a:lnTo>
                  <a:pt x="225" y="1536"/>
                </a:lnTo>
                <a:lnTo>
                  <a:pt x="225" y="1536"/>
                </a:lnTo>
                <a:lnTo>
                  <a:pt x="225" y="1536"/>
                </a:lnTo>
                <a:lnTo>
                  <a:pt x="225" y="1536"/>
                </a:lnTo>
                <a:lnTo>
                  <a:pt x="225" y="1536"/>
                </a:lnTo>
                <a:lnTo>
                  <a:pt x="225" y="1536"/>
                </a:lnTo>
                <a:lnTo>
                  <a:pt x="225" y="1536"/>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31" y="1530"/>
                </a:lnTo>
                <a:lnTo>
                  <a:pt x="231" y="1530"/>
                </a:lnTo>
                <a:lnTo>
                  <a:pt x="231" y="1530"/>
                </a:lnTo>
                <a:lnTo>
                  <a:pt x="231" y="1530"/>
                </a:lnTo>
                <a:lnTo>
                  <a:pt x="225" y="1530"/>
                </a:lnTo>
                <a:lnTo>
                  <a:pt x="225" y="1524"/>
                </a:lnTo>
                <a:lnTo>
                  <a:pt x="225" y="1524"/>
                </a:lnTo>
                <a:lnTo>
                  <a:pt x="225" y="1524"/>
                </a:lnTo>
                <a:lnTo>
                  <a:pt x="225" y="1524"/>
                </a:lnTo>
                <a:lnTo>
                  <a:pt x="225" y="1524"/>
                </a:lnTo>
                <a:lnTo>
                  <a:pt x="225" y="1524"/>
                </a:lnTo>
                <a:lnTo>
                  <a:pt x="225" y="1524"/>
                </a:lnTo>
                <a:lnTo>
                  <a:pt x="225" y="1524"/>
                </a:lnTo>
                <a:lnTo>
                  <a:pt x="225" y="1524"/>
                </a:lnTo>
                <a:lnTo>
                  <a:pt x="225" y="1524"/>
                </a:lnTo>
                <a:lnTo>
                  <a:pt x="225" y="1518"/>
                </a:lnTo>
                <a:lnTo>
                  <a:pt x="225" y="1518"/>
                </a:lnTo>
                <a:lnTo>
                  <a:pt x="225" y="1518"/>
                </a:lnTo>
                <a:lnTo>
                  <a:pt x="225" y="1518"/>
                </a:lnTo>
                <a:lnTo>
                  <a:pt x="225" y="1518"/>
                </a:lnTo>
                <a:lnTo>
                  <a:pt x="225" y="1518"/>
                </a:lnTo>
                <a:lnTo>
                  <a:pt x="225" y="1518"/>
                </a:lnTo>
                <a:lnTo>
                  <a:pt x="225" y="1518"/>
                </a:lnTo>
                <a:lnTo>
                  <a:pt x="231" y="1518"/>
                </a:lnTo>
                <a:lnTo>
                  <a:pt x="231" y="1518"/>
                </a:lnTo>
                <a:lnTo>
                  <a:pt x="225" y="1518"/>
                </a:lnTo>
                <a:lnTo>
                  <a:pt x="225" y="1512"/>
                </a:lnTo>
                <a:lnTo>
                  <a:pt x="225" y="1512"/>
                </a:lnTo>
                <a:lnTo>
                  <a:pt x="225" y="1512"/>
                </a:lnTo>
                <a:lnTo>
                  <a:pt x="225" y="1512"/>
                </a:lnTo>
                <a:lnTo>
                  <a:pt x="225" y="1512"/>
                </a:lnTo>
                <a:lnTo>
                  <a:pt x="225" y="1506"/>
                </a:lnTo>
                <a:lnTo>
                  <a:pt x="225" y="1506"/>
                </a:lnTo>
                <a:lnTo>
                  <a:pt x="225" y="1501"/>
                </a:lnTo>
                <a:lnTo>
                  <a:pt x="225" y="1501"/>
                </a:lnTo>
                <a:lnTo>
                  <a:pt x="225" y="1501"/>
                </a:lnTo>
                <a:lnTo>
                  <a:pt x="231" y="1501"/>
                </a:lnTo>
                <a:lnTo>
                  <a:pt x="231" y="1501"/>
                </a:lnTo>
                <a:lnTo>
                  <a:pt x="231" y="1501"/>
                </a:lnTo>
                <a:lnTo>
                  <a:pt x="231" y="1501"/>
                </a:lnTo>
                <a:lnTo>
                  <a:pt x="231" y="1495"/>
                </a:lnTo>
                <a:lnTo>
                  <a:pt x="237" y="1501"/>
                </a:lnTo>
                <a:lnTo>
                  <a:pt x="243" y="1501"/>
                </a:lnTo>
                <a:lnTo>
                  <a:pt x="243" y="1506"/>
                </a:lnTo>
                <a:lnTo>
                  <a:pt x="249" y="1506"/>
                </a:lnTo>
                <a:lnTo>
                  <a:pt x="249" y="1506"/>
                </a:lnTo>
                <a:lnTo>
                  <a:pt x="249" y="1506"/>
                </a:lnTo>
                <a:lnTo>
                  <a:pt x="249" y="1506"/>
                </a:lnTo>
                <a:lnTo>
                  <a:pt x="249" y="1506"/>
                </a:lnTo>
                <a:lnTo>
                  <a:pt x="255" y="1506"/>
                </a:lnTo>
                <a:lnTo>
                  <a:pt x="255" y="1506"/>
                </a:lnTo>
                <a:lnTo>
                  <a:pt x="255" y="1506"/>
                </a:lnTo>
                <a:lnTo>
                  <a:pt x="255" y="1506"/>
                </a:lnTo>
                <a:lnTo>
                  <a:pt x="255" y="1506"/>
                </a:lnTo>
                <a:lnTo>
                  <a:pt x="255" y="1506"/>
                </a:lnTo>
                <a:lnTo>
                  <a:pt x="255" y="1506"/>
                </a:lnTo>
                <a:lnTo>
                  <a:pt x="255" y="1512"/>
                </a:lnTo>
                <a:lnTo>
                  <a:pt x="261" y="1512"/>
                </a:lnTo>
                <a:lnTo>
                  <a:pt x="261" y="1512"/>
                </a:lnTo>
                <a:lnTo>
                  <a:pt x="261" y="1506"/>
                </a:lnTo>
                <a:lnTo>
                  <a:pt x="261" y="1506"/>
                </a:lnTo>
                <a:lnTo>
                  <a:pt x="261" y="1506"/>
                </a:lnTo>
                <a:lnTo>
                  <a:pt x="267" y="1506"/>
                </a:lnTo>
                <a:lnTo>
                  <a:pt x="267" y="1501"/>
                </a:lnTo>
                <a:lnTo>
                  <a:pt x="267" y="1501"/>
                </a:lnTo>
                <a:lnTo>
                  <a:pt x="267" y="1501"/>
                </a:lnTo>
                <a:lnTo>
                  <a:pt x="267" y="1501"/>
                </a:lnTo>
                <a:lnTo>
                  <a:pt x="267" y="1501"/>
                </a:lnTo>
                <a:lnTo>
                  <a:pt x="267" y="1501"/>
                </a:lnTo>
                <a:lnTo>
                  <a:pt x="267" y="1501"/>
                </a:lnTo>
                <a:lnTo>
                  <a:pt x="267" y="1501"/>
                </a:lnTo>
                <a:lnTo>
                  <a:pt x="267" y="1501"/>
                </a:lnTo>
                <a:lnTo>
                  <a:pt x="273" y="1495"/>
                </a:lnTo>
                <a:lnTo>
                  <a:pt x="273" y="1501"/>
                </a:lnTo>
                <a:lnTo>
                  <a:pt x="273" y="1501"/>
                </a:lnTo>
                <a:lnTo>
                  <a:pt x="273" y="1501"/>
                </a:lnTo>
                <a:lnTo>
                  <a:pt x="273" y="1501"/>
                </a:lnTo>
                <a:lnTo>
                  <a:pt x="273" y="1501"/>
                </a:lnTo>
                <a:lnTo>
                  <a:pt x="273" y="1506"/>
                </a:lnTo>
                <a:lnTo>
                  <a:pt x="278" y="1506"/>
                </a:lnTo>
                <a:lnTo>
                  <a:pt x="278" y="1506"/>
                </a:lnTo>
                <a:lnTo>
                  <a:pt x="278" y="1506"/>
                </a:lnTo>
                <a:lnTo>
                  <a:pt x="284" y="1506"/>
                </a:lnTo>
                <a:lnTo>
                  <a:pt x="284" y="1506"/>
                </a:lnTo>
                <a:lnTo>
                  <a:pt x="278" y="1506"/>
                </a:lnTo>
                <a:lnTo>
                  <a:pt x="278" y="1506"/>
                </a:lnTo>
                <a:lnTo>
                  <a:pt x="284" y="1506"/>
                </a:lnTo>
                <a:lnTo>
                  <a:pt x="284" y="1506"/>
                </a:lnTo>
                <a:lnTo>
                  <a:pt x="284" y="1506"/>
                </a:lnTo>
                <a:lnTo>
                  <a:pt x="284" y="1506"/>
                </a:lnTo>
                <a:lnTo>
                  <a:pt x="284" y="1506"/>
                </a:lnTo>
                <a:lnTo>
                  <a:pt x="284" y="1506"/>
                </a:lnTo>
                <a:lnTo>
                  <a:pt x="290" y="1506"/>
                </a:lnTo>
                <a:lnTo>
                  <a:pt x="290" y="1506"/>
                </a:lnTo>
                <a:lnTo>
                  <a:pt x="290" y="1506"/>
                </a:lnTo>
                <a:lnTo>
                  <a:pt x="290" y="1506"/>
                </a:lnTo>
                <a:lnTo>
                  <a:pt x="290" y="1506"/>
                </a:lnTo>
                <a:lnTo>
                  <a:pt x="290" y="1506"/>
                </a:lnTo>
                <a:lnTo>
                  <a:pt x="296" y="1506"/>
                </a:lnTo>
                <a:lnTo>
                  <a:pt x="296" y="1506"/>
                </a:lnTo>
                <a:lnTo>
                  <a:pt x="296" y="1506"/>
                </a:lnTo>
                <a:lnTo>
                  <a:pt x="302" y="1501"/>
                </a:lnTo>
                <a:lnTo>
                  <a:pt x="302" y="1501"/>
                </a:lnTo>
                <a:lnTo>
                  <a:pt x="302" y="1501"/>
                </a:lnTo>
                <a:lnTo>
                  <a:pt x="302" y="1495"/>
                </a:lnTo>
                <a:lnTo>
                  <a:pt x="302" y="1495"/>
                </a:lnTo>
                <a:lnTo>
                  <a:pt x="302" y="1501"/>
                </a:lnTo>
                <a:lnTo>
                  <a:pt x="302" y="1501"/>
                </a:lnTo>
                <a:lnTo>
                  <a:pt x="302" y="1501"/>
                </a:lnTo>
                <a:lnTo>
                  <a:pt x="302" y="1501"/>
                </a:lnTo>
                <a:lnTo>
                  <a:pt x="302" y="1506"/>
                </a:lnTo>
                <a:lnTo>
                  <a:pt x="296" y="1506"/>
                </a:lnTo>
                <a:lnTo>
                  <a:pt x="296" y="1506"/>
                </a:lnTo>
                <a:lnTo>
                  <a:pt x="296" y="1506"/>
                </a:lnTo>
                <a:lnTo>
                  <a:pt x="296" y="1506"/>
                </a:lnTo>
                <a:lnTo>
                  <a:pt x="296" y="1506"/>
                </a:lnTo>
                <a:lnTo>
                  <a:pt x="296" y="1506"/>
                </a:lnTo>
                <a:lnTo>
                  <a:pt x="296" y="1506"/>
                </a:lnTo>
                <a:lnTo>
                  <a:pt x="296" y="1506"/>
                </a:lnTo>
                <a:lnTo>
                  <a:pt x="296" y="1506"/>
                </a:lnTo>
                <a:lnTo>
                  <a:pt x="296" y="1512"/>
                </a:lnTo>
                <a:lnTo>
                  <a:pt x="296" y="1512"/>
                </a:lnTo>
                <a:lnTo>
                  <a:pt x="296" y="1512"/>
                </a:lnTo>
                <a:lnTo>
                  <a:pt x="296" y="1512"/>
                </a:lnTo>
                <a:lnTo>
                  <a:pt x="302" y="1512"/>
                </a:lnTo>
                <a:lnTo>
                  <a:pt x="302" y="1506"/>
                </a:lnTo>
                <a:lnTo>
                  <a:pt x="302" y="1506"/>
                </a:lnTo>
                <a:lnTo>
                  <a:pt x="302" y="1506"/>
                </a:lnTo>
                <a:lnTo>
                  <a:pt x="302" y="1506"/>
                </a:lnTo>
                <a:lnTo>
                  <a:pt x="302" y="1506"/>
                </a:lnTo>
                <a:lnTo>
                  <a:pt x="302" y="1506"/>
                </a:lnTo>
                <a:lnTo>
                  <a:pt x="302" y="1506"/>
                </a:lnTo>
                <a:lnTo>
                  <a:pt x="302" y="1501"/>
                </a:lnTo>
                <a:lnTo>
                  <a:pt x="308" y="1501"/>
                </a:lnTo>
                <a:lnTo>
                  <a:pt x="308" y="1501"/>
                </a:lnTo>
                <a:lnTo>
                  <a:pt x="308" y="1501"/>
                </a:lnTo>
                <a:lnTo>
                  <a:pt x="308" y="1501"/>
                </a:lnTo>
                <a:lnTo>
                  <a:pt x="308" y="1501"/>
                </a:lnTo>
                <a:lnTo>
                  <a:pt x="308" y="1501"/>
                </a:lnTo>
                <a:lnTo>
                  <a:pt x="308" y="1501"/>
                </a:lnTo>
                <a:lnTo>
                  <a:pt x="308" y="1501"/>
                </a:lnTo>
                <a:lnTo>
                  <a:pt x="314" y="1501"/>
                </a:lnTo>
                <a:lnTo>
                  <a:pt x="314" y="1501"/>
                </a:lnTo>
                <a:lnTo>
                  <a:pt x="314" y="1501"/>
                </a:lnTo>
                <a:lnTo>
                  <a:pt x="314" y="1501"/>
                </a:lnTo>
                <a:lnTo>
                  <a:pt x="314" y="1506"/>
                </a:lnTo>
                <a:lnTo>
                  <a:pt x="320" y="1506"/>
                </a:lnTo>
                <a:lnTo>
                  <a:pt x="320" y="1506"/>
                </a:lnTo>
                <a:lnTo>
                  <a:pt x="320" y="1506"/>
                </a:lnTo>
                <a:lnTo>
                  <a:pt x="320" y="1506"/>
                </a:lnTo>
                <a:lnTo>
                  <a:pt x="320" y="1506"/>
                </a:lnTo>
                <a:lnTo>
                  <a:pt x="320" y="1506"/>
                </a:lnTo>
                <a:lnTo>
                  <a:pt x="320" y="1506"/>
                </a:lnTo>
                <a:lnTo>
                  <a:pt x="326" y="1512"/>
                </a:lnTo>
                <a:lnTo>
                  <a:pt x="326" y="1512"/>
                </a:lnTo>
                <a:lnTo>
                  <a:pt x="326" y="1512"/>
                </a:lnTo>
                <a:lnTo>
                  <a:pt x="326" y="1512"/>
                </a:lnTo>
                <a:lnTo>
                  <a:pt x="326" y="1512"/>
                </a:lnTo>
                <a:lnTo>
                  <a:pt x="326" y="1512"/>
                </a:lnTo>
                <a:lnTo>
                  <a:pt x="326" y="1518"/>
                </a:lnTo>
                <a:lnTo>
                  <a:pt x="326" y="1512"/>
                </a:lnTo>
                <a:lnTo>
                  <a:pt x="326" y="1512"/>
                </a:lnTo>
                <a:lnTo>
                  <a:pt x="326" y="1512"/>
                </a:lnTo>
                <a:lnTo>
                  <a:pt x="320" y="1512"/>
                </a:lnTo>
                <a:lnTo>
                  <a:pt x="320" y="1512"/>
                </a:lnTo>
                <a:lnTo>
                  <a:pt x="320" y="1506"/>
                </a:lnTo>
                <a:lnTo>
                  <a:pt x="320" y="1506"/>
                </a:lnTo>
                <a:lnTo>
                  <a:pt x="320" y="1506"/>
                </a:lnTo>
                <a:lnTo>
                  <a:pt x="314" y="1506"/>
                </a:lnTo>
                <a:lnTo>
                  <a:pt x="314" y="1506"/>
                </a:lnTo>
                <a:lnTo>
                  <a:pt x="314" y="1506"/>
                </a:lnTo>
                <a:lnTo>
                  <a:pt x="314" y="1506"/>
                </a:lnTo>
                <a:lnTo>
                  <a:pt x="314" y="1512"/>
                </a:lnTo>
                <a:lnTo>
                  <a:pt x="314" y="1512"/>
                </a:lnTo>
                <a:lnTo>
                  <a:pt x="314" y="1512"/>
                </a:lnTo>
                <a:lnTo>
                  <a:pt x="314" y="1512"/>
                </a:lnTo>
                <a:lnTo>
                  <a:pt x="314" y="1512"/>
                </a:lnTo>
                <a:lnTo>
                  <a:pt x="314" y="1512"/>
                </a:lnTo>
                <a:lnTo>
                  <a:pt x="314" y="1512"/>
                </a:lnTo>
                <a:lnTo>
                  <a:pt x="314" y="1512"/>
                </a:lnTo>
                <a:lnTo>
                  <a:pt x="314" y="1512"/>
                </a:lnTo>
                <a:lnTo>
                  <a:pt x="308" y="1512"/>
                </a:lnTo>
                <a:lnTo>
                  <a:pt x="308" y="1512"/>
                </a:lnTo>
                <a:lnTo>
                  <a:pt x="308" y="1506"/>
                </a:lnTo>
                <a:lnTo>
                  <a:pt x="308" y="1506"/>
                </a:lnTo>
                <a:lnTo>
                  <a:pt x="308" y="1506"/>
                </a:lnTo>
                <a:lnTo>
                  <a:pt x="314" y="1506"/>
                </a:lnTo>
                <a:lnTo>
                  <a:pt x="314" y="1506"/>
                </a:lnTo>
                <a:lnTo>
                  <a:pt x="314" y="1506"/>
                </a:lnTo>
                <a:lnTo>
                  <a:pt x="314" y="1506"/>
                </a:lnTo>
                <a:lnTo>
                  <a:pt x="314" y="1506"/>
                </a:lnTo>
                <a:lnTo>
                  <a:pt x="314" y="1506"/>
                </a:lnTo>
                <a:lnTo>
                  <a:pt x="314" y="1506"/>
                </a:lnTo>
                <a:lnTo>
                  <a:pt x="314" y="1506"/>
                </a:lnTo>
                <a:lnTo>
                  <a:pt x="314" y="1506"/>
                </a:lnTo>
                <a:lnTo>
                  <a:pt x="314" y="1501"/>
                </a:lnTo>
                <a:lnTo>
                  <a:pt x="314" y="1501"/>
                </a:lnTo>
                <a:lnTo>
                  <a:pt x="314" y="1501"/>
                </a:lnTo>
                <a:lnTo>
                  <a:pt x="314" y="1501"/>
                </a:lnTo>
                <a:lnTo>
                  <a:pt x="308" y="1501"/>
                </a:lnTo>
                <a:lnTo>
                  <a:pt x="308" y="1501"/>
                </a:lnTo>
                <a:lnTo>
                  <a:pt x="308" y="1506"/>
                </a:lnTo>
                <a:lnTo>
                  <a:pt x="308" y="1506"/>
                </a:lnTo>
                <a:lnTo>
                  <a:pt x="308" y="1506"/>
                </a:lnTo>
                <a:lnTo>
                  <a:pt x="308" y="1506"/>
                </a:lnTo>
                <a:lnTo>
                  <a:pt x="308" y="1506"/>
                </a:lnTo>
                <a:lnTo>
                  <a:pt x="308" y="1506"/>
                </a:lnTo>
                <a:lnTo>
                  <a:pt x="308" y="1506"/>
                </a:lnTo>
                <a:lnTo>
                  <a:pt x="308" y="1506"/>
                </a:lnTo>
                <a:lnTo>
                  <a:pt x="308" y="1506"/>
                </a:lnTo>
                <a:lnTo>
                  <a:pt x="302" y="1506"/>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296" y="1512"/>
                </a:lnTo>
                <a:lnTo>
                  <a:pt x="296" y="1512"/>
                </a:lnTo>
                <a:lnTo>
                  <a:pt x="290" y="1512"/>
                </a:lnTo>
                <a:lnTo>
                  <a:pt x="284" y="1512"/>
                </a:lnTo>
                <a:lnTo>
                  <a:pt x="284" y="1512"/>
                </a:lnTo>
                <a:lnTo>
                  <a:pt x="278" y="1512"/>
                </a:lnTo>
                <a:lnTo>
                  <a:pt x="273" y="1506"/>
                </a:lnTo>
                <a:lnTo>
                  <a:pt x="267" y="1506"/>
                </a:lnTo>
                <a:lnTo>
                  <a:pt x="267" y="1506"/>
                </a:lnTo>
                <a:lnTo>
                  <a:pt x="267" y="1506"/>
                </a:lnTo>
                <a:lnTo>
                  <a:pt x="267" y="1506"/>
                </a:lnTo>
                <a:lnTo>
                  <a:pt x="261" y="1512"/>
                </a:lnTo>
                <a:lnTo>
                  <a:pt x="261" y="1512"/>
                </a:lnTo>
                <a:lnTo>
                  <a:pt x="261" y="1512"/>
                </a:lnTo>
                <a:lnTo>
                  <a:pt x="261" y="1512"/>
                </a:lnTo>
                <a:lnTo>
                  <a:pt x="255" y="1512"/>
                </a:lnTo>
                <a:lnTo>
                  <a:pt x="255" y="1512"/>
                </a:lnTo>
                <a:lnTo>
                  <a:pt x="255" y="1506"/>
                </a:lnTo>
                <a:lnTo>
                  <a:pt x="255" y="1506"/>
                </a:lnTo>
                <a:lnTo>
                  <a:pt x="255" y="1506"/>
                </a:lnTo>
                <a:lnTo>
                  <a:pt x="249" y="1506"/>
                </a:lnTo>
                <a:lnTo>
                  <a:pt x="249" y="1506"/>
                </a:lnTo>
                <a:lnTo>
                  <a:pt x="249" y="1506"/>
                </a:lnTo>
                <a:lnTo>
                  <a:pt x="249" y="1506"/>
                </a:lnTo>
                <a:lnTo>
                  <a:pt x="249" y="1512"/>
                </a:lnTo>
                <a:lnTo>
                  <a:pt x="243" y="1512"/>
                </a:lnTo>
                <a:lnTo>
                  <a:pt x="243" y="1512"/>
                </a:lnTo>
                <a:lnTo>
                  <a:pt x="243" y="1512"/>
                </a:lnTo>
                <a:lnTo>
                  <a:pt x="243" y="1512"/>
                </a:lnTo>
                <a:lnTo>
                  <a:pt x="243" y="1512"/>
                </a:lnTo>
                <a:lnTo>
                  <a:pt x="243" y="1512"/>
                </a:lnTo>
                <a:lnTo>
                  <a:pt x="243" y="1512"/>
                </a:lnTo>
                <a:lnTo>
                  <a:pt x="237" y="1512"/>
                </a:lnTo>
                <a:lnTo>
                  <a:pt x="237" y="1512"/>
                </a:lnTo>
                <a:lnTo>
                  <a:pt x="237" y="1512"/>
                </a:lnTo>
                <a:lnTo>
                  <a:pt x="237" y="1512"/>
                </a:lnTo>
                <a:lnTo>
                  <a:pt x="237" y="1512"/>
                </a:lnTo>
                <a:lnTo>
                  <a:pt x="237" y="1512"/>
                </a:lnTo>
                <a:lnTo>
                  <a:pt x="237" y="1518"/>
                </a:lnTo>
                <a:lnTo>
                  <a:pt x="237" y="1518"/>
                </a:lnTo>
                <a:lnTo>
                  <a:pt x="237" y="1518"/>
                </a:lnTo>
                <a:lnTo>
                  <a:pt x="231" y="1518"/>
                </a:lnTo>
                <a:lnTo>
                  <a:pt x="231" y="1518"/>
                </a:lnTo>
                <a:lnTo>
                  <a:pt x="231" y="1518"/>
                </a:lnTo>
                <a:lnTo>
                  <a:pt x="231" y="1518"/>
                </a:lnTo>
                <a:lnTo>
                  <a:pt x="231" y="1518"/>
                </a:lnTo>
                <a:lnTo>
                  <a:pt x="231" y="1518"/>
                </a:lnTo>
                <a:lnTo>
                  <a:pt x="231" y="1518"/>
                </a:lnTo>
                <a:lnTo>
                  <a:pt x="231" y="1524"/>
                </a:lnTo>
                <a:lnTo>
                  <a:pt x="231" y="1524"/>
                </a:lnTo>
                <a:lnTo>
                  <a:pt x="231" y="1524"/>
                </a:lnTo>
                <a:lnTo>
                  <a:pt x="237" y="1524"/>
                </a:lnTo>
                <a:lnTo>
                  <a:pt x="237" y="1524"/>
                </a:lnTo>
                <a:lnTo>
                  <a:pt x="237" y="1524"/>
                </a:lnTo>
                <a:lnTo>
                  <a:pt x="237" y="1530"/>
                </a:lnTo>
                <a:lnTo>
                  <a:pt x="237" y="1524"/>
                </a:lnTo>
                <a:lnTo>
                  <a:pt x="243" y="1524"/>
                </a:lnTo>
                <a:lnTo>
                  <a:pt x="243" y="1530"/>
                </a:lnTo>
                <a:lnTo>
                  <a:pt x="243" y="1530"/>
                </a:lnTo>
                <a:lnTo>
                  <a:pt x="243" y="1530"/>
                </a:lnTo>
                <a:lnTo>
                  <a:pt x="243" y="1530"/>
                </a:lnTo>
                <a:lnTo>
                  <a:pt x="243" y="1530"/>
                </a:lnTo>
                <a:lnTo>
                  <a:pt x="243" y="1530"/>
                </a:lnTo>
                <a:lnTo>
                  <a:pt x="243" y="1530"/>
                </a:lnTo>
                <a:lnTo>
                  <a:pt x="243" y="1530"/>
                </a:lnTo>
                <a:lnTo>
                  <a:pt x="243" y="1536"/>
                </a:lnTo>
                <a:lnTo>
                  <a:pt x="243" y="1536"/>
                </a:lnTo>
                <a:lnTo>
                  <a:pt x="243" y="1536"/>
                </a:lnTo>
                <a:lnTo>
                  <a:pt x="243" y="1536"/>
                </a:lnTo>
                <a:lnTo>
                  <a:pt x="243" y="1536"/>
                </a:lnTo>
                <a:lnTo>
                  <a:pt x="243" y="1536"/>
                </a:lnTo>
                <a:lnTo>
                  <a:pt x="243" y="1536"/>
                </a:lnTo>
                <a:lnTo>
                  <a:pt x="243" y="1536"/>
                </a:lnTo>
                <a:lnTo>
                  <a:pt x="243" y="1536"/>
                </a:lnTo>
                <a:lnTo>
                  <a:pt x="243" y="1536"/>
                </a:lnTo>
                <a:lnTo>
                  <a:pt x="243" y="1536"/>
                </a:lnTo>
                <a:lnTo>
                  <a:pt x="243" y="1536"/>
                </a:lnTo>
                <a:lnTo>
                  <a:pt x="237" y="1542"/>
                </a:lnTo>
                <a:lnTo>
                  <a:pt x="237"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8"/>
                </a:lnTo>
                <a:lnTo>
                  <a:pt x="249" y="1548"/>
                </a:lnTo>
                <a:lnTo>
                  <a:pt x="249" y="1548"/>
                </a:lnTo>
                <a:lnTo>
                  <a:pt x="249" y="1548"/>
                </a:lnTo>
                <a:lnTo>
                  <a:pt x="249" y="1548"/>
                </a:lnTo>
                <a:lnTo>
                  <a:pt x="249" y="1548"/>
                </a:lnTo>
                <a:lnTo>
                  <a:pt x="249" y="1548"/>
                </a:lnTo>
                <a:lnTo>
                  <a:pt x="255" y="1548"/>
                </a:lnTo>
                <a:lnTo>
                  <a:pt x="255" y="1548"/>
                </a:lnTo>
                <a:lnTo>
                  <a:pt x="249" y="1548"/>
                </a:lnTo>
                <a:lnTo>
                  <a:pt x="249" y="1548"/>
                </a:lnTo>
                <a:lnTo>
                  <a:pt x="249" y="1548"/>
                </a:lnTo>
                <a:lnTo>
                  <a:pt x="249" y="1548"/>
                </a:lnTo>
                <a:lnTo>
                  <a:pt x="255" y="1554"/>
                </a:lnTo>
                <a:lnTo>
                  <a:pt x="255" y="1554"/>
                </a:lnTo>
                <a:lnTo>
                  <a:pt x="255" y="1554"/>
                </a:lnTo>
                <a:lnTo>
                  <a:pt x="255" y="1554"/>
                </a:lnTo>
                <a:lnTo>
                  <a:pt x="255" y="1560"/>
                </a:lnTo>
                <a:lnTo>
                  <a:pt x="261" y="1566"/>
                </a:lnTo>
                <a:lnTo>
                  <a:pt x="261" y="1566"/>
                </a:lnTo>
                <a:lnTo>
                  <a:pt x="261" y="1566"/>
                </a:lnTo>
                <a:lnTo>
                  <a:pt x="261" y="1566"/>
                </a:lnTo>
                <a:lnTo>
                  <a:pt x="261" y="1572"/>
                </a:lnTo>
                <a:lnTo>
                  <a:pt x="261" y="1578"/>
                </a:lnTo>
                <a:lnTo>
                  <a:pt x="267" y="1578"/>
                </a:lnTo>
                <a:lnTo>
                  <a:pt x="267" y="1578"/>
                </a:lnTo>
                <a:lnTo>
                  <a:pt x="267" y="1578"/>
                </a:lnTo>
                <a:lnTo>
                  <a:pt x="267" y="1578"/>
                </a:lnTo>
                <a:lnTo>
                  <a:pt x="267" y="1578"/>
                </a:lnTo>
                <a:lnTo>
                  <a:pt x="267" y="1578"/>
                </a:lnTo>
                <a:lnTo>
                  <a:pt x="267" y="1578"/>
                </a:lnTo>
                <a:lnTo>
                  <a:pt x="267" y="1578"/>
                </a:lnTo>
                <a:lnTo>
                  <a:pt x="267" y="1584"/>
                </a:lnTo>
                <a:lnTo>
                  <a:pt x="267" y="1584"/>
                </a:lnTo>
                <a:lnTo>
                  <a:pt x="267" y="1584"/>
                </a:lnTo>
                <a:lnTo>
                  <a:pt x="267" y="1584"/>
                </a:lnTo>
                <a:lnTo>
                  <a:pt x="267" y="1584"/>
                </a:lnTo>
                <a:lnTo>
                  <a:pt x="267" y="1584"/>
                </a:lnTo>
                <a:lnTo>
                  <a:pt x="267" y="1584"/>
                </a:lnTo>
                <a:lnTo>
                  <a:pt x="273" y="1584"/>
                </a:lnTo>
                <a:lnTo>
                  <a:pt x="267" y="1584"/>
                </a:lnTo>
                <a:lnTo>
                  <a:pt x="267" y="1584"/>
                </a:lnTo>
                <a:lnTo>
                  <a:pt x="267" y="1584"/>
                </a:lnTo>
                <a:lnTo>
                  <a:pt x="261" y="1584"/>
                </a:lnTo>
                <a:lnTo>
                  <a:pt x="261" y="1584"/>
                </a:lnTo>
                <a:lnTo>
                  <a:pt x="261" y="1578"/>
                </a:lnTo>
                <a:lnTo>
                  <a:pt x="261" y="1578"/>
                </a:lnTo>
                <a:lnTo>
                  <a:pt x="261" y="1578"/>
                </a:lnTo>
                <a:lnTo>
                  <a:pt x="261" y="1578"/>
                </a:lnTo>
                <a:lnTo>
                  <a:pt x="255" y="1578"/>
                </a:lnTo>
                <a:lnTo>
                  <a:pt x="255" y="1578"/>
                </a:lnTo>
                <a:lnTo>
                  <a:pt x="255" y="1578"/>
                </a:lnTo>
                <a:lnTo>
                  <a:pt x="255" y="1578"/>
                </a:lnTo>
                <a:lnTo>
                  <a:pt x="255" y="1578"/>
                </a:lnTo>
                <a:lnTo>
                  <a:pt x="255" y="1578"/>
                </a:lnTo>
                <a:lnTo>
                  <a:pt x="255" y="1578"/>
                </a:lnTo>
                <a:lnTo>
                  <a:pt x="255" y="1578"/>
                </a:lnTo>
                <a:lnTo>
                  <a:pt x="255" y="1572"/>
                </a:lnTo>
                <a:lnTo>
                  <a:pt x="255" y="1572"/>
                </a:lnTo>
                <a:lnTo>
                  <a:pt x="255" y="1572"/>
                </a:lnTo>
                <a:lnTo>
                  <a:pt x="255" y="1572"/>
                </a:lnTo>
                <a:lnTo>
                  <a:pt x="249" y="1572"/>
                </a:lnTo>
                <a:lnTo>
                  <a:pt x="249" y="1572"/>
                </a:lnTo>
                <a:lnTo>
                  <a:pt x="249" y="1572"/>
                </a:lnTo>
                <a:lnTo>
                  <a:pt x="249" y="1572"/>
                </a:lnTo>
                <a:lnTo>
                  <a:pt x="249" y="1572"/>
                </a:lnTo>
                <a:lnTo>
                  <a:pt x="249" y="1572"/>
                </a:lnTo>
                <a:lnTo>
                  <a:pt x="249" y="1572"/>
                </a:lnTo>
                <a:lnTo>
                  <a:pt x="243" y="1572"/>
                </a:lnTo>
                <a:lnTo>
                  <a:pt x="243" y="1566"/>
                </a:lnTo>
                <a:lnTo>
                  <a:pt x="243" y="1566"/>
                </a:lnTo>
                <a:lnTo>
                  <a:pt x="243" y="1566"/>
                </a:lnTo>
                <a:lnTo>
                  <a:pt x="243" y="1566"/>
                </a:lnTo>
                <a:lnTo>
                  <a:pt x="243" y="1566"/>
                </a:lnTo>
                <a:lnTo>
                  <a:pt x="237" y="1566"/>
                </a:lnTo>
                <a:lnTo>
                  <a:pt x="237" y="1566"/>
                </a:lnTo>
                <a:lnTo>
                  <a:pt x="237" y="1566"/>
                </a:lnTo>
                <a:lnTo>
                  <a:pt x="237" y="1566"/>
                </a:lnTo>
                <a:lnTo>
                  <a:pt x="237" y="1566"/>
                </a:lnTo>
                <a:lnTo>
                  <a:pt x="237" y="1566"/>
                </a:lnTo>
                <a:lnTo>
                  <a:pt x="237" y="1566"/>
                </a:lnTo>
                <a:lnTo>
                  <a:pt x="237" y="1566"/>
                </a:lnTo>
                <a:lnTo>
                  <a:pt x="237" y="1566"/>
                </a:lnTo>
                <a:lnTo>
                  <a:pt x="237" y="1560"/>
                </a:lnTo>
                <a:lnTo>
                  <a:pt x="237" y="1560"/>
                </a:lnTo>
                <a:lnTo>
                  <a:pt x="237" y="1560"/>
                </a:lnTo>
                <a:lnTo>
                  <a:pt x="237" y="1560"/>
                </a:lnTo>
                <a:lnTo>
                  <a:pt x="237" y="1560"/>
                </a:lnTo>
                <a:lnTo>
                  <a:pt x="237" y="1560"/>
                </a:lnTo>
                <a:lnTo>
                  <a:pt x="237" y="1560"/>
                </a:lnTo>
                <a:lnTo>
                  <a:pt x="237" y="1560"/>
                </a:lnTo>
                <a:lnTo>
                  <a:pt x="237" y="1560"/>
                </a:lnTo>
                <a:lnTo>
                  <a:pt x="237" y="1554"/>
                </a:lnTo>
                <a:lnTo>
                  <a:pt x="237" y="1554"/>
                </a:lnTo>
                <a:lnTo>
                  <a:pt x="237" y="1554"/>
                </a:lnTo>
                <a:lnTo>
                  <a:pt x="237" y="1554"/>
                </a:lnTo>
                <a:lnTo>
                  <a:pt x="237" y="1554"/>
                </a:lnTo>
                <a:lnTo>
                  <a:pt x="237" y="1554"/>
                </a:lnTo>
                <a:lnTo>
                  <a:pt x="237" y="1548"/>
                </a:lnTo>
                <a:lnTo>
                  <a:pt x="237" y="1554"/>
                </a:lnTo>
                <a:lnTo>
                  <a:pt x="237" y="1548"/>
                </a:lnTo>
                <a:lnTo>
                  <a:pt x="237" y="1548"/>
                </a:lnTo>
                <a:lnTo>
                  <a:pt x="237" y="1548"/>
                </a:lnTo>
                <a:lnTo>
                  <a:pt x="237" y="1548"/>
                </a:lnTo>
                <a:lnTo>
                  <a:pt x="237" y="1548"/>
                </a:lnTo>
                <a:lnTo>
                  <a:pt x="237" y="1548"/>
                </a:lnTo>
                <a:lnTo>
                  <a:pt x="237" y="1542"/>
                </a:lnTo>
                <a:lnTo>
                  <a:pt x="237" y="1542"/>
                </a:lnTo>
                <a:lnTo>
                  <a:pt x="237" y="1542"/>
                </a:lnTo>
                <a:lnTo>
                  <a:pt x="237" y="1542"/>
                </a:lnTo>
                <a:lnTo>
                  <a:pt x="237" y="1542"/>
                </a:lnTo>
                <a:lnTo>
                  <a:pt x="231" y="1542"/>
                </a:lnTo>
                <a:lnTo>
                  <a:pt x="231" y="1542"/>
                </a:lnTo>
                <a:lnTo>
                  <a:pt x="231" y="1536"/>
                </a:lnTo>
                <a:lnTo>
                  <a:pt x="225" y="1542"/>
                </a:lnTo>
                <a:lnTo>
                  <a:pt x="225" y="1542"/>
                </a:lnTo>
                <a:lnTo>
                  <a:pt x="225" y="1542"/>
                </a:lnTo>
                <a:lnTo>
                  <a:pt x="225" y="1542"/>
                </a:lnTo>
                <a:lnTo>
                  <a:pt x="225" y="1542"/>
                </a:lnTo>
                <a:lnTo>
                  <a:pt x="225" y="1542"/>
                </a:lnTo>
                <a:lnTo>
                  <a:pt x="219" y="1542"/>
                </a:lnTo>
                <a:lnTo>
                  <a:pt x="219" y="1542"/>
                </a:lnTo>
                <a:lnTo>
                  <a:pt x="219" y="1548"/>
                </a:lnTo>
                <a:lnTo>
                  <a:pt x="225" y="1548"/>
                </a:lnTo>
                <a:lnTo>
                  <a:pt x="225" y="1554"/>
                </a:lnTo>
                <a:lnTo>
                  <a:pt x="225" y="1554"/>
                </a:lnTo>
                <a:lnTo>
                  <a:pt x="225" y="1560"/>
                </a:lnTo>
                <a:lnTo>
                  <a:pt x="225" y="1560"/>
                </a:lnTo>
                <a:lnTo>
                  <a:pt x="225" y="1560"/>
                </a:lnTo>
                <a:lnTo>
                  <a:pt x="225" y="1566"/>
                </a:lnTo>
                <a:lnTo>
                  <a:pt x="225" y="1566"/>
                </a:lnTo>
                <a:lnTo>
                  <a:pt x="225" y="1566"/>
                </a:lnTo>
                <a:lnTo>
                  <a:pt x="225" y="1566"/>
                </a:lnTo>
                <a:lnTo>
                  <a:pt x="225" y="1566"/>
                </a:lnTo>
                <a:lnTo>
                  <a:pt x="225" y="1566"/>
                </a:lnTo>
                <a:lnTo>
                  <a:pt x="219" y="1566"/>
                </a:lnTo>
                <a:lnTo>
                  <a:pt x="219" y="1566"/>
                </a:lnTo>
                <a:lnTo>
                  <a:pt x="219" y="1566"/>
                </a:lnTo>
                <a:lnTo>
                  <a:pt x="219" y="1566"/>
                </a:lnTo>
                <a:lnTo>
                  <a:pt x="219" y="1566"/>
                </a:lnTo>
                <a:lnTo>
                  <a:pt x="219" y="1572"/>
                </a:lnTo>
                <a:lnTo>
                  <a:pt x="219" y="1572"/>
                </a:lnTo>
                <a:lnTo>
                  <a:pt x="219" y="1572"/>
                </a:lnTo>
                <a:lnTo>
                  <a:pt x="219" y="1572"/>
                </a:lnTo>
                <a:lnTo>
                  <a:pt x="219" y="1572"/>
                </a:lnTo>
                <a:lnTo>
                  <a:pt x="219" y="1572"/>
                </a:lnTo>
                <a:lnTo>
                  <a:pt x="225" y="1578"/>
                </a:lnTo>
                <a:lnTo>
                  <a:pt x="225" y="1578"/>
                </a:lnTo>
                <a:lnTo>
                  <a:pt x="225" y="1578"/>
                </a:lnTo>
                <a:lnTo>
                  <a:pt x="225" y="1578"/>
                </a:lnTo>
                <a:lnTo>
                  <a:pt x="225" y="1578"/>
                </a:lnTo>
                <a:lnTo>
                  <a:pt x="225" y="1578"/>
                </a:lnTo>
                <a:lnTo>
                  <a:pt x="225" y="1578"/>
                </a:lnTo>
                <a:lnTo>
                  <a:pt x="225" y="1578"/>
                </a:lnTo>
                <a:lnTo>
                  <a:pt x="225" y="1578"/>
                </a:lnTo>
                <a:lnTo>
                  <a:pt x="231" y="1584"/>
                </a:lnTo>
                <a:lnTo>
                  <a:pt x="231" y="1584"/>
                </a:lnTo>
                <a:lnTo>
                  <a:pt x="231" y="1590"/>
                </a:lnTo>
                <a:lnTo>
                  <a:pt x="231" y="1590"/>
                </a:lnTo>
                <a:lnTo>
                  <a:pt x="231" y="1595"/>
                </a:lnTo>
                <a:lnTo>
                  <a:pt x="231" y="1595"/>
                </a:lnTo>
                <a:lnTo>
                  <a:pt x="231" y="1595"/>
                </a:lnTo>
                <a:lnTo>
                  <a:pt x="231" y="1595"/>
                </a:lnTo>
                <a:lnTo>
                  <a:pt x="231" y="1595"/>
                </a:lnTo>
                <a:lnTo>
                  <a:pt x="231" y="1595"/>
                </a:lnTo>
                <a:lnTo>
                  <a:pt x="231" y="1601"/>
                </a:lnTo>
                <a:lnTo>
                  <a:pt x="231" y="1601"/>
                </a:lnTo>
                <a:lnTo>
                  <a:pt x="231" y="1607"/>
                </a:lnTo>
                <a:lnTo>
                  <a:pt x="231" y="1607"/>
                </a:lnTo>
                <a:lnTo>
                  <a:pt x="231" y="1607"/>
                </a:lnTo>
                <a:lnTo>
                  <a:pt x="231" y="1613"/>
                </a:lnTo>
                <a:lnTo>
                  <a:pt x="231" y="1613"/>
                </a:lnTo>
                <a:lnTo>
                  <a:pt x="231" y="1613"/>
                </a:lnTo>
                <a:lnTo>
                  <a:pt x="231" y="1613"/>
                </a:lnTo>
                <a:lnTo>
                  <a:pt x="231" y="1619"/>
                </a:lnTo>
                <a:lnTo>
                  <a:pt x="231" y="1619"/>
                </a:lnTo>
                <a:lnTo>
                  <a:pt x="237" y="1619"/>
                </a:lnTo>
                <a:lnTo>
                  <a:pt x="237" y="1619"/>
                </a:lnTo>
                <a:lnTo>
                  <a:pt x="237" y="1619"/>
                </a:lnTo>
                <a:lnTo>
                  <a:pt x="237" y="1619"/>
                </a:lnTo>
                <a:lnTo>
                  <a:pt x="237" y="1619"/>
                </a:lnTo>
                <a:lnTo>
                  <a:pt x="237" y="1625"/>
                </a:lnTo>
                <a:lnTo>
                  <a:pt x="237" y="1625"/>
                </a:lnTo>
                <a:lnTo>
                  <a:pt x="237" y="1625"/>
                </a:lnTo>
                <a:lnTo>
                  <a:pt x="243" y="1625"/>
                </a:lnTo>
                <a:lnTo>
                  <a:pt x="243" y="1625"/>
                </a:lnTo>
                <a:lnTo>
                  <a:pt x="243" y="1625"/>
                </a:lnTo>
                <a:lnTo>
                  <a:pt x="243" y="1625"/>
                </a:lnTo>
                <a:lnTo>
                  <a:pt x="243" y="1625"/>
                </a:lnTo>
                <a:lnTo>
                  <a:pt x="243" y="1625"/>
                </a:lnTo>
                <a:lnTo>
                  <a:pt x="243" y="1625"/>
                </a:lnTo>
                <a:lnTo>
                  <a:pt x="243" y="1625"/>
                </a:lnTo>
                <a:lnTo>
                  <a:pt x="243" y="1625"/>
                </a:lnTo>
                <a:lnTo>
                  <a:pt x="243" y="1631"/>
                </a:lnTo>
                <a:lnTo>
                  <a:pt x="243" y="1631"/>
                </a:lnTo>
                <a:lnTo>
                  <a:pt x="249" y="1631"/>
                </a:lnTo>
                <a:lnTo>
                  <a:pt x="249" y="1631"/>
                </a:lnTo>
                <a:lnTo>
                  <a:pt x="249" y="1631"/>
                </a:lnTo>
                <a:lnTo>
                  <a:pt x="249" y="1637"/>
                </a:lnTo>
                <a:lnTo>
                  <a:pt x="249" y="1637"/>
                </a:lnTo>
                <a:lnTo>
                  <a:pt x="249" y="1637"/>
                </a:lnTo>
                <a:lnTo>
                  <a:pt x="255" y="1637"/>
                </a:lnTo>
                <a:lnTo>
                  <a:pt x="255" y="1643"/>
                </a:lnTo>
                <a:lnTo>
                  <a:pt x="255" y="1643"/>
                </a:lnTo>
                <a:lnTo>
                  <a:pt x="255" y="1643"/>
                </a:lnTo>
                <a:lnTo>
                  <a:pt x="261" y="1643"/>
                </a:lnTo>
                <a:lnTo>
                  <a:pt x="261" y="1643"/>
                </a:lnTo>
                <a:lnTo>
                  <a:pt x="261" y="1643"/>
                </a:lnTo>
                <a:lnTo>
                  <a:pt x="261" y="1643"/>
                </a:lnTo>
                <a:lnTo>
                  <a:pt x="261" y="1643"/>
                </a:lnTo>
                <a:lnTo>
                  <a:pt x="261" y="1643"/>
                </a:lnTo>
                <a:lnTo>
                  <a:pt x="261" y="1649"/>
                </a:lnTo>
                <a:lnTo>
                  <a:pt x="267" y="1649"/>
                </a:lnTo>
                <a:lnTo>
                  <a:pt x="267" y="1649"/>
                </a:lnTo>
                <a:lnTo>
                  <a:pt x="267" y="1649"/>
                </a:lnTo>
                <a:lnTo>
                  <a:pt x="267" y="1649"/>
                </a:lnTo>
                <a:lnTo>
                  <a:pt x="267" y="1649"/>
                </a:lnTo>
                <a:lnTo>
                  <a:pt x="273" y="1649"/>
                </a:lnTo>
                <a:lnTo>
                  <a:pt x="273" y="1649"/>
                </a:lnTo>
                <a:lnTo>
                  <a:pt x="273" y="1649"/>
                </a:lnTo>
                <a:lnTo>
                  <a:pt x="273" y="1649"/>
                </a:lnTo>
                <a:lnTo>
                  <a:pt x="273" y="1643"/>
                </a:lnTo>
                <a:lnTo>
                  <a:pt x="273" y="1643"/>
                </a:lnTo>
                <a:lnTo>
                  <a:pt x="273" y="1643"/>
                </a:lnTo>
                <a:lnTo>
                  <a:pt x="273" y="1643"/>
                </a:lnTo>
                <a:lnTo>
                  <a:pt x="273" y="1643"/>
                </a:lnTo>
                <a:lnTo>
                  <a:pt x="273" y="1643"/>
                </a:lnTo>
                <a:lnTo>
                  <a:pt x="278" y="1649"/>
                </a:lnTo>
                <a:lnTo>
                  <a:pt x="278" y="1649"/>
                </a:lnTo>
                <a:lnTo>
                  <a:pt x="278" y="1649"/>
                </a:lnTo>
                <a:lnTo>
                  <a:pt x="278" y="1643"/>
                </a:lnTo>
                <a:lnTo>
                  <a:pt x="278" y="1643"/>
                </a:lnTo>
                <a:lnTo>
                  <a:pt x="278" y="1643"/>
                </a:lnTo>
                <a:lnTo>
                  <a:pt x="278" y="1643"/>
                </a:lnTo>
                <a:lnTo>
                  <a:pt x="278" y="1643"/>
                </a:lnTo>
                <a:lnTo>
                  <a:pt x="284" y="1643"/>
                </a:lnTo>
                <a:lnTo>
                  <a:pt x="284" y="1649"/>
                </a:lnTo>
                <a:lnTo>
                  <a:pt x="284" y="1649"/>
                </a:lnTo>
                <a:lnTo>
                  <a:pt x="284" y="1649"/>
                </a:lnTo>
                <a:lnTo>
                  <a:pt x="290" y="1649"/>
                </a:lnTo>
                <a:lnTo>
                  <a:pt x="290" y="1661"/>
                </a:lnTo>
                <a:lnTo>
                  <a:pt x="296" y="1661"/>
                </a:lnTo>
                <a:lnTo>
                  <a:pt x="296" y="1667"/>
                </a:lnTo>
                <a:lnTo>
                  <a:pt x="296" y="1667"/>
                </a:lnTo>
                <a:lnTo>
                  <a:pt x="290" y="1673"/>
                </a:lnTo>
                <a:lnTo>
                  <a:pt x="290" y="1673"/>
                </a:lnTo>
                <a:lnTo>
                  <a:pt x="296" y="1673"/>
                </a:lnTo>
                <a:lnTo>
                  <a:pt x="296" y="1673"/>
                </a:lnTo>
                <a:lnTo>
                  <a:pt x="296" y="1673"/>
                </a:lnTo>
                <a:lnTo>
                  <a:pt x="296" y="1673"/>
                </a:lnTo>
                <a:lnTo>
                  <a:pt x="296" y="1673"/>
                </a:lnTo>
                <a:lnTo>
                  <a:pt x="296" y="1673"/>
                </a:lnTo>
                <a:lnTo>
                  <a:pt x="296" y="1673"/>
                </a:lnTo>
                <a:lnTo>
                  <a:pt x="296" y="1673"/>
                </a:lnTo>
                <a:lnTo>
                  <a:pt x="296" y="1673"/>
                </a:lnTo>
                <a:lnTo>
                  <a:pt x="296" y="1673"/>
                </a:lnTo>
                <a:lnTo>
                  <a:pt x="296" y="1673"/>
                </a:lnTo>
                <a:lnTo>
                  <a:pt x="296" y="1673"/>
                </a:lnTo>
                <a:lnTo>
                  <a:pt x="290" y="1673"/>
                </a:lnTo>
                <a:lnTo>
                  <a:pt x="290" y="1673"/>
                </a:lnTo>
                <a:lnTo>
                  <a:pt x="290" y="1678"/>
                </a:lnTo>
                <a:lnTo>
                  <a:pt x="290" y="1678"/>
                </a:lnTo>
                <a:lnTo>
                  <a:pt x="290" y="1678"/>
                </a:lnTo>
                <a:lnTo>
                  <a:pt x="290" y="1684"/>
                </a:lnTo>
                <a:lnTo>
                  <a:pt x="290" y="1684"/>
                </a:lnTo>
                <a:lnTo>
                  <a:pt x="290" y="1684"/>
                </a:lnTo>
                <a:lnTo>
                  <a:pt x="290" y="1684"/>
                </a:lnTo>
                <a:lnTo>
                  <a:pt x="290" y="1690"/>
                </a:lnTo>
                <a:lnTo>
                  <a:pt x="290" y="1690"/>
                </a:lnTo>
                <a:lnTo>
                  <a:pt x="284" y="1690"/>
                </a:lnTo>
                <a:lnTo>
                  <a:pt x="284" y="1690"/>
                </a:lnTo>
                <a:lnTo>
                  <a:pt x="284" y="1690"/>
                </a:lnTo>
                <a:lnTo>
                  <a:pt x="284" y="1690"/>
                </a:lnTo>
                <a:lnTo>
                  <a:pt x="284" y="1690"/>
                </a:lnTo>
                <a:lnTo>
                  <a:pt x="284" y="1690"/>
                </a:lnTo>
                <a:lnTo>
                  <a:pt x="284" y="1690"/>
                </a:lnTo>
                <a:lnTo>
                  <a:pt x="284" y="1690"/>
                </a:lnTo>
                <a:lnTo>
                  <a:pt x="284" y="1690"/>
                </a:lnTo>
                <a:lnTo>
                  <a:pt x="284" y="1690"/>
                </a:lnTo>
                <a:lnTo>
                  <a:pt x="278" y="1684"/>
                </a:lnTo>
                <a:lnTo>
                  <a:pt x="278" y="1684"/>
                </a:lnTo>
                <a:lnTo>
                  <a:pt x="278" y="1684"/>
                </a:lnTo>
                <a:lnTo>
                  <a:pt x="278" y="1684"/>
                </a:lnTo>
                <a:lnTo>
                  <a:pt x="278" y="1684"/>
                </a:lnTo>
                <a:lnTo>
                  <a:pt x="278" y="1684"/>
                </a:lnTo>
                <a:lnTo>
                  <a:pt x="278" y="1684"/>
                </a:lnTo>
                <a:lnTo>
                  <a:pt x="278" y="1684"/>
                </a:lnTo>
                <a:lnTo>
                  <a:pt x="278" y="1690"/>
                </a:lnTo>
                <a:lnTo>
                  <a:pt x="278" y="1690"/>
                </a:lnTo>
                <a:lnTo>
                  <a:pt x="278" y="1690"/>
                </a:lnTo>
                <a:lnTo>
                  <a:pt x="278" y="1690"/>
                </a:lnTo>
                <a:lnTo>
                  <a:pt x="278" y="1690"/>
                </a:lnTo>
                <a:lnTo>
                  <a:pt x="278" y="1690"/>
                </a:lnTo>
                <a:lnTo>
                  <a:pt x="278" y="1690"/>
                </a:lnTo>
                <a:lnTo>
                  <a:pt x="278" y="1690"/>
                </a:lnTo>
                <a:lnTo>
                  <a:pt x="278" y="1690"/>
                </a:lnTo>
                <a:lnTo>
                  <a:pt x="278" y="1690"/>
                </a:lnTo>
                <a:lnTo>
                  <a:pt x="278" y="1690"/>
                </a:lnTo>
                <a:lnTo>
                  <a:pt x="273" y="1690"/>
                </a:lnTo>
                <a:lnTo>
                  <a:pt x="273"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8"/>
                </a:lnTo>
                <a:lnTo>
                  <a:pt x="278" y="1708"/>
                </a:lnTo>
                <a:lnTo>
                  <a:pt x="278" y="1708"/>
                </a:lnTo>
                <a:lnTo>
                  <a:pt x="278" y="1708"/>
                </a:lnTo>
                <a:lnTo>
                  <a:pt x="278" y="1708"/>
                </a:lnTo>
                <a:lnTo>
                  <a:pt x="278" y="1708"/>
                </a:lnTo>
                <a:lnTo>
                  <a:pt x="278" y="1714"/>
                </a:lnTo>
                <a:lnTo>
                  <a:pt x="284" y="1714"/>
                </a:lnTo>
                <a:lnTo>
                  <a:pt x="284" y="1714"/>
                </a:lnTo>
                <a:lnTo>
                  <a:pt x="284" y="1714"/>
                </a:lnTo>
                <a:lnTo>
                  <a:pt x="284" y="1714"/>
                </a:lnTo>
                <a:lnTo>
                  <a:pt x="284" y="1714"/>
                </a:lnTo>
                <a:lnTo>
                  <a:pt x="284" y="1714"/>
                </a:lnTo>
                <a:lnTo>
                  <a:pt x="284" y="1714"/>
                </a:lnTo>
                <a:lnTo>
                  <a:pt x="284" y="1720"/>
                </a:lnTo>
                <a:lnTo>
                  <a:pt x="284" y="1720"/>
                </a:lnTo>
                <a:lnTo>
                  <a:pt x="284" y="1720"/>
                </a:lnTo>
                <a:lnTo>
                  <a:pt x="284" y="1720"/>
                </a:lnTo>
                <a:lnTo>
                  <a:pt x="284" y="1720"/>
                </a:lnTo>
                <a:lnTo>
                  <a:pt x="284" y="1720"/>
                </a:lnTo>
                <a:lnTo>
                  <a:pt x="284" y="1720"/>
                </a:lnTo>
                <a:lnTo>
                  <a:pt x="284" y="1720"/>
                </a:lnTo>
                <a:lnTo>
                  <a:pt x="284" y="1720"/>
                </a:lnTo>
                <a:lnTo>
                  <a:pt x="284" y="1726"/>
                </a:lnTo>
                <a:lnTo>
                  <a:pt x="284" y="1726"/>
                </a:lnTo>
                <a:lnTo>
                  <a:pt x="284" y="1726"/>
                </a:lnTo>
                <a:lnTo>
                  <a:pt x="284" y="1726"/>
                </a:lnTo>
                <a:lnTo>
                  <a:pt x="284" y="1726"/>
                </a:lnTo>
                <a:lnTo>
                  <a:pt x="284" y="1726"/>
                </a:lnTo>
                <a:lnTo>
                  <a:pt x="284" y="1726"/>
                </a:lnTo>
                <a:lnTo>
                  <a:pt x="284" y="1732"/>
                </a:lnTo>
                <a:lnTo>
                  <a:pt x="284" y="1732"/>
                </a:lnTo>
                <a:lnTo>
                  <a:pt x="290" y="1732"/>
                </a:lnTo>
                <a:lnTo>
                  <a:pt x="290" y="1732"/>
                </a:lnTo>
                <a:lnTo>
                  <a:pt x="290" y="1732"/>
                </a:lnTo>
                <a:lnTo>
                  <a:pt x="290" y="1732"/>
                </a:lnTo>
                <a:lnTo>
                  <a:pt x="290" y="1732"/>
                </a:lnTo>
                <a:lnTo>
                  <a:pt x="290" y="1732"/>
                </a:lnTo>
                <a:lnTo>
                  <a:pt x="290" y="1738"/>
                </a:lnTo>
                <a:lnTo>
                  <a:pt x="290" y="1738"/>
                </a:lnTo>
                <a:lnTo>
                  <a:pt x="290" y="1738"/>
                </a:lnTo>
                <a:lnTo>
                  <a:pt x="290" y="1738"/>
                </a:lnTo>
                <a:lnTo>
                  <a:pt x="296" y="1738"/>
                </a:lnTo>
                <a:lnTo>
                  <a:pt x="296" y="1738"/>
                </a:lnTo>
                <a:lnTo>
                  <a:pt x="296" y="1738"/>
                </a:lnTo>
                <a:lnTo>
                  <a:pt x="302" y="1738"/>
                </a:lnTo>
                <a:lnTo>
                  <a:pt x="302" y="1744"/>
                </a:lnTo>
                <a:lnTo>
                  <a:pt x="302" y="1744"/>
                </a:lnTo>
                <a:lnTo>
                  <a:pt x="308" y="1744"/>
                </a:lnTo>
                <a:lnTo>
                  <a:pt x="308" y="1750"/>
                </a:lnTo>
                <a:lnTo>
                  <a:pt x="308" y="1750"/>
                </a:lnTo>
                <a:lnTo>
                  <a:pt x="308" y="1750"/>
                </a:lnTo>
                <a:lnTo>
                  <a:pt x="308" y="1756"/>
                </a:lnTo>
                <a:lnTo>
                  <a:pt x="314" y="1756"/>
                </a:lnTo>
                <a:lnTo>
                  <a:pt x="314" y="1756"/>
                </a:lnTo>
                <a:lnTo>
                  <a:pt x="314" y="1756"/>
                </a:lnTo>
                <a:lnTo>
                  <a:pt x="314" y="1756"/>
                </a:lnTo>
                <a:lnTo>
                  <a:pt x="314" y="1756"/>
                </a:lnTo>
                <a:lnTo>
                  <a:pt x="314" y="1762"/>
                </a:lnTo>
                <a:lnTo>
                  <a:pt x="314" y="1762"/>
                </a:lnTo>
                <a:lnTo>
                  <a:pt x="320" y="1762"/>
                </a:lnTo>
                <a:lnTo>
                  <a:pt x="320" y="1762"/>
                </a:lnTo>
                <a:lnTo>
                  <a:pt x="320" y="1762"/>
                </a:lnTo>
                <a:lnTo>
                  <a:pt x="326" y="1767"/>
                </a:lnTo>
                <a:lnTo>
                  <a:pt x="326" y="1767"/>
                </a:lnTo>
                <a:lnTo>
                  <a:pt x="326" y="1773"/>
                </a:lnTo>
                <a:lnTo>
                  <a:pt x="326" y="1773"/>
                </a:lnTo>
                <a:lnTo>
                  <a:pt x="326" y="1773"/>
                </a:lnTo>
                <a:lnTo>
                  <a:pt x="326" y="1773"/>
                </a:lnTo>
                <a:lnTo>
                  <a:pt x="326" y="1773"/>
                </a:lnTo>
                <a:lnTo>
                  <a:pt x="326" y="1779"/>
                </a:lnTo>
                <a:lnTo>
                  <a:pt x="326" y="1779"/>
                </a:lnTo>
                <a:lnTo>
                  <a:pt x="332" y="1779"/>
                </a:lnTo>
                <a:lnTo>
                  <a:pt x="332" y="1779"/>
                </a:lnTo>
                <a:lnTo>
                  <a:pt x="332" y="1785"/>
                </a:lnTo>
                <a:lnTo>
                  <a:pt x="332" y="1785"/>
                </a:lnTo>
                <a:lnTo>
                  <a:pt x="332" y="1785"/>
                </a:lnTo>
                <a:lnTo>
                  <a:pt x="338" y="1785"/>
                </a:lnTo>
                <a:lnTo>
                  <a:pt x="338" y="1785"/>
                </a:lnTo>
                <a:lnTo>
                  <a:pt x="338" y="1791"/>
                </a:lnTo>
                <a:lnTo>
                  <a:pt x="338" y="1791"/>
                </a:lnTo>
                <a:lnTo>
                  <a:pt x="338" y="1791"/>
                </a:lnTo>
                <a:lnTo>
                  <a:pt x="344" y="1797"/>
                </a:lnTo>
                <a:lnTo>
                  <a:pt x="344" y="1803"/>
                </a:lnTo>
                <a:lnTo>
                  <a:pt x="344" y="1803"/>
                </a:lnTo>
                <a:lnTo>
                  <a:pt x="344" y="1803"/>
                </a:lnTo>
                <a:lnTo>
                  <a:pt x="344" y="1803"/>
                </a:lnTo>
                <a:lnTo>
                  <a:pt x="344" y="1803"/>
                </a:lnTo>
                <a:lnTo>
                  <a:pt x="344" y="1809"/>
                </a:lnTo>
                <a:lnTo>
                  <a:pt x="350" y="1809"/>
                </a:lnTo>
                <a:lnTo>
                  <a:pt x="350" y="1809"/>
                </a:lnTo>
                <a:lnTo>
                  <a:pt x="350" y="1809"/>
                </a:lnTo>
                <a:lnTo>
                  <a:pt x="355" y="1809"/>
                </a:lnTo>
                <a:lnTo>
                  <a:pt x="355" y="1809"/>
                </a:lnTo>
                <a:lnTo>
                  <a:pt x="355" y="1809"/>
                </a:lnTo>
                <a:lnTo>
                  <a:pt x="355" y="1809"/>
                </a:lnTo>
                <a:lnTo>
                  <a:pt x="355" y="1809"/>
                </a:lnTo>
                <a:lnTo>
                  <a:pt x="355" y="1809"/>
                </a:lnTo>
                <a:lnTo>
                  <a:pt x="355" y="1809"/>
                </a:lnTo>
                <a:lnTo>
                  <a:pt x="355" y="1809"/>
                </a:lnTo>
                <a:lnTo>
                  <a:pt x="355" y="1809"/>
                </a:lnTo>
                <a:lnTo>
                  <a:pt x="361" y="1815"/>
                </a:lnTo>
                <a:lnTo>
                  <a:pt x="361" y="1815"/>
                </a:lnTo>
                <a:lnTo>
                  <a:pt x="361" y="1821"/>
                </a:lnTo>
                <a:lnTo>
                  <a:pt x="361" y="1821"/>
                </a:lnTo>
                <a:lnTo>
                  <a:pt x="367" y="1827"/>
                </a:lnTo>
                <a:lnTo>
                  <a:pt x="367" y="1827"/>
                </a:lnTo>
                <a:lnTo>
                  <a:pt x="373" y="1833"/>
                </a:lnTo>
                <a:lnTo>
                  <a:pt x="373" y="1833"/>
                </a:lnTo>
                <a:lnTo>
                  <a:pt x="373" y="1833"/>
                </a:lnTo>
                <a:lnTo>
                  <a:pt x="373" y="1833"/>
                </a:lnTo>
                <a:lnTo>
                  <a:pt x="379" y="1833"/>
                </a:lnTo>
                <a:lnTo>
                  <a:pt x="379" y="1833"/>
                </a:lnTo>
                <a:lnTo>
                  <a:pt x="379" y="1833"/>
                </a:lnTo>
                <a:lnTo>
                  <a:pt x="385" y="1833"/>
                </a:lnTo>
                <a:lnTo>
                  <a:pt x="385" y="1833"/>
                </a:lnTo>
                <a:lnTo>
                  <a:pt x="385" y="1833"/>
                </a:lnTo>
                <a:lnTo>
                  <a:pt x="385" y="1839"/>
                </a:lnTo>
                <a:lnTo>
                  <a:pt x="385" y="1839"/>
                </a:lnTo>
                <a:lnTo>
                  <a:pt x="385" y="1839"/>
                </a:lnTo>
                <a:lnTo>
                  <a:pt x="385" y="1845"/>
                </a:lnTo>
                <a:lnTo>
                  <a:pt x="385" y="1845"/>
                </a:lnTo>
                <a:lnTo>
                  <a:pt x="385" y="1845"/>
                </a:lnTo>
                <a:lnTo>
                  <a:pt x="385" y="1845"/>
                </a:lnTo>
                <a:lnTo>
                  <a:pt x="391" y="1845"/>
                </a:lnTo>
                <a:lnTo>
                  <a:pt x="391" y="1845"/>
                </a:lnTo>
                <a:lnTo>
                  <a:pt x="391" y="1845"/>
                </a:lnTo>
                <a:lnTo>
                  <a:pt x="391" y="1845"/>
                </a:lnTo>
                <a:lnTo>
                  <a:pt x="391" y="1845"/>
                </a:lnTo>
                <a:lnTo>
                  <a:pt x="391" y="1850"/>
                </a:lnTo>
                <a:lnTo>
                  <a:pt x="385" y="1850"/>
                </a:lnTo>
                <a:lnTo>
                  <a:pt x="385" y="1850"/>
                </a:lnTo>
                <a:lnTo>
                  <a:pt x="385" y="1845"/>
                </a:lnTo>
                <a:lnTo>
                  <a:pt x="385" y="1845"/>
                </a:lnTo>
                <a:lnTo>
                  <a:pt x="385" y="1845"/>
                </a:lnTo>
                <a:lnTo>
                  <a:pt x="385" y="1845"/>
                </a:lnTo>
                <a:lnTo>
                  <a:pt x="385" y="1845"/>
                </a:lnTo>
                <a:lnTo>
                  <a:pt x="385" y="1850"/>
                </a:lnTo>
                <a:lnTo>
                  <a:pt x="385" y="1850"/>
                </a:lnTo>
                <a:lnTo>
                  <a:pt x="385" y="1856"/>
                </a:lnTo>
                <a:lnTo>
                  <a:pt x="385" y="1856"/>
                </a:lnTo>
                <a:lnTo>
                  <a:pt x="385" y="1856"/>
                </a:lnTo>
                <a:lnTo>
                  <a:pt x="385" y="1856"/>
                </a:lnTo>
                <a:lnTo>
                  <a:pt x="385" y="1862"/>
                </a:lnTo>
                <a:lnTo>
                  <a:pt x="385" y="1862"/>
                </a:lnTo>
                <a:lnTo>
                  <a:pt x="391" y="1868"/>
                </a:lnTo>
                <a:lnTo>
                  <a:pt x="397" y="1868"/>
                </a:lnTo>
                <a:lnTo>
                  <a:pt x="397" y="1868"/>
                </a:lnTo>
                <a:lnTo>
                  <a:pt x="397" y="1868"/>
                </a:lnTo>
                <a:lnTo>
                  <a:pt x="397" y="1868"/>
                </a:lnTo>
                <a:lnTo>
                  <a:pt x="397" y="1868"/>
                </a:lnTo>
                <a:lnTo>
                  <a:pt x="397" y="1868"/>
                </a:lnTo>
                <a:lnTo>
                  <a:pt x="397" y="1868"/>
                </a:lnTo>
                <a:lnTo>
                  <a:pt x="397" y="1868"/>
                </a:lnTo>
                <a:lnTo>
                  <a:pt x="397" y="1868"/>
                </a:lnTo>
                <a:lnTo>
                  <a:pt x="397" y="1868"/>
                </a:lnTo>
                <a:lnTo>
                  <a:pt x="403" y="1868"/>
                </a:lnTo>
                <a:lnTo>
                  <a:pt x="403" y="1868"/>
                </a:lnTo>
                <a:lnTo>
                  <a:pt x="403" y="1868"/>
                </a:lnTo>
                <a:lnTo>
                  <a:pt x="403" y="1868"/>
                </a:lnTo>
                <a:lnTo>
                  <a:pt x="403" y="1868"/>
                </a:lnTo>
                <a:lnTo>
                  <a:pt x="403" y="1868"/>
                </a:lnTo>
                <a:lnTo>
                  <a:pt x="409" y="1868"/>
                </a:lnTo>
                <a:lnTo>
                  <a:pt x="409" y="1868"/>
                </a:lnTo>
                <a:lnTo>
                  <a:pt x="409" y="1868"/>
                </a:lnTo>
                <a:lnTo>
                  <a:pt x="409" y="1874"/>
                </a:lnTo>
                <a:lnTo>
                  <a:pt x="409" y="1880"/>
                </a:lnTo>
                <a:lnTo>
                  <a:pt x="409" y="1880"/>
                </a:lnTo>
                <a:lnTo>
                  <a:pt x="409" y="1880"/>
                </a:lnTo>
                <a:lnTo>
                  <a:pt x="409" y="1886"/>
                </a:lnTo>
                <a:lnTo>
                  <a:pt x="409" y="1892"/>
                </a:lnTo>
                <a:lnTo>
                  <a:pt x="409" y="1898"/>
                </a:lnTo>
                <a:lnTo>
                  <a:pt x="409" y="1898"/>
                </a:lnTo>
                <a:lnTo>
                  <a:pt x="403" y="1898"/>
                </a:lnTo>
                <a:lnTo>
                  <a:pt x="403" y="1898"/>
                </a:lnTo>
                <a:lnTo>
                  <a:pt x="409" y="1898"/>
                </a:lnTo>
                <a:lnTo>
                  <a:pt x="409" y="1898"/>
                </a:lnTo>
                <a:lnTo>
                  <a:pt x="409" y="1898"/>
                </a:lnTo>
                <a:lnTo>
                  <a:pt x="409" y="1904"/>
                </a:lnTo>
                <a:lnTo>
                  <a:pt x="409" y="1904"/>
                </a:lnTo>
                <a:lnTo>
                  <a:pt x="409" y="1904"/>
                </a:lnTo>
                <a:lnTo>
                  <a:pt x="409" y="1904"/>
                </a:lnTo>
                <a:lnTo>
                  <a:pt x="409" y="1904"/>
                </a:lnTo>
                <a:lnTo>
                  <a:pt x="409" y="1904"/>
                </a:lnTo>
                <a:lnTo>
                  <a:pt x="409" y="1904"/>
                </a:lnTo>
                <a:lnTo>
                  <a:pt x="409" y="1904"/>
                </a:lnTo>
                <a:lnTo>
                  <a:pt x="409" y="1910"/>
                </a:lnTo>
                <a:lnTo>
                  <a:pt x="409" y="1910"/>
                </a:lnTo>
                <a:lnTo>
                  <a:pt x="409" y="1916"/>
                </a:lnTo>
                <a:lnTo>
                  <a:pt x="409" y="1916"/>
                </a:lnTo>
                <a:lnTo>
                  <a:pt x="409" y="1916"/>
                </a:lnTo>
                <a:lnTo>
                  <a:pt x="409" y="1916"/>
                </a:lnTo>
                <a:lnTo>
                  <a:pt x="409" y="1922"/>
                </a:lnTo>
                <a:lnTo>
                  <a:pt x="409" y="1922"/>
                </a:lnTo>
                <a:lnTo>
                  <a:pt x="415" y="1922"/>
                </a:lnTo>
                <a:lnTo>
                  <a:pt x="415" y="1922"/>
                </a:lnTo>
                <a:lnTo>
                  <a:pt x="415" y="1928"/>
                </a:lnTo>
                <a:lnTo>
                  <a:pt x="409" y="1928"/>
                </a:lnTo>
                <a:lnTo>
                  <a:pt x="409" y="1934"/>
                </a:lnTo>
                <a:lnTo>
                  <a:pt x="409" y="1934"/>
                </a:lnTo>
                <a:lnTo>
                  <a:pt x="409" y="1939"/>
                </a:lnTo>
                <a:lnTo>
                  <a:pt x="409" y="1939"/>
                </a:lnTo>
                <a:lnTo>
                  <a:pt x="409" y="1939"/>
                </a:lnTo>
                <a:lnTo>
                  <a:pt x="409" y="1939"/>
                </a:lnTo>
                <a:lnTo>
                  <a:pt x="409" y="1939"/>
                </a:lnTo>
                <a:lnTo>
                  <a:pt x="409" y="1939"/>
                </a:lnTo>
                <a:lnTo>
                  <a:pt x="415" y="1939"/>
                </a:lnTo>
                <a:lnTo>
                  <a:pt x="415" y="1939"/>
                </a:lnTo>
                <a:lnTo>
                  <a:pt x="415" y="1945"/>
                </a:lnTo>
                <a:lnTo>
                  <a:pt x="421" y="1945"/>
                </a:lnTo>
                <a:lnTo>
                  <a:pt x="421" y="1945"/>
                </a:lnTo>
                <a:lnTo>
                  <a:pt x="421" y="1945"/>
                </a:lnTo>
                <a:lnTo>
                  <a:pt x="421" y="1945"/>
                </a:lnTo>
                <a:lnTo>
                  <a:pt x="421" y="1951"/>
                </a:lnTo>
                <a:lnTo>
                  <a:pt x="427" y="1951"/>
                </a:lnTo>
                <a:lnTo>
                  <a:pt x="427" y="1957"/>
                </a:lnTo>
                <a:lnTo>
                  <a:pt x="427" y="1951"/>
                </a:lnTo>
                <a:lnTo>
                  <a:pt x="433" y="1951"/>
                </a:lnTo>
                <a:lnTo>
                  <a:pt x="444" y="1951"/>
                </a:lnTo>
                <a:lnTo>
                  <a:pt x="456" y="1951"/>
                </a:lnTo>
                <a:lnTo>
                  <a:pt x="456" y="1951"/>
                </a:lnTo>
                <a:lnTo>
                  <a:pt x="462" y="1951"/>
                </a:lnTo>
                <a:lnTo>
                  <a:pt x="468" y="1951"/>
                </a:lnTo>
                <a:lnTo>
                  <a:pt x="468" y="1951"/>
                </a:lnTo>
                <a:lnTo>
                  <a:pt x="474" y="1951"/>
                </a:lnTo>
                <a:lnTo>
                  <a:pt x="474" y="1951"/>
                </a:lnTo>
                <a:lnTo>
                  <a:pt x="474" y="1951"/>
                </a:lnTo>
                <a:lnTo>
                  <a:pt x="474" y="1951"/>
                </a:lnTo>
                <a:lnTo>
                  <a:pt x="474" y="1951"/>
                </a:lnTo>
                <a:lnTo>
                  <a:pt x="474" y="1957"/>
                </a:lnTo>
                <a:lnTo>
                  <a:pt x="474" y="1957"/>
                </a:lnTo>
                <a:lnTo>
                  <a:pt x="480" y="1957"/>
                </a:lnTo>
                <a:lnTo>
                  <a:pt x="480" y="1957"/>
                </a:lnTo>
                <a:lnTo>
                  <a:pt x="480" y="1957"/>
                </a:lnTo>
                <a:lnTo>
                  <a:pt x="480" y="1957"/>
                </a:lnTo>
                <a:lnTo>
                  <a:pt x="480" y="1957"/>
                </a:lnTo>
                <a:lnTo>
                  <a:pt x="480" y="1957"/>
                </a:lnTo>
                <a:lnTo>
                  <a:pt x="480"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92" y="1957"/>
                </a:lnTo>
                <a:lnTo>
                  <a:pt x="492" y="1957"/>
                </a:lnTo>
                <a:lnTo>
                  <a:pt x="492" y="1957"/>
                </a:lnTo>
                <a:lnTo>
                  <a:pt x="492" y="1957"/>
                </a:lnTo>
                <a:lnTo>
                  <a:pt x="492" y="1957"/>
                </a:lnTo>
                <a:lnTo>
                  <a:pt x="492" y="1957"/>
                </a:lnTo>
                <a:lnTo>
                  <a:pt x="492" y="1957"/>
                </a:lnTo>
                <a:lnTo>
                  <a:pt x="498" y="1957"/>
                </a:lnTo>
                <a:lnTo>
                  <a:pt x="498" y="1957"/>
                </a:lnTo>
                <a:lnTo>
                  <a:pt x="498" y="1957"/>
                </a:lnTo>
                <a:lnTo>
                  <a:pt x="498" y="1957"/>
                </a:lnTo>
                <a:lnTo>
                  <a:pt x="498" y="1957"/>
                </a:lnTo>
                <a:lnTo>
                  <a:pt x="498" y="1963"/>
                </a:lnTo>
                <a:lnTo>
                  <a:pt x="498" y="1963"/>
                </a:lnTo>
                <a:lnTo>
                  <a:pt x="504" y="1963"/>
                </a:lnTo>
                <a:lnTo>
                  <a:pt x="504" y="1957"/>
                </a:lnTo>
                <a:lnTo>
                  <a:pt x="504" y="1957"/>
                </a:lnTo>
                <a:lnTo>
                  <a:pt x="504" y="1957"/>
                </a:lnTo>
                <a:lnTo>
                  <a:pt x="504" y="1957"/>
                </a:lnTo>
                <a:lnTo>
                  <a:pt x="504" y="1957"/>
                </a:lnTo>
                <a:lnTo>
                  <a:pt x="504" y="1957"/>
                </a:lnTo>
                <a:lnTo>
                  <a:pt x="504" y="1957"/>
                </a:lnTo>
                <a:lnTo>
                  <a:pt x="504" y="1957"/>
                </a:lnTo>
                <a:lnTo>
                  <a:pt x="504" y="1957"/>
                </a:lnTo>
                <a:lnTo>
                  <a:pt x="504" y="1957"/>
                </a:lnTo>
                <a:lnTo>
                  <a:pt x="504" y="1957"/>
                </a:lnTo>
                <a:lnTo>
                  <a:pt x="504" y="1957"/>
                </a:lnTo>
                <a:lnTo>
                  <a:pt x="504" y="1957"/>
                </a:lnTo>
                <a:lnTo>
                  <a:pt x="510" y="1957"/>
                </a:lnTo>
                <a:lnTo>
                  <a:pt x="510" y="1957"/>
                </a:lnTo>
                <a:lnTo>
                  <a:pt x="510" y="1957"/>
                </a:lnTo>
                <a:lnTo>
                  <a:pt x="510" y="1957"/>
                </a:lnTo>
                <a:lnTo>
                  <a:pt x="510" y="1957"/>
                </a:lnTo>
                <a:lnTo>
                  <a:pt x="510" y="1957"/>
                </a:lnTo>
                <a:lnTo>
                  <a:pt x="515" y="1957"/>
                </a:lnTo>
                <a:lnTo>
                  <a:pt x="515" y="1957"/>
                </a:lnTo>
                <a:lnTo>
                  <a:pt x="515" y="1957"/>
                </a:lnTo>
                <a:lnTo>
                  <a:pt x="515" y="1957"/>
                </a:lnTo>
                <a:lnTo>
                  <a:pt x="515" y="1957"/>
                </a:lnTo>
                <a:lnTo>
                  <a:pt x="515" y="1957"/>
                </a:lnTo>
                <a:lnTo>
                  <a:pt x="515" y="1957"/>
                </a:lnTo>
                <a:lnTo>
                  <a:pt x="515" y="1957"/>
                </a:lnTo>
                <a:lnTo>
                  <a:pt x="515" y="1957"/>
                </a:lnTo>
                <a:lnTo>
                  <a:pt x="515" y="1957"/>
                </a:lnTo>
                <a:lnTo>
                  <a:pt x="515" y="1957"/>
                </a:lnTo>
                <a:lnTo>
                  <a:pt x="521" y="1963"/>
                </a:lnTo>
                <a:lnTo>
                  <a:pt x="521" y="1963"/>
                </a:lnTo>
                <a:lnTo>
                  <a:pt x="521" y="1963"/>
                </a:lnTo>
                <a:lnTo>
                  <a:pt x="521" y="1963"/>
                </a:lnTo>
                <a:lnTo>
                  <a:pt x="521" y="1963"/>
                </a:lnTo>
                <a:lnTo>
                  <a:pt x="521" y="1963"/>
                </a:lnTo>
                <a:lnTo>
                  <a:pt x="521" y="1963"/>
                </a:lnTo>
                <a:lnTo>
                  <a:pt x="521" y="1963"/>
                </a:lnTo>
                <a:lnTo>
                  <a:pt x="521" y="1963"/>
                </a:lnTo>
                <a:lnTo>
                  <a:pt x="521" y="1963"/>
                </a:lnTo>
                <a:lnTo>
                  <a:pt x="521" y="1963"/>
                </a:lnTo>
                <a:lnTo>
                  <a:pt x="521" y="1963"/>
                </a:lnTo>
                <a:lnTo>
                  <a:pt x="521" y="1963"/>
                </a:lnTo>
                <a:lnTo>
                  <a:pt x="521" y="1963"/>
                </a:lnTo>
                <a:lnTo>
                  <a:pt x="527" y="1963"/>
                </a:lnTo>
                <a:lnTo>
                  <a:pt x="527" y="1963"/>
                </a:lnTo>
                <a:lnTo>
                  <a:pt x="527" y="1963"/>
                </a:lnTo>
                <a:lnTo>
                  <a:pt x="527" y="1963"/>
                </a:lnTo>
                <a:lnTo>
                  <a:pt x="527" y="1963"/>
                </a:lnTo>
                <a:lnTo>
                  <a:pt x="527" y="1963"/>
                </a:lnTo>
                <a:lnTo>
                  <a:pt x="527" y="1963"/>
                </a:lnTo>
                <a:lnTo>
                  <a:pt x="527" y="1963"/>
                </a:lnTo>
                <a:lnTo>
                  <a:pt x="527" y="1963"/>
                </a:lnTo>
                <a:lnTo>
                  <a:pt x="527" y="1963"/>
                </a:lnTo>
                <a:lnTo>
                  <a:pt x="527" y="1963"/>
                </a:lnTo>
                <a:lnTo>
                  <a:pt x="527" y="1963"/>
                </a:lnTo>
                <a:lnTo>
                  <a:pt x="527" y="1963"/>
                </a:lnTo>
                <a:lnTo>
                  <a:pt x="533" y="1969"/>
                </a:lnTo>
                <a:lnTo>
                  <a:pt x="533" y="1969"/>
                </a:lnTo>
                <a:lnTo>
                  <a:pt x="533" y="1969"/>
                </a:lnTo>
                <a:lnTo>
                  <a:pt x="533" y="1969"/>
                </a:lnTo>
                <a:lnTo>
                  <a:pt x="533" y="1969"/>
                </a:lnTo>
                <a:lnTo>
                  <a:pt x="533" y="1969"/>
                </a:lnTo>
                <a:lnTo>
                  <a:pt x="533" y="1969"/>
                </a:lnTo>
                <a:lnTo>
                  <a:pt x="533" y="1969"/>
                </a:lnTo>
                <a:lnTo>
                  <a:pt x="533" y="1969"/>
                </a:lnTo>
                <a:lnTo>
                  <a:pt x="533" y="1969"/>
                </a:lnTo>
                <a:lnTo>
                  <a:pt x="533" y="1969"/>
                </a:lnTo>
                <a:lnTo>
                  <a:pt x="533" y="1969"/>
                </a:lnTo>
                <a:lnTo>
                  <a:pt x="533" y="1969"/>
                </a:lnTo>
                <a:lnTo>
                  <a:pt x="533" y="1969"/>
                </a:lnTo>
                <a:lnTo>
                  <a:pt x="539" y="1969"/>
                </a:lnTo>
                <a:lnTo>
                  <a:pt x="539" y="1969"/>
                </a:lnTo>
                <a:lnTo>
                  <a:pt x="539" y="1969"/>
                </a:lnTo>
                <a:lnTo>
                  <a:pt x="539" y="1975"/>
                </a:lnTo>
                <a:lnTo>
                  <a:pt x="539" y="1975"/>
                </a:lnTo>
                <a:lnTo>
                  <a:pt x="539" y="1975"/>
                </a:lnTo>
                <a:lnTo>
                  <a:pt x="539" y="1975"/>
                </a:lnTo>
                <a:lnTo>
                  <a:pt x="539" y="1975"/>
                </a:lnTo>
                <a:lnTo>
                  <a:pt x="539" y="1975"/>
                </a:lnTo>
                <a:lnTo>
                  <a:pt x="539" y="1975"/>
                </a:lnTo>
                <a:lnTo>
                  <a:pt x="545" y="1975"/>
                </a:lnTo>
                <a:lnTo>
                  <a:pt x="545" y="1975"/>
                </a:lnTo>
                <a:lnTo>
                  <a:pt x="545" y="1975"/>
                </a:lnTo>
                <a:lnTo>
                  <a:pt x="545" y="1975"/>
                </a:lnTo>
                <a:lnTo>
                  <a:pt x="545" y="1981"/>
                </a:lnTo>
                <a:lnTo>
                  <a:pt x="545" y="1981"/>
                </a:lnTo>
                <a:lnTo>
                  <a:pt x="545" y="1981"/>
                </a:lnTo>
                <a:lnTo>
                  <a:pt x="545" y="1981"/>
                </a:lnTo>
                <a:lnTo>
                  <a:pt x="545" y="1981"/>
                </a:lnTo>
                <a:lnTo>
                  <a:pt x="545" y="1981"/>
                </a:lnTo>
                <a:lnTo>
                  <a:pt x="545" y="1981"/>
                </a:lnTo>
                <a:lnTo>
                  <a:pt x="545" y="1981"/>
                </a:lnTo>
                <a:lnTo>
                  <a:pt x="545" y="1981"/>
                </a:lnTo>
                <a:lnTo>
                  <a:pt x="545" y="1987"/>
                </a:lnTo>
                <a:lnTo>
                  <a:pt x="545" y="1987"/>
                </a:lnTo>
                <a:lnTo>
                  <a:pt x="551" y="1987"/>
                </a:lnTo>
                <a:lnTo>
                  <a:pt x="551" y="1987"/>
                </a:lnTo>
                <a:lnTo>
                  <a:pt x="551" y="1987"/>
                </a:lnTo>
                <a:lnTo>
                  <a:pt x="551" y="1987"/>
                </a:lnTo>
                <a:lnTo>
                  <a:pt x="551" y="1987"/>
                </a:lnTo>
                <a:lnTo>
                  <a:pt x="551" y="1993"/>
                </a:lnTo>
                <a:lnTo>
                  <a:pt x="551" y="1993"/>
                </a:lnTo>
                <a:lnTo>
                  <a:pt x="551" y="1993"/>
                </a:lnTo>
                <a:lnTo>
                  <a:pt x="551" y="1993"/>
                </a:lnTo>
                <a:lnTo>
                  <a:pt x="551" y="1993"/>
                </a:lnTo>
                <a:lnTo>
                  <a:pt x="551" y="1987"/>
                </a:lnTo>
                <a:lnTo>
                  <a:pt x="551" y="1987"/>
                </a:lnTo>
                <a:lnTo>
                  <a:pt x="551" y="1987"/>
                </a:lnTo>
                <a:lnTo>
                  <a:pt x="551" y="1993"/>
                </a:lnTo>
                <a:lnTo>
                  <a:pt x="551" y="1993"/>
                </a:lnTo>
                <a:lnTo>
                  <a:pt x="551" y="1993"/>
                </a:lnTo>
                <a:lnTo>
                  <a:pt x="551" y="1993"/>
                </a:lnTo>
                <a:lnTo>
                  <a:pt x="551" y="1993"/>
                </a:lnTo>
                <a:lnTo>
                  <a:pt x="551" y="1993"/>
                </a:lnTo>
                <a:lnTo>
                  <a:pt x="557" y="1993"/>
                </a:lnTo>
                <a:lnTo>
                  <a:pt x="557" y="1999"/>
                </a:lnTo>
                <a:lnTo>
                  <a:pt x="557" y="1999"/>
                </a:lnTo>
                <a:lnTo>
                  <a:pt x="557" y="1999"/>
                </a:lnTo>
                <a:lnTo>
                  <a:pt x="563" y="1999"/>
                </a:lnTo>
                <a:lnTo>
                  <a:pt x="563" y="1999"/>
                </a:lnTo>
                <a:lnTo>
                  <a:pt x="563" y="1999"/>
                </a:lnTo>
                <a:lnTo>
                  <a:pt x="563" y="1993"/>
                </a:lnTo>
                <a:lnTo>
                  <a:pt x="563" y="1993"/>
                </a:lnTo>
                <a:lnTo>
                  <a:pt x="563" y="1993"/>
                </a:lnTo>
                <a:lnTo>
                  <a:pt x="563" y="1993"/>
                </a:lnTo>
                <a:lnTo>
                  <a:pt x="563" y="1999"/>
                </a:lnTo>
                <a:lnTo>
                  <a:pt x="569" y="1999"/>
                </a:lnTo>
                <a:lnTo>
                  <a:pt x="569" y="1999"/>
                </a:lnTo>
                <a:lnTo>
                  <a:pt x="569" y="1999"/>
                </a:lnTo>
                <a:lnTo>
                  <a:pt x="575" y="1999"/>
                </a:lnTo>
                <a:lnTo>
                  <a:pt x="575" y="1999"/>
                </a:lnTo>
                <a:lnTo>
                  <a:pt x="575" y="2005"/>
                </a:lnTo>
                <a:lnTo>
                  <a:pt x="581" y="2005"/>
                </a:lnTo>
                <a:lnTo>
                  <a:pt x="581" y="2005"/>
                </a:lnTo>
                <a:lnTo>
                  <a:pt x="581" y="2005"/>
                </a:lnTo>
                <a:lnTo>
                  <a:pt x="581" y="2005"/>
                </a:lnTo>
                <a:lnTo>
                  <a:pt x="581" y="2005"/>
                </a:lnTo>
                <a:lnTo>
                  <a:pt x="581" y="2005"/>
                </a:lnTo>
                <a:lnTo>
                  <a:pt x="581" y="2005"/>
                </a:lnTo>
                <a:lnTo>
                  <a:pt x="587" y="2005"/>
                </a:lnTo>
                <a:lnTo>
                  <a:pt x="587" y="2005"/>
                </a:lnTo>
                <a:lnTo>
                  <a:pt x="587" y="2005"/>
                </a:lnTo>
                <a:lnTo>
                  <a:pt x="587" y="2005"/>
                </a:lnTo>
                <a:lnTo>
                  <a:pt x="593" y="2011"/>
                </a:lnTo>
                <a:lnTo>
                  <a:pt x="593" y="2011"/>
                </a:lnTo>
                <a:lnTo>
                  <a:pt x="593" y="2011"/>
                </a:lnTo>
                <a:lnTo>
                  <a:pt x="593" y="2005"/>
                </a:lnTo>
                <a:lnTo>
                  <a:pt x="593" y="2005"/>
                </a:lnTo>
                <a:lnTo>
                  <a:pt x="593" y="2005"/>
                </a:lnTo>
                <a:lnTo>
                  <a:pt x="593" y="2005"/>
                </a:lnTo>
                <a:lnTo>
                  <a:pt x="593" y="2005"/>
                </a:lnTo>
                <a:lnTo>
                  <a:pt x="593" y="2005"/>
                </a:lnTo>
                <a:lnTo>
                  <a:pt x="593" y="2005"/>
                </a:lnTo>
                <a:lnTo>
                  <a:pt x="593" y="2005"/>
                </a:lnTo>
                <a:lnTo>
                  <a:pt x="593" y="2005"/>
                </a:lnTo>
                <a:lnTo>
                  <a:pt x="593" y="2005"/>
                </a:lnTo>
                <a:lnTo>
                  <a:pt x="593" y="2005"/>
                </a:lnTo>
                <a:lnTo>
                  <a:pt x="598" y="2005"/>
                </a:lnTo>
                <a:lnTo>
                  <a:pt x="598" y="2005"/>
                </a:lnTo>
                <a:lnTo>
                  <a:pt x="598" y="2005"/>
                </a:lnTo>
                <a:lnTo>
                  <a:pt x="598" y="2005"/>
                </a:lnTo>
                <a:lnTo>
                  <a:pt x="598" y="2005"/>
                </a:lnTo>
                <a:lnTo>
                  <a:pt x="604" y="2005"/>
                </a:lnTo>
                <a:lnTo>
                  <a:pt x="604" y="2005"/>
                </a:lnTo>
                <a:lnTo>
                  <a:pt x="604" y="2005"/>
                </a:lnTo>
                <a:lnTo>
                  <a:pt x="604" y="2005"/>
                </a:lnTo>
                <a:lnTo>
                  <a:pt x="604" y="2005"/>
                </a:lnTo>
                <a:lnTo>
                  <a:pt x="604" y="2005"/>
                </a:lnTo>
                <a:lnTo>
                  <a:pt x="610" y="2005"/>
                </a:lnTo>
                <a:lnTo>
                  <a:pt x="610" y="2005"/>
                </a:lnTo>
                <a:lnTo>
                  <a:pt x="610" y="2005"/>
                </a:lnTo>
                <a:lnTo>
                  <a:pt x="610" y="2005"/>
                </a:lnTo>
                <a:lnTo>
                  <a:pt x="610" y="2005"/>
                </a:lnTo>
                <a:lnTo>
                  <a:pt x="610" y="2005"/>
                </a:lnTo>
                <a:lnTo>
                  <a:pt x="610" y="2005"/>
                </a:lnTo>
                <a:lnTo>
                  <a:pt x="616" y="2005"/>
                </a:lnTo>
                <a:lnTo>
                  <a:pt x="616" y="2005"/>
                </a:lnTo>
                <a:lnTo>
                  <a:pt x="616" y="2005"/>
                </a:lnTo>
                <a:lnTo>
                  <a:pt x="616" y="2005"/>
                </a:lnTo>
                <a:lnTo>
                  <a:pt x="616" y="2005"/>
                </a:lnTo>
                <a:lnTo>
                  <a:pt x="622" y="2005"/>
                </a:lnTo>
                <a:lnTo>
                  <a:pt x="622" y="2011"/>
                </a:lnTo>
                <a:lnTo>
                  <a:pt x="622" y="2011"/>
                </a:lnTo>
                <a:lnTo>
                  <a:pt x="622" y="2011"/>
                </a:lnTo>
                <a:lnTo>
                  <a:pt x="628" y="2017"/>
                </a:lnTo>
                <a:lnTo>
                  <a:pt x="628" y="2017"/>
                </a:lnTo>
                <a:lnTo>
                  <a:pt x="628" y="2017"/>
                </a:lnTo>
                <a:lnTo>
                  <a:pt x="628" y="2017"/>
                </a:lnTo>
                <a:lnTo>
                  <a:pt x="628" y="2022"/>
                </a:lnTo>
                <a:lnTo>
                  <a:pt x="634" y="2028"/>
                </a:lnTo>
                <a:lnTo>
                  <a:pt x="634" y="2028"/>
                </a:lnTo>
                <a:lnTo>
                  <a:pt x="634" y="2028"/>
                </a:lnTo>
                <a:lnTo>
                  <a:pt x="634" y="2028"/>
                </a:lnTo>
                <a:lnTo>
                  <a:pt x="634" y="2028"/>
                </a:lnTo>
                <a:lnTo>
                  <a:pt x="634" y="2028"/>
                </a:lnTo>
                <a:lnTo>
                  <a:pt x="634" y="2034"/>
                </a:lnTo>
                <a:lnTo>
                  <a:pt x="628" y="2034"/>
                </a:lnTo>
                <a:lnTo>
                  <a:pt x="628" y="2034"/>
                </a:lnTo>
                <a:lnTo>
                  <a:pt x="628" y="2034"/>
                </a:lnTo>
                <a:lnTo>
                  <a:pt x="628" y="2034"/>
                </a:lnTo>
                <a:lnTo>
                  <a:pt x="628" y="2034"/>
                </a:lnTo>
                <a:lnTo>
                  <a:pt x="628" y="2034"/>
                </a:lnTo>
                <a:lnTo>
                  <a:pt x="628" y="2034"/>
                </a:lnTo>
                <a:lnTo>
                  <a:pt x="628" y="2040"/>
                </a:lnTo>
                <a:lnTo>
                  <a:pt x="628" y="2040"/>
                </a:lnTo>
                <a:lnTo>
                  <a:pt x="628" y="2040"/>
                </a:lnTo>
                <a:lnTo>
                  <a:pt x="634" y="2040"/>
                </a:lnTo>
                <a:lnTo>
                  <a:pt x="634" y="2040"/>
                </a:lnTo>
                <a:lnTo>
                  <a:pt x="634" y="2040"/>
                </a:lnTo>
                <a:lnTo>
                  <a:pt x="634" y="2040"/>
                </a:lnTo>
                <a:lnTo>
                  <a:pt x="634" y="2040"/>
                </a:lnTo>
                <a:lnTo>
                  <a:pt x="634" y="2040"/>
                </a:lnTo>
                <a:lnTo>
                  <a:pt x="634" y="2040"/>
                </a:lnTo>
                <a:lnTo>
                  <a:pt x="634" y="2040"/>
                </a:lnTo>
                <a:lnTo>
                  <a:pt x="640" y="2040"/>
                </a:lnTo>
                <a:lnTo>
                  <a:pt x="640" y="2040"/>
                </a:lnTo>
                <a:lnTo>
                  <a:pt x="640" y="2040"/>
                </a:lnTo>
                <a:lnTo>
                  <a:pt x="640" y="2046"/>
                </a:lnTo>
                <a:lnTo>
                  <a:pt x="640" y="2046"/>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34"/>
                </a:lnTo>
                <a:lnTo>
                  <a:pt x="646" y="2040"/>
                </a:lnTo>
                <a:lnTo>
                  <a:pt x="646" y="2034"/>
                </a:lnTo>
                <a:lnTo>
                  <a:pt x="646" y="2034"/>
                </a:lnTo>
                <a:lnTo>
                  <a:pt x="646" y="2034"/>
                </a:lnTo>
                <a:lnTo>
                  <a:pt x="646" y="2034"/>
                </a:lnTo>
                <a:lnTo>
                  <a:pt x="646" y="2034"/>
                </a:lnTo>
                <a:lnTo>
                  <a:pt x="646" y="2034"/>
                </a:lnTo>
                <a:lnTo>
                  <a:pt x="652" y="2034"/>
                </a:lnTo>
                <a:lnTo>
                  <a:pt x="652" y="2040"/>
                </a:lnTo>
                <a:lnTo>
                  <a:pt x="652" y="2040"/>
                </a:lnTo>
                <a:lnTo>
                  <a:pt x="652" y="2040"/>
                </a:lnTo>
                <a:lnTo>
                  <a:pt x="652" y="2040"/>
                </a:lnTo>
                <a:lnTo>
                  <a:pt x="652" y="2040"/>
                </a:lnTo>
                <a:lnTo>
                  <a:pt x="652" y="2040"/>
                </a:lnTo>
                <a:lnTo>
                  <a:pt x="652" y="2040"/>
                </a:lnTo>
                <a:lnTo>
                  <a:pt x="652" y="2040"/>
                </a:lnTo>
                <a:lnTo>
                  <a:pt x="652" y="2040"/>
                </a:lnTo>
                <a:lnTo>
                  <a:pt x="652" y="2040"/>
                </a:lnTo>
                <a:lnTo>
                  <a:pt x="652" y="2034"/>
                </a:lnTo>
                <a:lnTo>
                  <a:pt x="652" y="2034"/>
                </a:lnTo>
                <a:lnTo>
                  <a:pt x="652" y="2034"/>
                </a:lnTo>
                <a:lnTo>
                  <a:pt x="652" y="2034"/>
                </a:lnTo>
                <a:lnTo>
                  <a:pt x="658" y="2034"/>
                </a:lnTo>
                <a:lnTo>
                  <a:pt x="658" y="2040"/>
                </a:lnTo>
                <a:lnTo>
                  <a:pt x="664" y="2040"/>
                </a:lnTo>
                <a:lnTo>
                  <a:pt x="675" y="2052"/>
                </a:lnTo>
                <a:lnTo>
                  <a:pt x="681" y="2058"/>
                </a:lnTo>
                <a:lnTo>
                  <a:pt x="681" y="2058"/>
                </a:lnTo>
                <a:lnTo>
                  <a:pt x="687" y="2058"/>
                </a:lnTo>
                <a:lnTo>
                  <a:pt x="687" y="2058"/>
                </a:lnTo>
                <a:lnTo>
                  <a:pt x="687" y="2064"/>
                </a:lnTo>
                <a:lnTo>
                  <a:pt x="693" y="2064"/>
                </a:lnTo>
                <a:lnTo>
                  <a:pt x="699" y="2070"/>
                </a:lnTo>
                <a:lnTo>
                  <a:pt x="699" y="2070"/>
                </a:lnTo>
                <a:lnTo>
                  <a:pt x="699" y="2070"/>
                </a:lnTo>
                <a:lnTo>
                  <a:pt x="705" y="2076"/>
                </a:lnTo>
                <a:lnTo>
                  <a:pt x="705" y="2076"/>
                </a:lnTo>
                <a:lnTo>
                  <a:pt x="711" y="2082"/>
                </a:lnTo>
                <a:lnTo>
                  <a:pt x="723" y="2088"/>
                </a:lnTo>
                <a:lnTo>
                  <a:pt x="735" y="2106"/>
                </a:lnTo>
                <a:lnTo>
                  <a:pt x="741" y="2117"/>
                </a:lnTo>
                <a:lnTo>
                  <a:pt x="741" y="2123"/>
                </a:lnTo>
                <a:lnTo>
                  <a:pt x="741" y="2123"/>
                </a:lnTo>
                <a:lnTo>
                  <a:pt x="741" y="2129"/>
                </a:lnTo>
                <a:lnTo>
                  <a:pt x="747" y="2129"/>
                </a:lnTo>
                <a:lnTo>
                  <a:pt x="747" y="2141"/>
                </a:lnTo>
                <a:lnTo>
                  <a:pt x="747" y="2141"/>
                </a:lnTo>
                <a:lnTo>
                  <a:pt x="747" y="2141"/>
                </a:lnTo>
                <a:lnTo>
                  <a:pt x="747" y="2147"/>
                </a:lnTo>
                <a:lnTo>
                  <a:pt x="747" y="2147"/>
                </a:lnTo>
                <a:lnTo>
                  <a:pt x="747" y="2147"/>
                </a:lnTo>
                <a:lnTo>
                  <a:pt x="741" y="2147"/>
                </a:lnTo>
                <a:lnTo>
                  <a:pt x="741" y="2147"/>
                </a:lnTo>
                <a:lnTo>
                  <a:pt x="741" y="2147"/>
                </a:lnTo>
                <a:lnTo>
                  <a:pt x="741" y="2147"/>
                </a:lnTo>
                <a:lnTo>
                  <a:pt x="747" y="2153"/>
                </a:lnTo>
                <a:lnTo>
                  <a:pt x="747" y="2153"/>
                </a:lnTo>
                <a:lnTo>
                  <a:pt x="747" y="2159"/>
                </a:lnTo>
                <a:lnTo>
                  <a:pt x="747" y="2159"/>
                </a:lnTo>
                <a:lnTo>
                  <a:pt x="747" y="2159"/>
                </a:lnTo>
                <a:lnTo>
                  <a:pt x="747" y="2165"/>
                </a:lnTo>
                <a:lnTo>
                  <a:pt x="747" y="2165"/>
                </a:lnTo>
                <a:lnTo>
                  <a:pt x="747" y="2165"/>
                </a:lnTo>
                <a:lnTo>
                  <a:pt x="747" y="2165"/>
                </a:lnTo>
                <a:lnTo>
                  <a:pt x="747" y="2165"/>
                </a:lnTo>
                <a:lnTo>
                  <a:pt x="747" y="2165"/>
                </a:lnTo>
                <a:lnTo>
                  <a:pt x="747" y="2165"/>
                </a:lnTo>
                <a:lnTo>
                  <a:pt x="747" y="2159"/>
                </a:lnTo>
                <a:lnTo>
                  <a:pt x="753" y="2159"/>
                </a:lnTo>
                <a:lnTo>
                  <a:pt x="753" y="2159"/>
                </a:lnTo>
                <a:lnTo>
                  <a:pt x="753" y="2159"/>
                </a:lnTo>
                <a:lnTo>
                  <a:pt x="753" y="2159"/>
                </a:lnTo>
                <a:lnTo>
                  <a:pt x="753" y="2159"/>
                </a:lnTo>
                <a:lnTo>
                  <a:pt x="753" y="2165"/>
                </a:lnTo>
                <a:lnTo>
                  <a:pt x="758" y="2165"/>
                </a:lnTo>
                <a:lnTo>
                  <a:pt x="758" y="2165"/>
                </a:lnTo>
                <a:lnTo>
                  <a:pt x="758" y="2165"/>
                </a:lnTo>
                <a:lnTo>
                  <a:pt x="758" y="2165"/>
                </a:lnTo>
                <a:lnTo>
                  <a:pt x="758" y="2165"/>
                </a:lnTo>
                <a:lnTo>
                  <a:pt x="758" y="2171"/>
                </a:lnTo>
                <a:lnTo>
                  <a:pt x="758" y="2171"/>
                </a:lnTo>
                <a:lnTo>
                  <a:pt x="758" y="2177"/>
                </a:lnTo>
                <a:lnTo>
                  <a:pt x="758" y="2177"/>
                </a:lnTo>
                <a:lnTo>
                  <a:pt x="758" y="2177"/>
                </a:lnTo>
                <a:lnTo>
                  <a:pt x="758" y="2171"/>
                </a:lnTo>
                <a:lnTo>
                  <a:pt x="758" y="2171"/>
                </a:lnTo>
                <a:lnTo>
                  <a:pt x="758" y="2165"/>
                </a:lnTo>
                <a:lnTo>
                  <a:pt x="753" y="2165"/>
                </a:lnTo>
                <a:lnTo>
                  <a:pt x="753" y="2165"/>
                </a:lnTo>
                <a:lnTo>
                  <a:pt x="753" y="2165"/>
                </a:lnTo>
                <a:lnTo>
                  <a:pt x="753" y="2159"/>
                </a:lnTo>
                <a:lnTo>
                  <a:pt x="753" y="2159"/>
                </a:lnTo>
                <a:lnTo>
                  <a:pt x="747" y="2165"/>
                </a:lnTo>
                <a:lnTo>
                  <a:pt x="747" y="2165"/>
                </a:lnTo>
                <a:lnTo>
                  <a:pt x="747" y="2165"/>
                </a:lnTo>
                <a:lnTo>
                  <a:pt x="747" y="2165"/>
                </a:lnTo>
                <a:lnTo>
                  <a:pt x="747" y="2165"/>
                </a:lnTo>
                <a:lnTo>
                  <a:pt x="753" y="2165"/>
                </a:lnTo>
                <a:lnTo>
                  <a:pt x="753" y="2165"/>
                </a:lnTo>
                <a:lnTo>
                  <a:pt x="758" y="2171"/>
                </a:lnTo>
                <a:lnTo>
                  <a:pt x="758" y="2171"/>
                </a:lnTo>
                <a:lnTo>
                  <a:pt x="758" y="2177"/>
                </a:lnTo>
                <a:lnTo>
                  <a:pt x="758" y="2177"/>
                </a:lnTo>
                <a:lnTo>
                  <a:pt x="758" y="2177"/>
                </a:lnTo>
                <a:lnTo>
                  <a:pt x="758" y="2183"/>
                </a:lnTo>
                <a:lnTo>
                  <a:pt x="758" y="2183"/>
                </a:lnTo>
                <a:lnTo>
                  <a:pt x="758" y="2183"/>
                </a:lnTo>
                <a:lnTo>
                  <a:pt x="758" y="2183"/>
                </a:lnTo>
                <a:lnTo>
                  <a:pt x="764" y="2183"/>
                </a:lnTo>
                <a:lnTo>
                  <a:pt x="764" y="2183"/>
                </a:lnTo>
                <a:lnTo>
                  <a:pt x="776" y="2183"/>
                </a:lnTo>
                <a:lnTo>
                  <a:pt x="782" y="2183"/>
                </a:lnTo>
                <a:lnTo>
                  <a:pt x="788" y="2183"/>
                </a:lnTo>
                <a:lnTo>
                  <a:pt x="788" y="2183"/>
                </a:lnTo>
                <a:lnTo>
                  <a:pt x="794" y="2183"/>
                </a:lnTo>
                <a:lnTo>
                  <a:pt x="794" y="2183"/>
                </a:lnTo>
                <a:lnTo>
                  <a:pt x="806" y="2177"/>
                </a:lnTo>
                <a:lnTo>
                  <a:pt x="812" y="2177"/>
                </a:lnTo>
                <a:lnTo>
                  <a:pt x="818" y="2177"/>
                </a:lnTo>
                <a:lnTo>
                  <a:pt x="824" y="2177"/>
                </a:lnTo>
                <a:lnTo>
                  <a:pt x="835" y="2177"/>
                </a:lnTo>
                <a:lnTo>
                  <a:pt x="841" y="2177"/>
                </a:lnTo>
                <a:lnTo>
                  <a:pt x="847" y="2177"/>
                </a:lnTo>
                <a:lnTo>
                  <a:pt x="853" y="2177"/>
                </a:lnTo>
                <a:lnTo>
                  <a:pt x="859" y="2177"/>
                </a:lnTo>
                <a:lnTo>
                  <a:pt x="871" y="2171"/>
                </a:lnTo>
                <a:lnTo>
                  <a:pt x="871" y="2171"/>
                </a:lnTo>
                <a:lnTo>
                  <a:pt x="871" y="2171"/>
                </a:lnTo>
                <a:lnTo>
                  <a:pt x="877" y="2171"/>
                </a:lnTo>
                <a:lnTo>
                  <a:pt x="883" y="2171"/>
                </a:lnTo>
                <a:lnTo>
                  <a:pt x="889" y="2171"/>
                </a:lnTo>
                <a:lnTo>
                  <a:pt x="895" y="2171"/>
                </a:lnTo>
                <a:lnTo>
                  <a:pt x="901" y="2171"/>
                </a:lnTo>
                <a:lnTo>
                  <a:pt x="901" y="2171"/>
                </a:lnTo>
                <a:lnTo>
                  <a:pt x="907" y="2171"/>
                </a:lnTo>
                <a:lnTo>
                  <a:pt x="913" y="2171"/>
                </a:lnTo>
                <a:lnTo>
                  <a:pt x="918" y="2171"/>
                </a:lnTo>
                <a:lnTo>
                  <a:pt x="930" y="2171"/>
                </a:lnTo>
                <a:lnTo>
                  <a:pt x="936" y="2165"/>
                </a:lnTo>
                <a:lnTo>
                  <a:pt x="942" y="2165"/>
                </a:lnTo>
                <a:lnTo>
                  <a:pt x="948" y="2165"/>
                </a:lnTo>
                <a:lnTo>
                  <a:pt x="960" y="2165"/>
                </a:lnTo>
                <a:lnTo>
                  <a:pt x="966" y="2165"/>
                </a:lnTo>
                <a:lnTo>
                  <a:pt x="972" y="2165"/>
                </a:lnTo>
                <a:lnTo>
                  <a:pt x="972" y="2165"/>
                </a:lnTo>
                <a:lnTo>
                  <a:pt x="978" y="2165"/>
                </a:lnTo>
                <a:lnTo>
                  <a:pt x="978" y="2165"/>
                </a:lnTo>
                <a:lnTo>
                  <a:pt x="984" y="2165"/>
                </a:lnTo>
                <a:lnTo>
                  <a:pt x="995" y="2165"/>
                </a:lnTo>
                <a:lnTo>
                  <a:pt x="995" y="2159"/>
                </a:lnTo>
                <a:lnTo>
                  <a:pt x="995" y="2159"/>
                </a:lnTo>
                <a:lnTo>
                  <a:pt x="995" y="2159"/>
                </a:lnTo>
                <a:lnTo>
                  <a:pt x="995" y="2159"/>
                </a:lnTo>
                <a:lnTo>
                  <a:pt x="995" y="2165"/>
                </a:lnTo>
                <a:lnTo>
                  <a:pt x="995" y="2165"/>
                </a:lnTo>
                <a:lnTo>
                  <a:pt x="995" y="2165"/>
                </a:lnTo>
                <a:lnTo>
                  <a:pt x="995" y="2165"/>
                </a:lnTo>
                <a:lnTo>
                  <a:pt x="995" y="2165"/>
                </a:lnTo>
                <a:lnTo>
                  <a:pt x="995" y="2171"/>
                </a:lnTo>
                <a:lnTo>
                  <a:pt x="995" y="2171"/>
                </a:lnTo>
                <a:lnTo>
                  <a:pt x="995" y="2171"/>
                </a:lnTo>
                <a:lnTo>
                  <a:pt x="995" y="2171"/>
                </a:lnTo>
                <a:lnTo>
                  <a:pt x="990" y="2171"/>
                </a:lnTo>
                <a:lnTo>
                  <a:pt x="990" y="2171"/>
                </a:lnTo>
                <a:lnTo>
                  <a:pt x="990" y="2171"/>
                </a:lnTo>
                <a:lnTo>
                  <a:pt x="990" y="2171"/>
                </a:lnTo>
                <a:lnTo>
                  <a:pt x="990" y="2177"/>
                </a:lnTo>
                <a:lnTo>
                  <a:pt x="990" y="2177"/>
                </a:lnTo>
                <a:lnTo>
                  <a:pt x="990" y="2177"/>
                </a:lnTo>
                <a:lnTo>
                  <a:pt x="990" y="2183"/>
                </a:lnTo>
                <a:lnTo>
                  <a:pt x="990" y="2183"/>
                </a:lnTo>
                <a:lnTo>
                  <a:pt x="990" y="2189"/>
                </a:lnTo>
                <a:lnTo>
                  <a:pt x="990" y="2189"/>
                </a:lnTo>
                <a:lnTo>
                  <a:pt x="990" y="2189"/>
                </a:lnTo>
                <a:lnTo>
                  <a:pt x="990" y="2189"/>
                </a:lnTo>
                <a:lnTo>
                  <a:pt x="1031" y="2200"/>
                </a:lnTo>
                <a:lnTo>
                  <a:pt x="1073" y="2218"/>
                </a:lnTo>
                <a:lnTo>
                  <a:pt x="1114" y="2236"/>
                </a:lnTo>
                <a:lnTo>
                  <a:pt x="1138" y="2242"/>
                </a:lnTo>
                <a:lnTo>
                  <a:pt x="1155" y="2248"/>
                </a:lnTo>
                <a:lnTo>
                  <a:pt x="1167" y="2254"/>
                </a:lnTo>
                <a:lnTo>
                  <a:pt x="1197" y="2266"/>
                </a:lnTo>
                <a:lnTo>
                  <a:pt x="1238" y="2278"/>
                </a:lnTo>
                <a:lnTo>
                  <a:pt x="1280" y="2295"/>
                </a:lnTo>
                <a:lnTo>
                  <a:pt x="1315" y="2307"/>
                </a:lnTo>
                <a:lnTo>
                  <a:pt x="1321" y="2307"/>
                </a:lnTo>
                <a:lnTo>
                  <a:pt x="1327" y="2313"/>
                </a:lnTo>
                <a:lnTo>
                  <a:pt x="1333" y="2313"/>
                </a:lnTo>
                <a:lnTo>
                  <a:pt x="1333" y="2313"/>
                </a:lnTo>
                <a:lnTo>
                  <a:pt x="1333" y="2313"/>
                </a:lnTo>
                <a:lnTo>
                  <a:pt x="1339" y="2313"/>
                </a:lnTo>
                <a:lnTo>
                  <a:pt x="1339" y="2319"/>
                </a:lnTo>
                <a:lnTo>
                  <a:pt x="1345" y="2319"/>
                </a:lnTo>
                <a:lnTo>
                  <a:pt x="1345" y="2319"/>
                </a:lnTo>
                <a:lnTo>
                  <a:pt x="1351" y="2319"/>
                </a:lnTo>
                <a:lnTo>
                  <a:pt x="1351" y="2319"/>
                </a:lnTo>
                <a:lnTo>
                  <a:pt x="1357" y="2325"/>
                </a:lnTo>
                <a:lnTo>
                  <a:pt x="1363" y="2325"/>
                </a:lnTo>
                <a:lnTo>
                  <a:pt x="1363" y="2325"/>
                </a:lnTo>
                <a:lnTo>
                  <a:pt x="1369" y="2325"/>
                </a:lnTo>
                <a:lnTo>
                  <a:pt x="1369" y="2325"/>
                </a:lnTo>
                <a:lnTo>
                  <a:pt x="1375" y="2325"/>
                </a:lnTo>
                <a:lnTo>
                  <a:pt x="1375" y="2325"/>
                </a:lnTo>
                <a:lnTo>
                  <a:pt x="1381" y="2325"/>
                </a:lnTo>
                <a:lnTo>
                  <a:pt x="1381" y="2325"/>
                </a:lnTo>
                <a:lnTo>
                  <a:pt x="1387" y="2325"/>
                </a:lnTo>
                <a:lnTo>
                  <a:pt x="1393" y="2325"/>
                </a:lnTo>
                <a:lnTo>
                  <a:pt x="1393" y="2325"/>
                </a:lnTo>
                <a:lnTo>
                  <a:pt x="1398" y="2325"/>
                </a:lnTo>
                <a:lnTo>
                  <a:pt x="1404" y="2325"/>
                </a:lnTo>
                <a:lnTo>
                  <a:pt x="1410" y="2325"/>
                </a:lnTo>
                <a:lnTo>
                  <a:pt x="1410" y="2325"/>
                </a:lnTo>
                <a:lnTo>
                  <a:pt x="1416" y="2325"/>
                </a:lnTo>
                <a:lnTo>
                  <a:pt x="1422" y="2325"/>
                </a:lnTo>
                <a:lnTo>
                  <a:pt x="1422" y="2325"/>
                </a:lnTo>
                <a:lnTo>
                  <a:pt x="1428" y="2325"/>
                </a:lnTo>
                <a:lnTo>
                  <a:pt x="1434" y="2325"/>
                </a:lnTo>
                <a:lnTo>
                  <a:pt x="1440" y="2325"/>
                </a:lnTo>
                <a:lnTo>
                  <a:pt x="1440" y="2325"/>
                </a:lnTo>
                <a:lnTo>
                  <a:pt x="1446" y="2325"/>
                </a:lnTo>
                <a:lnTo>
                  <a:pt x="1452" y="2325"/>
                </a:lnTo>
                <a:lnTo>
                  <a:pt x="1452" y="2325"/>
                </a:lnTo>
                <a:lnTo>
                  <a:pt x="1458" y="2325"/>
                </a:lnTo>
                <a:lnTo>
                  <a:pt x="1464" y="2325"/>
                </a:lnTo>
                <a:lnTo>
                  <a:pt x="1470" y="2325"/>
                </a:lnTo>
                <a:lnTo>
                  <a:pt x="1470" y="2325"/>
                </a:lnTo>
                <a:lnTo>
                  <a:pt x="1475" y="2325"/>
                </a:lnTo>
                <a:lnTo>
                  <a:pt x="1481" y="2325"/>
                </a:lnTo>
                <a:lnTo>
                  <a:pt x="1481" y="2325"/>
                </a:lnTo>
                <a:lnTo>
                  <a:pt x="1487" y="2325"/>
                </a:lnTo>
                <a:lnTo>
                  <a:pt x="1493" y="2325"/>
                </a:lnTo>
                <a:lnTo>
                  <a:pt x="1499" y="2325"/>
                </a:lnTo>
                <a:lnTo>
                  <a:pt x="1499" y="2325"/>
                </a:lnTo>
                <a:lnTo>
                  <a:pt x="1505" y="2325"/>
                </a:lnTo>
                <a:lnTo>
                  <a:pt x="1511" y="2325"/>
                </a:lnTo>
                <a:lnTo>
                  <a:pt x="1511" y="2325"/>
                </a:lnTo>
                <a:lnTo>
                  <a:pt x="1517" y="2325"/>
                </a:lnTo>
                <a:lnTo>
                  <a:pt x="1523" y="2325"/>
                </a:lnTo>
                <a:lnTo>
                  <a:pt x="1529" y="2325"/>
                </a:lnTo>
                <a:lnTo>
                  <a:pt x="1529" y="2325"/>
                </a:lnTo>
                <a:lnTo>
                  <a:pt x="1535" y="2325"/>
                </a:lnTo>
                <a:lnTo>
                  <a:pt x="1541" y="2325"/>
                </a:lnTo>
                <a:lnTo>
                  <a:pt x="1547" y="2325"/>
                </a:lnTo>
                <a:lnTo>
                  <a:pt x="1547" y="2325"/>
                </a:lnTo>
                <a:lnTo>
                  <a:pt x="1553" y="2325"/>
                </a:lnTo>
                <a:lnTo>
                  <a:pt x="1558" y="2325"/>
                </a:lnTo>
                <a:lnTo>
                  <a:pt x="1558" y="2325"/>
                </a:lnTo>
                <a:lnTo>
                  <a:pt x="1564" y="2325"/>
                </a:lnTo>
                <a:lnTo>
                  <a:pt x="1564" y="2325"/>
                </a:lnTo>
                <a:lnTo>
                  <a:pt x="1570" y="2325"/>
                </a:lnTo>
                <a:lnTo>
                  <a:pt x="1570" y="2325"/>
                </a:lnTo>
                <a:lnTo>
                  <a:pt x="1576" y="2325"/>
                </a:lnTo>
                <a:lnTo>
                  <a:pt x="1576" y="2325"/>
                </a:lnTo>
                <a:lnTo>
                  <a:pt x="1582" y="2325"/>
                </a:lnTo>
                <a:lnTo>
                  <a:pt x="1588" y="2325"/>
                </a:lnTo>
                <a:lnTo>
                  <a:pt x="1588" y="2325"/>
                </a:lnTo>
                <a:lnTo>
                  <a:pt x="1594" y="2325"/>
                </a:lnTo>
                <a:lnTo>
                  <a:pt x="1600" y="2325"/>
                </a:lnTo>
                <a:lnTo>
                  <a:pt x="1606" y="2325"/>
                </a:lnTo>
                <a:lnTo>
                  <a:pt x="1606" y="2325"/>
                </a:lnTo>
                <a:lnTo>
                  <a:pt x="1612" y="2325"/>
                </a:lnTo>
                <a:lnTo>
                  <a:pt x="1618" y="2325"/>
                </a:lnTo>
                <a:lnTo>
                  <a:pt x="1618" y="2325"/>
                </a:lnTo>
                <a:lnTo>
                  <a:pt x="1624" y="2325"/>
                </a:lnTo>
                <a:lnTo>
                  <a:pt x="1630" y="2325"/>
                </a:lnTo>
                <a:lnTo>
                  <a:pt x="1635" y="2325"/>
                </a:lnTo>
                <a:lnTo>
                  <a:pt x="1635" y="2325"/>
                </a:lnTo>
                <a:lnTo>
                  <a:pt x="1641" y="2325"/>
                </a:lnTo>
                <a:lnTo>
                  <a:pt x="1647" y="2325"/>
                </a:lnTo>
                <a:lnTo>
                  <a:pt x="1647" y="2325"/>
                </a:lnTo>
                <a:lnTo>
                  <a:pt x="1647" y="2325"/>
                </a:lnTo>
                <a:lnTo>
                  <a:pt x="1647" y="2325"/>
                </a:lnTo>
                <a:lnTo>
                  <a:pt x="1647" y="2319"/>
                </a:lnTo>
                <a:lnTo>
                  <a:pt x="1647" y="2319"/>
                </a:lnTo>
                <a:lnTo>
                  <a:pt x="1647" y="2319"/>
                </a:lnTo>
                <a:lnTo>
                  <a:pt x="1647" y="2319"/>
                </a:lnTo>
                <a:lnTo>
                  <a:pt x="1647" y="2319"/>
                </a:lnTo>
                <a:lnTo>
                  <a:pt x="1647" y="2319"/>
                </a:lnTo>
                <a:lnTo>
                  <a:pt x="1647" y="2319"/>
                </a:lnTo>
                <a:lnTo>
                  <a:pt x="1647" y="2313"/>
                </a:lnTo>
                <a:lnTo>
                  <a:pt x="1647" y="2313"/>
                </a:lnTo>
                <a:lnTo>
                  <a:pt x="1647" y="2313"/>
                </a:lnTo>
                <a:lnTo>
                  <a:pt x="1647" y="2313"/>
                </a:lnTo>
                <a:lnTo>
                  <a:pt x="1647" y="2313"/>
                </a:lnTo>
                <a:lnTo>
                  <a:pt x="1647" y="2313"/>
                </a:lnTo>
                <a:lnTo>
                  <a:pt x="1647" y="2313"/>
                </a:lnTo>
                <a:lnTo>
                  <a:pt x="1647" y="2313"/>
                </a:lnTo>
                <a:lnTo>
                  <a:pt x="1647" y="2307"/>
                </a:lnTo>
                <a:lnTo>
                  <a:pt x="1647" y="2307"/>
                </a:lnTo>
                <a:lnTo>
                  <a:pt x="1647" y="2307"/>
                </a:lnTo>
                <a:lnTo>
                  <a:pt x="1647" y="2307"/>
                </a:lnTo>
                <a:lnTo>
                  <a:pt x="1647" y="2307"/>
                </a:lnTo>
                <a:lnTo>
                  <a:pt x="1647" y="2307"/>
                </a:lnTo>
                <a:lnTo>
                  <a:pt x="1647" y="2307"/>
                </a:lnTo>
                <a:lnTo>
                  <a:pt x="1647" y="2301"/>
                </a:lnTo>
                <a:lnTo>
                  <a:pt x="1647" y="2301"/>
                </a:lnTo>
                <a:lnTo>
                  <a:pt x="1647" y="2301"/>
                </a:lnTo>
                <a:lnTo>
                  <a:pt x="1647" y="2301"/>
                </a:lnTo>
                <a:lnTo>
                  <a:pt x="1647" y="2301"/>
                </a:lnTo>
                <a:lnTo>
                  <a:pt x="1647" y="2301"/>
                </a:lnTo>
                <a:lnTo>
                  <a:pt x="1647" y="2301"/>
                </a:lnTo>
                <a:lnTo>
                  <a:pt x="1647" y="2295"/>
                </a:lnTo>
                <a:lnTo>
                  <a:pt x="1647" y="2295"/>
                </a:lnTo>
                <a:lnTo>
                  <a:pt x="1647" y="2295"/>
                </a:lnTo>
                <a:lnTo>
                  <a:pt x="1647" y="2295"/>
                </a:lnTo>
                <a:lnTo>
                  <a:pt x="1647" y="2295"/>
                </a:lnTo>
                <a:lnTo>
                  <a:pt x="1647" y="2295"/>
                </a:lnTo>
                <a:lnTo>
                  <a:pt x="1647" y="2295"/>
                </a:lnTo>
                <a:lnTo>
                  <a:pt x="1647" y="2295"/>
                </a:lnTo>
                <a:lnTo>
                  <a:pt x="1647" y="2289"/>
                </a:lnTo>
                <a:lnTo>
                  <a:pt x="1647" y="2289"/>
                </a:lnTo>
                <a:lnTo>
                  <a:pt x="1647" y="2289"/>
                </a:lnTo>
                <a:lnTo>
                  <a:pt x="1647" y="2289"/>
                </a:lnTo>
                <a:lnTo>
                  <a:pt x="1647" y="2289"/>
                </a:lnTo>
                <a:lnTo>
                  <a:pt x="1647" y="2289"/>
                </a:lnTo>
                <a:lnTo>
                  <a:pt x="1647" y="2289"/>
                </a:lnTo>
                <a:lnTo>
                  <a:pt x="1647" y="2283"/>
                </a:lnTo>
                <a:lnTo>
                  <a:pt x="1647" y="2283"/>
                </a:lnTo>
                <a:lnTo>
                  <a:pt x="1647" y="2283"/>
                </a:lnTo>
                <a:lnTo>
                  <a:pt x="1647" y="2283"/>
                </a:lnTo>
                <a:lnTo>
                  <a:pt x="1647" y="2283"/>
                </a:lnTo>
                <a:lnTo>
                  <a:pt x="1647" y="2283"/>
                </a:lnTo>
                <a:lnTo>
                  <a:pt x="1647" y="2283"/>
                </a:lnTo>
                <a:lnTo>
                  <a:pt x="1647" y="2283"/>
                </a:lnTo>
                <a:lnTo>
                  <a:pt x="1647" y="2283"/>
                </a:lnTo>
                <a:lnTo>
                  <a:pt x="1647" y="2278"/>
                </a:lnTo>
                <a:lnTo>
                  <a:pt x="1647" y="2278"/>
                </a:lnTo>
                <a:lnTo>
                  <a:pt x="1647" y="2278"/>
                </a:lnTo>
                <a:lnTo>
                  <a:pt x="1647" y="2278"/>
                </a:lnTo>
                <a:lnTo>
                  <a:pt x="1647" y="2278"/>
                </a:lnTo>
                <a:lnTo>
                  <a:pt x="1647" y="2278"/>
                </a:lnTo>
                <a:lnTo>
                  <a:pt x="1647" y="2278"/>
                </a:lnTo>
                <a:lnTo>
                  <a:pt x="1647" y="2272"/>
                </a:lnTo>
                <a:lnTo>
                  <a:pt x="1647" y="2272"/>
                </a:lnTo>
                <a:lnTo>
                  <a:pt x="1647" y="2272"/>
                </a:lnTo>
                <a:lnTo>
                  <a:pt x="1647" y="2272"/>
                </a:lnTo>
                <a:lnTo>
                  <a:pt x="1647" y="2272"/>
                </a:lnTo>
                <a:lnTo>
                  <a:pt x="1647" y="2272"/>
                </a:lnTo>
                <a:lnTo>
                  <a:pt x="1653" y="2272"/>
                </a:lnTo>
                <a:lnTo>
                  <a:pt x="1653" y="2272"/>
                </a:lnTo>
                <a:lnTo>
                  <a:pt x="1653" y="2272"/>
                </a:lnTo>
                <a:lnTo>
                  <a:pt x="1659" y="2272"/>
                </a:lnTo>
                <a:lnTo>
                  <a:pt x="1659" y="2272"/>
                </a:lnTo>
                <a:lnTo>
                  <a:pt x="1665" y="2272"/>
                </a:lnTo>
                <a:lnTo>
                  <a:pt x="1665" y="2272"/>
                </a:lnTo>
                <a:lnTo>
                  <a:pt x="1665" y="2272"/>
                </a:lnTo>
                <a:lnTo>
                  <a:pt x="1671" y="2272"/>
                </a:lnTo>
                <a:lnTo>
                  <a:pt x="1671" y="2272"/>
                </a:lnTo>
                <a:lnTo>
                  <a:pt x="1677" y="2272"/>
                </a:lnTo>
                <a:lnTo>
                  <a:pt x="1677" y="2272"/>
                </a:lnTo>
                <a:lnTo>
                  <a:pt x="1677" y="2272"/>
                </a:lnTo>
                <a:lnTo>
                  <a:pt x="1683" y="2272"/>
                </a:lnTo>
                <a:lnTo>
                  <a:pt x="1683" y="2272"/>
                </a:lnTo>
                <a:lnTo>
                  <a:pt x="1689" y="2272"/>
                </a:lnTo>
                <a:lnTo>
                  <a:pt x="1689" y="2272"/>
                </a:lnTo>
                <a:lnTo>
                  <a:pt x="1695" y="2272"/>
                </a:lnTo>
                <a:lnTo>
                  <a:pt x="1695" y="2272"/>
                </a:lnTo>
                <a:lnTo>
                  <a:pt x="1695" y="2272"/>
                </a:lnTo>
                <a:lnTo>
                  <a:pt x="1701" y="2272"/>
                </a:lnTo>
                <a:lnTo>
                  <a:pt x="1701" y="2272"/>
                </a:lnTo>
                <a:lnTo>
                  <a:pt x="1707" y="2272"/>
                </a:lnTo>
                <a:lnTo>
                  <a:pt x="1707" y="2272"/>
                </a:lnTo>
                <a:lnTo>
                  <a:pt x="1713" y="2272"/>
                </a:lnTo>
                <a:lnTo>
                  <a:pt x="1713" y="2272"/>
                </a:lnTo>
                <a:lnTo>
                  <a:pt x="1713" y="2272"/>
                </a:lnTo>
                <a:lnTo>
                  <a:pt x="1718" y="2272"/>
                </a:lnTo>
                <a:lnTo>
                  <a:pt x="1718" y="2272"/>
                </a:lnTo>
                <a:lnTo>
                  <a:pt x="1724" y="2272"/>
                </a:lnTo>
                <a:lnTo>
                  <a:pt x="1724" y="2272"/>
                </a:lnTo>
                <a:lnTo>
                  <a:pt x="1730" y="2272"/>
                </a:lnTo>
                <a:lnTo>
                  <a:pt x="1730" y="2272"/>
                </a:lnTo>
                <a:lnTo>
                  <a:pt x="1736" y="2272"/>
                </a:lnTo>
                <a:lnTo>
                  <a:pt x="1736" y="2272"/>
                </a:lnTo>
                <a:lnTo>
                  <a:pt x="1736" y="2272"/>
                </a:lnTo>
                <a:lnTo>
                  <a:pt x="1742" y="2272"/>
                </a:lnTo>
                <a:lnTo>
                  <a:pt x="1742" y="2272"/>
                </a:lnTo>
                <a:lnTo>
                  <a:pt x="1742" y="2272"/>
                </a:lnTo>
                <a:lnTo>
                  <a:pt x="1742" y="2272"/>
                </a:lnTo>
                <a:lnTo>
                  <a:pt x="1742" y="2272"/>
                </a:lnTo>
                <a:lnTo>
                  <a:pt x="1748" y="2272"/>
                </a:lnTo>
                <a:lnTo>
                  <a:pt x="1748" y="2272"/>
                </a:lnTo>
                <a:lnTo>
                  <a:pt x="1748" y="2272"/>
                </a:lnTo>
                <a:lnTo>
                  <a:pt x="1754" y="2272"/>
                </a:lnTo>
                <a:lnTo>
                  <a:pt x="1754" y="2272"/>
                </a:lnTo>
                <a:lnTo>
                  <a:pt x="1754" y="2272"/>
                </a:lnTo>
                <a:lnTo>
                  <a:pt x="1760" y="2272"/>
                </a:lnTo>
                <a:lnTo>
                  <a:pt x="1760" y="2272"/>
                </a:lnTo>
                <a:lnTo>
                  <a:pt x="1766" y="2272"/>
                </a:lnTo>
                <a:lnTo>
                  <a:pt x="1766" y="2272"/>
                </a:lnTo>
                <a:lnTo>
                  <a:pt x="1766" y="2272"/>
                </a:lnTo>
                <a:lnTo>
                  <a:pt x="1766" y="2272"/>
                </a:lnTo>
                <a:lnTo>
                  <a:pt x="1766" y="2272"/>
                </a:lnTo>
                <a:lnTo>
                  <a:pt x="1772" y="2272"/>
                </a:lnTo>
                <a:lnTo>
                  <a:pt x="1772" y="2272"/>
                </a:lnTo>
                <a:lnTo>
                  <a:pt x="1772" y="2272"/>
                </a:lnTo>
                <a:lnTo>
                  <a:pt x="1778" y="2272"/>
                </a:lnTo>
                <a:lnTo>
                  <a:pt x="1778" y="2272"/>
                </a:lnTo>
                <a:lnTo>
                  <a:pt x="1784" y="2272"/>
                </a:lnTo>
                <a:lnTo>
                  <a:pt x="1784" y="2272"/>
                </a:lnTo>
                <a:lnTo>
                  <a:pt x="1784" y="2272"/>
                </a:lnTo>
                <a:lnTo>
                  <a:pt x="1784" y="2272"/>
                </a:lnTo>
                <a:lnTo>
                  <a:pt x="1790" y="2272"/>
                </a:lnTo>
                <a:lnTo>
                  <a:pt x="1790" y="2272"/>
                </a:lnTo>
                <a:lnTo>
                  <a:pt x="1790" y="2272"/>
                </a:lnTo>
                <a:lnTo>
                  <a:pt x="1795" y="2272"/>
                </a:lnTo>
                <a:lnTo>
                  <a:pt x="1795" y="2272"/>
                </a:lnTo>
                <a:lnTo>
                  <a:pt x="1795" y="2272"/>
                </a:lnTo>
                <a:lnTo>
                  <a:pt x="1801" y="2272"/>
                </a:lnTo>
                <a:lnTo>
                  <a:pt x="1801" y="2272"/>
                </a:lnTo>
                <a:lnTo>
                  <a:pt x="1807" y="2272"/>
                </a:lnTo>
                <a:lnTo>
                  <a:pt x="1807" y="2272"/>
                </a:lnTo>
                <a:lnTo>
                  <a:pt x="1807" y="2272"/>
                </a:lnTo>
                <a:lnTo>
                  <a:pt x="1807" y="2272"/>
                </a:lnTo>
                <a:lnTo>
                  <a:pt x="1813" y="2272"/>
                </a:lnTo>
                <a:lnTo>
                  <a:pt x="1813" y="2272"/>
                </a:lnTo>
                <a:lnTo>
                  <a:pt x="1813" y="2272"/>
                </a:lnTo>
                <a:lnTo>
                  <a:pt x="1813" y="2272"/>
                </a:lnTo>
                <a:lnTo>
                  <a:pt x="1819" y="2272"/>
                </a:lnTo>
                <a:lnTo>
                  <a:pt x="1819" y="2272"/>
                </a:lnTo>
                <a:lnTo>
                  <a:pt x="1819" y="2272"/>
                </a:lnTo>
                <a:lnTo>
                  <a:pt x="1819" y="2272"/>
                </a:lnTo>
                <a:lnTo>
                  <a:pt x="1825" y="2272"/>
                </a:lnTo>
                <a:lnTo>
                  <a:pt x="1825" y="2278"/>
                </a:lnTo>
                <a:lnTo>
                  <a:pt x="1831" y="2278"/>
                </a:lnTo>
                <a:lnTo>
                  <a:pt x="1831" y="2283"/>
                </a:lnTo>
                <a:lnTo>
                  <a:pt x="1837" y="2289"/>
                </a:lnTo>
                <a:lnTo>
                  <a:pt x="1837" y="2295"/>
                </a:lnTo>
                <a:lnTo>
                  <a:pt x="1837" y="2295"/>
                </a:lnTo>
                <a:lnTo>
                  <a:pt x="1843" y="2301"/>
                </a:lnTo>
                <a:lnTo>
                  <a:pt x="1843" y="2301"/>
                </a:lnTo>
                <a:lnTo>
                  <a:pt x="1843" y="2307"/>
                </a:lnTo>
                <a:lnTo>
                  <a:pt x="1843" y="2307"/>
                </a:lnTo>
                <a:lnTo>
                  <a:pt x="1843" y="2307"/>
                </a:lnTo>
                <a:lnTo>
                  <a:pt x="1843" y="2307"/>
                </a:lnTo>
                <a:lnTo>
                  <a:pt x="1843" y="2307"/>
                </a:lnTo>
                <a:lnTo>
                  <a:pt x="1843" y="2307"/>
                </a:lnTo>
                <a:lnTo>
                  <a:pt x="1849" y="2307"/>
                </a:lnTo>
                <a:lnTo>
                  <a:pt x="1849" y="2313"/>
                </a:lnTo>
                <a:lnTo>
                  <a:pt x="1849" y="2313"/>
                </a:lnTo>
                <a:lnTo>
                  <a:pt x="1855" y="2313"/>
                </a:lnTo>
                <a:lnTo>
                  <a:pt x="1855" y="2313"/>
                </a:lnTo>
                <a:lnTo>
                  <a:pt x="1861" y="2313"/>
                </a:lnTo>
                <a:lnTo>
                  <a:pt x="1861" y="2313"/>
                </a:lnTo>
                <a:lnTo>
                  <a:pt x="1867" y="2313"/>
                </a:lnTo>
                <a:lnTo>
                  <a:pt x="1867" y="2319"/>
                </a:lnTo>
                <a:lnTo>
                  <a:pt x="1873" y="2319"/>
                </a:lnTo>
                <a:lnTo>
                  <a:pt x="1873" y="2319"/>
                </a:lnTo>
                <a:lnTo>
                  <a:pt x="1873" y="2319"/>
                </a:lnTo>
                <a:lnTo>
                  <a:pt x="1873" y="2325"/>
                </a:lnTo>
                <a:lnTo>
                  <a:pt x="1873" y="2325"/>
                </a:lnTo>
                <a:lnTo>
                  <a:pt x="1873" y="2325"/>
                </a:lnTo>
                <a:lnTo>
                  <a:pt x="1878" y="2325"/>
                </a:lnTo>
                <a:lnTo>
                  <a:pt x="1878" y="2325"/>
                </a:lnTo>
                <a:lnTo>
                  <a:pt x="1878" y="2325"/>
                </a:lnTo>
                <a:lnTo>
                  <a:pt x="1878" y="2331"/>
                </a:lnTo>
                <a:lnTo>
                  <a:pt x="1878" y="2331"/>
                </a:lnTo>
                <a:lnTo>
                  <a:pt x="1884" y="2337"/>
                </a:lnTo>
                <a:lnTo>
                  <a:pt x="1890" y="2337"/>
                </a:lnTo>
                <a:lnTo>
                  <a:pt x="1890" y="2343"/>
                </a:lnTo>
                <a:lnTo>
                  <a:pt x="1890" y="2343"/>
                </a:lnTo>
                <a:lnTo>
                  <a:pt x="1896" y="2349"/>
                </a:lnTo>
                <a:lnTo>
                  <a:pt x="1896" y="2349"/>
                </a:lnTo>
                <a:lnTo>
                  <a:pt x="1902" y="2349"/>
                </a:lnTo>
                <a:lnTo>
                  <a:pt x="1902" y="2349"/>
                </a:lnTo>
                <a:lnTo>
                  <a:pt x="1902" y="2355"/>
                </a:lnTo>
                <a:lnTo>
                  <a:pt x="1908" y="2355"/>
                </a:lnTo>
                <a:lnTo>
                  <a:pt x="1908" y="2355"/>
                </a:lnTo>
                <a:lnTo>
                  <a:pt x="1908" y="2355"/>
                </a:lnTo>
                <a:lnTo>
                  <a:pt x="1908" y="2355"/>
                </a:lnTo>
                <a:lnTo>
                  <a:pt x="1908" y="2355"/>
                </a:lnTo>
                <a:lnTo>
                  <a:pt x="1908" y="2361"/>
                </a:lnTo>
                <a:lnTo>
                  <a:pt x="1908" y="2361"/>
                </a:lnTo>
                <a:lnTo>
                  <a:pt x="1908" y="2361"/>
                </a:lnTo>
                <a:lnTo>
                  <a:pt x="1914" y="2366"/>
                </a:lnTo>
                <a:lnTo>
                  <a:pt x="1914" y="2366"/>
                </a:lnTo>
                <a:lnTo>
                  <a:pt x="1926" y="2372"/>
                </a:lnTo>
                <a:lnTo>
                  <a:pt x="1926" y="2378"/>
                </a:lnTo>
                <a:lnTo>
                  <a:pt x="1932" y="2378"/>
                </a:lnTo>
                <a:lnTo>
                  <a:pt x="1932" y="2378"/>
                </a:lnTo>
                <a:lnTo>
                  <a:pt x="1938" y="2384"/>
                </a:lnTo>
                <a:lnTo>
                  <a:pt x="1938" y="2384"/>
                </a:lnTo>
                <a:lnTo>
                  <a:pt x="1938" y="2384"/>
                </a:lnTo>
                <a:lnTo>
                  <a:pt x="1938" y="2384"/>
                </a:lnTo>
                <a:lnTo>
                  <a:pt x="1938" y="2384"/>
                </a:lnTo>
                <a:lnTo>
                  <a:pt x="1944" y="2384"/>
                </a:lnTo>
                <a:lnTo>
                  <a:pt x="1944" y="2384"/>
                </a:lnTo>
                <a:lnTo>
                  <a:pt x="1944" y="2384"/>
                </a:lnTo>
                <a:lnTo>
                  <a:pt x="1944" y="2384"/>
                </a:lnTo>
                <a:lnTo>
                  <a:pt x="1944" y="2384"/>
                </a:lnTo>
                <a:lnTo>
                  <a:pt x="1944" y="2384"/>
                </a:lnTo>
                <a:lnTo>
                  <a:pt x="1944" y="2384"/>
                </a:lnTo>
                <a:lnTo>
                  <a:pt x="1944" y="2384"/>
                </a:lnTo>
                <a:lnTo>
                  <a:pt x="1944" y="2384"/>
                </a:lnTo>
                <a:lnTo>
                  <a:pt x="1944" y="2384"/>
                </a:lnTo>
                <a:lnTo>
                  <a:pt x="1944" y="2390"/>
                </a:lnTo>
                <a:lnTo>
                  <a:pt x="1950" y="2390"/>
                </a:lnTo>
                <a:lnTo>
                  <a:pt x="1950" y="2390"/>
                </a:lnTo>
                <a:lnTo>
                  <a:pt x="1950" y="2390"/>
                </a:lnTo>
                <a:lnTo>
                  <a:pt x="1950" y="2390"/>
                </a:lnTo>
                <a:lnTo>
                  <a:pt x="1950" y="2390"/>
                </a:lnTo>
                <a:lnTo>
                  <a:pt x="1950" y="2390"/>
                </a:lnTo>
                <a:lnTo>
                  <a:pt x="1950" y="2390"/>
                </a:lnTo>
                <a:lnTo>
                  <a:pt x="1950" y="2390"/>
                </a:lnTo>
                <a:lnTo>
                  <a:pt x="1950" y="2390"/>
                </a:lnTo>
                <a:lnTo>
                  <a:pt x="1950" y="2390"/>
                </a:lnTo>
                <a:lnTo>
                  <a:pt x="1955" y="2390"/>
                </a:lnTo>
                <a:lnTo>
                  <a:pt x="1955" y="2396"/>
                </a:lnTo>
                <a:lnTo>
                  <a:pt x="1961" y="2396"/>
                </a:lnTo>
                <a:lnTo>
                  <a:pt x="1961" y="2396"/>
                </a:lnTo>
                <a:lnTo>
                  <a:pt x="1961" y="2396"/>
                </a:lnTo>
                <a:lnTo>
                  <a:pt x="1961" y="2402"/>
                </a:lnTo>
                <a:lnTo>
                  <a:pt x="1967" y="2402"/>
                </a:lnTo>
                <a:lnTo>
                  <a:pt x="1967" y="2402"/>
                </a:lnTo>
                <a:lnTo>
                  <a:pt x="1967" y="2402"/>
                </a:lnTo>
                <a:lnTo>
                  <a:pt x="1967" y="2402"/>
                </a:lnTo>
                <a:lnTo>
                  <a:pt x="1967" y="2402"/>
                </a:lnTo>
                <a:lnTo>
                  <a:pt x="1967" y="2402"/>
                </a:lnTo>
                <a:lnTo>
                  <a:pt x="1967" y="2402"/>
                </a:lnTo>
                <a:lnTo>
                  <a:pt x="1967" y="2408"/>
                </a:lnTo>
                <a:lnTo>
                  <a:pt x="1967" y="2408"/>
                </a:lnTo>
                <a:lnTo>
                  <a:pt x="1967" y="2408"/>
                </a:lnTo>
                <a:lnTo>
                  <a:pt x="1973" y="2408"/>
                </a:lnTo>
                <a:lnTo>
                  <a:pt x="1973" y="2408"/>
                </a:lnTo>
                <a:lnTo>
                  <a:pt x="1973" y="2408"/>
                </a:lnTo>
                <a:lnTo>
                  <a:pt x="1973" y="2414"/>
                </a:lnTo>
                <a:lnTo>
                  <a:pt x="1973" y="2414"/>
                </a:lnTo>
                <a:lnTo>
                  <a:pt x="1979" y="2414"/>
                </a:lnTo>
                <a:lnTo>
                  <a:pt x="1979" y="2414"/>
                </a:lnTo>
                <a:lnTo>
                  <a:pt x="1979" y="2414"/>
                </a:lnTo>
                <a:lnTo>
                  <a:pt x="1979" y="2420"/>
                </a:lnTo>
                <a:lnTo>
                  <a:pt x="1979" y="2420"/>
                </a:lnTo>
                <a:lnTo>
                  <a:pt x="1979" y="2420"/>
                </a:lnTo>
                <a:lnTo>
                  <a:pt x="1979" y="2420"/>
                </a:lnTo>
                <a:lnTo>
                  <a:pt x="1979" y="2420"/>
                </a:lnTo>
                <a:lnTo>
                  <a:pt x="1979" y="2426"/>
                </a:lnTo>
                <a:lnTo>
                  <a:pt x="1979" y="2426"/>
                </a:lnTo>
                <a:lnTo>
                  <a:pt x="1979" y="2426"/>
                </a:lnTo>
                <a:lnTo>
                  <a:pt x="1979" y="2426"/>
                </a:lnTo>
                <a:lnTo>
                  <a:pt x="1979" y="2426"/>
                </a:lnTo>
                <a:lnTo>
                  <a:pt x="1979" y="2426"/>
                </a:lnTo>
                <a:lnTo>
                  <a:pt x="1979" y="2426"/>
                </a:lnTo>
                <a:lnTo>
                  <a:pt x="1979" y="2432"/>
                </a:lnTo>
                <a:lnTo>
                  <a:pt x="1979" y="2432"/>
                </a:lnTo>
                <a:lnTo>
                  <a:pt x="1979" y="2432"/>
                </a:lnTo>
                <a:lnTo>
                  <a:pt x="1979" y="2432"/>
                </a:lnTo>
                <a:lnTo>
                  <a:pt x="1979" y="2432"/>
                </a:lnTo>
                <a:lnTo>
                  <a:pt x="1985" y="2432"/>
                </a:lnTo>
                <a:lnTo>
                  <a:pt x="1985" y="2432"/>
                </a:lnTo>
                <a:lnTo>
                  <a:pt x="1985" y="2432"/>
                </a:lnTo>
                <a:lnTo>
                  <a:pt x="1985" y="2438"/>
                </a:lnTo>
                <a:lnTo>
                  <a:pt x="1985" y="2438"/>
                </a:lnTo>
                <a:lnTo>
                  <a:pt x="1985" y="2438"/>
                </a:lnTo>
                <a:lnTo>
                  <a:pt x="1985" y="2438"/>
                </a:lnTo>
                <a:lnTo>
                  <a:pt x="1985" y="2438"/>
                </a:lnTo>
                <a:lnTo>
                  <a:pt x="1985" y="2438"/>
                </a:lnTo>
                <a:lnTo>
                  <a:pt x="1991" y="2444"/>
                </a:lnTo>
                <a:lnTo>
                  <a:pt x="1991" y="2444"/>
                </a:lnTo>
                <a:lnTo>
                  <a:pt x="1991" y="2444"/>
                </a:lnTo>
                <a:lnTo>
                  <a:pt x="1991" y="2444"/>
                </a:lnTo>
                <a:lnTo>
                  <a:pt x="1991" y="2450"/>
                </a:lnTo>
                <a:lnTo>
                  <a:pt x="1991" y="2450"/>
                </a:lnTo>
                <a:lnTo>
                  <a:pt x="1991" y="2450"/>
                </a:lnTo>
                <a:lnTo>
                  <a:pt x="1991" y="2450"/>
                </a:lnTo>
                <a:lnTo>
                  <a:pt x="1997" y="2450"/>
                </a:lnTo>
                <a:lnTo>
                  <a:pt x="1997" y="2455"/>
                </a:lnTo>
                <a:lnTo>
                  <a:pt x="1997" y="2455"/>
                </a:lnTo>
                <a:lnTo>
                  <a:pt x="1997" y="2455"/>
                </a:lnTo>
                <a:lnTo>
                  <a:pt x="1997" y="2461"/>
                </a:lnTo>
                <a:lnTo>
                  <a:pt x="1997" y="2461"/>
                </a:lnTo>
                <a:lnTo>
                  <a:pt x="1997" y="2461"/>
                </a:lnTo>
                <a:lnTo>
                  <a:pt x="1997" y="2467"/>
                </a:lnTo>
                <a:lnTo>
                  <a:pt x="1997" y="2467"/>
                </a:lnTo>
                <a:lnTo>
                  <a:pt x="1997" y="2467"/>
                </a:lnTo>
                <a:lnTo>
                  <a:pt x="1997" y="2473"/>
                </a:lnTo>
                <a:lnTo>
                  <a:pt x="1997" y="2473"/>
                </a:lnTo>
                <a:lnTo>
                  <a:pt x="1997" y="2473"/>
                </a:lnTo>
                <a:lnTo>
                  <a:pt x="1997" y="2473"/>
                </a:lnTo>
                <a:lnTo>
                  <a:pt x="1997" y="2479"/>
                </a:lnTo>
                <a:lnTo>
                  <a:pt x="1997" y="2479"/>
                </a:lnTo>
                <a:lnTo>
                  <a:pt x="1997" y="2479"/>
                </a:lnTo>
                <a:lnTo>
                  <a:pt x="1997" y="2485"/>
                </a:lnTo>
                <a:lnTo>
                  <a:pt x="1997" y="2485"/>
                </a:lnTo>
                <a:lnTo>
                  <a:pt x="1997" y="2485"/>
                </a:lnTo>
                <a:lnTo>
                  <a:pt x="1997" y="2485"/>
                </a:lnTo>
                <a:lnTo>
                  <a:pt x="1997" y="2485"/>
                </a:lnTo>
                <a:lnTo>
                  <a:pt x="1997" y="2485"/>
                </a:lnTo>
                <a:lnTo>
                  <a:pt x="2003" y="2491"/>
                </a:lnTo>
                <a:lnTo>
                  <a:pt x="2003" y="2491"/>
                </a:lnTo>
                <a:lnTo>
                  <a:pt x="2003" y="2491"/>
                </a:lnTo>
                <a:lnTo>
                  <a:pt x="2003" y="2497"/>
                </a:lnTo>
                <a:lnTo>
                  <a:pt x="2003" y="2497"/>
                </a:lnTo>
                <a:lnTo>
                  <a:pt x="2003" y="2497"/>
                </a:lnTo>
                <a:lnTo>
                  <a:pt x="2009" y="2503"/>
                </a:lnTo>
                <a:lnTo>
                  <a:pt x="2009" y="2503"/>
                </a:lnTo>
                <a:lnTo>
                  <a:pt x="2009" y="2503"/>
                </a:lnTo>
                <a:lnTo>
                  <a:pt x="2009" y="2503"/>
                </a:lnTo>
                <a:lnTo>
                  <a:pt x="2009" y="2509"/>
                </a:lnTo>
                <a:lnTo>
                  <a:pt x="2009" y="2509"/>
                </a:lnTo>
                <a:lnTo>
                  <a:pt x="2015" y="2515"/>
                </a:lnTo>
                <a:lnTo>
                  <a:pt x="2015" y="2515"/>
                </a:lnTo>
                <a:lnTo>
                  <a:pt x="2015" y="2515"/>
                </a:lnTo>
                <a:lnTo>
                  <a:pt x="2015" y="2515"/>
                </a:lnTo>
                <a:lnTo>
                  <a:pt x="2015" y="2515"/>
                </a:lnTo>
                <a:lnTo>
                  <a:pt x="2015" y="2521"/>
                </a:lnTo>
                <a:lnTo>
                  <a:pt x="2021" y="2521"/>
                </a:lnTo>
                <a:lnTo>
                  <a:pt x="2021" y="2521"/>
                </a:lnTo>
                <a:lnTo>
                  <a:pt x="2021" y="2521"/>
                </a:lnTo>
                <a:lnTo>
                  <a:pt x="2021" y="2521"/>
                </a:lnTo>
                <a:lnTo>
                  <a:pt x="2021" y="2527"/>
                </a:lnTo>
                <a:lnTo>
                  <a:pt x="2021" y="2527"/>
                </a:lnTo>
                <a:lnTo>
                  <a:pt x="2021" y="2527"/>
                </a:lnTo>
                <a:lnTo>
                  <a:pt x="2021" y="2527"/>
                </a:lnTo>
                <a:lnTo>
                  <a:pt x="2021" y="2527"/>
                </a:lnTo>
                <a:lnTo>
                  <a:pt x="2033" y="2533"/>
                </a:lnTo>
                <a:lnTo>
                  <a:pt x="2033" y="2533"/>
                </a:lnTo>
                <a:lnTo>
                  <a:pt x="2033" y="2533"/>
                </a:lnTo>
                <a:lnTo>
                  <a:pt x="2033" y="2533"/>
                </a:lnTo>
                <a:lnTo>
                  <a:pt x="2038" y="2533"/>
                </a:lnTo>
                <a:lnTo>
                  <a:pt x="2038" y="2533"/>
                </a:lnTo>
                <a:lnTo>
                  <a:pt x="2038" y="2533"/>
                </a:lnTo>
                <a:lnTo>
                  <a:pt x="2038" y="2533"/>
                </a:lnTo>
                <a:lnTo>
                  <a:pt x="2038" y="2533"/>
                </a:lnTo>
                <a:lnTo>
                  <a:pt x="2038" y="2533"/>
                </a:lnTo>
                <a:lnTo>
                  <a:pt x="2044" y="2538"/>
                </a:lnTo>
                <a:lnTo>
                  <a:pt x="2044" y="2538"/>
                </a:lnTo>
                <a:lnTo>
                  <a:pt x="2044" y="2538"/>
                </a:lnTo>
                <a:lnTo>
                  <a:pt x="2044" y="2538"/>
                </a:lnTo>
                <a:lnTo>
                  <a:pt x="2044" y="2538"/>
                </a:lnTo>
                <a:lnTo>
                  <a:pt x="2044" y="2538"/>
                </a:lnTo>
                <a:lnTo>
                  <a:pt x="2044" y="2544"/>
                </a:lnTo>
                <a:lnTo>
                  <a:pt x="2050" y="2544"/>
                </a:lnTo>
                <a:lnTo>
                  <a:pt x="2050" y="2544"/>
                </a:lnTo>
                <a:lnTo>
                  <a:pt x="2056" y="2550"/>
                </a:lnTo>
                <a:lnTo>
                  <a:pt x="2062" y="2556"/>
                </a:lnTo>
                <a:lnTo>
                  <a:pt x="2062" y="2556"/>
                </a:lnTo>
                <a:lnTo>
                  <a:pt x="2074" y="2562"/>
                </a:lnTo>
                <a:lnTo>
                  <a:pt x="2080" y="2562"/>
                </a:lnTo>
                <a:lnTo>
                  <a:pt x="2086" y="2562"/>
                </a:lnTo>
                <a:lnTo>
                  <a:pt x="2086" y="2562"/>
                </a:lnTo>
                <a:lnTo>
                  <a:pt x="2086" y="2562"/>
                </a:lnTo>
                <a:lnTo>
                  <a:pt x="2086" y="2562"/>
                </a:lnTo>
                <a:lnTo>
                  <a:pt x="2086" y="2568"/>
                </a:lnTo>
                <a:lnTo>
                  <a:pt x="2086" y="2568"/>
                </a:lnTo>
                <a:lnTo>
                  <a:pt x="2092" y="2568"/>
                </a:lnTo>
                <a:lnTo>
                  <a:pt x="2092" y="2568"/>
                </a:lnTo>
                <a:lnTo>
                  <a:pt x="2098" y="2574"/>
                </a:lnTo>
                <a:lnTo>
                  <a:pt x="2098" y="2574"/>
                </a:lnTo>
                <a:lnTo>
                  <a:pt x="2110" y="2574"/>
                </a:lnTo>
                <a:lnTo>
                  <a:pt x="2110" y="2574"/>
                </a:lnTo>
                <a:lnTo>
                  <a:pt x="2110" y="2574"/>
                </a:lnTo>
                <a:lnTo>
                  <a:pt x="2110" y="2574"/>
                </a:lnTo>
                <a:lnTo>
                  <a:pt x="2110" y="2574"/>
                </a:lnTo>
                <a:lnTo>
                  <a:pt x="2110" y="2574"/>
                </a:lnTo>
                <a:lnTo>
                  <a:pt x="2110" y="2574"/>
                </a:lnTo>
                <a:lnTo>
                  <a:pt x="2110" y="2574"/>
                </a:lnTo>
                <a:lnTo>
                  <a:pt x="2110" y="2580"/>
                </a:lnTo>
                <a:lnTo>
                  <a:pt x="2110" y="2580"/>
                </a:lnTo>
                <a:lnTo>
                  <a:pt x="2110" y="2580"/>
                </a:lnTo>
                <a:lnTo>
                  <a:pt x="2110" y="2580"/>
                </a:lnTo>
                <a:lnTo>
                  <a:pt x="2115" y="2586"/>
                </a:lnTo>
                <a:lnTo>
                  <a:pt x="2121" y="2586"/>
                </a:lnTo>
                <a:lnTo>
                  <a:pt x="2121" y="2586"/>
                </a:lnTo>
                <a:lnTo>
                  <a:pt x="2121" y="2586"/>
                </a:lnTo>
                <a:lnTo>
                  <a:pt x="2127" y="2592"/>
                </a:lnTo>
                <a:lnTo>
                  <a:pt x="2127" y="2592"/>
                </a:lnTo>
                <a:lnTo>
                  <a:pt x="2127" y="2592"/>
                </a:lnTo>
                <a:lnTo>
                  <a:pt x="2127" y="2586"/>
                </a:lnTo>
                <a:lnTo>
                  <a:pt x="2133" y="2586"/>
                </a:lnTo>
                <a:lnTo>
                  <a:pt x="2133" y="2592"/>
                </a:lnTo>
                <a:lnTo>
                  <a:pt x="2133" y="2592"/>
                </a:lnTo>
                <a:lnTo>
                  <a:pt x="2133" y="2592"/>
                </a:lnTo>
                <a:lnTo>
                  <a:pt x="2133" y="2592"/>
                </a:lnTo>
                <a:lnTo>
                  <a:pt x="2133" y="2592"/>
                </a:lnTo>
                <a:lnTo>
                  <a:pt x="2133" y="2592"/>
                </a:lnTo>
                <a:lnTo>
                  <a:pt x="2133" y="2592"/>
                </a:lnTo>
                <a:lnTo>
                  <a:pt x="2133" y="2592"/>
                </a:lnTo>
                <a:lnTo>
                  <a:pt x="2133" y="2592"/>
                </a:lnTo>
                <a:lnTo>
                  <a:pt x="2133" y="2592"/>
                </a:lnTo>
                <a:lnTo>
                  <a:pt x="2139" y="2592"/>
                </a:lnTo>
                <a:lnTo>
                  <a:pt x="2145" y="2592"/>
                </a:lnTo>
                <a:lnTo>
                  <a:pt x="2145" y="2592"/>
                </a:lnTo>
                <a:lnTo>
                  <a:pt x="2151" y="2592"/>
                </a:lnTo>
                <a:lnTo>
                  <a:pt x="2151" y="2592"/>
                </a:lnTo>
                <a:lnTo>
                  <a:pt x="2151" y="2592"/>
                </a:lnTo>
                <a:lnTo>
                  <a:pt x="2151" y="2592"/>
                </a:lnTo>
                <a:lnTo>
                  <a:pt x="2157" y="2592"/>
                </a:lnTo>
                <a:lnTo>
                  <a:pt x="2157" y="2586"/>
                </a:lnTo>
                <a:lnTo>
                  <a:pt x="2157" y="2586"/>
                </a:lnTo>
                <a:lnTo>
                  <a:pt x="2157" y="2586"/>
                </a:lnTo>
                <a:lnTo>
                  <a:pt x="2157" y="2586"/>
                </a:lnTo>
                <a:lnTo>
                  <a:pt x="2157" y="2586"/>
                </a:lnTo>
                <a:lnTo>
                  <a:pt x="2157" y="2586"/>
                </a:lnTo>
                <a:lnTo>
                  <a:pt x="2157" y="2580"/>
                </a:lnTo>
                <a:lnTo>
                  <a:pt x="2163" y="2580"/>
                </a:lnTo>
                <a:lnTo>
                  <a:pt x="2163" y="2580"/>
                </a:lnTo>
                <a:lnTo>
                  <a:pt x="2163" y="2580"/>
                </a:lnTo>
                <a:lnTo>
                  <a:pt x="2163" y="2574"/>
                </a:lnTo>
                <a:lnTo>
                  <a:pt x="2169" y="2574"/>
                </a:lnTo>
                <a:lnTo>
                  <a:pt x="2169" y="2574"/>
                </a:lnTo>
                <a:lnTo>
                  <a:pt x="2169" y="2568"/>
                </a:lnTo>
                <a:lnTo>
                  <a:pt x="2169" y="2574"/>
                </a:lnTo>
                <a:lnTo>
                  <a:pt x="2169" y="2574"/>
                </a:lnTo>
                <a:lnTo>
                  <a:pt x="2169" y="2568"/>
                </a:lnTo>
                <a:lnTo>
                  <a:pt x="2175" y="2568"/>
                </a:lnTo>
                <a:lnTo>
                  <a:pt x="2181" y="2568"/>
                </a:lnTo>
                <a:lnTo>
                  <a:pt x="2181" y="2568"/>
                </a:lnTo>
                <a:lnTo>
                  <a:pt x="2181" y="2568"/>
                </a:lnTo>
                <a:lnTo>
                  <a:pt x="2181" y="2568"/>
                </a:lnTo>
                <a:lnTo>
                  <a:pt x="2175" y="2562"/>
                </a:lnTo>
                <a:lnTo>
                  <a:pt x="2175" y="2562"/>
                </a:lnTo>
                <a:lnTo>
                  <a:pt x="2175" y="2562"/>
                </a:lnTo>
                <a:lnTo>
                  <a:pt x="2175" y="2562"/>
                </a:lnTo>
                <a:lnTo>
                  <a:pt x="2175" y="2556"/>
                </a:lnTo>
                <a:lnTo>
                  <a:pt x="2175" y="2556"/>
                </a:lnTo>
                <a:lnTo>
                  <a:pt x="2175" y="2556"/>
                </a:lnTo>
                <a:lnTo>
                  <a:pt x="2175" y="2556"/>
                </a:lnTo>
                <a:lnTo>
                  <a:pt x="2175" y="2556"/>
                </a:lnTo>
                <a:lnTo>
                  <a:pt x="2175" y="2550"/>
                </a:lnTo>
                <a:lnTo>
                  <a:pt x="2181" y="2550"/>
                </a:lnTo>
                <a:lnTo>
                  <a:pt x="2181" y="2550"/>
                </a:lnTo>
                <a:lnTo>
                  <a:pt x="2181" y="2550"/>
                </a:lnTo>
                <a:lnTo>
                  <a:pt x="2181" y="2550"/>
                </a:lnTo>
                <a:lnTo>
                  <a:pt x="2181" y="2550"/>
                </a:lnTo>
                <a:lnTo>
                  <a:pt x="2181" y="2550"/>
                </a:lnTo>
                <a:lnTo>
                  <a:pt x="2181" y="2550"/>
                </a:lnTo>
                <a:lnTo>
                  <a:pt x="2181" y="2550"/>
                </a:lnTo>
                <a:lnTo>
                  <a:pt x="2181" y="2550"/>
                </a:lnTo>
                <a:lnTo>
                  <a:pt x="2181" y="2550"/>
                </a:lnTo>
                <a:lnTo>
                  <a:pt x="2181" y="2550"/>
                </a:lnTo>
                <a:lnTo>
                  <a:pt x="2181" y="2550"/>
                </a:lnTo>
                <a:lnTo>
                  <a:pt x="2181" y="2544"/>
                </a:lnTo>
                <a:lnTo>
                  <a:pt x="2181" y="2544"/>
                </a:lnTo>
                <a:lnTo>
                  <a:pt x="2181" y="2544"/>
                </a:lnTo>
                <a:lnTo>
                  <a:pt x="2181" y="2544"/>
                </a:lnTo>
                <a:lnTo>
                  <a:pt x="2181" y="2544"/>
                </a:lnTo>
                <a:lnTo>
                  <a:pt x="2181" y="2538"/>
                </a:lnTo>
                <a:lnTo>
                  <a:pt x="2181" y="2538"/>
                </a:lnTo>
                <a:lnTo>
                  <a:pt x="2181" y="2538"/>
                </a:lnTo>
                <a:lnTo>
                  <a:pt x="2187" y="2533"/>
                </a:lnTo>
                <a:lnTo>
                  <a:pt x="2187" y="2533"/>
                </a:lnTo>
                <a:lnTo>
                  <a:pt x="2187" y="2533"/>
                </a:lnTo>
                <a:lnTo>
                  <a:pt x="2187" y="2527"/>
                </a:lnTo>
                <a:lnTo>
                  <a:pt x="2187" y="2527"/>
                </a:lnTo>
                <a:lnTo>
                  <a:pt x="2187" y="2527"/>
                </a:lnTo>
                <a:lnTo>
                  <a:pt x="2187" y="2527"/>
                </a:lnTo>
                <a:lnTo>
                  <a:pt x="2187" y="2527"/>
                </a:lnTo>
                <a:lnTo>
                  <a:pt x="2187" y="2527"/>
                </a:lnTo>
                <a:lnTo>
                  <a:pt x="2187" y="2527"/>
                </a:lnTo>
                <a:lnTo>
                  <a:pt x="2187" y="2527"/>
                </a:lnTo>
                <a:lnTo>
                  <a:pt x="2187" y="2527"/>
                </a:lnTo>
                <a:lnTo>
                  <a:pt x="2193" y="2521"/>
                </a:lnTo>
                <a:lnTo>
                  <a:pt x="2193" y="2521"/>
                </a:lnTo>
                <a:lnTo>
                  <a:pt x="2193" y="2521"/>
                </a:lnTo>
                <a:lnTo>
                  <a:pt x="2193" y="2521"/>
                </a:lnTo>
                <a:lnTo>
                  <a:pt x="2193" y="2521"/>
                </a:lnTo>
                <a:lnTo>
                  <a:pt x="2193" y="2521"/>
                </a:lnTo>
                <a:lnTo>
                  <a:pt x="2193" y="2515"/>
                </a:lnTo>
                <a:lnTo>
                  <a:pt x="2193" y="2509"/>
                </a:lnTo>
                <a:lnTo>
                  <a:pt x="2193" y="2509"/>
                </a:lnTo>
                <a:lnTo>
                  <a:pt x="2193" y="2509"/>
                </a:lnTo>
                <a:lnTo>
                  <a:pt x="2193" y="2509"/>
                </a:lnTo>
                <a:lnTo>
                  <a:pt x="2198" y="2509"/>
                </a:lnTo>
                <a:lnTo>
                  <a:pt x="2198" y="2509"/>
                </a:lnTo>
                <a:lnTo>
                  <a:pt x="2198" y="2509"/>
                </a:lnTo>
                <a:lnTo>
                  <a:pt x="2198" y="2509"/>
                </a:lnTo>
                <a:lnTo>
                  <a:pt x="2198" y="2509"/>
                </a:lnTo>
                <a:lnTo>
                  <a:pt x="2198" y="2509"/>
                </a:lnTo>
                <a:lnTo>
                  <a:pt x="2204" y="2509"/>
                </a:lnTo>
                <a:lnTo>
                  <a:pt x="2204" y="2503"/>
                </a:lnTo>
                <a:lnTo>
                  <a:pt x="2204" y="2503"/>
                </a:lnTo>
                <a:lnTo>
                  <a:pt x="2204" y="2503"/>
                </a:lnTo>
                <a:lnTo>
                  <a:pt x="2210" y="2503"/>
                </a:lnTo>
                <a:lnTo>
                  <a:pt x="2210" y="2503"/>
                </a:lnTo>
                <a:lnTo>
                  <a:pt x="2210" y="2503"/>
                </a:lnTo>
                <a:lnTo>
                  <a:pt x="2210" y="2503"/>
                </a:lnTo>
                <a:lnTo>
                  <a:pt x="2210" y="2509"/>
                </a:lnTo>
                <a:lnTo>
                  <a:pt x="2210" y="2509"/>
                </a:lnTo>
                <a:lnTo>
                  <a:pt x="2210" y="2509"/>
                </a:lnTo>
                <a:lnTo>
                  <a:pt x="2210" y="2509"/>
                </a:lnTo>
                <a:lnTo>
                  <a:pt x="2210" y="2503"/>
                </a:lnTo>
                <a:lnTo>
                  <a:pt x="2210" y="2503"/>
                </a:lnTo>
                <a:lnTo>
                  <a:pt x="2210" y="2503"/>
                </a:lnTo>
                <a:lnTo>
                  <a:pt x="2210" y="2503"/>
                </a:lnTo>
                <a:lnTo>
                  <a:pt x="2216" y="2503"/>
                </a:lnTo>
                <a:lnTo>
                  <a:pt x="2222" y="2503"/>
                </a:lnTo>
                <a:lnTo>
                  <a:pt x="2222" y="2503"/>
                </a:lnTo>
                <a:lnTo>
                  <a:pt x="2228" y="2503"/>
                </a:lnTo>
                <a:lnTo>
                  <a:pt x="2228" y="2497"/>
                </a:lnTo>
                <a:lnTo>
                  <a:pt x="2228" y="2497"/>
                </a:lnTo>
                <a:lnTo>
                  <a:pt x="2228" y="2497"/>
                </a:lnTo>
                <a:lnTo>
                  <a:pt x="2228" y="2497"/>
                </a:lnTo>
                <a:lnTo>
                  <a:pt x="2228" y="2497"/>
                </a:lnTo>
                <a:lnTo>
                  <a:pt x="2228" y="2491"/>
                </a:lnTo>
                <a:lnTo>
                  <a:pt x="2228" y="2491"/>
                </a:lnTo>
                <a:lnTo>
                  <a:pt x="2228" y="2491"/>
                </a:lnTo>
                <a:lnTo>
                  <a:pt x="2228" y="2491"/>
                </a:lnTo>
                <a:lnTo>
                  <a:pt x="2228" y="2491"/>
                </a:lnTo>
                <a:lnTo>
                  <a:pt x="2234" y="2491"/>
                </a:lnTo>
                <a:lnTo>
                  <a:pt x="2234" y="2491"/>
                </a:lnTo>
                <a:lnTo>
                  <a:pt x="2234" y="2491"/>
                </a:lnTo>
                <a:lnTo>
                  <a:pt x="2234" y="2491"/>
                </a:lnTo>
                <a:lnTo>
                  <a:pt x="2240" y="2491"/>
                </a:lnTo>
                <a:lnTo>
                  <a:pt x="2240" y="2491"/>
                </a:lnTo>
                <a:lnTo>
                  <a:pt x="2240" y="2497"/>
                </a:lnTo>
                <a:lnTo>
                  <a:pt x="2240" y="2497"/>
                </a:lnTo>
                <a:lnTo>
                  <a:pt x="2246" y="2497"/>
                </a:lnTo>
                <a:lnTo>
                  <a:pt x="2252" y="2497"/>
                </a:lnTo>
                <a:lnTo>
                  <a:pt x="2252" y="2497"/>
                </a:lnTo>
                <a:lnTo>
                  <a:pt x="2252" y="2503"/>
                </a:lnTo>
                <a:lnTo>
                  <a:pt x="2264" y="2503"/>
                </a:lnTo>
                <a:lnTo>
                  <a:pt x="2264" y="2503"/>
                </a:lnTo>
                <a:lnTo>
                  <a:pt x="2264" y="2503"/>
                </a:lnTo>
                <a:lnTo>
                  <a:pt x="2264" y="2503"/>
                </a:lnTo>
                <a:lnTo>
                  <a:pt x="2270" y="2497"/>
                </a:lnTo>
                <a:lnTo>
                  <a:pt x="2270" y="2497"/>
                </a:lnTo>
                <a:lnTo>
                  <a:pt x="2270" y="2503"/>
                </a:lnTo>
                <a:lnTo>
                  <a:pt x="2270" y="2503"/>
                </a:lnTo>
                <a:lnTo>
                  <a:pt x="2270" y="2503"/>
                </a:lnTo>
                <a:lnTo>
                  <a:pt x="2275" y="2503"/>
                </a:lnTo>
                <a:lnTo>
                  <a:pt x="2275" y="2503"/>
                </a:lnTo>
                <a:lnTo>
                  <a:pt x="2275" y="2503"/>
                </a:lnTo>
                <a:lnTo>
                  <a:pt x="2275" y="2503"/>
                </a:lnTo>
                <a:lnTo>
                  <a:pt x="2275" y="2497"/>
                </a:lnTo>
                <a:lnTo>
                  <a:pt x="2275" y="2503"/>
                </a:lnTo>
                <a:lnTo>
                  <a:pt x="2281" y="2503"/>
                </a:lnTo>
                <a:lnTo>
                  <a:pt x="2281" y="2503"/>
                </a:lnTo>
                <a:lnTo>
                  <a:pt x="2281" y="2497"/>
                </a:lnTo>
                <a:lnTo>
                  <a:pt x="2281" y="2497"/>
                </a:lnTo>
                <a:lnTo>
                  <a:pt x="2281" y="2497"/>
                </a:lnTo>
                <a:lnTo>
                  <a:pt x="2281" y="2503"/>
                </a:lnTo>
                <a:lnTo>
                  <a:pt x="2281" y="2503"/>
                </a:lnTo>
                <a:lnTo>
                  <a:pt x="2287" y="2503"/>
                </a:lnTo>
                <a:lnTo>
                  <a:pt x="2299" y="2503"/>
                </a:lnTo>
                <a:lnTo>
                  <a:pt x="2305" y="2503"/>
                </a:lnTo>
                <a:lnTo>
                  <a:pt x="2305" y="2503"/>
                </a:lnTo>
                <a:lnTo>
                  <a:pt x="2311" y="2503"/>
                </a:lnTo>
                <a:lnTo>
                  <a:pt x="2311" y="2503"/>
                </a:lnTo>
                <a:lnTo>
                  <a:pt x="2311" y="2503"/>
                </a:lnTo>
                <a:lnTo>
                  <a:pt x="2311" y="2497"/>
                </a:lnTo>
                <a:lnTo>
                  <a:pt x="2311" y="2497"/>
                </a:lnTo>
                <a:lnTo>
                  <a:pt x="2311" y="2497"/>
                </a:lnTo>
                <a:lnTo>
                  <a:pt x="2311" y="2503"/>
                </a:lnTo>
                <a:lnTo>
                  <a:pt x="2311" y="2503"/>
                </a:lnTo>
                <a:lnTo>
                  <a:pt x="2311" y="2503"/>
                </a:lnTo>
                <a:lnTo>
                  <a:pt x="2311" y="2503"/>
                </a:lnTo>
                <a:lnTo>
                  <a:pt x="2311" y="2503"/>
                </a:lnTo>
                <a:lnTo>
                  <a:pt x="2311" y="2503"/>
                </a:lnTo>
                <a:lnTo>
                  <a:pt x="2311" y="2503"/>
                </a:lnTo>
                <a:lnTo>
                  <a:pt x="2311" y="2503"/>
                </a:lnTo>
                <a:lnTo>
                  <a:pt x="2317" y="2503"/>
                </a:lnTo>
                <a:lnTo>
                  <a:pt x="2317" y="2503"/>
                </a:lnTo>
                <a:lnTo>
                  <a:pt x="2317" y="2503"/>
                </a:lnTo>
                <a:lnTo>
                  <a:pt x="2317" y="2503"/>
                </a:lnTo>
                <a:lnTo>
                  <a:pt x="2317" y="2503"/>
                </a:lnTo>
                <a:lnTo>
                  <a:pt x="2323" y="2503"/>
                </a:lnTo>
                <a:lnTo>
                  <a:pt x="2323" y="2503"/>
                </a:lnTo>
                <a:lnTo>
                  <a:pt x="2323" y="2503"/>
                </a:lnTo>
                <a:lnTo>
                  <a:pt x="2323" y="2503"/>
                </a:lnTo>
                <a:lnTo>
                  <a:pt x="2323" y="2503"/>
                </a:lnTo>
                <a:lnTo>
                  <a:pt x="2323" y="2503"/>
                </a:lnTo>
                <a:lnTo>
                  <a:pt x="2323" y="2503"/>
                </a:lnTo>
                <a:lnTo>
                  <a:pt x="2323" y="2503"/>
                </a:lnTo>
                <a:lnTo>
                  <a:pt x="2323" y="2509"/>
                </a:lnTo>
                <a:lnTo>
                  <a:pt x="2323" y="2509"/>
                </a:lnTo>
                <a:lnTo>
                  <a:pt x="2329" y="2509"/>
                </a:lnTo>
                <a:lnTo>
                  <a:pt x="2329" y="2515"/>
                </a:lnTo>
                <a:lnTo>
                  <a:pt x="2329" y="2515"/>
                </a:lnTo>
                <a:lnTo>
                  <a:pt x="2329" y="2515"/>
                </a:lnTo>
                <a:lnTo>
                  <a:pt x="2329" y="2515"/>
                </a:lnTo>
                <a:lnTo>
                  <a:pt x="2329" y="2521"/>
                </a:lnTo>
                <a:lnTo>
                  <a:pt x="2335" y="2521"/>
                </a:lnTo>
                <a:lnTo>
                  <a:pt x="2335" y="2521"/>
                </a:lnTo>
                <a:lnTo>
                  <a:pt x="2335" y="2521"/>
                </a:lnTo>
                <a:lnTo>
                  <a:pt x="2335" y="2521"/>
                </a:lnTo>
                <a:lnTo>
                  <a:pt x="2335" y="2521"/>
                </a:lnTo>
                <a:lnTo>
                  <a:pt x="2335" y="2521"/>
                </a:lnTo>
                <a:lnTo>
                  <a:pt x="2335" y="2521"/>
                </a:lnTo>
                <a:lnTo>
                  <a:pt x="2341" y="2521"/>
                </a:lnTo>
                <a:lnTo>
                  <a:pt x="2341" y="2521"/>
                </a:lnTo>
                <a:lnTo>
                  <a:pt x="2341" y="2521"/>
                </a:lnTo>
                <a:lnTo>
                  <a:pt x="2347" y="2521"/>
                </a:lnTo>
                <a:lnTo>
                  <a:pt x="2341" y="2527"/>
                </a:lnTo>
                <a:lnTo>
                  <a:pt x="2347" y="2533"/>
                </a:lnTo>
                <a:lnTo>
                  <a:pt x="2347" y="2527"/>
                </a:lnTo>
                <a:lnTo>
                  <a:pt x="2347" y="2527"/>
                </a:lnTo>
                <a:lnTo>
                  <a:pt x="2347" y="2527"/>
                </a:lnTo>
                <a:lnTo>
                  <a:pt x="2347" y="2527"/>
                </a:lnTo>
                <a:lnTo>
                  <a:pt x="2347" y="2527"/>
                </a:lnTo>
                <a:lnTo>
                  <a:pt x="2347" y="2527"/>
                </a:lnTo>
                <a:lnTo>
                  <a:pt x="2347" y="2533"/>
                </a:lnTo>
                <a:lnTo>
                  <a:pt x="2347" y="2533"/>
                </a:lnTo>
                <a:lnTo>
                  <a:pt x="2347" y="2533"/>
                </a:lnTo>
                <a:lnTo>
                  <a:pt x="2353" y="2533"/>
                </a:lnTo>
                <a:lnTo>
                  <a:pt x="2353" y="2533"/>
                </a:lnTo>
                <a:lnTo>
                  <a:pt x="2353" y="2533"/>
                </a:lnTo>
                <a:lnTo>
                  <a:pt x="2353" y="2538"/>
                </a:lnTo>
                <a:lnTo>
                  <a:pt x="2353" y="2538"/>
                </a:lnTo>
                <a:lnTo>
                  <a:pt x="2358" y="2538"/>
                </a:lnTo>
                <a:lnTo>
                  <a:pt x="2358" y="2538"/>
                </a:lnTo>
                <a:lnTo>
                  <a:pt x="2358" y="2538"/>
                </a:lnTo>
                <a:lnTo>
                  <a:pt x="2358" y="2533"/>
                </a:lnTo>
                <a:lnTo>
                  <a:pt x="2358" y="2533"/>
                </a:lnTo>
                <a:lnTo>
                  <a:pt x="2364" y="2533"/>
                </a:lnTo>
                <a:lnTo>
                  <a:pt x="2364" y="2533"/>
                </a:lnTo>
                <a:lnTo>
                  <a:pt x="2364" y="2533"/>
                </a:lnTo>
                <a:lnTo>
                  <a:pt x="2364" y="2533"/>
                </a:lnTo>
                <a:lnTo>
                  <a:pt x="2364" y="2533"/>
                </a:lnTo>
                <a:lnTo>
                  <a:pt x="2364" y="2533"/>
                </a:lnTo>
                <a:lnTo>
                  <a:pt x="2364" y="2533"/>
                </a:lnTo>
                <a:lnTo>
                  <a:pt x="2364" y="2533"/>
                </a:lnTo>
                <a:lnTo>
                  <a:pt x="2364" y="2533"/>
                </a:lnTo>
                <a:lnTo>
                  <a:pt x="2364" y="2533"/>
                </a:lnTo>
                <a:lnTo>
                  <a:pt x="2364" y="2527"/>
                </a:lnTo>
                <a:lnTo>
                  <a:pt x="2364" y="2527"/>
                </a:lnTo>
                <a:lnTo>
                  <a:pt x="2364" y="2527"/>
                </a:lnTo>
                <a:lnTo>
                  <a:pt x="2370" y="2521"/>
                </a:lnTo>
                <a:lnTo>
                  <a:pt x="2370" y="2521"/>
                </a:lnTo>
                <a:lnTo>
                  <a:pt x="2370" y="2521"/>
                </a:lnTo>
                <a:lnTo>
                  <a:pt x="2370" y="2521"/>
                </a:lnTo>
                <a:lnTo>
                  <a:pt x="2370" y="2521"/>
                </a:lnTo>
                <a:lnTo>
                  <a:pt x="2370" y="2521"/>
                </a:lnTo>
                <a:lnTo>
                  <a:pt x="2370" y="2527"/>
                </a:lnTo>
                <a:lnTo>
                  <a:pt x="2370" y="2527"/>
                </a:lnTo>
                <a:lnTo>
                  <a:pt x="2370" y="2527"/>
                </a:lnTo>
                <a:lnTo>
                  <a:pt x="2370" y="2533"/>
                </a:lnTo>
                <a:lnTo>
                  <a:pt x="2370" y="2533"/>
                </a:lnTo>
                <a:lnTo>
                  <a:pt x="2370" y="2533"/>
                </a:lnTo>
                <a:lnTo>
                  <a:pt x="2370" y="2533"/>
                </a:lnTo>
                <a:lnTo>
                  <a:pt x="2376" y="2533"/>
                </a:lnTo>
                <a:lnTo>
                  <a:pt x="2370" y="2538"/>
                </a:lnTo>
                <a:lnTo>
                  <a:pt x="2370" y="2538"/>
                </a:lnTo>
                <a:lnTo>
                  <a:pt x="2370" y="2538"/>
                </a:lnTo>
                <a:lnTo>
                  <a:pt x="2370" y="2538"/>
                </a:lnTo>
                <a:lnTo>
                  <a:pt x="2364" y="2538"/>
                </a:lnTo>
                <a:lnTo>
                  <a:pt x="2364" y="2538"/>
                </a:lnTo>
                <a:lnTo>
                  <a:pt x="2358" y="2538"/>
                </a:lnTo>
                <a:lnTo>
                  <a:pt x="2358" y="2538"/>
                </a:lnTo>
                <a:lnTo>
                  <a:pt x="2358" y="2538"/>
                </a:lnTo>
                <a:lnTo>
                  <a:pt x="2358" y="2538"/>
                </a:lnTo>
                <a:lnTo>
                  <a:pt x="2358" y="2544"/>
                </a:lnTo>
                <a:lnTo>
                  <a:pt x="2358" y="2544"/>
                </a:lnTo>
                <a:lnTo>
                  <a:pt x="2364" y="2544"/>
                </a:lnTo>
                <a:lnTo>
                  <a:pt x="2364" y="2544"/>
                </a:lnTo>
                <a:lnTo>
                  <a:pt x="2364" y="2550"/>
                </a:lnTo>
                <a:lnTo>
                  <a:pt x="2364" y="2550"/>
                </a:lnTo>
                <a:lnTo>
                  <a:pt x="2364" y="2550"/>
                </a:lnTo>
                <a:lnTo>
                  <a:pt x="2364" y="2550"/>
                </a:lnTo>
                <a:lnTo>
                  <a:pt x="2364" y="2550"/>
                </a:lnTo>
                <a:lnTo>
                  <a:pt x="2364" y="2550"/>
                </a:lnTo>
                <a:lnTo>
                  <a:pt x="2364" y="2550"/>
                </a:lnTo>
                <a:lnTo>
                  <a:pt x="2370" y="2556"/>
                </a:lnTo>
                <a:lnTo>
                  <a:pt x="2376" y="2556"/>
                </a:lnTo>
                <a:lnTo>
                  <a:pt x="2376" y="2556"/>
                </a:lnTo>
                <a:lnTo>
                  <a:pt x="2376" y="2562"/>
                </a:lnTo>
                <a:lnTo>
                  <a:pt x="2382" y="2562"/>
                </a:lnTo>
                <a:lnTo>
                  <a:pt x="2382" y="2562"/>
                </a:lnTo>
                <a:lnTo>
                  <a:pt x="2388" y="2562"/>
                </a:lnTo>
                <a:lnTo>
                  <a:pt x="2388" y="2568"/>
                </a:lnTo>
                <a:lnTo>
                  <a:pt x="2388" y="2574"/>
                </a:lnTo>
                <a:lnTo>
                  <a:pt x="2388" y="2574"/>
                </a:lnTo>
                <a:lnTo>
                  <a:pt x="2394" y="2580"/>
                </a:lnTo>
                <a:lnTo>
                  <a:pt x="2394" y="2580"/>
                </a:lnTo>
                <a:lnTo>
                  <a:pt x="2394" y="2580"/>
                </a:lnTo>
                <a:lnTo>
                  <a:pt x="2394" y="2580"/>
                </a:lnTo>
                <a:lnTo>
                  <a:pt x="2394" y="2580"/>
                </a:lnTo>
                <a:lnTo>
                  <a:pt x="2400" y="2580"/>
                </a:lnTo>
                <a:lnTo>
                  <a:pt x="2400" y="2580"/>
                </a:lnTo>
                <a:lnTo>
                  <a:pt x="2400" y="2580"/>
                </a:lnTo>
                <a:lnTo>
                  <a:pt x="2400" y="2586"/>
                </a:lnTo>
                <a:lnTo>
                  <a:pt x="2400" y="2586"/>
                </a:lnTo>
                <a:lnTo>
                  <a:pt x="2400" y="2592"/>
                </a:lnTo>
                <a:lnTo>
                  <a:pt x="2400" y="2592"/>
                </a:lnTo>
                <a:lnTo>
                  <a:pt x="2400" y="2592"/>
                </a:lnTo>
                <a:lnTo>
                  <a:pt x="2400" y="2592"/>
                </a:lnTo>
                <a:lnTo>
                  <a:pt x="2400" y="2598"/>
                </a:lnTo>
                <a:lnTo>
                  <a:pt x="2400" y="2598"/>
                </a:lnTo>
                <a:lnTo>
                  <a:pt x="2400" y="2598"/>
                </a:lnTo>
                <a:lnTo>
                  <a:pt x="2400" y="2598"/>
                </a:lnTo>
                <a:lnTo>
                  <a:pt x="2400" y="2604"/>
                </a:lnTo>
                <a:lnTo>
                  <a:pt x="2400" y="2604"/>
                </a:lnTo>
                <a:lnTo>
                  <a:pt x="2406" y="2604"/>
                </a:lnTo>
                <a:lnTo>
                  <a:pt x="2406" y="2604"/>
                </a:lnTo>
                <a:lnTo>
                  <a:pt x="2406" y="2604"/>
                </a:lnTo>
                <a:lnTo>
                  <a:pt x="2406" y="2604"/>
                </a:lnTo>
                <a:lnTo>
                  <a:pt x="2406" y="2604"/>
                </a:lnTo>
                <a:lnTo>
                  <a:pt x="2406" y="2604"/>
                </a:lnTo>
                <a:lnTo>
                  <a:pt x="2406" y="2610"/>
                </a:lnTo>
                <a:lnTo>
                  <a:pt x="2406" y="2610"/>
                </a:lnTo>
                <a:lnTo>
                  <a:pt x="2406" y="2610"/>
                </a:lnTo>
                <a:lnTo>
                  <a:pt x="2406" y="2610"/>
                </a:lnTo>
                <a:lnTo>
                  <a:pt x="2406" y="2610"/>
                </a:lnTo>
                <a:lnTo>
                  <a:pt x="2406" y="2610"/>
                </a:lnTo>
                <a:lnTo>
                  <a:pt x="2406" y="2610"/>
                </a:lnTo>
                <a:lnTo>
                  <a:pt x="2412" y="2610"/>
                </a:lnTo>
                <a:lnTo>
                  <a:pt x="2412" y="2610"/>
                </a:lnTo>
                <a:lnTo>
                  <a:pt x="2412" y="2610"/>
                </a:lnTo>
                <a:lnTo>
                  <a:pt x="2412" y="2610"/>
                </a:lnTo>
                <a:lnTo>
                  <a:pt x="2412" y="2616"/>
                </a:lnTo>
                <a:lnTo>
                  <a:pt x="2412" y="2616"/>
                </a:lnTo>
                <a:lnTo>
                  <a:pt x="2412" y="2616"/>
                </a:lnTo>
                <a:lnTo>
                  <a:pt x="2412" y="2627"/>
                </a:lnTo>
                <a:lnTo>
                  <a:pt x="2418" y="2627"/>
                </a:lnTo>
                <a:lnTo>
                  <a:pt x="2418" y="2633"/>
                </a:lnTo>
                <a:lnTo>
                  <a:pt x="2418" y="2633"/>
                </a:lnTo>
                <a:lnTo>
                  <a:pt x="2418" y="2633"/>
                </a:lnTo>
                <a:lnTo>
                  <a:pt x="2418" y="2633"/>
                </a:lnTo>
                <a:lnTo>
                  <a:pt x="2424" y="2639"/>
                </a:lnTo>
                <a:lnTo>
                  <a:pt x="2424" y="2639"/>
                </a:lnTo>
                <a:lnTo>
                  <a:pt x="2424" y="2639"/>
                </a:lnTo>
                <a:lnTo>
                  <a:pt x="2424" y="2639"/>
                </a:lnTo>
                <a:lnTo>
                  <a:pt x="2424" y="2639"/>
                </a:lnTo>
                <a:lnTo>
                  <a:pt x="2424" y="2639"/>
                </a:lnTo>
                <a:lnTo>
                  <a:pt x="2424" y="2645"/>
                </a:lnTo>
                <a:lnTo>
                  <a:pt x="2424" y="2645"/>
                </a:lnTo>
                <a:lnTo>
                  <a:pt x="2424" y="2645"/>
                </a:lnTo>
                <a:lnTo>
                  <a:pt x="2430" y="2645"/>
                </a:lnTo>
                <a:lnTo>
                  <a:pt x="2430" y="2651"/>
                </a:lnTo>
                <a:lnTo>
                  <a:pt x="2430" y="2651"/>
                </a:lnTo>
                <a:lnTo>
                  <a:pt x="2430" y="2651"/>
                </a:lnTo>
                <a:lnTo>
                  <a:pt x="2430" y="2651"/>
                </a:lnTo>
                <a:lnTo>
                  <a:pt x="2430" y="2651"/>
                </a:lnTo>
                <a:lnTo>
                  <a:pt x="2430" y="2651"/>
                </a:lnTo>
                <a:lnTo>
                  <a:pt x="2430" y="2651"/>
                </a:lnTo>
                <a:lnTo>
                  <a:pt x="2430" y="2651"/>
                </a:lnTo>
                <a:lnTo>
                  <a:pt x="2430" y="2657"/>
                </a:lnTo>
                <a:lnTo>
                  <a:pt x="2430" y="2657"/>
                </a:lnTo>
                <a:lnTo>
                  <a:pt x="2430" y="2663"/>
                </a:lnTo>
                <a:lnTo>
                  <a:pt x="2435" y="2669"/>
                </a:lnTo>
                <a:lnTo>
                  <a:pt x="2435" y="2669"/>
                </a:lnTo>
                <a:lnTo>
                  <a:pt x="2435" y="2669"/>
                </a:lnTo>
                <a:lnTo>
                  <a:pt x="2435" y="2669"/>
                </a:lnTo>
                <a:lnTo>
                  <a:pt x="2435" y="2669"/>
                </a:lnTo>
                <a:lnTo>
                  <a:pt x="2435" y="2675"/>
                </a:lnTo>
                <a:lnTo>
                  <a:pt x="2435" y="2675"/>
                </a:lnTo>
                <a:lnTo>
                  <a:pt x="2435" y="2675"/>
                </a:lnTo>
                <a:lnTo>
                  <a:pt x="2441" y="2681"/>
                </a:lnTo>
                <a:lnTo>
                  <a:pt x="2441" y="2681"/>
                </a:lnTo>
                <a:lnTo>
                  <a:pt x="2441" y="2681"/>
                </a:lnTo>
                <a:lnTo>
                  <a:pt x="2441" y="2681"/>
                </a:lnTo>
                <a:lnTo>
                  <a:pt x="2441" y="2681"/>
                </a:lnTo>
                <a:lnTo>
                  <a:pt x="2441" y="2681"/>
                </a:lnTo>
                <a:lnTo>
                  <a:pt x="2447" y="2681"/>
                </a:lnTo>
                <a:lnTo>
                  <a:pt x="2447" y="2681"/>
                </a:lnTo>
                <a:lnTo>
                  <a:pt x="2459" y="2687"/>
                </a:lnTo>
                <a:lnTo>
                  <a:pt x="2459" y="2693"/>
                </a:lnTo>
                <a:lnTo>
                  <a:pt x="2459" y="2693"/>
                </a:lnTo>
                <a:lnTo>
                  <a:pt x="2459" y="2693"/>
                </a:lnTo>
                <a:lnTo>
                  <a:pt x="2459" y="2693"/>
                </a:lnTo>
                <a:lnTo>
                  <a:pt x="2459" y="2699"/>
                </a:lnTo>
                <a:lnTo>
                  <a:pt x="2459" y="2699"/>
                </a:lnTo>
                <a:lnTo>
                  <a:pt x="2465" y="2699"/>
                </a:lnTo>
                <a:lnTo>
                  <a:pt x="2465" y="2699"/>
                </a:lnTo>
                <a:lnTo>
                  <a:pt x="2465" y="2699"/>
                </a:lnTo>
                <a:lnTo>
                  <a:pt x="2465" y="2699"/>
                </a:lnTo>
                <a:lnTo>
                  <a:pt x="2465" y="2699"/>
                </a:lnTo>
                <a:lnTo>
                  <a:pt x="2465" y="2699"/>
                </a:lnTo>
                <a:lnTo>
                  <a:pt x="2465" y="2705"/>
                </a:lnTo>
                <a:lnTo>
                  <a:pt x="2465" y="2705"/>
                </a:lnTo>
                <a:lnTo>
                  <a:pt x="2465" y="2705"/>
                </a:lnTo>
                <a:lnTo>
                  <a:pt x="2465" y="2705"/>
                </a:lnTo>
                <a:lnTo>
                  <a:pt x="2465" y="2705"/>
                </a:lnTo>
                <a:lnTo>
                  <a:pt x="2465" y="2710"/>
                </a:lnTo>
                <a:lnTo>
                  <a:pt x="2471" y="2710"/>
                </a:lnTo>
                <a:lnTo>
                  <a:pt x="2471" y="2710"/>
                </a:lnTo>
                <a:lnTo>
                  <a:pt x="2471" y="2710"/>
                </a:lnTo>
                <a:lnTo>
                  <a:pt x="2471" y="2710"/>
                </a:lnTo>
                <a:lnTo>
                  <a:pt x="2471" y="2716"/>
                </a:lnTo>
                <a:lnTo>
                  <a:pt x="2471" y="2716"/>
                </a:lnTo>
                <a:lnTo>
                  <a:pt x="2471" y="2716"/>
                </a:lnTo>
                <a:lnTo>
                  <a:pt x="2477" y="2716"/>
                </a:lnTo>
                <a:lnTo>
                  <a:pt x="2477" y="2716"/>
                </a:lnTo>
                <a:lnTo>
                  <a:pt x="2477" y="2716"/>
                </a:lnTo>
                <a:lnTo>
                  <a:pt x="2477" y="2716"/>
                </a:lnTo>
                <a:lnTo>
                  <a:pt x="2477" y="2716"/>
                </a:lnTo>
                <a:lnTo>
                  <a:pt x="2477" y="2722"/>
                </a:lnTo>
                <a:lnTo>
                  <a:pt x="2477" y="2722"/>
                </a:lnTo>
                <a:lnTo>
                  <a:pt x="2477" y="2722"/>
                </a:lnTo>
                <a:lnTo>
                  <a:pt x="2477" y="2722"/>
                </a:lnTo>
                <a:lnTo>
                  <a:pt x="2477" y="2722"/>
                </a:lnTo>
                <a:lnTo>
                  <a:pt x="2477" y="2722"/>
                </a:lnTo>
                <a:lnTo>
                  <a:pt x="2477" y="2722"/>
                </a:lnTo>
                <a:lnTo>
                  <a:pt x="2477" y="2722"/>
                </a:lnTo>
                <a:lnTo>
                  <a:pt x="2477" y="2728"/>
                </a:lnTo>
                <a:lnTo>
                  <a:pt x="2477" y="2728"/>
                </a:lnTo>
                <a:lnTo>
                  <a:pt x="2477" y="2728"/>
                </a:lnTo>
                <a:lnTo>
                  <a:pt x="2477" y="2728"/>
                </a:lnTo>
                <a:lnTo>
                  <a:pt x="2477" y="2728"/>
                </a:lnTo>
                <a:lnTo>
                  <a:pt x="2477" y="2728"/>
                </a:lnTo>
                <a:lnTo>
                  <a:pt x="2477" y="2728"/>
                </a:lnTo>
                <a:lnTo>
                  <a:pt x="2483" y="2728"/>
                </a:lnTo>
                <a:lnTo>
                  <a:pt x="2483" y="2734"/>
                </a:lnTo>
                <a:lnTo>
                  <a:pt x="2483" y="2734"/>
                </a:lnTo>
                <a:lnTo>
                  <a:pt x="2483" y="2734"/>
                </a:lnTo>
                <a:lnTo>
                  <a:pt x="2483" y="2734"/>
                </a:lnTo>
                <a:lnTo>
                  <a:pt x="2483" y="2734"/>
                </a:lnTo>
                <a:lnTo>
                  <a:pt x="2483" y="2734"/>
                </a:lnTo>
                <a:lnTo>
                  <a:pt x="2489" y="2734"/>
                </a:lnTo>
                <a:lnTo>
                  <a:pt x="2489" y="2734"/>
                </a:lnTo>
                <a:lnTo>
                  <a:pt x="2489" y="2734"/>
                </a:lnTo>
                <a:lnTo>
                  <a:pt x="2489" y="2740"/>
                </a:lnTo>
                <a:lnTo>
                  <a:pt x="2489" y="2740"/>
                </a:lnTo>
                <a:lnTo>
                  <a:pt x="2489" y="2740"/>
                </a:lnTo>
                <a:lnTo>
                  <a:pt x="2489" y="2740"/>
                </a:lnTo>
                <a:lnTo>
                  <a:pt x="2489" y="2740"/>
                </a:lnTo>
                <a:lnTo>
                  <a:pt x="2489" y="2740"/>
                </a:lnTo>
                <a:lnTo>
                  <a:pt x="2489" y="2740"/>
                </a:lnTo>
                <a:lnTo>
                  <a:pt x="2489" y="2740"/>
                </a:lnTo>
                <a:lnTo>
                  <a:pt x="2495" y="2746"/>
                </a:lnTo>
                <a:lnTo>
                  <a:pt x="2495" y="2746"/>
                </a:lnTo>
                <a:lnTo>
                  <a:pt x="2495" y="2746"/>
                </a:lnTo>
                <a:lnTo>
                  <a:pt x="2495" y="2746"/>
                </a:lnTo>
                <a:lnTo>
                  <a:pt x="2495" y="2746"/>
                </a:lnTo>
                <a:lnTo>
                  <a:pt x="2495" y="2746"/>
                </a:lnTo>
                <a:lnTo>
                  <a:pt x="2501" y="2746"/>
                </a:lnTo>
                <a:lnTo>
                  <a:pt x="2501" y="2746"/>
                </a:lnTo>
                <a:lnTo>
                  <a:pt x="2501" y="2746"/>
                </a:lnTo>
                <a:lnTo>
                  <a:pt x="2501" y="2746"/>
                </a:lnTo>
                <a:lnTo>
                  <a:pt x="2501" y="2746"/>
                </a:lnTo>
                <a:lnTo>
                  <a:pt x="2501" y="2746"/>
                </a:lnTo>
                <a:lnTo>
                  <a:pt x="2501" y="2746"/>
                </a:lnTo>
                <a:lnTo>
                  <a:pt x="2501" y="2746"/>
                </a:lnTo>
                <a:lnTo>
                  <a:pt x="2507" y="2746"/>
                </a:lnTo>
                <a:lnTo>
                  <a:pt x="2507" y="2746"/>
                </a:lnTo>
                <a:lnTo>
                  <a:pt x="2507" y="2752"/>
                </a:lnTo>
                <a:lnTo>
                  <a:pt x="2507" y="2752"/>
                </a:lnTo>
                <a:lnTo>
                  <a:pt x="2513" y="2752"/>
                </a:lnTo>
                <a:lnTo>
                  <a:pt x="2513" y="2752"/>
                </a:lnTo>
                <a:lnTo>
                  <a:pt x="2513" y="2752"/>
                </a:lnTo>
                <a:lnTo>
                  <a:pt x="2513" y="2758"/>
                </a:lnTo>
                <a:lnTo>
                  <a:pt x="2513" y="2758"/>
                </a:lnTo>
                <a:lnTo>
                  <a:pt x="2513" y="2764"/>
                </a:lnTo>
                <a:lnTo>
                  <a:pt x="2513" y="2764"/>
                </a:lnTo>
                <a:lnTo>
                  <a:pt x="2513" y="2764"/>
                </a:lnTo>
                <a:lnTo>
                  <a:pt x="2513" y="2764"/>
                </a:lnTo>
                <a:lnTo>
                  <a:pt x="2513" y="2764"/>
                </a:lnTo>
                <a:lnTo>
                  <a:pt x="2518" y="2764"/>
                </a:lnTo>
                <a:lnTo>
                  <a:pt x="2518" y="2764"/>
                </a:lnTo>
                <a:lnTo>
                  <a:pt x="2518" y="2764"/>
                </a:lnTo>
                <a:lnTo>
                  <a:pt x="2518" y="2770"/>
                </a:lnTo>
                <a:lnTo>
                  <a:pt x="2518" y="2770"/>
                </a:lnTo>
                <a:lnTo>
                  <a:pt x="2518" y="2770"/>
                </a:lnTo>
                <a:lnTo>
                  <a:pt x="2518" y="2776"/>
                </a:lnTo>
                <a:lnTo>
                  <a:pt x="2513" y="2776"/>
                </a:lnTo>
                <a:lnTo>
                  <a:pt x="2513" y="2776"/>
                </a:lnTo>
                <a:lnTo>
                  <a:pt x="2513" y="2776"/>
                </a:lnTo>
                <a:lnTo>
                  <a:pt x="2513" y="2782"/>
                </a:lnTo>
                <a:lnTo>
                  <a:pt x="2513" y="2782"/>
                </a:lnTo>
                <a:lnTo>
                  <a:pt x="2513" y="2782"/>
                </a:lnTo>
                <a:lnTo>
                  <a:pt x="2513" y="2782"/>
                </a:lnTo>
                <a:lnTo>
                  <a:pt x="2513" y="2782"/>
                </a:lnTo>
                <a:lnTo>
                  <a:pt x="2513" y="2782"/>
                </a:lnTo>
                <a:lnTo>
                  <a:pt x="2513" y="2782"/>
                </a:lnTo>
                <a:lnTo>
                  <a:pt x="2513" y="2782"/>
                </a:lnTo>
                <a:lnTo>
                  <a:pt x="2513" y="2788"/>
                </a:lnTo>
                <a:lnTo>
                  <a:pt x="2513" y="2788"/>
                </a:lnTo>
                <a:lnTo>
                  <a:pt x="2513" y="2788"/>
                </a:lnTo>
                <a:lnTo>
                  <a:pt x="2513" y="2788"/>
                </a:lnTo>
                <a:lnTo>
                  <a:pt x="2513" y="2788"/>
                </a:lnTo>
                <a:lnTo>
                  <a:pt x="2518" y="2788"/>
                </a:lnTo>
                <a:lnTo>
                  <a:pt x="2518" y="2788"/>
                </a:lnTo>
                <a:lnTo>
                  <a:pt x="2518" y="2788"/>
                </a:lnTo>
                <a:lnTo>
                  <a:pt x="2518" y="2788"/>
                </a:lnTo>
                <a:lnTo>
                  <a:pt x="2518" y="2794"/>
                </a:lnTo>
                <a:lnTo>
                  <a:pt x="2518" y="2794"/>
                </a:lnTo>
                <a:lnTo>
                  <a:pt x="2518" y="2794"/>
                </a:lnTo>
                <a:lnTo>
                  <a:pt x="2518" y="2799"/>
                </a:lnTo>
                <a:lnTo>
                  <a:pt x="2518" y="2799"/>
                </a:lnTo>
                <a:lnTo>
                  <a:pt x="2518" y="2799"/>
                </a:lnTo>
                <a:lnTo>
                  <a:pt x="2518" y="2805"/>
                </a:lnTo>
                <a:lnTo>
                  <a:pt x="2518" y="2805"/>
                </a:lnTo>
                <a:lnTo>
                  <a:pt x="2518" y="2805"/>
                </a:lnTo>
                <a:lnTo>
                  <a:pt x="2518" y="2805"/>
                </a:lnTo>
                <a:lnTo>
                  <a:pt x="2518" y="2805"/>
                </a:lnTo>
                <a:lnTo>
                  <a:pt x="2518" y="2805"/>
                </a:lnTo>
                <a:lnTo>
                  <a:pt x="2518" y="2805"/>
                </a:lnTo>
                <a:lnTo>
                  <a:pt x="2518" y="2805"/>
                </a:lnTo>
                <a:lnTo>
                  <a:pt x="2518" y="2811"/>
                </a:lnTo>
                <a:lnTo>
                  <a:pt x="2518" y="2811"/>
                </a:lnTo>
                <a:lnTo>
                  <a:pt x="2518" y="2811"/>
                </a:lnTo>
                <a:lnTo>
                  <a:pt x="2518" y="2811"/>
                </a:lnTo>
                <a:lnTo>
                  <a:pt x="2518" y="2811"/>
                </a:lnTo>
                <a:lnTo>
                  <a:pt x="2518" y="2817"/>
                </a:lnTo>
                <a:lnTo>
                  <a:pt x="2524" y="2817"/>
                </a:lnTo>
                <a:lnTo>
                  <a:pt x="2524" y="2817"/>
                </a:lnTo>
                <a:lnTo>
                  <a:pt x="2524" y="2823"/>
                </a:lnTo>
                <a:lnTo>
                  <a:pt x="2524" y="2823"/>
                </a:lnTo>
                <a:lnTo>
                  <a:pt x="2530" y="2823"/>
                </a:lnTo>
                <a:lnTo>
                  <a:pt x="2530" y="2823"/>
                </a:lnTo>
                <a:lnTo>
                  <a:pt x="2530" y="2823"/>
                </a:lnTo>
                <a:lnTo>
                  <a:pt x="2530" y="2823"/>
                </a:lnTo>
                <a:lnTo>
                  <a:pt x="2530" y="2823"/>
                </a:lnTo>
                <a:lnTo>
                  <a:pt x="2530" y="2829"/>
                </a:lnTo>
                <a:lnTo>
                  <a:pt x="2536" y="2829"/>
                </a:lnTo>
                <a:lnTo>
                  <a:pt x="2536" y="2829"/>
                </a:lnTo>
                <a:lnTo>
                  <a:pt x="2536" y="2829"/>
                </a:lnTo>
                <a:lnTo>
                  <a:pt x="2542" y="2829"/>
                </a:lnTo>
                <a:lnTo>
                  <a:pt x="2542" y="2829"/>
                </a:lnTo>
                <a:lnTo>
                  <a:pt x="2542" y="2823"/>
                </a:lnTo>
                <a:lnTo>
                  <a:pt x="2542" y="2823"/>
                </a:lnTo>
                <a:lnTo>
                  <a:pt x="2542" y="2829"/>
                </a:lnTo>
                <a:lnTo>
                  <a:pt x="2542" y="2829"/>
                </a:lnTo>
                <a:lnTo>
                  <a:pt x="2542" y="2829"/>
                </a:lnTo>
                <a:lnTo>
                  <a:pt x="2542" y="2835"/>
                </a:lnTo>
                <a:lnTo>
                  <a:pt x="2542" y="2829"/>
                </a:lnTo>
                <a:lnTo>
                  <a:pt x="2542" y="2835"/>
                </a:lnTo>
                <a:lnTo>
                  <a:pt x="2542" y="2835"/>
                </a:lnTo>
                <a:lnTo>
                  <a:pt x="2542" y="2841"/>
                </a:lnTo>
                <a:lnTo>
                  <a:pt x="2542" y="2835"/>
                </a:lnTo>
                <a:lnTo>
                  <a:pt x="2542" y="2835"/>
                </a:lnTo>
                <a:lnTo>
                  <a:pt x="2542" y="2841"/>
                </a:lnTo>
                <a:lnTo>
                  <a:pt x="2542" y="2841"/>
                </a:lnTo>
                <a:lnTo>
                  <a:pt x="2542" y="2841"/>
                </a:lnTo>
                <a:lnTo>
                  <a:pt x="2542" y="2847"/>
                </a:lnTo>
                <a:lnTo>
                  <a:pt x="2542" y="2847"/>
                </a:lnTo>
                <a:lnTo>
                  <a:pt x="2542" y="2847"/>
                </a:lnTo>
                <a:lnTo>
                  <a:pt x="2542" y="2847"/>
                </a:lnTo>
                <a:lnTo>
                  <a:pt x="2542" y="2853"/>
                </a:lnTo>
                <a:lnTo>
                  <a:pt x="2548" y="2853"/>
                </a:lnTo>
                <a:lnTo>
                  <a:pt x="2548" y="2847"/>
                </a:lnTo>
                <a:lnTo>
                  <a:pt x="2548" y="2847"/>
                </a:lnTo>
                <a:lnTo>
                  <a:pt x="2548" y="2847"/>
                </a:lnTo>
                <a:lnTo>
                  <a:pt x="2554" y="2847"/>
                </a:lnTo>
                <a:lnTo>
                  <a:pt x="2554" y="2847"/>
                </a:lnTo>
                <a:lnTo>
                  <a:pt x="2554" y="2847"/>
                </a:lnTo>
                <a:lnTo>
                  <a:pt x="2554" y="2847"/>
                </a:lnTo>
                <a:lnTo>
                  <a:pt x="2548" y="2847"/>
                </a:lnTo>
                <a:lnTo>
                  <a:pt x="2548" y="2847"/>
                </a:lnTo>
                <a:lnTo>
                  <a:pt x="2548" y="2847"/>
                </a:lnTo>
                <a:lnTo>
                  <a:pt x="2548" y="2853"/>
                </a:lnTo>
                <a:lnTo>
                  <a:pt x="2548" y="2853"/>
                </a:lnTo>
                <a:lnTo>
                  <a:pt x="2548" y="2853"/>
                </a:lnTo>
                <a:lnTo>
                  <a:pt x="2548" y="2859"/>
                </a:lnTo>
                <a:lnTo>
                  <a:pt x="2548" y="2859"/>
                </a:lnTo>
                <a:lnTo>
                  <a:pt x="2548" y="2859"/>
                </a:lnTo>
                <a:lnTo>
                  <a:pt x="2548" y="2859"/>
                </a:lnTo>
                <a:lnTo>
                  <a:pt x="2548" y="2859"/>
                </a:lnTo>
                <a:lnTo>
                  <a:pt x="2548" y="2859"/>
                </a:lnTo>
                <a:lnTo>
                  <a:pt x="2548" y="2865"/>
                </a:lnTo>
                <a:lnTo>
                  <a:pt x="2548" y="2859"/>
                </a:lnTo>
                <a:lnTo>
                  <a:pt x="2548" y="2865"/>
                </a:lnTo>
                <a:lnTo>
                  <a:pt x="2548" y="2865"/>
                </a:lnTo>
                <a:lnTo>
                  <a:pt x="2548" y="2865"/>
                </a:lnTo>
                <a:lnTo>
                  <a:pt x="2548" y="2865"/>
                </a:lnTo>
                <a:lnTo>
                  <a:pt x="2548" y="2871"/>
                </a:lnTo>
                <a:lnTo>
                  <a:pt x="2548" y="2871"/>
                </a:lnTo>
                <a:lnTo>
                  <a:pt x="2548" y="2871"/>
                </a:lnTo>
                <a:lnTo>
                  <a:pt x="2554" y="2871"/>
                </a:lnTo>
                <a:lnTo>
                  <a:pt x="2554" y="2871"/>
                </a:lnTo>
                <a:lnTo>
                  <a:pt x="2554" y="2877"/>
                </a:lnTo>
                <a:lnTo>
                  <a:pt x="2554" y="2877"/>
                </a:lnTo>
                <a:lnTo>
                  <a:pt x="2554" y="2877"/>
                </a:lnTo>
                <a:lnTo>
                  <a:pt x="2554" y="2882"/>
                </a:lnTo>
                <a:lnTo>
                  <a:pt x="2554" y="2882"/>
                </a:lnTo>
                <a:lnTo>
                  <a:pt x="2554" y="2882"/>
                </a:lnTo>
                <a:lnTo>
                  <a:pt x="2554" y="2882"/>
                </a:lnTo>
                <a:lnTo>
                  <a:pt x="2554" y="2882"/>
                </a:lnTo>
                <a:lnTo>
                  <a:pt x="2554" y="2882"/>
                </a:lnTo>
                <a:lnTo>
                  <a:pt x="2554" y="2882"/>
                </a:lnTo>
                <a:lnTo>
                  <a:pt x="2560" y="2882"/>
                </a:lnTo>
                <a:lnTo>
                  <a:pt x="2560" y="2882"/>
                </a:lnTo>
                <a:lnTo>
                  <a:pt x="2560" y="2882"/>
                </a:lnTo>
                <a:lnTo>
                  <a:pt x="2560" y="2882"/>
                </a:lnTo>
                <a:lnTo>
                  <a:pt x="2560" y="2882"/>
                </a:lnTo>
                <a:lnTo>
                  <a:pt x="2560" y="2888"/>
                </a:lnTo>
                <a:lnTo>
                  <a:pt x="2560" y="2888"/>
                </a:lnTo>
                <a:lnTo>
                  <a:pt x="2560" y="2888"/>
                </a:lnTo>
                <a:lnTo>
                  <a:pt x="2566" y="2882"/>
                </a:lnTo>
                <a:lnTo>
                  <a:pt x="2566" y="2888"/>
                </a:lnTo>
                <a:lnTo>
                  <a:pt x="2566" y="2888"/>
                </a:lnTo>
                <a:lnTo>
                  <a:pt x="2566" y="2888"/>
                </a:lnTo>
                <a:lnTo>
                  <a:pt x="2572" y="2888"/>
                </a:lnTo>
                <a:lnTo>
                  <a:pt x="2572" y="2888"/>
                </a:lnTo>
                <a:lnTo>
                  <a:pt x="2578" y="2888"/>
                </a:lnTo>
                <a:lnTo>
                  <a:pt x="2578" y="2888"/>
                </a:lnTo>
                <a:lnTo>
                  <a:pt x="2578" y="2888"/>
                </a:lnTo>
                <a:lnTo>
                  <a:pt x="2578" y="2888"/>
                </a:lnTo>
                <a:lnTo>
                  <a:pt x="2578" y="2888"/>
                </a:lnTo>
                <a:lnTo>
                  <a:pt x="2578" y="2888"/>
                </a:lnTo>
                <a:lnTo>
                  <a:pt x="2578" y="2888"/>
                </a:lnTo>
                <a:lnTo>
                  <a:pt x="2578" y="2888"/>
                </a:lnTo>
                <a:lnTo>
                  <a:pt x="2584" y="2888"/>
                </a:lnTo>
                <a:lnTo>
                  <a:pt x="2584" y="2888"/>
                </a:lnTo>
                <a:lnTo>
                  <a:pt x="2584" y="2888"/>
                </a:lnTo>
                <a:lnTo>
                  <a:pt x="2584" y="2888"/>
                </a:lnTo>
                <a:lnTo>
                  <a:pt x="2584" y="2888"/>
                </a:lnTo>
                <a:lnTo>
                  <a:pt x="2584" y="2888"/>
                </a:lnTo>
                <a:lnTo>
                  <a:pt x="2584" y="2894"/>
                </a:lnTo>
                <a:lnTo>
                  <a:pt x="2590" y="2894"/>
                </a:lnTo>
                <a:lnTo>
                  <a:pt x="2590" y="2894"/>
                </a:lnTo>
                <a:lnTo>
                  <a:pt x="2590" y="2894"/>
                </a:lnTo>
                <a:lnTo>
                  <a:pt x="2590" y="2894"/>
                </a:lnTo>
                <a:lnTo>
                  <a:pt x="2590" y="2894"/>
                </a:lnTo>
                <a:lnTo>
                  <a:pt x="2590" y="2894"/>
                </a:lnTo>
                <a:lnTo>
                  <a:pt x="2590" y="2894"/>
                </a:lnTo>
                <a:lnTo>
                  <a:pt x="2595" y="2894"/>
                </a:lnTo>
                <a:lnTo>
                  <a:pt x="2595" y="2900"/>
                </a:lnTo>
                <a:lnTo>
                  <a:pt x="2595" y="2900"/>
                </a:lnTo>
                <a:lnTo>
                  <a:pt x="2595" y="2900"/>
                </a:lnTo>
                <a:lnTo>
                  <a:pt x="2595" y="2900"/>
                </a:lnTo>
                <a:lnTo>
                  <a:pt x="2595" y="2900"/>
                </a:lnTo>
                <a:lnTo>
                  <a:pt x="2595" y="2900"/>
                </a:lnTo>
                <a:lnTo>
                  <a:pt x="2595" y="2900"/>
                </a:lnTo>
                <a:lnTo>
                  <a:pt x="2595" y="2900"/>
                </a:lnTo>
                <a:lnTo>
                  <a:pt x="2595" y="2900"/>
                </a:lnTo>
                <a:lnTo>
                  <a:pt x="2601" y="2900"/>
                </a:lnTo>
                <a:lnTo>
                  <a:pt x="2607" y="2900"/>
                </a:lnTo>
                <a:lnTo>
                  <a:pt x="2607" y="2900"/>
                </a:lnTo>
                <a:lnTo>
                  <a:pt x="2613" y="2900"/>
                </a:lnTo>
                <a:lnTo>
                  <a:pt x="2613" y="2906"/>
                </a:lnTo>
                <a:lnTo>
                  <a:pt x="2613" y="2906"/>
                </a:lnTo>
                <a:lnTo>
                  <a:pt x="2619" y="2906"/>
                </a:lnTo>
                <a:lnTo>
                  <a:pt x="2619" y="2906"/>
                </a:lnTo>
                <a:lnTo>
                  <a:pt x="2619" y="2906"/>
                </a:lnTo>
                <a:lnTo>
                  <a:pt x="2625" y="2906"/>
                </a:lnTo>
                <a:lnTo>
                  <a:pt x="2625" y="2906"/>
                </a:lnTo>
                <a:lnTo>
                  <a:pt x="2625" y="2912"/>
                </a:lnTo>
                <a:lnTo>
                  <a:pt x="2625" y="2912"/>
                </a:lnTo>
                <a:lnTo>
                  <a:pt x="2625" y="2912"/>
                </a:lnTo>
                <a:lnTo>
                  <a:pt x="2625" y="2912"/>
                </a:lnTo>
                <a:lnTo>
                  <a:pt x="2625" y="2912"/>
                </a:lnTo>
                <a:lnTo>
                  <a:pt x="2625" y="2912"/>
                </a:lnTo>
                <a:lnTo>
                  <a:pt x="2631" y="2912"/>
                </a:lnTo>
                <a:lnTo>
                  <a:pt x="2631" y="2912"/>
                </a:lnTo>
                <a:lnTo>
                  <a:pt x="2631" y="2918"/>
                </a:lnTo>
                <a:lnTo>
                  <a:pt x="2631" y="2918"/>
                </a:lnTo>
                <a:lnTo>
                  <a:pt x="2643" y="2924"/>
                </a:lnTo>
                <a:lnTo>
                  <a:pt x="2643" y="2924"/>
                </a:lnTo>
                <a:lnTo>
                  <a:pt x="2649" y="2924"/>
                </a:lnTo>
                <a:lnTo>
                  <a:pt x="2655" y="2924"/>
                </a:lnTo>
                <a:lnTo>
                  <a:pt x="2655" y="2924"/>
                </a:lnTo>
                <a:lnTo>
                  <a:pt x="2655" y="2924"/>
                </a:lnTo>
                <a:lnTo>
                  <a:pt x="2655" y="2924"/>
                </a:lnTo>
                <a:lnTo>
                  <a:pt x="2655" y="2924"/>
                </a:lnTo>
                <a:lnTo>
                  <a:pt x="2655" y="2924"/>
                </a:lnTo>
                <a:lnTo>
                  <a:pt x="2655" y="2924"/>
                </a:lnTo>
                <a:lnTo>
                  <a:pt x="2661" y="2924"/>
                </a:lnTo>
                <a:lnTo>
                  <a:pt x="2661" y="2924"/>
                </a:lnTo>
                <a:lnTo>
                  <a:pt x="2661" y="2924"/>
                </a:lnTo>
                <a:lnTo>
                  <a:pt x="2667" y="2924"/>
                </a:lnTo>
                <a:lnTo>
                  <a:pt x="2673" y="2924"/>
                </a:lnTo>
                <a:lnTo>
                  <a:pt x="2684" y="2924"/>
                </a:lnTo>
                <a:lnTo>
                  <a:pt x="2684" y="2924"/>
                </a:lnTo>
                <a:lnTo>
                  <a:pt x="2684" y="2924"/>
                </a:lnTo>
                <a:lnTo>
                  <a:pt x="2684" y="2924"/>
                </a:lnTo>
                <a:lnTo>
                  <a:pt x="2684" y="2924"/>
                </a:lnTo>
                <a:lnTo>
                  <a:pt x="2684" y="2924"/>
                </a:lnTo>
                <a:lnTo>
                  <a:pt x="2690" y="2924"/>
                </a:lnTo>
                <a:lnTo>
                  <a:pt x="2696" y="2924"/>
                </a:lnTo>
                <a:lnTo>
                  <a:pt x="2696" y="2924"/>
                </a:lnTo>
                <a:lnTo>
                  <a:pt x="2696" y="2930"/>
                </a:lnTo>
                <a:lnTo>
                  <a:pt x="2702" y="2930"/>
                </a:lnTo>
                <a:lnTo>
                  <a:pt x="2702" y="2930"/>
                </a:lnTo>
                <a:lnTo>
                  <a:pt x="2702" y="2930"/>
                </a:lnTo>
                <a:lnTo>
                  <a:pt x="2702" y="2936"/>
                </a:lnTo>
                <a:lnTo>
                  <a:pt x="2708" y="2936"/>
                </a:lnTo>
                <a:lnTo>
                  <a:pt x="2708" y="2942"/>
                </a:lnTo>
                <a:lnTo>
                  <a:pt x="2714" y="2942"/>
                </a:lnTo>
                <a:lnTo>
                  <a:pt x="2714" y="2942"/>
                </a:lnTo>
                <a:lnTo>
                  <a:pt x="2714" y="2942"/>
                </a:lnTo>
                <a:lnTo>
                  <a:pt x="2720" y="2942"/>
                </a:lnTo>
                <a:lnTo>
                  <a:pt x="2720" y="2942"/>
                </a:lnTo>
                <a:lnTo>
                  <a:pt x="2720" y="2942"/>
                </a:lnTo>
                <a:lnTo>
                  <a:pt x="2720" y="2942"/>
                </a:lnTo>
                <a:lnTo>
                  <a:pt x="2720" y="2942"/>
                </a:lnTo>
                <a:lnTo>
                  <a:pt x="2720" y="2948"/>
                </a:lnTo>
                <a:lnTo>
                  <a:pt x="2720" y="2948"/>
                </a:lnTo>
                <a:lnTo>
                  <a:pt x="2720" y="2948"/>
                </a:lnTo>
                <a:lnTo>
                  <a:pt x="2720" y="2948"/>
                </a:lnTo>
                <a:lnTo>
                  <a:pt x="2720" y="2948"/>
                </a:lnTo>
                <a:lnTo>
                  <a:pt x="2720" y="2948"/>
                </a:lnTo>
                <a:lnTo>
                  <a:pt x="2726" y="2948"/>
                </a:lnTo>
                <a:lnTo>
                  <a:pt x="2726" y="2948"/>
                </a:lnTo>
                <a:lnTo>
                  <a:pt x="2726" y="2948"/>
                </a:lnTo>
                <a:lnTo>
                  <a:pt x="2726" y="2948"/>
                </a:lnTo>
                <a:lnTo>
                  <a:pt x="2726" y="2948"/>
                </a:lnTo>
                <a:lnTo>
                  <a:pt x="2726" y="2948"/>
                </a:lnTo>
                <a:lnTo>
                  <a:pt x="2726" y="2948"/>
                </a:lnTo>
                <a:lnTo>
                  <a:pt x="2726" y="2948"/>
                </a:lnTo>
                <a:lnTo>
                  <a:pt x="2726" y="2948"/>
                </a:lnTo>
                <a:lnTo>
                  <a:pt x="2726" y="2942"/>
                </a:lnTo>
                <a:lnTo>
                  <a:pt x="2726" y="2942"/>
                </a:lnTo>
                <a:lnTo>
                  <a:pt x="2726" y="2942"/>
                </a:lnTo>
                <a:lnTo>
                  <a:pt x="2726" y="2942"/>
                </a:lnTo>
                <a:lnTo>
                  <a:pt x="2732" y="2936"/>
                </a:lnTo>
                <a:lnTo>
                  <a:pt x="2732" y="2936"/>
                </a:lnTo>
                <a:lnTo>
                  <a:pt x="2732" y="2936"/>
                </a:lnTo>
                <a:lnTo>
                  <a:pt x="2738" y="2936"/>
                </a:lnTo>
                <a:lnTo>
                  <a:pt x="2738" y="2936"/>
                </a:lnTo>
                <a:lnTo>
                  <a:pt x="2738" y="2936"/>
                </a:lnTo>
                <a:lnTo>
                  <a:pt x="2738" y="2936"/>
                </a:lnTo>
                <a:lnTo>
                  <a:pt x="2744" y="2936"/>
                </a:lnTo>
                <a:lnTo>
                  <a:pt x="2744" y="2936"/>
                </a:lnTo>
                <a:lnTo>
                  <a:pt x="2744" y="2936"/>
                </a:lnTo>
                <a:lnTo>
                  <a:pt x="2750" y="2936"/>
                </a:lnTo>
                <a:lnTo>
                  <a:pt x="2750" y="2930"/>
                </a:lnTo>
                <a:lnTo>
                  <a:pt x="2750" y="2930"/>
                </a:lnTo>
                <a:lnTo>
                  <a:pt x="2750" y="2924"/>
                </a:lnTo>
                <a:lnTo>
                  <a:pt x="2750" y="2924"/>
                </a:lnTo>
                <a:lnTo>
                  <a:pt x="2744" y="2924"/>
                </a:lnTo>
                <a:lnTo>
                  <a:pt x="2744" y="2924"/>
                </a:lnTo>
                <a:lnTo>
                  <a:pt x="2744" y="2924"/>
                </a:lnTo>
                <a:lnTo>
                  <a:pt x="2744" y="2924"/>
                </a:lnTo>
                <a:lnTo>
                  <a:pt x="2744" y="2924"/>
                </a:lnTo>
                <a:lnTo>
                  <a:pt x="2744" y="2930"/>
                </a:lnTo>
                <a:lnTo>
                  <a:pt x="2744" y="2930"/>
                </a:lnTo>
                <a:lnTo>
                  <a:pt x="2744" y="2930"/>
                </a:lnTo>
                <a:lnTo>
                  <a:pt x="2744" y="2930"/>
                </a:lnTo>
                <a:lnTo>
                  <a:pt x="2738" y="2930"/>
                </a:lnTo>
                <a:lnTo>
                  <a:pt x="2738" y="2930"/>
                </a:lnTo>
                <a:lnTo>
                  <a:pt x="2738" y="2930"/>
                </a:lnTo>
                <a:lnTo>
                  <a:pt x="2738" y="2930"/>
                </a:lnTo>
                <a:lnTo>
                  <a:pt x="2738" y="2930"/>
                </a:lnTo>
                <a:lnTo>
                  <a:pt x="2738" y="2930"/>
                </a:lnTo>
                <a:lnTo>
                  <a:pt x="2738" y="2930"/>
                </a:lnTo>
                <a:lnTo>
                  <a:pt x="2738" y="2930"/>
                </a:lnTo>
                <a:lnTo>
                  <a:pt x="2738" y="2930"/>
                </a:lnTo>
                <a:lnTo>
                  <a:pt x="2738" y="2930"/>
                </a:lnTo>
                <a:lnTo>
                  <a:pt x="2738" y="2924"/>
                </a:lnTo>
                <a:lnTo>
                  <a:pt x="2738" y="2924"/>
                </a:lnTo>
                <a:lnTo>
                  <a:pt x="2738" y="2924"/>
                </a:lnTo>
                <a:lnTo>
                  <a:pt x="2738" y="2924"/>
                </a:lnTo>
                <a:lnTo>
                  <a:pt x="2738" y="2924"/>
                </a:lnTo>
                <a:lnTo>
                  <a:pt x="2744" y="2924"/>
                </a:lnTo>
                <a:lnTo>
                  <a:pt x="2744" y="2918"/>
                </a:lnTo>
                <a:lnTo>
                  <a:pt x="2744" y="2918"/>
                </a:lnTo>
                <a:lnTo>
                  <a:pt x="2738" y="2918"/>
                </a:lnTo>
                <a:lnTo>
                  <a:pt x="2738" y="2918"/>
                </a:lnTo>
                <a:lnTo>
                  <a:pt x="2738" y="2918"/>
                </a:lnTo>
                <a:lnTo>
                  <a:pt x="2738" y="2918"/>
                </a:lnTo>
                <a:lnTo>
                  <a:pt x="2732" y="2918"/>
                </a:lnTo>
                <a:lnTo>
                  <a:pt x="2732" y="2918"/>
                </a:lnTo>
                <a:lnTo>
                  <a:pt x="2732" y="2918"/>
                </a:lnTo>
                <a:lnTo>
                  <a:pt x="2732" y="2918"/>
                </a:lnTo>
                <a:lnTo>
                  <a:pt x="2732" y="2912"/>
                </a:lnTo>
                <a:lnTo>
                  <a:pt x="2732" y="2912"/>
                </a:lnTo>
                <a:lnTo>
                  <a:pt x="2732" y="2912"/>
                </a:lnTo>
                <a:lnTo>
                  <a:pt x="2732" y="2906"/>
                </a:lnTo>
                <a:lnTo>
                  <a:pt x="2732" y="2906"/>
                </a:lnTo>
                <a:lnTo>
                  <a:pt x="2732" y="2906"/>
                </a:lnTo>
                <a:lnTo>
                  <a:pt x="2732" y="2906"/>
                </a:lnTo>
                <a:lnTo>
                  <a:pt x="2732" y="2906"/>
                </a:lnTo>
                <a:lnTo>
                  <a:pt x="2732" y="2906"/>
                </a:lnTo>
                <a:lnTo>
                  <a:pt x="2732" y="2906"/>
                </a:lnTo>
                <a:lnTo>
                  <a:pt x="2732" y="2900"/>
                </a:lnTo>
                <a:lnTo>
                  <a:pt x="2732" y="2900"/>
                </a:lnTo>
                <a:lnTo>
                  <a:pt x="2732" y="2900"/>
                </a:lnTo>
                <a:lnTo>
                  <a:pt x="2732" y="2900"/>
                </a:lnTo>
                <a:lnTo>
                  <a:pt x="2732" y="2900"/>
                </a:lnTo>
                <a:lnTo>
                  <a:pt x="2732" y="2900"/>
                </a:lnTo>
                <a:lnTo>
                  <a:pt x="2732" y="2900"/>
                </a:lnTo>
                <a:lnTo>
                  <a:pt x="2732" y="2900"/>
                </a:lnTo>
                <a:lnTo>
                  <a:pt x="2726" y="2900"/>
                </a:lnTo>
                <a:lnTo>
                  <a:pt x="2726" y="2900"/>
                </a:lnTo>
                <a:lnTo>
                  <a:pt x="2726" y="2900"/>
                </a:lnTo>
                <a:lnTo>
                  <a:pt x="2726" y="2900"/>
                </a:lnTo>
                <a:lnTo>
                  <a:pt x="2726" y="2894"/>
                </a:lnTo>
                <a:lnTo>
                  <a:pt x="2726" y="2894"/>
                </a:lnTo>
                <a:lnTo>
                  <a:pt x="2726" y="2894"/>
                </a:lnTo>
                <a:lnTo>
                  <a:pt x="2726" y="2894"/>
                </a:lnTo>
                <a:lnTo>
                  <a:pt x="2726" y="2894"/>
                </a:lnTo>
                <a:lnTo>
                  <a:pt x="2726" y="2888"/>
                </a:lnTo>
                <a:lnTo>
                  <a:pt x="2726" y="2888"/>
                </a:lnTo>
                <a:lnTo>
                  <a:pt x="2726" y="2888"/>
                </a:lnTo>
                <a:lnTo>
                  <a:pt x="2726" y="2894"/>
                </a:lnTo>
                <a:lnTo>
                  <a:pt x="2726" y="2894"/>
                </a:lnTo>
                <a:lnTo>
                  <a:pt x="2726" y="2894"/>
                </a:lnTo>
                <a:lnTo>
                  <a:pt x="2726" y="2894"/>
                </a:lnTo>
                <a:lnTo>
                  <a:pt x="2726" y="2894"/>
                </a:lnTo>
                <a:lnTo>
                  <a:pt x="2726" y="2888"/>
                </a:lnTo>
                <a:lnTo>
                  <a:pt x="2726" y="2888"/>
                </a:lnTo>
                <a:lnTo>
                  <a:pt x="2726" y="2888"/>
                </a:lnTo>
                <a:lnTo>
                  <a:pt x="2726" y="2888"/>
                </a:lnTo>
                <a:lnTo>
                  <a:pt x="2726" y="2888"/>
                </a:lnTo>
                <a:lnTo>
                  <a:pt x="2720" y="2888"/>
                </a:lnTo>
                <a:lnTo>
                  <a:pt x="2720" y="2888"/>
                </a:lnTo>
                <a:lnTo>
                  <a:pt x="2720" y="2888"/>
                </a:lnTo>
                <a:lnTo>
                  <a:pt x="2720" y="2888"/>
                </a:lnTo>
                <a:lnTo>
                  <a:pt x="2720" y="2888"/>
                </a:lnTo>
                <a:lnTo>
                  <a:pt x="2720" y="2882"/>
                </a:lnTo>
                <a:lnTo>
                  <a:pt x="2720" y="2882"/>
                </a:lnTo>
                <a:lnTo>
                  <a:pt x="2720" y="2882"/>
                </a:lnTo>
                <a:lnTo>
                  <a:pt x="2720" y="2882"/>
                </a:lnTo>
                <a:lnTo>
                  <a:pt x="2720" y="2882"/>
                </a:lnTo>
                <a:lnTo>
                  <a:pt x="2720" y="2882"/>
                </a:lnTo>
                <a:lnTo>
                  <a:pt x="2720" y="2882"/>
                </a:lnTo>
                <a:lnTo>
                  <a:pt x="2720" y="2882"/>
                </a:lnTo>
                <a:lnTo>
                  <a:pt x="2720" y="2877"/>
                </a:lnTo>
                <a:lnTo>
                  <a:pt x="2720" y="2877"/>
                </a:lnTo>
                <a:lnTo>
                  <a:pt x="2720" y="2877"/>
                </a:lnTo>
                <a:lnTo>
                  <a:pt x="2720" y="2877"/>
                </a:lnTo>
                <a:lnTo>
                  <a:pt x="2714" y="2877"/>
                </a:lnTo>
                <a:lnTo>
                  <a:pt x="2720" y="2877"/>
                </a:lnTo>
                <a:lnTo>
                  <a:pt x="2720" y="2871"/>
                </a:lnTo>
                <a:lnTo>
                  <a:pt x="2720" y="2871"/>
                </a:lnTo>
                <a:lnTo>
                  <a:pt x="2720" y="2871"/>
                </a:lnTo>
                <a:lnTo>
                  <a:pt x="2720" y="2871"/>
                </a:lnTo>
                <a:lnTo>
                  <a:pt x="2720" y="2871"/>
                </a:lnTo>
                <a:lnTo>
                  <a:pt x="2720" y="2871"/>
                </a:lnTo>
                <a:lnTo>
                  <a:pt x="2720" y="2877"/>
                </a:lnTo>
                <a:lnTo>
                  <a:pt x="2720" y="2871"/>
                </a:lnTo>
                <a:lnTo>
                  <a:pt x="2720" y="2865"/>
                </a:lnTo>
                <a:lnTo>
                  <a:pt x="2720" y="2865"/>
                </a:lnTo>
                <a:lnTo>
                  <a:pt x="2720" y="2859"/>
                </a:lnTo>
                <a:lnTo>
                  <a:pt x="2714" y="2853"/>
                </a:lnTo>
                <a:lnTo>
                  <a:pt x="2714" y="2847"/>
                </a:lnTo>
                <a:lnTo>
                  <a:pt x="2714" y="2841"/>
                </a:lnTo>
                <a:lnTo>
                  <a:pt x="2714" y="2841"/>
                </a:lnTo>
                <a:lnTo>
                  <a:pt x="2714" y="2841"/>
                </a:lnTo>
                <a:lnTo>
                  <a:pt x="2714" y="2841"/>
                </a:lnTo>
                <a:lnTo>
                  <a:pt x="2708" y="2841"/>
                </a:lnTo>
                <a:lnTo>
                  <a:pt x="2708" y="2841"/>
                </a:lnTo>
                <a:lnTo>
                  <a:pt x="2708" y="2841"/>
                </a:lnTo>
                <a:lnTo>
                  <a:pt x="2708" y="2841"/>
                </a:lnTo>
                <a:lnTo>
                  <a:pt x="2708" y="2841"/>
                </a:lnTo>
                <a:lnTo>
                  <a:pt x="2708" y="2835"/>
                </a:lnTo>
                <a:lnTo>
                  <a:pt x="2708" y="2835"/>
                </a:lnTo>
                <a:lnTo>
                  <a:pt x="2708" y="2835"/>
                </a:lnTo>
                <a:lnTo>
                  <a:pt x="2708" y="2835"/>
                </a:lnTo>
                <a:lnTo>
                  <a:pt x="2708" y="2835"/>
                </a:lnTo>
                <a:lnTo>
                  <a:pt x="2708" y="2835"/>
                </a:lnTo>
                <a:lnTo>
                  <a:pt x="2708" y="2829"/>
                </a:lnTo>
                <a:lnTo>
                  <a:pt x="2708" y="2829"/>
                </a:lnTo>
                <a:lnTo>
                  <a:pt x="2708" y="2829"/>
                </a:lnTo>
                <a:lnTo>
                  <a:pt x="2708" y="2829"/>
                </a:lnTo>
                <a:lnTo>
                  <a:pt x="2714" y="2835"/>
                </a:lnTo>
                <a:lnTo>
                  <a:pt x="2714" y="2835"/>
                </a:lnTo>
                <a:lnTo>
                  <a:pt x="2714" y="2835"/>
                </a:lnTo>
                <a:lnTo>
                  <a:pt x="2714" y="2829"/>
                </a:lnTo>
                <a:lnTo>
                  <a:pt x="2708" y="2829"/>
                </a:lnTo>
                <a:lnTo>
                  <a:pt x="2708" y="2829"/>
                </a:lnTo>
                <a:lnTo>
                  <a:pt x="2708" y="2823"/>
                </a:lnTo>
                <a:lnTo>
                  <a:pt x="2708" y="2823"/>
                </a:lnTo>
                <a:lnTo>
                  <a:pt x="2708" y="2817"/>
                </a:lnTo>
                <a:lnTo>
                  <a:pt x="2708" y="2817"/>
                </a:lnTo>
                <a:lnTo>
                  <a:pt x="2708" y="2817"/>
                </a:lnTo>
                <a:lnTo>
                  <a:pt x="2708" y="2817"/>
                </a:lnTo>
                <a:lnTo>
                  <a:pt x="2714" y="2817"/>
                </a:lnTo>
                <a:lnTo>
                  <a:pt x="2714" y="2817"/>
                </a:lnTo>
                <a:lnTo>
                  <a:pt x="2714" y="2817"/>
                </a:lnTo>
                <a:lnTo>
                  <a:pt x="2714" y="2811"/>
                </a:lnTo>
                <a:lnTo>
                  <a:pt x="2714" y="2811"/>
                </a:lnTo>
                <a:lnTo>
                  <a:pt x="2714" y="2811"/>
                </a:lnTo>
                <a:lnTo>
                  <a:pt x="2714" y="2811"/>
                </a:lnTo>
                <a:lnTo>
                  <a:pt x="2714" y="2811"/>
                </a:lnTo>
                <a:lnTo>
                  <a:pt x="2714" y="2811"/>
                </a:lnTo>
                <a:lnTo>
                  <a:pt x="2714" y="2811"/>
                </a:lnTo>
                <a:lnTo>
                  <a:pt x="2714" y="2805"/>
                </a:lnTo>
                <a:lnTo>
                  <a:pt x="2714" y="2805"/>
                </a:lnTo>
                <a:lnTo>
                  <a:pt x="2714" y="2805"/>
                </a:lnTo>
                <a:lnTo>
                  <a:pt x="2714" y="2805"/>
                </a:lnTo>
                <a:lnTo>
                  <a:pt x="2714" y="2805"/>
                </a:lnTo>
                <a:lnTo>
                  <a:pt x="2714" y="2805"/>
                </a:lnTo>
                <a:lnTo>
                  <a:pt x="2714" y="2805"/>
                </a:lnTo>
                <a:lnTo>
                  <a:pt x="2720" y="2805"/>
                </a:lnTo>
                <a:lnTo>
                  <a:pt x="2720" y="2805"/>
                </a:lnTo>
                <a:lnTo>
                  <a:pt x="2720" y="2805"/>
                </a:lnTo>
                <a:lnTo>
                  <a:pt x="2720" y="2799"/>
                </a:lnTo>
                <a:lnTo>
                  <a:pt x="2720" y="2799"/>
                </a:lnTo>
                <a:lnTo>
                  <a:pt x="2720" y="2799"/>
                </a:lnTo>
                <a:lnTo>
                  <a:pt x="2714" y="2799"/>
                </a:lnTo>
                <a:lnTo>
                  <a:pt x="2720" y="2799"/>
                </a:lnTo>
                <a:lnTo>
                  <a:pt x="2720" y="2799"/>
                </a:lnTo>
                <a:lnTo>
                  <a:pt x="2720" y="2794"/>
                </a:lnTo>
                <a:lnTo>
                  <a:pt x="2720" y="2794"/>
                </a:lnTo>
                <a:lnTo>
                  <a:pt x="2720" y="2794"/>
                </a:lnTo>
                <a:lnTo>
                  <a:pt x="2720" y="2794"/>
                </a:lnTo>
                <a:lnTo>
                  <a:pt x="2720" y="2794"/>
                </a:lnTo>
                <a:lnTo>
                  <a:pt x="2720" y="2794"/>
                </a:lnTo>
                <a:lnTo>
                  <a:pt x="2720" y="2788"/>
                </a:lnTo>
                <a:lnTo>
                  <a:pt x="2720" y="2788"/>
                </a:lnTo>
                <a:lnTo>
                  <a:pt x="2720" y="2788"/>
                </a:lnTo>
                <a:lnTo>
                  <a:pt x="2714" y="2788"/>
                </a:lnTo>
                <a:lnTo>
                  <a:pt x="2714" y="2788"/>
                </a:lnTo>
                <a:lnTo>
                  <a:pt x="2714" y="2788"/>
                </a:lnTo>
                <a:lnTo>
                  <a:pt x="2714" y="2794"/>
                </a:lnTo>
                <a:lnTo>
                  <a:pt x="2708" y="2794"/>
                </a:lnTo>
                <a:lnTo>
                  <a:pt x="2708" y="2794"/>
                </a:lnTo>
                <a:lnTo>
                  <a:pt x="2702" y="2794"/>
                </a:lnTo>
                <a:lnTo>
                  <a:pt x="2702" y="2794"/>
                </a:lnTo>
                <a:lnTo>
                  <a:pt x="2702" y="2794"/>
                </a:lnTo>
                <a:lnTo>
                  <a:pt x="2702" y="2794"/>
                </a:lnTo>
                <a:lnTo>
                  <a:pt x="2696" y="2788"/>
                </a:lnTo>
                <a:lnTo>
                  <a:pt x="2696" y="2788"/>
                </a:lnTo>
                <a:lnTo>
                  <a:pt x="2696" y="2788"/>
                </a:lnTo>
                <a:lnTo>
                  <a:pt x="2696" y="2788"/>
                </a:lnTo>
                <a:lnTo>
                  <a:pt x="2690" y="2788"/>
                </a:lnTo>
                <a:lnTo>
                  <a:pt x="2690" y="2788"/>
                </a:lnTo>
                <a:lnTo>
                  <a:pt x="2690" y="2788"/>
                </a:lnTo>
                <a:lnTo>
                  <a:pt x="2684" y="2788"/>
                </a:lnTo>
                <a:lnTo>
                  <a:pt x="2684" y="2788"/>
                </a:lnTo>
                <a:lnTo>
                  <a:pt x="2684" y="2788"/>
                </a:lnTo>
                <a:lnTo>
                  <a:pt x="2684" y="2788"/>
                </a:lnTo>
                <a:lnTo>
                  <a:pt x="2690" y="2788"/>
                </a:lnTo>
                <a:lnTo>
                  <a:pt x="2690" y="2788"/>
                </a:lnTo>
                <a:lnTo>
                  <a:pt x="2690" y="2788"/>
                </a:lnTo>
                <a:lnTo>
                  <a:pt x="2690" y="2788"/>
                </a:lnTo>
                <a:lnTo>
                  <a:pt x="2690" y="2788"/>
                </a:lnTo>
                <a:lnTo>
                  <a:pt x="2696" y="2788"/>
                </a:lnTo>
                <a:lnTo>
                  <a:pt x="2696" y="2782"/>
                </a:lnTo>
                <a:lnTo>
                  <a:pt x="2696" y="2782"/>
                </a:lnTo>
                <a:lnTo>
                  <a:pt x="2696" y="2782"/>
                </a:lnTo>
                <a:lnTo>
                  <a:pt x="2696" y="2782"/>
                </a:lnTo>
                <a:lnTo>
                  <a:pt x="2690" y="2782"/>
                </a:lnTo>
                <a:lnTo>
                  <a:pt x="2690" y="2782"/>
                </a:lnTo>
                <a:lnTo>
                  <a:pt x="2690" y="2782"/>
                </a:lnTo>
                <a:lnTo>
                  <a:pt x="2690" y="2782"/>
                </a:lnTo>
                <a:lnTo>
                  <a:pt x="2690" y="2782"/>
                </a:lnTo>
                <a:lnTo>
                  <a:pt x="2696" y="2782"/>
                </a:lnTo>
                <a:lnTo>
                  <a:pt x="2690" y="2776"/>
                </a:lnTo>
                <a:lnTo>
                  <a:pt x="2690" y="2776"/>
                </a:lnTo>
                <a:lnTo>
                  <a:pt x="2690" y="2776"/>
                </a:lnTo>
                <a:lnTo>
                  <a:pt x="2690" y="2770"/>
                </a:lnTo>
                <a:lnTo>
                  <a:pt x="2690" y="2770"/>
                </a:lnTo>
                <a:lnTo>
                  <a:pt x="2690" y="2770"/>
                </a:lnTo>
                <a:lnTo>
                  <a:pt x="2684" y="2770"/>
                </a:lnTo>
                <a:lnTo>
                  <a:pt x="2684" y="2764"/>
                </a:lnTo>
                <a:lnTo>
                  <a:pt x="2690" y="2770"/>
                </a:lnTo>
                <a:lnTo>
                  <a:pt x="2690" y="2770"/>
                </a:lnTo>
                <a:lnTo>
                  <a:pt x="2696" y="2782"/>
                </a:lnTo>
                <a:lnTo>
                  <a:pt x="2702" y="2782"/>
                </a:lnTo>
                <a:lnTo>
                  <a:pt x="2702" y="2782"/>
                </a:lnTo>
                <a:lnTo>
                  <a:pt x="2702" y="2788"/>
                </a:lnTo>
                <a:lnTo>
                  <a:pt x="2702" y="2788"/>
                </a:lnTo>
                <a:lnTo>
                  <a:pt x="2702" y="2788"/>
                </a:lnTo>
                <a:lnTo>
                  <a:pt x="2702" y="2788"/>
                </a:lnTo>
                <a:lnTo>
                  <a:pt x="2702" y="2788"/>
                </a:lnTo>
                <a:lnTo>
                  <a:pt x="2702" y="2782"/>
                </a:lnTo>
                <a:lnTo>
                  <a:pt x="2702" y="2782"/>
                </a:lnTo>
                <a:lnTo>
                  <a:pt x="2702" y="2782"/>
                </a:lnTo>
                <a:lnTo>
                  <a:pt x="2702" y="2782"/>
                </a:lnTo>
                <a:lnTo>
                  <a:pt x="2708" y="2782"/>
                </a:lnTo>
                <a:lnTo>
                  <a:pt x="2708" y="2782"/>
                </a:lnTo>
                <a:lnTo>
                  <a:pt x="2708" y="2782"/>
                </a:lnTo>
                <a:lnTo>
                  <a:pt x="2708" y="2782"/>
                </a:lnTo>
                <a:lnTo>
                  <a:pt x="2708" y="2782"/>
                </a:lnTo>
                <a:lnTo>
                  <a:pt x="2708" y="2782"/>
                </a:lnTo>
                <a:lnTo>
                  <a:pt x="2708" y="2782"/>
                </a:lnTo>
                <a:lnTo>
                  <a:pt x="2708" y="2782"/>
                </a:lnTo>
                <a:lnTo>
                  <a:pt x="2708" y="2782"/>
                </a:lnTo>
                <a:lnTo>
                  <a:pt x="2708" y="2776"/>
                </a:lnTo>
                <a:lnTo>
                  <a:pt x="2708" y="2776"/>
                </a:lnTo>
                <a:lnTo>
                  <a:pt x="2708" y="2776"/>
                </a:lnTo>
                <a:lnTo>
                  <a:pt x="2714" y="2776"/>
                </a:lnTo>
                <a:lnTo>
                  <a:pt x="2714" y="2776"/>
                </a:lnTo>
                <a:lnTo>
                  <a:pt x="2714" y="2776"/>
                </a:lnTo>
                <a:lnTo>
                  <a:pt x="2714" y="2776"/>
                </a:lnTo>
                <a:lnTo>
                  <a:pt x="2714" y="2776"/>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08" y="2788"/>
                </a:lnTo>
                <a:lnTo>
                  <a:pt x="2708" y="2788"/>
                </a:lnTo>
                <a:lnTo>
                  <a:pt x="2714" y="2788"/>
                </a:lnTo>
                <a:lnTo>
                  <a:pt x="2714" y="2782"/>
                </a:lnTo>
                <a:lnTo>
                  <a:pt x="2720" y="2782"/>
                </a:lnTo>
                <a:lnTo>
                  <a:pt x="2720" y="2782"/>
                </a:lnTo>
                <a:lnTo>
                  <a:pt x="2720" y="2782"/>
                </a:lnTo>
                <a:lnTo>
                  <a:pt x="2720" y="2776"/>
                </a:lnTo>
                <a:lnTo>
                  <a:pt x="2726" y="2770"/>
                </a:lnTo>
                <a:lnTo>
                  <a:pt x="2726" y="2764"/>
                </a:lnTo>
                <a:lnTo>
                  <a:pt x="2726" y="2764"/>
                </a:lnTo>
                <a:lnTo>
                  <a:pt x="2726" y="2764"/>
                </a:lnTo>
                <a:lnTo>
                  <a:pt x="2726" y="2764"/>
                </a:lnTo>
                <a:lnTo>
                  <a:pt x="2732" y="2758"/>
                </a:lnTo>
                <a:lnTo>
                  <a:pt x="2732" y="2752"/>
                </a:lnTo>
                <a:lnTo>
                  <a:pt x="2732" y="2752"/>
                </a:lnTo>
                <a:lnTo>
                  <a:pt x="2732" y="2752"/>
                </a:lnTo>
                <a:lnTo>
                  <a:pt x="2732" y="2746"/>
                </a:lnTo>
                <a:lnTo>
                  <a:pt x="2732" y="2746"/>
                </a:lnTo>
                <a:lnTo>
                  <a:pt x="2732" y="2746"/>
                </a:lnTo>
                <a:lnTo>
                  <a:pt x="2732" y="2746"/>
                </a:lnTo>
                <a:lnTo>
                  <a:pt x="2732" y="2746"/>
                </a:lnTo>
                <a:lnTo>
                  <a:pt x="2738" y="2746"/>
                </a:lnTo>
                <a:lnTo>
                  <a:pt x="2738" y="2740"/>
                </a:lnTo>
                <a:lnTo>
                  <a:pt x="2738" y="2740"/>
                </a:lnTo>
                <a:lnTo>
                  <a:pt x="2738" y="2740"/>
                </a:lnTo>
                <a:lnTo>
                  <a:pt x="2738" y="2740"/>
                </a:lnTo>
                <a:lnTo>
                  <a:pt x="2726" y="2734"/>
                </a:lnTo>
                <a:lnTo>
                  <a:pt x="2726" y="2734"/>
                </a:lnTo>
                <a:lnTo>
                  <a:pt x="2726" y="2734"/>
                </a:lnTo>
                <a:lnTo>
                  <a:pt x="2726" y="2728"/>
                </a:lnTo>
                <a:lnTo>
                  <a:pt x="2726" y="2728"/>
                </a:lnTo>
                <a:lnTo>
                  <a:pt x="2726" y="2728"/>
                </a:lnTo>
                <a:lnTo>
                  <a:pt x="2726" y="2728"/>
                </a:lnTo>
                <a:lnTo>
                  <a:pt x="2726" y="2728"/>
                </a:lnTo>
                <a:lnTo>
                  <a:pt x="2726" y="2722"/>
                </a:lnTo>
                <a:lnTo>
                  <a:pt x="2720" y="2722"/>
                </a:lnTo>
                <a:lnTo>
                  <a:pt x="2720" y="2722"/>
                </a:lnTo>
                <a:lnTo>
                  <a:pt x="2720" y="2722"/>
                </a:lnTo>
                <a:lnTo>
                  <a:pt x="2720" y="2722"/>
                </a:lnTo>
                <a:lnTo>
                  <a:pt x="2720" y="2722"/>
                </a:lnTo>
                <a:lnTo>
                  <a:pt x="2714" y="2722"/>
                </a:lnTo>
                <a:lnTo>
                  <a:pt x="2714" y="2722"/>
                </a:lnTo>
                <a:lnTo>
                  <a:pt x="2714" y="2722"/>
                </a:lnTo>
                <a:lnTo>
                  <a:pt x="2714" y="2722"/>
                </a:lnTo>
                <a:lnTo>
                  <a:pt x="2708"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20" y="2722"/>
                </a:lnTo>
                <a:lnTo>
                  <a:pt x="2720" y="2722"/>
                </a:lnTo>
                <a:lnTo>
                  <a:pt x="2726" y="2722"/>
                </a:lnTo>
                <a:lnTo>
                  <a:pt x="2726" y="2722"/>
                </a:lnTo>
                <a:lnTo>
                  <a:pt x="2726" y="2722"/>
                </a:lnTo>
                <a:lnTo>
                  <a:pt x="2726" y="2722"/>
                </a:lnTo>
                <a:lnTo>
                  <a:pt x="2726" y="2722"/>
                </a:lnTo>
                <a:lnTo>
                  <a:pt x="2726" y="2722"/>
                </a:lnTo>
                <a:lnTo>
                  <a:pt x="2726" y="2722"/>
                </a:lnTo>
                <a:lnTo>
                  <a:pt x="2726" y="2722"/>
                </a:lnTo>
                <a:lnTo>
                  <a:pt x="2726" y="2722"/>
                </a:lnTo>
                <a:lnTo>
                  <a:pt x="2732" y="2722"/>
                </a:lnTo>
                <a:lnTo>
                  <a:pt x="2732" y="2722"/>
                </a:lnTo>
                <a:lnTo>
                  <a:pt x="2732" y="2722"/>
                </a:lnTo>
                <a:lnTo>
                  <a:pt x="2738" y="2722"/>
                </a:lnTo>
                <a:lnTo>
                  <a:pt x="2738" y="2722"/>
                </a:lnTo>
                <a:lnTo>
                  <a:pt x="2738" y="2722"/>
                </a:lnTo>
                <a:lnTo>
                  <a:pt x="2738" y="2722"/>
                </a:lnTo>
                <a:lnTo>
                  <a:pt x="2738" y="2722"/>
                </a:lnTo>
                <a:lnTo>
                  <a:pt x="2744" y="2722"/>
                </a:lnTo>
                <a:lnTo>
                  <a:pt x="2738" y="2722"/>
                </a:lnTo>
                <a:lnTo>
                  <a:pt x="2738" y="2728"/>
                </a:lnTo>
                <a:lnTo>
                  <a:pt x="2738" y="2728"/>
                </a:lnTo>
                <a:lnTo>
                  <a:pt x="2744" y="2728"/>
                </a:lnTo>
                <a:lnTo>
                  <a:pt x="2744" y="2722"/>
                </a:lnTo>
                <a:lnTo>
                  <a:pt x="2750" y="2710"/>
                </a:lnTo>
                <a:lnTo>
                  <a:pt x="2755" y="2710"/>
                </a:lnTo>
                <a:lnTo>
                  <a:pt x="2755" y="2705"/>
                </a:lnTo>
                <a:lnTo>
                  <a:pt x="2755" y="2705"/>
                </a:lnTo>
                <a:lnTo>
                  <a:pt x="2755" y="2705"/>
                </a:lnTo>
                <a:lnTo>
                  <a:pt x="2755" y="2705"/>
                </a:lnTo>
                <a:lnTo>
                  <a:pt x="2755" y="2705"/>
                </a:lnTo>
                <a:lnTo>
                  <a:pt x="2755" y="2705"/>
                </a:lnTo>
                <a:lnTo>
                  <a:pt x="2755" y="2705"/>
                </a:lnTo>
                <a:lnTo>
                  <a:pt x="2755" y="2705"/>
                </a:lnTo>
                <a:lnTo>
                  <a:pt x="2755" y="2705"/>
                </a:lnTo>
                <a:lnTo>
                  <a:pt x="2755" y="2705"/>
                </a:lnTo>
                <a:lnTo>
                  <a:pt x="2761" y="2705"/>
                </a:lnTo>
                <a:lnTo>
                  <a:pt x="2761" y="2705"/>
                </a:lnTo>
                <a:lnTo>
                  <a:pt x="2761" y="2705"/>
                </a:lnTo>
                <a:lnTo>
                  <a:pt x="2761" y="2699"/>
                </a:lnTo>
                <a:lnTo>
                  <a:pt x="2761" y="2699"/>
                </a:lnTo>
                <a:lnTo>
                  <a:pt x="2761" y="2699"/>
                </a:lnTo>
                <a:lnTo>
                  <a:pt x="2761" y="2693"/>
                </a:lnTo>
                <a:lnTo>
                  <a:pt x="2761" y="2693"/>
                </a:lnTo>
                <a:lnTo>
                  <a:pt x="2761" y="2693"/>
                </a:lnTo>
                <a:lnTo>
                  <a:pt x="2761" y="2693"/>
                </a:lnTo>
                <a:lnTo>
                  <a:pt x="2755" y="2693"/>
                </a:lnTo>
                <a:lnTo>
                  <a:pt x="2755" y="2693"/>
                </a:lnTo>
                <a:lnTo>
                  <a:pt x="2755" y="2693"/>
                </a:lnTo>
                <a:lnTo>
                  <a:pt x="2755" y="2693"/>
                </a:lnTo>
                <a:lnTo>
                  <a:pt x="2755" y="2693"/>
                </a:lnTo>
                <a:lnTo>
                  <a:pt x="2755" y="2693"/>
                </a:lnTo>
                <a:lnTo>
                  <a:pt x="2755" y="2693"/>
                </a:lnTo>
                <a:lnTo>
                  <a:pt x="2755" y="2693"/>
                </a:lnTo>
                <a:lnTo>
                  <a:pt x="2755" y="2699"/>
                </a:lnTo>
                <a:lnTo>
                  <a:pt x="2750" y="2699"/>
                </a:lnTo>
                <a:lnTo>
                  <a:pt x="2750" y="2699"/>
                </a:lnTo>
                <a:lnTo>
                  <a:pt x="2750" y="2699"/>
                </a:lnTo>
                <a:lnTo>
                  <a:pt x="2750" y="2699"/>
                </a:lnTo>
                <a:lnTo>
                  <a:pt x="2750" y="2699"/>
                </a:lnTo>
                <a:lnTo>
                  <a:pt x="2750" y="2705"/>
                </a:lnTo>
                <a:lnTo>
                  <a:pt x="2750" y="2705"/>
                </a:lnTo>
                <a:lnTo>
                  <a:pt x="2750" y="2705"/>
                </a:lnTo>
                <a:lnTo>
                  <a:pt x="2750" y="2705"/>
                </a:lnTo>
                <a:lnTo>
                  <a:pt x="2750" y="2705"/>
                </a:lnTo>
                <a:lnTo>
                  <a:pt x="2750" y="2705"/>
                </a:lnTo>
                <a:lnTo>
                  <a:pt x="2750" y="2705"/>
                </a:lnTo>
                <a:lnTo>
                  <a:pt x="2750" y="2705"/>
                </a:lnTo>
                <a:lnTo>
                  <a:pt x="2750" y="2705"/>
                </a:lnTo>
                <a:lnTo>
                  <a:pt x="2750" y="2705"/>
                </a:lnTo>
                <a:lnTo>
                  <a:pt x="2750" y="2705"/>
                </a:lnTo>
                <a:lnTo>
                  <a:pt x="2750" y="2699"/>
                </a:lnTo>
                <a:lnTo>
                  <a:pt x="2744" y="2699"/>
                </a:lnTo>
                <a:lnTo>
                  <a:pt x="2744" y="2699"/>
                </a:lnTo>
                <a:lnTo>
                  <a:pt x="2744" y="2699"/>
                </a:lnTo>
                <a:lnTo>
                  <a:pt x="2744" y="2699"/>
                </a:lnTo>
                <a:lnTo>
                  <a:pt x="2744" y="2699"/>
                </a:lnTo>
                <a:lnTo>
                  <a:pt x="2744" y="2699"/>
                </a:lnTo>
                <a:lnTo>
                  <a:pt x="2744" y="2693"/>
                </a:lnTo>
                <a:lnTo>
                  <a:pt x="2744" y="2693"/>
                </a:lnTo>
                <a:lnTo>
                  <a:pt x="2750" y="2693"/>
                </a:lnTo>
                <a:lnTo>
                  <a:pt x="2744" y="2693"/>
                </a:lnTo>
                <a:lnTo>
                  <a:pt x="2744" y="2693"/>
                </a:lnTo>
                <a:lnTo>
                  <a:pt x="2744" y="2687"/>
                </a:lnTo>
                <a:lnTo>
                  <a:pt x="2744" y="2687"/>
                </a:lnTo>
                <a:lnTo>
                  <a:pt x="2744" y="2687"/>
                </a:lnTo>
                <a:lnTo>
                  <a:pt x="2744" y="2687"/>
                </a:lnTo>
                <a:lnTo>
                  <a:pt x="2744" y="2687"/>
                </a:lnTo>
                <a:lnTo>
                  <a:pt x="2750" y="2687"/>
                </a:lnTo>
                <a:lnTo>
                  <a:pt x="2750" y="2687"/>
                </a:lnTo>
                <a:lnTo>
                  <a:pt x="2750" y="2687"/>
                </a:lnTo>
                <a:lnTo>
                  <a:pt x="2750" y="2687"/>
                </a:lnTo>
                <a:lnTo>
                  <a:pt x="2750" y="2687"/>
                </a:lnTo>
                <a:lnTo>
                  <a:pt x="2750" y="2687"/>
                </a:lnTo>
                <a:lnTo>
                  <a:pt x="2750" y="2687"/>
                </a:lnTo>
                <a:lnTo>
                  <a:pt x="2755" y="2687"/>
                </a:lnTo>
                <a:lnTo>
                  <a:pt x="2761" y="2687"/>
                </a:lnTo>
                <a:lnTo>
                  <a:pt x="2761" y="2687"/>
                </a:lnTo>
                <a:lnTo>
                  <a:pt x="2761" y="2681"/>
                </a:lnTo>
                <a:lnTo>
                  <a:pt x="2761" y="2681"/>
                </a:lnTo>
                <a:lnTo>
                  <a:pt x="2761" y="2687"/>
                </a:lnTo>
                <a:lnTo>
                  <a:pt x="2761" y="2687"/>
                </a:lnTo>
                <a:lnTo>
                  <a:pt x="2761" y="2687"/>
                </a:lnTo>
                <a:lnTo>
                  <a:pt x="2761" y="2687"/>
                </a:lnTo>
                <a:lnTo>
                  <a:pt x="2761" y="2687"/>
                </a:lnTo>
                <a:lnTo>
                  <a:pt x="2761" y="2693"/>
                </a:lnTo>
                <a:lnTo>
                  <a:pt x="2761" y="2693"/>
                </a:lnTo>
                <a:lnTo>
                  <a:pt x="2761" y="2693"/>
                </a:lnTo>
                <a:lnTo>
                  <a:pt x="2761" y="2693"/>
                </a:lnTo>
                <a:lnTo>
                  <a:pt x="2761" y="2693"/>
                </a:lnTo>
                <a:lnTo>
                  <a:pt x="2767" y="2693"/>
                </a:lnTo>
                <a:lnTo>
                  <a:pt x="2767" y="2693"/>
                </a:lnTo>
                <a:lnTo>
                  <a:pt x="2767" y="2687"/>
                </a:lnTo>
                <a:lnTo>
                  <a:pt x="2767" y="2687"/>
                </a:lnTo>
                <a:lnTo>
                  <a:pt x="2767" y="2687"/>
                </a:lnTo>
                <a:lnTo>
                  <a:pt x="2767" y="2681"/>
                </a:lnTo>
                <a:lnTo>
                  <a:pt x="2767" y="2681"/>
                </a:lnTo>
                <a:lnTo>
                  <a:pt x="2767" y="2681"/>
                </a:lnTo>
                <a:lnTo>
                  <a:pt x="2767" y="2681"/>
                </a:lnTo>
                <a:lnTo>
                  <a:pt x="2767" y="2681"/>
                </a:lnTo>
                <a:lnTo>
                  <a:pt x="2767" y="2681"/>
                </a:lnTo>
                <a:lnTo>
                  <a:pt x="2767" y="2675"/>
                </a:lnTo>
                <a:lnTo>
                  <a:pt x="2773" y="2675"/>
                </a:lnTo>
                <a:lnTo>
                  <a:pt x="2773" y="2675"/>
                </a:lnTo>
                <a:lnTo>
                  <a:pt x="2773" y="2681"/>
                </a:lnTo>
                <a:lnTo>
                  <a:pt x="2773" y="2681"/>
                </a:lnTo>
                <a:lnTo>
                  <a:pt x="2767" y="2681"/>
                </a:lnTo>
                <a:lnTo>
                  <a:pt x="2773" y="2687"/>
                </a:lnTo>
                <a:lnTo>
                  <a:pt x="2767" y="2687"/>
                </a:lnTo>
                <a:lnTo>
                  <a:pt x="2767" y="2687"/>
                </a:lnTo>
                <a:lnTo>
                  <a:pt x="2767" y="2687"/>
                </a:lnTo>
                <a:lnTo>
                  <a:pt x="2767" y="2693"/>
                </a:lnTo>
                <a:lnTo>
                  <a:pt x="2767" y="2693"/>
                </a:lnTo>
                <a:lnTo>
                  <a:pt x="2773" y="2693"/>
                </a:lnTo>
                <a:lnTo>
                  <a:pt x="2773" y="2687"/>
                </a:lnTo>
                <a:lnTo>
                  <a:pt x="2773" y="2687"/>
                </a:lnTo>
                <a:lnTo>
                  <a:pt x="2779" y="2687"/>
                </a:lnTo>
                <a:lnTo>
                  <a:pt x="2779" y="2681"/>
                </a:lnTo>
                <a:lnTo>
                  <a:pt x="2785" y="2681"/>
                </a:lnTo>
                <a:lnTo>
                  <a:pt x="2785" y="2681"/>
                </a:lnTo>
                <a:lnTo>
                  <a:pt x="2785" y="2681"/>
                </a:lnTo>
                <a:lnTo>
                  <a:pt x="2785" y="2675"/>
                </a:lnTo>
                <a:lnTo>
                  <a:pt x="2785" y="2675"/>
                </a:lnTo>
                <a:lnTo>
                  <a:pt x="2785" y="2675"/>
                </a:lnTo>
                <a:lnTo>
                  <a:pt x="2785" y="2669"/>
                </a:lnTo>
                <a:lnTo>
                  <a:pt x="2785" y="2669"/>
                </a:lnTo>
                <a:lnTo>
                  <a:pt x="2785" y="2669"/>
                </a:lnTo>
                <a:lnTo>
                  <a:pt x="2785" y="2663"/>
                </a:lnTo>
                <a:lnTo>
                  <a:pt x="2779" y="2663"/>
                </a:lnTo>
                <a:lnTo>
                  <a:pt x="2779" y="2663"/>
                </a:lnTo>
                <a:lnTo>
                  <a:pt x="2779" y="2663"/>
                </a:lnTo>
                <a:lnTo>
                  <a:pt x="2779" y="2657"/>
                </a:lnTo>
                <a:lnTo>
                  <a:pt x="2779" y="2657"/>
                </a:lnTo>
                <a:lnTo>
                  <a:pt x="2779" y="2657"/>
                </a:lnTo>
                <a:lnTo>
                  <a:pt x="2785" y="2657"/>
                </a:lnTo>
                <a:lnTo>
                  <a:pt x="2785" y="2663"/>
                </a:lnTo>
                <a:lnTo>
                  <a:pt x="2785" y="2663"/>
                </a:lnTo>
                <a:lnTo>
                  <a:pt x="2785" y="2657"/>
                </a:lnTo>
                <a:lnTo>
                  <a:pt x="2785" y="2657"/>
                </a:lnTo>
                <a:lnTo>
                  <a:pt x="2785" y="2657"/>
                </a:lnTo>
                <a:lnTo>
                  <a:pt x="2785" y="2657"/>
                </a:lnTo>
                <a:lnTo>
                  <a:pt x="2779" y="2657"/>
                </a:lnTo>
                <a:lnTo>
                  <a:pt x="2779" y="2657"/>
                </a:lnTo>
                <a:lnTo>
                  <a:pt x="2779" y="2657"/>
                </a:lnTo>
                <a:lnTo>
                  <a:pt x="2779" y="2657"/>
                </a:lnTo>
                <a:lnTo>
                  <a:pt x="2779" y="2651"/>
                </a:lnTo>
                <a:lnTo>
                  <a:pt x="2779" y="2651"/>
                </a:lnTo>
                <a:lnTo>
                  <a:pt x="2779" y="2651"/>
                </a:lnTo>
                <a:lnTo>
                  <a:pt x="2785" y="2651"/>
                </a:lnTo>
                <a:lnTo>
                  <a:pt x="2785" y="2651"/>
                </a:lnTo>
                <a:lnTo>
                  <a:pt x="2785" y="2651"/>
                </a:lnTo>
                <a:lnTo>
                  <a:pt x="2785" y="2657"/>
                </a:lnTo>
                <a:lnTo>
                  <a:pt x="2785" y="2657"/>
                </a:lnTo>
                <a:lnTo>
                  <a:pt x="2785" y="2657"/>
                </a:lnTo>
                <a:lnTo>
                  <a:pt x="2785" y="2657"/>
                </a:lnTo>
                <a:lnTo>
                  <a:pt x="2785" y="2657"/>
                </a:lnTo>
                <a:lnTo>
                  <a:pt x="2785" y="2657"/>
                </a:lnTo>
                <a:lnTo>
                  <a:pt x="2785" y="2657"/>
                </a:lnTo>
                <a:lnTo>
                  <a:pt x="2785" y="2657"/>
                </a:lnTo>
                <a:lnTo>
                  <a:pt x="2785" y="2657"/>
                </a:lnTo>
                <a:lnTo>
                  <a:pt x="2785" y="2657"/>
                </a:lnTo>
                <a:lnTo>
                  <a:pt x="2791" y="2657"/>
                </a:lnTo>
                <a:lnTo>
                  <a:pt x="2791" y="2663"/>
                </a:lnTo>
                <a:lnTo>
                  <a:pt x="2791" y="2663"/>
                </a:lnTo>
                <a:lnTo>
                  <a:pt x="2791" y="2663"/>
                </a:lnTo>
                <a:lnTo>
                  <a:pt x="2791" y="2663"/>
                </a:lnTo>
                <a:lnTo>
                  <a:pt x="2791" y="2663"/>
                </a:lnTo>
                <a:lnTo>
                  <a:pt x="2791" y="2663"/>
                </a:lnTo>
                <a:lnTo>
                  <a:pt x="2791" y="2663"/>
                </a:lnTo>
                <a:lnTo>
                  <a:pt x="2791" y="2663"/>
                </a:lnTo>
                <a:lnTo>
                  <a:pt x="2791" y="2669"/>
                </a:lnTo>
                <a:lnTo>
                  <a:pt x="2791" y="2669"/>
                </a:lnTo>
                <a:lnTo>
                  <a:pt x="2791" y="2669"/>
                </a:lnTo>
                <a:lnTo>
                  <a:pt x="2797" y="2669"/>
                </a:lnTo>
                <a:lnTo>
                  <a:pt x="2797" y="2669"/>
                </a:lnTo>
                <a:lnTo>
                  <a:pt x="2797" y="2669"/>
                </a:lnTo>
                <a:lnTo>
                  <a:pt x="2809" y="2663"/>
                </a:lnTo>
                <a:lnTo>
                  <a:pt x="2809" y="2663"/>
                </a:lnTo>
                <a:lnTo>
                  <a:pt x="2815" y="2663"/>
                </a:lnTo>
                <a:lnTo>
                  <a:pt x="2815" y="2663"/>
                </a:lnTo>
                <a:lnTo>
                  <a:pt x="2821" y="2657"/>
                </a:lnTo>
                <a:lnTo>
                  <a:pt x="2821" y="2657"/>
                </a:lnTo>
                <a:lnTo>
                  <a:pt x="2821" y="2657"/>
                </a:lnTo>
                <a:lnTo>
                  <a:pt x="2821" y="2651"/>
                </a:lnTo>
                <a:lnTo>
                  <a:pt x="2815" y="2651"/>
                </a:lnTo>
                <a:lnTo>
                  <a:pt x="2815" y="2651"/>
                </a:lnTo>
                <a:lnTo>
                  <a:pt x="2809" y="2651"/>
                </a:lnTo>
                <a:lnTo>
                  <a:pt x="2809" y="2651"/>
                </a:lnTo>
                <a:lnTo>
                  <a:pt x="2809" y="2651"/>
                </a:lnTo>
                <a:lnTo>
                  <a:pt x="2809" y="2651"/>
                </a:lnTo>
                <a:lnTo>
                  <a:pt x="2809" y="2651"/>
                </a:lnTo>
                <a:lnTo>
                  <a:pt x="2809" y="2651"/>
                </a:lnTo>
                <a:lnTo>
                  <a:pt x="2815" y="2651"/>
                </a:lnTo>
                <a:lnTo>
                  <a:pt x="2815" y="2645"/>
                </a:lnTo>
                <a:lnTo>
                  <a:pt x="2809" y="2645"/>
                </a:lnTo>
                <a:lnTo>
                  <a:pt x="2809" y="2645"/>
                </a:lnTo>
                <a:lnTo>
                  <a:pt x="2809" y="2645"/>
                </a:lnTo>
                <a:lnTo>
                  <a:pt x="2809" y="2645"/>
                </a:lnTo>
                <a:lnTo>
                  <a:pt x="2809" y="2645"/>
                </a:lnTo>
                <a:lnTo>
                  <a:pt x="2803" y="2639"/>
                </a:lnTo>
                <a:lnTo>
                  <a:pt x="2803" y="2639"/>
                </a:lnTo>
                <a:lnTo>
                  <a:pt x="2803" y="2639"/>
                </a:lnTo>
                <a:lnTo>
                  <a:pt x="2803" y="2639"/>
                </a:lnTo>
                <a:lnTo>
                  <a:pt x="2803" y="2639"/>
                </a:lnTo>
                <a:lnTo>
                  <a:pt x="2803" y="2639"/>
                </a:lnTo>
                <a:lnTo>
                  <a:pt x="2803" y="2639"/>
                </a:lnTo>
                <a:lnTo>
                  <a:pt x="2803" y="2639"/>
                </a:lnTo>
                <a:lnTo>
                  <a:pt x="2803" y="2639"/>
                </a:lnTo>
                <a:lnTo>
                  <a:pt x="2803" y="2633"/>
                </a:lnTo>
                <a:lnTo>
                  <a:pt x="2803" y="2633"/>
                </a:lnTo>
                <a:lnTo>
                  <a:pt x="2803" y="2633"/>
                </a:lnTo>
                <a:lnTo>
                  <a:pt x="2803" y="2633"/>
                </a:lnTo>
                <a:lnTo>
                  <a:pt x="2797" y="2627"/>
                </a:lnTo>
                <a:lnTo>
                  <a:pt x="2797" y="2627"/>
                </a:lnTo>
                <a:lnTo>
                  <a:pt x="2797" y="2627"/>
                </a:lnTo>
                <a:lnTo>
                  <a:pt x="2797" y="2627"/>
                </a:lnTo>
                <a:lnTo>
                  <a:pt x="2797" y="2627"/>
                </a:lnTo>
                <a:lnTo>
                  <a:pt x="2797" y="2627"/>
                </a:lnTo>
                <a:lnTo>
                  <a:pt x="2797" y="2622"/>
                </a:lnTo>
                <a:lnTo>
                  <a:pt x="2797" y="2622"/>
                </a:lnTo>
                <a:lnTo>
                  <a:pt x="2797" y="2622"/>
                </a:lnTo>
                <a:lnTo>
                  <a:pt x="2797" y="2627"/>
                </a:lnTo>
                <a:lnTo>
                  <a:pt x="2797" y="2627"/>
                </a:lnTo>
                <a:lnTo>
                  <a:pt x="2803" y="2622"/>
                </a:lnTo>
                <a:lnTo>
                  <a:pt x="2803" y="2622"/>
                </a:lnTo>
                <a:lnTo>
                  <a:pt x="2803" y="2627"/>
                </a:lnTo>
                <a:lnTo>
                  <a:pt x="2803" y="2627"/>
                </a:lnTo>
                <a:lnTo>
                  <a:pt x="2803" y="2627"/>
                </a:lnTo>
                <a:lnTo>
                  <a:pt x="2803" y="2627"/>
                </a:lnTo>
                <a:lnTo>
                  <a:pt x="2803" y="2627"/>
                </a:lnTo>
                <a:lnTo>
                  <a:pt x="2809" y="2627"/>
                </a:lnTo>
                <a:lnTo>
                  <a:pt x="2809" y="2627"/>
                </a:lnTo>
                <a:lnTo>
                  <a:pt x="2809" y="2633"/>
                </a:lnTo>
                <a:lnTo>
                  <a:pt x="2809" y="2633"/>
                </a:lnTo>
                <a:lnTo>
                  <a:pt x="2809" y="2633"/>
                </a:lnTo>
                <a:lnTo>
                  <a:pt x="2809" y="2633"/>
                </a:lnTo>
                <a:lnTo>
                  <a:pt x="2809" y="2633"/>
                </a:lnTo>
                <a:lnTo>
                  <a:pt x="2809" y="2633"/>
                </a:lnTo>
                <a:lnTo>
                  <a:pt x="2809" y="2633"/>
                </a:lnTo>
                <a:lnTo>
                  <a:pt x="2809" y="2633"/>
                </a:lnTo>
                <a:lnTo>
                  <a:pt x="2809" y="2633"/>
                </a:lnTo>
                <a:lnTo>
                  <a:pt x="2809" y="2633"/>
                </a:lnTo>
                <a:lnTo>
                  <a:pt x="2809" y="2633"/>
                </a:lnTo>
                <a:lnTo>
                  <a:pt x="2809" y="2633"/>
                </a:lnTo>
                <a:lnTo>
                  <a:pt x="2815" y="2633"/>
                </a:lnTo>
                <a:lnTo>
                  <a:pt x="2815" y="2633"/>
                </a:lnTo>
                <a:lnTo>
                  <a:pt x="2815" y="2633"/>
                </a:lnTo>
                <a:lnTo>
                  <a:pt x="2815" y="2639"/>
                </a:lnTo>
                <a:lnTo>
                  <a:pt x="2815" y="2633"/>
                </a:lnTo>
                <a:lnTo>
                  <a:pt x="2821" y="2639"/>
                </a:lnTo>
                <a:lnTo>
                  <a:pt x="2821" y="2639"/>
                </a:lnTo>
                <a:lnTo>
                  <a:pt x="2815" y="2639"/>
                </a:lnTo>
                <a:lnTo>
                  <a:pt x="2815" y="2639"/>
                </a:lnTo>
                <a:lnTo>
                  <a:pt x="2815" y="2639"/>
                </a:lnTo>
                <a:lnTo>
                  <a:pt x="2815" y="2639"/>
                </a:lnTo>
                <a:lnTo>
                  <a:pt x="2815" y="2639"/>
                </a:lnTo>
                <a:lnTo>
                  <a:pt x="2815" y="2639"/>
                </a:lnTo>
                <a:lnTo>
                  <a:pt x="2821" y="2639"/>
                </a:lnTo>
                <a:lnTo>
                  <a:pt x="2827" y="2633"/>
                </a:lnTo>
                <a:lnTo>
                  <a:pt x="2821" y="2633"/>
                </a:lnTo>
                <a:lnTo>
                  <a:pt x="2821" y="2633"/>
                </a:lnTo>
                <a:lnTo>
                  <a:pt x="2821" y="2633"/>
                </a:lnTo>
                <a:lnTo>
                  <a:pt x="2821" y="2633"/>
                </a:lnTo>
                <a:lnTo>
                  <a:pt x="2821" y="2633"/>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2"/>
                </a:lnTo>
                <a:lnTo>
                  <a:pt x="2821" y="2622"/>
                </a:lnTo>
                <a:lnTo>
                  <a:pt x="2821" y="2622"/>
                </a:lnTo>
                <a:lnTo>
                  <a:pt x="2821" y="2622"/>
                </a:lnTo>
                <a:lnTo>
                  <a:pt x="2815" y="2622"/>
                </a:lnTo>
                <a:lnTo>
                  <a:pt x="2821" y="2622"/>
                </a:lnTo>
                <a:lnTo>
                  <a:pt x="2821" y="2622"/>
                </a:lnTo>
                <a:lnTo>
                  <a:pt x="2821" y="2622"/>
                </a:lnTo>
                <a:lnTo>
                  <a:pt x="2821" y="2622"/>
                </a:lnTo>
                <a:lnTo>
                  <a:pt x="2821" y="2622"/>
                </a:lnTo>
                <a:lnTo>
                  <a:pt x="2821" y="2622"/>
                </a:lnTo>
                <a:lnTo>
                  <a:pt x="2821" y="2622"/>
                </a:lnTo>
                <a:lnTo>
                  <a:pt x="2827" y="2622"/>
                </a:lnTo>
                <a:lnTo>
                  <a:pt x="2827" y="2627"/>
                </a:lnTo>
                <a:lnTo>
                  <a:pt x="2827" y="2627"/>
                </a:lnTo>
                <a:lnTo>
                  <a:pt x="2827" y="2627"/>
                </a:lnTo>
                <a:lnTo>
                  <a:pt x="2821" y="2627"/>
                </a:lnTo>
                <a:lnTo>
                  <a:pt x="2821" y="2627"/>
                </a:lnTo>
                <a:lnTo>
                  <a:pt x="2827" y="2633"/>
                </a:lnTo>
                <a:lnTo>
                  <a:pt x="2827" y="2633"/>
                </a:lnTo>
                <a:lnTo>
                  <a:pt x="2827" y="2633"/>
                </a:lnTo>
                <a:lnTo>
                  <a:pt x="2827" y="2633"/>
                </a:lnTo>
                <a:lnTo>
                  <a:pt x="2827" y="2633"/>
                </a:lnTo>
                <a:lnTo>
                  <a:pt x="2827" y="2633"/>
                </a:lnTo>
                <a:lnTo>
                  <a:pt x="2827" y="2633"/>
                </a:lnTo>
                <a:lnTo>
                  <a:pt x="2833" y="2633"/>
                </a:lnTo>
                <a:lnTo>
                  <a:pt x="2833" y="2633"/>
                </a:lnTo>
                <a:lnTo>
                  <a:pt x="2833" y="2627"/>
                </a:lnTo>
                <a:lnTo>
                  <a:pt x="2833" y="2627"/>
                </a:lnTo>
                <a:lnTo>
                  <a:pt x="2838" y="2627"/>
                </a:lnTo>
                <a:lnTo>
                  <a:pt x="2838" y="2627"/>
                </a:lnTo>
                <a:lnTo>
                  <a:pt x="2833" y="2627"/>
                </a:lnTo>
                <a:lnTo>
                  <a:pt x="2838" y="2627"/>
                </a:lnTo>
                <a:lnTo>
                  <a:pt x="2838" y="2627"/>
                </a:lnTo>
                <a:lnTo>
                  <a:pt x="2838" y="2627"/>
                </a:lnTo>
                <a:lnTo>
                  <a:pt x="2838" y="2627"/>
                </a:lnTo>
                <a:lnTo>
                  <a:pt x="2838" y="2627"/>
                </a:lnTo>
                <a:lnTo>
                  <a:pt x="2844" y="2627"/>
                </a:lnTo>
                <a:lnTo>
                  <a:pt x="2844" y="2627"/>
                </a:lnTo>
                <a:lnTo>
                  <a:pt x="2844" y="2627"/>
                </a:lnTo>
                <a:lnTo>
                  <a:pt x="2844" y="2627"/>
                </a:lnTo>
                <a:lnTo>
                  <a:pt x="2838" y="2633"/>
                </a:lnTo>
                <a:lnTo>
                  <a:pt x="2838" y="2633"/>
                </a:lnTo>
                <a:lnTo>
                  <a:pt x="2838" y="2633"/>
                </a:lnTo>
                <a:lnTo>
                  <a:pt x="2838" y="2633"/>
                </a:lnTo>
                <a:lnTo>
                  <a:pt x="2844" y="2633"/>
                </a:lnTo>
                <a:lnTo>
                  <a:pt x="2844" y="2633"/>
                </a:lnTo>
                <a:lnTo>
                  <a:pt x="2844" y="2633"/>
                </a:lnTo>
                <a:lnTo>
                  <a:pt x="2844" y="2633"/>
                </a:lnTo>
                <a:lnTo>
                  <a:pt x="2844" y="2633"/>
                </a:lnTo>
                <a:lnTo>
                  <a:pt x="2844" y="2633"/>
                </a:lnTo>
                <a:lnTo>
                  <a:pt x="2850" y="2633"/>
                </a:lnTo>
                <a:lnTo>
                  <a:pt x="2850" y="2633"/>
                </a:lnTo>
                <a:lnTo>
                  <a:pt x="2850" y="2633"/>
                </a:lnTo>
                <a:lnTo>
                  <a:pt x="2850" y="2633"/>
                </a:lnTo>
                <a:lnTo>
                  <a:pt x="2844" y="2639"/>
                </a:lnTo>
                <a:lnTo>
                  <a:pt x="2844" y="2639"/>
                </a:lnTo>
                <a:lnTo>
                  <a:pt x="2838" y="2639"/>
                </a:lnTo>
                <a:lnTo>
                  <a:pt x="2838" y="2639"/>
                </a:lnTo>
                <a:lnTo>
                  <a:pt x="2844" y="2639"/>
                </a:lnTo>
                <a:lnTo>
                  <a:pt x="2844" y="2639"/>
                </a:lnTo>
                <a:lnTo>
                  <a:pt x="2850" y="2633"/>
                </a:lnTo>
                <a:lnTo>
                  <a:pt x="2856" y="2633"/>
                </a:lnTo>
                <a:lnTo>
                  <a:pt x="2856" y="2633"/>
                </a:lnTo>
                <a:lnTo>
                  <a:pt x="2856" y="2633"/>
                </a:lnTo>
                <a:lnTo>
                  <a:pt x="2856" y="2633"/>
                </a:lnTo>
                <a:lnTo>
                  <a:pt x="2862" y="2633"/>
                </a:lnTo>
                <a:lnTo>
                  <a:pt x="2862" y="2633"/>
                </a:lnTo>
                <a:lnTo>
                  <a:pt x="2862" y="2633"/>
                </a:lnTo>
                <a:lnTo>
                  <a:pt x="2862" y="2633"/>
                </a:lnTo>
                <a:lnTo>
                  <a:pt x="2862" y="2633"/>
                </a:lnTo>
                <a:lnTo>
                  <a:pt x="2862" y="2633"/>
                </a:lnTo>
                <a:lnTo>
                  <a:pt x="2862" y="2639"/>
                </a:lnTo>
                <a:lnTo>
                  <a:pt x="2862" y="2639"/>
                </a:lnTo>
                <a:lnTo>
                  <a:pt x="2862" y="2639"/>
                </a:lnTo>
                <a:lnTo>
                  <a:pt x="2862" y="2639"/>
                </a:lnTo>
                <a:lnTo>
                  <a:pt x="2844" y="2645"/>
                </a:lnTo>
                <a:lnTo>
                  <a:pt x="2844" y="2645"/>
                </a:lnTo>
                <a:lnTo>
                  <a:pt x="2844" y="2645"/>
                </a:lnTo>
                <a:lnTo>
                  <a:pt x="2838" y="2651"/>
                </a:lnTo>
                <a:lnTo>
                  <a:pt x="2838" y="2651"/>
                </a:lnTo>
                <a:lnTo>
                  <a:pt x="2844" y="2651"/>
                </a:lnTo>
                <a:lnTo>
                  <a:pt x="2844" y="2645"/>
                </a:lnTo>
                <a:lnTo>
                  <a:pt x="2850" y="2645"/>
                </a:lnTo>
                <a:lnTo>
                  <a:pt x="2856" y="2645"/>
                </a:lnTo>
                <a:lnTo>
                  <a:pt x="2862" y="2639"/>
                </a:lnTo>
                <a:lnTo>
                  <a:pt x="2868" y="2639"/>
                </a:lnTo>
                <a:lnTo>
                  <a:pt x="2874" y="2633"/>
                </a:lnTo>
                <a:lnTo>
                  <a:pt x="2874" y="2633"/>
                </a:lnTo>
                <a:lnTo>
                  <a:pt x="2880" y="2633"/>
                </a:lnTo>
                <a:lnTo>
                  <a:pt x="2892" y="2627"/>
                </a:lnTo>
                <a:lnTo>
                  <a:pt x="2886" y="2627"/>
                </a:lnTo>
                <a:lnTo>
                  <a:pt x="2886" y="2627"/>
                </a:lnTo>
                <a:lnTo>
                  <a:pt x="2886" y="2627"/>
                </a:lnTo>
                <a:lnTo>
                  <a:pt x="2880" y="2627"/>
                </a:lnTo>
                <a:lnTo>
                  <a:pt x="2868" y="2633"/>
                </a:lnTo>
                <a:lnTo>
                  <a:pt x="2868" y="2633"/>
                </a:lnTo>
                <a:lnTo>
                  <a:pt x="2868" y="2633"/>
                </a:lnTo>
                <a:lnTo>
                  <a:pt x="2868" y="2633"/>
                </a:lnTo>
                <a:lnTo>
                  <a:pt x="2868" y="2633"/>
                </a:lnTo>
                <a:lnTo>
                  <a:pt x="2868" y="2633"/>
                </a:lnTo>
                <a:lnTo>
                  <a:pt x="2868" y="2633"/>
                </a:lnTo>
                <a:lnTo>
                  <a:pt x="2868" y="2633"/>
                </a:lnTo>
                <a:lnTo>
                  <a:pt x="2868" y="2633"/>
                </a:lnTo>
                <a:lnTo>
                  <a:pt x="2868" y="2633"/>
                </a:lnTo>
                <a:lnTo>
                  <a:pt x="2868" y="2633"/>
                </a:lnTo>
                <a:lnTo>
                  <a:pt x="2868" y="2633"/>
                </a:lnTo>
                <a:lnTo>
                  <a:pt x="2868" y="2627"/>
                </a:lnTo>
                <a:lnTo>
                  <a:pt x="2868" y="2627"/>
                </a:lnTo>
                <a:lnTo>
                  <a:pt x="2874" y="2627"/>
                </a:lnTo>
                <a:lnTo>
                  <a:pt x="2880" y="2622"/>
                </a:lnTo>
                <a:lnTo>
                  <a:pt x="2880" y="2622"/>
                </a:lnTo>
                <a:lnTo>
                  <a:pt x="2886" y="2622"/>
                </a:lnTo>
                <a:lnTo>
                  <a:pt x="2886" y="2622"/>
                </a:lnTo>
                <a:lnTo>
                  <a:pt x="2892" y="2622"/>
                </a:lnTo>
                <a:lnTo>
                  <a:pt x="2898" y="2622"/>
                </a:lnTo>
                <a:lnTo>
                  <a:pt x="2904" y="2622"/>
                </a:lnTo>
                <a:lnTo>
                  <a:pt x="2910" y="2616"/>
                </a:lnTo>
                <a:lnTo>
                  <a:pt x="2915" y="2610"/>
                </a:lnTo>
                <a:lnTo>
                  <a:pt x="2915" y="2610"/>
                </a:lnTo>
                <a:lnTo>
                  <a:pt x="2921" y="2610"/>
                </a:lnTo>
                <a:lnTo>
                  <a:pt x="2921" y="2604"/>
                </a:lnTo>
                <a:lnTo>
                  <a:pt x="2921" y="2604"/>
                </a:lnTo>
                <a:lnTo>
                  <a:pt x="2927" y="2604"/>
                </a:lnTo>
                <a:lnTo>
                  <a:pt x="2927" y="2604"/>
                </a:lnTo>
                <a:lnTo>
                  <a:pt x="2927" y="2604"/>
                </a:lnTo>
                <a:lnTo>
                  <a:pt x="2927" y="2604"/>
                </a:lnTo>
                <a:lnTo>
                  <a:pt x="2933" y="2598"/>
                </a:lnTo>
                <a:lnTo>
                  <a:pt x="2933" y="2598"/>
                </a:lnTo>
                <a:lnTo>
                  <a:pt x="2933" y="2592"/>
                </a:lnTo>
                <a:lnTo>
                  <a:pt x="2939" y="2592"/>
                </a:lnTo>
                <a:lnTo>
                  <a:pt x="2945" y="2586"/>
                </a:lnTo>
                <a:lnTo>
                  <a:pt x="2945" y="2586"/>
                </a:lnTo>
                <a:lnTo>
                  <a:pt x="2945" y="2586"/>
                </a:lnTo>
                <a:lnTo>
                  <a:pt x="2945" y="2586"/>
                </a:lnTo>
                <a:lnTo>
                  <a:pt x="2945" y="2586"/>
                </a:lnTo>
                <a:lnTo>
                  <a:pt x="2945" y="2580"/>
                </a:lnTo>
                <a:lnTo>
                  <a:pt x="2945" y="2580"/>
                </a:lnTo>
                <a:lnTo>
                  <a:pt x="2945" y="2574"/>
                </a:lnTo>
                <a:lnTo>
                  <a:pt x="2945" y="2574"/>
                </a:lnTo>
                <a:lnTo>
                  <a:pt x="2945" y="2574"/>
                </a:lnTo>
                <a:lnTo>
                  <a:pt x="2945" y="2574"/>
                </a:lnTo>
                <a:lnTo>
                  <a:pt x="2945" y="2568"/>
                </a:lnTo>
                <a:lnTo>
                  <a:pt x="2945" y="2568"/>
                </a:lnTo>
                <a:lnTo>
                  <a:pt x="2945" y="2568"/>
                </a:lnTo>
                <a:lnTo>
                  <a:pt x="2945" y="2568"/>
                </a:lnTo>
                <a:lnTo>
                  <a:pt x="2951" y="2568"/>
                </a:lnTo>
                <a:lnTo>
                  <a:pt x="2951" y="2574"/>
                </a:lnTo>
                <a:lnTo>
                  <a:pt x="2951" y="2574"/>
                </a:lnTo>
                <a:lnTo>
                  <a:pt x="2951" y="2574"/>
                </a:lnTo>
                <a:lnTo>
                  <a:pt x="2951" y="2574"/>
                </a:lnTo>
                <a:lnTo>
                  <a:pt x="2957" y="2568"/>
                </a:lnTo>
                <a:lnTo>
                  <a:pt x="2963" y="2562"/>
                </a:lnTo>
                <a:lnTo>
                  <a:pt x="2963" y="2562"/>
                </a:lnTo>
                <a:lnTo>
                  <a:pt x="2963" y="2562"/>
                </a:lnTo>
                <a:lnTo>
                  <a:pt x="2963" y="2562"/>
                </a:lnTo>
                <a:lnTo>
                  <a:pt x="2963" y="2562"/>
                </a:lnTo>
                <a:lnTo>
                  <a:pt x="2963" y="2562"/>
                </a:lnTo>
                <a:lnTo>
                  <a:pt x="2963" y="2562"/>
                </a:lnTo>
                <a:lnTo>
                  <a:pt x="2963" y="2562"/>
                </a:lnTo>
                <a:lnTo>
                  <a:pt x="2963" y="2562"/>
                </a:lnTo>
                <a:lnTo>
                  <a:pt x="2963" y="2562"/>
                </a:lnTo>
                <a:lnTo>
                  <a:pt x="2963" y="2562"/>
                </a:lnTo>
                <a:lnTo>
                  <a:pt x="2963" y="2562"/>
                </a:lnTo>
                <a:lnTo>
                  <a:pt x="2963" y="2556"/>
                </a:lnTo>
                <a:lnTo>
                  <a:pt x="2969" y="2556"/>
                </a:lnTo>
                <a:lnTo>
                  <a:pt x="2969" y="2556"/>
                </a:lnTo>
                <a:lnTo>
                  <a:pt x="2969" y="2556"/>
                </a:lnTo>
                <a:lnTo>
                  <a:pt x="2969" y="2556"/>
                </a:lnTo>
                <a:lnTo>
                  <a:pt x="2969" y="2556"/>
                </a:lnTo>
                <a:lnTo>
                  <a:pt x="2969" y="2556"/>
                </a:lnTo>
                <a:lnTo>
                  <a:pt x="2969" y="2556"/>
                </a:lnTo>
                <a:lnTo>
                  <a:pt x="2969" y="2556"/>
                </a:lnTo>
                <a:lnTo>
                  <a:pt x="2975" y="2550"/>
                </a:lnTo>
                <a:lnTo>
                  <a:pt x="2975" y="2550"/>
                </a:lnTo>
                <a:lnTo>
                  <a:pt x="2975" y="2550"/>
                </a:lnTo>
                <a:lnTo>
                  <a:pt x="2975" y="2550"/>
                </a:lnTo>
                <a:lnTo>
                  <a:pt x="2981" y="2550"/>
                </a:lnTo>
                <a:lnTo>
                  <a:pt x="2981" y="2550"/>
                </a:lnTo>
                <a:lnTo>
                  <a:pt x="2981" y="2550"/>
                </a:lnTo>
                <a:lnTo>
                  <a:pt x="2981" y="2550"/>
                </a:lnTo>
                <a:lnTo>
                  <a:pt x="2981" y="2550"/>
                </a:lnTo>
                <a:lnTo>
                  <a:pt x="2981" y="2550"/>
                </a:lnTo>
                <a:lnTo>
                  <a:pt x="2981" y="2550"/>
                </a:lnTo>
                <a:lnTo>
                  <a:pt x="2975" y="2550"/>
                </a:lnTo>
                <a:lnTo>
                  <a:pt x="2975" y="2550"/>
                </a:lnTo>
                <a:lnTo>
                  <a:pt x="2975"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38"/>
                </a:lnTo>
                <a:lnTo>
                  <a:pt x="2963" y="2538"/>
                </a:lnTo>
                <a:lnTo>
                  <a:pt x="2963" y="2538"/>
                </a:lnTo>
                <a:lnTo>
                  <a:pt x="2969" y="2538"/>
                </a:lnTo>
                <a:lnTo>
                  <a:pt x="2969" y="2538"/>
                </a:lnTo>
                <a:lnTo>
                  <a:pt x="2969" y="2538"/>
                </a:lnTo>
                <a:lnTo>
                  <a:pt x="2969" y="2538"/>
                </a:lnTo>
                <a:lnTo>
                  <a:pt x="2969" y="2538"/>
                </a:lnTo>
                <a:lnTo>
                  <a:pt x="2969" y="2538"/>
                </a:lnTo>
                <a:lnTo>
                  <a:pt x="2963" y="2533"/>
                </a:lnTo>
                <a:lnTo>
                  <a:pt x="2957" y="2533"/>
                </a:lnTo>
                <a:lnTo>
                  <a:pt x="2963" y="2527"/>
                </a:lnTo>
                <a:lnTo>
                  <a:pt x="2963" y="2527"/>
                </a:lnTo>
                <a:lnTo>
                  <a:pt x="2963" y="2527"/>
                </a:lnTo>
                <a:lnTo>
                  <a:pt x="2963" y="2527"/>
                </a:lnTo>
                <a:lnTo>
                  <a:pt x="2963" y="2521"/>
                </a:lnTo>
                <a:lnTo>
                  <a:pt x="2963" y="2521"/>
                </a:lnTo>
                <a:lnTo>
                  <a:pt x="2963" y="2521"/>
                </a:lnTo>
                <a:lnTo>
                  <a:pt x="2963" y="2521"/>
                </a:lnTo>
                <a:lnTo>
                  <a:pt x="2963" y="2521"/>
                </a:lnTo>
                <a:lnTo>
                  <a:pt x="2963" y="2521"/>
                </a:lnTo>
                <a:lnTo>
                  <a:pt x="2963" y="2515"/>
                </a:lnTo>
                <a:lnTo>
                  <a:pt x="2963" y="2515"/>
                </a:lnTo>
                <a:lnTo>
                  <a:pt x="2963" y="2515"/>
                </a:lnTo>
                <a:lnTo>
                  <a:pt x="2963" y="2515"/>
                </a:lnTo>
                <a:lnTo>
                  <a:pt x="2963" y="2515"/>
                </a:lnTo>
                <a:lnTo>
                  <a:pt x="2963" y="2515"/>
                </a:lnTo>
                <a:lnTo>
                  <a:pt x="2957" y="2515"/>
                </a:lnTo>
                <a:lnTo>
                  <a:pt x="2957" y="2515"/>
                </a:lnTo>
                <a:lnTo>
                  <a:pt x="2957" y="2515"/>
                </a:lnTo>
                <a:lnTo>
                  <a:pt x="2957" y="2515"/>
                </a:lnTo>
                <a:lnTo>
                  <a:pt x="2957" y="2515"/>
                </a:lnTo>
                <a:lnTo>
                  <a:pt x="2957" y="2515"/>
                </a:lnTo>
                <a:lnTo>
                  <a:pt x="2957" y="2509"/>
                </a:lnTo>
                <a:lnTo>
                  <a:pt x="2957" y="2509"/>
                </a:lnTo>
                <a:lnTo>
                  <a:pt x="2957" y="2509"/>
                </a:lnTo>
                <a:lnTo>
                  <a:pt x="2957" y="2509"/>
                </a:lnTo>
                <a:lnTo>
                  <a:pt x="2963" y="2509"/>
                </a:lnTo>
                <a:lnTo>
                  <a:pt x="2963" y="2509"/>
                </a:lnTo>
                <a:lnTo>
                  <a:pt x="2963" y="2515"/>
                </a:lnTo>
                <a:lnTo>
                  <a:pt x="2969" y="2515"/>
                </a:lnTo>
                <a:lnTo>
                  <a:pt x="2969" y="2515"/>
                </a:lnTo>
                <a:lnTo>
                  <a:pt x="2969" y="2515"/>
                </a:lnTo>
                <a:lnTo>
                  <a:pt x="2969" y="2515"/>
                </a:lnTo>
                <a:lnTo>
                  <a:pt x="2969" y="2521"/>
                </a:lnTo>
                <a:lnTo>
                  <a:pt x="2969" y="2515"/>
                </a:lnTo>
                <a:lnTo>
                  <a:pt x="2969" y="2515"/>
                </a:lnTo>
                <a:lnTo>
                  <a:pt x="2975" y="2515"/>
                </a:lnTo>
                <a:lnTo>
                  <a:pt x="2975" y="2515"/>
                </a:lnTo>
                <a:lnTo>
                  <a:pt x="2975" y="2515"/>
                </a:lnTo>
                <a:lnTo>
                  <a:pt x="2975" y="2509"/>
                </a:lnTo>
                <a:lnTo>
                  <a:pt x="2981" y="2509"/>
                </a:lnTo>
                <a:lnTo>
                  <a:pt x="2981" y="2509"/>
                </a:lnTo>
                <a:lnTo>
                  <a:pt x="2981" y="2509"/>
                </a:lnTo>
                <a:lnTo>
                  <a:pt x="2981" y="2503"/>
                </a:lnTo>
                <a:lnTo>
                  <a:pt x="2981" y="2503"/>
                </a:lnTo>
                <a:lnTo>
                  <a:pt x="2981" y="2503"/>
                </a:lnTo>
                <a:lnTo>
                  <a:pt x="2981" y="2503"/>
                </a:lnTo>
                <a:lnTo>
                  <a:pt x="2987" y="2503"/>
                </a:lnTo>
                <a:lnTo>
                  <a:pt x="2987" y="2503"/>
                </a:lnTo>
                <a:lnTo>
                  <a:pt x="2987" y="2503"/>
                </a:lnTo>
                <a:lnTo>
                  <a:pt x="2987" y="2503"/>
                </a:lnTo>
                <a:lnTo>
                  <a:pt x="2987" y="2503"/>
                </a:lnTo>
                <a:lnTo>
                  <a:pt x="2993" y="2503"/>
                </a:lnTo>
                <a:lnTo>
                  <a:pt x="2993" y="2509"/>
                </a:lnTo>
                <a:lnTo>
                  <a:pt x="2993" y="2509"/>
                </a:lnTo>
                <a:lnTo>
                  <a:pt x="2993" y="2509"/>
                </a:lnTo>
                <a:lnTo>
                  <a:pt x="2993" y="2509"/>
                </a:lnTo>
                <a:lnTo>
                  <a:pt x="2993" y="2509"/>
                </a:lnTo>
                <a:lnTo>
                  <a:pt x="2993" y="2515"/>
                </a:lnTo>
                <a:lnTo>
                  <a:pt x="2993" y="2515"/>
                </a:lnTo>
                <a:lnTo>
                  <a:pt x="2993" y="2521"/>
                </a:lnTo>
                <a:lnTo>
                  <a:pt x="2993" y="2521"/>
                </a:lnTo>
                <a:lnTo>
                  <a:pt x="2987" y="2527"/>
                </a:lnTo>
                <a:lnTo>
                  <a:pt x="2987" y="2527"/>
                </a:lnTo>
                <a:lnTo>
                  <a:pt x="2987" y="2527"/>
                </a:lnTo>
                <a:lnTo>
                  <a:pt x="2987" y="2527"/>
                </a:lnTo>
                <a:lnTo>
                  <a:pt x="2987" y="2533"/>
                </a:lnTo>
                <a:lnTo>
                  <a:pt x="2987" y="2533"/>
                </a:lnTo>
                <a:lnTo>
                  <a:pt x="2981" y="2533"/>
                </a:lnTo>
                <a:lnTo>
                  <a:pt x="2981" y="2533"/>
                </a:lnTo>
                <a:lnTo>
                  <a:pt x="2981" y="2533"/>
                </a:lnTo>
                <a:lnTo>
                  <a:pt x="2981" y="2533"/>
                </a:lnTo>
                <a:lnTo>
                  <a:pt x="2981" y="2533"/>
                </a:lnTo>
                <a:lnTo>
                  <a:pt x="2987" y="2533"/>
                </a:lnTo>
                <a:lnTo>
                  <a:pt x="2987" y="2533"/>
                </a:lnTo>
                <a:lnTo>
                  <a:pt x="2993" y="2533"/>
                </a:lnTo>
                <a:lnTo>
                  <a:pt x="2993" y="2533"/>
                </a:lnTo>
                <a:lnTo>
                  <a:pt x="2998" y="2533"/>
                </a:lnTo>
                <a:lnTo>
                  <a:pt x="3004" y="2527"/>
                </a:lnTo>
                <a:lnTo>
                  <a:pt x="3004" y="2527"/>
                </a:lnTo>
                <a:lnTo>
                  <a:pt x="3004" y="2527"/>
                </a:lnTo>
                <a:lnTo>
                  <a:pt x="3004" y="2527"/>
                </a:lnTo>
                <a:lnTo>
                  <a:pt x="3010" y="2527"/>
                </a:lnTo>
                <a:lnTo>
                  <a:pt x="3010" y="2533"/>
                </a:lnTo>
                <a:lnTo>
                  <a:pt x="3010" y="2533"/>
                </a:lnTo>
                <a:lnTo>
                  <a:pt x="3010" y="2527"/>
                </a:lnTo>
                <a:lnTo>
                  <a:pt x="3010" y="2527"/>
                </a:lnTo>
                <a:lnTo>
                  <a:pt x="3010" y="2527"/>
                </a:lnTo>
                <a:lnTo>
                  <a:pt x="3010" y="2527"/>
                </a:lnTo>
                <a:lnTo>
                  <a:pt x="3010" y="2533"/>
                </a:lnTo>
                <a:lnTo>
                  <a:pt x="3010" y="2533"/>
                </a:lnTo>
                <a:lnTo>
                  <a:pt x="3010" y="2533"/>
                </a:lnTo>
                <a:lnTo>
                  <a:pt x="3010" y="2533"/>
                </a:lnTo>
                <a:lnTo>
                  <a:pt x="3010" y="2533"/>
                </a:lnTo>
                <a:lnTo>
                  <a:pt x="3004" y="2533"/>
                </a:lnTo>
                <a:lnTo>
                  <a:pt x="3004" y="2533"/>
                </a:lnTo>
                <a:lnTo>
                  <a:pt x="3004" y="2533"/>
                </a:lnTo>
                <a:lnTo>
                  <a:pt x="2998" y="2538"/>
                </a:lnTo>
                <a:lnTo>
                  <a:pt x="2998" y="2538"/>
                </a:lnTo>
                <a:lnTo>
                  <a:pt x="2998" y="2538"/>
                </a:lnTo>
                <a:lnTo>
                  <a:pt x="2998" y="2538"/>
                </a:lnTo>
                <a:lnTo>
                  <a:pt x="2998" y="2538"/>
                </a:lnTo>
                <a:lnTo>
                  <a:pt x="2998" y="2538"/>
                </a:lnTo>
                <a:lnTo>
                  <a:pt x="2993" y="2538"/>
                </a:lnTo>
                <a:lnTo>
                  <a:pt x="2993" y="2538"/>
                </a:lnTo>
                <a:lnTo>
                  <a:pt x="2993" y="2538"/>
                </a:lnTo>
                <a:lnTo>
                  <a:pt x="2981" y="2550"/>
                </a:lnTo>
                <a:lnTo>
                  <a:pt x="2981" y="2550"/>
                </a:lnTo>
                <a:lnTo>
                  <a:pt x="2981" y="2550"/>
                </a:lnTo>
                <a:lnTo>
                  <a:pt x="2981" y="2550"/>
                </a:lnTo>
                <a:lnTo>
                  <a:pt x="2987" y="2550"/>
                </a:lnTo>
                <a:lnTo>
                  <a:pt x="2987" y="2550"/>
                </a:lnTo>
                <a:lnTo>
                  <a:pt x="2993" y="2544"/>
                </a:lnTo>
                <a:lnTo>
                  <a:pt x="2993" y="2544"/>
                </a:lnTo>
                <a:lnTo>
                  <a:pt x="2998" y="2538"/>
                </a:lnTo>
                <a:lnTo>
                  <a:pt x="3028" y="2527"/>
                </a:lnTo>
                <a:lnTo>
                  <a:pt x="3040" y="2521"/>
                </a:lnTo>
                <a:lnTo>
                  <a:pt x="3046" y="2515"/>
                </a:lnTo>
                <a:lnTo>
                  <a:pt x="3052" y="2515"/>
                </a:lnTo>
                <a:lnTo>
                  <a:pt x="3058" y="2515"/>
                </a:lnTo>
                <a:lnTo>
                  <a:pt x="3058" y="2515"/>
                </a:lnTo>
                <a:lnTo>
                  <a:pt x="3058" y="2515"/>
                </a:lnTo>
                <a:lnTo>
                  <a:pt x="3070" y="2515"/>
                </a:lnTo>
                <a:lnTo>
                  <a:pt x="3070" y="2515"/>
                </a:lnTo>
                <a:lnTo>
                  <a:pt x="3070" y="2515"/>
                </a:lnTo>
                <a:lnTo>
                  <a:pt x="3075" y="2515"/>
                </a:lnTo>
                <a:lnTo>
                  <a:pt x="3075" y="2515"/>
                </a:lnTo>
                <a:lnTo>
                  <a:pt x="3075" y="2515"/>
                </a:lnTo>
                <a:lnTo>
                  <a:pt x="3075" y="2509"/>
                </a:lnTo>
                <a:lnTo>
                  <a:pt x="3075" y="2509"/>
                </a:lnTo>
                <a:lnTo>
                  <a:pt x="3070" y="2503"/>
                </a:lnTo>
                <a:lnTo>
                  <a:pt x="3070" y="2503"/>
                </a:lnTo>
                <a:lnTo>
                  <a:pt x="3070" y="2503"/>
                </a:lnTo>
                <a:lnTo>
                  <a:pt x="3070" y="2497"/>
                </a:lnTo>
                <a:lnTo>
                  <a:pt x="3070" y="2491"/>
                </a:lnTo>
                <a:lnTo>
                  <a:pt x="3075" y="2485"/>
                </a:lnTo>
                <a:lnTo>
                  <a:pt x="3075" y="2479"/>
                </a:lnTo>
                <a:lnTo>
                  <a:pt x="3075" y="2479"/>
                </a:lnTo>
                <a:lnTo>
                  <a:pt x="3075" y="2479"/>
                </a:lnTo>
                <a:lnTo>
                  <a:pt x="3081" y="2479"/>
                </a:lnTo>
                <a:lnTo>
                  <a:pt x="3081" y="2479"/>
                </a:lnTo>
                <a:lnTo>
                  <a:pt x="3081" y="2479"/>
                </a:lnTo>
                <a:lnTo>
                  <a:pt x="3081" y="2479"/>
                </a:lnTo>
                <a:lnTo>
                  <a:pt x="3087" y="2485"/>
                </a:lnTo>
                <a:lnTo>
                  <a:pt x="3081" y="2491"/>
                </a:lnTo>
                <a:lnTo>
                  <a:pt x="3081" y="2497"/>
                </a:lnTo>
                <a:lnTo>
                  <a:pt x="3081" y="2497"/>
                </a:lnTo>
                <a:lnTo>
                  <a:pt x="3075" y="2497"/>
                </a:lnTo>
                <a:lnTo>
                  <a:pt x="3075" y="2497"/>
                </a:lnTo>
                <a:lnTo>
                  <a:pt x="3070" y="2503"/>
                </a:lnTo>
                <a:lnTo>
                  <a:pt x="3070" y="2503"/>
                </a:lnTo>
                <a:lnTo>
                  <a:pt x="3070" y="2503"/>
                </a:lnTo>
                <a:lnTo>
                  <a:pt x="3075" y="2509"/>
                </a:lnTo>
                <a:lnTo>
                  <a:pt x="3075" y="2509"/>
                </a:lnTo>
                <a:lnTo>
                  <a:pt x="3075" y="2515"/>
                </a:lnTo>
                <a:lnTo>
                  <a:pt x="3075" y="2515"/>
                </a:lnTo>
                <a:lnTo>
                  <a:pt x="3081" y="2509"/>
                </a:lnTo>
                <a:lnTo>
                  <a:pt x="3081" y="2509"/>
                </a:lnTo>
                <a:lnTo>
                  <a:pt x="3081" y="2509"/>
                </a:lnTo>
                <a:lnTo>
                  <a:pt x="3081" y="2509"/>
                </a:lnTo>
                <a:lnTo>
                  <a:pt x="3087" y="2509"/>
                </a:lnTo>
                <a:lnTo>
                  <a:pt x="3087" y="2509"/>
                </a:lnTo>
                <a:lnTo>
                  <a:pt x="3093" y="2509"/>
                </a:lnTo>
                <a:lnTo>
                  <a:pt x="3099" y="2509"/>
                </a:lnTo>
                <a:lnTo>
                  <a:pt x="3105" y="2509"/>
                </a:lnTo>
                <a:lnTo>
                  <a:pt x="3105" y="2503"/>
                </a:lnTo>
                <a:lnTo>
                  <a:pt x="3105" y="2503"/>
                </a:lnTo>
                <a:lnTo>
                  <a:pt x="3111" y="2503"/>
                </a:lnTo>
                <a:lnTo>
                  <a:pt x="3117" y="2503"/>
                </a:lnTo>
                <a:lnTo>
                  <a:pt x="3117" y="2503"/>
                </a:lnTo>
                <a:lnTo>
                  <a:pt x="3123" y="2503"/>
                </a:lnTo>
                <a:lnTo>
                  <a:pt x="3129" y="2503"/>
                </a:lnTo>
                <a:lnTo>
                  <a:pt x="3129" y="2503"/>
                </a:lnTo>
                <a:lnTo>
                  <a:pt x="3135" y="2503"/>
                </a:lnTo>
                <a:lnTo>
                  <a:pt x="3141" y="2503"/>
                </a:lnTo>
                <a:lnTo>
                  <a:pt x="3153" y="2509"/>
                </a:lnTo>
                <a:lnTo>
                  <a:pt x="3158" y="2509"/>
                </a:lnTo>
                <a:lnTo>
                  <a:pt x="3158" y="2509"/>
                </a:lnTo>
                <a:lnTo>
                  <a:pt x="3164" y="2509"/>
                </a:lnTo>
                <a:lnTo>
                  <a:pt x="3170" y="2515"/>
                </a:lnTo>
                <a:lnTo>
                  <a:pt x="3176" y="2515"/>
                </a:lnTo>
                <a:lnTo>
                  <a:pt x="3182" y="2521"/>
                </a:lnTo>
                <a:lnTo>
                  <a:pt x="3182" y="2521"/>
                </a:lnTo>
                <a:lnTo>
                  <a:pt x="3182" y="2521"/>
                </a:lnTo>
                <a:lnTo>
                  <a:pt x="3194" y="2527"/>
                </a:lnTo>
                <a:lnTo>
                  <a:pt x="3206" y="2527"/>
                </a:lnTo>
                <a:lnTo>
                  <a:pt x="3212" y="2527"/>
                </a:lnTo>
                <a:lnTo>
                  <a:pt x="3212" y="2527"/>
                </a:lnTo>
                <a:lnTo>
                  <a:pt x="3212" y="2527"/>
                </a:lnTo>
                <a:lnTo>
                  <a:pt x="3230" y="2533"/>
                </a:lnTo>
                <a:lnTo>
                  <a:pt x="3235" y="2533"/>
                </a:lnTo>
                <a:lnTo>
                  <a:pt x="3235" y="2533"/>
                </a:lnTo>
                <a:lnTo>
                  <a:pt x="3235" y="2533"/>
                </a:lnTo>
                <a:lnTo>
                  <a:pt x="3241" y="2527"/>
                </a:lnTo>
                <a:lnTo>
                  <a:pt x="3241" y="2527"/>
                </a:lnTo>
                <a:lnTo>
                  <a:pt x="3247" y="2527"/>
                </a:lnTo>
                <a:lnTo>
                  <a:pt x="3253" y="2527"/>
                </a:lnTo>
                <a:lnTo>
                  <a:pt x="3253" y="2527"/>
                </a:lnTo>
                <a:lnTo>
                  <a:pt x="3253" y="2527"/>
                </a:lnTo>
                <a:lnTo>
                  <a:pt x="3253" y="2521"/>
                </a:lnTo>
                <a:lnTo>
                  <a:pt x="3253" y="2521"/>
                </a:lnTo>
                <a:lnTo>
                  <a:pt x="3253" y="2521"/>
                </a:lnTo>
                <a:lnTo>
                  <a:pt x="3253" y="2521"/>
                </a:lnTo>
                <a:lnTo>
                  <a:pt x="3259" y="2521"/>
                </a:lnTo>
                <a:lnTo>
                  <a:pt x="3259" y="2521"/>
                </a:lnTo>
                <a:lnTo>
                  <a:pt x="3259" y="2521"/>
                </a:lnTo>
                <a:lnTo>
                  <a:pt x="3253" y="2521"/>
                </a:lnTo>
                <a:lnTo>
                  <a:pt x="3253" y="2521"/>
                </a:lnTo>
                <a:lnTo>
                  <a:pt x="3253" y="2521"/>
                </a:lnTo>
                <a:lnTo>
                  <a:pt x="3253" y="2521"/>
                </a:lnTo>
                <a:lnTo>
                  <a:pt x="3247" y="2521"/>
                </a:lnTo>
                <a:lnTo>
                  <a:pt x="3247" y="2521"/>
                </a:lnTo>
                <a:lnTo>
                  <a:pt x="3247" y="2521"/>
                </a:lnTo>
                <a:lnTo>
                  <a:pt x="3247" y="2515"/>
                </a:lnTo>
                <a:lnTo>
                  <a:pt x="3247" y="2515"/>
                </a:lnTo>
                <a:lnTo>
                  <a:pt x="3247" y="2515"/>
                </a:lnTo>
                <a:lnTo>
                  <a:pt x="3247" y="2509"/>
                </a:lnTo>
                <a:lnTo>
                  <a:pt x="3247" y="2509"/>
                </a:lnTo>
                <a:lnTo>
                  <a:pt x="3247" y="2509"/>
                </a:lnTo>
                <a:lnTo>
                  <a:pt x="3247" y="2509"/>
                </a:lnTo>
                <a:lnTo>
                  <a:pt x="3247" y="2515"/>
                </a:lnTo>
                <a:lnTo>
                  <a:pt x="3241" y="2515"/>
                </a:lnTo>
                <a:lnTo>
                  <a:pt x="3241" y="2515"/>
                </a:lnTo>
                <a:lnTo>
                  <a:pt x="3241" y="2515"/>
                </a:lnTo>
                <a:lnTo>
                  <a:pt x="3241" y="2515"/>
                </a:lnTo>
                <a:lnTo>
                  <a:pt x="3241" y="2509"/>
                </a:lnTo>
                <a:lnTo>
                  <a:pt x="3241" y="2509"/>
                </a:lnTo>
                <a:lnTo>
                  <a:pt x="3241" y="2503"/>
                </a:lnTo>
                <a:lnTo>
                  <a:pt x="3241" y="2503"/>
                </a:lnTo>
                <a:lnTo>
                  <a:pt x="3241" y="2509"/>
                </a:lnTo>
                <a:lnTo>
                  <a:pt x="3241" y="2509"/>
                </a:lnTo>
                <a:lnTo>
                  <a:pt x="3241" y="2509"/>
                </a:lnTo>
                <a:lnTo>
                  <a:pt x="3241" y="2503"/>
                </a:lnTo>
                <a:lnTo>
                  <a:pt x="3241" y="2503"/>
                </a:lnTo>
                <a:lnTo>
                  <a:pt x="3241" y="2503"/>
                </a:lnTo>
                <a:lnTo>
                  <a:pt x="3247" y="2503"/>
                </a:lnTo>
                <a:lnTo>
                  <a:pt x="3247" y="2503"/>
                </a:lnTo>
                <a:lnTo>
                  <a:pt x="3247" y="2509"/>
                </a:lnTo>
                <a:lnTo>
                  <a:pt x="3247" y="2509"/>
                </a:lnTo>
                <a:lnTo>
                  <a:pt x="3247" y="2509"/>
                </a:lnTo>
                <a:lnTo>
                  <a:pt x="3247" y="2509"/>
                </a:lnTo>
                <a:lnTo>
                  <a:pt x="3247" y="2509"/>
                </a:lnTo>
                <a:lnTo>
                  <a:pt x="3247" y="2509"/>
                </a:lnTo>
                <a:lnTo>
                  <a:pt x="3247" y="2509"/>
                </a:lnTo>
                <a:lnTo>
                  <a:pt x="3247" y="2509"/>
                </a:lnTo>
                <a:lnTo>
                  <a:pt x="3247" y="2503"/>
                </a:lnTo>
                <a:lnTo>
                  <a:pt x="3253" y="2503"/>
                </a:lnTo>
                <a:lnTo>
                  <a:pt x="3253" y="2503"/>
                </a:lnTo>
                <a:lnTo>
                  <a:pt x="3253" y="2503"/>
                </a:lnTo>
                <a:lnTo>
                  <a:pt x="3259" y="2503"/>
                </a:lnTo>
                <a:lnTo>
                  <a:pt x="3259" y="2503"/>
                </a:lnTo>
                <a:lnTo>
                  <a:pt x="3259" y="2503"/>
                </a:lnTo>
                <a:lnTo>
                  <a:pt x="3259" y="2497"/>
                </a:lnTo>
                <a:lnTo>
                  <a:pt x="3259" y="2497"/>
                </a:lnTo>
                <a:lnTo>
                  <a:pt x="3259" y="2497"/>
                </a:lnTo>
                <a:lnTo>
                  <a:pt x="3265" y="2497"/>
                </a:lnTo>
                <a:lnTo>
                  <a:pt x="3265" y="2497"/>
                </a:lnTo>
                <a:lnTo>
                  <a:pt x="3265" y="2497"/>
                </a:lnTo>
                <a:lnTo>
                  <a:pt x="3265" y="2497"/>
                </a:lnTo>
                <a:lnTo>
                  <a:pt x="3271" y="2497"/>
                </a:lnTo>
                <a:lnTo>
                  <a:pt x="3271" y="2497"/>
                </a:lnTo>
                <a:lnTo>
                  <a:pt x="3277" y="2497"/>
                </a:lnTo>
                <a:lnTo>
                  <a:pt x="3277" y="2497"/>
                </a:lnTo>
                <a:lnTo>
                  <a:pt x="3277" y="2497"/>
                </a:lnTo>
                <a:lnTo>
                  <a:pt x="3277" y="2497"/>
                </a:lnTo>
                <a:lnTo>
                  <a:pt x="3277" y="2503"/>
                </a:lnTo>
                <a:lnTo>
                  <a:pt x="3277" y="2503"/>
                </a:lnTo>
                <a:lnTo>
                  <a:pt x="3277" y="2503"/>
                </a:lnTo>
                <a:lnTo>
                  <a:pt x="3277" y="2503"/>
                </a:lnTo>
                <a:lnTo>
                  <a:pt x="3277" y="2503"/>
                </a:lnTo>
                <a:lnTo>
                  <a:pt x="3277" y="2503"/>
                </a:lnTo>
                <a:lnTo>
                  <a:pt x="3277" y="2503"/>
                </a:lnTo>
                <a:lnTo>
                  <a:pt x="3277" y="2503"/>
                </a:lnTo>
                <a:lnTo>
                  <a:pt x="3271" y="2503"/>
                </a:lnTo>
                <a:lnTo>
                  <a:pt x="3271" y="2503"/>
                </a:lnTo>
                <a:lnTo>
                  <a:pt x="3271" y="2503"/>
                </a:lnTo>
                <a:lnTo>
                  <a:pt x="3271" y="2503"/>
                </a:lnTo>
                <a:lnTo>
                  <a:pt x="3271" y="2509"/>
                </a:lnTo>
                <a:lnTo>
                  <a:pt x="3271" y="2509"/>
                </a:lnTo>
                <a:lnTo>
                  <a:pt x="3271" y="2509"/>
                </a:lnTo>
                <a:lnTo>
                  <a:pt x="3271" y="2509"/>
                </a:lnTo>
                <a:lnTo>
                  <a:pt x="3277" y="2509"/>
                </a:lnTo>
                <a:lnTo>
                  <a:pt x="3277" y="2509"/>
                </a:lnTo>
                <a:lnTo>
                  <a:pt x="3277" y="2509"/>
                </a:lnTo>
                <a:lnTo>
                  <a:pt x="3283" y="2509"/>
                </a:lnTo>
                <a:lnTo>
                  <a:pt x="3283" y="2509"/>
                </a:lnTo>
                <a:lnTo>
                  <a:pt x="3289" y="2509"/>
                </a:lnTo>
                <a:lnTo>
                  <a:pt x="3295" y="2509"/>
                </a:lnTo>
                <a:lnTo>
                  <a:pt x="3295" y="2509"/>
                </a:lnTo>
                <a:lnTo>
                  <a:pt x="3295" y="2509"/>
                </a:lnTo>
                <a:lnTo>
                  <a:pt x="3295" y="2509"/>
                </a:lnTo>
                <a:lnTo>
                  <a:pt x="3295" y="2515"/>
                </a:lnTo>
                <a:lnTo>
                  <a:pt x="3295" y="2515"/>
                </a:lnTo>
                <a:lnTo>
                  <a:pt x="3295" y="2515"/>
                </a:lnTo>
                <a:lnTo>
                  <a:pt x="3295" y="2521"/>
                </a:lnTo>
                <a:lnTo>
                  <a:pt x="3295" y="2521"/>
                </a:lnTo>
                <a:lnTo>
                  <a:pt x="3295" y="2521"/>
                </a:lnTo>
                <a:lnTo>
                  <a:pt x="3301" y="2521"/>
                </a:lnTo>
                <a:lnTo>
                  <a:pt x="3301" y="2521"/>
                </a:lnTo>
                <a:lnTo>
                  <a:pt x="3301" y="2521"/>
                </a:lnTo>
                <a:lnTo>
                  <a:pt x="3301" y="2521"/>
                </a:lnTo>
                <a:lnTo>
                  <a:pt x="3301" y="2521"/>
                </a:lnTo>
                <a:lnTo>
                  <a:pt x="3301" y="2521"/>
                </a:lnTo>
                <a:lnTo>
                  <a:pt x="3307" y="2521"/>
                </a:lnTo>
                <a:lnTo>
                  <a:pt x="3307" y="2521"/>
                </a:lnTo>
                <a:lnTo>
                  <a:pt x="3307" y="2521"/>
                </a:lnTo>
                <a:lnTo>
                  <a:pt x="3307" y="2521"/>
                </a:lnTo>
                <a:lnTo>
                  <a:pt x="3307" y="2521"/>
                </a:lnTo>
                <a:lnTo>
                  <a:pt x="3307" y="2527"/>
                </a:lnTo>
                <a:lnTo>
                  <a:pt x="3307" y="2527"/>
                </a:lnTo>
                <a:lnTo>
                  <a:pt x="3307" y="2533"/>
                </a:lnTo>
                <a:lnTo>
                  <a:pt x="3307" y="2533"/>
                </a:lnTo>
                <a:lnTo>
                  <a:pt x="3307" y="2533"/>
                </a:lnTo>
                <a:lnTo>
                  <a:pt x="3307" y="2533"/>
                </a:lnTo>
                <a:lnTo>
                  <a:pt x="3313" y="2533"/>
                </a:lnTo>
                <a:lnTo>
                  <a:pt x="3313" y="2533"/>
                </a:lnTo>
                <a:lnTo>
                  <a:pt x="3313" y="2533"/>
                </a:lnTo>
                <a:lnTo>
                  <a:pt x="3318" y="2527"/>
                </a:lnTo>
                <a:lnTo>
                  <a:pt x="3318" y="2527"/>
                </a:lnTo>
                <a:lnTo>
                  <a:pt x="3318" y="2533"/>
                </a:lnTo>
                <a:lnTo>
                  <a:pt x="3318" y="2533"/>
                </a:lnTo>
                <a:lnTo>
                  <a:pt x="3318" y="2533"/>
                </a:lnTo>
                <a:lnTo>
                  <a:pt x="3318" y="2533"/>
                </a:lnTo>
                <a:lnTo>
                  <a:pt x="3318" y="2533"/>
                </a:lnTo>
                <a:lnTo>
                  <a:pt x="3318" y="2533"/>
                </a:lnTo>
                <a:lnTo>
                  <a:pt x="3318" y="2533"/>
                </a:lnTo>
                <a:lnTo>
                  <a:pt x="3318" y="2533"/>
                </a:lnTo>
                <a:lnTo>
                  <a:pt x="3324" y="2533"/>
                </a:lnTo>
                <a:lnTo>
                  <a:pt x="3324" y="2533"/>
                </a:lnTo>
                <a:lnTo>
                  <a:pt x="3324" y="2533"/>
                </a:lnTo>
                <a:lnTo>
                  <a:pt x="3330" y="2538"/>
                </a:lnTo>
                <a:lnTo>
                  <a:pt x="3330" y="2538"/>
                </a:lnTo>
                <a:lnTo>
                  <a:pt x="3330" y="2538"/>
                </a:lnTo>
                <a:lnTo>
                  <a:pt x="3330" y="2533"/>
                </a:lnTo>
                <a:lnTo>
                  <a:pt x="3330" y="2533"/>
                </a:lnTo>
                <a:lnTo>
                  <a:pt x="3330" y="2533"/>
                </a:lnTo>
                <a:lnTo>
                  <a:pt x="3330" y="2533"/>
                </a:lnTo>
                <a:lnTo>
                  <a:pt x="3330" y="2533"/>
                </a:lnTo>
                <a:lnTo>
                  <a:pt x="3330" y="2533"/>
                </a:lnTo>
                <a:lnTo>
                  <a:pt x="3330" y="2533"/>
                </a:lnTo>
                <a:lnTo>
                  <a:pt x="3330" y="2527"/>
                </a:lnTo>
                <a:lnTo>
                  <a:pt x="3336" y="2527"/>
                </a:lnTo>
                <a:lnTo>
                  <a:pt x="3336" y="2527"/>
                </a:lnTo>
                <a:lnTo>
                  <a:pt x="3336" y="2527"/>
                </a:lnTo>
                <a:lnTo>
                  <a:pt x="3336" y="2521"/>
                </a:lnTo>
                <a:lnTo>
                  <a:pt x="3336" y="2521"/>
                </a:lnTo>
                <a:lnTo>
                  <a:pt x="3336" y="2521"/>
                </a:lnTo>
                <a:lnTo>
                  <a:pt x="3336" y="2527"/>
                </a:lnTo>
                <a:lnTo>
                  <a:pt x="3336" y="2527"/>
                </a:lnTo>
                <a:lnTo>
                  <a:pt x="3336" y="2527"/>
                </a:lnTo>
                <a:lnTo>
                  <a:pt x="3336" y="2527"/>
                </a:lnTo>
                <a:lnTo>
                  <a:pt x="3336" y="2527"/>
                </a:lnTo>
                <a:lnTo>
                  <a:pt x="3336" y="2527"/>
                </a:lnTo>
                <a:lnTo>
                  <a:pt x="3336" y="2527"/>
                </a:lnTo>
                <a:lnTo>
                  <a:pt x="3336" y="2527"/>
                </a:lnTo>
                <a:lnTo>
                  <a:pt x="3336" y="2533"/>
                </a:lnTo>
                <a:lnTo>
                  <a:pt x="3336" y="2533"/>
                </a:lnTo>
                <a:lnTo>
                  <a:pt x="3336" y="2533"/>
                </a:lnTo>
                <a:lnTo>
                  <a:pt x="3330" y="2538"/>
                </a:lnTo>
                <a:lnTo>
                  <a:pt x="3336" y="2538"/>
                </a:lnTo>
                <a:lnTo>
                  <a:pt x="3336" y="2544"/>
                </a:lnTo>
                <a:lnTo>
                  <a:pt x="3336" y="2544"/>
                </a:lnTo>
                <a:lnTo>
                  <a:pt x="3336" y="2544"/>
                </a:lnTo>
                <a:lnTo>
                  <a:pt x="3336" y="2544"/>
                </a:lnTo>
                <a:lnTo>
                  <a:pt x="3336" y="2544"/>
                </a:lnTo>
                <a:lnTo>
                  <a:pt x="3336" y="2544"/>
                </a:lnTo>
                <a:lnTo>
                  <a:pt x="3336" y="2544"/>
                </a:lnTo>
                <a:lnTo>
                  <a:pt x="3336" y="2544"/>
                </a:lnTo>
                <a:lnTo>
                  <a:pt x="3336" y="2550"/>
                </a:lnTo>
                <a:lnTo>
                  <a:pt x="3336" y="2550"/>
                </a:lnTo>
                <a:lnTo>
                  <a:pt x="3342" y="2550"/>
                </a:lnTo>
                <a:lnTo>
                  <a:pt x="3342" y="2550"/>
                </a:lnTo>
                <a:lnTo>
                  <a:pt x="3348" y="2556"/>
                </a:lnTo>
                <a:lnTo>
                  <a:pt x="3348" y="2556"/>
                </a:lnTo>
                <a:lnTo>
                  <a:pt x="3348" y="2556"/>
                </a:lnTo>
                <a:lnTo>
                  <a:pt x="3348" y="2562"/>
                </a:lnTo>
                <a:lnTo>
                  <a:pt x="3348" y="2562"/>
                </a:lnTo>
                <a:lnTo>
                  <a:pt x="3348" y="2562"/>
                </a:lnTo>
                <a:lnTo>
                  <a:pt x="3348" y="2562"/>
                </a:lnTo>
                <a:lnTo>
                  <a:pt x="3348" y="2562"/>
                </a:lnTo>
                <a:lnTo>
                  <a:pt x="3348" y="2562"/>
                </a:lnTo>
                <a:lnTo>
                  <a:pt x="3348" y="2562"/>
                </a:lnTo>
                <a:lnTo>
                  <a:pt x="3348" y="2562"/>
                </a:lnTo>
                <a:lnTo>
                  <a:pt x="3348" y="2562"/>
                </a:lnTo>
                <a:lnTo>
                  <a:pt x="3342" y="2562"/>
                </a:lnTo>
                <a:lnTo>
                  <a:pt x="3342" y="2562"/>
                </a:lnTo>
                <a:lnTo>
                  <a:pt x="3342" y="2562"/>
                </a:lnTo>
                <a:lnTo>
                  <a:pt x="3342" y="2562"/>
                </a:lnTo>
                <a:lnTo>
                  <a:pt x="3342" y="2562"/>
                </a:lnTo>
                <a:lnTo>
                  <a:pt x="3342" y="2562"/>
                </a:lnTo>
                <a:lnTo>
                  <a:pt x="3342" y="2562"/>
                </a:lnTo>
                <a:lnTo>
                  <a:pt x="3342" y="2556"/>
                </a:lnTo>
                <a:lnTo>
                  <a:pt x="3342" y="2556"/>
                </a:lnTo>
                <a:lnTo>
                  <a:pt x="3342" y="2556"/>
                </a:lnTo>
                <a:lnTo>
                  <a:pt x="3342" y="2556"/>
                </a:lnTo>
                <a:lnTo>
                  <a:pt x="3342" y="2556"/>
                </a:lnTo>
                <a:lnTo>
                  <a:pt x="3336" y="2556"/>
                </a:lnTo>
                <a:lnTo>
                  <a:pt x="3336" y="2550"/>
                </a:lnTo>
                <a:lnTo>
                  <a:pt x="3336" y="2550"/>
                </a:lnTo>
                <a:lnTo>
                  <a:pt x="3336" y="2550"/>
                </a:lnTo>
                <a:lnTo>
                  <a:pt x="3336" y="2550"/>
                </a:lnTo>
                <a:lnTo>
                  <a:pt x="3336" y="2550"/>
                </a:lnTo>
                <a:lnTo>
                  <a:pt x="3336" y="2550"/>
                </a:lnTo>
                <a:lnTo>
                  <a:pt x="3330" y="2550"/>
                </a:lnTo>
                <a:lnTo>
                  <a:pt x="3330" y="2556"/>
                </a:lnTo>
                <a:lnTo>
                  <a:pt x="3330" y="2556"/>
                </a:lnTo>
                <a:lnTo>
                  <a:pt x="3330" y="2556"/>
                </a:lnTo>
                <a:lnTo>
                  <a:pt x="3330" y="2556"/>
                </a:lnTo>
                <a:lnTo>
                  <a:pt x="3330" y="2556"/>
                </a:lnTo>
                <a:lnTo>
                  <a:pt x="3324" y="2556"/>
                </a:lnTo>
                <a:lnTo>
                  <a:pt x="3324" y="2556"/>
                </a:lnTo>
                <a:lnTo>
                  <a:pt x="3324" y="2556"/>
                </a:lnTo>
                <a:lnTo>
                  <a:pt x="3330" y="2562"/>
                </a:lnTo>
                <a:lnTo>
                  <a:pt x="3336" y="2568"/>
                </a:lnTo>
                <a:lnTo>
                  <a:pt x="3336" y="2568"/>
                </a:lnTo>
                <a:lnTo>
                  <a:pt x="3336" y="2568"/>
                </a:lnTo>
                <a:lnTo>
                  <a:pt x="3348" y="2568"/>
                </a:lnTo>
                <a:lnTo>
                  <a:pt x="3348" y="2568"/>
                </a:lnTo>
                <a:lnTo>
                  <a:pt x="3348" y="2568"/>
                </a:lnTo>
                <a:lnTo>
                  <a:pt x="3354" y="2568"/>
                </a:lnTo>
                <a:lnTo>
                  <a:pt x="3354" y="2568"/>
                </a:lnTo>
                <a:lnTo>
                  <a:pt x="3354" y="2568"/>
                </a:lnTo>
                <a:lnTo>
                  <a:pt x="3354" y="2568"/>
                </a:lnTo>
                <a:lnTo>
                  <a:pt x="3354" y="2568"/>
                </a:lnTo>
                <a:lnTo>
                  <a:pt x="3354" y="2568"/>
                </a:lnTo>
                <a:lnTo>
                  <a:pt x="3354" y="2568"/>
                </a:lnTo>
                <a:lnTo>
                  <a:pt x="3354" y="2568"/>
                </a:lnTo>
                <a:lnTo>
                  <a:pt x="3354" y="2568"/>
                </a:lnTo>
                <a:lnTo>
                  <a:pt x="3360" y="2568"/>
                </a:lnTo>
                <a:lnTo>
                  <a:pt x="3360" y="2568"/>
                </a:lnTo>
                <a:lnTo>
                  <a:pt x="3360" y="2568"/>
                </a:lnTo>
                <a:lnTo>
                  <a:pt x="3360" y="2568"/>
                </a:lnTo>
                <a:lnTo>
                  <a:pt x="3360" y="2568"/>
                </a:lnTo>
                <a:lnTo>
                  <a:pt x="3360" y="2568"/>
                </a:lnTo>
                <a:lnTo>
                  <a:pt x="3360" y="2568"/>
                </a:lnTo>
                <a:lnTo>
                  <a:pt x="3360" y="2574"/>
                </a:lnTo>
                <a:lnTo>
                  <a:pt x="3360" y="2568"/>
                </a:lnTo>
                <a:lnTo>
                  <a:pt x="3366" y="2574"/>
                </a:lnTo>
                <a:lnTo>
                  <a:pt x="3366" y="2574"/>
                </a:lnTo>
                <a:lnTo>
                  <a:pt x="3372" y="2580"/>
                </a:lnTo>
                <a:lnTo>
                  <a:pt x="3372" y="2580"/>
                </a:lnTo>
                <a:lnTo>
                  <a:pt x="3372" y="2574"/>
                </a:lnTo>
                <a:lnTo>
                  <a:pt x="3372" y="2574"/>
                </a:lnTo>
                <a:lnTo>
                  <a:pt x="3372" y="2574"/>
                </a:lnTo>
                <a:lnTo>
                  <a:pt x="3372" y="2574"/>
                </a:lnTo>
                <a:lnTo>
                  <a:pt x="3372" y="2574"/>
                </a:lnTo>
                <a:lnTo>
                  <a:pt x="3378" y="2574"/>
                </a:lnTo>
                <a:lnTo>
                  <a:pt x="3378" y="2574"/>
                </a:lnTo>
                <a:lnTo>
                  <a:pt x="3378" y="2574"/>
                </a:lnTo>
                <a:lnTo>
                  <a:pt x="3378" y="2574"/>
                </a:lnTo>
                <a:lnTo>
                  <a:pt x="3378" y="2574"/>
                </a:lnTo>
                <a:lnTo>
                  <a:pt x="3378" y="2574"/>
                </a:lnTo>
                <a:lnTo>
                  <a:pt x="3378" y="2574"/>
                </a:lnTo>
                <a:lnTo>
                  <a:pt x="3378" y="2574"/>
                </a:lnTo>
                <a:lnTo>
                  <a:pt x="3378" y="2574"/>
                </a:lnTo>
                <a:lnTo>
                  <a:pt x="3384" y="2574"/>
                </a:lnTo>
                <a:lnTo>
                  <a:pt x="3384" y="2574"/>
                </a:lnTo>
                <a:lnTo>
                  <a:pt x="3384" y="2574"/>
                </a:lnTo>
                <a:lnTo>
                  <a:pt x="3384" y="2574"/>
                </a:lnTo>
                <a:lnTo>
                  <a:pt x="3378" y="2574"/>
                </a:lnTo>
                <a:lnTo>
                  <a:pt x="3378" y="2580"/>
                </a:lnTo>
                <a:lnTo>
                  <a:pt x="3378" y="2580"/>
                </a:lnTo>
                <a:lnTo>
                  <a:pt x="3384" y="2580"/>
                </a:lnTo>
                <a:lnTo>
                  <a:pt x="3384" y="2580"/>
                </a:lnTo>
                <a:lnTo>
                  <a:pt x="3384" y="2580"/>
                </a:lnTo>
                <a:lnTo>
                  <a:pt x="3390" y="2580"/>
                </a:lnTo>
                <a:lnTo>
                  <a:pt x="3390" y="2580"/>
                </a:lnTo>
                <a:lnTo>
                  <a:pt x="3390" y="2580"/>
                </a:lnTo>
                <a:lnTo>
                  <a:pt x="3390" y="2580"/>
                </a:lnTo>
                <a:lnTo>
                  <a:pt x="3390" y="2580"/>
                </a:lnTo>
                <a:lnTo>
                  <a:pt x="3390" y="2580"/>
                </a:lnTo>
                <a:lnTo>
                  <a:pt x="3390" y="2580"/>
                </a:lnTo>
                <a:lnTo>
                  <a:pt x="3390" y="2580"/>
                </a:lnTo>
                <a:lnTo>
                  <a:pt x="3390" y="2574"/>
                </a:lnTo>
                <a:lnTo>
                  <a:pt x="3390" y="2574"/>
                </a:lnTo>
                <a:lnTo>
                  <a:pt x="3390" y="2574"/>
                </a:lnTo>
                <a:lnTo>
                  <a:pt x="3390" y="2574"/>
                </a:lnTo>
                <a:lnTo>
                  <a:pt x="3390" y="2574"/>
                </a:lnTo>
                <a:lnTo>
                  <a:pt x="3395" y="2574"/>
                </a:lnTo>
                <a:lnTo>
                  <a:pt x="3395" y="2574"/>
                </a:lnTo>
                <a:lnTo>
                  <a:pt x="3395" y="2574"/>
                </a:lnTo>
                <a:lnTo>
                  <a:pt x="3395" y="2574"/>
                </a:lnTo>
                <a:lnTo>
                  <a:pt x="3395" y="2574"/>
                </a:lnTo>
                <a:lnTo>
                  <a:pt x="3395" y="2574"/>
                </a:lnTo>
                <a:lnTo>
                  <a:pt x="3395" y="2574"/>
                </a:lnTo>
                <a:lnTo>
                  <a:pt x="3395" y="2574"/>
                </a:lnTo>
                <a:lnTo>
                  <a:pt x="3395" y="2568"/>
                </a:lnTo>
                <a:lnTo>
                  <a:pt x="3395" y="2568"/>
                </a:lnTo>
                <a:lnTo>
                  <a:pt x="3395" y="2568"/>
                </a:lnTo>
                <a:lnTo>
                  <a:pt x="3395" y="2568"/>
                </a:lnTo>
                <a:lnTo>
                  <a:pt x="3395" y="2568"/>
                </a:lnTo>
                <a:lnTo>
                  <a:pt x="3395" y="2568"/>
                </a:lnTo>
                <a:lnTo>
                  <a:pt x="3395" y="2562"/>
                </a:lnTo>
                <a:lnTo>
                  <a:pt x="3401" y="2568"/>
                </a:lnTo>
                <a:lnTo>
                  <a:pt x="3401" y="2568"/>
                </a:lnTo>
                <a:lnTo>
                  <a:pt x="3401" y="2568"/>
                </a:lnTo>
                <a:lnTo>
                  <a:pt x="3401" y="2568"/>
                </a:lnTo>
                <a:lnTo>
                  <a:pt x="3401" y="2568"/>
                </a:lnTo>
                <a:lnTo>
                  <a:pt x="3401" y="2568"/>
                </a:lnTo>
                <a:lnTo>
                  <a:pt x="3401" y="2562"/>
                </a:lnTo>
                <a:lnTo>
                  <a:pt x="3401" y="2562"/>
                </a:lnTo>
                <a:lnTo>
                  <a:pt x="3401" y="2562"/>
                </a:lnTo>
                <a:lnTo>
                  <a:pt x="3401" y="2562"/>
                </a:lnTo>
                <a:lnTo>
                  <a:pt x="3401" y="2562"/>
                </a:lnTo>
                <a:lnTo>
                  <a:pt x="3401" y="2562"/>
                </a:lnTo>
                <a:lnTo>
                  <a:pt x="3401" y="2562"/>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7" y="2562"/>
                </a:lnTo>
                <a:lnTo>
                  <a:pt x="3407" y="2556"/>
                </a:lnTo>
                <a:lnTo>
                  <a:pt x="3407" y="2556"/>
                </a:lnTo>
                <a:lnTo>
                  <a:pt x="3407" y="2556"/>
                </a:lnTo>
                <a:lnTo>
                  <a:pt x="3413" y="2562"/>
                </a:lnTo>
                <a:lnTo>
                  <a:pt x="3413" y="2556"/>
                </a:lnTo>
                <a:lnTo>
                  <a:pt x="3413" y="2556"/>
                </a:lnTo>
                <a:lnTo>
                  <a:pt x="3413" y="2556"/>
                </a:lnTo>
                <a:lnTo>
                  <a:pt x="3413" y="2556"/>
                </a:lnTo>
                <a:lnTo>
                  <a:pt x="3413" y="2556"/>
                </a:lnTo>
                <a:lnTo>
                  <a:pt x="3413" y="2556"/>
                </a:lnTo>
                <a:lnTo>
                  <a:pt x="3413" y="2550"/>
                </a:lnTo>
                <a:lnTo>
                  <a:pt x="3413" y="2550"/>
                </a:lnTo>
                <a:lnTo>
                  <a:pt x="3419" y="2550"/>
                </a:lnTo>
                <a:lnTo>
                  <a:pt x="3419" y="2550"/>
                </a:lnTo>
                <a:lnTo>
                  <a:pt x="3419" y="2556"/>
                </a:lnTo>
                <a:lnTo>
                  <a:pt x="3419" y="2556"/>
                </a:lnTo>
                <a:lnTo>
                  <a:pt x="3419" y="2556"/>
                </a:lnTo>
                <a:lnTo>
                  <a:pt x="3419" y="2556"/>
                </a:lnTo>
                <a:lnTo>
                  <a:pt x="3419" y="2556"/>
                </a:lnTo>
                <a:lnTo>
                  <a:pt x="3419" y="2562"/>
                </a:lnTo>
                <a:lnTo>
                  <a:pt x="3419" y="2562"/>
                </a:lnTo>
                <a:lnTo>
                  <a:pt x="3425" y="2562"/>
                </a:lnTo>
                <a:lnTo>
                  <a:pt x="3425" y="2562"/>
                </a:lnTo>
                <a:lnTo>
                  <a:pt x="3425" y="2556"/>
                </a:lnTo>
                <a:lnTo>
                  <a:pt x="3425" y="2556"/>
                </a:lnTo>
                <a:lnTo>
                  <a:pt x="3425" y="2556"/>
                </a:lnTo>
                <a:lnTo>
                  <a:pt x="3425" y="2556"/>
                </a:lnTo>
                <a:lnTo>
                  <a:pt x="3425" y="2556"/>
                </a:lnTo>
                <a:lnTo>
                  <a:pt x="3425" y="2562"/>
                </a:lnTo>
                <a:lnTo>
                  <a:pt x="3431" y="2562"/>
                </a:lnTo>
                <a:lnTo>
                  <a:pt x="3431" y="2562"/>
                </a:lnTo>
                <a:lnTo>
                  <a:pt x="3431" y="2568"/>
                </a:lnTo>
                <a:lnTo>
                  <a:pt x="3431" y="2568"/>
                </a:lnTo>
                <a:lnTo>
                  <a:pt x="3431" y="2568"/>
                </a:lnTo>
                <a:lnTo>
                  <a:pt x="3431" y="2562"/>
                </a:lnTo>
                <a:lnTo>
                  <a:pt x="3431" y="2562"/>
                </a:lnTo>
                <a:lnTo>
                  <a:pt x="3431" y="2562"/>
                </a:lnTo>
                <a:lnTo>
                  <a:pt x="3431" y="2562"/>
                </a:lnTo>
                <a:lnTo>
                  <a:pt x="3437" y="2562"/>
                </a:lnTo>
                <a:lnTo>
                  <a:pt x="3437" y="2562"/>
                </a:lnTo>
                <a:lnTo>
                  <a:pt x="3437" y="2568"/>
                </a:lnTo>
                <a:lnTo>
                  <a:pt x="3437" y="2568"/>
                </a:lnTo>
                <a:lnTo>
                  <a:pt x="3431" y="2568"/>
                </a:lnTo>
                <a:lnTo>
                  <a:pt x="3431" y="2568"/>
                </a:lnTo>
                <a:lnTo>
                  <a:pt x="3431" y="2574"/>
                </a:lnTo>
                <a:lnTo>
                  <a:pt x="3431" y="2574"/>
                </a:lnTo>
                <a:lnTo>
                  <a:pt x="3431" y="2574"/>
                </a:lnTo>
                <a:lnTo>
                  <a:pt x="3431" y="2574"/>
                </a:lnTo>
                <a:lnTo>
                  <a:pt x="3437" y="2574"/>
                </a:lnTo>
                <a:lnTo>
                  <a:pt x="3437" y="2580"/>
                </a:lnTo>
                <a:lnTo>
                  <a:pt x="3437" y="2580"/>
                </a:lnTo>
                <a:lnTo>
                  <a:pt x="3437" y="2580"/>
                </a:lnTo>
                <a:lnTo>
                  <a:pt x="3437" y="2580"/>
                </a:lnTo>
                <a:lnTo>
                  <a:pt x="3437" y="2580"/>
                </a:lnTo>
                <a:lnTo>
                  <a:pt x="3437" y="2580"/>
                </a:lnTo>
                <a:lnTo>
                  <a:pt x="3437" y="2580"/>
                </a:lnTo>
                <a:lnTo>
                  <a:pt x="3437" y="2580"/>
                </a:lnTo>
                <a:lnTo>
                  <a:pt x="3437" y="2580"/>
                </a:lnTo>
                <a:lnTo>
                  <a:pt x="3443" y="2580"/>
                </a:lnTo>
                <a:lnTo>
                  <a:pt x="3449" y="2580"/>
                </a:lnTo>
                <a:lnTo>
                  <a:pt x="3449" y="2580"/>
                </a:lnTo>
                <a:lnTo>
                  <a:pt x="3449" y="2574"/>
                </a:lnTo>
                <a:lnTo>
                  <a:pt x="3449" y="2574"/>
                </a:lnTo>
                <a:lnTo>
                  <a:pt x="3449" y="2574"/>
                </a:lnTo>
                <a:lnTo>
                  <a:pt x="3449" y="2574"/>
                </a:lnTo>
                <a:lnTo>
                  <a:pt x="3449" y="2574"/>
                </a:lnTo>
                <a:lnTo>
                  <a:pt x="3455" y="2568"/>
                </a:lnTo>
                <a:lnTo>
                  <a:pt x="3455" y="2568"/>
                </a:lnTo>
                <a:lnTo>
                  <a:pt x="3449" y="2568"/>
                </a:lnTo>
                <a:lnTo>
                  <a:pt x="3449" y="2562"/>
                </a:lnTo>
                <a:lnTo>
                  <a:pt x="3449" y="2562"/>
                </a:lnTo>
                <a:lnTo>
                  <a:pt x="3455" y="2562"/>
                </a:lnTo>
                <a:lnTo>
                  <a:pt x="3455" y="2562"/>
                </a:lnTo>
                <a:lnTo>
                  <a:pt x="3455" y="2556"/>
                </a:lnTo>
                <a:lnTo>
                  <a:pt x="3455" y="2556"/>
                </a:lnTo>
                <a:lnTo>
                  <a:pt x="3455" y="2556"/>
                </a:lnTo>
                <a:lnTo>
                  <a:pt x="3455" y="2556"/>
                </a:lnTo>
                <a:lnTo>
                  <a:pt x="3455" y="2556"/>
                </a:lnTo>
                <a:lnTo>
                  <a:pt x="3455" y="2556"/>
                </a:lnTo>
                <a:lnTo>
                  <a:pt x="3455" y="2562"/>
                </a:lnTo>
                <a:lnTo>
                  <a:pt x="3455" y="2556"/>
                </a:lnTo>
                <a:lnTo>
                  <a:pt x="3455" y="2556"/>
                </a:lnTo>
                <a:lnTo>
                  <a:pt x="3455" y="2556"/>
                </a:lnTo>
                <a:lnTo>
                  <a:pt x="3455" y="2556"/>
                </a:lnTo>
                <a:lnTo>
                  <a:pt x="3455" y="2556"/>
                </a:lnTo>
                <a:lnTo>
                  <a:pt x="3455" y="2556"/>
                </a:lnTo>
                <a:lnTo>
                  <a:pt x="3455" y="2556"/>
                </a:lnTo>
                <a:lnTo>
                  <a:pt x="3455" y="2550"/>
                </a:lnTo>
                <a:lnTo>
                  <a:pt x="3455" y="2550"/>
                </a:lnTo>
                <a:lnTo>
                  <a:pt x="3455" y="2550"/>
                </a:lnTo>
                <a:lnTo>
                  <a:pt x="3455" y="2550"/>
                </a:lnTo>
                <a:lnTo>
                  <a:pt x="3455" y="2556"/>
                </a:lnTo>
                <a:lnTo>
                  <a:pt x="3455" y="2556"/>
                </a:lnTo>
                <a:lnTo>
                  <a:pt x="3455" y="2550"/>
                </a:lnTo>
                <a:lnTo>
                  <a:pt x="3455" y="2550"/>
                </a:lnTo>
                <a:lnTo>
                  <a:pt x="3455" y="2550"/>
                </a:lnTo>
                <a:lnTo>
                  <a:pt x="3455" y="2550"/>
                </a:lnTo>
                <a:lnTo>
                  <a:pt x="3455" y="2550"/>
                </a:lnTo>
                <a:lnTo>
                  <a:pt x="3455" y="2550"/>
                </a:lnTo>
                <a:lnTo>
                  <a:pt x="3455" y="2550"/>
                </a:lnTo>
                <a:lnTo>
                  <a:pt x="3455" y="2550"/>
                </a:lnTo>
                <a:lnTo>
                  <a:pt x="3455" y="2550"/>
                </a:lnTo>
                <a:lnTo>
                  <a:pt x="3455" y="2550"/>
                </a:lnTo>
                <a:lnTo>
                  <a:pt x="3455" y="2544"/>
                </a:lnTo>
                <a:lnTo>
                  <a:pt x="3455" y="2544"/>
                </a:lnTo>
                <a:lnTo>
                  <a:pt x="3455" y="2544"/>
                </a:lnTo>
                <a:lnTo>
                  <a:pt x="3455" y="2544"/>
                </a:lnTo>
                <a:lnTo>
                  <a:pt x="3455" y="2544"/>
                </a:lnTo>
                <a:lnTo>
                  <a:pt x="3455" y="2544"/>
                </a:lnTo>
                <a:lnTo>
                  <a:pt x="3455" y="2544"/>
                </a:lnTo>
                <a:lnTo>
                  <a:pt x="3455" y="2538"/>
                </a:lnTo>
                <a:lnTo>
                  <a:pt x="3449" y="2538"/>
                </a:lnTo>
                <a:lnTo>
                  <a:pt x="3449" y="2538"/>
                </a:lnTo>
                <a:lnTo>
                  <a:pt x="3449" y="2538"/>
                </a:lnTo>
                <a:lnTo>
                  <a:pt x="3449" y="2538"/>
                </a:lnTo>
                <a:lnTo>
                  <a:pt x="3449" y="2538"/>
                </a:lnTo>
                <a:lnTo>
                  <a:pt x="3443" y="2538"/>
                </a:lnTo>
                <a:lnTo>
                  <a:pt x="3443" y="2533"/>
                </a:lnTo>
                <a:lnTo>
                  <a:pt x="3437" y="2533"/>
                </a:lnTo>
                <a:lnTo>
                  <a:pt x="3437" y="2533"/>
                </a:lnTo>
                <a:lnTo>
                  <a:pt x="3437" y="2533"/>
                </a:lnTo>
                <a:lnTo>
                  <a:pt x="3437" y="2533"/>
                </a:lnTo>
                <a:lnTo>
                  <a:pt x="3437" y="2533"/>
                </a:lnTo>
                <a:lnTo>
                  <a:pt x="3437" y="2533"/>
                </a:lnTo>
                <a:lnTo>
                  <a:pt x="3437" y="2533"/>
                </a:lnTo>
                <a:lnTo>
                  <a:pt x="3437" y="2533"/>
                </a:lnTo>
                <a:lnTo>
                  <a:pt x="3437" y="2533"/>
                </a:lnTo>
                <a:lnTo>
                  <a:pt x="3443" y="2533"/>
                </a:lnTo>
                <a:lnTo>
                  <a:pt x="3443" y="2533"/>
                </a:lnTo>
                <a:lnTo>
                  <a:pt x="3443" y="2533"/>
                </a:lnTo>
                <a:lnTo>
                  <a:pt x="3443" y="2533"/>
                </a:lnTo>
                <a:lnTo>
                  <a:pt x="3443" y="2533"/>
                </a:lnTo>
                <a:lnTo>
                  <a:pt x="3437" y="2533"/>
                </a:lnTo>
                <a:lnTo>
                  <a:pt x="3437" y="2533"/>
                </a:lnTo>
                <a:lnTo>
                  <a:pt x="3437" y="2533"/>
                </a:lnTo>
                <a:lnTo>
                  <a:pt x="3437" y="2533"/>
                </a:lnTo>
                <a:lnTo>
                  <a:pt x="3443" y="2527"/>
                </a:lnTo>
                <a:lnTo>
                  <a:pt x="3443" y="2527"/>
                </a:lnTo>
                <a:lnTo>
                  <a:pt x="3443" y="2527"/>
                </a:lnTo>
                <a:lnTo>
                  <a:pt x="3443" y="2533"/>
                </a:lnTo>
                <a:lnTo>
                  <a:pt x="3449" y="2533"/>
                </a:lnTo>
                <a:lnTo>
                  <a:pt x="3449" y="2533"/>
                </a:lnTo>
                <a:lnTo>
                  <a:pt x="3449" y="2533"/>
                </a:lnTo>
                <a:lnTo>
                  <a:pt x="3449" y="2533"/>
                </a:lnTo>
                <a:lnTo>
                  <a:pt x="3449" y="2533"/>
                </a:lnTo>
                <a:lnTo>
                  <a:pt x="3449" y="2533"/>
                </a:lnTo>
                <a:lnTo>
                  <a:pt x="3449" y="2533"/>
                </a:lnTo>
                <a:lnTo>
                  <a:pt x="3449" y="2533"/>
                </a:lnTo>
                <a:lnTo>
                  <a:pt x="3449" y="2533"/>
                </a:lnTo>
                <a:lnTo>
                  <a:pt x="3449" y="2533"/>
                </a:lnTo>
                <a:lnTo>
                  <a:pt x="3461" y="2538"/>
                </a:lnTo>
                <a:lnTo>
                  <a:pt x="3461" y="2538"/>
                </a:lnTo>
                <a:lnTo>
                  <a:pt x="3467" y="2538"/>
                </a:lnTo>
                <a:lnTo>
                  <a:pt x="3467" y="2538"/>
                </a:lnTo>
                <a:lnTo>
                  <a:pt x="3473" y="2544"/>
                </a:lnTo>
                <a:lnTo>
                  <a:pt x="3473" y="2544"/>
                </a:lnTo>
                <a:lnTo>
                  <a:pt x="3473" y="2538"/>
                </a:lnTo>
                <a:lnTo>
                  <a:pt x="3473" y="2538"/>
                </a:lnTo>
                <a:lnTo>
                  <a:pt x="3473" y="2538"/>
                </a:lnTo>
                <a:lnTo>
                  <a:pt x="3473" y="2538"/>
                </a:lnTo>
                <a:lnTo>
                  <a:pt x="3478" y="2538"/>
                </a:lnTo>
                <a:lnTo>
                  <a:pt x="3478" y="2538"/>
                </a:lnTo>
                <a:lnTo>
                  <a:pt x="3478" y="2538"/>
                </a:lnTo>
                <a:lnTo>
                  <a:pt x="3478" y="2538"/>
                </a:lnTo>
                <a:lnTo>
                  <a:pt x="3478" y="2538"/>
                </a:lnTo>
                <a:lnTo>
                  <a:pt x="3478" y="2538"/>
                </a:lnTo>
                <a:lnTo>
                  <a:pt x="3478" y="2538"/>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84" y="2544"/>
                </a:lnTo>
                <a:lnTo>
                  <a:pt x="3484" y="2544"/>
                </a:lnTo>
                <a:lnTo>
                  <a:pt x="3484" y="2544"/>
                </a:lnTo>
                <a:lnTo>
                  <a:pt x="3484" y="2544"/>
                </a:lnTo>
                <a:lnTo>
                  <a:pt x="3484" y="2544"/>
                </a:lnTo>
                <a:lnTo>
                  <a:pt x="3478" y="2544"/>
                </a:lnTo>
                <a:lnTo>
                  <a:pt x="3478" y="2550"/>
                </a:lnTo>
                <a:lnTo>
                  <a:pt x="3478" y="2550"/>
                </a:lnTo>
                <a:lnTo>
                  <a:pt x="3484" y="2550"/>
                </a:lnTo>
                <a:lnTo>
                  <a:pt x="3484" y="2550"/>
                </a:lnTo>
                <a:lnTo>
                  <a:pt x="3484" y="2550"/>
                </a:lnTo>
                <a:lnTo>
                  <a:pt x="3484" y="2550"/>
                </a:lnTo>
                <a:lnTo>
                  <a:pt x="3484" y="2550"/>
                </a:lnTo>
                <a:lnTo>
                  <a:pt x="3484" y="2550"/>
                </a:lnTo>
                <a:lnTo>
                  <a:pt x="3484" y="2550"/>
                </a:lnTo>
                <a:lnTo>
                  <a:pt x="3484" y="2550"/>
                </a:lnTo>
                <a:lnTo>
                  <a:pt x="3484" y="2550"/>
                </a:lnTo>
                <a:lnTo>
                  <a:pt x="3484" y="2550"/>
                </a:lnTo>
                <a:lnTo>
                  <a:pt x="3484" y="2550"/>
                </a:lnTo>
                <a:lnTo>
                  <a:pt x="3484" y="2550"/>
                </a:lnTo>
                <a:lnTo>
                  <a:pt x="3484" y="2556"/>
                </a:lnTo>
                <a:lnTo>
                  <a:pt x="3484" y="2556"/>
                </a:lnTo>
                <a:lnTo>
                  <a:pt x="3484" y="2556"/>
                </a:lnTo>
                <a:lnTo>
                  <a:pt x="3484" y="2556"/>
                </a:lnTo>
                <a:lnTo>
                  <a:pt x="3478" y="2556"/>
                </a:lnTo>
                <a:lnTo>
                  <a:pt x="3478" y="2556"/>
                </a:lnTo>
                <a:lnTo>
                  <a:pt x="3478" y="2556"/>
                </a:lnTo>
                <a:lnTo>
                  <a:pt x="3478" y="2556"/>
                </a:lnTo>
                <a:lnTo>
                  <a:pt x="3484" y="2556"/>
                </a:lnTo>
                <a:lnTo>
                  <a:pt x="3490" y="2556"/>
                </a:lnTo>
                <a:lnTo>
                  <a:pt x="3490" y="2556"/>
                </a:lnTo>
                <a:lnTo>
                  <a:pt x="3490" y="2556"/>
                </a:lnTo>
                <a:lnTo>
                  <a:pt x="3496" y="2562"/>
                </a:lnTo>
                <a:lnTo>
                  <a:pt x="3496" y="2562"/>
                </a:lnTo>
                <a:lnTo>
                  <a:pt x="3496" y="2562"/>
                </a:lnTo>
                <a:lnTo>
                  <a:pt x="3496" y="2562"/>
                </a:lnTo>
                <a:lnTo>
                  <a:pt x="3496" y="2562"/>
                </a:lnTo>
                <a:lnTo>
                  <a:pt x="3502" y="2562"/>
                </a:lnTo>
                <a:lnTo>
                  <a:pt x="3502" y="2562"/>
                </a:lnTo>
                <a:lnTo>
                  <a:pt x="3502" y="2562"/>
                </a:lnTo>
                <a:lnTo>
                  <a:pt x="3508" y="2568"/>
                </a:lnTo>
                <a:lnTo>
                  <a:pt x="3508" y="2568"/>
                </a:lnTo>
                <a:lnTo>
                  <a:pt x="3508" y="2562"/>
                </a:lnTo>
                <a:lnTo>
                  <a:pt x="3508" y="2562"/>
                </a:lnTo>
                <a:lnTo>
                  <a:pt x="3514" y="2562"/>
                </a:lnTo>
                <a:lnTo>
                  <a:pt x="3514" y="2562"/>
                </a:lnTo>
                <a:lnTo>
                  <a:pt x="3514" y="2562"/>
                </a:lnTo>
                <a:lnTo>
                  <a:pt x="3514" y="2562"/>
                </a:lnTo>
                <a:lnTo>
                  <a:pt x="3514" y="2562"/>
                </a:lnTo>
                <a:lnTo>
                  <a:pt x="3508" y="2562"/>
                </a:lnTo>
                <a:lnTo>
                  <a:pt x="3514" y="2574"/>
                </a:lnTo>
                <a:lnTo>
                  <a:pt x="3520" y="2574"/>
                </a:lnTo>
                <a:lnTo>
                  <a:pt x="3520" y="2574"/>
                </a:lnTo>
                <a:lnTo>
                  <a:pt x="3520" y="2580"/>
                </a:lnTo>
                <a:lnTo>
                  <a:pt x="3520" y="2580"/>
                </a:lnTo>
                <a:lnTo>
                  <a:pt x="3520" y="2580"/>
                </a:lnTo>
                <a:lnTo>
                  <a:pt x="3520" y="2580"/>
                </a:lnTo>
                <a:lnTo>
                  <a:pt x="3520" y="2580"/>
                </a:lnTo>
                <a:lnTo>
                  <a:pt x="3526" y="2580"/>
                </a:lnTo>
                <a:lnTo>
                  <a:pt x="3526" y="2580"/>
                </a:lnTo>
                <a:lnTo>
                  <a:pt x="3526" y="2580"/>
                </a:lnTo>
                <a:lnTo>
                  <a:pt x="3526" y="2580"/>
                </a:lnTo>
                <a:lnTo>
                  <a:pt x="3526" y="2574"/>
                </a:lnTo>
                <a:lnTo>
                  <a:pt x="3526" y="2574"/>
                </a:lnTo>
                <a:lnTo>
                  <a:pt x="3526" y="2574"/>
                </a:lnTo>
                <a:lnTo>
                  <a:pt x="3526" y="2574"/>
                </a:lnTo>
                <a:lnTo>
                  <a:pt x="3526" y="2574"/>
                </a:lnTo>
                <a:lnTo>
                  <a:pt x="3526" y="2574"/>
                </a:lnTo>
                <a:lnTo>
                  <a:pt x="3526" y="2574"/>
                </a:lnTo>
                <a:lnTo>
                  <a:pt x="3526" y="2574"/>
                </a:lnTo>
                <a:lnTo>
                  <a:pt x="3526" y="2574"/>
                </a:lnTo>
                <a:lnTo>
                  <a:pt x="3526" y="2580"/>
                </a:lnTo>
                <a:lnTo>
                  <a:pt x="3526" y="2580"/>
                </a:lnTo>
                <a:lnTo>
                  <a:pt x="3526" y="2580"/>
                </a:lnTo>
                <a:lnTo>
                  <a:pt x="3532" y="2580"/>
                </a:lnTo>
                <a:lnTo>
                  <a:pt x="3532" y="2580"/>
                </a:lnTo>
                <a:lnTo>
                  <a:pt x="3532" y="2574"/>
                </a:lnTo>
                <a:lnTo>
                  <a:pt x="3532" y="2574"/>
                </a:lnTo>
                <a:lnTo>
                  <a:pt x="3532" y="2574"/>
                </a:lnTo>
                <a:lnTo>
                  <a:pt x="3532" y="2574"/>
                </a:lnTo>
                <a:lnTo>
                  <a:pt x="3532" y="2574"/>
                </a:lnTo>
                <a:lnTo>
                  <a:pt x="3532" y="2574"/>
                </a:lnTo>
                <a:lnTo>
                  <a:pt x="3532" y="2574"/>
                </a:lnTo>
                <a:lnTo>
                  <a:pt x="3532" y="2574"/>
                </a:lnTo>
                <a:lnTo>
                  <a:pt x="3532" y="2580"/>
                </a:lnTo>
                <a:lnTo>
                  <a:pt x="3532" y="2580"/>
                </a:lnTo>
                <a:lnTo>
                  <a:pt x="3532" y="2580"/>
                </a:lnTo>
                <a:lnTo>
                  <a:pt x="3526" y="2586"/>
                </a:lnTo>
                <a:lnTo>
                  <a:pt x="3526" y="2586"/>
                </a:lnTo>
                <a:lnTo>
                  <a:pt x="3526" y="2586"/>
                </a:lnTo>
                <a:lnTo>
                  <a:pt x="3526" y="2586"/>
                </a:lnTo>
                <a:lnTo>
                  <a:pt x="3526" y="2586"/>
                </a:lnTo>
                <a:lnTo>
                  <a:pt x="3526" y="2586"/>
                </a:lnTo>
                <a:lnTo>
                  <a:pt x="3526" y="2586"/>
                </a:lnTo>
                <a:lnTo>
                  <a:pt x="3526" y="2592"/>
                </a:lnTo>
                <a:lnTo>
                  <a:pt x="3526" y="2592"/>
                </a:lnTo>
                <a:lnTo>
                  <a:pt x="3526" y="2592"/>
                </a:lnTo>
                <a:lnTo>
                  <a:pt x="3520" y="2592"/>
                </a:lnTo>
                <a:lnTo>
                  <a:pt x="3520" y="2592"/>
                </a:lnTo>
                <a:lnTo>
                  <a:pt x="3520" y="2592"/>
                </a:lnTo>
                <a:lnTo>
                  <a:pt x="3520" y="2598"/>
                </a:lnTo>
                <a:lnTo>
                  <a:pt x="3520" y="2598"/>
                </a:lnTo>
                <a:lnTo>
                  <a:pt x="3520" y="2598"/>
                </a:lnTo>
                <a:lnTo>
                  <a:pt x="3520" y="2598"/>
                </a:lnTo>
                <a:lnTo>
                  <a:pt x="3520" y="2598"/>
                </a:lnTo>
                <a:lnTo>
                  <a:pt x="3520" y="2598"/>
                </a:lnTo>
                <a:lnTo>
                  <a:pt x="3520" y="2604"/>
                </a:lnTo>
                <a:lnTo>
                  <a:pt x="3520" y="2598"/>
                </a:lnTo>
                <a:lnTo>
                  <a:pt x="3520" y="2598"/>
                </a:lnTo>
                <a:lnTo>
                  <a:pt x="3520" y="2598"/>
                </a:lnTo>
                <a:lnTo>
                  <a:pt x="3526" y="2592"/>
                </a:lnTo>
                <a:lnTo>
                  <a:pt x="3526" y="2592"/>
                </a:lnTo>
                <a:lnTo>
                  <a:pt x="3526" y="2592"/>
                </a:lnTo>
                <a:lnTo>
                  <a:pt x="3526" y="2592"/>
                </a:lnTo>
                <a:lnTo>
                  <a:pt x="3526" y="2586"/>
                </a:lnTo>
                <a:lnTo>
                  <a:pt x="3526" y="2586"/>
                </a:lnTo>
                <a:lnTo>
                  <a:pt x="3532" y="2586"/>
                </a:lnTo>
                <a:lnTo>
                  <a:pt x="3532" y="2586"/>
                </a:lnTo>
                <a:lnTo>
                  <a:pt x="3532" y="2586"/>
                </a:lnTo>
                <a:lnTo>
                  <a:pt x="3532" y="2586"/>
                </a:lnTo>
                <a:lnTo>
                  <a:pt x="3532" y="2586"/>
                </a:lnTo>
                <a:lnTo>
                  <a:pt x="3532" y="2586"/>
                </a:lnTo>
                <a:lnTo>
                  <a:pt x="3532" y="2586"/>
                </a:lnTo>
                <a:lnTo>
                  <a:pt x="3532" y="2580"/>
                </a:lnTo>
                <a:lnTo>
                  <a:pt x="3532" y="2580"/>
                </a:lnTo>
                <a:lnTo>
                  <a:pt x="3532" y="2580"/>
                </a:lnTo>
                <a:lnTo>
                  <a:pt x="3532" y="2580"/>
                </a:lnTo>
                <a:lnTo>
                  <a:pt x="3538" y="2580"/>
                </a:lnTo>
                <a:lnTo>
                  <a:pt x="3538" y="2580"/>
                </a:lnTo>
                <a:lnTo>
                  <a:pt x="3538" y="2586"/>
                </a:lnTo>
                <a:lnTo>
                  <a:pt x="3538" y="2586"/>
                </a:lnTo>
                <a:lnTo>
                  <a:pt x="3538" y="2592"/>
                </a:lnTo>
                <a:lnTo>
                  <a:pt x="3544" y="2592"/>
                </a:lnTo>
                <a:lnTo>
                  <a:pt x="3544" y="2592"/>
                </a:lnTo>
                <a:lnTo>
                  <a:pt x="3544" y="2592"/>
                </a:lnTo>
                <a:lnTo>
                  <a:pt x="3544" y="2592"/>
                </a:lnTo>
                <a:lnTo>
                  <a:pt x="3544" y="2592"/>
                </a:lnTo>
                <a:lnTo>
                  <a:pt x="3544" y="2586"/>
                </a:lnTo>
                <a:lnTo>
                  <a:pt x="3544" y="2586"/>
                </a:lnTo>
                <a:lnTo>
                  <a:pt x="3550" y="2586"/>
                </a:lnTo>
                <a:lnTo>
                  <a:pt x="3550" y="2586"/>
                </a:lnTo>
                <a:lnTo>
                  <a:pt x="3550" y="2580"/>
                </a:lnTo>
                <a:lnTo>
                  <a:pt x="3550" y="2580"/>
                </a:lnTo>
                <a:lnTo>
                  <a:pt x="3550" y="2580"/>
                </a:lnTo>
                <a:lnTo>
                  <a:pt x="3550" y="2580"/>
                </a:lnTo>
                <a:lnTo>
                  <a:pt x="3550" y="2586"/>
                </a:lnTo>
                <a:lnTo>
                  <a:pt x="3550" y="2580"/>
                </a:lnTo>
                <a:lnTo>
                  <a:pt x="3550" y="2580"/>
                </a:lnTo>
                <a:lnTo>
                  <a:pt x="3550" y="2580"/>
                </a:lnTo>
                <a:lnTo>
                  <a:pt x="3550" y="2580"/>
                </a:lnTo>
                <a:lnTo>
                  <a:pt x="3550" y="2580"/>
                </a:lnTo>
                <a:lnTo>
                  <a:pt x="3550" y="2580"/>
                </a:lnTo>
                <a:lnTo>
                  <a:pt x="3550" y="2580"/>
                </a:lnTo>
                <a:lnTo>
                  <a:pt x="3550" y="2580"/>
                </a:lnTo>
                <a:lnTo>
                  <a:pt x="3550" y="2580"/>
                </a:lnTo>
                <a:lnTo>
                  <a:pt x="3550" y="2586"/>
                </a:lnTo>
                <a:lnTo>
                  <a:pt x="3555" y="2580"/>
                </a:lnTo>
                <a:lnTo>
                  <a:pt x="3555" y="2574"/>
                </a:lnTo>
                <a:lnTo>
                  <a:pt x="3555" y="2574"/>
                </a:lnTo>
                <a:lnTo>
                  <a:pt x="3550" y="2574"/>
                </a:lnTo>
                <a:lnTo>
                  <a:pt x="3550" y="2574"/>
                </a:lnTo>
                <a:lnTo>
                  <a:pt x="3550" y="2574"/>
                </a:lnTo>
                <a:lnTo>
                  <a:pt x="3550" y="2574"/>
                </a:lnTo>
                <a:lnTo>
                  <a:pt x="3550" y="2574"/>
                </a:lnTo>
                <a:lnTo>
                  <a:pt x="3550"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68"/>
                </a:lnTo>
                <a:lnTo>
                  <a:pt x="3555" y="2568"/>
                </a:lnTo>
                <a:lnTo>
                  <a:pt x="3555" y="2568"/>
                </a:lnTo>
                <a:lnTo>
                  <a:pt x="3555" y="2568"/>
                </a:lnTo>
                <a:lnTo>
                  <a:pt x="3555" y="2568"/>
                </a:lnTo>
                <a:lnTo>
                  <a:pt x="3555" y="2568"/>
                </a:lnTo>
                <a:lnTo>
                  <a:pt x="3555" y="2568"/>
                </a:lnTo>
                <a:lnTo>
                  <a:pt x="3555" y="2568"/>
                </a:lnTo>
                <a:lnTo>
                  <a:pt x="3550" y="2568"/>
                </a:lnTo>
                <a:lnTo>
                  <a:pt x="3555" y="2568"/>
                </a:lnTo>
                <a:lnTo>
                  <a:pt x="3555" y="2568"/>
                </a:lnTo>
                <a:lnTo>
                  <a:pt x="3555" y="2568"/>
                </a:lnTo>
                <a:lnTo>
                  <a:pt x="3555" y="2568"/>
                </a:lnTo>
                <a:lnTo>
                  <a:pt x="3550" y="2568"/>
                </a:lnTo>
                <a:lnTo>
                  <a:pt x="3550" y="2568"/>
                </a:lnTo>
                <a:lnTo>
                  <a:pt x="3550" y="2568"/>
                </a:lnTo>
                <a:lnTo>
                  <a:pt x="3550" y="2568"/>
                </a:lnTo>
                <a:lnTo>
                  <a:pt x="3544" y="2568"/>
                </a:lnTo>
                <a:lnTo>
                  <a:pt x="3544" y="2562"/>
                </a:lnTo>
                <a:lnTo>
                  <a:pt x="3544" y="2562"/>
                </a:lnTo>
                <a:lnTo>
                  <a:pt x="3544" y="2562"/>
                </a:lnTo>
                <a:lnTo>
                  <a:pt x="3550" y="2562"/>
                </a:lnTo>
                <a:lnTo>
                  <a:pt x="3550" y="2562"/>
                </a:lnTo>
                <a:lnTo>
                  <a:pt x="3550" y="2562"/>
                </a:lnTo>
                <a:lnTo>
                  <a:pt x="3544" y="2562"/>
                </a:lnTo>
                <a:lnTo>
                  <a:pt x="3544" y="2562"/>
                </a:lnTo>
                <a:lnTo>
                  <a:pt x="3544" y="2562"/>
                </a:lnTo>
                <a:lnTo>
                  <a:pt x="3544" y="2556"/>
                </a:lnTo>
                <a:lnTo>
                  <a:pt x="3544" y="2556"/>
                </a:lnTo>
                <a:lnTo>
                  <a:pt x="3544" y="2562"/>
                </a:lnTo>
                <a:lnTo>
                  <a:pt x="3544" y="2556"/>
                </a:lnTo>
                <a:lnTo>
                  <a:pt x="3544" y="2556"/>
                </a:lnTo>
                <a:lnTo>
                  <a:pt x="3544" y="2556"/>
                </a:lnTo>
                <a:lnTo>
                  <a:pt x="3544" y="2556"/>
                </a:lnTo>
                <a:lnTo>
                  <a:pt x="3544" y="2556"/>
                </a:lnTo>
                <a:lnTo>
                  <a:pt x="3544" y="2556"/>
                </a:lnTo>
                <a:lnTo>
                  <a:pt x="3538" y="2556"/>
                </a:lnTo>
                <a:lnTo>
                  <a:pt x="3538" y="2556"/>
                </a:lnTo>
                <a:lnTo>
                  <a:pt x="3538" y="2556"/>
                </a:lnTo>
                <a:lnTo>
                  <a:pt x="3538" y="2556"/>
                </a:lnTo>
                <a:lnTo>
                  <a:pt x="3538" y="2556"/>
                </a:lnTo>
                <a:lnTo>
                  <a:pt x="3538" y="2550"/>
                </a:lnTo>
                <a:lnTo>
                  <a:pt x="3538" y="2550"/>
                </a:lnTo>
                <a:lnTo>
                  <a:pt x="3538" y="2550"/>
                </a:lnTo>
                <a:lnTo>
                  <a:pt x="3538" y="2550"/>
                </a:lnTo>
                <a:lnTo>
                  <a:pt x="3538" y="2550"/>
                </a:lnTo>
                <a:lnTo>
                  <a:pt x="3538" y="2550"/>
                </a:lnTo>
                <a:lnTo>
                  <a:pt x="3538" y="2550"/>
                </a:lnTo>
                <a:lnTo>
                  <a:pt x="3538" y="2550"/>
                </a:lnTo>
                <a:lnTo>
                  <a:pt x="3538" y="2550"/>
                </a:lnTo>
                <a:lnTo>
                  <a:pt x="3538" y="2550"/>
                </a:lnTo>
                <a:lnTo>
                  <a:pt x="3538" y="2556"/>
                </a:lnTo>
                <a:lnTo>
                  <a:pt x="3538" y="2556"/>
                </a:lnTo>
                <a:lnTo>
                  <a:pt x="3532" y="2556"/>
                </a:lnTo>
                <a:lnTo>
                  <a:pt x="3532" y="2556"/>
                </a:lnTo>
                <a:lnTo>
                  <a:pt x="3532" y="2556"/>
                </a:lnTo>
                <a:lnTo>
                  <a:pt x="3532" y="2556"/>
                </a:lnTo>
                <a:lnTo>
                  <a:pt x="3532" y="2550"/>
                </a:lnTo>
                <a:lnTo>
                  <a:pt x="3532" y="2550"/>
                </a:lnTo>
                <a:lnTo>
                  <a:pt x="3532" y="2550"/>
                </a:lnTo>
                <a:lnTo>
                  <a:pt x="3532" y="2550"/>
                </a:lnTo>
                <a:lnTo>
                  <a:pt x="3532" y="2550"/>
                </a:lnTo>
                <a:lnTo>
                  <a:pt x="3526" y="2550"/>
                </a:lnTo>
                <a:lnTo>
                  <a:pt x="3526" y="2550"/>
                </a:lnTo>
                <a:lnTo>
                  <a:pt x="3526" y="2550"/>
                </a:lnTo>
                <a:lnTo>
                  <a:pt x="3526" y="2550"/>
                </a:lnTo>
                <a:lnTo>
                  <a:pt x="3526" y="2550"/>
                </a:lnTo>
                <a:lnTo>
                  <a:pt x="3520" y="2550"/>
                </a:lnTo>
                <a:lnTo>
                  <a:pt x="3520" y="2550"/>
                </a:lnTo>
                <a:lnTo>
                  <a:pt x="3520" y="2550"/>
                </a:lnTo>
                <a:lnTo>
                  <a:pt x="3520" y="2550"/>
                </a:lnTo>
                <a:lnTo>
                  <a:pt x="3520" y="2550"/>
                </a:lnTo>
                <a:lnTo>
                  <a:pt x="3520" y="2550"/>
                </a:lnTo>
                <a:lnTo>
                  <a:pt x="3520" y="2550"/>
                </a:lnTo>
                <a:lnTo>
                  <a:pt x="3520" y="2550"/>
                </a:lnTo>
                <a:lnTo>
                  <a:pt x="3520" y="2550"/>
                </a:lnTo>
                <a:lnTo>
                  <a:pt x="3520" y="2550"/>
                </a:lnTo>
                <a:lnTo>
                  <a:pt x="3526" y="2550"/>
                </a:lnTo>
                <a:lnTo>
                  <a:pt x="3526" y="2550"/>
                </a:lnTo>
                <a:lnTo>
                  <a:pt x="3526" y="2550"/>
                </a:lnTo>
                <a:lnTo>
                  <a:pt x="3526" y="2550"/>
                </a:lnTo>
                <a:lnTo>
                  <a:pt x="3526" y="2550"/>
                </a:lnTo>
                <a:lnTo>
                  <a:pt x="3526" y="2550"/>
                </a:lnTo>
                <a:lnTo>
                  <a:pt x="3526" y="2550"/>
                </a:lnTo>
                <a:lnTo>
                  <a:pt x="3520" y="2550"/>
                </a:lnTo>
                <a:lnTo>
                  <a:pt x="3520" y="2550"/>
                </a:lnTo>
                <a:lnTo>
                  <a:pt x="3520" y="2550"/>
                </a:lnTo>
                <a:lnTo>
                  <a:pt x="3520" y="2550"/>
                </a:lnTo>
                <a:lnTo>
                  <a:pt x="3520" y="2550"/>
                </a:lnTo>
                <a:lnTo>
                  <a:pt x="3520" y="2550"/>
                </a:lnTo>
                <a:lnTo>
                  <a:pt x="3520" y="2550"/>
                </a:lnTo>
                <a:lnTo>
                  <a:pt x="3514" y="2544"/>
                </a:lnTo>
                <a:lnTo>
                  <a:pt x="3514" y="2544"/>
                </a:lnTo>
                <a:lnTo>
                  <a:pt x="3508" y="2550"/>
                </a:lnTo>
                <a:lnTo>
                  <a:pt x="3508" y="2550"/>
                </a:lnTo>
                <a:lnTo>
                  <a:pt x="3508" y="2550"/>
                </a:lnTo>
                <a:lnTo>
                  <a:pt x="3508" y="2550"/>
                </a:lnTo>
                <a:lnTo>
                  <a:pt x="3508" y="2544"/>
                </a:lnTo>
                <a:lnTo>
                  <a:pt x="3502" y="2544"/>
                </a:lnTo>
                <a:lnTo>
                  <a:pt x="3502" y="2544"/>
                </a:lnTo>
                <a:lnTo>
                  <a:pt x="3508" y="2544"/>
                </a:lnTo>
                <a:lnTo>
                  <a:pt x="3508" y="2544"/>
                </a:lnTo>
                <a:lnTo>
                  <a:pt x="3508" y="2544"/>
                </a:lnTo>
                <a:lnTo>
                  <a:pt x="3508" y="2544"/>
                </a:lnTo>
                <a:lnTo>
                  <a:pt x="3508" y="2544"/>
                </a:lnTo>
                <a:lnTo>
                  <a:pt x="3508" y="2544"/>
                </a:lnTo>
                <a:lnTo>
                  <a:pt x="3508" y="2544"/>
                </a:lnTo>
                <a:lnTo>
                  <a:pt x="3508" y="2544"/>
                </a:lnTo>
                <a:lnTo>
                  <a:pt x="3508" y="2544"/>
                </a:lnTo>
                <a:lnTo>
                  <a:pt x="3508" y="2544"/>
                </a:lnTo>
                <a:lnTo>
                  <a:pt x="3508" y="2544"/>
                </a:lnTo>
                <a:lnTo>
                  <a:pt x="3508" y="2538"/>
                </a:lnTo>
                <a:lnTo>
                  <a:pt x="3508" y="2538"/>
                </a:lnTo>
                <a:lnTo>
                  <a:pt x="3508" y="2538"/>
                </a:lnTo>
                <a:lnTo>
                  <a:pt x="3508" y="2538"/>
                </a:lnTo>
                <a:lnTo>
                  <a:pt x="3502" y="2538"/>
                </a:lnTo>
                <a:lnTo>
                  <a:pt x="3502" y="2538"/>
                </a:lnTo>
                <a:lnTo>
                  <a:pt x="3502" y="2538"/>
                </a:lnTo>
                <a:lnTo>
                  <a:pt x="3502" y="2538"/>
                </a:lnTo>
                <a:lnTo>
                  <a:pt x="3502" y="2538"/>
                </a:lnTo>
                <a:lnTo>
                  <a:pt x="3502" y="2538"/>
                </a:lnTo>
                <a:lnTo>
                  <a:pt x="3502" y="2538"/>
                </a:lnTo>
                <a:lnTo>
                  <a:pt x="3502" y="2538"/>
                </a:lnTo>
                <a:lnTo>
                  <a:pt x="3502" y="2533"/>
                </a:lnTo>
                <a:lnTo>
                  <a:pt x="3496" y="2538"/>
                </a:lnTo>
                <a:lnTo>
                  <a:pt x="3496" y="2533"/>
                </a:lnTo>
                <a:lnTo>
                  <a:pt x="3496" y="2533"/>
                </a:lnTo>
                <a:lnTo>
                  <a:pt x="3490" y="2533"/>
                </a:lnTo>
                <a:lnTo>
                  <a:pt x="3490" y="2533"/>
                </a:lnTo>
                <a:lnTo>
                  <a:pt x="3490" y="2533"/>
                </a:lnTo>
                <a:lnTo>
                  <a:pt x="3490" y="2533"/>
                </a:lnTo>
                <a:lnTo>
                  <a:pt x="3490" y="2533"/>
                </a:lnTo>
                <a:lnTo>
                  <a:pt x="3490" y="2527"/>
                </a:lnTo>
                <a:lnTo>
                  <a:pt x="3490" y="2527"/>
                </a:lnTo>
                <a:lnTo>
                  <a:pt x="3484" y="2527"/>
                </a:lnTo>
                <a:lnTo>
                  <a:pt x="3484" y="2527"/>
                </a:lnTo>
                <a:lnTo>
                  <a:pt x="3484" y="2521"/>
                </a:lnTo>
                <a:lnTo>
                  <a:pt x="3484" y="2521"/>
                </a:lnTo>
                <a:lnTo>
                  <a:pt x="3490" y="2521"/>
                </a:lnTo>
                <a:lnTo>
                  <a:pt x="3490" y="2521"/>
                </a:lnTo>
                <a:lnTo>
                  <a:pt x="3484" y="2521"/>
                </a:lnTo>
                <a:lnTo>
                  <a:pt x="3484" y="2521"/>
                </a:lnTo>
                <a:lnTo>
                  <a:pt x="3484" y="2521"/>
                </a:lnTo>
                <a:lnTo>
                  <a:pt x="3484" y="2521"/>
                </a:lnTo>
                <a:lnTo>
                  <a:pt x="3484" y="2521"/>
                </a:lnTo>
                <a:lnTo>
                  <a:pt x="3484" y="2521"/>
                </a:lnTo>
                <a:lnTo>
                  <a:pt x="3496" y="2521"/>
                </a:lnTo>
                <a:lnTo>
                  <a:pt x="3496" y="2521"/>
                </a:lnTo>
                <a:lnTo>
                  <a:pt x="3496" y="2521"/>
                </a:lnTo>
                <a:lnTo>
                  <a:pt x="3496" y="2521"/>
                </a:lnTo>
                <a:lnTo>
                  <a:pt x="3496" y="2521"/>
                </a:lnTo>
                <a:lnTo>
                  <a:pt x="3496" y="2521"/>
                </a:lnTo>
                <a:lnTo>
                  <a:pt x="3496" y="2515"/>
                </a:lnTo>
                <a:lnTo>
                  <a:pt x="3490" y="2515"/>
                </a:lnTo>
                <a:lnTo>
                  <a:pt x="3490" y="2515"/>
                </a:lnTo>
                <a:lnTo>
                  <a:pt x="3496" y="2515"/>
                </a:lnTo>
                <a:lnTo>
                  <a:pt x="3496" y="2515"/>
                </a:lnTo>
                <a:lnTo>
                  <a:pt x="3496" y="2515"/>
                </a:lnTo>
                <a:lnTo>
                  <a:pt x="3490" y="2515"/>
                </a:lnTo>
                <a:lnTo>
                  <a:pt x="3490" y="2515"/>
                </a:lnTo>
                <a:lnTo>
                  <a:pt x="3490" y="2515"/>
                </a:lnTo>
                <a:lnTo>
                  <a:pt x="3490" y="2509"/>
                </a:lnTo>
                <a:lnTo>
                  <a:pt x="3490" y="2515"/>
                </a:lnTo>
                <a:lnTo>
                  <a:pt x="3490" y="2515"/>
                </a:lnTo>
                <a:lnTo>
                  <a:pt x="3490" y="2515"/>
                </a:lnTo>
                <a:lnTo>
                  <a:pt x="3496" y="2515"/>
                </a:lnTo>
                <a:lnTo>
                  <a:pt x="3502" y="2515"/>
                </a:lnTo>
                <a:lnTo>
                  <a:pt x="3502" y="2515"/>
                </a:lnTo>
                <a:lnTo>
                  <a:pt x="3508" y="2515"/>
                </a:lnTo>
                <a:lnTo>
                  <a:pt x="3508" y="2521"/>
                </a:lnTo>
                <a:lnTo>
                  <a:pt x="3508" y="2521"/>
                </a:lnTo>
                <a:lnTo>
                  <a:pt x="3508" y="2521"/>
                </a:lnTo>
                <a:lnTo>
                  <a:pt x="3508" y="2521"/>
                </a:lnTo>
                <a:lnTo>
                  <a:pt x="3508" y="2521"/>
                </a:lnTo>
                <a:lnTo>
                  <a:pt x="3508" y="2521"/>
                </a:lnTo>
                <a:lnTo>
                  <a:pt x="3508" y="2521"/>
                </a:lnTo>
                <a:lnTo>
                  <a:pt x="3508" y="2521"/>
                </a:lnTo>
                <a:lnTo>
                  <a:pt x="3508" y="2515"/>
                </a:lnTo>
                <a:lnTo>
                  <a:pt x="3508" y="2515"/>
                </a:lnTo>
                <a:lnTo>
                  <a:pt x="3508" y="2515"/>
                </a:lnTo>
                <a:lnTo>
                  <a:pt x="3508" y="2515"/>
                </a:lnTo>
                <a:lnTo>
                  <a:pt x="3508" y="2515"/>
                </a:lnTo>
                <a:lnTo>
                  <a:pt x="3508" y="2515"/>
                </a:lnTo>
                <a:lnTo>
                  <a:pt x="3508" y="2515"/>
                </a:lnTo>
                <a:lnTo>
                  <a:pt x="3508" y="2515"/>
                </a:lnTo>
                <a:lnTo>
                  <a:pt x="3508" y="2515"/>
                </a:lnTo>
                <a:lnTo>
                  <a:pt x="3508" y="2515"/>
                </a:lnTo>
                <a:lnTo>
                  <a:pt x="3502" y="2515"/>
                </a:lnTo>
                <a:lnTo>
                  <a:pt x="3502" y="2515"/>
                </a:lnTo>
                <a:lnTo>
                  <a:pt x="3502" y="2515"/>
                </a:lnTo>
                <a:lnTo>
                  <a:pt x="3502" y="2515"/>
                </a:lnTo>
                <a:lnTo>
                  <a:pt x="3502" y="2515"/>
                </a:lnTo>
                <a:lnTo>
                  <a:pt x="3496" y="2509"/>
                </a:lnTo>
                <a:lnTo>
                  <a:pt x="3496" y="2509"/>
                </a:lnTo>
                <a:lnTo>
                  <a:pt x="3502" y="2509"/>
                </a:lnTo>
                <a:lnTo>
                  <a:pt x="3502" y="2509"/>
                </a:lnTo>
                <a:lnTo>
                  <a:pt x="3502" y="2509"/>
                </a:lnTo>
                <a:lnTo>
                  <a:pt x="3502" y="2509"/>
                </a:lnTo>
                <a:lnTo>
                  <a:pt x="3508" y="2509"/>
                </a:lnTo>
                <a:lnTo>
                  <a:pt x="3508" y="2509"/>
                </a:lnTo>
                <a:lnTo>
                  <a:pt x="3508" y="2503"/>
                </a:lnTo>
                <a:lnTo>
                  <a:pt x="3508" y="2503"/>
                </a:lnTo>
                <a:lnTo>
                  <a:pt x="3508" y="2503"/>
                </a:lnTo>
                <a:lnTo>
                  <a:pt x="3508" y="2503"/>
                </a:lnTo>
                <a:lnTo>
                  <a:pt x="3508" y="2503"/>
                </a:lnTo>
                <a:lnTo>
                  <a:pt x="3508" y="2503"/>
                </a:lnTo>
                <a:lnTo>
                  <a:pt x="3508" y="2503"/>
                </a:lnTo>
                <a:lnTo>
                  <a:pt x="3514" y="2497"/>
                </a:lnTo>
                <a:lnTo>
                  <a:pt x="3508" y="2497"/>
                </a:lnTo>
                <a:lnTo>
                  <a:pt x="3508" y="2497"/>
                </a:lnTo>
                <a:lnTo>
                  <a:pt x="3514" y="2497"/>
                </a:lnTo>
                <a:lnTo>
                  <a:pt x="3514" y="2497"/>
                </a:lnTo>
                <a:lnTo>
                  <a:pt x="3514" y="2497"/>
                </a:lnTo>
                <a:lnTo>
                  <a:pt x="3514" y="2497"/>
                </a:lnTo>
                <a:lnTo>
                  <a:pt x="3514" y="2503"/>
                </a:lnTo>
                <a:lnTo>
                  <a:pt x="3520" y="2503"/>
                </a:lnTo>
                <a:lnTo>
                  <a:pt x="3520" y="2503"/>
                </a:lnTo>
                <a:lnTo>
                  <a:pt x="3520" y="2503"/>
                </a:lnTo>
                <a:lnTo>
                  <a:pt x="3520" y="2503"/>
                </a:lnTo>
                <a:lnTo>
                  <a:pt x="3520" y="2503"/>
                </a:lnTo>
                <a:lnTo>
                  <a:pt x="3520" y="2503"/>
                </a:lnTo>
                <a:lnTo>
                  <a:pt x="3520" y="2503"/>
                </a:lnTo>
                <a:lnTo>
                  <a:pt x="3520" y="2503"/>
                </a:lnTo>
                <a:lnTo>
                  <a:pt x="3520" y="2503"/>
                </a:lnTo>
                <a:lnTo>
                  <a:pt x="3520" y="2503"/>
                </a:lnTo>
                <a:lnTo>
                  <a:pt x="3520" y="2503"/>
                </a:lnTo>
                <a:lnTo>
                  <a:pt x="3520" y="2503"/>
                </a:lnTo>
                <a:lnTo>
                  <a:pt x="3520" y="2503"/>
                </a:lnTo>
                <a:lnTo>
                  <a:pt x="3520" y="2503"/>
                </a:lnTo>
                <a:lnTo>
                  <a:pt x="3526" y="2503"/>
                </a:lnTo>
                <a:lnTo>
                  <a:pt x="3526" y="2503"/>
                </a:lnTo>
                <a:lnTo>
                  <a:pt x="3526" y="2503"/>
                </a:lnTo>
                <a:lnTo>
                  <a:pt x="3520" y="2503"/>
                </a:lnTo>
                <a:lnTo>
                  <a:pt x="3520" y="2497"/>
                </a:lnTo>
                <a:lnTo>
                  <a:pt x="3520" y="2497"/>
                </a:lnTo>
                <a:lnTo>
                  <a:pt x="3520" y="2497"/>
                </a:lnTo>
                <a:lnTo>
                  <a:pt x="3520" y="2497"/>
                </a:lnTo>
                <a:lnTo>
                  <a:pt x="3520" y="2497"/>
                </a:lnTo>
                <a:lnTo>
                  <a:pt x="3526" y="2497"/>
                </a:lnTo>
                <a:lnTo>
                  <a:pt x="3526" y="2497"/>
                </a:lnTo>
                <a:lnTo>
                  <a:pt x="3526" y="2497"/>
                </a:lnTo>
                <a:lnTo>
                  <a:pt x="3526" y="2497"/>
                </a:lnTo>
                <a:lnTo>
                  <a:pt x="3526" y="2497"/>
                </a:lnTo>
                <a:lnTo>
                  <a:pt x="3526" y="2497"/>
                </a:lnTo>
                <a:lnTo>
                  <a:pt x="3526" y="2491"/>
                </a:lnTo>
                <a:lnTo>
                  <a:pt x="3526" y="2491"/>
                </a:lnTo>
                <a:lnTo>
                  <a:pt x="3526" y="2491"/>
                </a:lnTo>
                <a:lnTo>
                  <a:pt x="3526" y="2491"/>
                </a:lnTo>
                <a:lnTo>
                  <a:pt x="3526" y="2491"/>
                </a:lnTo>
                <a:lnTo>
                  <a:pt x="3526" y="2491"/>
                </a:lnTo>
                <a:lnTo>
                  <a:pt x="3526" y="2491"/>
                </a:lnTo>
                <a:lnTo>
                  <a:pt x="3526" y="2491"/>
                </a:lnTo>
                <a:lnTo>
                  <a:pt x="3520" y="2491"/>
                </a:lnTo>
                <a:lnTo>
                  <a:pt x="3520" y="2491"/>
                </a:lnTo>
                <a:lnTo>
                  <a:pt x="3520" y="2491"/>
                </a:lnTo>
                <a:lnTo>
                  <a:pt x="3520" y="2491"/>
                </a:lnTo>
                <a:lnTo>
                  <a:pt x="3520" y="2491"/>
                </a:lnTo>
                <a:lnTo>
                  <a:pt x="3520" y="2491"/>
                </a:lnTo>
                <a:lnTo>
                  <a:pt x="3520" y="2491"/>
                </a:lnTo>
                <a:lnTo>
                  <a:pt x="3520" y="2491"/>
                </a:lnTo>
                <a:lnTo>
                  <a:pt x="3520" y="2491"/>
                </a:lnTo>
                <a:lnTo>
                  <a:pt x="3520" y="2491"/>
                </a:lnTo>
                <a:lnTo>
                  <a:pt x="3520" y="2485"/>
                </a:lnTo>
                <a:lnTo>
                  <a:pt x="3520" y="2485"/>
                </a:lnTo>
                <a:lnTo>
                  <a:pt x="3520" y="2485"/>
                </a:lnTo>
                <a:lnTo>
                  <a:pt x="3520" y="2491"/>
                </a:lnTo>
                <a:lnTo>
                  <a:pt x="3520" y="2491"/>
                </a:lnTo>
                <a:lnTo>
                  <a:pt x="3520" y="2491"/>
                </a:lnTo>
                <a:lnTo>
                  <a:pt x="3520" y="2491"/>
                </a:lnTo>
                <a:lnTo>
                  <a:pt x="3520" y="2491"/>
                </a:lnTo>
                <a:lnTo>
                  <a:pt x="3520" y="2491"/>
                </a:lnTo>
                <a:lnTo>
                  <a:pt x="3520" y="2491"/>
                </a:lnTo>
                <a:lnTo>
                  <a:pt x="3520" y="2491"/>
                </a:lnTo>
                <a:lnTo>
                  <a:pt x="3520" y="2491"/>
                </a:lnTo>
                <a:lnTo>
                  <a:pt x="3520" y="2491"/>
                </a:lnTo>
                <a:lnTo>
                  <a:pt x="3520" y="2491"/>
                </a:lnTo>
                <a:lnTo>
                  <a:pt x="3514" y="2485"/>
                </a:lnTo>
                <a:lnTo>
                  <a:pt x="3514" y="2485"/>
                </a:lnTo>
                <a:lnTo>
                  <a:pt x="3514" y="2485"/>
                </a:lnTo>
                <a:lnTo>
                  <a:pt x="3520" y="2485"/>
                </a:lnTo>
                <a:lnTo>
                  <a:pt x="3520" y="2485"/>
                </a:lnTo>
                <a:lnTo>
                  <a:pt x="3520" y="2485"/>
                </a:lnTo>
                <a:lnTo>
                  <a:pt x="3520" y="2485"/>
                </a:lnTo>
                <a:lnTo>
                  <a:pt x="3520" y="2485"/>
                </a:lnTo>
                <a:lnTo>
                  <a:pt x="3520" y="2485"/>
                </a:lnTo>
                <a:lnTo>
                  <a:pt x="3520" y="2485"/>
                </a:lnTo>
                <a:lnTo>
                  <a:pt x="3520" y="2479"/>
                </a:lnTo>
                <a:lnTo>
                  <a:pt x="3520" y="2479"/>
                </a:lnTo>
                <a:lnTo>
                  <a:pt x="3514" y="2479"/>
                </a:lnTo>
                <a:lnTo>
                  <a:pt x="3514" y="2479"/>
                </a:lnTo>
                <a:lnTo>
                  <a:pt x="3514" y="2479"/>
                </a:lnTo>
                <a:lnTo>
                  <a:pt x="3514" y="2479"/>
                </a:lnTo>
                <a:lnTo>
                  <a:pt x="3514" y="2479"/>
                </a:lnTo>
                <a:lnTo>
                  <a:pt x="3514" y="2479"/>
                </a:lnTo>
                <a:lnTo>
                  <a:pt x="3514" y="2479"/>
                </a:lnTo>
                <a:lnTo>
                  <a:pt x="3514" y="2479"/>
                </a:lnTo>
                <a:lnTo>
                  <a:pt x="3514" y="2479"/>
                </a:lnTo>
                <a:lnTo>
                  <a:pt x="3514" y="2479"/>
                </a:lnTo>
                <a:lnTo>
                  <a:pt x="3514" y="2479"/>
                </a:lnTo>
                <a:lnTo>
                  <a:pt x="3514" y="2473"/>
                </a:lnTo>
                <a:lnTo>
                  <a:pt x="3514" y="2473"/>
                </a:lnTo>
                <a:lnTo>
                  <a:pt x="3514" y="2473"/>
                </a:lnTo>
                <a:lnTo>
                  <a:pt x="3520" y="2473"/>
                </a:lnTo>
                <a:lnTo>
                  <a:pt x="3520" y="2473"/>
                </a:lnTo>
                <a:lnTo>
                  <a:pt x="3520" y="2473"/>
                </a:lnTo>
                <a:lnTo>
                  <a:pt x="3520" y="2473"/>
                </a:lnTo>
                <a:lnTo>
                  <a:pt x="3520" y="2473"/>
                </a:lnTo>
                <a:lnTo>
                  <a:pt x="3520" y="2473"/>
                </a:lnTo>
                <a:lnTo>
                  <a:pt x="3520" y="2473"/>
                </a:lnTo>
                <a:lnTo>
                  <a:pt x="3520" y="2473"/>
                </a:lnTo>
                <a:lnTo>
                  <a:pt x="3520" y="2473"/>
                </a:lnTo>
                <a:lnTo>
                  <a:pt x="3520" y="2473"/>
                </a:lnTo>
                <a:lnTo>
                  <a:pt x="3514" y="2473"/>
                </a:lnTo>
                <a:lnTo>
                  <a:pt x="3514" y="2473"/>
                </a:lnTo>
                <a:lnTo>
                  <a:pt x="3514" y="2473"/>
                </a:lnTo>
                <a:lnTo>
                  <a:pt x="3514" y="2473"/>
                </a:lnTo>
                <a:lnTo>
                  <a:pt x="3514" y="2473"/>
                </a:lnTo>
                <a:lnTo>
                  <a:pt x="3514" y="2473"/>
                </a:lnTo>
                <a:lnTo>
                  <a:pt x="3514" y="2473"/>
                </a:lnTo>
                <a:lnTo>
                  <a:pt x="3514" y="2473"/>
                </a:lnTo>
                <a:lnTo>
                  <a:pt x="3514" y="2473"/>
                </a:lnTo>
                <a:lnTo>
                  <a:pt x="3514" y="2473"/>
                </a:lnTo>
                <a:lnTo>
                  <a:pt x="3514" y="2473"/>
                </a:lnTo>
                <a:lnTo>
                  <a:pt x="3514" y="2473"/>
                </a:lnTo>
                <a:lnTo>
                  <a:pt x="3514" y="2467"/>
                </a:lnTo>
                <a:lnTo>
                  <a:pt x="3514" y="2467"/>
                </a:lnTo>
                <a:lnTo>
                  <a:pt x="3514" y="2467"/>
                </a:lnTo>
                <a:lnTo>
                  <a:pt x="3514" y="2467"/>
                </a:lnTo>
                <a:lnTo>
                  <a:pt x="3514" y="2467"/>
                </a:lnTo>
                <a:lnTo>
                  <a:pt x="3508" y="2467"/>
                </a:lnTo>
                <a:lnTo>
                  <a:pt x="3508" y="2467"/>
                </a:lnTo>
                <a:lnTo>
                  <a:pt x="3508" y="2467"/>
                </a:lnTo>
                <a:lnTo>
                  <a:pt x="3508" y="2473"/>
                </a:lnTo>
                <a:lnTo>
                  <a:pt x="3508" y="2473"/>
                </a:lnTo>
                <a:lnTo>
                  <a:pt x="3508" y="2473"/>
                </a:lnTo>
                <a:lnTo>
                  <a:pt x="3508" y="2473"/>
                </a:lnTo>
                <a:lnTo>
                  <a:pt x="3508" y="2473"/>
                </a:lnTo>
                <a:lnTo>
                  <a:pt x="3508" y="2473"/>
                </a:lnTo>
                <a:lnTo>
                  <a:pt x="3508" y="2473"/>
                </a:lnTo>
                <a:lnTo>
                  <a:pt x="3508" y="2473"/>
                </a:lnTo>
                <a:lnTo>
                  <a:pt x="3508" y="2473"/>
                </a:lnTo>
                <a:lnTo>
                  <a:pt x="3508" y="2473"/>
                </a:lnTo>
                <a:lnTo>
                  <a:pt x="3508" y="2479"/>
                </a:lnTo>
                <a:lnTo>
                  <a:pt x="3502" y="2479"/>
                </a:lnTo>
                <a:lnTo>
                  <a:pt x="3502" y="2479"/>
                </a:lnTo>
                <a:lnTo>
                  <a:pt x="3502" y="2479"/>
                </a:lnTo>
                <a:lnTo>
                  <a:pt x="3502" y="2479"/>
                </a:lnTo>
                <a:lnTo>
                  <a:pt x="3502" y="2479"/>
                </a:lnTo>
                <a:lnTo>
                  <a:pt x="3502" y="2479"/>
                </a:lnTo>
                <a:lnTo>
                  <a:pt x="3502" y="2485"/>
                </a:lnTo>
                <a:lnTo>
                  <a:pt x="3502" y="2485"/>
                </a:lnTo>
                <a:lnTo>
                  <a:pt x="3502" y="2485"/>
                </a:lnTo>
                <a:lnTo>
                  <a:pt x="3502" y="2491"/>
                </a:lnTo>
                <a:lnTo>
                  <a:pt x="3502" y="2491"/>
                </a:lnTo>
                <a:lnTo>
                  <a:pt x="3496" y="2491"/>
                </a:lnTo>
                <a:lnTo>
                  <a:pt x="3496" y="2491"/>
                </a:lnTo>
                <a:lnTo>
                  <a:pt x="3496" y="2491"/>
                </a:lnTo>
                <a:lnTo>
                  <a:pt x="3490" y="2491"/>
                </a:lnTo>
                <a:lnTo>
                  <a:pt x="3490" y="2491"/>
                </a:lnTo>
                <a:lnTo>
                  <a:pt x="3490" y="2491"/>
                </a:lnTo>
                <a:lnTo>
                  <a:pt x="3484" y="2485"/>
                </a:lnTo>
                <a:lnTo>
                  <a:pt x="3484" y="2485"/>
                </a:lnTo>
                <a:lnTo>
                  <a:pt x="3484" y="2485"/>
                </a:lnTo>
                <a:lnTo>
                  <a:pt x="3490" y="2485"/>
                </a:lnTo>
                <a:lnTo>
                  <a:pt x="3490" y="2485"/>
                </a:lnTo>
                <a:lnTo>
                  <a:pt x="3490" y="2485"/>
                </a:lnTo>
                <a:lnTo>
                  <a:pt x="3490" y="2485"/>
                </a:lnTo>
                <a:lnTo>
                  <a:pt x="3490" y="2485"/>
                </a:lnTo>
                <a:lnTo>
                  <a:pt x="3484" y="2485"/>
                </a:lnTo>
                <a:lnTo>
                  <a:pt x="3484" y="2485"/>
                </a:lnTo>
                <a:lnTo>
                  <a:pt x="3484" y="2485"/>
                </a:lnTo>
                <a:lnTo>
                  <a:pt x="3478" y="2485"/>
                </a:lnTo>
                <a:lnTo>
                  <a:pt x="3478" y="2485"/>
                </a:lnTo>
                <a:lnTo>
                  <a:pt x="3478" y="2485"/>
                </a:lnTo>
                <a:lnTo>
                  <a:pt x="3478" y="2485"/>
                </a:lnTo>
                <a:lnTo>
                  <a:pt x="3478" y="2485"/>
                </a:lnTo>
                <a:lnTo>
                  <a:pt x="3478" y="2485"/>
                </a:lnTo>
                <a:lnTo>
                  <a:pt x="3478" y="2479"/>
                </a:lnTo>
                <a:lnTo>
                  <a:pt x="3478" y="2479"/>
                </a:lnTo>
                <a:lnTo>
                  <a:pt x="3473" y="2479"/>
                </a:lnTo>
                <a:lnTo>
                  <a:pt x="3473" y="2479"/>
                </a:lnTo>
                <a:lnTo>
                  <a:pt x="3473" y="2479"/>
                </a:lnTo>
                <a:lnTo>
                  <a:pt x="3478" y="2473"/>
                </a:lnTo>
                <a:lnTo>
                  <a:pt x="3478" y="2473"/>
                </a:lnTo>
                <a:lnTo>
                  <a:pt x="3478" y="2473"/>
                </a:lnTo>
                <a:lnTo>
                  <a:pt x="3484" y="2473"/>
                </a:lnTo>
                <a:lnTo>
                  <a:pt x="3484" y="2473"/>
                </a:lnTo>
                <a:lnTo>
                  <a:pt x="3484" y="2473"/>
                </a:lnTo>
                <a:lnTo>
                  <a:pt x="3484" y="2473"/>
                </a:lnTo>
                <a:lnTo>
                  <a:pt x="3484" y="2473"/>
                </a:lnTo>
                <a:lnTo>
                  <a:pt x="3490" y="2473"/>
                </a:lnTo>
                <a:lnTo>
                  <a:pt x="3490" y="2473"/>
                </a:lnTo>
                <a:lnTo>
                  <a:pt x="3490" y="2473"/>
                </a:lnTo>
                <a:lnTo>
                  <a:pt x="3484" y="2473"/>
                </a:lnTo>
                <a:lnTo>
                  <a:pt x="3484" y="2473"/>
                </a:lnTo>
                <a:lnTo>
                  <a:pt x="3484" y="2473"/>
                </a:lnTo>
                <a:lnTo>
                  <a:pt x="3490" y="2473"/>
                </a:lnTo>
                <a:lnTo>
                  <a:pt x="3490" y="2467"/>
                </a:lnTo>
                <a:lnTo>
                  <a:pt x="3490" y="2467"/>
                </a:lnTo>
                <a:lnTo>
                  <a:pt x="3490" y="2467"/>
                </a:lnTo>
                <a:lnTo>
                  <a:pt x="3490" y="2467"/>
                </a:lnTo>
                <a:lnTo>
                  <a:pt x="3490" y="2467"/>
                </a:lnTo>
                <a:lnTo>
                  <a:pt x="3490" y="2467"/>
                </a:lnTo>
                <a:lnTo>
                  <a:pt x="3496" y="2467"/>
                </a:lnTo>
                <a:lnTo>
                  <a:pt x="3496" y="2461"/>
                </a:lnTo>
                <a:lnTo>
                  <a:pt x="3496" y="2461"/>
                </a:lnTo>
                <a:lnTo>
                  <a:pt x="3496" y="2461"/>
                </a:lnTo>
                <a:lnTo>
                  <a:pt x="3496"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84" y="2461"/>
                </a:lnTo>
                <a:lnTo>
                  <a:pt x="3484" y="2461"/>
                </a:lnTo>
                <a:lnTo>
                  <a:pt x="3484" y="2461"/>
                </a:lnTo>
                <a:lnTo>
                  <a:pt x="3484" y="2467"/>
                </a:lnTo>
                <a:lnTo>
                  <a:pt x="3484" y="2467"/>
                </a:lnTo>
                <a:lnTo>
                  <a:pt x="3484" y="2467"/>
                </a:lnTo>
                <a:lnTo>
                  <a:pt x="3484" y="2467"/>
                </a:lnTo>
                <a:lnTo>
                  <a:pt x="3484" y="2467"/>
                </a:lnTo>
                <a:lnTo>
                  <a:pt x="3484" y="2467"/>
                </a:lnTo>
                <a:lnTo>
                  <a:pt x="3484" y="2467"/>
                </a:lnTo>
                <a:lnTo>
                  <a:pt x="3484" y="2467"/>
                </a:lnTo>
                <a:lnTo>
                  <a:pt x="3484" y="2461"/>
                </a:lnTo>
                <a:lnTo>
                  <a:pt x="3484" y="2461"/>
                </a:lnTo>
                <a:lnTo>
                  <a:pt x="3484" y="2461"/>
                </a:lnTo>
                <a:lnTo>
                  <a:pt x="3484" y="2461"/>
                </a:lnTo>
                <a:lnTo>
                  <a:pt x="3484" y="2461"/>
                </a:lnTo>
                <a:lnTo>
                  <a:pt x="3484" y="2455"/>
                </a:lnTo>
                <a:lnTo>
                  <a:pt x="3484" y="2455"/>
                </a:lnTo>
                <a:lnTo>
                  <a:pt x="3484" y="2455"/>
                </a:lnTo>
                <a:lnTo>
                  <a:pt x="3484" y="2461"/>
                </a:lnTo>
                <a:lnTo>
                  <a:pt x="3484" y="2461"/>
                </a:lnTo>
                <a:lnTo>
                  <a:pt x="3484" y="2461"/>
                </a:lnTo>
                <a:lnTo>
                  <a:pt x="3484" y="2461"/>
                </a:lnTo>
                <a:lnTo>
                  <a:pt x="3484" y="2467"/>
                </a:lnTo>
                <a:lnTo>
                  <a:pt x="3478" y="2467"/>
                </a:lnTo>
                <a:lnTo>
                  <a:pt x="3478" y="2467"/>
                </a:lnTo>
                <a:lnTo>
                  <a:pt x="3478" y="2467"/>
                </a:lnTo>
                <a:lnTo>
                  <a:pt x="3478" y="2467"/>
                </a:lnTo>
                <a:lnTo>
                  <a:pt x="3478" y="2467"/>
                </a:lnTo>
                <a:lnTo>
                  <a:pt x="3478" y="2467"/>
                </a:lnTo>
                <a:lnTo>
                  <a:pt x="3478" y="2467"/>
                </a:lnTo>
                <a:lnTo>
                  <a:pt x="3478" y="2467"/>
                </a:lnTo>
                <a:lnTo>
                  <a:pt x="3478" y="2467"/>
                </a:lnTo>
                <a:lnTo>
                  <a:pt x="3478" y="2467"/>
                </a:lnTo>
                <a:lnTo>
                  <a:pt x="3478" y="2467"/>
                </a:lnTo>
                <a:lnTo>
                  <a:pt x="3473" y="2467"/>
                </a:lnTo>
                <a:lnTo>
                  <a:pt x="3473" y="2461"/>
                </a:lnTo>
                <a:lnTo>
                  <a:pt x="3473" y="2461"/>
                </a:lnTo>
                <a:lnTo>
                  <a:pt x="3473" y="2461"/>
                </a:lnTo>
                <a:lnTo>
                  <a:pt x="3473" y="2461"/>
                </a:lnTo>
                <a:lnTo>
                  <a:pt x="3467" y="2461"/>
                </a:lnTo>
                <a:lnTo>
                  <a:pt x="3467" y="2467"/>
                </a:lnTo>
                <a:lnTo>
                  <a:pt x="3467" y="2467"/>
                </a:lnTo>
                <a:lnTo>
                  <a:pt x="3461" y="2473"/>
                </a:lnTo>
                <a:lnTo>
                  <a:pt x="3461" y="2473"/>
                </a:lnTo>
                <a:lnTo>
                  <a:pt x="3455" y="2473"/>
                </a:lnTo>
                <a:lnTo>
                  <a:pt x="3449" y="2473"/>
                </a:lnTo>
                <a:lnTo>
                  <a:pt x="3443" y="2473"/>
                </a:lnTo>
                <a:lnTo>
                  <a:pt x="3443" y="2473"/>
                </a:lnTo>
                <a:lnTo>
                  <a:pt x="3437" y="2473"/>
                </a:lnTo>
                <a:lnTo>
                  <a:pt x="3431" y="2473"/>
                </a:lnTo>
                <a:lnTo>
                  <a:pt x="3425" y="2473"/>
                </a:lnTo>
                <a:lnTo>
                  <a:pt x="3419" y="2467"/>
                </a:lnTo>
                <a:lnTo>
                  <a:pt x="3419" y="2467"/>
                </a:lnTo>
                <a:lnTo>
                  <a:pt x="3419" y="2467"/>
                </a:lnTo>
                <a:lnTo>
                  <a:pt x="3419" y="2461"/>
                </a:lnTo>
                <a:lnTo>
                  <a:pt x="3419" y="2455"/>
                </a:lnTo>
                <a:lnTo>
                  <a:pt x="3419" y="2455"/>
                </a:lnTo>
                <a:lnTo>
                  <a:pt x="3419" y="2455"/>
                </a:lnTo>
                <a:lnTo>
                  <a:pt x="3425" y="2444"/>
                </a:lnTo>
                <a:lnTo>
                  <a:pt x="3431" y="2444"/>
                </a:lnTo>
                <a:lnTo>
                  <a:pt x="3431" y="2438"/>
                </a:lnTo>
                <a:lnTo>
                  <a:pt x="3431" y="2438"/>
                </a:lnTo>
                <a:lnTo>
                  <a:pt x="3437" y="2438"/>
                </a:lnTo>
                <a:lnTo>
                  <a:pt x="3437" y="2432"/>
                </a:lnTo>
                <a:lnTo>
                  <a:pt x="3443" y="2432"/>
                </a:lnTo>
                <a:lnTo>
                  <a:pt x="3443" y="2432"/>
                </a:lnTo>
                <a:lnTo>
                  <a:pt x="3449" y="2438"/>
                </a:lnTo>
                <a:lnTo>
                  <a:pt x="3455" y="2438"/>
                </a:lnTo>
                <a:lnTo>
                  <a:pt x="3455" y="2438"/>
                </a:lnTo>
                <a:lnTo>
                  <a:pt x="3461" y="2444"/>
                </a:lnTo>
                <a:lnTo>
                  <a:pt x="3461" y="2444"/>
                </a:lnTo>
                <a:lnTo>
                  <a:pt x="3461" y="2444"/>
                </a:lnTo>
                <a:lnTo>
                  <a:pt x="3461" y="2444"/>
                </a:lnTo>
                <a:lnTo>
                  <a:pt x="3461" y="2444"/>
                </a:lnTo>
                <a:lnTo>
                  <a:pt x="3461" y="2450"/>
                </a:lnTo>
                <a:lnTo>
                  <a:pt x="3461" y="2450"/>
                </a:lnTo>
                <a:lnTo>
                  <a:pt x="3461" y="2450"/>
                </a:lnTo>
                <a:lnTo>
                  <a:pt x="3467" y="2450"/>
                </a:lnTo>
                <a:lnTo>
                  <a:pt x="3467" y="2450"/>
                </a:lnTo>
                <a:lnTo>
                  <a:pt x="3467" y="2450"/>
                </a:lnTo>
                <a:lnTo>
                  <a:pt x="3467" y="2450"/>
                </a:lnTo>
                <a:lnTo>
                  <a:pt x="3473" y="2450"/>
                </a:lnTo>
                <a:lnTo>
                  <a:pt x="3473" y="2450"/>
                </a:lnTo>
                <a:lnTo>
                  <a:pt x="3473" y="2450"/>
                </a:lnTo>
                <a:lnTo>
                  <a:pt x="3478" y="2450"/>
                </a:lnTo>
                <a:lnTo>
                  <a:pt x="3478" y="2450"/>
                </a:lnTo>
                <a:lnTo>
                  <a:pt x="3478" y="2450"/>
                </a:lnTo>
                <a:lnTo>
                  <a:pt x="3484" y="2450"/>
                </a:lnTo>
                <a:lnTo>
                  <a:pt x="3484" y="2450"/>
                </a:lnTo>
                <a:lnTo>
                  <a:pt x="3484" y="2450"/>
                </a:lnTo>
                <a:lnTo>
                  <a:pt x="3484" y="2450"/>
                </a:lnTo>
                <a:lnTo>
                  <a:pt x="3484" y="2455"/>
                </a:lnTo>
                <a:lnTo>
                  <a:pt x="3484" y="2455"/>
                </a:lnTo>
                <a:lnTo>
                  <a:pt x="3484" y="2455"/>
                </a:lnTo>
                <a:lnTo>
                  <a:pt x="3484" y="2455"/>
                </a:lnTo>
                <a:lnTo>
                  <a:pt x="3484" y="2455"/>
                </a:lnTo>
                <a:lnTo>
                  <a:pt x="3484" y="2455"/>
                </a:lnTo>
                <a:lnTo>
                  <a:pt x="3490" y="2455"/>
                </a:lnTo>
                <a:lnTo>
                  <a:pt x="3490" y="2455"/>
                </a:lnTo>
                <a:lnTo>
                  <a:pt x="3490" y="2455"/>
                </a:lnTo>
                <a:lnTo>
                  <a:pt x="3490" y="2455"/>
                </a:lnTo>
                <a:lnTo>
                  <a:pt x="3490" y="2455"/>
                </a:lnTo>
                <a:lnTo>
                  <a:pt x="3496" y="2455"/>
                </a:lnTo>
                <a:lnTo>
                  <a:pt x="3496" y="2455"/>
                </a:lnTo>
                <a:lnTo>
                  <a:pt x="3496" y="2455"/>
                </a:lnTo>
                <a:lnTo>
                  <a:pt x="3496" y="2455"/>
                </a:lnTo>
                <a:lnTo>
                  <a:pt x="3502" y="2455"/>
                </a:lnTo>
                <a:lnTo>
                  <a:pt x="3502" y="2455"/>
                </a:lnTo>
                <a:lnTo>
                  <a:pt x="3502" y="2455"/>
                </a:lnTo>
                <a:lnTo>
                  <a:pt x="3502" y="2455"/>
                </a:lnTo>
                <a:lnTo>
                  <a:pt x="3502" y="2461"/>
                </a:lnTo>
                <a:lnTo>
                  <a:pt x="3496" y="2461"/>
                </a:lnTo>
                <a:lnTo>
                  <a:pt x="3496" y="2461"/>
                </a:lnTo>
                <a:lnTo>
                  <a:pt x="3502" y="2461"/>
                </a:lnTo>
                <a:lnTo>
                  <a:pt x="3502" y="2461"/>
                </a:lnTo>
                <a:lnTo>
                  <a:pt x="3508" y="2455"/>
                </a:lnTo>
                <a:lnTo>
                  <a:pt x="3508" y="2455"/>
                </a:lnTo>
                <a:lnTo>
                  <a:pt x="3508" y="2455"/>
                </a:lnTo>
                <a:lnTo>
                  <a:pt x="3508" y="2455"/>
                </a:lnTo>
                <a:lnTo>
                  <a:pt x="3508" y="2455"/>
                </a:lnTo>
                <a:lnTo>
                  <a:pt x="3508" y="2455"/>
                </a:lnTo>
                <a:lnTo>
                  <a:pt x="3508" y="2455"/>
                </a:lnTo>
                <a:lnTo>
                  <a:pt x="3508"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20" y="2450"/>
                </a:lnTo>
                <a:lnTo>
                  <a:pt x="3520" y="2450"/>
                </a:lnTo>
                <a:lnTo>
                  <a:pt x="3520" y="2450"/>
                </a:lnTo>
                <a:lnTo>
                  <a:pt x="3520" y="2450"/>
                </a:lnTo>
                <a:lnTo>
                  <a:pt x="3520" y="2450"/>
                </a:lnTo>
                <a:lnTo>
                  <a:pt x="3526" y="2444"/>
                </a:lnTo>
                <a:lnTo>
                  <a:pt x="3526" y="2444"/>
                </a:lnTo>
                <a:lnTo>
                  <a:pt x="3526" y="2444"/>
                </a:lnTo>
                <a:lnTo>
                  <a:pt x="3526" y="2444"/>
                </a:lnTo>
                <a:lnTo>
                  <a:pt x="3526" y="2444"/>
                </a:lnTo>
                <a:lnTo>
                  <a:pt x="3526" y="2438"/>
                </a:lnTo>
                <a:lnTo>
                  <a:pt x="3526" y="2438"/>
                </a:lnTo>
                <a:lnTo>
                  <a:pt x="3526" y="2438"/>
                </a:lnTo>
                <a:lnTo>
                  <a:pt x="3526" y="2438"/>
                </a:lnTo>
                <a:lnTo>
                  <a:pt x="3526" y="2438"/>
                </a:lnTo>
                <a:lnTo>
                  <a:pt x="3526" y="2438"/>
                </a:lnTo>
                <a:lnTo>
                  <a:pt x="3526" y="2438"/>
                </a:lnTo>
                <a:lnTo>
                  <a:pt x="3526" y="2438"/>
                </a:lnTo>
                <a:lnTo>
                  <a:pt x="3526" y="2438"/>
                </a:lnTo>
                <a:lnTo>
                  <a:pt x="3526" y="2438"/>
                </a:lnTo>
                <a:lnTo>
                  <a:pt x="3526" y="2438"/>
                </a:lnTo>
                <a:lnTo>
                  <a:pt x="3526" y="2432"/>
                </a:lnTo>
                <a:lnTo>
                  <a:pt x="3526" y="2432"/>
                </a:lnTo>
                <a:lnTo>
                  <a:pt x="3532" y="2438"/>
                </a:lnTo>
                <a:lnTo>
                  <a:pt x="3532" y="2438"/>
                </a:lnTo>
                <a:lnTo>
                  <a:pt x="3532" y="2438"/>
                </a:lnTo>
                <a:lnTo>
                  <a:pt x="3532" y="2438"/>
                </a:lnTo>
                <a:lnTo>
                  <a:pt x="3532" y="2438"/>
                </a:lnTo>
                <a:lnTo>
                  <a:pt x="3532" y="2438"/>
                </a:lnTo>
                <a:lnTo>
                  <a:pt x="3532" y="2438"/>
                </a:lnTo>
                <a:lnTo>
                  <a:pt x="3532" y="2438"/>
                </a:lnTo>
                <a:lnTo>
                  <a:pt x="3532" y="2444"/>
                </a:lnTo>
                <a:lnTo>
                  <a:pt x="3532" y="2444"/>
                </a:lnTo>
                <a:lnTo>
                  <a:pt x="3532" y="2444"/>
                </a:lnTo>
                <a:lnTo>
                  <a:pt x="3532" y="2444"/>
                </a:lnTo>
                <a:lnTo>
                  <a:pt x="3538" y="2444"/>
                </a:lnTo>
                <a:lnTo>
                  <a:pt x="3544" y="2438"/>
                </a:lnTo>
                <a:lnTo>
                  <a:pt x="3550" y="2438"/>
                </a:lnTo>
                <a:lnTo>
                  <a:pt x="3555" y="2438"/>
                </a:lnTo>
                <a:lnTo>
                  <a:pt x="3555" y="2438"/>
                </a:lnTo>
                <a:lnTo>
                  <a:pt x="3555" y="2438"/>
                </a:lnTo>
                <a:lnTo>
                  <a:pt x="3561" y="2432"/>
                </a:lnTo>
                <a:lnTo>
                  <a:pt x="3561" y="2432"/>
                </a:lnTo>
                <a:lnTo>
                  <a:pt x="3567" y="2432"/>
                </a:lnTo>
                <a:lnTo>
                  <a:pt x="3573" y="2432"/>
                </a:lnTo>
                <a:lnTo>
                  <a:pt x="3573" y="2432"/>
                </a:lnTo>
                <a:lnTo>
                  <a:pt x="3573" y="2432"/>
                </a:lnTo>
                <a:lnTo>
                  <a:pt x="3561" y="2432"/>
                </a:lnTo>
                <a:lnTo>
                  <a:pt x="3561" y="2432"/>
                </a:lnTo>
                <a:lnTo>
                  <a:pt x="3561" y="2432"/>
                </a:lnTo>
                <a:lnTo>
                  <a:pt x="3561" y="2426"/>
                </a:lnTo>
                <a:lnTo>
                  <a:pt x="3567" y="2426"/>
                </a:lnTo>
                <a:lnTo>
                  <a:pt x="3573" y="2426"/>
                </a:lnTo>
                <a:lnTo>
                  <a:pt x="3573" y="2432"/>
                </a:lnTo>
                <a:lnTo>
                  <a:pt x="3579" y="2432"/>
                </a:lnTo>
                <a:lnTo>
                  <a:pt x="3585" y="2438"/>
                </a:lnTo>
                <a:lnTo>
                  <a:pt x="3585" y="2438"/>
                </a:lnTo>
                <a:lnTo>
                  <a:pt x="3591" y="2438"/>
                </a:lnTo>
                <a:lnTo>
                  <a:pt x="3597" y="2438"/>
                </a:lnTo>
                <a:lnTo>
                  <a:pt x="3597" y="2438"/>
                </a:lnTo>
                <a:lnTo>
                  <a:pt x="3597" y="2432"/>
                </a:lnTo>
                <a:lnTo>
                  <a:pt x="3597" y="2432"/>
                </a:lnTo>
                <a:lnTo>
                  <a:pt x="3597" y="2432"/>
                </a:lnTo>
                <a:lnTo>
                  <a:pt x="3603" y="2432"/>
                </a:lnTo>
                <a:lnTo>
                  <a:pt x="3603" y="2438"/>
                </a:lnTo>
                <a:lnTo>
                  <a:pt x="3603" y="2438"/>
                </a:lnTo>
                <a:lnTo>
                  <a:pt x="3603" y="2438"/>
                </a:lnTo>
                <a:lnTo>
                  <a:pt x="3603" y="2438"/>
                </a:lnTo>
                <a:lnTo>
                  <a:pt x="3603" y="2438"/>
                </a:lnTo>
                <a:lnTo>
                  <a:pt x="3603" y="2438"/>
                </a:lnTo>
                <a:lnTo>
                  <a:pt x="3609" y="2438"/>
                </a:lnTo>
                <a:lnTo>
                  <a:pt x="3609" y="2438"/>
                </a:lnTo>
                <a:lnTo>
                  <a:pt x="3609" y="2438"/>
                </a:lnTo>
                <a:lnTo>
                  <a:pt x="3609" y="2438"/>
                </a:lnTo>
                <a:lnTo>
                  <a:pt x="3609" y="2444"/>
                </a:lnTo>
                <a:lnTo>
                  <a:pt x="3615" y="2438"/>
                </a:lnTo>
                <a:lnTo>
                  <a:pt x="3615" y="2438"/>
                </a:lnTo>
                <a:lnTo>
                  <a:pt x="3615" y="2438"/>
                </a:lnTo>
                <a:lnTo>
                  <a:pt x="3615" y="2438"/>
                </a:lnTo>
                <a:lnTo>
                  <a:pt x="3615" y="2438"/>
                </a:lnTo>
                <a:lnTo>
                  <a:pt x="3615" y="2438"/>
                </a:lnTo>
                <a:lnTo>
                  <a:pt x="3615" y="2438"/>
                </a:lnTo>
                <a:lnTo>
                  <a:pt x="3615" y="2438"/>
                </a:lnTo>
                <a:lnTo>
                  <a:pt x="3621" y="2438"/>
                </a:lnTo>
                <a:lnTo>
                  <a:pt x="3621" y="2438"/>
                </a:lnTo>
                <a:lnTo>
                  <a:pt x="3621" y="2438"/>
                </a:lnTo>
                <a:lnTo>
                  <a:pt x="3621" y="2438"/>
                </a:lnTo>
                <a:lnTo>
                  <a:pt x="3621" y="2432"/>
                </a:lnTo>
                <a:lnTo>
                  <a:pt x="3621" y="2432"/>
                </a:lnTo>
                <a:lnTo>
                  <a:pt x="3621" y="2432"/>
                </a:lnTo>
                <a:lnTo>
                  <a:pt x="3621" y="2432"/>
                </a:lnTo>
                <a:lnTo>
                  <a:pt x="3621" y="2432"/>
                </a:lnTo>
                <a:lnTo>
                  <a:pt x="3621" y="2432"/>
                </a:lnTo>
                <a:lnTo>
                  <a:pt x="3627" y="2432"/>
                </a:lnTo>
                <a:lnTo>
                  <a:pt x="3627" y="2432"/>
                </a:lnTo>
                <a:lnTo>
                  <a:pt x="3627" y="2432"/>
                </a:lnTo>
                <a:lnTo>
                  <a:pt x="3627" y="2432"/>
                </a:lnTo>
                <a:lnTo>
                  <a:pt x="3627" y="2432"/>
                </a:lnTo>
                <a:lnTo>
                  <a:pt x="3627" y="2432"/>
                </a:lnTo>
                <a:lnTo>
                  <a:pt x="3627" y="2432"/>
                </a:lnTo>
                <a:lnTo>
                  <a:pt x="3627" y="2432"/>
                </a:lnTo>
                <a:lnTo>
                  <a:pt x="3627" y="2432"/>
                </a:lnTo>
                <a:lnTo>
                  <a:pt x="3633" y="2432"/>
                </a:lnTo>
                <a:lnTo>
                  <a:pt x="3638" y="2438"/>
                </a:lnTo>
                <a:lnTo>
                  <a:pt x="3638" y="2438"/>
                </a:lnTo>
                <a:lnTo>
                  <a:pt x="3638" y="2438"/>
                </a:lnTo>
                <a:lnTo>
                  <a:pt x="3638" y="2438"/>
                </a:lnTo>
                <a:lnTo>
                  <a:pt x="3638" y="2438"/>
                </a:lnTo>
                <a:lnTo>
                  <a:pt x="3638" y="2438"/>
                </a:lnTo>
                <a:lnTo>
                  <a:pt x="3638" y="2438"/>
                </a:lnTo>
                <a:lnTo>
                  <a:pt x="3638" y="2438"/>
                </a:lnTo>
                <a:lnTo>
                  <a:pt x="3644" y="2438"/>
                </a:lnTo>
                <a:lnTo>
                  <a:pt x="3644" y="2438"/>
                </a:lnTo>
                <a:lnTo>
                  <a:pt x="3644" y="2438"/>
                </a:lnTo>
                <a:lnTo>
                  <a:pt x="3644" y="2438"/>
                </a:lnTo>
                <a:lnTo>
                  <a:pt x="3644" y="2444"/>
                </a:lnTo>
                <a:lnTo>
                  <a:pt x="3644" y="2444"/>
                </a:lnTo>
                <a:lnTo>
                  <a:pt x="3644" y="2444"/>
                </a:lnTo>
                <a:lnTo>
                  <a:pt x="3644" y="2444"/>
                </a:lnTo>
                <a:lnTo>
                  <a:pt x="3644" y="2438"/>
                </a:lnTo>
                <a:lnTo>
                  <a:pt x="3644" y="2438"/>
                </a:lnTo>
                <a:lnTo>
                  <a:pt x="3650" y="2432"/>
                </a:lnTo>
                <a:lnTo>
                  <a:pt x="3644" y="2426"/>
                </a:lnTo>
                <a:lnTo>
                  <a:pt x="3650" y="2426"/>
                </a:lnTo>
                <a:lnTo>
                  <a:pt x="3650" y="2426"/>
                </a:lnTo>
                <a:lnTo>
                  <a:pt x="3650" y="2420"/>
                </a:lnTo>
                <a:lnTo>
                  <a:pt x="3650" y="2420"/>
                </a:lnTo>
                <a:lnTo>
                  <a:pt x="3650" y="2420"/>
                </a:lnTo>
                <a:lnTo>
                  <a:pt x="3650" y="2420"/>
                </a:lnTo>
                <a:lnTo>
                  <a:pt x="3650" y="2420"/>
                </a:lnTo>
                <a:lnTo>
                  <a:pt x="3650" y="2420"/>
                </a:lnTo>
                <a:lnTo>
                  <a:pt x="3650" y="2414"/>
                </a:lnTo>
                <a:lnTo>
                  <a:pt x="3650" y="2414"/>
                </a:lnTo>
                <a:lnTo>
                  <a:pt x="3650" y="2414"/>
                </a:lnTo>
                <a:lnTo>
                  <a:pt x="3650" y="2414"/>
                </a:lnTo>
                <a:lnTo>
                  <a:pt x="3650" y="2414"/>
                </a:lnTo>
                <a:lnTo>
                  <a:pt x="3650" y="2414"/>
                </a:lnTo>
                <a:lnTo>
                  <a:pt x="3650" y="2414"/>
                </a:lnTo>
                <a:lnTo>
                  <a:pt x="3650" y="2408"/>
                </a:lnTo>
                <a:lnTo>
                  <a:pt x="3650" y="2408"/>
                </a:lnTo>
                <a:lnTo>
                  <a:pt x="3650" y="2408"/>
                </a:lnTo>
                <a:lnTo>
                  <a:pt x="3650" y="2408"/>
                </a:lnTo>
                <a:lnTo>
                  <a:pt x="3650" y="2408"/>
                </a:lnTo>
                <a:lnTo>
                  <a:pt x="3650" y="2408"/>
                </a:lnTo>
                <a:lnTo>
                  <a:pt x="3650" y="2402"/>
                </a:lnTo>
                <a:lnTo>
                  <a:pt x="3650" y="2402"/>
                </a:lnTo>
                <a:lnTo>
                  <a:pt x="3650" y="2402"/>
                </a:lnTo>
                <a:lnTo>
                  <a:pt x="3656" y="2402"/>
                </a:lnTo>
                <a:lnTo>
                  <a:pt x="3656" y="2402"/>
                </a:lnTo>
                <a:lnTo>
                  <a:pt x="3656" y="2402"/>
                </a:lnTo>
                <a:lnTo>
                  <a:pt x="3656" y="2396"/>
                </a:lnTo>
                <a:lnTo>
                  <a:pt x="3656" y="2396"/>
                </a:lnTo>
                <a:lnTo>
                  <a:pt x="3656" y="2396"/>
                </a:lnTo>
                <a:lnTo>
                  <a:pt x="3656" y="2396"/>
                </a:lnTo>
                <a:lnTo>
                  <a:pt x="3656" y="2396"/>
                </a:lnTo>
                <a:lnTo>
                  <a:pt x="3656" y="2396"/>
                </a:lnTo>
                <a:lnTo>
                  <a:pt x="3656" y="2396"/>
                </a:lnTo>
                <a:lnTo>
                  <a:pt x="3656" y="2390"/>
                </a:lnTo>
                <a:lnTo>
                  <a:pt x="3656" y="2396"/>
                </a:lnTo>
                <a:lnTo>
                  <a:pt x="3656" y="2396"/>
                </a:lnTo>
                <a:lnTo>
                  <a:pt x="3656" y="2396"/>
                </a:lnTo>
                <a:lnTo>
                  <a:pt x="3656" y="2396"/>
                </a:lnTo>
                <a:lnTo>
                  <a:pt x="3656" y="2396"/>
                </a:lnTo>
                <a:lnTo>
                  <a:pt x="3656" y="2402"/>
                </a:lnTo>
                <a:lnTo>
                  <a:pt x="3662" y="2402"/>
                </a:lnTo>
                <a:lnTo>
                  <a:pt x="3662" y="2402"/>
                </a:lnTo>
                <a:lnTo>
                  <a:pt x="3662" y="2402"/>
                </a:lnTo>
                <a:lnTo>
                  <a:pt x="3662" y="2402"/>
                </a:lnTo>
                <a:lnTo>
                  <a:pt x="3662" y="2402"/>
                </a:lnTo>
                <a:lnTo>
                  <a:pt x="3662" y="2402"/>
                </a:lnTo>
                <a:lnTo>
                  <a:pt x="3662" y="2402"/>
                </a:lnTo>
                <a:lnTo>
                  <a:pt x="3668" y="2408"/>
                </a:lnTo>
                <a:lnTo>
                  <a:pt x="3668" y="2414"/>
                </a:lnTo>
                <a:lnTo>
                  <a:pt x="3668" y="2414"/>
                </a:lnTo>
                <a:lnTo>
                  <a:pt x="3668" y="2414"/>
                </a:lnTo>
                <a:lnTo>
                  <a:pt x="3668" y="2420"/>
                </a:lnTo>
                <a:lnTo>
                  <a:pt x="3668" y="2420"/>
                </a:lnTo>
                <a:lnTo>
                  <a:pt x="3662" y="2420"/>
                </a:lnTo>
                <a:lnTo>
                  <a:pt x="3662" y="2420"/>
                </a:lnTo>
                <a:lnTo>
                  <a:pt x="3662" y="2420"/>
                </a:lnTo>
                <a:lnTo>
                  <a:pt x="3662" y="2426"/>
                </a:lnTo>
                <a:lnTo>
                  <a:pt x="3668" y="2426"/>
                </a:lnTo>
                <a:lnTo>
                  <a:pt x="3668" y="2426"/>
                </a:lnTo>
                <a:lnTo>
                  <a:pt x="3668" y="2426"/>
                </a:lnTo>
                <a:lnTo>
                  <a:pt x="3668" y="2426"/>
                </a:lnTo>
                <a:lnTo>
                  <a:pt x="3668" y="2426"/>
                </a:lnTo>
                <a:lnTo>
                  <a:pt x="3668" y="2432"/>
                </a:lnTo>
                <a:lnTo>
                  <a:pt x="3668" y="2432"/>
                </a:lnTo>
                <a:lnTo>
                  <a:pt x="3668" y="2432"/>
                </a:lnTo>
                <a:lnTo>
                  <a:pt x="3668" y="2432"/>
                </a:lnTo>
                <a:lnTo>
                  <a:pt x="3668" y="2432"/>
                </a:lnTo>
                <a:lnTo>
                  <a:pt x="3668" y="2432"/>
                </a:lnTo>
                <a:lnTo>
                  <a:pt x="3668" y="2432"/>
                </a:lnTo>
                <a:lnTo>
                  <a:pt x="3668" y="2432"/>
                </a:lnTo>
                <a:lnTo>
                  <a:pt x="3668" y="2432"/>
                </a:lnTo>
                <a:lnTo>
                  <a:pt x="3668" y="2432"/>
                </a:lnTo>
                <a:lnTo>
                  <a:pt x="3674" y="2432"/>
                </a:lnTo>
                <a:lnTo>
                  <a:pt x="3674" y="2432"/>
                </a:lnTo>
                <a:lnTo>
                  <a:pt x="3674" y="2432"/>
                </a:lnTo>
                <a:lnTo>
                  <a:pt x="3674" y="2432"/>
                </a:lnTo>
                <a:lnTo>
                  <a:pt x="3674" y="2432"/>
                </a:lnTo>
                <a:lnTo>
                  <a:pt x="3674" y="2432"/>
                </a:lnTo>
                <a:lnTo>
                  <a:pt x="3674" y="2432"/>
                </a:lnTo>
                <a:lnTo>
                  <a:pt x="3674" y="2432"/>
                </a:lnTo>
                <a:lnTo>
                  <a:pt x="3674" y="2432"/>
                </a:lnTo>
                <a:lnTo>
                  <a:pt x="3674" y="2432"/>
                </a:lnTo>
                <a:lnTo>
                  <a:pt x="3674" y="2432"/>
                </a:lnTo>
                <a:lnTo>
                  <a:pt x="3674" y="2432"/>
                </a:lnTo>
                <a:lnTo>
                  <a:pt x="3674" y="2432"/>
                </a:lnTo>
                <a:lnTo>
                  <a:pt x="3674" y="2438"/>
                </a:lnTo>
                <a:lnTo>
                  <a:pt x="3674" y="2438"/>
                </a:lnTo>
                <a:lnTo>
                  <a:pt x="3674" y="2438"/>
                </a:lnTo>
                <a:lnTo>
                  <a:pt x="3674" y="2438"/>
                </a:lnTo>
                <a:lnTo>
                  <a:pt x="3680" y="2444"/>
                </a:lnTo>
                <a:lnTo>
                  <a:pt x="3680" y="2444"/>
                </a:lnTo>
                <a:lnTo>
                  <a:pt x="3680" y="2450"/>
                </a:lnTo>
                <a:lnTo>
                  <a:pt x="3674" y="2450"/>
                </a:lnTo>
                <a:lnTo>
                  <a:pt x="3668" y="2450"/>
                </a:lnTo>
                <a:lnTo>
                  <a:pt x="3668" y="2450"/>
                </a:lnTo>
                <a:lnTo>
                  <a:pt x="3668" y="2450"/>
                </a:lnTo>
                <a:lnTo>
                  <a:pt x="3668" y="2450"/>
                </a:lnTo>
                <a:lnTo>
                  <a:pt x="3662" y="2450"/>
                </a:lnTo>
                <a:lnTo>
                  <a:pt x="3662" y="2450"/>
                </a:lnTo>
                <a:lnTo>
                  <a:pt x="3662" y="2450"/>
                </a:lnTo>
                <a:lnTo>
                  <a:pt x="3662" y="2450"/>
                </a:lnTo>
                <a:lnTo>
                  <a:pt x="3662" y="2450"/>
                </a:lnTo>
                <a:lnTo>
                  <a:pt x="3662" y="2450"/>
                </a:lnTo>
                <a:lnTo>
                  <a:pt x="3656" y="2450"/>
                </a:lnTo>
                <a:lnTo>
                  <a:pt x="3656" y="2450"/>
                </a:lnTo>
                <a:lnTo>
                  <a:pt x="3656" y="2455"/>
                </a:lnTo>
                <a:lnTo>
                  <a:pt x="3656" y="2455"/>
                </a:lnTo>
                <a:lnTo>
                  <a:pt x="3668" y="2450"/>
                </a:lnTo>
                <a:lnTo>
                  <a:pt x="3668" y="2450"/>
                </a:lnTo>
                <a:lnTo>
                  <a:pt x="3680" y="2450"/>
                </a:lnTo>
                <a:lnTo>
                  <a:pt x="3692" y="2450"/>
                </a:lnTo>
                <a:lnTo>
                  <a:pt x="3698" y="2450"/>
                </a:lnTo>
                <a:lnTo>
                  <a:pt x="3704" y="2444"/>
                </a:lnTo>
                <a:lnTo>
                  <a:pt x="3704" y="2444"/>
                </a:lnTo>
                <a:lnTo>
                  <a:pt x="3704" y="2444"/>
                </a:lnTo>
                <a:lnTo>
                  <a:pt x="3704" y="2444"/>
                </a:lnTo>
                <a:lnTo>
                  <a:pt x="3698" y="2444"/>
                </a:lnTo>
                <a:lnTo>
                  <a:pt x="3698" y="2444"/>
                </a:lnTo>
                <a:lnTo>
                  <a:pt x="3698" y="2444"/>
                </a:lnTo>
                <a:lnTo>
                  <a:pt x="3698" y="2444"/>
                </a:lnTo>
                <a:lnTo>
                  <a:pt x="3698" y="2438"/>
                </a:lnTo>
                <a:lnTo>
                  <a:pt x="3698" y="2438"/>
                </a:lnTo>
                <a:lnTo>
                  <a:pt x="3698" y="2438"/>
                </a:lnTo>
                <a:lnTo>
                  <a:pt x="3698" y="2438"/>
                </a:lnTo>
                <a:lnTo>
                  <a:pt x="3698" y="2438"/>
                </a:lnTo>
                <a:lnTo>
                  <a:pt x="3698" y="2438"/>
                </a:lnTo>
                <a:lnTo>
                  <a:pt x="3698" y="2438"/>
                </a:lnTo>
                <a:lnTo>
                  <a:pt x="3698" y="2438"/>
                </a:lnTo>
                <a:lnTo>
                  <a:pt x="3698" y="2444"/>
                </a:lnTo>
                <a:lnTo>
                  <a:pt x="3704" y="2444"/>
                </a:lnTo>
                <a:lnTo>
                  <a:pt x="3704" y="2444"/>
                </a:lnTo>
                <a:lnTo>
                  <a:pt x="3704" y="2444"/>
                </a:lnTo>
                <a:lnTo>
                  <a:pt x="3704" y="2444"/>
                </a:lnTo>
                <a:lnTo>
                  <a:pt x="3704" y="2444"/>
                </a:lnTo>
                <a:lnTo>
                  <a:pt x="3704" y="2438"/>
                </a:lnTo>
                <a:lnTo>
                  <a:pt x="3710" y="2438"/>
                </a:lnTo>
                <a:lnTo>
                  <a:pt x="3710" y="2438"/>
                </a:lnTo>
                <a:lnTo>
                  <a:pt x="3710" y="2438"/>
                </a:lnTo>
                <a:lnTo>
                  <a:pt x="3710" y="2438"/>
                </a:lnTo>
                <a:lnTo>
                  <a:pt x="3715" y="2432"/>
                </a:lnTo>
                <a:lnTo>
                  <a:pt x="3715" y="2432"/>
                </a:lnTo>
                <a:lnTo>
                  <a:pt x="3715" y="2426"/>
                </a:lnTo>
                <a:lnTo>
                  <a:pt x="3715" y="2426"/>
                </a:lnTo>
                <a:lnTo>
                  <a:pt x="3721" y="2426"/>
                </a:lnTo>
                <a:lnTo>
                  <a:pt x="3715" y="2426"/>
                </a:lnTo>
                <a:lnTo>
                  <a:pt x="3715" y="2426"/>
                </a:lnTo>
                <a:lnTo>
                  <a:pt x="3715" y="2426"/>
                </a:lnTo>
                <a:lnTo>
                  <a:pt x="3715" y="2426"/>
                </a:lnTo>
                <a:lnTo>
                  <a:pt x="3715" y="2420"/>
                </a:lnTo>
                <a:lnTo>
                  <a:pt x="3715" y="2426"/>
                </a:lnTo>
                <a:lnTo>
                  <a:pt x="3715" y="2426"/>
                </a:lnTo>
                <a:lnTo>
                  <a:pt x="3721" y="2426"/>
                </a:lnTo>
                <a:lnTo>
                  <a:pt x="3721" y="2426"/>
                </a:lnTo>
                <a:lnTo>
                  <a:pt x="3721" y="2426"/>
                </a:lnTo>
                <a:lnTo>
                  <a:pt x="3721" y="2426"/>
                </a:lnTo>
                <a:lnTo>
                  <a:pt x="3721" y="2426"/>
                </a:lnTo>
                <a:lnTo>
                  <a:pt x="3721" y="2426"/>
                </a:lnTo>
                <a:lnTo>
                  <a:pt x="3721" y="2426"/>
                </a:lnTo>
                <a:lnTo>
                  <a:pt x="3721" y="2426"/>
                </a:lnTo>
                <a:lnTo>
                  <a:pt x="3721" y="2432"/>
                </a:lnTo>
                <a:lnTo>
                  <a:pt x="3721" y="2432"/>
                </a:lnTo>
                <a:lnTo>
                  <a:pt x="3721" y="2432"/>
                </a:lnTo>
                <a:lnTo>
                  <a:pt x="3721" y="2432"/>
                </a:lnTo>
                <a:lnTo>
                  <a:pt x="3721" y="2432"/>
                </a:lnTo>
                <a:lnTo>
                  <a:pt x="3721" y="2432"/>
                </a:lnTo>
                <a:lnTo>
                  <a:pt x="3715" y="2432"/>
                </a:lnTo>
                <a:lnTo>
                  <a:pt x="3715" y="2438"/>
                </a:lnTo>
                <a:lnTo>
                  <a:pt x="3715" y="2438"/>
                </a:lnTo>
                <a:lnTo>
                  <a:pt x="3715" y="2438"/>
                </a:lnTo>
                <a:lnTo>
                  <a:pt x="3715" y="2438"/>
                </a:lnTo>
                <a:lnTo>
                  <a:pt x="3715" y="2438"/>
                </a:lnTo>
                <a:lnTo>
                  <a:pt x="3715" y="2438"/>
                </a:lnTo>
                <a:lnTo>
                  <a:pt x="3715" y="2438"/>
                </a:lnTo>
                <a:lnTo>
                  <a:pt x="3710" y="2438"/>
                </a:lnTo>
                <a:lnTo>
                  <a:pt x="3710" y="2444"/>
                </a:lnTo>
                <a:lnTo>
                  <a:pt x="3710" y="2444"/>
                </a:lnTo>
                <a:lnTo>
                  <a:pt x="3715" y="2444"/>
                </a:lnTo>
                <a:lnTo>
                  <a:pt x="3715" y="2444"/>
                </a:lnTo>
                <a:lnTo>
                  <a:pt x="3715" y="2444"/>
                </a:lnTo>
                <a:lnTo>
                  <a:pt x="3710" y="2444"/>
                </a:lnTo>
                <a:lnTo>
                  <a:pt x="3710" y="2444"/>
                </a:lnTo>
                <a:lnTo>
                  <a:pt x="3710" y="2444"/>
                </a:lnTo>
                <a:lnTo>
                  <a:pt x="3710" y="2444"/>
                </a:lnTo>
                <a:lnTo>
                  <a:pt x="3710" y="2444"/>
                </a:lnTo>
                <a:lnTo>
                  <a:pt x="3710" y="2444"/>
                </a:lnTo>
                <a:lnTo>
                  <a:pt x="3704" y="2444"/>
                </a:lnTo>
                <a:lnTo>
                  <a:pt x="3704" y="2444"/>
                </a:lnTo>
                <a:lnTo>
                  <a:pt x="3704" y="2444"/>
                </a:lnTo>
                <a:lnTo>
                  <a:pt x="3704" y="2444"/>
                </a:lnTo>
                <a:lnTo>
                  <a:pt x="3704" y="2444"/>
                </a:lnTo>
                <a:lnTo>
                  <a:pt x="3710" y="2444"/>
                </a:lnTo>
                <a:lnTo>
                  <a:pt x="3710" y="2444"/>
                </a:lnTo>
                <a:lnTo>
                  <a:pt x="3710" y="2444"/>
                </a:lnTo>
                <a:lnTo>
                  <a:pt x="3710" y="2444"/>
                </a:lnTo>
                <a:lnTo>
                  <a:pt x="3715" y="2444"/>
                </a:lnTo>
                <a:lnTo>
                  <a:pt x="3727" y="2444"/>
                </a:lnTo>
                <a:lnTo>
                  <a:pt x="3727" y="2438"/>
                </a:lnTo>
                <a:lnTo>
                  <a:pt x="3727" y="2438"/>
                </a:lnTo>
                <a:lnTo>
                  <a:pt x="3727" y="2438"/>
                </a:lnTo>
                <a:lnTo>
                  <a:pt x="3727" y="2438"/>
                </a:lnTo>
                <a:lnTo>
                  <a:pt x="3733" y="2438"/>
                </a:lnTo>
                <a:lnTo>
                  <a:pt x="3733" y="2438"/>
                </a:lnTo>
                <a:lnTo>
                  <a:pt x="3733" y="2438"/>
                </a:lnTo>
                <a:lnTo>
                  <a:pt x="3733" y="2438"/>
                </a:lnTo>
                <a:lnTo>
                  <a:pt x="3733" y="2438"/>
                </a:lnTo>
                <a:lnTo>
                  <a:pt x="3733" y="2432"/>
                </a:lnTo>
                <a:lnTo>
                  <a:pt x="3733" y="2432"/>
                </a:lnTo>
                <a:lnTo>
                  <a:pt x="3733" y="2432"/>
                </a:lnTo>
                <a:lnTo>
                  <a:pt x="3733" y="2432"/>
                </a:lnTo>
                <a:lnTo>
                  <a:pt x="3733" y="2432"/>
                </a:lnTo>
                <a:lnTo>
                  <a:pt x="3733" y="2432"/>
                </a:lnTo>
                <a:lnTo>
                  <a:pt x="3739" y="2432"/>
                </a:lnTo>
                <a:lnTo>
                  <a:pt x="3739" y="2426"/>
                </a:lnTo>
                <a:lnTo>
                  <a:pt x="3739" y="2426"/>
                </a:lnTo>
                <a:lnTo>
                  <a:pt x="3739" y="2426"/>
                </a:lnTo>
                <a:lnTo>
                  <a:pt x="3739" y="2426"/>
                </a:lnTo>
                <a:lnTo>
                  <a:pt x="3739" y="2426"/>
                </a:lnTo>
                <a:lnTo>
                  <a:pt x="3745" y="2426"/>
                </a:lnTo>
                <a:lnTo>
                  <a:pt x="3745" y="2420"/>
                </a:lnTo>
                <a:lnTo>
                  <a:pt x="3745" y="2420"/>
                </a:lnTo>
                <a:lnTo>
                  <a:pt x="3745" y="2420"/>
                </a:lnTo>
                <a:lnTo>
                  <a:pt x="3739" y="2420"/>
                </a:lnTo>
                <a:lnTo>
                  <a:pt x="3739" y="2414"/>
                </a:lnTo>
                <a:lnTo>
                  <a:pt x="3739" y="2414"/>
                </a:lnTo>
                <a:lnTo>
                  <a:pt x="3739" y="2414"/>
                </a:lnTo>
                <a:lnTo>
                  <a:pt x="3739" y="2408"/>
                </a:lnTo>
                <a:lnTo>
                  <a:pt x="3739" y="2408"/>
                </a:lnTo>
                <a:lnTo>
                  <a:pt x="3739" y="2408"/>
                </a:lnTo>
                <a:lnTo>
                  <a:pt x="3739" y="2408"/>
                </a:lnTo>
                <a:lnTo>
                  <a:pt x="3745" y="2414"/>
                </a:lnTo>
                <a:lnTo>
                  <a:pt x="3745" y="2414"/>
                </a:lnTo>
                <a:lnTo>
                  <a:pt x="3745" y="2414"/>
                </a:lnTo>
                <a:lnTo>
                  <a:pt x="3745" y="2414"/>
                </a:lnTo>
                <a:lnTo>
                  <a:pt x="3745" y="2414"/>
                </a:lnTo>
                <a:lnTo>
                  <a:pt x="3745" y="2414"/>
                </a:lnTo>
                <a:lnTo>
                  <a:pt x="3745" y="2414"/>
                </a:lnTo>
                <a:lnTo>
                  <a:pt x="3745" y="2414"/>
                </a:lnTo>
                <a:lnTo>
                  <a:pt x="3745" y="2414"/>
                </a:lnTo>
                <a:lnTo>
                  <a:pt x="3745" y="2420"/>
                </a:lnTo>
                <a:lnTo>
                  <a:pt x="3751" y="2420"/>
                </a:lnTo>
                <a:lnTo>
                  <a:pt x="3751" y="2420"/>
                </a:lnTo>
                <a:lnTo>
                  <a:pt x="3751" y="2426"/>
                </a:lnTo>
                <a:lnTo>
                  <a:pt x="3751" y="2426"/>
                </a:lnTo>
                <a:lnTo>
                  <a:pt x="3751" y="2426"/>
                </a:lnTo>
                <a:lnTo>
                  <a:pt x="3751" y="2426"/>
                </a:lnTo>
                <a:lnTo>
                  <a:pt x="3751" y="2426"/>
                </a:lnTo>
                <a:lnTo>
                  <a:pt x="3751" y="2426"/>
                </a:lnTo>
                <a:lnTo>
                  <a:pt x="3751" y="2420"/>
                </a:lnTo>
                <a:lnTo>
                  <a:pt x="3751" y="2420"/>
                </a:lnTo>
                <a:lnTo>
                  <a:pt x="3751" y="2420"/>
                </a:lnTo>
                <a:lnTo>
                  <a:pt x="3757" y="2414"/>
                </a:lnTo>
                <a:lnTo>
                  <a:pt x="3757" y="2414"/>
                </a:lnTo>
                <a:lnTo>
                  <a:pt x="3757" y="2414"/>
                </a:lnTo>
                <a:lnTo>
                  <a:pt x="3757" y="2408"/>
                </a:lnTo>
                <a:lnTo>
                  <a:pt x="3757" y="2408"/>
                </a:lnTo>
                <a:lnTo>
                  <a:pt x="3757" y="2408"/>
                </a:lnTo>
                <a:lnTo>
                  <a:pt x="3757" y="2408"/>
                </a:lnTo>
                <a:lnTo>
                  <a:pt x="3757" y="2408"/>
                </a:lnTo>
                <a:lnTo>
                  <a:pt x="3757" y="2414"/>
                </a:lnTo>
                <a:lnTo>
                  <a:pt x="3757" y="2414"/>
                </a:lnTo>
                <a:lnTo>
                  <a:pt x="3763" y="2414"/>
                </a:lnTo>
                <a:lnTo>
                  <a:pt x="3763" y="2414"/>
                </a:lnTo>
                <a:lnTo>
                  <a:pt x="3763" y="2414"/>
                </a:lnTo>
                <a:lnTo>
                  <a:pt x="3763" y="2414"/>
                </a:lnTo>
                <a:lnTo>
                  <a:pt x="3757" y="2414"/>
                </a:lnTo>
                <a:lnTo>
                  <a:pt x="3757" y="2414"/>
                </a:lnTo>
                <a:lnTo>
                  <a:pt x="3757" y="2414"/>
                </a:lnTo>
                <a:lnTo>
                  <a:pt x="3757" y="2420"/>
                </a:lnTo>
                <a:lnTo>
                  <a:pt x="3757" y="2420"/>
                </a:lnTo>
                <a:lnTo>
                  <a:pt x="3757" y="2420"/>
                </a:lnTo>
                <a:lnTo>
                  <a:pt x="3757" y="2420"/>
                </a:lnTo>
                <a:lnTo>
                  <a:pt x="3757" y="2420"/>
                </a:lnTo>
                <a:lnTo>
                  <a:pt x="3757" y="2420"/>
                </a:lnTo>
                <a:lnTo>
                  <a:pt x="3757" y="2420"/>
                </a:lnTo>
                <a:lnTo>
                  <a:pt x="3757" y="2420"/>
                </a:lnTo>
                <a:lnTo>
                  <a:pt x="3757" y="2420"/>
                </a:lnTo>
                <a:lnTo>
                  <a:pt x="3763" y="2420"/>
                </a:lnTo>
                <a:lnTo>
                  <a:pt x="3763" y="2426"/>
                </a:lnTo>
                <a:lnTo>
                  <a:pt x="3763" y="2426"/>
                </a:lnTo>
                <a:lnTo>
                  <a:pt x="3763" y="2426"/>
                </a:lnTo>
                <a:lnTo>
                  <a:pt x="3769" y="2426"/>
                </a:lnTo>
                <a:lnTo>
                  <a:pt x="3769" y="2426"/>
                </a:lnTo>
                <a:lnTo>
                  <a:pt x="3769" y="2426"/>
                </a:lnTo>
                <a:lnTo>
                  <a:pt x="3769" y="2426"/>
                </a:lnTo>
                <a:lnTo>
                  <a:pt x="3769" y="2426"/>
                </a:lnTo>
                <a:lnTo>
                  <a:pt x="3763" y="2426"/>
                </a:lnTo>
                <a:lnTo>
                  <a:pt x="3763" y="2426"/>
                </a:lnTo>
                <a:lnTo>
                  <a:pt x="3757" y="2432"/>
                </a:lnTo>
                <a:lnTo>
                  <a:pt x="3757" y="2432"/>
                </a:lnTo>
                <a:lnTo>
                  <a:pt x="3751" y="2432"/>
                </a:lnTo>
                <a:lnTo>
                  <a:pt x="3745" y="2432"/>
                </a:lnTo>
                <a:lnTo>
                  <a:pt x="3739" y="2438"/>
                </a:lnTo>
                <a:lnTo>
                  <a:pt x="3739" y="2438"/>
                </a:lnTo>
                <a:lnTo>
                  <a:pt x="3739" y="2438"/>
                </a:lnTo>
                <a:lnTo>
                  <a:pt x="3739" y="2438"/>
                </a:lnTo>
                <a:lnTo>
                  <a:pt x="3739" y="2438"/>
                </a:lnTo>
                <a:lnTo>
                  <a:pt x="3745" y="2438"/>
                </a:lnTo>
                <a:lnTo>
                  <a:pt x="3745" y="2438"/>
                </a:lnTo>
                <a:lnTo>
                  <a:pt x="3751" y="2432"/>
                </a:lnTo>
                <a:lnTo>
                  <a:pt x="3769" y="2432"/>
                </a:lnTo>
                <a:lnTo>
                  <a:pt x="3775" y="2432"/>
                </a:lnTo>
                <a:lnTo>
                  <a:pt x="3775" y="2432"/>
                </a:lnTo>
                <a:lnTo>
                  <a:pt x="3775" y="2432"/>
                </a:lnTo>
                <a:lnTo>
                  <a:pt x="3781" y="2432"/>
                </a:lnTo>
                <a:lnTo>
                  <a:pt x="3781" y="2432"/>
                </a:lnTo>
                <a:lnTo>
                  <a:pt x="3793" y="2432"/>
                </a:lnTo>
                <a:lnTo>
                  <a:pt x="3798" y="2432"/>
                </a:lnTo>
                <a:lnTo>
                  <a:pt x="3798" y="2432"/>
                </a:lnTo>
                <a:lnTo>
                  <a:pt x="3798" y="2426"/>
                </a:lnTo>
                <a:lnTo>
                  <a:pt x="3798" y="2426"/>
                </a:lnTo>
                <a:lnTo>
                  <a:pt x="3798" y="2426"/>
                </a:lnTo>
                <a:lnTo>
                  <a:pt x="3798" y="2426"/>
                </a:lnTo>
                <a:lnTo>
                  <a:pt x="3798" y="2426"/>
                </a:lnTo>
                <a:lnTo>
                  <a:pt x="3798" y="2426"/>
                </a:lnTo>
                <a:lnTo>
                  <a:pt x="3804" y="2426"/>
                </a:lnTo>
                <a:lnTo>
                  <a:pt x="3804" y="2426"/>
                </a:lnTo>
                <a:lnTo>
                  <a:pt x="3804" y="2426"/>
                </a:lnTo>
                <a:lnTo>
                  <a:pt x="3804" y="2426"/>
                </a:lnTo>
                <a:lnTo>
                  <a:pt x="3804" y="2426"/>
                </a:lnTo>
                <a:lnTo>
                  <a:pt x="3804" y="2426"/>
                </a:lnTo>
                <a:lnTo>
                  <a:pt x="3810" y="2426"/>
                </a:lnTo>
                <a:lnTo>
                  <a:pt x="3810" y="2426"/>
                </a:lnTo>
                <a:lnTo>
                  <a:pt x="3810" y="2420"/>
                </a:lnTo>
                <a:lnTo>
                  <a:pt x="3810" y="2420"/>
                </a:lnTo>
                <a:lnTo>
                  <a:pt x="3810" y="2420"/>
                </a:lnTo>
                <a:lnTo>
                  <a:pt x="3810" y="2420"/>
                </a:lnTo>
                <a:lnTo>
                  <a:pt x="3810" y="2420"/>
                </a:lnTo>
                <a:lnTo>
                  <a:pt x="3810" y="2420"/>
                </a:lnTo>
                <a:lnTo>
                  <a:pt x="3810" y="2420"/>
                </a:lnTo>
                <a:lnTo>
                  <a:pt x="3810" y="2420"/>
                </a:lnTo>
                <a:lnTo>
                  <a:pt x="3810" y="2420"/>
                </a:lnTo>
                <a:lnTo>
                  <a:pt x="3810" y="2420"/>
                </a:lnTo>
                <a:lnTo>
                  <a:pt x="3816" y="2420"/>
                </a:lnTo>
                <a:lnTo>
                  <a:pt x="3816" y="2420"/>
                </a:lnTo>
                <a:lnTo>
                  <a:pt x="3816" y="2420"/>
                </a:lnTo>
                <a:lnTo>
                  <a:pt x="3816" y="2420"/>
                </a:lnTo>
                <a:lnTo>
                  <a:pt x="3816" y="2420"/>
                </a:lnTo>
                <a:lnTo>
                  <a:pt x="3816" y="2426"/>
                </a:lnTo>
                <a:lnTo>
                  <a:pt x="3816" y="2426"/>
                </a:lnTo>
                <a:lnTo>
                  <a:pt x="3816" y="2426"/>
                </a:lnTo>
                <a:lnTo>
                  <a:pt x="3816" y="2426"/>
                </a:lnTo>
                <a:lnTo>
                  <a:pt x="3816" y="2426"/>
                </a:lnTo>
                <a:lnTo>
                  <a:pt x="3816" y="2426"/>
                </a:lnTo>
                <a:lnTo>
                  <a:pt x="3816" y="2426"/>
                </a:lnTo>
                <a:lnTo>
                  <a:pt x="3822" y="2426"/>
                </a:lnTo>
                <a:lnTo>
                  <a:pt x="3822" y="2420"/>
                </a:lnTo>
                <a:lnTo>
                  <a:pt x="3822" y="2420"/>
                </a:lnTo>
                <a:lnTo>
                  <a:pt x="3828" y="2420"/>
                </a:lnTo>
                <a:lnTo>
                  <a:pt x="3828" y="2420"/>
                </a:lnTo>
                <a:lnTo>
                  <a:pt x="3828" y="2420"/>
                </a:lnTo>
                <a:lnTo>
                  <a:pt x="3834" y="2420"/>
                </a:lnTo>
                <a:lnTo>
                  <a:pt x="3834" y="2420"/>
                </a:lnTo>
                <a:lnTo>
                  <a:pt x="3834" y="2420"/>
                </a:lnTo>
                <a:lnTo>
                  <a:pt x="3840" y="2420"/>
                </a:lnTo>
                <a:lnTo>
                  <a:pt x="3840" y="2426"/>
                </a:lnTo>
                <a:lnTo>
                  <a:pt x="3840" y="2426"/>
                </a:lnTo>
                <a:lnTo>
                  <a:pt x="3840" y="2426"/>
                </a:lnTo>
                <a:lnTo>
                  <a:pt x="3840" y="2426"/>
                </a:lnTo>
                <a:lnTo>
                  <a:pt x="3840" y="2426"/>
                </a:lnTo>
                <a:lnTo>
                  <a:pt x="3846" y="2420"/>
                </a:lnTo>
                <a:lnTo>
                  <a:pt x="3846" y="2426"/>
                </a:lnTo>
                <a:lnTo>
                  <a:pt x="3846" y="2426"/>
                </a:lnTo>
                <a:lnTo>
                  <a:pt x="3846" y="2426"/>
                </a:lnTo>
                <a:lnTo>
                  <a:pt x="3840" y="2426"/>
                </a:lnTo>
                <a:lnTo>
                  <a:pt x="3840" y="2426"/>
                </a:lnTo>
                <a:lnTo>
                  <a:pt x="3846" y="2426"/>
                </a:lnTo>
                <a:lnTo>
                  <a:pt x="3846" y="2426"/>
                </a:lnTo>
                <a:lnTo>
                  <a:pt x="3846" y="2432"/>
                </a:lnTo>
                <a:lnTo>
                  <a:pt x="3846" y="2432"/>
                </a:lnTo>
                <a:lnTo>
                  <a:pt x="3846" y="2432"/>
                </a:lnTo>
                <a:lnTo>
                  <a:pt x="3846" y="2432"/>
                </a:lnTo>
                <a:lnTo>
                  <a:pt x="3846" y="2432"/>
                </a:lnTo>
                <a:lnTo>
                  <a:pt x="3846" y="2432"/>
                </a:lnTo>
                <a:lnTo>
                  <a:pt x="3846" y="2432"/>
                </a:lnTo>
                <a:lnTo>
                  <a:pt x="3846" y="2432"/>
                </a:lnTo>
                <a:lnTo>
                  <a:pt x="3846" y="2432"/>
                </a:lnTo>
                <a:lnTo>
                  <a:pt x="3840" y="2432"/>
                </a:lnTo>
                <a:lnTo>
                  <a:pt x="3840" y="2432"/>
                </a:lnTo>
                <a:lnTo>
                  <a:pt x="3834" y="2432"/>
                </a:lnTo>
                <a:lnTo>
                  <a:pt x="3834" y="2432"/>
                </a:lnTo>
                <a:lnTo>
                  <a:pt x="3834" y="2426"/>
                </a:lnTo>
                <a:lnTo>
                  <a:pt x="3834" y="2426"/>
                </a:lnTo>
                <a:lnTo>
                  <a:pt x="3834" y="2426"/>
                </a:lnTo>
                <a:lnTo>
                  <a:pt x="3834" y="2432"/>
                </a:lnTo>
                <a:lnTo>
                  <a:pt x="3834" y="2432"/>
                </a:lnTo>
                <a:lnTo>
                  <a:pt x="3834" y="2432"/>
                </a:lnTo>
                <a:lnTo>
                  <a:pt x="3834" y="2432"/>
                </a:lnTo>
                <a:lnTo>
                  <a:pt x="3834" y="2432"/>
                </a:lnTo>
                <a:lnTo>
                  <a:pt x="3834" y="2432"/>
                </a:lnTo>
                <a:lnTo>
                  <a:pt x="3834" y="2432"/>
                </a:lnTo>
                <a:lnTo>
                  <a:pt x="3834" y="2432"/>
                </a:lnTo>
                <a:lnTo>
                  <a:pt x="3834" y="2432"/>
                </a:lnTo>
                <a:lnTo>
                  <a:pt x="3828" y="2432"/>
                </a:lnTo>
                <a:lnTo>
                  <a:pt x="3828" y="2432"/>
                </a:lnTo>
                <a:lnTo>
                  <a:pt x="3828" y="2432"/>
                </a:lnTo>
                <a:lnTo>
                  <a:pt x="3828" y="2426"/>
                </a:lnTo>
                <a:lnTo>
                  <a:pt x="3828" y="2426"/>
                </a:lnTo>
                <a:lnTo>
                  <a:pt x="3828" y="2426"/>
                </a:lnTo>
                <a:lnTo>
                  <a:pt x="3828" y="2426"/>
                </a:lnTo>
                <a:lnTo>
                  <a:pt x="3828" y="2426"/>
                </a:lnTo>
                <a:lnTo>
                  <a:pt x="3828" y="2432"/>
                </a:lnTo>
                <a:lnTo>
                  <a:pt x="3822" y="2432"/>
                </a:lnTo>
                <a:lnTo>
                  <a:pt x="3822" y="2432"/>
                </a:lnTo>
                <a:lnTo>
                  <a:pt x="3822" y="2432"/>
                </a:lnTo>
                <a:lnTo>
                  <a:pt x="3822" y="2432"/>
                </a:lnTo>
                <a:lnTo>
                  <a:pt x="3822" y="2432"/>
                </a:lnTo>
                <a:lnTo>
                  <a:pt x="3816" y="2432"/>
                </a:lnTo>
                <a:lnTo>
                  <a:pt x="3810" y="2432"/>
                </a:lnTo>
                <a:lnTo>
                  <a:pt x="3804" y="2432"/>
                </a:lnTo>
                <a:lnTo>
                  <a:pt x="3804" y="2432"/>
                </a:lnTo>
                <a:lnTo>
                  <a:pt x="3804" y="2432"/>
                </a:lnTo>
                <a:lnTo>
                  <a:pt x="3804" y="2432"/>
                </a:lnTo>
                <a:lnTo>
                  <a:pt x="3804" y="2432"/>
                </a:lnTo>
                <a:lnTo>
                  <a:pt x="3804" y="2432"/>
                </a:lnTo>
                <a:lnTo>
                  <a:pt x="3810" y="2432"/>
                </a:lnTo>
                <a:lnTo>
                  <a:pt x="3816" y="2432"/>
                </a:lnTo>
                <a:lnTo>
                  <a:pt x="3822" y="2432"/>
                </a:lnTo>
                <a:lnTo>
                  <a:pt x="3828" y="2438"/>
                </a:lnTo>
                <a:lnTo>
                  <a:pt x="3840" y="2438"/>
                </a:lnTo>
                <a:lnTo>
                  <a:pt x="3852" y="2444"/>
                </a:lnTo>
                <a:lnTo>
                  <a:pt x="3864" y="2450"/>
                </a:lnTo>
                <a:lnTo>
                  <a:pt x="3870" y="2455"/>
                </a:lnTo>
                <a:lnTo>
                  <a:pt x="3881" y="2461"/>
                </a:lnTo>
                <a:lnTo>
                  <a:pt x="3887" y="2461"/>
                </a:lnTo>
                <a:lnTo>
                  <a:pt x="3887" y="2461"/>
                </a:lnTo>
                <a:lnTo>
                  <a:pt x="3881" y="2461"/>
                </a:lnTo>
                <a:lnTo>
                  <a:pt x="3887" y="2461"/>
                </a:lnTo>
                <a:lnTo>
                  <a:pt x="3887" y="2461"/>
                </a:lnTo>
                <a:lnTo>
                  <a:pt x="3887" y="2461"/>
                </a:lnTo>
                <a:lnTo>
                  <a:pt x="3887" y="2461"/>
                </a:lnTo>
                <a:lnTo>
                  <a:pt x="3887" y="2461"/>
                </a:lnTo>
                <a:lnTo>
                  <a:pt x="3887" y="2461"/>
                </a:lnTo>
                <a:lnTo>
                  <a:pt x="3881" y="2455"/>
                </a:lnTo>
                <a:lnTo>
                  <a:pt x="3881" y="2455"/>
                </a:lnTo>
                <a:lnTo>
                  <a:pt x="3881" y="2455"/>
                </a:lnTo>
                <a:lnTo>
                  <a:pt x="3881" y="2455"/>
                </a:lnTo>
                <a:lnTo>
                  <a:pt x="3881" y="2455"/>
                </a:lnTo>
                <a:lnTo>
                  <a:pt x="3881" y="2455"/>
                </a:lnTo>
                <a:lnTo>
                  <a:pt x="3881" y="2455"/>
                </a:lnTo>
                <a:lnTo>
                  <a:pt x="3881" y="2450"/>
                </a:lnTo>
                <a:lnTo>
                  <a:pt x="3881" y="2450"/>
                </a:lnTo>
                <a:lnTo>
                  <a:pt x="3881" y="2450"/>
                </a:lnTo>
                <a:lnTo>
                  <a:pt x="3881" y="2450"/>
                </a:lnTo>
                <a:lnTo>
                  <a:pt x="3875" y="2450"/>
                </a:lnTo>
                <a:lnTo>
                  <a:pt x="3875" y="2450"/>
                </a:lnTo>
                <a:lnTo>
                  <a:pt x="3875" y="2450"/>
                </a:lnTo>
                <a:lnTo>
                  <a:pt x="3875" y="2450"/>
                </a:lnTo>
                <a:lnTo>
                  <a:pt x="3870" y="2450"/>
                </a:lnTo>
                <a:lnTo>
                  <a:pt x="3870" y="2450"/>
                </a:lnTo>
                <a:lnTo>
                  <a:pt x="3875" y="2450"/>
                </a:lnTo>
                <a:lnTo>
                  <a:pt x="3875" y="2444"/>
                </a:lnTo>
                <a:lnTo>
                  <a:pt x="3875" y="2444"/>
                </a:lnTo>
                <a:lnTo>
                  <a:pt x="3875" y="2444"/>
                </a:lnTo>
                <a:lnTo>
                  <a:pt x="3875" y="2444"/>
                </a:lnTo>
                <a:lnTo>
                  <a:pt x="3875" y="2444"/>
                </a:lnTo>
                <a:lnTo>
                  <a:pt x="3881" y="2444"/>
                </a:lnTo>
                <a:lnTo>
                  <a:pt x="3881" y="2444"/>
                </a:lnTo>
                <a:lnTo>
                  <a:pt x="3881" y="2444"/>
                </a:lnTo>
                <a:lnTo>
                  <a:pt x="3881" y="2444"/>
                </a:lnTo>
                <a:lnTo>
                  <a:pt x="3881" y="2444"/>
                </a:lnTo>
                <a:lnTo>
                  <a:pt x="3887" y="2444"/>
                </a:lnTo>
                <a:lnTo>
                  <a:pt x="3887" y="2450"/>
                </a:lnTo>
                <a:lnTo>
                  <a:pt x="3887" y="2450"/>
                </a:lnTo>
                <a:lnTo>
                  <a:pt x="3887" y="2450"/>
                </a:lnTo>
                <a:lnTo>
                  <a:pt x="3887" y="2450"/>
                </a:lnTo>
                <a:lnTo>
                  <a:pt x="3887" y="2450"/>
                </a:lnTo>
                <a:lnTo>
                  <a:pt x="3887" y="2450"/>
                </a:lnTo>
                <a:lnTo>
                  <a:pt x="3887" y="2450"/>
                </a:lnTo>
                <a:lnTo>
                  <a:pt x="3887" y="2450"/>
                </a:lnTo>
                <a:lnTo>
                  <a:pt x="3887" y="2450"/>
                </a:lnTo>
                <a:lnTo>
                  <a:pt x="3887" y="2450"/>
                </a:lnTo>
                <a:lnTo>
                  <a:pt x="3887" y="2450"/>
                </a:lnTo>
                <a:lnTo>
                  <a:pt x="3887" y="2450"/>
                </a:lnTo>
                <a:lnTo>
                  <a:pt x="3893" y="2444"/>
                </a:lnTo>
                <a:lnTo>
                  <a:pt x="3893" y="2444"/>
                </a:lnTo>
                <a:lnTo>
                  <a:pt x="3893" y="2444"/>
                </a:lnTo>
                <a:lnTo>
                  <a:pt x="3893" y="2444"/>
                </a:lnTo>
                <a:lnTo>
                  <a:pt x="3893" y="2444"/>
                </a:lnTo>
                <a:lnTo>
                  <a:pt x="3893" y="2444"/>
                </a:lnTo>
                <a:lnTo>
                  <a:pt x="3893" y="2450"/>
                </a:lnTo>
                <a:lnTo>
                  <a:pt x="3893" y="2444"/>
                </a:lnTo>
                <a:lnTo>
                  <a:pt x="3899" y="2444"/>
                </a:lnTo>
                <a:lnTo>
                  <a:pt x="3899" y="2444"/>
                </a:lnTo>
                <a:lnTo>
                  <a:pt x="3899" y="2444"/>
                </a:lnTo>
                <a:lnTo>
                  <a:pt x="3899" y="2444"/>
                </a:lnTo>
                <a:lnTo>
                  <a:pt x="3899" y="2444"/>
                </a:lnTo>
                <a:lnTo>
                  <a:pt x="3899" y="2444"/>
                </a:lnTo>
                <a:lnTo>
                  <a:pt x="3899" y="2444"/>
                </a:lnTo>
                <a:lnTo>
                  <a:pt x="3899" y="2444"/>
                </a:lnTo>
                <a:lnTo>
                  <a:pt x="3893" y="2450"/>
                </a:lnTo>
                <a:lnTo>
                  <a:pt x="3893" y="2450"/>
                </a:lnTo>
                <a:lnTo>
                  <a:pt x="3893" y="2450"/>
                </a:lnTo>
                <a:lnTo>
                  <a:pt x="3887" y="2455"/>
                </a:lnTo>
                <a:lnTo>
                  <a:pt x="3887" y="2455"/>
                </a:lnTo>
                <a:lnTo>
                  <a:pt x="3887" y="2455"/>
                </a:lnTo>
                <a:lnTo>
                  <a:pt x="3887" y="2455"/>
                </a:lnTo>
                <a:lnTo>
                  <a:pt x="3887" y="2455"/>
                </a:lnTo>
                <a:lnTo>
                  <a:pt x="3887" y="2455"/>
                </a:lnTo>
                <a:lnTo>
                  <a:pt x="3887" y="2455"/>
                </a:lnTo>
                <a:lnTo>
                  <a:pt x="3887" y="2455"/>
                </a:lnTo>
                <a:lnTo>
                  <a:pt x="3893" y="2461"/>
                </a:lnTo>
                <a:lnTo>
                  <a:pt x="3893" y="2461"/>
                </a:lnTo>
                <a:lnTo>
                  <a:pt x="3893" y="2461"/>
                </a:lnTo>
                <a:lnTo>
                  <a:pt x="3893" y="2461"/>
                </a:lnTo>
                <a:lnTo>
                  <a:pt x="3893" y="2461"/>
                </a:lnTo>
                <a:lnTo>
                  <a:pt x="3899" y="2461"/>
                </a:lnTo>
                <a:lnTo>
                  <a:pt x="3899" y="2461"/>
                </a:lnTo>
                <a:lnTo>
                  <a:pt x="3899" y="2467"/>
                </a:lnTo>
                <a:lnTo>
                  <a:pt x="3899" y="2467"/>
                </a:lnTo>
                <a:lnTo>
                  <a:pt x="3899" y="2467"/>
                </a:lnTo>
                <a:lnTo>
                  <a:pt x="3899" y="2461"/>
                </a:lnTo>
                <a:lnTo>
                  <a:pt x="3899" y="2461"/>
                </a:lnTo>
                <a:lnTo>
                  <a:pt x="3899" y="2461"/>
                </a:lnTo>
                <a:lnTo>
                  <a:pt x="3899" y="2461"/>
                </a:lnTo>
                <a:lnTo>
                  <a:pt x="3905" y="2461"/>
                </a:lnTo>
                <a:lnTo>
                  <a:pt x="3905" y="2461"/>
                </a:lnTo>
                <a:lnTo>
                  <a:pt x="3905" y="2461"/>
                </a:lnTo>
                <a:lnTo>
                  <a:pt x="3905" y="2461"/>
                </a:lnTo>
                <a:lnTo>
                  <a:pt x="3905" y="2461"/>
                </a:lnTo>
                <a:lnTo>
                  <a:pt x="3905" y="2461"/>
                </a:lnTo>
                <a:lnTo>
                  <a:pt x="3905" y="2461"/>
                </a:lnTo>
                <a:lnTo>
                  <a:pt x="3905" y="2467"/>
                </a:lnTo>
                <a:lnTo>
                  <a:pt x="3905" y="2467"/>
                </a:lnTo>
                <a:lnTo>
                  <a:pt x="3905" y="2467"/>
                </a:lnTo>
                <a:lnTo>
                  <a:pt x="3911" y="2467"/>
                </a:lnTo>
                <a:lnTo>
                  <a:pt x="3911" y="2467"/>
                </a:lnTo>
                <a:lnTo>
                  <a:pt x="3911" y="2467"/>
                </a:lnTo>
                <a:lnTo>
                  <a:pt x="3911" y="2473"/>
                </a:lnTo>
                <a:lnTo>
                  <a:pt x="3911" y="2473"/>
                </a:lnTo>
                <a:lnTo>
                  <a:pt x="3911" y="2473"/>
                </a:lnTo>
                <a:lnTo>
                  <a:pt x="3911" y="2473"/>
                </a:lnTo>
                <a:lnTo>
                  <a:pt x="3911" y="2473"/>
                </a:lnTo>
                <a:lnTo>
                  <a:pt x="3911" y="2473"/>
                </a:lnTo>
                <a:lnTo>
                  <a:pt x="3911" y="2473"/>
                </a:lnTo>
                <a:lnTo>
                  <a:pt x="3917" y="2467"/>
                </a:lnTo>
                <a:lnTo>
                  <a:pt x="3917" y="2473"/>
                </a:lnTo>
                <a:lnTo>
                  <a:pt x="3917" y="2473"/>
                </a:lnTo>
                <a:lnTo>
                  <a:pt x="3917" y="2473"/>
                </a:lnTo>
                <a:lnTo>
                  <a:pt x="3917" y="2473"/>
                </a:lnTo>
                <a:lnTo>
                  <a:pt x="3917" y="2473"/>
                </a:lnTo>
                <a:lnTo>
                  <a:pt x="3917" y="2473"/>
                </a:lnTo>
                <a:lnTo>
                  <a:pt x="3917" y="2473"/>
                </a:lnTo>
                <a:lnTo>
                  <a:pt x="3917" y="2473"/>
                </a:lnTo>
                <a:lnTo>
                  <a:pt x="3917" y="2473"/>
                </a:lnTo>
                <a:lnTo>
                  <a:pt x="3917" y="2473"/>
                </a:lnTo>
                <a:lnTo>
                  <a:pt x="3917" y="2473"/>
                </a:lnTo>
                <a:lnTo>
                  <a:pt x="3917" y="2473"/>
                </a:lnTo>
                <a:lnTo>
                  <a:pt x="3911" y="2473"/>
                </a:lnTo>
                <a:lnTo>
                  <a:pt x="3911" y="2473"/>
                </a:lnTo>
                <a:lnTo>
                  <a:pt x="3911" y="2473"/>
                </a:lnTo>
                <a:lnTo>
                  <a:pt x="3911" y="2473"/>
                </a:lnTo>
                <a:lnTo>
                  <a:pt x="3905" y="2473"/>
                </a:lnTo>
                <a:lnTo>
                  <a:pt x="3905" y="2473"/>
                </a:lnTo>
                <a:lnTo>
                  <a:pt x="3905" y="2467"/>
                </a:lnTo>
                <a:lnTo>
                  <a:pt x="3905" y="2467"/>
                </a:lnTo>
                <a:lnTo>
                  <a:pt x="3899" y="2467"/>
                </a:lnTo>
                <a:lnTo>
                  <a:pt x="3899" y="2461"/>
                </a:lnTo>
                <a:lnTo>
                  <a:pt x="3899" y="2461"/>
                </a:lnTo>
                <a:lnTo>
                  <a:pt x="3893" y="2461"/>
                </a:lnTo>
                <a:lnTo>
                  <a:pt x="3893" y="2461"/>
                </a:lnTo>
                <a:lnTo>
                  <a:pt x="3887" y="2461"/>
                </a:lnTo>
                <a:lnTo>
                  <a:pt x="3887" y="2461"/>
                </a:lnTo>
                <a:lnTo>
                  <a:pt x="3893" y="2461"/>
                </a:lnTo>
                <a:lnTo>
                  <a:pt x="3893" y="2467"/>
                </a:lnTo>
                <a:lnTo>
                  <a:pt x="3893" y="2467"/>
                </a:lnTo>
                <a:lnTo>
                  <a:pt x="3899" y="2467"/>
                </a:lnTo>
                <a:lnTo>
                  <a:pt x="3911" y="2479"/>
                </a:lnTo>
                <a:lnTo>
                  <a:pt x="3905" y="2479"/>
                </a:lnTo>
                <a:lnTo>
                  <a:pt x="3905" y="2479"/>
                </a:lnTo>
                <a:lnTo>
                  <a:pt x="3905" y="2479"/>
                </a:lnTo>
                <a:lnTo>
                  <a:pt x="3905" y="2473"/>
                </a:lnTo>
                <a:lnTo>
                  <a:pt x="3899" y="2473"/>
                </a:lnTo>
                <a:lnTo>
                  <a:pt x="3899" y="2473"/>
                </a:lnTo>
                <a:lnTo>
                  <a:pt x="3899" y="2473"/>
                </a:lnTo>
                <a:lnTo>
                  <a:pt x="3899" y="2473"/>
                </a:lnTo>
                <a:lnTo>
                  <a:pt x="3899" y="2479"/>
                </a:lnTo>
                <a:lnTo>
                  <a:pt x="3899" y="2479"/>
                </a:lnTo>
                <a:lnTo>
                  <a:pt x="3899" y="2479"/>
                </a:lnTo>
                <a:lnTo>
                  <a:pt x="3899" y="2479"/>
                </a:lnTo>
                <a:lnTo>
                  <a:pt x="3905" y="2479"/>
                </a:lnTo>
                <a:lnTo>
                  <a:pt x="3905" y="2479"/>
                </a:lnTo>
                <a:lnTo>
                  <a:pt x="3905" y="2479"/>
                </a:lnTo>
                <a:lnTo>
                  <a:pt x="3917" y="2485"/>
                </a:lnTo>
                <a:lnTo>
                  <a:pt x="3917" y="2485"/>
                </a:lnTo>
                <a:lnTo>
                  <a:pt x="3923" y="2491"/>
                </a:lnTo>
                <a:lnTo>
                  <a:pt x="3923" y="2491"/>
                </a:lnTo>
                <a:lnTo>
                  <a:pt x="3923" y="2491"/>
                </a:lnTo>
                <a:lnTo>
                  <a:pt x="3923" y="2491"/>
                </a:lnTo>
                <a:lnTo>
                  <a:pt x="3923" y="2491"/>
                </a:lnTo>
                <a:lnTo>
                  <a:pt x="3923" y="2491"/>
                </a:lnTo>
                <a:lnTo>
                  <a:pt x="3923" y="2497"/>
                </a:lnTo>
                <a:lnTo>
                  <a:pt x="3929" y="2497"/>
                </a:lnTo>
                <a:lnTo>
                  <a:pt x="3929" y="2503"/>
                </a:lnTo>
                <a:lnTo>
                  <a:pt x="3929" y="2509"/>
                </a:lnTo>
                <a:lnTo>
                  <a:pt x="3929" y="2509"/>
                </a:lnTo>
                <a:lnTo>
                  <a:pt x="3929" y="2509"/>
                </a:lnTo>
                <a:lnTo>
                  <a:pt x="3929" y="2509"/>
                </a:lnTo>
                <a:lnTo>
                  <a:pt x="3929" y="2515"/>
                </a:lnTo>
                <a:lnTo>
                  <a:pt x="3923" y="2515"/>
                </a:lnTo>
                <a:lnTo>
                  <a:pt x="3923" y="2515"/>
                </a:lnTo>
                <a:lnTo>
                  <a:pt x="3923" y="2515"/>
                </a:lnTo>
                <a:lnTo>
                  <a:pt x="3923" y="2515"/>
                </a:lnTo>
                <a:lnTo>
                  <a:pt x="3917" y="2509"/>
                </a:lnTo>
                <a:lnTo>
                  <a:pt x="3917" y="2509"/>
                </a:lnTo>
                <a:lnTo>
                  <a:pt x="3917" y="2503"/>
                </a:lnTo>
                <a:lnTo>
                  <a:pt x="3917" y="2503"/>
                </a:lnTo>
                <a:lnTo>
                  <a:pt x="3917" y="2503"/>
                </a:lnTo>
                <a:lnTo>
                  <a:pt x="3917" y="2497"/>
                </a:lnTo>
                <a:lnTo>
                  <a:pt x="3917" y="2491"/>
                </a:lnTo>
                <a:lnTo>
                  <a:pt x="3917" y="2491"/>
                </a:lnTo>
                <a:lnTo>
                  <a:pt x="3917" y="2491"/>
                </a:lnTo>
                <a:lnTo>
                  <a:pt x="3917" y="2497"/>
                </a:lnTo>
                <a:lnTo>
                  <a:pt x="3917" y="2497"/>
                </a:lnTo>
                <a:lnTo>
                  <a:pt x="3917" y="2503"/>
                </a:lnTo>
                <a:lnTo>
                  <a:pt x="3917" y="2509"/>
                </a:lnTo>
                <a:lnTo>
                  <a:pt x="3917" y="2515"/>
                </a:lnTo>
                <a:lnTo>
                  <a:pt x="3923" y="2515"/>
                </a:lnTo>
                <a:lnTo>
                  <a:pt x="3923" y="2515"/>
                </a:lnTo>
                <a:lnTo>
                  <a:pt x="3929" y="2515"/>
                </a:lnTo>
                <a:lnTo>
                  <a:pt x="3929" y="2515"/>
                </a:lnTo>
                <a:lnTo>
                  <a:pt x="3929" y="2515"/>
                </a:lnTo>
                <a:lnTo>
                  <a:pt x="3935" y="2515"/>
                </a:lnTo>
                <a:lnTo>
                  <a:pt x="3947" y="2509"/>
                </a:lnTo>
                <a:lnTo>
                  <a:pt x="3947" y="2509"/>
                </a:lnTo>
                <a:lnTo>
                  <a:pt x="3958" y="2509"/>
                </a:lnTo>
                <a:lnTo>
                  <a:pt x="3958" y="2509"/>
                </a:lnTo>
                <a:lnTo>
                  <a:pt x="3958" y="2509"/>
                </a:lnTo>
                <a:lnTo>
                  <a:pt x="3958" y="2509"/>
                </a:lnTo>
                <a:lnTo>
                  <a:pt x="3964" y="2509"/>
                </a:lnTo>
                <a:lnTo>
                  <a:pt x="3964" y="2503"/>
                </a:lnTo>
                <a:lnTo>
                  <a:pt x="3964" y="2503"/>
                </a:lnTo>
                <a:lnTo>
                  <a:pt x="3964" y="2503"/>
                </a:lnTo>
                <a:lnTo>
                  <a:pt x="3964" y="2503"/>
                </a:lnTo>
                <a:lnTo>
                  <a:pt x="3970" y="2503"/>
                </a:lnTo>
                <a:lnTo>
                  <a:pt x="3970" y="2503"/>
                </a:lnTo>
                <a:lnTo>
                  <a:pt x="3970" y="2503"/>
                </a:lnTo>
                <a:lnTo>
                  <a:pt x="3970" y="2503"/>
                </a:lnTo>
                <a:lnTo>
                  <a:pt x="3970" y="2509"/>
                </a:lnTo>
                <a:lnTo>
                  <a:pt x="3970" y="2509"/>
                </a:lnTo>
                <a:lnTo>
                  <a:pt x="3970" y="2509"/>
                </a:lnTo>
                <a:lnTo>
                  <a:pt x="3970" y="2509"/>
                </a:lnTo>
                <a:lnTo>
                  <a:pt x="3970" y="2509"/>
                </a:lnTo>
                <a:lnTo>
                  <a:pt x="3970" y="2509"/>
                </a:lnTo>
                <a:lnTo>
                  <a:pt x="3970" y="2509"/>
                </a:lnTo>
                <a:lnTo>
                  <a:pt x="3970" y="2509"/>
                </a:lnTo>
                <a:lnTo>
                  <a:pt x="3976" y="2509"/>
                </a:lnTo>
                <a:lnTo>
                  <a:pt x="3976" y="2503"/>
                </a:lnTo>
                <a:lnTo>
                  <a:pt x="3976" y="2503"/>
                </a:lnTo>
                <a:lnTo>
                  <a:pt x="3982" y="2503"/>
                </a:lnTo>
                <a:lnTo>
                  <a:pt x="3982" y="2503"/>
                </a:lnTo>
                <a:lnTo>
                  <a:pt x="3982" y="2503"/>
                </a:lnTo>
                <a:lnTo>
                  <a:pt x="3988" y="2497"/>
                </a:lnTo>
                <a:lnTo>
                  <a:pt x="3994" y="2497"/>
                </a:lnTo>
                <a:lnTo>
                  <a:pt x="3994" y="2491"/>
                </a:lnTo>
                <a:lnTo>
                  <a:pt x="4000" y="2491"/>
                </a:lnTo>
                <a:lnTo>
                  <a:pt x="4006" y="2491"/>
                </a:lnTo>
                <a:lnTo>
                  <a:pt x="4006" y="2485"/>
                </a:lnTo>
                <a:lnTo>
                  <a:pt x="4006" y="2485"/>
                </a:lnTo>
                <a:lnTo>
                  <a:pt x="4006" y="2491"/>
                </a:lnTo>
                <a:lnTo>
                  <a:pt x="4006" y="2491"/>
                </a:lnTo>
                <a:lnTo>
                  <a:pt x="4012" y="2491"/>
                </a:lnTo>
                <a:lnTo>
                  <a:pt x="4012" y="2485"/>
                </a:lnTo>
                <a:lnTo>
                  <a:pt x="4012" y="2485"/>
                </a:lnTo>
                <a:lnTo>
                  <a:pt x="4012" y="2485"/>
                </a:lnTo>
                <a:lnTo>
                  <a:pt x="4018" y="2485"/>
                </a:lnTo>
                <a:lnTo>
                  <a:pt x="4018" y="2491"/>
                </a:lnTo>
                <a:lnTo>
                  <a:pt x="4018" y="2491"/>
                </a:lnTo>
                <a:lnTo>
                  <a:pt x="4018" y="2491"/>
                </a:lnTo>
                <a:lnTo>
                  <a:pt x="4018" y="2491"/>
                </a:lnTo>
                <a:lnTo>
                  <a:pt x="4018" y="2491"/>
                </a:lnTo>
                <a:lnTo>
                  <a:pt x="4018" y="2491"/>
                </a:lnTo>
                <a:lnTo>
                  <a:pt x="4018" y="2491"/>
                </a:lnTo>
                <a:lnTo>
                  <a:pt x="4024" y="2491"/>
                </a:lnTo>
                <a:lnTo>
                  <a:pt x="4024" y="2485"/>
                </a:lnTo>
                <a:lnTo>
                  <a:pt x="4024" y="2485"/>
                </a:lnTo>
                <a:lnTo>
                  <a:pt x="4018" y="2485"/>
                </a:lnTo>
                <a:lnTo>
                  <a:pt x="4012" y="2485"/>
                </a:lnTo>
                <a:lnTo>
                  <a:pt x="4012" y="2479"/>
                </a:lnTo>
                <a:lnTo>
                  <a:pt x="4012" y="2479"/>
                </a:lnTo>
                <a:lnTo>
                  <a:pt x="4012" y="2479"/>
                </a:lnTo>
                <a:lnTo>
                  <a:pt x="4012" y="2479"/>
                </a:lnTo>
                <a:lnTo>
                  <a:pt x="4012" y="2479"/>
                </a:lnTo>
                <a:lnTo>
                  <a:pt x="4012" y="2479"/>
                </a:lnTo>
                <a:lnTo>
                  <a:pt x="4012" y="2479"/>
                </a:lnTo>
                <a:lnTo>
                  <a:pt x="4012" y="2479"/>
                </a:lnTo>
                <a:lnTo>
                  <a:pt x="4012" y="2479"/>
                </a:lnTo>
                <a:lnTo>
                  <a:pt x="4012" y="2479"/>
                </a:lnTo>
                <a:lnTo>
                  <a:pt x="4018" y="2479"/>
                </a:lnTo>
                <a:lnTo>
                  <a:pt x="4018" y="2479"/>
                </a:lnTo>
                <a:lnTo>
                  <a:pt x="4024" y="2479"/>
                </a:lnTo>
                <a:lnTo>
                  <a:pt x="4024" y="2479"/>
                </a:lnTo>
                <a:lnTo>
                  <a:pt x="4024" y="2479"/>
                </a:lnTo>
                <a:lnTo>
                  <a:pt x="4024" y="2479"/>
                </a:lnTo>
                <a:lnTo>
                  <a:pt x="4024" y="2479"/>
                </a:lnTo>
                <a:lnTo>
                  <a:pt x="4018" y="2479"/>
                </a:lnTo>
                <a:lnTo>
                  <a:pt x="4018" y="2479"/>
                </a:lnTo>
                <a:lnTo>
                  <a:pt x="4018" y="2479"/>
                </a:lnTo>
                <a:lnTo>
                  <a:pt x="4018" y="2479"/>
                </a:lnTo>
                <a:lnTo>
                  <a:pt x="4018" y="2479"/>
                </a:lnTo>
                <a:lnTo>
                  <a:pt x="4018" y="2479"/>
                </a:lnTo>
                <a:lnTo>
                  <a:pt x="4018" y="2479"/>
                </a:lnTo>
                <a:lnTo>
                  <a:pt x="4018" y="2479"/>
                </a:lnTo>
                <a:lnTo>
                  <a:pt x="4018" y="2479"/>
                </a:lnTo>
                <a:lnTo>
                  <a:pt x="4018" y="2479"/>
                </a:lnTo>
                <a:lnTo>
                  <a:pt x="4018" y="2479"/>
                </a:lnTo>
                <a:lnTo>
                  <a:pt x="4018" y="2479"/>
                </a:lnTo>
                <a:lnTo>
                  <a:pt x="4018" y="2479"/>
                </a:lnTo>
                <a:lnTo>
                  <a:pt x="4018" y="2473"/>
                </a:lnTo>
                <a:lnTo>
                  <a:pt x="4018" y="2473"/>
                </a:lnTo>
                <a:lnTo>
                  <a:pt x="4018" y="2473"/>
                </a:lnTo>
                <a:lnTo>
                  <a:pt x="4018" y="2473"/>
                </a:lnTo>
                <a:lnTo>
                  <a:pt x="4018" y="2473"/>
                </a:lnTo>
                <a:lnTo>
                  <a:pt x="4018" y="2473"/>
                </a:lnTo>
                <a:lnTo>
                  <a:pt x="4018" y="2473"/>
                </a:lnTo>
                <a:lnTo>
                  <a:pt x="4018" y="2473"/>
                </a:lnTo>
                <a:lnTo>
                  <a:pt x="4018" y="2473"/>
                </a:lnTo>
                <a:lnTo>
                  <a:pt x="4018" y="2473"/>
                </a:lnTo>
                <a:lnTo>
                  <a:pt x="4024" y="2473"/>
                </a:lnTo>
                <a:lnTo>
                  <a:pt x="4024" y="2473"/>
                </a:lnTo>
                <a:lnTo>
                  <a:pt x="4024" y="2473"/>
                </a:lnTo>
                <a:lnTo>
                  <a:pt x="4024" y="2473"/>
                </a:lnTo>
                <a:lnTo>
                  <a:pt x="4030" y="2473"/>
                </a:lnTo>
                <a:lnTo>
                  <a:pt x="4030" y="2467"/>
                </a:lnTo>
                <a:lnTo>
                  <a:pt x="4030" y="2467"/>
                </a:lnTo>
                <a:lnTo>
                  <a:pt x="4030" y="2467"/>
                </a:lnTo>
                <a:lnTo>
                  <a:pt x="4030" y="2467"/>
                </a:lnTo>
                <a:lnTo>
                  <a:pt x="4030" y="2467"/>
                </a:lnTo>
                <a:lnTo>
                  <a:pt x="4030" y="2467"/>
                </a:lnTo>
                <a:lnTo>
                  <a:pt x="4030" y="2467"/>
                </a:lnTo>
                <a:lnTo>
                  <a:pt x="4030" y="2467"/>
                </a:lnTo>
                <a:lnTo>
                  <a:pt x="4030" y="2467"/>
                </a:lnTo>
                <a:lnTo>
                  <a:pt x="4030" y="2467"/>
                </a:lnTo>
                <a:lnTo>
                  <a:pt x="4030" y="2467"/>
                </a:lnTo>
                <a:lnTo>
                  <a:pt x="4030"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41" y="2467"/>
                </a:lnTo>
                <a:lnTo>
                  <a:pt x="4041" y="2467"/>
                </a:lnTo>
                <a:lnTo>
                  <a:pt x="4041" y="2467"/>
                </a:lnTo>
                <a:lnTo>
                  <a:pt x="4041" y="2467"/>
                </a:lnTo>
                <a:lnTo>
                  <a:pt x="4041" y="2467"/>
                </a:lnTo>
                <a:lnTo>
                  <a:pt x="4041" y="2467"/>
                </a:lnTo>
                <a:lnTo>
                  <a:pt x="4041" y="2467"/>
                </a:lnTo>
                <a:lnTo>
                  <a:pt x="4047" y="2467"/>
                </a:lnTo>
                <a:lnTo>
                  <a:pt x="4053" y="2467"/>
                </a:lnTo>
                <a:lnTo>
                  <a:pt x="4053" y="2467"/>
                </a:lnTo>
                <a:lnTo>
                  <a:pt x="4059" y="2473"/>
                </a:lnTo>
                <a:lnTo>
                  <a:pt x="4065" y="2473"/>
                </a:lnTo>
                <a:lnTo>
                  <a:pt x="4071" y="2479"/>
                </a:lnTo>
                <a:lnTo>
                  <a:pt x="4077" y="2479"/>
                </a:lnTo>
                <a:lnTo>
                  <a:pt x="4077" y="2479"/>
                </a:lnTo>
                <a:lnTo>
                  <a:pt x="4083" y="2479"/>
                </a:lnTo>
                <a:lnTo>
                  <a:pt x="4083" y="2485"/>
                </a:lnTo>
                <a:lnTo>
                  <a:pt x="4083" y="2485"/>
                </a:lnTo>
                <a:lnTo>
                  <a:pt x="4083" y="2485"/>
                </a:lnTo>
                <a:lnTo>
                  <a:pt x="4089" y="2485"/>
                </a:lnTo>
                <a:lnTo>
                  <a:pt x="4089" y="2491"/>
                </a:lnTo>
                <a:lnTo>
                  <a:pt x="4089" y="2491"/>
                </a:lnTo>
                <a:lnTo>
                  <a:pt x="4089" y="2491"/>
                </a:lnTo>
                <a:lnTo>
                  <a:pt x="4095" y="2491"/>
                </a:lnTo>
                <a:lnTo>
                  <a:pt x="4095" y="2491"/>
                </a:lnTo>
                <a:lnTo>
                  <a:pt x="4095" y="2497"/>
                </a:lnTo>
                <a:lnTo>
                  <a:pt x="4095" y="2497"/>
                </a:lnTo>
                <a:lnTo>
                  <a:pt x="4095" y="2497"/>
                </a:lnTo>
                <a:lnTo>
                  <a:pt x="4095" y="2497"/>
                </a:lnTo>
                <a:lnTo>
                  <a:pt x="4095" y="2497"/>
                </a:lnTo>
                <a:lnTo>
                  <a:pt x="4095" y="2497"/>
                </a:lnTo>
                <a:lnTo>
                  <a:pt x="4101" y="2503"/>
                </a:lnTo>
                <a:lnTo>
                  <a:pt x="4101" y="2503"/>
                </a:lnTo>
                <a:lnTo>
                  <a:pt x="4101" y="2503"/>
                </a:lnTo>
                <a:lnTo>
                  <a:pt x="4101" y="2503"/>
                </a:lnTo>
                <a:lnTo>
                  <a:pt x="4101" y="2503"/>
                </a:lnTo>
                <a:lnTo>
                  <a:pt x="4101" y="2509"/>
                </a:lnTo>
                <a:lnTo>
                  <a:pt x="4101" y="2509"/>
                </a:lnTo>
                <a:lnTo>
                  <a:pt x="4101" y="2509"/>
                </a:lnTo>
                <a:lnTo>
                  <a:pt x="4107" y="2509"/>
                </a:lnTo>
                <a:lnTo>
                  <a:pt x="4107" y="2515"/>
                </a:lnTo>
                <a:lnTo>
                  <a:pt x="4107" y="2515"/>
                </a:lnTo>
                <a:lnTo>
                  <a:pt x="4107" y="2515"/>
                </a:lnTo>
                <a:lnTo>
                  <a:pt x="4113" y="2515"/>
                </a:lnTo>
                <a:lnTo>
                  <a:pt x="4113" y="2515"/>
                </a:lnTo>
                <a:lnTo>
                  <a:pt x="4113" y="2515"/>
                </a:lnTo>
                <a:lnTo>
                  <a:pt x="4113" y="2515"/>
                </a:lnTo>
                <a:lnTo>
                  <a:pt x="4113" y="2515"/>
                </a:lnTo>
                <a:lnTo>
                  <a:pt x="4118" y="2515"/>
                </a:lnTo>
                <a:lnTo>
                  <a:pt x="4118" y="2515"/>
                </a:lnTo>
                <a:lnTo>
                  <a:pt x="4118" y="2521"/>
                </a:lnTo>
                <a:lnTo>
                  <a:pt x="4118" y="2521"/>
                </a:lnTo>
                <a:lnTo>
                  <a:pt x="4118" y="2521"/>
                </a:lnTo>
                <a:lnTo>
                  <a:pt x="4118" y="2521"/>
                </a:lnTo>
                <a:lnTo>
                  <a:pt x="4118" y="2521"/>
                </a:lnTo>
                <a:lnTo>
                  <a:pt x="4118" y="2527"/>
                </a:lnTo>
                <a:lnTo>
                  <a:pt x="4118" y="2527"/>
                </a:lnTo>
                <a:lnTo>
                  <a:pt x="4118" y="2527"/>
                </a:lnTo>
                <a:lnTo>
                  <a:pt x="4113" y="2527"/>
                </a:lnTo>
                <a:lnTo>
                  <a:pt x="4118" y="2527"/>
                </a:lnTo>
                <a:lnTo>
                  <a:pt x="4118" y="2527"/>
                </a:lnTo>
                <a:lnTo>
                  <a:pt x="4118" y="2527"/>
                </a:lnTo>
                <a:lnTo>
                  <a:pt x="4118" y="2533"/>
                </a:lnTo>
                <a:lnTo>
                  <a:pt x="4118" y="2533"/>
                </a:lnTo>
                <a:lnTo>
                  <a:pt x="4118" y="2533"/>
                </a:lnTo>
                <a:lnTo>
                  <a:pt x="4118" y="2533"/>
                </a:lnTo>
                <a:lnTo>
                  <a:pt x="4118" y="2533"/>
                </a:lnTo>
                <a:lnTo>
                  <a:pt x="4118" y="2533"/>
                </a:lnTo>
                <a:lnTo>
                  <a:pt x="4118" y="2533"/>
                </a:lnTo>
                <a:lnTo>
                  <a:pt x="4124" y="2538"/>
                </a:lnTo>
                <a:lnTo>
                  <a:pt x="4130" y="2544"/>
                </a:lnTo>
                <a:lnTo>
                  <a:pt x="4130" y="2544"/>
                </a:lnTo>
                <a:lnTo>
                  <a:pt x="4130" y="2544"/>
                </a:lnTo>
                <a:lnTo>
                  <a:pt x="4130" y="2544"/>
                </a:lnTo>
                <a:lnTo>
                  <a:pt x="4130" y="2544"/>
                </a:lnTo>
                <a:lnTo>
                  <a:pt x="4130" y="2544"/>
                </a:lnTo>
                <a:lnTo>
                  <a:pt x="4136" y="2544"/>
                </a:lnTo>
                <a:lnTo>
                  <a:pt x="4136" y="2550"/>
                </a:lnTo>
                <a:lnTo>
                  <a:pt x="4142" y="2556"/>
                </a:lnTo>
                <a:lnTo>
                  <a:pt x="4142" y="2556"/>
                </a:lnTo>
                <a:lnTo>
                  <a:pt x="4142" y="2556"/>
                </a:lnTo>
                <a:lnTo>
                  <a:pt x="4142" y="2556"/>
                </a:lnTo>
                <a:lnTo>
                  <a:pt x="4142" y="2556"/>
                </a:lnTo>
                <a:lnTo>
                  <a:pt x="4142" y="2556"/>
                </a:lnTo>
                <a:lnTo>
                  <a:pt x="4142" y="2562"/>
                </a:lnTo>
                <a:lnTo>
                  <a:pt x="4142" y="2562"/>
                </a:lnTo>
                <a:lnTo>
                  <a:pt x="4148" y="2562"/>
                </a:lnTo>
                <a:lnTo>
                  <a:pt x="4148" y="2562"/>
                </a:lnTo>
                <a:lnTo>
                  <a:pt x="4148" y="2562"/>
                </a:lnTo>
                <a:lnTo>
                  <a:pt x="4148" y="2562"/>
                </a:lnTo>
                <a:lnTo>
                  <a:pt x="4148" y="2568"/>
                </a:lnTo>
                <a:lnTo>
                  <a:pt x="4148" y="2568"/>
                </a:lnTo>
                <a:lnTo>
                  <a:pt x="4148" y="2568"/>
                </a:lnTo>
                <a:lnTo>
                  <a:pt x="4148" y="2568"/>
                </a:lnTo>
                <a:lnTo>
                  <a:pt x="4148" y="2568"/>
                </a:lnTo>
                <a:lnTo>
                  <a:pt x="4154" y="2568"/>
                </a:lnTo>
                <a:lnTo>
                  <a:pt x="4154" y="2568"/>
                </a:lnTo>
                <a:lnTo>
                  <a:pt x="4154" y="2568"/>
                </a:lnTo>
                <a:lnTo>
                  <a:pt x="4154" y="2574"/>
                </a:lnTo>
                <a:lnTo>
                  <a:pt x="4154" y="2574"/>
                </a:lnTo>
                <a:lnTo>
                  <a:pt x="4154" y="2574"/>
                </a:lnTo>
                <a:lnTo>
                  <a:pt x="4154" y="2574"/>
                </a:lnTo>
                <a:lnTo>
                  <a:pt x="4154" y="2574"/>
                </a:lnTo>
                <a:lnTo>
                  <a:pt x="4154" y="2574"/>
                </a:lnTo>
                <a:lnTo>
                  <a:pt x="4160" y="2574"/>
                </a:lnTo>
                <a:lnTo>
                  <a:pt x="4160" y="2574"/>
                </a:lnTo>
                <a:lnTo>
                  <a:pt x="4160" y="2574"/>
                </a:lnTo>
                <a:lnTo>
                  <a:pt x="4166" y="2574"/>
                </a:lnTo>
                <a:lnTo>
                  <a:pt x="4166" y="2574"/>
                </a:lnTo>
                <a:lnTo>
                  <a:pt x="4166" y="2574"/>
                </a:lnTo>
                <a:lnTo>
                  <a:pt x="4166" y="2574"/>
                </a:lnTo>
                <a:lnTo>
                  <a:pt x="4172" y="2574"/>
                </a:lnTo>
                <a:lnTo>
                  <a:pt x="4172" y="2574"/>
                </a:lnTo>
                <a:lnTo>
                  <a:pt x="4172" y="2574"/>
                </a:lnTo>
                <a:lnTo>
                  <a:pt x="4172" y="2574"/>
                </a:lnTo>
                <a:lnTo>
                  <a:pt x="4172" y="2574"/>
                </a:lnTo>
                <a:lnTo>
                  <a:pt x="4172" y="2574"/>
                </a:lnTo>
                <a:lnTo>
                  <a:pt x="4178" y="2574"/>
                </a:lnTo>
                <a:lnTo>
                  <a:pt x="4178" y="2574"/>
                </a:lnTo>
                <a:lnTo>
                  <a:pt x="4178" y="2574"/>
                </a:lnTo>
                <a:lnTo>
                  <a:pt x="4178" y="2574"/>
                </a:lnTo>
                <a:lnTo>
                  <a:pt x="4178" y="2580"/>
                </a:lnTo>
                <a:lnTo>
                  <a:pt x="4178" y="2580"/>
                </a:lnTo>
                <a:lnTo>
                  <a:pt x="4178" y="2580"/>
                </a:lnTo>
                <a:lnTo>
                  <a:pt x="4178" y="2580"/>
                </a:lnTo>
                <a:lnTo>
                  <a:pt x="4178" y="2580"/>
                </a:lnTo>
                <a:lnTo>
                  <a:pt x="4178" y="2586"/>
                </a:lnTo>
                <a:lnTo>
                  <a:pt x="4184" y="2586"/>
                </a:lnTo>
                <a:lnTo>
                  <a:pt x="4184" y="2586"/>
                </a:lnTo>
                <a:lnTo>
                  <a:pt x="4184" y="2586"/>
                </a:lnTo>
                <a:lnTo>
                  <a:pt x="4184" y="2586"/>
                </a:lnTo>
                <a:lnTo>
                  <a:pt x="4184" y="2592"/>
                </a:lnTo>
                <a:lnTo>
                  <a:pt x="4184" y="2592"/>
                </a:lnTo>
                <a:lnTo>
                  <a:pt x="4184" y="2592"/>
                </a:lnTo>
                <a:lnTo>
                  <a:pt x="4184" y="2592"/>
                </a:lnTo>
                <a:lnTo>
                  <a:pt x="4184" y="2592"/>
                </a:lnTo>
                <a:lnTo>
                  <a:pt x="4184" y="2592"/>
                </a:lnTo>
                <a:lnTo>
                  <a:pt x="4184" y="2592"/>
                </a:lnTo>
                <a:lnTo>
                  <a:pt x="4184" y="2592"/>
                </a:lnTo>
                <a:lnTo>
                  <a:pt x="4184" y="2592"/>
                </a:lnTo>
                <a:lnTo>
                  <a:pt x="4184" y="2592"/>
                </a:lnTo>
                <a:lnTo>
                  <a:pt x="4184" y="2598"/>
                </a:lnTo>
                <a:lnTo>
                  <a:pt x="4184" y="2598"/>
                </a:lnTo>
                <a:lnTo>
                  <a:pt x="4184" y="2598"/>
                </a:lnTo>
                <a:lnTo>
                  <a:pt x="4190" y="2604"/>
                </a:lnTo>
                <a:lnTo>
                  <a:pt x="4190" y="2604"/>
                </a:lnTo>
                <a:lnTo>
                  <a:pt x="4190" y="2604"/>
                </a:lnTo>
                <a:lnTo>
                  <a:pt x="4190" y="2604"/>
                </a:lnTo>
                <a:lnTo>
                  <a:pt x="4190" y="2604"/>
                </a:lnTo>
                <a:lnTo>
                  <a:pt x="4190" y="2604"/>
                </a:lnTo>
                <a:lnTo>
                  <a:pt x="4190" y="2604"/>
                </a:lnTo>
                <a:lnTo>
                  <a:pt x="4195" y="2604"/>
                </a:lnTo>
                <a:lnTo>
                  <a:pt x="4195" y="2610"/>
                </a:lnTo>
                <a:lnTo>
                  <a:pt x="4190" y="2610"/>
                </a:lnTo>
                <a:lnTo>
                  <a:pt x="4190" y="2616"/>
                </a:lnTo>
                <a:lnTo>
                  <a:pt x="4190" y="2616"/>
                </a:lnTo>
                <a:lnTo>
                  <a:pt x="4195" y="2616"/>
                </a:lnTo>
                <a:lnTo>
                  <a:pt x="4195" y="2616"/>
                </a:lnTo>
                <a:lnTo>
                  <a:pt x="4190" y="2616"/>
                </a:lnTo>
                <a:lnTo>
                  <a:pt x="4190" y="2616"/>
                </a:lnTo>
                <a:lnTo>
                  <a:pt x="4190" y="2616"/>
                </a:lnTo>
                <a:lnTo>
                  <a:pt x="4190" y="2616"/>
                </a:lnTo>
                <a:lnTo>
                  <a:pt x="4190" y="2616"/>
                </a:lnTo>
                <a:lnTo>
                  <a:pt x="4190" y="2622"/>
                </a:lnTo>
                <a:lnTo>
                  <a:pt x="4190" y="2622"/>
                </a:lnTo>
                <a:lnTo>
                  <a:pt x="4190" y="2622"/>
                </a:lnTo>
                <a:lnTo>
                  <a:pt x="4190" y="2622"/>
                </a:lnTo>
                <a:lnTo>
                  <a:pt x="4190" y="2622"/>
                </a:lnTo>
                <a:lnTo>
                  <a:pt x="4190" y="2622"/>
                </a:lnTo>
                <a:lnTo>
                  <a:pt x="4190" y="2627"/>
                </a:lnTo>
                <a:lnTo>
                  <a:pt x="4190" y="2627"/>
                </a:lnTo>
                <a:lnTo>
                  <a:pt x="4195" y="2627"/>
                </a:lnTo>
                <a:lnTo>
                  <a:pt x="4195" y="2627"/>
                </a:lnTo>
                <a:lnTo>
                  <a:pt x="4195" y="2627"/>
                </a:lnTo>
                <a:lnTo>
                  <a:pt x="4195" y="2627"/>
                </a:lnTo>
                <a:lnTo>
                  <a:pt x="4195" y="2627"/>
                </a:lnTo>
                <a:lnTo>
                  <a:pt x="4195" y="2627"/>
                </a:lnTo>
                <a:lnTo>
                  <a:pt x="4190" y="2627"/>
                </a:lnTo>
                <a:lnTo>
                  <a:pt x="4190" y="2627"/>
                </a:lnTo>
                <a:lnTo>
                  <a:pt x="4190" y="2627"/>
                </a:lnTo>
                <a:lnTo>
                  <a:pt x="4190" y="2633"/>
                </a:lnTo>
                <a:lnTo>
                  <a:pt x="4190" y="2633"/>
                </a:lnTo>
                <a:lnTo>
                  <a:pt x="4190" y="2633"/>
                </a:lnTo>
                <a:lnTo>
                  <a:pt x="4190" y="2633"/>
                </a:lnTo>
                <a:lnTo>
                  <a:pt x="4190" y="2645"/>
                </a:lnTo>
                <a:lnTo>
                  <a:pt x="4190" y="2645"/>
                </a:lnTo>
                <a:lnTo>
                  <a:pt x="4190" y="2651"/>
                </a:lnTo>
                <a:lnTo>
                  <a:pt x="4190" y="2651"/>
                </a:lnTo>
                <a:lnTo>
                  <a:pt x="4190" y="2651"/>
                </a:lnTo>
                <a:lnTo>
                  <a:pt x="4190" y="2657"/>
                </a:lnTo>
                <a:lnTo>
                  <a:pt x="4190" y="2657"/>
                </a:lnTo>
                <a:lnTo>
                  <a:pt x="4190" y="2657"/>
                </a:lnTo>
                <a:lnTo>
                  <a:pt x="4190" y="2663"/>
                </a:lnTo>
                <a:lnTo>
                  <a:pt x="4190" y="2663"/>
                </a:lnTo>
                <a:lnTo>
                  <a:pt x="4184" y="2663"/>
                </a:lnTo>
                <a:lnTo>
                  <a:pt x="4184" y="2669"/>
                </a:lnTo>
                <a:lnTo>
                  <a:pt x="4184" y="2669"/>
                </a:lnTo>
                <a:lnTo>
                  <a:pt x="4184" y="2669"/>
                </a:lnTo>
                <a:lnTo>
                  <a:pt x="4184" y="2669"/>
                </a:lnTo>
                <a:lnTo>
                  <a:pt x="4184" y="2669"/>
                </a:lnTo>
                <a:lnTo>
                  <a:pt x="4184" y="2669"/>
                </a:lnTo>
                <a:lnTo>
                  <a:pt x="4184" y="2669"/>
                </a:lnTo>
                <a:lnTo>
                  <a:pt x="4184" y="2675"/>
                </a:lnTo>
                <a:lnTo>
                  <a:pt x="4184" y="2675"/>
                </a:lnTo>
                <a:lnTo>
                  <a:pt x="4184" y="2675"/>
                </a:lnTo>
                <a:lnTo>
                  <a:pt x="4184" y="2675"/>
                </a:lnTo>
                <a:lnTo>
                  <a:pt x="4184" y="2681"/>
                </a:lnTo>
                <a:lnTo>
                  <a:pt x="4184" y="2681"/>
                </a:lnTo>
                <a:lnTo>
                  <a:pt x="4178" y="2681"/>
                </a:lnTo>
                <a:lnTo>
                  <a:pt x="4178" y="2681"/>
                </a:lnTo>
                <a:lnTo>
                  <a:pt x="4178" y="2681"/>
                </a:lnTo>
                <a:lnTo>
                  <a:pt x="4178" y="2687"/>
                </a:lnTo>
                <a:lnTo>
                  <a:pt x="4178" y="2687"/>
                </a:lnTo>
                <a:lnTo>
                  <a:pt x="4178" y="2687"/>
                </a:lnTo>
                <a:lnTo>
                  <a:pt x="4178" y="2693"/>
                </a:lnTo>
                <a:lnTo>
                  <a:pt x="4178" y="2693"/>
                </a:lnTo>
                <a:lnTo>
                  <a:pt x="4178" y="2693"/>
                </a:lnTo>
                <a:lnTo>
                  <a:pt x="4178" y="2693"/>
                </a:lnTo>
                <a:lnTo>
                  <a:pt x="4178" y="2693"/>
                </a:lnTo>
                <a:lnTo>
                  <a:pt x="4178" y="2699"/>
                </a:lnTo>
                <a:lnTo>
                  <a:pt x="4178" y="2699"/>
                </a:lnTo>
                <a:lnTo>
                  <a:pt x="4178" y="2699"/>
                </a:lnTo>
                <a:lnTo>
                  <a:pt x="4178" y="2699"/>
                </a:lnTo>
                <a:lnTo>
                  <a:pt x="4178" y="2710"/>
                </a:lnTo>
                <a:lnTo>
                  <a:pt x="4172" y="2716"/>
                </a:lnTo>
                <a:lnTo>
                  <a:pt x="4172" y="2716"/>
                </a:lnTo>
                <a:lnTo>
                  <a:pt x="4172" y="2716"/>
                </a:lnTo>
                <a:lnTo>
                  <a:pt x="4172" y="2716"/>
                </a:lnTo>
                <a:lnTo>
                  <a:pt x="4172" y="2716"/>
                </a:lnTo>
                <a:lnTo>
                  <a:pt x="4172" y="2710"/>
                </a:lnTo>
                <a:lnTo>
                  <a:pt x="4172" y="2710"/>
                </a:lnTo>
                <a:lnTo>
                  <a:pt x="4172" y="2710"/>
                </a:lnTo>
                <a:lnTo>
                  <a:pt x="4172" y="2716"/>
                </a:lnTo>
                <a:lnTo>
                  <a:pt x="4172" y="2716"/>
                </a:lnTo>
                <a:lnTo>
                  <a:pt x="4172" y="2716"/>
                </a:lnTo>
                <a:lnTo>
                  <a:pt x="4172" y="2716"/>
                </a:lnTo>
                <a:lnTo>
                  <a:pt x="4172" y="2722"/>
                </a:lnTo>
                <a:lnTo>
                  <a:pt x="4172" y="2722"/>
                </a:lnTo>
                <a:lnTo>
                  <a:pt x="4172" y="2728"/>
                </a:lnTo>
                <a:lnTo>
                  <a:pt x="4172" y="2728"/>
                </a:lnTo>
                <a:lnTo>
                  <a:pt x="4172" y="2728"/>
                </a:lnTo>
                <a:lnTo>
                  <a:pt x="4178" y="2734"/>
                </a:lnTo>
                <a:lnTo>
                  <a:pt x="4184" y="2740"/>
                </a:lnTo>
                <a:lnTo>
                  <a:pt x="4184" y="2740"/>
                </a:lnTo>
                <a:lnTo>
                  <a:pt x="4184" y="2740"/>
                </a:lnTo>
                <a:lnTo>
                  <a:pt x="4184" y="2740"/>
                </a:lnTo>
                <a:lnTo>
                  <a:pt x="4184" y="2740"/>
                </a:lnTo>
                <a:lnTo>
                  <a:pt x="4184" y="2746"/>
                </a:lnTo>
                <a:lnTo>
                  <a:pt x="4184" y="2746"/>
                </a:lnTo>
                <a:lnTo>
                  <a:pt x="4184" y="2746"/>
                </a:lnTo>
                <a:lnTo>
                  <a:pt x="4184" y="2746"/>
                </a:lnTo>
                <a:lnTo>
                  <a:pt x="4184" y="2740"/>
                </a:lnTo>
                <a:lnTo>
                  <a:pt x="4184" y="2740"/>
                </a:lnTo>
                <a:lnTo>
                  <a:pt x="4184" y="2734"/>
                </a:lnTo>
                <a:lnTo>
                  <a:pt x="4184" y="2734"/>
                </a:lnTo>
                <a:lnTo>
                  <a:pt x="4184" y="2734"/>
                </a:lnTo>
                <a:lnTo>
                  <a:pt x="4178" y="2734"/>
                </a:lnTo>
                <a:lnTo>
                  <a:pt x="4178" y="2728"/>
                </a:lnTo>
                <a:lnTo>
                  <a:pt x="4172" y="2728"/>
                </a:lnTo>
                <a:lnTo>
                  <a:pt x="4172" y="2728"/>
                </a:lnTo>
                <a:lnTo>
                  <a:pt x="4172" y="2722"/>
                </a:lnTo>
                <a:lnTo>
                  <a:pt x="4178" y="2728"/>
                </a:lnTo>
                <a:lnTo>
                  <a:pt x="4178" y="2728"/>
                </a:lnTo>
                <a:lnTo>
                  <a:pt x="4184" y="2734"/>
                </a:lnTo>
                <a:lnTo>
                  <a:pt x="4184" y="2734"/>
                </a:lnTo>
                <a:lnTo>
                  <a:pt x="4184" y="2734"/>
                </a:lnTo>
                <a:lnTo>
                  <a:pt x="4190" y="2734"/>
                </a:lnTo>
                <a:lnTo>
                  <a:pt x="4190" y="2734"/>
                </a:lnTo>
                <a:lnTo>
                  <a:pt x="4190" y="2740"/>
                </a:lnTo>
                <a:lnTo>
                  <a:pt x="4190" y="2740"/>
                </a:lnTo>
                <a:lnTo>
                  <a:pt x="4190" y="2740"/>
                </a:lnTo>
                <a:lnTo>
                  <a:pt x="4190" y="2740"/>
                </a:lnTo>
                <a:lnTo>
                  <a:pt x="4190" y="2740"/>
                </a:lnTo>
                <a:lnTo>
                  <a:pt x="4190" y="2740"/>
                </a:lnTo>
                <a:lnTo>
                  <a:pt x="4190" y="2740"/>
                </a:lnTo>
                <a:lnTo>
                  <a:pt x="4190" y="2740"/>
                </a:lnTo>
                <a:lnTo>
                  <a:pt x="4195" y="2740"/>
                </a:lnTo>
                <a:lnTo>
                  <a:pt x="4195" y="2740"/>
                </a:lnTo>
                <a:lnTo>
                  <a:pt x="4195" y="2734"/>
                </a:lnTo>
                <a:lnTo>
                  <a:pt x="4195" y="2734"/>
                </a:lnTo>
                <a:lnTo>
                  <a:pt x="4195" y="2734"/>
                </a:lnTo>
                <a:lnTo>
                  <a:pt x="4195" y="2728"/>
                </a:lnTo>
                <a:lnTo>
                  <a:pt x="4195" y="2728"/>
                </a:lnTo>
                <a:lnTo>
                  <a:pt x="4195" y="2728"/>
                </a:lnTo>
                <a:lnTo>
                  <a:pt x="4195" y="2728"/>
                </a:lnTo>
                <a:lnTo>
                  <a:pt x="4195" y="2728"/>
                </a:lnTo>
                <a:lnTo>
                  <a:pt x="4195" y="2728"/>
                </a:lnTo>
                <a:lnTo>
                  <a:pt x="4195" y="2728"/>
                </a:lnTo>
                <a:lnTo>
                  <a:pt x="4195" y="2722"/>
                </a:lnTo>
                <a:lnTo>
                  <a:pt x="4195" y="2722"/>
                </a:lnTo>
                <a:lnTo>
                  <a:pt x="4195" y="2722"/>
                </a:lnTo>
                <a:lnTo>
                  <a:pt x="4201" y="2722"/>
                </a:lnTo>
                <a:lnTo>
                  <a:pt x="4201" y="2722"/>
                </a:lnTo>
                <a:lnTo>
                  <a:pt x="4201" y="2716"/>
                </a:lnTo>
                <a:lnTo>
                  <a:pt x="4195" y="2716"/>
                </a:lnTo>
                <a:lnTo>
                  <a:pt x="4195" y="2722"/>
                </a:lnTo>
                <a:lnTo>
                  <a:pt x="4190" y="2716"/>
                </a:lnTo>
                <a:lnTo>
                  <a:pt x="4190" y="2716"/>
                </a:lnTo>
                <a:lnTo>
                  <a:pt x="4184" y="2716"/>
                </a:lnTo>
                <a:lnTo>
                  <a:pt x="4184" y="2710"/>
                </a:lnTo>
                <a:lnTo>
                  <a:pt x="4190" y="2710"/>
                </a:lnTo>
                <a:lnTo>
                  <a:pt x="4190" y="2710"/>
                </a:lnTo>
                <a:lnTo>
                  <a:pt x="4190" y="2710"/>
                </a:lnTo>
                <a:lnTo>
                  <a:pt x="4190" y="2710"/>
                </a:lnTo>
                <a:lnTo>
                  <a:pt x="4190" y="2710"/>
                </a:lnTo>
                <a:lnTo>
                  <a:pt x="4190" y="2710"/>
                </a:lnTo>
                <a:lnTo>
                  <a:pt x="4190" y="2710"/>
                </a:lnTo>
                <a:lnTo>
                  <a:pt x="4190" y="2710"/>
                </a:lnTo>
                <a:lnTo>
                  <a:pt x="4190" y="2705"/>
                </a:lnTo>
                <a:lnTo>
                  <a:pt x="4190" y="2705"/>
                </a:lnTo>
                <a:lnTo>
                  <a:pt x="4190" y="2705"/>
                </a:lnTo>
                <a:lnTo>
                  <a:pt x="4190" y="2705"/>
                </a:lnTo>
                <a:lnTo>
                  <a:pt x="4190" y="2705"/>
                </a:lnTo>
                <a:lnTo>
                  <a:pt x="4190" y="2705"/>
                </a:lnTo>
                <a:lnTo>
                  <a:pt x="4190" y="2705"/>
                </a:lnTo>
                <a:lnTo>
                  <a:pt x="4190" y="2705"/>
                </a:lnTo>
                <a:lnTo>
                  <a:pt x="4190" y="2705"/>
                </a:lnTo>
                <a:lnTo>
                  <a:pt x="4190" y="2705"/>
                </a:lnTo>
                <a:lnTo>
                  <a:pt x="4190" y="2705"/>
                </a:lnTo>
                <a:lnTo>
                  <a:pt x="4190" y="2705"/>
                </a:lnTo>
                <a:lnTo>
                  <a:pt x="4195" y="2705"/>
                </a:lnTo>
                <a:lnTo>
                  <a:pt x="4195" y="2705"/>
                </a:lnTo>
                <a:lnTo>
                  <a:pt x="4195" y="2710"/>
                </a:lnTo>
                <a:lnTo>
                  <a:pt x="4195" y="2710"/>
                </a:lnTo>
                <a:lnTo>
                  <a:pt x="4195" y="2710"/>
                </a:lnTo>
                <a:lnTo>
                  <a:pt x="4195" y="2710"/>
                </a:lnTo>
                <a:lnTo>
                  <a:pt x="4195" y="2710"/>
                </a:lnTo>
                <a:lnTo>
                  <a:pt x="4195" y="2710"/>
                </a:lnTo>
                <a:lnTo>
                  <a:pt x="4201" y="2710"/>
                </a:lnTo>
                <a:lnTo>
                  <a:pt x="4201" y="2710"/>
                </a:lnTo>
                <a:lnTo>
                  <a:pt x="4201" y="2710"/>
                </a:lnTo>
                <a:lnTo>
                  <a:pt x="4201" y="2716"/>
                </a:lnTo>
                <a:lnTo>
                  <a:pt x="4201" y="2716"/>
                </a:lnTo>
                <a:lnTo>
                  <a:pt x="4201" y="2716"/>
                </a:lnTo>
                <a:lnTo>
                  <a:pt x="4201" y="2722"/>
                </a:lnTo>
                <a:lnTo>
                  <a:pt x="4201" y="2722"/>
                </a:lnTo>
                <a:lnTo>
                  <a:pt x="4201" y="2722"/>
                </a:lnTo>
                <a:lnTo>
                  <a:pt x="4201" y="2722"/>
                </a:lnTo>
                <a:lnTo>
                  <a:pt x="4201" y="2728"/>
                </a:lnTo>
                <a:lnTo>
                  <a:pt x="4201" y="2728"/>
                </a:lnTo>
                <a:lnTo>
                  <a:pt x="4201" y="2728"/>
                </a:lnTo>
                <a:lnTo>
                  <a:pt x="4207" y="2728"/>
                </a:lnTo>
                <a:lnTo>
                  <a:pt x="4207" y="2728"/>
                </a:lnTo>
                <a:lnTo>
                  <a:pt x="4207" y="2722"/>
                </a:lnTo>
                <a:lnTo>
                  <a:pt x="4207" y="2722"/>
                </a:lnTo>
                <a:lnTo>
                  <a:pt x="4207" y="2722"/>
                </a:lnTo>
                <a:lnTo>
                  <a:pt x="4207" y="2722"/>
                </a:lnTo>
                <a:lnTo>
                  <a:pt x="4207" y="2722"/>
                </a:lnTo>
                <a:lnTo>
                  <a:pt x="4207" y="2716"/>
                </a:lnTo>
                <a:lnTo>
                  <a:pt x="4207" y="2716"/>
                </a:lnTo>
                <a:lnTo>
                  <a:pt x="4207" y="2716"/>
                </a:lnTo>
                <a:lnTo>
                  <a:pt x="4207" y="2716"/>
                </a:lnTo>
                <a:lnTo>
                  <a:pt x="4207" y="2716"/>
                </a:lnTo>
                <a:lnTo>
                  <a:pt x="4213" y="2716"/>
                </a:lnTo>
                <a:lnTo>
                  <a:pt x="4213" y="2716"/>
                </a:lnTo>
                <a:lnTo>
                  <a:pt x="4213" y="2716"/>
                </a:lnTo>
                <a:lnTo>
                  <a:pt x="4213" y="2716"/>
                </a:lnTo>
                <a:lnTo>
                  <a:pt x="4213" y="2722"/>
                </a:lnTo>
                <a:lnTo>
                  <a:pt x="4213" y="2722"/>
                </a:lnTo>
                <a:lnTo>
                  <a:pt x="4213" y="2722"/>
                </a:lnTo>
                <a:lnTo>
                  <a:pt x="4219" y="2722"/>
                </a:lnTo>
                <a:lnTo>
                  <a:pt x="4219" y="2728"/>
                </a:lnTo>
                <a:lnTo>
                  <a:pt x="4219" y="2728"/>
                </a:lnTo>
                <a:lnTo>
                  <a:pt x="4213" y="2728"/>
                </a:lnTo>
                <a:lnTo>
                  <a:pt x="4213" y="2734"/>
                </a:lnTo>
                <a:lnTo>
                  <a:pt x="4213" y="2734"/>
                </a:lnTo>
                <a:lnTo>
                  <a:pt x="4213" y="2734"/>
                </a:lnTo>
                <a:lnTo>
                  <a:pt x="4213" y="2734"/>
                </a:lnTo>
                <a:lnTo>
                  <a:pt x="4207" y="2734"/>
                </a:lnTo>
                <a:lnTo>
                  <a:pt x="4207" y="2734"/>
                </a:lnTo>
                <a:lnTo>
                  <a:pt x="4207" y="2740"/>
                </a:lnTo>
                <a:lnTo>
                  <a:pt x="4207" y="2740"/>
                </a:lnTo>
                <a:lnTo>
                  <a:pt x="4207" y="2740"/>
                </a:lnTo>
                <a:lnTo>
                  <a:pt x="4207" y="2740"/>
                </a:lnTo>
                <a:lnTo>
                  <a:pt x="4207" y="2740"/>
                </a:lnTo>
                <a:lnTo>
                  <a:pt x="4207" y="2740"/>
                </a:lnTo>
                <a:lnTo>
                  <a:pt x="4207" y="2740"/>
                </a:lnTo>
                <a:lnTo>
                  <a:pt x="4207" y="2740"/>
                </a:lnTo>
                <a:lnTo>
                  <a:pt x="4207" y="2746"/>
                </a:lnTo>
                <a:lnTo>
                  <a:pt x="4201" y="2746"/>
                </a:lnTo>
                <a:lnTo>
                  <a:pt x="4201" y="2746"/>
                </a:lnTo>
                <a:lnTo>
                  <a:pt x="4201" y="2746"/>
                </a:lnTo>
                <a:lnTo>
                  <a:pt x="4201" y="2746"/>
                </a:lnTo>
                <a:lnTo>
                  <a:pt x="4201" y="2752"/>
                </a:lnTo>
                <a:lnTo>
                  <a:pt x="4201" y="2752"/>
                </a:lnTo>
                <a:lnTo>
                  <a:pt x="4201" y="2752"/>
                </a:lnTo>
                <a:lnTo>
                  <a:pt x="4195" y="2752"/>
                </a:lnTo>
                <a:lnTo>
                  <a:pt x="4195" y="2752"/>
                </a:lnTo>
                <a:lnTo>
                  <a:pt x="4195" y="2752"/>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201" y="2758"/>
                </a:lnTo>
                <a:lnTo>
                  <a:pt x="4201" y="2758"/>
                </a:lnTo>
                <a:lnTo>
                  <a:pt x="4195" y="2758"/>
                </a:lnTo>
                <a:lnTo>
                  <a:pt x="4195" y="2758"/>
                </a:lnTo>
                <a:lnTo>
                  <a:pt x="4195" y="2758"/>
                </a:lnTo>
                <a:lnTo>
                  <a:pt x="4195" y="2758"/>
                </a:lnTo>
                <a:lnTo>
                  <a:pt x="4195" y="2758"/>
                </a:lnTo>
                <a:lnTo>
                  <a:pt x="4190" y="2758"/>
                </a:lnTo>
                <a:lnTo>
                  <a:pt x="4195" y="2758"/>
                </a:lnTo>
                <a:lnTo>
                  <a:pt x="4195" y="2758"/>
                </a:lnTo>
                <a:lnTo>
                  <a:pt x="4195" y="2758"/>
                </a:lnTo>
                <a:lnTo>
                  <a:pt x="4195" y="2758"/>
                </a:lnTo>
                <a:lnTo>
                  <a:pt x="4195" y="2764"/>
                </a:lnTo>
                <a:lnTo>
                  <a:pt x="4195" y="2764"/>
                </a:lnTo>
                <a:lnTo>
                  <a:pt x="4195" y="2764"/>
                </a:lnTo>
                <a:lnTo>
                  <a:pt x="4195" y="2764"/>
                </a:lnTo>
                <a:lnTo>
                  <a:pt x="4190" y="2764"/>
                </a:lnTo>
                <a:lnTo>
                  <a:pt x="4190" y="2758"/>
                </a:lnTo>
                <a:lnTo>
                  <a:pt x="4190" y="2758"/>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84" y="2764"/>
                </a:lnTo>
                <a:lnTo>
                  <a:pt x="4184" y="2764"/>
                </a:lnTo>
                <a:lnTo>
                  <a:pt x="4184" y="2764"/>
                </a:lnTo>
                <a:lnTo>
                  <a:pt x="4184" y="2764"/>
                </a:lnTo>
                <a:lnTo>
                  <a:pt x="4184" y="2758"/>
                </a:lnTo>
                <a:lnTo>
                  <a:pt x="4184" y="2758"/>
                </a:lnTo>
                <a:lnTo>
                  <a:pt x="4184" y="2758"/>
                </a:lnTo>
                <a:lnTo>
                  <a:pt x="4184" y="2764"/>
                </a:lnTo>
                <a:lnTo>
                  <a:pt x="4184" y="2764"/>
                </a:lnTo>
                <a:lnTo>
                  <a:pt x="4184" y="2770"/>
                </a:lnTo>
                <a:lnTo>
                  <a:pt x="4184" y="2770"/>
                </a:lnTo>
                <a:lnTo>
                  <a:pt x="4190" y="2770"/>
                </a:lnTo>
                <a:lnTo>
                  <a:pt x="4190" y="2770"/>
                </a:lnTo>
                <a:lnTo>
                  <a:pt x="4190" y="2770"/>
                </a:lnTo>
                <a:lnTo>
                  <a:pt x="4190" y="2770"/>
                </a:lnTo>
                <a:lnTo>
                  <a:pt x="4195" y="2770"/>
                </a:lnTo>
                <a:lnTo>
                  <a:pt x="4195" y="2776"/>
                </a:lnTo>
                <a:lnTo>
                  <a:pt x="4201" y="2776"/>
                </a:lnTo>
                <a:lnTo>
                  <a:pt x="4201" y="2782"/>
                </a:lnTo>
                <a:lnTo>
                  <a:pt x="4201" y="2782"/>
                </a:lnTo>
                <a:lnTo>
                  <a:pt x="4201" y="2788"/>
                </a:lnTo>
                <a:lnTo>
                  <a:pt x="4201" y="2788"/>
                </a:lnTo>
                <a:lnTo>
                  <a:pt x="4201" y="2788"/>
                </a:lnTo>
                <a:lnTo>
                  <a:pt x="4201" y="2788"/>
                </a:lnTo>
                <a:lnTo>
                  <a:pt x="4201" y="2788"/>
                </a:lnTo>
                <a:lnTo>
                  <a:pt x="4201" y="2788"/>
                </a:lnTo>
                <a:lnTo>
                  <a:pt x="4201" y="2788"/>
                </a:lnTo>
                <a:lnTo>
                  <a:pt x="4201" y="2788"/>
                </a:lnTo>
                <a:lnTo>
                  <a:pt x="4201" y="2794"/>
                </a:lnTo>
                <a:lnTo>
                  <a:pt x="4201" y="2794"/>
                </a:lnTo>
                <a:lnTo>
                  <a:pt x="4207" y="2794"/>
                </a:lnTo>
                <a:lnTo>
                  <a:pt x="4207" y="2794"/>
                </a:lnTo>
                <a:lnTo>
                  <a:pt x="4207" y="2794"/>
                </a:lnTo>
                <a:lnTo>
                  <a:pt x="4207" y="2794"/>
                </a:lnTo>
                <a:lnTo>
                  <a:pt x="4207" y="2794"/>
                </a:lnTo>
                <a:lnTo>
                  <a:pt x="4207" y="2794"/>
                </a:lnTo>
                <a:lnTo>
                  <a:pt x="4207" y="2794"/>
                </a:lnTo>
                <a:lnTo>
                  <a:pt x="4207" y="2799"/>
                </a:lnTo>
                <a:lnTo>
                  <a:pt x="4207" y="2799"/>
                </a:lnTo>
                <a:lnTo>
                  <a:pt x="4207" y="2799"/>
                </a:lnTo>
                <a:lnTo>
                  <a:pt x="4207" y="2794"/>
                </a:lnTo>
                <a:lnTo>
                  <a:pt x="4207" y="2799"/>
                </a:lnTo>
                <a:lnTo>
                  <a:pt x="4207" y="2799"/>
                </a:lnTo>
                <a:lnTo>
                  <a:pt x="4207" y="2799"/>
                </a:lnTo>
                <a:lnTo>
                  <a:pt x="4207" y="2805"/>
                </a:lnTo>
                <a:lnTo>
                  <a:pt x="4207" y="2805"/>
                </a:lnTo>
                <a:lnTo>
                  <a:pt x="4207" y="2805"/>
                </a:lnTo>
                <a:lnTo>
                  <a:pt x="4213" y="2811"/>
                </a:lnTo>
                <a:lnTo>
                  <a:pt x="4219" y="2823"/>
                </a:lnTo>
                <a:lnTo>
                  <a:pt x="4219" y="2829"/>
                </a:lnTo>
                <a:lnTo>
                  <a:pt x="4219" y="2829"/>
                </a:lnTo>
                <a:lnTo>
                  <a:pt x="4219" y="2829"/>
                </a:lnTo>
                <a:lnTo>
                  <a:pt x="4219" y="2829"/>
                </a:lnTo>
                <a:lnTo>
                  <a:pt x="4219" y="2829"/>
                </a:lnTo>
                <a:lnTo>
                  <a:pt x="4219" y="2829"/>
                </a:lnTo>
                <a:lnTo>
                  <a:pt x="4219" y="2829"/>
                </a:lnTo>
                <a:lnTo>
                  <a:pt x="4219" y="2829"/>
                </a:lnTo>
                <a:lnTo>
                  <a:pt x="4219" y="2823"/>
                </a:lnTo>
                <a:lnTo>
                  <a:pt x="4219" y="2823"/>
                </a:lnTo>
                <a:lnTo>
                  <a:pt x="4219" y="2823"/>
                </a:lnTo>
                <a:lnTo>
                  <a:pt x="4225" y="2829"/>
                </a:lnTo>
                <a:lnTo>
                  <a:pt x="4225" y="2835"/>
                </a:lnTo>
                <a:lnTo>
                  <a:pt x="4225" y="2835"/>
                </a:lnTo>
                <a:lnTo>
                  <a:pt x="4225" y="2835"/>
                </a:lnTo>
                <a:lnTo>
                  <a:pt x="4231" y="2835"/>
                </a:lnTo>
                <a:lnTo>
                  <a:pt x="4231" y="2835"/>
                </a:lnTo>
                <a:lnTo>
                  <a:pt x="4231" y="2841"/>
                </a:lnTo>
                <a:lnTo>
                  <a:pt x="4231" y="2841"/>
                </a:lnTo>
                <a:lnTo>
                  <a:pt x="4231" y="2841"/>
                </a:lnTo>
                <a:lnTo>
                  <a:pt x="4231" y="2841"/>
                </a:lnTo>
                <a:lnTo>
                  <a:pt x="4231" y="2841"/>
                </a:lnTo>
                <a:lnTo>
                  <a:pt x="4231" y="2841"/>
                </a:lnTo>
                <a:lnTo>
                  <a:pt x="4231" y="2841"/>
                </a:lnTo>
                <a:lnTo>
                  <a:pt x="4231" y="2841"/>
                </a:lnTo>
                <a:lnTo>
                  <a:pt x="4237" y="2841"/>
                </a:lnTo>
                <a:lnTo>
                  <a:pt x="4237" y="2841"/>
                </a:lnTo>
                <a:lnTo>
                  <a:pt x="4237" y="2841"/>
                </a:lnTo>
                <a:lnTo>
                  <a:pt x="4237" y="2841"/>
                </a:lnTo>
                <a:lnTo>
                  <a:pt x="4237" y="2841"/>
                </a:lnTo>
                <a:lnTo>
                  <a:pt x="4237" y="2841"/>
                </a:lnTo>
                <a:lnTo>
                  <a:pt x="4237" y="2841"/>
                </a:lnTo>
                <a:lnTo>
                  <a:pt x="4237" y="2841"/>
                </a:lnTo>
                <a:lnTo>
                  <a:pt x="4237" y="2841"/>
                </a:lnTo>
                <a:lnTo>
                  <a:pt x="4237" y="2841"/>
                </a:lnTo>
                <a:lnTo>
                  <a:pt x="4237" y="2841"/>
                </a:lnTo>
                <a:lnTo>
                  <a:pt x="4237" y="2841"/>
                </a:lnTo>
                <a:lnTo>
                  <a:pt x="4237" y="2841"/>
                </a:lnTo>
                <a:lnTo>
                  <a:pt x="4243" y="2841"/>
                </a:lnTo>
                <a:lnTo>
                  <a:pt x="4243" y="2841"/>
                </a:lnTo>
                <a:lnTo>
                  <a:pt x="4243" y="2841"/>
                </a:lnTo>
                <a:lnTo>
                  <a:pt x="4243" y="2841"/>
                </a:lnTo>
                <a:lnTo>
                  <a:pt x="4243" y="2835"/>
                </a:lnTo>
                <a:lnTo>
                  <a:pt x="4237" y="2829"/>
                </a:lnTo>
                <a:lnTo>
                  <a:pt x="4237" y="2829"/>
                </a:lnTo>
                <a:lnTo>
                  <a:pt x="4237" y="2829"/>
                </a:lnTo>
                <a:lnTo>
                  <a:pt x="4237" y="2823"/>
                </a:lnTo>
                <a:lnTo>
                  <a:pt x="4237" y="2823"/>
                </a:lnTo>
                <a:lnTo>
                  <a:pt x="4237" y="2823"/>
                </a:lnTo>
                <a:lnTo>
                  <a:pt x="4231" y="2823"/>
                </a:lnTo>
                <a:lnTo>
                  <a:pt x="4231" y="2823"/>
                </a:lnTo>
                <a:lnTo>
                  <a:pt x="4231" y="2817"/>
                </a:lnTo>
                <a:lnTo>
                  <a:pt x="4231" y="2817"/>
                </a:lnTo>
                <a:lnTo>
                  <a:pt x="4231" y="2817"/>
                </a:lnTo>
                <a:lnTo>
                  <a:pt x="4231" y="2817"/>
                </a:lnTo>
                <a:lnTo>
                  <a:pt x="4231" y="2817"/>
                </a:lnTo>
                <a:lnTo>
                  <a:pt x="4231" y="2823"/>
                </a:lnTo>
                <a:lnTo>
                  <a:pt x="4237" y="2823"/>
                </a:lnTo>
                <a:lnTo>
                  <a:pt x="4237" y="2823"/>
                </a:lnTo>
                <a:lnTo>
                  <a:pt x="4237" y="2823"/>
                </a:lnTo>
                <a:lnTo>
                  <a:pt x="4237" y="2823"/>
                </a:lnTo>
                <a:lnTo>
                  <a:pt x="4237" y="2823"/>
                </a:lnTo>
                <a:lnTo>
                  <a:pt x="4237" y="2823"/>
                </a:lnTo>
                <a:lnTo>
                  <a:pt x="4237" y="2823"/>
                </a:lnTo>
                <a:lnTo>
                  <a:pt x="4237" y="2823"/>
                </a:lnTo>
                <a:lnTo>
                  <a:pt x="4243" y="2829"/>
                </a:lnTo>
                <a:lnTo>
                  <a:pt x="4243" y="2829"/>
                </a:lnTo>
                <a:lnTo>
                  <a:pt x="4243" y="2823"/>
                </a:lnTo>
                <a:lnTo>
                  <a:pt x="4243" y="2823"/>
                </a:lnTo>
                <a:lnTo>
                  <a:pt x="4243" y="2823"/>
                </a:lnTo>
                <a:lnTo>
                  <a:pt x="4243" y="2823"/>
                </a:lnTo>
                <a:lnTo>
                  <a:pt x="4243" y="2823"/>
                </a:lnTo>
                <a:lnTo>
                  <a:pt x="4243" y="2823"/>
                </a:lnTo>
                <a:lnTo>
                  <a:pt x="4249" y="2823"/>
                </a:lnTo>
                <a:lnTo>
                  <a:pt x="4249" y="2823"/>
                </a:lnTo>
                <a:lnTo>
                  <a:pt x="4249" y="2823"/>
                </a:lnTo>
                <a:lnTo>
                  <a:pt x="4255" y="2823"/>
                </a:lnTo>
                <a:lnTo>
                  <a:pt x="4255" y="2817"/>
                </a:lnTo>
                <a:lnTo>
                  <a:pt x="4255" y="2817"/>
                </a:lnTo>
                <a:lnTo>
                  <a:pt x="4261" y="2817"/>
                </a:lnTo>
                <a:lnTo>
                  <a:pt x="4255" y="2823"/>
                </a:lnTo>
                <a:lnTo>
                  <a:pt x="4255" y="2823"/>
                </a:lnTo>
                <a:lnTo>
                  <a:pt x="4255" y="2823"/>
                </a:lnTo>
                <a:lnTo>
                  <a:pt x="4255" y="2823"/>
                </a:lnTo>
                <a:lnTo>
                  <a:pt x="4255" y="2823"/>
                </a:lnTo>
                <a:lnTo>
                  <a:pt x="4255" y="2823"/>
                </a:lnTo>
                <a:lnTo>
                  <a:pt x="4249" y="2829"/>
                </a:lnTo>
                <a:lnTo>
                  <a:pt x="4249" y="2829"/>
                </a:lnTo>
                <a:lnTo>
                  <a:pt x="4249" y="2829"/>
                </a:lnTo>
                <a:lnTo>
                  <a:pt x="4249" y="2829"/>
                </a:lnTo>
                <a:lnTo>
                  <a:pt x="4249" y="2829"/>
                </a:lnTo>
                <a:lnTo>
                  <a:pt x="4249" y="2835"/>
                </a:lnTo>
                <a:lnTo>
                  <a:pt x="4249" y="2835"/>
                </a:lnTo>
                <a:lnTo>
                  <a:pt x="4249" y="2835"/>
                </a:lnTo>
                <a:lnTo>
                  <a:pt x="4249" y="2835"/>
                </a:lnTo>
                <a:lnTo>
                  <a:pt x="4249" y="2835"/>
                </a:lnTo>
                <a:lnTo>
                  <a:pt x="4249" y="2835"/>
                </a:lnTo>
                <a:lnTo>
                  <a:pt x="4249" y="2841"/>
                </a:lnTo>
                <a:lnTo>
                  <a:pt x="4249" y="2847"/>
                </a:lnTo>
                <a:lnTo>
                  <a:pt x="4249" y="2853"/>
                </a:lnTo>
                <a:lnTo>
                  <a:pt x="4249" y="2853"/>
                </a:lnTo>
                <a:lnTo>
                  <a:pt x="4249" y="2859"/>
                </a:lnTo>
                <a:lnTo>
                  <a:pt x="4249" y="2859"/>
                </a:lnTo>
                <a:lnTo>
                  <a:pt x="4249" y="2865"/>
                </a:lnTo>
                <a:lnTo>
                  <a:pt x="4249" y="2865"/>
                </a:lnTo>
                <a:lnTo>
                  <a:pt x="4249" y="2865"/>
                </a:lnTo>
                <a:lnTo>
                  <a:pt x="4249" y="2865"/>
                </a:lnTo>
                <a:lnTo>
                  <a:pt x="4249" y="2871"/>
                </a:lnTo>
                <a:lnTo>
                  <a:pt x="4255" y="2871"/>
                </a:lnTo>
                <a:lnTo>
                  <a:pt x="4255" y="2871"/>
                </a:lnTo>
                <a:lnTo>
                  <a:pt x="4255" y="2871"/>
                </a:lnTo>
                <a:lnTo>
                  <a:pt x="4255" y="2871"/>
                </a:lnTo>
                <a:lnTo>
                  <a:pt x="4255" y="2871"/>
                </a:lnTo>
                <a:lnTo>
                  <a:pt x="4255" y="2871"/>
                </a:lnTo>
                <a:lnTo>
                  <a:pt x="4255" y="2871"/>
                </a:lnTo>
                <a:lnTo>
                  <a:pt x="4261" y="2871"/>
                </a:lnTo>
                <a:lnTo>
                  <a:pt x="4261" y="2871"/>
                </a:lnTo>
                <a:lnTo>
                  <a:pt x="4261" y="2871"/>
                </a:lnTo>
                <a:lnTo>
                  <a:pt x="4267" y="2859"/>
                </a:lnTo>
                <a:lnTo>
                  <a:pt x="4267" y="2859"/>
                </a:lnTo>
                <a:lnTo>
                  <a:pt x="4267" y="2859"/>
                </a:lnTo>
                <a:lnTo>
                  <a:pt x="4267" y="2853"/>
                </a:lnTo>
                <a:lnTo>
                  <a:pt x="4267" y="2853"/>
                </a:lnTo>
                <a:lnTo>
                  <a:pt x="4273" y="2853"/>
                </a:lnTo>
                <a:lnTo>
                  <a:pt x="4273" y="2853"/>
                </a:lnTo>
                <a:lnTo>
                  <a:pt x="4273" y="2853"/>
                </a:lnTo>
                <a:lnTo>
                  <a:pt x="4278" y="2853"/>
                </a:lnTo>
                <a:lnTo>
                  <a:pt x="4278" y="2853"/>
                </a:lnTo>
                <a:lnTo>
                  <a:pt x="4278" y="2853"/>
                </a:lnTo>
                <a:lnTo>
                  <a:pt x="4278" y="2853"/>
                </a:lnTo>
                <a:lnTo>
                  <a:pt x="4278" y="2853"/>
                </a:lnTo>
                <a:lnTo>
                  <a:pt x="4278" y="2853"/>
                </a:lnTo>
                <a:lnTo>
                  <a:pt x="4273" y="2853"/>
                </a:lnTo>
                <a:lnTo>
                  <a:pt x="4273" y="2853"/>
                </a:lnTo>
                <a:lnTo>
                  <a:pt x="4273" y="2853"/>
                </a:lnTo>
                <a:lnTo>
                  <a:pt x="4273" y="2853"/>
                </a:lnTo>
                <a:lnTo>
                  <a:pt x="4273" y="2853"/>
                </a:lnTo>
                <a:lnTo>
                  <a:pt x="4273" y="2853"/>
                </a:lnTo>
                <a:lnTo>
                  <a:pt x="4273" y="2859"/>
                </a:lnTo>
                <a:lnTo>
                  <a:pt x="4267" y="2859"/>
                </a:lnTo>
                <a:lnTo>
                  <a:pt x="4267" y="2865"/>
                </a:lnTo>
                <a:lnTo>
                  <a:pt x="4267" y="2865"/>
                </a:lnTo>
                <a:lnTo>
                  <a:pt x="4267" y="2865"/>
                </a:lnTo>
                <a:lnTo>
                  <a:pt x="4267" y="2871"/>
                </a:lnTo>
                <a:lnTo>
                  <a:pt x="4261" y="2871"/>
                </a:lnTo>
                <a:lnTo>
                  <a:pt x="4261" y="2871"/>
                </a:lnTo>
                <a:lnTo>
                  <a:pt x="4261" y="2871"/>
                </a:lnTo>
                <a:lnTo>
                  <a:pt x="4261" y="2871"/>
                </a:lnTo>
                <a:lnTo>
                  <a:pt x="4261" y="2871"/>
                </a:lnTo>
                <a:lnTo>
                  <a:pt x="4261" y="2871"/>
                </a:lnTo>
                <a:lnTo>
                  <a:pt x="4255" y="2871"/>
                </a:lnTo>
                <a:lnTo>
                  <a:pt x="4255" y="2871"/>
                </a:lnTo>
                <a:lnTo>
                  <a:pt x="4255" y="2871"/>
                </a:lnTo>
                <a:lnTo>
                  <a:pt x="4255" y="2871"/>
                </a:lnTo>
                <a:lnTo>
                  <a:pt x="4255" y="2871"/>
                </a:lnTo>
                <a:lnTo>
                  <a:pt x="4255" y="2871"/>
                </a:lnTo>
                <a:lnTo>
                  <a:pt x="4255" y="2871"/>
                </a:lnTo>
                <a:lnTo>
                  <a:pt x="4255" y="2877"/>
                </a:lnTo>
                <a:lnTo>
                  <a:pt x="4255" y="2877"/>
                </a:lnTo>
                <a:lnTo>
                  <a:pt x="4255" y="2877"/>
                </a:lnTo>
                <a:lnTo>
                  <a:pt x="4255" y="2877"/>
                </a:lnTo>
                <a:lnTo>
                  <a:pt x="4255" y="2877"/>
                </a:lnTo>
                <a:lnTo>
                  <a:pt x="4255" y="2877"/>
                </a:lnTo>
                <a:lnTo>
                  <a:pt x="4255" y="2877"/>
                </a:lnTo>
                <a:lnTo>
                  <a:pt x="4261" y="2877"/>
                </a:lnTo>
                <a:lnTo>
                  <a:pt x="4261" y="2877"/>
                </a:lnTo>
                <a:lnTo>
                  <a:pt x="4261" y="2877"/>
                </a:lnTo>
                <a:lnTo>
                  <a:pt x="4267" y="2877"/>
                </a:lnTo>
                <a:lnTo>
                  <a:pt x="4267" y="2877"/>
                </a:lnTo>
                <a:lnTo>
                  <a:pt x="4267" y="2882"/>
                </a:lnTo>
                <a:lnTo>
                  <a:pt x="4267" y="2882"/>
                </a:lnTo>
                <a:lnTo>
                  <a:pt x="4267" y="2882"/>
                </a:lnTo>
                <a:lnTo>
                  <a:pt x="4267" y="2882"/>
                </a:lnTo>
                <a:lnTo>
                  <a:pt x="4267" y="2877"/>
                </a:lnTo>
                <a:lnTo>
                  <a:pt x="4267" y="2877"/>
                </a:lnTo>
                <a:lnTo>
                  <a:pt x="4267" y="2877"/>
                </a:lnTo>
                <a:lnTo>
                  <a:pt x="4267" y="2877"/>
                </a:lnTo>
                <a:lnTo>
                  <a:pt x="4273" y="2882"/>
                </a:lnTo>
                <a:lnTo>
                  <a:pt x="4273" y="2882"/>
                </a:lnTo>
                <a:lnTo>
                  <a:pt x="4273" y="2882"/>
                </a:lnTo>
                <a:lnTo>
                  <a:pt x="4273" y="2888"/>
                </a:lnTo>
                <a:lnTo>
                  <a:pt x="4273" y="2888"/>
                </a:lnTo>
                <a:lnTo>
                  <a:pt x="4273" y="2888"/>
                </a:lnTo>
                <a:lnTo>
                  <a:pt x="4273" y="2888"/>
                </a:lnTo>
                <a:lnTo>
                  <a:pt x="4273" y="2888"/>
                </a:lnTo>
                <a:lnTo>
                  <a:pt x="4273" y="2894"/>
                </a:lnTo>
                <a:lnTo>
                  <a:pt x="4273" y="2900"/>
                </a:lnTo>
                <a:lnTo>
                  <a:pt x="4273" y="2900"/>
                </a:lnTo>
                <a:lnTo>
                  <a:pt x="4273" y="2900"/>
                </a:lnTo>
                <a:lnTo>
                  <a:pt x="4273" y="2900"/>
                </a:lnTo>
                <a:lnTo>
                  <a:pt x="4273" y="2900"/>
                </a:lnTo>
                <a:lnTo>
                  <a:pt x="4273" y="2900"/>
                </a:lnTo>
                <a:lnTo>
                  <a:pt x="4273" y="2900"/>
                </a:lnTo>
                <a:lnTo>
                  <a:pt x="4273" y="2912"/>
                </a:lnTo>
                <a:lnTo>
                  <a:pt x="4273" y="2912"/>
                </a:lnTo>
                <a:lnTo>
                  <a:pt x="4278" y="2918"/>
                </a:lnTo>
                <a:lnTo>
                  <a:pt x="4278" y="2918"/>
                </a:lnTo>
                <a:lnTo>
                  <a:pt x="4278" y="2918"/>
                </a:lnTo>
                <a:lnTo>
                  <a:pt x="4278" y="2918"/>
                </a:lnTo>
                <a:lnTo>
                  <a:pt x="4278" y="2918"/>
                </a:lnTo>
                <a:lnTo>
                  <a:pt x="4278" y="2918"/>
                </a:lnTo>
                <a:lnTo>
                  <a:pt x="4278" y="2918"/>
                </a:lnTo>
                <a:lnTo>
                  <a:pt x="4278" y="2912"/>
                </a:lnTo>
                <a:lnTo>
                  <a:pt x="4278" y="2912"/>
                </a:lnTo>
                <a:lnTo>
                  <a:pt x="4278" y="2924"/>
                </a:lnTo>
                <a:lnTo>
                  <a:pt x="4278" y="2924"/>
                </a:lnTo>
                <a:lnTo>
                  <a:pt x="4284" y="2930"/>
                </a:lnTo>
                <a:lnTo>
                  <a:pt x="4284" y="2930"/>
                </a:lnTo>
                <a:lnTo>
                  <a:pt x="4284" y="2930"/>
                </a:lnTo>
                <a:lnTo>
                  <a:pt x="4284" y="2930"/>
                </a:lnTo>
                <a:lnTo>
                  <a:pt x="4284" y="2930"/>
                </a:lnTo>
                <a:lnTo>
                  <a:pt x="4284" y="2930"/>
                </a:lnTo>
                <a:lnTo>
                  <a:pt x="4284" y="2930"/>
                </a:lnTo>
                <a:lnTo>
                  <a:pt x="4284" y="2930"/>
                </a:lnTo>
                <a:lnTo>
                  <a:pt x="4290" y="2930"/>
                </a:lnTo>
                <a:lnTo>
                  <a:pt x="4290" y="2930"/>
                </a:lnTo>
                <a:lnTo>
                  <a:pt x="4290" y="2930"/>
                </a:lnTo>
                <a:lnTo>
                  <a:pt x="4290" y="2936"/>
                </a:lnTo>
                <a:lnTo>
                  <a:pt x="4290" y="2936"/>
                </a:lnTo>
                <a:lnTo>
                  <a:pt x="4284" y="2936"/>
                </a:lnTo>
                <a:lnTo>
                  <a:pt x="4284" y="2936"/>
                </a:lnTo>
                <a:lnTo>
                  <a:pt x="4284" y="2936"/>
                </a:lnTo>
                <a:lnTo>
                  <a:pt x="4284" y="2936"/>
                </a:lnTo>
                <a:lnTo>
                  <a:pt x="4284" y="2936"/>
                </a:lnTo>
                <a:lnTo>
                  <a:pt x="4284" y="2936"/>
                </a:lnTo>
                <a:lnTo>
                  <a:pt x="4284" y="2936"/>
                </a:lnTo>
                <a:lnTo>
                  <a:pt x="4284" y="2936"/>
                </a:lnTo>
                <a:lnTo>
                  <a:pt x="4284" y="2936"/>
                </a:lnTo>
                <a:lnTo>
                  <a:pt x="4284" y="2936"/>
                </a:lnTo>
                <a:lnTo>
                  <a:pt x="4284" y="2936"/>
                </a:lnTo>
                <a:lnTo>
                  <a:pt x="4284" y="2942"/>
                </a:lnTo>
                <a:lnTo>
                  <a:pt x="4284" y="2942"/>
                </a:lnTo>
                <a:lnTo>
                  <a:pt x="4284" y="2942"/>
                </a:lnTo>
                <a:lnTo>
                  <a:pt x="4284" y="2942"/>
                </a:lnTo>
                <a:lnTo>
                  <a:pt x="4284" y="2942"/>
                </a:lnTo>
                <a:lnTo>
                  <a:pt x="4284" y="2942"/>
                </a:lnTo>
                <a:lnTo>
                  <a:pt x="4284" y="2942"/>
                </a:lnTo>
                <a:lnTo>
                  <a:pt x="4284" y="2942"/>
                </a:lnTo>
                <a:lnTo>
                  <a:pt x="4284" y="2942"/>
                </a:lnTo>
                <a:lnTo>
                  <a:pt x="4284" y="2942"/>
                </a:lnTo>
                <a:lnTo>
                  <a:pt x="4284" y="2942"/>
                </a:lnTo>
                <a:lnTo>
                  <a:pt x="4284" y="2936"/>
                </a:lnTo>
                <a:lnTo>
                  <a:pt x="4284" y="2936"/>
                </a:lnTo>
                <a:lnTo>
                  <a:pt x="4284" y="2936"/>
                </a:lnTo>
                <a:lnTo>
                  <a:pt x="4284" y="2936"/>
                </a:lnTo>
                <a:lnTo>
                  <a:pt x="4284" y="2936"/>
                </a:lnTo>
                <a:lnTo>
                  <a:pt x="4290" y="2936"/>
                </a:lnTo>
                <a:lnTo>
                  <a:pt x="4290" y="2942"/>
                </a:lnTo>
                <a:lnTo>
                  <a:pt x="4290" y="2936"/>
                </a:lnTo>
                <a:lnTo>
                  <a:pt x="4290" y="2936"/>
                </a:lnTo>
                <a:lnTo>
                  <a:pt x="4290" y="2936"/>
                </a:lnTo>
                <a:lnTo>
                  <a:pt x="4296" y="2936"/>
                </a:lnTo>
                <a:lnTo>
                  <a:pt x="4296" y="2936"/>
                </a:lnTo>
                <a:lnTo>
                  <a:pt x="4296" y="2936"/>
                </a:lnTo>
                <a:lnTo>
                  <a:pt x="4296" y="2936"/>
                </a:lnTo>
                <a:lnTo>
                  <a:pt x="4296" y="2936"/>
                </a:lnTo>
                <a:lnTo>
                  <a:pt x="4296" y="2936"/>
                </a:lnTo>
                <a:lnTo>
                  <a:pt x="4296" y="2936"/>
                </a:lnTo>
                <a:lnTo>
                  <a:pt x="4296" y="2936"/>
                </a:lnTo>
                <a:lnTo>
                  <a:pt x="4296" y="2936"/>
                </a:lnTo>
                <a:lnTo>
                  <a:pt x="4296" y="2936"/>
                </a:lnTo>
                <a:lnTo>
                  <a:pt x="4296" y="2942"/>
                </a:lnTo>
                <a:lnTo>
                  <a:pt x="4296" y="2942"/>
                </a:lnTo>
                <a:lnTo>
                  <a:pt x="4296" y="2942"/>
                </a:lnTo>
                <a:lnTo>
                  <a:pt x="4296" y="2942"/>
                </a:lnTo>
                <a:lnTo>
                  <a:pt x="4296" y="2942"/>
                </a:lnTo>
                <a:lnTo>
                  <a:pt x="4296" y="2942"/>
                </a:lnTo>
                <a:lnTo>
                  <a:pt x="4296" y="2942"/>
                </a:lnTo>
                <a:lnTo>
                  <a:pt x="4296" y="2942"/>
                </a:lnTo>
                <a:lnTo>
                  <a:pt x="4296" y="2942"/>
                </a:lnTo>
                <a:lnTo>
                  <a:pt x="4302" y="2936"/>
                </a:lnTo>
                <a:lnTo>
                  <a:pt x="4302" y="2942"/>
                </a:lnTo>
                <a:lnTo>
                  <a:pt x="4302" y="2942"/>
                </a:lnTo>
                <a:lnTo>
                  <a:pt x="4302" y="2942"/>
                </a:lnTo>
                <a:lnTo>
                  <a:pt x="4302" y="2942"/>
                </a:lnTo>
                <a:lnTo>
                  <a:pt x="4302" y="2942"/>
                </a:lnTo>
                <a:lnTo>
                  <a:pt x="4302" y="2942"/>
                </a:lnTo>
                <a:lnTo>
                  <a:pt x="4308" y="2942"/>
                </a:lnTo>
                <a:lnTo>
                  <a:pt x="4308" y="2942"/>
                </a:lnTo>
                <a:lnTo>
                  <a:pt x="4308" y="2942"/>
                </a:lnTo>
                <a:lnTo>
                  <a:pt x="4308" y="2942"/>
                </a:lnTo>
                <a:lnTo>
                  <a:pt x="4308" y="2942"/>
                </a:lnTo>
                <a:lnTo>
                  <a:pt x="4308" y="2942"/>
                </a:lnTo>
                <a:lnTo>
                  <a:pt x="4314" y="2948"/>
                </a:lnTo>
                <a:lnTo>
                  <a:pt x="4314" y="2948"/>
                </a:lnTo>
                <a:lnTo>
                  <a:pt x="4314" y="2948"/>
                </a:lnTo>
                <a:lnTo>
                  <a:pt x="4320" y="2948"/>
                </a:lnTo>
                <a:lnTo>
                  <a:pt x="4320" y="2948"/>
                </a:lnTo>
                <a:lnTo>
                  <a:pt x="4320" y="2954"/>
                </a:lnTo>
                <a:lnTo>
                  <a:pt x="4320" y="2954"/>
                </a:lnTo>
                <a:lnTo>
                  <a:pt x="4320" y="2954"/>
                </a:lnTo>
                <a:lnTo>
                  <a:pt x="4326" y="2954"/>
                </a:lnTo>
                <a:lnTo>
                  <a:pt x="4320" y="2954"/>
                </a:lnTo>
                <a:lnTo>
                  <a:pt x="4320" y="2960"/>
                </a:lnTo>
                <a:lnTo>
                  <a:pt x="4320" y="2960"/>
                </a:lnTo>
                <a:lnTo>
                  <a:pt x="4320" y="2960"/>
                </a:lnTo>
                <a:lnTo>
                  <a:pt x="4320" y="2960"/>
                </a:lnTo>
                <a:lnTo>
                  <a:pt x="4320" y="2960"/>
                </a:lnTo>
                <a:lnTo>
                  <a:pt x="4326" y="2960"/>
                </a:lnTo>
                <a:lnTo>
                  <a:pt x="4326" y="2960"/>
                </a:lnTo>
                <a:lnTo>
                  <a:pt x="4326" y="2966"/>
                </a:lnTo>
                <a:lnTo>
                  <a:pt x="4326" y="2966"/>
                </a:lnTo>
                <a:lnTo>
                  <a:pt x="4326" y="2966"/>
                </a:lnTo>
                <a:lnTo>
                  <a:pt x="4326" y="2966"/>
                </a:lnTo>
                <a:lnTo>
                  <a:pt x="4332" y="2966"/>
                </a:lnTo>
                <a:lnTo>
                  <a:pt x="4332" y="2966"/>
                </a:lnTo>
                <a:lnTo>
                  <a:pt x="4332" y="2971"/>
                </a:lnTo>
                <a:lnTo>
                  <a:pt x="4332" y="2977"/>
                </a:lnTo>
                <a:lnTo>
                  <a:pt x="4332" y="2977"/>
                </a:lnTo>
                <a:lnTo>
                  <a:pt x="4332" y="2977"/>
                </a:lnTo>
                <a:lnTo>
                  <a:pt x="4332" y="2977"/>
                </a:lnTo>
                <a:lnTo>
                  <a:pt x="4338" y="2977"/>
                </a:lnTo>
                <a:lnTo>
                  <a:pt x="4338" y="2977"/>
                </a:lnTo>
                <a:lnTo>
                  <a:pt x="4338" y="2977"/>
                </a:lnTo>
                <a:lnTo>
                  <a:pt x="4338" y="2977"/>
                </a:lnTo>
                <a:lnTo>
                  <a:pt x="4338" y="2977"/>
                </a:lnTo>
                <a:lnTo>
                  <a:pt x="4338" y="2983"/>
                </a:lnTo>
                <a:lnTo>
                  <a:pt x="4338" y="2983"/>
                </a:lnTo>
                <a:lnTo>
                  <a:pt x="4332" y="2983"/>
                </a:lnTo>
                <a:lnTo>
                  <a:pt x="4338" y="2983"/>
                </a:lnTo>
                <a:lnTo>
                  <a:pt x="4338" y="2989"/>
                </a:lnTo>
                <a:lnTo>
                  <a:pt x="4338" y="2989"/>
                </a:lnTo>
                <a:lnTo>
                  <a:pt x="4338" y="2995"/>
                </a:lnTo>
                <a:lnTo>
                  <a:pt x="4338" y="2995"/>
                </a:lnTo>
                <a:lnTo>
                  <a:pt x="4338" y="2995"/>
                </a:lnTo>
                <a:lnTo>
                  <a:pt x="4338" y="2995"/>
                </a:lnTo>
                <a:lnTo>
                  <a:pt x="4338" y="2995"/>
                </a:lnTo>
                <a:lnTo>
                  <a:pt x="4344" y="2995"/>
                </a:lnTo>
                <a:lnTo>
                  <a:pt x="4344" y="2995"/>
                </a:lnTo>
                <a:lnTo>
                  <a:pt x="4344" y="3001"/>
                </a:lnTo>
                <a:lnTo>
                  <a:pt x="4344" y="3001"/>
                </a:lnTo>
                <a:lnTo>
                  <a:pt x="4350" y="3001"/>
                </a:lnTo>
                <a:lnTo>
                  <a:pt x="4350" y="3001"/>
                </a:lnTo>
                <a:lnTo>
                  <a:pt x="4350" y="3001"/>
                </a:lnTo>
                <a:lnTo>
                  <a:pt x="4355" y="3007"/>
                </a:lnTo>
                <a:lnTo>
                  <a:pt x="4355" y="3007"/>
                </a:lnTo>
                <a:lnTo>
                  <a:pt x="4355" y="3007"/>
                </a:lnTo>
                <a:lnTo>
                  <a:pt x="4355" y="3007"/>
                </a:lnTo>
                <a:lnTo>
                  <a:pt x="4361" y="3013"/>
                </a:lnTo>
                <a:lnTo>
                  <a:pt x="4361" y="3013"/>
                </a:lnTo>
                <a:lnTo>
                  <a:pt x="4361" y="3013"/>
                </a:lnTo>
                <a:lnTo>
                  <a:pt x="4361" y="3013"/>
                </a:lnTo>
                <a:lnTo>
                  <a:pt x="4361" y="3013"/>
                </a:lnTo>
                <a:lnTo>
                  <a:pt x="4361" y="3019"/>
                </a:lnTo>
                <a:lnTo>
                  <a:pt x="4361" y="3019"/>
                </a:lnTo>
                <a:lnTo>
                  <a:pt x="4361" y="3019"/>
                </a:lnTo>
                <a:lnTo>
                  <a:pt x="4361" y="3019"/>
                </a:lnTo>
                <a:lnTo>
                  <a:pt x="4355" y="3019"/>
                </a:lnTo>
                <a:lnTo>
                  <a:pt x="4355" y="3019"/>
                </a:lnTo>
                <a:lnTo>
                  <a:pt x="4355" y="3019"/>
                </a:lnTo>
                <a:lnTo>
                  <a:pt x="4355" y="3013"/>
                </a:lnTo>
                <a:lnTo>
                  <a:pt x="4355" y="3013"/>
                </a:lnTo>
                <a:lnTo>
                  <a:pt x="4355" y="3013"/>
                </a:lnTo>
                <a:lnTo>
                  <a:pt x="4355" y="3013"/>
                </a:lnTo>
                <a:lnTo>
                  <a:pt x="4355" y="3013"/>
                </a:lnTo>
                <a:lnTo>
                  <a:pt x="4355" y="3013"/>
                </a:lnTo>
                <a:lnTo>
                  <a:pt x="4350" y="3013"/>
                </a:lnTo>
                <a:lnTo>
                  <a:pt x="4350" y="3013"/>
                </a:lnTo>
                <a:lnTo>
                  <a:pt x="4350" y="3013"/>
                </a:lnTo>
                <a:lnTo>
                  <a:pt x="4344" y="3007"/>
                </a:lnTo>
                <a:lnTo>
                  <a:pt x="4344" y="3007"/>
                </a:lnTo>
                <a:lnTo>
                  <a:pt x="4344" y="3007"/>
                </a:lnTo>
                <a:lnTo>
                  <a:pt x="4344" y="3007"/>
                </a:lnTo>
                <a:lnTo>
                  <a:pt x="4344" y="3001"/>
                </a:lnTo>
                <a:lnTo>
                  <a:pt x="4344" y="3001"/>
                </a:lnTo>
                <a:lnTo>
                  <a:pt x="4344" y="3001"/>
                </a:lnTo>
                <a:lnTo>
                  <a:pt x="4338" y="3001"/>
                </a:lnTo>
                <a:lnTo>
                  <a:pt x="4338" y="3007"/>
                </a:lnTo>
                <a:lnTo>
                  <a:pt x="4338" y="3013"/>
                </a:lnTo>
                <a:lnTo>
                  <a:pt x="4338" y="3013"/>
                </a:lnTo>
                <a:lnTo>
                  <a:pt x="4338" y="3019"/>
                </a:lnTo>
                <a:lnTo>
                  <a:pt x="4338" y="3019"/>
                </a:lnTo>
                <a:lnTo>
                  <a:pt x="4338" y="3019"/>
                </a:lnTo>
                <a:lnTo>
                  <a:pt x="4338" y="3025"/>
                </a:lnTo>
                <a:lnTo>
                  <a:pt x="4344" y="3025"/>
                </a:lnTo>
                <a:lnTo>
                  <a:pt x="4350" y="3025"/>
                </a:lnTo>
                <a:lnTo>
                  <a:pt x="4350" y="3025"/>
                </a:lnTo>
                <a:lnTo>
                  <a:pt x="4355" y="3025"/>
                </a:lnTo>
                <a:lnTo>
                  <a:pt x="4355" y="3025"/>
                </a:lnTo>
                <a:lnTo>
                  <a:pt x="4355" y="3025"/>
                </a:lnTo>
                <a:lnTo>
                  <a:pt x="4361" y="3025"/>
                </a:lnTo>
                <a:lnTo>
                  <a:pt x="4361" y="3025"/>
                </a:lnTo>
                <a:lnTo>
                  <a:pt x="4361" y="3025"/>
                </a:lnTo>
                <a:lnTo>
                  <a:pt x="4367" y="3025"/>
                </a:lnTo>
                <a:lnTo>
                  <a:pt x="4367" y="3019"/>
                </a:lnTo>
                <a:lnTo>
                  <a:pt x="4367" y="3019"/>
                </a:lnTo>
                <a:lnTo>
                  <a:pt x="4367" y="3019"/>
                </a:lnTo>
                <a:lnTo>
                  <a:pt x="4367" y="3019"/>
                </a:lnTo>
                <a:lnTo>
                  <a:pt x="4367" y="3019"/>
                </a:lnTo>
                <a:lnTo>
                  <a:pt x="4367" y="3019"/>
                </a:lnTo>
                <a:lnTo>
                  <a:pt x="4373" y="3019"/>
                </a:lnTo>
                <a:lnTo>
                  <a:pt x="4373" y="3019"/>
                </a:lnTo>
                <a:lnTo>
                  <a:pt x="4373" y="3019"/>
                </a:lnTo>
                <a:lnTo>
                  <a:pt x="4373" y="3025"/>
                </a:lnTo>
                <a:lnTo>
                  <a:pt x="4373" y="3025"/>
                </a:lnTo>
                <a:lnTo>
                  <a:pt x="4373" y="3025"/>
                </a:lnTo>
                <a:lnTo>
                  <a:pt x="4373" y="3025"/>
                </a:lnTo>
                <a:lnTo>
                  <a:pt x="4373" y="3025"/>
                </a:lnTo>
                <a:lnTo>
                  <a:pt x="4373" y="3025"/>
                </a:lnTo>
                <a:lnTo>
                  <a:pt x="4373"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85" y="3025"/>
                </a:lnTo>
                <a:lnTo>
                  <a:pt x="4385" y="3025"/>
                </a:lnTo>
                <a:lnTo>
                  <a:pt x="4385" y="3025"/>
                </a:lnTo>
                <a:lnTo>
                  <a:pt x="4385" y="3019"/>
                </a:lnTo>
                <a:lnTo>
                  <a:pt x="4391" y="3025"/>
                </a:lnTo>
                <a:lnTo>
                  <a:pt x="4391" y="3025"/>
                </a:lnTo>
                <a:lnTo>
                  <a:pt x="4391" y="3019"/>
                </a:lnTo>
                <a:lnTo>
                  <a:pt x="4391" y="3019"/>
                </a:lnTo>
                <a:lnTo>
                  <a:pt x="4391" y="3019"/>
                </a:lnTo>
                <a:lnTo>
                  <a:pt x="4391" y="3019"/>
                </a:lnTo>
                <a:lnTo>
                  <a:pt x="4391" y="3019"/>
                </a:lnTo>
                <a:lnTo>
                  <a:pt x="4391" y="3019"/>
                </a:lnTo>
                <a:lnTo>
                  <a:pt x="4391" y="3019"/>
                </a:lnTo>
                <a:lnTo>
                  <a:pt x="4391" y="3019"/>
                </a:lnTo>
                <a:lnTo>
                  <a:pt x="4391" y="3019"/>
                </a:lnTo>
                <a:lnTo>
                  <a:pt x="4391" y="3019"/>
                </a:lnTo>
                <a:lnTo>
                  <a:pt x="4391" y="3019"/>
                </a:lnTo>
                <a:lnTo>
                  <a:pt x="4391" y="3019"/>
                </a:lnTo>
                <a:lnTo>
                  <a:pt x="4397" y="3019"/>
                </a:lnTo>
                <a:lnTo>
                  <a:pt x="4397" y="3019"/>
                </a:lnTo>
                <a:lnTo>
                  <a:pt x="4397" y="3019"/>
                </a:lnTo>
                <a:lnTo>
                  <a:pt x="4397" y="3019"/>
                </a:lnTo>
                <a:lnTo>
                  <a:pt x="4397" y="3013"/>
                </a:lnTo>
                <a:lnTo>
                  <a:pt x="4397" y="3013"/>
                </a:lnTo>
                <a:lnTo>
                  <a:pt x="4397" y="3013"/>
                </a:lnTo>
                <a:lnTo>
                  <a:pt x="4397" y="3013"/>
                </a:lnTo>
                <a:lnTo>
                  <a:pt x="4403" y="3013"/>
                </a:lnTo>
                <a:lnTo>
                  <a:pt x="4403" y="3013"/>
                </a:lnTo>
                <a:lnTo>
                  <a:pt x="4403" y="3013"/>
                </a:lnTo>
                <a:lnTo>
                  <a:pt x="4403" y="3013"/>
                </a:lnTo>
                <a:lnTo>
                  <a:pt x="4403" y="3013"/>
                </a:lnTo>
                <a:lnTo>
                  <a:pt x="4403" y="3013"/>
                </a:lnTo>
                <a:lnTo>
                  <a:pt x="4403" y="3013"/>
                </a:lnTo>
                <a:lnTo>
                  <a:pt x="4403" y="3013"/>
                </a:lnTo>
                <a:lnTo>
                  <a:pt x="4403" y="3013"/>
                </a:lnTo>
                <a:lnTo>
                  <a:pt x="4403" y="3013"/>
                </a:lnTo>
                <a:lnTo>
                  <a:pt x="4403" y="3013"/>
                </a:lnTo>
                <a:lnTo>
                  <a:pt x="4403" y="3013"/>
                </a:lnTo>
                <a:lnTo>
                  <a:pt x="4403" y="3019"/>
                </a:lnTo>
                <a:lnTo>
                  <a:pt x="4403" y="3019"/>
                </a:lnTo>
                <a:lnTo>
                  <a:pt x="4403" y="3019"/>
                </a:lnTo>
                <a:lnTo>
                  <a:pt x="4403" y="3019"/>
                </a:lnTo>
                <a:lnTo>
                  <a:pt x="4403" y="3019"/>
                </a:lnTo>
                <a:lnTo>
                  <a:pt x="4403" y="3019"/>
                </a:lnTo>
                <a:lnTo>
                  <a:pt x="4403" y="3019"/>
                </a:lnTo>
                <a:lnTo>
                  <a:pt x="4403" y="3019"/>
                </a:lnTo>
                <a:lnTo>
                  <a:pt x="4403" y="3019"/>
                </a:lnTo>
                <a:lnTo>
                  <a:pt x="4409" y="3019"/>
                </a:lnTo>
                <a:lnTo>
                  <a:pt x="4409" y="3019"/>
                </a:lnTo>
                <a:lnTo>
                  <a:pt x="4409" y="3019"/>
                </a:lnTo>
                <a:lnTo>
                  <a:pt x="4409" y="3019"/>
                </a:lnTo>
                <a:lnTo>
                  <a:pt x="4409" y="3019"/>
                </a:lnTo>
                <a:lnTo>
                  <a:pt x="4409" y="3019"/>
                </a:lnTo>
                <a:lnTo>
                  <a:pt x="4409" y="3019"/>
                </a:lnTo>
                <a:lnTo>
                  <a:pt x="4409" y="3019"/>
                </a:lnTo>
                <a:lnTo>
                  <a:pt x="4409" y="3019"/>
                </a:lnTo>
                <a:lnTo>
                  <a:pt x="4409" y="3019"/>
                </a:lnTo>
                <a:lnTo>
                  <a:pt x="4403" y="3019"/>
                </a:lnTo>
                <a:lnTo>
                  <a:pt x="4409" y="3013"/>
                </a:lnTo>
                <a:lnTo>
                  <a:pt x="4409" y="3013"/>
                </a:lnTo>
                <a:lnTo>
                  <a:pt x="4409" y="3013"/>
                </a:lnTo>
                <a:lnTo>
                  <a:pt x="4409" y="3013"/>
                </a:lnTo>
                <a:lnTo>
                  <a:pt x="4409" y="3013"/>
                </a:lnTo>
                <a:lnTo>
                  <a:pt x="4409" y="3013"/>
                </a:lnTo>
                <a:lnTo>
                  <a:pt x="4409" y="3013"/>
                </a:lnTo>
                <a:lnTo>
                  <a:pt x="4409" y="3013"/>
                </a:lnTo>
                <a:lnTo>
                  <a:pt x="4415" y="3019"/>
                </a:lnTo>
                <a:lnTo>
                  <a:pt x="4415" y="3019"/>
                </a:lnTo>
                <a:lnTo>
                  <a:pt x="4415" y="3019"/>
                </a:lnTo>
                <a:lnTo>
                  <a:pt x="4415" y="3019"/>
                </a:lnTo>
                <a:lnTo>
                  <a:pt x="4415" y="3019"/>
                </a:lnTo>
                <a:lnTo>
                  <a:pt x="4415" y="3019"/>
                </a:lnTo>
                <a:lnTo>
                  <a:pt x="4415" y="3013"/>
                </a:lnTo>
                <a:lnTo>
                  <a:pt x="4415" y="3013"/>
                </a:lnTo>
                <a:lnTo>
                  <a:pt x="4415" y="3013"/>
                </a:lnTo>
                <a:lnTo>
                  <a:pt x="4415" y="3013"/>
                </a:lnTo>
                <a:lnTo>
                  <a:pt x="4415" y="3013"/>
                </a:lnTo>
                <a:lnTo>
                  <a:pt x="4415" y="3007"/>
                </a:lnTo>
                <a:lnTo>
                  <a:pt x="4415" y="3007"/>
                </a:lnTo>
                <a:lnTo>
                  <a:pt x="4415" y="3007"/>
                </a:lnTo>
                <a:lnTo>
                  <a:pt x="4415" y="3007"/>
                </a:lnTo>
                <a:lnTo>
                  <a:pt x="4421" y="3001"/>
                </a:lnTo>
                <a:lnTo>
                  <a:pt x="4421" y="3001"/>
                </a:lnTo>
                <a:lnTo>
                  <a:pt x="4427" y="3001"/>
                </a:lnTo>
                <a:lnTo>
                  <a:pt x="4427" y="3001"/>
                </a:lnTo>
                <a:lnTo>
                  <a:pt x="4427" y="2995"/>
                </a:lnTo>
                <a:lnTo>
                  <a:pt x="4421" y="2995"/>
                </a:lnTo>
                <a:lnTo>
                  <a:pt x="4421" y="2995"/>
                </a:lnTo>
                <a:lnTo>
                  <a:pt x="4421" y="2995"/>
                </a:lnTo>
                <a:lnTo>
                  <a:pt x="4421" y="2995"/>
                </a:lnTo>
                <a:lnTo>
                  <a:pt x="4421" y="2989"/>
                </a:lnTo>
                <a:lnTo>
                  <a:pt x="4421" y="2989"/>
                </a:lnTo>
                <a:lnTo>
                  <a:pt x="4421" y="2989"/>
                </a:lnTo>
                <a:lnTo>
                  <a:pt x="4421" y="2989"/>
                </a:lnTo>
                <a:lnTo>
                  <a:pt x="4421" y="2989"/>
                </a:lnTo>
                <a:lnTo>
                  <a:pt x="4421" y="2989"/>
                </a:lnTo>
                <a:lnTo>
                  <a:pt x="4421" y="2989"/>
                </a:lnTo>
                <a:lnTo>
                  <a:pt x="4421" y="2983"/>
                </a:lnTo>
                <a:lnTo>
                  <a:pt x="4421" y="2983"/>
                </a:lnTo>
                <a:lnTo>
                  <a:pt x="4421" y="2983"/>
                </a:lnTo>
                <a:lnTo>
                  <a:pt x="4421" y="2983"/>
                </a:lnTo>
                <a:lnTo>
                  <a:pt x="4421" y="2983"/>
                </a:lnTo>
                <a:lnTo>
                  <a:pt x="4427" y="2977"/>
                </a:lnTo>
                <a:lnTo>
                  <a:pt x="4427" y="2977"/>
                </a:lnTo>
                <a:lnTo>
                  <a:pt x="4427" y="2977"/>
                </a:lnTo>
                <a:lnTo>
                  <a:pt x="4427" y="2971"/>
                </a:lnTo>
                <a:lnTo>
                  <a:pt x="4427" y="2971"/>
                </a:lnTo>
                <a:lnTo>
                  <a:pt x="4427" y="2971"/>
                </a:lnTo>
                <a:lnTo>
                  <a:pt x="4427" y="2966"/>
                </a:lnTo>
                <a:lnTo>
                  <a:pt x="4427" y="2966"/>
                </a:lnTo>
                <a:lnTo>
                  <a:pt x="4433" y="2960"/>
                </a:lnTo>
                <a:lnTo>
                  <a:pt x="4433" y="2960"/>
                </a:lnTo>
                <a:lnTo>
                  <a:pt x="4433" y="2960"/>
                </a:lnTo>
                <a:lnTo>
                  <a:pt x="4433" y="2960"/>
                </a:lnTo>
                <a:lnTo>
                  <a:pt x="4433" y="2960"/>
                </a:lnTo>
                <a:lnTo>
                  <a:pt x="4433" y="2960"/>
                </a:lnTo>
                <a:lnTo>
                  <a:pt x="4433" y="2960"/>
                </a:lnTo>
                <a:lnTo>
                  <a:pt x="4433" y="2960"/>
                </a:lnTo>
                <a:lnTo>
                  <a:pt x="4433" y="2960"/>
                </a:lnTo>
                <a:lnTo>
                  <a:pt x="4438" y="2954"/>
                </a:lnTo>
                <a:lnTo>
                  <a:pt x="4438" y="2948"/>
                </a:lnTo>
                <a:lnTo>
                  <a:pt x="4438" y="2948"/>
                </a:lnTo>
                <a:lnTo>
                  <a:pt x="4438" y="2942"/>
                </a:lnTo>
                <a:lnTo>
                  <a:pt x="4438" y="2942"/>
                </a:lnTo>
                <a:lnTo>
                  <a:pt x="4444" y="2942"/>
                </a:lnTo>
                <a:lnTo>
                  <a:pt x="4444" y="2942"/>
                </a:lnTo>
                <a:lnTo>
                  <a:pt x="4444" y="2948"/>
                </a:lnTo>
                <a:lnTo>
                  <a:pt x="4444" y="2948"/>
                </a:lnTo>
                <a:lnTo>
                  <a:pt x="4444" y="2954"/>
                </a:lnTo>
                <a:lnTo>
                  <a:pt x="4444" y="2954"/>
                </a:lnTo>
                <a:lnTo>
                  <a:pt x="4444" y="2924"/>
                </a:lnTo>
                <a:lnTo>
                  <a:pt x="4444" y="2918"/>
                </a:lnTo>
                <a:lnTo>
                  <a:pt x="4444" y="2918"/>
                </a:lnTo>
                <a:lnTo>
                  <a:pt x="4444" y="2918"/>
                </a:lnTo>
                <a:lnTo>
                  <a:pt x="4444" y="2912"/>
                </a:lnTo>
                <a:lnTo>
                  <a:pt x="4444" y="2906"/>
                </a:lnTo>
                <a:lnTo>
                  <a:pt x="4444" y="2900"/>
                </a:lnTo>
                <a:lnTo>
                  <a:pt x="4444" y="2894"/>
                </a:lnTo>
                <a:lnTo>
                  <a:pt x="4444" y="2894"/>
                </a:lnTo>
                <a:lnTo>
                  <a:pt x="4450" y="2894"/>
                </a:lnTo>
                <a:lnTo>
                  <a:pt x="4450" y="2894"/>
                </a:lnTo>
                <a:lnTo>
                  <a:pt x="4450" y="2894"/>
                </a:lnTo>
                <a:lnTo>
                  <a:pt x="4450" y="2888"/>
                </a:lnTo>
                <a:lnTo>
                  <a:pt x="4450" y="2888"/>
                </a:lnTo>
                <a:lnTo>
                  <a:pt x="4450" y="2888"/>
                </a:lnTo>
                <a:lnTo>
                  <a:pt x="4450" y="2882"/>
                </a:lnTo>
                <a:lnTo>
                  <a:pt x="4450" y="2882"/>
                </a:lnTo>
                <a:lnTo>
                  <a:pt x="4450" y="2877"/>
                </a:lnTo>
                <a:lnTo>
                  <a:pt x="4450" y="2871"/>
                </a:lnTo>
                <a:lnTo>
                  <a:pt x="4450" y="2871"/>
                </a:lnTo>
                <a:lnTo>
                  <a:pt x="4450" y="2865"/>
                </a:lnTo>
                <a:lnTo>
                  <a:pt x="4450" y="2865"/>
                </a:lnTo>
                <a:lnTo>
                  <a:pt x="4450" y="2853"/>
                </a:lnTo>
                <a:lnTo>
                  <a:pt x="4450" y="2847"/>
                </a:lnTo>
                <a:lnTo>
                  <a:pt x="4450" y="2847"/>
                </a:lnTo>
                <a:lnTo>
                  <a:pt x="4450" y="2847"/>
                </a:lnTo>
                <a:lnTo>
                  <a:pt x="4450" y="2841"/>
                </a:lnTo>
                <a:lnTo>
                  <a:pt x="4450" y="2841"/>
                </a:lnTo>
                <a:lnTo>
                  <a:pt x="4450" y="2841"/>
                </a:lnTo>
                <a:lnTo>
                  <a:pt x="4450" y="2835"/>
                </a:lnTo>
                <a:lnTo>
                  <a:pt x="4450" y="2829"/>
                </a:lnTo>
                <a:lnTo>
                  <a:pt x="4450" y="2829"/>
                </a:lnTo>
                <a:lnTo>
                  <a:pt x="4450" y="2829"/>
                </a:lnTo>
                <a:lnTo>
                  <a:pt x="4444" y="2829"/>
                </a:lnTo>
                <a:lnTo>
                  <a:pt x="4444" y="2829"/>
                </a:lnTo>
                <a:lnTo>
                  <a:pt x="4444" y="2829"/>
                </a:lnTo>
                <a:lnTo>
                  <a:pt x="4444" y="2823"/>
                </a:lnTo>
                <a:lnTo>
                  <a:pt x="4444" y="2823"/>
                </a:lnTo>
                <a:lnTo>
                  <a:pt x="4444" y="2823"/>
                </a:lnTo>
                <a:lnTo>
                  <a:pt x="4444" y="2823"/>
                </a:lnTo>
                <a:lnTo>
                  <a:pt x="4444" y="2823"/>
                </a:lnTo>
                <a:lnTo>
                  <a:pt x="4450" y="2823"/>
                </a:lnTo>
                <a:lnTo>
                  <a:pt x="4450" y="2823"/>
                </a:lnTo>
                <a:lnTo>
                  <a:pt x="4444" y="2817"/>
                </a:lnTo>
                <a:lnTo>
                  <a:pt x="4444" y="2817"/>
                </a:lnTo>
                <a:lnTo>
                  <a:pt x="4444" y="2817"/>
                </a:lnTo>
                <a:lnTo>
                  <a:pt x="4444" y="2811"/>
                </a:lnTo>
                <a:lnTo>
                  <a:pt x="4438" y="2805"/>
                </a:lnTo>
                <a:lnTo>
                  <a:pt x="4438" y="2805"/>
                </a:lnTo>
                <a:lnTo>
                  <a:pt x="4438" y="2805"/>
                </a:lnTo>
                <a:lnTo>
                  <a:pt x="4438" y="2799"/>
                </a:lnTo>
                <a:lnTo>
                  <a:pt x="4438" y="2799"/>
                </a:lnTo>
                <a:lnTo>
                  <a:pt x="4433" y="2794"/>
                </a:lnTo>
                <a:lnTo>
                  <a:pt x="4433" y="2794"/>
                </a:lnTo>
                <a:lnTo>
                  <a:pt x="4433" y="2794"/>
                </a:lnTo>
                <a:lnTo>
                  <a:pt x="4433" y="2794"/>
                </a:lnTo>
                <a:lnTo>
                  <a:pt x="4433" y="2799"/>
                </a:lnTo>
                <a:lnTo>
                  <a:pt x="4427" y="2794"/>
                </a:lnTo>
                <a:lnTo>
                  <a:pt x="4427" y="2794"/>
                </a:lnTo>
                <a:lnTo>
                  <a:pt x="4427" y="2794"/>
                </a:lnTo>
                <a:lnTo>
                  <a:pt x="4427" y="2794"/>
                </a:lnTo>
                <a:lnTo>
                  <a:pt x="4427" y="2794"/>
                </a:lnTo>
                <a:lnTo>
                  <a:pt x="4427" y="2794"/>
                </a:lnTo>
                <a:lnTo>
                  <a:pt x="4427" y="2794"/>
                </a:lnTo>
                <a:lnTo>
                  <a:pt x="4427" y="2794"/>
                </a:lnTo>
                <a:lnTo>
                  <a:pt x="4427" y="2794"/>
                </a:lnTo>
                <a:lnTo>
                  <a:pt x="4427" y="2794"/>
                </a:lnTo>
                <a:lnTo>
                  <a:pt x="4427" y="2794"/>
                </a:lnTo>
                <a:lnTo>
                  <a:pt x="4427" y="2794"/>
                </a:lnTo>
                <a:lnTo>
                  <a:pt x="4427" y="2794"/>
                </a:lnTo>
                <a:lnTo>
                  <a:pt x="4433" y="2794"/>
                </a:lnTo>
                <a:lnTo>
                  <a:pt x="4433" y="2794"/>
                </a:lnTo>
                <a:lnTo>
                  <a:pt x="4433" y="2799"/>
                </a:lnTo>
                <a:lnTo>
                  <a:pt x="4433" y="2799"/>
                </a:lnTo>
                <a:lnTo>
                  <a:pt x="4421" y="2758"/>
                </a:lnTo>
                <a:lnTo>
                  <a:pt x="4421" y="2752"/>
                </a:lnTo>
                <a:lnTo>
                  <a:pt x="4415" y="2746"/>
                </a:lnTo>
                <a:lnTo>
                  <a:pt x="4403" y="2710"/>
                </a:lnTo>
                <a:lnTo>
                  <a:pt x="4385" y="2675"/>
                </a:lnTo>
                <a:lnTo>
                  <a:pt x="4385" y="2669"/>
                </a:lnTo>
                <a:lnTo>
                  <a:pt x="4385" y="2669"/>
                </a:lnTo>
                <a:lnTo>
                  <a:pt x="4379" y="2663"/>
                </a:lnTo>
                <a:lnTo>
                  <a:pt x="4379" y="2657"/>
                </a:lnTo>
                <a:lnTo>
                  <a:pt x="4379" y="2657"/>
                </a:lnTo>
                <a:lnTo>
                  <a:pt x="4379" y="2657"/>
                </a:lnTo>
                <a:lnTo>
                  <a:pt x="4379" y="2651"/>
                </a:lnTo>
                <a:lnTo>
                  <a:pt x="4379" y="2645"/>
                </a:lnTo>
                <a:lnTo>
                  <a:pt x="4373" y="2639"/>
                </a:lnTo>
                <a:lnTo>
                  <a:pt x="4373" y="2639"/>
                </a:lnTo>
                <a:lnTo>
                  <a:pt x="4373" y="2639"/>
                </a:lnTo>
                <a:lnTo>
                  <a:pt x="4373" y="2633"/>
                </a:lnTo>
                <a:lnTo>
                  <a:pt x="4373" y="2633"/>
                </a:lnTo>
                <a:lnTo>
                  <a:pt x="4373" y="2633"/>
                </a:lnTo>
                <a:lnTo>
                  <a:pt x="4373" y="2627"/>
                </a:lnTo>
                <a:lnTo>
                  <a:pt x="4373" y="2627"/>
                </a:lnTo>
                <a:lnTo>
                  <a:pt x="4373" y="2627"/>
                </a:lnTo>
                <a:lnTo>
                  <a:pt x="4373" y="2622"/>
                </a:lnTo>
                <a:lnTo>
                  <a:pt x="4373" y="2616"/>
                </a:lnTo>
                <a:lnTo>
                  <a:pt x="4373" y="2616"/>
                </a:lnTo>
                <a:lnTo>
                  <a:pt x="4373" y="2622"/>
                </a:lnTo>
                <a:lnTo>
                  <a:pt x="4379" y="2622"/>
                </a:lnTo>
                <a:lnTo>
                  <a:pt x="4379" y="2622"/>
                </a:lnTo>
                <a:lnTo>
                  <a:pt x="4379" y="2622"/>
                </a:lnTo>
                <a:lnTo>
                  <a:pt x="4379" y="2627"/>
                </a:lnTo>
                <a:lnTo>
                  <a:pt x="4379" y="2627"/>
                </a:lnTo>
                <a:lnTo>
                  <a:pt x="4379" y="2627"/>
                </a:lnTo>
                <a:lnTo>
                  <a:pt x="4379" y="2627"/>
                </a:lnTo>
                <a:lnTo>
                  <a:pt x="4379" y="2627"/>
                </a:lnTo>
                <a:lnTo>
                  <a:pt x="4379" y="2627"/>
                </a:lnTo>
                <a:lnTo>
                  <a:pt x="4379" y="2627"/>
                </a:lnTo>
                <a:lnTo>
                  <a:pt x="4379" y="2627"/>
                </a:lnTo>
                <a:lnTo>
                  <a:pt x="4379" y="2633"/>
                </a:lnTo>
                <a:lnTo>
                  <a:pt x="4379" y="2633"/>
                </a:lnTo>
                <a:lnTo>
                  <a:pt x="4379" y="2633"/>
                </a:lnTo>
                <a:lnTo>
                  <a:pt x="4379" y="2639"/>
                </a:lnTo>
                <a:lnTo>
                  <a:pt x="4379" y="2639"/>
                </a:lnTo>
                <a:lnTo>
                  <a:pt x="4379" y="2639"/>
                </a:lnTo>
                <a:lnTo>
                  <a:pt x="4379" y="2639"/>
                </a:lnTo>
                <a:lnTo>
                  <a:pt x="4385" y="2639"/>
                </a:lnTo>
                <a:lnTo>
                  <a:pt x="4385" y="2639"/>
                </a:lnTo>
                <a:lnTo>
                  <a:pt x="4391" y="2639"/>
                </a:lnTo>
                <a:lnTo>
                  <a:pt x="4391" y="2639"/>
                </a:lnTo>
                <a:lnTo>
                  <a:pt x="4391" y="2639"/>
                </a:lnTo>
                <a:lnTo>
                  <a:pt x="4391" y="2639"/>
                </a:lnTo>
                <a:lnTo>
                  <a:pt x="4391" y="2639"/>
                </a:lnTo>
                <a:lnTo>
                  <a:pt x="4391" y="2639"/>
                </a:lnTo>
                <a:lnTo>
                  <a:pt x="4391" y="2633"/>
                </a:lnTo>
                <a:lnTo>
                  <a:pt x="4391" y="2633"/>
                </a:lnTo>
                <a:lnTo>
                  <a:pt x="4391" y="2633"/>
                </a:lnTo>
                <a:lnTo>
                  <a:pt x="4391" y="2633"/>
                </a:lnTo>
                <a:lnTo>
                  <a:pt x="4391" y="2639"/>
                </a:lnTo>
                <a:lnTo>
                  <a:pt x="4391" y="2639"/>
                </a:lnTo>
                <a:lnTo>
                  <a:pt x="4391" y="2639"/>
                </a:lnTo>
                <a:lnTo>
                  <a:pt x="4391" y="2639"/>
                </a:lnTo>
                <a:lnTo>
                  <a:pt x="4397" y="2639"/>
                </a:lnTo>
                <a:lnTo>
                  <a:pt x="4397" y="2639"/>
                </a:lnTo>
                <a:lnTo>
                  <a:pt x="4397" y="2639"/>
                </a:lnTo>
                <a:lnTo>
                  <a:pt x="4397" y="2645"/>
                </a:lnTo>
                <a:lnTo>
                  <a:pt x="4397" y="2645"/>
                </a:lnTo>
                <a:lnTo>
                  <a:pt x="4397" y="2651"/>
                </a:lnTo>
                <a:lnTo>
                  <a:pt x="4391" y="2663"/>
                </a:lnTo>
                <a:lnTo>
                  <a:pt x="4391" y="2675"/>
                </a:lnTo>
                <a:lnTo>
                  <a:pt x="4391" y="2681"/>
                </a:lnTo>
                <a:lnTo>
                  <a:pt x="4391" y="2687"/>
                </a:lnTo>
                <a:lnTo>
                  <a:pt x="4397" y="2687"/>
                </a:lnTo>
                <a:lnTo>
                  <a:pt x="4397" y="2699"/>
                </a:lnTo>
                <a:lnTo>
                  <a:pt x="4403" y="2705"/>
                </a:lnTo>
                <a:lnTo>
                  <a:pt x="4403" y="2710"/>
                </a:lnTo>
                <a:lnTo>
                  <a:pt x="4409" y="2716"/>
                </a:lnTo>
                <a:lnTo>
                  <a:pt x="4409" y="2716"/>
                </a:lnTo>
                <a:lnTo>
                  <a:pt x="4409" y="2716"/>
                </a:lnTo>
                <a:lnTo>
                  <a:pt x="4409" y="2716"/>
                </a:lnTo>
                <a:lnTo>
                  <a:pt x="4409" y="2722"/>
                </a:lnTo>
                <a:lnTo>
                  <a:pt x="4409" y="2716"/>
                </a:lnTo>
                <a:lnTo>
                  <a:pt x="4403" y="2705"/>
                </a:lnTo>
                <a:lnTo>
                  <a:pt x="4397" y="2699"/>
                </a:lnTo>
                <a:lnTo>
                  <a:pt x="4397" y="2699"/>
                </a:lnTo>
                <a:lnTo>
                  <a:pt x="4397" y="2699"/>
                </a:lnTo>
                <a:lnTo>
                  <a:pt x="4397" y="2693"/>
                </a:lnTo>
                <a:lnTo>
                  <a:pt x="4397" y="2687"/>
                </a:lnTo>
                <a:lnTo>
                  <a:pt x="4397" y="2681"/>
                </a:lnTo>
                <a:lnTo>
                  <a:pt x="4397" y="2681"/>
                </a:lnTo>
                <a:lnTo>
                  <a:pt x="4397" y="2675"/>
                </a:lnTo>
                <a:lnTo>
                  <a:pt x="4397" y="2675"/>
                </a:lnTo>
                <a:lnTo>
                  <a:pt x="4397" y="2675"/>
                </a:lnTo>
                <a:lnTo>
                  <a:pt x="4397" y="2675"/>
                </a:lnTo>
                <a:lnTo>
                  <a:pt x="4397" y="2669"/>
                </a:lnTo>
                <a:lnTo>
                  <a:pt x="4397" y="2663"/>
                </a:lnTo>
                <a:lnTo>
                  <a:pt x="4397" y="2663"/>
                </a:lnTo>
                <a:lnTo>
                  <a:pt x="4397" y="2657"/>
                </a:lnTo>
                <a:lnTo>
                  <a:pt x="4397" y="2657"/>
                </a:lnTo>
                <a:lnTo>
                  <a:pt x="4397" y="2657"/>
                </a:lnTo>
                <a:lnTo>
                  <a:pt x="4397" y="2657"/>
                </a:lnTo>
                <a:lnTo>
                  <a:pt x="4397" y="2657"/>
                </a:lnTo>
                <a:lnTo>
                  <a:pt x="4397" y="2657"/>
                </a:lnTo>
                <a:lnTo>
                  <a:pt x="4397" y="2657"/>
                </a:lnTo>
                <a:lnTo>
                  <a:pt x="4397" y="2657"/>
                </a:lnTo>
                <a:lnTo>
                  <a:pt x="4403" y="2657"/>
                </a:lnTo>
                <a:lnTo>
                  <a:pt x="4403" y="2657"/>
                </a:lnTo>
                <a:lnTo>
                  <a:pt x="4403" y="2651"/>
                </a:lnTo>
                <a:lnTo>
                  <a:pt x="4403" y="2651"/>
                </a:lnTo>
                <a:lnTo>
                  <a:pt x="4403" y="2651"/>
                </a:lnTo>
                <a:lnTo>
                  <a:pt x="4397" y="2645"/>
                </a:lnTo>
                <a:lnTo>
                  <a:pt x="4391" y="2633"/>
                </a:lnTo>
                <a:lnTo>
                  <a:pt x="4391" y="2627"/>
                </a:lnTo>
                <a:lnTo>
                  <a:pt x="4385" y="2627"/>
                </a:lnTo>
                <a:lnTo>
                  <a:pt x="4385" y="2622"/>
                </a:lnTo>
                <a:lnTo>
                  <a:pt x="4379" y="2616"/>
                </a:lnTo>
                <a:lnTo>
                  <a:pt x="4367" y="2592"/>
                </a:lnTo>
                <a:lnTo>
                  <a:pt x="4367" y="2592"/>
                </a:lnTo>
                <a:lnTo>
                  <a:pt x="4367" y="2586"/>
                </a:lnTo>
                <a:lnTo>
                  <a:pt x="4367" y="2586"/>
                </a:lnTo>
                <a:lnTo>
                  <a:pt x="4367" y="2586"/>
                </a:lnTo>
                <a:lnTo>
                  <a:pt x="4361" y="2586"/>
                </a:lnTo>
                <a:lnTo>
                  <a:pt x="4361" y="2586"/>
                </a:lnTo>
                <a:lnTo>
                  <a:pt x="4361" y="2580"/>
                </a:lnTo>
                <a:lnTo>
                  <a:pt x="4361" y="2580"/>
                </a:lnTo>
                <a:lnTo>
                  <a:pt x="4361" y="2574"/>
                </a:lnTo>
                <a:lnTo>
                  <a:pt x="4355" y="2568"/>
                </a:lnTo>
                <a:lnTo>
                  <a:pt x="4350" y="2550"/>
                </a:lnTo>
                <a:lnTo>
                  <a:pt x="4344" y="2538"/>
                </a:lnTo>
                <a:lnTo>
                  <a:pt x="4344" y="2533"/>
                </a:lnTo>
                <a:lnTo>
                  <a:pt x="4344" y="2533"/>
                </a:lnTo>
                <a:lnTo>
                  <a:pt x="4338" y="2527"/>
                </a:lnTo>
                <a:lnTo>
                  <a:pt x="4338" y="2527"/>
                </a:lnTo>
                <a:lnTo>
                  <a:pt x="4338" y="2521"/>
                </a:lnTo>
                <a:lnTo>
                  <a:pt x="4332" y="2515"/>
                </a:lnTo>
                <a:lnTo>
                  <a:pt x="4332" y="2509"/>
                </a:lnTo>
                <a:lnTo>
                  <a:pt x="4332" y="2509"/>
                </a:lnTo>
                <a:lnTo>
                  <a:pt x="4332" y="2503"/>
                </a:lnTo>
                <a:lnTo>
                  <a:pt x="4332" y="2503"/>
                </a:lnTo>
                <a:lnTo>
                  <a:pt x="4332" y="2503"/>
                </a:lnTo>
                <a:lnTo>
                  <a:pt x="4332" y="2503"/>
                </a:lnTo>
                <a:lnTo>
                  <a:pt x="4332" y="2497"/>
                </a:lnTo>
                <a:lnTo>
                  <a:pt x="4332" y="2497"/>
                </a:lnTo>
                <a:lnTo>
                  <a:pt x="4332" y="2497"/>
                </a:lnTo>
                <a:lnTo>
                  <a:pt x="4326" y="2491"/>
                </a:lnTo>
                <a:lnTo>
                  <a:pt x="4326" y="2491"/>
                </a:lnTo>
                <a:lnTo>
                  <a:pt x="4326" y="2491"/>
                </a:lnTo>
                <a:lnTo>
                  <a:pt x="4326" y="2491"/>
                </a:lnTo>
                <a:lnTo>
                  <a:pt x="4326" y="2491"/>
                </a:lnTo>
                <a:lnTo>
                  <a:pt x="4326" y="2491"/>
                </a:lnTo>
                <a:lnTo>
                  <a:pt x="4326" y="2491"/>
                </a:lnTo>
                <a:lnTo>
                  <a:pt x="4326" y="2485"/>
                </a:lnTo>
                <a:lnTo>
                  <a:pt x="4320" y="2473"/>
                </a:lnTo>
                <a:lnTo>
                  <a:pt x="4320" y="2461"/>
                </a:lnTo>
                <a:lnTo>
                  <a:pt x="4320" y="2455"/>
                </a:lnTo>
                <a:lnTo>
                  <a:pt x="4320" y="2455"/>
                </a:lnTo>
                <a:lnTo>
                  <a:pt x="4320" y="2450"/>
                </a:lnTo>
                <a:lnTo>
                  <a:pt x="4314" y="2444"/>
                </a:lnTo>
                <a:lnTo>
                  <a:pt x="4314" y="2438"/>
                </a:lnTo>
                <a:lnTo>
                  <a:pt x="4314" y="2432"/>
                </a:lnTo>
                <a:lnTo>
                  <a:pt x="4314" y="2432"/>
                </a:lnTo>
                <a:lnTo>
                  <a:pt x="4314" y="2432"/>
                </a:lnTo>
                <a:lnTo>
                  <a:pt x="4314" y="2432"/>
                </a:lnTo>
                <a:lnTo>
                  <a:pt x="4314" y="2432"/>
                </a:lnTo>
                <a:lnTo>
                  <a:pt x="4314" y="2426"/>
                </a:lnTo>
                <a:lnTo>
                  <a:pt x="4314" y="2426"/>
                </a:lnTo>
                <a:lnTo>
                  <a:pt x="4314" y="2426"/>
                </a:lnTo>
                <a:lnTo>
                  <a:pt x="4314" y="2426"/>
                </a:lnTo>
                <a:lnTo>
                  <a:pt x="4314" y="2426"/>
                </a:lnTo>
                <a:lnTo>
                  <a:pt x="4314" y="2426"/>
                </a:lnTo>
                <a:lnTo>
                  <a:pt x="4314" y="2426"/>
                </a:lnTo>
                <a:lnTo>
                  <a:pt x="4314" y="2420"/>
                </a:lnTo>
                <a:lnTo>
                  <a:pt x="4314" y="2420"/>
                </a:lnTo>
                <a:lnTo>
                  <a:pt x="4314" y="2420"/>
                </a:lnTo>
                <a:lnTo>
                  <a:pt x="4308" y="2420"/>
                </a:lnTo>
                <a:lnTo>
                  <a:pt x="4308" y="2420"/>
                </a:lnTo>
                <a:lnTo>
                  <a:pt x="4308" y="2420"/>
                </a:lnTo>
                <a:lnTo>
                  <a:pt x="4308" y="2420"/>
                </a:lnTo>
                <a:lnTo>
                  <a:pt x="4308" y="2414"/>
                </a:lnTo>
                <a:lnTo>
                  <a:pt x="4308" y="2414"/>
                </a:lnTo>
                <a:lnTo>
                  <a:pt x="4308" y="2414"/>
                </a:lnTo>
                <a:lnTo>
                  <a:pt x="4308" y="2414"/>
                </a:lnTo>
                <a:lnTo>
                  <a:pt x="4308" y="2414"/>
                </a:lnTo>
                <a:lnTo>
                  <a:pt x="4308" y="2408"/>
                </a:lnTo>
                <a:lnTo>
                  <a:pt x="4308" y="2408"/>
                </a:lnTo>
                <a:lnTo>
                  <a:pt x="4308" y="2408"/>
                </a:lnTo>
                <a:lnTo>
                  <a:pt x="4308" y="2408"/>
                </a:lnTo>
                <a:lnTo>
                  <a:pt x="4308" y="2408"/>
                </a:lnTo>
                <a:lnTo>
                  <a:pt x="4308" y="2408"/>
                </a:lnTo>
                <a:lnTo>
                  <a:pt x="4308" y="2408"/>
                </a:lnTo>
                <a:lnTo>
                  <a:pt x="4308" y="2408"/>
                </a:lnTo>
                <a:lnTo>
                  <a:pt x="4308" y="2408"/>
                </a:lnTo>
                <a:lnTo>
                  <a:pt x="4308" y="2414"/>
                </a:lnTo>
                <a:lnTo>
                  <a:pt x="4308" y="2414"/>
                </a:lnTo>
                <a:lnTo>
                  <a:pt x="4308" y="2414"/>
                </a:lnTo>
                <a:lnTo>
                  <a:pt x="4308" y="2420"/>
                </a:lnTo>
                <a:lnTo>
                  <a:pt x="4314" y="2420"/>
                </a:lnTo>
                <a:lnTo>
                  <a:pt x="4314" y="2414"/>
                </a:lnTo>
                <a:lnTo>
                  <a:pt x="4314" y="2414"/>
                </a:lnTo>
                <a:lnTo>
                  <a:pt x="4314" y="2408"/>
                </a:lnTo>
                <a:lnTo>
                  <a:pt x="4314" y="2402"/>
                </a:lnTo>
                <a:lnTo>
                  <a:pt x="4314" y="2402"/>
                </a:lnTo>
                <a:lnTo>
                  <a:pt x="4314" y="2402"/>
                </a:lnTo>
                <a:lnTo>
                  <a:pt x="4314" y="2396"/>
                </a:lnTo>
                <a:lnTo>
                  <a:pt x="4314" y="2396"/>
                </a:lnTo>
                <a:lnTo>
                  <a:pt x="4314" y="2396"/>
                </a:lnTo>
                <a:lnTo>
                  <a:pt x="4314" y="2396"/>
                </a:lnTo>
                <a:lnTo>
                  <a:pt x="4314" y="2396"/>
                </a:lnTo>
                <a:lnTo>
                  <a:pt x="4314" y="2396"/>
                </a:lnTo>
                <a:lnTo>
                  <a:pt x="4314" y="2396"/>
                </a:lnTo>
                <a:lnTo>
                  <a:pt x="4308" y="2396"/>
                </a:lnTo>
                <a:lnTo>
                  <a:pt x="4308" y="2396"/>
                </a:lnTo>
                <a:lnTo>
                  <a:pt x="4308" y="2396"/>
                </a:lnTo>
                <a:lnTo>
                  <a:pt x="4308" y="2396"/>
                </a:lnTo>
                <a:lnTo>
                  <a:pt x="4308" y="2396"/>
                </a:lnTo>
                <a:lnTo>
                  <a:pt x="4308" y="2396"/>
                </a:lnTo>
                <a:lnTo>
                  <a:pt x="4308" y="2396"/>
                </a:lnTo>
                <a:lnTo>
                  <a:pt x="4308" y="2396"/>
                </a:lnTo>
                <a:lnTo>
                  <a:pt x="4308" y="2396"/>
                </a:lnTo>
                <a:lnTo>
                  <a:pt x="4308" y="2390"/>
                </a:lnTo>
                <a:lnTo>
                  <a:pt x="4308" y="2390"/>
                </a:lnTo>
                <a:lnTo>
                  <a:pt x="4308" y="2390"/>
                </a:lnTo>
                <a:lnTo>
                  <a:pt x="4308" y="2390"/>
                </a:lnTo>
                <a:lnTo>
                  <a:pt x="4302" y="2384"/>
                </a:lnTo>
                <a:lnTo>
                  <a:pt x="4302" y="2384"/>
                </a:lnTo>
                <a:lnTo>
                  <a:pt x="4302" y="2384"/>
                </a:lnTo>
                <a:lnTo>
                  <a:pt x="4302" y="2384"/>
                </a:lnTo>
                <a:lnTo>
                  <a:pt x="4302" y="2384"/>
                </a:lnTo>
                <a:lnTo>
                  <a:pt x="4302" y="2384"/>
                </a:lnTo>
                <a:lnTo>
                  <a:pt x="4302" y="2378"/>
                </a:lnTo>
                <a:lnTo>
                  <a:pt x="4302" y="2378"/>
                </a:lnTo>
                <a:lnTo>
                  <a:pt x="4302" y="2378"/>
                </a:lnTo>
                <a:lnTo>
                  <a:pt x="4302" y="2378"/>
                </a:lnTo>
                <a:lnTo>
                  <a:pt x="4302" y="2378"/>
                </a:lnTo>
                <a:lnTo>
                  <a:pt x="4308" y="2378"/>
                </a:lnTo>
                <a:lnTo>
                  <a:pt x="4308" y="2378"/>
                </a:lnTo>
                <a:lnTo>
                  <a:pt x="4308" y="2378"/>
                </a:lnTo>
                <a:lnTo>
                  <a:pt x="4308" y="2378"/>
                </a:lnTo>
                <a:lnTo>
                  <a:pt x="4308" y="2378"/>
                </a:lnTo>
                <a:lnTo>
                  <a:pt x="4308" y="2378"/>
                </a:lnTo>
                <a:lnTo>
                  <a:pt x="4308" y="2378"/>
                </a:lnTo>
                <a:lnTo>
                  <a:pt x="4302" y="2378"/>
                </a:lnTo>
                <a:lnTo>
                  <a:pt x="4308" y="2378"/>
                </a:lnTo>
                <a:lnTo>
                  <a:pt x="4308" y="2378"/>
                </a:lnTo>
                <a:lnTo>
                  <a:pt x="4308" y="2372"/>
                </a:lnTo>
                <a:lnTo>
                  <a:pt x="4308" y="2372"/>
                </a:lnTo>
                <a:lnTo>
                  <a:pt x="4308" y="2372"/>
                </a:lnTo>
                <a:lnTo>
                  <a:pt x="4308" y="2372"/>
                </a:lnTo>
                <a:lnTo>
                  <a:pt x="4308" y="2372"/>
                </a:lnTo>
                <a:lnTo>
                  <a:pt x="4308" y="2366"/>
                </a:lnTo>
                <a:lnTo>
                  <a:pt x="4308" y="2366"/>
                </a:lnTo>
                <a:lnTo>
                  <a:pt x="4308" y="2366"/>
                </a:lnTo>
                <a:lnTo>
                  <a:pt x="4308" y="2366"/>
                </a:lnTo>
                <a:lnTo>
                  <a:pt x="4308" y="2366"/>
                </a:lnTo>
                <a:lnTo>
                  <a:pt x="4302" y="2366"/>
                </a:lnTo>
                <a:lnTo>
                  <a:pt x="4302" y="2366"/>
                </a:lnTo>
                <a:lnTo>
                  <a:pt x="4302" y="2366"/>
                </a:lnTo>
                <a:lnTo>
                  <a:pt x="4308" y="2366"/>
                </a:lnTo>
                <a:lnTo>
                  <a:pt x="4308" y="2361"/>
                </a:lnTo>
                <a:lnTo>
                  <a:pt x="4308" y="2361"/>
                </a:lnTo>
                <a:lnTo>
                  <a:pt x="4308" y="2361"/>
                </a:lnTo>
                <a:lnTo>
                  <a:pt x="4308" y="2355"/>
                </a:lnTo>
                <a:lnTo>
                  <a:pt x="4302" y="2355"/>
                </a:lnTo>
                <a:lnTo>
                  <a:pt x="4308" y="2355"/>
                </a:lnTo>
                <a:lnTo>
                  <a:pt x="4308" y="2355"/>
                </a:lnTo>
                <a:lnTo>
                  <a:pt x="4308" y="2355"/>
                </a:lnTo>
                <a:lnTo>
                  <a:pt x="4314" y="2355"/>
                </a:lnTo>
                <a:lnTo>
                  <a:pt x="4314" y="2361"/>
                </a:lnTo>
                <a:lnTo>
                  <a:pt x="4314" y="2361"/>
                </a:lnTo>
                <a:lnTo>
                  <a:pt x="4314" y="2349"/>
                </a:lnTo>
                <a:lnTo>
                  <a:pt x="4314" y="2349"/>
                </a:lnTo>
                <a:lnTo>
                  <a:pt x="4314" y="2349"/>
                </a:lnTo>
                <a:lnTo>
                  <a:pt x="4314" y="2349"/>
                </a:lnTo>
                <a:lnTo>
                  <a:pt x="4314" y="2349"/>
                </a:lnTo>
                <a:lnTo>
                  <a:pt x="4314" y="2355"/>
                </a:lnTo>
                <a:lnTo>
                  <a:pt x="4314" y="2355"/>
                </a:lnTo>
                <a:lnTo>
                  <a:pt x="4314" y="2355"/>
                </a:lnTo>
                <a:lnTo>
                  <a:pt x="4308" y="2349"/>
                </a:lnTo>
                <a:lnTo>
                  <a:pt x="4308" y="2349"/>
                </a:lnTo>
                <a:lnTo>
                  <a:pt x="4308" y="2349"/>
                </a:lnTo>
                <a:lnTo>
                  <a:pt x="4308" y="2349"/>
                </a:lnTo>
                <a:lnTo>
                  <a:pt x="4308" y="2349"/>
                </a:lnTo>
                <a:lnTo>
                  <a:pt x="4308" y="2349"/>
                </a:lnTo>
                <a:lnTo>
                  <a:pt x="4308" y="2349"/>
                </a:lnTo>
                <a:lnTo>
                  <a:pt x="4308" y="2349"/>
                </a:lnTo>
                <a:lnTo>
                  <a:pt x="4308" y="2349"/>
                </a:lnTo>
                <a:lnTo>
                  <a:pt x="4308" y="2349"/>
                </a:lnTo>
                <a:lnTo>
                  <a:pt x="4308" y="2343"/>
                </a:lnTo>
                <a:lnTo>
                  <a:pt x="4308" y="2343"/>
                </a:lnTo>
                <a:lnTo>
                  <a:pt x="4308" y="2343"/>
                </a:lnTo>
                <a:lnTo>
                  <a:pt x="4308" y="2337"/>
                </a:lnTo>
                <a:lnTo>
                  <a:pt x="4308" y="2337"/>
                </a:lnTo>
                <a:lnTo>
                  <a:pt x="4314" y="2337"/>
                </a:lnTo>
                <a:lnTo>
                  <a:pt x="4314" y="2337"/>
                </a:lnTo>
                <a:lnTo>
                  <a:pt x="4314" y="2337"/>
                </a:lnTo>
                <a:lnTo>
                  <a:pt x="4314" y="2343"/>
                </a:lnTo>
                <a:lnTo>
                  <a:pt x="4314" y="2343"/>
                </a:lnTo>
                <a:lnTo>
                  <a:pt x="4314" y="2343"/>
                </a:lnTo>
                <a:lnTo>
                  <a:pt x="4314" y="2343"/>
                </a:lnTo>
                <a:lnTo>
                  <a:pt x="4314" y="2349"/>
                </a:lnTo>
                <a:lnTo>
                  <a:pt x="4314" y="2349"/>
                </a:lnTo>
                <a:lnTo>
                  <a:pt x="4314" y="2349"/>
                </a:lnTo>
                <a:lnTo>
                  <a:pt x="4320" y="2349"/>
                </a:lnTo>
                <a:lnTo>
                  <a:pt x="4320" y="2343"/>
                </a:lnTo>
                <a:lnTo>
                  <a:pt x="4320" y="2343"/>
                </a:lnTo>
                <a:lnTo>
                  <a:pt x="4320" y="2343"/>
                </a:lnTo>
                <a:lnTo>
                  <a:pt x="4326" y="2337"/>
                </a:lnTo>
                <a:lnTo>
                  <a:pt x="4326" y="2337"/>
                </a:lnTo>
                <a:lnTo>
                  <a:pt x="4326" y="2337"/>
                </a:lnTo>
                <a:lnTo>
                  <a:pt x="4326" y="2337"/>
                </a:lnTo>
                <a:lnTo>
                  <a:pt x="4326" y="2331"/>
                </a:lnTo>
                <a:lnTo>
                  <a:pt x="4326" y="2331"/>
                </a:lnTo>
                <a:lnTo>
                  <a:pt x="4326" y="2331"/>
                </a:lnTo>
                <a:lnTo>
                  <a:pt x="4326" y="2331"/>
                </a:lnTo>
                <a:lnTo>
                  <a:pt x="4320" y="2325"/>
                </a:lnTo>
                <a:lnTo>
                  <a:pt x="4320" y="2325"/>
                </a:lnTo>
                <a:lnTo>
                  <a:pt x="4320" y="2325"/>
                </a:lnTo>
                <a:lnTo>
                  <a:pt x="4314" y="2325"/>
                </a:lnTo>
                <a:lnTo>
                  <a:pt x="4314" y="2325"/>
                </a:lnTo>
                <a:lnTo>
                  <a:pt x="4314" y="2325"/>
                </a:lnTo>
                <a:lnTo>
                  <a:pt x="4308" y="2325"/>
                </a:lnTo>
                <a:lnTo>
                  <a:pt x="4308" y="2319"/>
                </a:lnTo>
                <a:lnTo>
                  <a:pt x="4308" y="2319"/>
                </a:lnTo>
                <a:lnTo>
                  <a:pt x="4308" y="2319"/>
                </a:lnTo>
                <a:lnTo>
                  <a:pt x="4308" y="2319"/>
                </a:lnTo>
                <a:lnTo>
                  <a:pt x="4308" y="2319"/>
                </a:lnTo>
                <a:lnTo>
                  <a:pt x="4314" y="2319"/>
                </a:lnTo>
                <a:lnTo>
                  <a:pt x="4320" y="2325"/>
                </a:lnTo>
                <a:lnTo>
                  <a:pt x="4320" y="2325"/>
                </a:lnTo>
                <a:lnTo>
                  <a:pt x="4320" y="2325"/>
                </a:lnTo>
                <a:lnTo>
                  <a:pt x="4326" y="2319"/>
                </a:lnTo>
                <a:lnTo>
                  <a:pt x="4320" y="2319"/>
                </a:lnTo>
                <a:lnTo>
                  <a:pt x="4320" y="2319"/>
                </a:lnTo>
                <a:lnTo>
                  <a:pt x="4320" y="2313"/>
                </a:lnTo>
                <a:lnTo>
                  <a:pt x="4320" y="2313"/>
                </a:lnTo>
                <a:lnTo>
                  <a:pt x="4320" y="2313"/>
                </a:lnTo>
                <a:lnTo>
                  <a:pt x="4320" y="2307"/>
                </a:lnTo>
                <a:lnTo>
                  <a:pt x="4320" y="2307"/>
                </a:lnTo>
                <a:lnTo>
                  <a:pt x="4320" y="2307"/>
                </a:lnTo>
                <a:lnTo>
                  <a:pt x="4320" y="2307"/>
                </a:lnTo>
                <a:lnTo>
                  <a:pt x="4320" y="2307"/>
                </a:lnTo>
                <a:lnTo>
                  <a:pt x="4320" y="2307"/>
                </a:lnTo>
                <a:lnTo>
                  <a:pt x="4320" y="2301"/>
                </a:lnTo>
                <a:lnTo>
                  <a:pt x="4326" y="2301"/>
                </a:lnTo>
                <a:lnTo>
                  <a:pt x="4326" y="2301"/>
                </a:lnTo>
                <a:lnTo>
                  <a:pt x="4320" y="2301"/>
                </a:lnTo>
                <a:lnTo>
                  <a:pt x="4320" y="2301"/>
                </a:lnTo>
                <a:lnTo>
                  <a:pt x="4320" y="2295"/>
                </a:lnTo>
                <a:lnTo>
                  <a:pt x="4326" y="2295"/>
                </a:lnTo>
                <a:lnTo>
                  <a:pt x="4326" y="2295"/>
                </a:lnTo>
                <a:lnTo>
                  <a:pt x="4326" y="2295"/>
                </a:lnTo>
                <a:lnTo>
                  <a:pt x="4332" y="2289"/>
                </a:lnTo>
                <a:lnTo>
                  <a:pt x="4332" y="2289"/>
                </a:lnTo>
                <a:lnTo>
                  <a:pt x="4332" y="2283"/>
                </a:lnTo>
                <a:lnTo>
                  <a:pt x="4332" y="2283"/>
                </a:lnTo>
                <a:lnTo>
                  <a:pt x="4338" y="2283"/>
                </a:lnTo>
                <a:lnTo>
                  <a:pt x="4338" y="2278"/>
                </a:lnTo>
                <a:lnTo>
                  <a:pt x="4338" y="2278"/>
                </a:lnTo>
                <a:lnTo>
                  <a:pt x="4332" y="2278"/>
                </a:lnTo>
                <a:lnTo>
                  <a:pt x="4332" y="2278"/>
                </a:lnTo>
                <a:lnTo>
                  <a:pt x="4326" y="2278"/>
                </a:lnTo>
                <a:lnTo>
                  <a:pt x="4326" y="2272"/>
                </a:lnTo>
                <a:lnTo>
                  <a:pt x="4326" y="2272"/>
                </a:lnTo>
                <a:lnTo>
                  <a:pt x="4332" y="2272"/>
                </a:lnTo>
                <a:lnTo>
                  <a:pt x="4332" y="2272"/>
                </a:lnTo>
                <a:lnTo>
                  <a:pt x="4332" y="2272"/>
                </a:lnTo>
                <a:lnTo>
                  <a:pt x="4332" y="2272"/>
                </a:lnTo>
                <a:lnTo>
                  <a:pt x="4332" y="2272"/>
                </a:lnTo>
                <a:lnTo>
                  <a:pt x="4332" y="2272"/>
                </a:lnTo>
                <a:lnTo>
                  <a:pt x="4338" y="2278"/>
                </a:lnTo>
                <a:lnTo>
                  <a:pt x="4338" y="2278"/>
                </a:lnTo>
                <a:lnTo>
                  <a:pt x="4344" y="2278"/>
                </a:lnTo>
                <a:lnTo>
                  <a:pt x="4344" y="2278"/>
                </a:lnTo>
                <a:lnTo>
                  <a:pt x="4344" y="2278"/>
                </a:lnTo>
                <a:lnTo>
                  <a:pt x="4344" y="2278"/>
                </a:lnTo>
                <a:lnTo>
                  <a:pt x="4344" y="2278"/>
                </a:lnTo>
                <a:lnTo>
                  <a:pt x="4350" y="2272"/>
                </a:lnTo>
                <a:lnTo>
                  <a:pt x="4350" y="2266"/>
                </a:lnTo>
                <a:lnTo>
                  <a:pt x="4350" y="2266"/>
                </a:lnTo>
                <a:lnTo>
                  <a:pt x="4350" y="2266"/>
                </a:lnTo>
                <a:lnTo>
                  <a:pt x="4350" y="2266"/>
                </a:lnTo>
                <a:lnTo>
                  <a:pt x="4350" y="2266"/>
                </a:lnTo>
                <a:lnTo>
                  <a:pt x="4350" y="2266"/>
                </a:lnTo>
                <a:lnTo>
                  <a:pt x="4350" y="2266"/>
                </a:lnTo>
                <a:lnTo>
                  <a:pt x="4350" y="2266"/>
                </a:lnTo>
                <a:lnTo>
                  <a:pt x="4350" y="2266"/>
                </a:lnTo>
                <a:lnTo>
                  <a:pt x="4350" y="2266"/>
                </a:lnTo>
                <a:lnTo>
                  <a:pt x="4344" y="2266"/>
                </a:lnTo>
                <a:lnTo>
                  <a:pt x="4344" y="2266"/>
                </a:lnTo>
                <a:lnTo>
                  <a:pt x="4344" y="2260"/>
                </a:lnTo>
                <a:lnTo>
                  <a:pt x="4344" y="2260"/>
                </a:lnTo>
                <a:lnTo>
                  <a:pt x="4344" y="2260"/>
                </a:lnTo>
                <a:lnTo>
                  <a:pt x="4344" y="2260"/>
                </a:lnTo>
                <a:lnTo>
                  <a:pt x="4344" y="2260"/>
                </a:lnTo>
                <a:lnTo>
                  <a:pt x="4344" y="2254"/>
                </a:lnTo>
                <a:lnTo>
                  <a:pt x="4344" y="2254"/>
                </a:lnTo>
                <a:lnTo>
                  <a:pt x="4344" y="2254"/>
                </a:lnTo>
                <a:lnTo>
                  <a:pt x="4344" y="2254"/>
                </a:lnTo>
                <a:lnTo>
                  <a:pt x="4344" y="2254"/>
                </a:lnTo>
                <a:lnTo>
                  <a:pt x="4350" y="2254"/>
                </a:lnTo>
                <a:lnTo>
                  <a:pt x="4350" y="2260"/>
                </a:lnTo>
                <a:lnTo>
                  <a:pt x="4350" y="2260"/>
                </a:lnTo>
                <a:lnTo>
                  <a:pt x="4350" y="2260"/>
                </a:lnTo>
                <a:lnTo>
                  <a:pt x="4350" y="2260"/>
                </a:lnTo>
                <a:lnTo>
                  <a:pt x="4350" y="2260"/>
                </a:lnTo>
                <a:lnTo>
                  <a:pt x="4350" y="2260"/>
                </a:lnTo>
                <a:lnTo>
                  <a:pt x="4355" y="2260"/>
                </a:lnTo>
                <a:lnTo>
                  <a:pt x="4355" y="2260"/>
                </a:lnTo>
                <a:lnTo>
                  <a:pt x="4355" y="2260"/>
                </a:lnTo>
                <a:lnTo>
                  <a:pt x="4355" y="2260"/>
                </a:lnTo>
                <a:lnTo>
                  <a:pt x="4361" y="2260"/>
                </a:lnTo>
                <a:lnTo>
                  <a:pt x="4361" y="2254"/>
                </a:lnTo>
                <a:lnTo>
                  <a:pt x="4361" y="2254"/>
                </a:lnTo>
                <a:lnTo>
                  <a:pt x="4361" y="2254"/>
                </a:lnTo>
                <a:lnTo>
                  <a:pt x="4361" y="2254"/>
                </a:lnTo>
                <a:lnTo>
                  <a:pt x="4361" y="2248"/>
                </a:lnTo>
                <a:lnTo>
                  <a:pt x="4361" y="2248"/>
                </a:lnTo>
                <a:lnTo>
                  <a:pt x="4361" y="2248"/>
                </a:lnTo>
                <a:lnTo>
                  <a:pt x="4361" y="2248"/>
                </a:lnTo>
                <a:lnTo>
                  <a:pt x="4361" y="2248"/>
                </a:lnTo>
                <a:lnTo>
                  <a:pt x="4361" y="2248"/>
                </a:lnTo>
                <a:lnTo>
                  <a:pt x="4361" y="2248"/>
                </a:lnTo>
                <a:lnTo>
                  <a:pt x="4361" y="2248"/>
                </a:lnTo>
                <a:lnTo>
                  <a:pt x="4361" y="2248"/>
                </a:lnTo>
                <a:lnTo>
                  <a:pt x="4361" y="2248"/>
                </a:lnTo>
                <a:lnTo>
                  <a:pt x="4361" y="2248"/>
                </a:lnTo>
                <a:lnTo>
                  <a:pt x="4361" y="2254"/>
                </a:lnTo>
                <a:lnTo>
                  <a:pt x="4367" y="2254"/>
                </a:lnTo>
                <a:lnTo>
                  <a:pt x="4367" y="2254"/>
                </a:lnTo>
                <a:lnTo>
                  <a:pt x="4367" y="2248"/>
                </a:lnTo>
                <a:lnTo>
                  <a:pt x="4373" y="2248"/>
                </a:lnTo>
                <a:lnTo>
                  <a:pt x="4373" y="2248"/>
                </a:lnTo>
                <a:lnTo>
                  <a:pt x="4373" y="2242"/>
                </a:lnTo>
                <a:lnTo>
                  <a:pt x="4367" y="2242"/>
                </a:lnTo>
                <a:lnTo>
                  <a:pt x="4367" y="2242"/>
                </a:lnTo>
                <a:lnTo>
                  <a:pt x="4367" y="2242"/>
                </a:lnTo>
                <a:lnTo>
                  <a:pt x="4367" y="2242"/>
                </a:lnTo>
                <a:lnTo>
                  <a:pt x="4367" y="2242"/>
                </a:lnTo>
                <a:lnTo>
                  <a:pt x="4367" y="2242"/>
                </a:lnTo>
                <a:lnTo>
                  <a:pt x="4367" y="2242"/>
                </a:lnTo>
                <a:lnTo>
                  <a:pt x="4367" y="2236"/>
                </a:lnTo>
                <a:lnTo>
                  <a:pt x="4367" y="2236"/>
                </a:lnTo>
                <a:lnTo>
                  <a:pt x="4367" y="2236"/>
                </a:lnTo>
                <a:lnTo>
                  <a:pt x="4373" y="2230"/>
                </a:lnTo>
                <a:lnTo>
                  <a:pt x="4373" y="2230"/>
                </a:lnTo>
                <a:lnTo>
                  <a:pt x="4373" y="2224"/>
                </a:lnTo>
                <a:lnTo>
                  <a:pt x="4373" y="2224"/>
                </a:lnTo>
                <a:lnTo>
                  <a:pt x="4373" y="2224"/>
                </a:lnTo>
                <a:lnTo>
                  <a:pt x="4373" y="2224"/>
                </a:lnTo>
                <a:lnTo>
                  <a:pt x="4373" y="2224"/>
                </a:lnTo>
                <a:lnTo>
                  <a:pt x="4373" y="2224"/>
                </a:lnTo>
                <a:lnTo>
                  <a:pt x="4379" y="2218"/>
                </a:lnTo>
                <a:lnTo>
                  <a:pt x="4379" y="2218"/>
                </a:lnTo>
                <a:lnTo>
                  <a:pt x="4379" y="2218"/>
                </a:lnTo>
                <a:lnTo>
                  <a:pt x="4379" y="2218"/>
                </a:lnTo>
                <a:lnTo>
                  <a:pt x="4379" y="2218"/>
                </a:lnTo>
                <a:lnTo>
                  <a:pt x="4379" y="2218"/>
                </a:lnTo>
                <a:lnTo>
                  <a:pt x="4379" y="2218"/>
                </a:lnTo>
                <a:lnTo>
                  <a:pt x="4379" y="2224"/>
                </a:lnTo>
                <a:lnTo>
                  <a:pt x="4373" y="2224"/>
                </a:lnTo>
                <a:lnTo>
                  <a:pt x="4373" y="2230"/>
                </a:lnTo>
                <a:lnTo>
                  <a:pt x="4373" y="2236"/>
                </a:lnTo>
                <a:lnTo>
                  <a:pt x="4373" y="2230"/>
                </a:lnTo>
                <a:lnTo>
                  <a:pt x="4379" y="2230"/>
                </a:lnTo>
                <a:lnTo>
                  <a:pt x="4385" y="2224"/>
                </a:lnTo>
                <a:lnTo>
                  <a:pt x="4385" y="2224"/>
                </a:lnTo>
                <a:lnTo>
                  <a:pt x="4385" y="2218"/>
                </a:lnTo>
                <a:lnTo>
                  <a:pt x="4385" y="2218"/>
                </a:lnTo>
                <a:lnTo>
                  <a:pt x="4385" y="2218"/>
                </a:lnTo>
                <a:lnTo>
                  <a:pt x="4385" y="2218"/>
                </a:lnTo>
                <a:lnTo>
                  <a:pt x="4385" y="2218"/>
                </a:lnTo>
                <a:lnTo>
                  <a:pt x="4385" y="2212"/>
                </a:lnTo>
                <a:lnTo>
                  <a:pt x="4385" y="2212"/>
                </a:lnTo>
                <a:lnTo>
                  <a:pt x="4379" y="2218"/>
                </a:lnTo>
                <a:lnTo>
                  <a:pt x="4379" y="2212"/>
                </a:lnTo>
                <a:lnTo>
                  <a:pt x="4379" y="2206"/>
                </a:lnTo>
                <a:lnTo>
                  <a:pt x="4379" y="2206"/>
                </a:lnTo>
                <a:lnTo>
                  <a:pt x="4379" y="2206"/>
                </a:lnTo>
                <a:lnTo>
                  <a:pt x="4373" y="2206"/>
                </a:lnTo>
                <a:lnTo>
                  <a:pt x="4373" y="2206"/>
                </a:lnTo>
                <a:lnTo>
                  <a:pt x="4373" y="2206"/>
                </a:lnTo>
                <a:lnTo>
                  <a:pt x="4379" y="2206"/>
                </a:lnTo>
                <a:lnTo>
                  <a:pt x="4379" y="2200"/>
                </a:lnTo>
                <a:lnTo>
                  <a:pt x="4373" y="2200"/>
                </a:lnTo>
                <a:lnTo>
                  <a:pt x="4373" y="2194"/>
                </a:lnTo>
                <a:lnTo>
                  <a:pt x="4373" y="2194"/>
                </a:lnTo>
                <a:lnTo>
                  <a:pt x="4373" y="2189"/>
                </a:lnTo>
                <a:lnTo>
                  <a:pt x="4373" y="2189"/>
                </a:lnTo>
                <a:lnTo>
                  <a:pt x="4373" y="2189"/>
                </a:lnTo>
                <a:lnTo>
                  <a:pt x="4373" y="2183"/>
                </a:lnTo>
                <a:lnTo>
                  <a:pt x="4367" y="2183"/>
                </a:lnTo>
                <a:lnTo>
                  <a:pt x="4367" y="2183"/>
                </a:lnTo>
                <a:lnTo>
                  <a:pt x="4373" y="2183"/>
                </a:lnTo>
                <a:lnTo>
                  <a:pt x="4373" y="2183"/>
                </a:lnTo>
                <a:lnTo>
                  <a:pt x="4373" y="2183"/>
                </a:lnTo>
                <a:lnTo>
                  <a:pt x="4373" y="2183"/>
                </a:lnTo>
                <a:lnTo>
                  <a:pt x="4373" y="2189"/>
                </a:lnTo>
                <a:lnTo>
                  <a:pt x="4373" y="2189"/>
                </a:lnTo>
                <a:lnTo>
                  <a:pt x="4379" y="2189"/>
                </a:lnTo>
                <a:lnTo>
                  <a:pt x="4379" y="2189"/>
                </a:lnTo>
                <a:lnTo>
                  <a:pt x="4379" y="2189"/>
                </a:lnTo>
                <a:lnTo>
                  <a:pt x="4379" y="2189"/>
                </a:lnTo>
                <a:lnTo>
                  <a:pt x="4373" y="2189"/>
                </a:lnTo>
                <a:lnTo>
                  <a:pt x="4373" y="2194"/>
                </a:lnTo>
                <a:lnTo>
                  <a:pt x="4379" y="2194"/>
                </a:lnTo>
                <a:lnTo>
                  <a:pt x="4379" y="2200"/>
                </a:lnTo>
                <a:lnTo>
                  <a:pt x="4379" y="2200"/>
                </a:lnTo>
                <a:lnTo>
                  <a:pt x="4385" y="2206"/>
                </a:lnTo>
                <a:lnTo>
                  <a:pt x="4385" y="2212"/>
                </a:lnTo>
                <a:lnTo>
                  <a:pt x="4385" y="2212"/>
                </a:lnTo>
                <a:lnTo>
                  <a:pt x="4385" y="2212"/>
                </a:lnTo>
                <a:lnTo>
                  <a:pt x="4391" y="2212"/>
                </a:lnTo>
                <a:lnTo>
                  <a:pt x="4391" y="2206"/>
                </a:lnTo>
                <a:lnTo>
                  <a:pt x="4391" y="2206"/>
                </a:lnTo>
                <a:lnTo>
                  <a:pt x="4391" y="2206"/>
                </a:lnTo>
                <a:lnTo>
                  <a:pt x="4391" y="2206"/>
                </a:lnTo>
                <a:lnTo>
                  <a:pt x="4385" y="2206"/>
                </a:lnTo>
                <a:lnTo>
                  <a:pt x="4385" y="2206"/>
                </a:lnTo>
                <a:lnTo>
                  <a:pt x="4385" y="2206"/>
                </a:lnTo>
                <a:lnTo>
                  <a:pt x="4385" y="2194"/>
                </a:lnTo>
                <a:lnTo>
                  <a:pt x="4385" y="2194"/>
                </a:lnTo>
                <a:lnTo>
                  <a:pt x="4385" y="2194"/>
                </a:lnTo>
                <a:lnTo>
                  <a:pt x="4391" y="2194"/>
                </a:lnTo>
                <a:lnTo>
                  <a:pt x="4391" y="2194"/>
                </a:lnTo>
                <a:lnTo>
                  <a:pt x="4391" y="2194"/>
                </a:lnTo>
                <a:lnTo>
                  <a:pt x="4391" y="2194"/>
                </a:lnTo>
                <a:lnTo>
                  <a:pt x="4385" y="2194"/>
                </a:lnTo>
                <a:lnTo>
                  <a:pt x="4385" y="2194"/>
                </a:lnTo>
                <a:lnTo>
                  <a:pt x="4385" y="2194"/>
                </a:lnTo>
                <a:lnTo>
                  <a:pt x="4385" y="2189"/>
                </a:lnTo>
                <a:lnTo>
                  <a:pt x="4391" y="2189"/>
                </a:lnTo>
                <a:lnTo>
                  <a:pt x="4391" y="2194"/>
                </a:lnTo>
                <a:lnTo>
                  <a:pt x="4391" y="2200"/>
                </a:lnTo>
                <a:lnTo>
                  <a:pt x="4391" y="2200"/>
                </a:lnTo>
                <a:lnTo>
                  <a:pt x="4391" y="2200"/>
                </a:lnTo>
                <a:lnTo>
                  <a:pt x="4391" y="2200"/>
                </a:lnTo>
                <a:lnTo>
                  <a:pt x="4391" y="2200"/>
                </a:lnTo>
                <a:lnTo>
                  <a:pt x="4391" y="2206"/>
                </a:lnTo>
                <a:lnTo>
                  <a:pt x="4391" y="2206"/>
                </a:lnTo>
                <a:lnTo>
                  <a:pt x="4391" y="2206"/>
                </a:lnTo>
                <a:lnTo>
                  <a:pt x="4391" y="2212"/>
                </a:lnTo>
                <a:lnTo>
                  <a:pt x="4391" y="2212"/>
                </a:lnTo>
                <a:lnTo>
                  <a:pt x="4391" y="2212"/>
                </a:lnTo>
                <a:lnTo>
                  <a:pt x="4391" y="2212"/>
                </a:lnTo>
                <a:lnTo>
                  <a:pt x="4397" y="2212"/>
                </a:lnTo>
                <a:lnTo>
                  <a:pt x="4397" y="2212"/>
                </a:lnTo>
                <a:lnTo>
                  <a:pt x="4397" y="2212"/>
                </a:lnTo>
                <a:lnTo>
                  <a:pt x="4397" y="2212"/>
                </a:lnTo>
                <a:lnTo>
                  <a:pt x="4397" y="2212"/>
                </a:lnTo>
                <a:lnTo>
                  <a:pt x="4397" y="2212"/>
                </a:lnTo>
                <a:lnTo>
                  <a:pt x="4409" y="2206"/>
                </a:lnTo>
                <a:lnTo>
                  <a:pt x="4409" y="2206"/>
                </a:lnTo>
                <a:lnTo>
                  <a:pt x="4409" y="2206"/>
                </a:lnTo>
                <a:lnTo>
                  <a:pt x="4409" y="2206"/>
                </a:lnTo>
                <a:lnTo>
                  <a:pt x="4409" y="2206"/>
                </a:lnTo>
                <a:lnTo>
                  <a:pt x="4409" y="2206"/>
                </a:lnTo>
                <a:lnTo>
                  <a:pt x="4409" y="2206"/>
                </a:lnTo>
                <a:lnTo>
                  <a:pt x="4409" y="2206"/>
                </a:lnTo>
                <a:lnTo>
                  <a:pt x="4409" y="2206"/>
                </a:lnTo>
                <a:lnTo>
                  <a:pt x="4409" y="2206"/>
                </a:lnTo>
                <a:lnTo>
                  <a:pt x="4409" y="2200"/>
                </a:lnTo>
                <a:lnTo>
                  <a:pt x="4409" y="2200"/>
                </a:lnTo>
                <a:lnTo>
                  <a:pt x="4415" y="2200"/>
                </a:lnTo>
                <a:lnTo>
                  <a:pt x="4415" y="2200"/>
                </a:lnTo>
                <a:lnTo>
                  <a:pt x="4415" y="2200"/>
                </a:lnTo>
                <a:lnTo>
                  <a:pt x="4409" y="2200"/>
                </a:lnTo>
                <a:lnTo>
                  <a:pt x="4409" y="2200"/>
                </a:lnTo>
                <a:lnTo>
                  <a:pt x="4409" y="2200"/>
                </a:lnTo>
                <a:lnTo>
                  <a:pt x="4409" y="2200"/>
                </a:lnTo>
                <a:lnTo>
                  <a:pt x="4409" y="2200"/>
                </a:lnTo>
                <a:lnTo>
                  <a:pt x="4409" y="2200"/>
                </a:lnTo>
                <a:lnTo>
                  <a:pt x="4409" y="2200"/>
                </a:lnTo>
                <a:lnTo>
                  <a:pt x="4409" y="2200"/>
                </a:lnTo>
                <a:lnTo>
                  <a:pt x="4403" y="2206"/>
                </a:lnTo>
                <a:lnTo>
                  <a:pt x="4403" y="2206"/>
                </a:lnTo>
                <a:lnTo>
                  <a:pt x="4403" y="2206"/>
                </a:lnTo>
                <a:lnTo>
                  <a:pt x="4403" y="2206"/>
                </a:lnTo>
                <a:lnTo>
                  <a:pt x="4403" y="2206"/>
                </a:lnTo>
                <a:lnTo>
                  <a:pt x="4403" y="2200"/>
                </a:lnTo>
                <a:lnTo>
                  <a:pt x="4403" y="2200"/>
                </a:lnTo>
                <a:lnTo>
                  <a:pt x="4403" y="2200"/>
                </a:lnTo>
                <a:lnTo>
                  <a:pt x="4403" y="2200"/>
                </a:lnTo>
                <a:lnTo>
                  <a:pt x="4409" y="2200"/>
                </a:lnTo>
                <a:lnTo>
                  <a:pt x="4409" y="2194"/>
                </a:lnTo>
                <a:lnTo>
                  <a:pt x="4409" y="2194"/>
                </a:lnTo>
                <a:lnTo>
                  <a:pt x="4409" y="2194"/>
                </a:lnTo>
                <a:lnTo>
                  <a:pt x="4403" y="2194"/>
                </a:lnTo>
                <a:lnTo>
                  <a:pt x="4397" y="2194"/>
                </a:lnTo>
                <a:lnTo>
                  <a:pt x="4397" y="2189"/>
                </a:lnTo>
                <a:lnTo>
                  <a:pt x="4403" y="2189"/>
                </a:lnTo>
                <a:lnTo>
                  <a:pt x="4403" y="2189"/>
                </a:lnTo>
                <a:lnTo>
                  <a:pt x="4409" y="2189"/>
                </a:lnTo>
                <a:lnTo>
                  <a:pt x="4409" y="2189"/>
                </a:lnTo>
                <a:lnTo>
                  <a:pt x="4409" y="2189"/>
                </a:lnTo>
                <a:lnTo>
                  <a:pt x="4403" y="2189"/>
                </a:lnTo>
                <a:lnTo>
                  <a:pt x="4403" y="2189"/>
                </a:lnTo>
                <a:lnTo>
                  <a:pt x="4403" y="2189"/>
                </a:lnTo>
                <a:lnTo>
                  <a:pt x="4397" y="2189"/>
                </a:lnTo>
                <a:lnTo>
                  <a:pt x="4397" y="2189"/>
                </a:lnTo>
                <a:lnTo>
                  <a:pt x="4391" y="2189"/>
                </a:lnTo>
                <a:lnTo>
                  <a:pt x="4391" y="2189"/>
                </a:lnTo>
                <a:lnTo>
                  <a:pt x="4385" y="2189"/>
                </a:lnTo>
                <a:lnTo>
                  <a:pt x="4385" y="2189"/>
                </a:lnTo>
                <a:lnTo>
                  <a:pt x="4385" y="2183"/>
                </a:lnTo>
                <a:lnTo>
                  <a:pt x="4391" y="2183"/>
                </a:lnTo>
                <a:lnTo>
                  <a:pt x="4391" y="2183"/>
                </a:lnTo>
                <a:lnTo>
                  <a:pt x="4391" y="2183"/>
                </a:lnTo>
                <a:lnTo>
                  <a:pt x="4391" y="2183"/>
                </a:lnTo>
                <a:lnTo>
                  <a:pt x="4397" y="2183"/>
                </a:lnTo>
                <a:lnTo>
                  <a:pt x="4403" y="2183"/>
                </a:lnTo>
                <a:lnTo>
                  <a:pt x="4403" y="2183"/>
                </a:lnTo>
                <a:lnTo>
                  <a:pt x="4403" y="2183"/>
                </a:lnTo>
                <a:lnTo>
                  <a:pt x="4403" y="2183"/>
                </a:lnTo>
                <a:lnTo>
                  <a:pt x="4403" y="2183"/>
                </a:lnTo>
                <a:lnTo>
                  <a:pt x="4403" y="2183"/>
                </a:lnTo>
                <a:lnTo>
                  <a:pt x="4403" y="2183"/>
                </a:lnTo>
                <a:lnTo>
                  <a:pt x="4403" y="2183"/>
                </a:lnTo>
                <a:lnTo>
                  <a:pt x="4403" y="2183"/>
                </a:lnTo>
                <a:lnTo>
                  <a:pt x="4403" y="2183"/>
                </a:lnTo>
                <a:lnTo>
                  <a:pt x="4403" y="2183"/>
                </a:lnTo>
                <a:lnTo>
                  <a:pt x="4403" y="2183"/>
                </a:lnTo>
                <a:lnTo>
                  <a:pt x="4409" y="2183"/>
                </a:lnTo>
                <a:lnTo>
                  <a:pt x="4409" y="2183"/>
                </a:lnTo>
                <a:lnTo>
                  <a:pt x="4409" y="2189"/>
                </a:lnTo>
                <a:lnTo>
                  <a:pt x="4409" y="2189"/>
                </a:lnTo>
                <a:lnTo>
                  <a:pt x="4409" y="2189"/>
                </a:lnTo>
                <a:lnTo>
                  <a:pt x="4409" y="2189"/>
                </a:lnTo>
                <a:lnTo>
                  <a:pt x="4409" y="2189"/>
                </a:lnTo>
                <a:lnTo>
                  <a:pt x="4415" y="2189"/>
                </a:lnTo>
                <a:lnTo>
                  <a:pt x="4415" y="2189"/>
                </a:lnTo>
                <a:lnTo>
                  <a:pt x="4415" y="2189"/>
                </a:lnTo>
                <a:lnTo>
                  <a:pt x="4415" y="2189"/>
                </a:lnTo>
                <a:lnTo>
                  <a:pt x="4415" y="2189"/>
                </a:lnTo>
                <a:lnTo>
                  <a:pt x="4415" y="2189"/>
                </a:lnTo>
                <a:lnTo>
                  <a:pt x="4421" y="2189"/>
                </a:lnTo>
                <a:lnTo>
                  <a:pt x="4421" y="2189"/>
                </a:lnTo>
                <a:lnTo>
                  <a:pt x="4421" y="2183"/>
                </a:lnTo>
                <a:lnTo>
                  <a:pt x="4421" y="2183"/>
                </a:lnTo>
                <a:lnTo>
                  <a:pt x="4421" y="2183"/>
                </a:lnTo>
                <a:lnTo>
                  <a:pt x="4421" y="2183"/>
                </a:lnTo>
                <a:lnTo>
                  <a:pt x="4421" y="2183"/>
                </a:lnTo>
                <a:lnTo>
                  <a:pt x="4421" y="2189"/>
                </a:lnTo>
                <a:lnTo>
                  <a:pt x="4421" y="2189"/>
                </a:lnTo>
                <a:lnTo>
                  <a:pt x="4421" y="2189"/>
                </a:lnTo>
                <a:lnTo>
                  <a:pt x="4421" y="2189"/>
                </a:lnTo>
                <a:lnTo>
                  <a:pt x="4421" y="2189"/>
                </a:lnTo>
                <a:lnTo>
                  <a:pt x="4421" y="2189"/>
                </a:lnTo>
                <a:lnTo>
                  <a:pt x="4421" y="2189"/>
                </a:lnTo>
                <a:lnTo>
                  <a:pt x="4421" y="2189"/>
                </a:lnTo>
                <a:lnTo>
                  <a:pt x="4421" y="2189"/>
                </a:lnTo>
                <a:lnTo>
                  <a:pt x="4427" y="2189"/>
                </a:lnTo>
                <a:lnTo>
                  <a:pt x="4433" y="2183"/>
                </a:lnTo>
                <a:lnTo>
                  <a:pt x="4433" y="2183"/>
                </a:lnTo>
                <a:lnTo>
                  <a:pt x="4433" y="2183"/>
                </a:lnTo>
                <a:lnTo>
                  <a:pt x="4433" y="2183"/>
                </a:lnTo>
                <a:lnTo>
                  <a:pt x="4433" y="2177"/>
                </a:lnTo>
                <a:lnTo>
                  <a:pt x="4433" y="2177"/>
                </a:lnTo>
                <a:lnTo>
                  <a:pt x="4433" y="2177"/>
                </a:lnTo>
                <a:lnTo>
                  <a:pt x="4433" y="2177"/>
                </a:lnTo>
                <a:lnTo>
                  <a:pt x="4433" y="2177"/>
                </a:lnTo>
                <a:lnTo>
                  <a:pt x="4427" y="2171"/>
                </a:lnTo>
                <a:lnTo>
                  <a:pt x="4427" y="2171"/>
                </a:lnTo>
                <a:lnTo>
                  <a:pt x="4433" y="2171"/>
                </a:lnTo>
                <a:lnTo>
                  <a:pt x="4433" y="2171"/>
                </a:lnTo>
                <a:lnTo>
                  <a:pt x="4433" y="2177"/>
                </a:lnTo>
                <a:lnTo>
                  <a:pt x="4438" y="2177"/>
                </a:lnTo>
                <a:lnTo>
                  <a:pt x="4438" y="2177"/>
                </a:lnTo>
                <a:lnTo>
                  <a:pt x="4438" y="2177"/>
                </a:lnTo>
                <a:lnTo>
                  <a:pt x="4438" y="2177"/>
                </a:lnTo>
                <a:lnTo>
                  <a:pt x="4438" y="2177"/>
                </a:lnTo>
                <a:lnTo>
                  <a:pt x="4444" y="2177"/>
                </a:lnTo>
                <a:lnTo>
                  <a:pt x="4444" y="2177"/>
                </a:lnTo>
                <a:lnTo>
                  <a:pt x="4450" y="2177"/>
                </a:lnTo>
                <a:lnTo>
                  <a:pt x="4450" y="2177"/>
                </a:lnTo>
                <a:lnTo>
                  <a:pt x="4456" y="2171"/>
                </a:lnTo>
                <a:lnTo>
                  <a:pt x="4456" y="2171"/>
                </a:lnTo>
                <a:lnTo>
                  <a:pt x="4456" y="2171"/>
                </a:lnTo>
                <a:lnTo>
                  <a:pt x="4456" y="2171"/>
                </a:lnTo>
                <a:lnTo>
                  <a:pt x="4450" y="2171"/>
                </a:lnTo>
                <a:lnTo>
                  <a:pt x="4450" y="2171"/>
                </a:lnTo>
                <a:lnTo>
                  <a:pt x="4450" y="2171"/>
                </a:lnTo>
                <a:lnTo>
                  <a:pt x="4456" y="2171"/>
                </a:lnTo>
                <a:lnTo>
                  <a:pt x="4456" y="2171"/>
                </a:lnTo>
                <a:lnTo>
                  <a:pt x="4456" y="2171"/>
                </a:lnTo>
                <a:lnTo>
                  <a:pt x="4462" y="2171"/>
                </a:lnTo>
                <a:lnTo>
                  <a:pt x="4462" y="2171"/>
                </a:lnTo>
                <a:lnTo>
                  <a:pt x="4462" y="2171"/>
                </a:lnTo>
                <a:lnTo>
                  <a:pt x="4468" y="2165"/>
                </a:lnTo>
                <a:lnTo>
                  <a:pt x="4468" y="2165"/>
                </a:lnTo>
                <a:lnTo>
                  <a:pt x="4468" y="2165"/>
                </a:lnTo>
                <a:lnTo>
                  <a:pt x="4468" y="2159"/>
                </a:lnTo>
                <a:lnTo>
                  <a:pt x="4468" y="2159"/>
                </a:lnTo>
                <a:lnTo>
                  <a:pt x="4468" y="2159"/>
                </a:lnTo>
                <a:lnTo>
                  <a:pt x="4468" y="2159"/>
                </a:lnTo>
                <a:lnTo>
                  <a:pt x="4468" y="2159"/>
                </a:lnTo>
                <a:lnTo>
                  <a:pt x="4468" y="2159"/>
                </a:lnTo>
                <a:lnTo>
                  <a:pt x="4462" y="2159"/>
                </a:lnTo>
                <a:lnTo>
                  <a:pt x="4462" y="2159"/>
                </a:lnTo>
                <a:lnTo>
                  <a:pt x="4462" y="2159"/>
                </a:lnTo>
                <a:lnTo>
                  <a:pt x="4462" y="2159"/>
                </a:lnTo>
                <a:lnTo>
                  <a:pt x="4462" y="2153"/>
                </a:lnTo>
                <a:lnTo>
                  <a:pt x="4462" y="2153"/>
                </a:lnTo>
                <a:lnTo>
                  <a:pt x="4456" y="2153"/>
                </a:lnTo>
                <a:lnTo>
                  <a:pt x="4456" y="2153"/>
                </a:lnTo>
                <a:lnTo>
                  <a:pt x="4456" y="2153"/>
                </a:lnTo>
                <a:lnTo>
                  <a:pt x="4456" y="2153"/>
                </a:lnTo>
                <a:lnTo>
                  <a:pt x="4456" y="2153"/>
                </a:lnTo>
                <a:lnTo>
                  <a:pt x="4462" y="2153"/>
                </a:lnTo>
                <a:lnTo>
                  <a:pt x="4462" y="2153"/>
                </a:lnTo>
                <a:lnTo>
                  <a:pt x="4462" y="2153"/>
                </a:lnTo>
                <a:lnTo>
                  <a:pt x="4462" y="2153"/>
                </a:lnTo>
                <a:lnTo>
                  <a:pt x="4462" y="2153"/>
                </a:lnTo>
                <a:lnTo>
                  <a:pt x="4462" y="2147"/>
                </a:lnTo>
                <a:lnTo>
                  <a:pt x="4462" y="2147"/>
                </a:lnTo>
                <a:lnTo>
                  <a:pt x="4462" y="2147"/>
                </a:lnTo>
                <a:lnTo>
                  <a:pt x="4462" y="2147"/>
                </a:lnTo>
                <a:lnTo>
                  <a:pt x="4462" y="2147"/>
                </a:lnTo>
                <a:lnTo>
                  <a:pt x="4462" y="2147"/>
                </a:lnTo>
                <a:lnTo>
                  <a:pt x="4462" y="2147"/>
                </a:lnTo>
                <a:lnTo>
                  <a:pt x="4462" y="2147"/>
                </a:lnTo>
                <a:lnTo>
                  <a:pt x="4462" y="2147"/>
                </a:lnTo>
                <a:lnTo>
                  <a:pt x="4462" y="2147"/>
                </a:lnTo>
                <a:lnTo>
                  <a:pt x="4462" y="2147"/>
                </a:lnTo>
                <a:lnTo>
                  <a:pt x="4462" y="2147"/>
                </a:lnTo>
                <a:lnTo>
                  <a:pt x="4468" y="2147"/>
                </a:lnTo>
                <a:lnTo>
                  <a:pt x="4468" y="2147"/>
                </a:lnTo>
                <a:lnTo>
                  <a:pt x="4468" y="2147"/>
                </a:lnTo>
                <a:lnTo>
                  <a:pt x="4468" y="2147"/>
                </a:lnTo>
                <a:lnTo>
                  <a:pt x="4468" y="2147"/>
                </a:lnTo>
                <a:lnTo>
                  <a:pt x="4462" y="2153"/>
                </a:lnTo>
                <a:lnTo>
                  <a:pt x="4462" y="2153"/>
                </a:lnTo>
                <a:lnTo>
                  <a:pt x="4462" y="2153"/>
                </a:lnTo>
                <a:lnTo>
                  <a:pt x="4468" y="2153"/>
                </a:lnTo>
                <a:lnTo>
                  <a:pt x="4468" y="2153"/>
                </a:lnTo>
                <a:lnTo>
                  <a:pt x="4468" y="2153"/>
                </a:lnTo>
                <a:lnTo>
                  <a:pt x="4468" y="2153"/>
                </a:lnTo>
                <a:lnTo>
                  <a:pt x="4468" y="2159"/>
                </a:lnTo>
                <a:lnTo>
                  <a:pt x="4474" y="2153"/>
                </a:lnTo>
                <a:lnTo>
                  <a:pt x="4474" y="2153"/>
                </a:lnTo>
                <a:lnTo>
                  <a:pt x="4480" y="2153"/>
                </a:lnTo>
                <a:lnTo>
                  <a:pt x="4480" y="2147"/>
                </a:lnTo>
                <a:lnTo>
                  <a:pt x="4486" y="2147"/>
                </a:lnTo>
                <a:lnTo>
                  <a:pt x="4486" y="2147"/>
                </a:lnTo>
                <a:lnTo>
                  <a:pt x="4486" y="2141"/>
                </a:lnTo>
                <a:lnTo>
                  <a:pt x="4486" y="2141"/>
                </a:lnTo>
                <a:lnTo>
                  <a:pt x="4486" y="2141"/>
                </a:lnTo>
                <a:lnTo>
                  <a:pt x="4492" y="2141"/>
                </a:lnTo>
                <a:lnTo>
                  <a:pt x="4492" y="2141"/>
                </a:lnTo>
                <a:lnTo>
                  <a:pt x="4492" y="2141"/>
                </a:lnTo>
                <a:lnTo>
                  <a:pt x="4492" y="2141"/>
                </a:lnTo>
                <a:lnTo>
                  <a:pt x="4498" y="2135"/>
                </a:lnTo>
                <a:lnTo>
                  <a:pt x="4498" y="2135"/>
                </a:lnTo>
                <a:lnTo>
                  <a:pt x="4498" y="2135"/>
                </a:lnTo>
                <a:lnTo>
                  <a:pt x="4498" y="2135"/>
                </a:lnTo>
                <a:lnTo>
                  <a:pt x="4498" y="2135"/>
                </a:lnTo>
                <a:lnTo>
                  <a:pt x="4498" y="2135"/>
                </a:lnTo>
                <a:lnTo>
                  <a:pt x="4492" y="2135"/>
                </a:lnTo>
                <a:lnTo>
                  <a:pt x="4492" y="2135"/>
                </a:lnTo>
                <a:lnTo>
                  <a:pt x="4492" y="2135"/>
                </a:lnTo>
                <a:lnTo>
                  <a:pt x="4492" y="2135"/>
                </a:lnTo>
                <a:lnTo>
                  <a:pt x="4492" y="2135"/>
                </a:lnTo>
                <a:lnTo>
                  <a:pt x="4492" y="2129"/>
                </a:lnTo>
                <a:lnTo>
                  <a:pt x="4498" y="2129"/>
                </a:lnTo>
                <a:lnTo>
                  <a:pt x="4498" y="2123"/>
                </a:lnTo>
                <a:lnTo>
                  <a:pt x="4498" y="2123"/>
                </a:lnTo>
                <a:lnTo>
                  <a:pt x="4498" y="2123"/>
                </a:lnTo>
                <a:lnTo>
                  <a:pt x="4504" y="2123"/>
                </a:lnTo>
                <a:lnTo>
                  <a:pt x="4504" y="2123"/>
                </a:lnTo>
                <a:lnTo>
                  <a:pt x="4504" y="2123"/>
                </a:lnTo>
                <a:lnTo>
                  <a:pt x="4504" y="2123"/>
                </a:lnTo>
                <a:lnTo>
                  <a:pt x="4504" y="2129"/>
                </a:lnTo>
                <a:lnTo>
                  <a:pt x="4504" y="2129"/>
                </a:lnTo>
                <a:lnTo>
                  <a:pt x="4510" y="2129"/>
                </a:lnTo>
                <a:lnTo>
                  <a:pt x="4510" y="2129"/>
                </a:lnTo>
                <a:lnTo>
                  <a:pt x="4510" y="2129"/>
                </a:lnTo>
                <a:lnTo>
                  <a:pt x="4510" y="2129"/>
                </a:lnTo>
                <a:lnTo>
                  <a:pt x="4510" y="2129"/>
                </a:lnTo>
                <a:lnTo>
                  <a:pt x="4510" y="2129"/>
                </a:lnTo>
                <a:lnTo>
                  <a:pt x="4510" y="2123"/>
                </a:lnTo>
                <a:lnTo>
                  <a:pt x="4515" y="2123"/>
                </a:lnTo>
                <a:lnTo>
                  <a:pt x="4515" y="2123"/>
                </a:lnTo>
                <a:lnTo>
                  <a:pt x="4515" y="2123"/>
                </a:lnTo>
                <a:lnTo>
                  <a:pt x="4515" y="2123"/>
                </a:lnTo>
                <a:lnTo>
                  <a:pt x="4515" y="2123"/>
                </a:lnTo>
                <a:lnTo>
                  <a:pt x="4515" y="2123"/>
                </a:lnTo>
                <a:lnTo>
                  <a:pt x="4515" y="2117"/>
                </a:lnTo>
                <a:lnTo>
                  <a:pt x="4521" y="2117"/>
                </a:lnTo>
                <a:lnTo>
                  <a:pt x="4521" y="2117"/>
                </a:lnTo>
                <a:lnTo>
                  <a:pt x="4527" y="2117"/>
                </a:lnTo>
                <a:lnTo>
                  <a:pt x="4527" y="2117"/>
                </a:lnTo>
                <a:lnTo>
                  <a:pt x="4527" y="2111"/>
                </a:lnTo>
                <a:lnTo>
                  <a:pt x="4521" y="2111"/>
                </a:lnTo>
                <a:lnTo>
                  <a:pt x="4521" y="2111"/>
                </a:lnTo>
                <a:lnTo>
                  <a:pt x="4521" y="2111"/>
                </a:lnTo>
                <a:lnTo>
                  <a:pt x="4521" y="2111"/>
                </a:lnTo>
                <a:lnTo>
                  <a:pt x="4527" y="2111"/>
                </a:lnTo>
                <a:lnTo>
                  <a:pt x="4527" y="2111"/>
                </a:lnTo>
                <a:lnTo>
                  <a:pt x="4527" y="2111"/>
                </a:lnTo>
                <a:lnTo>
                  <a:pt x="4527" y="2111"/>
                </a:lnTo>
                <a:lnTo>
                  <a:pt x="4527" y="2111"/>
                </a:lnTo>
                <a:lnTo>
                  <a:pt x="4527" y="2111"/>
                </a:lnTo>
                <a:lnTo>
                  <a:pt x="4527" y="2111"/>
                </a:lnTo>
                <a:lnTo>
                  <a:pt x="4527" y="2111"/>
                </a:lnTo>
                <a:lnTo>
                  <a:pt x="4527" y="2111"/>
                </a:lnTo>
                <a:lnTo>
                  <a:pt x="4527" y="2111"/>
                </a:lnTo>
                <a:lnTo>
                  <a:pt x="4527" y="2106"/>
                </a:lnTo>
                <a:lnTo>
                  <a:pt x="4527" y="2106"/>
                </a:lnTo>
                <a:lnTo>
                  <a:pt x="4527" y="2106"/>
                </a:lnTo>
                <a:lnTo>
                  <a:pt x="4533" y="2111"/>
                </a:lnTo>
                <a:lnTo>
                  <a:pt x="4533" y="2111"/>
                </a:lnTo>
                <a:lnTo>
                  <a:pt x="4533" y="2111"/>
                </a:lnTo>
                <a:lnTo>
                  <a:pt x="4533" y="2106"/>
                </a:lnTo>
                <a:lnTo>
                  <a:pt x="4533" y="2106"/>
                </a:lnTo>
                <a:lnTo>
                  <a:pt x="4533" y="2106"/>
                </a:lnTo>
                <a:lnTo>
                  <a:pt x="4533" y="2106"/>
                </a:lnTo>
                <a:lnTo>
                  <a:pt x="4539" y="2106"/>
                </a:lnTo>
                <a:lnTo>
                  <a:pt x="4533" y="2106"/>
                </a:lnTo>
                <a:lnTo>
                  <a:pt x="4533" y="2106"/>
                </a:lnTo>
                <a:lnTo>
                  <a:pt x="4533" y="2100"/>
                </a:lnTo>
                <a:lnTo>
                  <a:pt x="4533" y="2100"/>
                </a:lnTo>
                <a:lnTo>
                  <a:pt x="4533" y="2100"/>
                </a:lnTo>
                <a:lnTo>
                  <a:pt x="4533" y="2100"/>
                </a:lnTo>
                <a:lnTo>
                  <a:pt x="4533" y="2100"/>
                </a:lnTo>
                <a:lnTo>
                  <a:pt x="4527" y="2100"/>
                </a:lnTo>
                <a:lnTo>
                  <a:pt x="4527" y="2094"/>
                </a:lnTo>
                <a:lnTo>
                  <a:pt x="4527" y="2094"/>
                </a:lnTo>
                <a:lnTo>
                  <a:pt x="4527" y="2094"/>
                </a:lnTo>
                <a:lnTo>
                  <a:pt x="4527" y="2094"/>
                </a:lnTo>
                <a:lnTo>
                  <a:pt x="4527" y="2088"/>
                </a:lnTo>
                <a:lnTo>
                  <a:pt x="4527" y="2088"/>
                </a:lnTo>
                <a:lnTo>
                  <a:pt x="4527" y="2088"/>
                </a:lnTo>
                <a:lnTo>
                  <a:pt x="4527" y="2088"/>
                </a:lnTo>
                <a:lnTo>
                  <a:pt x="4527" y="2088"/>
                </a:lnTo>
                <a:lnTo>
                  <a:pt x="4533" y="2076"/>
                </a:lnTo>
                <a:lnTo>
                  <a:pt x="4533" y="2076"/>
                </a:lnTo>
                <a:lnTo>
                  <a:pt x="4533" y="2076"/>
                </a:lnTo>
                <a:lnTo>
                  <a:pt x="4533" y="2076"/>
                </a:lnTo>
                <a:lnTo>
                  <a:pt x="4533" y="2076"/>
                </a:lnTo>
                <a:lnTo>
                  <a:pt x="4533" y="2076"/>
                </a:lnTo>
                <a:lnTo>
                  <a:pt x="4533" y="2082"/>
                </a:lnTo>
                <a:lnTo>
                  <a:pt x="4527" y="2082"/>
                </a:lnTo>
                <a:lnTo>
                  <a:pt x="4527" y="2088"/>
                </a:lnTo>
                <a:lnTo>
                  <a:pt x="4527" y="2088"/>
                </a:lnTo>
                <a:lnTo>
                  <a:pt x="4527" y="2088"/>
                </a:lnTo>
                <a:lnTo>
                  <a:pt x="4527" y="2094"/>
                </a:lnTo>
                <a:lnTo>
                  <a:pt x="4533" y="2094"/>
                </a:lnTo>
                <a:lnTo>
                  <a:pt x="4533" y="2094"/>
                </a:lnTo>
                <a:lnTo>
                  <a:pt x="4533" y="2094"/>
                </a:lnTo>
                <a:lnTo>
                  <a:pt x="4533" y="2094"/>
                </a:lnTo>
                <a:lnTo>
                  <a:pt x="4533" y="2094"/>
                </a:lnTo>
                <a:lnTo>
                  <a:pt x="4533" y="2094"/>
                </a:lnTo>
                <a:lnTo>
                  <a:pt x="4533" y="2100"/>
                </a:lnTo>
                <a:lnTo>
                  <a:pt x="4533" y="2100"/>
                </a:lnTo>
                <a:lnTo>
                  <a:pt x="4533" y="2100"/>
                </a:lnTo>
                <a:lnTo>
                  <a:pt x="4533" y="2100"/>
                </a:lnTo>
                <a:lnTo>
                  <a:pt x="4539" y="2100"/>
                </a:lnTo>
                <a:lnTo>
                  <a:pt x="4539" y="2100"/>
                </a:lnTo>
                <a:lnTo>
                  <a:pt x="4539" y="2100"/>
                </a:lnTo>
                <a:lnTo>
                  <a:pt x="4539" y="2088"/>
                </a:lnTo>
                <a:lnTo>
                  <a:pt x="4539" y="2088"/>
                </a:lnTo>
                <a:lnTo>
                  <a:pt x="4539" y="2082"/>
                </a:lnTo>
                <a:lnTo>
                  <a:pt x="4539" y="2082"/>
                </a:lnTo>
                <a:lnTo>
                  <a:pt x="4539" y="2076"/>
                </a:lnTo>
                <a:lnTo>
                  <a:pt x="4551" y="2064"/>
                </a:lnTo>
                <a:lnTo>
                  <a:pt x="4563" y="2052"/>
                </a:lnTo>
                <a:lnTo>
                  <a:pt x="4563" y="2046"/>
                </a:lnTo>
                <a:lnTo>
                  <a:pt x="4569" y="2046"/>
                </a:lnTo>
                <a:lnTo>
                  <a:pt x="4575" y="2040"/>
                </a:lnTo>
                <a:lnTo>
                  <a:pt x="4581" y="2034"/>
                </a:lnTo>
                <a:lnTo>
                  <a:pt x="4587" y="2028"/>
                </a:lnTo>
                <a:lnTo>
                  <a:pt x="4593" y="2028"/>
                </a:lnTo>
                <a:lnTo>
                  <a:pt x="4598" y="2028"/>
                </a:lnTo>
                <a:lnTo>
                  <a:pt x="4598" y="2022"/>
                </a:lnTo>
                <a:lnTo>
                  <a:pt x="4598" y="2022"/>
                </a:lnTo>
                <a:lnTo>
                  <a:pt x="4598" y="2022"/>
                </a:lnTo>
                <a:lnTo>
                  <a:pt x="4593" y="2022"/>
                </a:lnTo>
                <a:lnTo>
                  <a:pt x="4593" y="2022"/>
                </a:lnTo>
                <a:lnTo>
                  <a:pt x="4593" y="2022"/>
                </a:lnTo>
                <a:lnTo>
                  <a:pt x="4598" y="2022"/>
                </a:lnTo>
                <a:lnTo>
                  <a:pt x="4598" y="2022"/>
                </a:lnTo>
                <a:lnTo>
                  <a:pt x="4598" y="2022"/>
                </a:lnTo>
                <a:lnTo>
                  <a:pt x="4598" y="2022"/>
                </a:lnTo>
                <a:lnTo>
                  <a:pt x="4598" y="2022"/>
                </a:lnTo>
                <a:lnTo>
                  <a:pt x="4598" y="2022"/>
                </a:lnTo>
                <a:lnTo>
                  <a:pt x="4598" y="2022"/>
                </a:lnTo>
                <a:lnTo>
                  <a:pt x="4598" y="2022"/>
                </a:lnTo>
                <a:lnTo>
                  <a:pt x="4604" y="2022"/>
                </a:lnTo>
                <a:lnTo>
                  <a:pt x="4604" y="2022"/>
                </a:lnTo>
                <a:lnTo>
                  <a:pt x="4616" y="2017"/>
                </a:lnTo>
                <a:lnTo>
                  <a:pt x="4616" y="2017"/>
                </a:lnTo>
                <a:lnTo>
                  <a:pt x="4616" y="2017"/>
                </a:lnTo>
                <a:lnTo>
                  <a:pt x="4616" y="2017"/>
                </a:lnTo>
                <a:lnTo>
                  <a:pt x="4616" y="2017"/>
                </a:lnTo>
                <a:lnTo>
                  <a:pt x="4616" y="2017"/>
                </a:lnTo>
                <a:lnTo>
                  <a:pt x="4616" y="2017"/>
                </a:lnTo>
                <a:lnTo>
                  <a:pt x="4616" y="2017"/>
                </a:lnTo>
                <a:lnTo>
                  <a:pt x="4616" y="2017"/>
                </a:lnTo>
                <a:lnTo>
                  <a:pt x="4622" y="2017"/>
                </a:lnTo>
                <a:lnTo>
                  <a:pt x="4628" y="2017"/>
                </a:lnTo>
                <a:lnTo>
                  <a:pt x="4634" y="2017"/>
                </a:lnTo>
                <a:lnTo>
                  <a:pt x="4634" y="2017"/>
                </a:lnTo>
                <a:lnTo>
                  <a:pt x="4640" y="2017"/>
                </a:lnTo>
                <a:lnTo>
                  <a:pt x="4640" y="2017"/>
                </a:lnTo>
                <a:lnTo>
                  <a:pt x="4652" y="2022"/>
                </a:lnTo>
                <a:lnTo>
                  <a:pt x="4652" y="2022"/>
                </a:lnTo>
                <a:lnTo>
                  <a:pt x="4652" y="2022"/>
                </a:lnTo>
                <a:lnTo>
                  <a:pt x="4652" y="2022"/>
                </a:lnTo>
                <a:lnTo>
                  <a:pt x="4652" y="2022"/>
                </a:lnTo>
                <a:lnTo>
                  <a:pt x="4652" y="2017"/>
                </a:lnTo>
                <a:lnTo>
                  <a:pt x="4658" y="2017"/>
                </a:lnTo>
                <a:lnTo>
                  <a:pt x="4658" y="2011"/>
                </a:lnTo>
                <a:lnTo>
                  <a:pt x="4658" y="2011"/>
                </a:lnTo>
                <a:lnTo>
                  <a:pt x="4658" y="2011"/>
                </a:lnTo>
                <a:lnTo>
                  <a:pt x="4658" y="2005"/>
                </a:lnTo>
                <a:lnTo>
                  <a:pt x="4658" y="2005"/>
                </a:lnTo>
                <a:lnTo>
                  <a:pt x="4658" y="1999"/>
                </a:lnTo>
                <a:lnTo>
                  <a:pt x="4658" y="1999"/>
                </a:lnTo>
                <a:lnTo>
                  <a:pt x="4658" y="1999"/>
                </a:lnTo>
                <a:lnTo>
                  <a:pt x="4658" y="1999"/>
                </a:lnTo>
                <a:lnTo>
                  <a:pt x="4658" y="1993"/>
                </a:lnTo>
                <a:lnTo>
                  <a:pt x="4658" y="1987"/>
                </a:lnTo>
                <a:lnTo>
                  <a:pt x="4658" y="1987"/>
                </a:lnTo>
                <a:lnTo>
                  <a:pt x="4658" y="1987"/>
                </a:lnTo>
                <a:lnTo>
                  <a:pt x="4658" y="1993"/>
                </a:lnTo>
                <a:lnTo>
                  <a:pt x="4664" y="1993"/>
                </a:lnTo>
                <a:lnTo>
                  <a:pt x="4664" y="1999"/>
                </a:lnTo>
                <a:lnTo>
                  <a:pt x="4664" y="2011"/>
                </a:lnTo>
                <a:lnTo>
                  <a:pt x="4658" y="2011"/>
                </a:lnTo>
                <a:lnTo>
                  <a:pt x="4658" y="2011"/>
                </a:lnTo>
                <a:lnTo>
                  <a:pt x="4658" y="2011"/>
                </a:lnTo>
                <a:lnTo>
                  <a:pt x="4664" y="2011"/>
                </a:lnTo>
                <a:lnTo>
                  <a:pt x="4664" y="2011"/>
                </a:lnTo>
                <a:lnTo>
                  <a:pt x="4664" y="2011"/>
                </a:lnTo>
                <a:lnTo>
                  <a:pt x="4664" y="2017"/>
                </a:lnTo>
                <a:lnTo>
                  <a:pt x="4658" y="2017"/>
                </a:lnTo>
                <a:lnTo>
                  <a:pt x="4664" y="2017"/>
                </a:lnTo>
                <a:lnTo>
                  <a:pt x="4664" y="2011"/>
                </a:lnTo>
                <a:lnTo>
                  <a:pt x="4664" y="2011"/>
                </a:lnTo>
                <a:lnTo>
                  <a:pt x="4664" y="2005"/>
                </a:lnTo>
                <a:lnTo>
                  <a:pt x="4664" y="1999"/>
                </a:lnTo>
                <a:lnTo>
                  <a:pt x="4670" y="1993"/>
                </a:lnTo>
                <a:lnTo>
                  <a:pt x="4670" y="1993"/>
                </a:lnTo>
                <a:lnTo>
                  <a:pt x="4670" y="1987"/>
                </a:lnTo>
                <a:lnTo>
                  <a:pt x="4670" y="1987"/>
                </a:lnTo>
                <a:lnTo>
                  <a:pt x="4670" y="1981"/>
                </a:lnTo>
                <a:lnTo>
                  <a:pt x="4670" y="1981"/>
                </a:lnTo>
                <a:lnTo>
                  <a:pt x="4675" y="1981"/>
                </a:lnTo>
                <a:lnTo>
                  <a:pt x="4681" y="1969"/>
                </a:lnTo>
                <a:lnTo>
                  <a:pt x="4687" y="1963"/>
                </a:lnTo>
                <a:lnTo>
                  <a:pt x="4699" y="1951"/>
                </a:lnTo>
                <a:lnTo>
                  <a:pt x="4711" y="1945"/>
                </a:lnTo>
                <a:lnTo>
                  <a:pt x="4711" y="1945"/>
                </a:lnTo>
                <a:lnTo>
                  <a:pt x="4711" y="1945"/>
                </a:lnTo>
                <a:lnTo>
                  <a:pt x="4711" y="1945"/>
                </a:lnTo>
                <a:lnTo>
                  <a:pt x="4717" y="1945"/>
                </a:lnTo>
                <a:lnTo>
                  <a:pt x="4717" y="1945"/>
                </a:lnTo>
                <a:lnTo>
                  <a:pt x="4717" y="1945"/>
                </a:lnTo>
                <a:lnTo>
                  <a:pt x="4717" y="1945"/>
                </a:lnTo>
                <a:lnTo>
                  <a:pt x="4717" y="1945"/>
                </a:lnTo>
                <a:lnTo>
                  <a:pt x="4717" y="1945"/>
                </a:lnTo>
                <a:lnTo>
                  <a:pt x="4717" y="1939"/>
                </a:lnTo>
                <a:lnTo>
                  <a:pt x="4717" y="1939"/>
                </a:lnTo>
                <a:lnTo>
                  <a:pt x="4711" y="1939"/>
                </a:lnTo>
                <a:lnTo>
                  <a:pt x="4711" y="1939"/>
                </a:lnTo>
                <a:lnTo>
                  <a:pt x="4711" y="1939"/>
                </a:lnTo>
                <a:lnTo>
                  <a:pt x="4711" y="1939"/>
                </a:lnTo>
                <a:lnTo>
                  <a:pt x="4711" y="1939"/>
                </a:lnTo>
                <a:lnTo>
                  <a:pt x="4711" y="1939"/>
                </a:lnTo>
                <a:lnTo>
                  <a:pt x="4711" y="1939"/>
                </a:lnTo>
                <a:lnTo>
                  <a:pt x="4711" y="1939"/>
                </a:lnTo>
                <a:lnTo>
                  <a:pt x="4711" y="1934"/>
                </a:lnTo>
                <a:lnTo>
                  <a:pt x="4711" y="1934"/>
                </a:lnTo>
                <a:lnTo>
                  <a:pt x="4711" y="1934"/>
                </a:lnTo>
                <a:lnTo>
                  <a:pt x="4711" y="1934"/>
                </a:lnTo>
                <a:lnTo>
                  <a:pt x="4711" y="1934"/>
                </a:lnTo>
                <a:lnTo>
                  <a:pt x="4711" y="1934"/>
                </a:lnTo>
                <a:lnTo>
                  <a:pt x="4711" y="1934"/>
                </a:lnTo>
                <a:lnTo>
                  <a:pt x="4711" y="1934"/>
                </a:lnTo>
                <a:lnTo>
                  <a:pt x="4717" y="1934"/>
                </a:lnTo>
                <a:lnTo>
                  <a:pt x="4717" y="1934"/>
                </a:lnTo>
                <a:lnTo>
                  <a:pt x="4717" y="1934"/>
                </a:lnTo>
                <a:lnTo>
                  <a:pt x="4717" y="1928"/>
                </a:lnTo>
                <a:lnTo>
                  <a:pt x="4717" y="1928"/>
                </a:lnTo>
                <a:lnTo>
                  <a:pt x="4717" y="1928"/>
                </a:lnTo>
                <a:lnTo>
                  <a:pt x="4717" y="1928"/>
                </a:lnTo>
                <a:lnTo>
                  <a:pt x="4711" y="1928"/>
                </a:lnTo>
                <a:lnTo>
                  <a:pt x="4711" y="1928"/>
                </a:lnTo>
                <a:lnTo>
                  <a:pt x="4711" y="1928"/>
                </a:lnTo>
                <a:lnTo>
                  <a:pt x="4711" y="1922"/>
                </a:lnTo>
                <a:lnTo>
                  <a:pt x="4711" y="1922"/>
                </a:lnTo>
                <a:lnTo>
                  <a:pt x="4711" y="1916"/>
                </a:lnTo>
                <a:lnTo>
                  <a:pt x="4711" y="1922"/>
                </a:lnTo>
                <a:lnTo>
                  <a:pt x="4711" y="1922"/>
                </a:lnTo>
                <a:lnTo>
                  <a:pt x="4711" y="1922"/>
                </a:lnTo>
                <a:lnTo>
                  <a:pt x="4717" y="1922"/>
                </a:lnTo>
                <a:lnTo>
                  <a:pt x="4717" y="1922"/>
                </a:lnTo>
                <a:lnTo>
                  <a:pt x="4717" y="1922"/>
                </a:lnTo>
                <a:lnTo>
                  <a:pt x="4717" y="1922"/>
                </a:lnTo>
                <a:lnTo>
                  <a:pt x="4717" y="1922"/>
                </a:lnTo>
                <a:lnTo>
                  <a:pt x="4717" y="1922"/>
                </a:lnTo>
                <a:lnTo>
                  <a:pt x="4717" y="1922"/>
                </a:lnTo>
                <a:lnTo>
                  <a:pt x="4717" y="1922"/>
                </a:lnTo>
                <a:lnTo>
                  <a:pt x="4717" y="1928"/>
                </a:lnTo>
                <a:lnTo>
                  <a:pt x="4717" y="1928"/>
                </a:lnTo>
                <a:lnTo>
                  <a:pt x="4723" y="1928"/>
                </a:lnTo>
                <a:lnTo>
                  <a:pt x="4723" y="1928"/>
                </a:lnTo>
                <a:lnTo>
                  <a:pt x="4717" y="1934"/>
                </a:lnTo>
                <a:lnTo>
                  <a:pt x="4717" y="1934"/>
                </a:lnTo>
                <a:lnTo>
                  <a:pt x="4711" y="1939"/>
                </a:lnTo>
                <a:lnTo>
                  <a:pt x="4717" y="1939"/>
                </a:lnTo>
                <a:lnTo>
                  <a:pt x="4717" y="1939"/>
                </a:lnTo>
                <a:lnTo>
                  <a:pt x="4717" y="1939"/>
                </a:lnTo>
                <a:lnTo>
                  <a:pt x="4723" y="1939"/>
                </a:lnTo>
                <a:lnTo>
                  <a:pt x="4723" y="1939"/>
                </a:lnTo>
                <a:lnTo>
                  <a:pt x="4723" y="1939"/>
                </a:lnTo>
                <a:lnTo>
                  <a:pt x="4723" y="1939"/>
                </a:lnTo>
                <a:lnTo>
                  <a:pt x="4729" y="1934"/>
                </a:lnTo>
                <a:lnTo>
                  <a:pt x="4729" y="1934"/>
                </a:lnTo>
                <a:lnTo>
                  <a:pt x="4735" y="1928"/>
                </a:lnTo>
                <a:lnTo>
                  <a:pt x="4735" y="1928"/>
                </a:lnTo>
                <a:lnTo>
                  <a:pt x="4735" y="1928"/>
                </a:lnTo>
                <a:lnTo>
                  <a:pt x="4735" y="1928"/>
                </a:lnTo>
                <a:lnTo>
                  <a:pt x="4735" y="1928"/>
                </a:lnTo>
                <a:lnTo>
                  <a:pt x="4735" y="1928"/>
                </a:lnTo>
                <a:lnTo>
                  <a:pt x="4735" y="1928"/>
                </a:lnTo>
                <a:lnTo>
                  <a:pt x="4735" y="1922"/>
                </a:lnTo>
                <a:lnTo>
                  <a:pt x="4735" y="1922"/>
                </a:lnTo>
                <a:lnTo>
                  <a:pt x="4741" y="1928"/>
                </a:lnTo>
                <a:lnTo>
                  <a:pt x="4741" y="1928"/>
                </a:lnTo>
                <a:lnTo>
                  <a:pt x="4741" y="1928"/>
                </a:lnTo>
                <a:lnTo>
                  <a:pt x="4741" y="1928"/>
                </a:lnTo>
                <a:lnTo>
                  <a:pt x="4741" y="1922"/>
                </a:lnTo>
                <a:lnTo>
                  <a:pt x="4741" y="1922"/>
                </a:lnTo>
                <a:lnTo>
                  <a:pt x="4741" y="1922"/>
                </a:lnTo>
                <a:lnTo>
                  <a:pt x="4741" y="1922"/>
                </a:lnTo>
                <a:lnTo>
                  <a:pt x="4741" y="1922"/>
                </a:lnTo>
                <a:lnTo>
                  <a:pt x="4741" y="1922"/>
                </a:lnTo>
                <a:lnTo>
                  <a:pt x="4741" y="1922"/>
                </a:lnTo>
                <a:lnTo>
                  <a:pt x="4741" y="1916"/>
                </a:lnTo>
                <a:lnTo>
                  <a:pt x="4741" y="1916"/>
                </a:lnTo>
                <a:lnTo>
                  <a:pt x="4741" y="1916"/>
                </a:lnTo>
                <a:lnTo>
                  <a:pt x="4741" y="1916"/>
                </a:lnTo>
                <a:lnTo>
                  <a:pt x="4741" y="1916"/>
                </a:lnTo>
                <a:lnTo>
                  <a:pt x="4741" y="1916"/>
                </a:lnTo>
                <a:lnTo>
                  <a:pt x="4741" y="1916"/>
                </a:lnTo>
                <a:lnTo>
                  <a:pt x="4741" y="1922"/>
                </a:lnTo>
                <a:lnTo>
                  <a:pt x="4741" y="1922"/>
                </a:lnTo>
                <a:lnTo>
                  <a:pt x="4747" y="1922"/>
                </a:lnTo>
                <a:lnTo>
                  <a:pt x="4741" y="1922"/>
                </a:lnTo>
                <a:lnTo>
                  <a:pt x="4741" y="1928"/>
                </a:lnTo>
                <a:lnTo>
                  <a:pt x="4747" y="1928"/>
                </a:lnTo>
                <a:lnTo>
                  <a:pt x="4747" y="1928"/>
                </a:lnTo>
                <a:lnTo>
                  <a:pt x="4747" y="1928"/>
                </a:lnTo>
                <a:lnTo>
                  <a:pt x="4747" y="1928"/>
                </a:lnTo>
                <a:lnTo>
                  <a:pt x="4758" y="1922"/>
                </a:lnTo>
                <a:lnTo>
                  <a:pt x="4764" y="1922"/>
                </a:lnTo>
                <a:lnTo>
                  <a:pt x="4782" y="1922"/>
                </a:lnTo>
                <a:lnTo>
                  <a:pt x="4782" y="1922"/>
                </a:lnTo>
                <a:lnTo>
                  <a:pt x="4782" y="1916"/>
                </a:lnTo>
                <a:lnTo>
                  <a:pt x="4782" y="1916"/>
                </a:lnTo>
                <a:lnTo>
                  <a:pt x="4782" y="1916"/>
                </a:lnTo>
                <a:lnTo>
                  <a:pt x="4782" y="1916"/>
                </a:lnTo>
                <a:lnTo>
                  <a:pt x="4776" y="1916"/>
                </a:lnTo>
                <a:lnTo>
                  <a:pt x="4776" y="1916"/>
                </a:lnTo>
                <a:lnTo>
                  <a:pt x="4776" y="1916"/>
                </a:lnTo>
                <a:lnTo>
                  <a:pt x="4776" y="1916"/>
                </a:lnTo>
                <a:lnTo>
                  <a:pt x="4782" y="1916"/>
                </a:lnTo>
                <a:lnTo>
                  <a:pt x="4782" y="1910"/>
                </a:lnTo>
                <a:lnTo>
                  <a:pt x="4782" y="1910"/>
                </a:lnTo>
                <a:lnTo>
                  <a:pt x="4788" y="1910"/>
                </a:lnTo>
                <a:lnTo>
                  <a:pt x="4788" y="1916"/>
                </a:lnTo>
                <a:lnTo>
                  <a:pt x="4788" y="1916"/>
                </a:lnTo>
                <a:lnTo>
                  <a:pt x="4788" y="1922"/>
                </a:lnTo>
                <a:lnTo>
                  <a:pt x="4788" y="1922"/>
                </a:lnTo>
                <a:lnTo>
                  <a:pt x="4788" y="1922"/>
                </a:lnTo>
                <a:lnTo>
                  <a:pt x="4788" y="1922"/>
                </a:lnTo>
                <a:lnTo>
                  <a:pt x="4794" y="1922"/>
                </a:lnTo>
                <a:lnTo>
                  <a:pt x="4794" y="1916"/>
                </a:lnTo>
                <a:lnTo>
                  <a:pt x="4794" y="1910"/>
                </a:lnTo>
                <a:lnTo>
                  <a:pt x="4794" y="1910"/>
                </a:lnTo>
                <a:lnTo>
                  <a:pt x="4794" y="1910"/>
                </a:lnTo>
                <a:lnTo>
                  <a:pt x="4794" y="1910"/>
                </a:lnTo>
                <a:lnTo>
                  <a:pt x="4794" y="1910"/>
                </a:lnTo>
                <a:lnTo>
                  <a:pt x="4794" y="1916"/>
                </a:lnTo>
                <a:lnTo>
                  <a:pt x="4794" y="1916"/>
                </a:lnTo>
                <a:lnTo>
                  <a:pt x="4794" y="1916"/>
                </a:lnTo>
                <a:lnTo>
                  <a:pt x="4794" y="1916"/>
                </a:lnTo>
                <a:lnTo>
                  <a:pt x="4794" y="1922"/>
                </a:lnTo>
                <a:lnTo>
                  <a:pt x="4800" y="1922"/>
                </a:lnTo>
                <a:lnTo>
                  <a:pt x="4800" y="1922"/>
                </a:lnTo>
                <a:lnTo>
                  <a:pt x="4800" y="1922"/>
                </a:lnTo>
                <a:lnTo>
                  <a:pt x="4800" y="1922"/>
                </a:lnTo>
                <a:lnTo>
                  <a:pt x="4800" y="1922"/>
                </a:lnTo>
                <a:lnTo>
                  <a:pt x="4806" y="1922"/>
                </a:lnTo>
                <a:lnTo>
                  <a:pt x="4806" y="1916"/>
                </a:lnTo>
                <a:lnTo>
                  <a:pt x="4806" y="1916"/>
                </a:lnTo>
                <a:lnTo>
                  <a:pt x="4806" y="1916"/>
                </a:lnTo>
                <a:lnTo>
                  <a:pt x="4806" y="1916"/>
                </a:lnTo>
                <a:lnTo>
                  <a:pt x="4806" y="1916"/>
                </a:lnTo>
                <a:lnTo>
                  <a:pt x="4806" y="1916"/>
                </a:lnTo>
                <a:lnTo>
                  <a:pt x="4806" y="1916"/>
                </a:lnTo>
                <a:lnTo>
                  <a:pt x="4806" y="1916"/>
                </a:lnTo>
                <a:lnTo>
                  <a:pt x="4806" y="1916"/>
                </a:lnTo>
                <a:lnTo>
                  <a:pt x="4806" y="1916"/>
                </a:lnTo>
                <a:lnTo>
                  <a:pt x="4806" y="1916"/>
                </a:lnTo>
                <a:lnTo>
                  <a:pt x="4806" y="1916"/>
                </a:lnTo>
                <a:lnTo>
                  <a:pt x="4812" y="1910"/>
                </a:lnTo>
                <a:lnTo>
                  <a:pt x="4812" y="1910"/>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8" y="1904"/>
                </a:lnTo>
                <a:lnTo>
                  <a:pt x="4818" y="1904"/>
                </a:lnTo>
                <a:lnTo>
                  <a:pt x="4818" y="1898"/>
                </a:lnTo>
                <a:lnTo>
                  <a:pt x="4818" y="1898"/>
                </a:lnTo>
                <a:lnTo>
                  <a:pt x="4818" y="1898"/>
                </a:lnTo>
                <a:lnTo>
                  <a:pt x="4818" y="1898"/>
                </a:lnTo>
                <a:lnTo>
                  <a:pt x="4818" y="1898"/>
                </a:lnTo>
                <a:lnTo>
                  <a:pt x="4818" y="1898"/>
                </a:lnTo>
                <a:lnTo>
                  <a:pt x="4818" y="1892"/>
                </a:lnTo>
                <a:lnTo>
                  <a:pt x="4818" y="1892"/>
                </a:lnTo>
                <a:lnTo>
                  <a:pt x="4818" y="1892"/>
                </a:lnTo>
                <a:lnTo>
                  <a:pt x="4824" y="1892"/>
                </a:lnTo>
                <a:lnTo>
                  <a:pt x="4824" y="1892"/>
                </a:lnTo>
                <a:lnTo>
                  <a:pt x="4824" y="1892"/>
                </a:lnTo>
                <a:lnTo>
                  <a:pt x="4824" y="1892"/>
                </a:lnTo>
                <a:lnTo>
                  <a:pt x="4824" y="1892"/>
                </a:lnTo>
                <a:lnTo>
                  <a:pt x="4824" y="1892"/>
                </a:lnTo>
                <a:lnTo>
                  <a:pt x="4824" y="1892"/>
                </a:lnTo>
                <a:lnTo>
                  <a:pt x="4824" y="1892"/>
                </a:lnTo>
                <a:lnTo>
                  <a:pt x="4824" y="1892"/>
                </a:lnTo>
                <a:lnTo>
                  <a:pt x="4824" y="1886"/>
                </a:lnTo>
                <a:lnTo>
                  <a:pt x="4824" y="1886"/>
                </a:lnTo>
                <a:lnTo>
                  <a:pt x="4824" y="1886"/>
                </a:lnTo>
                <a:lnTo>
                  <a:pt x="4818" y="1886"/>
                </a:lnTo>
                <a:lnTo>
                  <a:pt x="4818" y="1886"/>
                </a:lnTo>
                <a:lnTo>
                  <a:pt x="4818" y="1886"/>
                </a:lnTo>
                <a:lnTo>
                  <a:pt x="4818" y="1886"/>
                </a:lnTo>
                <a:lnTo>
                  <a:pt x="4818" y="1886"/>
                </a:lnTo>
                <a:lnTo>
                  <a:pt x="4818" y="1886"/>
                </a:lnTo>
                <a:lnTo>
                  <a:pt x="4824" y="1892"/>
                </a:lnTo>
                <a:lnTo>
                  <a:pt x="4818" y="1892"/>
                </a:lnTo>
                <a:lnTo>
                  <a:pt x="4818" y="1892"/>
                </a:lnTo>
                <a:lnTo>
                  <a:pt x="4818" y="1892"/>
                </a:lnTo>
                <a:lnTo>
                  <a:pt x="4818" y="1892"/>
                </a:lnTo>
                <a:lnTo>
                  <a:pt x="4818" y="1892"/>
                </a:lnTo>
                <a:lnTo>
                  <a:pt x="4812" y="1892"/>
                </a:lnTo>
                <a:lnTo>
                  <a:pt x="4812" y="1892"/>
                </a:lnTo>
                <a:lnTo>
                  <a:pt x="4812" y="1892"/>
                </a:lnTo>
                <a:lnTo>
                  <a:pt x="4812" y="1892"/>
                </a:lnTo>
                <a:lnTo>
                  <a:pt x="4806" y="1892"/>
                </a:lnTo>
                <a:lnTo>
                  <a:pt x="4806" y="1892"/>
                </a:lnTo>
                <a:lnTo>
                  <a:pt x="4806" y="1892"/>
                </a:lnTo>
                <a:lnTo>
                  <a:pt x="4806" y="1892"/>
                </a:lnTo>
                <a:lnTo>
                  <a:pt x="4806" y="1892"/>
                </a:lnTo>
                <a:lnTo>
                  <a:pt x="4806" y="1892"/>
                </a:lnTo>
                <a:lnTo>
                  <a:pt x="4806" y="1892"/>
                </a:lnTo>
                <a:lnTo>
                  <a:pt x="4806" y="1892"/>
                </a:lnTo>
                <a:lnTo>
                  <a:pt x="4806" y="1892"/>
                </a:lnTo>
                <a:lnTo>
                  <a:pt x="4806" y="1892"/>
                </a:lnTo>
                <a:lnTo>
                  <a:pt x="4812" y="1892"/>
                </a:lnTo>
                <a:lnTo>
                  <a:pt x="4812" y="1892"/>
                </a:lnTo>
                <a:lnTo>
                  <a:pt x="4812" y="1892"/>
                </a:lnTo>
                <a:lnTo>
                  <a:pt x="4812" y="1886"/>
                </a:lnTo>
                <a:lnTo>
                  <a:pt x="4812" y="1886"/>
                </a:lnTo>
                <a:lnTo>
                  <a:pt x="4812" y="1886"/>
                </a:lnTo>
                <a:lnTo>
                  <a:pt x="4812" y="1886"/>
                </a:lnTo>
                <a:lnTo>
                  <a:pt x="4812" y="1886"/>
                </a:lnTo>
                <a:lnTo>
                  <a:pt x="4812" y="1880"/>
                </a:lnTo>
                <a:lnTo>
                  <a:pt x="4812" y="1880"/>
                </a:lnTo>
                <a:lnTo>
                  <a:pt x="4812" y="1880"/>
                </a:lnTo>
                <a:lnTo>
                  <a:pt x="4806" y="1880"/>
                </a:lnTo>
                <a:lnTo>
                  <a:pt x="4806" y="1880"/>
                </a:lnTo>
                <a:lnTo>
                  <a:pt x="4806" y="1880"/>
                </a:lnTo>
                <a:lnTo>
                  <a:pt x="4806" y="1880"/>
                </a:lnTo>
                <a:lnTo>
                  <a:pt x="4806" y="1880"/>
                </a:lnTo>
                <a:lnTo>
                  <a:pt x="4806" y="1880"/>
                </a:lnTo>
                <a:lnTo>
                  <a:pt x="4806" y="1880"/>
                </a:lnTo>
                <a:lnTo>
                  <a:pt x="4806" y="1886"/>
                </a:lnTo>
                <a:lnTo>
                  <a:pt x="4806" y="1886"/>
                </a:lnTo>
                <a:lnTo>
                  <a:pt x="4806" y="1886"/>
                </a:lnTo>
                <a:lnTo>
                  <a:pt x="4806" y="1886"/>
                </a:lnTo>
                <a:lnTo>
                  <a:pt x="4806" y="1886"/>
                </a:lnTo>
                <a:lnTo>
                  <a:pt x="4806" y="1886"/>
                </a:lnTo>
                <a:lnTo>
                  <a:pt x="4806" y="1886"/>
                </a:lnTo>
                <a:lnTo>
                  <a:pt x="4806" y="1892"/>
                </a:lnTo>
                <a:lnTo>
                  <a:pt x="4806" y="1892"/>
                </a:lnTo>
                <a:lnTo>
                  <a:pt x="4806" y="1892"/>
                </a:lnTo>
                <a:lnTo>
                  <a:pt x="4806" y="1886"/>
                </a:lnTo>
                <a:lnTo>
                  <a:pt x="4800" y="1886"/>
                </a:lnTo>
                <a:lnTo>
                  <a:pt x="4800" y="1886"/>
                </a:lnTo>
                <a:lnTo>
                  <a:pt x="4800" y="1886"/>
                </a:lnTo>
                <a:lnTo>
                  <a:pt x="4794" y="1886"/>
                </a:lnTo>
                <a:lnTo>
                  <a:pt x="4794" y="1886"/>
                </a:lnTo>
                <a:lnTo>
                  <a:pt x="4794" y="1892"/>
                </a:lnTo>
                <a:lnTo>
                  <a:pt x="4800" y="1892"/>
                </a:lnTo>
                <a:lnTo>
                  <a:pt x="4800" y="1898"/>
                </a:lnTo>
                <a:lnTo>
                  <a:pt x="4800" y="1898"/>
                </a:lnTo>
                <a:lnTo>
                  <a:pt x="4800" y="1892"/>
                </a:lnTo>
                <a:lnTo>
                  <a:pt x="4800" y="1892"/>
                </a:lnTo>
                <a:lnTo>
                  <a:pt x="4794" y="1892"/>
                </a:lnTo>
                <a:lnTo>
                  <a:pt x="4794" y="1892"/>
                </a:lnTo>
                <a:lnTo>
                  <a:pt x="4794" y="1892"/>
                </a:lnTo>
                <a:lnTo>
                  <a:pt x="4794" y="1892"/>
                </a:lnTo>
                <a:lnTo>
                  <a:pt x="4794" y="1892"/>
                </a:lnTo>
                <a:lnTo>
                  <a:pt x="4794" y="1892"/>
                </a:lnTo>
                <a:lnTo>
                  <a:pt x="4794" y="1892"/>
                </a:lnTo>
                <a:lnTo>
                  <a:pt x="4794" y="1886"/>
                </a:lnTo>
                <a:lnTo>
                  <a:pt x="4788" y="1886"/>
                </a:lnTo>
                <a:lnTo>
                  <a:pt x="4788" y="1892"/>
                </a:lnTo>
                <a:lnTo>
                  <a:pt x="4788" y="1892"/>
                </a:lnTo>
                <a:lnTo>
                  <a:pt x="4788" y="1892"/>
                </a:lnTo>
                <a:lnTo>
                  <a:pt x="4788" y="1892"/>
                </a:lnTo>
                <a:lnTo>
                  <a:pt x="4788" y="1892"/>
                </a:lnTo>
                <a:lnTo>
                  <a:pt x="4782" y="1892"/>
                </a:lnTo>
                <a:lnTo>
                  <a:pt x="4782" y="1898"/>
                </a:lnTo>
                <a:lnTo>
                  <a:pt x="4782" y="1898"/>
                </a:lnTo>
                <a:lnTo>
                  <a:pt x="4776" y="1898"/>
                </a:lnTo>
                <a:lnTo>
                  <a:pt x="4776" y="1898"/>
                </a:lnTo>
                <a:lnTo>
                  <a:pt x="4776" y="1898"/>
                </a:lnTo>
                <a:lnTo>
                  <a:pt x="4776" y="1898"/>
                </a:lnTo>
                <a:lnTo>
                  <a:pt x="4776" y="1898"/>
                </a:lnTo>
                <a:lnTo>
                  <a:pt x="4776" y="1898"/>
                </a:lnTo>
                <a:lnTo>
                  <a:pt x="4776" y="1898"/>
                </a:lnTo>
                <a:lnTo>
                  <a:pt x="4770" y="1892"/>
                </a:lnTo>
                <a:lnTo>
                  <a:pt x="4770" y="1892"/>
                </a:lnTo>
                <a:lnTo>
                  <a:pt x="4764" y="1892"/>
                </a:lnTo>
                <a:lnTo>
                  <a:pt x="4764" y="1892"/>
                </a:lnTo>
                <a:lnTo>
                  <a:pt x="4764" y="1892"/>
                </a:lnTo>
                <a:lnTo>
                  <a:pt x="4758" y="1892"/>
                </a:lnTo>
                <a:lnTo>
                  <a:pt x="4758" y="1886"/>
                </a:lnTo>
                <a:lnTo>
                  <a:pt x="4758" y="1886"/>
                </a:lnTo>
                <a:lnTo>
                  <a:pt x="4753" y="1880"/>
                </a:lnTo>
                <a:lnTo>
                  <a:pt x="4753" y="1880"/>
                </a:lnTo>
                <a:lnTo>
                  <a:pt x="4753" y="1880"/>
                </a:lnTo>
                <a:lnTo>
                  <a:pt x="4753" y="1880"/>
                </a:lnTo>
                <a:lnTo>
                  <a:pt x="4753" y="1874"/>
                </a:lnTo>
                <a:lnTo>
                  <a:pt x="4753" y="1874"/>
                </a:lnTo>
                <a:lnTo>
                  <a:pt x="4753" y="1874"/>
                </a:lnTo>
                <a:lnTo>
                  <a:pt x="4747" y="1868"/>
                </a:lnTo>
                <a:lnTo>
                  <a:pt x="4747" y="1868"/>
                </a:lnTo>
                <a:lnTo>
                  <a:pt x="4753" y="1874"/>
                </a:lnTo>
                <a:lnTo>
                  <a:pt x="4753" y="1874"/>
                </a:lnTo>
                <a:lnTo>
                  <a:pt x="4758" y="1880"/>
                </a:lnTo>
                <a:lnTo>
                  <a:pt x="4758" y="1880"/>
                </a:lnTo>
                <a:lnTo>
                  <a:pt x="4764" y="1886"/>
                </a:lnTo>
                <a:lnTo>
                  <a:pt x="4764" y="1886"/>
                </a:lnTo>
                <a:lnTo>
                  <a:pt x="4764" y="1886"/>
                </a:lnTo>
                <a:lnTo>
                  <a:pt x="4764" y="1886"/>
                </a:lnTo>
                <a:lnTo>
                  <a:pt x="4770" y="1886"/>
                </a:lnTo>
                <a:lnTo>
                  <a:pt x="4770" y="1886"/>
                </a:lnTo>
                <a:lnTo>
                  <a:pt x="4776" y="1886"/>
                </a:lnTo>
                <a:lnTo>
                  <a:pt x="4776" y="1886"/>
                </a:lnTo>
                <a:lnTo>
                  <a:pt x="4782" y="1886"/>
                </a:lnTo>
                <a:lnTo>
                  <a:pt x="4782" y="1886"/>
                </a:lnTo>
                <a:lnTo>
                  <a:pt x="4782" y="1880"/>
                </a:lnTo>
                <a:lnTo>
                  <a:pt x="4788" y="1880"/>
                </a:lnTo>
                <a:lnTo>
                  <a:pt x="4788" y="1880"/>
                </a:lnTo>
                <a:lnTo>
                  <a:pt x="4794" y="1880"/>
                </a:lnTo>
                <a:lnTo>
                  <a:pt x="4794" y="1880"/>
                </a:lnTo>
                <a:lnTo>
                  <a:pt x="4794" y="1874"/>
                </a:lnTo>
                <a:lnTo>
                  <a:pt x="4794" y="1874"/>
                </a:lnTo>
                <a:lnTo>
                  <a:pt x="4794" y="1874"/>
                </a:lnTo>
                <a:lnTo>
                  <a:pt x="4800" y="1874"/>
                </a:lnTo>
                <a:lnTo>
                  <a:pt x="4800" y="1868"/>
                </a:lnTo>
                <a:lnTo>
                  <a:pt x="4800" y="1868"/>
                </a:lnTo>
                <a:lnTo>
                  <a:pt x="4794" y="1868"/>
                </a:lnTo>
                <a:lnTo>
                  <a:pt x="4794" y="1868"/>
                </a:lnTo>
                <a:lnTo>
                  <a:pt x="4794" y="1868"/>
                </a:lnTo>
                <a:lnTo>
                  <a:pt x="4794" y="1868"/>
                </a:lnTo>
                <a:lnTo>
                  <a:pt x="4794" y="1868"/>
                </a:lnTo>
                <a:lnTo>
                  <a:pt x="4794" y="1868"/>
                </a:lnTo>
                <a:lnTo>
                  <a:pt x="4794" y="1868"/>
                </a:lnTo>
                <a:lnTo>
                  <a:pt x="4794" y="1868"/>
                </a:lnTo>
                <a:lnTo>
                  <a:pt x="4794" y="1868"/>
                </a:lnTo>
                <a:lnTo>
                  <a:pt x="4794" y="1868"/>
                </a:lnTo>
                <a:lnTo>
                  <a:pt x="4794" y="1868"/>
                </a:lnTo>
                <a:lnTo>
                  <a:pt x="4788" y="1868"/>
                </a:lnTo>
                <a:lnTo>
                  <a:pt x="4788" y="1868"/>
                </a:lnTo>
                <a:lnTo>
                  <a:pt x="4788" y="1862"/>
                </a:lnTo>
                <a:lnTo>
                  <a:pt x="4788" y="1862"/>
                </a:lnTo>
                <a:lnTo>
                  <a:pt x="4788" y="1862"/>
                </a:lnTo>
                <a:lnTo>
                  <a:pt x="4788" y="1862"/>
                </a:lnTo>
                <a:lnTo>
                  <a:pt x="4788" y="1862"/>
                </a:lnTo>
                <a:lnTo>
                  <a:pt x="4794" y="1862"/>
                </a:lnTo>
                <a:lnTo>
                  <a:pt x="4794" y="1862"/>
                </a:lnTo>
                <a:lnTo>
                  <a:pt x="4794" y="1862"/>
                </a:lnTo>
                <a:lnTo>
                  <a:pt x="4794" y="1862"/>
                </a:lnTo>
                <a:lnTo>
                  <a:pt x="4794" y="1862"/>
                </a:lnTo>
                <a:lnTo>
                  <a:pt x="4794" y="1862"/>
                </a:lnTo>
                <a:lnTo>
                  <a:pt x="4794" y="1862"/>
                </a:lnTo>
                <a:lnTo>
                  <a:pt x="4800" y="1862"/>
                </a:lnTo>
                <a:lnTo>
                  <a:pt x="4800" y="1862"/>
                </a:lnTo>
                <a:lnTo>
                  <a:pt x="4800" y="1862"/>
                </a:lnTo>
                <a:lnTo>
                  <a:pt x="4800" y="1862"/>
                </a:lnTo>
                <a:lnTo>
                  <a:pt x="4800" y="1862"/>
                </a:lnTo>
                <a:lnTo>
                  <a:pt x="4800" y="1862"/>
                </a:lnTo>
                <a:lnTo>
                  <a:pt x="4800" y="1862"/>
                </a:lnTo>
                <a:lnTo>
                  <a:pt x="4800" y="1856"/>
                </a:lnTo>
                <a:lnTo>
                  <a:pt x="4800" y="1856"/>
                </a:lnTo>
                <a:lnTo>
                  <a:pt x="4800" y="1856"/>
                </a:lnTo>
                <a:lnTo>
                  <a:pt x="4806" y="1856"/>
                </a:lnTo>
                <a:lnTo>
                  <a:pt x="4806" y="1856"/>
                </a:lnTo>
                <a:lnTo>
                  <a:pt x="4806" y="1856"/>
                </a:lnTo>
                <a:lnTo>
                  <a:pt x="4806" y="1856"/>
                </a:lnTo>
                <a:lnTo>
                  <a:pt x="4806" y="1856"/>
                </a:lnTo>
                <a:lnTo>
                  <a:pt x="4806" y="1856"/>
                </a:lnTo>
                <a:lnTo>
                  <a:pt x="4806" y="1856"/>
                </a:lnTo>
                <a:lnTo>
                  <a:pt x="4806" y="1850"/>
                </a:lnTo>
                <a:lnTo>
                  <a:pt x="4806" y="1850"/>
                </a:lnTo>
                <a:lnTo>
                  <a:pt x="4806" y="1850"/>
                </a:lnTo>
                <a:lnTo>
                  <a:pt x="4806" y="1850"/>
                </a:lnTo>
                <a:lnTo>
                  <a:pt x="4800" y="1850"/>
                </a:lnTo>
                <a:lnTo>
                  <a:pt x="4800" y="1850"/>
                </a:lnTo>
                <a:lnTo>
                  <a:pt x="4794" y="1845"/>
                </a:lnTo>
                <a:lnTo>
                  <a:pt x="4794" y="1845"/>
                </a:lnTo>
                <a:lnTo>
                  <a:pt x="4782" y="1845"/>
                </a:lnTo>
                <a:lnTo>
                  <a:pt x="4776" y="1839"/>
                </a:lnTo>
                <a:lnTo>
                  <a:pt x="4770" y="1839"/>
                </a:lnTo>
                <a:lnTo>
                  <a:pt x="4770" y="1839"/>
                </a:lnTo>
                <a:lnTo>
                  <a:pt x="4764" y="1833"/>
                </a:lnTo>
                <a:lnTo>
                  <a:pt x="4764" y="1833"/>
                </a:lnTo>
                <a:lnTo>
                  <a:pt x="4758" y="1833"/>
                </a:lnTo>
                <a:lnTo>
                  <a:pt x="4758" y="1833"/>
                </a:lnTo>
                <a:lnTo>
                  <a:pt x="4753" y="1833"/>
                </a:lnTo>
                <a:lnTo>
                  <a:pt x="4753" y="1827"/>
                </a:lnTo>
                <a:lnTo>
                  <a:pt x="4753" y="1827"/>
                </a:lnTo>
                <a:lnTo>
                  <a:pt x="4753" y="1827"/>
                </a:lnTo>
                <a:lnTo>
                  <a:pt x="4753" y="1827"/>
                </a:lnTo>
                <a:lnTo>
                  <a:pt x="4753" y="1827"/>
                </a:lnTo>
                <a:lnTo>
                  <a:pt x="4753" y="1827"/>
                </a:lnTo>
                <a:lnTo>
                  <a:pt x="4753" y="1827"/>
                </a:lnTo>
                <a:lnTo>
                  <a:pt x="4747" y="1821"/>
                </a:lnTo>
                <a:lnTo>
                  <a:pt x="4753" y="1827"/>
                </a:lnTo>
                <a:lnTo>
                  <a:pt x="4753" y="1827"/>
                </a:lnTo>
                <a:lnTo>
                  <a:pt x="4758" y="1827"/>
                </a:lnTo>
                <a:lnTo>
                  <a:pt x="4764" y="1833"/>
                </a:lnTo>
                <a:lnTo>
                  <a:pt x="4764" y="1833"/>
                </a:lnTo>
                <a:lnTo>
                  <a:pt x="4770" y="1833"/>
                </a:lnTo>
                <a:lnTo>
                  <a:pt x="4776" y="1833"/>
                </a:lnTo>
                <a:lnTo>
                  <a:pt x="4776" y="1833"/>
                </a:lnTo>
                <a:lnTo>
                  <a:pt x="4776" y="1839"/>
                </a:lnTo>
                <a:lnTo>
                  <a:pt x="4776" y="1839"/>
                </a:lnTo>
                <a:lnTo>
                  <a:pt x="4776" y="1839"/>
                </a:lnTo>
                <a:lnTo>
                  <a:pt x="4782" y="1833"/>
                </a:lnTo>
                <a:lnTo>
                  <a:pt x="4788" y="1833"/>
                </a:lnTo>
                <a:lnTo>
                  <a:pt x="4788" y="1833"/>
                </a:lnTo>
                <a:lnTo>
                  <a:pt x="4788" y="1833"/>
                </a:lnTo>
                <a:lnTo>
                  <a:pt x="4788" y="1833"/>
                </a:lnTo>
                <a:lnTo>
                  <a:pt x="4788" y="1833"/>
                </a:lnTo>
                <a:lnTo>
                  <a:pt x="4788" y="1833"/>
                </a:lnTo>
                <a:lnTo>
                  <a:pt x="4788" y="1833"/>
                </a:lnTo>
                <a:lnTo>
                  <a:pt x="4788" y="1833"/>
                </a:lnTo>
                <a:lnTo>
                  <a:pt x="4788" y="1833"/>
                </a:lnTo>
                <a:lnTo>
                  <a:pt x="4788" y="1839"/>
                </a:lnTo>
                <a:lnTo>
                  <a:pt x="4788" y="1839"/>
                </a:lnTo>
                <a:lnTo>
                  <a:pt x="4794" y="1839"/>
                </a:lnTo>
                <a:lnTo>
                  <a:pt x="4794" y="1839"/>
                </a:lnTo>
                <a:lnTo>
                  <a:pt x="4794" y="1839"/>
                </a:lnTo>
                <a:lnTo>
                  <a:pt x="4794" y="1839"/>
                </a:lnTo>
                <a:lnTo>
                  <a:pt x="4794" y="1839"/>
                </a:lnTo>
                <a:lnTo>
                  <a:pt x="4794" y="1839"/>
                </a:lnTo>
                <a:lnTo>
                  <a:pt x="4794" y="1839"/>
                </a:lnTo>
                <a:lnTo>
                  <a:pt x="4794" y="1833"/>
                </a:lnTo>
                <a:lnTo>
                  <a:pt x="4794" y="1833"/>
                </a:lnTo>
                <a:lnTo>
                  <a:pt x="4794" y="1833"/>
                </a:lnTo>
                <a:lnTo>
                  <a:pt x="4794" y="1833"/>
                </a:lnTo>
                <a:lnTo>
                  <a:pt x="4794" y="1833"/>
                </a:lnTo>
                <a:lnTo>
                  <a:pt x="4794" y="1833"/>
                </a:lnTo>
                <a:lnTo>
                  <a:pt x="4794" y="1833"/>
                </a:lnTo>
                <a:lnTo>
                  <a:pt x="4794" y="1833"/>
                </a:lnTo>
                <a:lnTo>
                  <a:pt x="4794" y="1833"/>
                </a:lnTo>
                <a:lnTo>
                  <a:pt x="4794" y="1833"/>
                </a:lnTo>
                <a:lnTo>
                  <a:pt x="4794" y="1833"/>
                </a:lnTo>
                <a:lnTo>
                  <a:pt x="4794" y="1833"/>
                </a:lnTo>
                <a:lnTo>
                  <a:pt x="4794" y="1833"/>
                </a:lnTo>
                <a:lnTo>
                  <a:pt x="4794" y="1833"/>
                </a:lnTo>
                <a:lnTo>
                  <a:pt x="4794" y="1827"/>
                </a:lnTo>
                <a:lnTo>
                  <a:pt x="4794" y="1827"/>
                </a:lnTo>
                <a:lnTo>
                  <a:pt x="4794" y="1827"/>
                </a:lnTo>
                <a:lnTo>
                  <a:pt x="4794" y="1827"/>
                </a:lnTo>
                <a:lnTo>
                  <a:pt x="4794" y="1827"/>
                </a:lnTo>
                <a:lnTo>
                  <a:pt x="4794" y="1827"/>
                </a:lnTo>
                <a:lnTo>
                  <a:pt x="4794" y="1827"/>
                </a:lnTo>
                <a:lnTo>
                  <a:pt x="4788" y="1827"/>
                </a:lnTo>
                <a:lnTo>
                  <a:pt x="4788" y="1821"/>
                </a:lnTo>
                <a:lnTo>
                  <a:pt x="4794" y="1821"/>
                </a:lnTo>
                <a:lnTo>
                  <a:pt x="4794" y="1821"/>
                </a:lnTo>
                <a:lnTo>
                  <a:pt x="4794" y="1821"/>
                </a:lnTo>
                <a:lnTo>
                  <a:pt x="4800" y="1821"/>
                </a:lnTo>
                <a:lnTo>
                  <a:pt x="4800" y="1821"/>
                </a:lnTo>
                <a:lnTo>
                  <a:pt x="4806" y="1821"/>
                </a:lnTo>
                <a:lnTo>
                  <a:pt x="4806" y="1821"/>
                </a:lnTo>
                <a:lnTo>
                  <a:pt x="4806" y="1821"/>
                </a:lnTo>
                <a:lnTo>
                  <a:pt x="4806" y="1821"/>
                </a:lnTo>
                <a:lnTo>
                  <a:pt x="4806" y="1827"/>
                </a:lnTo>
                <a:lnTo>
                  <a:pt x="4806" y="1827"/>
                </a:lnTo>
                <a:lnTo>
                  <a:pt x="4800" y="1827"/>
                </a:lnTo>
                <a:lnTo>
                  <a:pt x="4794" y="1827"/>
                </a:lnTo>
                <a:lnTo>
                  <a:pt x="4794" y="1827"/>
                </a:lnTo>
                <a:lnTo>
                  <a:pt x="4794" y="1827"/>
                </a:lnTo>
                <a:lnTo>
                  <a:pt x="4800" y="1827"/>
                </a:lnTo>
                <a:lnTo>
                  <a:pt x="4800" y="1827"/>
                </a:lnTo>
                <a:lnTo>
                  <a:pt x="4800" y="1827"/>
                </a:lnTo>
                <a:lnTo>
                  <a:pt x="4800" y="1833"/>
                </a:lnTo>
                <a:lnTo>
                  <a:pt x="4800" y="1833"/>
                </a:lnTo>
                <a:lnTo>
                  <a:pt x="4800" y="1833"/>
                </a:lnTo>
                <a:lnTo>
                  <a:pt x="4800" y="1833"/>
                </a:lnTo>
                <a:lnTo>
                  <a:pt x="4800" y="1833"/>
                </a:lnTo>
                <a:lnTo>
                  <a:pt x="4806" y="1833"/>
                </a:lnTo>
                <a:lnTo>
                  <a:pt x="4800" y="1833"/>
                </a:lnTo>
                <a:lnTo>
                  <a:pt x="4800" y="1839"/>
                </a:lnTo>
                <a:lnTo>
                  <a:pt x="4800" y="1839"/>
                </a:lnTo>
                <a:lnTo>
                  <a:pt x="4800" y="1839"/>
                </a:lnTo>
                <a:lnTo>
                  <a:pt x="4800" y="1839"/>
                </a:lnTo>
                <a:lnTo>
                  <a:pt x="4806" y="1839"/>
                </a:lnTo>
                <a:lnTo>
                  <a:pt x="4806" y="1839"/>
                </a:lnTo>
                <a:lnTo>
                  <a:pt x="4806" y="1839"/>
                </a:lnTo>
                <a:lnTo>
                  <a:pt x="4806" y="1839"/>
                </a:lnTo>
                <a:lnTo>
                  <a:pt x="4806" y="1839"/>
                </a:lnTo>
                <a:lnTo>
                  <a:pt x="4806" y="1839"/>
                </a:lnTo>
                <a:lnTo>
                  <a:pt x="4806" y="1839"/>
                </a:lnTo>
                <a:lnTo>
                  <a:pt x="4806" y="1839"/>
                </a:lnTo>
                <a:lnTo>
                  <a:pt x="4806" y="1839"/>
                </a:lnTo>
                <a:lnTo>
                  <a:pt x="4806" y="1839"/>
                </a:lnTo>
                <a:lnTo>
                  <a:pt x="4806" y="1839"/>
                </a:lnTo>
                <a:lnTo>
                  <a:pt x="4806" y="1839"/>
                </a:lnTo>
                <a:lnTo>
                  <a:pt x="4812" y="1839"/>
                </a:lnTo>
                <a:lnTo>
                  <a:pt x="4812" y="1839"/>
                </a:lnTo>
                <a:lnTo>
                  <a:pt x="4812" y="1833"/>
                </a:lnTo>
                <a:lnTo>
                  <a:pt x="4812" y="1833"/>
                </a:lnTo>
                <a:lnTo>
                  <a:pt x="4812" y="1833"/>
                </a:lnTo>
                <a:lnTo>
                  <a:pt x="4812" y="1833"/>
                </a:lnTo>
                <a:lnTo>
                  <a:pt x="4812" y="1833"/>
                </a:lnTo>
                <a:lnTo>
                  <a:pt x="4812" y="1833"/>
                </a:lnTo>
                <a:lnTo>
                  <a:pt x="4812" y="1839"/>
                </a:lnTo>
                <a:lnTo>
                  <a:pt x="4812" y="1839"/>
                </a:lnTo>
                <a:lnTo>
                  <a:pt x="4818" y="1839"/>
                </a:lnTo>
                <a:lnTo>
                  <a:pt x="4818" y="1839"/>
                </a:lnTo>
                <a:lnTo>
                  <a:pt x="4812" y="1839"/>
                </a:lnTo>
                <a:lnTo>
                  <a:pt x="4812" y="1845"/>
                </a:lnTo>
                <a:lnTo>
                  <a:pt x="4812" y="1845"/>
                </a:lnTo>
                <a:lnTo>
                  <a:pt x="4812" y="1845"/>
                </a:lnTo>
                <a:lnTo>
                  <a:pt x="4812" y="1845"/>
                </a:lnTo>
                <a:lnTo>
                  <a:pt x="4812" y="1845"/>
                </a:lnTo>
                <a:lnTo>
                  <a:pt x="4818" y="1845"/>
                </a:lnTo>
                <a:lnTo>
                  <a:pt x="4818" y="1845"/>
                </a:lnTo>
                <a:lnTo>
                  <a:pt x="4818" y="1845"/>
                </a:lnTo>
                <a:lnTo>
                  <a:pt x="4818" y="1845"/>
                </a:lnTo>
                <a:lnTo>
                  <a:pt x="4818" y="1845"/>
                </a:lnTo>
                <a:lnTo>
                  <a:pt x="4818" y="1839"/>
                </a:lnTo>
                <a:lnTo>
                  <a:pt x="4818" y="1839"/>
                </a:lnTo>
                <a:lnTo>
                  <a:pt x="4818" y="1839"/>
                </a:lnTo>
                <a:lnTo>
                  <a:pt x="4818" y="1839"/>
                </a:lnTo>
                <a:lnTo>
                  <a:pt x="4818" y="1839"/>
                </a:lnTo>
                <a:lnTo>
                  <a:pt x="4818" y="1839"/>
                </a:lnTo>
                <a:lnTo>
                  <a:pt x="4818" y="1839"/>
                </a:lnTo>
                <a:lnTo>
                  <a:pt x="4818" y="1839"/>
                </a:lnTo>
                <a:lnTo>
                  <a:pt x="4824" y="1839"/>
                </a:lnTo>
                <a:lnTo>
                  <a:pt x="4824" y="1845"/>
                </a:lnTo>
                <a:lnTo>
                  <a:pt x="4824" y="1845"/>
                </a:lnTo>
                <a:lnTo>
                  <a:pt x="4824" y="1845"/>
                </a:lnTo>
                <a:lnTo>
                  <a:pt x="4830" y="1845"/>
                </a:lnTo>
                <a:lnTo>
                  <a:pt x="4830" y="1845"/>
                </a:lnTo>
                <a:lnTo>
                  <a:pt x="4830" y="1845"/>
                </a:lnTo>
                <a:lnTo>
                  <a:pt x="4830" y="1845"/>
                </a:lnTo>
                <a:lnTo>
                  <a:pt x="4830" y="1845"/>
                </a:lnTo>
                <a:lnTo>
                  <a:pt x="4830" y="1845"/>
                </a:lnTo>
                <a:lnTo>
                  <a:pt x="4830" y="1845"/>
                </a:lnTo>
                <a:lnTo>
                  <a:pt x="4830" y="1845"/>
                </a:lnTo>
                <a:lnTo>
                  <a:pt x="4835" y="1845"/>
                </a:lnTo>
                <a:lnTo>
                  <a:pt x="4841" y="1845"/>
                </a:lnTo>
                <a:lnTo>
                  <a:pt x="4841" y="1845"/>
                </a:lnTo>
                <a:lnTo>
                  <a:pt x="4841" y="1845"/>
                </a:lnTo>
                <a:lnTo>
                  <a:pt x="4841" y="1845"/>
                </a:lnTo>
                <a:lnTo>
                  <a:pt x="4841" y="1845"/>
                </a:lnTo>
                <a:lnTo>
                  <a:pt x="4847" y="1839"/>
                </a:lnTo>
                <a:lnTo>
                  <a:pt x="4847" y="1839"/>
                </a:lnTo>
                <a:lnTo>
                  <a:pt x="4847" y="1839"/>
                </a:lnTo>
                <a:lnTo>
                  <a:pt x="4847" y="1839"/>
                </a:lnTo>
                <a:lnTo>
                  <a:pt x="4847" y="1833"/>
                </a:lnTo>
                <a:lnTo>
                  <a:pt x="4847" y="1833"/>
                </a:lnTo>
                <a:lnTo>
                  <a:pt x="4847" y="1833"/>
                </a:lnTo>
                <a:lnTo>
                  <a:pt x="4847" y="1833"/>
                </a:lnTo>
                <a:lnTo>
                  <a:pt x="4847" y="1833"/>
                </a:lnTo>
                <a:lnTo>
                  <a:pt x="4847" y="1839"/>
                </a:lnTo>
                <a:lnTo>
                  <a:pt x="4853" y="1839"/>
                </a:lnTo>
                <a:lnTo>
                  <a:pt x="4853" y="1833"/>
                </a:lnTo>
                <a:lnTo>
                  <a:pt x="4853" y="1833"/>
                </a:lnTo>
                <a:lnTo>
                  <a:pt x="4853" y="1833"/>
                </a:lnTo>
                <a:lnTo>
                  <a:pt x="4853" y="1833"/>
                </a:lnTo>
                <a:lnTo>
                  <a:pt x="4853" y="1833"/>
                </a:lnTo>
                <a:lnTo>
                  <a:pt x="4853" y="1833"/>
                </a:lnTo>
                <a:lnTo>
                  <a:pt x="4853" y="1827"/>
                </a:lnTo>
                <a:lnTo>
                  <a:pt x="4853" y="1827"/>
                </a:lnTo>
                <a:lnTo>
                  <a:pt x="4853" y="1827"/>
                </a:lnTo>
                <a:lnTo>
                  <a:pt x="4853" y="1827"/>
                </a:lnTo>
                <a:lnTo>
                  <a:pt x="4853" y="1827"/>
                </a:lnTo>
                <a:lnTo>
                  <a:pt x="4853" y="1827"/>
                </a:lnTo>
                <a:lnTo>
                  <a:pt x="4853" y="1827"/>
                </a:lnTo>
                <a:lnTo>
                  <a:pt x="4853" y="1827"/>
                </a:lnTo>
                <a:lnTo>
                  <a:pt x="4853" y="1827"/>
                </a:lnTo>
                <a:lnTo>
                  <a:pt x="4853" y="1827"/>
                </a:lnTo>
                <a:lnTo>
                  <a:pt x="4853" y="1827"/>
                </a:lnTo>
                <a:lnTo>
                  <a:pt x="4853" y="1821"/>
                </a:lnTo>
                <a:lnTo>
                  <a:pt x="4853" y="1821"/>
                </a:lnTo>
                <a:lnTo>
                  <a:pt x="4853" y="1821"/>
                </a:lnTo>
                <a:lnTo>
                  <a:pt x="4859" y="1821"/>
                </a:lnTo>
                <a:lnTo>
                  <a:pt x="4859" y="1821"/>
                </a:lnTo>
                <a:lnTo>
                  <a:pt x="4865" y="1815"/>
                </a:lnTo>
                <a:lnTo>
                  <a:pt x="4865" y="1815"/>
                </a:lnTo>
                <a:lnTo>
                  <a:pt x="4865" y="1815"/>
                </a:lnTo>
                <a:lnTo>
                  <a:pt x="4865" y="1815"/>
                </a:lnTo>
                <a:lnTo>
                  <a:pt x="4865" y="1809"/>
                </a:lnTo>
                <a:lnTo>
                  <a:pt x="4865" y="1809"/>
                </a:lnTo>
                <a:lnTo>
                  <a:pt x="4865" y="1809"/>
                </a:lnTo>
                <a:lnTo>
                  <a:pt x="4865" y="1809"/>
                </a:lnTo>
                <a:lnTo>
                  <a:pt x="4865" y="1815"/>
                </a:lnTo>
                <a:lnTo>
                  <a:pt x="4865" y="1815"/>
                </a:lnTo>
                <a:lnTo>
                  <a:pt x="4871" y="1815"/>
                </a:lnTo>
                <a:lnTo>
                  <a:pt x="4871" y="1815"/>
                </a:lnTo>
                <a:lnTo>
                  <a:pt x="4871" y="1815"/>
                </a:lnTo>
                <a:lnTo>
                  <a:pt x="4871" y="1815"/>
                </a:lnTo>
                <a:lnTo>
                  <a:pt x="4871" y="1815"/>
                </a:lnTo>
                <a:lnTo>
                  <a:pt x="4871" y="1815"/>
                </a:lnTo>
                <a:lnTo>
                  <a:pt x="4871" y="1815"/>
                </a:lnTo>
                <a:lnTo>
                  <a:pt x="4871" y="1815"/>
                </a:lnTo>
                <a:lnTo>
                  <a:pt x="4871" y="1815"/>
                </a:lnTo>
                <a:lnTo>
                  <a:pt x="4871" y="1815"/>
                </a:lnTo>
                <a:lnTo>
                  <a:pt x="4871" y="1815"/>
                </a:lnTo>
                <a:lnTo>
                  <a:pt x="4871" y="1815"/>
                </a:lnTo>
                <a:lnTo>
                  <a:pt x="4871" y="1815"/>
                </a:lnTo>
                <a:lnTo>
                  <a:pt x="4871" y="1815"/>
                </a:lnTo>
                <a:lnTo>
                  <a:pt x="4877" y="1815"/>
                </a:lnTo>
                <a:lnTo>
                  <a:pt x="4877" y="1815"/>
                </a:lnTo>
                <a:lnTo>
                  <a:pt x="4877" y="1815"/>
                </a:lnTo>
                <a:lnTo>
                  <a:pt x="4877" y="1815"/>
                </a:lnTo>
                <a:lnTo>
                  <a:pt x="4877" y="1815"/>
                </a:lnTo>
                <a:lnTo>
                  <a:pt x="4877" y="1815"/>
                </a:lnTo>
                <a:lnTo>
                  <a:pt x="4877" y="1815"/>
                </a:lnTo>
                <a:lnTo>
                  <a:pt x="4877" y="1815"/>
                </a:lnTo>
                <a:lnTo>
                  <a:pt x="4877" y="1815"/>
                </a:lnTo>
                <a:lnTo>
                  <a:pt x="4877" y="1815"/>
                </a:lnTo>
                <a:lnTo>
                  <a:pt x="4877" y="1815"/>
                </a:lnTo>
                <a:lnTo>
                  <a:pt x="4877" y="1815"/>
                </a:lnTo>
                <a:lnTo>
                  <a:pt x="4877" y="1815"/>
                </a:lnTo>
                <a:lnTo>
                  <a:pt x="4877" y="1809"/>
                </a:lnTo>
                <a:lnTo>
                  <a:pt x="4877" y="1809"/>
                </a:lnTo>
                <a:lnTo>
                  <a:pt x="4877" y="1809"/>
                </a:lnTo>
                <a:lnTo>
                  <a:pt x="4877" y="1809"/>
                </a:lnTo>
                <a:lnTo>
                  <a:pt x="4877" y="1803"/>
                </a:lnTo>
                <a:lnTo>
                  <a:pt x="4877" y="1803"/>
                </a:lnTo>
                <a:lnTo>
                  <a:pt x="4877" y="1803"/>
                </a:lnTo>
                <a:lnTo>
                  <a:pt x="4877" y="1803"/>
                </a:lnTo>
                <a:lnTo>
                  <a:pt x="4883" y="1803"/>
                </a:lnTo>
                <a:lnTo>
                  <a:pt x="4883" y="1803"/>
                </a:lnTo>
                <a:lnTo>
                  <a:pt x="4883" y="1803"/>
                </a:lnTo>
                <a:lnTo>
                  <a:pt x="4883" y="1797"/>
                </a:lnTo>
                <a:lnTo>
                  <a:pt x="4883" y="1797"/>
                </a:lnTo>
                <a:lnTo>
                  <a:pt x="4877" y="1797"/>
                </a:lnTo>
                <a:lnTo>
                  <a:pt x="4877" y="1791"/>
                </a:lnTo>
                <a:lnTo>
                  <a:pt x="4877" y="1791"/>
                </a:lnTo>
                <a:lnTo>
                  <a:pt x="4877" y="1791"/>
                </a:lnTo>
                <a:lnTo>
                  <a:pt x="4883" y="1791"/>
                </a:lnTo>
                <a:lnTo>
                  <a:pt x="4883" y="1785"/>
                </a:lnTo>
                <a:lnTo>
                  <a:pt x="4883" y="1785"/>
                </a:lnTo>
                <a:lnTo>
                  <a:pt x="4883" y="1785"/>
                </a:lnTo>
                <a:lnTo>
                  <a:pt x="4877" y="1785"/>
                </a:lnTo>
                <a:lnTo>
                  <a:pt x="4877" y="1779"/>
                </a:lnTo>
                <a:lnTo>
                  <a:pt x="4877" y="1773"/>
                </a:lnTo>
                <a:lnTo>
                  <a:pt x="4871" y="1767"/>
                </a:lnTo>
                <a:lnTo>
                  <a:pt x="4865" y="1767"/>
                </a:lnTo>
                <a:lnTo>
                  <a:pt x="4865" y="1767"/>
                </a:lnTo>
                <a:lnTo>
                  <a:pt x="4865" y="1767"/>
                </a:lnTo>
                <a:lnTo>
                  <a:pt x="4865" y="1767"/>
                </a:lnTo>
                <a:lnTo>
                  <a:pt x="4865" y="1767"/>
                </a:lnTo>
                <a:lnTo>
                  <a:pt x="4865" y="1773"/>
                </a:lnTo>
                <a:lnTo>
                  <a:pt x="4865" y="1773"/>
                </a:lnTo>
                <a:lnTo>
                  <a:pt x="4865" y="1773"/>
                </a:lnTo>
                <a:lnTo>
                  <a:pt x="4871" y="1773"/>
                </a:lnTo>
                <a:lnTo>
                  <a:pt x="4871" y="1773"/>
                </a:lnTo>
                <a:lnTo>
                  <a:pt x="4871" y="1773"/>
                </a:lnTo>
                <a:lnTo>
                  <a:pt x="4871" y="1773"/>
                </a:lnTo>
                <a:lnTo>
                  <a:pt x="4865" y="1773"/>
                </a:lnTo>
                <a:lnTo>
                  <a:pt x="4865" y="1773"/>
                </a:lnTo>
                <a:lnTo>
                  <a:pt x="4865" y="1773"/>
                </a:lnTo>
                <a:lnTo>
                  <a:pt x="4865" y="1773"/>
                </a:lnTo>
                <a:lnTo>
                  <a:pt x="4865" y="1773"/>
                </a:lnTo>
                <a:lnTo>
                  <a:pt x="4865" y="1779"/>
                </a:lnTo>
                <a:lnTo>
                  <a:pt x="4865" y="1779"/>
                </a:lnTo>
                <a:lnTo>
                  <a:pt x="4865" y="1779"/>
                </a:lnTo>
                <a:lnTo>
                  <a:pt x="4865" y="1779"/>
                </a:lnTo>
                <a:lnTo>
                  <a:pt x="4865" y="1779"/>
                </a:lnTo>
                <a:lnTo>
                  <a:pt x="4865" y="1779"/>
                </a:lnTo>
                <a:lnTo>
                  <a:pt x="4865" y="1779"/>
                </a:lnTo>
                <a:lnTo>
                  <a:pt x="4865" y="1779"/>
                </a:lnTo>
                <a:lnTo>
                  <a:pt x="4865" y="1779"/>
                </a:lnTo>
                <a:lnTo>
                  <a:pt x="4859" y="1773"/>
                </a:lnTo>
                <a:lnTo>
                  <a:pt x="4859" y="1773"/>
                </a:lnTo>
                <a:lnTo>
                  <a:pt x="4859" y="1773"/>
                </a:lnTo>
                <a:lnTo>
                  <a:pt x="4859" y="1773"/>
                </a:lnTo>
                <a:lnTo>
                  <a:pt x="4859" y="1779"/>
                </a:lnTo>
                <a:lnTo>
                  <a:pt x="4853" y="1779"/>
                </a:lnTo>
                <a:lnTo>
                  <a:pt x="4853" y="1779"/>
                </a:lnTo>
                <a:lnTo>
                  <a:pt x="4853" y="1779"/>
                </a:lnTo>
                <a:lnTo>
                  <a:pt x="4853" y="1791"/>
                </a:lnTo>
                <a:lnTo>
                  <a:pt x="4853" y="1797"/>
                </a:lnTo>
                <a:lnTo>
                  <a:pt x="4853" y="1797"/>
                </a:lnTo>
                <a:lnTo>
                  <a:pt x="4847" y="1809"/>
                </a:lnTo>
                <a:lnTo>
                  <a:pt x="4847" y="1809"/>
                </a:lnTo>
                <a:lnTo>
                  <a:pt x="4847" y="1809"/>
                </a:lnTo>
                <a:lnTo>
                  <a:pt x="4847" y="1809"/>
                </a:lnTo>
                <a:lnTo>
                  <a:pt x="4847" y="1809"/>
                </a:lnTo>
                <a:lnTo>
                  <a:pt x="4847" y="1809"/>
                </a:lnTo>
                <a:lnTo>
                  <a:pt x="4847" y="1803"/>
                </a:lnTo>
                <a:lnTo>
                  <a:pt x="4847" y="1803"/>
                </a:lnTo>
                <a:lnTo>
                  <a:pt x="4847" y="1803"/>
                </a:lnTo>
                <a:lnTo>
                  <a:pt x="4847" y="1803"/>
                </a:lnTo>
                <a:lnTo>
                  <a:pt x="4847" y="1803"/>
                </a:lnTo>
                <a:lnTo>
                  <a:pt x="4847" y="1803"/>
                </a:lnTo>
                <a:lnTo>
                  <a:pt x="4841" y="1803"/>
                </a:lnTo>
                <a:lnTo>
                  <a:pt x="4841" y="1803"/>
                </a:lnTo>
                <a:lnTo>
                  <a:pt x="4841" y="1803"/>
                </a:lnTo>
                <a:lnTo>
                  <a:pt x="4841" y="1803"/>
                </a:lnTo>
                <a:lnTo>
                  <a:pt x="4841" y="1803"/>
                </a:lnTo>
                <a:lnTo>
                  <a:pt x="4841" y="1803"/>
                </a:lnTo>
                <a:lnTo>
                  <a:pt x="4847" y="1803"/>
                </a:lnTo>
                <a:lnTo>
                  <a:pt x="4847" y="1803"/>
                </a:lnTo>
                <a:lnTo>
                  <a:pt x="4847" y="1803"/>
                </a:lnTo>
                <a:lnTo>
                  <a:pt x="4847" y="1803"/>
                </a:lnTo>
                <a:lnTo>
                  <a:pt x="4847" y="1803"/>
                </a:lnTo>
                <a:lnTo>
                  <a:pt x="4847" y="1797"/>
                </a:lnTo>
                <a:lnTo>
                  <a:pt x="4847" y="1797"/>
                </a:lnTo>
                <a:lnTo>
                  <a:pt x="4847" y="1797"/>
                </a:lnTo>
                <a:lnTo>
                  <a:pt x="4847" y="1797"/>
                </a:lnTo>
                <a:lnTo>
                  <a:pt x="4847" y="1797"/>
                </a:lnTo>
                <a:lnTo>
                  <a:pt x="4847" y="1797"/>
                </a:lnTo>
                <a:lnTo>
                  <a:pt x="4847" y="1797"/>
                </a:lnTo>
                <a:lnTo>
                  <a:pt x="4847" y="1797"/>
                </a:lnTo>
                <a:lnTo>
                  <a:pt x="4847" y="1797"/>
                </a:lnTo>
                <a:lnTo>
                  <a:pt x="4847" y="1791"/>
                </a:lnTo>
                <a:lnTo>
                  <a:pt x="4847" y="1791"/>
                </a:lnTo>
                <a:lnTo>
                  <a:pt x="4847" y="1791"/>
                </a:lnTo>
                <a:lnTo>
                  <a:pt x="4847" y="1791"/>
                </a:lnTo>
                <a:lnTo>
                  <a:pt x="4847" y="1791"/>
                </a:lnTo>
                <a:lnTo>
                  <a:pt x="4841" y="1791"/>
                </a:lnTo>
                <a:lnTo>
                  <a:pt x="4841" y="1791"/>
                </a:lnTo>
                <a:lnTo>
                  <a:pt x="4841" y="1791"/>
                </a:lnTo>
                <a:lnTo>
                  <a:pt x="4841" y="1791"/>
                </a:lnTo>
                <a:lnTo>
                  <a:pt x="4841" y="1791"/>
                </a:lnTo>
                <a:lnTo>
                  <a:pt x="4847" y="1791"/>
                </a:lnTo>
                <a:lnTo>
                  <a:pt x="4847" y="1791"/>
                </a:lnTo>
                <a:lnTo>
                  <a:pt x="4847" y="1791"/>
                </a:lnTo>
                <a:lnTo>
                  <a:pt x="4847" y="1791"/>
                </a:lnTo>
                <a:lnTo>
                  <a:pt x="4847" y="1785"/>
                </a:lnTo>
                <a:lnTo>
                  <a:pt x="4847" y="1785"/>
                </a:lnTo>
                <a:lnTo>
                  <a:pt x="4847" y="1785"/>
                </a:lnTo>
                <a:lnTo>
                  <a:pt x="4847" y="1779"/>
                </a:lnTo>
                <a:lnTo>
                  <a:pt x="4847" y="1779"/>
                </a:lnTo>
                <a:lnTo>
                  <a:pt x="4847" y="1779"/>
                </a:lnTo>
                <a:lnTo>
                  <a:pt x="4847" y="1779"/>
                </a:lnTo>
                <a:lnTo>
                  <a:pt x="4847" y="1773"/>
                </a:lnTo>
                <a:lnTo>
                  <a:pt x="4853" y="1773"/>
                </a:lnTo>
                <a:lnTo>
                  <a:pt x="4853" y="1773"/>
                </a:lnTo>
                <a:lnTo>
                  <a:pt x="4847" y="1773"/>
                </a:lnTo>
                <a:lnTo>
                  <a:pt x="4847" y="1773"/>
                </a:lnTo>
                <a:lnTo>
                  <a:pt x="4847" y="1773"/>
                </a:lnTo>
                <a:lnTo>
                  <a:pt x="4847" y="1773"/>
                </a:lnTo>
                <a:lnTo>
                  <a:pt x="4847" y="1767"/>
                </a:lnTo>
                <a:lnTo>
                  <a:pt x="4847" y="1773"/>
                </a:lnTo>
                <a:lnTo>
                  <a:pt x="4853" y="1767"/>
                </a:lnTo>
                <a:lnTo>
                  <a:pt x="4847" y="1767"/>
                </a:lnTo>
                <a:lnTo>
                  <a:pt x="4847" y="1767"/>
                </a:lnTo>
                <a:lnTo>
                  <a:pt x="4841" y="1767"/>
                </a:lnTo>
                <a:lnTo>
                  <a:pt x="4841" y="1767"/>
                </a:lnTo>
                <a:lnTo>
                  <a:pt x="4835" y="1767"/>
                </a:lnTo>
                <a:lnTo>
                  <a:pt x="4824" y="1767"/>
                </a:lnTo>
                <a:lnTo>
                  <a:pt x="4824" y="1767"/>
                </a:lnTo>
                <a:lnTo>
                  <a:pt x="4824" y="1773"/>
                </a:lnTo>
                <a:lnTo>
                  <a:pt x="4824" y="1773"/>
                </a:lnTo>
                <a:lnTo>
                  <a:pt x="4830" y="1773"/>
                </a:lnTo>
                <a:lnTo>
                  <a:pt x="4830" y="1773"/>
                </a:lnTo>
                <a:lnTo>
                  <a:pt x="4830" y="1773"/>
                </a:lnTo>
                <a:lnTo>
                  <a:pt x="4824" y="1773"/>
                </a:lnTo>
                <a:lnTo>
                  <a:pt x="4818" y="1773"/>
                </a:lnTo>
                <a:lnTo>
                  <a:pt x="4818" y="1773"/>
                </a:lnTo>
                <a:lnTo>
                  <a:pt x="4818" y="1773"/>
                </a:lnTo>
                <a:lnTo>
                  <a:pt x="4818" y="1773"/>
                </a:lnTo>
                <a:lnTo>
                  <a:pt x="4818" y="1773"/>
                </a:lnTo>
                <a:lnTo>
                  <a:pt x="4818" y="1773"/>
                </a:lnTo>
                <a:lnTo>
                  <a:pt x="4812" y="1773"/>
                </a:lnTo>
                <a:lnTo>
                  <a:pt x="4812" y="1773"/>
                </a:lnTo>
                <a:lnTo>
                  <a:pt x="4812" y="1773"/>
                </a:lnTo>
                <a:lnTo>
                  <a:pt x="4818" y="1773"/>
                </a:lnTo>
                <a:lnTo>
                  <a:pt x="4818" y="1767"/>
                </a:lnTo>
                <a:lnTo>
                  <a:pt x="4818" y="1767"/>
                </a:lnTo>
                <a:lnTo>
                  <a:pt x="4818" y="1767"/>
                </a:lnTo>
                <a:lnTo>
                  <a:pt x="4812" y="1767"/>
                </a:lnTo>
                <a:lnTo>
                  <a:pt x="4812" y="1767"/>
                </a:lnTo>
                <a:lnTo>
                  <a:pt x="4806" y="1767"/>
                </a:lnTo>
                <a:lnTo>
                  <a:pt x="4806" y="1767"/>
                </a:lnTo>
                <a:lnTo>
                  <a:pt x="4800" y="1767"/>
                </a:lnTo>
                <a:lnTo>
                  <a:pt x="4800" y="1773"/>
                </a:lnTo>
                <a:lnTo>
                  <a:pt x="4800" y="1773"/>
                </a:lnTo>
                <a:lnTo>
                  <a:pt x="4800" y="1773"/>
                </a:lnTo>
                <a:lnTo>
                  <a:pt x="4794" y="1773"/>
                </a:lnTo>
                <a:lnTo>
                  <a:pt x="4782" y="1773"/>
                </a:lnTo>
                <a:lnTo>
                  <a:pt x="4782" y="1773"/>
                </a:lnTo>
                <a:lnTo>
                  <a:pt x="4782" y="1767"/>
                </a:lnTo>
                <a:lnTo>
                  <a:pt x="4782" y="1767"/>
                </a:lnTo>
                <a:lnTo>
                  <a:pt x="4782" y="1762"/>
                </a:lnTo>
                <a:lnTo>
                  <a:pt x="4782" y="1762"/>
                </a:lnTo>
                <a:lnTo>
                  <a:pt x="4782" y="1762"/>
                </a:lnTo>
                <a:lnTo>
                  <a:pt x="4782" y="1762"/>
                </a:lnTo>
                <a:lnTo>
                  <a:pt x="4782" y="1762"/>
                </a:lnTo>
                <a:lnTo>
                  <a:pt x="4782" y="1762"/>
                </a:lnTo>
                <a:lnTo>
                  <a:pt x="4782" y="1762"/>
                </a:lnTo>
                <a:lnTo>
                  <a:pt x="4782" y="1762"/>
                </a:lnTo>
                <a:lnTo>
                  <a:pt x="4782" y="1756"/>
                </a:lnTo>
                <a:lnTo>
                  <a:pt x="4782" y="1756"/>
                </a:lnTo>
                <a:lnTo>
                  <a:pt x="4782" y="1756"/>
                </a:lnTo>
                <a:lnTo>
                  <a:pt x="4782" y="1756"/>
                </a:lnTo>
                <a:lnTo>
                  <a:pt x="4776" y="1750"/>
                </a:lnTo>
                <a:lnTo>
                  <a:pt x="4776" y="1750"/>
                </a:lnTo>
                <a:lnTo>
                  <a:pt x="4776" y="1750"/>
                </a:lnTo>
                <a:lnTo>
                  <a:pt x="4776" y="1744"/>
                </a:lnTo>
                <a:lnTo>
                  <a:pt x="4776" y="1744"/>
                </a:lnTo>
                <a:lnTo>
                  <a:pt x="4776" y="1738"/>
                </a:lnTo>
                <a:lnTo>
                  <a:pt x="4776" y="1738"/>
                </a:lnTo>
                <a:lnTo>
                  <a:pt x="4776" y="1738"/>
                </a:lnTo>
                <a:lnTo>
                  <a:pt x="4782" y="1738"/>
                </a:lnTo>
                <a:lnTo>
                  <a:pt x="4782" y="1732"/>
                </a:lnTo>
                <a:lnTo>
                  <a:pt x="4782" y="1732"/>
                </a:lnTo>
                <a:lnTo>
                  <a:pt x="4782" y="1732"/>
                </a:lnTo>
                <a:lnTo>
                  <a:pt x="4782" y="1732"/>
                </a:lnTo>
                <a:lnTo>
                  <a:pt x="4782" y="1732"/>
                </a:lnTo>
                <a:lnTo>
                  <a:pt x="4782" y="1726"/>
                </a:lnTo>
                <a:lnTo>
                  <a:pt x="4782" y="1726"/>
                </a:lnTo>
                <a:lnTo>
                  <a:pt x="4782" y="1726"/>
                </a:lnTo>
                <a:lnTo>
                  <a:pt x="4782" y="1726"/>
                </a:lnTo>
                <a:lnTo>
                  <a:pt x="4782" y="1726"/>
                </a:lnTo>
                <a:lnTo>
                  <a:pt x="4782" y="1726"/>
                </a:lnTo>
                <a:lnTo>
                  <a:pt x="4782" y="1726"/>
                </a:lnTo>
                <a:lnTo>
                  <a:pt x="4782" y="1726"/>
                </a:lnTo>
                <a:lnTo>
                  <a:pt x="4782" y="1726"/>
                </a:lnTo>
                <a:lnTo>
                  <a:pt x="4788" y="1732"/>
                </a:lnTo>
                <a:lnTo>
                  <a:pt x="4782" y="1732"/>
                </a:lnTo>
                <a:lnTo>
                  <a:pt x="4782" y="1732"/>
                </a:lnTo>
                <a:lnTo>
                  <a:pt x="4782" y="1732"/>
                </a:lnTo>
                <a:lnTo>
                  <a:pt x="4782" y="1738"/>
                </a:lnTo>
                <a:lnTo>
                  <a:pt x="4782" y="1738"/>
                </a:lnTo>
                <a:lnTo>
                  <a:pt x="4782" y="1738"/>
                </a:lnTo>
                <a:lnTo>
                  <a:pt x="4782" y="1744"/>
                </a:lnTo>
                <a:lnTo>
                  <a:pt x="4782" y="1744"/>
                </a:lnTo>
                <a:lnTo>
                  <a:pt x="4782" y="1744"/>
                </a:lnTo>
                <a:lnTo>
                  <a:pt x="4782" y="1750"/>
                </a:lnTo>
                <a:lnTo>
                  <a:pt x="4782" y="1750"/>
                </a:lnTo>
                <a:lnTo>
                  <a:pt x="4782" y="1756"/>
                </a:lnTo>
                <a:lnTo>
                  <a:pt x="4782" y="1756"/>
                </a:lnTo>
                <a:lnTo>
                  <a:pt x="4788" y="1762"/>
                </a:lnTo>
                <a:lnTo>
                  <a:pt x="4788" y="1762"/>
                </a:lnTo>
                <a:lnTo>
                  <a:pt x="4788" y="1756"/>
                </a:lnTo>
                <a:lnTo>
                  <a:pt x="4794" y="1756"/>
                </a:lnTo>
                <a:lnTo>
                  <a:pt x="4794" y="1762"/>
                </a:lnTo>
                <a:lnTo>
                  <a:pt x="4794" y="1762"/>
                </a:lnTo>
                <a:lnTo>
                  <a:pt x="4794" y="1762"/>
                </a:lnTo>
                <a:lnTo>
                  <a:pt x="4800" y="1762"/>
                </a:lnTo>
                <a:lnTo>
                  <a:pt x="4800" y="1762"/>
                </a:lnTo>
                <a:lnTo>
                  <a:pt x="4800" y="1762"/>
                </a:lnTo>
                <a:lnTo>
                  <a:pt x="4806" y="1762"/>
                </a:lnTo>
                <a:lnTo>
                  <a:pt x="4806" y="1762"/>
                </a:lnTo>
                <a:lnTo>
                  <a:pt x="4812" y="1762"/>
                </a:lnTo>
                <a:lnTo>
                  <a:pt x="4812" y="1756"/>
                </a:lnTo>
                <a:lnTo>
                  <a:pt x="4812" y="1756"/>
                </a:lnTo>
                <a:lnTo>
                  <a:pt x="4812" y="1756"/>
                </a:lnTo>
                <a:lnTo>
                  <a:pt x="4812" y="1756"/>
                </a:lnTo>
                <a:lnTo>
                  <a:pt x="4812" y="1756"/>
                </a:lnTo>
                <a:lnTo>
                  <a:pt x="4812" y="1756"/>
                </a:lnTo>
                <a:lnTo>
                  <a:pt x="4812" y="1756"/>
                </a:lnTo>
                <a:lnTo>
                  <a:pt x="4824" y="1756"/>
                </a:lnTo>
                <a:lnTo>
                  <a:pt x="4824" y="1756"/>
                </a:lnTo>
                <a:lnTo>
                  <a:pt x="4824" y="1750"/>
                </a:lnTo>
                <a:lnTo>
                  <a:pt x="4818" y="1750"/>
                </a:lnTo>
                <a:lnTo>
                  <a:pt x="4818" y="1750"/>
                </a:lnTo>
                <a:lnTo>
                  <a:pt x="4818" y="1750"/>
                </a:lnTo>
                <a:lnTo>
                  <a:pt x="4812" y="1750"/>
                </a:lnTo>
                <a:lnTo>
                  <a:pt x="4812" y="1744"/>
                </a:lnTo>
                <a:lnTo>
                  <a:pt x="4812" y="1744"/>
                </a:lnTo>
                <a:lnTo>
                  <a:pt x="4812" y="1744"/>
                </a:lnTo>
                <a:lnTo>
                  <a:pt x="4806" y="1744"/>
                </a:lnTo>
                <a:lnTo>
                  <a:pt x="4806" y="1744"/>
                </a:lnTo>
                <a:lnTo>
                  <a:pt x="4806" y="1744"/>
                </a:lnTo>
                <a:lnTo>
                  <a:pt x="4806" y="1738"/>
                </a:lnTo>
                <a:lnTo>
                  <a:pt x="4812" y="1738"/>
                </a:lnTo>
                <a:lnTo>
                  <a:pt x="4812" y="1744"/>
                </a:lnTo>
                <a:lnTo>
                  <a:pt x="4812" y="1744"/>
                </a:lnTo>
                <a:lnTo>
                  <a:pt x="4812" y="1744"/>
                </a:lnTo>
                <a:lnTo>
                  <a:pt x="4812" y="1744"/>
                </a:lnTo>
                <a:lnTo>
                  <a:pt x="4818" y="1744"/>
                </a:lnTo>
                <a:lnTo>
                  <a:pt x="4818" y="1750"/>
                </a:lnTo>
                <a:lnTo>
                  <a:pt x="4830" y="1750"/>
                </a:lnTo>
                <a:lnTo>
                  <a:pt x="4830" y="1750"/>
                </a:lnTo>
                <a:lnTo>
                  <a:pt x="4835" y="1750"/>
                </a:lnTo>
                <a:lnTo>
                  <a:pt x="4835" y="1750"/>
                </a:lnTo>
                <a:lnTo>
                  <a:pt x="4830" y="1750"/>
                </a:lnTo>
                <a:lnTo>
                  <a:pt x="4830" y="1744"/>
                </a:lnTo>
                <a:lnTo>
                  <a:pt x="4830" y="1744"/>
                </a:lnTo>
                <a:lnTo>
                  <a:pt x="4824" y="1744"/>
                </a:lnTo>
                <a:lnTo>
                  <a:pt x="4824" y="1744"/>
                </a:lnTo>
                <a:lnTo>
                  <a:pt x="4824" y="1744"/>
                </a:lnTo>
                <a:lnTo>
                  <a:pt x="4824" y="1738"/>
                </a:lnTo>
                <a:lnTo>
                  <a:pt x="4824" y="1738"/>
                </a:lnTo>
                <a:lnTo>
                  <a:pt x="4824" y="1738"/>
                </a:lnTo>
                <a:lnTo>
                  <a:pt x="4824" y="1738"/>
                </a:lnTo>
                <a:lnTo>
                  <a:pt x="4830" y="1744"/>
                </a:lnTo>
                <a:lnTo>
                  <a:pt x="4830" y="1744"/>
                </a:lnTo>
                <a:lnTo>
                  <a:pt x="4830" y="1744"/>
                </a:lnTo>
                <a:lnTo>
                  <a:pt x="4830" y="1744"/>
                </a:lnTo>
                <a:lnTo>
                  <a:pt x="4835" y="1750"/>
                </a:lnTo>
                <a:lnTo>
                  <a:pt x="4835" y="1750"/>
                </a:lnTo>
                <a:lnTo>
                  <a:pt x="4835" y="1750"/>
                </a:lnTo>
                <a:lnTo>
                  <a:pt x="4835" y="1750"/>
                </a:lnTo>
                <a:lnTo>
                  <a:pt x="4841" y="1750"/>
                </a:lnTo>
                <a:lnTo>
                  <a:pt x="4841" y="1750"/>
                </a:lnTo>
                <a:lnTo>
                  <a:pt x="4841" y="1750"/>
                </a:lnTo>
                <a:lnTo>
                  <a:pt x="4841" y="1750"/>
                </a:lnTo>
                <a:lnTo>
                  <a:pt x="4841" y="1750"/>
                </a:lnTo>
                <a:lnTo>
                  <a:pt x="4841" y="1744"/>
                </a:lnTo>
                <a:lnTo>
                  <a:pt x="4841" y="1744"/>
                </a:lnTo>
                <a:lnTo>
                  <a:pt x="4847" y="1744"/>
                </a:lnTo>
                <a:lnTo>
                  <a:pt x="4847" y="1744"/>
                </a:lnTo>
                <a:lnTo>
                  <a:pt x="4847" y="1744"/>
                </a:lnTo>
                <a:lnTo>
                  <a:pt x="4847" y="1744"/>
                </a:lnTo>
                <a:lnTo>
                  <a:pt x="4847" y="1744"/>
                </a:lnTo>
                <a:lnTo>
                  <a:pt x="4841" y="1738"/>
                </a:lnTo>
                <a:lnTo>
                  <a:pt x="4841" y="1738"/>
                </a:lnTo>
                <a:lnTo>
                  <a:pt x="4841" y="1738"/>
                </a:lnTo>
                <a:lnTo>
                  <a:pt x="4841" y="1738"/>
                </a:lnTo>
                <a:lnTo>
                  <a:pt x="4841" y="1738"/>
                </a:lnTo>
                <a:lnTo>
                  <a:pt x="4841" y="1732"/>
                </a:lnTo>
                <a:lnTo>
                  <a:pt x="4835" y="1732"/>
                </a:lnTo>
                <a:lnTo>
                  <a:pt x="4835" y="1732"/>
                </a:lnTo>
                <a:lnTo>
                  <a:pt x="4835" y="1732"/>
                </a:lnTo>
                <a:lnTo>
                  <a:pt x="4830" y="1732"/>
                </a:lnTo>
                <a:lnTo>
                  <a:pt x="4830" y="1726"/>
                </a:lnTo>
                <a:lnTo>
                  <a:pt x="4830" y="1726"/>
                </a:lnTo>
                <a:lnTo>
                  <a:pt x="4830" y="1726"/>
                </a:lnTo>
                <a:lnTo>
                  <a:pt x="4830" y="1726"/>
                </a:lnTo>
                <a:lnTo>
                  <a:pt x="4835" y="1726"/>
                </a:lnTo>
                <a:lnTo>
                  <a:pt x="4835" y="1726"/>
                </a:lnTo>
                <a:lnTo>
                  <a:pt x="4835" y="1726"/>
                </a:lnTo>
                <a:lnTo>
                  <a:pt x="4835" y="1726"/>
                </a:lnTo>
                <a:lnTo>
                  <a:pt x="4835" y="1726"/>
                </a:lnTo>
                <a:lnTo>
                  <a:pt x="4835" y="1732"/>
                </a:lnTo>
                <a:lnTo>
                  <a:pt x="4841" y="1732"/>
                </a:lnTo>
                <a:lnTo>
                  <a:pt x="4841" y="1732"/>
                </a:lnTo>
                <a:lnTo>
                  <a:pt x="4841" y="1732"/>
                </a:lnTo>
                <a:lnTo>
                  <a:pt x="4841" y="1732"/>
                </a:lnTo>
                <a:lnTo>
                  <a:pt x="4847" y="1732"/>
                </a:lnTo>
                <a:lnTo>
                  <a:pt x="4847" y="1732"/>
                </a:lnTo>
                <a:lnTo>
                  <a:pt x="4847" y="1738"/>
                </a:lnTo>
                <a:lnTo>
                  <a:pt x="4847" y="1738"/>
                </a:lnTo>
                <a:lnTo>
                  <a:pt x="4847" y="1738"/>
                </a:lnTo>
                <a:lnTo>
                  <a:pt x="4847" y="1738"/>
                </a:lnTo>
                <a:lnTo>
                  <a:pt x="4847" y="1738"/>
                </a:lnTo>
                <a:lnTo>
                  <a:pt x="4853" y="1744"/>
                </a:lnTo>
                <a:lnTo>
                  <a:pt x="4853" y="1744"/>
                </a:lnTo>
                <a:lnTo>
                  <a:pt x="4853" y="1744"/>
                </a:lnTo>
                <a:lnTo>
                  <a:pt x="4853" y="1744"/>
                </a:lnTo>
                <a:lnTo>
                  <a:pt x="4853" y="1744"/>
                </a:lnTo>
                <a:lnTo>
                  <a:pt x="4853" y="1744"/>
                </a:lnTo>
                <a:lnTo>
                  <a:pt x="4865" y="1744"/>
                </a:lnTo>
                <a:lnTo>
                  <a:pt x="4865" y="1744"/>
                </a:lnTo>
                <a:lnTo>
                  <a:pt x="4859" y="1744"/>
                </a:lnTo>
                <a:lnTo>
                  <a:pt x="4859" y="1744"/>
                </a:lnTo>
                <a:lnTo>
                  <a:pt x="4859" y="1744"/>
                </a:lnTo>
                <a:lnTo>
                  <a:pt x="4859" y="1744"/>
                </a:lnTo>
                <a:lnTo>
                  <a:pt x="4859" y="1738"/>
                </a:lnTo>
                <a:lnTo>
                  <a:pt x="4859" y="1738"/>
                </a:lnTo>
                <a:lnTo>
                  <a:pt x="4859" y="1738"/>
                </a:lnTo>
                <a:lnTo>
                  <a:pt x="4859" y="1732"/>
                </a:lnTo>
                <a:lnTo>
                  <a:pt x="4859" y="1732"/>
                </a:lnTo>
                <a:lnTo>
                  <a:pt x="4853" y="1732"/>
                </a:lnTo>
                <a:lnTo>
                  <a:pt x="4853" y="1726"/>
                </a:lnTo>
                <a:lnTo>
                  <a:pt x="4853" y="1726"/>
                </a:lnTo>
                <a:lnTo>
                  <a:pt x="4853" y="1726"/>
                </a:lnTo>
                <a:lnTo>
                  <a:pt x="4853" y="1726"/>
                </a:lnTo>
                <a:lnTo>
                  <a:pt x="4853" y="1726"/>
                </a:lnTo>
                <a:lnTo>
                  <a:pt x="4853" y="1726"/>
                </a:lnTo>
                <a:lnTo>
                  <a:pt x="4853" y="1726"/>
                </a:lnTo>
                <a:lnTo>
                  <a:pt x="4859" y="1726"/>
                </a:lnTo>
                <a:lnTo>
                  <a:pt x="4859" y="1732"/>
                </a:lnTo>
                <a:lnTo>
                  <a:pt x="4859" y="1732"/>
                </a:lnTo>
                <a:lnTo>
                  <a:pt x="4859" y="1732"/>
                </a:lnTo>
                <a:lnTo>
                  <a:pt x="4859" y="1732"/>
                </a:lnTo>
                <a:lnTo>
                  <a:pt x="4859" y="1732"/>
                </a:lnTo>
                <a:lnTo>
                  <a:pt x="4859" y="1738"/>
                </a:lnTo>
                <a:lnTo>
                  <a:pt x="4865" y="1738"/>
                </a:lnTo>
                <a:lnTo>
                  <a:pt x="4865" y="1738"/>
                </a:lnTo>
                <a:lnTo>
                  <a:pt x="4865" y="1738"/>
                </a:lnTo>
                <a:lnTo>
                  <a:pt x="4865" y="1738"/>
                </a:lnTo>
                <a:lnTo>
                  <a:pt x="4865" y="1738"/>
                </a:lnTo>
                <a:lnTo>
                  <a:pt x="4865" y="1738"/>
                </a:lnTo>
                <a:lnTo>
                  <a:pt x="4865" y="1738"/>
                </a:lnTo>
                <a:lnTo>
                  <a:pt x="4865" y="1738"/>
                </a:lnTo>
                <a:lnTo>
                  <a:pt x="4865" y="1744"/>
                </a:lnTo>
                <a:lnTo>
                  <a:pt x="4865" y="1744"/>
                </a:lnTo>
                <a:lnTo>
                  <a:pt x="4865" y="1744"/>
                </a:lnTo>
                <a:lnTo>
                  <a:pt x="4865" y="1744"/>
                </a:lnTo>
                <a:lnTo>
                  <a:pt x="4865" y="1750"/>
                </a:lnTo>
                <a:lnTo>
                  <a:pt x="4865" y="1750"/>
                </a:lnTo>
                <a:lnTo>
                  <a:pt x="4865" y="1750"/>
                </a:lnTo>
                <a:lnTo>
                  <a:pt x="4871" y="1756"/>
                </a:lnTo>
                <a:lnTo>
                  <a:pt x="4871" y="1756"/>
                </a:lnTo>
                <a:lnTo>
                  <a:pt x="4871" y="1756"/>
                </a:lnTo>
                <a:lnTo>
                  <a:pt x="4877" y="1756"/>
                </a:lnTo>
                <a:lnTo>
                  <a:pt x="4877" y="1756"/>
                </a:lnTo>
                <a:lnTo>
                  <a:pt x="4877" y="1756"/>
                </a:lnTo>
                <a:lnTo>
                  <a:pt x="4877" y="1750"/>
                </a:lnTo>
                <a:lnTo>
                  <a:pt x="4871" y="1750"/>
                </a:lnTo>
                <a:lnTo>
                  <a:pt x="4871" y="1750"/>
                </a:lnTo>
                <a:lnTo>
                  <a:pt x="4871" y="1750"/>
                </a:lnTo>
                <a:lnTo>
                  <a:pt x="4871" y="1744"/>
                </a:lnTo>
                <a:lnTo>
                  <a:pt x="4871" y="1744"/>
                </a:lnTo>
                <a:lnTo>
                  <a:pt x="4871" y="1744"/>
                </a:lnTo>
                <a:lnTo>
                  <a:pt x="4865" y="1732"/>
                </a:lnTo>
                <a:lnTo>
                  <a:pt x="4865" y="1732"/>
                </a:lnTo>
                <a:lnTo>
                  <a:pt x="4865" y="1726"/>
                </a:lnTo>
                <a:lnTo>
                  <a:pt x="4859" y="1720"/>
                </a:lnTo>
                <a:lnTo>
                  <a:pt x="4859" y="1720"/>
                </a:lnTo>
                <a:lnTo>
                  <a:pt x="4859" y="1714"/>
                </a:lnTo>
                <a:lnTo>
                  <a:pt x="4859" y="1714"/>
                </a:lnTo>
                <a:lnTo>
                  <a:pt x="4859" y="1714"/>
                </a:lnTo>
                <a:lnTo>
                  <a:pt x="4859" y="1714"/>
                </a:lnTo>
                <a:lnTo>
                  <a:pt x="4859" y="1714"/>
                </a:lnTo>
                <a:lnTo>
                  <a:pt x="4859" y="1714"/>
                </a:lnTo>
                <a:lnTo>
                  <a:pt x="4859" y="1714"/>
                </a:lnTo>
                <a:lnTo>
                  <a:pt x="4859" y="1714"/>
                </a:lnTo>
                <a:lnTo>
                  <a:pt x="4859" y="1714"/>
                </a:lnTo>
                <a:lnTo>
                  <a:pt x="4859" y="1714"/>
                </a:lnTo>
                <a:lnTo>
                  <a:pt x="4859" y="1720"/>
                </a:lnTo>
                <a:lnTo>
                  <a:pt x="4859" y="1720"/>
                </a:lnTo>
                <a:lnTo>
                  <a:pt x="4859" y="1720"/>
                </a:lnTo>
                <a:lnTo>
                  <a:pt x="4859" y="1720"/>
                </a:lnTo>
                <a:lnTo>
                  <a:pt x="4853" y="1714"/>
                </a:lnTo>
                <a:lnTo>
                  <a:pt x="4853" y="1714"/>
                </a:lnTo>
                <a:lnTo>
                  <a:pt x="4853" y="1714"/>
                </a:lnTo>
                <a:lnTo>
                  <a:pt x="4859" y="1714"/>
                </a:lnTo>
                <a:lnTo>
                  <a:pt x="4853" y="1708"/>
                </a:lnTo>
                <a:lnTo>
                  <a:pt x="4853" y="1708"/>
                </a:lnTo>
                <a:lnTo>
                  <a:pt x="4853" y="1708"/>
                </a:lnTo>
                <a:lnTo>
                  <a:pt x="4847" y="1702"/>
                </a:lnTo>
                <a:lnTo>
                  <a:pt x="4847" y="1702"/>
                </a:lnTo>
                <a:lnTo>
                  <a:pt x="4847" y="1702"/>
                </a:lnTo>
                <a:lnTo>
                  <a:pt x="4847" y="1696"/>
                </a:lnTo>
                <a:lnTo>
                  <a:pt x="4847" y="1696"/>
                </a:lnTo>
                <a:lnTo>
                  <a:pt x="4847" y="1696"/>
                </a:lnTo>
                <a:lnTo>
                  <a:pt x="4847" y="1696"/>
                </a:lnTo>
                <a:lnTo>
                  <a:pt x="4847" y="1696"/>
                </a:lnTo>
                <a:lnTo>
                  <a:pt x="4847" y="1696"/>
                </a:lnTo>
                <a:lnTo>
                  <a:pt x="4847" y="1696"/>
                </a:lnTo>
                <a:lnTo>
                  <a:pt x="4847" y="1696"/>
                </a:lnTo>
                <a:lnTo>
                  <a:pt x="4847" y="1690"/>
                </a:lnTo>
                <a:lnTo>
                  <a:pt x="4847" y="1690"/>
                </a:lnTo>
                <a:lnTo>
                  <a:pt x="4853" y="1696"/>
                </a:lnTo>
                <a:lnTo>
                  <a:pt x="4853" y="1696"/>
                </a:lnTo>
                <a:lnTo>
                  <a:pt x="4853" y="1696"/>
                </a:lnTo>
                <a:lnTo>
                  <a:pt x="4853" y="1702"/>
                </a:lnTo>
                <a:lnTo>
                  <a:pt x="4853" y="1702"/>
                </a:lnTo>
                <a:lnTo>
                  <a:pt x="4853" y="1702"/>
                </a:lnTo>
                <a:lnTo>
                  <a:pt x="4853" y="1702"/>
                </a:lnTo>
                <a:lnTo>
                  <a:pt x="4859" y="1702"/>
                </a:lnTo>
                <a:lnTo>
                  <a:pt x="4859" y="1702"/>
                </a:lnTo>
                <a:lnTo>
                  <a:pt x="4865" y="1702"/>
                </a:lnTo>
                <a:lnTo>
                  <a:pt x="4865" y="1702"/>
                </a:lnTo>
                <a:lnTo>
                  <a:pt x="4865" y="1702"/>
                </a:lnTo>
                <a:lnTo>
                  <a:pt x="4865" y="1702"/>
                </a:lnTo>
                <a:lnTo>
                  <a:pt x="4865" y="1702"/>
                </a:lnTo>
                <a:lnTo>
                  <a:pt x="4865" y="1702"/>
                </a:lnTo>
                <a:lnTo>
                  <a:pt x="4865" y="1696"/>
                </a:lnTo>
                <a:lnTo>
                  <a:pt x="4865" y="1696"/>
                </a:lnTo>
                <a:lnTo>
                  <a:pt x="4859" y="1696"/>
                </a:lnTo>
                <a:lnTo>
                  <a:pt x="4859" y="1696"/>
                </a:lnTo>
                <a:lnTo>
                  <a:pt x="4859" y="1696"/>
                </a:lnTo>
                <a:lnTo>
                  <a:pt x="4859" y="1696"/>
                </a:lnTo>
                <a:lnTo>
                  <a:pt x="4859" y="1696"/>
                </a:lnTo>
                <a:lnTo>
                  <a:pt x="4859" y="1696"/>
                </a:lnTo>
                <a:lnTo>
                  <a:pt x="4859" y="1696"/>
                </a:lnTo>
                <a:lnTo>
                  <a:pt x="4859" y="1696"/>
                </a:lnTo>
                <a:lnTo>
                  <a:pt x="4859" y="1696"/>
                </a:lnTo>
                <a:lnTo>
                  <a:pt x="4859" y="1696"/>
                </a:lnTo>
                <a:lnTo>
                  <a:pt x="4859" y="1696"/>
                </a:lnTo>
                <a:lnTo>
                  <a:pt x="4859" y="1696"/>
                </a:lnTo>
                <a:lnTo>
                  <a:pt x="4859" y="1696"/>
                </a:lnTo>
                <a:lnTo>
                  <a:pt x="4853" y="1690"/>
                </a:lnTo>
                <a:lnTo>
                  <a:pt x="4859" y="1678"/>
                </a:lnTo>
                <a:lnTo>
                  <a:pt x="4859" y="1678"/>
                </a:lnTo>
                <a:lnTo>
                  <a:pt x="4859" y="1678"/>
                </a:lnTo>
                <a:lnTo>
                  <a:pt x="4859" y="1678"/>
                </a:lnTo>
                <a:lnTo>
                  <a:pt x="4859" y="1678"/>
                </a:lnTo>
                <a:lnTo>
                  <a:pt x="4859" y="1678"/>
                </a:lnTo>
                <a:lnTo>
                  <a:pt x="4859" y="1678"/>
                </a:lnTo>
                <a:lnTo>
                  <a:pt x="4859" y="1678"/>
                </a:lnTo>
                <a:lnTo>
                  <a:pt x="4859" y="1678"/>
                </a:lnTo>
                <a:lnTo>
                  <a:pt x="4865" y="1684"/>
                </a:lnTo>
                <a:lnTo>
                  <a:pt x="4865" y="1690"/>
                </a:lnTo>
                <a:lnTo>
                  <a:pt x="4865" y="1690"/>
                </a:lnTo>
                <a:lnTo>
                  <a:pt x="4865" y="1690"/>
                </a:lnTo>
                <a:lnTo>
                  <a:pt x="4865" y="1690"/>
                </a:lnTo>
                <a:lnTo>
                  <a:pt x="4865" y="1690"/>
                </a:lnTo>
                <a:lnTo>
                  <a:pt x="4865" y="1690"/>
                </a:lnTo>
                <a:lnTo>
                  <a:pt x="4865" y="1696"/>
                </a:lnTo>
                <a:lnTo>
                  <a:pt x="4865" y="1696"/>
                </a:lnTo>
                <a:lnTo>
                  <a:pt x="4865" y="1696"/>
                </a:lnTo>
                <a:lnTo>
                  <a:pt x="4865" y="1696"/>
                </a:lnTo>
                <a:lnTo>
                  <a:pt x="4865" y="1696"/>
                </a:lnTo>
                <a:lnTo>
                  <a:pt x="4865" y="1696"/>
                </a:lnTo>
                <a:lnTo>
                  <a:pt x="4865" y="1702"/>
                </a:lnTo>
                <a:lnTo>
                  <a:pt x="4865" y="1702"/>
                </a:lnTo>
                <a:lnTo>
                  <a:pt x="4865" y="1702"/>
                </a:lnTo>
                <a:lnTo>
                  <a:pt x="4865" y="1708"/>
                </a:lnTo>
                <a:lnTo>
                  <a:pt x="4871" y="1708"/>
                </a:lnTo>
                <a:lnTo>
                  <a:pt x="4871" y="1714"/>
                </a:lnTo>
                <a:lnTo>
                  <a:pt x="4871" y="1714"/>
                </a:lnTo>
                <a:lnTo>
                  <a:pt x="4871" y="1714"/>
                </a:lnTo>
                <a:lnTo>
                  <a:pt x="4871" y="1726"/>
                </a:lnTo>
                <a:lnTo>
                  <a:pt x="4871" y="1726"/>
                </a:lnTo>
                <a:lnTo>
                  <a:pt x="4871" y="1726"/>
                </a:lnTo>
                <a:lnTo>
                  <a:pt x="4871" y="1726"/>
                </a:lnTo>
                <a:lnTo>
                  <a:pt x="4871" y="1726"/>
                </a:lnTo>
                <a:lnTo>
                  <a:pt x="4871" y="1726"/>
                </a:lnTo>
                <a:lnTo>
                  <a:pt x="4871" y="1726"/>
                </a:lnTo>
                <a:lnTo>
                  <a:pt x="4871" y="1726"/>
                </a:lnTo>
                <a:lnTo>
                  <a:pt x="4871" y="1732"/>
                </a:lnTo>
                <a:lnTo>
                  <a:pt x="4877" y="1738"/>
                </a:lnTo>
                <a:lnTo>
                  <a:pt x="4877" y="1738"/>
                </a:lnTo>
                <a:lnTo>
                  <a:pt x="4877" y="1744"/>
                </a:lnTo>
                <a:lnTo>
                  <a:pt x="4877" y="1744"/>
                </a:lnTo>
                <a:lnTo>
                  <a:pt x="4877" y="1750"/>
                </a:lnTo>
                <a:lnTo>
                  <a:pt x="4877" y="1750"/>
                </a:lnTo>
                <a:lnTo>
                  <a:pt x="4877" y="1750"/>
                </a:lnTo>
                <a:lnTo>
                  <a:pt x="4877" y="1750"/>
                </a:lnTo>
                <a:lnTo>
                  <a:pt x="4877" y="1756"/>
                </a:lnTo>
                <a:lnTo>
                  <a:pt x="4877" y="1756"/>
                </a:lnTo>
                <a:lnTo>
                  <a:pt x="4883" y="1756"/>
                </a:lnTo>
                <a:lnTo>
                  <a:pt x="4883" y="1756"/>
                </a:lnTo>
                <a:lnTo>
                  <a:pt x="4883" y="1756"/>
                </a:lnTo>
                <a:lnTo>
                  <a:pt x="4883" y="1756"/>
                </a:lnTo>
                <a:lnTo>
                  <a:pt x="4883" y="1762"/>
                </a:lnTo>
                <a:lnTo>
                  <a:pt x="4883" y="1756"/>
                </a:lnTo>
                <a:lnTo>
                  <a:pt x="4883" y="1762"/>
                </a:lnTo>
                <a:lnTo>
                  <a:pt x="4883" y="1762"/>
                </a:lnTo>
                <a:lnTo>
                  <a:pt x="4883" y="1762"/>
                </a:lnTo>
                <a:lnTo>
                  <a:pt x="4883" y="1762"/>
                </a:lnTo>
                <a:lnTo>
                  <a:pt x="4883" y="1762"/>
                </a:lnTo>
                <a:lnTo>
                  <a:pt x="4883" y="1762"/>
                </a:lnTo>
                <a:lnTo>
                  <a:pt x="4883" y="1762"/>
                </a:lnTo>
                <a:lnTo>
                  <a:pt x="4883" y="1762"/>
                </a:lnTo>
                <a:lnTo>
                  <a:pt x="4883" y="1762"/>
                </a:lnTo>
                <a:lnTo>
                  <a:pt x="4883" y="1767"/>
                </a:lnTo>
                <a:lnTo>
                  <a:pt x="4883" y="1767"/>
                </a:lnTo>
                <a:lnTo>
                  <a:pt x="4883" y="1767"/>
                </a:lnTo>
                <a:lnTo>
                  <a:pt x="4883" y="1767"/>
                </a:lnTo>
                <a:lnTo>
                  <a:pt x="4895" y="1773"/>
                </a:lnTo>
                <a:lnTo>
                  <a:pt x="4895" y="1779"/>
                </a:lnTo>
                <a:lnTo>
                  <a:pt x="4895" y="1779"/>
                </a:lnTo>
                <a:lnTo>
                  <a:pt x="4895" y="1779"/>
                </a:lnTo>
                <a:lnTo>
                  <a:pt x="4895" y="1779"/>
                </a:lnTo>
                <a:lnTo>
                  <a:pt x="4895" y="1785"/>
                </a:lnTo>
                <a:lnTo>
                  <a:pt x="4895" y="1785"/>
                </a:lnTo>
                <a:lnTo>
                  <a:pt x="4895" y="1785"/>
                </a:lnTo>
                <a:lnTo>
                  <a:pt x="4895" y="1785"/>
                </a:lnTo>
                <a:lnTo>
                  <a:pt x="4895" y="1785"/>
                </a:lnTo>
                <a:lnTo>
                  <a:pt x="4895" y="1785"/>
                </a:lnTo>
                <a:lnTo>
                  <a:pt x="4895" y="1785"/>
                </a:lnTo>
                <a:lnTo>
                  <a:pt x="4895" y="1791"/>
                </a:lnTo>
                <a:lnTo>
                  <a:pt x="4901" y="1791"/>
                </a:lnTo>
                <a:lnTo>
                  <a:pt x="4901" y="1791"/>
                </a:lnTo>
                <a:lnTo>
                  <a:pt x="4901" y="1791"/>
                </a:lnTo>
                <a:lnTo>
                  <a:pt x="4895" y="1785"/>
                </a:lnTo>
                <a:lnTo>
                  <a:pt x="4895" y="1779"/>
                </a:lnTo>
                <a:lnTo>
                  <a:pt x="4895" y="1779"/>
                </a:lnTo>
                <a:lnTo>
                  <a:pt x="4883" y="1750"/>
                </a:lnTo>
                <a:lnTo>
                  <a:pt x="4877" y="1738"/>
                </a:lnTo>
                <a:lnTo>
                  <a:pt x="4877" y="1732"/>
                </a:lnTo>
                <a:lnTo>
                  <a:pt x="4877" y="1726"/>
                </a:lnTo>
                <a:lnTo>
                  <a:pt x="4877" y="1726"/>
                </a:lnTo>
                <a:lnTo>
                  <a:pt x="4877" y="1726"/>
                </a:lnTo>
                <a:lnTo>
                  <a:pt x="4871" y="1726"/>
                </a:lnTo>
                <a:lnTo>
                  <a:pt x="4871" y="1720"/>
                </a:lnTo>
                <a:lnTo>
                  <a:pt x="4871" y="1720"/>
                </a:lnTo>
                <a:lnTo>
                  <a:pt x="4871" y="1702"/>
                </a:lnTo>
                <a:lnTo>
                  <a:pt x="4865" y="1696"/>
                </a:lnTo>
                <a:lnTo>
                  <a:pt x="4865" y="1696"/>
                </a:lnTo>
                <a:lnTo>
                  <a:pt x="4865" y="1696"/>
                </a:lnTo>
                <a:lnTo>
                  <a:pt x="4865" y="1690"/>
                </a:lnTo>
                <a:lnTo>
                  <a:pt x="4859" y="1667"/>
                </a:lnTo>
                <a:lnTo>
                  <a:pt x="4853" y="1655"/>
                </a:lnTo>
                <a:lnTo>
                  <a:pt x="4853" y="1649"/>
                </a:lnTo>
                <a:lnTo>
                  <a:pt x="4853" y="1649"/>
                </a:lnTo>
                <a:lnTo>
                  <a:pt x="4853" y="1649"/>
                </a:lnTo>
                <a:lnTo>
                  <a:pt x="4847" y="1649"/>
                </a:lnTo>
                <a:lnTo>
                  <a:pt x="4847" y="1649"/>
                </a:lnTo>
                <a:lnTo>
                  <a:pt x="4847" y="1649"/>
                </a:lnTo>
                <a:lnTo>
                  <a:pt x="4847" y="1655"/>
                </a:lnTo>
                <a:lnTo>
                  <a:pt x="4847" y="1655"/>
                </a:lnTo>
                <a:lnTo>
                  <a:pt x="4847" y="1649"/>
                </a:lnTo>
                <a:lnTo>
                  <a:pt x="4841" y="1649"/>
                </a:lnTo>
                <a:lnTo>
                  <a:pt x="4835" y="1649"/>
                </a:lnTo>
                <a:lnTo>
                  <a:pt x="4824" y="1643"/>
                </a:lnTo>
                <a:lnTo>
                  <a:pt x="4824" y="1643"/>
                </a:lnTo>
                <a:lnTo>
                  <a:pt x="4824" y="1649"/>
                </a:lnTo>
                <a:lnTo>
                  <a:pt x="4818" y="1649"/>
                </a:lnTo>
                <a:lnTo>
                  <a:pt x="4818" y="1649"/>
                </a:lnTo>
                <a:lnTo>
                  <a:pt x="4824" y="1649"/>
                </a:lnTo>
                <a:lnTo>
                  <a:pt x="4824" y="1649"/>
                </a:lnTo>
                <a:lnTo>
                  <a:pt x="4824" y="1655"/>
                </a:lnTo>
                <a:lnTo>
                  <a:pt x="4824" y="1655"/>
                </a:lnTo>
                <a:lnTo>
                  <a:pt x="4824" y="1655"/>
                </a:lnTo>
                <a:lnTo>
                  <a:pt x="4824" y="1655"/>
                </a:lnTo>
                <a:lnTo>
                  <a:pt x="4824" y="1655"/>
                </a:lnTo>
                <a:lnTo>
                  <a:pt x="4824" y="1661"/>
                </a:lnTo>
                <a:lnTo>
                  <a:pt x="4824" y="1661"/>
                </a:lnTo>
                <a:lnTo>
                  <a:pt x="4824" y="1661"/>
                </a:lnTo>
                <a:lnTo>
                  <a:pt x="4824" y="1661"/>
                </a:lnTo>
                <a:lnTo>
                  <a:pt x="4818" y="1655"/>
                </a:lnTo>
                <a:lnTo>
                  <a:pt x="4818" y="1655"/>
                </a:lnTo>
                <a:lnTo>
                  <a:pt x="4818" y="1655"/>
                </a:lnTo>
                <a:lnTo>
                  <a:pt x="4818" y="1655"/>
                </a:lnTo>
                <a:lnTo>
                  <a:pt x="4818" y="1655"/>
                </a:lnTo>
                <a:lnTo>
                  <a:pt x="4812" y="1655"/>
                </a:lnTo>
                <a:lnTo>
                  <a:pt x="4812" y="1655"/>
                </a:lnTo>
                <a:lnTo>
                  <a:pt x="4806" y="1655"/>
                </a:lnTo>
                <a:lnTo>
                  <a:pt x="4806" y="1655"/>
                </a:lnTo>
                <a:lnTo>
                  <a:pt x="4806" y="1655"/>
                </a:lnTo>
                <a:lnTo>
                  <a:pt x="4806" y="1655"/>
                </a:lnTo>
                <a:lnTo>
                  <a:pt x="4800" y="1661"/>
                </a:lnTo>
                <a:lnTo>
                  <a:pt x="4800" y="1655"/>
                </a:lnTo>
                <a:lnTo>
                  <a:pt x="4806" y="1655"/>
                </a:lnTo>
                <a:lnTo>
                  <a:pt x="4806" y="1655"/>
                </a:lnTo>
                <a:lnTo>
                  <a:pt x="4806" y="1655"/>
                </a:lnTo>
                <a:lnTo>
                  <a:pt x="4806" y="1649"/>
                </a:lnTo>
                <a:lnTo>
                  <a:pt x="4806" y="1649"/>
                </a:lnTo>
                <a:lnTo>
                  <a:pt x="4806" y="1649"/>
                </a:lnTo>
                <a:lnTo>
                  <a:pt x="4806" y="1649"/>
                </a:lnTo>
                <a:lnTo>
                  <a:pt x="4806" y="1649"/>
                </a:lnTo>
                <a:lnTo>
                  <a:pt x="4806" y="1649"/>
                </a:lnTo>
                <a:lnTo>
                  <a:pt x="4800" y="1643"/>
                </a:lnTo>
                <a:lnTo>
                  <a:pt x="4800" y="1643"/>
                </a:lnTo>
                <a:lnTo>
                  <a:pt x="4800" y="1643"/>
                </a:lnTo>
                <a:lnTo>
                  <a:pt x="4800" y="1643"/>
                </a:lnTo>
                <a:lnTo>
                  <a:pt x="4800" y="1643"/>
                </a:lnTo>
                <a:lnTo>
                  <a:pt x="4794" y="1643"/>
                </a:lnTo>
                <a:lnTo>
                  <a:pt x="4794" y="1643"/>
                </a:lnTo>
                <a:lnTo>
                  <a:pt x="4794" y="1637"/>
                </a:lnTo>
                <a:lnTo>
                  <a:pt x="4794" y="1637"/>
                </a:lnTo>
                <a:lnTo>
                  <a:pt x="4794" y="1637"/>
                </a:lnTo>
                <a:lnTo>
                  <a:pt x="4794" y="1637"/>
                </a:lnTo>
                <a:lnTo>
                  <a:pt x="4794" y="1637"/>
                </a:lnTo>
                <a:lnTo>
                  <a:pt x="4794" y="1637"/>
                </a:lnTo>
                <a:lnTo>
                  <a:pt x="4794" y="1637"/>
                </a:lnTo>
                <a:lnTo>
                  <a:pt x="4794" y="1637"/>
                </a:lnTo>
                <a:lnTo>
                  <a:pt x="4788" y="1637"/>
                </a:lnTo>
                <a:lnTo>
                  <a:pt x="4788" y="1637"/>
                </a:lnTo>
                <a:lnTo>
                  <a:pt x="4788" y="1631"/>
                </a:lnTo>
                <a:lnTo>
                  <a:pt x="4788" y="1631"/>
                </a:lnTo>
                <a:lnTo>
                  <a:pt x="4788" y="1625"/>
                </a:lnTo>
                <a:lnTo>
                  <a:pt x="4788" y="1625"/>
                </a:lnTo>
                <a:lnTo>
                  <a:pt x="4788" y="1619"/>
                </a:lnTo>
                <a:lnTo>
                  <a:pt x="4788" y="1619"/>
                </a:lnTo>
                <a:lnTo>
                  <a:pt x="4782" y="1619"/>
                </a:lnTo>
                <a:lnTo>
                  <a:pt x="4782" y="1619"/>
                </a:lnTo>
                <a:lnTo>
                  <a:pt x="4782" y="1619"/>
                </a:lnTo>
                <a:lnTo>
                  <a:pt x="4776" y="1619"/>
                </a:lnTo>
                <a:lnTo>
                  <a:pt x="4776" y="1613"/>
                </a:lnTo>
                <a:lnTo>
                  <a:pt x="4776" y="1613"/>
                </a:lnTo>
                <a:lnTo>
                  <a:pt x="4764" y="1613"/>
                </a:lnTo>
                <a:lnTo>
                  <a:pt x="4764" y="1613"/>
                </a:lnTo>
                <a:lnTo>
                  <a:pt x="4758" y="1613"/>
                </a:lnTo>
                <a:lnTo>
                  <a:pt x="4758" y="1613"/>
                </a:lnTo>
                <a:lnTo>
                  <a:pt x="4758" y="1607"/>
                </a:lnTo>
                <a:lnTo>
                  <a:pt x="4758" y="1607"/>
                </a:lnTo>
                <a:lnTo>
                  <a:pt x="4753" y="1607"/>
                </a:lnTo>
                <a:lnTo>
                  <a:pt x="4753" y="1607"/>
                </a:lnTo>
                <a:lnTo>
                  <a:pt x="4753" y="1607"/>
                </a:lnTo>
                <a:lnTo>
                  <a:pt x="4753" y="1601"/>
                </a:lnTo>
                <a:lnTo>
                  <a:pt x="4753" y="1601"/>
                </a:lnTo>
                <a:lnTo>
                  <a:pt x="4753" y="1601"/>
                </a:lnTo>
                <a:lnTo>
                  <a:pt x="4747" y="1607"/>
                </a:lnTo>
                <a:lnTo>
                  <a:pt x="4747" y="1607"/>
                </a:lnTo>
                <a:lnTo>
                  <a:pt x="4747" y="1607"/>
                </a:lnTo>
                <a:lnTo>
                  <a:pt x="4747" y="1607"/>
                </a:lnTo>
                <a:lnTo>
                  <a:pt x="4747" y="1607"/>
                </a:lnTo>
                <a:lnTo>
                  <a:pt x="4747" y="1607"/>
                </a:lnTo>
                <a:lnTo>
                  <a:pt x="4735" y="1607"/>
                </a:lnTo>
                <a:lnTo>
                  <a:pt x="4729" y="1601"/>
                </a:lnTo>
                <a:lnTo>
                  <a:pt x="4729" y="1601"/>
                </a:lnTo>
                <a:lnTo>
                  <a:pt x="4729" y="1601"/>
                </a:lnTo>
                <a:lnTo>
                  <a:pt x="4729" y="1601"/>
                </a:lnTo>
                <a:lnTo>
                  <a:pt x="4729" y="1601"/>
                </a:lnTo>
                <a:lnTo>
                  <a:pt x="4729" y="1601"/>
                </a:lnTo>
                <a:lnTo>
                  <a:pt x="4729" y="1601"/>
                </a:lnTo>
                <a:lnTo>
                  <a:pt x="4729" y="1601"/>
                </a:lnTo>
                <a:lnTo>
                  <a:pt x="4729" y="1601"/>
                </a:lnTo>
                <a:lnTo>
                  <a:pt x="4729" y="1601"/>
                </a:lnTo>
                <a:lnTo>
                  <a:pt x="4729" y="1595"/>
                </a:lnTo>
                <a:lnTo>
                  <a:pt x="4729" y="1601"/>
                </a:lnTo>
                <a:lnTo>
                  <a:pt x="4729" y="1601"/>
                </a:lnTo>
                <a:lnTo>
                  <a:pt x="4729" y="1601"/>
                </a:lnTo>
                <a:lnTo>
                  <a:pt x="4735" y="1601"/>
                </a:lnTo>
                <a:lnTo>
                  <a:pt x="4735" y="1601"/>
                </a:lnTo>
                <a:lnTo>
                  <a:pt x="4735" y="1601"/>
                </a:lnTo>
                <a:lnTo>
                  <a:pt x="4741" y="1601"/>
                </a:lnTo>
                <a:lnTo>
                  <a:pt x="4741" y="1601"/>
                </a:lnTo>
                <a:lnTo>
                  <a:pt x="4741" y="1601"/>
                </a:lnTo>
                <a:lnTo>
                  <a:pt x="4741" y="1601"/>
                </a:lnTo>
                <a:lnTo>
                  <a:pt x="4741" y="1601"/>
                </a:lnTo>
                <a:lnTo>
                  <a:pt x="4747" y="1601"/>
                </a:lnTo>
                <a:lnTo>
                  <a:pt x="4747" y="1601"/>
                </a:lnTo>
                <a:lnTo>
                  <a:pt x="4747" y="1601"/>
                </a:lnTo>
                <a:lnTo>
                  <a:pt x="4747" y="1601"/>
                </a:lnTo>
                <a:lnTo>
                  <a:pt x="4747" y="1601"/>
                </a:lnTo>
                <a:lnTo>
                  <a:pt x="4747" y="1601"/>
                </a:lnTo>
                <a:lnTo>
                  <a:pt x="4747" y="1601"/>
                </a:lnTo>
                <a:lnTo>
                  <a:pt x="4747" y="1601"/>
                </a:lnTo>
                <a:lnTo>
                  <a:pt x="4747" y="1601"/>
                </a:lnTo>
                <a:lnTo>
                  <a:pt x="4747" y="1607"/>
                </a:lnTo>
                <a:lnTo>
                  <a:pt x="4747" y="1607"/>
                </a:lnTo>
                <a:lnTo>
                  <a:pt x="4747" y="1601"/>
                </a:lnTo>
                <a:lnTo>
                  <a:pt x="4747" y="1601"/>
                </a:lnTo>
                <a:lnTo>
                  <a:pt x="4747" y="1601"/>
                </a:lnTo>
                <a:lnTo>
                  <a:pt x="4753" y="1601"/>
                </a:lnTo>
                <a:lnTo>
                  <a:pt x="4753" y="1601"/>
                </a:lnTo>
                <a:lnTo>
                  <a:pt x="4753" y="1601"/>
                </a:lnTo>
                <a:lnTo>
                  <a:pt x="4753" y="1601"/>
                </a:lnTo>
                <a:lnTo>
                  <a:pt x="4753" y="1601"/>
                </a:lnTo>
                <a:lnTo>
                  <a:pt x="4758" y="1601"/>
                </a:lnTo>
                <a:lnTo>
                  <a:pt x="4758" y="1607"/>
                </a:lnTo>
                <a:lnTo>
                  <a:pt x="4758" y="1607"/>
                </a:lnTo>
                <a:lnTo>
                  <a:pt x="4758" y="1607"/>
                </a:lnTo>
                <a:lnTo>
                  <a:pt x="4758" y="1607"/>
                </a:lnTo>
                <a:lnTo>
                  <a:pt x="4758" y="1607"/>
                </a:lnTo>
                <a:lnTo>
                  <a:pt x="4764" y="1607"/>
                </a:lnTo>
                <a:lnTo>
                  <a:pt x="4764" y="1607"/>
                </a:lnTo>
                <a:lnTo>
                  <a:pt x="4764" y="1607"/>
                </a:lnTo>
                <a:lnTo>
                  <a:pt x="4764" y="1607"/>
                </a:lnTo>
                <a:lnTo>
                  <a:pt x="4764" y="1607"/>
                </a:lnTo>
                <a:lnTo>
                  <a:pt x="4764" y="1601"/>
                </a:lnTo>
                <a:lnTo>
                  <a:pt x="4764" y="1601"/>
                </a:lnTo>
                <a:lnTo>
                  <a:pt x="4764" y="1601"/>
                </a:lnTo>
                <a:lnTo>
                  <a:pt x="4764" y="1601"/>
                </a:lnTo>
                <a:lnTo>
                  <a:pt x="4770" y="1601"/>
                </a:lnTo>
                <a:lnTo>
                  <a:pt x="4770" y="1601"/>
                </a:lnTo>
                <a:lnTo>
                  <a:pt x="4770" y="1601"/>
                </a:lnTo>
                <a:lnTo>
                  <a:pt x="4770" y="1607"/>
                </a:lnTo>
                <a:lnTo>
                  <a:pt x="4770" y="1607"/>
                </a:lnTo>
                <a:lnTo>
                  <a:pt x="4770" y="1607"/>
                </a:lnTo>
                <a:lnTo>
                  <a:pt x="4770" y="1607"/>
                </a:lnTo>
                <a:lnTo>
                  <a:pt x="4770" y="1607"/>
                </a:lnTo>
                <a:lnTo>
                  <a:pt x="4770" y="1607"/>
                </a:lnTo>
                <a:lnTo>
                  <a:pt x="4770" y="1607"/>
                </a:lnTo>
                <a:lnTo>
                  <a:pt x="4776" y="1613"/>
                </a:lnTo>
                <a:lnTo>
                  <a:pt x="4776" y="1613"/>
                </a:lnTo>
                <a:lnTo>
                  <a:pt x="4776" y="1613"/>
                </a:lnTo>
                <a:lnTo>
                  <a:pt x="4776" y="1613"/>
                </a:lnTo>
                <a:lnTo>
                  <a:pt x="4776" y="1613"/>
                </a:lnTo>
                <a:lnTo>
                  <a:pt x="4776" y="1613"/>
                </a:lnTo>
                <a:lnTo>
                  <a:pt x="4776" y="1613"/>
                </a:lnTo>
                <a:lnTo>
                  <a:pt x="4776" y="1613"/>
                </a:lnTo>
                <a:lnTo>
                  <a:pt x="4776" y="1613"/>
                </a:lnTo>
                <a:lnTo>
                  <a:pt x="4782" y="1613"/>
                </a:lnTo>
                <a:lnTo>
                  <a:pt x="4782" y="1613"/>
                </a:lnTo>
                <a:lnTo>
                  <a:pt x="4782" y="1613"/>
                </a:lnTo>
                <a:lnTo>
                  <a:pt x="4782" y="1613"/>
                </a:lnTo>
                <a:lnTo>
                  <a:pt x="4782" y="1613"/>
                </a:lnTo>
                <a:lnTo>
                  <a:pt x="4788" y="1613"/>
                </a:lnTo>
                <a:lnTo>
                  <a:pt x="4788" y="1613"/>
                </a:lnTo>
                <a:lnTo>
                  <a:pt x="4788" y="1613"/>
                </a:lnTo>
                <a:lnTo>
                  <a:pt x="4788" y="1613"/>
                </a:lnTo>
                <a:lnTo>
                  <a:pt x="4794" y="1613"/>
                </a:lnTo>
                <a:lnTo>
                  <a:pt x="4794" y="1619"/>
                </a:lnTo>
                <a:lnTo>
                  <a:pt x="4794" y="1625"/>
                </a:lnTo>
                <a:lnTo>
                  <a:pt x="4794" y="1625"/>
                </a:lnTo>
                <a:lnTo>
                  <a:pt x="4794" y="1625"/>
                </a:lnTo>
                <a:lnTo>
                  <a:pt x="4794" y="1625"/>
                </a:lnTo>
                <a:lnTo>
                  <a:pt x="4794" y="1625"/>
                </a:lnTo>
                <a:lnTo>
                  <a:pt x="4800" y="1631"/>
                </a:lnTo>
                <a:lnTo>
                  <a:pt x="4800" y="1631"/>
                </a:lnTo>
                <a:lnTo>
                  <a:pt x="4800" y="1631"/>
                </a:lnTo>
                <a:lnTo>
                  <a:pt x="4800" y="1631"/>
                </a:lnTo>
                <a:lnTo>
                  <a:pt x="4806" y="1637"/>
                </a:lnTo>
                <a:lnTo>
                  <a:pt x="4812" y="1637"/>
                </a:lnTo>
                <a:lnTo>
                  <a:pt x="4812" y="1643"/>
                </a:lnTo>
                <a:lnTo>
                  <a:pt x="4812" y="1643"/>
                </a:lnTo>
                <a:lnTo>
                  <a:pt x="4812" y="1643"/>
                </a:lnTo>
                <a:lnTo>
                  <a:pt x="4818" y="1643"/>
                </a:lnTo>
                <a:lnTo>
                  <a:pt x="4818" y="1643"/>
                </a:lnTo>
                <a:lnTo>
                  <a:pt x="4818" y="1643"/>
                </a:lnTo>
                <a:lnTo>
                  <a:pt x="4818" y="1637"/>
                </a:lnTo>
                <a:lnTo>
                  <a:pt x="4818" y="1637"/>
                </a:lnTo>
                <a:lnTo>
                  <a:pt x="4818" y="1637"/>
                </a:lnTo>
                <a:lnTo>
                  <a:pt x="4824" y="1637"/>
                </a:lnTo>
                <a:lnTo>
                  <a:pt x="4824" y="1637"/>
                </a:lnTo>
                <a:lnTo>
                  <a:pt x="4824" y="1637"/>
                </a:lnTo>
                <a:lnTo>
                  <a:pt x="4824" y="1637"/>
                </a:lnTo>
                <a:lnTo>
                  <a:pt x="4824" y="1637"/>
                </a:lnTo>
                <a:lnTo>
                  <a:pt x="4824" y="1631"/>
                </a:lnTo>
                <a:lnTo>
                  <a:pt x="4824" y="1631"/>
                </a:lnTo>
                <a:lnTo>
                  <a:pt x="4824" y="1631"/>
                </a:lnTo>
                <a:lnTo>
                  <a:pt x="4824" y="1631"/>
                </a:lnTo>
                <a:lnTo>
                  <a:pt x="4824" y="1625"/>
                </a:lnTo>
                <a:lnTo>
                  <a:pt x="4824" y="1631"/>
                </a:lnTo>
                <a:lnTo>
                  <a:pt x="4818" y="1631"/>
                </a:lnTo>
                <a:lnTo>
                  <a:pt x="4824" y="1625"/>
                </a:lnTo>
                <a:lnTo>
                  <a:pt x="4824" y="1625"/>
                </a:lnTo>
                <a:lnTo>
                  <a:pt x="4824" y="1625"/>
                </a:lnTo>
                <a:lnTo>
                  <a:pt x="4824" y="1625"/>
                </a:lnTo>
                <a:lnTo>
                  <a:pt x="4824" y="1625"/>
                </a:lnTo>
                <a:lnTo>
                  <a:pt x="4824" y="1625"/>
                </a:lnTo>
                <a:lnTo>
                  <a:pt x="4824" y="1619"/>
                </a:lnTo>
                <a:lnTo>
                  <a:pt x="4818" y="1619"/>
                </a:lnTo>
                <a:lnTo>
                  <a:pt x="4818" y="1619"/>
                </a:lnTo>
                <a:lnTo>
                  <a:pt x="4818" y="1619"/>
                </a:lnTo>
                <a:lnTo>
                  <a:pt x="4818" y="1619"/>
                </a:lnTo>
                <a:lnTo>
                  <a:pt x="4818" y="1619"/>
                </a:lnTo>
                <a:lnTo>
                  <a:pt x="4818" y="1619"/>
                </a:lnTo>
                <a:lnTo>
                  <a:pt x="4818" y="1619"/>
                </a:lnTo>
                <a:lnTo>
                  <a:pt x="4818" y="1613"/>
                </a:lnTo>
                <a:lnTo>
                  <a:pt x="4818" y="1613"/>
                </a:lnTo>
                <a:lnTo>
                  <a:pt x="4818" y="1613"/>
                </a:lnTo>
                <a:lnTo>
                  <a:pt x="4818" y="1613"/>
                </a:lnTo>
                <a:lnTo>
                  <a:pt x="4818" y="1613"/>
                </a:lnTo>
                <a:lnTo>
                  <a:pt x="4812" y="1613"/>
                </a:lnTo>
                <a:lnTo>
                  <a:pt x="4812" y="1613"/>
                </a:lnTo>
                <a:lnTo>
                  <a:pt x="4806" y="1613"/>
                </a:lnTo>
                <a:lnTo>
                  <a:pt x="4806" y="1613"/>
                </a:lnTo>
                <a:lnTo>
                  <a:pt x="4800" y="1607"/>
                </a:lnTo>
                <a:lnTo>
                  <a:pt x="4794" y="1601"/>
                </a:lnTo>
                <a:lnTo>
                  <a:pt x="4788" y="1595"/>
                </a:lnTo>
                <a:lnTo>
                  <a:pt x="4788" y="1590"/>
                </a:lnTo>
                <a:lnTo>
                  <a:pt x="4782" y="1590"/>
                </a:lnTo>
                <a:lnTo>
                  <a:pt x="4782" y="1590"/>
                </a:lnTo>
                <a:lnTo>
                  <a:pt x="4776" y="1578"/>
                </a:lnTo>
                <a:lnTo>
                  <a:pt x="4776" y="1578"/>
                </a:lnTo>
                <a:lnTo>
                  <a:pt x="4776" y="1578"/>
                </a:lnTo>
                <a:lnTo>
                  <a:pt x="4776" y="1578"/>
                </a:lnTo>
                <a:lnTo>
                  <a:pt x="4776" y="1578"/>
                </a:lnTo>
                <a:lnTo>
                  <a:pt x="4776" y="1578"/>
                </a:lnTo>
                <a:lnTo>
                  <a:pt x="4776" y="1578"/>
                </a:lnTo>
                <a:lnTo>
                  <a:pt x="4776" y="1578"/>
                </a:lnTo>
                <a:lnTo>
                  <a:pt x="4776" y="1578"/>
                </a:lnTo>
                <a:lnTo>
                  <a:pt x="4776" y="1578"/>
                </a:lnTo>
                <a:lnTo>
                  <a:pt x="4776" y="1578"/>
                </a:lnTo>
                <a:lnTo>
                  <a:pt x="4776" y="1572"/>
                </a:lnTo>
                <a:lnTo>
                  <a:pt x="4776" y="1572"/>
                </a:lnTo>
                <a:lnTo>
                  <a:pt x="4776" y="1572"/>
                </a:lnTo>
                <a:lnTo>
                  <a:pt x="4782" y="1578"/>
                </a:lnTo>
                <a:lnTo>
                  <a:pt x="4782" y="1584"/>
                </a:lnTo>
                <a:lnTo>
                  <a:pt x="4788" y="1590"/>
                </a:lnTo>
                <a:lnTo>
                  <a:pt x="4788" y="1590"/>
                </a:lnTo>
                <a:lnTo>
                  <a:pt x="4788" y="1590"/>
                </a:lnTo>
                <a:lnTo>
                  <a:pt x="4788" y="1590"/>
                </a:lnTo>
                <a:lnTo>
                  <a:pt x="4794" y="1595"/>
                </a:lnTo>
                <a:lnTo>
                  <a:pt x="4794" y="1601"/>
                </a:lnTo>
                <a:lnTo>
                  <a:pt x="4794" y="1601"/>
                </a:lnTo>
                <a:lnTo>
                  <a:pt x="4794" y="1601"/>
                </a:lnTo>
                <a:lnTo>
                  <a:pt x="4800" y="1601"/>
                </a:lnTo>
                <a:lnTo>
                  <a:pt x="4800" y="1601"/>
                </a:lnTo>
                <a:lnTo>
                  <a:pt x="4800" y="1601"/>
                </a:lnTo>
                <a:lnTo>
                  <a:pt x="4800" y="1601"/>
                </a:lnTo>
                <a:lnTo>
                  <a:pt x="4800" y="1601"/>
                </a:lnTo>
                <a:lnTo>
                  <a:pt x="4800" y="1607"/>
                </a:lnTo>
                <a:lnTo>
                  <a:pt x="4806" y="1607"/>
                </a:lnTo>
                <a:lnTo>
                  <a:pt x="4806" y="1607"/>
                </a:lnTo>
                <a:lnTo>
                  <a:pt x="4806" y="1607"/>
                </a:lnTo>
                <a:lnTo>
                  <a:pt x="4818" y="1607"/>
                </a:lnTo>
                <a:lnTo>
                  <a:pt x="4818" y="1607"/>
                </a:lnTo>
                <a:lnTo>
                  <a:pt x="4818" y="1607"/>
                </a:lnTo>
                <a:lnTo>
                  <a:pt x="4818" y="1601"/>
                </a:lnTo>
                <a:lnTo>
                  <a:pt x="4818" y="1601"/>
                </a:lnTo>
                <a:lnTo>
                  <a:pt x="4818" y="1601"/>
                </a:lnTo>
                <a:lnTo>
                  <a:pt x="4812" y="1601"/>
                </a:lnTo>
                <a:lnTo>
                  <a:pt x="4812" y="1601"/>
                </a:lnTo>
                <a:lnTo>
                  <a:pt x="4812" y="1601"/>
                </a:lnTo>
                <a:lnTo>
                  <a:pt x="4812" y="1601"/>
                </a:lnTo>
                <a:lnTo>
                  <a:pt x="4812" y="1601"/>
                </a:lnTo>
                <a:lnTo>
                  <a:pt x="4812" y="1601"/>
                </a:lnTo>
                <a:lnTo>
                  <a:pt x="4812" y="1601"/>
                </a:lnTo>
                <a:lnTo>
                  <a:pt x="4812" y="1601"/>
                </a:lnTo>
                <a:lnTo>
                  <a:pt x="4812" y="1595"/>
                </a:lnTo>
                <a:lnTo>
                  <a:pt x="4812" y="1595"/>
                </a:lnTo>
                <a:lnTo>
                  <a:pt x="4812" y="1595"/>
                </a:lnTo>
                <a:lnTo>
                  <a:pt x="4812" y="1595"/>
                </a:lnTo>
                <a:lnTo>
                  <a:pt x="4812" y="1595"/>
                </a:lnTo>
                <a:lnTo>
                  <a:pt x="4812" y="1595"/>
                </a:lnTo>
                <a:lnTo>
                  <a:pt x="4812" y="1595"/>
                </a:lnTo>
                <a:lnTo>
                  <a:pt x="4812" y="1595"/>
                </a:lnTo>
                <a:lnTo>
                  <a:pt x="4806" y="1595"/>
                </a:lnTo>
                <a:lnTo>
                  <a:pt x="4812" y="1590"/>
                </a:lnTo>
                <a:lnTo>
                  <a:pt x="4812" y="1590"/>
                </a:lnTo>
                <a:lnTo>
                  <a:pt x="4812" y="1590"/>
                </a:lnTo>
                <a:lnTo>
                  <a:pt x="4812" y="1590"/>
                </a:lnTo>
                <a:lnTo>
                  <a:pt x="4812" y="1590"/>
                </a:lnTo>
                <a:lnTo>
                  <a:pt x="4812" y="1590"/>
                </a:lnTo>
                <a:lnTo>
                  <a:pt x="4812" y="1590"/>
                </a:lnTo>
                <a:lnTo>
                  <a:pt x="4812" y="1590"/>
                </a:lnTo>
                <a:lnTo>
                  <a:pt x="4812" y="1590"/>
                </a:lnTo>
                <a:lnTo>
                  <a:pt x="4812" y="1590"/>
                </a:lnTo>
                <a:lnTo>
                  <a:pt x="4812" y="1590"/>
                </a:lnTo>
                <a:lnTo>
                  <a:pt x="4812" y="1590"/>
                </a:lnTo>
                <a:lnTo>
                  <a:pt x="4812" y="1590"/>
                </a:lnTo>
                <a:lnTo>
                  <a:pt x="4812" y="1590"/>
                </a:lnTo>
                <a:lnTo>
                  <a:pt x="4812" y="1584"/>
                </a:lnTo>
                <a:lnTo>
                  <a:pt x="4812" y="1590"/>
                </a:lnTo>
                <a:lnTo>
                  <a:pt x="4812" y="1590"/>
                </a:lnTo>
                <a:lnTo>
                  <a:pt x="4818" y="1590"/>
                </a:lnTo>
                <a:lnTo>
                  <a:pt x="4818" y="1595"/>
                </a:lnTo>
                <a:lnTo>
                  <a:pt x="4818" y="1595"/>
                </a:lnTo>
                <a:lnTo>
                  <a:pt x="4818" y="1595"/>
                </a:lnTo>
                <a:lnTo>
                  <a:pt x="4824" y="1590"/>
                </a:lnTo>
                <a:lnTo>
                  <a:pt x="4824" y="1595"/>
                </a:lnTo>
                <a:lnTo>
                  <a:pt x="4824" y="1595"/>
                </a:lnTo>
                <a:lnTo>
                  <a:pt x="4824" y="1601"/>
                </a:lnTo>
                <a:lnTo>
                  <a:pt x="4824" y="1601"/>
                </a:lnTo>
                <a:lnTo>
                  <a:pt x="4824" y="1601"/>
                </a:lnTo>
                <a:lnTo>
                  <a:pt x="4824" y="1601"/>
                </a:lnTo>
                <a:lnTo>
                  <a:pt x="4830" y="1601"/>
                </a:lnTo>
                <a:lnTo>
                  <a:pt x="4830" y="1595"/>
                </a:lnTo>
                <a:lnTo>
                  <a:pt x="4830" y="1595"/>
                </a:lnTo>
                <a:lnTo>
                  <a:pt x="4830" y="1590"/>
                </a:lnTo>
                <a:lnTo>
                  <a:pt x="4830" y="1590"/>
                </a:lnTo>
                <a:lnTo>
                  <a:pt x="4830" y="1590"/>
                </a:lnTo>
                <a:lnTo>
                  <a:pt x="4830" y="1584"/>
                </a:lnTo>
                <a:lnTo>
                  <a:pt x="4830" y="1584"/>
                </a:lnTo>
                <a:lnTo>
                  <a:pt x="4830" y="1584"/>
                </a:lnTo>
                <a:lnTo>
                  <a:pt x="4830" y="1584"/>
                </a:lnTo>
                <a:lnTo>
                  <a:pt x="4830" y="1584"/>
                </a:lnTo>
                <a:lnTo>
                  <a:pt x="4830" y="1584"/>
                </a:lnTo>
                <a:lnTo>
                  <a:pt x="4824" y="1584"/>
                </a:lnTo>
                <a:lnTo>
                  <a:pt x="4824" y="1584"/>
                </a:lnTo>
                <a:lnTo>
                  <a:pt x="4824" y="1584"/>
                </a:lnTo>
                <a:lnTo>
                  <a:pt x="4830" y="1578"/>
                </a:lnTo>
                <a:lnTo>
                  <a:pt x="4830" y="1578"/>
                </a:lnTo>
                <a:lnTo>
                  <a:pt x="4830" y="1578"/>
                </a:lnTo>
                <a:lnTo>
                  <a:pt x="4824" y="1578"/>
                </a:lnTo>
                <a:lnTo>
                  <a:pt x="4824" y="1578"/>
                </a:lnTo>
                <a:lnTo>
                  <a:pt x="4824" y="1578"/>
                </a:lnTo>
                <a:lnTo>
                  <a:pt x="4824" y="1578"/>
                </a:lnTo>
                <a:lnTo>
                  <a:pt x="4824" y="1578"/>
                </a:lnTo>
                <a:lnTo>
                  <a:pt x="4824" y="1578"/>
                </a:lnTo>
                <a:lnTo>
                  <a:pt x="4818" y="1578"/>
                </a:lnTo>
                <a:lnTo>
                  <a:pt x="4818" y="1578"/>
                </a:lnTo>
                <a:lnTo>
                  <a:pt x="4812" y="1572"/>
                </a:lnTo>
                <a:lnTo>
                  <a:pt x="4812" y="1572"/>
                </a:lnTo>
                <a:lnTo>
                  <a:pt x="4818" y="1572"/>
                </a:lnTo>
                <a:lnTo>
                  <a:pt x="4818" y="1572"/>
                </a:lnTo>
                <a:lnTo>
                  <a:pt x="4818" y="1572"/>
                </a:lnTo>
                <a:lnTo>
                  <a:pt x="4824" y="1572"/>
                </a:lnTo>
                <a:lnTo>
                  <a:pt x="4824" y="1572"/>
                </a:lnTo>
                <a:lnTo>
                  <a:pt x="4824" y="1572"/>
                </a:lnTo>
                <a:lnTo>
                  <a:pt x="4824" y="1572"/>
                </a:lnTo>
                <a:lnTo>
                  <a:pt x="4824" y="1566"/>
                </a:lnTo>
                <a:lnTo>
                  <a:pt x="4818" y="1566"/>
                </a:lnTo>
                <a:lnTo>
                  <a:pt x="4812" y="1566"/>
                </a:lnTo>
                <a:lnTo>
                  <a:pt x="4812" y="1566"/>
                </a:lnTo>
                <a:lnTo>
                  <a:pt x="4812" y="1560"/>
                </a:lnTo>
                <a:lnTo>
                  <a:pt x="4812" y="1566"/>
                </a:lnTo>
                <a:lnTo>
                  <a:pt x="4812" y="1566"/>
                </a:lnTo>
                <a:lnTo>
                  <a:pt x="4806" y="1566"/>
                </a:lnTo>
                <a:lnTo>
                  <a:pt x="4800" y="1566"/>
                </a:lnTo>
                <a:lnTo>
                  <a:pt x="4800" y="1560"/>
                </a:lnTo>
                <a:lnTo>
                  <a:pt x="4794" y="1560"/>
                </a:lnTo>
                <a:lnTo>
                  <a:pt x="4794" y="1554"/>
                </a:lnTo>
                <a:lnTo>
                  <a:pt x="4794" y="1554"/>
                </a:lnTo>
                <a:lnTo>
                  <a:pt x="4794" y="1554"/>
                </a:lnTo>
                <a:lnTo>
                  <a:pt x="4794" y="1554"/>
                </a:lnTo>
                <a:lnTo>
                  <a:pt x="4794" y="1554"/>
                </a:lnTo>
                <a:lnTo>
                  <a:pt x="4794" y="1548"/>
                </a:lnTo>
                <a:lnTo>
                  <a:pt x="4794" y="1548"/>
                </a:lnTo>
                <a:lnTo>
                  <a:pt x="4794" y="1548"/>
                </a:lnTo>
                <a:lnTo>
                  <a:pt x="4788" y="1548"/>
                </a:lnTo>
                <a:lnTo>
                  <a:pt x="4788" y="1548"/>
                </a:lnTo>
                <a:lnTo>
                  <a:pt x="4788" y="1542"/>
                </a:lnTo>
                <a:lnTo>
                  <a:pt x="4788" y="1542"/>
                </a:lnTo>
                <a:lnTo>
                  <a:pt x="4788" y="1542"/>
                </a:lnTo>
                <a:lnTo>
                  <a:pt x="4788" y="1542"/>
                </a:lnTo>
                <a:lnTo>
                  <a:pt x="4788" y="1542"/>
                </a:lnTo>
                <a:lnTo>
                  <a:pt x="4788" y="1542"/>
                </a:lnTo>
                <a:lnTo>
                  <a:pt x="4782" y="1542"/>
                </a:lnTo>
                <a:lnTo>
                  <a:pt x="4782" y="1542"/>
                </a:lnTo>
                <a:lnTo>
                  <a:pt x="4782" y="1542"/>
                </a:lnTo>
                <a:lnTo>
                  <a:pt x="4782" y="1542"/>
                </a:lnTo>
                <a:lnTo>
                  <a:pt x="4782" y="1542"/>
                </a:lnTo>
                <a:lnTo>
                  <a:pt x="4782" y="1542"/>
                </a:lnTo>
                <a:lnTo>
                  <a:pt x="4776" y="1536"/>
                </a:lnTo>
                <a:lnTo>
                  <a:pt x="4776" y="1536"/>
                </a:lnTo>
                <a:lnTo>
                  <a:pt x="4776" y="1536"/>
                </a:lnTo>
                <a:lnTo>
                  <a:pt x="4776" y="1536"/>
                </a:lnTo>
                <a:lnTo>
                  <a:pt x="4776" y="1530"/>
                </a:lnTo>
                <a:lnTo>
                  <a:pt x="4776" y="1530"/>
                </a:lnTo>
                <a:lnTo>
                  <a:pt x="4776" y="1530"/>
                </a:lnTo>
                <a:lnTo>
                  <a:pt x="4770" y="1530"/>
                </a:lnTo>
                <a:lnTo>
                  <a:pt x="4770" y="1524"/>
                </a:lnTo>
                <a:lnTo>
                  <a:pt x="4770" y="1524"/>
                </a:lnTo>
                <a:lnTo>
                  <a:pt x="4764" y="1524"/>
                </a:lnTo>
                <a:lnTo>
                  <a:pt x="4764" y="1524"/>
                </a:lnTo>
                <a:lnTo>
                  <a:pt x="4764" y="1524"/>
                </a:lnTo>
                <a:lnTo>
                  <a:pt x="4764" y="1518"/>
                </a:lnTo>
                <a:lnTo>
                  <a:pt x="4764" y="1518"/>
                </a:lnTo>
                <a:lnTo>
                  <a:pt x="4764" y="1518"/>
                </a:lnTo>
                <a:lnTo>
                  <a:pt x="4764" y="1518"/>
                </a:lnTo>
                <a:lnTo>
                  <a:pt x="4764" y="1518"/>
                </a:lnTo>
                <a:lnTo>
                  <a:pt x="4758" y="1518"/>
                </a:lnTo>
                <a:lnTo>
                  <a:pt x="4758" y="1518"/>
                </a:lnTo>
                <a:lnTo>
                  <a:pt x="4758" y="1512"/>
                </a:lnTo>
                <a:lnTo>
                  <a:pt x="4764" y="1506"/>
                </a:lnTo>
                <a:lnTo>
                  <a:pt x="4758" y="1506"/>
                </a:lnTo>
                <a:lnTo>
                  <a:pt x="4758" y="1506"/>
                </a:lnTo>
                <a:lnTo>
                  <a:pt x="4758" y="1506"/>
                </a:lnTo>
                <a:lnTo>
                  <a:pt x="4758" y="1506"/>
                </a:lnTo>
                <a:lnTo>
                  <a:pt x="4758" y="1506"/>
                </a:lnTo>
                <a:lnTo>
                  <a:pt x="4758" y="1506"/>
                </a:lnTo>
                <a:lnTo>
                  <a:pt x="4753" y="1501"/>
                </a:lnTo>
                <a:lnTo>
                  <a:pt x="4753" y="1501"/>
                </a:lnTo>
                <a:lnTo>
                  <a:pt x="4753" y="1501"/>
                </a:lnTo>
                <a:lnTo>
                  <a:pt x="4747" y="1501"/>
                </a:lnTo>
                <a:lnTo>
                  <a:pt x="4747" y="1501"/>
                </a:lnTo>
                <a:lnTo>
                  <a:pt x="4747" y="1501"/>
                </a:lnTo>
                <a:lnTo>
                  <a:pt x="4747" y="1495"/>
                </a:lnTo>
                <a:lnTo>
                  <a:pt x="4747" y="1495"/>
                </a:lnTo>
                <a:lnTo>
                  <a:pt x="4747" y="1495"/>
                </a:lnTo>
                <a:lnTo>
                  <a:pt x="4747" y="1495"/>
                </a:lnTo>
                <a:lnTo>
                  <a:pt x="4747" y="1495"/>
                </a:lnTo>
                <a:lnTo>
                  <a:pt x="4741" y="1495"/>
                </a:lnTo>
                <a:lnTo>
                  <a:pt x="4741" y="1495"/>
                </a:lnTo>
                <a:lnTo>
                  <a:pt x="4741" y="1495"/>
                </a:lnTo>
                <a:lnTo>
                  <a:pt x="4741" y="1495"/>
                </a:lnTo>
                <a:lnTo>
                  <a:pt x="4741" y="1495"/>
                </a:lnTo>
                <a:lnTo>
                  <a:pt x="4741" y="1495"/>
                </a:lnTo>
                <a:lnTo>
                  <a:pt x="4741" y="1495"/>
                </a:lnTo>
                <a:lnTo>
                  <a:pt x="4741" y="1495"/>
                </a:lnTo>
                <a:lnTo>
                  <a:pt x="4747" y="1495"/>
                </a:lnTo>
                <a:lnTo>
                  <a:pt x="4747" y="1495"/>
                </a:lnTo>
                <a:lnTo>
                  <a:pt x="4747" y="1495"/>
                </a:lnTo>
                <a:lnTo>
                  <a:pt x="4747" y="1495"/>
                </a:lnTo>
                <a:lnTo>
                  <a:pt x="4753" y="1495"/>
                </a:lnTo>
                <a:lnTo>
                  <a:pt x="4753" y="1501"/>
                </a:lnTo>
                <a:lnTo>
                  <a:pt x="4753" y="1501"/>
                </a:lnTo>
                <a:lnTo>
                  <a:pt x="4753" y="1501"/>
                </a:lnTo>
                <a:lnTo>
                  <a:pt x="4753" y="1501"/>
                </a:lnTo>
                <a:lnTo>
                  <a:pt x="4753" y="1501"/>
                </a:lnTo>
                <a:lnTo>
                  <a:pt x="4758" y="1501"/>
                </a:lnTo>
                <a:lnTo>
                  <a:pt x="4758" y="1501"/>
                </a:lnTo>
                <a:lnTo>
                  <a:pt x="4758" y="1501"/>
                </a:lnTo>
                <a:lnTo>
                  <a:pt x="4764" y="1506"/>
                </a:lnTo>
                <a:lnTo>
                  <a:pt x="4764" y="1512"/>
                </a:lnTo>
                <a:lnTo>
                  <a:pt x="4764" y="1518"/>
                </a:lnTo>
                <a:lnTo>
                  <a:pt x="4770" y="1518"/>
                </a:lnTo>
                <a:lnTo>
                  <a:pt x="4770" y="1518"/>
                </a:lnTo>
                <a:lnTo>
                  <a:pt x="4770" y="1524"/>
                </a:lnTo>
                <a:lnTo>
                  <a:pt x="4776" y="1524"/>
                </a:lnTo>
                <a:lnTo>
                  <a:pt x="4776" y="1530"/>
                </a:lnTo>
                <a:lnTo>
                  <a:pt x="4782" y="1536"/>
                </a:lnTo>
                <a:lnTo>
                  <a:pt x="4782" y="1536"/>
                </a:lnTo>
                <a:lnTo>
                  <a:pt x="4782" y="1536"/>
                </a:lnTo>
                <a:lnTo>
                  <a:pt x="4788" y="1536"/>
                </a:lnTo>
                <a:lnTo>
                  <a:pt x="4788" y="1536"/>
                </a:lnTo>
                <a:lnTo>
                  <a:pt x="4788" y="1536"/>
                </a:lnTo>
                <a:lnTo>
                  <a:pt x="4788" y="1536"/>
                </a:lnTo>
                <a:lnTo>
                  <a:pt x="4788" y="1536"/>
                </a:lnTo>
                <a:lnTo>
                  <a:pt x="4788" y="1536"/>
                </a:lnTo>
                <a:lnTo>
                  <a:pt x="4788" y="1542"/>
                </a:lnTo>
                <a:lnTo>
                  <a:pt x="4788" y="1536"/>
                </a:lnTo>
                <a:lnTo>
                  <a:pt x="4794" y="1536"/>
                </a:lnTo>
                <a:lnTo>
                  <a:pt x="4794" y="1542"/>
                </a:lnTo>
                <a:lnTo>
                  <a:pt x="4794" y="1542"/>
                </a:lnTo>
                <a:lnTo>
                  <a:pt x="4794" y="1542"/>
                </a:lnTo>
                <a:lnTo>
                  <a:pt x="4794" y="1542"/>
                </a:lnTo>
                <a:lnTo>
                  <a:pt x="4794" y="1548"/>
                </a:lnTo>
                <a:lnTo>
                  <a:pt x="4794" y="1548"/>
                </a:lnTo>
                <a:lnTo>
                  <a:pt x="4800" y="1554"/>
                </a:lnTo>
                <a:lnTo>
                  <a:pt x="4800" y="1554"/>
                </a:lnTo>
                <a:lnTo>
                  <a:pt x="4800" y="1554"/>
                </a:lnTo>
                <a:lnTo>
                  <a:pt x="4800" y="1560"/>
                </a:lnTo>
                <a:lnTo>
                  <a:pt x="4806" y="1560"/>
                </a:lnTo>
                <a:lnTo>
                  <a:pt x="4806" y="1560"/>
                </a:lnTo>
                <a:lnTo>
                  <a:pt x="4806" y="1560"/>
                </a:lnTo>
                <a:lnTo>
                  <a:pt x="4806" y="1554"/>
                </a:lnTo>
                <a:lnTo>
                  <a:pt x="4806" y="1554"/>
                </a:lnTo>
                <a:lnTo>
                  <a:pt x="4806" y="1554"/>
                </a:lnTo>
                <a:lnTo>
                  <a:pt x="4806" y="1554"/>
                </a:lnTo>
                <a:lnTo>
                  <a:pt x="4806" y="1554"/>
                </a:lnTo>
                <a:lnTo>
                  <a:pt x="4806" y="1554"/>
                </a:lnTo>
                <a:lnTo>
                  <a:pt x="4806" y="1554"/>
                </a:lnTo>
                <a:lnTo>
                  <a:pt x="4806" y="1554"/>
                </a:lnTo>
                <a:lnTo>
                  <a:pt x="4812" y="1560"/>
                </a:lnTo>
                <a:lnTo>
                  <a:pt x="4812" y="1560"/>
                </a:lnTo>
                <a:lnTo>
                  <a:pt x="4812" y="1560"/>
                </a:lnTo>
                <a:lnTo>
                  <a:pt x="4812" y="1560"/>
                </a:lnTo>
                <a:lnTo>
                  <a:pt x="4812" y="1560"/>
                </a:lnTo>
                <a:lnTo>
                  <a:pt x="4812" y="1560"/>
                </a:lnTo>
                <a:lnTo>
                  <a:pt x="4812" y="1560"/>
                </a:lnTo>
                <a:lnTo>
                  <a:pt x="4818" y="1560"/>
                </a:lnTo>
                <a:lnTo>
                  <a:pt x="4818" y="1560"/>
                </a:lnTo>
                <a:lnTo>
                  <a:pt x="4824" y="1560"/>
                </a:lnTo>
                <a:lnTo>
                  <a:pt x="4824" y="1560"/>
                </a:lnTo>
                <a:lnTo>
                  <a:pt x="4824" y="1560"/>
                </a:lnTo>
                <a:lnTo>
                  <a:pt x="4824" y="1560"/>
                </a:lnTo>
                <a:lnTo>
                  <a:pt x="4824" y="1560"/>
                </a:lnTo>
                <a:lnTo>
                  <a:pt x="4824" y="1560"/>
                </a:lnTo>
                <a:lnTo>
                  <a:pt x="4818" y="1560"/>
                </a:lnTo>
                <a:lnTo>
                  <a:pt x="4818" y="1560"/>
                </a:lnTo>
                <a:lnTo>
                  <a:pt x="4818" y="1554"/>
                </a:lnTo>
                <a:lnTo>
                  <a:pt x="4818" y="1554"/>
                </a:lnTo>
                <a:lnTo>
                  <a:pt x="4824" y="1554"/>
                </a:lnTo>
                <a:lnTo>
                  <a:pt x="4824" y="1554"/>
                </a:lnTo>
                <a:lnTo>
                  <a:pt x="4824" y="1554"/>
                </a:lnTo>
                <a:lnTo>
                  <a:pt x="4824" y="1554"/>
                </a:lnTo>
                <a:lnTo>
                  <a:pt x="4824" y="1554"/>
                </a:lnTo>
                <a:lnTo>
                  <a:pt x="4824" y="1554"/>
                </a:lnTo>
                <a:lnTo>
                  <a:pt x="4824" y="1554"/>
                </a:lnTo>
                <a:lnTo>
                  <a:pt x="4824" y="1554"/>
                </a:lnTo>
                <a:lnTo>
                  <a:pt x="4824" y="1554"/>
                </a:lnTo>
                <a:lnTo>
                  <a:pt x="4824" y="1554"/>
                </a:lnTo>
                <a:lnTo>
                  <a:pt x="4824" y="1554"/>
                </a:lnTo>
                <a:lnTo>
                  <a:pt x="4824" y="1548"/>
                </a:lnTo>
                <a:lnTo>
                  <a:pt x="4824" y="1548"/>
                </a:lnTo>
                <a:lnTo>
                  <a:pt x="4824" y="1548"/>
                </a:lnTo>
                <a:lnTo>
                  <a:pt x="4824" y="1548"/>
                </a:lnTo>
                <a:lnTo>
                  <a:pt x="4824" y="1548"/>
                </a:lnTo>
                <a:lnTo>
                  <a:pt x="4824" y="1548"/>
                </a:lnTo>
                <a:lnTo>
                  <a:pt x="4824" y="1548"/>
                </a:lnTo>
                <a:lnTo>
                  <a:pt x="4824" y="1548"/>
                </a:lnTo>
                <a:lnTo>
                  <a:pt x="4824" y="1548"/>
                </a:lnTo>
                <a:lnTo>
                  <a:pt x="4824" y="1548"/>
                </a:lnTo>
                <a:lnTo>
                  <a:pt x="4824" y="1548"/>
                </a:lnTo>
                <a:lnTo>
                  <a:pt x="4824" y="1542"/>
                </a:lnTo>
                <a:lnTo>
                  <a:pt x="4824" y="1542"/>
                </a:lnTo>
                <a:lnTo>
                  <a:pt x="4824" y="1542"/>
                </a:lnTo>
                <a:lnTo>
                  <a:pt x="4824" y="1542"/>
                </a:lnTo>
                <a:lnTo>
                  <a:pt x="4824" y="1542"/>
                </a:lnTo>
                <a:lnTo>
                  <a:pt x="4824" y="1536"/>
                </a:lnTo>
                <a:lnTo>
                  <a:pt x="4824" y="1536"/>
                </a:lnTo>
                <a:lnTo>
                  <a:pt x="4824" y="1536"/>
                </a:lnTo>
                <a:lnTo>
                  <a:pt x="4824" y="1536"/>
                </a:lnTo>
                <a:lnTo>
                  <a:pt x="4824" y="1536"/>
                </a:lnTo>
                <a:lnTo>
                  <a:pt x="4824" y="1536"/>
                </a:lnTo>
                <a:lnTo>
                  <a:pt x="4830" y="1536"/>
                </a:lnTo>
                <a:lnTo>
                  <a:pt x="4830" y="1536"/>
                </a:lnTo>
                <a:lnTo>
                  <a:pt x="4830" y="1530"/>
                </a:lnTo>
                <a:lnTo>
                  <a:pt x="4830" y="1530"/>
                </a:lnTo>
                <a:lnTo>
                  <a:pt x="4830" y="1530"/>
                </a:lnTo>
                <a:lnTo>
                  <a:pt x="4830" y="1524"/>
                </a:lnTo>
                <a:lnTo>
                  <a:pt x="4824" y="1524"/>
                </a:lnTo>
                <a:lnTo>
                  <a:pt x="4818" y="1518"/>
                </a:lnTo>
                <a:lnTo>
                  <a:pt x="4812" y="1518"/>
                </a:lnTo>
                <a:lnTo>
                  <a:pt x="4806" y="1518"/>
                </a:lnTo>
                <a:lnTo>
                  <a:pt x="4806" y="1512"/>
                </a:lnTo>
                <a:lnTo>
                  <a:pt x="4806" y="1512"/>
                </a:lnTo>
                <a:lnTo>
                  <a:pt x="4806" y="1512"/>
                </a:lnTo>
                <a:lnTo>
                  <a:pt x="4806" y="1512"/>
                </a:lnTo>
                <a:lnTo>
                  <a:pt x="4806" y="1512"/>
                </a:lnTo>
                <a:lnTo>
                  <a:pt x="4806" y="1512"/>
                </a:lnTo>
                <a:lnTo>
                  <a:pt x="4806" y="1512"/>
                </a:lnTo>
                <a:lnTo>
                  <a:pt x="4806" y="1512"/>
                </a:lnTo>
                <a:lnTo>
                  <a:pt x="4806" y="1512"/>
                </a:lnTo>
                <a:lnTo>
                  <a:pt x="4800" y="1512"/>
                </a:lnTo>
                <a:lnTo>
                  <a:pt x="4800" y="1512"/>
                </a:lnTo>
                <a:lnTo>
                  <a:pt x="4800" y="1512"/>
                </a:lnTo>
                <a:lnTo>
                  <a:pt x="4800" y="1512"/>
                </a:lnTo>
                <a:lnTo>
                  <a:pt x="4800" y="1512"/>
                </a:lnTo>
                <a:lnTo>
                  <a:pt x="4800" y="1512"/>
                </a:lnTo>
                <a:lnTo>
                  <a:pt x="4800" y="1506"/>
                </a:lnTo>
                <a:lnTo>
                  <a:pt x="4800" y="1506"/>
                </a:lnTo>
                <a:lnTo>
                  <a:pt x="4800" y="1506"/>
                </a:lnTo>
                <a:lnTo>
                  <a:pt x="4800" y="1506"/>
                </a:lnTo>
                <a:lnTo>
                  <a:pt x="4800" y="1506"/>
                </a:lnTo>
                <a:lnTo>
                  <a:pt x="4800" y="1506"/>
                </a:lnTo>
                <a:lnTo>
                  <a:pt x="4794" y="1501"/>
                </a:lnTo>
                <a:lnTo>
                  <a:pt x="4794" y="1501"/>
                </a:lnTo>
                <a:lnTo>
                  <a:pt x="4794" y="1501"/>
                </a:lnTo>
                <a:lnTo>
                  <a:pt x="4794" y="1501"/>
                </a:lnTo>
                <a:lnTo>
                  <a:pt x="4794" y="1501"/>
                </a:lnTo>
                <a:lnTo>
                  <a:pt x="4794" y="1501"/>
                </a:lnTo>
                <a:lnTo>
                  <a:pt x="4794" y="1501"/>
                </a:lnTo>
                <a:lnTo>
                  <a:pt x="4794" y="1501"/>
                </a:lnTo>
                <a:lnTo>
                  <a:pt x="4794" y="1495"/>
                </a:lnTo>
                <a:lnTo>
                  <a:pt x="4794" y="1495"/>
                </a:lnTo>
                <a:lnTo>
                  <a:pt x="4794" y="1495"/>
                </a:lnTo>
                <a:lnTo>
                  <a:pt x="4788" y="1495"/>
                </a:lnTo>
                <a:lnTo>
                  <a:pt x="4788" y="1495"/>
                </a:lnTo>
                <a:lnTo>
                  <a:pt x="4788" y="1495"/>
                </a:lnTo>
                <a:lnTo>
                  <a:pt x="4788" y="1495"/>
                </a:lnTo>
                <a:lnTo>
                  <a:pt x="4788" y="1495"/>
                </a:lnTo>
                <a:lnTo>
                  <a:pt x="4788" y="1495"/>
                </a:lnTo>
                <a:lnTo>
                  <a:pt x="4788" y="1495"/>
                </a:lnTo>
                <a:lnTo>
                  <a:pt x="4788" y="1495"/>
                </a:lnTo>
                <a:lnTo>
                  <a:pt x="4788" y="1495"/>
                </a:lnTo>
                <a:lnTo>
                  <a:pt x="4788" y="1495"/>
                </a:lnTo>
                <a:lnTo>
                  <a:pt x="4788" y="1495"/>
                </a:lnTo>
                <a:lnTo>
                  <a:pt x="4782" y="1495"/>
                </a:lnTo>
                <a:lnTo>
                  <a:pt x="4782" y="1495"/>
                </a:lnTo>
                <a:lnTo>
                  <a:pt x="4782" y="1495"/>
                </a:lnTo>
                <a:lnTo>
                  <a:pt x="4782" y="1501"/>
                </a:lnTo>
                <a:lnTo>
                  <a:pt x="4776" y="1495"/>
                </a:lnTo>
                <a:lnTo>
                  <a:pt x="4776" y="1495"/>
                </a:lnTo>
                <a:lnTo>
                  <a:pt x="4776" y="1495"/>
                </a:lnTo>
                <a:lnTo>
                  <a:pt x="4776" y="1495"/>
                </a:lnTo>
                <a:lnTo>
                  <a:pt x="4770" y="1495"/>
                </a:lnTo>
                <a:lnTo>
                  <a:pt x="4764" y="1495"/>
                </a:lnTo>
                <a:lnTo>
                  <a:pt x="4764" y="1489"/>
                </a:lnTo>
                <a:lnTo>
                  <a:pt x="4764" y="1489"/>
                </a:lnTo>
                <a:lnTo>
                  <a:pt x="4758" y="1489"/>
                </a:lnTo>
                <a:lnTo>
                  <a:pt x="4758" y="1489"/>
                </a:lnTo>
                <a:lnTo>
                  <a:pt x="4758" y="1489"/>
                </a:lnTo>
                <a:lnTo>
                  <a:pt x="4758" y="1489"/>
                </a:lnTo>
                <a:lnTo>
                  <a:pt x="4758" y="1483"/>
                </a:lnTo>
                <a:lnTo>
                  <a:pt x="4758" y="1483"/>
                </a:lnTo>
                <a:lnTo>
                  <a:pt x="4758" y="1483"/>
                </a:lnTo>
                <a:lnTo>
                  <a:pt x="4758" y="1483"/>
                </a:lnTo>
                <a:lnTo>
                  <a:pt x="4758" y="1483"/>
                </a:lnTo>
                <a:lnTo>
                  <a:pt x="4758" y="1483"/>
                </a:lnTo>
                <a:lnTo>
                  <a:pt x="4753" y="1483"/>
                </a:lnTo>
                <a:lnTo>
                  <a:pt x="4753" y="1483"/>
                </a:lnTo>
                <a:lnTo>
                  <a:pt x="4753" y="1477"/>
                </a:lnTo>
                <a:lnTo>
                  <a:pt x="4753" y="1477"/>
                </a:lnTo>
                <a:lnTo>
                  <a:pt x="4753" y="1477"/>
                </a:lnTo>
                <a:lnTo>
                  <a:pt x="4747" y="1477"/>
                </a:lnTo>
                <a:lnTo>
                  <a:pt x="4747" y="1477"/>
                </a:lnTo>
                <a:lnTo>
                  <a:pt x="4747" y="1477"/>
                </a:lnTo>
                <a:lnTo>
                  <a:pt x="4753" y="1477"/>
                </a:lnTo>
                <a:lnTo>
                  <a:pt x="4753" y="1477"/>
                </a:lnTo>
                <a:lnTo>
                  <a:pt x="4753" y="1471"/>
                </a:lnTo>
                <a:lnTo>
                  <a:pt x="4753" y="1471"/>
                </a:lnTo>
                <a:lnTo>
                  <a:pt x="4753" y="1471"/>
                </a:lnTo>
                <a:lnTo>
                  <a:pt x="4753" y="1471"/>
                </a:lnTo>
                <a:lnTo>
                  <a:pt x="4753" y="1471"/>
                </a:lnTo>
                <a:lnTo>
                  <a:pt x="4753" y="1465"/>
                </a:lnTo>
                <a:lnTo>
                  <a:pt x="4753" y="1465"/>
                </a:lnTo>
                <a:lnTo>
                  <a:pt x="4753" y="1465"/>
                </a:lnTo>
                <a:lnTo>
                  <a:pt x="4747" y="1465"/>
                </a:lnTo>
                <a:lnTo>
                  <a:pt x="4747" y="1465"/>
                </a:lnTo>
                <a:lnTo>
                  <a:pt x="4747" y="1471"/>
                </a:lnTo>
                <a:lnTo>
                  <a:pt x="4741" y="1471"/>
                </a:lnTo>
                <a:lnTo>
                  <a:pt x="4735" y="1471"/>
                </a:lnTo>
                <a:lnTo>
                  <a:pt x="4735" y="1471"/>
                </a:lnTo>
                <a:lnTo>
                  <a:pt x="4735" y="1471"/>
                </a:lnTo>
                <a:lnTo>
                  <a:pt x="4729" y="1471"/>
                </a:lnTo>
                <a:lnTo>
                  <a:pt x="4723" y="1471"/>
                </a:lnTo>
                <a:lnTo>
                  <a:pt x="4723" y="1471"/>
                </a:lnTo>
                <a:lnTo>
                  <a:pt x="4717" y="1471"/>
                </a:lnTo>
                <a:lnTo>
                  <a:pt x="4723" y="1471"/>
                </a:lnTo>
                <a:lnTo>
                  <a:pt x="4723" y="1471"/>
                </a:lnTo>
                <a:lnTo>
                  <a:pt x="4723" y="1471"/>
                </a:lnTo>
                <a:lnTo>
                  <a:pt x="4723" y="1471"/>
                </a:lnTo>
                <a:lnTo>
                  <a:pt x="4723" y="1471"/>
                </a:lnTo>
                <a:lnTo>
                  <a:pt x="4723" y="1471"/>
                </a:lnTo>
                <a:lnTo>
                  <a:pt x="4723" y="1471"/>
                </a:lnTo>
                <a:lnTo>
                  <a:pt x="4723" y="1465"/>
                </a:lnTo>
                <a:lnTo>
                  <a:pt x="4723" y="1465"/>
                </a:lnTo>
                <a:lnTo>
                  <a:pt x="4717" y="1465"/>
                </a:lnTo>
                <a:lnTo>
                  <a:pt x="4717" y="1465"/>
                </a:lnTo>
                <a:lnTo>
                  <a:pt x="4717" y="1459"/>
                </a:lnTo>
                <a:lnTo>
                  <a:pt x="4717" y="1459"/>
                </a:lnTo>
                <a:lnTo>
                  <a:pt x="4717" y="1459"/>
                </a:lnTo>
                <a:lnTo>
                  <a:pt x="4723" y="1465"/>
                </a:lnTo>
                <a:lnTo>
                  <a:pt x="4723" y="1465"/>
                </a:lnTo>
                <a:lnTo>
                  <a:pt x="4723" y="1459"/>
                </a:lnTo>
                <a:lnTo>
                  <a:pt x="4723" y="1453"/>
                </a:lnTo>
                <a:lnTo>
                  <a:pt x="4723" y="1447"/>
                </a:lnTo>
                <a:lnTo>
                  <a:pt x="4723" y="1447"/>
                </a:lnTo>
                <a:lnTo>
                  <a:pt x="4723" y="1447"/>
                </a:lnTo>
                <a:lnTo>
                  <a:pt x="4723" y="1447"/>
                </a:lnTo>
                <a:lnTo>
                  <a:pt x="4729" y="1447"/>
                </a:lnTo>
                <a:lnTo>
                  <a:pt x="4729" y="1441"/>
                </a:lnTo>
                <a:lnTo>
                  <a:pt x="4729" y="1441"/>
                </a:lnTo>
                <a:lnTo>
                  <a:pt x="4729" y="1441"/>
                </a:lnTo>
                <a:lnTo>
                  <a:pt x="4729" y="1441"/>
                </a:lnTo>
                <a:lnTo>
                  <a:pt x="4729" y="1441"/>
                </a:lnTo>
                <a:lnTo>
                  <a:pt x="4729" y="1441"/>
                </a:lnTo>
                <a:lnTo>
                  <a:pt x="4729" y="1441"/>
                </a:lnTo>
                <a:lnTo>
                  <a:pt x="4729" y="1441"/>
                </a:lnTo>
                <a:lnTo>
                  <a:pt x="4729" y="1441"/>
                </a:lnTo>
                <a:lnTo>
                  <a:pt x="4729" y="1435"/>
                </a:lnTo>
                <a:lnTo>
                  <a:pt x="4729" y="1435"/>
                </a:lnTo>
                <a:lnTo>
                  <a:pt x="4729" y="1435"/>
                </a:lnTo>
                <a:lnTo>
                  <a:pt x="4729" y="1435"/>
                </a:lnTo>
                <a:lnTo>
                  <a:pt x="4729" y="1435"/>
                </a:lnTo>
                <a:lnTo>
                  <a:pt x="4729" y="1429"/>
                </a:lnTo>
                <a:lnTo>
                  <a:pt x="4729" y="1429"/>
                </a:lnTo>
                <a:lnTo>
                  <a:pt x="4735" y="1429"/>
                </a:lnTo>
                <a:lnTo>
                  <a:pt x="4735" y="1429"/>
                </a:lnTo>
                <a:lnTo>
                  <a:pt x="4735" y="1429"/>
                </a:lnTo>
                <a:lnTo>
                  <a:pt x="4735" y="1429"/>
                </a:lnTo>
                <a:lnTo>
                  <a:pt x="4735" y="1435"/>
                </a:lnTo>
                <a:lnTo>
                  <a:pt x="4735" y="1435"/>
                </a:lnTo>
                <a:lnTo>
                  <a:pt x="4735" y="1435"/>
                </a:lnTo>
                <a:lnTo>
                  <a:pt x="4735" y="1435"/>
                </a:lnTo>
                <a:lnTo>
                  <a:pt x="4735" y="1435"/>
                </a:lnTo>
                <a:lnTo>
                  <a:pt x="4735" y="1435"/>
                </a:lnTo>
                <a:lnTo>
                  <a:pt x="4741" y="1435"/>
                </a:lnTo>
                <a:lnTo>
                  <a:pt x="4741" y="1435"/>
                </a:lnTo>
                <a:lnTo>
                  <a:pt x="4741" y="1435"/>
                </a:lnTo>
                <a:lnTo>
                  <a:pt x="4741" y="1429"/>
                </a:lnTo>
                <a:lnTo>
                  <a:pt x="4741" y="1429"/>
                </a:lnTo>
                <a:lnTo>
                  <a:pt x="4735" y="1429"/>
                </a:lnTo>
                <a:lnTo>
                  <a:pt x="4735" y="1429"/>
                </a:lnTo>
                <a:lnTo>
                  <a:pt x="4735" y="1429"/>
                </a:lnTo>
                <a:lnTo>
                  <a:pt x="4741" y="1429"/>
                </a:lnTo>
                <a:lnTo>
                  <a:pt x="4741" y="1429"/>
                </a:lnTo>
                <a:lnTo>
                  <a:pt x="4741" y="1429"/>
                </a:lnTo>
                <a:lnTo>
                  <a:pt x="4741" y="1429"/>
                </a:lnTo>
                <a:lnTo>
                  <a:pt x="4741" y="1429"/>
                </a:lnTo>
                <a:lnTo>
                  <a:pt x="4741" y="1429"/>
                </a:lnTo>
                <a:lnTo>
                  <a:pt x="4741" y="1423"/>
                </a:lnTo>
                <a:lnTo>
                  <a:pt x="4741" y="1423"/>
                </a:lnTo>
                <a:lnTo>
                  <a:pt x="4741" y="1423"/>
                </a:lnTo>
                <a:lnTo>
                  <a:pt x="4747" y="1423"/>
                </a:lnTo>
                <a:lnTo>
                  <a:pt x="4747" y="1423"/>
                </a:lnTo>
                <a:lnTo>
                  <a:pt x="4747" y="1423"/>
                </a:lnTo>
                <a:lnTo>
                  <a:pt x="4747" y="1423"/>
                </a:lnTo>
                <a:lnTo>
                  <a:pt x="4747" y="1423"/>
                </a:lnTo>
                <a:lnTo>
                  <a:pt x="4747" y="1423"/>
                </a:lnTo>
                <a:lnTo>
                  <a:pt x="4747" y="1423"/>
                </a:lnTo>
                <a:lnTo>
                  <a:pt x="4747" y="1418"/>
                </a:lnTo>
                <a:lnTo>
                  <a:pt x="4747" y="1418"/>
                </a:lnTo>
                <a:lnTo>
                  <a:pt x="4747" y="1418"/>
                </a:lnTo>
                <a:lnTo>
                  <a:pt x="4747" y="1418"/>
                </a:lnTo>
                <a:lnTo>
                  <a:pt x="4747" y="1418"/>
                </a:lnTo>
                <a:lnTo>
                  <a:pt x="4747" y="1418"/>
                </a:lnTo>
                <a:lnTo>
                  <a:pt x="4747" y="1418"/>
                </a:lnTo>
                <a:lnTo>
                  <a:pt x="4747" y="1418"/>
                </a:lnTo>
                <a:lnTo>
                  <a:pt x="4747" y="1412"/>
                </a:lnTo>
                <a:lnTo>
                  <a:pt x="4753" y="1412"/>
                </a:lnTo>
                <a:lnTo>
                  <a:pt x="4753" y="1412"/>
                </a:lnTo>
                <a:lnTo>
                  <a:pt x="4753" y="1412"/>
                </a:lnTo>
                <a:lnTo>
                  <a:pt x="4753" y="1412"/>
                </a:lnTo>
                <a:lnTo>
                  <a:pt x="4747" y="1412"/>
                </a:lnTo>
                <a:lnTo>
                  <a:pt x="4747" y="1406"/>
                </a:lnTo>
                <a:lnTo>
                  <a:pt x="4747" y="1406"/>
                </a:lnTo>
                <a:lnTo>
                  <a:pt x="4753" y="1406"/>
                </a:lnTo>
                <a:lnTo>
                  <a:pt x="4753" y="1406"/>
                </a:lnTo>
                <a:lnTo>
                  <a:pt x="4753" y="1406"/>
                </a:lnTo>
                <a:lnTo>
                  <a:pt x="4753" y="1406"/>
                </a:lnTo>
                <a:lnTo>
                  <a:pt x="4753" y="1406"/>
                </a:lnTo>
                <a:lnTo>
                  <a:pt x="4753" y="1406"/>
                </a:lnTo>
                <a:lnTo>
                  <a:pt x="4753" y="1406"/>
                </a:lnTo>
                <a:lnTo>
                  <a:pt x="4753" y="1406"/>
                </a:lnTo>
                <a:lnTo>
                  <a:pt x="4747" y="1406"/>
                </a:lnTo>
                <a:lnTo>
                  <a:pt x="4747" y="1406"/>
                </a:lnTo>
                <a:lnTo>
                  <a:pt x="4747" y="1406"/>
                </a:lnTo>
                <a:lnTo>
                  <a:pt x="4747" y="1406"/>
                </a:lnTo>
                <a:lnTo>
                  <a:pt x="4747" y="1400"/>
                </a:lnTo>
                <a:lnTo>
                  <a:pt x="4747" y="1400"/>
                </a:lnTo>
                <a:lnTo>
                  <a:pt x="4747" y="1400"/>
                </a:lnTo>
                <a:lnTo>
                  <a:pt x="4747" y="1400"/>
                </a:lnTo>
                <a:lnTo>
                  <a:pt x="4753" y="1406"/>
                </a:lnTo>
                <a:lnTo>
                  <a:pt x="4753" y="1406"/>
                </a:lnTo>
                <a:lnTo>
                  <a:pt x="4753" y="1406"/>
                </a:lnTo>
                <a:lnTo>
                  <a:pt x="4753" y="1406"/>
                </a:lnTo>
                <a:lnTo>
                  <a:pt x="4753" y="1406"/>
                </a:lnTo>
                <a:lnTo>
                  <a:pt x="4753" y="1406"/>
                </a:lnTo>
                <a:lnTo>
                  <a:pt x="4753" y="1406"/>
                </a:lnTo>
                <a:lnTo>
                  <a:pt x="4753" y="1406"/>
                </a:lnTo>
                <a:lnTo>
                  <a:pt x="4753" y="1406"/>
                </a:lnTo>
                <a:lnTo>
                  <a:pt x="4753" y="1406"/>
                </a:lnTo>
                <a:lnTo>
                  <a:pt x="4753" y="1406"/>
                </a:lnTo>
                <a:lnTo>
                  <a:pt x="4753" y="1412"/>
                </a:lnTo>
                <a:lnTo>
                  <a:pt x="4753" y="1412"/>
                </a:lnTo>
                <a:lnTo>
                  <a:pt x="4753" y="1412"/>
                </a:lnTo>
                <a:lnTo>
                  <a:pt x="4753" y="1412"/>
                </a:lnTo>
                <a:lnTo>
                  <a:pt x="4753" y="1412"/>
                </a:lnTo>
                <a:lnTo>
                  <a:pt x="4753" y="1412"/>
                </a:lnTo>
                <a:lnTo>
                  <a:pt x="4753" y="1412"/>
                </a:lnTo>
                <a:lnTo>
                  <a:pt x="4753" y="1412"/>
                </a:lnTo>
                <a:lnTo>
                  <a:pt x="4753" y="1418"/>
                </a:lnTo>
                <a:lnTo>
                  <a:pt x="4753" y="1418"/>
                </a:lnTo>
                <a:lnTo>
                  <a:pt x="4753" y="1418"/>
                </a:lnTo>
                <a:lnTo>
                  <a:pt x="4753" y="1418"/>
                </a:lnTo>
                <a:lnTo>
                  <a:pt x="4753" y="1418"/>
                </a:lnTo>
                <a:lnTo>
                  <a:pt x="4753" y="1418"/>
                </a:lnTo>
                <a:lnTo>
                  <a:pt x="4753" y="1418"/>
                </a:lnTo>
                <a:lnTo>
                  <a:pt x="4753" y="1418"/>
                </a:lnTo>
                <a:lnTo>
                  <a:pt x="4753" y="1418"/>
                </a:lnTo>
                <a:lnTo>
                  <a:pt x="4753" y="1418"/>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9"/>
                </a:lnTo>
                <a:lnTo>
                  <a:pt x="4753" y="1429"/>
                </a:lnTo>
                <a:lnTo>
                  <a:pt x="4753" y="1429"/>
                </a:lnTo>
                <a:lnTo>
                  <a:pt x="4753" y="1429"/>
                </a:lnTo>
                <a:lnTo>
                  <a:pt x="4747" y="1423"/>
                </a:lnTo>
                <a:lnTo>
                  <a:pt x="4747" y="1429"/>
                </a:lnTo>
                <a:lnTo>
                  <a:pt x="4747" y="1429"/>
                </a:lnTo>
                <a:lnTo>
                  <a:pt x="4747" y="1429"/>
                </a:lnTo>
                <a:lnTo>
                  <a:pt x="4747" y="1429"/>
                </a:lnTo>
                <a:lnTo>
                  <a:pt x="4747" y="1429"/>
                </a:lnTo>
                <a:lnTo>
                  <a:pt x="4747" y="1429"/>
                </a:lnTo>
                <a:lnTo>
                  <a:pt x="4747" y="1429"/>
                </a:lnTo>
                <a:lnTo>
                  <a:pt x="4741" y="1429"/>
                </a:lnTo>
                <a:lnTo>
                  <a:pt x="4741" y="1429"/>
                </a:lnTo>
                <a:lnTo>
                  <a:pt x="4741" y="1429"/>
                </a:lnTo>
                <a:lnTo>
                  <a:pt x="4741" y="1435"/>
                </a:lnTo>
                <a:lnTo>
                  <a:pt x="4741" y="1435"/>
                </a:lnTo>
                <a:lnTo>
                  <a:pt x="4741" y="1435"/>
                </a:lnTo>
                <a:lnTo>
                  <a:pt x="4741" y="1435"/>
                </a:lnTo>
                <a:lnTo>
                  <a:pt x="4741" y="1435"/>
                </a:lnTo>
                <a:lnTo>
                  <a:pt x="4741" y="1435"/>
                </a:lnTo>
                <a:lnTo>
                  <a:pt x="4741" y="1435"/>
                </a:lnTo>
                <a:lnTo>
                  <a:pt x="4735" y="1435"/>
                </a:lnTo>
                <a:lnTo>
                  <a:pt x="4735" y="1435"/>
                </a:lnTo>
                <a:lnTo>
                  <a:pt x="4735" y="1435"/>
                </a:lnTo>
                <a:lnTo>
                  <a:pt x="4735" y="1441"/>
                </a:lnTo>
                <a:lnTo>
                  <a:pt x="4735" y="1441"/>
                </a:lnTo>
                <a:lnTo>
                  <a:pt x="4735" y="1441"/>
                </a:lnTo>
                <a:lnTo>
                  <a:pt x="4735" y="1441"/>
                </a:lnTo>
                <a:lnTo>
                  <a:pt x="4735" y="1441"/>
                </a:lnTo>
                <a:lnTo>
                  <a:pt x="4735" y="1441"/>
                </a:lnTo>
                <a:lnTo>
                  <a:pt x="4735" y="1441"/>
                </a:lnTo>
                <a:lnTo>
                  <a:pt x="4735" y="1441"/>
                </a:lnTo>
                <a:lnTo>
                  <a:pt x="4735" y="1441"/>
                </a:lnTo>
                <a:lnTo>
                  <a:pt x="4735" y="1447"/>
                </a:lnTo>
                <a:lnTo>
                  <a:pt x="4735" y="1447"/>
                </a:lnTo>
                <a:lnTo>
                  <a:pt x="4735" y="1447"/>
                </a:lnTo>
                <a:lnTo>
                  <a:pt x="4735" y="1447"/>
                </a:lnTo>
                <a:lnTo>
                  <a:pt x="4729" y="1447"/>
                </a:lnTo>
                <a:lnTo>
                  <a:pt x="4729" y="1447"/>
                </a:lnTo>
                <a:lnTo>
                  <a:pt x="4729" y="1447"/>
                </a:lnTo>
                <a:lnTo>
                  <a:pt x="4729" y="1447"/>
                </a:lnTo>
                <a:lnTo>
                  <a:pt x="4729" y="1453"/>
                </a:lnTo>
                <a:lnTo>
                  <a:pt x="4729" y="1453"/>
                </a:lnTo>
                <a:lnTo>
                  <a:pt x="4729" y="1453"/>
                </a:lnTo>
                <a:lnTo>
                  <a:pt x="4729" y="1453"/>
                </a:lnTo>
                <a:lnTo>
                  <a:pt x="4729" y="1453"/>
                </a:lnTo>
                <a:lnTo>
                  <a:pt x="4729" y="1453"/>
                </a:lnTo>
                <a:lnTo>
                  <a:pt x="4729" y="1459"/>
                </a:lnTo>
                <a:lnTo>
                  <a:pt x="4729" y="1459"/>
                </a:lnTo>
                <a:lnTo>
                  <a:pt x="4729" y="1459"/>
                </a:lnTo>
                <a:lnTo>
                  <a:pt x="4729" y="1459"/>
                </a:lnTo>
                <a:lnTo>
                  <a:pt x="4729" y="1465"/>
                </a:lnTo>
                <a:lnTo>
                  <a:pt x="4729" y="1465"/>
                </a:lnTo>
                <a:lnTo>
                  <a:pt x="4735" y="1471"/>
                </a:lnTo>
                <a:lnTo>
                  <a:pt x="4735" y="1471"/>
                </a:lnTo>
                <a:lnTo>
                  <a:pt x="4735" y="1465"/>
                </a:lnTo>
                <a:lnTo>
                  <a:pt x="4735" y="1465"/>
                </a:lnTo>
                <a:lnTo>
                  <a:pt x="4741" y="1465"/>
                </a:lnTo>
                <a:lnTo>
                  <a:pt x="4741" y="1465"/>
                </a:lnTo>
                <a:lnTo>
                  <a:pt x="4741" y="1465"/>
                </a:lnTo>
                <a:lnTo>
                  <a:pt x="4741" y="1459"/>
                </a:lnTo>
                <a:lnTo>
                  <a:pt x="4741" y="1459"/>
                </a:lnTo>
                <a:lnTo>
                  <a:pt x="4741" y="1459"/>
                </a:lnTo>
                <a:lnTo>
                  <a:pt x="4741" y="1459"/>
                </a:lnTo>
                <a:lnTo>
                  <a:pt x="4741" y="1459"/>
                </a:lnTo>
                <a:lnTo>
                  <a:pt x="4741" y="1459"/>
                </a:lnTo>
                <a:lnTo>
                  <a:pt x="4741" y="1459"/>
                </a:lnTo>
                <a:lnTo>
                  <a:pt x="4741" y="1453"/>
                </a:lnTo>
                <a:lnTo>
                  <a:pt x="4741" y="1459"/>
                </a:lnTo>
                <a:lnTo>
                  <a:pt x="4741" y="1459"/>
                </a:lnTo>
                <a:lnTo>
                  <a:pt x="4741" y="1459"/>
                </a:lnTo>
                <a:lnTo>
                  <a:pt x="4747" y="1459"/>
                </a:lnTo>
                <a:lnTo>
                  <a:pt x="4747" y="1459"/>
                </a:lnTo>
                <a:lnTo>
                  <a:pt x="4741" y="1459"/>
                </a:lnTo>
                <a:lnTo>
                  <a:pt x="4741" y="1459"/>
                </a:lnTo>
                <a:lnTo>
                  <a:pt x="4741" y="1459"/>
                </a:lnTo>
                <a:lnTo>
                  <a:pt x="4741" y="1459"/>
                </a:lnTo>
                <a:lnTo>
                  <a:pt x="4741" y="1465"/>
                </a:lnTo>
                <a:lnTo>
                  <a:pt x="4747" y="1465"/>
                </a:lnTo>
                <a:lnTo>
                  <a:pt x="4747" y="1465"/>
                </a:lnTo>
                <a:lnTo>
                  <a:pt x="4747" y="1459"/>
                </a:lnTo>
                <a:lnTo>
                  <a:pt x="4747" y="1459"/>
                </a:lnTo>
                <a:lnTo>
                  <a:pt x="4747" y="1459"/>
                </a:lnTo>
                <a:lnTo>
                  <a:pt x="4747" y="1459"/>
                </a:lnTo>
                <a:lnTo>
                  <a:pt x="4747" y="1459"/>
                </a:lnTo>
                <a:lnTo>
                  <a:pt x="4753" y="1459"/>
                </a:lnTo>
                <a:lnTo>
                  <a:pt x="4753" y="1459"/>
                </a:lnTo>
                <a:lnTo>
                  <a:pt x="4753" y="1459"/>
                </a:lnTo>
                <a:lnTo>
                  <a:pt x="4753" y="1453"/>
                </a:lnTo>
                <a:lnTo>
                  <a:pt x="4753" y="1453"/>
                </a:lnTo>
                <a:lnTo>
                  <a:pt x="4753" y="1459"/>
                </a:lnTo>
                <a:lnTo>
                  <a:pt x="4753" y="1459"/>
                </a:lnTo>
                <a:lnTo>
                  <a:pt x="4753" y="1459"/>
                </a:lnTo>
                <a:lnTo>
                  <a:pt x="4753" y="1471"/>
                </a:lnTo>
                <a:lnTo>
                  <a:pt x="4758" y="1471"/>
                </a:lnTo>
                <a:lnTo>
                  <a:pt x="4758" y="1471"/>
                </a:lnTo>
                <a:lnTo>
                  <a:pt x="4758" y="1471"/>
                </a:lnTo>
                <a:lnTo>
                  <a:pt x="4758" y="1477"/>
                </a:lnTo>
                <a:lnTo>
                  <a:pt x="4764" y="1477"/>
                </a:lnTo>
                <a:lnTo>
                  <a:pt x="4764" y="1477"/>
                </a:lnTo>
                <a:lnTo>
                  <a:pt x="4764" y="1483"/>
                </a:lnTo>
                <a:lnTo>
                  <a:pt x="4770" y="1483"/>
                </a:lnTo>
                <a:lnTo>
                  <a:pt x="4770" y="1477"/>
                </a:lnTo>
                <a:lnTo>
                  <a:pt x="4770" y="1477"/>
                </a:lnTo>
                <a:lnTo>
                  <a:pt x="4770" y="1477"/>
                </a:lnTo>
                <a:lnTo>
                  <a:pt x="4770" y="1471"/>
                </a:lnTo>
                <a:lnTo>
                  <a:pt x="4770" y="1471"/>
                </a:lnTo>
                <a:lnTo>
                  <a:pt x="4770" y="1471"/>
                </a:lnTo>
                <a:lnTo>
                  <a:pt x="4770" y="1471"/>
                </a:lnTo>
                <a:lnTo>
                  <a:pt x="4764" y="1465"/>
                </a:lnTo>
                <a:lnTo>
                  <a:pt x="4770" y="1465"/>
                </a:lnTo>
                <a:lnTo>
                  <a:pt x="4770" y="1471"/>
                </a:lnTo>
                <a:lnTo>
                  <a:pt x="4770" y="1471"/>
                </a:lnTo>
                <a:lnTo>
                  <a:pt x="4770" y="1477"/>
                </a:lnTo>
                <a:lnTo>
                  <a:pt x="4770" y="1477"/>
                </a:lnTo>
                <a:lnTo>
                  <a:pt x="4770" y="1477"/>
                </a:lnTo>
                <a:lnTo>
                  <a:pt x="4776" y="1483"/>
                </a:lnTo>
                <a:lnTo>
                  <a:pt x="4770" y="1483"/>
                </a:lnTo>
                <a:lnTo>
                  <a:pt x="4776" y="1483"/>
                </a:lnTo>
                <a:lnTo>
                  <a:pt x="4776" y="1489"/>
                </a:lnTo>
                <a:lnTo>
                  <a:pt x="4782" y="1483"/>
                </a:lnTo>
                <a:lnTo>
                  <a:pt x="4788" y="1483"/>
                </a:lnTo>
                <a:lnTo>
                  <a:pt x="4788" y="1483"/>
                </a:lnTo>
                <a:lnTo>
                  <a:pt x="4788" y="1489"/>
                </a:lnTo>
                <a:lnTo>
                  <a:pt x="4788" y="1489"/>
                </a:lnTo>
                <a:lnTo>
                  <a:pt x="4794" y="1489"/>
                </a:lnTo>
                <a:lnTo>
                  <a:pt x="4794" y="1489"/>
                </a:lnTo>
                <a:lnTo>
                  <a:pt x="4794" y="1489"/>
                </a:lnTo>
                <a:lnTo>
                  <a:pt x="4794" y="1489"/>
                </a:lnTo>
                <a:lnTo>
                  <a:pt x="4800" y="1489"/>
                </a:lnTo>
                <a:lnTo>
                  <a:pt x="4800" y="1495"/>
                </a:lnTo>
                <a:lnTo>
                  <a:pt x="4800" y="1495"/>
                </a:lnTo>
                <a:lnTo>
                  <a:pt x="4800" y="1495"/>
                </a:lnTo>
                <a:lnTo>
                  <a:pt x="4800" y="1495"/>
                </a:lnTo>
                <a:lnTo>
                  <a:pt x="4800" y="1501"/>
                </a:lnTo>
                <a:lnTo>
                  <a:pt x="4800" y="1501"/>
                </a:lnTo>
                <a:lnTo>
                  <a:pt x="4800" y="1501"/>
                </a:lnTo>
                <a:lnTo>
                  <a:pt x="4800" y="1495"/>
                </a:lnTo>
                <a:lnTo>
                  <a:pt x="4806" y="1495"/>
                </a:lnTo>
                <a:lnTo>
                  <a:pt x="4806" y="1495"/>
                </a:lnTo>
                <a:lnTo>
                  <a:pt x="4806" y="1495"/>
                </a:lnTo>
                <a:lnTo>
                  <a:pt x="4806" y="1501"/>
                </a:lnTo>
                <a:lnTo>
                  <a:pt x="4806" y="1495"/>
                </a:lnTo>
                <a:lnTo>
                  <a:pt x="4806" y="1495"/>
                </a:lnTo>
                <a:lnTo>
                  <a:pt x="4806" y="1495"/>
                </a:lnTo>
                <a:lnTo>
                  <a:pt x="4806" y="1495"/>
                </a:lnTo>
                <a:lnTo>
                  <a:pt x="4806" y="1495"/>
                </a:lnTo>
                <a:lnTo>
                  <a:pt x="4806" y="1495"/>
                </a:lnTo>
                <a:lnTo>
                  <a:pt x="4806" y="1495"/>
                </a:lnTo>
                <a:lnTo>
                  <a:pt x="4806" y="1489"/>
                </a:lnTo>
                <a:lnTo>
                  <a:pt x="4806" y="1489"/>
                </a:lnTo>
                <a:lnTo>
                  <a:pt x="4806" y="1489"/>
                </a:lnTo>
                <a:lnTo>
                  <a:pt x="4806" y="1489"/>
                </a:lnTo>
                <a:lnTo>
                  <a:pt x="4812" y="1489"/>
                </a:lnTo>
                <a:lnTo>
                  <a:pt x="4812" y="1495"/>
                </a:lnTo>
                <a:lnTo>
                  <a:pt x="4812" y="1495"/>
                </a:lnTo>
                <a:lnTo>
                  <a:pt x="4812" y="1501"/>
                </a:lnTo>
                <a:lnTo>
                  <a:pt x="4812" y="1501"/>
                </a:lnTo>
                <a:lnTo>
                  <a:pt x="4812" y="1501"/>
                </a:lnTo>
                <a:lnTo>
                  <a:pt x="4812" y="1501"/>
                </a:lnTo>
                <a:lnTo>
                  <a:pt x="4812" y="1501"/>
                </a:lnTo>
                <a:lnTo>
                  <a:pt x="4818" y="1506"/>
                </a:lnTo>
                <a:lnTo>
                  <a:pt x="4818" y="1506"/>
                </a:lnTo>
                <a:lnTo>
                  <a:pt x="4818" y="1506"/>
                </a:lnTo>
                <a:lnTo>
                  <a:pt x="4824" y="1512"/>
                </a:lnTo>
                <a:lnTo>
                  <a:pt x="4824" y="1506"/>
                </a:lnTo>
                <a:lnTo>
                  <a:pt x="4824" y="1506"/>
                </a:lnTo>
                <a:lnTo>
                  <a:pt x="4818" y="1506"/>
                </a:lnTo>
                <a:lnTo>
                  <a:pt x="4818" y="1506"/>
                </a:lnTo>
                <a:lnTo>
                  <a:pt x="4818" y="1506"/>
                </a:lnTo>
                <a:lnTo>
                  <a:pt x="4818" y="1501"/>
                </a:lnTo>
                <a:lnTo>
                  <a:pt x="4818" y="1501"/>
                </a:lnTo>
                <a:lnTo>
                  <a:pt x="4824" y="1501"/>
                </a:lnTo>
                <a:lnTo>
                  <a:pt x="4824" y="1501"/>
                </a:lnTo>
                <a:lnTo>
                  <a:pt x="4818" y="1495"/>
                </a:lnTo>
                <a:lnTo>
                  <a:pt x="4818" y="1489"/>
                </a:lnTo>
                <a:lnTo>
                  <a:pt x="4818" y="1489"/>
                </a:lnTo>
                <a:lnTo>
                  <a:pt x="4812" y="1489"/>
                </a:lnTo>
                <a:lnTo>
                  <a:pt x="4812" y="1489"/>
                </a:lnTo>
                <a:lnTo>
                  <a:pt x="4812" y="1483"/>
                </a:lnTo>
                <a:lnTo>
                  <a:pt x="4812" y="1483"/>
                </a:lnTo>
                <a:lnTo>
                  <a:pt x="4812" y="1483"/>
                </a:lnTo>
                <a:lnTo>
                  <a:pt x="4812" y="1477"/>
                </a:lnTo>
                <a:lnTo>
                  <a:pt x="4818" y="1477"/>
                </a:lnTo>
                <a:lnTo>
                  <a:pt x="4818" y="1477"/>
                </a:lnTo>
                <a:lnTo>
                  <a:pt x="4812" y="1477"/>
                </a:lnTo>
                <a:lnTo>
                  <a:pt x="4812" y="1477"/>
                </a:lnTo>
                <a:lnTo>
                  <a:pt x="4812" y="1477"/>
                </a:lnTo>
                <a:lnTo>
                  <a:pt x="4812" y="1477"/>
                </a:lnTo>
                <a:lnTo>
                  <a:pt x="4812" y="1477"/>
                </a:lnTo>
                <a:lnTo>
                  <a:pt x="4806" y="1477"/>
                </a:lnTo>
                <a:lnTo>
                  <a:pt x="4806" y="1477"/>
                </a:lnTo>
                <a:lnTo>
                  <a:pt x="4806" y="1477"/>
                </a:lnTo>
                <a:lnTo>
                  <a:pt x="4806" y="1477"/>
                </a:lnTo>
                <a:lnTo>
                  <a:pt x="4806" y="1471"/>
                </a:lnTo>
                <a:lnTo>
                  <a:pt x="4806" y="1471"/>
                </a:lnTo>
                <a:lnTo>
                  <a:pt x="4800" y="1471"/>
                </a:lnTo>
                <a:lnTo>
                  <a:pt x="4800" y="1471"/>
                </a:lnTo>
                <a:lnTo>
                  <a:pt x="4800" y="1471"/>
                </a:lnTo>
                <a:lnTo>
                  <a:pt x="4800" y="1465"/>
                </a:lnTo>
                <a:lnTo>
                  <a:pt x="4794" y="1465"/>
                </a:lnTo>
                <a:lnTo>
                  <a:pt x="4794" y="1465"/>
                </a:lnTo>
                <a:lnTo>
                  <a:pt x="4794" y="1465"/>
                </a:lnTo>
                <a:lnTo>
                  <a:pt x="4794" y="1459"/>
                </a:lnTo>
                <a:lnTo>
                  <a:pt x="4788" y="1459"/>
                </a:lnTo>
                <a:lnTo>
                  <a:pt x="4788" y="1453"/>
                </a:lnTo>
                <a:lnTo>
                  <a:pt x="4788" y="1453"/>
                </a:lnTo>
                <a:lnTo>
                  <a:pt x="4788" y="1453"/>
                </a:lnTo>
                <a:lnTo>
                  <a:pt x="4788" y="1453"/>
                </a:lnTo>
                <a:lnTo>
                  <a:pt x="4788" y="1447"/>
                </a:lnTo>
                <a:lnTo>
                  <a:pt x="4788" y="1447"/>
                </a:lnTo>
                <a:lnTo>
                  <a:pt x="4788" y="1447"/>
                </a:lnTo>
                <a:lnTo>
                  <a:pt x="4788" y="1441"/>
                </a:lnTo>
                <a:lnTo>
                  <a:pt x="4788" y="1435"/>
                </a:lnTo>
                <a:lnTo>
                  <a:pt x="4788" y="1429"/>
                </a:lnTo>
                <a:lnTo>
                  <a:pt x="4788" y="1429"/>
                </a:lnTo>
                <a:lnTo>
                  <a:pt x="4788" y="1429"/>
                </a:lnTo>
                <a:lnTo>
                  <a:pt x="4788" y="1429"/>
                </a:lnTo>
                <a:lnTo>
                  <a:pt x="4788" y="1429"/>
                </a:lnTo>
                <a:lnTo>
                  <a:pt x="4788" y="1429"/>
                </a:lnTo>
                <a:lnTo>
                  <a:pt x="4788" y="1429"/>
                </a:lnTo>
                <a:lnTo>
                  <a:pt x="4788" y="1441"/>
                </a:lnTo>
                <a:lnTo>
                  <a:pt x="4788" y="1453"/>
                </a:lnTo>
                <a:lnTo>
                  <a:pt x="4788" y="1453"/>
                </a:lnTo>
                <a:lnTo>
                  <a:pt x="4788" y="1453"/>
                </a:lnTo>
                <a:lnTo>
                  <a:pt x="4794" y="1459"/>
                </a:lnTo>
                <a:lnTo>
                  <a:pt x="4794" y="1459"/>
                </a:lnTo>
                <a:lnTo>
                  <a:pt x="4800" y="1459"/>
                </a:lnTo>
                <a:lnTo>
                  <a:pt x="4800" y="1465"/>
                </a:lnTo>
                <a:lnTo>
                  <a:pt x="4800" y="1465"/>
                </a:lnTo>
                <a:lnTo>
                  <a:pt x="4806" y="1465"/>
                </a:lnTo>
                <a:lnTo>
                  <a:pt x="4806" y="1465"/>
                </a:lnTo>
                <a:lnTo>
                  <a:pt x="4806" y="1465"/>
                </a:lnTo>
                <a:lnTo>
                  <a:pt x="4806" y="1465"/>
                </a:lnTo>
                <a:lnTo>
                  <a:pt x="4806" y="1465"/>
                </a:lnTo>
                <a:lnTo>
                  <a:pt x="4806" y="1465"/>
                </a:lnTo>
                <a:lnTo>
                  <a:pt x="4806" y="1471"/>
                </a:lnTo>
                <a:lnTo>
                  <a:pt x="4806" y="1471"/>
                </a:lnTo>
                <a:lnTo>
                  <a:pt x="4806" y="1471"/>
                </a:lnTo>
                <a:lnTo>
                  <a:pt x="4806" y="1471"/>
                </a:lnTo>
                <a:lnTo>
                  <a:pt x="4806" y="1477"/>
                </a:lnTo>
                <a:lnTo>
                  <a:pt x="4812" y="1477"/>
                </a:lnTo>
                <a:lnTo>
                  <a:pt x="4812" y="1477"/>
                </a:lnTo>
                <a:lnTo>
                  <a:pt x="4812" y="1471"/>
                </a:lnTo>
                <a:lnTo>
                  <a:pt x="4818" y="1465"/>
                </a:lnTo>
                <a:lnTo>
                  <a:pt x="4818" y="1465"/>
                </a:lnTo>
                <a:lnTo>
                  <a:pt x="4812" y="1465"/>
                </a:lnTo>
                <a:lnTo>
                  <a:pt x="4812" y="1465"/>
                </a:lnTo>
                <a:lnTo>
                  <a:pt x="4812" y="1459"/>
                </a:lnTo>
                <a:lnTo>
                  <a:pt x="4806" y="1453"/>
                </a:lnTo>
                <a:lnTo>
                  <a:pt x="4800" y="1447"/>
                </a:lnTo>
                <a:lnTo>
                  <a:pt x="4800" y="1447"/>
                </a:lnTo>
                <a:lnTo>
                  <a:pt x="4800" y="1441"/>
                </a:lnTo>
                <a:lnTo>
                  <a:pt x="4800" y="1435"/>
                </a:lnTo>
                <a:lnTo>
                  <a:pt x="4800" y="1435"/>
                </a:lnTo>
                <a:lnTo>
                  <a:pt x="4800" y="1429"/>
                </a:lnTo>
                <a:lnTo>
                  <a:pt x="4800" y="1429"/>
                </a:lnTo>
                <a:lnTo>
                  <a:pt x="4800" y="1429"/>
                </a:lnTo>
                <a:lnTo>
                  <a:pt x="4800" y="1423"/>
                </a:lnTo>
                <a:lnTo>
                  <a:pt x="4800" y="1423"/>
                </a:lnTo>
                <a:lnTo>
                  <a:pt x="4800" y="1423"/>
                </a:lnTo>
                <a:lnTo>
                  <a:pt x="4800" y="1418"/>
                </a:lnTo>
                <a:lnTo>
                  <a:pt x="4800" y="1418"/>
                </a:lnTo>
                <a:lnTo>
                  <a:pt x="4800" y="1418"/>
                </a:lnTo>
                <a:lnTo>
                  <a:pt x="4800" y="1418"/>
                </a:lnTo>
                <a:lnTo>
                  <a:pt x="4806" y="1412"/>
                </a:lnTo>
                <a:lnTo>
                  <a:pt x="4806" y="1412"/>
                </a:lnTo>
                <a:lnTo>
                  <a:pt x="4806" y="1412"/>
                </a:lnTo>
                <a:lnTo>
                  <a:pt x="4806" y="1406"/>
                </a:lnTo>
                <a:lnTo>
                  <a:pt x="4800" y="1406"/>
                </a:lnTo>
                <a:lnTo>
                  <a:pt x="4800" y="1406"/>
                </a:lnTo>
                <a:lnTo>
                  <a:pt x="4800" y="1406"/>
                </a:lnTo>
                <a:lnTo>
                  <a:pt x="4800" y="1406"/>
                </a:lnTo>
                <a:lnTo>
                  <a:pt x="4800" y="1406"/>
                </a:lnTo>
                <a:lnTo>
                  <a:pt x="4800" y="1406"/>
                </a:lnTo>
                <a:lnTo>
                  <a:pt x="4800" y="1406"/>
                </a:lnTo>
                <a:lnTo>
                  <a:pt x="4800" y="1400"/>
                </a:lnTo>
                <a:lnTo>
                  <a:pt x="4800" y="1400"/>
                </a:lnTo>
                <a:lnTo>
                  <a:pt x="4800" y="1400"/>
                </a:lnTo>
                <a:lnTo>
                  <a:pt x="4800" y="1400"/>
                </a:lnTo>
                <a:lnTo>
                  <a:pt x="4800" y="1400"/>
                </a:lnTo>
                <a:lnTo>
                  <a:pt x="4800" y="1406"/>
                </a:lnTo>
                <a:lnTo>
                  <a:pt x="4806" y="1406"/>
                </a:lnTo>
                <a:lnTo>
                  <a:pt x="4806" y="1400"/>
                </a:lnTo>
                <a:lnTo>
                  <a:pt x="4806" y="1400"/>
                </a:lnTo>
                <a:lnTo>
                  <a:pt x="4800" y="1400"/>
                </a:lnTo>
                <a:lnTo>
                  <a:pt x="4800" y="1400"/>
                </a:lnTo>
                <a:lnTo>
                  <a:pt x="4800" y="1400"/>
                </a:lnTo>
                <a:lnTo>
                  <a:pt x="4800" y="1400"/>
                </a:lnTo>
                <a:lnTo>
                  <a:pt x="4800" y="1394"/>
                </a:lnTo>
                <a:lnTo>
                  <a:pt x="4794" y="1394"/>
                </a:lnTo>
                <a:lnTo>
                  <a:pt x="4800" y="1394"/>
                </a:lnTo>
                <a:lnTo>
                  <a:pt x="4800" y="1394"/>
                </a:lnTo>
                <a:lnTo>
                  <a:pt x="4800" y="1394"/>
                </a:lnTo>
                <a:lnTo>
                  <a:pt x="4800" y="1394"/>
                </a:lnTo>
                <a:lnTo>
                  <a:pt x="4806" y="1400"/>
                </a:lnTo>
                <a:lnTo>
                  <a:pt x="4806" y="1400"/>
                </a:lnTo>
                <a:lnTo>
                  <a:pt x="4806" y="1394"/>
                </a:lnTo>
                <a:lnTo>
                  <a:pt x="4806" y="1394"/>
                </a:lnTo>
                <a:lnTo>
                  <a:pt x="4806" y="1394"/>
                </a:lnTo>
                <a:lnTo>
                  <a:pt x="4806" y="1394"/>
                </a:lnTo>
                <a:lnTo>
                  <a:pt x="4806" y="1394"/>
                </a:lnTo>
                <a:lnTo>
                  <a:pt x="4806" y="1388"/>
                </a:lnTo>
                <a:lnTo>
                  <a:pt x="4806" y="1388"/>
                </a:lnTo>
                <a:lnTo>
                  <a:pt x="4800" y="1388"/>
                </a:lnTo>
                <a:lnTo>
                  <a:pt x="4800" y="1388"/>
                </a:lnTo>
                <a:lnTo>
                  <a:pt x="4800" y="1388"/>
                </a:lnTo>
                <a:lnTo>
                  <a:pt x="4800" y="1382"/>
                </a:lnTo>
                <a:lnTo>
                  <a:pt x="4800" y="1382"/>
                </a:lnTo>
                <a:lnTo>
                  <a:pt x="4794" y="1382"/>
                </a:lnTo>
                <a:lnTo>
                  <a:pt x="4794" y="1382"/>
                </a:lnTo>
                <a:lnTo>
                  <a:pt x="4794" y="1382"/>
                </a:lnTo>
                <a:lnTo>
                  <a:pt x="4794" y="1382"/>
                </a:lnTo>
                <a:lnTo>
                  <a:pt x="4794" y="1382"/>
                </a:lnTo>
                <a:lnTo>
                  <a:pt x="4794" y="1376"/>
                </a:lnTo>
                <a:lnTo>
                  <a:pt x="4800" y="1376"/>
                </a:lnTo>
                <a:lnTo>
                  <a:pt x="4800" y="1376"/>
                </a:lnTo>
                <a:lnTo>
                  <a:pt x="4800" y="1382"/>
                </a:lnTo>
                <a:lnTo>
                  <a:pt x="4800" y="1382"/>
                </a:lnTo>
                <a:lnTo>
                  <a:pt x="4800" y="1388"/>
                </a:lnTo>
                <a:lnTo>
                  <a:pt x="4806" y="1388"/>
                </a:lnTo>
                <a:lnTo>
                  <a:pt x="4806" y="1388"/>
                </a:lnTo>
                <a:lnTo>
                  <a:pt x="4806" y="1388"/>
                </a:lnTo>
                <a:lnTo>
                  <a:pt x="4812" y="1388"/>
                </a:lnTo>
                <a:lnTo>
                  <a:pt x="4812" y="1388"/>
                </a:lnTo>
                <a:lnTo>
                  <a:pt x="4812" y="1388"/>
                </a:lnTo>
                <a:lnTo>
                  <a:pt x="4812" y="1388"/>
                </a:lnTo>
                <a:lnTo>
                  <a:pt x="4812" y="1382"/>
                </a:lnTo>
                <a:lnTo>
                  <a:pt x="4812" y="1382"/>
                </a:lnTo>
                <a:lnTo>
                  <a:pt x="4812" y="1382"/>
                </a:lnTo>
                <a:lnTo>
                  <a:pt x="4806" y="1382"/>
                </a:lnTo>
                <a:lnTo>
                  <a:pt x="4806" y="1382"/>
                </a:lnTo>
                <a:lnTo>
                  <a:pt x="4806" y="1382"/>
                </a:lnTo>
                <a:lnTo>
                  <a:pt x="4800" y="1376"/>
                </a:lnTo>
                <a:lnTo>
                  <a:pt x="4800" y="1376"/>
                </a:lnTo>
                <a:lnTo>
                  <a:pt x="4800" y="1376"/>
                </a:lnTo>
                <a:lnTo>
                  <a:pt x="4800" y="1376"/>
                </a:lnTo>
                <a:lnTo>
                  <a:pt x="4800" y="1376"/>
                </a:lnTo>
                <a:lnTo>
                  <a:pt x="4800" y="1376"/>
                </a:lnTo>
                <a:lnTo>
                  <a:pt x="4806" y="1376"/>
                </a:lnTo>
                <a:lnTo>
                  <a:pt x="4806" y="1376"/>
                </a:lnTo>
                <a:lnTo>
                  <a:pt x="4806" y="1376"/>
                </a:lnTo>
                <a:lnTo>
                  <a:pt x="4806" y="1376"/>
                </a:lnTo>
                <a:lnTo>
                  <a:pt x="4806" y="1376"/>
                </a:lnTo>
                <a:lnTo>
                  <a:pt x="4812" y="1376"/>
                </a:lnTo>
                <a:lnTo>
                  <a:pt x="4812" y="1376"/>
                </a:lnTo>
                <a:lnTo>
                  <a:pt x="4812" y="1382"/>
                </a:lnTo>
                <a:lnTo>
                  <a:pt x="4812" y="1376"/>
                </a:lnTo>
                <a:lnTo>
                  <a:pt x="4812" y="1376"/>
                </a:lnTo>
                <a:lnTo>
                  <a:pt x="4812" y="1376"/>
                </a:lnTo>
                <a:lnTo>
                  <a:pt x="4812" y="1370"/>
                </a:lnTo>
                <a:lnTo>
                  <a:pt x="4812" y="1370"/>
                </a:lnTo>
                <a:lnTo>
                  <a:pt x="4806" y="1370"/>
                </a:lnTo>
                <a:lnTo>
                  <a:pt x="4806" y="1364"/>
                </a:lnTo>
                <a:lnTo>
                  <a:pt x="4806" y="1364"/>
                </a:lnTo>
                <a:lnTo>
                  <a:pt x="4806" y="1370"/>
                </a:lnTo>
                <a:lnTo>
                  <a:pt x="4806" y="1364"/>
                </a:lnTo>
                <a:lnTo>
                  <a:pt x="4800" y="1364"/>
                </a:lnTo>
                <a:lnTo>
                  <a:pt x="4800" y="1364"/>
                </a:lnTo>
                <a:lnTo>
                  <a:pt x="4800" y="1364"/>
                </a:lnTo>
                <a:lnTo>
                  <a:pt x="4800" y="1364"/>
                </a:lnTo>
                <a:lnTo>
                  <a:pt x="4800" y="1364"/>
                </a:lnTo>
                <a:lnTo>
                  <a:pt x="4800" y="1364"/>
                </a:lnTo>
                <a:lnTo>
                  <a:pt x="4800" y="1358"/>
                </a:lnTo>
                <a:lnTo>
                  <a:pt x="4800" y="1358"/>
                </a:lnTo>
                <a:lnTo>
                  <a:pt x="4800" y="1358"/>
                </a:lnTo>
                <a:lnTo>
                  <a:pt x="4794" y="1358"/>
                </a:lnTo>
                <a:lnTo>
                  <a:pt x="4794" y="1358"/>
                </a:lnTo>
                <a:lnTo>
                  <a:pt x="4794" y="1358"/>
                </a:lnTo>
                <a:lnTo>
                  <a:pt x="4794" y="1358"/>
                </a:lnTo>
                <a:lnTo>
                  <a:pt x="4794" y="1358"/>
                </a:lnTo>
                <a:lnTo>
                  <a:pt x="4794" y="1352"/>
                </a:lnTo>
                <a:lnTo>
                  <a:pt x="4794" y="1352"/>
                </a:lnTo>
                <a:lnTo>
                  <a:pt x="4794" y="1352"/>
                </a:lnTo>
                <a:lnTo>
                  <a:pt x="4794" y="1352"/>
                </a:lnTo>
                <a:lnTo>
                  <a:pt x="4794" y="1352"/>
                </a:lnTo>
                <a:lnTo>
                  <a:pt x="4794" y="1352"/>
                </a:lnTo>
                <a:lnTo>
                  <a:pt x="4794" y="1352"/>
                </a:lnTo>
                <a:lnTo>
                  <a:pt x="4794" y="1352"/>
                </a:lnTo>
                <a:lnTo>
                  <a:pt x="4794" y="1352"/>
                </a:lnTo>
                <a:lnTo>
                  <a:pt x="4794" y="1352"/>
                </a:lnTo>
                <a:lnTo>
                  <a:pt x="4794" y="1352"/>
                </a:lnTo>
                <a:lnTo>
                  <a:pt x="4800" y="1352"/>
                </a:lnTo>
                <a:lnTo>
                  <a:pt x="4800" y="1358"/>
                </a:lnTo>
                <a:lnTo>
                  <a:pt x="4800" y="1358"/>
                </a:lnTo>
                <a:lnTo>
                  <a:pt x="4800" y="1358"/>
                </a:lnTo>
                <a:lnTo>
                  <a:pt x="4806" y="1358"/>
                </a:lnTo>
                <a:lnTo>
                  <a:pt x="4806" y="1358"/>
                </a:lnTo>
                <a:lnTo>
                  <a:pt x="4806" y="1358"/>
                </a:lnTo>
                <a:lnTo>
                  <a:pt x="4806" y="1364"/>
                </a:lnTo>
                <a:lnTo>
                  <a:pt x="4806" y="1364"/>
                </a:lnTo>
                <a:lnTo>
                  <a:pt x="4806" y="1358"/>
                </a:lnTo>
                <a:lnTo>
                  <a:pt x="4806" y="1358"/>
                </a:lnTo>
                <a:lnTo>
                  <a:pt x="4812" y="1358"/>
                </a:lnTo>
                <a:lnTo>
                  <a:pt x="4812" y="1358"/>
                </a:lnTo>
                <a:lnTo>
                  <a:pt x="4806" y="1358"/>
                </a:lnTo>
                <a:lnTo>
                  <a:pt x="4806" y="1358"/>
                </a:lnTo>
                <a:lnTo>
                  <a:pt x="4806" y="1364"/>
                </a:lnTo>
                <a:lnTo>
                  <a:pt x="4806" y="1364"/>
                </a:lnTo>
                <a:lnTo>
                  <a:pt x="4812" y="1364"/>
                </a:lnTo>
                <a:lnTo>
                  <a:pt x="4812" y="1364"/>
                </a:lnTo>
                <a:lnTo>
                  <a:pt x="4812" y="1358"/>
                </a:lnTo>
                <a:lnTo>
                  <a:pt x="4812" y="1358"/>
                </a:lnTo>
                <a:lnTo>
                  <a:pt x="4812" y="1358"/>
                </a:lnTo>
                <a:lnTo>
                  <a:pt x="4806" y="1352"/>
                </a:lnTo>
                <a:lnTo>
                  <a:pt x="4806" y="1352"/>
                </a:lnTo>
                <a:lnTo>
                  <a:pt x="4806" y="1346"/>
                </a:lnTo>
                <a:lnTo>
                  <a:pt x="4806" y="1346"/>
                </a:lnTo>
                <a:lnTo>
                  <a:pt x="4812" y="1352"/>
                </a:lnTo>
                <a:lnTo>
                  <a:pt x="4812" y="1352"/>
                </a:lnTo>
                <a:lnTo>
                  <a:pt x="4812" y="1352"/>
                </a:lnTo>
                <a:lnTo>
                  <a:pt x="4812" y="1352"/>
                </a:lnTo>
                <a:lnTo>
                  <a:pt x="4812" y="1352"/>
                </a:lnTo>
                <a:lnTo>
                  <a:pt x="4812" y="1352"/>
                </a:lnTo>
                <a:lnTo>
                  <a:pt x="4812" y="1352"/>
                </a:lnTo>
                <a:lnTo>
                  <a:pt x="4812" y="1346"/>
                </a:lnTo>
                <a:lnTo>
                  <a:pt x="4812" y="1346"/>
                </a:lnTo>
                <a:lnTo>
                  <a:pt x="4812" y="1346"/>
                </a:lnTo>
                <a:lnTo>
                  <a:pt x="4812" y="1346"/>
                </a:lnTo>
                <a:lnTo>
                  <a:pt x="4818" y="1346"/>
                </a:lnTo>
                <a:lnTo>
                  <a:pt x="4818" y="1346"/>
                </a:lnTo>
                <a:lnTo>
                  <a:pt x="4818" y="1346"/>
                </a:lnTo>
                <a:lnTo>
                  <a:pt x="4818" y="1346"/>
                </a:lnTo>
                <a:lnTo>
                  <a:pt x="4818" y="1346"/>
                </a:lnTo>
                <a:lnTo>
                  <a:pt x="4818" y="1346"/>
                </a:lnTo>
                <a:lnTo>
                  <a:pt x="4818" y="1346"/>
                </a:lnTo>
                <a:lnTo>
                  <a:pt x="4818" y="1346"/>
                </a:lnTo>
                <a:lnTo>
                  <a:pt x="4818" y="1340"/>
                </a:lnTo>
                <a:lnTo>
                  <a:pt x="4818" y="1340"/>
                </a:lnTo>
                <a:lnTo>
                  <a:pt x="4818" y="1340"/>
                </a:lnTo>
                <a:lnTo>
                  <a:pt x="4818" y="1340"/>
                </a:lnTo>
                <a:lnTo>
                  <a:pt x="4818" y="1340"/>
                </a:lnTo>
                <a:lnTo>
                  <a:pt x="4818" y="1340"/>
                </a:lnTo>
                <a:lnTo>
                  <a:pt x="4812" y="1334"/>
                </a:lnTo>
                <a:lnTo>
                  <a:pt x="4824" y="1334"/>
                </a:lnTo>
                <a:lnTo>
                  <a:pt x="4824" y="1334"/>
                </a:lnTo>
                <a:lnTo>
                  <a:pt x="4824" y="1334"/>
                </a:lnTo>
                <a:lnTo>
                  <a:pt x="4824" y="1340"/>
                </a:lnTo>
                <a:lnTo>
                  <a:pt x="4824" y="1340"/>
                </a:lnTo>
                <a:lnTo>
                  <a:pt x="4824" y="1346"/>
                </a:lnTo>
                <a:lnTo>
                  <a:pt x="4824" y="1346"/>
                </a:lnTo>
                <a:lnTo>
                  <a:pt x="4830" y="1346"/>
                </a:lnTo>
                <a:lnTo>
                  <a:pt x="4830" y="1346"/>
                </a:lnTo>
                <a:lnTo>
                  <a:pt x="4830" y="1340"/>
                </a:lnTo>
                <a:lnTo>
                  <a:pt x="4830" y="1340"/>
                </a:lnTo>
                <a:lnTo>
                  <a:pt x="4830" y="1340"/>
                </a:lnTo>
                <a:lnTo>
                  <a:pt x="4830" y="1340"/>
                </a:lnTo>
                <a:lnTo>
                  <a:pt x="4830" y="1329"/>
                </a:lnTo>
                <a:lnTo>
                  <a:pt x="4830" y="1329"/>
                </a:lnTo>
                <a:lnTo>
                  <a:pt x="4830" y="1329"/>
                </a:lnTo>
                <a:lnTo>
                  <a:pt x="4830" y="1329"/>
                </a:lnTo>
                <a:lnTo>
                  <a:pt x="4830" y="1329"/>
                </a:lnTo>
                <a:lnTo>
                  <a:pt x="4830" y="1329"/>
                </a:lnTo>
                <a:lnTo>
                  <a:pt x="4830" y="1329"/>
                </a:lnTo>
                <a:lnTo>
                  <a:pt x="4830" y="1329"/>
                </a:lnTo>
                <a:lnTo>
                  <a:pt x="4830" y="1329"/>
                </a:lnTo>
                <a:lnTo>
                  <a:pt x="4830" y="1329"/>
                </a:lnTo>
                <a:lnTo>
                  <a:pt x="4830" y="1329"/>
                </a:lnTo>
                <a:lnTo>
                  <a:pt x="4830" y="1329"/>
                </a:lnTo>
                <a:lnTo>
                  <a:pt x="4830" y="1334"/>
                </a:lnTo>
                <a:lnTo>
                  <a:pt x="4830" y="1334"/>
                </a:lnTo>
                <a:lnTo>
                  <a:pt x="4830" y="1340"/>
                </a:lnTo>
                <a:lnTo>
                  <a:pt x="4830" y="1340"/>
                </a:lnTo>
                <a:lnTo>
                  <a:pt x="4830" y="1340"/>
                </a:lnTo>
                <a:lnTo>
                  <a:pt x="4830" y="1340"/>
                </a:lnTo>
                <a:lnTo>
                  <a:pt x="4835" y="1340"/>
                </a:lnTo>
                <a:lnTo>
                  <a:pt x="4841" y="1334"/>
                </a:lnTo>
                <a:lnTo>
                  <a:pt x="4847" y="1329"/>
                </a:lnTo>
                <a:lnTo>
                  <a:pt x="4847" y="1329"/>
                </a:lnTo>
                <a:lnTo>
                  <a:pt x="4847" y="1329"/>
                </a:lnTo>
                <a:lnTo>
                  <a:pt x="4847" y="1329"/>
                </a:lnTo>
                <a:lnTo>
                  <a:pt x="4847" y="1329"/>
                </a:lnTo>
                <a:lnTo>
                  <a:pt x="4841" y="1323"/>
                </a:lnTo>
                <a:lnTo>
                  <a:pt x="4841" y="1323"/>
                </a:lnTo>
                <a:lnTo>
                  <a:pt x="4841" y="1317"/>
                </a:lnTo>
                <a:lnTo>
                  <a:pt x="4847" y="1317"/>
                </a:lnTo>
                <a:lnTo>
                  <a:pt x="4847" y="1317"/>
                </a:lnTo>
                <a:lnTo>
                  <a:pt x="4847" y="1317"/>
                </a:lnTo>
                <a:lnTo>
                  <a:pt x="4847" y="1317"/>
                </a:lnTo>
                <a:lnTo>
                  <a:pt x="4853" y="1317"/>
                </a:lnTo>
                <a:lnTo>
                  <a:pt x="4853" y="1317"/>
                </a:lnTo>
                <a:lnTo>
                  <a:pt x="4853" y="1317"/>
                </a:lnTo>
                <a:lnTo>
                  <a:pt x="4859" y="1311"/>
                </a:lnTo>
                <a:lnTo>
                  <a:pt x="4859" y="1311"/>
                </a:lnTo>
                <a:lnTo>
                  <a:pt x="4859" y="1311"/>
                </a:lnTo>
                <a:lnTo>
                  <a:pt x="4859" y="1311"/>
                </a:lnTo>
                <a:lnTo>
                  <a:pt x="4859" y="1311"/>
                </a:lnTo>
                <a:lnTo>
                  <a:pt x="4859" y="1317"/>
                </a:lnTo>
                <a:lnTo>
                  <a:pt x="4859" y="1317"/>
                </a:lnTo>
                <a:lnTo>
                  <a:pt x="4859" y="1317"/>
                </a:lnTo>
                <a:lnTo>
                  <a:pt x="4859" y="1317"/>
                </a:lnTo>
                <a:lnTo>
                  <a:pt x="4859" y="1317"/>
                </a:lnTo>
                <a:lnTo>
                  <a:pt x="4853" y="1323"/>
                </a:lnTo>
                <a:lnTo>
                  <a:pt x="4853" y="1323"/>
                </a:lnTo>
                <a:lnTo>
                  <a:pt x="4853" y="1323"/>
                </a:lnTo>
                <a:lnTo>
                  <a:pt x="4853" y="1329"/>
                </a:lnTo>
                <a:lnTo>
                  <a:pt x="4853" y="1329"/>
                </a:lnTo>
                <a:lnTo>
                  <a:pt x="4859" y="1329"/>
                </a:lnTo>
                <a:lnTo>
                  <a:pt x="4865" y="1323"/>
                </a:lnTo>
                <a:lnTo>
                  <a:pt x="4865" y="1317"/>
                </a:lnTo>
                <a:lnTo>
                  <a:pt x="4865" y="1317"/>
                </a:lnTo>
                <a:lnTo>
                  <a:pt x="4865" y="1317"/>
                </a:lnTo>
                <a:lnTo>
                  <a:pt x="4865" y="1311"/>
                </a:lnTo>
                <a:lnTo>
                  <a:pt x="4871" y="1311"/>
                </a:lnTo>
                <a:lnTo>
                  <a:pt x="4871" y="1317"/>
                </a:lnTo>
                <a:lnTo>
                  <a:pt x="4865" y="1317"/>
                </a:lnTo>
                <a:lnTo>
                  <a:pt x="4865" y="1317"/>
                </a:lnTo>
                <a:lnTo>
                  <a:pt x="4865" y="1323"/>
                </a:lnTo>
                <a:lnTo>
                  <a:pt x="4865" y="1323"/>
                </a:lnTo>
                <a:lnTo>
                  <a:pt x="4865" y="1323"/>
                </a:lnTo>
                <a:lnTo>
                  <a:pt x="4865" y="1329"/>
                </a:lnTo>
                <a:lnTo>
                  <a:pt x="4871" y="1329"/>
                </a:lnTo>
                <a:lnTo>
                  <a:pt x="4871" y="1329"/>
                </a:lnTo>
                <a:lnTo>
                  <a:pt x="4865" y="1329"/>
                </a:lnTo>
                <a:lnTo>
                  <a:pt x="4859" y="1329"/>
                </a:lnTo>
                <a:lnTo>
                  <a:pt x="4859" y="1329"/>
                </a:lnTo>
                <a:lnTo>
                  <a:pt x="4859" y="1329"/>
                </a:lnTo>
                <a:lnTo>
                  <a:pt x="4859" y="1329"/>
                </a:lnTo>
                <a:lnTo>
                  <a:pt x="4859" y="1329"/>
                </a:lnTo>
                <a:lnTo>
                  <a:pt x="4853" y="1329"/>
                </a:lnTo>
                <a:lnTo>
                  <a:pt x="4853" y="1334"/>
                </a:lnTo>
                <a:lnTo>
                  <a:pt x="4847" y="1334"/>
                </a:lnTo>
                <a:lnTo>
                  <a:pt x="4853" y="1340"/>
                </a:lnTo>
                <a:lnTo>
                  <a:pt x="4853" y="1340"/>
                </a:lnTo>
                <a:lnTo>
                  <a:pt x="4865" y="1340"/>
                </a:lnTo>
                <a:lnTo>
                  <a:pt x="4865" y="1340"/>
                </a:lnTo>
                <a:lnTo>
                  <a:pt x="4865" y="1340"/>
                </a:lnTo>
                <a:lnTo>
                  <a:pt x="4871" y="1340"/>
                </a:lnTo>
                <a:lnTo>
                  <a:pt x="4865" y="1340"/>
                </a:lnTo>
                <a:lnTo>
                  <a:pt x="4865" y="1340"/>
                </a:lnTo>
                <a:lnTo>
                  <a:pt x="4859" y="1340"/>
                </a:lnTo>
                <a:lnTo>
                  <a:pt x="4853" y="1340"/>
                </a:lnTo>
                <a:lnTo>
                  <a:pt x="4853" y="1340"/>
                </a:lnTo>
                <a:lnTo>
                  <a:pt x="4847" y="1340"/>
                </a:lnTo>
                <a:lnTo>
                  <a:pt x="4847" y="1340"/>
                </a:lnTo>
                <a:lnTo>
                  <a:pt x="4841" y="1340"/>
                </a:lnTo>
                <a:lnTo>
                  <a:pt x="4841" y="1340"/>
                </a:lnTo>
                <a:lnTo>
                  <a:pt x="4841" y="1340"/>
                </a:lnTo>
                <a:lnTo>
                  <a:pt x="4841" y="1340"/>
                </a:lnTo>
                <a:lnTo>
                  <a:pt x="4841" y="1340"/>
                </a:lnTo>
                <a:lnTo>
                  <a:pt x="4841" y="1346"/>
                </a:lnTo>
                <a:lnTo>
                  <a:pt x="4841" y="1346"/>
                </a:lnTo>
                <a:lnTo>
                  <a:pt x="4841" y="1346"/>
                </a:lnTo>
                <a:lnTo>
                  <a:pt x="4841" y="1346"/>
                </a:lnTo>
                <a:lnTo>
                  <a:pt x="4841" y="1346"/>
                </a:lnTo>
                <a:lnTo>
                  <a:pt x="4841" y="1346"/>
                </a:lnTo>
                <a:lnTo>
                  <a:pt x="4835" y="1346"/>
                </a:lnTo>
                <a:lnTo>
                  <a:pt x="4835" y="1346"/>
                </a:lnTo>
                <a:lnTo>
                  <a:pt x="4835" y="1346"/>
                </a:lnTo>
                <a:lnTo>
                  <a:pt x="4835" y="1346"/>
                </a:lnTo>
                <a:lnTo>
                  <a:pt x="4835" y="1352"/>
                </a:lnTo>
                <a:lnTo>
                  <a:pt x="4830" y="1352"/>
                </a:lnTo>
                <a:lnTo>
                  <a:pt x="4830" y="1352"/>
                </a:lnTo>
                <a:lnTo>
                  <a:pt x="4830" y="1358"/>
                </a:lnTo>
                <a:lnTo>
                  <a:pt x="4830" y="1364"/>
                </a:lnTo>
                <a:lnTo>
                  <a:pt x="4830" y="1364"/>
                </a:lnTo>
                <a:lnTo>
                  <a:pt x="4824" y="1364"/>
                </a:lnTo>
                <a:lnTo>
                  <a:pt x="4824" y="1364"/>
                </a:lnTo>
                <a:lnTo>
                  <a:pt x="4824" y="1370"/>
                </a:lnTo>
                <a:lnTo>
                  <a:pt x="4830" y="1370"/>
                </a:lnTo>
                <a:lnTo>
                  <a:pt x="4830" y="1370"/>
                </a:lnTo>
                <a:lnTo>
                  <a:pt x="4830" y="1370"/>
                </a:lnTo>
                <a:lnTo>
                  <a:pt x="4830" y="1370"/>
                </a:lnTo>
                <a:lnTo>
                  <a:pt x="4830" y="1376"/>
                </a:lnTo>
                <a:lnTo>
                  <a:pt x="4830" y="1382"/>
                </a:lnTo>
                <a:lnTo>
                  <a:pt x="4830" y="1382"/>
                </a:lnTo>
                <a:lnTo>
                  <a:pt x="4830" y="1382"/>
                </a:lnTo>
                <a:lnTo>
                  <a:pt x="4830" y="1382"/>
                </a:lnTo>
                <a:lnTo>
                  <a:pt x="4830" y="1388"/>
                </a:lnTo>
                <a:lnTo>
                  <a:pt x="4830" y="1388"/>
                </a:lnTo>
                <a:lnTo>
                  <a:pt x="4835" y="1388"/>
                </a:lnTo>
                <a:lnTo>
                  <a:pt x="4835" y="1388"/>
                </a:lnTo>
                <a:lnTo>
                  <a:pt x="4835" y="1382"/>
                </a:lnTo>
                <a:lnTo>
                  <a:pt x="4830" y="1382"/>
                </a:lnTo>
                <a:lnTo>
                  <a:pt x="4830" y="1382"/>
                </a:lnTo>
                <a:lnTo>
                  <a:pt x="4830" y="1382"/>
                </a:lnTo>
                <a:lnTo>
                  <a:pt x="4835" y="1376"/>
                </a:lnTo>
                <a:lnTo>
                  <a:pt x="4835" y="1376"/>
                </a:lnTo>
                <a:lnTo>
                  <a:pt x="4835" y="1376"/>
                </a:lnTo>
                <a:lnTo>
                  <a:pt x="4835" y="1370"/>
                </a:lnTo>
                <a:lnTo>
                  <a:pt x="4841" y="1370"/>
                </a:lnTo>
                <a:lnTo>
                  <a:pt x="4841" y="1370"/>
                </a:lnTo>
                <a:lnTo>
                  <a:pt x="4835" y="1370"/>
                </a:lnTo>
                <a:lnTo>
                  <a:pt x="4841" y="1370"/>
                </a:lnTo>
                <a:lnTo>
                  <a:pt x="4841" y="1370"/>
                </a:lnTo>
                <a:lnTo>
                  <a:pt x="4841" y="1370"/>
                </a:lnTo>
                <a:lnTo>
                  <a:pt x="4841" y="1370"/>
                </a:lnTo>
                <a:lnTo>
                  <a:pt x="4847" y="1370"/>
                </a:lnTo>
                <a:lnTo>
                  <a:pt x="4847" y="1370"/>
                </a:lnTo>
                <a:lnTo>
                  <a:pt x="4847" y="1370"/>
                </a:lnTo>
                <a:lnTo>
                  <a:pt x="4847" y="1370"/>
                </a:lnTo>
                <a:lnTo>
                  <a:pt x="4847" y="1370"/>
                </a:lnTo>
                <a:lnTo>
                  <a:pt x="4841" y="1376"/>
                </a:lnTo>
                <a:lnTo>
                  <a:pt x="4841" y="1376"/>
                </a:lnTo>
                <a:lnTo>
                  <a:pt x="4841" y="1376"/>
                </a:lnTo>
                <a:lnTo>
                  <a:pt x="4841" y="1382"/>
                </a:lnTo>
                <a:lnTo>
                  <a:pt x="4841" y="1382"/>
                </a:lnTo>
                <a:lnTo>
                  <a:pt x="4835" y="1382"/>
                </a:lnTo>
                <a:lnTo>
                  <a:pt x="4835" y="1382"/>
                </a:lnTo>
                <a:lnTo>
                  <a:pt x="4835" y="1382"/>
                </a:lnTo>
                <a:lnTo>
                  <a:pt x="4835" y="1382"/>
                </a:lnTo>
                <a:lnTo>
                  <a:pt x="4835" y="1382"/>
                </a:lnTo>
                <a:lnTo>
                  <a:pt x="4841" y="1382"/>
                </a:lnTo>
                <a:lnTo>
                  <a:pt x="4835" y="1388"/>
                </a:lnTo>
                <a:lnTo>
                  <a:pt x="4835" y="1388"/>
                </a:lnTo>
                <a:lnTo>
                  <a:pt x="4835" y="1388"/>
                </a:lnTo>
                <a:lnTo>
                  <a:pt x="4835" y="1388"/>
                </a:lnTo>
                <a:lnTo>
                  <a:pt x="4830" y="1394"/>
                </a:lnTo>
                <a:lnTo>
                  <a:pt x="4830" y="1388"/>
                </a:lnTo>
                <a:lnTo>
                  <a:pt x="4824" y="1388"/>
                </a:lnTo>
                <a:lnTo>
                  <a:pt x="4824" y="1388"/>
                </a:lnTo>
                <a:lnTo>
                  <a:pt x="4824" y="1388"/>
                </a:lnTo>
                <a:lnTo>
                  <a:pt x="4824" y="1382"/>
                </a:lnTo>
                <a:lnTo>
                  <a:pt x="4824" y="1382"/>
                </a:lnTo>
                <a:lnTo>
                  <a:pt x="4824" y="1382"/>
                </a:lnTo>
                <a:lnTo>
                  <a:pt x="4824" y="1382"/>
                </a:lnTo>
                <a:lnTo>
                  <a:pt x="4824" y="1382"/>
                </a:lnTo>
                <a:lnTo>
                  <a:pt x="4824" y="1388"/>
                </a:lnTo>
                <a:lnTo>
                  <a:pt x="4818" y="1388"/>
                </a:lnTo>
                <a:lnTo>
                  <a:pt x="4818" y="1388"/>
                </a:lnTo>
                <a:lnTo>
                  <a:pt x="4818" y="1388"/>
                </a:lnTo>
                <a:lnTo>
                  <a:pt x="4818" y="1394"/>
                </a:lnTo>
                <a:lnTo>
                  <a:pt x="4818" y="1394"/>
                </a:lnTo>
                <a:lnTo>
                  <a:pt x="4818" y="1400"/>
                </a:lnTo>
                <a:lnTo>
                  <a:pt x="4818" y="1400"/>
                </a:lnTo>
                <a:lnTo>
                  <a:pt x="4818" y="1406"/>
                </a:lnTo>
                <a:lnTo>
                  <a:pt x="4818" y="1406"/>
                </a:lnTo>
                <a:lnTo>
                  <a:pt x="4818" y="1406"/>
                </a:lnTo>
                <a:lnTo>
                  <a:pt x="4818" y="1406"/>
                </a:lnTo>
                <a:lnTo>
                  <a:pt x="4824" y="1406"/>
                </a:lnTo>
                <a:lnTo>
                  <a:pt x="4818" y="1400"/>
                </a:lnTo>
                <a:lnTo>
                  <a:pt x="4818" y="1400"/>
                </a:lnTo>
                <a:lnTo>
                  <a:pt x="4818" y="1400"/>
                </a:lnTo>
                <a:lnTo>
                  <a:pt x="4818" y="1400"/>
                </a:lnTo>
                <a:lnTo>
                  <a:pt x="4818" y="1400"/>
                </a:lnTo>
                <a:lnTo>
                  <a:pt x="4818" y="1400"/>
                </a:lnTo>
                <a:lnTo>
                  <a:pt x="4824" y="1400"/>
                </a:lnTo>
                <a:lnTo>
                  <a:pt x="4824" y="1400"/>
                </a:lnTo>
                <a:lnTo>
                  <a:pt x="4824" y="1400"/>
                </a:lnTo>
                <a:lnTo>
                  <a:pt x="4824" y="1400"/>
                </a:lnTo>
                <a:lnTo>
                  <a:pt x="4824" y="1400"/>
                </a:lnTo>
                <a:lnTo>
                  <a:pt x="4824" y="1400"/>
                </a:lnTo>
                <a:lnTo>
                  <a:pt x="4830" y="1394"/>
                </a:lnTo>
                <a:lnTo>
                  <a:pt x="4830" y="1394"/>
                </a:lnTo>
                <a:lnTo>
                  <a:pt x="4830" y="1394"/>
                </a:lnTo>
                <a:lnTo>
                  <a:pt x="4830" y="1394"/>
                </a:lnTo>
                <a:lnTo>
                  <a:pt x="4830" y="1394"/>
                </a:lnTo>
                <a:lnTo>
                  <a:pt x="4830" y="1394"/>
                </a:lnTo>
                <a:lnTo>
                  <a:pt x="4830" y="1394"/>
                </a:lnTo>
                <a:lnTo>
                  <a:pt x="4830" y="1394"/>
                </a:lnTo>
                <a:lnTo>
                  <a:pt x="4830" y="1394"/>
                </a:lnTo>
                <a:lnTo>
                  <a:pt x="4835" y="1394"/>
                </a:lnTo>
                <a:lnTo>
                  <a:pt x="4835" y="1394"/>
                </a:lnTo>
                <a:lnTo>
                  <a:pt x="4835" y="1400"/>
                </a:lnTo>
                <a:lnTo>
                  <a:pt x="4835" y="1400"/>
                </a:lnTo>
                <a:lnTo>
                  <a:pt x="4835" y="1400"/>
                </a:lnTo>
                <a:lnTo>
                  <a:pt x="4835" y="1400"/>
                </a:lnTo>
                <a:lnTo>
                  <a:pt x="4835" y="1406"/>
                </a:lnTo>
                <a:lnTo>
                  <a:pt x="4835" y="1400"/>
                </a:lnTo>
                <a:lnTo>
                  <a:pt x="4835" y="1400"/>
                </a:lnTo>
                <a:lnTo>
                  <a:pt x="4835" y="1400"/>
                </a:lnTo>
                <a:lnTo>
                  <a:pt x="4835" y="1400"/>
                </a:lnTo>
                <a:lnTo>
                  <a:pt x="4835" y="1400"/>
                </a:lnTo>
                <a:lnTo>
                  <a:pt x="4835" y="1400"/>
                </a:lnTo>
                <a:lnTo>
                  <a:pt x="4835" y="1400"/>
                </a:lnTo>
                <a:lnTo>
                  <a:pt x="4835" y="1400"/>
                </a:lnTo>
                <a:lnTo>
                  <a:pt x="4841" y="1400"/>
                </a:lnTo>
                <a:lnTo>
                  <a:pt x="4841" y="1400"/>
                </a:lnTo>
                <a:lnTo>
                  <a:pt x="4835" y="1400"/>
                </a:lnTo>
                <a:lnTo>
                  <a:pt x="4841" y="1400"/>
                </a:lnTo>
                <a:lnTo>
                  <a:pt x="4841" y="1406"/>
                </a:lnTo>
                <a:lnTo>
                  <a:pt x="4841" y="1406"/>
                </a:lnTo>
                <a:lnTo>
                  <a:pt x="4841" y="1406"/>
                </a:lnTo>
                <a:lnTo>
                  <a:pt x="4835" y="1406"/>
                </a:lnTo>
                <a:lnTo>
                  <a:pt x="4835" y="1406"/>
                </a:lnTo>
                <a:lnTo>
                  <a:pt x="4835" y="1406"/>
                </a:lnTo>
                <a:lnTo>
                  <a:pt x="4835" y="1412"/>
                </a:lnTo>
                <a:lnTo>
                  <a:pt x="4835" y="1418"/>
                </a:lnTo>
                <a:lnTo>
                  <a:pt x="4835" y="1418"/>
                </a:lnTo>
                <a:lnTo>
                  <a:pt x="4841" y="1418"/>
                </a:lnTo>
                <a:lnTo>
                  <a:pt x="4841" y="1412"/>
                </a:lnTo>
                <a:lnTo>
                  <a:pt x="4841" y="1412"/>
                </a:lnTo>
                <a:lnTo>
                  <a:pt x="4841" y="1412"/>
                </a:lnTo>
                <a:lnTo>
                  <a:pt x="4841" y="1412"/>
                </a:lnTo>
                <a:lnTo>
                  <a:pt x="4841" y="1412"/>
                </a:lnTo>
                <a:lnTo>
                  <a:pt x="4841" y="1412"/>
                </a:lnTo>
                <a:lnTo>
                  <a:pt x="4841" y="1418"/>
                </a:lnTo>
                <a:lnTo>
                  <a:pt x="4841" y="1418"/>
                </a:lnTo>
                <a:lnTo>
                  <a:pt x="4841" y="1418"/>
                </a:lnTo>
                <a:lnTo>
                  <a:pt x="4835" y="1418"/>
                </a:lnTo>
                <a:lnTo>
                  <a:pt x="4835" y="1418"/>
                </a:lnTo>
                <a:lnTo>
                  <a:pt x="4835" y="1418"/>
                </a:lnTo>
                <a:lnTo>
                  <a:pt x="4835" y="1418"/>
                </a:lnTo>
                <a:lnTo>
                  <a:pt x="4830" y="1418"/>
                </a:lnTo>
                <a:lnTo>
                  <a:pt x="4830" y="1412"/>
                </a:lnTo>
                <a:lnTo>
                  <a:pt x="4830" y="1412"/>
                </a:lnTo>
                <a:lnTo>
                  <a:pt x="4830" y="1412"/>
                </a:lnTo>
                <a:lnTo>
                  <a:pt x="4830" y="1412"/>
                </a:lnTo>
                <a:lnTo>
                  <a:pt x="4830" y="1412"/>
                </a:lnTo>
                <a:lnTo>
                  <a:pt x="4830" y="1406"/>
                </a:lnTo>
                <a:lnTo>
                  <a:pt x="4830" y="1406"/>
                </a:lnTo>
                <a:lnTo>
                  <a:pt x="4830" y="1406"/>
                </a:lnTo>
                <a:lnTo>
                  <a:pt x="4824" y="1406"/>
                </a:lnTo>
                <a:lnTo>
                  <a:pt x="4824" y="1406"/>
                </a:lnTo>
                <a:lnTo>
                  <a:pt x="4824" y="1412"/>
                </a:lnTo>
                <a:lnTo>
                  <a:pt x="4824" y="1412"/>
                </a:lnTo>
                <a:lnTo>
                  <a:pt x="4824" y="1412"/>
                </a:lnTo>
                <a:lnTo>
                  <a:pt x="4824" y="1412"/>
                </a:lnTo>
                <a:lnTo>
                  <a:pt x="4824" y="1418"/>
                </a:lnTo>
                <a:lnTo>
                  <a:pt x="4818" y="1418"/>
                </a:lnTo>
                <a:lnTo>
                  <a:pt x="4818" y="1423"/>
                </a:lnTo>
                <a:lnTo>
                  <a:pt x="4818" y="1423"/>
                </a:lnTo>
                <a:lnTo>
                  <a:pt x="4818" y="1423"/>
                </a:lnTo>
                <a:lnTo>
                  <a:pt x="4818" y="1429"/>
                </a:lnTo>
                <a:lnTo>
                  <a:pt x="4818" y="1429"/>
                </a:lnTo>
                <a:lnTo>
                  <a:pt x="4818" y="1429"/>
                </a:lnTo>
                <a:lnTo>
                  <a:pt x="4818" y="1429"/>
                </a:lnTo>
                <a:lnTo>
                  <a:pt x="4818" y="1429"/>
                </a:lnTo>
                <a:lnTo>
                  <a:pt x="4824" y="1429"/>
                </a:lnTo>
                <a:lnTo>
                  <a:pt x="4824" y="1429"/>
                </a:lnTo>
                <a:lnTo>
                  <a:pt x="4824" y="1429"/>
                </a:lnTo>
                <a:lnTo>
                  <a:pt x="4824" y="1423"/>
                </a:lnTo>
                <a:lnTo>
                  <a:pt x="4824" y="1423"/>
                </a:lnTo>
                <a:lnTo>
                  <a:pt x="4824" y="1423"/>
                </a:lnTo>
                <a:lnTo>
                  <a:pt x="4824" y="1423"/>
                </a:lnTo>
                <a:lnTo>
                  <a:pt x="4824" y="1418"/>
                </a:lnTo>
                <a:lnTo>
                  <a:pt x="4824" y="1418"/>
                </a:lnTo>
                <a:lnTo>
                  <a:pt x="4824" y="1418"/>
                </a:lnTo>
                <a:lnTo>
                  <a:pt x="4824" y="1418"/>
                </a:lnTo>
                <a:lnTo>
                  <a:pt x="4824" y="1418"/>
                </a:lnTo>
                <a:lnTo>
                  <a:pt x="4824" y="1418"/>
                </a:lnTo>
                <a:lnTo>
                  <a:pt x="4824" y="1418"/>
                </a:lnTo>
                <a:lnTo>
                  <a:pt x="4824" y="1423"/>
                </a:lnTo>
                <a:lnTo>
                  <a:pt x="4824" y="1423"/>
                </a:lnTo>
                <a:lnTo>
                  <a:pt x="4830" y="1423"/>
                </a:lnTo>
                <a:lnTo>
                  <a:pt x="4830" y="1418"/>
                </a:lnTo>
                <a:lnTo>
                  <a:pt x="4830" y="1418"/>
                </a:lnTo>
                <a:lnTo>
                  <a:pt x="4830" y="1418"/>
                </a:lnTo>
                <a:lnTo>
                  <a:pt x="4830" y="1423"/>
                </a:lnTo>
                <a:lnTo>
                  <a:pt x="4835" y="1423"/>
                </a:lnTo>
                <a:lnTo>
                  <a:pt x="4835" y="1423"/>
                </a:lnTo>
                <a:lnTo>
                  <a:pt x="4830" y="1423"/>
                </a:lnTo>
                <a:lnTo>
                  <a:pt x="4830" y="1423"/>
                </a:lnTo>
                <a:lnTo>
                  <a:pt x="4830" y="1423"/>
                </a:lnTo>
                <a:lnTo>
                  <a:pt x="4830" y="1423"/>
                </a:lnTo>
                <a:lnTo>
                  <a:pt x="4830" y="1429"/>
                </a:lnTo>
                <a:lnTo>
                  <a:pt x="4835" y="1429"/>
                </a:lnTo>
                <a:lnTo>
                  <a:pt x="4835" y="1429"/>
                </a:lnTo>
                <a:lnTo>
                  <a:pt x="4835" y="1429"/>
                </a:lnTo>
                <a:lnTo>
                  <a:pt x="4835" y="1423"/>
                </a:lnTo>
                <a:lnTo>
                  <a:pt x="4835" y="1423"/>
                </a:lnTo>
                <a:lnTo>
                  <a:pt x="4835" y="1423"/>
                </a:lnTo>
                <a:lnTo>
                  <a:pt x="4835" y="1423"/>
                </a:lnTo>
                <a:lnTo>
                  <a:pt x="4835" y="1423"/>
                </a:lnTo>
                <a:lnTo>
                  <a:pt x="4835" y="1423"/>
                </a:lnTo>
                <a:lnTo>
                  <a:pt x="4835" y="1423"/>
                </a:lnTo>
                <a:lnTo>
                  <a:pt x="4835" y="1423"/>
                </a:lnTo>
                <a:lnTo>
                  <a:pt x="4835" y="1423"/>
                </a:lnTo>
                <a:lnTo>
                  <a:pt x="4835" y="1423"/>
                </a:lnTo>
                <a:lnTo>
                  <a:pt x="4835" y="1429"/>
                </a:lnTo>
                <a:lnTo>
                  <a:pt x="4835" y="1429"/>
                </a:lnTo>
                <a:lnTo>
                  <a:pt x="4835" y="1429"/>
                </a:lnTo>
                <a:lnTo>
                  <a:pt x="4841" y="1429"/>
                </a:lnTo>
                <a:lnTo>
                  <a:pt x="4841" y="1429"/>
                </a:lnTo>
                <a:lnTo>
                  <a:pt x="4841" y="1429"/>
                </a:lnTo>
                <a:lnTo>
                  <a:pt x="4841" y="1429"/>
                </a:lnTo>
                <a:lnTo>
                  <a:pt x="4841" y="1429"/>
                </a:lnTo>
                <a:lnTo>
                  <a:pt x="4841" y="1429"/>
                </a:lnTo>
                <a:lnTo>
                  <a:pt x="4841" y="1429"/>
                </a:lnTo>
                <a:lnTo>
                  <a:pt x="4841" y="1429"/>
                </a:lnTo>
                <a:lnTo>
                  <a:pt x="4841" y="1429"/>
                </a:lnTo>
                <a:lnTo>
                  <a:pt x="4841" y="1429"/>
                </a:lnTo>
                <a:lnTo>
                  <a:pt x="4835" y="1429"/>
                </a:lnTo>
                <a:lnTo>
                  <a:pt x="4835" y="1429"/>
                </a:lnTo>
                <a:lnTo>
                  <a:pt x="4841" y="1435"/>
                </a:lnTo>
                <a:lnTo>
                  <a:pt x="4841" y="1435"/>
                </a:lnTo>
                <a:lnTo>
                  <a:pt x="4841" y="1429"/>
                </a:lnTo>
                <a:lnTo>
                  <a:pt x="4841" y="1429"/>
                </a:lnTo>
                <a:lnTo>
                  <a:pt x="4841" y="1435"/>
                </a:lnTo>
                <a:lnTo>
                  <a:pt x="4847" y="1435"/>
                </a:lnTo>
                <a:lnTo>
                  <a:pt x="4847" y="1435"/>
                </a:lnTo>
                <a:lnTo>
                  <a:pt x="4847" y="1441"/>
                </a:lnTo>
                <a:lnTo>
                  <a:pt x="4853" y="1441"/>
                </a:lnTo>
                <a:lnTo>
                  <a:pt x="4853" y="1441"/>
                </a:lnTo>
                <a:lnTo>
                  <a:pt x="4853" y="1441"/>
                </a:lnTo>
                <a:lnTo>
                  <a:pt x="4853" y="1435"/>
                </a:lnTo>
                <a:lnTo>
                  <a:pt x="4853" y="1435"/>
                </a:lnTo>
                <a:lnTo>
                  <a:pt x="4859" y="1429"/>
                </a:lnTo>
                <a:lnTo>
                  <a:pt x="4859" y="1429"/>
                </a:lnTo>
                <a:lnTo>
                  <a:pt x="4859" y="1429"/>
                </a:lnTo>
                <a:lnTo>
                  <a:pt x="4859" y="1429"/>
                </a:lnTo>
                <a:lnTo>
                  <a:pt x="4859" y="1435"/>
                </a:lnTo>
                <a:lnTo>
                  <a:pt x="4859" y="1435"/>
                </a:lnTo>
                <a:lnTo>
                  <a:pt x="4853" y="1435"/>
                </a:lnTo>
                <a:lnTo>
                  <a:pt x="4853" y="1441"/>
                </a:lnTo>
                <a:lnTo>
                  <a:pt x="4853" y="1441"/>
                </a:lnTo>
                <a:lnTo>
                  <a:pt x="4853" y="1441"/>
                </a:lnTo>
                <a:lnTo>
                  <a:pt x="4853" y="1441"/>
                </a:lnTo>
                <a:lnTo>
                  <a:pt x="4853" y="1441"/>
                </a:lnTo>
                <a:lnTo>
                  <a:pt x="4847" y="1441"/>
                </a:lnTo>
                <a:lnTo>
                  <a:pt x="4847" y="1441"/>
                </a:lnTo>
                <a:lnTo>
                  <a:pt x="4841" y="1441"/>
                </a:lnTo>
                <a:lnTo>
                  <a:pt x="4841" y="1441"/>
                </a:lnTo>
                <a:lnTo>
                  <a:pt x="4841" y="1435"/>
                </a:lnTo>
                <a:lnTo>
                  <a:pt x="4841" y="1435"/>
                </a:lnTo>
                <a:lnTo>
                  <a:pt x="4835" y="1441"/>
                </a:lnTo>
                <a:lnTo>
                  <a:pt x="4835" y="1435"/>
                </a:lnTo>
                <a:lnTo>
                  <a:pt x="4835" y="1435"/>
                </a:lnTo>
                <a:lnTo>
                  <a:pt x="4835" y="1435"/>
                </a:lnTo>
                <a:lnTo>
                  <a:pt x="4835" y="1435"/>
                </a:lnTo>
                <a:lnTo>
                  <a:pt x="4835" y="1435"/>
                </a:lnTo>
                <a:lnTo>
                  <a:pt x="4835" y="1435"/>
                </a:lnTo>
                <a:lnTo>
                  <a:pt x="4830" y="1435"/>
                </a:lnTo>
                <a:lnTo>
                  <a:pt x="4830" y="1435"/>
                </a:lnTo>
                <a:lnTo>
                  <a:pt x="4824" y="1435"/>
                </a:lnTo>
                <a:lnTo>
                  <a:pt x="4824" y="1435"/>
                </a:lnTo>
                <a:lnTo>
                  <a:pt x="4830" y="1435"/>
                </a:lnTo>
                <a:lnTo>
                  <a:pt x="4830" y="1435"/>
                </a:lnTo>
                <a:lnTo>
                  <a:pt x="4830" y="1441"/>
                </a:lnTo>
                <a:lnTo>
                  <a:pt x="4830" y="1441"/>
                </a:lnTo>
                <a:lnTo>
                  <a:pt x="4830" y="1441"/>
                </a:lnTo>
                <a:lnTo>
                  <a:pt x="4824" y="1441"/>
                </a:lnTo>
                <a:lnTo>
                  <a:pt x="4824" y="1441"/>
                </a:lnTo>
                <a:lnTo>
                  <a:pt x="4824" y="1441"/>
                </a:lnTo>
                <a:lnTo>
                  <a:pt x="4824" y="1447"/>
                </a:lnTo>
                <a:lnTo>
                  <a:pt x="4830" y="1447"/>
                </a:lnTo>
                <a:lnTo>
                  <a:pt x="4830" y="1441"/>
                </a:lnTo>
                <a:lnTo>
                  <a:pt x="4830" y="1441"/>
                </a:lnTo>
                <a:lnTo>
                  <a:pt x="4830" y="1441"/>
                </a:lnTo>
                <a:lnTo>
                  <a:pt x="4830" y="1441"/>
                </a:lnTo>
                <a:lnTo>
                  <a:pt x="4830" y="1441"/>
                </a:lnTo>
                <a:lnTo>
                  <a:pt x="4830" y="1441"/>
                </a:lnTo>
                <a:lnTo>
                  <a:pt x="4835" y="1441"/>
                </a:lnTo>
                <a:lnTo>
                  <a:pt x="4835" y="1441"/>
                </a:lnTo>
                <a:lnTo>
                  <a:pt x="4835" y="1441"/>
                </a:lnTo>
                <a:lnTo>
                  <a:pt x="4835" y="1441"/>
                </a:lnTo>
                <a:lnTo>
                  <a:pt x="4835" y="1441"/>
                </a:lnTo>
                <a:lnTo>
                  <a:pt x="4835" y="1441"/>
                </a:lnTo>
                <a:lnTo>
                  <a:pt x="4835" y="1441"/>
                </a:lnTo>
                <a:lnTo>
                  <a:pt x="4835" y="1441"/>
                </a:lnTo>
                <a:lnTo>
                  <a:pt x="4835" y="1441"/>
                </a:lnTo>
                <a:lnTo>
                  <a:pt x="4835" y="1447"/>
                </a:lnTo>
                <a:lnTo>
                  <a:pt x="4835" y="1447"/>
                </a:lnTo>
                <a:lnTo>
                  <a:pt x="4835" y="1447"/>
                </a:lnTo>
                <a:lnTo>
                  <a:pt x="4835" y="1447"/>
                </a:lnTo>
                <a:lnTo>
                  <a:pt x="4835" y="1447"/>
                </a:lnTo>
                <a:lnTo>
                  <a:pt x="4835" y="1447"/>
                </a:lnTo>
                <a:lnTo>
                  <a:pt x="4830" y="1447"/>
                </a:lnTo>
                <a:lnTo>
                  <a:pt x="4830" y="1447"/>
                </a:lnTo>
                <a:lnTo>
                  <a:pt x="4830" y="1453"/>
                </a:lnTo>
                <a:lnTo>
                  <a:pt x="4830" y="1453"/>
                </a:lnTo>
                <a:lnTo>
                  <a:pt x="4830" y="1453"/>
                </a:lnTo>
                <a:lnTo>
                  <a:pt x="4830" y="1453"/>
                </a:lnTo>
                <a:lnTo>
                  <a:pt x="4830" y="1459"/>
                </a:lnTo>
                <a:lnTo>
                  <a:pt x="4824" y="1453"/>
                </a:lnTo>
                <a:lnTo>
                  <a:pt x="4824" y="1453"/>
                </a:lnTo>
                <a:lnTo>
                  <a:pt x="4824" y="1453"/>
                </a:lnTo>
                <a:lnTo>
                  <a:pt x="4824" y="1453"/>
                </a:lnTo>
                <a:lnTo>
                  <a:pt x="4824" y="1453"/>
                </a:lnTo>
                <a:lnTo>
                  <a:pt x="4824" y="1453"/>
                </a:lnTo>
                <a:lnTo>
                  <a:pt x="4824" y="1453"/>
                </a:lnTo>
                <a:lnTo>
                  <a:pt x="4824" y="1453"/>
                </a:lnTo>
                <a:lnTo>
                  <a:pt x="4824" y="1453"/>
                </a:lnTo>
                <a:lnTo>
                  <a:pt x="4824" y="1459"/>
                </a:lnTo>
                <a:lnTo>
                  <a:pt x="4824" y="1459"/>
                </a:lnTo>
                <a:lnTo>
                  <a:pt x="4824" y="1459"/>
                </a:lnTo>
                <a:lnTo>
                  <a:pt x="4824" y="1459"/>
                </a:lnTo>
                <a:lnTo>
                  <a:pt x="4824" y="1459"/>
                </a:lnTo>
                <a:lnTo>
                  <a:pt x="4824" y="1459"/>
                </a:lnTo>
                <a:lnTo>
                  <a:pt x="4824" y="1465"/>
                </a:lnTo>
                <a:lnTo>
                  <a:pt x="4824" y="1465"/>
                </a:lnTo>
                <a:lnTo>
                  <a:pt x="4830" y="1471"/>
                </a:lnTo>
                <a:lnTo>
                  <a:pt x="4830" y="1471"/>
                </a:lnTo>
                <a:lnTo>
                  <a:pt x="4830" y="1471"/>
                </a:lnTo>
                <a:lnTo>
                  <a:pt x="4830" y="1477"/>
                </a:lnTo>
                <a:lnTo>
                  <a:pt x="4830" y="1477"/>
                </a:lnTo>
                <a:lnTo>
                  <a:pt x="4835" y="1471"/>
                </a:lnTo>
                <a:lnTo>
                  <a:pt x="4830" y="1465"/>
                </a:lnTo>
                <a:lnTo>
                  <a:pt x="4830" y="1465"/>
                </a:lnTo>
                <a:lnTo>
                  <a:pt x="4835" y="1465"/>
                </a:lnTo>
                <a:lnTo>
                  <a:pt x="4835" y="1465"/>
                </a:lnTo>
                <a:lnTo>
                  <a:pt x="4841" y="1477"/>
                </a:lnTo>
                <a:lnTo>
                  <a:pt x="4841" y="1477"/>
                </a:lnTo>
                <a:lnTo>
                  <a:pt x="4841" y="1477"/>
                </a:lnTo>
                <a:lnTo>
                  <a:pt x="4841" y="1477"/>
                </a:lnTo>
                <a:lnTo>
                  <a:pt x="4841" y="1477"/>
                </a:lnTo>
                <a:lnTo>
                  <a:pt x="4847" y="1477"/>
                </a:lnTo>
                <a:lnTo>
                  <a:pt x="4847" y="1483"/>
                </a:lnTo>
                <a:lnTo>
                  <a:pt x="4847" y="1483"/>
                </a:lnTo>
                <a:lnTo>
                  <a:pt x="4847" y="1489"/>
                </a:lnTo>
                <a:lnTo>
                  <a:pt x="4853" y="1483"/>
                </a:lnTo>
                <a:lnTo>
                  <a:pt x="4853" y="1483"/>
                </a:lnTo>
                <a:lnTo>
                  <a:pt x="4853" y="1483"/>
                </a:lnTo>
                <a:lnTo>
                  <a:pt x="4853" y="1477"/>
                </a:lnTo>
                <a:lnTo>
                  <a:pt x="4853" y="1477"/>
                </a:lnTo>
                <a:lnTo>
                  <a:pt x="4853" y="1477"/>
                </a:lnTo>
                <a:lnTo>
                  <a:pt x="4853" y="1477"/>
                </a:lnTo>
                <a:lnTo>
                  <a:pt x="4847" y="1477"/>
                </a:lnTo>
                <a:lnTo>
                  <a:pt x="4847" y="1477"/>
                </a:lnTo>
                <a:lnTo>
                  <a:pt x="4853" y="1471"/>
                </a:lnTo>
                <a:lnTo>
                  <a:pt x="4853" y="1471"/>
                </a:lnTo>
                <a:lnTo>
                  <a:pt x="4853" y="1471"/>
                </a:lnTo>
                <a:lnTo>
                  <a:pt x="4859" y="1465"/>
                </a:lnTo>
                <a:lnTo>
                  <a:pt x="4859" y="1471"/>
                </a:lnTo>
                <a:lnTo>
                  <a:pt x="4859" y="1471"/>
                </a:lnTo>
                <a:lnTo>
                  <a:pt x="4859" y="1471"/>
                </a:lnTo>
                <a:lnTo>
                  <a:pt x="4853" y="1477"/>
                </a:lnTo>
                <a:lnTo>
                  <a:pt x="4853" y="1477"/>
                </a:lnTo>
                <a:lnTo>
                  <a:pt x="4853" y="1477"/>
                </a:lnTo>
                <a:lnTo>
                  <a:pt x="4853" y="1477"/>
                </a:lnTo>
                <a:lnTo>
                  <a:pt x="4853" y="1477"/>
                </a:lnTo>
                <a:lnTo>
                  <a:pt x="4853" y="1477"/>
                </a:lnTo>
                <a:lnTo>
                  <a:pt x="4859" y="1477"/>
                </a:lnTo>
                <a:lnTo>
                  <a:pt x="4859" y="1483"/>
                </a:lnTo>
                <a:lnTo>
                  <a:pt x="4859" y="1483"/>
                </a:lnTo>
                <a:lnTo>
                  <a:pt x="4859" y="1483"/>
                </a:lnTo>
                <a:lnTo>
                  <a:pt x="4859" y="1483"/>
                </a:lnTo>
                <a:lnTo>
                  <a:pt x="4859" y="1483"/>
                </a:lnTo>
                <a:lnTo>
                  <a:pt x="4859" y="1483"/>
                </a:lnTo>
                <a:lnTo>
                  <a:pt x="4859" y="1483"/>
                </a:lnTo>
                <a:lnTo>
                  <a:pt x="4859" y="1477"/>
                </a:lnTo>
                <a:lnTo>
                  <a:pt x="4859" y="1477"/>
                </a:lnTo>
                <a:lnTo>
                  <a:pt x="4865" y="1471"/>
                </a:lnTo>
                <a:lnTo>
                  <a:pt x="4865" y="1471"/>
                </a:lnTo>
                <a:lnTo>
                  <a:pt x="4865" y="1465"/>
                </a:lnTo>
                <a:lnTo>
                  <a:pt x="4865" y="1465"/>
                </a:lnTo>
                <a:lnTo>
                  <a:pt x="4865" y="1465"/>
                </a:lnTo>
                <a:lnTo>
                  <a:pt x="4865" y="1465"/>
                </a:lnTo>
                <a:lnTo>
                  <a:pt x="4865" y="1465"/>
                </a:lnTo>
                <a:lnTo>
                  <a:pt x="4871" y="1465"/>
                </a:lnTo>
                <a:lnTo>
                  <a:pt x="4871" y="1465"/>
                </a:lnTo>
                <a:lnTo>
                  <a:pt x="4871" y="1465"/>
                </a:lnTo>
                <a:lnTo>
                  <a:pt x="4871" y="1465"/>
                </a:lnTo>
                <a:lnTo>
                  <a:pt x="4871" y="1465"/>
                </a:lnTo>
                <a:lnTo>
                  <a:pt x="4871" y="1465"/>
                </a:lnTo>
                <a:lnTo>
                  <a:pt x="4865" y="1471"/>
                </a:lnTo>
                <a:lnTo>
                  <a:pt x="4865" y="1471"/>
                </a:lnTo>
                <a:lnTo>
                  <a:pt x="4865" y="1477"/>
                </a:lnTo>
                <a:lnTo>
                  <a:pt x="4865" y="1477"/>
                </a:lnTo>
                <a:lnTo>
                  <a:pt x="4865" y="1477"/>
                </a:lnTo>
                <a:lnTo>
                  <a:pt x="4865" y="1477"/>
                </a:lnTo>
                <a:lnTo>
                  <a:pt x="4865" y="1483"/>
                </a:lnTo>
                <a:lnTo>
                  <a:pt x="4865" y="1483"/>
                </a:lnTo>
                <a:lnTo>
                  <a:pt x="4865" y="1483"/>
                </a:lnTo>
                <a:lnTo>
                  <a:pt x="4865" y="1483"/>
                </a:lnTo>
                <a:lnTo>
                  <a:pt x="4865" y="1483"/>
                </a:lnTo>
                <a:lnTo>
                  <a:pt x="4871" y="1483"/>
                </a:lnTo>
                <a:lnTo>
                  <a:pt x="4871" y="1483"/>
                </a:lnTo>
                <a:lnTo>
                  <a:pt x="4871" y="1483"/>
                </a:lnTo>
                <a:lnTo>
                  <a:pt x="4871" y="1483"/>
                </a:lnTo>
                <a:lnTo>
                  <a:pt x="4865" y="1489"/>
                </a:lnTo>
                <a:lnTo>
                  <a:pt x="4865" y="1489"/>
                </a:lnTo>
                <a:lnTo>
                  <a:pt x="4859" y="1489"/>
                </a:lnTo>
                <a:lnTo>
                  <a:pt x="4859" y="1495"/>
                </a:lnTo>
                <a:lnTo>
                  <a:pt x="4859" y="1501"/>
                </a:lnTo>
                <a:lnTo>
                  <a:pt x="4859" y="1501"/>
                </a:lnTo>
                <a:lnTo>
                  <a:pt x="4859" y="1501"/>
                </a:lnTo>
                <a:lnTo>
                  <a:pt x="4859" y="1501"/>
                </a:lnTo>
                <a:lnTo>
                  <a:pt x="4859" y="1501"/>
                </a:lnTo>
                <a:lnTo>
                  <a:pt x="4859" y="1501"/>
                </a:lnTo>
                <a:lnTo>
                  <a:pt x="4859" y="1501"/>
                </a:lnTo>
                <a:lnTo>
                  <a:pt x="4859" y="1495"/>
                </a:lnTo>
                <a:lnTo>
                  <a:pt x="4859" y="1495"/>
                </a:lnTo>
                <a:lnTo>
                  <a:pt x="4859" y="1495"/>
                </a:lnTo>
                <a:lnTo>
                  <a:pt x="4865" y="1495"/>
                </a:lnTo>
                <a:lnTo>
                  <a:pt x="4865" y="1495"/>
                </a:lnTo>
                <a:lnTo>
                  <a:pt x="4871" y="1495"/>
                </a:lnTo>
                <a:lnTo>
                  <a:pt x="4871" y="1495"/>
                </a:lnTo>
                <a:lnTo>
                  <a:pt x="4871" y="1495"/>
                </a:lnTo>
                <a:lnTo>
                  <a:pt x="4871" y="1495"/>
                </a:lnTo>
                <a:lnTo>
                  <a:pt x="4871" y="1495"/>
                </a:lnTo>
                <a:lnTo>
                  <a:pt x="4871" y="1495"/>
                </a:lnTo>
                <a:lnTo>
                  <a:pt x="4877" y="1495"/>
                </a:lnTo>
                <a:lnTo>
                  <a:pt x="4877" y="1495"/>
                </a:lnTo>
                <a:lnTo>
                  <a:pt x="4877" y="1495"/>
                </a:lnTo>
                <a:lnTo>
                  <a:pt x="4877" y="1495"/>
                </a:lnTo>
                <a:lnTo>
                  <a:pt x="4877" y="1495"/>
                </a:lnTo>
                <a:lnTo>
                  <a:pt x="4871" y="1501"/>
                </a:lnTo>
                <a:lnTo>
                  <a:pt x="4871" y="1501"/>
                </a:lnTo>
                <a:lnTo>
                  <a:pt x="4871" y="1501"/>
                </a:lnTo>
                <a:lnTo>
                  <a:pt x="4871" y="1501"/>
                </a:lnTo>
                <a:lnTo>
                  <a:pt x="4871" y="1501"/>
                </a:lnTo>
                <a:lnTo>
                  <a:pt x="4871" y="1501"/>
                </a:lnTo>
                <a:lnTo>
                  <a:pt x="4871" y="1501"/>
                </a:lnTo>
                <a:lnTo>
                  <a:pt x="4871" y="1501"/>
                </a:lnTo>
                <a:lnTo>
                  <a:pt x="4871" y="1501"/>
                </a:lnTo>
                <a:lnTo>
                  <a:pt x="4865" y="1501"/>
                </a:lnTo>
                <a:lnTo>
                  <a:pt x="4865" y="1506"/>
                </a:lnTo>
                <a:lnTo>
                  <a:pt x="4871" y="1506"/>
                </a:lnTo>
                <a:lnTo>
                  <a:pt x="4871" y="1506"/>
                </a:lnTo>
                <a:lnTo>
                  <a:pt x="4871" y="1506"/>
                </a:lnTo>
                <a:lnTo>
                  <a:pt x="4871" y="1506"/>
                </a:lnTo>
                <a:lnTo>
                  <a:pt x="4871" y="1506"/>
                </a:lnTo>
                <a:lnTo>
                  <a:pt x="4871" y="1506"/>
                </a:lnTo>
                <a:lnTo>
                  <a:pt x="4871" y="1506"/>
                </a:lnTo>
                <a:lnTo>
                  <a:pt x="4871" y="1506"/>
                </a:lnTo>
                <a:lnTo>
                  <a:pt x="4877" y="1501"/>
                </a:lnTo>
                <a:lnTo>
                  <a:pt x="4877" y="1501"/>
                </a:lnTo>
                <a:lnTo>
                  <a:pt x="4877" y="1501"/>
                </a:lnTo>
                <a:lnTo>
                  <a:pt x="4877" y="1501"/>
                </a:lnTo>
                <a:lnTo>
                  <a:pt x="4877" y="1501"/>
                </a:lnTo>
                <a:lnTo>
                  <a:pt x="4877" y="1501"/>
                </a:lnTo>
                <a:lnTo>
                  <a:pt x="4877" y="1501"/>
                </a:lnTo>
                <a:lnTo>
                  <a:pt x="4877" y="1501"/>
                </a:lnTo>
                <a:lnTo>
                  <a:pt x="4877" y="1501"/>
                </a:lnTo>
                <a:lnTo>
                  <a:pt x="4877" y="1501"/>
                </a:lnTo>
                <a:lnTo>
                  <a:pt x="4877" y="1506"/>
                </a:lnTo>
                <a:lnTo>
                  <a:pt x="4871" y="1506"/>
                </a:lnTo>
                <a:lnTo>
                  <a:pt x="4871" y="1506"/>
                </a:lnTo>
                <a:lnTo>
                  <a:pt x="4871" y="1506"/>
                </a:lnTo>
                <a:lnTo>
                  <a:pt x="4871" y="1512"/>
                </a:lnTo>
                <a:lnTo>
                  <a:pt x="4871" y="1512"/>
                </a:lnTo>
                <a:lnTo>
                  <a:pt x="4865" y="1512"/>
                </a:lnTo>
                <a:lnTo>
                  <a:pt x="4865" y="1512"/>
                </a:lnTo>
                <a:lnTo>
                  <a:pt x="4865" y="1518"/>
                </a:lnTo>
                <a:lnTo>
                  <a:pt x="4865" y="1518"/>
                </a:lnTo>
                <a:lnTo>
                  <a:pt x="4865" y="1518"/>
                </a:lnTo>
                <a:lnTo>
                  <a:pt x="4865" y="1518"/>
                </a:lnTo>
                <a:lnTo>
                  <a:pt x="4865" y="1518"/>
                </a:lnTo>
                <a:lnTo>
                  <a:pt x="4865" y="1518"/>
                </a:lnTo>
                <a:lnTo>
                  <a:pt x="4865" y="1518"/>
                </a:lnTo>
                <a:lnTo>
                  <a:pt x="4865" y="1518"/>
                </a:lnTo>
                <a:lnTo>
                  <a:pt x="4865" y="1518"/>
                </a:lnTo>
                <a:lnTo>
                  <a:pt x="4865" y="1518"/>
                </a:lnTo>
                <a:lnTo>
                  <a:pt x="4865" y="1518"/>
                </a:lnTo>
                <a:lnTo>
                  <a:pt x="4865" y="1518"/>
                </a:lnTo>
                <a:lnTo>
                  <a:pt x="4865" y="1518"/>
                </a:lnTo>
                <a:lnTo>
                  <a:pt x="4865" y="1518"/>
                </a:lnTo>
                <a:lnTo>
                  <a:pt x="4871" y="1518"/>
                </a:lnTo>
                <a:lnTo>
                  <a:pt x="4871" y="1518"/>
                </a:lnTo>
                <a:lnTo>
                  <a:pt x="4871" y="1518"/>
                </a:lnTo>
                <a:lnTo>
                  <a:pt x="4871" y="1518"/>
                </a:lnTo>
                <a:lnTo>
                  <a:pt x="4865" y="1518"/>
                </a:lnTo>
                <a:lnTo>
                  <a:pt x="4865" y="1518"/>
                </a:lnTo>
                <a:lnTo>
                  <a:pt x="4865" y="1518"/>
                </a:lnTo>
                <a:lnTo>
                  <a:pt x="4865" y="1524"/>
                </a:lnTo>
                <a:lnTo>
                  <a:pt x="4865" y="1524"/>
                </a:lnTo>
                <a:lnTo>
                  <a:pt x="4865" y="1524"/>
                </a:lnTo>
                <a:lnTo>
                  <a:pt x="4865" y="1524"/>
                </a:lnTo>
                <a:lnTo>
                  <a:pt x="4865" y="1524"/>
                </a:lnTo>
                <a:lnTo>
                  <a:pt x="4865" y="1524"/>
                </a:lnTo>
                <a:lnTo>
                  <a:pt x="4871" y="1524"/>
                </a:lnTo>
                <a:lnTo>
                  <a:pt x="4871" y="1518"/>
                </a:lnTo>
                <a:lnTo>
                  <a:pt x="4877" y="1518"/>
                </a:lnTo>
                <a:lnTo>
                  <a:pt x="4877" y="1518"/>
                </a:lnTo>
                <a:lnTo>
                  <a:pt x="4877" y="1518"/>
                </a:lnTo>
                <a:lnTo>
                  <a:pt x="4877" y="1518"/>
                </a:lnTo>
                <a:lnTo>
                  <a:pt x="4883" y="1518"/>
                </a:lnTo>
                <a:lnTo>
                  <a:pt x="4889" y="1518"/>
                </a:lnTo>
                <a:lnTo>
                  <a:pt x="4889" y="1518"/>
                </a:lnTo>
                <a:lnTo>
                  <a:pt x="4889" y="1524"/>
                </a:lnTo>
                <a:lnTo>
                  <a:pt x="4889" y="1524"/>
                </a:lnTo>
                <a:lnTo>
                  <a:pt x="4883" y="1524"/>
                </a:lnTo>
                <a:lnTo>
                  <a:pt x="4883" y="1524"/>
                </a:lnTo>
                <a:lnTo>
                  <a:pt x="4883" y="1524"/>
                </a:lnTo>
                <a:lnTo>
                  <a:pt x="4883" y="1524"/>
                </a:lnTo>
                <a:lnTo>
                  <a:pt x="4877" y="1524"/>
                </a:lnTo>
                <a:lnTo>
                  <a:pt x="4877" y="1524"/>
                </a:lnTo>
                <a:lnTo>
                  <a:pt x="4877" y="1524"/>
                </a:lnTo>
                <a:lnTo>
                  <a:pt x="4883" y="1524"/>
                </a:lnTo>
                <a:lnTo>
                  <a:pt x="4883" y="1524"/>
                </a:lnTo>
                <a:lnTo>
                  <a:pt x="4883" y="1530"/>
                </a:lnTo>
                <a:lnTo>
                  <a:pt x="4889" y="1530"/>
                </a:lnTo>
                <a:lnTo>
                  <a:pt x="4889" y="1530"/>
                </a:lnTo>
                <a:lnTo>
                  <a:pt x="4883" y="1530"/>
                </a:lnTo>
                <a:lnTo>
                  <a:pt x="4883" y="1530"/>
                </a:lnTo>
                <a:lnTo>
                  <a:pt x="4883" y="1530"/>
                </a:lnTo>
                <a:lnTo>
                  <a:pt x="4889" y="1530"/>
                </a:lnTo>
                <a:lnTo>
                  <a:pt x="4889" y="1536"/>
                </a:lnTo>
                <a:lnTo>
                  <a:pt x="4889" y="1536"/>
                </a:lnTo>
                <a:lnTo>
                  <a:pt x="4889" y="1536"/>
                </a:lnTo>
                <a:lnTo>
                  <a:pt x="4889" y="1536"/>
                </a:lnTo>
                <a:lnTo>
                  <a:pt x="4883" y="1536"/>
                </a:lnTo>
                <a:lnTo>
                  <a:pt x="4883" y="1536"/>
                </a:lnTo>
                <a:lnTo>
                  <a:pt x="4883" y="1536"/>
                </a:lnTo>
                <a:lnTo>
                  <a:pt x="4883" y="1536"/>
                </a:lnTo>
                <a:lnTo>
                  <a:pt x="4883" y="1536"/>
                </a:lnTo>
                <a:lnTo>
                  <a:pt x="4883" y="1536"/>
                </a:lnTo>
                <a:lnTo>
                  <a:pt x="4883" y="1542"/>
                </a:lnTo>
                <a:lnTo>
                  <a:pt x="4883" y="1542"/>
                </a:lnTo>
                <a:lnTo>
                  <a:pt x="4877" y="1542"/>
                </a:lnTo>
                <a:lnTo>
                  <a:pt x="4877" y="1542"/>
                </a:lnTo>
                <a:lnTo>
                  <a:pt x="4877" y="1542"/>
                </a:lnTo>
                <a:lnTo>
                  <a:pt x="4877" y="1542"/>
                </a:lnTo>
                <a:lnTo>
                  <a:pt x="4877" y="1542"/>
                </a:lnTo>
                <a:lnTo>
                  <a:pt x="4871" y="1542"/>
                </a:lnTo>
                <a:lnTo>
                  <a:pt x="4877" y="1542"/>
                </a:lnTo>
                <a:lnTo>
                  <a:pt x="4877" y="1542"/>
                </a:lnTo>
                <a:lnTo>
                  <a:pt x="4877" y="1542"/>
                </a:lnTo>
                <a:lnTo>
                  <a:pt x="4877" y="1542"/>
                </a:lnTo>
                <a:lnTo>
                  <a:pt x="4877" y="1548"/>
                </a:lnTo>
                <a:lnTo>
                  <a:pt x="4877" y="1548"/>
                </a:lnTo>
                <a:lnTo>
                  <a:pt x="4871" y="1548"/>
                </a:lnTo>
                <a:lnTo>
                  <a:pt x="4871" y="1548"/>
                </a:lnTo>
                <a:lnTo>
                  <a:pt x="4871" y="1548"/>
                </a:lnTo>
                <a:lnTo>
                  <a:pt x="4871" y="1548"/>
                </a:lnTo>
                <a:lnTo>
                  <a:pt x="4877" y="1548"/>
                </a:lnTo>
                <a:lnTo>
                  <a:pt x="4877" y="1548"/>
                </a:lnTo>
                <a:lnTo>
                  <a:pt x="4877" y="1548"/>
                </a:lnTo>
                <a:lnTo>
                  <a:pt x="4871" y="1548"/>
                </a:lnTo>
                <a:lnTo>
                  <a:pt x="4871" y="1554"/>
                </a:lnTo>
                <a:lnTo>
                  <a:pt x="4871" y="1554"/>
                </a:lnTo>
                <a:lnTo>
                  <a:pt x="4871" y="1554"/>
                </a:lnTo>
                <a:lnTo>
                  <a:pt x="4871" y="1554"/>
                </a:lnTo>
                <a:lnTo>
                  <a:pt x="4871" y="1554"/>
                </a:lnTo>
                <a:lnTo>
                  <a:pt x="4871" y="1554"/>
                </a:lnTo>
                <a:lnTo>
                  <a:pt x="4871" y="1554"/>
                </a:lnTo>
                <a:lnTo>
                  <a:pt x="4865" y="1560"/>
                </a:lnTo>
                <a:lnTo>
                  <a:pt x="4865" y="1560"/>
                </a:lnTo>
                <a:lnTo>
                  <a:pt x="4865" y="1560"/>
                </a:lnTo>
                <a:lnTo>
                  <a:pt x="4865" y="1560"/>
                </a:lnTo>
                <a:lnTo>
                  <a:pt x="4865" y="1560"/>
                </a:lnTo>
                <a:lnTo>
                  <a:pt x="4865" y="1560"/>
                </a:lnTo>
                <a:lnTo>
                  <a:pt x="4865" y="1560"/>
                </a:lnTo>
                <a:lnTo>
                  <a:pt x="4865" y="1560"/>
                </a:lnTo>
                <a:lnTo>
                  <a:pt x="4865" y="1560"/>
                </a:lnTo>
                <a:lnTo>
                  <a:pt x="4865" y="1566"/>
                </a:lnTo>
                <a:lnTo>
                  <a:pt x="4859" y="1566"/>
                </a:lnTo>
                <a:lnTo>
                  <a:pt x="4865" y="1566"/>
                </a:lnTo>
                <a:lnTo>
                  <a:pt x="4859" y="1566"/>
                </a:lnTo>
                <a:lnTo>
                  <a:pt x="4859" y="1566"/>
                </a:lnTo>
                <a:lnTo>
                  <a:pt x="4859" y="1566"/>
                </a:lnTo>
                <a:lnTo>
                  <a:pt x="4865" y="1572"/>
                </a:lnTo>
                <a:lnTo>
                  <a:pt x="4865" y="1572"/>
                </a:lnTo>
                <a:lnTo>
                  <a:pt x="4865" y="1572"/>
                </a:lnTo>
                <a:lnTo>
                  <a:pt x="4859" y="1572"/>
                </a:lnTo>
                <a:lnTo>
                  <a:pt x="4859" y="1572"/>
                </a:lnTo>
                <a:lnTo>
                  <a:pt x="4859" y="1572"/>
                </a:lnTo>
                <a:lnTo>
                  <a:pt x="4859" y="1572"/>
                </a:lnTo>
                <a:lnTo>
                  <a:pt x="4859" y="1578"/>
                </a:lnTo>
                <a:lnTo>
                  <a:pt x="4859" y="1578"/>
                </a:lnTo>
                <a:lnTo>
                  <a:pt x="4859" y="1578"/>
                </a:lnTo>
                <a:lnTo>
                  <a:pt x="4859" y="1578"/>
                </a:lnTo>
                <a:lnTo>
                  <a:pt x="4859" y="1584"/>
                </a:lnTo>
                <a:lnTo>
                  <a:pt x="4859" y="1584"/>
                </a:lnTo>
                <a:lnTo>
                  <a:pt x="4859" y="1584"/>
                </a:lnTo>
                <a:lnTo>
                  <a:pt x="4853" y="1584"/>
                </a:lnTo>
                <a:lnTo>
                  <a:pt x="4853" y="1584"/>
                </a:lnTo>
                <a:lnTo>
                  <a:pt x="4853" y="1590"/>
                </a:lnTo>
                <a:lnTo>
                  <a:pt x="4859" y="1590"/>
                </a:lnTo>
                <a:lnTo>
                  <a:pt x="4859" y="1590"/>
                </a:lnTo>
                <a:lnTo>
                  <a:pt x="4859" y="1590"/>
                </a:lnTo>
                <a:lnTo>
                  <a:pt x="4859" y="1590"/>
                </a:lnTo>
                <a:lnTo>
                  <a:pt x="4859" y="1590"/>
                </a:lnTo>
                <a:lnTo>
                  <a:pt x="4859" y="1590"/>
                </a:lnTo>
                <a:lnTo>
                  <a:pt x="4859" y="1590"/>
                </a:lnTo>
                <a:lnTo>
                  <a:pt x="4859" y="1590"/>
                </a:lnTo>
                <a:lnTo>
                  <a:pt x="4859" y="1590"/>
                </a:lnTo>
                <a:lnTo>
                  <a:pt x="4859" y="1590"/>
                </a:lnTo>
                <a:lnTo>
                  <a:pt x="4853" y="1590"/>
                </a:lnTo>
                <a:lnTo>
                  <a:pt x="4853" y="1595"/>
                </a:lnTo>
                <a:lnTo>
                  <a:pt x="4853" y="1595"/>
                </a:lnTo>
                <a:lnTo>
                  <a:pt x="4853" y="1595"/>
                </a:lnTo>
                <a:lnTo>
                  <a:pt x="4853" y="1595"/>
                </a:lnTo>
                <a:lnTo>
                  <a:pt x="4853" y="1601"/>
                </a:lnTo>
                <a:lnTo>
                  <a:pt x="4853" y="1601"/>
                </a:lnTo>
                <a:lnTo>
                  <a:pt x="4853" y="1601"/>
                </a:lnTo>
                <a:lnTo>
                  <a:pt x="4853" y="1601"/>
                </a:lnTo>
                <a:lnTo>
                  <a:pt x="4853" y="1601"/>
                </a:lnTo>
                <a:lnTo>
                  <a:pt x="4853" y="1607"/>
                </a:lnTo>
                <a:lnTo>
                  <a:pt x="4853" y="1607"/>
                </a:lnTo>
                <a:lnTo>
                  <a:pt x="4853" y="1613"/>
                </a:lnTo>
                <a:lnTo>
                  <a:pt x="4853" y="1613"/>
                </a:lnTo>
                <a:lnTo>
                  <a:pt x="4853" y="1613"/>
                </a:lnTo>
                <a:lnTo>
                  <a:pt x="4853" y="1619"/>
                </a:lnTo>
                <a:lnTo>
                  <a:pt x="4853" y="1619"/>
                </a:lnTo>
                <a:lnTo>
                  <a:pt x="4853" y="1619"/>
                </a:lnTo>
                <a:lnTo>
                  <a:pt x="4853" y="1619"/>
                </a:lnTo>
                <a:lnTo>
                  <a:pt x="4859" y="1625"/>
                </a:lnTo>
                <a:lnTo>
                  <a:pt x="4859" y="1625"/>
                </a:lnTo>
                <a:lnTo>
                  <a:pt x="4859" y="1625"/>
                </a:lnTo>
                <a:lnTo>
                  <a:pt x="4859" y="1625"/>
                </a:lnTo>
                <a:lnTo>
                  <a:pt x="4859" y="1619"/>
                </a:lnTo>
                <a:lnTo>
                  <a:pt x="4859" y="1619"/>
                </a:lnTo>
                <a:lnTo>
                  <a:pt x="4859" y="1619"/>
                </a:lnTo>
                <a:lnTo>
                  <a:pt x="4859" y="1613"/>
                </a:lnTo>
                <a:lnTo>
                  <a:pt x="4859" y="1607"/>
                </a:lnTo>
                <a:lnTo>
                  <a:pt x="4859" y="1607"/>
                </a:lnTo>
                <a:lnTo>
                  <a:pt x="4865" y="1601"/>
                </a:lnTo>
                <a:lnTo>
                  <a:pt x="4865" y="1601"/>
                </a:lnTo>
                <a:lnTo>
                  <a:pt x="4865" y="1601"/>
                </a:lnTo>
                <a:lnTo>
                  <a:pt x="4865" y="1595"/>
                </a:lnTo>
                <a:lnTo>
                  <a:pt x="4865" y="1595"/>
                </a:lnTo>
                <a:lnTo>
                  <a:pt x="4865" y="1590"/>
                </a:lnTo>
                <a:lnTo>
                  <a:pt x="4871" y="1590"/>
                </a:lnTo>
                <a:lnTo>
                  <a:pt x="4871" y="1590"/>
                </a:lnTo>
                <a:lnTo>
                  <a:pt x="4871" y="1590"/>
                </a:lnTo>
                <a:lnTo>
                  <a:pt x="4871" y="1590"/>
                </a:lnTo>
                <a:lnTo>
                  <a:pt x="4871" y="1590"/>
                </a:lnTo>
                <a:lnTo>
                  <a:pt x="4871" y="1590"/>
                </a:lnTo>
                <a:lnTo>
                  <a:pt x="4871" y="1590"/>
                </a:lnTo>
                <a:lnTo>
                  <a:pt x="4871" y="1590"/>
                </a:lnTo>
                <a:lnTo>
                  <a:pt x="4871" y="1590"/>
                </a:lnTo>
                <a:lnTo>
                  <a:pt x="4871" y="1590"/>
                </a:lnTo>
                <a:lnTo>
                  <a:pt x="4871" y="1590"/>
                </a:lnTo>
                <a:lnTo>
                  <a:pt x="4871" y="1590"/>
                </a:lnTo>
                <a:lnTo>
                  <a:pt x="4871" y="1590"/>
                </a:lnTo>
                <a:lnTo>
                  <a:pt x="4871" y="1584"/>
                </a:lnTo>
                <a:lnTo>
                  <a:pt x="4871" y="1584"/>
                </a:lnTo>
                <a:lnTo>
                  <a:pt x="4871" y="1584"/>
                </a:lnTo>
                <a:lnTo>
                  <a:pt x="4871" y="1584"/>
                </a:lnTo>
                <a:lnTo>
                  <a:pt x="4877" y="1584"/>
                </a:lnTo>
                <a:lnTo>
                  <a:pt x="4877" y="1578"/>
                </a:lnTo>
                <a:lnTo>
                  <a:pt x="4877" y="1578"/>
                </a:lnTo>
                <a:lnTo>
                  <a:pt x="4877" y="1578"/>
                </a:lnTo>
                <a:lnTo>
                  <a:pt x="4877" y="1578"/>
                </a:lnTo>
                <a:lnTo>
                  <a:pt x="4877" y="1578"/>
                </a:lnTo>
                <a:lnTo>
                  <a:pt x="4877" y="1578"/>
                </a:lnTo>
                <a:lnTo>
                  <a:pt x="4877" y="1578"/>
                </a:lnTo>
                <a:lnTo>
                  <a:pt x="4877" y="1572"/>
                </a:lnTo>
                <a:lnTo>
                  <a:pt x="4883" y="1572"/>
                </a:lnTo>
                <a:lnTo>
                  <a:pt x="4883" y="1566"/>
                </a:lnTo>
                <a:lnTo>
                  <a:pt x="4889" y="1560"/>
                </a:lnTo>
                <a:lnTo>
                  <a:pt x="4889" y="1554"/>
                </a:lnTo>
                <a:lnTo>
                  <a:pt x="4895" y="1554"/>
                </a:lnTo>
                <a:lnTo>
                  <a:pt x="4895" y="1548"/>
                </a:lnTo>
                <a:lnTo>
                  <a:pt x="4895" y="1548"/>
                </a:lnTo>
                <a:lnTo>
                  <a:pt x="4901" y="1542"/>
                </a:lnTo>
                <a:lnTo>
                  <a:pt x="4901" y="1542"/>
                </a:lnTo>
                <a:lnTo>
                  <a:pt x="4901" y="1542"/>
                </a:lnTo>
                <a:lnTo>
                  <a:pt x="4907" y="1536"/>
                </a:lnTo>
                <a:lnTo>
                  <a:pt x="4907" y="1536"/>
                </a:lnTo>
                <a:lnTo>
                  <a:pt x="4907" y="1530"/>
                </a:lnTo>
                <a:lnTo>
                  <a:pt x="4907" y="1530"/>
                </a:lnTo>
                <a:lnTo>
                  <a:pt x="4913" y="1530"/>
                </a:lnTo>
                <a:lnTo>
                  <a:pt x="4913" y="1530"/>
                </a:lnTo>
                <a:lnTo>
                  <a:pt x="4913" y="1530"/>
                </a:lnTo>
                <a:lnTo>
                  <a:pt x="4913" y="1530"/>
                </a:lnTo>
                <a:lnTo>
                  <a:pt x="4907" y="1530"/>
                </a:lnTo>
                <a:lnTo>
                  <a:pt x="4907" y="1530"/>
                </a:lnTo>
                <a:lnTo>
                  <a:pt x="4907" y="1530"/>
                </a:lnTo>
                <a:lnTo>
                  <a:pt x="4907" y="1524"/>
                </a:lnTo>
                <a:lnTo>
                  <a:pt x="4913" y="1524"/>
                </a:lnTo>
                <a:lnTo>
                  <a:pt x="4913" y="1524"/>
                </a:lnTo>
                <a:lnTo>
                  <a:pt x="4913" y="1524"/>
                </a:lnTo>
                <a:lnTo>
                  <a:pt x="4907" y="1524"/>
                </a:lnTo>
                <a:lnTo>
                  <a:pt x="4907" y="1524"/>
                </a:lnTo>
                <a:lnTo>
                  <a:pt x="4907" y="1524"/>
                </a:lnTo>
                <a:lnTo>
                  <a:pt x="4913" y="1524"/>
                </a:lnTo>
                <a:lnTo>
                  <a:pt x="4913" y="1524"/>
                </a:lnTo>
                <a:lnTo>
                  <a:pt x="4913" y="1524"/>
                </a:lnTo>
                <a:lnTo>
                  <a:pt x="4913" y="1518"/>
                </a:lnTo>
                <a:lnTo>
                  <a:pt x="4913" y="1518"/>
                </a:lnTo>
                <a:lnTo>
                  <a:pt x="4913" y="1518"/>
                </a:lnTo>
                <a:lnTo>
                  <a:pt x="4913" y="1518"/>
                </a:lnTo>
                <a:lnTo>
                  <a:pt x="4913" y="1518"/>
                </a:lnTo>
                <a:lnTo>
                  <a:pt x="4913" y="1518"/>
                </a:lnTo>
                <a:lnTo>
                  <a:pt x="4913" y="1518"/>
                </a:lnTo>
                <a:lnTo>
                  <a:pt x="4913" y="1512"/>
                </a:lnTo>
                <a:lnTo>
                  <a:pt x="4913" y="1512"/>
                </a:lnTo>
                <a:lnTo>
                  <a:pt x="4913" y="1512"/>
                </a:lnTo>
                <a:lnTo>
                  <a:pt x="4918" y="1512"/>
                </a:lnTo>
                <a:lnTo>
                  <a:pt x="4918" y="1512"/>
                </a:lnTo>
                <a:lnTo>
                  <a:pt x="4918" y="1506"/>
                </a:lnTo>
                <a:lnTo>
                  <a:pt x="4918" y="1506"/>
                </a:lnTo>
                <a:lnTo>
                  <a:pt x="4918" y="1506"/>
                </a:lnTo>
                <a:lnTo>
                  <a:pt x="4918" y="1501"/>
                </a:lnTo>
                <a:lnTo>
                  <a:pt x="4918" y="1501"/>
                </a:lnTo>
                <a:lnTo>
                  <a:pt x="4918" y="1501"/>
                </a:lnTo>
                <a:lnTo>
                  <a:pt x="4918" y="1501"/>
                </a:lnTo>
                <a:lnTo>
                  <a:pt x="4924" y="1501"/>
                </a:lnTo>
                <a:lnTo>
                  <a:pt x="4924" y="1501"/>
                </a:lnTo>
                <a:lnTo>
                  <a:pt x="4924" y="1501"/>
                </a:lnTo>
                <a:lnTo>
                  <a:pt x="4924" y="1501"/>
                </a:lnTo>
                <a:lnTo>
                  <a:pt x="4924" y="1495"/>
                </a:lnTo>
                <a:lnTo>
                  <a:pt x="4924" y="1495"/>
                </a:lnTo>
                <a:lnTo>
                  <a:pt x="4924" y="1495"/>
                </a:lnTo>
                <a:lnTo>
                  <a:pt x="4924" y="1495"/>
                </a:lnTo>
                <a:lnTo>
                  <a:pt x="4930" y="1489"/>
                </a:lnTo>
                <a:lnTo>
                  <a:pt x="4930" y="1483"/>
                </a:lnTo>
                <a:lnTo>
                  <a:pt x="4930" y="1483"/>
                </a:lnTo>
                <a:lnTo>
                  <a:pt x="4936" y="1483"/>
                </a:lnTo>
                <a:lnTo>
                  <a:pt x="4930" y="1483"/>
                </a:lnTo>
                <a:lnTo>
                  <a:pt x="4930" y="1483"/>
                </a:lnTo>
                <a:lnTo>
                  <a:pt x="4930" y="1489"/>
                </a:lnTo>
                <a:lnTo>
                  <a:pt x="4936" y="1483"/>
                </a:lnTo>
                <a:lnTo>
                  <a:pt x="4936" y="1483"/>
                </a:lnTo>
                <a:lnTo>
                  <a:pt x="4942" y="1477"/>
                </a:lnTo>
                <a:lnTo>
                  <a:pt x="4942" y="1477"/>
                </a:lnTo>
                <a:lnTo>
                  <a:pt x="4942" y="1477"/>
                </a:lnTo>
                <a:lnTo>
                  <a:pt x="4942" y="1471"/>
                </a:lnTo>
                <a:lnTo>
                  <a:pt x="4942" y="1471"/>
                </a:lnTo>
                <a:lnTo>
                  <a:pt x="4942" y="1471"/>
                </a:lnTo>
                <a:lnTo>
                  <a:pt x="4942" y="1471"/>
                </a:lnTo>
                <a:lnTo>
                  <a:pt x="4942" y="1471"/>
                </a:lnTo>
                <a:lnTo>
                  <a:pt x="4936" y="1471"/>
                </a:lnTo>
                <a:lnTo>
                  <a:pt x="4942" y="1471"/>
                </a:lnTo>
                <a:lnTo>
                  <a:pt x="4942" y="1471"/>
                </a:lnTo>
                <a:lnTo>
                  <a:pt x="4942" y="1471"/>
                </a:lnTo>
                <a:lnTo>
                  <a:pt x="4942" y="1471"/>
                </a:lnTo>
                <a:lnTo>
                  <a:pt x="4942" y="1471"/>
                </a:lnTo>
                <a:lnTo>
                  <a:pt x="4942" y="1465"/>
                </a:lnTo>
                <a:lnTo>
                  <a:pt x="4942" y="1465"/>
                </a:lnTo>
                <a:lnTo>
                  <a:pt x="4942" y="1465"/>
                </a:lnTo>
                <a:lnTo>
                  <a:pt x="4942" y="1465"/>
                </a:lnTo>
                <a:lnTo>
                  <a:pt x="4936" y="1465"/>
                </a:lnTo>
                <a:lnTo>
                  <a:pt x="4936" y="1465"/>
                </a:lnTo>
                <a:lnTo>
                  <a:pt x="4936" y="1465"/>
                </a:lnTo>
                <a:lnTo>
                  <a:pt x="4936" y="1465"/>
                </a:lnTo>
                <a:lnTo>
                  <a:pt x="4942" y="1465"/>
                </a:lnTo>
                <a:lnTo>
                  <a:pt x="4942" y="1465"/>
                </a:lnTo>
                <a:lnTo>
                  <a:pt x="4942" y="1465"/>
                </a:lnTo>
                <a:lnTo>
                  <a:pt x="4942" y="1465"/>
                </a:lnTo>
                <a:lnTo>
                  <a:pt x="4942" y="1465"/>
                </a:lnTo>
                <a:lnTo>
                  <a:pt x="4942" y="1459"/>
                </a:lnTo>
                <a:lnTo>
                  <a:pt x="4942" y="1459"/>
                </a:lnTo>
                <a:lnTo>
                  <a:pt x="4942" y="1459"/>
                </a:lnTo>
                <a:lnTo>
                  <a:pt x="4942" y="1459"/>
                </a:lnTo>
                <a:lnTo>
                  <a:pt x="4942" y="1459"/>
                </a:lnTo>
                <a:lnTo>
                  <a:pt x="4942" y="1459"/>
                </a:lnTo>
                <a:lnTo>
                  <a:pt x="4942" y="1459"/>
                </a:lnTo>
                <a:lnTo>
                  <a:pt x="4942" y="1459"/>
                </a:lnTo>
                <a:lnTo>
                  <a:pt x="4942" y="1459"/>
                </a:lnTo>
                <a:lnTo>
                  <a:pt x="4948" y="1459"/>
                </a:lnTo>
                <a:lnTo>
                  <a:pt x="4948" y="1459"/>
                </a:lnTo>
                <a:lnTo>
                  <a:pt x="4948" y="1459"/>
                </a:lnTo>
                <a:lnTo>
                  <a:pt x="4948" y="1459"/>
                </a:lnTo>
                <a:lnTo>
                  <a:pt x="4948" y="1459"/>
                </a:lnTo>
                <a:lnTo>
                  <a:pt x="4948" y="1459"/>
                </a:lnTo>
                <a:lnTo>
                  <a:pt x="4948" y="1459"/>
                </a:lnTo>
                <a:lnTo>
                  <a:pt x="4948" y="1459"/>
                </a:lnTo>
                <a:lnTo>
                  <a:pt x="4948" y="1465"/>
                </a:lnTo>
                <a:lnTo>
                  <a:pt x="4948" y="1471"/>
                </a:lnTo>
                <a:lnTo>
                  <a:pt x="4942" y="1471"/>
                </a:lnTo>
                <a:lnTo>
                  <a:pt x="4948" y="1471"/>
                </a:lnTo>
                <a:lnTo>
                  <a:pt x="4948" y="1471"/>
                </a:lnTo>
                <a:lnTo>
                  <a:pt x="4948" y="1465"/>
                </a:lnTo>
                <a:lnTo>
                  <a:pt x="4948" y="1459"/>
                </a:lnTo>
                <a:lnTo>
                  <a:pt x="4948" y="1459"/>
                </a:lnTo>
                <a:lnTo>
                  <a:pt x="4948" y="1459"/>
                </a:lnTo>
                <a:lnTo>
                  <a:pt x="4948" y="1459"/>
                </a:lnTo>
                <a:lnTo>
                  <a:pt x="4948" y="1459"/>
                </a:lnTo>
                <a:lnTo>
                  <a:pt x="4948" y="1453"/>
                </a:lnTo>
                <a:lnTo>
                  <a:pt x="4948" y="1453"/>
                </a:lnTo>
                <a:lnTo>
                  <a:pt x="4948" y="1447"/>
                </a:lnTo>
                <a:lnTo>
                  <a:pt x="4948" y="1447"/>
                </a:lnTo>
                <a:lnTo>
                  <a:pt x="4948" y="1447"/>
                </a:lnTo>
                <a:lnTo>
                  <a:pt x="4948" y="1441"/>
                </a:lnTo>
                <a:lnTo>
                  <a:pt x="4948" y="1441"/>
                </a:lnTo>
                <a:lnTo>
                  <a:pt x="4948" y="1441"/>
                </a:lnTo>
                <a:lnTo>
                  <a:pt x="4948" y="1435"/>
                </a:lnTo>
                <a:lnTo>
                  <a:pt x="4948" y="1435"/>
                </a:lnTo>
                <a:lnTo>
                  <a:pt x="4948" y="1435"/>
                </a:lnTo>
                <a:lnTo>
                  <a:pt x="4948" y="1435"/>
                </a:lnTo>
                <a:lnTo>
                  <a:pt x="4948" y="1441"/>
                </a:lnTo>
                <a:lnTo>
                  <a:pt x="4948" y="1441"/>
                </a:lnTo>
                <a:lnTo>
                  <a:pt x="4948" y="1441"/>
                </a:lnTo>
                <a:lnTo>
                  <a:pt x="4948" y="1441"/>
                </a:lnTo>
                <a:lnTo>
                  <a:pt x="4948" y="1441"/>
                </a:lnTo>
                <a:lnTo>
                  <a:pt x="4942" y="1441"/>
                </a:lnTo>
                <a:lnTo>
                  <a:pt x="4942" y="1441"/>
                </a:lnTo>
                <a:lnTo>
                  <a:pt x="4942" y="1441"/>
                </a:lnTo>
                <a:lnTo>
                  <a:pt x="4942" y="1441"/>
                </a:lnTo>
                <a:lnTo>
                  <a:pt x="4942" y="1441"/>
                </a:lnTo>
                <a:lnTo>
                  <a:pt x="4942" y="1441"/>
                </a:lnTo>
                <a:lnTo>
                  <a:pt x="4942" y="1441"/>
                </a:lnTo>
                <a:lnTo>
                  <a:pt x="4936" y="1441"/>
                </a:lnTo>
                <a:lnTo>
                  <a:pt x="4936" y="1441"/>
                </a:lnTo>
                <a:lnTo>
                  <a:pt x="4936" y="1441"/>
                </a:lnTo>
                <a:lnTo>
                  <a:pt x="4930" y="1441"/>
                </a:lnTo>
                <a:lnTo>
                  <a:pt x="4930" y="1441"/>
                </a:lnTo>
                <a:lnTo>
                  <a:pt x="4930" y="1441"/>
                </a:lnTo>
                <a:lnTo>
                  <a:pt x="4936" y="1441"/>
                </a:lnTo>
                <a:lnTo>
                  <a:pt x="4936" y="1441"/>
                </a:lnTo>
                <a:lnTo>
                  <a:pt x="4936" y="1441"/>
                </a:lnTo>
                <a:lnTo>
                  <a:pt x="4936" y="1441"/>
                </a:lnTo>
                <a:lnTo>
                  <a:pt x="4930" y="1441"/>
                </a:lnTo>
                <a:lnTo>
                  <a:pt x="4936" y="1441"/>
                </a:lnTo>
                <a:lnTo>
                  <a:pt x="4936" y="1435"/>
                </a:lnTo>
                <a:lnTo>
                  <a:pt x="4942" y="1435"/>
                </a:lnTo>
                <a:lnTo>
                  <a:pt x="4942" y="1435"/>
                </a:lnTo>
                <a:lnTo>
                  <a:pt x="4942" y="1435"/>
                </a:lnTo>
                <a:lnTo>
                  <a:pt x="4942" y="1435"/>
                </a:lnTo>
                <a:lnTo>
                  <a:pt x="4942" y="1435"/>
                </a:lnTo>
                <a:lnTo>
                  <a:pt x="4936" y="1435"/>
                </a:lnTo>
                <a:lnTo>
                  <a:pt x="4936" y="1429"/>
                </a:lnTo>
                <a:lnTo>
                  <a:pt x="4936" y="1429"/>
                </a:lnTo>
                <a:lnTo>
                  <a:pt x="4936" y="1429"/>
                </a:lnTo>
                <a:lnTo>
                  <a:pt x="4936" y="1429"/>
                </a:lnTo>
                <a:lnTo>
                  <a:pt x="4936" y="1429"/>
                </a:lnTo>
                <a:lnTo>
                  <a:pt x="4936" y="1429"/>
                </a:lnTo>
                <a:lnTo>
                  <a:pt x="4936" y="1429"/>
                </a:lnTo>
                <a:lnTo>
                  <a:pt x="4936" y="1429"/>
                </a:lnTo>
                <a:lnTo>
                  <a:pt x="4936" y="1429"/>
                </a:lnTo>
                <a:lnTo>
                  <a:pt x="4942" y="1429"/>
                </a:lnTo>
                <a:lnTo>
                  <a:pt x="4942" y="1429"/>
                </a:lnTo>
                <a:lnTo>
                  <a:pt x="4936" y="1429"/>
                </a:lnTo>
                <a:lnTo>
                  <a:pt x="4942" y="1429"/>
                </a:lnTo>
                <a:lnTo>
                  <a:pt x="4942" y="1429"/>
                </a:lnTo>
                <a:lnTo>
                  <a:pt x="4942" y="1429"/>
                </a:lnTo>
                <a:lnTo>
                  <a:pt x="4942" y="1429"/>
                </a:lnTo>
                <a:lnTo>
                  <a:pt x="4942" y="1429"/>
                </a:lnTo>
                <a:lnTo>
                  <a:pt x="4948" y="1429"/>
                </a:lnTo>
                <a:lnTo>
                  <a:pt x="4948" y="1435"/>
                </a:lnTo>
                <a:lnTo>
                  <a:pt x="4948" y="1435"/>
                </a:lnTo>
                <a:lnTo>
                  <a:pt x="4948" y="1429"/>
                </a:lnTo>
                <a:lnTo>
                  <a:pt x="4948" y="1429"/>
                </a:lnTo>
                <a:lnTo>
                  <a:pt x="4948" y="1429"/>
                </a:lnTo>
                <a:lnTo>
                  <a:pt x="4942" y="1412"/>
                </a:lnTo>
                <a:lnTo>
                  <a:pt x="4942" y="1412"/>
                </a:lnTo>
                <a:lnTo>
                  <a:pt x="4942" y="1412"/>
                </a:lnTo>
                <a:lnTo>
                  <a:pt x="4942" y="1412"/>
                </a:lnTo>
                <a:lnTo>
                  <a:pt x="4942" y="1418"/>
                </a:lnTo>
                <a:lnTo>
                  <a:pt x="4942" y="1418"/>
                </a:lnTo>
                <a:lnTo>
                  <a:pt x="4936" y="1412"/>
                </a:lnTo>
                <a:lnTo>
                  <a:pt x="4936" y="1412"/>
                </a:lnTo>
                <a:lnTo>
                  <a:pt x="4936" y="1412"/>
                </a:lnTo>
                <a:lnTo>
                  <a:pt x="4930" y="1406"/>
                </a:lnTo>
                <a:lnTo>
                  <a:pt x="4924" y="1400"/>
                </a:lnTo>
                <a:lnTo>
                  <a:pt x="4924" y="1400"/>
                </a:lnTo>
                <a:lnTo>
                  <a:pt x="4924" y="1394"/>
                </a:lnTo>
                <a:lnTo>
                  <a:pt x="4924" y="1394"/>
                </a:lnTo>
                <a:lnTo>
                  <a:pt x="4924" y="1394"/>
                </a:lnTo>
                <a:lnTo>
                  <a:pt x="4924" y="1394"/>
                </a:lnTo>
                <a:lnTo>
                  <a:pt x="4924" y="1394"/>
                </a:lnTo>
                <a:lnTo>
                  <a:pt x="4924" y="1388"/>
                </a:lnTo>
                <a:lnTo>
                  <a:pt x="4918" y="1388"/>
                </a:lnTo>
                <a:lnTo>
                  <a:pt x="4918" y="1382"/>
                </a:lnTo>
                <a:lnTo>
                  <a:pt x="4918" y="1382"/>
                </a:lnTo>
                <a:lnTo>
                  <a:pt x="4913" y="1382"/>
                </a:lnTo>
                <a:lnTo>
                  <a:pt x="4913" y="1382"/>
                </a:lnTo>
                <a:lnTo>
                  <a:pt x="4913" y="1376"/>
                </a:lnTo>
                <a:lnTo>
                  <a:pt x="4913" y="1376"/>
                </a:lnTo>
                <a:lnTo>
                  <a:pt x="4913" y="1370"/>
                </a:lnTo>
                <a:lnTo>
                  <a:pt x="4913" y="1370"/>
                </a:lnTo>
                <a:lnTo>
                  <a:pt x="4913" y="1370"/>
                </a:lnTo>
                <a:lnTo>
                  <a:pt x="4913" y="1370"/>
                </a:lnTo>
                <a:lnTo>
                  <a:pt x="4913" y="1370"/>
                </a:lnTo>
                <a:lnTo>
                  <a:pt x="4913" y="1364"/>
                </a:lnTo>
                <a:lnTo>
                  <a:pt x="4913" y="1358"/>
                </a:lnTo>
                <a:lnTo>
                  <a:pt x="4913" y="1358"/>
                </a:lnTo>
                <a:lnTo>
                  <a:pt x="4913" y="1358"/>
                </a:lnTo>
                <a:lnTo>
                  <a:pt x="4913" y="1358"/>
                </a:lnTo>
                <a:lnTo>
                  <a:pt x="4913" y="1352"/>
                </a:lnTo>
                <a:lnTo>
                  <a:pt x="4913" y="1352"/>
                </a:lnTo>
                <a:lnTo>
                  <a:pt x="4913" y="1352"/>
                </a:lnTo>
                <a:lnTo>
                  <a:pt x="4913" y="1352"/>
                </a:lnTo>
                <a:lnTo>
                  <a:pt x="4913" y="1346"/>
                </a:lnTo>
                <a:lnTo>
                  <a:pt x="4907" y="1346"/>
                </a:lnTo>
                <a:lnTo>
                  <a:pt x="4907" y="1346"/>
                </a:lnTo>
                <a:lnTo>
                  <a:pt x="4907" y="1340"/>
                </a:lnTo>
                <a:lnTo>
                  <a:pt x="4907" y="1340"/>
                </a:lnTo>
                <a:lnTo>
                  <a:pt x="4901" y="1334"/>
                </a:lnTo>
                <a:lnTo>
                  <a:pt x="4901" y="1334"/>
                </a:lnTo>
                <a:lnTo>
                  <a:pt x="4895" y="1329"/>
                </a:lnTo>
                <a:lnTo>
                  <a:pt x="4895" y="1329"/>
                </a:lnTo>
                <a:lnTo>
                  <a:pt x="4895" y="1329"/>
                </a:lnTo>
                <a:lnTo>
                  <a:pt x="4895" y="1323"/>
                </a:lnTo>
                <a:lnTo>
                  <a:pt x="4895" y="1323"/>
                </a:lnTo>
                <a:lnTo>
                  <a:pt x="4895" y="1323"/>
                </a:lnTo>
                <a:lnTo>
                  <a:pt x="4895" y="1317"/>
                </a:lnTo>
                <a:lnTo>
                  <a:pt x="4895" y="1317"/>
                </a:lnTo>
                <a:lnTo>
                  <a:pt x="4895" y="1311"/>
                </a:lnTo>
                <a:lnTo>
                  <a:pt x="4895" y="1311"/>
                </a:lnTo>
                <a:lnTo>
                  <a:pt x="4895" y="1311"/>
                </a:lnTo>
                <a:lnTo>
                  <a:pt x="4895" y="1311"/>
                </a:lnTo>
                <a:lnTo>
                  <a:pt x="4895" y="1311"/>
                </a:lnTo>
                <a:lnTo>
                  <a:pt x="4895" y="1305"/>
                </a:lnTo>
                <a:lnTo>
                  <a:pt x="4895" y="1305"/>
                </a:lnTo>
                <a:lnTo>
                  <a:pt x="4895" y="1305"/>
                </a:lnTo>
                <a:lnTo>
                  <a:pt x="4895" y="1305"/>
                </a:lnTo>
                <a:lnTo>
                  <a:pt x="4895" y="1305"/>
                </a:lnTo>
                <a:lnTo>
                  <a:pt x="4895" y="1305"/>
                </a:lnTo>
                <a:lnTo>
                  <a:pt x="4901" y="1305"/>
                </a:lnTo>
                <a:lnTo>
                  <a:pt x="4901" y="1299"/>
                </a:lnTo>
                <a:lnTo>
                  <a:pt x="4901" y="1299"/>
                </a:lnTo>
                <a:lnTo>
                  <a:pt x="4901" y="1293"/>
                </a:lnTo>
                <a:lnTo>
                  <a:pt x="4901" y="1293"/>
                </a:lnTo>
                <a:lnTo>
                  <a:pt x="4907" y="1293"/>
                </a:lnTo>
                <a:lnTo>
                  <a:pt x="4907" y="1293"/>
                </a:lnTo>
                <a:lnTo>
                  <a:pt x="4907" y="1287"/>
                </a:lnTo>
                <a:lnTo>
                  <a:pt x="4907" y="1287"/>
                </a:lnTo>
                <a:lnTo>
                  <a:pt x="4907" y="1287"/>
                </a:lnTo>
                <a:lnTo>
                  <a:pt x="4913" y="1287"/>
                </a:lnTo>
                <a:lnTo>
                  <a:pt x="4913" y="1281"/>
                </a:lnTo>
                <a:lnTo>
                  <a:pt x="4913" y="1281"/>
                </a:lnTo>
                <a:lnTo>
                  <a:pt x="4913" y="1281"/>
                </a:lnTo>
                <a:lnTo>
                  <a:pt x="4913" y="1281"/>
                </a:lnTo>
                <a:lnTo>
                  <a:pt x="4918" y="1281"/>
                </a:lnTo>
                <a:lnTo>
                  <a:pt x="4924" y="1275"/>
                </a:lnTo>
                <a:lnTo>
                  <a:pt x="4924" y="1275"/>
                </a:lnTo>
                <a:lnTo>
                  <a:pt x="4924" y="1275"/>
                </a:lnTo>
                <a:lnTo>
                  <a:pt x="4930" y="1275"/>
                </a:lnTo>
                <a:lnTo>
                  <a:pt x="4930" y="1275"/>
                </a:lnTo>
                <a:lnTo>
                  <a:pt x="4936" y="1269"/>
                </a:lnTo>
                <a:lnTo>
                  <a:pt x="4936" y="1269"/>
                </a:lnTo>
                <a:lnTo>
                  <a:pt x="4936" y="1269"/>
                </a:lnTo>
                <a:lnTo>
                  <a:pt x="4936" y="1269"/>
                </a:lnTo>
                <a:lnTo>
                  <a:pt x="4942" y="1269"/>
                </a:lnTo>
                <a:lnTo>
                  <a:pt x="4936" y="1269"/>
                </a:lnTo>
                <a:lnTo>
                  <a:pt x="4936" y="1269"/>
                </a:lnTo>
                <a:lnTo>
                  <a:pt x="4942" y="1263"/>
                </a:lnTo>
                <a:lnTo>
                  <a:pt x="4942" y="1263"/>
                </a:lnTo>
                <a:lnTo>
                  <a:pt x="4942" y="1263"/>
                </a:lnTo>
                <a:lnTo>
                  <a:pt x="4942" y="1263"/>
                </a:lnTo>
                <a:lnTo>
                  <a:pt x="4942" y="1263"/>
                </a:lnTo>
                <a:lnTo>
                  <a:pt x="4948" y="1257"/>
                </a:lnTo>
                <a:lnTo>
                  <a:pt x="4948" y="1257"/>
                </a:lnTo>
                <a:lnTo>
                  <a:pt x="4948" y="1257"/>
                </a:lnTo>
                <a:lnTo>
                  <a:pt x="4948" y="1257"/>
                </a:lnTo>
                <a:lnTo>
                  <a:pt x="4948" y="1257"/>
                </a:lnTo>
                <a:lnTo>
                  <a:pt x="4942" y="1263"/>
                </a:lnTo>
                <a:lnTo>
                  <a:pt x="4942" y="1263"/>
                </a:lnTo>
                <a:lnTo>
                  <a:pt x="4942" y="1263"/>
                </a:lnTo>
                <a:lnTo>
                  <a:pt x="4942" y="1263"/>
                </a:lnTo>
                <a:lnTo>
                  <a:pt x="4942" y="1263"/>
                </a:lnTo>
                <a:lnTo>
                  <a:pt x="4942" y="1263"/>
                </a:lnTo>
                <a:lnTo>
                  <a:pt x="4942" y="1269"/>
                </a:lnTo>
                <a:lnTo>
                  <a:pt x="4942" y="1269"/>
                </a:lnTo>
                <a:lnTo>
                  <a:pt x="4942" y="1269"/>
                </a:lnTo>
                <a:lnTo>
                  <a:pt x="4942" y="1269"/>
                </a:lnTo>
                <a:lnTo>
                  <a:pt x="4942" y="1275"/>
                </a:lnTo>
                <a:lnTo>
                  <a:pt x="4936" y="1275"/>
                </a:lnTo>
                <a:lnTo>
                  <a:pt x="4936" y="1275"/>
                </a:lnTo>
                <a:lnTo>
                  <a:pt x="4936" y="1275"/>
                </a:lnTo>
                <a:lnTo>
                  <a:pt x="4936" y="1275"/>
                </a:lnTo>
                <a:lnTo>
                  <a:pt x="4936" y="1275"/>
                </a:lnTo>
                <a:lnTo>
                  <a:pt x="4936" y="1275"/>
                </a:lnTo>
                <a:lnTo>
                  <a:pt x="4936" y="1275"/>
                </a:lnTo>
                <a:lnTo>
                  <a:pt x="4936" y="1275"/>
                </a:lnTo>
                <a:lnTo>
                  <a:pt x="4936" y="1275"/>
                </a:lnTo>
                <a:lnTo>
                  <a:pt x="4930" y="1275"/>
                </a:lnTo>
                <a:lnTo>
                  <a:pt x="4930" y="1275"/>
                </a:lnTo>
                <a:lnTo>
                  <a:pt x="4924" y="1275"/>
                </a:lnTo>
                <a:lnTo>
                  <a:pt x="4924" y="1275"/>
                </a:lnTo>
                <a:lnTo>
                  <a:pt x="4924" y="1281"/>
                </a:lnTo>
                <a:lnTo>
                  <a:pt x="4924" y="1281"/>
                </a:lnTo>
                <a:lnTo>
                  <a:pt x="4918" y="1281"/>
                </a:lnTo>
                <a:lnTo>
                  <a:pt x="4913" y="1287"/>
                </a:lnTo>
                <a:lnTo>
                  <a:pt x="4907" y="1287"/>
                </a:lnTo>
                <a:lnTo>
                  <a:pt x="4907" y="1293"/>
                </a:lnTo>
                <a:lnTo>
                  <a:pt x="4907" y="1293"/>
                </a:lnTo>
                <a:lnTo>
                  <a:pt x="4907" y="1293"/>
                </a:lnTo>
                <a:lnTo>
                  <a:pt x="4907" y="1293"/>
                </a:lnTo>
                <a:lnTo>
                  <a:pt x="4907" y="1299"/>
                </a:lnTo>
                <a:lnTo>
                  <a:pt x="4907" y="1299"/>
                </a:lnTo>
                <a:lnTo>
                  <a:pt x="4907" y="1299"/>
                </a:lnTo>
                <a:lnTo>
                  <a:pt x="4907" y="1299"/>
                </a:lnTo>
                <a:lnTo>
                  <a:pt x="4907" y="1299"/>
                </a:lnTo>
                <a:lnTo>
                  <a:pt x="4901" y="1299"/>
                </a:lnTo>
                <a:lnTo>
                  <a:pt x="4901" y="1299"/>
                </a:lnTo>
                <a:lnTo>
                  <a:pt x="4901" y="1299"/>
                </a:lnTo>
                <a:lnTo>
                  <a:pt x="4901" y="1299"/>
                </a:lnTo>
                <a:lnTo>
                  <a:pt x="4901" y="1305"/>
                </a:lnTo>
                <a:lnTo>
                  <a:pt x="4901" y="1305"/>
                </a:lnTo>
                <a:lnTo>
                  <a:pt x="4901" y="1305"/>
                </a:lnTo>
                <a:lnTo>
                  <a:pt x="4901" y="1305"/>
                </a:lnTo>
                <a:lnTo>
                  <a:pt x="4901" y="1305"/>
                </a:lnTo>
                <a:lnTo>
                  <a:pt x="4901" y="1305"/>
                </a:lnTo>
                <a:lnTo>
                  <a:pt x="4895" y="1311"/>
                </a:lnTo>
                <a:lnTo>
                  <a:pt x="4895" y="1311"/>
                </a:lnTo>
                <a:lnTo>
                  <a:pt x="4901" y="1311"/>
                </a:lnTo>
                <a:lnTo>
                  <a:pt x="4901" y="1317"/>
                </a:lnTo>
                <a:lnTo>
                  <a:pt x="4901" y="1317"/>
                </a:lnTo>
                <a:lnTo>
                  <a:pt x="4901" y="1317"/>
                </a:lnTo>
                <a:lnTo>
                  <a:pt x="4901" y="1323"/>
                </a:lnTo>
                <a:lnTo>
                  <a:pt x="4901" y="1323"/>
                </a:lnTo>
                <a:lnTo>
                  <a:pt x="4901" y="1323"/>
                </a:lnTo>
                <a:lnTo>
                  <a:pt x="4901" y="1323"/>
                </a:lnTo>
                <a:lnTo>
                  <a:pt x="4901" y="1323"/>
                </a:lnTo>
                <a:lnTo>
                  <a:pt x="4901" y="1323"/>
                </a:lnTo>
                <a:lnTo>
                  <a:pt x="4901" y="1329"/>
                </a:lnTo>
                <a:lnTo>
                  <a:pt x="4901" y="1329"/>
                </a:lnTo>
                <a:lnTo>
                  <a:pt x="4907" y="1329"/>
                </a:lnTo>
                <a:lnTo>
                  <a:pt x="4913" y="1340"/>
                </a:lnTo>
                <a:lnTo>
                  <a:pt x="4918" y="1340"/>
                </a:lnTo>
                <a:lnTo>
                  <a:pt x="4918" y="1346"/>
                </a:lnTo>
                <a:lnTo>
                  <a:pt x="4918" y="1346"/>
                </a:lnTo>
                <a:lnTo>
                  <a:pt x="4918" y="1346"/>
                </a:lnTo>
                <a:lnTo>
                  <a:pt x="4918" y="1346"/>
                </a:lnTo>
                <a:lnTo>
                  <a:pt x="4918" y="1346"/>
                </a:lnTo>
                <a:lnTo>
                  <a:pt x="4918" y="1346"/>
                </a:lnTo>
                <a:lnTo>
                  <a:pt x="4918" y="1346"/>
                </a:lnTo>
                <a:lnTo>
                  <a:pt x="4924" y="1346"/>
                </a:lnTo>
                <a:lnTo>
                  <a:pt x="4924" y="1346"/>
                </a:lnTo>
                <a:lnTo>
                  <a:pt x="4924" y="1352"/>
                </a:lnTo>
                <a:lnTo>
                  <a:pt x="4930" y="1352"/>
                </a:lnTo>
                <a:lnTo>
                  <a:pt x="4930" y="1352"/>
                </a:lnTo>
                <a:lnTo>
                  <a:pt x="4930" y="1352"/>
                </a:lnTo>
                <a:lnTo>
                  <a:pt x="4930" y="1352"/>
                </a:lnTo>
                <a:lnTo>
                  <a:pt x="4930" y="1352"/>
                </a:lnTo>
                <a:lnTo>
                  <a:pt x="4930" y="1352"/>
                </a:lnTo>
                <a:lnTo>
                  <a:pt x="4930" y="1352"/>
                </a:lnTo>
                <a:lnTo>
                  <a:pt x="4930" y="1352"/>
                </a:lnTo>
                <a:lnTo>
                  <a:pt x="4936" y="1358"/>
                </a:lnTo>
                <a:lnTo>
                  <a:pt x="4936" y="1358"/>
                </a:lnTo>
                <a:lnTo>
                  <a:pt x="4936" y="1358"/>
                </a:lnTo>
                <a:lnTo>
                  <a:pt x="4936" y="1358"/>
                </a:lnTo>
                <a:lnTo>
                  <a:pt x="4936" y="1358"/>
                </a:lnTo>
                <a:lnTo>
                  <a:pt x="4936" y="1358"/>
                </a:lnTo>
                <a:lnTo>
                  <a:pt x="4936" y="1364"/>
                </a:lnTo>
                <a:lnTo>
                  <a:pt x="4936" y="1364"/>
                </a:lnTo>
                <a:lnTo>
                  <a:pt x="4936" y="1364"/>
                </a:lnTo>
                <a:lnTo>
                  <a:pt x="4936" y="1364"/>
                </a:lnTo>
                <a:lnTo>
                  <a:pt x="4936" y="1364"/>
                </a:lnTo>
                <a:lnTo>
                  <a:pt x="4936" y="1364"/>
                </a:lnTo>
                <a:lnTo>
                  <a:pt x="4942" y="1364"/>
                </a:lnTo>
                <a:lnTo>
                  <a:pt x="4942" y="1364"/>
                </a:lnTo>
                <a:lnTo>
                  <a:pt x="4942" y="1364"/>
                </a:lnTo>
                <a:lnTo>
                  <a:pt x="4942" y="1364"/>
                </a:lnTo>
                <a:lnTo>
                  <a:pt x="4948" y="1358"/>
                </a:lnTo>
                <a:lnTo>
                  <a:pt x="4948" y="1358"/>
                </a:lnTo>
                <a:lnTo>
                  <a:pt x="4948" y="1358"/>
                </a:lnTo>
                <a:lnTo>
                  <a:pt x="4948" y="1364"/>
                </a:lnTo>
                <a:lnTo>
                  <a:pt x="4948" y="1364"/>
                </a:lnTo>
                <a:lnTo>
                  <a:pt x="4948" y="1364"/>
                </a:lnTo>
                <a:lnTo>
                  <a:pt x="4948" y="1364"/>
                </a:lnTo>
                <a:lnTo>
                  <a:pt x="4954" y="1364"/>
                </a:lnTo>
                <a:lnTo>
                  <a:pt x="4954" y="1364"/>
                </a:lnTo>
                <a:lnTo>
                  <a:pt x="4954" y="1364"/>
                </a:lnTo>
                <a:lnTo>
                  <a:pt x="4954" y="1364"/>
                </a:lnTo>
                <a:lnTo>
                  <a:pt x="4960" y="1364"/>
                </a:lnTo>
                <a:lnTo>
                  <a:pt x="4960" y="1364"/>
                </a:lnTo>
                <a:lnTo>
                  <a:pt x="4960" y="1364"/>
                </a:lnTo>
                <a:lnTo>
                  <a:pt x="4966" y="1370"/>
                </a:lnTo>
                <a:lnTo>
                  <a:pt x="4966" y="1376"/>
                </a:lnTo>
                <a:lnTo>
                  <a:pt x="4960" y="1382"/>
                </a:lnTo>
                <a:lnTo>
                  <a:pt x="4960" y="1382"/>
                </a:lnTo>
                <a:lnTo>
                  <a:pt x="4960" y="1382"/>
                </a:lnTo>
                <a:lnTo>
                  <a:pt x="4960" y="1388"/>
                </a:lnTo>
                <a:lnTo>
                  <a:pt x="4960" y="1388"/>
                </a:lnTo>
                <a:lnTo>
                  <a:pt x="4960" y="1388"/>
                </a:lnTo>
                <a:lnTo>
                  <a:pt x="4954" y="1394"/>
                </a:lnTo>
                <a:lnTo>
                  <a:pt x="4954" y="1394"/>
                </a:lnTo>
                <a:lnTo>
                  <a:pt x="4954" y="1394"/>
                </a:lnTo>
                <a:lnTo>
                  <a:pt x="4954" y="1394"/>
                </a:lnTo>
                <a:lnTo>
                  <a:pt x="4954" y="1394"/>
                </a:lnTo>
                <a:lnTo>
                  <a:pt x="4954" y="1394"/>
                </a:lnTo>
                <a:lnTo>
                  <a:pt x="4954" y="1394"/>
                </a:lnTo>
                <a:lnTo>
                  <a:pt x="4960" y="1400"/>
                </a:lnTo>
                <a:lnTo>
                  <a:pt x="4960" y="1400"/>
                </a:lnTo>
                <a:lnTo>
                  <a:pt x="4960" y="1400"/>
                </a:lnTo>
                <a:lnTo>
                  <a:pt x="4960" y="1400"/>
                </a:lnTo>
                <a:lnTo>
                  <a:pt x="4966" y="1394"/>
                </a:lnTo>
                <a:lnTo>
                  <a:pt x="4972" y="1394"/>
                </a:lnTo>
                <a:lnTo>
                  <a:pt x="4972" y="1394"/>
                </a:lnTo>
                <a:lnTo>
                  <a:pt x="4972" y="1388"/>
                </a:lnTo>
                <a:lnTo>
                  <a:pt x="4972" y="1388"/>
                </a:lnTo>
                <a:lnTo>
                  <a:pt x="4972" y="1388"/>
                </a:lnTo>
                <a:lnTo>
                  <a:pt x="4972" y="1388"/>
                </a:lnTo>
                <a:lnTo>
                  <a:pt x="4972" y="1382"/>
                </a:lnTo>
                <a:lnTo>
                  <a:pt x="4972" y="1382"/>
                </a:lnTo>
                <a:lnTo>
                  <a:pt x="4972" y="1382"/>
                </a:lnTo>
                <a:lnTo>
                  <a:pt x="4972" y="1382"/>
                </a:lnTo>
                <a:lnTo>
                  <a:pt x="4972" y="1382"/>
                </a:lnTo>
                <a:lnTo>
                  <a:pt x="4978" y="1382"/>
                </a:lnTo>
                <a:lnTo>
                  <a:pt x="4978" y="1382"/>
                </a:lnTo>
                <a:lnTo>
                  <a:pt x="4978" y="1382"/>
                </a:lnTo>
                <a:lnTo>
                  <a:pt x="4978" y="1382"/>
                </a:lnTo>
                <a:lnTo>
                  <a:pt x="4978" y="1376"/>
                </a:lnTo>
                <a:lnTo>
                  <a:pt x="4984" y="1376"/>
                </a:lnTo>
                <a:lnTo>
                  <a:pt x="4984" y="1376"/>
                </a:lnTo>
                <a:lnTo>
                  <a:pt x="4984" y="1376"/>
                </a:lnTo>
                <a:lnTo>
                  <a:pt x="4984" y="1376"/>
                </a:lnTo>
                <a:lnTo>
                  <a:pt x="4984" y="1376"/>
                </a:lnTo>
                <a:lnTo>
                  <a:pt x="4984" y="1376"/>
                </a:lnTo>
                <a:lnTo>
                  <a:pt x="4978" y="1370"/>
                </a:lnTo>
                <a:lnTo>
                  <a:pt x="4978" y="1376"/>
                </a:lnTo>
                <a:lnTo>
                  <a:pt x="4978" y="1376"/>
                </a:lnTo>
                <a:lnTo>
                  <a:pt x="4978" y="1370"/>
                </a:lnTo>
                <a:lnTo>
                  <a:pt x="4978" y="1370"/>
                </a:lnTo>
                <a:lnTo>
                  <a:pt x="4978" y="1370"/>
                </a:lnTo>
                <a:lnTo>
                  <a:pt x="4978" y="1370"/>
                </a:lnTo>
                <a:lnTo>
                  <a:pt x="4978" y="1370"/>
                </a:lnTo>
                <a:lnTo>
                  <a:pt x="4984" y="1370"/>
                </a:lnTo>
                <a:lnTo>
                  <a:pt x="4984" y="1370"/>
                </a:lnTo>
                <a:lnTo>
                  <a:pt x="4984" y="1370"/>
                </a:lnTo>
                <a:lnTo>
                  <a:pt x="4990" y="1364"/>
                </a:lnTo>
                <a:lnTo>
                  <a:pt x="4990" y="1358"/>
                </a:lnTo>
                <a:lnTo>
                  <a:pt x="4990" y="1358"/>
                </a:lnTo>
                <a:lnTo>
                  <a:pt x="4995" y="1352"/>
                </a:lnTo>
                <a:lnTo>
                  <a:pt x="4995" y="1352"/>
                </a:lnTo>
                <a:lnTo>
                  <a:pt x="4995" y="1352"/>
                </a:lnTo>
                <a:lnTo>
                  <a:pt x="4990" y="1352"/>
                </a:lnTo>
                <a:lnTo>
                  <a:pt x="4990" y="1352"/>
                </a:lnTo>
                <a:lnTo>
                  <a:pt x="4990" y="1352"/>
                </a:lnTo>
                <a:lnTo>
                  <a:pt x="4990" y="1352"/>
                </a:lnTo>
                <a:lnTo>
                  <a:pt x="4990" y="1352"/>
                </a:lnTo>
                <a:lnTo>
                  <a:pt x="4990" y="1352"/>
                </a:lnTo>
                <a:lnTo>
                  <a:pt x="4990" y="1352"/>
                </a:lnTo>
                <a:lnTo>
                  <a:pt x="4990" y="1346"/>
                </a:lnTo>
                <a:lnTo>
                  <a:pt x="4990" y="1346"/>
                </a:lnTo>
                <a:lnTo>
                  <a:pt x="4995" y="1346"/>
                </a:lnTo>
                <a:lnTo>
                  <a:pt x="4995" y="1346"/>
                </a:lnTo>
                <a:lnTo>
                  <a:pt x="4995" y="1346"/>
                </a:lnTo>
                <a:lnTo>
                  <a:pt x="4995" y="1340"/>
                </a:lnTo>
                <a:lnTo>
                  <a:pt x="5001" y="1340"/>
                </a:lnTo>
                <a:lnTo>
                  <a:pt x="5007" y="1340"/>
                </a:lnTo>
                <a:lnTo>
                  <a:pt x="5001" y="1346"/>
                </a:lnTo>
                <a:lnTo>
                  <a:pt x="5001" y="1346"/>
                </a:lnTo>
                <a:lnTo>
                  <a:pt x="5001" y="1346"/>
                </a:lnTo>
                <a:lnTo>
                  <a:pt x="5001" y="1346"/>
                </a:lnTo>
                <a:lnTo>
                  <a:pt x="5001" y="1346"/>
                </a:lnTo>
                <a:lnTo>
                  <a:pt x="5007" y="1340"/>
                </a:lnTo>
                <a:lnTo>
                  <a:pt x="5013" y="1340"/>
                </a:lnTo>
                <a:lnTo>
                  <a:pt x="5013" y="1340"/>
                </a:lnTo>
                <a:lnTo>
                  <a:pt x="5007" y="1340"/>
                </a:lnTo>
                <a:lnTo>
                  <a:pt x="5007" y="1334"/>
                </a:lnTo>
                <a:lnTo>
                  <a:pt x="5007" y="1334"/>
                </a:lnTo>
                <a:lnTo>
                  <a:pt x="5007" y="1334"/>
                </a:lnTo>
                <a:lnTo>
                  <a:pt x="5007" y="1334"/>
                </a:lnTo>
                <a:lnTo>
                  <a:pt x="5007" y="1334"/>
                </a:lnTo>
                <a:lnTo>
                  <a:pt x="5007" y="1334"/>
                </a:lnTo>
                <a:lnTo>
                  <a:pt x="5007" y="1334"/>
                </a:lnTo>
                <a:lnTo>
                  <a:pt x="5007" y="1334"/>
                </a:lnTo>
                <a:lnTo>
                  <a:pt x="5007" y="1334"/>
                </a:lnTo>
                <a:lnTo>
                  <a:pt x="5007" y="1329"/>
                </a:lnTo>
                <a:lnTo>
                  <a:pt x="5007" y="1329"/>
                </a:lnTo>
                <a:lnTo>
                  <a:pt x="5007" y="1329"/>
                </a:lnTo>
                <a:lnTo>
                  <a:pt x="5007" y="1329"/>
                </a:lnTo>
                <a:lnTo>
                  <a:pt x="5007" y="1329"/>
                </a:lnTo>
                <a:lnTo>
                  <a:pt x="5013" y="1329"/>
                </a:lnTo>
                <a:lnTo>
                  <a:pt x="5013" y="1329"/>
                </a:lnTo>
                <a:lnTo>
                  <a:pt x="5013" y="1329"/>
                </a:lnTo>
                <a:lnTo>
                  <a:pt x="5013" y="1329"/>
                </a:lnTo>
                <a:lnTo>
                  <a:pt x="5013" y="1329"/>
                </a:lnTo>
                <a:lnTo>
                  <a:pt x="5013" y="1329"/>
                </a:lnTo>
                <a:lnTo>
                  <a:pt x="5013" y="1329"/>
                </a:lnTo>
                <a:lnTo>
                  <a:pt x="5013" y="1323"/>
                </a:lnTo>
                <a:lnTo>
                  <a:pt x="5013" y="1323"/>
                </a:lnTo>
                <a:lnTo>
                  <a:pt x="5013" y="1323"/>
                </a:lnTo>
                <a:lnTo>
                  <a:pt x="5013" y="1323"/>
                </a:lnTo>
                <a:lnTo>
                  <a:pt x="5013" y="1323"/>
                </a:lnTo>
                <a:lnTo>
                  <a:pt x="5013" y="1317"/>
                </a:lnTo>
                <a:lnTo>
                  <a:pt x="5013" y="1317"/>
                </a:lnTo>
                <a:lnTo>
                  <a:pt x="5013" y="1317"/>
                </a:lnTo>
                <a:lnTo>
                  <a:pt x="5013" y="1317"/>
                </a:lnTo>
                <a:lnTo>
                  <a:pt x="5013" y="1317"/>
                </a:lnTo>
                <a:lnTo>
                  <a:pt x="5019" y="1317"/>
                </a:lnTo>
                <a:lnTo>
                  <a:pt x="5019" y="1323"/>
                </a:lnTo>
                <a:lnTo>
                  <a:pt x="5019" y="1323"/>
                </a:lnTo>
                <a:lnTo>
                  <a:pt x="5019" y="1323"/>
                </a:lnTo>
                <a:lnTo>
                  <a:pt x="5019" y="1323"/>
                </a:lnTo>
                <a:lnTo>
                  <a:pt x="5019" y="1323"/>
                </a:lnTo>
                <a:lnTo>
                  <a:pt x="5025" y="1323"/>
                </a:lnTo>
                <a:lnTo>
                  <a:pt x="5025" y="1323"/>
                </a:lnTo>
                <a:lnTo>
                  <a:pt x="5025" y="1323"/>
                </a:lnTo>
                <a:lnTo>
                  <a:pt x="5025" y="1317"/>
                </a:lnTo>
                <a:lnTo>
                  <a:pt x="5019" y="1317"/>
                </a:lnTo>
                <a:lnTo>
                  <a:pt x="5019" y="1311"/>
                </a:lnTo>
                <a:lnTo>
                  <a:pt x="5019" y="1311"/>
                </a:lnTo>
                <a:lnTo>
                  <a:pt x="5025" y="1311"/>
                </a:lnTo>
                <a:lnTo>
                  <a:pt x="5025" y="1311"/>
                </a:lnTo>
                <a:lnTo>
                  <a:pt x="5025" y="1311"/>
                </a:lnTo>
                <a:lnTo>
                  <a:pt x="5025" y="1311"/>
                </a:lnTo>
                <a:lnTo>
                  <a:pt x="5025" y="1305"/>
                </a:lnTo>
                <a:lnTo>
                  <a:pt x="5025" y="1305"/>
                </a:lnTo>
                <a:lnTo>
                  <a:pt x="5025" y="1305"/>
                </a:lnTo>
                <a:lnTo>
                  <a:pt x="5031" y="1305"/>
                </a:lnTo>
                <a:lnTo>
                  <a:pt x="5031" y="1305"/>
                </a:lnTo>
                <a:lnTo>
                  <a:pt x="5031" y="1305"/>
                </a:lnTo>
                <a:lnTo>
                  <a:pt x="5031" y="1299"/>
                </a:lnTo>
                <a:lnTo>
                  <a:pt x="5031" y="1299"/>
                </a:lnTo>
                <a:lnTo>
                  <a:pt x="5037" y="1299"/>
                </a:lnTo>
                <a:lnTo>
                  <a:pt x="5037" y="1299"/>
                </a:lnTo>
                <a:lnTo>
                  <a:pt x="5037" y="1299"/>
                </a:lnTo>
                <a:lnTo>
                  <a:pt x="5037" y="1299"/>
                </a:lnTo>
                <a:lnTo>
                  <a:pt x="5037" y="1293"/>
                </a:lnTo>
                <a:lnTo>
                  <a:pt x="5037" y="1293"/>
                </a:lnTo>
                <a:lnTo>
                  <a:pt x="5037" y="1293"/>
                </a:lnTo>
                <a:lnTo>
                  <a:pt x="5037" y="1293"/>
                </a:lnTo>
                <a:lnTo>
                  <a:pt x="5031" y="1293"/>
                </a:lnTo>
                <a:lnTo>
                  <a:pt x="5031" y="1287"/>
                </a:lnTo>
                <a:lnTo>
                  <a:pt x="5037" y="1281"/>
                </a:lnTo>
                <a:lnTo>
                  <a:pt x="5037" y="1281"/>
                </a:lnTo>
                <a:lnTo>
                  <a:pt x="5037" y="1281"/>
                </a:lnTo>
                <a:lnTo>
                  <a:pt x="5037" y="1281"/>
                </a:lnTo>
                <a:lnTo>
                  <a:pt x="5037" y="1275"/>
                </a:lnTo>
                <a:lnTo>
                  <a:pt x="5037" y="1275"/>
                </a:lnTo>
                <a:lnTo>
                  <a:pt x="5037" y="1275"/>
                </a:lnTo>
                <a:lnTo>
                  <a:pt x="5037" y="1269"/>
                </a:lnTo>
                <a:lnTo>
                  <a:pt x="5037" y="1269"/>
                </a:lnTo>
                <a:lnTo>
                  <a:pt x="5043" y="1269"/>
                </a:lnTo>
                <a:lnTo>
                  <a:pt x="5043" y="1269"/>
                </a:lnTo>
                <a:lnTo>
                  <a:pt x="5037" y="1269"/>
                </a:lnTo>
                <a:lnTo>
                  <a:pt x="5043" y="1263"/>
                </a:lnTo>
                <a:lnTo>
                  <a:pt x="5043" y="1263"/>
                </a:lnTo>
                <a:lnTo>
                  <a:pt x="5043" y="1263"/>
                </a:lnTo>
                <a:lnTo>
                  <a:pt x="5037" y="1263"/>
                </a:lnTo>
                <a:lnTo>
                  <a:pt x="5043" y="1257"/>
                </a:lnTo>
                <a:lnTo>
                  <a:pt x="5043" y="1257"/>
                </a:lnTo>
                <a:lnTo>
                  <a:pt x="5043" y="1257"/>
                </a:lnTo>
                <a:lnTo>
                  <a:pt x="5043" y="1257"/>
                </a:lnTo>
                <a:lnTo>
                  <a:pt x="5043" y="1257"/>
                </a:lnTo>
                <a:lnTo>
                  <a:pt x="5043" y="1257"/>
                </a:lnTo>
                <a:lnTo>
                  <a:pt x="5043" y="1257"/>
                </a:lnTo>
                <a:lnTo>
                  <a:pt x="5043" y="1257"/>
                </a:lnTo>
                <a:lnTo>
                  <a:pt x="5043" y="1257"/>
                </a:lnTo>
                <a:lnTo>
                  <a:pt x="5049" y="1257"/>
                </a:lnTo>
                <a:lnTo>
                  <a:pt x="5043" y="1251"/>
                </a:lnTo>
                <a:lnTo>
                  <a:pt x="5043" y="1251"/>
                </a:lnTo>
                <a:lnTo>
                  <a:pt x="5043" y="1251"/>
                </a:lnTo>
                <a:lnTo>
                  <a:pt x="5043" y="1251"/>
                </a:lnTo>
                <a:lnTo>
                  <a:pt x="5049" y="1251"/>
                </a:lnTo>
                <a:lnTo>
                  <a:pt x="5049" y="1251"/>
                </a:lnTo>
                <a:lnTo>
                  <a:pt x="5049" y="1251"/>
                </a:lnTo>
                <a:lnTo>
                  <a:pt x="5049" y="1251"/>
                </a:lnTo>
                <a:lnTo>
                  <a:pt x="5049" y="1257"/>
                </a:lnTo>
                <a:lnTo>
                  <a:pt x="5049" y="1257"/>
                </a:lnTo>
                <a:lnTo>
                  <a:pt x="5049" y="1257"/>
                </a:lnTo>
                <a:lnTo>
                  <a:pt x="5043" y="1257"/>
                </a:lnTo>
                <a:lnTo>
                  <a:pt x="5043" y="1257"/>
                </a:lnTo>
                <a:lnTo>
                  <a:pt x="5043" y="1263"/>
                </a:lnTo>
                <a:lnTo>
                  <a:pt x="5043" y="1263"/>
                </a:lnTo>
                <a:lnTo>
                  <a:pt x="5043" y="1269"/>
                </a:lnTo>
                <a:lnTo>
                  <a:pt x="5043" y="1287"/>
                </a:lnTo>
                <a:lnTo>
                  <a:pt x="5043" y="1287"/>
                </a:lnTo>
                <a:lnTo>
                  <a:pt x="5043" y="1287"/>
                </a:lnTo>
                <a:lnTo>
                  <a:pt x="5043" y="1281"/>
                </a:lnTo>
                <a:lnTo>
                  <a:pt x="5043" y="1275"/>
                </a:lnTo>
                <a:lnTo>
                  <a:pt x="5043" y="1269"/>
                </a:lnTo>
                <a:lnTo>
                  <a:pt x="5049" y="1269"/>
                </a:lnTo>
                <a:lnTo>
                  <a:pt x="5049" y="1263"/>
                </a:lnTo>
                <a:lnTo>
                  <a:pt x="5049" y="1263"/>
                </a:lnTo>
                <a:lnTo>
                  <a:pt x="5049" y="1257"/>
                </a:lnTo>
                <a:lnTo>
                  <a:pt x="5049" y="1257"/>
                </a:lnTo>
                <a:lnTo>
                  <a:pt x="5049" y="1257"/>
                </a:lnTo>
                <a:lnTo>
                  <a:pt x="5049" y="1251"/>
                </a:lnTo>
                <a:lnTo>
                  <a:pt x="5049" y="1246"/>
                </a:lnTo>
                <a:lnTo>
                  <a:pt x="5049" y="1246"/>
                </a:lnTo>
                <a:lnTo>
                  <a:pt x="5049" y="1240"/>
                </a:lnTo>
                <a:lnTo>
                  <a:pt x="5049" y="1240"/>
                </a:lnTo>
                <a:lnTo>
                  <a:pt x="5049" y="1240"/>
                </a:lnTo>
                <a:lnTo>
                  <a:pt x="5049" y="1240"/>
                </a:lnTo>
                <a:lnTo>
                  <a:pt x="5055" y="1228"/>
                </a:lnTo>
                <a:lnTo>
                  <a:pt x="5055" y="1222"/>
                </a:lnTo>
                <a:lnTo>
                  <a:pt x="5055" y="1216"/>
                </a:lnTo>
                <a:lnTo>
                  <a:pt x="5055" y="1210"/>
                </a:lnTo>
                <a:lnTo>
                  <a:pt x="5055" y="1204"/>
                </a:lnTo>
                <a:lnTo>
                  <a:pt x="5055" y="1198"/>
                </a:lnTo>
                <a:lnTo>
                  <a:pt x="5055" y="1198"/>
                </a:lnTo>
                <a:lnTo>
                  <a:pt x="5055" y="1198"/>
                </a:lnTo>
                <a:lnTo>
                  <a:pt x="5055" y="1198"/>
                </a:lnTo>
                <a:lnTo>
                  <a:pt x="5049" y="1198"/>
                </a:lnTo>
                <a:lnTo>
                  <a:pt x="5055" y="1204"/>
                </a:lnTo>
                <a:lnTo>
                  <a:pt x="5055" y="1204"/>
                </a:lnTo>
                <a:lnTo>
                  <a:pt x="5055" y="1204"/>
                </a:lnTo>
                <a:lnTo>
                  <a:pt x="5055" y="1204"/>
                </a:lnTo>
                <a:lnTo>
                  <a:pt x="5049" y="1204"/>
                </a:lnTo>
                <a:lnTo>
                  <a:pt x="5043" y="1198"/>
                </a:lnTo>
                <a:lnTo>
                  <a:pt x="5037" y="1198"/>
                </a:lnTo>
                <a:lnTo>
                  <a:pt x="5031" y="1204"/>
                </a:lnTo>
                <a:lnTo>
                  <a:pt x="5031" y="1198"/>
                </a:lnTo>
                <a:lnTo>
                  <a:pt x="5031" y="1198"/>
                </a:lnTo>
                <a:lnTo>
                  <a:pt x="5025" y="1198"/>
                </a:lnTo>
                <a:lnTo>
                  <a:pt x="5025" y="1198"/>
                </a:lnTo>
                <a:lnTo>
                  <a:pt x="5025" y="1198"/>
                </a:lnTo>
                <a:lnTo>
                  <a:pt x="5025" y="1192"/>
                </a:lnTo>
                <a:lnTo>
                  <a:pt x="5025" y="1192"/>
                </a:lnTo>
                <a:lnTo>
                  <a:pt x="5025" y="1192"/>
                </a:lnTo>
                <a:lnTo>
                  <a:pt x="5025" y="1192"/>
                </a:lnTo>
                <a:lnTo>
                  <a:pt x="5025" y="1186"/>
                </a:lnTo>
                <a:lnTo>
                  <a:pt x="5025" y="1186"/>
                </a:lnTo>
                <a:lnTo>
                  <a:pt x="5025" y="1186"/>
                </a:lnTo>
                <a:lnTo>
                  <a:pt x="5031" y="1186"/>
                </a:lnTo>
                <a:lnTo>
                  <a:pt x="5031" y="1186"/>
                </a:lnTo>
                <a:lnTo>
                  <a:pt x="5031" y="1186"/>
                </a:lnTo>
                <a:lnTo>
                  <a:pt x="5031" y="1180"/>
                </a:lnTo>
                <a:lnTo>
                  <a:pt x="5031" y="1180"/>
                </a:lnTo>
                <a:lnTo>
                  <a:pt x="5031" y="1180"/>
                </a:lnTo>
                <a:lnTo>
                  <a:pt x="5031" y="1174"/>
                </a:lnTo>
                <a:lnTo>
                  <a:pt x="5031" y="1174"/>
                </a:lnTo>
                <a:lnTo>
                  <a:pt x="5031" y="1174"/>
                </a:lnTo>
                <a:lnTo>
                  <a:pt x="5031" y="1174"/>
                </a:lnTo>
                <a:lnTo>
                  <a:pt x="5037" y="1174"/>
                </a:lnTo>
                <a:lnTo>
                  <a:pt x="5037" y="1174"/>
                </a:lnTo>
                <a:lnTo>
                  <a:pt x="5037" y="1174"/>
                </a:lnTo>
                <a:lnTo>
                  <a:pt x="5037" y="1168"/>
                </a:lnTo>
                <a:lnTo>
                  <a:pt x="5037" y="1168"/>
                </a:lnTo>
                <a:lnTo>
                  <a:pt x="5037" y="1168"/>
                </a:lnTo>
                <a:lnTo>
                  <a:pt x="5037" y="1168"/>
                </a:lnTo>
                <a:lnTo>
                  <a:pt x="5037" y="1168"/>
                </a:lnTo>
                <a:lnTo>
                  <a:pt x="5043" y="1162"/>
                </a:lnTo>
                <a:lnTo>
                  <a:pt x="5043" y="1168"/>
                </a:lnTo>
                <a:lnTo>
                  <a:pt x="5043" y="1168"/>
                </a:lnTo>
                <a:lnTo>
                  <a:pt x="5037" y="1174"/>
                </a:lnTo>
                <a:lnTo>
                  <a:pt x="5037" y="1174"/>
                </a:lnTo>
                <a:lnTo>
                  <a:pt x="5037" y="1174"/>
                </a:lnTo>
                <a:lnTo>
                  <a:pt x="5043" y="1174"/>
                </a:lnTo>
                <a:lnTo>
                  <a:pt x="5043" y="1174"/>
                </a:lnTo>
                <a:lnTo>
                  <a:pt x="5043" y="1174"/>
                </a:lnTo>
                <a:lnTo>
                  <a:pt x="5043" y="1168"/>
                </a:lnTo>
                <a:lnTo>
                  <a:pt x="5043" y="1168"/>
                </a:lnTo>
                <a:lnTo>
                  <a:pt x="5043" y="1168"/>
                </a:lnTo>
                <a:lnTo>
                  <a:pt x="5049" y="1168"/>
                </a:lnTo>
                <a:lnTo>
                  <a:pt x="5049" y="1168"/>
                </a:lnTo>
                <a:lnTo>
                  <a:pt x="5049" y="1162"/>
                </a:lnTo>
                <a:lnTo>
                  <a:pt x="5049" y="1162"/>
                </a:lnTo>
                <a:lnTo>
                  <a:pt x="5049" y="1162"/>
                </a:lnTo>
                <a:lnTo>
                  <a:pt x="5049" y="1162"/>
                </a:lnTo>
                <a:lnTo>
                  <a:pt x="5049" y="1162"/>
                </a:lnTo>
                <a:lnTo>
                  <a:pt x="5049" y="1162"/>
                </a:lnTo>
                <a:lnTo>
                  <a:pt x="5049" y="1157"/>
                </a:lnTo>
                <a:lnTo>
                  <a:pt x="5049" y="1157"/>
                </a:lnTo>
                <a:lnTo>
                  <a:pt x="5049" y="1157"/>
                </a:lnTo>
                <a:lnTo>
                  <a:pt x="5055" y="1157"/>
                </a:lnTo>
                <a:lnTo>
                  <a:pt x="5055" y="1145"/>
                </a:lnTo>
                <a:lnTo>
                  <a:pt x="5055" y="1145"/>
                </a:lnTo>
                <a:lnTo>
                  <a:pt x="5061" y="1139"/>
                </a:lnTo>
                <a:lnTo>
                  <a:pt x="5061" y="1133"/>
                </a:lnTo>
                <a:lnTo>
                  <a:pt x="5061" y="1127"/>
                </a:lnTo>
                <a:lnTo>
                  <a:pt x="5061" y="1127"/>
                </a:lnTo>
                <a:lnTo>
                  <a:pt x="5061" y="1127"/>
                </a:lnTo>
                <a:lnTo>
                  <a:pt x="5061" y="1127"/>
                </a:lnTo>
                <a:lnTo>
                  <a:pt x="5061" y="1115"/>
                </a:lnTo>
                <a:lnTo>
                  <a:pt x="5061" y="1109"/>
                </a:lnTo>
                <a:lnTo>
                  <a:pt x="5061" y="1103"/>
                </a:lnTo>
                <a:lnTo>
                  <a:pt x="5061" y="1103"/>
                </a:lnTo>
                <a:lnTo>
                  <a:pt x="5055" y="1103"/>
                </a:lnTo>
                <a:lnTo>
                  <a:pt x="5055" y="1103"/>
                </a:lnTo>
                <a:lnTo>
                  <a:pt x="5055" y="1103"/>
                </a:lnTo>
                <a:lnTo>
                  <a:pt x="5055" y="1097"/>
                </a:lnTo>
                <a:lnTo>
                  <a:pt x="5055" y="1097"/>
                </a:lnTo>
                <a:lnTo>
                  <a:pt x="5055" y="1097"/>
                </a:lnTo>
                <a:lnTo>
                  <a:pt x="5055" y="1091"/>
                </a:lnTo>
                <a:lnTo>
                  <a:pt x="5055" y="1091"/>
                </a:lnTo>
                <a:lnTo>
                  <a:pt x="5055" y="1091"/>
                </a:lnTo>
                <a:lnTo>
                  <a:pt x="5055" y="1091"/>
                </a:lnTo>
                <a:lnTo>
                  <a:pt x="5055" y="1091"/>
                </a:lnTo>
                <a:lnTo>
                  <a:pt x="5055" y="1091"/>
                </a:lnTo>
                <a:lnTo>
                  <a:pt x="5055" y="1091"/>
                </a:lnTo>
                <a:lnTo>
                  <a:pt x="5055" y="1091"/>
                </a:lnTo>
                <a:lnTo>
                  <a:pt x="5055" y="1091"/>
                </a:lnTo>
                <a:lnTo>
                  <a:pt x="5055" y="1085"/>
                </a:lnTo>
                <a:lnTo>
                  <a:pt x="5055" y="1085"/>
                </a:lnTo>
                <a:lnTo>
                  <a:pt x="5055" y="1085"/>
                </a:lnTo>
                <a:lnTo>
                  <a:pt x="5061" y="1091"/>
                </a:lnTo>
                <a:lnTo>
                  <a:pt x="5055" y="1091"/>
                </a:lnTo>
                <a:lnTo>
                  <a:pt x="5055" y="1091"/>
                </a:lnTo>
                <a:lnTo>
                  <a:pt x="5061" y="1097"/>
                </a:lnTo>
                <a:lnTo>
                  <a:pt x="5061" y="1097"/>
                </a:lnTo>
                <a:lnTo>
                  <a:pt x="5061" y="1103"/>
                </a:lnTo>
                <a:lnTo>
                  <a:pt x="5061" y="1103"/>
                </a:lnTo>
                <a:lnTo>
                  <a:pt x="5061" y="1103"/>
                </a:lnTo>
                <a:lnTo>
                  <a:pt x="5067" y="1103"/>
                </a:lnTo>
                <a:lnTo>
                  <a:pt x="5067" y="1109"/>
                </a:lnTo>
                <a:lnTo>
                  <a:pt x="5067" y="1115"/>
                </a:lnTo>
                <a:lnTo>
                  <a:pt x="5067" y="1121"/>
                </a:lnTo>
                <a:lnTo>
                  <a:pt x="5067" y="1121"/>
                </a:lnTo>
                <a:lnTo>
                  <a:pt x="5067" y="1127"/>
                </a:lnTo>
                <a:lnTo>
                  <a:pt x="5067" y="1127"/>
                </a:lnTo>
                <a:lnTo>
                  <a:pt x="5067" y="1127"/>
                </a:lnTo>
                <a:lnTo>
                  <a:pt x="5061" y="1133"/>
                </a:lnTo>
                <a:lnTo>
                  <a:pt x="5061" y="1139"/>
                </a:lnTo>
                <a:lnTo>
                  <a:pt x="5061" y="1145"/>
                </a:lnTo>
                <a:lnTo>
                  <a:pt x="5061" y="1145"/>
                </a:lnTo>
                <a:lnTo>
                  <a:pt x="5061" y="1145"/>
                </a:lnTo>
                <a:lnTo>
                  <a:pt x="5061" y="1145"/>
                </a:lnTo>
                <a:lnTo>
                  <a:pt x="5061" y="1145"/>
                </a:lnTo>
                <a:lnTo>
                  <a:pt x="5061" y="1151"/>
                </a:lnTo>
                <a:lnTo>
                  <a:pt x="5061" y="1151"/>
                </a:lnTo>
                <a:lnTo>
                  <a:pt x="5061" y="1151"/>
                </a:lnTo>
                <a:lnTo>
                  <a:pt x="5061" y="1151"/>
                </a:lnTo>
                <a:lnTo>
                  <a:pt x="5061" y="1151"/>
                </a:lnTo>
                <a:lnTo>
                  <a:pt x="5061" y="1151"/>
                </a:lnTo>
                <a:lnTo>
                  <a:pt x="5067" y="1151"/>
                </a:lnTo>
                <a:lnTo>
                  <a:pt x="5067" y="1151"/>
                </a:lnTo>
                <a:lnTo>
                  <a:pt x="5073" y="1151"/>
                </a:lnTo>
                <a:lnTo>
                  <a:pt x="5073" y="1151"/>
                </a:lnTo>
                <a:lnTo>
                  <a:pt x="5073" y="1151"/>
                </a:lnTo>
                <a:lnTo>
                  <a:pt x="5073" y="1151"/>
                </a:lnTo>
                <a:lnTo>
                  <a:pt x="5073" y="1145"/>
                </a:lnTo>
                <a:lnTo>
                  <a:pt x="5073" y="1145"/>
                </a:lnTo>
                <a:lnTo>
                  <a:pt x="5073" y="1145"/>
                </a:lnTo>
                <a:lnTo>
                  <a:pt x="5073" y="1145"/>
                </a:lnTo>
                <a:lnTo>
                  <a:pt x="5073" y="1145"/>
                </a:lnTo>
                <a:lnTo>
                  <a:pt x="5073" y="1145"/>
                </a:lnTo>
                <a:lnTo>
                  <a:pt x="5073" y="1145"/>
                </a:lnTo>
                <a:lnTo>
                  <a:pt x="5073" y="1139"/>
                </a:lnTo>
                <a:lnTo>
                  <a:pt x="5078" y="1139"/>
                </a:lnTo>
                <a:lnTo>
                  <a:pt x="5078" y="1139"/>
                </a:lnTo>
                <a:lnTo>
                  <a:pt x="5078" y="1133"/>
                </a:lnTo>
                <a:lnTo>
                  <a:pt x="5078" y="1133"/>
                </a:lnTo>
                <a:lnTo>
                  <a:pt x="5084" y="1133"/>
                </a:lnTo>
                <a:lnTo>
                  <a:pt x="5084" y="1133"/>
                </a:lnTo>
                <a:lnTo>
                  <a:pt x="5084" y="1133"/>
                </a:lnTo>
                <a:lnTo>
                  <a:pt x="5084" y="1133"/>
                </a:lnTo>
                <a:lnTo>
                  <a:pt x="5084" y="1133"/>
                </a:lnTo>
                <a:lnTo>
                  <a:pt x="5084" y="1127"/>
                </a:lnTo>
                <a:lnTo>
                  <a:pt x="5090" y="1127"/>
                </a:lnTo>
                <a:lnTo>
                  <a:pt x="5090" y="1127"/>
                </a:lnTo>
                <a:lnTo>
                  <a:pt x="5084" y="1127"/>
                </a:lnTo>
                <a:lnTo>
                  <a:pt x="5090" y="1127"/>
                </a:lnTo>
                <a:lnTo>
                  <a:pt x="5090" y="1127"/>
                </a:lnTo>
                <a:lnTo>
                  <a:pt x="5090" y="1127"/>
                </a:lnTo>
                <a:lnTo>
                  <a:pt x="5090" y="1127"/>
                </a:lnTo>
                <a:lnTo>
                  <a:pt x="5090" y="1127"/>
                </a:lnTo>
                <a:lnTo>
                  <a:pt x="5090" y="1127"/>
                </a:lnTo>
                <a:lnTo>
                  <a:pt x="5090" y="1127"/>
                </a:lnTo>
                <a:lnTo>
                  <a:pt x="5090" y="1127"/>
                </a:lnTo>
                <a:lnTo>
                  <a:pt x="5090" y="1127"/>
                </a:lnTo>
                <a:lnTo>
                  <a:pt x="5096" y="1127"/>
                </a:lnTo>
                <a:lnTo>
                  <a:pt x="5096" y="1127"/>
                </a:lnTo>
                <a:lnTo>
                  <a:pt x="5096" y="1127"/>
                </a:lnTo>
                <a:lnTo>
                  <a:pt x="5096" y="1121"/>
                </a:lnTo>
                <a:lnTo>
                  <a:pt x="5096" y="1121"/>
                </a:lnTo>
                <a:lnTo>
                  <a:pt x="5096" y="1121"/>
                </a:lnTo>
                <a:lnTo>
                  <a:pt x="5102" y="1127"/>
                </a:lnTo>
                <a:lnTo>
                  <a:pt x="5102" y="1121"/>
                </a:lnTo>
                <a:lnTo>
                  <a:pt x="5102" y="1121"/>
                </a:lnTo>
                <a:lnTo>
                  <a:pt x="5102" y="1121"/>
                </a:lnTo>
                <a:lnTo>
                  <a:pt x="5102" y="1121"/>
                </a:lnTo>
                <a:lnTo>
                  <a:pt x="5108" y="1121"/>
                </a:lnTo>
                <a:lnTo>
                  <a:pt x="5108" y="1115"/>
                </a:lnTo>
                <a:lnTo>
                  <a:pt x="5114" y="1115"/>
                </a:lnTo>
                <a:lnTo>
                  <a:pt x="5114" y="1115"/>
                </a:lnTo>
                <a:lnTo>
                  <a:pt x="5114" y="1115"/>
                </a:lnTo>
                <a:lnTo>
                  <a:pt x="5120" y="1115"/>
                </a:lnTo>
                <a:lnTo>
                  <a:pt x="5120" y="1115"/>
                </a:lnTo>
                <a:lnTo>
                  <a:pt x="5120" y="1115"/>
                </a:lnTo>
                <a:lnTo>
                  <a:pt x="5120" y="1115"/>
                </a:lnTo>
                <a:lnTo>
                  <a:pt x="5120" y="1115"/>
                </a:lnTo>
                <a:lnTo>
                  <a:pt x="5120" y="1115"/>
                </a:lnTo>
                <a:lnTo>
                  <a:pt x="5120" y="1109"/>
                </a:lnTo>
                <a:lnTo>
                  <a:pt x="5126" y="1109"/>
                </a:lnTo>
                <a:lnTo>
                  <a:pt x="5126" y="1109"/>
                </a:lnTo>
                <a:lnTo>
                  <a:pt x="5126" y="1109"/>
                </a:lnTo>
                <a:lnTo>
                  <a:pt x="5126" y="1109"/>
                </a:lnTo>
                <a:lnTo>
                  <a:pt x="5126" y="1115"/>
                </a:lnTo>
                <a:lnTo>
                  <a:pt x="5126" y="1109"/>
                </a:lnTo>
                <a:lnTo>
                  <a:pt x="5126" y="1109"/>
                </a:lnTo>
                <a:lnTo>
                  <a:pt x="5126" y="1109"/>
                </a:lnTo>
                <a:lnTo>
                  <a:pt x="5132" y="1109"/>
                </a:lnTo>
                <a:lnTo>
                  <a:pt x="5132" y="1109"/>
                </a:lnTo>
                <a:lnTo>
                  <a:pt x="5132" y="1109"/>
                </a:lnTo>
                <a:lnTo>
                  <a:pt x="5132" y="1109"/>
                </a:lnTo>
                <a:lnTo>
                  <a:pt x="5132" y="1109"/>
                </a:lnTo>
                <a:lnTo>
                  <a:pt x="5132" y="1109"/>
                </a:lnTo>
                <a:lnTo>
                  <a:pt x="5132" y="1103"/>
                </a:lnTo>
                <a:lnTo>
                  <a:pt x="5132" y="1103"/>
                </a:lnTo>
                <a:lnTo>
                  <a:pt x="5132" y="1103"/>
                </a:lnTo>
                <a:lnTo>
                  <a:pt x="5132" y="1103"/>
                </a:lnTo>
                <a:lnTo>
                  <a:pt x="5132" y="1109"/>
                </a:lnTo>
                <a:lnTo>
                  <a:pt x="5132" y="1109"/>
                </a:lnTo>
                <a:lnTo>
                  <a:pt x="5132" y="1109"/>
                </a:lnTo>
                <a:lnTo>
                  <a:pt x="5132" y="1103"/>
                </a:lnTo>
                <a:lnTo>
                  <a:pt x="5132" y="1103"/>
                </a:lnTo>
                <a:lnTo>
                  <a:pt x="5132" y="1103"/>
                </a:lnTo>
                <a:lnTo>
                  <a:pt x="5138" y="1103"/>
                </a:lnTo>
                <a:lnTo>
                  <a:pt x="5138" y="1103"/>
                </a:lnTo>
                <a:lnTo>
                  <a:pt x="5138" y="1109"/>
                </a:lnTo>
                <a:lnTo>
                  <a:pt x="5138" y="1109"/>
                </a:lnTo>
                <a:lnTo>
                  <a:pt x="5138" y="1109"/>
                </a:lnTo>
                <a:lnTo>
                  <a:pt x="5144" y="1109"/>
                </a:lnTo>
                <a:lnTo>
                  <a:pt x="5144" y="1109"/>
                </a:lnTo>
                <a:lnTo>
                  <a:pt x="5144" y="1109"/>
                </a:lnTo>
                <a:lnTo>
                  <a:pt x="5144" y="1109"/>
                </a:lnTo>
                <a:lnTo>
                  <a:pt x="5144" y="1103"/>
                </a:lnTo>
                <a:lnTo>
                  <a:pt x="5144" y="1103"/>
                </a:lnTo>
                <a:lnTo>
                  <a:pt x="5144" y="1103"/>
                </a:lnTo>
                <a:lnTo>
                  <a:pt x="5144" y="1103"/>
                </a:lnTo>
                <a:lnTo>
                  <a:pt x="5144" y="1103"/>
                </a:lnTo>
                <a:lnTo>
                  <a:pt x="5144" y="1103"/>
                </a:lnTo>
                <a:lnTo>
                  <a:pt x="5144" y="1103"/>
                </a:lnTo>
                <a:lnTo>
                  <a:pt x="5144" y="1103"/>
                </a:lnTo>
                <a:lnTo>
                  <a:pt x="5144" y="1097"/>
                </a:lnTo>
                <a:lnTo>
                  <a:pt x="5150" y="1097"/>
                </a:lnTo>
                <a:lnTo>
                  <a:pt x="5150" y="1103"/>
                </a:lnTo>
                <a:lnTo>
                  <a:pt x="5150" y="1103"/>
                </a:lnTo>
                <a:lnTo>
                  <a:pt x="5150" y="1097"/>
                </a:lnTo>
                <a:lnTo>
                  <a:pt x="5150" y="1097"/>
                </a:lnTo>
                <a:lnTo>
                  <a:pt x="5150" y="1097"/>
                </a:lnTo>
                <a:lnTo>
                  <a:pt x="5155" y="1097"/>
                </a:lnTo>
                <a:lnTo>
                  <a:pt x="5155" y="1091"/>
                </a:lnTo>
                <a:lnTo>
                  <a:pt x="5161" y="1091"/>
                </a:lnTo>
                <a:lnTo>
                  <a:pt x="5161" y="1091"/>
                </a:lnTo>
                <a:lnTo>
                  <a:pt x="5161" y="1091"/>
                </a:lnTo>
                <a:lnTo>
                  <a:pt x="5161" y="1091"/>
                </a:lnTo>
                <a:lnTo>
                  <a:pt x="5161" y="1091"/>
                </a:lnTo>
                <a:lnTo>
                  <a:pt x="5161" y="1085"/>
                </a:lnTo>
                <a:lnTo>
                  <a:pt x="5161" y="1085"/>
                </a:lnTo>
                <a:lnTo>
                  <a:pt x="5161" y="1085"/>
                </a:lnTo>
                <a:lnTo>
                  <a:pt x="5161" y="1085"/>
                </a:lnTo>
                <a:lnTo>
                  <a:pt x="5161" y="1085"/>
                </a:lnTo>
                <a:lnTo>
                  <a:pt x="5161" y="1091"/>
                </a:lnTo>
                <a:lnTo>
                  <a:pt x="5161" y="1091"/>
                </a:lnTo>
                <a:lnTo>
                  <a:pt x="5161" y="1091"/>
                </a:lnTo>
                <a:lnTo>
                  <a:pt x="5161" y="1091"/>
                </a:lnTo>
                <a:lnTo>
                  <a:pt x="5161" y="1091"/>
                </a:lnTo>
                <a:lnTo>
                  <a:pt x="5161" y="1091"/>
                </a:lnTo>
                <a:lnTo>
                  <a:pt x="5161" y="1097"/>
                </a:lnTo>
                <a:lnTo>
                  <a:pt x="5167" y="1097"/>
                </a:lnTo>
                <a:lnTo>
                  <a:pt x="5167" y="1097"/>
                </a:lnTo>
                <a:lnTo>
                  <a:pt x="5167" y="1091"/>
                </a:lnTo>
                <a:lnTo>
                  <a:pt x="5167" y="1091"/>
                </a:lnTo>
                <a:lnTo>
                  <a:pt x="5167" y="1091"/>
                </a:lnTo>
                <a:lnTo>
                  <a:pt x="5167" y="1091"/>
                </a:lnTo>
                <a:lnTo>
                  <a:pt x="5173" y="1091"/>
                </a:lnTo>
                <a:lnTo>
                  <a:pt x="5173" y="1091"/>
                </a:lnTo>
                <a:lnTo>
                  <a:pt x="5173" y="1091"/>
                </a:lnTo>
                <a:lnTo>
                  <a:pt x="5173" y="1091"/>
                </a:lnTo>
                <a:lnTo>
                  <a:pt x="5179" y="1091"/>
                </a:lnTo>
                <a:lnTo>
                  <a:pt x="5179" y="1091"/>
                </a:lnTo>
                <a:lnTo>
                  <a:pt x="5179" y="1091"/>
                </a:lnTo>
                <a:lnTo>
                  <a:pt x="5179" y="1091"/>
                </a:lnTo>
                <a:lnTo>
                  <a:pt x="5179" y="1091"/>
                </a:lnTo>
                <a:lnTo>
                  <a:pt x="5179" y="1091"/>
                </a:lnTo>
                <a:lnTo>
                  <a:pt x="5179" y="1091"/>
                </a:lnTo>
                <a:lnTo>
                  <a:pt x="5185" y="1091"/>
                </a:lnTo>
                <a:lnTo>
                  <a:pt x="5185" y="1091"/>
                </a:lnTo>
                <a:lnTo>
                  <a:pt x="5185" y="1091"/>
                </a:lnTo>
                <a:lnTo>
                  <a:pt x="5185" y="1091"/>
                </a:lnTo>
                <a:lnTo>
                  <a:pt x="5191" y="1091"/>
                </a:lnTo>
                <a:lnTo>
                  <a:pt x="5191" y="1091"/>
                </a:lnTo>
                <a:lnTo>
                  <a:pt x="5191" y="1091"/>
                </a:lnTo>
                <a:lnTo>
                  <a:pt x="5197" y="1091"/>
                </a:lnTo>
                <a:lnTo>
                  <a:pt x="5197" y="1091"/>
                </a:lnTo>
                <a:lnTo>
                  <a:pt x="5197" y="1091"/>
                </a:lnTo>
                <a:lnTo>
                  <a:pt x="5197" y="1091"/>
                </a:lnTo>
                <a:lnTo>
                  <a:pt x="5197" y="1091"/>
                </a:lnTo>
                <a:lnTo>
                  <a:pt x="5197" y="1091"/>
                </a:lnTo>
                <a:lnTo>
                  <a:pt x="5203" y="1091"/>
                </a:lnTo>
                <a:lnTo>
                  <a:pt x="5203" y="1091"/>
                </a:lnTo>
                <a:lnTo>
                  <a:pt x="5203" y="1091"/>
                </a:lnTo>
                <a:lnTo>
                  <a:pt x="5203" y="1091"/>
                </a:lnTo>
                <a:lnTo>
                  <a:pt x="5203" y="1091"/>
                </a:lnTo>
                <a:lnTo>
                  <a:pt x="5203" y="1091"/>
                </a:lnTo>
                <a:lnTo>
                  <a:pt x="5203" y="1091"/>
                </a:lnTo>
                <a:lnTo>
                  <a:pt x="5209" y="1091"/>
                </a:lnTo>
                <a:lnTo>
                  <a:pt x="5209" y="1091"/>
                </a:lnTo>
                <a:lnTo>
                  <a:pt x="5215" y="1091"/>
                </a:lnTo>
                <a:lnTo>
                  <a:pt x="5215" y="1091"/>
                </a:lnTo>
                <a:lnTo>
                  <a:pt x="5215" y="1091"/>
                </a:lnTo>
                <a:lnTo>
                  <a:pt x="5215" y="1091"/>
                </a:lnTo>
                <a:lnTo>
                  <a:pt x="5215" y="1085"/>
                </a:lnTo>
                <a:lnTo>
                  <a:pt x="5215" y="1085"/>
                </a:lnTo>
                <a:lnTo>
                  <a:pt x="5215" y="1085"/>
                </a:lnTo>
                <a:lnTo>
                  <a:pt x="5215" y="1079"/>
                </a:lnTo>
                <a:lnTo>
                  <a:pt x="5215" y="1079"/>
                </a:lnTo>
                <a:lnTo>
                  <a:pt x="5215" y="1079"/>
                </a:lnTo>
                <a:lnTo>
                  <a:pt x="5215" y="1079"/>
                </a:lnTo>
                <a:lnTo>
                  <a:pt x="5215" y="1079"/>
                </a:lnTo>
                <a:lnTo>
                  <a:pt x="5215" y="1079"/>
                </a:lnTo>
                <a:lnTo>
                  <a:pt x="5215" y="1079"/>
                </a:lnTo>
                <a:lnTo>
                  <a:pt x="5215" y="1085"/>
                </a:lnTo>
                <a:lnTo>
                  <a:pt x="5215" y="1085"/>
                </a:lnTo>
                <a:lnTo>
                  <a:pt x="5215" y="1085"/>
                </a:lnTo>
                <a:lnTo>
                  <a:pt x="5215" y="1085"/>
                </a:lnTo>
                <a:lnTo>
                  <a:pt x="5215" y="1085"/>
                </a:lnTo>
                <a:lnTo>
                  <a:pt x="5215" y="1085"/>
                </a:lnTo>
                <a:lnTo>
                  <a:pt x="5215" y="1085"/>
                </a:lnTo>
                <a:lnTo>
                  <a:pt x="5215" y="1085"/>
                </a:lnTo>
                <a:lnTo>
                  <a:pt x="5215" y="1085"/>
                </a:lnTo>
                <a:lnTo>
                  <a:pt x="5221" y="1085"/>
                </a:lnTo>
                <a:lnTo>
                  <a:pt x="5221" y="1091"/>
                </a:lnTo>
                <a:lnTo>
                  <a:pt x="5221" y="1091"/>
                </a:lnTo>
                <a:lnTo>
                  <a:pt x="5227" y="1085"/>
                </a:lnTo>
                <a:lnTo>
                  <a:pt x="5227" y="1085"/>
                </a:lnTo>
                <a:lnTo>
                  <a:pt x="5227" y="1085"/>
                </a:lnTo>
                <a:lnTo>
                  <a:pt x="5233" y="1085"/>
                </a:lnTo>
                <a:lnTo>
                  <a:pt x="5233" y="1085"/>
                </a:lnTo>
                <a:lnTo>
                  <a:pt x="5233" y="1085"/>
                </a:lnTo>
                <a:lnTo>
                  <a:pt x="5238" y="1085"/>
                </a:lnTo>
                <a:lnTo>
                  <a:pt x="5238" y="1085"/>
                </a:lnTo>
                <a:lnTo>
                  <a:pt x="5244" y="1085"/>
                </a:lnTo>
                <a:lnTo>
                  <a:pt x="5244" y="1079"/>
                </a:lnTo>
                <a:lnTo>
                  <a:pt x="5244" y="1079"/>
                </a:lnTo>
                <a:lnTo>
                  <a:pt x="5250" y="1085"/>
                </a:lnTo>
                <a:lnTo>
                  <a:pt x="5256" y="1079"/>
                </a:lnTo>
                <a:lnTo>
                  <a:pt x="5256" y="1079"/>
                </a:lnTo>
                <a:lnTo>
                  <a:pt x="5256" y="1079"/>
                </a:lnTo>
                <a:lnTo>
                  <a:pt x="5262" y="1079"/>
                </a:lnTo>
                <a:lnTo>
                  <a:pt x="5262" y="1079"/>
                </a:lnTo>
                <a:lnTo>
                  <a:pt x="5262" y="1085"/>
                </a:lnTo>
                <a:lnTo>
                  <a:pt x="5262" y="1085"/>
                </a:lnTo>
                <a:lnTo>
                  <a:pt x="5268" y="1085"/>
                </a:lnTo>
                <a:lnTo>
                  <a:pt x="5268" y="1085"/>
                </a:lnTo>
                <a:lnTo>
                  <a:pt x="5268" y="1085"/>
                </a:lnTo>
                <a:lnTo>
                  <a:pt x="5262" y="1085"/>
                </a:lnTo>
                <a:lnTo>
                  <a:pt x="5262" y="1085"/>
                </a:lnTo>
                <a:lnTo>
                  <a:pt x="5268" y="1085"/>
                </a:lnTo>
                <a:lnTo>
                  <a:pt x="5268" y="1085"/>
                </a:lnTo>
                <a:lnTo>
                  <a:pt x="5274" y="1085"/>
                </a:lnTo>
                <a:lnTo>
                  <a:pt x="5292" y="1079"/>
                </a:lnTo>
                <a:lnTo>
                  <a:pt x="5298" y="1079"/>
                </a:lnTo>
                <a:lnTo>
                  <a:pt x="5298" y="1079"/>
                </a:lnTo>
                <a:lnTo>
                  <a:pt x="5298" y="1079"/>
                </a:lnTo>
                <a:lnTo>
                  <a:pt x="5304" y="1079"/>
                </a:lnTo>
                <a:lnTo>
                  <a:pt x="5304" y="1079"/>
                </a:lnTo>
                <a:lnTo>
                  <a:pt x="5304" y="1079"/>
                </a:lnTo>
                <a:lnTo>
                  <a:pt x="5304" y="1074"/>
                </a:lnTo>
                <a:lnTo>
                  <a:pt x="5304" y="1074"/>
                </a:lnTo>
                <a:lnTo>
                  <a:pt x="5304" y="1074"/>
                </a:lnTo>
                <a:lnTo>
                  <a:pt x="5304" y="1074"/>
                </a:lnTo>
                <a:lnTo>
                  <a:pt x="5310" y="1068"/>
                </a:lnTo>
                <a:lnTo>
                  <a:pt x="5310" y="1068"/>
                </a:lnTo>
                <a:lnTo>
                  <a:pt x="5310" y="1062"/>
                </a:lnTo>
                <a:lnTo>
                  <a:pt x="5310" y="1062"/>
                </a:lnTo>
                <a:lnTo>
                  <a:pt x="5310" y="1056"/>
                </a:lnTo>
                <a:lnTo>
                  <a:pt x="5310" y="1056"/>
                </a:lnTo>
                <a:lnTo>
                  <a:pt x="5310" y="1056"/>
                </a:lnTo>
                <a:lnTo>
                  <a:pt x="5310" y="1050"/>
                </a:lnTo>
                <a:lnTo>
                  <a:pt x="5310" y="1050"/>
                </a:lnTo>
                <a:lnTo>
                  <a:pt x="5310" y="1050"/>
                </a:lnTo>
                <a:lnTo>
                  <a:pt x="5310" y="1050"/>
                </a:lnTo>
                <a:lnTo>
                  <a:pt x="5310" y="1050"/>
                </a:lnTo>
                <a:lnTo>
                  <a:pt x="5310" y="1044"/>
                </a:lnTo>
                <a:lnTo>
                  <a:pt x="5310" y="1044"/>
                </a:lnTo>
                <a:lnTo>
                  <a:pt x="5310" y="1044"/>
                </a:lnTo>
                <a:lnTo>
                  <a:pt x="5310" y="1038"/>
                </a:lnTo>
                <a:lnTo>
                  <a:pt x="5310" y="1038"/>
                </a:lnTo>
                <a:lnTo>
                  <a:pt x="5310" y="1038"/>
                </a:lnTo>
                <a:lnTo>
                  <a:pt x="5310" y="1038"/>
                </a:lnTo>
                <a:lnTo>
                  <a:pt x="5310" y="1038"/>
                </a:lnTo>
                <a:lnTo>
                  <a:pt x="5310" y="1038"/>
                </a:lnTo>
                <a:lnTo>
                  <a:pt x="5310" y="1038"/>
                </a:lnTo>
                <a:lnTo>
                  <a:pt x="5310" y="1038"/>
                </a:lnTo>
                <a:lnTo>
                  <a:pt x="5310" y="1038"/>
                </a:lnTo>
                <a:lnTo>
                  <a:pt x="5310" y="1038"/>
                </a:lnTo>
                <a:lnTo>
                  <a:pt x="5315" y="1038"/>
                </a:lnTo>
                <a:lnTo>
                  <a:pt x="5315" y="1038"/>
                </a:lnTo>
                <a:lnTo>
                  <a:pt x="5315" y="1032"/>
                </a:lnTo>
                <a:lnTo>
                  <a:pt x="5315" y="1032"/>
                </a:lnTo>
                <a:lnTo>
                  <a:pt x="5315" y="1032"/>
                </a:lnTo>
                <a:lnTo>
                  <a:pt x="5315" y="1032"/>
                </a:lnTo>
                <a:lnTo>
                  <a:pt x="5315" y="1032"/>
                </a:lnTo>
                <a:lnTo>
                  <a:pt x="5315" y="1032"/>
                </a:lnTo>
                <a:lnTo>
                  <a:pt x="5315" y="1032"/>
                </a:lnTo>
                <a:lnTo>
                  <a:pt x="5310" y="1032"/>
                </a:lnTo>
                <a:lnTo>
                  <a:pt x="5310" y="1026"/>
                </a:lnTo>
                <a:lnTo>
                  <a:pt x="5310" y="1026"/>
                </a:lnTo>
                <a:lnTo>
                  <a:pt x="5310" y="1026"/>
                </a:lnTo>
                <a:lnTo>
                  <a:pt x="5310" y="1020"/>
                </a:lnTo>
                <a:lnTo>
                  <a:pt x="5310" y="1020"/>
                </a:lnTo>
                <a:lnTo>
                  <a:pt x="5310" y="1020"/>
                </a:lnTo>
                <a:lnTo>
                  <a:pt x="5315" y="1020"/>
                </a:lnTo>
                <a:lnTo>
                  <a:pt x="5315" y="1020"/>
                </a:lnTo>
                <a:lnTo>
                  <a:pt x="5315" y="1026"/>
                </a:lnTo>
                <a:lnTo>
                  <a:pt x="5315" y="1026"/>
                </a:lnTo>
                <a:lnTo>
                  <a:pt x="5315" y="1026"/>
                </a:lnTo>
                <a:lnTo>
                  <a:pt x="5315" y="1032"/>
                </a:lnTo>
                <a:lnTo>
                  <a:pt x="5321" y="1032"/>
                </a:lnTo>
                <a:lnTo>
                  <a:pt x="5321" y="1032"/>
                </a:lnTo>
                <a:lnTo>
                  <a:pt x="5321" y="1032"/>
                </a:lnTo>
                <a:lnTo>
                  <a:pt x="5321" y="1032"/>
                </a:lnTo>
                <a:lnTo>
                  <a:pt x="5321" y="1032"/>
                </a:lnTo>
                <a:lnTo>
                  <a:pt x="5321" y="1032"/>
                </a:lnTo>
                <a:lnTo>
                  <a:pt x="5321" y="1026"/>
                </a:lnTo>
                <a:lnTo>
                  <a:pt x="5321" y="1026"/>
                </a:lnTo>
                <a:lnTo>
                  <a:pt x="5321" y="1026"/>
                </a:lnTo>
                <a:lnTo>
                  <a:pt x="5321" y="1026"/>
                </a:lnTo>
                <a:lnTo>
                  <a:pt x="5321" y="1026"/>
                </a:lnTo>
                <a:lnTo>
                  <a:pt x="5321" y="1032"/>
                </a:lnTo>
                <a:lnTo>
                  <a:pt x="5321" y="1032"/>
                </a:lnTo>
                <a:lnTo>
                  <a:pt x="5321" y="1032"/>
                </a:lnTo>
                <a:lnTo>
                  <a:pt x="5321" y="1032"/>
                </a:lnTo>
                <a:lnTo>
                  <a:pt x="5321" y="1032"/>
                </a:lnTo>
                <a:lnTo>
                  <a:pt x="5321" y="1038"/>
                </a:lnTo>
                <a:lnTo>
                  <a:pt x="5321" y="1038"/>
                </a:lnTo>
                <a:lnTo>
                  <a:pt x="5321" y="1038"/>
                </a:lnTo>
                <a:lnTo>
                  <a:pt x="5321" y="1038"/>
                </a:lnTo>
                <a:lnTo>
                  <a:pt x="5327" y="1044"/>
                </a:lnTo>
                <a:lnTo>
                  <a:pt x="5327" y="1038"/>
                </a:lnTo>
                <a:lnTo>
                  <a:pt x="5327" y="1038"/>
                </a:lnTo>
                <a:lnTo>
                  <a:pt x="5327" y="1038"/>
                </a:lnTo>
                <a:lnTo>
                  <a:pt x="5327" y="1038"/>
                </a:lnTo>
                <a:lnTo>
                  <a:pt x="5327" y="1038"/>
                </a:lnTo>
                <a:lnTo>
                  <a:pt x="5327" y="1038"/>
                </a:lnTo>
                <a:lnTo>
                  <a:pt x="5327" y="1038"/>
                </a:lnTo>
                <a:lnTo>
                  <a:pt x="5327" y="1032"/>
                </a:lnTo>
                <a:lnTo>
                  <a:pt x="5327" y="1032"/>
                </a:lnTo>
                <a:lnTo>
                  <a:pt x="5327" y="1032"/>
                </a:lnTo>
                <a:lnTo>
                  <a:pt x="5327" y="1032"/>
                </a:lnTo>
                <a:lnTo>
                  <a:pt x="5327" y="1032"/>
                </a:lnTo>
                <a:lnTo>
                  <a:pt x="5327" y="1032"/>
                </a:lnTo>
                <a:lnTo>
                  <a:pt x="5327" y="1032"/>
                </a:lnTo>
                <a:lnTo>
                  <a:pt x="5327" y="1032"/>
                </a:lnTo>
                <a:lnTo>
                  <a:pt x="5327" y="1032"/>
                </a:lnTo>
                <a:lnTo>
                  <a:pt x="5333" y="1032"/>
                </a:lnTo>
                <a:lnTo>
                  <a:pt x="5333" y="1032"/>
                </a:lnTo>
                <a:lnTo>
                  <a:pt x="5333" y="1032"/>
                </a:lnTo>
                <a:lnTo>
                  <a:pt x="5333" y="1032"/>
                </a:lnTo>
                <a:lnTo>
                  <a:pt x="5333" y="1032"/>
                </a:lnTo>
                <a:lnTo>
                  <a:pt x="5333" y="1032"/>
                </a:lnTo>
                <a:lnTo>
                  <a:pt x="5333" y="1026"/>
                </a:lnTo>
                <a:lnTo>
                  <a:pt x="5339" y="1026"/>
                </a:lnTo>
                <a:lnTo>
                  <a:pt x="5339" y="1020"/>
                </a:lnTo>
                <a:lnTo>
                  <a:pt x="5339" y="1020"/>
                </a:lnTo>
                <a:lnTo>
                  <a:pt x="5339" y="1020"/>
                </a:lnTo>
                <a:lnTo>
                  <a:pt x="5339" y="1026"/>
                </a:lnTo>
                <a:lnTo>
                  <a:pt x="5333" y="1032"/>
                </a:lnTo>
                <a:lnTo>
                  <a:pt x="5333" y="1038"/>
                </a:lnTo>
                <a:lnTo>
                  <a:pt x="5333" y="1038"/>
                </a:lnTo>
                <a:lnTo>
                  <a:pt x="5333" y="1038"/>
                </a:lnTo>
                <a:lnTo>
                  <a:pt x="5333" y="1044"/>
                </a:lnTo>
                <a:lnTo>
                  <a:pt x="5327" y="1044"/>
                </a:lnTo>
                <a:lnTo>
                  <a:pt x="5327" y="1050"/>
                </a:lnTo>
                <a:lnTo>
                  <a:pt x="5333" y="1056"/>
                </a:lnTo>
                <a:lnTo>
                  <a:pt x="5333" y="1056"/>
                </a:lnTo>
                <a:lnTo>
                  <a:pt x="5333" y="1062"/>
                </a:lnTo>
                <a:lnTo>
                  <a:pt x="5333" y="1062"/>
                </a:lnTo>
                <a:lnTo>
                  <a:pt x="5333" y="1062"/>
                </a:lnTo>
                <a:lnTo>
                  <a:pt x="5333" y="1062"/>
                </a:lnTo>
                <a:lnTo>
                  <a:pt x="5333" y="1062"/>
                </a:lnTo>
                <a:lnTo>
                  <a:pt x="5333" y="1062"/>
                </a:lnTo>
                <a:lnTo>
                  <a:pt x="5333" y="1068"/>
                </a:lnTo>
                <a:lnTo>
                  <a:pt x="5333" y="1062"/>
                </a:lnTo>
                <a:lnTo>
                  <a:pt x="5339" y="1062"/>
                </a:lnTo>
                <a:lnTo>
                  <a:pt x="5339" y="1056"/>
                </a:lnTo>
                <a:lnTo>
                  <a:pt x="5339" y="1056"/>
                </a:lnTo>
                <a:lnTo>
                  <a:pt x="5339" y="1056"/>
                </a:lnTo>
                <a:lnTo>
                  <a:pt x="5345" y="1056"/>
                </a:lnTo>
                <a:lnTo>
                  <a:pt x="5345" y="1056"/>
                </a:lnTo>
                <a:lnTo>
                  <a:pt x="5345" y="1056"/>
                </a:lnTo>
                <a:lnTo>
                  <a:pt x="5345" y="1056"/>
                </a:lnTo>
                <a:lnTo>
                  <a:pt x="5345" y="1056"/>
                </a:lnTo>
                <a:lnTo>
                  <a:pt x="5345" y="1056"/>
                </a:lnTo>
                <a:lnTo>
                  <a:pt x="5345" y="1056"/>
                </a:lnTo>
                <a:lnTo>
                  <a:pt x="5345" y="1056"/>
                </a:lnTo>
                <a:lnTo>
                  <a:pt x="5345" y="1062"/>
                </a:lnTo>
                <a:lnTo>
                  <a:pt x="5345" y="1062"/>
                </a:lnTo>
                <a:lnTo>
                  <a:pt x="5351" y="1062"/>
                </a:lnTo>
                <a:lnTo>
                  <a:pt x="5351" y="1056"/>
                </a:lnTo>
                <a:lnTo>
                  <a:pt x="5351" y="1056"/>
                </a:lnTo>
                <a:lnTo>
                  <a:pt x="5351" y="1056"/>
                </a:lnTo>
                <a:lnTo>
                  <a:pt x="5351" y="1056"/>
                </a:lnTo>
                <a:lnTo>
                  <a:pt x="5357" y="1056"/>
                </a:lnTo>
                <a:lnTo>
                  <a:pt x="5357" y="1056"/>
                </a:lnTo>
                <a:lnTo>
                  <a:pt x="5357" y="1056"/>
                </a:lnTo>
                <a:lnTo>
                  <a:pt x="5357" y="1050"/>
                </a:lnTo>
                <a:lnTo>
                  <a:pt x="5357" y="1050"/>
                </a:lnTo>
                <a:lnTo>
                  <a:pt x="5357" y="1050"/>
                </a:lnTo>
                <a:lnTo>
                  <a:pt x="5357" y="1050"/>
                </a:lnTo>
                <a:lnTo>
                  <a:pt x="5363" y="1044"/>
                </a:lnTo>
                <a:lnTo>
                  <a:pt x="5363" y="1044"/>
                </a:lnTo>
                <a:lnTo>
                  <a:pt x="5363" y="1044"/>
                </a:lnTo>
                <a:lnTo>
                  <a:pt x="5363" y="1044"/>
                </a:lnTo>
                <a:lnTo>
                  <a:pt x="5363" y="1044"/>
                </a:lnTo>
                <a:lnTo>
                  <a:pt x="5363" y="1044"/>
                </a:lnTo>
                <a:lnTo>
                  <a:pt x="5363" y="1044"/>
                </a:lnTo>
                <a:lnTo>
                  <a:pt x="5363" y="1050"/>
                </a:lnTo>
                <a:lnTo>
                  <a:pt x="5363" y="1050"/>
                </a:lnTo>
                <a:lnTo>
                  <a:pt x="5369" y="1050"/>
                </a:lnTo>
                <a:lnTo>
                  <a:pt x="5369" y="1050"/>
                </a:lnTo>
                <a:lnTo>
                  <a:pt x="5369" y="1050"/>
                </a:lnTo>
                <a:lnTo>
                  <a:pt x="5369" y="1044"/>
                </a:lnTo>
                <a:lnTo>
                  <a:pt x="5369" y="1044"/>
                </a:lnTo>
                <a:lnTo>
                  <a:pt x="5369" y="1044"/>
                </a:lnTo>
                <a:lnTo>
                  <a:pt x="5369" y="1044"/>
                </a:lnTo>
                <a:lnTo>
                  <a:pt x="5369" y="1044"/>
                </a:lnTo>
                <a:lnTo>
                  <a:pt x="5369" y="1044"/>
                </a:lnTo>
                <a:lnTo>
                  <a:pt x="5369" y="1044"/>
                </a:lnTo>
                <a:lnTo>
                  <a:pt x="5369" y="1044"/>
                </a:lnTo>
                <a:lnTo>
                  <a:pt x="5369" y="1038"/>
                </a:lnTo>
                <a:lnTo>
                  <a:pt x="5375" y="1038"/>
                </a:lnTo>
                <a:lnTo>
                  <a:pt x="5375" y="1038"/>
                </a:lnTo>
                <a:lnTo>
                  <a:pt x="5375" y="1044"/>
                </a:lnTo>
                <a:lnTo>
                  <a:pt x="5375" y="1038"/>
                </a:lnTo>
                <a:lnTo>
                  <a:pt x="5375" y="1038"/>
                </a:lnTo>
                <a:lnTo>
                  <a:pt x="5375" y="1038"/>
                </a:lnTo>
                <a:lnTo>
                  <a:pt x="5381" y="1038"/>
                </a:lnTo>
                <a:lnTo>
                  <a:pt x="5381" y="1032"/>
                </a:lnTo>
                <a:lnTo>
                  <a:pt x="5381" y="1032"/>
                </a:lnTo>
                <a:lnTo>
                  <a:pt x="5381" y="1026"/>
                </a:lnTo>
                <a:lnTo>
                  <a:pt x="5381" y="1026"/>
                </a:lnTo>
                <a:lnTo>
                  <a:pt x="5381"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8"/>
                </a:lnTo>
                <a:lnTo>
                  <a:pt x="5387" y="1038"/>
                </a:lnTo>
                <a:lnTo>
                  <a:pt x="5387" y="1038"/>
                </a:lnTo>
                <a:lnTo>
                  <a:pt x="5387" y="1038"/>
                </a:lnTo>
                <a:lnTo>
                  <a:pt x="5387" y="1038"/>
                </a:lnTo>
                <a:lnTo>
                  <a:pt x="5387" y="1044"/>
                </a:lnTo>
                <a:lnTo>
                  <a:pt x="5387" y="1050"/>
                </a:lnTo>
                <a:lnTo>
                  <a:pt x="5387" y="1056"/>
                </a:lnTo>
                <a:lnTo>
                  <a:pt x="5381" y="1056"/>
                </a:lnTo>
                <a:lnTo>
                  <a:pt x="5381" y="1056"/>
                </a:lnTo>
                <a:lnTo>
                  <a:pt x="5387" y="1056"/>
                </a:lnTo>
                <a:lnTo>
                  <a:pt x="5393" y="1056"/>
                </a:lnTo>
                <a:lnTo>
                  <a:pt x="5393" y="1056"/>
                </a:lnTo>
                <a:lnTo>
                  <a:pt x="5393" y="1056"/>
                </a:lnTo>
                <a:lnTo>
                  <a:pt x="5398" y="1056"/>
                </a:lnTo>
                <a:lnTo>
                  <a:pt x="5398" y="1056"/>
                </a:lnTo>
                <a:lnTo>
                  <a:pt x="5398" y="1056"/>
                </a:lnTo>
                <a:lnTo>
                  <a:pt x="5398" y="1056"/>
                </a:lnTo>
                <a:lnTo>
                  <a:pt x="5404" y="1050"/>
                </a:lnTo>
                <a:lnTo>
                  <a:pt x="5404" y="1050"/>
                </a:lnTo>
                <a:lnTo>
                  <a:pt x="5404" y="1050"/>
                </a:lnTo>
                <a:lnTo>
                  <a:pt x="5410" y="1044"/>
                </a:lnTo>
                <a:lnTo>
                  <a:pt x="5410" y="1044"/>
                </a:lnTo>
                <a:lnTo>
                  <a:pt x="5410" y="1044"/>
                </a:lnTo>
                <a:lnTo>
                  <a:pt x="5410" y="1044"/>
                </a:lnTo>
                <a:lnTo>
                  <a:pt x="5410" y="1044"/>
                </a:lnTo>
                <a:lnTo>
                  <a:pt x="5410" y="1044"/>
                </a:lnTo>
                <a:lnTo>
                  <a:pt x="5410" y="1044"/>
                </a:lnTo>
                <a:lnTo>
                  <a:pt x="5416" y="1044"/>
                </a:lnTo>
                <a:lnTo>
                  <a:pt x="5416" y="1044"/>
                </a:lnTo>
                <a:lnTo>
                  <a:pt x="5416" y="1044"/>
                </a:lnTo>
                <a:lnTo>
                  <a:pt x="5422" y="1044"/>
                </a:lnTo>
                <a:lnTo>
                  <a:pt x="5422" y="1044"/>
                </a:lnTo>
                <a:lnTo>
                  <a:pt x="5422" y="1044"/>
                </a:lnTo>
                <a:lnTo>
                  <a:pt x="5422" y="1044"/>
                </a:lnTo>
                <a:lnTo>
                  <a:pt x="5422" y="1044"/>
                </a:lnTo>
                <a:lnTo>
                  <a:pt x="5422" y="1044"/>
                </a:lnTo>
                <a:lnTo>
                  <a:pt x="5422" y="1044"/>
                </a:lnTo>
                <a:lnTo>
                  <a:pt x="5422" y="1044"/>
                </a:lnTo>
                <a:lnTo>
                  <a:pt x="5422" y="1044"/>
                </a:lnTo>
                <a:lnTo>
                  <a:pt x="5428" y="1044"/>
                </a:lnTo>
                <a:lnTo>
                  <a:pt x="5428" y="1044"/>
                </a:lnTo>
                <a:lnTo>
                  <a:pt x="5428" y="1044"/>
                </a:lnTo>
                <a:lnTo>
                  <a:pt x="5428" y="1044"/>
                </a:lnTo>
                <a:lnTo>
                  <a:pt x="5428" y="1044"/>
                </a:lnTo>
                <a:lnTo>
                  <a:pt x="5428" y="1044"/>
                </a:lnTo>
                <a:lnTo>
                  <a:pt x="5434" y="1038"/>
                </a:lnTo>
                <a:lnTo>
                  <a:pt x="5440" y="1038"/>
                </a:lnTo>
                <a:lnTo>
                  <a:pt x="5452" y="1038"/>
                </a:lnTo>
                <a:lnTo>
                  <a:pt x="5458" y="1038"/>
                </a:lnTo>
                <a:lnTo>
                  <a:pt x="5458" y="1038"/>
                </a:lnTo>
                <a:lnTo>
                  <a:pt x="5458" y="1032"/>
                </a:lnTo>
                <a:lnTo>
                  <a:pt x="5458" y="1020"/>
                </a:lnTo>
                <a:lnTo>
                  <a:pt x="5458" y="1020"/>
                </a:lnTo>
                <a:lnTo>
                  <a:pt x="5458" y="1020"/>
                </a:lnTo>
                <a:lnTo>
                  <a:pt x="5452" y="1020"/>
                </a:lnTo>
                <a:lnTo>
                  <a:pt x="5452" y="1020"/>
                </a:lnTo>
                <a:lnTo>
                  <a:pt x="5452" y="1020"/>
                </a:lnTo>
                <a:lnTo>
                  <a:pt x="5452" y="1020"/>
                </a:lnTo>
                <a:lnTo>
                  <a:pt x="5452" y="1014"/>
                </a:lnTo>
                <a:lnTo>
                  <a:pt x="5452" y="1014"/>
                </a:lnTo>
                <a:lnTo>
                  <a:pt x="5458" y="1014"/>
                </a:lnTo>
                <a:lnTo>
                  <a:pt x="5458" y="1014"/>
                </a:lnTo>
                <a:lnTo>
                  <a:pt x="5458" y="1014"/>
                </a:lnTo>
                <a:lnTo>
                  <a:pt x="5458" y="1014"/>
                </a:lnTo>
                <a:lnTo>
                  <a:pt x="5458" y="1014"/>
                </a:lnTo>
                <a:lnTo>
                  <a:pt x="5458" y="1014"/>
                </a:lnTo>
                <a:lnTo>
                  <a:pt x="5458" y="1014"/>
                </a:lnTo>
                <a:lnTo>
                  <a:pt x="5458" y="1014"/>
                </a:lnTo>
                <a:lnTo>
                  <a:pt x="5458" y="1014"/>
                </a:lnTo>
                <a:lnTo>
                  <a:pt x="5452" y="1002"/>
                </a:lnTo>
                <a:lnTo>
                  <a:pt x="5452" y="996"/>
                </a:lnTo>
                <a:lnTo>
                  <a:pt x="5446" y="990"/>
                </a:lnTo>
                <a:lnTo>
                  <a:pt x="5446" y="990"/>
                </a:lnTo>
                <a:lnTo>
                  <a:pt x="5440" y="985"/>
                </a:lnTo>
                <a:lnTo>
                  <a:pt x="5440" y="985"/>
                </a:lnTo>
                <a:lnTo>
                  <a:pt x="5434" y="985"/>
                </a:lnTo>
                <a:lnTo>
                  <a:pt x="5434" y="985"/>
                </a:lnTo>
                <a:lnTo>
                  <a:pt x="5434" y="985"/>
                </a:lnTo>
                <a:lnTo>
                  <a:pt x="5434" y="985"/>
                </a:lnTo>
                <a:lnTo>
                  <a:pt x="5428" y="985"/>
                </a:lnTo>
                <a:lnTo>
                  <a:pt x="5428" y="985"/>
                </a:lnTo>
                <a:lnTo>
                  <a:pt x="5428" y="985"/>
                </a:lnTo>
                <a:lnTo>
                  <a:pt x="5428" y="985"/>
                </a:lnTo>
                <a:lnTo>
                  <a:pt x="5428" y="985"/>
                </a:lnTo>
                <a:lnTo>
                  <a:pt x="5428" y="985"/>
                </a:lnTo>
                <a:lnTo>
                  <a:pt x="5428" y="985"/>
                </a:lnTo>
                <a:lnTo>
                  <a:pt x="5428" y="985"/>
                </a:lnTo>
                <a:lnTo>
                  <a:pt x="5428" y="990"/>
                </a:lnTo>
                <a:lnTo>
                  <a:pt x="5428" y="990"/>
                </a:lnTo>
                <a:lnTo>
                  <a:pt x="5434" y="990"/>
                </a:lnTo>
                <a:lnTo>
                  <a:pt x="5434" y="990"/>
                </a:lnTo>
                <a:lnTo>
                  <a:pt x="5434" y="990"/>
                </a:lnTo>
                <a:lnTo>
                  <a:pt x="5434" y="990"/>
                </a:lnTo>
                <a:lnTo>
                  <a:pt x="5434" y="990"/>
                </a:lnTo>
                <a:lnTo>
                  <a:pt x="5434" y="990"/>
                </a:lnTo>
                <a:lnTo>
                  <a:pt x="5434" y="990"/>
                </a:lnTo>
                <a:lnTo>
                  <a:pt x="5434" y="990"/>
                </a:lnTo>
                <a:lnTo>
                  <a:pt x="5434" y="985"/>
                </a:lnTo>
                <a:lnTo>
                  <a:pt x="5434" y="985"/>
                </a:lnTo>
                <a:lnTo>
                  <a:pt x="5440" y="990"/>
                </a:lnTo>
                <a:lnTo>
                  <a:pt x="5440" y="990"/>
                </a:lnTo>
                <a:lnTo>
                  <a:pt x="5440" y="990"/>
                </a:lnTo>
                <a:lnTo>
                  <a:pt x="5440" y="990"/>
                </a:lnTo>
                <a:lnTo>
                  <a:pt x="5440" y="996"/>
                </a:lnTo>
                <a:lnTo>
                  <a:pt x="5440" y="996"/>
                </a:lnTo>
                <a:lnTo>
                  <a:pt x="5446" y="1002"/>
                </a:lnTo>
                <a:lnTo>
                  <a:pt x="5446" y="1002"/>
                </a:lnTo>
                <a:lnTo>
                  <a:pt x="5446" y="1002"/>
                </a:lnTo>
                <a:lnTo>
                  <a:pt x="5446" y="1008"/>
                </a:lnTo>
                <a:lnTo>
                  <a:pt x="5446" y="1008"/>
                </a:lnTo>
                <a:lnTo>
                  <a:pt x="5446" y="1002"/>
                </a:lnTo>
                <a:lnTo>
                  <a:pt x="5446" y="1002"/>
                </a:lnTo>
                <a:lnTo>
                  <a:pt x="5446" y="1002"/>
                </a:lnTo>
                <a:lnTo>
                  <a:pt x="5446" y="1002"/>
                </a:lnTo>
                <a:lnTo>
                  <a:pt x="5452" y="1002"/>
                </a:lnTo>
                <a:lnTo>
                  <a:pt x="5452" y="1002"/>
                </a:lnTo>
                <a:lnTo>
                  <a:pt x="5452" y="1008"/>
                </a:lnTo>
                <a:lnTo>
                  <a:pt x="5452" y="1008"/>
                </a:lnTo>
                <a:lnTo>
                  <a:pt x="5452" y="1008"/>
                </a:lnTo>
                <a:lnTo>
                  <a:pt x="5452" y="1008"/>
                </a:lnTo>
                <a:lnTo>
                  <a:pt x="5446" y="1008"/>
                </a:lnTo>
                <a:lnTo>
                  <a:pt x="5452" y="1008"/>
                </a:lnTo>
                <a:lnTo>
                  <a:pt x="5452" y="1014"/>
                </a:lnTo>
                <a:lnTo>
                  <a:pt x="5452" y="1014"/>
                </a:lnTo>
                <a:lnTo>
                  <a:pt x="5452" y="1020"/>
                </a:lnTo>
                <a:lnTo>
                  <a:pt x="5446" y="1020"/>
                </a:lnTo>
                <a:lnTo>
                  <a:pt x="5446" y="1026"/>
                </a:lnTo>
                <a:lnTo>
                  <a:pt x="5446" y="1026"/>
                </a:lnTo>
                <a:lnTo>
                  <a:pt x="5446" y="1026"/>
                </a:lnTo>
                <a:lnTo>
                  <a:pt x="5446" y="1026"/>
                </a:lnTo>
                <a:lnTo>
                  <a:pt x="5440" y="1026"/>
                </a:lnTo>
                <a:lnTo>
                  <a:pt x="5434" y="1026"/>
                </a:lnTo>
                <a:lnTo>
                  <a:pt x="5428" y="1032"/>
                </a:lnTo>
                <a:lnTo>
                  <a:pt x="5422" y="1032"/>
                </a:lnTo>
                <a:lnTo>
                  <a:pt x="5422" y="1032"/>
                </a:lnTo>
                <a:lnTo>
                  <a:pt x="5416" y="1032"/>
                </a:lnTo>
                <a:lnTo>
                  <a:pt x="5416" y="1032"/>
                </a:lnTo>
                <a:lnTo>
                  <a:pt x="5416" y="1032"/>
                </a:lnTo>
                <a:lnTo>
                  <a:pt x="5416" y="1032"/>
                </a:lnTo>
                <a:lnTo>
                  <a:pt x="5416" y="1032"/>
                </a:lnTo>
                <a:lnTo>
                  <a:pt x="5416" y="1032"/>
                </a:lnTo>
                <a:lnTo>
                  <a:pt x="5422" y="1032"/>
                </a:lnTo>
                <a:lnTo>
                  <a:pt x="5422" y="1032"/>
                </a:lnTo>
                <a:lnTo>
                  <a:pt x="5422" y="1032"/>
                </a:lnTo>
                <a:lnTo>
                  <a:pt x="5410" y="1026"/>
                </a:lnTo>
                <a:lnTo>
                  <a:pt x="5410" y="1026"/>
                </a:lnTo>
                <a:lnTo>
                  <a:pt x="5404" y="1026"/>
                </a:lnTo>
                <a:lnTo>
                  <a:pt x="5398" y="1020"/>
                </a:lnTo>
                <a:lnTo>
                  <a:pt x="5398" y="1020"/>
                </a:lnTo>
                <a:lnTo>
                  <a:pt x="5398" y="1020"/>
                </a:lnTo>
                <a:lnTo>
                  <a:pt x="5398" y="1020"/>
                </a:lnTo>
                <a:lnTo>
                  <a:pt x="5398" y="1014"/>
                </a:lnTo>
                <a:lnTo>
                  <a:pt x="5398" y="1014"/>
                </a:lnTo>
                <a:lnTo>
                  <a:pt x="5398" y="1008"/>
                </a:lnTo>
                <a:lnTo>
                  <a:pt x="5398" y="1002"/>
                </a:lnTo>
                <a:lnTo>
                  <a:pt x="5393" y="1002"/>
                </a:lnTo>
                <a:lnTo>
                  <a:pt x="5393" y="1002"/>
                </a:lnTo>
                <a:lnTo>
                  <a:pt x="5393" y="1002"/>
                </a:lnTo>
                <a:lnTo>
                  <a:pt x="5387" y="1002"/>
                </a:lnTo>
                <a:lnTo>
                  <a:pt x="5387" y="1002"/>
                </a:lnTo>
                <a:lnTo>
                  <a:pt x="5381" y="996"/>
                </a:lnTo>
                <a:lnTo>
                  <a:pt x="5381" y="990"/>
                </a:lnTo>
                <a:lnTo>
                  <a:pt x="5381" y="990"/>
                </a:lnTo>
                <a:lnTo>
                  <a:pt x="5381" y="990"/>
                </a:lnTo>
                <a:lnTo>
                  <a:pt x="5381" y="990"/>
                </a:lnTo>
                <a:lnTo>
                  <a:pt x="5381" y="990"/>
                </a:lnTo>
                <a:lnTo>
                  <a:pt x="5387" y="990"/>
                </a:lnTo>
                <a:lnTo>
                  <a:pt x="5387" y="990"/>
                </a:lnTo>
                <a:lnTo>
                  <a:pt x="5387" y="985"/>
                </a:lnTo>
                <a:lnTo>
                  <a:pt x="5387" y="985"/>
                </a:lnTo>
                <a:lnTo>
                  <a:pt x="5387" y="985"/>
                </a:lnTo>
                <a:lnTo>
                  <a:pt x="5387" y="985"/>
                </a:lnTo>
                <a:lnTo>
                  <a:pt x="5387" y="990"/>
                </a:lnTo>
                <a:lnTo>
                  <a:pt x="5387" y="990"/>
                </a:lnTo>
                <a:lnTo>
                  <a:pt x="5387" y="990"/>
                </a:lnTo>
                <a:lnTo>
                  <a:pt x="5387" y="990"/>
                </a:lnTo>
                <a:lnTo>
                  <a:pt x="5387" y="990"/>
                </a:lnTo>
                <a:lnTo>
                  <a:pt x="5387" y="990"/>
                </a:lnTo>
                <a:lnTo>
                  <a:pt x="5387" y="996"/>
                </a:lnTo>
                <a:lnTo>
                  <a:pt x="5387" y="996"/>
                </a:lnTo>
                <a:lnTo>
                  <a:pt x="5387" y="996"/>
                </a:lnTo>
                <a:lnTo>
                  <a:pt x="5393" y="996"/>
                </a:lnTo>
                <a:lnTo>
                  <a:pt x="5393" y="996"/>
                </a:lnTo>
                <a:lnTo>
                  <a:pt x="5393" y="990"/>
                </a:lnTo>
                <a:lnTo>
                  <a:pt x="5393" y="990"/>
                </a:lnTo>
                <a:lnTo>
                  <a:pt x="5393" y="990"/>
                </a:lnTo>
                <a:lnTo>
                  <a:pt x="5393" y="990"/>
                </a:lnTo>
                <a:lnTo>
                  <a:pt x="5393" y="990"/>
                </a:lnTo>
                <a:lnTo>
                  <a:pt x="5387" y="990"/>
                </a:lnTo>
                <a:lnTo>
                  <a:pt x="5387" y="985"/>
                </a:lnTo>
                <a:lnTo>
                  <a:pt x="5387" y="985"/>
                </a:lnTo>
                <a:lnTo>
                  <a:pt x="5387" y="985"/>
                </a:lnTo>
                <a:lnTo>
                  <a:pt x="5387" y="985"/>
                </a:lnTo>
                <a:lnTo>
                  <a:pt x="5387" y="985"/>
                </a:lnTo>
                <a:lnTo>
                  <a:pt x="5387" y="979"/>
                </a:lnTo>
                <a:lnTo>
                  <a:pt x="5381" y="973"/>
                </a:lnTo>
                <a:lnTo>
                  <a:pt x="5381" y="973"/>
                </a:lnTo>
                <a:lnTo>
                  <a:pt x="5381" y="973"/>
                </a:lnTo>
                <a:lnTo>
                  <a:pt x="5381" y="973"/>
                </a:lnTo>
                <a:lnTo>
                  <a:pt x="5381" y="973"/>
                </a:lnTo>
                <a:lnTo>
                  <a:pt x="5381" y="973"/>
                </a:lnTo>
                <a:lnTo>
                  <a:pt x="5381" y="967"/>
                </a:lnTo>
                <a:lnTo>
                  <a:pt x="5381" y="967"/>
                </a:lnTo>
                <a:lnTo>
                  <a:pt x="5375" y="961"/>
                </a:lnTo>
                <a:lnTo>
                  <a:pt x="5375" y="961"/>
                </a:lnTo>
                <a:lnTo>
                  <a:pt x="5375" y="961"/>
                </a:lnTo>
                <a:lnTo>
                  <a:pt x="5375" y="961"/>
                </a:lnTo>
                <a:lnTo>
                  <a:pt x="5375" y="961"/>
                </a:lnTo>
                <a:lnTo>
                  <a:pt x="5375" y="961"/>
                </a:lnTo>
                <a:lnTo>
                  <a:pt x="5369" y="961"/>
                </a:lnTo>
                <a:lnTo>
                  <a:pt x="5369" y="961"/>
                </a:lnTo>
                <a:lnTo>
                  <a:pt x="5363" y="955"/>
                </a:lnTo>
                <a:lnTo>
                  <a:pt x="5363" y="949"/>
                </a:lnTo>
                <a:lnTo>
                  <a:pt x="5363" y="955"/>
                </a:lnTo>
                <a:lnTo>
                  <a:pt x="5363" y="955"/>
                </a:lnTo>
                <a:lnTo>
                  <a:pt x="5363" y="955"/>
                </a:lnTo>
                <a:lnTo>
                  <a:pt x="5363" y="955"/>
                </a:lnTo>
                <a:lnTo>
                  <a:pt x="5363" y="955"/>
                </a:lnTo>
                <a:lnTo>
                  <a:pt x="5363" y="961"/>
                </a:lnTo>
                <a:lnTo>
                  <a:pt x="5363" y="961"/>
                </a:lnTo>
                <a:lnTo>
                  <a:pt x="5363" y="961"/>
                </a:lnTo>
                <a:lnTo>
                  <a:pt x="5363" y="961"/>
                </a:lnTo>
                <a:lnTo>
                  <a:pt x="5363" y="961"/>
                </a:lnTo>
                <a:lnTo>
                  <a:pt x="5363" y="961"/>
                </a:lnTo>
                <a:lnTo>
                  <a:pt x="5363" y="961"/>
                </a:lnTo>
                <a:lnTo>
                  <a:pt x="5363" y="961"/>
                </a:lnTo>
                <a:lnTo>
                  <a:pt x="5357" y="961"/>
                </a:lnTo>
                <a:lnTo>
                  <a:pt x="5357" y="961"/>
                </a:lnTo>
                <a:lnTo>
                  <a:pt x="5357" y="961"/>
                </a:lnTo>
                <a:lnTo>
                  <a:pt x="5357" y="961"/>
                </a:lnTo>
                <a:lnTo>
                  <a:pt x="5357" y="961"/>
                </a:lnTo>
                <a:lnTo>
                  <a:pt x="5357" y="961"/>
                </a:lnTo>
                <a:lnTo>
                  <a:pt x="5357" y="961"/>
                </a:lnTo>
                <a:lnTo>
                  <a:pt x="5357" y="961"/>
                </a:lnTo>
                <a:lnTo>
                  <a:pt x="5357" y="961"/>
                </a:lnTo>
                <a:lnTo>
                  <a:pt x="5357" y="961"/>
                </a:lnTo>
                <a:lnTo>
                  <a:pt x="5357" y="961"/>
                </a:lnTo>
                <a:lnTo>
                  <a:pt x="5357" y="961"/>
                </a:lnTo>
                <a:lnTo>
                  <a:pt x="5357" y="961"/>
                </a:lnTo>
                <a:lnTo>
                  <a:pt x="5357" y="955"/>
                </a:lnTo>
                <a:lnTo>
                  <a:pt x="5357" y="955"/>
                </a:lnTo>
                <a:lnTo>
                  <a:pt x="5351" y="955"/>
                </a:lnTo>
                <a:lnTo>
                  <a:pt x="5351" y="955"/>
                </a:lnTo>
                <a:lnTo>
                  <a:pt x="5351" y="955"/>
                </a:lnTo>
                <a:lnTo>
                  <a:pt x="5351" y="955"/>
                </a:lnTo>
                <a:lnTo>
                  <a:pt x="5351" y="955"/>
                </a:lnTo>
                <a:lnTo>
                  <a:pt x="5351" y="955"/>
                </a:lnTo>
                <a:lnTo>
                  <a:pt x="5345" y="955"/>
                </a:lnTo>
                <a:lnTo>
                  <a:pt x="5345" y="955"/>
                </a:lnTo>
                <a:lnTo>
                  <a:pt x="5345" y="949"/>
                </a:lnTo>
                <a:lnTo>
                  <a:pt x="5345" y="949"/>
                </a:lnTo>
                <a:lnTo>
                  <a:pt x="5351" y="949"/>
                </a:lnTo>
                <a:lnTo>
                  <a:pt x="5351" y="949"/>
                </a:lnTo>
                <a:lnTo>
                  <a:pt x="5351" y="949"/>
                </a:lnTo>
                <a:lnTo>
                  <a:pt x="5351" y="949"/>
                </a:lnTo>
                <a:lnTo>
                  <a:pt x="5345" y="949"/>
                </a:lnTo>
                <a:lnTo>
                  <a:pt x="5345" y="949"/>
                </a:lnTo>
                <a:lnTo>
                  <a:pt x="5345" y="943"/>
                </a:lnTo>
                <a:lnTo>
                  <a:pt x="5351" y="943"/>
                </a:lnTo>
                <a:lnTo>
                  <a:pt x="5351" y="949"/>
                </a:lnTo>
                <a:lnTo>
                  <a:pt x="5351" y="949"/>
                </a:lnTo>
                <a:lnTo>
                  <a:pt x="5351" y="943"/>
                </a:lnTo>
                <a:lnTo>
                  <a:pt x="5351" y="943"/>
                </a:lnTo>
                <a:lnTo>
                  <a:pt x="5351" y="943"/>
                </a:lnTo>
                <a:lnTo>
                  <a:pt x="5351" y="943"/>
                </a:lnTo>
                <a:lnTo>
                  <a:pt x="5351" y="943"/>
                </a:lnTo>
                <a:lnTo>
                  <a:pt x="5357" y="949"/>
                </a:lnTo>
                <a:lnTo>
                  <a:pt x="5357" y="949"/>
                </a:lnTo>
                <a:lnTo>
                  <a:pt x="5357" y="943"/>
                </a:lnTo>
                <a:lnTo>
                  <a:pt x="5357" y="943"/>
                </a:lnTo>
                <a:lnTo>
                  <a:pt x="5357" y="943"/>
                </a:lnTo>
                <a:lnTo>
                  <a:pt x="5357" y="943"/>
                </a:lnTo>
                <a:lnTo>
                  <a:pt x="5351" y="937"/>
                </a:lnTo>
                <a:lnTo>
                  <a:pt x="5351" y="937"/>
                </a:lnTo>
                <a:lnTo>
                  <a:pt x="5357" y="937"/>
                </a:lnTo>
                <a:lnTo>
                  <a:pt x="5357" y="937"/>
                </a:lnTo>
                <a:lnTo>
                  <a:pt x="5357" y="937"/>
                </a:lnTo>
                <a:lnTo>
                  <a:pt x="5357" y="937"/>
                </a:lnTo>
                <a:lnTo>
                  <a:pt x="5363" y="937"/>
                </a:lnTo>
                <a:lnTo>
                  <a:pt x="5363" y="937"/>
                </a:lnTo>
                <a:lnTo>
                  <a:pt x="5363" y="937"/>
                </a:lnTo>
                <a:lnTo>
                  <a:pt x="5363" y="937"/>
                </a:lnTo>
                <a:lnTo>
                  <a:pt x="5357" y="937"/>
                </a:lnTo>
                <a:lnTo>
                  <a:pt x="5357" y="931"/>
                </a:lnTo>
                <a:lnTo>
                  <a:pt x="5357" y="931"/>
                </a:lnTo>
                <a:lnTo>
                  <a:pt x="5357" y="931"/>
                </a:lnTo>
                <a:lnTo>
                  <a:pt x="5357" y="931"/>
                </a:lnTo>
                <a:lnTo>
                  <a:pt x="5363" y="931"/>
                </a:lnTo>
                <a:lnTo>
                  <a:pt x="5363" y="931"/>
                </a:lnTo>
                <a:lnTo>
                  <a:pt x="5363" y="931"/>
                </a:lnTo>
                <a:lnTo>
                  <a:pt x="5363" y="931"/>
                </a:lnTo>
                <a:lnTo>
                  <a:pt x="5363" y="931"/>
                </a:lnTo>
                <a:lnTo>
                  <a:pt x="5363" y="931"/>
                </a:lnTo>
                <a:lnTo>
                  <a:pt x="5363" y="931"/>
                </a:lnTo>
                <a:lnTo>
                  <a:pt x="5363" y="931"/>
                </a:lnTo>
                <a:lnTo>
                  <a:pt x="5363" y="931"/>
                </a:lnTo>
                <a:lnTo>
                  <a:pt x="5363" y="925"/>
                </a:lnTo>
                <a:lnTo>
                  <a:pt x="5363" y="925"/>
                </a:lnTo>
                <a:lnTo>
                  <a:pt x="5363" y="925"/>
                </a:lnTo>
                <a:lnTo>
                  <a:pt x="5369" y="925"/>
                </a:lnTo>
                <a:lnTo>
                  <a:pt x="5369" y="925"/>
                </a:lnTo>
                <a:lnTo>
                  <a:pt x="5369" y="925"/>
                </a:lnTo>
                <a:lnTo>
                  <a:pt x="5369" y="925"/>
                </a:lnTo>
                <a:lnTo>
                  <a:pt x="5369" y="925"/>
                </a:lnTo>
                <a:lnTo>
                  <a:pt x="5369" y="925"/>
                </a:lnTo>
                <a:lnTo>
                  <a:pt x="5363" y="925"/>
                </a:lnTo>
                <a:lnTo>
                  <a:pt x="5363" y="925"/>
                </a:lnTo>
                <a:lnTo>
                  <a:pt x="5363" y="925"/>
                </a:lnTo>
                <a:lnTo>
                  <a:pt x="5363" y="925"/>
                </a:lnTo>
                <a:lnTo>
                  <a:pt x="5363" y="925"/>
                </a:lnTo>
                <a:lnTo>
                  <a:pt x="5363" y="925"/>
                </a:lnTo>
                <a:lnTo>
                  <a:pt x="5363" y="925"/>
                </a:lnTo>
                <a:lnTo>
                  <a:pt x="5363" y="925"/>
                </a:lnTo>
                <a:lnTo>
                  <a:pt x="5363" y="925"/>
                </a:lnTo>
                <a:lnTo>
                  <a:pt x="5363" y="925"/>
                </a:lnTo>
                <a:lnTo>
                  <a:pt x="5363" y="919"/>
                </a:lnTo>
                <a:lnTo>
                  <a:pt x="5363" y="919"/>
                </a:lnTo>
                <a:lnTo>
                  <a:pt x="5369" y="919"/>
                </a:lnTo>
                <a:lnTo>
                  <a:pt x="5381" y="913"/>
                </a:lnTo>
                <a:lnTo>
                  <a:pt x="5381" y="913"/>
                </a:lnTo>
                <a:lnTo>
                  <a:pt x="5381" y="913"/>
                </a:lnTo>
                <a:lnTo>
                  <a:pt x="5381" y="913"/>
                </a:lnTo>
                <a:lnTo>
                  <a:pt x="5381" y="913"/>
                </a:lnTo>
                <a:lnTo>
                  <a:pt x="5381" y="913"/>
                </a:lnTo>
                <a:lnTo>
                  <a:pt x="5387" y="913"/>
                </a:lnTo>
                <a:lnTo>
                  <a:pt x="5387" y="913"/>
                </a:lnTo>
                <a:lnTo>
                  <a:pt x="5387" y="913"/>
                </a:lnTo>
                <a:lnTo>
                  <a:pt x="5387" y="913"/>
                </a:lnTo>
                <a:lnTo>
                  <a:pt x="5387" y="913"/>
                </a:lnTo>
                <a:lnTo>
                  <a:pt x="5387" y="913"/>
                </a:lnTo>
                <a:lnTo>
                  <a:pt x="5387" y="913"/>
                </a:lnTo>
                <a:lnTo>
                  <a:pt x="5387" y="913"/>
                </a:lnTo>
                <a:lnTo>
                  <a:pt x="5387" y="907"/>
                </a:lnTo>
                <a:lnTo>
                  <a:pt x="5393" y="907"/>
                </a:lnTo>
                <a:lnTo>
                  <a:pt x="5393" y="907"/>
                </a:lnTo>
                <a:lnTo>
                  <a:pt x="5393" y="907"/>
                </a:lnTo>
                <a:lnTo>
                  <a:pt x="5393" y="907"/>
                </a:lnTo>
                <a:lnTo>
                  <a:pt x="5393" y="907"/>
                </a:lnTo>
                <a:lnTo>
                  <a:pt x="5393" y="907"/>
                </a:lnTo>
                <a:lnTo>
                  <a:pt x="5393" y="907"/>
                </a:lnTo>
                <a:lnTo>
                  <a:pt x="5393" y="907"/>
                </a:lnTo>
                <a:lnTo>
                  <a:pt x="5393" y="907"/>
                </a:lnTo>
                <a:lnTo>
                  <a:pt x="5393" y="907"/>
                </a:lnTo>
                <a:lnTo>
                  <a:pt x="5387" y="902"/>
                </a:lnTo>
                <a:lnTo>
                  <a:pt x="5387" y="902"/>
                </a:lnTo>
                <a:lnTo>
                  <a:pt x="5387" y="902"/>
                </a:lnTo>
                <a:lnTo>
                  <a:pt x="5387" y="902"/>
                </a:lnTo>
                <a:lnTo>
                  <a:pt x="5387" y="902"/>
                </a:lnTo>
                <a:lnTo>
                  <a:pt x="5387" y="902"/>
                </a:lnTo>
                <a:lnTo>
                  <a:pt x="5387" y="902"/>
                </a:lnTo>
                <a:lnTo>
                  <a:pt x="5387" y="902"/>
                </a:lnTo>
                <a:lnTo>
                  <a:pt x="5387" y="902"/>
                </a:lnTo>
                <a:lnTo>
                  <a:pt x="5381" y="907"/>
                </a:lnTo>
                <a:lnTo>
                  <a:pt x="5381" y="907"/>
                </a:lnTo>
                <a:lnTo>
                  <a:pt x="5381" y="907"/>
                </a:lnTo>
                <a:lnTo>
                  <a:pt x="5381" y="907"/>
                </a:lnTo>
                <a:lnTo>
                  <a:pt x="5381" y="907"/>
                </a:lnTo>
                <a:lnTo>
                  <a:pt x="5381" y="907"/>
                </a:lnTo>
                <a:lnTo>
                  <a:pt x="5381" y="907"/>
                </a:lnTo>
                <a:lnTo>
                  <a:pt x="5375" y="907"/>
                </a:lnTo>
                <a:lnTo>
                  <a:pt x="5375" y="902"/>
                </a:lnTo>
                <a:lnTo>
                  <a:pt x="5375" y="902"/>
                </a:lnTo>
                <a:lnTo>
                  <a:pt x="5375" y="902"/>
                </a:lnTo>
                <a:lnTo>
                  <a:pt x="5375" y="902"/>
                </a:lnTo>
                <a:lnTo>
                  <a:pt x="5369" y="902"/>
                </a:lnTo>
                <a:lnTo>
                  <a:pt x="5369" y="896"/>
                </a:lnTo>
                <a:lnTo>
                  <a:pt x="5369" y="896"/>
                </a:lnTo>
                <a:lnTo>
                  <a:pt x="5369" y="896"/>
                </a:lnTo>
                <a:lnTo>
                  <a:pt x="5375" y="902"/>
                </a:lnTo>
                <a:lnTo>
                  <a:pt x="5375" y="896"/>
                </a:lnTo>
                <a:lnTo>
                  <a:pt x="5375" y="896"/>
                </a:lnTo>
                <a:lnTo>
                  <a:pt x="5369" y="890"/>
                </a:lnTo>
                <a:lnTo>
                  <a:pt x="5369" y="890"/>
                </a:lnTo>
                <a:lnTo>
                  <a:pt x="5369" y="884"/>
                </a:lnTo>
                <a:lnTo>
                  <a:pt x="5369" y="884"/>
                </a:lnTo>
                <a:lnTo>
                  <a:pt x="5369" y="884"/>
                </a:lnTo>
                <a:lnTo>
                  <a:pt x="5369" y="884"/>
                </a:lnTo>
                <a:lnTo>
                  <a:pt x="5369" y="884"/>
                </a:lnTo>
                <a:lnTo>
                  <a:pt x="5369" y="884"/>
                </a:lnTo>
                <a:lnTo>
                  <a:pt x="5369" y="884"/>
                </a:lnTo>
                <a:lnTo>
                  <a:pt x="5369" y="884"/>
                </a:lnTo>
                <a:lnTo>
                  <a:pt x="5363" y="884"/>
                </a:lnTo>
                <a:lnTo>
                  <a:pt x="5363" y="884"/>
                </a:lnTo>
                <a:lnTo>
                  <a:pt x="5369" y="884"/>
                </a:lnTo>
                <a:lnTo>
                  <a:pt x="5369" y="884"/>
                </a:lnTo>
                <a:lnTo>
                  <a:pt x="5369" y="884"/>
                </a:lnTo>
                <a:lnTo>
                  <a:pt x="5369" y="884"/>
                </a:lnTo>
                <a:lnTo>
                  <a:pt x="5369" y="884"/>
                </a:lnTo>
                <a:lnTo>
                  <a:pt x="5369" y="878"/>
                </a:lnTo>
                <a:lnTo>
                  <a:pt x="5369" y="878"/>
                </a:lnTo>
                <a:lnTo>
                  <a:pt x="5369" y="878"/>
                </a:lnTo>
                <a:lnTo>
                  <a:pt x="5369" y="878"/>
                </a:lnTo>
                <a:lnTo>
                  <a:pt x="5369" y="872"/>
                </a:lnTo>
                <a:lnTo>
                  <a:pt x="5369" y="872"/>
                </a:lnTo>
                <a:lnTo>
                  <a:pt x="5369" y="872"/>
                </a:lnTo>
                <a:lnTo>
                  <a:pt x="5369" y="872"/>
                </a:lnTo>
                <a:lnTo>
                  <a:pt x="5375" y="866"/>
                </a:lnTo>
                <a:lnTo>
                  <a:pt x="5375" y="860"/>
                </a:lnTo>
                <a:lnTo>
                  <a:pt x="5381" y="860"/>
                </a:lnTo>
                <a:lnTo>
                  <a:pt x="5381" y="860"/>
                </a:lnTo>
                <a:lnTo>
                  <a:pt x="5381" y="854"/>
                </a:lnTo>
                <a:lnTo>
                  <a:pt x="5381" y="854"/>
                </a:lnTo>
                <a:lnTo>
                  <a:pt x="5381" y="854"/>
                </a:lnTo>
                <a:lnTo>
                  <a:pt x="5381" y="854"/>
                </a:lnTo>
                <a:lnTo>
                  <a:pt x="5381" y="854"/>
                </a:lnTo>
                <a:lnTo>
                  <a:pt x="5381" y="854"/>
                </a:lnTo>
                <a:lnTo>
                  <a:pt x="5381" y="854"/>
                </a:lnTo>
                <a:lnTo>
                  <a:pt x="5381" y="848"/>
                </a:lnTo>
                <a:lnTo>
                  <a:pt x="5381" y="848"/>
                </a:lnTo>
                <a:lnTo>
                  <a:pt x="5375" y="854"/>
                </a:lnTo>
                <a:lnTo>
                  <a:pt x="5375" y="854"/>
                </a:lnTo>
                <a:lnTo>
                  <a:pt x="5375" y="848"/>
                </a:lnTo>
                <a:lnTo>
                  <a:pt x="5375" y="848"/>
                </a:lnTo>
                <a:lnTo>
                  <a:pt x="5375" y="848"/>
                </a:lnTo>
                <a:lnTo>
                  <a:pt x="5375" y="848"/>
                </a:lnTo>
                <a:lnTo>
                  <a:pt x="5381" y="842"/>
                </a:lnTo>
                <a:lnTo>
                  <a:pt x="5381" y="842"/>
                </a:lnTo>
                <a:lnTo>
                  <a:pt x="5375" y="842"/>
                </a:lnTo>
                <a:lnTo>
                  <a:pt x="5381" y="842"/>
                </a:lnTo>
                <a:lnTo>
                  <a:pt x="5381" y="842"/>
                </a:lnTo>
                <a:lnTo>
                  <a:pt x="5381" y="842"/>
                </a:lnTo>
                <a:lnTo>
                  <a:pt x="5381" y="848"/>
                </a:lnTo>
                <a:lnTo>
                  <a:pt x="5381" y="848"/>
                </a:lnTo>
                <a:lnTo>
                  <a:pt x="5387" y="848"/>
                </a:lnTo>
                <a:lnTo>
                  <a:pt x="5387" y="848"/>
                </a:lnTo>
                <a:lnTo>
                  <a:pt x="5387" y="842"/>
                </a:lnTo>
                <a:lnTo>
                  <a:pt x="5387" y="842"/>
                </a:lnTo>
                <a:lnTo>
                  <a:pt x="5393" y="836"/>
                </a:lnTo>
                <a:lnTo>
                  <a:pt x="5393" y="836"/>
                </a:lnTo>
                <a:lnTo>
                  <a:pt x="5393" y="836"/>
                </a:lnTo>
                <a:lnTo>
                  <a:pt x="5393" y="836"/>
                </a:lnTo>
                <a:lnTo>
                  <a:pt x="5393" y="836"/>
                </a:lnTo>
                <a:lnTo>
                  <a:pt x="5393" y="830"/>
                </a:lnTo>
                <a:lnTo>
                  <a:pt x="5393" y="830"/>
                </a:lnTo>
                <a:lnTo>
                  <a:pt x="5393" y="830"/>
                </a:lnTo>
                <a:lnTo>
                  <a:pt x="5393" y="830"/>
                </a:lnTo>
                <a:lnTo>
                  <a:pt x="5393" y="824"/>
                </a:lnTo>
                <a:lnTo>
                  <a:pt x="5393" y="824"/>
                </a:lnTo>
                <a:lnTo>
                  <a:pt x="5393" y="824"/>
                </a:lnTo>
                <a:lnTo>
                  <a:pt x="5393" y="824"/>
                </a:lnTo>
                <a:lnTo>
                  <a:pt x="5393" y="818"/>
                </a:lnTo>
                <a:lnTo>
                  <a:pt x="5393" y="818"/>
                </a:lnTo>
                <a:lnTo>
                  <a:pt x="5393" y="818"/>
                </a:lnTo>
                <a:lnTo>
                  <a:pt x="5398" y="813"/>
                </a:lnTo>
                <a:lnTo>
                  <a:pt x="5398" y="813"/>
                </a:lnTo>
                <a:lnTo>
                  <a:pt x="5398" y="813"/>
                </a:lnTo>
                <a:lnTo>
                  <a:pt x="5398" y="813"/>
                </a:lnTo>
                <a:lnTo>
                  <a:pt x="5404" y="813"/>
                </a:lnTo>
                <a:lnTo>
                  <a:pt x="5404" y="813"/>
                </a:lnTo>
                <a:lnTo>
                  <a:pt x="5404" y="813"/>
                </a:lnTo>
                <a:lnTo>
                  <a:pt x="5410" y="807"/>
                </a:lnTo>
                <a:lnTo>
                  <a:pt x="5410" y="807"/>
                </a:lnTo>
                <a:lnTo>
                  <a:pt x="5410" y="807"/>
                </a:lnTo>
                <a:lnTo>
                  <a:pt x="5410" y="807"/>
                </a:lnTo>
                <a:lnTo>
                  <a:pt x="5410" y="807"/>
                </a:lnTo>
                <a:lnTo>
                  <a:pt x="5416" y="807"/>
                </a:lnTo>
                <a:lnTo>
                  <a:pt x="5416" y="801"/>
                </a:lnTo>
                <a:lnTo>
                  <a:pt x="5416" y="801"/>
                </a:lnTo>
                <a:lnTo>
                  <a:pt x="5416" y="801"/>
                </a:lnTo>
                <a:lnTo>
                  <a:pt x="5416" y="801"/>
                </a:lnTo>
                <a:lnTo>
                  <a:pt x="5416" y="801"/>
                </a:lnTo>
                <a:lnTo>
                  <a:pt x="5416" y="801"/>
                </a:lnTo>
                <a:lnTo>
                  <a:pt x="5416" y="795"/>
                </a:lnTo>
                <a:lnTo>
                  <a:pt x="5416" y="795"/>
                </a:lnTo>
                <a:lnTo>
                  <a:pt x="5416" y="795"/>
                </a:lnTo>
                <a:lnTo>
                  <a:pt x="5416" y="795"/>
                </a:lnTo>
                <a:lnTo>
                  <a:pt x="5416" y="801"/>
                </a:lnTo>
                <a:lnTo>
                  <a:pt x="5416" y="795"/>
                </a:lnTo>
                <a:lnTo>
                  <a:pt x="5416" y="795"/>
                </a:lnTo>
                <a:lnTo>
                  <a:pt x="5416" y="795"/>
                </a:lnTo>
                <a:lnTo>
                  <a:pt x="5416" y="795"/>
                </a:lnTo>
                <a:lnTo>
                  <a:pt x="5416" y="789"/>
                </a:lnTo>
                <a:lnTo>
                  <a:pt x="5416" y="789"/>
                </a:lnTo>
                <a:lnTo>
                  <a:pt x="5416" y="789"/>
                </a:lnTo>
                <a:lnTo>
                  <a:pt x="5416" y="789"/>
                </a:lnTo>
                <a:lnTo>
                  <a:pt x="5416" y="789"/>
                </a:lnTo>
                <a:lnTo>
                  <a:pt x="5416" y="783"/>
                </a:lnTo>
                <a:lnTo>
                  <a:pt x="5416" y="783"/>
                </a:lnTo>
                <a:lnTo>
                  <a:pt x="5416" y="783"/>
                </a:lnTo>
                <a:lnTo>
                  <a:pt x="5416" y="783"/>
                </a:lnTo>
                <a:lnTo>
                  <a:pt x="5422" y="783"/>
                </a:lnTo>
                <a:lnTo>
                  <a:pt x="5422" y="789"/>
                </a:lnTo>
                <a:lnTo>
                  <a:pt x="5422" y="789"/>
                </a:lnTo>
                <a:lnTo>
                  <a:pt x="5422" y="789"/>
                </a:lnTo>
                <a:lnTo>
                  <a:pt x="5422" y="783"/>
                </a:lnTo>
                <a:lnTo>
                  <a:pt x="5422" y="783"/>
                </a:lnTo>
                <a:lnTo>
                  <a:pt x="5428" y="783"/>
                </a:lnTo>
                <a:lnTo>
                  <a:pt x="5428" y="783"/>
                </a:lnTo>
                <a:lnTo>
                  <a:pt x="5422" y="783"/>
                </a:lnTo>
                <a:lnTo>
                  <a:pt x="5422" y="783"/>
                </a:lnTo>
                <a:lnTo>
                  <a:pt x="5428" y="783"/>
                </a:lnTo>
                <a:lnTo>
                  <a:pt x="5428" y="783"/>
                </a:lnTo>
                <a:lnTo>
                  <a:pt x="5428" y="783"/>
                </a:lnTo>
                <a:lnTo>
                  <a:pt x="5428" y="783"/>
                </a:lnTo>
                <a:lnTo>
                  <a:pt x="5428" y="783"/>
                </a:lnTo>
                <a:lnTo>
                  <a:pt x="5428" y="783"/>
                </a:lnTo>
                <a:lnTo>
                  <a:pt x="5428" y="783"/>
                </a:lnTo>
                <a:lnTo>
                  <a:pt x="5428" y="777"/>
                </a:lnTo>
                <a:lnTo>
                  <a:pt x="5428" y="777"/>
                </a:lnTo>
                <a:lnTo>
                  <a:pt x="5428" y="771"/>
                </a:lnTo>
                <a:lnTo>
                  <a:pt x="5428" y="771"/>
                </a:lnTo>
                <a:lnTo>
                  <a:pt x="5428" y="771"/>
                </a:lnTo>
                <a:lnTo>
                  <a:pt x="5428" y="771"/>
                </a:lnTo>
                <a:lnTo>
                  <a:pt x="5422" y="771"/>
                </a:lnTo>
                <a:lnTo>
                  <a:pt x="5422" y="771"/>
                </a:lnTo>
                <a:lnTo>
                  <a:pt x="5422" y="771"/>
                </a:lnTo>
                <a:lnTo>
                  <a:pt x="5422" y="771"/>
                </a:lnTo>
                <a:lnTo>
                  <a:pt x="5422" y="771"/>
                </a:lnTo>
                <a:lnTo>
                  <a:pt x="5428" y="771"/>
                </a:lnTo>
                <a:lnTo>
                  <a:pt x="5428" y="771"/>
                </a:lnTo>
                <a:lnTo>
                  <a:pt x="5428" y="771"/>
                </a:lnTo>
                <a:lnTo>
                  <a:pt x="5428" y="771"/>
                </a:lnTo>
                <a:lnTo>
                  <a:pt x="5428" y="765"/>
                </a:lnTo>
                <a:lnTo>
                  <a:pt x="5428" y="765"/>
                </a:lnTo>
                <a:lnTo>
                  <a:pt x="5428" y="765"/>
                </a:lnTo>
                <a:lnTo>
                  <a:pt x="5428" y="765"/>
                </a:lnTo>
                <a:lnTo>
                  <a:pt x="5428" y="759"/>
                </a:lnTo>
                <a:lnTo>
                  <a:pt x="5434" y="753"/>
                </a:lnTo>
                <a:lnTo>
                  <a:pt x="5434" y="753"/>
                </a:lnTo>
                <a:lnTo>
                  <a:pt x="5434" y="753"/>
                </a:lnTo>
                <a:lnTo>
                  <a:pt x="5434" y="753"/>
                </a:lnTo>
                <a:lnTo>
                  <a:pt x="5434" y="753"/>
                </a:lnTo>
                <a:lnTo>
                  <a:pt x="5440" y="747"/>
                </a:lnTo>
                <a:lnTo>
                  <a:pt x="5440" y="747"/>
                </a:lnTo>
                <a:lnTo>
                  <a:pt x="5440" y="747"/>
                </a:lnTo>
                <a:lnTo>
                  <a:pt x="5446" y="747"/>
                </a:lnTo>
                <a:lnTo>
                  <a:pt x="5446" y="747"/>
                </a:lnTo>
                <a:lnTo>
                  <a:pt x="5446" y="747"/>
                </a:lnTo>
                <a:lnTo>
                  <a:pt x="5446" y="741"/>
                </a:lnTo>
                <a:lnTo>
                  <a:pt x="5452" y="741"/>
                </a:lnTo>
                <a:lnTo>
                  <a:pt x="5452" y="741"/>
                </a:lnTo>
                <a:lnTo>
                  <a:pt x="5452" y="741"/>
                </a:lnTo>
                <a:lnTo>
                  <a:pt x="5452" y="741"/>
                </a:lnTo>
                <a:lnTo>
                  <a:pt x="5452" y="741"/>
                </a:lnTo>
                <a:lnTo>
                  <a:pt x="5452" y="741"/>
                </a:lnTo>
                <a:lnTo>
                  <a:pt x="5452" y="741"/>
                </a:lnTo>
                <a:lnTo>
                  <a:pt x="5452" y="747"/>
                </a:lnTo>
                <a:lnTo>
                  <a:pt x="5446" y="747"/>
                </a:lnTo>
                <a:lnTo>
                  <a:pt x="5452" y="747"/>
                </a:lnTo>
                <a:lnTo>
                  <a:pt x="5452" y="741"/>
                </a:lnTo>
                <a:lnTo>
                  <a:pt x="5458" y="741"/>
                </a:lnTo>
                <a:lnTo>
                  <a:pt x="5458" y="741"/>
                </a:lnTo>
                <a:lnTo>
                  <a:pt x="5452" y="747"/>
                </a:lnTo>
                <a:lnTo>
                  <a:pt x="5452" y="753"/>
                </a:lnTo>
                <a:lnTo>
                  <a:pt x="5446" y="759"/>
                </a:lnTo>
                <a:lnTo>
                  <a:pt x="5446" y="759"/>
                </a:lnTo>
                <a:lnTo>
                  <a:pt x="5452" y="759"/>
                </a:lnTo>
                <a:lnTo>
                  <a:pt x="5452" y="759"/>
                </a:lnTo>
                <a:lnTo>
                  <a:pt x="5452" y="759"/>
                </a:lnTo>
                <a:lnTo>
                  <a:pt x="5452" y="753"/>
                </a:lnTo>
                <a:lnTo>
                  <a:pt x="5452" y="753"/>
                </a:lnTo>
                <a:lnTo>
                  <a:pt x="5452" y="753"/>
                </a:lnTo>
                <a:lnTo>
                  <a:pt x="5452" y="747"/>
                </a:lnTo>
                <a:lnTo>
                  <a:pt x="5452" y="747"/>
                </a:lnTo>
                <a:lnTo>
                  <a:pt x="5458" y="747"/>
                </a:lnTo>
                <a:lnTo>
                  <a:pt x="5458" y="741"/>
                </a:lnTo>
                <a:lnTo>
                  <a:pt x="5458" y="741"/>
                </a:lnTo>
                <a:lnTo>
                  <a:pt x="5458" y="747"/>
                </a:lnTo>
                <a:lnTo>
                  <a:pt x="5458" y="747"/>
                </a:lnTo>
                <a:lnTo>
                  <a:pt x="5458" y="747"/>
                </a:lnTo>
                <a:lnTo>
                  <a:pt x="5452" y="759"/>
                </a:lnTo>
                <a:lnTo>
                  <a:pt x="5452" y="759"/>
                </a:lnTo>
                <a:lnTo>
                  <a:pt x="5452" y="759"/>
                </a:lnTo>
                <a:lnTo>
                  <a:pt x="5452" y="759"/>
                </a:lnTo>
                <a:lnTo>
                  <a:pt x="5452" y="759"/>
                </a:lnTo>
                <a:lnTo>
                  <a:pt x="5452" y="759"/>
                </a:lnTo>
                <a:lnTo>
                  <a:pt x="5452" y="759"/>
                </a:lnTo>
                <a:lnTo>
                  <a:pt x="5452" y="753"/>
                </a:lnTo>
                <a:lnTo>
                  <a:pt x="5452" y="753"/>
                </a:lnTo>
                <a:lnTo>
                  <a:pt x="5452" y="753"/>
                </a:lnTo>
                <a:lnTo>
                  <a:pt x="5458" y="753"/>
                </a:lnTo>
                <a:lnTo>
                  <a:pt x="5458" y="753"/>
                </a:lnTo>
                <a:lnTo>
                  <a:pt x="5458" y="753"/>
                </a:lnTo>
                <a:lnTo>
                  <a:pt x="5458" y="753"/>
                </a:lnTo>
                <a:lnTo>
                  <a:pt x="5458" y="747"/>
                </a:lnTo>
                <a:lnTo>
                  <a:pt x="5458" y="753"/>
                </a:lnTo>
                <a:lnTo>
                  <a:pt x="5458" y="753"/>
                </a:lnTo>
                <a:lnTo>
                  <a:pt x="5464" y="753"/>
                </a:lnTo>
                <a:lnTo>
                  <a:pt x="5464" y="753"/>
                </a:lnTo>
                <a:lnTo>
                  <a:pt x="5464" y="753"/>
                </a:lnTo>
                <a:lnTo>
                  <a:pt x="5464" y="747"/>
                </a:lnTo>
                <a:lnTo>
                  <a:pt x="5464" y="747"/>
                </a:lnTo>
                <a:lnTo>
                  <a:pt x="5464" y="747"/>
                </a:lnTo>
                <a:lnTo>
                  <a:pt x="5464" y="747"/>
                </a:lnTo>
                <a:lnTo>
                  <a:pt x="5464" y="741"/>
                </a:lnTo>
                <a:lnTo>
                  <a:pt x="5464" y="741"/>
                </a:lnTo>
                <a:lnTo>
                  <a:pt x="5458" y="741"/>
                </a:lnTo>
                <a:lnTo>
                  <a:pt x="5458" y="741"/>
                </a:lnTo>
                <a:lnTo>
                  <a:pt x="5464" y="741"/>
                </a:lnTo>
                <a:lnTo>
                  <a:pt x="5464" y="741"/>
                </a:lnTo>
                <a:lnTo>
                  <a:pt x="5464" y="741"/>
                </a:lnTo>
                <a:lnTo>
                  <a:pt x="5464" y="741"/>
                </a:lnTo>
                <a:lnTo>
                  <a:pt x="5464" y="741"/>
                </a:lnTo>
                <a:lnTo>
                  <a:pt x="5464" y="741"/>
                </a:lnTo>
                <a:lnTo>
                  <a:pt x="5464" y="741"/>
                </a:lnTo>
                <a:lnTo>
                  <a:pt x="5464" y="741"/>
                </a:lnTo>
                <a:lnTo>
                  <a:pt x="5464" y="741"/>
                </a:lnTo>
                <a:lnTo>
                  <a:pt x="5464" y="741"/>
                </a:lnTo>
                <a:lnTo>
                  <a:pt x="5464" y="747"/>
                </a:lnTo>
                <a:lnTo>
                  <a:pt x="5464" y="747"/>
                </a:lnTo>
                <a:lnTo>
                  <a:pt x="5464" y="747"/>
                </a:lnTo>
                <a:lnTo>
                  <a:pt x="5464" y="747"/>
                </a:lnTo>
                <a:lnTo>
                  <a:pt x="5464" y="747"/>
                </a:lnTo>
                <a:lnTo>
                  <a:pt x="5464" y="747"/>
                </a:lnTo>
                <a:lnTo>
                  <a:pt x="5464" y="747"/>
                </a:lnTo>
                <a:lnTo>
                  <a:pt x="5464" y="747"/>
                </a:lnTo>
                <a:lnTo>
                  <a:pt x="5464" y="747"/>
                </a:lnTo>
                <a:lnTo>
                  <a:pt x="5464" y="747"/>
                </a:lnTo>
                <a:lnTo>
                  <a:pt x="5464" y="753"/>
                </a:lnTo>
                <a:lnTo>
                  <a:pt x="5464" y="753"/>
                </a:lnTo>
                <a:lnTo>
                  <a:pt x="5464" y="753"/>
                </a:lnTo>
                <a:lnTo>
                  <a:pt x="5464" y="753"/>
                </a:lnTo>
                <a:lnTo>
                  <a:pt x="5464" y="753"/>
                </a:lnTo>
                <a:lnTo>
                  <a:pt x="5464" y="759"/>
                </a:lnTo>
                <a:lnTo>
                  <a:pt x="5464" y="759"/>
                </a:lnTo>
                <a:lnTo>
                  <a:pt x="5464" y="759"/>
                </a:lnTo>
                <a:lnTo>
                  <a:pt x="5464" y="759"/>
                </a:lnTo>
                <a:lnTo>
                  <a:pt x="5470" y="765"/>
                </a:lnTo>
                <a:lnTo>
                  <a:pt x="5470" y="765"/>
                </a:lnTo>
                <a:lnTo>
                  <a:pt x="5470" y="759"/>
                </a:lnTo>
                <a:lnTo>
                  <a:pt x="5470" y="759"/>
                </a:lnTo>
                <a:lnTo>
                  <a:pt x="5470" y="759"/>
                </a:lnTo>
                <a:lnTo>
                  <a:pt x="5470" y="759"/>
                </a:lnTo>
                <a:lnTo>
                  <a:pt x="5470" y="759"/>
                </a:lnTo>
                <a:lnTo>
                  <a:pt x="5470" y="759"/>
                </a:lnTo>
                <a:lnTo>
                  <a:pt x="5470" y="759"/>
                </a:lnTo>
                <a:lnTo>
                  <a:pt x="5470" y="753"/>
                </a:lnTo>
                <a:lnTo>
                  <a:pt x="5470" y="753"/>
                </a:lnTo>
                <a:lnTo>
                  <a:pt x="5470" y="753"/>
                </a:lnTo>
                <a:lnTo>
                  <a:pt x="5470" y="747"/>
                </a:lnTo>
                <a:lnTo>
                  <a:pt x="5470" y="747"/>
                </a:lnTo>
                <a:lnTo>
                  <a:pt x="5470" y="741"/>
                </a:lnTo>
                <a:lnTo>
                  <a:pt x="5470" y="741"/>
                </a:lnTo>
                <a:lnTo>
                  <a:pt x="5470" y="730"/>
                </a:lnTo>
                <a:lnTo>
                  <a:pt x="5470" y="730"/>
                </a:lnTo>
                <a:lnTo>
                  <a:pt x="5470" y="724"/>
                </a:lnTo>
                <a:lnTo>
                  <a:pt x="5470" y="724"/>
                </a:lnTo>
                <a:lnTo>
                  <a:pt x="5470" y="724"/>
                </a:lnTo>
                <a:lnTo>
                  <a:pt x="5470" y="724"/>
                </a:lnTo>
                <a:lnTo>
                  <a:pt x="5464" y="730"/>
                </a:lnTo>
                <a:lnTo>
                  <a:pt x="5464" y="730"/>
                </a:lnTo>
                <a:lnTo>
                  <a:pt x="5464" y="730"/>
                </a:lnTo>
                <a:lnTo>
                  <a:pt x="5464" y="730"/>
                </a:lnTo>
                <a:lnTo>
                  <a:pt x="5464" y="730"/>
                </a:lnTo>
                <a:lnTo>
                  <a:pt x="5464" y="724"/>
                </a:lnTo>
                <a:lnTo>
                  <a:pt x="5464" y="724"/>
                </a:lnTo>
                <a:lnTo>
                  <a:pt x="5464" y="724"/>
                </a:lnTo>
                <a:lnTo>
                  <a:pt x="5464" y="724"/>
                </a:lnTo>
                <a:lnTo>
                  <a:pt x="5464" y="724"/>
                </a:lnTo>
                <a:lnTo>
                  <a:pt x="5464" y="724"/>
                </a:lnTo>
                <a:lnTo>
                  <a:pt x="5464" y="718"/>
                </a:lnTo>
                <a:lnTo>
                  <a:pt x="5470" y="718"/>
                </a:lnTo>
                <a:lnTo>
                  <a:pt x="5470" y="718"/>
                </a:lnTo>
                <a:lnTo>
                  <a:pt x="5470" y="718"/>
                </a:lnTo>
                <a:lnTo>
                  <a:pt x="5470" y="718"/>
                </a:lnTo>
                <a:lnTo>
                  <a:pt x="5470" y="718"/>
                </a:lnTo>
                <a:lnTo>
                  <a:pt x="5470" y="718"/>
                </a:lnTo>
                <a:lnTo>
                  <a:pt x="5470" y="712"/>
                </a:lnTo>
                <a:lnTo>
                  <a:pt x="5475" y="712"/>
                </a:lnTo>
                <a:lnTo>
                  <a:pt x="5475" y="712"/>
                </a:lnTo>
                <a:lnTo>
                  <a:pt x="5475" y="712"/>
                </a:lnTo>
                <a:lnTo>
                  <a:pt x="5475" y="712"/>
                </a:lnTo>
                <a:lnTo>
                  <a:pt x="5475" y="718"/>
                </a:lnTo>
                <a:lnTo>
                  <a:pt x="5470" y="718"/>
                </a:lnTo>
                <a:lnTo>
                  <a:pt x="5470" y="718"/>
                </a:lnTo>
                <a:lnTo>
                  <a:pt x="5470" y="718"/>
                </a:lnTo>
                <a:lnTo>
                  <a:pt x="5470" y="718"/>
                </a:lnTo>
                <a:lnTo>
                  <a:pt x="5470" y="724"/>
                </a:lnTo>
                <a:lnTo>
                  <a:pt x="5470" y="724"/>
                </a:lnTo>
                <a:lnTo>
                  <a:pt x="5470" y="724"/>
                </a:lnTo>
                <a:lnTo>
                  <a:pt x="5470" y="730"/>
                </a:lnTo>
                <a:lnTo>
                  <a:pt x="5470" y="730"/>
                </a:lnTo>
                <a:lnTo>
                  <a:pt x="5470" y="730"/>
                </a:lnTo>
                <a:lnTo>
                  <a:pt x="5470" y="730"/>
                </a:lnTo>
                <a:lnTo>
                  <a:pt x="5470" y="730"/>
                </a:lnTo>
                <a:lnTo>
                  <a:pt x="5470" y="735"/>
                </a:lnTo>
                <a:lnTo>
                  <a:pt x="5470" y="735"/>
                </a:lnTo>
                <a:lnTo>
                  <a:pt x="5470" y="735"/>
                </a:lnTo>
                <a:lnTo>
                  <a:pt x="5470" y="735"/>
                </a:lnTo>
                <a:lnTo>
                  <a:pt x="5470" y="741"/>
                </a:lnTo>
                <a:lnTo>
                  <a:pt x="5470" y="741"/>
                </a:lnTo>
                <a:lnTo>
                  <a:pt x="5470" y="741"/>
                </a:lnTo>
                <a:lnTo>
                  <a:pt x="5475" y="747"/>
                </a:lnTo>
                <a:lnTo>
                  <a:pt x="5475" y="747"/>
                </a:lnTo>
                <a:lnTo>
                  <a:pt x="5475" y="747"/>
                </a:lnTo>
                <a:lnTo>
                  <a:pt x="5475" y="747"/>
                </a:lnTo>
                <a:lnTo>
                  <a:pt x="5475" y="747"/>
                </a:lnTo>
                <a:lnTo>
                  <a:pt x="5475" y="747"/>
                </a:lnTo>
                <a:lnTo>
                  <a:pt x="5475" y="747"/>
                </a:lnTo>
                <a:lnTo>
                  <a:pt x="5475" y="747"/>
                </a:lnTo>
                <a:lnTo>
                  <a:pt x="5475" y="747"/>
                </a:lnTo>
                <a:lnTo>
                  <a:pt x="5475" y="753"/>
                </a:lnTo>
                <a:lnTo>
                  <a:pt x="5475" y="753"/>
                </a:lnTo>
                <a:lnTo>
                  <a:pt x="5475" y="753"/>
                </a:lnTo>
                <a:lnTo>
                  <a:pt x="5475" y="753"/>
                </a:lnTo>
                <a:lnTo>
                  <a:pt x="5475" y="753"/>
                </a:lnTo>
                <a:lnTo>
                  <a:pt x="5475" y="753"/>
                </a:lnTo>
                <a:lnTo>
                  <a:pt x="5481" y="747"/>
                </a:lnTo>
                <a:lnTo>
                  <a:pt x="5481" y="741"/>
                </a:lnTo>
                <a:lnTo>
                  <a:pt x="5481" y="741"/>
                </a:lnTo>
                <a:lnTo>
                  <a:pt x="5481" y="741"/>
                </a:lnTo>
                <a:lnTo>
                  <a:pt x="5475" y="741"/>
                </a:lnTo>
                <a:lnTo>
                  <a:pt x="5475" y="747"/>
                </a:lnTo>
                <a:lnTo>
                  <a:pt x="5475" y="747"/>
                </a:lnTo>
                <a:lnTo>
                  <a:pt x="5475" y="747"/>
                </a:lnTo>
                <a:lnTo>
                  <a:pt x="5475" y="741"/>
                </a:lnTo>
                <a:lnTo>
                  <a:pt x="5475" y="741"/>
                </a:lnTo>
                <a:lnTo>
                  <a:pt x="5475" y="741"/>
                </a:lnTo>
                <a:lnTo>
                  <a:pt x="5475" y="741"/>
                </a:lnTo>
                <a:lnTo>
                  <a:pt x="5475" y="741"/>
                </a:lnTo>
                <a:lnTo>
                  <a:pt x="5475" y="741"/>
                </a:lnTo>
                <a:lnTo>
                  <a:pt x="5475" y="735"/>
                </a:lnTo>
                <a:lnTo>
                  <a:pt x="5475" y="735"/>
                </a:lnTo>
                <a:lnTo>
                  <a:pt x="5475" y="735"/>
                </a:lnTo>
                <a:lnTo>
                  <a:pt x="5475" y="735"/>
                </a:lnTo>
                <a:lnTo>
                  <a:pt x="5487" y="724"/>
                </a:lnTo>
                <a:lnTo>
                  <a:pt x="5487" y="718"/>
                </a:lnTo>
                <a:lnTo>
                  <a:pt x="5487" y="718"/>
                </a:lnTo>
                <a:lnTo>
                  <a:pt x="5487" y="718"/>
                </a:lnTo>
                <a:lnTo>
                  <a:pt x="5487" y="718"/>
                </a:lnTo>
                <a:lnTo>
                  <a:pt x="5487" y="718"/>
                </a:lnTo>
                <a:lnTo>
                  <a:pt x="5487" y="718"/>
                </a:lnTo>
                <a:lnTo>
                  <a:pt x="5487" y="718"/>
                </a:lnTo>
                <a:lnTo>
                  <a:pt x="5487" y="718"/>
                </a:lnTo>
                <a:lnTo>
                  <a:pt x="5487" y="724"/>
                </a:lnTo>
                <a:lnTo>
                  <a:pt x="5487" y="724"/>
                </a:lnTo>
                <a:lnTo>
                  <a:pt x="5487" y="724"/>
                </a:lnTo>
                <a:lnTo>
                  <a:pt x="5487" y="730"/>
                </a:lnTo>
                <a:lnTo>
                  <a:pt x="5487" y="730"/>
                </a:lnTo>
                <a:lnTo>
                  <a:pt x="5487" y="730"/>
                </a:lnTo>
                <a:lnTo>
                  <a:pt x="5487" y="730"/>
                </a:lnTo>
                <a:lnTo>
                  <a:pt x="5487" y="730"/>
                </a:lnTo>
                <a:lnTo>
                  <a:pt x="5487" y="730"/>
                </a:lnTo>
                <a:lnTo>
                  <a:pt x="5487" y="735"/>
                </a:lnTo>
                <a:lnTo>
                  <a:pt x="5487" y="735"/>
                </a:lnTo>
                <a:lnTo>
                  <a:pt x="5487" y="735"/>
                </a:lnTo>
                <a:lnTo>
                  <a:pt x="5487" y="735"/>
                </a:lnTo>
                <a:lnTo>
                  <a:pt x="5487" y="735"/>
                </a:lnTo>
                <a:lnTo>
                  <a:pt x="5487" y="735"/>
                </a:lnTo>
                <a:lnTo>
                  <a:pt x="5487" y="735"/>
                </a:lnTo>
                <a:lnTo>
                  <a:pt x="5487" y="735"/>
                </a:lnTo>
                <a:lnTo>
                  <a:pt x="5487" y="735"/>
                </a:lnTo>
                <a:lnTo>
                  <a:pt x="5487" y="735"/>
                </a:lnTo>
                <a:lnTo>
                  <a:pt x="5487" y="735"/>
                </a:lnTo>
                <a:lnTo>
                  <a:pt x="5487" y="735"/>
                </a:lnTo>
                <a:lnTo>
                  <a:pt x="5487" y="735"/>
                </a:lnTo>
                <a:lnTo>
                  <a:pt x="5481" y="741"/>
                </a:lnTo>
                <a:lnTo>
                  <a:pt x="5481" y="741"/>
                </a:lnTo>
                <a:lnTo>
                  <a:pt x="5481" y="741"/>
                </a:lnTo>
                <a:lnTo>
                  <a:pt x="5481" y="741"/>
                </a:lnTo>
                <a:lnTo>
                  <a:pt x="5487" y="741"/>
                </a:lnTo>
                <a:lnTo>
                  <a:pt x="5487" y="741"/>
                </a:lnTo>
                <a:lnTo>
                  <a:pt x="5487" y="741"/>
                </a:lnTo>
                <a:lnTo>
                  <a:pt x="5487" y="747"/>
                </a:lnTo>
                <a:lnTo>
                  <a:pt x="5487" y="741"/>
                </a:lnTo>
                <a:lnTo>
                  <a:pt x="5493" y="741"/>
                </a:lnTo>
                <a:lnTo>
                  <a:pt x="5493" y="747"/>
                </a:lnTo>
                <a:lnTo>
                  <a:pt x="5493" y="747"/>
                </a:lnTo>
                <a:lnTo>
                  <a:pt x="5493" y="747"/>
                </a:lnTo>
                <a:lnTo>
                  <a:pt x="5493" y="747"/>
                </a:lnTo>
                <a:lnTo>
                  <a:pt x="5493" y="741"/>
                </a:lnTo>
                <a:lnTo>
                  <a:pt x="5493" y="741"/>
                </a:lnTo>
                <a:lnTo>
                  <a:pt x="5493" y="741"/>
                </a:lnTo>
                <a:lnTo>
                  <a:pt x="5493" y="735"/>
                </a:lnTo>
                <a:lnTo>
                  <a:pt x="5493" y="735"/>
                </a:lnTo>
                <a:lnTo>
                  <a:pt x="5493" y="735"/>
                </a:lnTo>
                <a:lnTo>
                  <a:pt x="5493" y="735"/>
                </a:lnTo>
                <a:lnTo>
                  <a:pt x="5493" y="735"/>
                </a:lnTo>
                <a:lnTo>
                  <a:pt x="5493" y="735"/>
                </a:lnTo>
                <a:lnTo>
                  <a:pt x="5493" y="735"/>
                </a:lnTo>
                <a:lnTo>
                  <a:pt x="5493" y="735"/>
                </a:lnTo>
                <a:lnTo>
                  <a:pt x="5493" y="730"/>
                </a:lnTo>
                <a:lnTo>
                  <a:pt x="5493" y="730"/>
                </a:lnTo>
                <a:lnTo>
                  <a:pt x="5493" y="730"/>
                </a:lnTo>
                <a:lnTo>
                  <a:pt x="5493" y="730"/>
                </a:lnTo>
                <a:lnTo>
                  <a:pt x="5493" y="730"/>
                </a:lnTo>
                <a:lnTo>
                  <a:pt x="5493" y="730"/>
                </a:lnTo>
                <a:lnTo>
                  <a:pt x="5493" y="724"/>
                </a:lnTo>
                <a:lnTo>
                  <a:pt x="5493" y="724"/>
                </a:lnTo>
                <a:lnTo>
                  <a:pt x="5493" y="724"/>
                </a:lnTo>
                <a:lnTo>
                  <a:pt x="5493" y="724"/>
                </a:lnTo>
                <a:lnTo>
                  <a:pt x="5493" y="718"/>
                </a:lnTo>
                <a:lnTo>
                  <a:pt x="5499" y="718"/>
                </a:lnTo>
                <a:lnTo>
                  <a:pt x="5499" y="718"/>
                </a:lnTo>
                <a:lnTo>
                  <a:pt x="5499" y="724"/>
                </a:lnTo>
                <a:lnTo>
                  <a:pt x="5493" y="724"/>
                </a:lnTo>
                <a:lnTo>
                  <a:pt x="5493" y="730"/>
                </a:lnTo>
                <a:lnTo>
                  <a:pt x="5493" y="730"/>
                </a:lnTo>
                <a:lnTo>
                  <a:pt x="5493" y="730"/>
                </a:lnTo>
                <a:lnTo>
                  <a:pt x="5493" y="730"/>
                </a:lnTo>
                <a:lnTo>
                  <a:pt x="5493" y="730"/>
                </a:lnTo>
                <a:lnTo>
                  <a:pt x="5493" y="730"/>
                </a:lnTo>
                <a:lnTo>
                  <a:pt x="5493" y="735"/>
                </a:lnTo>
                <a:lnTo>
                  <a:pt x="5493" y="735"/>
                </a:lnTo>
                <a:lnTo>
                  <a:pt x="5493" y="735"/>
                </a:lnTo>
                <a:lnTo>
                  <a:pt x="5493" y="735"/>
                </a:lnTo>
                <a:lnTo>
                  <a:pt x="5493" y="735"/>
                </a:lnTo>
                <a:lnTo>
                  <a:pt x="5493" y="735"/>
                </a:lnTo>
                <a:lnTo>
                  <a:pt x="5493" y="735"/>
                </a:lnTo>
                <a:lnTo>
                  <a:pt x="5493" y="735"/>
                </a:lnTo>
                <a:lnTo>
                  <a:pt x="5493" y="735"/>
                </a:lnTo>
                <a:lnTo>
                  <a:pt x="5493" y="735"/>
                </a:lnTo>
                <a:lnTo>
                  <a:pt x="5493" y="741"/>
                </a:lnTo>
                <a:lnTo>
                  <a:pt x="5493" y="741"/>
                </a:lnTo>
                <a:lnTo>
                  <a:pt x="5493" y="741"/>
                </a:lnTo>
                <a:lnTo>
                  <a:pt x="5493" y="741"/>
                </a:lnTo>
                <a:lnTo>
                  <a:pt x="5493" y="741"/>
                </a:lnTo>
                <a:lnTo>
                  <a:pt x="5493" y="741"/>
                </a:lnTo>
                <a:lnTo>
                  <a:pt x="5493" y="747"/>
                </a:lnTo>
                <a:lnTo>
                  <a:pt x="5493" y="747"/>
                </a:lnTo>
                <a:lnTo>
                  <a:pt x="5493" y="741"/>
                </a:lnTo>
                <a:lnTo>
                  <a:pt x="5493" y="741"/>
                </a:lnTo>
                <a:lnTo>
                  <a:pt x="5493" y="735"/>
                </a:lnTo>
                <a:lnTo>
                  <a:pt x="5499" y="735"/>
                </a:lnTo>
                <a:lnTo>
                  <a:pt x="5499" y="735"/>
                </a:lnTo>
                <a:lnTo>
                  <a:pt x="5499" y="735"/>
                </a:lnTo>
                <a:lnTo>
                  <a:pt x="5499" y="735"/>
                </a:lnTo>
                <a:lnTo>
                  <a:pt x="5499" y="741"/>
                </a:lnTo>
                <a:lnTo>
                  <a:pt x="5499" y="741"/>
                </a:lnTo>
                <a:lnTo>
                  <a:pt x="5499" y="747"/>
                </a:lnTo>
                <a:lnTo>
                  <a:pt x="5499" y="741"/>
                </a:lnTo>
                <a:lnTo>
                  <a:pt x="5499" y="741"/>
                </a:lnTo>
                <a:lnTo>
                  <a:pt x="5505" y="741"/>
                </a:lnTo>
                <a:lnTo>
                  <a:pt x="5505" y="724"/>
                </a:lnTo>
                <a:lnTo>
                  <a:pt x="5505" y="724"/>
                </a:lnTo>
                <a:lnTo>
                  <a:pt x="5505" y="724"/>
                </a:lnTo>
                <a:lnTo>
                  <a:pt x="5505" y="724"/>
                </a:lnTo>
                <a:lnTo>
                  <a:pt x="5505" y="724"/>
                </a:lnTo>
                <a:lnTo>
                  <a:pt x="5511" y="724"/>
                </a:lnTo>
                <a:lnTo>
                  <a:pt x="5511" y="724"/>
                </a:lnTo>
                <a:lnTo>
                  <a:pt x="5511" y="724"/>
                </a:lnTo>
                <a:lnTo>
                  <a:pt x="5511" y="718"/>
                </a:lnTo>
                <a:lnTo>
                  <a:pt x="5511" y="718"/>
                </a:lnTo>
                <a:lnTo>
                  <a:pt x="5511" y="718"/>
                </a:lnTo>
                <a:lnTo>
                  <a:pt x="5511" y="718"/>
                </a:lnTo>
                <a:lnTo>
                  <a:pt x="5511" y="712"/>
                </a:lnTo>
                <a:lnTo>
                  <a:pt x="5517" y="712"/>
                </a:lnTo>
                <a:lnTo>
                  <a:pt x="5517" y="718"/>
                </a:lnTo>
                <a:lnTo>
                  <a:pt x="5517" y="718"/>
                </a:lnTo>
                <a:lnTo>
                  <a:pt x="5511" y="718"/>
                </a:lnTo>
                <a:lnTo>
                  <a:pt x="5511" y="718"/>
                </a:lnTo>
                <a:lnTo>
                  <a:pt x="5511" y="718"/>
                </a:lnTo>
                <a:lnTo>
                  <a:pt x="5517" y="718"/>
                </a:lnTo>
                <a:lnTo>
                  <a:pt x="5517" y="718"/>
                </a:lnTo>
                <a:lnTo>
                  <a:pt x="5517" y="724"/>
                </a:lnTo>
                <a:lnTo>
                  <a:pt x="5517" y="724"/>
                </a:lnTo>
                <a:lnTo>
                  <a:pt x="5517" y="724"/>
                </a:lnTo>
                <a:lnTo>
                  <a:pt x="5511" y="724"/>
                </a:lnTo>
                <a:lnTo>
                  <a:pt x="5511" y="724"/>
                </a:lnTo>
                <a:lnTo>
                  <a:pt x="5517" y="724"/>
                </a:lnTo>
                <a:lnTo>
                  <a:pt x="5517" y="724"/>
                </a:lnTo>
                <a:lnTo>
                  <a:pt x="5517" y="724"/>
                </a:lnTo>
                <a:lnTo>
                  <a:pt x="5517" y="724"/>
                </a:lnTo>
                <a:lnTo>
                  <a:pt x="5523" y="724"/>
                </a:lnTo>
                <a:lnTo>
                  <a:pt x="5517" y="724"/>
                </a:lnTo>
                <a:lnTo>
                  <a:pt x="5517" y="730"/>
                </a:lnTo>
                <a:lnTo>
                  <a:pt x="5517" y="730"/>
                </a:lnTo>
                <a:lnTo>
                  <a:pt x="5523" y="730"/>
                </a:lnTo>
                <a:lnTo>
                  <a:pt x="5523" y="724"/>
                </a:lnTo>
                <a:lnTo>
                  <a:pt x="5529" y="724"/>
                </a:lnTo>
                <a:lnTo>
                  <a:pt x="5529" y="724"/>
                </a:lnTo>
                <a:lnTo>
                  <a:pt x="5529" y="724"/>
                </a:lnTo>
                <a:lnTo>
                  <a:pt x="5529" y="724"/>
                </a:lnTo>
                <a:lnTo>
                  <a:pt x="5523" y="730"/>
                </a:lnTo>
                <a:lnTo>
                  <a:pt x="5523" y="730"/>
                </a:lnTo>
                <a:lnTo>
                  <a:pt x="5523" y="730"/>
                </a:lnTo>
                <a:lnTo>
                  <a:pt x="5529" y="730"/>
                </a:lnTo>
                <a:lnTo>
                  <a:pt x="5529" y="730"/>
                </a:lnTo>
                <a:lnTo>
                  <a:pt x="5529" y="730"/>
                </a:lnTo>
                <a:lnTo>
                  <a:pt x="5529" y="730"/>
                </a:lnTo>
                <a:lnTo>
                  <a:pt x="5529" y="730"/>
                </a:lnTo>
                <a:lnTo>
                  <a:pt x="5529" y="724"/>
                </a:lnTo>
                <a:lnTo>
                  <a:pt x="5529" y="724"/>
                </a:lnTo>
                <a:lnTo>
                  <a:pt x="5529" y="724"/>
                </a:lnTo>
                <a:lnTo>
                  <a:pt x="5529" y="724"/>
                </a:lnTo>
                <a:lnTo>
                  <a:pt x="5529" y="724"/>
                </a:lnTo>
                <a:lnTo>
                  <a:pt x="5535" y="724"/>
                </a:lnTo>
                <a:lnTo>
                  <a:pt x="5535" y="724"/>
                </a:lnTo>
                <a:lnTo>
                  <a:pt x="5535" y="724"/>
                </a:lnTo>
                <a:lnTo>
                  <a:pt x="5535" y="724"/>
                </a:lnTo>
                <a:lnTo>
                  <a:pt x="5535" y="724"/>
                </a:lnTo>
                <a:lnTo>
                  <a:pt x="5535" y="724"/>
                </a:lnTo>
                <a:lnTo>
                  <a:pt x="5535" y="724"/>
                </a:lnTo>
                <a:lnTo>
                  <a:pt x="5535" y="724"/>
                </a:lnTo>
                <a:lnTo>
                  <a:pt x="5535" y="718"/>
                </a:lnTo>
                <a:lnTo>
                  <a:pt x="5535" y="718"/>
                </a:lnTo>
                <a:lnTo>
                  <a:pt x="5535" y="718"/>
                </a:lnTo>
                <a:lnTo>
                  <a:pt x="5541" y="718"/>
                </a:lnTo>
                <a:lnTo>
                  <a:pt x="5541" y="718"/>
                </a:lnTo>
                <a:lnTo>
                  <a:pt x="5541" y="718"/>
                </a:lnTo>
                <a:lnTo>
                  <a:pt x="5541" y="718"/>
                </a:lnTo>
                <a:lnTo>
                  <a:pt x="5547" y="712"/>
                </a:lnTo>
                <a:lnTo>
                  <a:pt x="5547" y="712"/>
                </a:lnTo>
                <a:lnTo>
                  <a:pt x="5541" y="712"/>
                </a:lnTo>
                <a:lnTo>
                  <a:pt x="5541" y="706"/>
                </a:lnTo>
                <a:lnTo>
                  <a:pt x="5541" y="706"/>
                </a:lnTo>
                <a:lnTo>
                  <a:pt x="5541" y="706"/>
                </a:lnTo>
                <a:lnTo>
                  <a:pt x="5541" y="706"/>
                </a:lnTo>
                <a:lnTo>
                  <a:pt x="5541" y="706"/>
                </a:lnTo>
                <a:lnTo>
                  <a:pt x="5541" y="706"/>
                </a:lnTo>
                <a:lnTo>
                  <a:pt x="5541" y="700"/>
                </a:lnTo>
                <a:lnTo>
                  <a:pt x="5541" y="700"/>
                </a:lnTo>
                <a:lnTo>
                  <a:pt x="5547" y="700"/>
                </a:lnTo>
                <a:lnTo>
                  <a:pt x="5547" y="694"/>
                </a:lnTo>
                <a:lnTo>
                  <a:pt x="5547" y="688"/>
                </a:lnTo>
                <a:lnTo>
                  <a:pt x="5547" y="688"/>
                </a:lnTo>
                <a:lnTo>
                  <a:pt x="5547" y="688"/>
                </a:lnTo>
                <a:lnTo>
                  <a:pt x="5547" y="682"/>
                </a:lnTo>
                <a:lnTo>
                  <a:pt x="5553" y="682"/>
                </a:lnTo>
                <a:lnTo>
                  <a:pt x="5553" y="682"/>
                </a:lnTo>
                <a:lnTo>
                  <a:pt x="5553" y="682"/>
                </a:lnTo>
                <a:lnTo>
                  <a:pt x="5553" y="682"/>
                </a:lnTo>
                <a:lnTo>
                  <a:pt x="5558" y="676"/>
                </a:lnTo>
                <a:lnTo>
                  <a:pt x="5558" y="676"/>
                </a:lnTo>
                <a:lnTo>
                  <a:pt x="5558" y="676"/>
                </a:lnTo>
                <a:lnTo>
                  <a:pt x="5558" y="676"/>
                </a:lnTo>
                <a:lnTo>
                  <a:pt x="5553" y="670"/>
                </a:lnTo>
                <a:lnTo>
                  <a:pt x="5553" y="670"/>
                </a:lnTo>
                <a:lnTo>
                  <a:pt x="5553" y="670"/>
                </a:lnTo>
                <a:lnTo>
                  <a:pt x="5553" y="670"/>
                </a:lnTo>
                <a:lnTo>
                  <a:pt x="5553" y="664"/>
                </a:lnTo>
                <a:lnTo>
                  <a:pt x="5553" y="664"/>
                </a:lnTo>
                <a:lnTo>
                  <a:pt x="5553" y="664"/>
                </a:lnTo>
                <a:lnTo>
                  <a:pt x="5553" y="664"/>
                </a:lnTo>
                <a:lnTo>
                  <a:pt x="5553" y="664"/>
                </a:lnTo>
                <a:lnTo>
                  <a:pt x="5553" y="664"/>
                </a:lnTo>
                <a:lnTo>
                  <a:pt x="5558" y="658"/>
                </a:lnTo>
                <a:lnTo>
                  <a:pt x="5558" y="658"/>
                </a:lnTo>
                <a:lnTo>
                  <a:pt x="5558" y="658"/>
                </a:lnTo>
                <a:lnTo>
                  <a:pt x="5564" y="658"/>
                </a:lnTo>
                <a:lnTo>
                  <a:pt x="5564" y="658"/>
                </a:lnTo>
                <a:lnTo>
                  <a:pt x="5564" y="658"/>
                </a:lnTo>
                <a:lnTo>
                  <a:pt x="5564" y="658"/>
                </a:lnTo>
                <a:lnTo>
                  <a:pt x="5564" y="658"/>
                </a:lnTo>
                <a:lnTo>
                  <a:pt x="5564" y="658"/>
                </a:lnTo>
                <a:lnTo>
                  <a:pt x="5564" y="658"/>
                </a:lnTo>
                <a:lnTo>
                  <a:pt x="5570" y="658"/>
                </a:lnTo>
                <a:lnTo>
                  <a:pt x="5570" y="658"/>
                </a:lnTo>
                <a:lnTo>
                  <a:pt x="5570" y="658"/>
                </a:lnTo>
                <a:lnTo>
                  <a:pt x="5570" y="658"/>
                </a:lnTo>
                <a:lnTo>
                  <a:pt x="5570" y="658"/>
                </a:lnTo>
                <a:lnTo>
                  <a:pt x="5570" y="658"/>
                </a:lnTo>
                <a:lnTo>
                  <a:pt x="5570" y="652"/>
                </a:lnTo>
                <a:lnTo>
                  <a:pt x="5570" y="646"/>
                </a:lnTo>
                <a:lnTo>
                  <a:pt x="5570" y="646"/>
                </a:lnTo>
                <a:lnTo>
                  <a:pt x="5570" y="646"/>
                </a:lnTo>
                <a:lnTo>
                  <a:pt x="5570" y="646"/>
                </a:lnTo>
                <a:lnTo>
                  <a:pt x="5570" y="646"/>
                </a:lnTo>
                <a:lnTo>
                  <a:pt x="5570" y="646"/>
                </a:lnTo>
                <a:lnTo>
                  <a:pt x="5576" y="646"/>
                </a:lnTo>
                <a:lnTo>
                  <a:pt x="5576" y="646"/>
                </a:lnTo>
                <a:lnTo>
                  <a:pt x="5576" y="646"/>
                </a:lnTo>
                <a:lnTo>
                  <a:pt x="5570" y="652"/>
                </a:lnTo>
                <a:lnTo>
                  <a:pt x="5570" y="652"/>
                </a:lnTo>
                <a:lnTo>
                  <a:pt x="5570" y="652"/>
                </a:lnTo>
                <a:lnTo>
                  <a:pt x="5570" y="658"/>
                </a:lnTo>
                <a:lnTo>
                  <a:pt x="5570" y="658"/>
                </a:lnTo>
                <a:lnTo>
                  <a:pt x="5570" y="658"/>
                </a:lnTo>
                <a:lnTo>
                  <a:pt x="5570" y="658"/>
                </a:lnTo>
                <a:lnTo>
                  <a:pt x="5570" y="658"/>
                </a:lnTo>
                <a:lnTo>
                  <a:pt x="5570" y="658"/>
                </a:lnTo>
                <a:lnTo>
                  <a:pt x="5570" y="658"/>
                </a:lnTo>
                <a:lnTo>
                  <a:pt x="5570" y="664"/>
                </a:lnTo>
                <a:lnTo>
                  <a:pt x="5570" y="664"/>
                </a:lnTo>
                <a:lnTo>
                  <a:pt x="5570" y="664"/>
                </a:lnTo>
                <a:lnTo>
                  <a:pt x="5570" y="664"/>
                </a:lnTo>
                <a:lnTo>
                  <a:pt x="5570" y="664"/>
                </a:lnTo>
                <a:lnTo>
                  <a:pt x="5570" y="670"/>
                </a:lnTo>
                <a:lnTo>
                  <a:pt x="5570" y="670"/>
                </a:lnTo>
                <a:lnTo>
                  <a:pt x="5570" y="664"/>
                </a:lnTo>
                <a:lnTo>
                  <a:pt x="5570" y="664"/>
                </a:lnTo>
                <a:lnTo>
                  <a:pt x="5570" y="664"/>
                </a:lnTo>
                <a:lnTo>
                  <a:pt x="5576" y="664"/>
                </a:lnTo>
                <a:lnTo>
                  <a:pt x="5576" y="664"/>
                </a:lnTo>
                <a:lnTo>
                  <a:pt x="5576" y="664"/>
                </a:lnTo>
                <a:lnTo>
                  <a:pt x="5576" y="658"/>
                </a:lnTo>
                <a:lnTo>
                  <a:pt x="5576" y="664"/>
                </a:lnTo>
                <a:lnTo>
                  <a:pt x="5582" y="664"/>
                </a:lnTo>
                <a:lnTo>
                  <a:pt x="5582" y="664"/>
                </a:lnTo>
                <a:lnTo>
                  <a:pt x="5582" y="664"/>
                </a:lnTo>
                <a:lnTo>
                  <a:pt x="5576" y="664"/>
                </a:lnTo>
                <a:lnTo>
                  <a:pt x="5576" y="664"/>
                </a:lnTo>
                <a:lnTo>
                  <a:pt x="5576" y="664"/>
                </a:lnTo>
                <a:lnTo>
                  <a:pt x="5576" y="664"/>
                </a:lnTo>
                <a:lnTo>
                  <a:pt x="5576" y="664"/>
                </a:lnTo>
                <a:lnTo>
                  <a:pt x="5576" y="664"/>
                </a:lnTo>
                <a:lnTo>
                  <a:pt x="5576" y="664"/>
                </a:lnTo>
                <a:lnTo>
                  <a:pt x="5576" y="664"/>
                </a:lnTo>
                <a:lnTo>
                  <a:pt x="5576" y="670"/>
                </a:lnTo>
                <a:lnTo>
                  <a:pt x="5576" y="670"/>
                </a:lnTo>
                <a:lnTo>
                  <a:pt x="5576" y="670"/>
                </a:lnTo>
                <a:lnTo>
                  <a:pt x="5576" y="670"/>
                </a:lnTo>
                <a:lnTo>
                  <a:pt x="5576" y="670"/>
                </a:lnTo>
                <a:lnTo>
                  <a:pt x="5570" y="670"/>
                </a:lnTo>
                <a:lnTo>
                  <a:pt x="5570" y="670"/>
                </a:lnTo>
                <a:lnTo>
                  <a:pt x="5570" y="670"/>
                </a:lnTo>
                <a:lnTo>
                  <a:pt x="5570" y="670"/>
                </a:lnTo>
                <a:lnTo>
                  <a:pt x="5570" y="670"/>
                </a:lnTo>
                <a:lnTo>
                  <a:pt x="5570" y="676"/>
                </a:lnTo>
                <a:lnTo>
                  <a:pt x="5570" y="676"/>
                </a:lnTo>
                <a:lnTo>
                  <a:pt x="5570" y="676"/>
                </a:lnTo>
                <a:lnTo>
                  <a:pt x="5570" y="676"/>
                </a:lnTo>
                <a:lnTo>
                  <a:pt x="5576" y="676"/>
                </a:lnTo>
                <a:lnTo>
                  <a:pt x="5576" y="676"/>
                </a:lnTo>
                <a:lnTo>
                  <a:pt x="5582" y="682"/>
                </a:lnTo>
                <a:lnTo>
                  <a:pt x="5582" y="682"/>
                </a:lnTo>
                <a:lnTo>
                  <a:pt x="5582" y="682"/>
                </a:lnTo>
                <a:lnTo>
                  <a:pt x="5582" y="682"/>
                </a:lnTo>
                <a:lnTo>
                  <a:pt x="5588" y="682"/>
                </a:lnTo>
                <a:lnTo>
                  <a:pt x="5594" y="688"/>
                </a:lnTo>
                <a:lnTo>
                  <a:pt x="5600" y="688"/>
                </a:lnTo>
                <a:lnTo>
                  <a:pt x="5600" y="688"/>
                </a:lnTo>
                <a:lnTo>
                  <a:pt x="5594" y="688"/>
                </a:lnTo>
                <a:lnTo>
                  <a:pt x="5594" y="688"/>
                </a:lnTo>
                <a:lnTo>
                  <a:pt x="5594" y="688"/>
                </a:lnTo>
                <a:lnTo>
                  <a:pt x="5594" y="688"/>
                </a:lnTo>
                <a:lnTo>
                  <a:pt x="5594" y="682"/>
                </a:lnTo>
                <a:lnTo>
                  <a:pt x="5594" y="682"/>
                </a:lnTo>
                <a:lnTo>
                  <a:pt x="5600" y="682"/>
                </a:lnTo>
                <a:lnTo>
                  <a:pt x="5600" y="682"/>
                </a:lnTo>
                <a:lnTo>
                  <a:pt x="5600" y="682"/>
                </a:lnTo>
                <a:lnTo>
                  <a:pt x="5594" y="682"/>
                </a:lnTo>
                <a:lnTo>
                  <a:pt x="5594" y="682"/>
                </a:lnTo>
                <a:lnTo>
                  <a:pt x="5594" y="682"/>
                </a:lnTo>
                <a:lnTo>
                  <a:pt x="5594" y="682"/>
                </a:lnTo>
                <a:lnTo>
                  <a:pt x="5594" y="682"/>
                </a:lnTo>
                <a:lnTo>
                  <a:pt x="5594" y="676"/>
                </a:lnTo>
                <a:lnTo>
                  <a:pt x="5594" y="676"/>
                </a:lnTo>
                <a:lnTo>
                  <a:pt x="5594" y="676"/>
                </a:lnTo>
                <a:lnTo>
                  <a:pt x="5594" y="676"/>
                </a:lnTo>
                <a:lnTo>
                  <a:pt x="5594" y="670"/>
                </a:lnTo>
                <a:lnTo>
                  <a:pt x="5594" y="670"/>
                </a:lnTo>
                <a:lnTo>
                  <a:pt x="5594" y="670"/>
                </a:lnTo>
                <a:lnTo>
                  <a:pt x="5594" y="670"/>
                </a:lnTo>
                <a:lnTo>
                  <a:pt x="5594" y="664"/>
                </a:lnTo>
                <a:lnTo>
                  <a:pt x="5594" y="664"/>
                </a:lnTo>
                <a:lnTo>
                  <a:pt x="5594" y="664"/>
                </a:lnTo>
                <a:lnTo>
                  <a:pt x="5594" y="664"/>
                </a:lnTo>
                <a:lnTo>
                  <a:pt x="5594" y="664"/>
                </a:lnTo>
                <a:lnTo>
                  <a:pt x="5594" y="664"/>
                </a:lnTo>
                <a:lnTo>
                  <a:pt x="5594" y="664"/>
                </a:lnTo>
                <a:lnTo>
                  <a:pt x="5600" y="664"/>
                </a:lnTo>
                <a:lnTo>
                  <a:pt x="5600" y="664"/>
                </a:lnTo>
                <a:lnTo>
                  <a:pt x="5600" y="664"/>
                </a:lnTo>
                <a:lnTo>
                  <a:pt x="5600" y="664"/>
                </a:lnTo>
                <a:lnTo>
                  <a:pt x="5600" y="664"/>
                </a:lnTo>
                <a:lnTo>
                  <a:pt x="5600" y="664"/>
                </a:lnTo>
                <a:lnTo>
                  <a:pt x="5600" y="670"/>
                </a:lnTo>
                <a:lnTo>
                  <a:pt x="5600" y="670"/>
                </a:lnTo>
                <a:lnTo>
                  <a:pt x="5600" y="670"/>
                </a:lnTo>
                <a:lnTo>
                  <a:pt x="5606" y="670"/>
                </a:lnTo>
                <a:lnTo>
                  <a:pt x="5606" y="664"/>
                </a:lnTo>
                <a:lnTo>
                  <a:pt x="5606" y="664"/>
                </a:lnTo>
                <a:lnTo>
                  <a:pt x="5606" y="664"/>
                </a:lnTo>
                <a:lnTo>
                  <a:pt x="5606" y="664"/>
                </a:lnTo>
                <a:lnTo>
                  <a:pt x="5606" y="664"/>
                </a:lnTo>
                <a:lnTo>
                  <a:pt x="5606" y="664"/>
                </a:lnTo>
                <a:lnTo>
                  <a:pt x="5606" y="664"/>
                </a:lnTo>
                <a:lnTo>
                  <a:pt x="5606" y="664"/>
                </a:lnTo>
                <a:lnTo>
                  <a:pt x="5606" y="664"/>
                </a:lnTo>
                <a:lnTo>
                  <a:pt x="5606" y="664"/>
                </a:lnTo>
                <a:lnTo>
                  <a:pt x="5606" y="664"/>
                </a:lnTo>
                <a:lnTo>
                  <a:pt x="5606" y="664"/>
                </a:lnTo>
                <a:lnTo>
                  <a:pt x="5606" y="664"/>
                </a:lnTo>
                <a:lnTo>
                  <a:pt x="5606" y="658"/>
                </a:lnTo>
                <a:lnTo>
                  <a:pt x="5606" y="658"/>
                </a:lnTo>
                <a:lnTo>
                  <a:pt x="5606" y="658"/>
                </a:lnTo>
                <a:lnTo>
                  <a:pt x="5606" y="658"/>
                </a:lnTo>
                <a:lnTo>
                  <a:pt x="5606" y="658"/>
                </a:lnTo>
                <a:lnTo>
                  <a:pt x="5606" y="658"/>
                </a:lnTo>
                <a:lnTo>
                  <a:pt x="5606" y="658"/>
                </a:lnTo>
                <a:lnTo>
                  <a:pt x="5606" y="658"/>
                </a:lnTo>
                <a:lnTo>
                  <a:pt x="5600" y="652"/>
                </a:lnTo>
                <a:lnTo>
                  <a:pt x="5600" y="652"/>
                </a:lnTo>
                <a:lnTo>
                  <a:pt x="5606" y="652"/>
                </a:lnTo>
                <a:lnTo>
                  <a:pt x="5606" y="652"/>
                </a:lnTo>
                <a:lnTo>
                  <a:pt x="5606" y="658"/>
                </a:lnTo>
                <a:lnTo>
                  <a:pt x="5606" y="664"/>
                </a:lnTo>
                <a:lnTo>
                  <a:pt x="5606" y="664"/>
                </a:lnTo>
                <a:lnTo>
                  <a:pt x="5606" y="664"/>
                </a:lnTo>
                <a:lnTo>
                  <a:pt x="5612" y="664"/>
                </a:lnTo>
                <a:lnTo>
                  <a:pt x="5612" y="664"/>
                </a:lnTo>
                <a:lnTo>
                  <a:pt x="5612" y="664"/>
                </a:lnTo>
                <a:lnTo>
                  <a:pt x="5612" y="664"/>
                </a:lnTo>
                <a:lnTo>
                  <a:pt x="5612" y="658"/>
                </a:lnTo>
                <a:lnTo>
                  <a:pt x="5612" y="658"/>
                </a:lnTo>
                <a:lnTo>
                  <a:pt x="5612" y="658"/>
                </a:lnTo>
                <a:lnTo>
                  <a:pt x="5618" y="658"/>
                </a:lnTo>
                <a:lnTo>
                  <a:pt x="5618" y="658"/>
                </a:lnTo>
                <a:lnTo>
                  <a:pt x="5624" y="658"/>
                </a:lnTo>
                <a:lnTo>
                  <a:pt x="5624" y="658"/>
                </a:lnTo>
                <a:lnTo>
                  <a:pt x="5624" y="658"/>
                </a:lnTo>
                <a:lnTo>
                  <a:pt x="5624" y="658"/>
                </a:lnTo>
                <a:lnTo>
                  <a:pt x="5624" y="658"/>
                </a:lnTo>
                <a:lnTo>
                  <a:pt x="5624" y="658"/>
                </a:lnTo>
                <a:lnTo>
                  <a:pt x="5624" y="658"/>
                </a:lnTo>
                <a:lnTo>
                  <a:pt x="5624" y="652"/>
                </a:lnTo>
                <a:lnTo>
                  <a:pt x="5624" y="652"/>
                </a:lnTo>
                <a:lnTo>
                  <a:pt x="5624" y="652"/>
                </a:lnTo>
                <a:lnTo>
                  <a:pt x="5618" y="652"/>
                </a:lnTo>
                <a:lnTo>
                  <a:pt x="5618" y="646"/>
                </a:lnTo>
                <a:lnTo>
                  <a:pt x="5618" y="646"/>
                </a:lnTo>
                <a:lnTo>
                  <a:pt x="5624" y="652"/>
                </a:lnTo>
                <a:lnTo>
                  <a:pt x="5624" y="652"/>
                </a:lnTo>
                <a:lnTo>
                  <a:pt x="5624" y="652"/>
                </a:lnTo>
                <a:lnTo>
                  <a:pt x="5624" y="652"/>
                </a:lnTo>
                <a:lnTo>
                  <a:pt x="5630" y="658"/>
                </a:lnTo>
                <a:lnTo>
                  <a:pt x="5630" y="658"/>
                </a:lnTo>
                <a:lnTo>
                  <a:pt x="5630" y="658"/>
                </a:lnTo>
                <a:lnTo>
                  <a:pt x="5630" y="652"/>
                </a:lnTo>
                <a:lnTo>
                  <a:pt x="5630" y="652"/>
                </a:lnTo>
                <a:lnTo>
                  <a:pt x="5630" y="652"/>
                </a:lnTo>
                <a:lnTo>
                  <a:pt x="5630" y="646"/>
                </a:lnTo>
                <a:lnTo>
                  <a:pt x="5630" y="646"/>
                </a:lnTo>
                <a:lnTo>
                  <a:pt x="5630" y="652"/>
                </a:lnTo>
                <a:lnTo>
                  <a:pt x="5630" y="652"/>
                </a:lnTo>
                <a:lnTo>
                  <a:pt x="5630" y="658"/>
                </a:lnTo>
                <a:lnTo>
                  <a:pt x="5630" y="658"/>
                </a:lnTo>
                <a:lnTo>
                  <a:pt x="5630" y="658"/>
                </a:lnTo>
                <a:lnTo>
                  <a:pt x="5630" y="658"/>
                </a:lnTo>
                <a:lnTo>
                  <a:pt x="5630" y="658"/>
                </a:lnTo>
                <a:lnTo>
                  <a:pt x="5635" y="658"/>
                </a:lnTo>
                <a:lnTo>
                  <a:pt x="5635" y="658"/>
                </a:lnTo>
                <a:lnTo>
                  <a:pt x="5635" y="658"/>
                </a:lnTo>
                <a:lnTo>
                  <a:pt x="5635" y="658"/>
                </a:lnTo>
                <a:lnTo>
                  <a:pt x="5635" y="658"/>
                </a:lnTo>
                <a:lnTo>
                  <a:pt x="5635" y="658"/>
                </a:lnTo>
                <a:lnTo>
                  <a:pt x="5635" y="658"/>
                </a:lnTo>
                <a:lnTo>
                  <a:pt x="5635" y="652"/>
                </a:lnTo>
                <a:lnTo>
                  <a:pt x="5635" y="652"/>
                </a:lnTo>
                <a:lnTo>
                  <a:pt x="5635" y="652"/>
                </a:lnTo>
                <a:lnTo>
                  <a:pt x="5635" y="652"/>
                </a:lnTo>
                <a:lnTo>
                  <a:pt x="5635" y="652"/>
                </a:lnTo>
                <a:lnTo>
                  <a:pt x="5635" y="652"/>
                </a:lnTo>
                <a:lnTo>
                  <a:pt x="5635" y="652"/>
                </a:lnTo>
                <a:lnTo>
                  <a:pt x="5635" y="652"/>
                </a:lnTo>
                <a:lnTo>
                  <a:pt x="5635" y="652"/>
                </a:lnTo>
                <a:lnTo>
                  <a:pt x="5635" y="652"/>
                </a:lnTo>
                <a:lnTo>
                  <a:pt x="5641" y="652"/>
                </a:lnTo>
                <a:lnTo>
                  <a:pt x="5641" y="658"/>
                </a:lnTo>
                <a:lnTo>
                  <a:pt x="5641" y="658"/>
                </a:lnTo>
                <a:lnTo>
                  <a:pt x="5641" y="658"/>
                </a:lnTo>
                <a:lnTo>
                  <a:pt x="5641" y="664"/>
                </a:lnTo>
                <a:lnTo>
                  <a:pt x="5641" y="664"/>
                </a:lnTo>
                <a:lnTo>
                  <a:pt x="5641" y="670"/>
                </a:lnTo>
                <a:lnTo>
                  <a:pt x="5641" y="670"/>
                </a:lnTo>
                <a:lnTo>
                  <a:pt x="5641" y="670"/>
                </a:lnTo>
                <a:lnTo>
                  <a:pt x="5641" y="670"/>
                </a:lnTo>
                <a:lnTo>
                  <a:pt x="5641" y="670"/>
                </a:lnTo>
                <a:lnTo>
                  <a:pt x="5641" y="670"/>
                </a:lnTo>
                <a:lnTo>
                  <a:pt x="5641" y="670"/>
                </a:lnTo>
                <a:lnTo>
                  <a:pt x="5641" y="670"/>
                </a:lnTo>
                <a:lnTo>
                  <a:pt x="5641" y="676"/>
                </a:lnTo>
                <a:lnTo>
                  <a:pt x="5641" y="676"/>
                </a:lnTo>
                <a:lnTo>
                  <a:pt x="5641" y="676"/>
                </a:lnTo>
                <a:lnTo>
                  <a:pt x="5641" y="676"/>
                </a:lnTo>
                <a:lnTo>
                  <a:pt x="5641" y="676"/>
                </a:lnTo>
                <a:lnTo>
                  <a:pt x="5647" y="676"/>
                </a:lnTo>
                <a:lnTo>
                  <a:pt x="5647" y="670"/>
                </a:lnTo>
                <a:lnTo>
                  <a:pt x="5647" y="670"/>
                </a:lnTo>
                <a:lnTo>
                  <a:pt x="5647" y="670"/>
                </a:lnTo>
                <a:lnTo>
                  <a:pt x="5647" y="670"/>
                </a:lnTo>
                <a:lnTo>
                  <a:pt x="5647" y="670"/>
                </a:lnTo>
                <a:lnTo>
                  <a:pt x="5647" y="670"/>
                </a:lnTo>
                <a:lnTo>
                  <a:pt x="5647" y="664"/>
                </a:lnTo>
                <a:lnTo>
                  <a:pt x="5647" y="664"/>
                </a:lnTo>
                <a:lnTo>
                  <a:pt x="5647" y="664"/>
                </a:lnTo>
                <a:lnTo>
                  <a:pt x="5647" y="670"/>
                </a:lnTo>
                <a:lnTo>
                  <a:pt x="5647" y="670"/>
                </a:lnTo>
                <a:lnTo>
                  <a:pt x="5653" y="670"/>
                </a:lnTo>
                <a:lnTo>
                  <a:pt x="5653" y="670"/>
                </a:lnTo>
                <a:lnTo>
                  <a:pt x="5653" y="670"/>
                </a:lnTo>
                <a:lnTo>
                  <a:pt x="5653" y="670"/>
                </a:lnTo>
                <a:lnTo>
                  <a:pt x="5653" y="664"/>
                </a:lnTo>
                <a:lnTo>
                  <a:pt x="5653" y="664"/>
                </a:lnTo>
                <a:lnTo>
                  <a:pt x="5653" y="664"/>
                </a:lnTo>
                <a:lnTo>
                  <a:pt x="5653" y="664"/>
                </a:lnTo>
                <a:lnTo>
                  <a:pt x="5653" y="664"/>
                </a:lnTo>
                <a:lnTo>
                  <a:pt x="5653" y="658"/>
                </a:lnTo>
                <a:lnTo>
                  <a:pt x="5653" y="658"/>
                </a:lnTo>
                <a:lnTo>
                  <a:pt x="5647" y="658"/>
                </a:lnTo>
                <a:lnTo>
                  <a:pt x="5647" y="658"/>
                </a:lnTo>
                <a:lnTo>
                  <a:pt x="5647" y="658"/>
                </a:lnTo>
                <a:lnTo>
                  <a:pt x="5647" y="658"/>
                </a:lnTo>
                <a:lnTo>
                  <a:pt x="5653" y="658"/>
                </a:lnTo>
                <a:lnTo>
                  <a:pt x="5653" y="658"/>
                </a:lnTo>
                <a:lnTo>
                  <a:pt x="5653" y="658"/>
                </a:lnTo>
                <a:lnTo>
                  <a:pt x="5653" y="652"/>
                </a:lnTo>
                <a:lnTo>
                  <a:pt x="5653" y="652"/>
                </a:lnTo>
                <a:lnTo>
                  <a:pt x="5653" y="652"/>
                </a:lnTo>
                <a:lnTo>
                  <a:pt x="5653" y="652"/>
                </a:lnTo>
                <a:lnTo>
                  <a:pt x="5653" y="652"/>
                </a:lnTo>
                <a:lnTo>
                  <a:pt x="5653" y="652"/>
                </a:lnTo>
                <a:lnTo>
                  <a:pt x="5653" y="664"/>
                </a:lnTo>
                <a:lnTo>
                  <a:pt x="5653" y="664"/>
                </a:lnTo>
                <a:lnTo>
                  <a:pt x="5653" y="664"/>
                </a:lnTo>
                <a:lnTo>
                  <a:pt x="5653" y="664"/>
                </a:lnTo>
                <a:lnTo>
                  <a:pt x="5653" y="664"/>
                </a:lnTo>
                <a:lnTo>
                  <a:pt x="5653" y="664"/>
                </a:lnTo>
                <a:lnTo>
                  <a:pt x="5653" y="664"/>
                </a:lnTo>
                <a:lnTo>
                  <a:pt x="5653" y="664"/>
                </a:lnTo>
                <a:lnTo>
                  <a:pt x="5659" y="664"/>
                </a:lnTo>
                <a:lnTo>
                  <a:pt x="5653" y="664"/>
                </a:lnTo>
                <a:lnTo>
                  <a:pt x="5659" y="658"/>
                </a:lnTo>
                <a:lnTo>
                  <a:pt x="5659" y="658"/>
                </a:lnTo>
                <a:lnTo>
                  <a:pt x="5659" y="658"/>
                </a:lnTo>
                <a:lnTo>
                  <a:pt x="5659" y="658"/>
                </a:lnTo>
                <a:lnTo>
                  <a:pt x="5659" y="652"/>
                </a:lnTo>
                <a:lnTo>
                  <a:pt x="5659" y="652"/>
                </a:lnTo>
                <a:lnTo>
                  <a:pt x="5659" y="658"/>
                </a:lnTo>
                <a:lnTo>
                  <a:pt x="5659" y="658"/>
                </a:lnTo>
                <a:lnTo>
                  <a:pt x="5659" y="658"/>
                </a:lnTo>
                <a:lnTo>
                  <a:pt x="5659" y="664"/>
                </a:lnTo>
                <a:lnTo>
                  <a:pt x="5659" y="664"/>
                </a:lnTo>
                <a:lnTo>
                  <a:pt x="5659" y="664"/>
                </a:lnTo>
                <a:lnTo>
                  <a:pt x="5659" y="664"/>
                </a:lnTo>
                <a:lnTo>
                  <a:pt x="5659" y="658"/>
                </a:lnTo>
                <a:lnTo>
                  <a:pt x="5659" y="658"/>
                </a:lnTo>
                <a:lnTo>
                  <a:pt x="5659" y="652"/>
                </a:lnTo>
                <a:lnTo>
                  <a:pt x="5659" y="652"/>
                </a:lnTo>
                <a:lnTo>
                  <a:pt x="5665" y="652"/>
                </a:lnTo>
                <a:lnTo>
                  <a:pt x="5665" y="652"/>
                </a:lnTo>
                <a:lnTo>
                  <a:pt x="5665" y="652"/>
                </a:lnTo>
                <a:lnTo>
                  <a:pt x="5665" y="652"/>
                </a:lnTo>
                <a:lnTo>
                  <a:pt x="5665" y="652"/>
                </a:lnTo>
                <a:lnTo>
                  <a:pt x="5665" y="652"/>
                </a:lnTo>
                <a:lnTo>
                  <a:pt x="5665" y="646"/>
                </a:lnTo>
                <a:lnTo>
                  <a:pt x="5665" y="646"/>
                </a:lnTo>
                <a:lnTo>
                  <a:pt x="5665" y="646"/>
                </a:lnTo>
                <a:lnTo>
                  <a:pt x="5665" y="646"/>
                </a:lnTo>
                <a:lnTo>
                  <a:pt x="5665" y="646"/>
                </a:lnTo>
                <a:lnTo>
                  <a:pt x="5665" y="646"/>
                </a:lnTo>
                <a:lnTo>
                  <a:pt x="5665" y="646"/>
                </a:lnTo>
                <a:lnTo>
                  <a:pt x="5665" y="641"/>
                </a:lnTo>
                <a:lnTo>
                  <a:pt x="5665" y="641"/>
                </a:lnTo>
                <a:lnTo>
                  <a:pt x="5665" y="641"/>
                </a:lnTo>
                <a:lnTo>
                  <a:pt x="5665" y="641"/>
                </a:lnTo>
                <a:lnTo>
                  <a:pt x="5671" y="641"/>
                </a:lnTo>
                <a:lnTo>
                  <a:pt x="5671" y="641"/>
                </a:lnTo>
                <a:lnTo>
                  <a:pt x="5671" y="641"/>
                </a:lnTo>
                <a:lnTo>
                  <a:pt x="5671" y="641"/>
                </a:lnTo>
                <a:lnTo>
                  <a:pt x="5671" y="641"/>
                </a:lnTo>
                <a:lnTo>
                  <a:pt x="5671" y="641"/>
                </a:lnTo>
                <a:lnTo>
                  <a:pt x="5671" y="641"/>
                </a:lnTo>
                <a:lnTo>
                  <a:pt x="5671" y="641"/>
                </a:lnTo>
                <a:lnTo>
                  <a:pt x="5671" y="646"/>
                </a:lnTo>
                <a:lnTo>
                  <a:pt x="5671" y="646"/>
                </a:lnTo>
                <a:lnTo>
                  <a:pt x="5671" y="646"/>
                </a:lnTo>
                <a:lnTo>
                  <a:pt x="5671" y="646"/>
                </a:lnTo>
                <a:lnTo>
                  <a:pt x="5671" y="646"/>
                </a:lnTo>
                <a:lnTo>
                  <a:pt x="5671" y="646"/>
                </a:lnTo>
                <a:lnTo>
                  <a:pt x="5671" y="646"/>
                </a:lnTo>
                <a:lnTo>
                  <a:pt x="5671" y="646"/>
                </a:lnTo>
                <a:lnTo>
                  <a:pt x="5671" y="646"/>
                </a:lnTo>
                <a:lnTo>
                  <a:pt x="5671" y="646"/>
                </a:lnTo>
                <a:lnTo>
                  <a:pt x="5677" y="641"/>
                </a:lnTo>
                <a:lnTo>
                  <a:pt x="5677" y="641"/>
                </a:lnTo>
                <a:lnTo>
                  <a:pt x="5677" y="641"/>
                </a:lnTo>
                <a:lnTo>
                  <a:pt x="5677" y="646"/>
                </a:lnTo>
                <a:lnTo>
                  <a:pt x="5677" y="646"/>
                </a:lnTo>
                <a:lnTo>
                  <a:pt x="5677" y="652"/>
                </a:lnTo>
                <a:lnTo>
                  <a:pt x="5677" y="652"/>
                </a:lnTo>
                <a:lnTo>
                  <a:pt x="5677" y="652"/>
                </a:lnTo>
                <a:lnTo>
                  <a:pt x="5683" y="646"/>
                </a:lnTo>
                <a:lnTo>
                  <a:pt x="5683" y="646"/>
                </a:lnTo>
                <a:lnTo>
                  <a:pt x="5683" y="646"/>
                </a:lnTo>
                <a:lnTo>
                  <a:pt x="5683" y="641"/>
                </a:lnTo>
                <a:lnTo>
                  <a:pt x="5683" y="641"/>
                </a:lnTo>
                <a:lnTo>
                  <a:pt x="5683" y="646"/>
                </a:lnTo>
                <a:lnTo>
                  <a:pt x="5683" y="646"/>
                </a:lnTo>
                <a:lnTo>
                  <a:pt x="5683" y="646"/>
                </a:lnTo>
                <a:lnTo>
                  <a:pt x="5683" y="646"/>
                </a:lnTo>
                <a:lnTo>
                  <a:pt x="5683" y="646"/>
                </a:lnTo>
                <a:lnTo>
                  <a:pt x="5683" y="646"/>
                </a:lnTo>
                <a:lnTo>
                  <a:pt x="5683" y="646"/>
                </a:lnTo>
                <a:lnTo>
                  <a:pt x="5683" y="646"/>
                </a:lnTo>
                <a:lnTo>
                  <a:pt x="5683" y="646"/>
                </a:lnTo>
                <a:lnTo>
                  <a:pt x="5689" y="646"/>
                </a:lnTo>
                <a:lnTo>
                  <a:pt x="5689" y="646"/>
                </a:lnTo>
                <a:lnTo>
                  <a:pt x="5689" y="646"/>
                </a:lnTo>
                <a:lnTo>
                  <a:pt x="5689" y="646"/>
                </a:lnTo>
                <a:lnTo>
                  <a:pt x="5689" y="646"/>
                </a:lnTo>
                <a:lnTo>
                  <a:pt x="5689" y="646"/>
                </a:lnTo>
                <a:lnTo>
                  <a:pt x="5689" y="646"/>
                </a:lnTo>
                <a:lnTo>
                  <a:pt x="5689" y="646"/>
                </a:lnTo>
                <a:lnTo>
                  <a:pt x="5689" y="646"/>
                </a:lnTo>
                <a:lnTo>
                  <a:pt x="5695" y="646"/>
                </a:lnTo>
                <a:lnTo>
                  <a:pt x="5695" y="646"/>
                </a:lnTo>
                <a:lnTo>
                  <a:pt x="5695" y="646"/>
                </a:lnTo>
                <a:lnTo>
                  <a:pt x="5695" y="646"/>
                </a:lnTo>
                <a:lnTo>
                  <a:pt x="5695" y="646"/>
                </a:lnTo>
                <a:lnTo>
                  <a:pt x="5695" y="646"/>
                </a:lnTo>
                <a:lnTo>
                  <a:pt x="5695" y="641"/>
                </a:lnTo>
                <a:lnTo>
                  <a:pt x="5695" y="641"/>
                </a:lnTo>
                <a:lnTo>
                  <a:pt x="5695" y="635"/>
                </a:lnTo>
                <a:lnTo>
                  <a:pt x="5695" y="635"/>
                </a:lnTo>
                <a:lnTo>
                  <a:pt x="5695" y="635"/>
                </a:lnTo>
                <a:lnTo>
                  <a:pt x="5689" y="635"/>
                </a:lnTo>
                <a:lnTo>
                  <a:pt x="5689" y="635"/>
                </a:lnTo>
                <a:lnTo>
                  <a:pt x="5695" y="635"/>
                </a:lnTo>
                <a:lnTo>
                  <a:pt x="5695" y="635"/>
                </a:lnTo>
                <a:lnTo>
                  <a:pt x="5695" y="635"/>
                </a:lnTo>
                <a:lnTo>
                  <a:pt x="5695" y="635"/>
                </a:lnTo>
                <a:lnTo>
                  <a:pt x="5695" y="635"/>
                </a:lnTo>
                <a:lnTo>
                  <a:pt x="5695" y="635"/>
                </a:lnTo>
                <a:lnTo>
                  <a:pt x="5701" y="635"/>
                </a:lnTo>
                <a:lnTo>
                  <a:pt x="5701" y="635"/>
                </a:lnTo>
                <a:lnTo>
                  <a:pt x="5701" y="635"/>
                </a:lnTo>
                <a:lnTo>
                  <a:pt x="5701" y="635"/>
                </a:lnTo>
                <a:lnTo>
                  <a:pt x="5701" y="641"/>
                </a:lnTo>
                <a:lnTo>
                  <a:pt x="5701" y="641"/>
                </a:lnTo>
                <a:lnTo>
                  <a:pt x="5707" y="641"/>
                </a:lnTo>
                <a:lnTo>
                  <a:pt x="5707" y="635"/>
                </a:lnTo>
                <a:lnTo>
                  <a:pt x="5707" y="635"/>
                </a:lnTo>
                <a:lnTo>
                  <a:pt x="5707" y="635"/>
                </a:lnTo>
                <a:lnTo>
                  <a:pt x="5707" y="635"/>
                </a:lnTo>
                <a:lnTo>
                  <a:pt x="5707" y="635"/>
                </a:lnTo>
                <a:lnTo>
                  <a:pt x="5707" y="629"/>
                </a:lnTo>
                <a:lnTo>
                  <a:pt x="5707" y="629"/>
                </a:lnTo>
                <a:lnTo>
                  <a:pt x="5707" y="635"/>
                </a:lnTo>
                <a:lnTo>
                  <a:pt x="5707" y="635"/>
                </a:lnTo>
                <a:lnTo>
                  <a:pt x="5707" y="635"/>
                </a:lnTo>
                <a:lnTo>
                  <a:pt x="5707" y="635"/>
                </a:lnTo>
                <a:lnTo>
                  <a:pt x="5707" y="641"/>
                </a:lnTo>
                <a:lnTo>
                  <a:pt x="5707" y="641"/>
                </a:lnTo>
                <a:lnTo>
                  <a:pt x="5707" y="641"/>
                </a:lnTo>
                <a:lnTo>
                  <a:pt x="5713" y="635"/>
                </a:lnTo>
                <a:lnTo>
                  <a:pt x="5713" y="635"/>
                </a:lnTo>
                <a:lnTo>
                  <a:pt x="5713" y="635"/>
                </a:lnTo>
                <a:lnTo>
                  <a:pt x="5713" y="635"/>
                </a:lnTo>
                <a:lnTo>
                  <a:pt x="5713" y="635"/>
                </a:lnTo>
                <a:lnTo>
                  <a:pt x="5713" y="635"/>
                </a:lnTo>
                <a:lnTo>
                  <a:pt x="5713" y="635"/>
                </a:lnTo>
                <a:lnTo>
                  <a:pt x="5713" y="635"/>
                </a:lnTo>
                <a:lnTo>
                  <a:pt x="5713" y="635"/>
                </a:lnTo>
                <a:lnTo>
                  <a:pt x="5713" y="635"/>
                </a:lnTo>
                <a:lnTo>
                  <a:pt x="5713" y="635"/>
                </a:lnTo>
                <a:lnTo>
                  <a:pt x="5713" y="629"/>
                </a:lnTo>
                <a:lnTo>
                  <a:pt x="5713" y="629"/>
                </a:lnTo>
                <a:lnTo>
                  <a:pt x="5713" y="629"/>
                </a:lnTo>
                <a:lnTo>
                  <a:pt x="5713" y="629"/>
                </a:lnTo>
                <a:lnTo>
                  <a:pt x="5713" y="623"/>
                </a:lnTo>
                <a:lnTo>
                  <a:pt x="5713" y="629"/>
                </a:lnTo>
                <a:lnTo>
                  <a:pt x="5713" y="629"/>
                </a:lnTo>
                <a:lnTo>
                  <a:pt x="5713" y="629"/>
                </a:lnTo>
                <a:lnTo>
                  <a:pt x="5713" y="629"/>
                </a:lnTo>
                <a:lnTo>
                  <a:pt x="5713" y="623"/>
                </a:lnTo>
                <a:lnTo>
                  <a:pt x="5713" y="623"/>
                </a:lnTo>
                <a:lnTo>
                  <a:pt x="5713" y="623"/>
                </a:lnTo>
                <a:lnTo>
                  <a:pt x="5713" y="623"/>
                </a:lnTo>
                <a:lnTo>
                  <a:pt x="5718" y="623"/>
                </a:lnTo>
                <a:lnTo>
                  <a:pt x="5718" y="623"/>
                </a:lnTo>
                <a:lnTo>
                  <a:pt x="5718" y="629"/>
                </a:lnTo>
                <a:lnTo>
                  <a:pt x="5718" y="629"/>
                </a:lnTo>
                <a:lnTo>
                  <a:pt x="5718" y="629"/>
                </a:lnTo>
                <a:lnTo>
                  <a:pt x="5718" y="629"/>
                </a:lnTo>
                <a:lnTo>
                  <a:pt x="5718" y="629"/>
                </a:lnTo>
                <a:lnTo>
                  <a:pt x="5718" y="635"/>
                </a:lnTo>
                <a:lnTo>
                  <a:pt x="5718" y="635"/>
                </a:lnTo>
                <a:lnTo>
                  <a:pt x="5724" y="635"/>
                </a:lnTo>
                <a:lnTo>
                  <a:pt x="5724" y="635"/>
                </a:lnTo>
                <a:lnTo>
                  <a:pt x="5724" y="629"/>
                </a:lnTo>
                <a:lnTo>
                  <a:pt x="5724" y="629"/>
                </a:lnTo>
                <a:lnTo>
                  <a:pt x="5724" y="629"/>
                </a:lnTo>
                <a:lnTo>
                  <a:pt x="5724" y="629"/>
                </a:lnTo>
                <a:lnTo>
                  <a:pt x="5724" y="629"/>
                </a:lnTo>
                <a:lnTo>
                  <a:pt x="5724" y="635"/>
                </a:lnTo>
                <a:lnTo>
                  <a:pt x="5724" y="635"/>
                </a:lnTo>
                <a:lnTo>
                  <a:pt x="5730" y="635"/>
                </a:lnTo>
                <a:lnTo>
                  <a:pt x="5730" y="635"/>
                </a:lnTo>
                <a:lnTo>
                  <a:pt x="5730" y="629"/>
                </a:lnTo>
                <a:lnTo>
                  <a:pt x="5730" y="629"/>
                </a:lnTo>
                <a:lnTo>
                  <a:pt x="5730" y="629"/>
                </a:lnTo>
                <a:lnTo>
                  <a:pt x="5730" y="629"/>
                </a:lnTo>
                <a:lnTo>
                  <a:pt x="5730" y="629"/>
                </a:lnTo>
                <a:lnTo>
                  <a:pt x="5730" y="629"/>
                </a:lnTo>
                <a:lnTo>
                  <a:pt x="5736" y="629"/>
                </a:lnTo>
                <a:lnTo>
                  <a:pt x="5736" y="623"/>
                </a:lnTo>
                <a:lnTo>
                  <a:pt x="5736" y="623"/>
                </a:lnTo>
                <a:lnTo>
                  <a:pt x="5736" y="623"/>
                </a:lnTo>
                <a:lnTo>
                  <a:pt x="5742" y="617"/>
                </a:lnTo>
                <a:lnTo>
                  <a:pt x="5742" y="617"/>
                </a:lnTo>
                <a:lnTo>
                  <a:pt x="5742" y="617"/>
                </a:lnTo>
                <a:lnTo>
                  <a:pt x="5742" y="617"/>
                </a:lnTo>
                <a:lnTo>
                  <a:pt x="5742" y="617"/>
                </a:lnTo>
                <a:lnTo>
                  <a:pt x="5742" y="617"/>
                </a:lnTo>
                <a:lnTo>
                  <a:pt x="5742" y="617"/>
                </a:lnTo>
                <a:lnTo>
                  <a:pt x="5742" y="617"/>
                </a:lnTo>
                <a:lnTo>
                  <a:pt x="5742" y="617"/>
                </a:lnTo>
                <a:lnTo>
                  <a:pt x="5748" y="617"/>
                </a:lnTo>
                <a:lnTo>
                  <a:pt x="5748" y="617"/>
                </a:lnTo>
                <a:lnTo>
                  <a:pt x="5748" y="611"/>
                </a:lnTo>
                <a:lnTo>
                  <a:pt x="5748" y="611"/>
                </a:lnTo>
                <a:lnTo>
                  <a:pt x="5754" y="611"/>
                </a:lnTo>
                <a:lnTo>
                  <a:pt x="5754" y="611"/>
                </a:lnTo>
                <a:lnTo>
                  <a:pt x="5754" y="605"/>
                </a:lnTo>
                <a:close/>
                <a:moveTo>
                  <a:pt x="4942" y="1477"/>
                </a:moveTo>
                <a:lnTo>
                  <a:pt x="4942" y="1483"/>
                </a:lnTo>
                <a:lnTo>
                  <a:pt x="4936" y="1489"/>
                </a:lnTo>
                <a:lnTo>
                  <a:pt x="4936" y="1495"/>
                </a:lnTo>
                <a:lnTo>
                  <a:pt x="4936" y="1495"/>
                </a:lnTo>
                <a:lnTo>
                  <a:pt x="4936" y="1495"/>
                </a:lnTo>
                <a:lnTo>
                  <a:pt x="4936" y="1501"/>
                </a:lnTo>
                <a:lnTo>
                  <a:pt x="4930" y="1501"/>
                </a:lnTo>
                <a:lnTo>
                  <a:pt x="4930" y="1506"/>
                </a:lnTo>
                <a:lnTo>
                  <a:pt x="4930" y="1506"/>
                </a:lnTo>
                <a:lnTo>
                  <a:pt x="4930" y="1512"/>
                </a:lnTo>
                <a:lnTo>
                  <a:pt x="4930" y="1512"/>
                </a:lnTo>
                <a:lnTo>
                  <a:pt x="4930" y="1512"/>
                </a:lnTo>
                <a:lnTo>
                  <a:pt x="4924" y="1512"/>
                </a:lnTo>
                <a:lnTo>
                  <a:pt x="4924" y="1512"/>
                </a:lnTo>
                <a:lnTo>
                  <a:pt x="4924" y="1518"/>
                </a:lnTo>
                <a:lnTo>
                  <a:pt x="4924" y="1518"/>
                </a:lnTo>
                <a:lnTo>
                  <a:pt x="4924" y="1518"/>
                </a:lnTo>
                <a:lnTo>
                  <a:pt x="4918" y="1524"/>
                </a:lnTo>
                <a:lnTo>
                  <a:pt x="4918" y="1524"/>
                </a:lnTo>
                <a:lnTo>
                  <a:pt x="4918" y="1524"/>
                </a:lnTo>
                <a:lnTo>
                  <a:pt x="4918" y="1524"/>
                </a:lnTo>
                <a:lnTo>
                  <a:pt x="4918" y="1524"/>
                </a:lnTo>
                <a:lnTo>
                  <a:pt x="4918" y="1524"/>
                </a:lnTo>
                <a:lnTo>
                  <a:pt x="4918" y="1530"/>
                </a:lnTo>
                <a:lnTo>
                  <a:pt x="4918" y="1530"/>
                </a:lnTo>
                <a:lnTo>
                  <a:pt x="4918" y="1530"/>
                </a:lnTo>
                <a:lnTo>
                  <a:pt x="4918" y="1530"/>
                </a:lnTo>
                <a:lnTo>
                  <a:pt x="4918" y="1530"/>
                </a:lnTo>
                <a:lnTo>
                  <a:pt x="4918" y="1530"/>
                </a:lnTo>
                <a:lnTo>
                  <a:pt x="4918" y="1530"/>
                </a:lnTo>
                <a:lnTo>
                  <a:pt x="4913" y="1530"/>
                </a:lnTo>
                <a:lnTo>
                  <a:pt x="4913" y="1530"/>
                </a:lnTo>
                <a:lnTo>
                  <a:pt x="4913" y="1530"/>
                </a:lnTo>
                <a:lnTo>
                  <a:pt x="4913" y="1530"/>
                </a:lnTo>
                <a:lnTo>
                  <a:pt x="4913" y="1536"/>
                </a:lnTo>
                <a:lnTo>
                  <a:pt x="4913" y="1536"/>
                </a:lnTo>
                <a:lnTo>
                  <a:pt x="4918" y="1530"/>
                </a:lnTo>
                <a:lnTo>
                  <a:pt x="4918" y="1530"/>
                </a:lnTo>
                <a:lnTo>
                  <a:pt x="4918" y="1530"/>
                </a:lnTo>
                <a:lnTo>
                  <a:pt x="4918" y="1530"/>
                </a:lnTo>
                <a:lnTo>
                  <a:pt x="4918" y="1524"/>
                </a:lnTo>
                <a:lnTo>
                  <a:pt x="4924" y="1524"/>
                </a:lnTo>
                <a:lnTo>
                  <a:pt x="4930" y="1512"/>
                </a:lnTo>
                <a:lnTo>
                  <a:pt x="4930" y="1512"/>
                </a:lnTo>
                <a:lnTo>
                  <a:pt x="4930" y="1512"/>
                </a:lnTo>
                <a:lnTo>
                  <a:pt x="4930" y="1506"/>
                </a:lnTo>
                <a:lnTo>
                  <a:pt x="4936" y="1506"/>
                </a:lnTo>
                <a:lnTo>
                  <a:pt x="4936" y="1501"/>
                </a:lnTo>
                <a:lnTo>
                  <a:pt x="4936" y="1495"/>
                </a:lnTo>
                <a:lnTo>
                  <a:pt x="4936" y="1489"/>
                </a:lnTo>
                <a:lnTo>
                  <a:pt x="4942" y="1483"/>
                </a:lnTo>
                <a:lnTo>
                  <a:pt x="4942" y="1483"/>
                </a:lnTo>
                <a:lnTo>
                  <a:pt x="4942" y="1477"/>
                </a:lnTo>
                <a:lnTo>
                  <a:pt x="4942" y="1477"/>
                </a:lnTo>
                <a:lnTo>
                  <a:pt x="4942" y="1477"/>
                </a:lnTo>
                <a:lnTo>
                  <a:pt x="4942" y="1477"/>
                </a:lnTo>
                <a:close/>
                <a:moveTo>
                  <a:pt x="4853" y="1495"/>
                </a:moveTo>
                <a:lnTo>
                  <a:pt x="4847" y="1489"/>
                </a:lnTo>
                <a:lnTo>
                  <a:pt x="4847" y="1489"/>
                </a:lnTo>
                <a:lnTo>
                  <a:pt x="4847" y="1489"/>
                </a:lnTo>
                <a:lnTo>
                  <a:pt x="4847" y="1489"/>
                </a:lnTo>
                <a:lnTo>
                  <a:pt x="4847" y="1489"/>
                </a:lnTo>
                <a:lnTo>
                  <a:pt x="4847" y="1489"/>
                </a:lnTo>
                <a:lnTo>
                  <a:pt x="4847" y="1495"/>
                </a:lnTo>
                <a:lnTo>
                  <a:pt x="4847" y="1495"/>
                </a:lnTo>
                <a:lnTo>
                  <a:pt x="4847" y="1495"/>
                </a:lnTo>
                <a:lnTo>
                  <a:pt x="4847" y="1495"/>
                </a:lnTo>
                <a:lnTo>
                  <a:pt x="4847" y="1495"/>
                </a:lnTo>
                <a:lnTo>
                  <a:pt x="4853" y="1495"/>
                </a:lnTo>
                <a:lnTo>
                  <a:pt x="4853" y="1495"/>
                </a:lnTo>
                <a:lnTo>
                  <a:pt x="4847" y="1495"/>
                </a:lnTo>
                <a:lnTo>
                  <a:pt x="4853" y="1495"/>
                </a:lnTo>
                <a:lnTo>
                  <a:pt x="4853" y="1495"/>
                </a:lnTo>
                <a:close/>
                <a:moveTo>
                  <a:pt x="4853" y="1524"/>
                </a:moveTo>
                <a:lnTo>
                  <a:pt x="4853" y="1524"/>
                </a:lnTo>
                <a:lnTo>
                  <a:pt x="4853" y="1518"/>
                </a:lnTo>
                <a:lnTo>
                  <a:pt x="4853" y="1518"/>
                </a:lnTo>
                <a:lnTo>
                  <a:pt x="4853" y="1524"/>
                </a:lnTo>
                <a:lnTo>
                  <a:pt x="4853" y="1524"/>
                </a:lnTo>
                <a:lnTo>
                  <a:pt x="4853" y="1518"/>
                </a:lnTo>
                <a:lnTo>
                  <a:pt x="4853" y="1518"/>
                </a:lnTo>
                <a:lnTo>
                  <a:pt x="4853" y="1512"/>
                </a:lnTo>
                <a:lnTo>
                  <a:pt x="4853" y="1512"/>
                </a:lnTo>
                <a:lnTo>
                  <a:pt x="4853" y="1512"/>
                </a:lnTo>
                <a:lnTo>
                  <a:pt x="4853" y="1512"/>
                </a:lnTo>
                <a:lnTo>
                  <a:pt x="4853" y="1512"/>
                </a:lnTo>
                <a:lnTo>
                  <a:pt x="4853" y="1512"/>
                </a:lnTo>
                <a:lnTo>
                  <a:pt x="4853" y="1512"/>
                </a:lnTo>
                <a:lnTo>
                  <a:pt x="4847" y="1512"/>
                </a:lnTo>
                <a:lnTo>
                  <a:pt x="4847" y="1512"/>
                </a:lnTo>
                <a:lnTo>
                  <a:pt x="4847" y="1512"/>
                </a:lnTo>
                <a:lnTo>
                  <a:pt x="4847" y="1512"/>
                </a:lnTo>
                <a:lnTo>
                  <a:pt x="4853" y="1512"/>
                </a:lnTo>
                <a:lnTo>
                  <a:pt x="4853" y="1512"/>
                </a:lnTo>
                <a:lnTo>
                  <a:pt x="4853" y="1518"/>
                </a:lnTo>
                <a:lnTo>
                  <a:pt x="4853" y="1518"/>
                </a:lnTo>
                <a:lnTo>
                  <a:pt x="4847" y="1512"/>
                </a:lnTo>
                <a:lnTo>
                  <a:pt x="4847" y="1512"/>
                </a:lnTo>
                <a:lnTo>
                  <a:pt x="4847" y="1518"/>
                </a:lnTo>
                <a:lnTo>
                  <a:pt x="4847" y="1518"/>
                </a:lnTo>
                <a:lnTo>
                  <a:pt x="4847" y="1518"/>
                </a:lnTo>
                <a:lnTo>
                  <a:pt x="4847" y="1518"/>
                </a:lnTo>
                <a:lnTo>
                  <a:pt x="4847" y="1524"/>
                </a:lnTo>
                <a:lnTo>
                  <a:pt x="4847" y="1524"/>
                </a:lnTo>
                <a:lnTo>
                  <a:pt x="4847" y="1518"/>
                </a:lnTo>
                <a:lnTo>
                  <a:pt x="4847" y="1518"/>
                </a:lnTo>
                <a:lnTo>
                  <a:pt x="4853" y="1524"/>
                </a:lnTo>
                <a:lnTo>
                  <a:pt x="4853" y="1524"/>
                </a:lnTo>
                <a:lnTo>
                  <a:pt x="4847" y="1524"/>
                </a:lnTo>
                <a:lnTo>
                  <a:pt x="4847" y="1524"/>
                </a:lnTo>
                <a:lnTo>
                  <a:pt x="4847" y="1524"/>
                </a:lnTo>
                <a:lnTo>
                  <a:pt x="4847" y="1524"/>
                </a:lnTo>
                <a:lnTo>
                  <a:pt x="4853" y="1524"/>
                </a:lnTo>
                <a:lnTo>
                  <a:pt x="4853" y="1524"/>
                </a:lnTo>
                <a:lnTo>
                  <a:pt x="4853" y="1524"/>
                </a:lnTo>
                <a:lnTo>
                  <a:pt x="4853" y="1524"/>
                </a:lnTo>
                <a:lnTo>
                  <a:pt x="4853" y="1524"/>
                </a:lnTo>
                <a:lnTo>
                  <a:pt x="4853" y="1524"/>
                </a:lnTo>
                <a:lnTo>
                  <a:pt x="4853" y="1524"/>
                </a:lnTo>
                <a:lnTo>
                  <a:pt x="4853" y="1524"/>
                </a:lnTo>
                <a:lnTo>
                  <a:pt x="4853" y="1524"/>
                </a:lnTo>
                <a:close/>
                <a:moveTo>
                  <a:pt x="5452" y="1079"/>
                </a:moveTo>
                <a:lnTo>
                  <a:pt x="5446" y="1079"/>
                </a:lnTo>
                <a:lnTo>
                  <a:pt x="5446" y="1079"/>
                </a:lnTo>
                <a:lnTo>
                  <a:pt x="5446" y="1079"/>
                </a:lnTo>
                <a:lnTo>
                  <a:pt x="5446" y="1079"/>
                </a:lnTo>
                <a:lnTo>
                  <a:pt x="5446" y="1074"/>
                </a:lnTo>
                <a:lnTo>
                  <a:pt x="5446" y="1074"/>
                </a:lnTo>
                <a:lnTo>
                  <a:pt x="5446" y="1074"/>
                </a:lnTo>
                <a:lnTo>
                  <a:pt x="5446" y="1074"/>
                </a:lnTo>
                <a:lnTo>
                  <a:pt x="5446" y="1079"/>
                </a:lnTo>
                <a:lnTo>
                  <a:pt x="5446" y="1079"/>
                </a:lnTo>
                <a:lnTo>
                  <a:pt x="5446" y="1079"/>
                </a:lnTo>
                <a:lnTo>
                  <a:pt x="5446" y="1085"/>
                </a:lnTo>
                <a:lnTo>
                  <a:pt x="5446" y="1085"/>
                </a:lnTo>
                <a:lnTo>
                  <a:pt x="5446" y="1085"/>
                </a:lnTo>
                <a:lnTo>
                  <a:pt x="5446" y="1085"/>
                </a:lnTo>
                <a:lnTo>
                  <a:pt x="5446" y="1085"/>
                </a:lnTo>
                <a:lnTo>
                  <a:pt x="5452" y="1079"/>
                </a:lnTo>
                <a:lnTo>
                  <a:pt x="5452" y="1079"/>
                </a:lnTo>
                <a:lnTo>
                  <a:pt x="5446" y="1085"/>
                </a:lnTo>
                <a:lnTo>
                  <a:pt x="5446" y="1085"/>
                </a:lnTo>
                <a:lnTo>
                  <a:pt x="5446" y="1085"/>
                </a:lnTo>
                <a:lnTo>
                  <a:pt x="5446" y="1085"/>
                </a:lnTo>
                <a:lnTo>
                  <a:pt x="5440" y="1091"/>
                </a:lnTo>
                <a:lnTo>
                  <a:pt x="5440" y="1091"/>
                </a:lnTo>
                <a:lnTo>
                  <a:pt x="5440" y="1091"/>
                </a:lnTo>
                <a:lnTo>
                  <a:pt x="5440" y="1091"/>
                </a:lnTo>
                <a:lnTo>
                  <a:pt x="5440" y="1091"/>
                </a:lnTo>
                <a:lnTo>
                  <a:pt x="5434" y="1091"/>
                </a:lnTo>
                <a:lnTo>
                  <a:pt x="5434" y="1091"/>
                </a:lnTo>
                <a:lnTo>
                  <a:pt x="5434" y="1091"/>
                </a:lnTo>
                <a:lnTo>
                  <a:pt x="5428" y="1085"/>
                </a:lnTo>
                <a:lnTo>
                  <a:pt x="5428" y="1085"/>
                </a:lnTo>
                <a:lnTo>
                  <a:pt x="5428" y="1085"/>
                </a:lnTo>
                <a:lnTo>
                  <a:pt x="5422" y="1085"/>
                </a:lnTo>
                <a:lnTo>
                  <a:pt x="5422" y="1085"/>
                </a:lnTo>
                <a:lnTo>
                  <a:pt x="5428" y="1091"/>
                </a:lnTo>
                <a:lnTo>
                  <a:pt x="5428" y="1091"/>
                </a:lnTo>
                <a:lnTo>
                  <a:pt x="5434" y="1097"/>
                </a:lnTo>
                <a:lnTo>
                  <a:pt x="5440" y="1097"/>
                </a:lnTo>
                <a:lnTo>
                  <a:pt x="5446" y="1097"/>
                </a:lnTo>
                <a:lnTo>
                  <a:pt x="5452" y="1097"/>
                </a:lnTo>
                <a:lnTo>
                  <a:pt x="5452" y="1097"/>
                </a:lnTo>
                <a:lnTo>
                  <a:pt x="5452" y="1091"/>
                </a:lnTo>
                <a:lnTo>
                  <a:pt x="5458" y="1091"/>
                </a:lnTo>
                <a:lnTo>
                  <a:pt x="5452" y="1085"/>
                </a:lnTo>
                <a:lnTo>
                  <a:pt x="5452" y="1079"/>
                </a:lnTo>
                <a:close/>
                <a:moveTo>
                  <a:pt x="5369" y="1091"/>
                </a:moveTo>
                <a:lnTo>
                  <a:pt x="5369" y="1091"/>
                </a:lnTo>
                <a:lnTo>
                  <a:pt x="5369" y="1091"/>
                </a:lnTo>
                <a:lnTo>
                  <a:pt x="5369" y="1091"/>
                </a:lnTo>
                <a:lnTo>
                  <a:pt x="5369" y="1091"/>
                </a:lnTo>
                <a:lnTo>
                  <a:pt x="5369" y="1091"/>
                </a:lnTo>
                <a:lnTo>
                  <a:pt x="5369" y="1097"/>
                </a:lnTo>
                <a:lnTo>
                  <a:pt x="5369" y="1097"/>
                </a:lnTo>
                <a:lnTo>
                  <a:pt x="5369" y="1097"/>
                </a:lnTo>
                <a:lnTo>
                  <a:pt x="5369" y="1091"/>
                </a:lnTo>
                <a:lnTo>
                  <a:pt x="5369" y="1091"/>
                </a:lnTo>
                <a:lnTo>
                  <a:pt x="5369" y="1091"/>
                </a:lnTo>
                <a:close/>
                <a:moveTo>
                  <a:pt x="5452" y="1050"/>
                </a:moveTo>
                <a:lnTo>
                  <a:pt x="5452" y="1044"/>
                </a:lnTo>
                <a:lnTo>
                  <a:pt x="5452" y="1044"/>
                </a:lnTo>
                <a:lnTo>
                  <a:pt x="5452" y="1044"/>
                </a:lnTo>
                <a:lnTo>
                  <a:pt x="5452" y="1044"/>
                </a:lnTo>
                <a:lnTo>
                  <a:pt x="5452" y="1044"/>
                </a:lnTo>
                <a:lnTo>
                  <a:pt x="5452" y="1044"/>
                </a:lnTo>
                <a:lnTo>
                  <a:pt x="5452" y="1044"/>
                </a:lnTo>
                <a:lnTo>
                  <a:pt x="5452" y="1044"/>
                </a:lnTo>
                <a:lnTo>
                  <a:pt x="5452" y="1044"/>
                </a:lnTo>
                <a:lnTo>
                  <a:pt x="5446" y="1056"/>
                </a:lnTo>
                <a:lnTo>
                  <a:pt x="5452" y="1056"/>
                </a:lnTo>
                <a:lnTo>
                  <a:pt x="5452" y="1050"/>
                </a:lnTo>
                <a:close/>
                <a:moveTo>
                  <a:pt x="5398" y="1074"/>
                </a:moveTo>
                <a:lnTo>
                  <a:pt x="5393" y="1074"/>
                </a:lnTo>
                <a:lnTo>
                  <a:pt x="5393" y="1074"/>
                </a:lnTo>
                <a:lnTo>
                  <a:pt x="5393" y="1068"/>
                </a:lnTo>
                <a:lnTo>
                  <a:pt x="5398" y="1068"/>
                </a:lnTo>
                <a:lnTo>
                  <a:pt x="5398" y="1068"/>
                </a:lnTo>
                <a:lnTo>
                  <a:pt x="5398" y="1068"/>
                </a:lnTo>
                <a:lnTo>
                  <a:pt x="5393" y="1068"/>
                </a:lnTo>
                <a:lnTo>
                  <a:pt x="5393" y="1068"/>
                </a:lnTo>
                <a:lnTo>
                  <a:pt x="5393" y="1068"/>
                </a:lnTo>
                <a:lnTo>
                  <a:pt x="5393" y="1068"/>
                </a:lnTo>
                <a:lnTo>
                  <a:pt x="5393" y="1068"/>
                </a:lnTo>
                <a:lnTo>
                  <a:pt x="5393" y="1068"/>
                </a:lnTo>
                <a:lnTo>
                  <a:pt x="5393" y="1068"/>
                </a:lnTo>
                <a:lnTo>
                  <a:pt x="5393" y="1068"/>
                </a:lnTo>
                <a:lnTo>
                  <a:pt x="5387" y="1068"/>
                </a:lnTo>
                <a:lnTo>
                  <a:pt x="5381" y="1068"/>
                </a:lnTo>
                <a:lnTo>
                  <a:pt x="5381" y="1074"/>
                </a:lnTo>
                <a:lnTo>
                  <a:pt x="5381" y="1074"/>
                </a:lnTo>
                <a:lnTo>
                  <a:pt x="5381" y="1074"/>
                </a:lnTo>
                <a:lnTo>
                  <a:pt x="5375" y="1074"/>
                </a:lnTo>
                <a:lnTo>
                  <a:pt x="5375" y="1079"/>
                </a:lnTo>
                <a:lnTo>
                  <a:pt x="5375" y="1079"/>
                </a:lnTo>
                <a:lnTo>
                  <a:pt x="5375" y="1079"/>
                </a:lnTo>
                <a:lnTo>
                  <a:pt x="5375" y="1079"/>
                </a:lnTo>
                <a:lnTo>
                  <a:pt x="5369" y="1079"/>
                </a:lnTo>
                <a:lnTo>
                  <a:pt x="5369" y="1079"/>
                </a:lnTo>
                <a:lnTo>
                  <a:pt x="5369" y="1085"/>
                </a:lnTo>
                <a:lnTo>
                  <a:pt x="5369" y="1085"/>
                </a:lnTo>
                <a:lnTo>
                  <a:pt x="5369" y="1085"/>
                </a:lnTo>
                <a:lnTo>
                  <a:pt x="5369" y="1085"/>
                </a:lnTo>
                <a:lnTo>
                  <a:pt x="5375" y="1085"/>
                </a:lnTo>
                <a:lnTo>
                  <a:pt x="5375" y="1085"/>
                </a:lnTo>
                <a:lnTo>
                  <a:pt x="5375" y="1085"/>
                </a:lnTo>
                <a:lnTo>
                  <a:pt x="5375" y="1085"/>
                </a:lnTo>
                <a:lnTo>
                  <a:pt x="5375" y="1085"/>
                </a:lnTo>
                <a:lnTo>
                  <a:pt x="5381" y="1079"/>
                </a:lnTo>
                <a:lnTo>
                  <a:pt x="5381" y="1079"/>
                </a:lnTo>
                <a:lnTo>
                  <a:pt x="5381" y="1079"/>
                </a:lnTo>
                <a:lnTo>
                  <a:pt x="5381" y="1079"/>
                </a:lnTo>
                <a:lnTo>
                  <a:pt x="5387" y="1079"/>
                </a:lnTo>
                <a:lnTo>
                  <a:pt x="5393" y="1079"/>
                </a:lnTo>
                <a:lnTo>
                  <a:pt x="5398" y="1079"/>
                </a:lnTo>
                <a:lnTo>
                  <a:pt x="5398" y="1079"/>
                </a:lnTo>
                <a:lnTo>
                  <a:pt x="5398" y="1074"/>
                </a:lnTo>
                <a:lnTo>
                  <a:pt x="5398" y="1074"/>
                </a:lnTo>
                <a:close/>
                <a:moveTo>
                  <a:pt x="5404" y="1074"/>
                </a:moveTo>
                <a:lnTo>
                  <a:pt x="5404" y="1074"/>
                </a:lnTo>
                <a:lnTo>
                  <a:pt x="5404" y="1074"/>
                </a:lnTo>
                <a:lnTo>
                  <a:pt x="5404" y="1074"/>
                </a:lnTo>
                <a:lnTo>
                  <a:pt x="5404" y="1074"/>
                </a:lnTo>
                <a:lnTo>
                  <a:pt x="5404" y="1074"/>
                </a:lnTo>
                <a:lnTo>
                  <a:pt x="5398" y="1074"/>
                </a:lnTo>
                <a:lnTo>
                  <a:pt x="5398" y="1079"/>
                </a:lnTo>
                <a:lnTo>
                  <a:pt x="5404" y="1079"/>
                </a:lnTo>
                <a:lnTo>
                  <a:pt x="5404" y="1079"/>
                </a:lnTo>
                <a:lnTo>
                  <a:pt x="5404" y="1079"/>
                </a:lnTo>
                <a:lnTo>
                  <a:pt x="5404" y="1079"/>
                </a:lnTo>
                <a:lnTo>
                  <a:pt x="5404" y="1079"/>
                </a:lnTo>
                <a:lnTo>
                  <a:pt x="5404" y="1079"/>
                </a:lnTo>
                <a:lnTo>
                  <a:pt x="5404" y="1079"/>
                </a:lnTo>
                <a:lnTo>
                  <a:pt x="5404" y="1074"/>
                </a:lnTo>
                <a:lnTo>
                  <a:pt x="5404" y="1074"/>
                </a:lnTo>
                <a:close/>
                <a:moveTo>
                  <a:pt x="5363" y="1068"/>
                </a:moveTo>
                <a:lnTo>
                  <a:pt x="5363" y="1068"/>
                </a:lnTo>
                <a:lnTo>
                  <a:pt x="5363" y="1068"/>
                </a:lnTo>
                <a:lnTo>
                  <a:pt x="5363" y="1068"/>
                </a:lnTo>
                <a:lnTo>
                  <a:pt x="5363" y="1068"/>
                </a:lnTo>
                <a:lnTo>
                  <a:pt x="5357" y="1074"/>
                </a:lnTo>
                <a:lnTo>
                  <a:pt x="5357" y="1074"/>
                </a:lnTo>
                <a:lnTo>
                  <a:pt x="5357" y="1074"/>
                </a:lnTo>
                <a:lnTo>
                  <a:pt x="5357" y="1074"/>
                </a:lnTo>
                <a:lnTo>
                  <a:pt x="5357" y="1074"/>
                </a:lnTo>
                <a:lnTo>
                  <a:pt x="5357" y="1074"/>
                </a:lnTo>
                <a:lnTo>
                  <a:pt x="5357" y="1074"/>
                </a:lnTo>
                <a:lnTo>
                  <a:pt x="5357" y="1074"/>
                </a:lnTo>
                <a:lnTo>
                  <a:pt x="5363" y="1074"/>
                </a:lnTo>
                <a:lnTo>
                  <a:pt x="5363" y="1074"/>
                </a:lnTo>
                <a:lnTo>
                  <a:pt x="5363" y="1074"/>
                </a:lnTo>
                <a:lnTo>
                  <a:pt x="5363" y="1074"/>
                </a:lnTo>
                <a:lnTo>
                  <a:pt x="5363" y="1074"/>
                </a:lnTo>
                <a:lnTo>
                  <a:pt x="5363" y="1068"/>
                </a:lnTo>
                <a:lnTo>
                  <a:pt x="5369" y="1068"/>
                </a:lnTo>
                <a:lnTo>
                  <a:pt x="5363" y="1068"/>
                </a:lnTo>
                <a:lnTo>
                  <a:pt x="5363" y="1068"/>
                </a:lnTo>
                <a:close/>
                <a:moveTo>
                  <a:pt x="5375" y="1062"/>
                </a:moveTo>
                <a:lnTo>
                  <a:pt x="5381" y="1062"/>
                </a:lnTo>
                <a:lnTo>
                  <a:pt x="5381" y="1062"/>
                </a:lnTo>
                <a:lnTo>
                  <a:pt x="5381" y="1062"/>
                </a:lnTo>
                <a:lnTo>
                  <a:pt x="5381" y="1062"/>
                </a:lnTo>
                <a:lnTo>
                  <a:pt x="5381" y="1062"/>
                </a:lnTo>
                <a:lnTo>
                  <a:pt x="5381" y="1062"/>
                </a:lnTo>
                <a:lnTo>
                  <a:pt x="5381" y="1062"/>
                </a:lnTo>
                <a:lnTo>
                  <a:pt x="5381" y="1062"/>
                </a:lnTo>
                <a:lnTo>
                  <a:pt x="5375" y="1062"/>
                </a:lnTo>
                <a:lnTo>
                  <a:pt x="5375" y="1062"/>
                </a:lnTo>
                <a:lnTo>
                  <a:pt x="5375" y="1062"/>
                </a:lnTo>
                <a:lnTo>
                  <a:pt x="5369" y="1068"/>
                </a:lnTo>
                <a:lnTo>
                  <a:pt x="5369" y="1068"/>
                </a:lnTo>
                <a:lnTo>
                  <a:pt x="5369" y="1068"/>
                </a:lnTo>
                <a:lnTo>
                  <a:pt x="5369" y="1068"/>
                </a:lnTo>
                <a:lnTo>
                  <a:pt x="5369" y="1068"/>
                </a:lnTo>
                <a:lnTo>
                  <a:pt x="5369" y="1068"/>
                </a:lnTo>
                <a:lnTo>
                  <a:pt x="5369" y="1068"/>
                </a:lnTo>
                <a:lnTo>
                  <a:pt x="5369" y="1068"/>
                </a:lnTo>
                <a:lnTo>
                  <a:pt x="5369" y="1068"/>
                </a:lnTo>
                <a:lnTo>
                  <a:pt x="5375" y="1068"/>
                </a:lnTo>
                <a:lnTo>
                  <a:pt x="5375" y="1068"/>
                </a:lnTo>
                <a:lnTo>
                  <a:pt x="5375" y="1068"/>
                </a:lnTo>
                <a:lnTo>
                  <a:pt x="5375" y="1068"/>
                </a:lnTo>
                <a:lnTo>
                  <a:pt x="5375" y="1062"/>
                </a:lnTo>
                <a:lnTo>
                  <a:pt x="5375" y="1062"/>
                </a:lnTo>
                <a:lnTo>
                  <a:pt x="5375" y="1062"/>
                </a:lnTo>
                <a:close/>
                <a:moveTo>
                  <a:pt x="3366" y="2586"/>
                </a:moveTo>
                <a:lnTo>
                  <a:pt x="3366" y="2586"/>
                </a:lnTo>
                <a:lnTo>
                  <a:pt x="3372" y="2586"/>
                </a:lnTo>
                <a:lnTo>
                  <a:pt x="3372" y="2586"/>
                </a:lnTo>
                <a:lnTo>
                  <a:pt x="3366" y="2586"/>
                </a:lnTo>
                <a:close/>
                <a:moveTo>
                  <a:pt x="3395" y="2586"/>
                </a:moveTo>
                <a:lnTo>
                  <a:pt x="3395" y="2586"/>
                </a:lnTo>
                <a:lnTo>
                  <a:pt x="3390" y="2586"/>
                </a:lnTo>
                <a:lnTo>
                  <a:pt x="3390" y="2586"/>
                </a:lnTo>
                <a:lnTo>
                  <a:pt x="3390" y="2586"/>
                </a:lnTo>
                <a:lnTo>
                  <a:pt x="3390" y="2586"/>
                </a:lnTo>
                <a:lnTo>
                  <a:pt x="3390" y="2586"/>
                </a:lnTo>
                <a:lnTo>
                  <a:pt x="3390" y="2586"/>
                </a:lnTo>
                <a:lnTo>
                  <a:pt x="3390" y="2586"/>
                </a:lnTo>
                <a:lnTo>
                  <a:pt x="3384" y="2586"/>
                </a:lnTo>
                <a:lnTo>
                  <a:pt x="3384" y="2586"/>
                </a:lnTo>
                <a:lnTo>
                  <a:pt x="3384" y="2586"/>
                </a:lnTo>
                <a:lnTo>
                  <a:pt x="3384" y="2586"/>
                </a:lnTo>
                <a:lnTo>
                  <a:pt x="3384" y="2586"/>
                </a:lnTo>
                <a:lnTo>
                  <a:pt x="3390" y="2586"/>
                </a:lnTo>
                <a:lnTo>
                  <a:pt x="3395" y="2586"/>
                </a:lnTo>
                <a:lnTo>
                  <a:pt x="3395" y="2586"/>
                </a:lnTo>
                <a:lnTo>
                  <a:pt x="3395" y="2586"/>
                </a:lnTo>
                <a:lnTo>
                  <a:pt x="3395" y="2586"/>
                </a:lnTo>
                <a:lnTo>
                  <a:pt x="3395" y="2586"/>
                </a:lnTo>
                <a:lnTo>
                  <a:pt x="3395" y="2586"/>
                </a:lnTo>
                <a:close/>
                <a:moveTo>
                  <a:pt x="3419" y="2586"/>
                </a:moveTo>
                <a:lnTo>
                  <a:pt x="3419" y="2586"/>
                </a:lnTo>
                <a:lnTo>
                  <a:pt x="3413" y="2586"/>
                </a:lnTo>
                <a:lnTo>
                  <a:pt x="3407" y="2586"/>
                </a:lnTo>
                <a:lnTo>
                  <a:pt x="3407" y="2586"/>
                </a:lnTo>
                <a:lnTo>
                  <a:pt x="3413" y="2586"/>
                </a:lnTo>
                <a:lnTo>
                  <a:pt x="3419" y="2586"/>
                </a:lnTo>
                <a:lnTo>
                  <a:pt x="3419" y="2586"/>
                </a:lnTo>
                <a:lnTo>
                  <a:pt x="3419" y="2586"/>
                </a:lnTo>
                <a:lnTo>
                  <a:pt x="3419" y="2586"/>
                </a:lnTo>
                <a:close/>
                <a:moveTo>
                  <a:pt x="3431" y="2586"/>
                </a:moveTo>
                <a:lnTo>
                  <a:pt x="3431" y="2586"/>
                </a:lnTo>
                <a:lnTo>
                  <a:pt x="3431" y="2586"/>
                </a:lnTo>
                <a:lnTo>
                  <a:pt x="3431" y="2586"/>
                </a:lnTo>
                <a:lnTo>
                  <a:pt x="3425" y="2586"/>
                </a:lnTo>
                <a:lnTo>
                  <a:pt x="3425" y="2586"/>
                </a:lnTo>
                <a:lnTo>
                  <a:pt x="3425" y="2586"/>
                </a:lnTo>
                <a:lnTo>
                  <a:pt x="3425" y="2586"/>
                </a:lnTo>
                <a:lnTo>
                  <a:pt x="3431" y="2586"/>
                </a:lnTo>
                <a:lnTo>
                  <a:pt x="3431" y="2586"/>
                </a:lnTo>
                <a:lnTo>
                  <a:pt x="3431" y="2586"/>
                </a:lnTo>
                <a:lnTo>
                  <a:pt x="3431" y="2586"/>
                </a:lnTo>
                <a:lnTo>
                  <a:pt x="3431" y="2586"/>
                </a:lnTo>
                <a:close/>
                <a:moveTo>
                  <a:pt x="3467" y="2562"/>
                </a:moveTo>
                <a:lnTo>
                  <a:pt x="3461" y="2562"/>
                </a:lnTo>
                <a:lnTo>
                  <a:pt x="3461" y="2562"/>
                </a:lnTo>
                <a:lnTo>
                  <a:pt x="3461" y="2562"/>
                </a:lnTo>
                <a:lnTo>
                  <a:pt x="3461" y="2562"/>
                </a:lnTo>
                <a:lnTo>
                  <a:pt x="3461" y="2562"/>
                </a:lnTo>
                <a:lnTo>
                  <a:pt x="3455" y="2568"/>
                </a:lnTo>
                <a:lnTo>
                  <a:pt x="3455" y="2568"/>
                </a:lnTo>
                <a:lnTo>
                  <a:pt x="3455" y="2568"/>
                </a:lnTo>
                <a:lnTo>
                  <a:pt x="3461" y="2568"/>
                </a:lnTo>
                <a:lnTo>
                  <a:pt x="3461" y="2568"/>
                </a:lnTo>
                <a:lnTo>
                  <a:pt x="3461" y="2562"/>
                </a:lnTo>
                <a:lnTo>
                  <a:pt x="3467" y="2562"/>
                </a:lnTo>
                <a:lnTo>
                  <a:pt x="3461" y="2562"/>
                </a:lnTo>
                <a:lnTo>
                  <a:pt x="3461" y="2562"/>
                </a:lnTo>
                <a:lnTo>
                  <a:pt x="3467" y="2562"/>
                </a:lnTo>
                <a:close/>
                <a:moveTo>
                  <a:pt x="3413" y="2568"/>
                </a:moveTo>
                <a:lnTo>
                  <a:pt x="3413" y="2568"/>
                </a:lnTo>
                <a:lnTo>
                  <a:pt x="3413" y="2568"/>
                </a:lnTo>
                <a:lnTo>
                  <a:pt x="3413" y="2562"/>
                </a:lnTo>
                <a:lnTo>
                  <a:pt x="3413" y="2562"/>
                </a:lnTo>
                <a:lnTo>
                  <a:pt x="3413" y="2562"/>
                </a:lnTo>
                <a:lnTo>
                  <a:pt x="3413" y="2562"/>
                </a:lnTo>
                <a:lnTo>
                  <a:pt x="3413" y="2568"/>
                </a:lnTo>
                <a:lnTo>
                  <a:pt x="3413" y="2568"/>
                </a:lnTo>
                <a:lnTo>
                  <a:pt x="3413" y="2568"/>
                </a:lnTo>
                <a:lnTo>
                  <a:pt x="3413" y="2568"/>
                </a:lnTo>
                <a:close/>
                <a:moveTo>
                  <a:pt x="3467" y="2562"/>
                </a:moveTo>
                <a:lnTo>
                  <a:pt x="3467" y="2562"/>
                </a:lnTo>
                <a:lnTo>
                  <a:pt x="3467" y="2562"/>
                </a:lnTo>
                <a:lnTo>
                  <a:pt x="3467" y="2562"/>
                </a:lnTo>
                <a:lnTo>
                  <a:pt x="3467" y="2562"/>
                </a:lnTo>
                <a:lnTo>
                  <a:pt x="3467" y="2562"/>
                </a:lnTo>
                <a:lnTo>
                  <a:pt x="3467" y="2562"/>
                </a:lnTo>
                <a:lnTo>
                  <a:pt x="3467" y="2562"/>
                </a:lnTo>
                <a:lnTo>
                  <a:pt x="3467" y="2562"/>
                </a:lnTo>
                <a:lnTo>
                  <a:pt x="3467" y="2562"/>
                </a:lnTo>
                <a:close/>
                <a:moveTo>
                  <a:pt x="3561" y="2521"/>
                </a:moveTo>
                <a:lnTo>
                  <a:pt x="3561" y="2521"/>
                </a:lnTo>
                <a:lnTo>
                  <a:pt x="3561" y="2521"/>
                </a:lnTo>
                <a:lnTo>
                  <a:pt x="3561" y="2521"/>
                </a:lnTo>
                <a:lnTo>
                  <a:pt x="3561" y="2521"/>
                </a:lnTo>
                <a:lnTo>
                  <a:pt x="3561" y="2521"/>
                </a:lnTo>
                <a:lnTo>
                  <a:pt x="3561" y="2521"/>
                </a:lnTo>
                <a:lnTo>
                  <a:pt x="3561" y="2521"/>
                </a:lnTo>
                <a:lnTo>
                  <a:pt x="3561" y="2521"/>
                </a:lnTo>
                <a:close/>
                <a:moveTo>
                  <a:pt x="3567" y="2515"/>
                </a:moveTo>
                <a:lnTo>
                  <a:pt x="3567" y="2515"/>
                </a:lnTo>
                <a:lnTo>
                  <a:pt x="3567" y="2515"/>
                </a:lnTo>
                <a:lnTo>
                  <a:pt x="3567" y="2509"/>
                </a:lnTo>
                <a:lnTo>
                  <a:pt x="3573" y="2509"/>
                </a:lnTo>
                <a:lnTo>
                  <a:pt x="3567" y="2509"/>
                </a:lnTo>
                <a:lnTo>
                  <a:pt x="3567" y="2515"/>
                </a:lnTo>
                <a:close/>
                <a:moveTo>
                  <a:pt x="3455" y="2538"/>
                </a:moveTo>
                <a:lnTo>
                  <a:pt x="3455" y="2538"/>
                </a:lnTo>
                <a:lnTo>
                  <a:pt x="3455" y="2538"/>
                </a:lnTo>
                <a:lnTo>
                  <a:pt x="3455" y="2538"/>
                </a:lnTo>
                <a:lnTo>
                  <a:pt x="3455" y="2538"/>
                </a:lnTo>
                <a:lnTo>
                  <a:pt x="3455" y="2538"/>
                </a:lnTo>
                <a:lnTo>
                  <a:pt x="3455" y="2538"/>
                </a:lnTo>
                <a:lnTo>
                  <a:pt x="3455" y="2538"/>
                </a:lnTo>
                <a:lnTo>
                  <a:pt x="3455" y="2538"/>
                </a:lnTo>
                <a:lnTo>
                  <a:pt x="3455" y="2544"/>
                </a:lnTo>
                <a:lnTo>
                  <a:pt x="3461" y="2544"/>
                </a:lnTo>
                <a:lnTo>
                  <a:pt x="3461" y="2544"/>
                </a:lnTo>
                <a:lnTo>
                  <a:pt x="3461" y="2544"/>
                </a:lnTo>
                <a:lnTo>
                  <a:pt x="3461" y="2544"/>
                </a:lnTo>
                <a:lnTo>
                  <a:pt x="3461" y="2544"/>
                </a:lnTo>
                <a:lnTo>
                  <a:pt x="3461" y="2538"/>
                </a:lnTo>
                <a:lnTo>
                  <a:pt x="3461" y="2538"/>
                </a:lnTo>
                <a:lnTo>
                  <a:pt x="3461" y="2538"/>
                </a:lnTo>
                <a:lnTo>
                  <a:pt x="3461" y="2538"/>
                </a:lnTo>
                <a:lnTo>
                  <a:pt x="3461" y="2538"/>
                </a:lnTo>
                <a:lnTo>
                  <a:pt x="3461" y="2538"/>
                </a:lnTo>
                <a:lnTo>
                  <a:pt x="3461" y="2538"/>
                </a:lnTo>
                <a:lnTo>
                  <a:pt x="3461" y="2538"/>
                </a:lnTo>
                <a:lnTo>
                  <a:pt x="3461" y="2538"/>
                </a:lnTo>
                <a:lnTo>
                  <a:pt x="3461" y="2538"/>
                </a:lnTo>
                <a:lnTo>
                  <a:pt x="3455" y="2538"/>
                </a:lnTo>
                <a:lnTo>
                  <a:pt x="3455" y="2538"/>
                </a:lnTo>
                <a:lnTo>
                  <a:pt x="3455" y="2538"/>
                </a:lnTo>
                <a:lnTo>
                  <a:pt x="3455" y="2538"/>
                </a:lnTo>
                <a:lnTo>
                  <a:pt x="3455" y="2538"/>
                </a:lnTo>
                <a:lnTo>
                  <a:pt x="3455" y="2538"/>
                </a:lnTo>
                <a:lnTo>
                  <a:pt x="3455" y="2538"/>
                </a:lnTo>
                <a:lnTo>
                  <a:pt x="3461" y="2538"/>
                </a:lnTo>
                <a:lnTo>
                  <a:pt x="3455" y="2538"/>
                </a:lnTo>
                <a:lnTo>
                  <a:pt x="3455" y="2538"/>
                </a:lnTo>
                <a:lnTo>
                  <a:pt x="3455" y="2538"/>
                </a:lnTo>
                <a:lnTo>
                  <a:pt x="3455" y="2538"/>
                </a:lnTo>
                <a:lnTo>
                  <a:pt x="3455" y="2538"/>
                </a:lnTo>
                <a:lnTo>
                  <a:pt x="3455" y="2538"/>
                </a:lnTo>
                <a:lnTo>
                  <a:pt x="3455" y="2538"/>
                </a:lnTo>
                <a:lnTo>
                  <a:pt x="3455" y="2533"/>
                </a:lnTo>
                <a:lnTo>
                  <a:pt x="3449" y="2533"/>
                </a:lnTo>
                <a:lnTo>
                  <a:pt x="3449" y="2533"/>
                </a:lnTo>
                <a:lnTo>
                  <a:pt x="3449" y="2533"/>
                </a:lnTo>
                <a:lnTo>
                  <a:pt x="3449" y="2533"/>
                </a:lnTo>
                <a:lnTo>
                  <a:pt x="3449" y="2533"/>
                </a:lnTo>
                <a:lnTo>
                  <a:pt x="3449" y="2533"/>
                </a:lnTo>
                <a:lnTo>
                  <a:pt x="3449" y="2533"/>
                </a:lnTo>
                <a:lnTo>
                  <a:pt x="3449" y="2538"/>
                </a:lnTo>
                <a:lnTo>
                  <a:pt x="3449" y="2538"/>
                </a:lnTo>
                <a:lnTo>
                  <a:pt x="3449" y="2538"/>
                </a:lnTo>
                <a:lnTo>
                  <a:pt x="3449" y="2538"/>
                </a:lnTo>
                <a:lnTo>
                  <a:pt x="3455" y="2538"/>
                </a:lnTo>
                <a:lnTo>
                  <a:pt x="3455" y="2538"/>
                </a:lnTo>
                <a:lnTo>
                  <a:pt x="3455" y="2538"/>
                </a:lnTo>
                <a:lnTo>
                  <a:pt x="3455" y="2538"/>
                </a:lnTo>
                <a:close/>
                <a:moveTo>
                  <a:pt x="3544" y="2538"/>
                </a:moveTo>
                <a:lnTo>
                  <a:pt x="3544" y="2538"/>
                </a:lnTo>
                <a:lnTo>
                  <a:pt x="3544" y="2538"/>
                </a:lnTo>
                <a:lnTo>
                  <a:pt x="3544" y="2538"/>
                </a:lnTo>
                <a:lnTo>
                  <a:pt x="3544" y="2538"/>
                </a:lnTo>
                <a:lnTo>
                  <a:pt x="3544" y="2533"/>
                </a:lnTo>
                <a:lnTo>
                  <a:pt x="3544" y="2533"/>
                </a:lnTo>
                <a:lnTo>
                  <a:pt x="3544" y="2533"/>
                </a:lnTo>
                <a:lnTo>
                  <a:pt x="3544" y="2533"/>
                </a:lnTo>
                <a:lnTo>
                  <a:pt x="3544" y="2533"/>
                </a:lnTo>
                <a:lnTo>
                  <a:pt x="3544" y="2538"/>
                </a:lnTo>
                <a:lnTo>
                  <a:pt x="3538" y="2538"/>
                </a:lnTo>
                <a:lnTo>
                  <a:pt x="3538" y="2538"/>
                </a:lnTo>
                <a:lnTo>
                  <a:pt x="3538" y="2538"/>
                </a:lnTo>
                <a:lnTo>
                  <a:pt x="3544" y="2538"/>
                </a:lnTo>
                <a:close/>
                <a:moveTo>
                  <a:pt x="3550" y="2533"/>
                </a:moveTo>
                <a:lnTo>
                  <a:pt x="3555" y="2533"/>
                </a:lnTo>
                <a:lnTo>
                  <a:pt x="3555" y="2527"/>
                </a:lnTo>
                <a:lnTo>
                  <a:pt x="3555" y="2527"/>
                </a:lnTo>
                <a:lnTo>
                  <a:pt x="3555" y="2527"/>
                </a:lnTo>
                <a:lnTo>
                  <a:pt x="3555" y="2527"/>
                </a:lnTo>
                <a:lnTo>
                  <a:pt x="3555" y="2527"/>
                </a:lnTo>
                <a:lnTo>
                  <a:pt x="3550" y="2533"/>
                </a:lnTo>
                <a:lnTo>
                  <a:pt x="3550" y="2533"/>
                </a:lnTo>
                <a:lnTo>
                  <a:pt x="3550" y="2533"/>
                </a:lnTo>
                <a:close/>
                <a:moveTo>
                  <a:pt x="3289" y="2527"/>
                </a:moveTo>
                <a:lnTo>
                  <a:pt x="3289" y="2527"/>
                </a:lnTo>
                <a:lnTo>
                  <a:pt x="3289" y="2527"/>
                </a:lnTo>
                <a:lnTo>
                  <a:pt x="3283" y="2527"/>
                </a:lnTo>
                <a:lnTo>
                  <a:pt x="3283" y="2527"/>
                </a:lnTo>
                <a:lnTo>
                  <a:pt x="3283" y="2527"/>
                </a:lnTo>
                <a:lnTo>
                  <a:pt x="3283" y="2527"/>
                </a:lnTo>
                <a:lnTo>
                  <a:pt x="3277" y="2521"/>
                </a:lnTo>
                <a:lnTo>
                  <a:pt x="3277" y="2521"/>
                </a:lnTo>
                <a:lnTo>
                  <a:pt x="3277" y="2521"/>
                </a:lnTo>
                <a:lnTo>
                  <a:pt x="3277" y="2521"/>
                </a:lnTo>
                <a:lnTo>
                  <a:pt x="3271" y="2521"/>
                </a:lnTo>
                <a:lnTo>
                  <a:pt x="3271" y="2521"/>
                </a:lnTo>
                <a:lnTo>
                  <a:pt x="3265" y="2521"/>
                </a:lnTo>
                <a:lnTo>
                  <a:pt x="3265" y="2521"/>
                </a:lnTo>
                <a:lnTo>
                  <a:pt x="3265" y="2521"/>
                </a:lnTo>
                <a:lnTo>
                  <a:pt x="3265" y="2521"/>
                </a:lnTo>
                <a:lnTo>
                  <a:pt x="3265" y="2521"/>
                </a:lnTo>
                <a:lnTo>
                  <a:pt x="3265" y="2521"/>
                </a:lnTo>
                <a:lnTo>
                  <a:pt x="3265" y="2521"/>
                </a:lnTo>
                <a:lnTo>
                  <a:pt x="3259" y="2521"/>
                </a:lnTo>
                <a:lnTo>
                  <a:pt x="3259" y="2521"/>
                </a:lnTo>
                <a:lnTo>
                  <a:pt x="3259" y="2527"/>
                </a:lnTo>
                <a:lnTo>
                  <a:pt x="3259" y="2527"/>
                </a:lnTo>
                <a:lnTo>
                  <a:pt x="3259" y="2527"/>
                </a:lnTo>
                <a:lnTo>
                  <a:pt x="3259" y="2527"/>
                </a:lnTo>
                <a:lnTo>
                  <a:pt x="3271" y="2533"/>
                </a:lnTo>
                <a:lnTo>
                  <a:pt x="3271" y="2533"/>
                </a:lnTo>
                <a:lnTo>
                  <a:pt x="3271" y="2533"/>
                </a:lnTo>
                <a:lnTo>
                  <a:pt x="3277" y="2538"/>
                </a:lnTo>
                <a:lnTo>
                  <a:pt x="3277" y="2538"/>
                </a:lnTo>
                <a:lnTo>
                  <a:pt x="3283" y="2538"/>
                </a:lnTo>
                <a:lnTo>
                  <a:pt x="3283" y="2538"/>
                </a:lnTo>
                <a:lnTo>
                  <a:pt x="3283" y="2538"/>
                </a:lnTo>
                <a:lnTo>
                  <a:pt x="3283" y="2533"/>
                </a:lnTo>
                <a:lnTo>
                  <a:pt x="3283" y="2533"/>
                </a:lnTo>
                <a:lnTo>
                  <a:pt x="3283" y="2533"/>
                </a:lnTo>
                <a:lnTo>
                  <a:pt x="3289" y="2527"/>
                </a:lnTo>
                <a:lnTo>
                  <a:pt x="3289" y="2527"/>
                </a:lnTo>
                <a:lnTo>
                  <a:pt x="3289" y="2527"/>
                </a:lnTo>
                <a:lnTo>
                  <a:pt x="3289" y="2527"/>
                </a:lnTo>
                <a:lnTo>
                  <a:pt x="3289" y="2527"/>
                </a:lnTo>
                <a:close/>
                <a:moveTo>
                  <a:pt x="3538" y="2485"/>
                </a:moveTo>
                <a:lnTo>
                  <a:pt x="3538" y="2485"/>
                </a:lnTo>
                <a:lnTo>
                  <a:pt x="3538" y="2485"/>
                </a:lnTo>
                <a:lnTo>
                  <a:pt x="3532" y="2485"/>
                </a:lnTo>
                <a:lnTo>
                  <a:pt x="3532" y="2485"/>
                </a:lnTo>
                <a:lnTo>
                  <a:pt x="3532" y="2485"/>
                </a:lnTo>
                <a:lnTo>
                  <a:pt x="3532" y="2485"/>
                </a:lnTo>
                <a:lnTo>
                  <a:pt x="3532" y="2485"/>
                </a:lnTo>
                <a:lnTo>
                  <a:pt x="3532" y="2485"/>
                </a:lnTo>
                <a:lnTo>
                  <a:pt x="3532" y="2485"/>
                </a:lnTo>
                <a:lnTo>
                  <a:pt x="3532" y="2485"/>
                </a:lnTo>
                <a:lnTo>
                  <a:pt x="3532" y="2485"/>
                </a:lnTo>
                <a:lnTo>
                  <a:pt x="3538" y="2485"/>
                </a:lnTo>
                <a:lnTo>
                  <a:pt x="3538" y="2485"/>
                </a:lnTo>
                <a:lnTo>
                  <a:pt x="3538" y="2485"/>
                </a:lnTo>
                <a:lnTo>
                  <a:pt x="3538" y="2485"/>
                </a:lnTo>
                <a:lnTo>
                  <a:pt x="3538" y="2485"/>
                </a:lnTo>
                <a:close/>
                <a:moveTo>
                  <a:pt x="3526" y="2485"/>
                </a:moveTo>
                <a:lnTo>
                  <a:pt x="3532" y="2485"/>
                </a:lnTo>
                <a:lnTo>
                  <a:pt x="3532" y="2485"/>
                </a:lnTo>
                <a:lnTo>
                  <a:pt x="3532" y="2485"/>
                </a:lnTo>
                <a:lnTo>
                  <a:pt x="3532" y="2479"/>
                </a:lnTo>
                <a:lnTo>
                  <a:pt x="3532" y="2479"/>
                </a:lnTo>
                <a:lnTo>
                  <a:pt x="3532" y="2479"/>
                </a:lnTo>
                <a:lnTo>
                  <a:pt x="3532" y="2479"/>
                </a:lnTo>
                <a:lnTo>
                  <a:pt x="3532" y="2485"/>
                </a:lnTo>
                <a:lnTo>
                  <a:pt x="3526" y="2485"/>
                </a:lnTo>
                <a:lnTo>
                  <a:pt x="3526" y="2485"/>
                </a:lnTo>
                <a:lnTo>
                  <a:pt x="3526" y="2485"/>
                </a:lnTo>
                <a:lnTo>
                  <a:pt x="3526" y="2485"/>
                </a:lnTo>
                <a:lnTo>
                  <a:pt x="3526" y="2485"/>
                </a:lnTo>
                <a:lnTo>
                  <a:pt x="3526" y="2485"/>
                </a:lnTo>
                <a:lnTo>
                  <a:pt x="3526" y="2485"/>
                </a:lnTo>
                <a:lnTo>
                  <a:pt x="3526" y="2485"/>
                </a:lnTo>
                <a:close/>
                <a:moveTo>
                  <a:pt x="3514" y="2461"/>
                </a:moveTo>
                <a:lnTo>
                  <a:pt x="3514" y="2461"/>
                </a:lnTo>
                <a:lnTo>
                  <a:pt x="3514" y="2461"/>
                </a:lnTo>
                <a:lnTo>
                  <a:pt x="3514" y="2461"/>
                </a:lnTo>
                <a:lnTo>
                  <a:pt x="3514" y="2461"/>
                </a:lnTo>
                <a:lnTo>
                  <a:pt x="3514" y="2461"/>
                </a:lnTo>
                <a:lnTo>
                  <a:pt x="3514" y="2461"/>
                </a:lnTo>
                <a:close/>
                <a:moveTo>
                  <a:pt x="3538" y="2473"/>
                </a:moveTo>
                <a:lnTo>
                  <a:pt x="3538" y="2473"/>
                </a:lnTo>
                <a:lnTo>
                  <a:pt x="3538" y="2473"/>
                </a:lnTo>
                <a:lnTo>
                  <a:pt x="3538" y="2473"/>
                </a:lnTo>
                <a:lnTo>
                  <a:pt x="3538" y="2473"/>
                </a:lnTo>
                <a:lnTo>
                  <a:pt x="3538" y="2473"/>
                </a:lnTo>
                <a:lnTo>
                  <a:pt x="3538" y="2473"/>
                </a:lnTo>
                <a:lnTo>
                  <a:pt x="3538" y="2467"/>
                </a:lnTo>
                <a:lnTo>
                  <a:pt x="3538" y="2467"/>
                </a:lnTo>
                <a:lnTo>
                  <a:pt x="3538" y="2467"/>
                </a:lnTo>
                <a:lnTo>
                  <a:pt x="3538" y="2473"/>
                </a:lnTo>
                <a:lnTo>
                  <a:pt x="3538" y="2473"/>
                </a:lnTo>
                <a:lnTo>
                  <a:pt x="3538" y="2473"/>
                </a:lnTo>
                <a:lnTo>
                  <a:pt x="3538" y="2473"/>
                </a:lnTo>
                <a:lnTo>
                  <a:pt x="3538" y="2473"/>
                </a:lnTo>
                <a:lnTo>
                  <a:pt x="3538" y="2473"/>
                </a:lnTo>
                <a:lnTo>
                  <a:pt x="3538" y="2473"/>
                </a:lnTo>
                <a:lnTo>
                  <a:pt x="3538" y="2473"/>
                </a:lnTo>
                <a:lnTo>
                  <a:pt x="3538" y="2467"/>
                </a:lnTo>
                <a:lnTo>
                  <a:pt x="3538" y="2467"/>
                </a:lnTo>
                <a:lnTo>
                  <a:pt x="3538" y="2467"/>
                </a:lnTo>
                <a:lnTo>
                  <a:pt x="3532" y="2467"/>
                </a:lnTo>
                <a:lnTo>
                  <a:pt x="3538" y="2467"/>
                </a:lnTo>
                <a:lnTo>
                  <a:pt x="3538" y="2461"/>
                </a:lnTo>
                <a:lnTo>
                  <a:pt x="3538" y="2461"/>
                </a:lnTo>
                <a:lnTo>
                  <a:pt x="3538" y="2461"/>
                </a:lnTo>
                <a:lnTo>
                  <a:pt x="3538" y="2461"/>
                </a:lnTo>
                <a:lnTo>
                  <a:pt x="3544" y="2461"/>
                </a:lnTo>
                <a:lnTo>
                  <a:pt x="3544" y="2461"/>
                </a:lnTo>
                <a:lnTo>
                  <a:pt x="3544" y="2461"/>
                </a:lnTo>
                <a:lnTo>
                  <a:pt x="3538" y="2461"/>
                </a:lnTo>
                <a:lnTo>
                  <a:pt x="3538" y="2461"/>
                </a:lnTo>
                <a:lnTo>
                  <a:pt x="3538" y="2461"/>
                </a:lnTo>
                <a:lnTo>
                  <a:pt x="3538" y="2461"/>
                </a:lnTo>
                <a:lnTo>
                  <a:pt x="3532" y="2467"/>
                </a:lnTo>
                <a:lnTo>
                  <a:pt x="3532" y="2467"/>
                </a:lnTo>
                <a:lnTo>
                  <a:pt x="3532" y="2467"/>
                </a:lnTo>
                <a:lnTo>
                  <a:pt x="3532" y="2467"/>
                </a:lnTo>
                <a:lnTo>
                  <a:pt x="3532" y="2467"/>
                </a:lnTo>
                <a:lnTo>
                  <a:pt x="3532" y="2467"/>
                </a:lnTo>
                <a:lnTo>
                  <a:pt x="3532" y="2467"/>
                </a:lnTo>
                <a:lnTo>
                  <a:pt x="3532" y="2467"/>
                </a:lnTo>
                <a:lnTo>
                  <a:pt x="3532" y="2467"/>
                </a:lnTo>
                <a:lnTo>
                  <a:pt x="3526" y="2467"/>
                </a:lnTo>
                <a:lnTo>
                  <a:pt x="3526" y="2467"/>
                </a:lnTo>
                <a:lnTo>
                  <a:pt x="3526" y="2467"/>
                </a:lnTo>
                <a:lnTo>
                  <a:pt x="3526" y="2467"/>
                </a:lnTo>
                <a:lnTo>
                  <a:pt x="3526" y="2473"/>
                </a:lnTo>
                <a:lnTo>
                  <a:pt x="3526" y="2473"/>
                </a:lnTo>
                <a:lnTo>
                  <a:pt x="3526" y="2473"/>
                </a:lnTo>
                <a:lnTo>
                  <a:pt x="3526" y="2473"/>
                </a:lnTo>
                <a:lnTo>
                  <a:pt x="3526" y="2473"/>
                </a:lnTo>
                <a:lnTo>
                  <a:pt x="3526" y="2473"/>
                </a:lnTo>
                <a:lnTo>
                  <a:pt x="3526" y="2473"/>
                </a:lnTo>
                <a:lnTo>
                  <a:pt x="3526" y="2473"/>
                </a:lnTo>
                <a:lnTo>
                  <a:pt x="3526" y="2473"/>
                </a:lnTo>
                <a:lnTo>
                  <a:pt x="3526" y="2473"/>
                </a:lnTo>
                <a:lnTo>
                  <a:pt x="3532" y="2473"/>
                </a:lnTo>
                <a:lnTo>
                  <a:pt x="3532" y="2473"/>
                </a:lnTo>
                <a:lnTo>
                  <a:pt x="3532" y="2473"/>
                </a:lnTo>
                <a:lnTo>
                  <a:pt x="3532" y="2473"/>
                </a:lnTo>
                <a:lnTo>
                  <a:pt x="3532" y="2473"/>
                </a:lnTo>
                <a:lnTo>
                  <a:pt x="3532" y="2473"/>
                </a:lnTo>
                <a:lnTo>
                  <a:pt x="3532" y="2473"/>
                </a:lnTo>
                <a:lnTo>
                  <a:pt x="3532" y="2473"/>
                </a:lnTo>
                <a:lnTo>
                  <a:pt x="3532" y="2473"/>
                </a:lnTo>
                <a:lnTo>
                  <a:pt x="3532" y="2473"/>
                </a:lnTo>
                <a:lnTo>
                  <a:pt x="3532" y="2473"/>
                </a:lnTo>
                <a:lnTo>
                  <a:pt x="3532" y="2473"/>
                </a:lnTo>
                <a:lnTo>
                  <a:pt x="3532" y="2467"/>
                </a:lnTo>
                <a:lnTo>
                  <a:pt x="3532" y="2467"/>
                </a:lnTo>
                <a:lnTo>
                  <a:pt x="3532" y="2467"/>
                </a:lnTo>
                <a:lnTo>
                  <a:pt x="3532" y="2473"/>
                </a:lnTo>
                <a:lnTo>
                  <a:pt x="3532" y="2473"/>
                </a:lnTo>
                <a:lnTo>
                  <a:pt x="3532" y="2473"/>
                </a:lnTo>
                <a:lnTo>
                  <a:pt x="3532" y="2473"/>
                </a:lnTo>
                <a:lnTo>
                  <a:pt x="3532" y="2473"/>
                </a:lnTo>
                <a:lnTo>
                  <a:pt x="3538" y="2473"/>
                </a:lnTo>
                <a:lnTo>
                  <a:pt x="3538" y="2473"/>
                </a:lnTo>
                <a:close/>
                <a:moveTo>
                  <a:pt x="3526" y="2497"/>
                </a:moveTo>
                <a:lnTo>
                  <a:pt x="3526" y="2503"/>
                </a:lnTo>
                <a:lnTo>
                  <a:pt x="3532" y="2503"/>
                </a:lnTo>
                <a:lnTo>
                  <a:pt x="3532" y="2503"/>
                </a:lnTo>
                <a:lnTo>
                  <a:pt x="3532" y="2503"/>
                </a:lnTo>
                <a:lnTo>
                  <a:pt x="3532" y="2503"/>
                </a:lnTo>
                <a:lnTo>
                  <a:pt x="3532" y="2497"/>
                </a:lnTo>
                <a:lnTo>
                  <a:pt x="3532" y="2503"/>
                </a:lnTo>
                <a:lnTo>
                  <a:pt x="3532" y="2503"/>
                </a:lnTo>
                <a:lnTo>
                  <a:pt x="3526" y="2503"/>
                </a:lnTo>
                <a:lnTo>
                  <a:pt x="3526" y="2497"/>
                </a:lnTo>
                <a:lnTo>
                  <a:pt x="3526" y="2497"/>
                </a:lnTo>
                <a:close/>
                <a:moveTo>
                  <a:pt x="3514" y="2503"/>
                </a:moveTo>
                <a:lnTo>
                  <a:pt x="3514" y="2503"/>
                </a:lnTo>
                <a:lnTo>
                  <a:pt x="3514" y="2503"/>
                </a:lnTo>
                <a:lnTo>
                  <a:pt x="3514" y="2503"/>
                </a:lnTo>
                <a:lnTo>
                  <a:pt x="3514" y="2503"/>
                </a:lnTo>
                <a:lnTo>
                  <a:pt x="3514" y="2503"/>
                </a:lnTo>
                <a:lnTo>
                  <a:pt x="3514" y="2503"/>
                </a:lnTo>
                <a:lnTo>
                  <a:pt x="3514" y="2503"/>
                </a:lnTo>
                <a:lnTo>
                  <a:pt x="3514" y="2503"/>
                </a:lnTo>
                <a:lnTo>
                  <a:pt x="3514" y="2503"/>
                </a:lnTo>
                <a:lnTo>
                  <a:pt x="3508" y="2503"/>
                </a:lnTo>
                <a:lnTo>
                  <a:pt x="3508" y="2503"/>
                </a:lnTo>
                <a:lnTo>
                  <a:pt x="3508" y="2503"/>
                </a:lnTo>
                <a:lnTo>
                  <a:pt x="3508" y="2503"/>
                </a:lnTo>
                <a:lnTo>
                  <a:pt x="3508" y="2509"/>
                </a:lnTo>
                <a:lnTo>
                  <a:pt x="3508" y="2509"/>
                </a:lnTo>
                <a:lnTo>
                  <a:pt x="3514" y="2509"/>
                </a:lnTo>
                <a:lnTo>
                  <a:pt x="3514" y="2503"/>
                </a:lnTo>
                <a:lnTo>
                  <a:pt x="3514" y="2503"/>
                </a:lnTo>
                <a:lnTo>
                  <a:pt x="3514" y="2503"/>
                </a:lnTo>
                <a:lnTo>
                  <a:pt x="3514" y="2503"/>
                </a:lnTo>
                <a:lnTo>
                  <a:pt x="3514" y="2503"/>
                </a:lnTo>
                <a:lnTo>
                  <a:pt x="3514" y="2509"/>
                </a:lnTo>
                <a:lnTo>
                  <a:pt x="3514" y="2509"/>
                </a:lnTo>
                <a:lnTo>
                  <a:pt x="3514" y="2509"/>
                </a:lnTo>
                <a:lnTo>
                  <a:pt x="3514" y="2509"/>
                </a:lnTo>
                <a:lnTo>
                  <a:pt x="3514" y="2509"/>
                </a:lnTo>
                <a:lnTo>
                  <a:pt x="3514" y="2509"/>
                </a:lnTo>
                <a:lnTo>
                  <a:pt x="3514" y="2503"/>
                </a:lnTo>
                <a:close/>
                <a:moveTo>
                  <a:pt x="3573" y="2479"/>
                </a:moveTo>
                <a:lnTo>
                  <a:pt x="3573" y="2473"/>
                </a:lnTo>
                <a:lnTo>
                  <a:pt x="3573" y="2473"/>
                </a:lnTo>
                <a:lnTo>
                  <a:pt x="3573" y="2473"/>
                </a:lnTo>
                <a:lnTo>
                  <a:pt x="3573" y="2473"/>
                </a:lnTo>
                <a:lnTo>
                  <a:pt x="3573" y="2473"/>
                </a:lnTo>
                <a:lnTo>
                  <a:pt x="3573" y="2473"/>
                </a:lnTo>
                <a:lnTo>
                  <a:pt x="3573" y="2473"/>
                </a:lnTo>
                <a:lnTo>
                  <a:pt x="3573" y="2479"/>
                </a:lnTo>
                <a:lnTo>
                  <a:pt x="3573" y="2479"/>
                </a:lnTo>
                <a:lnTo>
                  <a:pt x="3573" y="2479"/>
                </a:lnTo>
                <a:lnTo>
                  <a:pt x="3573" y="2479"/>
                </a:lnTo>
                <a:lnTo>
                  <a:pt x="3573" y="2485"/>
                </a:lnTo>
                <a:lnTo>
                  <a:pt x="3579" y="2485"/>
                </a:lnTo>
                <a:lnTo>
                  <a:pt x="3579" y="2485"/>
                </a:lnTo>
                <a:lnTo>
                  <a:pt x="3579" y="2485"/>
                </a:lnTo>
                <a:lnTo>
                  <a:pt x="3579" y="2491"/>
                </a:lnTo>
                <a:lnTo>
                  <a:pt x="3579" y="2497"/>
                </a:lnTo>
                <a:lnTo>
                  <a:pt x="3573" y="2497"/>
                </a:lnTo>
                <a:lnTo>
                  <a:pt x="3573" y="2497"/>
                </a:lnTo>
                <a:lnTo>
                  <a:pt x="3573" y="2503"/>
                </a:lnTo>
                <a:lnTo>
                  <a:pt x="3573" y="2503"/>
                </a:lnTo>
                <a:lnTo>
                  <a:pt x="3573" y="2503"/>
                </a:lnTo>
                <a:lnTo>
                  <a:pt x="3573" y="2503"/>
                </a:lnTo>
                <a:lnTo>
                  <a:pt x="3573" y="2503"/>
                </a:lnTo>
                <a:lnTo>
                  <a:pt x="3573" y="2503"/>
                </a:lnTo>
                <a:lnTo>
                  <a:pt x="3573" y="2503"/>
                </a:lnTo>
                <a:lnTo>
                  <a:pt x="3579" y="2497"/>
                </a:lnTo>
                <a:lnTo>
                  <a:pt x="3579" y="2485"/>
                </a:lnTo>
                <a:lnTo>
                  <a:pt x="3579" y="2479"/>
                </a:lnTo>
                <a:lnTo>
                  <a:pt x="3573" y="2479"/>
                </a:lnTo>
                <a:close/>
                <a:moveTo>
                  <a:pt x="4314" y="2384"/>
                </a:moveTo>
                <a:lnTo>
                  <a:pt x="4314" y="2378"/>
                </a:lnTo>
                <a:lnTo>
                  <a:pt x="4314" y="2378"/>
                </a:lnTo>
                <a:lnTo>
                  <a:pt x="4314" y="2372"/>
                </a:lnTo>
                <a:lnTo>
                  <a:pt x="4314" y="2372"/>
                </a:lnTo>
                <a:lnTo>
                  <a:pt x="4314" y="2366"/>
                </a:lnTo>
                <a:lnTo>
                  <a:pt x="4314" y="2366"/>
                </a:lnTo>
                <a:lnTo>
                  <a:pt x="4314" y="2366"/>
                </a:lnTo>
                <a:lnTo>
                  <a:pt x="4314" y="2372"/>
                </a:lnTo>
                <a:lnTo>
                  <a:pt x="4308" y="2372"/>
                </a:lnTo>
                <a:lnTo>
                  <a:pt x="4308" y="2372"/>
                </a:lnTo>
                <a:lnTo>
                  <a:pt x="4308" y="2378"/>
                </a:lnTo>
                <a:lnTo>
                  <a:pt x="4308" y="2378"/>
                </a:lnTo>
                <a:lnTo>
                  <a:pt x="4308" y="2378"/>
                </a:lnTo>
                <a:lnTo>
                  <a:pt x="4308" y="2378"/>
                </a:lnTo>
                <a:lnTo>
                  <a:pt x="4308" y="2378"/>
                </a:lnTo>
                <a:lnTo>
                  <a:pt x="4308" y="2384"/>
                </a:lnTo>
                <a:lnTo>
                  <a:pt x="4308" y="2384"/>
                </a:lnTo>
                <a:lnTo>
                  <a:pt x="4308" y="2396"/>
                </a:lnTo>
                <a:lnTo>
                  <a:pt x="4308" y="2396"/>
                </a:lnTo>
                <a:lnTo>
                  <a:pt x="4308" y="2396"/>
                </a:lnTo>
                <a:lnTo>
                  <a:pt x="4308" y="2390"/>
                </a:lnTo>
                <a:lnTo>
                  <a:pt x="4308" y="2390"/>
                </a:lnTo>
                <a:lnTo>
                  <a:pt x="4308" y="2390"/>
                </a:lnTo>
                <a:lnTo>
                  <a:pt x="4308" y="2384"/>
                </a:lnTo>
                <a:lnTo>
                  <a:pt x="4314" y="2384"/>
                </a:lnTo>
                <a:close/>
                <a:moveTo>
                  <a:pt x="4338" y="2301"/>
                </a:moveTo>
                <a:lnTo>
                  <a:pt x="4332" y="2301"/>
                </a:lnTo>
                <a:lnTo>
                  <a:pt x="4332" y="2301"/>
                </a:lnTo>
                <a:lnTo>
                  <a:pt x="4332" y="2301"/>
                </a:lnTo>
                <a:lnTo>
                  <a:pt x="4332" y="2307"/>
                </a:lnTo>
                <a:lnTo>
                  <a:pt x="4332" y="2307"/>
                </a:lnTo>
                <a:lnTo>
                  <a:pt x="4332" y="2307"/>
                </a:lnTo>
                <a:lnTo>
                  <a:pt x="4326" y="2307"/>
                </a:lnTo>
                <a:lnTo>
                  <a:pt x="4326" y="2313"/>
                </a:lnTo>
                <a:lnTo>
                  <a:pt x="4326" y="2313"/>
                </a:lnTo>
                <a:lnTo>
                  <a:pt x="4326" y="2313"/>
                </a:lnTo>
                <a:lnTo>
                  <a:pt x="4326" y="2319"/>
                </a:lnTo>
                <a:lnTo>
                  <a:pt x="4326" y="2319"/>
                </a:lnTo>
                <a:lnTo>
                  <a:pt x="4332" y="2319"/>
                </a:lnTo>
                <a:lnTo>
                  <a:pt x="4332" y="2313"/>
                </a:lnTo>
                <a:lnTo>
                  <a:pt x="4332" y="2313"/>
                </a:lnTo>
                <a:lnTo>
                  <a:pt x="4332" y="2313"/>
                </a:lnTo>
                <a:lnTo>
                  <a:pt x="4332" y="2307"/>
                </a:lnTo>
                <a:lnTo>
                  <a:pt x="4338" y="2307"/>
                </a:lnTo>
                <a:lnTo>
                  <a:pt x="4338" y="2301"/>
                </a:lnTo>
                <a:lnTo>
                  <a:pt x="4338" y="2301"/>
                </a:lnTo>
                <a:lnTo>
                  <a:pt x="4338" y="2301"/>
                </a:lnTo>
                <a:lnTo>
                  <a:pt x="4338" y="2301"/>
                </a:lnTo>
                <a:lnTo>
                  <a:pt x="4338" y="2301"/>
                </a:lnTo>
                <a:close/>
                <a:moveTo>
                  <a:pt x="4338" y="2295"/>
                </a:moveTo>
                <a:lnTo>
                  <a:pt x="4338" y="2295"/>
                </a:lnTo>
                <a:lnTo>
                  <a:pt x="4344" y="2295"/>
                </a:lnTo>
                <a:lnTo>
                  <a:pt x="4344" y="2289"/>
                </a:lnTo>
                <a:lnTo>
                  <a:pt x="4344" y="2289"/>
                </a:lnTo>
                <a:lnTo>
                  <a:pt x="4344" y="2289"/>
                </a:lnTo>
                <a:lnTo>
                  <a:pt x="4344" y="2283"/>
                </a:lnTo>
                <a:lnTo>
                  <a:pt x="4344" y="2283"/>
                </a:lnTo>
                <a:lnTo>
                  <a:pt x="4344" y="2283"/>
                </a:lnTo>
                <a:lnTo>
                  <a:pt x="4344" y="2283"/>
                </a:lnTo>
                <a:lnTo>
                  <a:pt x="4344" y="2283"/>
                </a:lnTo>
                <a:lnTo>
                  <a:pt x="4344" y="2283"/>
                </a:lnTo>
                <a:lnTo>
                  <a:pt x="4344" y="2283"/>
                </a:lnTo>
                <a:lnTo>
                  <a:pt x="4338" y="2283"/>
                </a:lnTo>
                <a:lnTo>
                  <a:pt x="4338" y="2283"/>
                </a:lnTo>
                <a:lnTo>
                  <a:pt x="4338" y="2289"/>
                </a:lnTo>
                <a:lnTo>
                  <a:pt x="4338" y="2289"/>
                </a:lnTo>
                <a:lnTo>
                  <a:pt x="4338" y="2289"/>
                </a:lnTo>
                <a:lnTo>
                  <a:pt x="4338" y="2295"/>
                </a:lnTo>
                <a:lnTo>
                  <a:pt x="4338" y="2295"/>
                </a:lnTo>
                <a:lnTo>
                  <a:pt x="4338" y="2295"/>
                </a:lnTo>
                <a:lnTo>
                  <a:pt x="4338" y="2295"/>
                </a:lnTo>
                <a:lnTo>
                  <a:pt x="4338" y="2295"/>
                </a:lnTo>
                <a:lnTo>
                  <a:pt x="4338" y="2295"/>
                </a:lnTo>
                <a:lnTo>
                  <a:pt x="4338" y="2295"/>
                </a:lnTo>
                <a:close/>
                <a:moveTo>
                  <a:pt x="4243" y="3090"/>
                </a:moveTo>
                <a:lnTo>
                  <a:pt x="4243" y="3090"/>
                </a:lnTo>
                <a:lnTo>
                  <a:pt x="4243" y="3090"/>
                </a:lnTo>
                <a:lnTo>
                  <a:pt x="4243" y="3090"/>
                </a:lnTo>
                <a:lnTo>
                  <a:pt x="4243" y="3090"/>
                </a:lnTo>
                <a:lnTo>
                  <a:pt x="4243" y="3090"/>
                </a:lnTo>
                <a:lnTo>
                  <a:pt x="4243" y="3090"/>
                </a:lnTo>
                <a:close/>
                <a:moveTo>
                  <a:pt x="4332" y="3078"/>
                </a:moveTo>
                <a:lnTo>
                  <a:pt x="4332" y="3078"/>
                </a:lnTo>
                <a:lnTo>
                  <a:pt x="4326" y="3078"/>
                </a:lnTo>
                <a:lnTo>
                  <a:pt x="4326" y="3078"/>
                </a:lnTo>
                <a:lnTo>
                  <a:pt x="4332" y="3078"/>
                </a:lnTo>
                <a:lnTo>
                  <a:pt x="4332" y="3078"/>
                </a:lnTo>
                <a:lnTo>
                  <a:pt x="4332" y="3078"/>
                </a:lnTo>
                <a:lnTo>
                  <a:pt x="4332" y="3078"/>
                </a:lnTo>
                <a:lnTo>
                  <a:pt x="4332" y="3078"/>
                </a:lnTo>
                <a:close/>
                <a:moveTo>
                  <a:pt x="4314" y="3078"/>
                </a:moveTo>
                <a:lnTo>
                  <a:pt x="4314" y="3078"/>
                </a:lnTo>
                <a:lnTo>
                  <a:pt x="4314" y="3078"/>
                </a:lnTo>
                <a:lnTo>
                  <a:pt x="4314" y="3078"/>
                </a:lnTo>
                <a:lnTo>
                  <a:pt x="4314" y="3078"/>
                </a:lnTo>
                <a:lnTo>
                  <a:pt x="4314" y="3078"/>
                </a:lnTo>
                <a:close/>
                <a:moveTo>
                  <a:pt x="4314" y="3078"/>
                </a:moveTo>
                <a:lnTo>
                  <a:pt x="4314" y="3078"/>
                </a:lnTo>
                <a:lnTo>
                  <a:pt x="4308" y="3078"/>
                </a:lnTo>
                <a:lnTo>
                  <a:pt x="4308" y="3078"/>
                </a:lnTo>
                <a:lnTo>
                  <a:pt x="4308" y="3078"/>
                </a:lnTo>
                <a:lnTo>
                  <a:pt x="4308" y="3078"/>
                </a:lnTo>
                <a:lnTo>
                  <a:pt x="4308" y="3078"/>
                </a:lnTo>
                <a:lnTo>
                  <a:pt x="4308" y="3078"/>
                </a:lnTo>
                <a:lnTo>
                  <a:pt x="4308" y="3078"/>
                </a:lnTo>
                <a:lnTo>
                  <a:pt x="4308" y="3078"/>
                </a:lnTo>
                <a:lnTo>
                  <a:pt x="4308" y="3078"/>
                </a:lnTo>
                <a:lnTo>
                  <a:pt x="4308" y="3078"/>
                </a:lnTo>
                <a:lnTo>
                  <a:pt x="4308" y="3078"/>
                </a:lnTo>
                <a:lnTo>
                  <a:pt x="4314" y="3078"/>
                </a:lnTo>
                <a:lnTo>
                  <a:pt x="4314" y="3078"/>
                </a:lnTo>
                <a:lnTo>
                  <a:pt x="4314" y="3078"/>
                </a:lnTo>
                <a:lnTo>
                  <a:pt x="4314" y="3078"/>
                </a:lnTo>
                <a:lnTo>
                  <a:pt x="4314" y="3078"/>
                </a:lnTo>
                <a:close/>
                <a:moveTo>
                  <a:pt x="4344" y="3072"/>
                </a:moveTo>
                <a:lnTo>
                  <a:pt x="4344" y="3072"/>
                </a:lnTo>
                <a:lnTo>
                  <a:pt x="4344" y="3072"/>
                </a:lnTo>
                <a:lnTo>
                  <a:pt x="4344" y="3072"/>
                </a:lnTo>
                <a:lnTo>
                  <a:pt x="4344" y="3072"/>
                </a:lnTo>
                <a:lnTo>
                  <a:pt x="4350" y="3072"/>
                </a:lnTo>
                <a:lnTo>
                  <a:pt x="4350" y="3072"/>
                </a:lnTo>
                <a:lnTo>
                  <a:pt x="4350" y="3072"/>
                </a:lnTo>
                <a:lnTo>
                  <a:pt x="4350" y="3072"/>
                </a:lnTo>
                <a:lnTo>
                  <a:pt x="4350" y="3072"/>
                </a:lnTo>
                <a:lnTo>
                  <a:pt x="4350" y="3072"/>
                </a:lnTo>
                <a:lnTo>
                  <a:pt x="4350" y="3072"/>
                </a:lnTo>
                <a:lnTo>
                  <a:pt x="4350" y="3072"/>
                </a:lnTo>
                <a:lnTo>
                  <a:pt x="4350" y="3072"/>
                </a:lnTo>
                <a:lnTo>
                  <a:pt x="4350" y="3072"/>
                </a:lnTo>
                <a:lnTo>
                  <a:pt x="4350" y="3072"/>
                </a:lnTo>
                <a:lnTo>
                  <a:pt x="4350" y="3072"/>
                </a:lnTo>
                <a:lnTo>
                  <a:pt x="4350" y="3072"/>
                </a:lnTo>
                <a:lnTo>
                  <a:pt x="4350" y="3072"/>
                </a:lnTo>
                <a:lnTo>
                  <a:pt x="4344" y="3072"/>
                </a:lnTo>
                <a:close/>
                <a:moveTo>
                  <a:pt x="4361" y="3066"/>
                </a:moveTo>
                <a:lnTo>
                  <a:pt x="4350" y="3072"/>
                </a:lnTo>
                <a:lnTo>
                  <a:pt x="4361" y="3066"/>
                </a:lnTo>
                <a:lnTo>
                  <a:pt x="4361" y="3066"/>
                </a:lnTo>
                <a:lnTo>
                  <a:pt x="4361" y="3066"/>
                </a:lnTo>
                <a:lnTo>
                  <a:pt x="4361" y="3066"/>
                </a:lnTo>
                <a:lnTo>
                  <a:pt x="4361" y="3066"/>
                </a:lnTo>
                <a:lnTo>
                  <a:pt x="4361" y="3066"/>
                </a:lnTo>
                <a:lnTo>
                  <a:pt x="4361" y="3066"/>
                </a:lnTo>
                <a:lnTo>
                  <a:pt x="4361" y="3066"/>
                </a:lnTo>
                <a:lnTo>
                  <a:pt x="4361" y="3066"/>
                </a:lnTo>
                <a:lnTo>
                  <a:pt x="4361" y="3066"/>
                </a:lnTo>
                <a:close/>
                <a:moveTo>
                  <a:pt x="4379" y="3060"/>
                </a:moveTo>
                <a:lnTo>
                  <a:pt x="4373" y="3060"/>
                </a:lnTo>
                <a:lnTo>
                  <a:pt x="4373" y="3060"/>
                </a:lnTo>
                <a:lnTo>
                  <a:pt x="4373" y="3060"/>
                </a:lnTo>
                <a:lnTo>
                  <a:pt x="4373" y="3060"/>
                </a:lnTo>
                <a:lnTo>
                  <a:pt x="4373" y="3060"/>
                </a:lnTo>
                <a:lnTo>
                  <a:pt x="4373" y="3060"/>
                </a:lnTo>
                <a:lnTo>
                  <a:pt x="4373" y="3060"/>
                </a:lnTo>
                <a:lnTo>
                  <a:pt x="4367" y="3060"/>
                </a:lnTo>
                <a:lnTo>
                  <a:pt x="4373" y="3060"/>
                </a:lnTo>
                <a:lnTo>
                  <a:pt x="4373" y="3060"/>
                </a:lnTo>
                <a:lnTo>
                  <a:pt x="4373" y="3060"/>
                </a:lnTo>
                <a:lnTo>
                  <a:pt x="4373" y="3060"/>
                </a:lnTo>
                <a:lnTo>
                  <a:pt x="4379" y="3060"/>
                </a:lnTo>
                <a:lnTo>
                  <a:pt x="4379" y="3060"/>
                </a:lnTo>
                <a:lnTo>
                  <a:pt x="4379" y="3060"/>
                </a:lnTo>
                <a:lnTo>
                  <a:pt x="4379" y="3060"/>
                </a:lnTo>
                <a:close/>
                <a:moveTo>
                  <a:pt x="4385" y="3054"/>
                </a:moveTo>
                <a:lnTo>
                  <a:pt x="4385" y="3054"/>
                </a:lnTo>
                <a:lnTo>
                  <a:pt x="4379" y="3054"/>
                </a:lnTo>
                <a:lnTo>
                  <a:pt x="4379" y="3054"/>
                </a:lnTo>
                <a:lnTo>
                  <a:pt x="4379" y="3054"/>
                </a:lnTo>
                <a:lnTo>
                  <a:pt x="4379" y="3054"/>
                </a:lnTo>
                <a:lnTo>
                  <a:pt x="4385" y="3054"/>
                </a:lnTo>
                <a:lnTo>
                  <a:pt x="4385" y="3054"/>
                </a:lnTo>
                <a:lnTo>
                  <a:pt x="4385" y="3054"/>
                </a:lnTo>
                <a:lnTo>
                  <a:pt x="4385" y="3054"/>
                </a:lnTo>
                <a:lnTo>
                  <a:pt x="4385" y="3054"/>
                </a:lnTo>
                <a:close/>
                <a:moveTo>
                  <a:pt x="4391" y="3049"/>
                </a:moveTo>
                <a:lnTo>
                  <a:pt x="4391" y="3049"/>
                </a:lnTo>
                <a:lnTo>
                  <a:pt x="4391" y="3049"/>
                </a:lnTo>
                <a:lnTo>
                  <a:pt x="4391" y="3049"/>
                </a:lnTo>
                <a:lnTo>
                  <a:pt x="4391" y="3049"/>
                </a:lnTo>
                <a:lnTo>
                  <a:pt x="4391" y="3049"/>
                </a:lnTo>
                <a:lnTo>
                  <a:pt x="4391" y="3049"/>
                </a:lnTo>
                <a:lnTo>
                  <a:pt x="4391" y="3049"/>
                </a:lnTo>
                <a:lnTo>
                  <a:pt x="4391" y="3049"/>
                </a:lnTo>
                <a:lnTo>
                  <a:pt x="4391" y="3049"/>
                </a:lnTo>
                <a:lnTo>
                  <a:pt x="4391" y="3049"/>
                </a:lnTo>
                <a:close/>
                <a:moveTo>
                  <a:pt x="4308" y="3078"/>
                </a:moveTo>
                <a:lnTo>
                  <a:pt x="4308" y="3078"/>
                </a:lnTo>
                <a:lnTo>
                  <a:pt x="4308" y="3072"/>
                </a:lnTo>
                <a:lnTo>
                  <a:pt x="4308" y="3072"/>
                </a:lnTo>
                <a:lnTo>
                  <a:pt x="4308" y="3072"/>
                </a:lnTo>
                <a:lnTo>
                  <a:pt x="4308" y="3072"/>
                </a:lnTo>
                <a:lnTo>
                  <a:pt x="4302" y="3072"/>
                </a:lnTo>
                <a:lnTo>
                  <a:pt x="4302" y="3072"/>
                </a:lnTo>
                <a:lnTo>
                  <a:pt x="4302" y="3072"/>
                </a:lnTo>
                <a:lnTo>
                  <a:pt x="4302" y="3072"/>
                </a:lnTo>
                <a:lnTo>
                  <a:pt x="4302" y="3078"/>
                </a:lnTo>
                <a:lnTo>
                  <a:pt x="4302" y="3078"/>
                </a:lnTo>
                <a:lnTo>
                  <a:pt x="4302" y="3078"/>
                </a:lnTo>
                <a:lnTo>
                  <a:pt x="4302" y="3078"/>
                </a:lnTo>
                <a:lnTo>
                  <a:pt x="4302" y="3078"/>
                </a:lnTo>
                <a:lnTo>
                  <a:pt x="4302" y="3078"/>
                </a:lnTo>
                <a:lnTo>
                  <a:pt x="4308" y="3078"/>
                </a:lnTo>
                <a:lnTo>
                  <a:pt x="4308" y="3078"/>
                </a:lnTo>
                <a:lnTo>
                  <a:pt x="4308" y="3078"/>
                </a:lnTo>
                <a:lnTo>
                  <a:pt x="4308" y="3078"/>
                </a:lnTo>
                <a:lnTo>
                  <a:pt x="4308" y="3078"/>
                </a:lnTo>
                <a:lnTo>
                  <a:pt x="4308" y="3078"/>
                </a:lnTo>
                <a:lnTo>
                  <a:pt x="4308" y="3078"/>
                </a:lnTo>
                <a:lnTo>
                  <a:pt x="4308" y="3078"/>
                </a:lnTo>
                <a:lnTo>
                  <a:pt x="4308" y="3078"/>
                </a:lnTo>
                <a:lnTo>
                  <a:pt x="4308" y="3078"/>
                </a:lnTo>
                <a:lnTo>
                  <a:pt x="4308" y="3078"/>
                </a:lnTo>
                <a:close/>
                <a:moveTo>
                  <a:pt x="4320" y="3072"/>
                </a:moveTo>
                <a:lnTo>
                  <a:pt x="4320" y="3072"/>
                </a:lnTo>
                <a:lnTo>
                  <a:pt x="4320" y="3072"/>
                </a:lnTo>
                <a:lnTo>
                  <a:pt x="4320" y="3072"/>
                </a:lnTo>
                <a:lnTo>
                  <a:pt x="4320" y="3072"/>
                </a:lnTo>
                <a:lnTo>
                  <a:pt x="4320" y="3072"/>
                </a:lnTo>
                <a:lnTo>
                  <a:pt x="4326" y="3072"/>
                </a:lnTo>
                <a:lnTo>
                  <a:pt x="4326" y="3078"/>
                </a:lnTo>
                <a:lnTo>
                  <a:pt x="4326" y="3078"/>
                </a:lnTo>
                <a:lnTo>
                  <a:pt x="4326" y="3078"/>
                </a:lnTo>
                <a:lnTo>
                  <a:pt x="4326" y="3072"/>
                </a:lnTo>
                <a:lnTo>
                  <a:pt x="4320" y="3072"/>
                </a:lnTo>
                <a:close/>
                <a:moveTo>
                  <a:pt x="4320" y="3072"/>
                </a:moveTo>
                <a:lnTo>
                  <a:pt x="4314" y="3072"/>
                </a:lnTo>
                <a:lnTo>
                  <a:pt x="4314" y="3072"/>
                </a:lnTo>
                <a:lnTo>
                  <a:pt x="4314" y="3066"/>
                </a:lnTo>
                <a:lnTo>
                  <a:pt x="4314" y="3066"/>
                </a:lnTo>
                <a:lnTo>
                  <a:pt x="4314" y="3066"/>
                </a:lnTo>
                <a:lnTo>
                  <a:pt x="4314" y="3066"/>
                </a:lnTo>
                <a:lnTo>
                  <a:pt x="4314" y="3066"/>
                </a:lnTo>
                <a:lnTo>
                  <a:pt x="4320" y="3078"/>
                </a:lnTo>
                <a:lnTo>
                  <a:pt x="4320" y="3078"/>
                </a:lnTo>
                <a:lnTo>
                  <a:pt x="4320" y="3078"/>
                </a:lnTo>
                <a:lnTo>
                  <a:pt x="4320" y="3072"/>
                </a:lnTo>
                <a:lnTo>
                  <a:pt x="4320" y="3072"/>
                </a:lnTo>
                <a:close/>
                <a:moveTo>
                  <a:pt x="4284" y="3090"/>
                </a:moveTo>
                <a:lnTo>
                  <a:pt x="4284" y="3090"/>
                </a:lnTo>
                <a:lnTo>
                  <a:pt x="4284" y="3090"/>
                </a:lnTo>
                <a:lnTo>
                  <a:pt x="4284" y="3084"/>
                </a:lnTo>
                <a:lnTo>
                  <a:pt x="4278" y="3084"/>
                </a:lnTo>
                <a:lnTo>
                  <a:pt x="4278" y="3084"/>
                </a:lnTo>
                <a:lnTo>
                  <a:pt x="4278" y="3090"/>
                </a:lnTo>
                <a:lnTo>
                  <a:pt x="4278" y="3090"/>
                </a:lnTo>
                <a:lnTo>
                  <a:pt x="4278" y="3090"/>
                </a:lnTo>
                <a:lnTo>
                  <a:pt x="4278" y="3090"/>
                </a:lnTo>
                <a:lnTo>
                  <a:pt x="4278" y="3090"/>
                </a:lnTo>
                <a:lnTo>
                  <a:pt x="4273" y="3090"/>
                </a:lnTo>
                <a:lnTo>
                  <a:pt x="4273" y="3090"/>
                </a:lnTo>
                <a:lnTo>
                  <a:pt x="4273" y="3090"/>
                </a:lnTo>
                <a:lnTo>
                  <a:pt x="4278" y="3090"/>
                </a:lnTo>
                <a:lnTo>
                  <a:pt x="4278" y="3090"/>
                </a:lnTo>
                <a:lnTo>
                  <a:pt x="4278" y="3090"/>
                </a:lnTo>
                <a:lnTo>
                  <a:pt x="4278" y="3090"/>
                </a:lnTo>
                <a:lnTo>
                  <a:pt x="4278" y="3090"/>
                </a:lnTo>
                <a:lnTo>
                  <a:pt x="4278" y="3090"/>
                </a:lnTo>
                <a:lnTo>
                  <a:pt x="4278" y="3090"/>
                </a:lnTo>
                <a:lnTo>
                  <a:pt x="4278" y="3090"/>
                </a:lnTo>
                <a:lnTo>
                  <a:pt x="4278" y="3090"/>
                </a:lnTo>
                <a:lnTo>
                  <a:pt x="4278" y="3090"/>
                </a:lnTo>
                <a:lnTo>
                  <a:pt x="4278" y="3090"/>
                </a:lnTo>
                <a:lnTo>
                  <a:pt x="4278" y="3090"/>
                </a:lnTo>
                <a:lnTo>
                  <a:pt x="4278" y="3090"/>
                </a:lnTo>
                <a:lnTo>
                  <a:pt x="4278" y="3090"/>
                </a:lnTo>
                <a:lnTo>
                  <a:pt x="4284" y="3090"/>
                </a:lnTo>
                <a:lnTo>
                  <a:pt x="4284" y="3090"/>
                </a:lnTo>
                <a:lnTo>
                  <a:pt x="4284" y="3090"/>
                </a:lnTo>
                <a:lnTo>
                  <a:pt x="4284" y="3090"/>
                </a:lnTo>
                <a:lnTo>
                  <a:pt x="4284" y="3090"/>
                </a:lnTo>
                <a:close/>
                <a:moveTo>
                  <a:pt x="4290" y="3084"/>
                </a:moveTo>
                <a:lnTo>
                  <a:pt x="4290" y="3084"/>
                </a:lnTo>
                <a:lnTo>
                  <a:pt x="4290" y="3084"/>
                </a:lnTo>
                <a:lnTo>
                  <a:pt x="4284" y="3084"/>
                </a:lnTo>
                <a:lnTo>
                  <a:pt x="4284" y="3084"/>
                </a:lnTo>
                <a:lnTo>
                  <a:pt x="4284" y="3084"/>
                </a:lnTo>
                <a:lnTo>
                  <a:pt x="4284" y="3084"/>
                </a:lnTo>
                <a:lnTo>
                  <a:pt x="4284" y="3084"/>
                </a:lnTo>
                <a:lnTo>
                  <a:pt x="4284" y="3084"/>
                </a:lnTo>
                <a:lnTo>
                  <a:pt x="4284" y="3084"/>
                </a:lnTo>
                <a:lnTo>
                  <a:pt x="4284" y="3084"/>
                </a:lnTo>
                <a:lnTo>
                  <a:pt x="4284" y="3084"/>
                </a:lnTo>
                <a:lnTo>
                  <a:pt x="4284" y="3084"/>
                </a:lnTo>
                <a:lnTo>
                  <a:pt x="4284" y="3090"/>
                </a:lnTo>
                <a:lnTo>
                  <a:pt x="4284" y="3090"/>
                </a:lnTo>
                <a:lnTo>
                  <a:pt x="4284" y="3090"/>
                </a:lnTo>
                <a:lnTo>
                  <a:pt x="4284" y="3090"/>
                </a:lnTo>
                <a:lnTo>
                  <a:pt x="4284" y="3090"/>
                </a:lnTo>
                <a:lnTo>
                  <a:pt x="4290" y="3084"/>
                </a:lnTo>
                <a:lnTo>
                  <a:pt x="4290" y="3084"/>
                </a:lnTo>
                <a:lnTo>
                  <a:pt x="4290" y="3084"/>
                </a:lnTo>
                <a:close/>
                <a:moveTo>
                  <a:pt x="4243" y="3084"/>
                </a:moveTo>
                <a:lnTo>
                  <a:pt x="4243" y="3084"/>
                </a:lnTo>
                <a:lnTo>
                  <a:pt x="4243" y="3084"/>
                </a:lnTo>
                <a:lnTo>
                  <a:pt x="4243" y="3084"/>
                </a:lnTo>
                <a:lnTo>
                  <a:pt x="4243" y="3084"/>
                </a:lnTo>
                <a:lnTo>
                  <a:pt x="4243" y="3084"/>
                </a:lnTo>
                <a:lnTo>
                  <a:pt x="4243" y="3084"/>
                </a:lnTo>
                <a:lnTo>
                  <a:pt x="4243" y="3084"/>
                </a:lnTo>
                <a:lnTo>
                  <a:pt x="4243" y="3084"/>
                </a:lnTo>
                <a:lnTo>
                  <a:pt x="4243" y="3084"/>
                </a:lnTo>
                <a:lnTo>
                  <a:pt x="4243" y="3090"/>
                </a:lnTo>
                <a:lnTo>
                  <a:pt x="4243" y="3090"/>
                </a:lnTo>
                <a:lnTo>
                  <a:pt x="4243" y="3090"/>
                </a:lnTo>
                <a:lnTo>
                  <a:pt x="4243" y="3084"/>
                </a:lnTo>
                <a:lnTo>
                  <a:pt x="4243" y="3084"/>
                </a:lnTo>
                <a:lnTo>
                  <a:pt x="4243" y="3084"/>
                </a:lnTo>
                <a:close/>
                <a:moveTo>
                  <a:pt x="4302" y="3072"/>
                </a:moveTo>
                <a:lnTo>
                  <a:pt x="4302" y="3072"/>
                </a:lnTo>
                <a:lnTo>
                  <a:pt x="4302" y="3072"/>
                </a:lnTo>
                <a:lnTo>
                  <a:pt x="4302" y="3072"/>
                </a:lnTo>
                <a:lnTo>
                  <a:pt x="4302" y="3072"/>
                </a:lnTo>
                <a:lnTo>
                  <a:pt x="4302" y="3072"/>
                </a:lnTo>
                <a:lnTo>
                  <a:pt x="4302" y="3072"/>
                </a:lnTo>
                <a:lnTo>
                  <a:pt x="4296" y="3078"/>
                </a:lnTo>
                <a:lnTo>
                  <a:pt x="4302" y="3078"/>
                </a:lnTo>
                <a:lnTo>
                  <a:pt x="4302" y="3078"/>
                </a:lnTo>
                <a:lnTo>
                  <a:pt x="4302" y="3078"/>
                </a:lnTo>
                <a:lnTo>
                  <a:pt x="4302" y="3078"/>
                </a:lnTo>
                <a:lnTo>
                  <a:pt x="4302" y="3078"/>
                </a:lnTo>
                <a:lnTo>
                  <a:pt x="4302" y="3078"/>
                </a:lnTo>
                <a:lnTo>
                  <a:pt x="4302" y="3078"/>
                </a:lnTo>
                <a:lnTo>
                  <a:pt x="4302" y="3078"/>
                </a:lnTo>
                <a:lnTo>
                  <a:pt x="4302" y="3078"/>
                </a:lnTo>
                <a:lnTo>
                  <a:pt x="4302" y="3078"/>
                </a:lnTo>
                <a:lnTo>
                  <a:pt x="4302" y="3084"/>
                </a:lnTo>
                <a:lnTo>
                  <a:pt x="4302" y="3084"/>
                </a:lnTo>
                <a:lnTo>
                  <a:pt x="4302" y="3078"/>
                </a:lnTo>
                <a:lnTo>
                  <a:pt x="4302" y="3078"/>
                </a:lnTo>
                <a:lnTo>
                  <a:pt x="4296" y="3078"/>
                </a:lnTo>
                <a:lnTo>
                  <a:pt x="4296" y="3078"/>
                </a:lnTo>
                <a:lnTo>
                  <a:pt x="4296" y="3078"/>
                </a:lnTo>
                <a:lnTo>
                  <a:pt x="4302" y="3078"/>
                </a:lnTo>
                <a:lnTo>
                  <a:pt x="4302" y="3078"/>
                </a:lnTo>
                <a:lnTo>
                  <a:pt x="4302" y="3084"/>
                </a:lnTo>
                <a:lnTo>
                  <a:pt x="4302" y="3084"/>
                </a:lnTo>
                <a:lnTo>
                  <a:pt x="4296" y="3084"/>
                </a:lnTo>
                <a:lnTo>
                  <a:pt x="4296" y="3084"/>
                </a:lnTo>
                <a:lnTo>
                  <a:pt x="4296" y="3084"/>
                </a:lnTo>
                <a:lnTo>
                  <a:pt x="4296" y="3084"/>
                </a:lnTo>
                <a:lnTo>
                  <a:pt x="4296" y="3084"/>
                </a:lnTo>
                <a:lnTo>
                  <a:pt x="4296" y="3084"/>
                </a:lnTo>
                <a:lnTo>
                  <a:pt x="4296" y="3084"/>
                </a:lnTo>
                <a:lnTo>
                  <a:pt x="4290" y="3084"/>
                </a:lnTo>
                <a:lnTo>
                  <a:pt x="4290" y="3084"/>
                </a:lnTo>
                <a:lnTo>
                  <a:pt x="4296" y="3084"/>
                </a:lnTo>
                <a:lnTo>
                  <a:pt x="4302" y="3084"/>
                </a:lnTo>
                <a:lnTo>
                  <a:pt x="4302" y="3084"/>
                </a:lnTo>
                <a:lnTo>
                  <a:pt x="4302" y="3078"/>
                </a:lnTo>
                <a:lnTo>
                  <a:pt x="4302" y="3078"/>
                </a:lnTo>
                <a:lnTo>
                  <a:pt x="4302" y="3078"/>
                </a:lnTo>
                <a:lnTo>
                  <a:pt x="4302" y="3072"/>
                </a:lnTo>
                <a:close/>
                <a:moveTo>
                  <a:pt x="4350" y="3007"/>
                </a:moveTo>
                <a:lnTo>
                  <a:pt x="4350" y="3013"/>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close/>
                <a:moveTo>
                  <a:pt x="4433" y="2983"/>
                </a:moveTo>
                <a:lnTo>
                  <a:pt x="4433" y="2989"/>
                </a:lnTo>
                <a:lnTo>
                  <a:pt x="4433" y="2989"/>
                </a:lnTo>
                <a:lnTo>
                  <a:pt x="4433" y="2995"/>
                </a:lnTo>
                <a:lnTo>
                  <a:pt x="4433" y="2995"/>
                </a:lnTo>
                <a:lnTo>
                  <a:pt x="4433" y="2995"/>
                </a:lnTo>
                <a:lnTo>
                  <a:pt x="4433" y="2995"/>
                </a:lnTo>
                <a:lnTo>
                  <a:pt x="4433" y="2995"/>
                </a:lnTo>
                <a:lnTo>
                  <a:pt x="4433" y="2995"/>
                </a:lnTo>
                <a:lnTo>
                  <a:pt x="4433" y="2995"/>
                </a:lnTo>
                <a:lnTo>
                  <a:pt x="4433" y="2995"/>
                </a:lnTo>
                <a:lnTo>
                  <a:pt x="4433" y="2995"/>
                </a:lnTo>
                <a:lnTo>
                  <a:pt x="4433" y="2989"/>
                </a:lnTo>
                <a:lnTo>
                  <a:pt x="4438" y="2989"/>
                </a:lnTo>
                <a:lnTo>
                  <a:pt x="4438" y="2989"/>
                </a:lnTo>
                <a:lnTo>
                  <a:pt x="4438" y="2989"/>
                </a:lnTo>
                <a:lnTo>
                  <a:pt x="4438" y="2989"/>
                </a:lnTo>
                <a:lnTo>
                  <a:pt x="4438" y="2989"/>
                </a:lnTo>
                <a:lnTo>
                  <a:pt x="4438" y="2983"/>
                </a:lnTo>
                <a:lnTo>
                  <a:pt x="4438" y="2983"/>
                </a:lnTo>
                <a:lnTo>
                  <a:pt x="4433" y="2983"/>
                </a:lnTo>
                <a:close/>
                <a:moveTo>
                  <a:pt x="4438" y="2960"/>
                </a:moveTo>
                <a:lnTo>
                  <a:pt x="4438" y="2960"/>
                </a:lnTo>
                <a:lnTo>
                  <a:pt x="4438" y="2960"/>
                </a:lnTo>
                <a:lnTo>
                  <a:pt x="4438" y="2960"/>
                </a:lnTo>
                <a:lnTo>
                  <a:pt x="4438" y="2960"/>
                </a:lnTo>
                <a:lnTo>
                  <a:pt x="4438" y="2960"/>
                </a:lnTo>
                <a:lnTo>
                  <a:pt x="4438" y="2960"/>
                </a:lnTo>
                <a:lnTo>
                  <a:pt x="4438" y="2960"/>
                </a:lnTo>
                <a:lnTo>
                  <a:pt x="4438" y="2960"/>
                </a:lnTo>
                <a:lnTo>
                  <a:pt x="4438" y="2966"/>
                </a:lnTo>
                <a:lnTo>
                  <a:pt x="4438" y="2966"/>
                </a:lnTo>
                <a:lnTo>
                  <a:pt x="4438" y="2966"/>
                </a:lnTo>
                <a:lnTo>
                  <a:pt x="4438" y="2966"/>
                </a:lnTo>
                <a:lnTo>
                  <a:pt x="4438" y="2966"/>
                </a:lnTo>
                <a:lnTo>
                  <a:pt x="4438" y="2966"/>
                </a:lnTo>
                <a:lnTo>
                  <a:pt x="4438" y="2966"/>
                </a:lnTo>
                <a:lnTo>
                  <a:pt x="4438" y="2966"/>
                </a:lnTo>
                <a:lnTo>
                  <a:pt x="4438" y="2966"/>
                </a:lnTo>
                <a:lnTo>
                  <a:pt x="4438" y="2966"/>
                </a:lnTo>
                <a:lnTo>
                  <a:pt x="4438" y="2966"/>
                </a:lnTo>
                <a:lnTo>
                  <a:pt x="4438" y="2966"/>
                </a:lnTo>
                <a:lnTo>
                  <a:pt x="4438" y="2960"/>
                </a:lnTo>
                <a:lnTo>
                  <a:pt x="4438" y="2960"/>
                </a:lnTo>
                <a:lnTo>
                  <a:pt x="4438" y="2960"/>
                </a:lnTo>
                <a:close/>
                <a:moveTo>
                  <a:pt x="4314" y="2954"/>
                </a:moveTo>
                <a:lnTo>
                  <a:pt x="4314" y="2954"/>
                </a:lnTo>
                <a:lnTo>
                  <a:pt x="4314" y="2954"/>
                </a:lnTo>
                <a:lnTo>
                  <a:pt x="4314" y="2954"/>
                </a:lnTo>
                <a:lnTo>
                  <a:pt x="4314" y="2954"/>
                </a:lnTo>
                <a:lnTo>
                  <a:pt x="4314" y="2954"/>
                </a:lnTo>
                <a:lnTo>
                  <a:pt x="4314" y="2954"/>
                </a:lnTo>
                <a:lnTo>
                  <a:pt x="4314" y="2954"/>
                </a:lnTo>
                <a:lnTo>
                  <a:pt x="4314" y="2954"/>
                </a:lnTo>
                <a:lnTo>
                  <a:pt x="4314" y="2954"/>
                </a:lnTo>
                <a:lnTo>
                  <a:pt x="4320" y="2954"/>
                </a:lnTo>
                <a:lnTo>
                  <a:pt x="4320" y="2954"/>
                </a:lnTo>
                <a:lnTo>
                  <a:pt x="4320" y="2954"/>
                </a:lnTo>
                <a:lnTo>
                  <a:pt x="4320" y="2948"/>
                </a:lnTo>
                <a:lnTo>
                  <a:pt x="4320" y="2948"/>
                </a:lnTo>
                <a:lnTo>
                  <a:pt x="4320" y="2948"/>
                </a:lnTo>
                <a:lnTo>
                  <a:pt x="4320" y="2948"/>
                </a:lnTo>
                <a:lnTo>
                  <a:pt x="4314" y="2948"/>
                </a:lnTo>
                <a:lnTo>
                  <a:pt x="4314" y="2948"/>
                </a:lnTo>
                <a:lnTo>
                  <a:pt x="4314" y="2948"/>
                </a:lnTo>
                <a:lnTo>
                  <a:pt x="4314" y="2948"/>
                </a:lnTo>
                <a:lnTo>
                  <a:pt x="4314" y="2948"/>
                </a:lnTo>
                <a:lnTo>
                  <a:pt x="4314" y="2948"/>
                </a:lnTo>
                <a:lnTo>
                  <a:pt x="4314" y="2948"/>
                </a:lnTo>
                <a:lnTo>
                  <a:pt x="4314" y="2948"/>
                </a:lnTo>
                <a:lnTo>
                  <a:pt x="4314" y="2948"/>
                </a:lnTo>
                <a:lnTo>
                  <a:pt x="4314" y="2948"/>
                </a:lnTo>
                <a:lnTo>
                  <a:pt x="4314" y="2954"/>
                </a:lnTo>
                <a:lnTo>
                  <a:pt x="4314" y="2954"/>
                </a:lnTo>
                <a:lnTo>
                  <a:pt x="4314" y="2954"/>
                </a:lnTo>
                <a:lnTo>
                  <a:pt x="4314" y="2954"/>
                </a:lnTo>
                <a:close/>
                <a:moveTo>
                  <a:pt x="4308" y="2948"/>
                </a:moveTo>
                <a:lnTo>
                  <a:pt x="4308" y="2948"/>
                </a:lnTo>
                <a:lnTo>
                  <a:pt x="4308" y="2948"/>
                </a:lnTo>
                <a:lnTo>
                  <a:pt x="4308" y="2948"/>
                </a:lnTo>
                <a:lnTo>
                  <a:pt x="4308" y="2948"/>
                </a:lnTo>
                <a:lnTo>
                  <a:pt x="4308" y="2948"/>
                </a:lnTo>
                <a:lnTo>
                  <a:pt x="4308" y="2948"/>
                </a:lnTo>
                <a:lnTo>
                  <a:pt x="4308" y="2948"/>
                </a:lnTo>
                <a:lnTo>
                  <a:pt x="4308" y="2948"/>
                </a:lnTo>
                <a:lnTo>
                  <a:pt x="4308" y="2942"/>
                </a:lnTo>
                <a:lnTo>
                  <a:pt x="4308" y="2942"/>
                </a:lnTo>
                <a:lnTo>
                  <a:pt x="4308" y="2942"/>
                </a:lnTo>
                <a:lnTo>
                  <a:pt x="4308" y="2942"/>
                </a:lnTo>
                <a:lnTo>
                  <a:pt x="4308" y="2942"/>
                </a:lnTo>
                <a:lnTo>
                  <a:pt x="4308" y="2942"/>
                </a:lnTo>
                <a:lnTo>
                  <a:pt x="4308" y="2942"/>
                </a:lnTo>
                <a:lnTo>
                  <a:pt x="4302" y="2948"/>
                </a:lnTo>
                <a:lnTo>
                  <a:pt x="4302" y="2948"/>
                </a:lnTo>
                <a:lnTo>
                  <a:pt x="4302" y="2948"/>
                </a:lnTo>
                <a:lnTo>
                  <a:pt x="4302" y="2948"/>
                </a:lnTo>
                <a:lnTo>
                  <a:pt x="4302" y="2948"/>
                </a:lnTo>
                <a:lnTo>
                  <a:pt x="4302" y="2948"/>
                </a:lnTo>
                <a:lnTo>
                  <a:pt x="4302" y="2948"/>
                </a:lnTo>
                <a:lnTo>
                  <a:pt x="4302" y="2948"/>
                </a:lnTo>
                <a:lnTo>
                  <a:pt x="4302" y="2948"/>
                </a:lnTo>
                <a:lnTo>
                  <a:pt x="4302" y="2948"/>
                </a:lnTo>
                <a:lnTo>
                  <a:pt x="4302" y="2948"/>
                </a:lnTo>
                <a:lnTo>
                  <a:pt x="4302" y="2948"/>
                </a:lnTo>
                <a:lnTo>
                  <a:pt x="4302" y="2948"/>
                </a:lnTo>
                <a:lnTo>
                  <a:pt x="4308" y="2948"/>
                </a:lnTo>
                <a:lnTo>
                  <a:pt x="4308" y="2948"/>
                </a:lnTo>
                <a:lnTo>
                  <a:pt x="4308" y="2948"/>
                </a:lnTo>
                <a:lnTo>
                  <a:pt x="4308" y="2948"/>
                </a:lnTo>
                <a:lnTo>
                  <a:pt x="4308" y="2948"/>
                </a:lnTo>
                <a:lnTo>
                  <a:pt x="4308" y="2948"/>
                </a:lnTo>
                <a:lnTo>
                  <a:pt x="4308" y="2948"/>
                </a:lnTo>
                <a:lnTo>
                  <a:pt x="4308" y="2948"/>
                </a:lnTo>
                <a:lnTo>
                  <a:pt x="4308" y="2948"/>
                </a:lnTo>
                <a:close/>
                <a:moveTo>
                  <a:pt x="4302" y="2942"/>
                </a:moveTo>
                <a:lnTo>
                  <a:pt x="4302" y="2942"/>
                </a:lnTo>
                <a:lnTo>
                  <a:pt x="4302" y="2942"/>
                </a:lnTo>
                <a:lnTo>
                  <a:pt x="4302" y="2942"/>
                </a:lnTo>
                <a:lnTo>
                  <a:pt x="4302" y="2942"/>
                </a:lnTo>
                <a:lnTo>
                  <a:pt x="4302" y="2942"/>
                </a:lnTo>
                <a:lnTo>
                  <a:pt x="4302" y="2942"/>
                </a:lnTo>
                <a:lnTo>
                  <a:pt x="4302" y="2942"/>
                </a:lnTo>
                <a:lnTo>
                  <a:pt x="4302" y="2942"/>
                </a:lnTo>
                <a:lnTo>
                  <a:pt x="4302" y="2942"/>
                </a:lnTo>
                <a:lnTo>
                  <a:pt x="4302" y="2942"/>
                </a:lnTo>
                <a:lnTo>
                  <a:pt x="4302" y="2942"/>
                </a:lnTo>
                <a:lnTo>
                  <a:pt x="4302" y="2942"/>
                </a:lnTo>
                <a:lnTo>
                  <a:pt x="4302" y="2948"/>
                </a:lnTo>
                <a:lnTo>
                  <a:pt x="4302" y="2948"/>
                </a:lnTo>
                <a:lnTo>
                  <a:pt x="4302" y="2948"/>
                </a:lnTo>
                <a:lnTo>
                  <a:pt x="4302" y="2948"/>
                </a:lnTo>
                <a:lnTo>
                  <a:pt x="4302" y="2942"/>
                </a:lnTo>
                <a:lnTo>
                  <a:pt x="4302" y="2942"/>
                </a:lnTo>
                <a:lnTo>
                  <a:pt x="4302" y="2942"/>
                </a:lnTo>
                <a:lnTo>
                  <a:pt x="4302" y="2942"/>
                </a:lnTo>
                <a:lnTo>
                  <a:pt x="4302" y="2942"/>
                </a:lnTo>
                <a:lnTo>
                  <a:pt x="4302" y="2942"/>
                </a:lnTo>
                <a:lnTo>
                  <a:pt x="4302" y="2942"/>
                </a:lnTo>
                <a:lnTo>
                  <a:pt x="4302" y="2942"/>
                </a:lnTo>
                <a:lnTo>
                  <a:pt x="4302" y="2942"/>
                </a:lnTo>
                <a:close/>
                <a:moveTo>
                  <a:pt x="4284" y="2942"/>
                </a:moveTo>
                <a:lnTo>
                  <a:pt x="4284" y="2942"/>
                </a:lnTo>
                <a:lnTo>
                  <a:pt x="4284" y="2942"/>
                </a:lnTo>
                <a:lnTo>
                  <a:pt x="4284" y="2948"/>
                </a:lnTo>
                <a:lnTo>
                  <a:pt x="4284" y="2948"/>
                </a:lnTo>
                <a:lnTo>
                  <a:pt x="4290" y="2948"/>
                </a:lnTo>
                <a:lnTo>
                  <a:pt x="4290" y="2942"/>
                </a:lnTo>
                <a:lnTo>
                  <a:pt x="4290" y="2942"/>
                </a:lnTo>
                <a:lnTo>
                  <a:pt x="4290" y="2942"/>
                </a:lnTo>
                <a:lnTo>
                  <a:pt x="4290" y="2942"/>
                </a:lnTo>
                <a:lnTo>
                  <a:pt x="4290" y="2942"/>
                </a:lnTo>
                <a:lnTo>
                  <a:pt x="4284" y="2942"/>
                </a:lnTo>
                <a:lnTo>
                  <a:pt x="4284" y="2942"/>
                </a:lnTo>
                <a:lnTo>
                  <a:pt x="4284" y="2942"/>
                </a:lnTo>
                <a:lnTo>
                  <a:pt x="4284" y="2942"/>
                </a:lnTo>
                <a:lnTo>
                  <a:pt x="4284" y="2942"/>
                </a:lnTo>
                <a:lnTo>
                  <a:pt x="4284" y="2942"/>
                </a:lnTo>
                <a:lnTo>
                  <a:pt x="4284" y="2942"/>
                </a:lnTo>
                <a:close/>
                <a:moveTo>
                  <a:pt x="4249" y="2877"/>
                </a:moveTo>
                <a:lnTo>
                  <a:pt x="4249" y="2877"/>
                </a:lnTo>
                <a:lnTo>
                  <a:pt x="4249" y="2877"/>
                </a:lnTo>
                <a:lnTo>
                  <a:pt x="4249" y="2877"/>
                </a:lnTo>
                <a:lnTo>
                  <a:pt x="4243" y="2877"/>
                </a:lnTo>
                <a:lnTo>
                  <a:pt x="4243" y="2877"/>
                </a:lnTo>
                <a:lnTo>
                  <a:pt x="4243" y="2877"/>
                </a:lnTo>
                <a:lnTo>
                  <a:pt x="4237" y="2877"/>
                </a:lnTo>
                <a:lnTo>
                  <a:pt x="4237" y="2877"/>
                </a:lnTo>
                <a:lnTo>
                  <a:pt x="4237" y="2871"/>
                </a:lnTo>
                <a:lnTo>
                  <a:pt x="4237" y="2871"/>
                </a:lnTo>
                <a:lnTo>
                  <a:pt x="4237" y="2871"/>
                </a:lnTo>
                <a:lnTo>
                  <a:pt x="4237" y="2871"/>
                </a:lnTo>
                <a:lnTo>
                  <a:pt x="4237" y="2871"/>
                </a:lnTo>
                <a:lnTo>
                  <a:pt x="4237" y="2871"/>
                </a:lnTo>
                <a:lnTo>
                  <a:pt x="4237" y="2871"/>
                </a:lnTo>
                <a:lnTo>
                  <a:pt x="4237" y="2871"/>
                </a:lnTo>
                <a:lnTo>
                  <a:pt x="4237" y="2871"/>
                </a:lnTo>
                <a:lnTo>
                  <a:pt x="4237" y="2871"/>
                </a:lnTo>
                <a:lnTo>
                  <a:pt x="4237" y="2877"/>
                </a:lnTo>
                <a:lnTo>
                  <a:pt x="4237" y="2877"/>
                </a:lnTo>
                <a:lnTo>
                  <a:pt x="4237" y="2877"/>
                </a:lnTo>
                <a:lnTo>
                  <a:pt x="4237" y="2877"/>
                </a:lnTo>
                <a:lnTo>
                  <a:pt x="4237" y="2877"/>
                </a:lnTo>
                <a:lnTo>
                  <a:pt x="4237" y="2877"/>
                </a:lnTo>
                <a:lnTo>
                  <a:pt x="4237" y="2877"/>
                </a:lnTo>
                <a:lnTo>
                  <a:pt x="4243" y="2882"/>
                </a:lnTo>
                <a:lnTo>
                  <a:pt x="4249" y="2882"/>
                </a:lnTo>
                <a:lnTo>
                  <a:pt x="4249" y="2882"/>
                </a:lnTo>
                <a:lnTo>
                  <a:pt x="4249" y="2882"/>
                </a:lnTo>
                <a:lnTo>
                  <a:pt x="4255" y="2882"/>
                </a:lnTo>
                <a:lnTo>
                  <a:pt x="4249" y="2877"/>
                </a:lnTo>
                <a:lnTo>
                  <a:pt x="4249" y="2877"/>
                </a:lnTo>
                <a:close/>
                <a:moveTo>
                  <a:pt x="4243" y="2853"/>
                </a:moveTo>
                <a:lnTo>
                  <a:pt x="4243" y="2853"/>
                </a:lnTo>
                <a:lnTo>
                  <a:pt x="4243" y="2853"/>
                </a:lnTo>
                <a:lnTo>
                  <a:pt x="4243" y="2853"/>
                </a:lnTo>
                <a:lnTo>
                  <a:pt x="4237" y="2853"/>
                </a:lnTo>
                <a:lnTo>
                  <a:pt x="4237" y="2853"/>
                </a:lnTo>
                <a:lnTo>
                  <a:pt x="4237" y="2853"/>
                </a:lnTo>
                <a:lnTo>
                  <a:pt x="4243" y="2859"/>
                </a:lnTo>
                <a:lnTo>
                  <a:pt x="4243" y="2865"/>
                </a:lnTo>
                <a:lnTo>
                  <a:pt x="4243" y="2865"/>
                </a:lnTo>
                <a:lnTo>
                  <a:pt x="4243" y="2865"/>
                </a:lnTo>
                <a:lnTo>
                  <a:pt x="4243" y="2865"/>
                </a:lnTo>
                <a:lnTo>
                  <a:pt x="4243" y="2871"/>
                </a:lnTo>
                <a:lnTo>
                  <a:pt x="4243" y="2871"/>
                </a:lnTo>
                <a:lnTo>
                  <a:pt x="4249" y="2877"/>
                </a:lnTo>
                <a:lnTo>
                  <a:pt x="4249" y="2877"/>
                </a:lnTo>
                <a:lnTo>
                  <a:pt x="4249" y="2877"/>
                </a:lnTo>
                <a:lnTo>
                  <a:pt x="4249" y="2871"/>
                </a:lnTo>
                <a:lnTo>
                  <a:pt x="4249" y="2865"/>
                </a:lnTo>
                <a:lnTo>
                  <a:pt x="4249" y="2865"/>
                </a:lnTo>
                <a:lnTo>
                  <a:pt x="4243" y="2865"/>
                </a:lnTo>
                <a:lnTo>
                  <a:pt x="4243" y="2859"/>
                </a:lnTo>
                <a:lnTo>
                  <a:pt x="4243" y="2859"/>
                </a:lnTo>
                <a:lnTo>
                  <a:pt x="4243" y="2853"/>
                </a:lnTo>
                <a:close/>
                <a:moveTo>
                  <a:pt x="4231" y="2853"/>
                </a:moveTo>
                <a:lnTo>
                  <a:pt x="4231" y="2853"/>
                </a:lnTo>
                <a:lnTo>
                  <a:pt x="4231" y="2853"/>
                </a:lnTo>
                <a:lnTo>
                  <a:pt x="4231" y="2853"/>
                </a:lnTo>
                <a:lnTo>
                  <a:pt x="4231" y="2853"/>
                </a:lnTo>
                <a:lnTo>
                  <a:pt x="4231" y="2853"/>
                </a:lnTo>
                <a:lnTo>
                  <a:pt x="4231" y="2853"/>
                </a:lnTo>
                <a:lnTo>
                  <a:pt x="4231" y="2853"/>
                </a:lnTo>
                <a:lnTo>
                  <a:pt x="4231" y="2859"/>
                </a:lnTo>
                <a:lnTo>
                  <a:pt x="4231" y="2859"/>
                </a:lnTo>
                <a:lnTo>
                  <a:pt x="4231" y="2859"/>
                </a:lnTo>
                <a:lnTo>
                  <a:pt x="4231" y="2859"/>
                </a:lnTo>
                <a:lnTo>
                  <a:pt x="4231" y="2865"/>
                </a:lnTo>
                <a:lnTo>
                  <a:pt x="4231" y="2859"/>
                </a:lnTo>
                <a:lnTo>
                  <a:pt x="4231" y="2853"/>
                </a:lnTo>
                <a:close/>
                <a:moveTo>
                  <a:pt x="4231" y="2847"/>
                </a:moveTo>
                <a:lnTo>
                  <a:pt x="4231" y="2847"/>
                </a:lnTo>
                <a:lnTo>
                  <a:pt x="4231" y="2841"/>
                </a:lnTo>
                <a:lnTo>
                  <a:pt x="4231" y="2841"/>
                </a:lnTo>
                <a:lnTo>
                  <a:pt x="4231" y="2841"/>
                </a:lnTo>
                <a:lnTo>
                  <a:pt x="4225" y="2841"/>
                </a:lnTo>
                <a:lnTo>
                  <a:pt x="4225" y="2841"/>
                </a:lnTo>
                <a:lnTo>
                  <a:pt x="4231" y="2841"/>
                </a:lnTo>
                <a:lnTo>
                  <a:pt x="4231" y="2847"/>
                </a:lnTo>
                <a:lnTo>
                  <a:pt x="4231" y="2847"/>
                </a:lnTo>
                <a:lnTo>
                  <a:pt x="4231" y="2853"/>
                </a:lnTo>
                <a:lnTo>
                  <a:pt x="4231" y="2847"/>
                </a:lnTo>
                <a:lnTo>
                  <a:pt x="4231" y="2847"/>
                </a:lnTo>
                <a:close/>
                <a:moveTo>
                  <a:pt x="4391" y="2681"/>
                </a:moveTo>
                <a:lnTo>
                  <a:pt x="4391" y="2687"/>
                </a:lnTo>
                <a:lnTo>
                  <a:pt x="4391" y="2687"/>
                </a:lnTo>
                <a:lnTo>
                  <a:pt x="4391" y="2687"/>
                </a:lnTo>
                <a:lnTo>
                  <a:pt x="4391" y="2687"/>
                </a:lnTo>
                <a:lnTo>
                  <a:pt x="4391" y="2687"/>
                </a:lnTo>
                <a:lnTo>
                  <a:pt x="4391" y="2687"/>
                </a:lnTo>
                <a:lnTo>
                  <a:pt x="4391" y="2681"/>
                </a:lnTo>
                <a:lnTo>
                  <a:pt x="4391" y="2681"/>
                </a:lnTo>
                <a:close/>
                <a:moveTo>
                  <a:pt x="4190" y="2627"/>
                </a:moveTo>
                <a:lnTo>
                  <a:pt x="4190" y="2627"/>
                </a:lnTo>
                <a:lnTo>
                  <a:pt x="4190" y="2627"/>
                </a:lnTo>
                <a:lnTo>
                  <a:pt x="4190" y="2627"/>
                </a:lnTo>
                <a:lnTo>
                  <a:pt x="4190" y="2627"/>
                </a:lnTo>
                <a:lnTo>
                  <a:pt x="4190" y="2622"/>
                </a:lnTo>
                <a:lnTo>
                  <a:pt x="4190" y="2622"/>
                </a:lnTo>
                <a:lnTo>
                  <a:pt x="4190" y="2622"/>
                </a:lnTo>
                <a:lnTo>
                  <a:pt x="4190" y="2622"/>
                </a:lnTo>
                <a:lnTo>
                  <a:pt x="4190" y="2622"/>
                </a:lnTo>
                <a:lnTo>
                  <a:pt x="4190" y="2622"/>
                </a:lnTo>
                <a:lnTo>
                  <a:pt x="4190" y="2622"/>
                </a:lnTo>
                <a:lnTo>
                  <a:pt x="4190" y="2622"/>
                </a:lnTo>
                <a:lnTo>
                  <a:pt x="4190" y="2622"/>
                </a:lnTo>
                <a:lnTo>
                  <a:pt x="4190" y="2622"/>
                </a:lnTo>
                <a:lnTo>
                  <a:pt x="4190" y="2622"/>
                </a:lnTo>
                <a:lnTo>
                  <a:pt x="4190" y="2622"/>
                </a:lnTo>
                <a:lnTo>
                  <a:pt x="4190" y="2622"/>
                </a:lnTo>
                <a:lnTo>
                  <a:pt x="4190" y="2622"/>
                </a:lnTo>
                <a:lnTo>
                  <a:pt x="4184" y="2622"/>
                </a:lnTo>
                <a:lnTo>
                  <a:pt x="4184" y="2622"/>
                </a:lnTo>
                <a:lnTo>
                  <a:pt x="4184" y="2622"/>
                </a:lnTo>
                <a:lnTo>
                  <a:pt x="4190" y="2622"/>
                </a:lnTo>
                <a:lnTo>
                  <a:pt x="4190" y="2627"/>
                </a:lnTo>
                <a:lnTo>
                  <a:pt x="4190" y="2627"/>
                </a:lnTo>
                <a:lnTo>
                  <a:pt x="4190" y="2627"/>
                </a:lnTo>
                <a:close/>
                <a:moveTo>
                  <a:pt x="4190" y="2616"/>
                </a:moveTo>
                <a:lnTo>
                  <a:pt x="4190" y="2616"/>
                </a:lnTo>
                <a:lnTo>
                  <a:pt x="4190" y="2616"/>
                </a:lnTo>
                <a:lnTo>
                  <a:pt x="4190" y="2616"/>
                </a:lnTo>
                <a:lnTo>
                  <a:pt x="4184" y="2616"/>
                </a:lnTo>
                <a:lnTo>
                  <a:pt x="4184" y="2616"/>
                </a:lnTo>
                <a:lnTo>
                  <a:pt x="4184" y="2616"/>
                </a:lnTo>
                <a:lnTo>
                  <a:pt x="4190" y="2616"/>
                </a:lnTo>
                <a:lnTo>
                  <a:pt x="4190" y="2616"/>
                </a:lnTo>
                <a:lnTo>
                  <a:pt x="4190" y="2622"/>
                </a:lnTo>
                <a:lnTo>
                  <a:pt x="4190" y="2622"/>
                </a:lnTo>
                <a:lnTo>
                  <a:pt x="4190" y="2622"/>
                </a:lnTo>
                <a:lnTo>
                  <a:pt x="4190" y="2622"/>
                </a:lnTo>
                <a:lnTo>
                  <a:pt x="4184" y="2622"/>
                </a:lnTo>
                <a:lnTo>
                  <a:pt x="4184" y="2622"/>
                </a:lnTo>
                <a:lnTo>
                  <a:pt x="4184" y="2622"/>
                </a:lnTo>
                <a:lnTo>
                  <a:pt x="4184" y="2622"/>
                </a:lnTo>
                <a:lnTo>
                  <a:pt x="4190" y="2622"/>
                </a:lnTo>
                <a:lnTo>
                  <a:pt x="4190" y="2622"/>
                </a:lnTo>
                <a:lnTo>
                  <a:pt x="4190" y="2622"/>
                </a:lnTo>
                <a:lnTo>
                  <a:pt x="4190" y="2622"/>
                </a:lnTo>
                <a:lnTo>
                  <a:pt x="4190" y="2622"/>
                </a:lnTo>
                <a:lnTo>
                  <a:pt x="4190" y="2616"/>
                </a:lnTo>
                <a:lnTo>
                  <a:pt x="4190" y="2616"/>
                </a:lnTo>
                <a:lnTo>
                  <a:pt x="4190" y="2616"/>
                </a:lnTo>
                <a:close/>
                <a:moveTo>
                  <a:pt x="4397" y="2639"/>
                </a:moveTo>
                <a:lnTo>
                  <a:pt x="4391" y="2639"/>
                </a:lnTo>
                <a:lnTo>
                  <a:pt x="4391" y="2639"/>
                </a:lnTo>
                <a:lnTo>
                  <a:pt x="4391" y="2639"/>
                </a:lnTo>
                <a:lnTo>
                  <a:pt x="4385" y="2639"/>
                </a:lnTo>
                <a:lnTo>
                  <a:pt x="4385" y="2639"/>
                </a:lnTo>
                <a:lnTo>
                  <a:pt x="4385" y="2639"/>
                </a:lnTo>
                <a:lnTo>
                  <a:pt x="4385" y="2645"/>
                </a:lnTo>
                <a:lnTo>
                  <a:pt x="4385" y="2645"/>
                </a:lnTo>
                <a:lnTo>
                  <a:pt x="4385" y="2645"/>
                </a:lnTo>
                <a:lnTo>
                  <a:pt x="4379" y="2645"/>
                </a:lnTo>
                <a:lnTo>
                  <a:pt x="4379" y="2645"/>
                </a:lnTo>
                <a:lnTo>
                  <a:pt x="4379" y="2651"/>
                </a:lnTo>
                <a:lnTo>
                  <a:pt x="4385" y="2651"/>
                </a:lnTo>
                <a:lnTo>
                  <a:pt x="4385" y="2663"/>
                </a:lnTo>
                <a:lnTo>
                  <a:pt x="4385" y="2663"/>
                </a:lnTo>
                <a:lnTo>
                  <a:pt x="4385" y="2669"/>
                </a:lnTo>
                <a:lnTo>
                  <a:pt x="4391" y="2675"/>
                </a:lnTo>
                <a:lnTo>
                  <a:pt x="4391" y="2681"/>
                </a:lnTo>
                <a:lnTo>
                  <a:pt x="4391" y="2681"/>
                </a:lnTo>
                <a:lnTo>
                  <a:pt x="4391" y="2681"/>
                </a:lnTo>
                <a:lnTo>
                  <a:pt x="4391" y="2675"/>
                </a:lnTo>
                <a:lnTo>
                  <a:pt x="4391" y="2675"/>
                </a:lnTo>
                <a:lnTo>
                  <a:pt x="4391" y="2675"/>
                </a:lnTo>
                <a:lnTo>
                  <a:pt x="4391" y="2675"/>
                </a:lnTo>
                <a:lnTo>
                  <a:pt x="4391" y="2675"/>
                </a:lnTo>
                <a:lnTo>
                  <a:pt x="4391" y="2669"/>
                </a:lnTo>
                <a:lnTo>
                  <a:pt x="4391" y="2669"/>
                </a:lnTo>
                <a:lnTo>
                  <a:pt x="4391" y="2657"/>
                </a:lnTo>
                <a:lnTo>
                  <a:pt x="4391" y="2651"/>
                </a:lnTo>
                <a:lnTo>
                  <a:pt x="4391" y="2651"/>
                </a:lnTo>
                <a:lnTo>
                  <a:pt x="4391" y="2651"/>
                </a:lnTo>
                <a:lnTo>
                  <a:pt x="4391" y="2645"/>
                </a:lnTo>
                <a:lnTo>
                  <a:pt x="4397" y="2639"/>
                </a:lnTo>
                <a:close/>
                <a:moveTo>
                  <a:pt x="4195" y="2782"/>
                </a:moveTo>
                <a:lnTo>
                  <a:pt x="4195" y="2776"/>
                </a:lnTo>
                <a:lnTo>
                  <a:pt x="4195" y="2776"/>
                </a:lnTo>
                <a:lnTo>
                  <a:pt x="4190" y="2770"/>
                </a:lnTo>
                <a:lnTo>
                  <a:pt x="4190" y="2770"/>
                </a:lnTo>
                <a:lnTo>
                  <a:pt x="4190" y="2770"/>
                </a:lnTo>
                <a:lnTo>
                  <a:pt x="4190" y="2770"/>
                </a:lnTo>
                <a:lnTo>
                  <a:pt x="4190" y="2770"/>
                </a:lnTo>
                <a:lnTo>
                  <a:pt x="4190" y="2770"/>
                </a:lnTo>
                <a:lnTo>
                  <a:pt x="4190" y="2776"/>
                </a:lnTo>
                <a:lnTo>
                  <a:pt x="4190" y="2776"/>
                </a:lnTo>
                <a:lnTo>
                  <a:pt x="4190" y="2776"/>
                </a:lnTo>
                <a:lnTo>
                  <a:pt x="4195" y="2782"/>
                </a:lnTo>
                <a:lnTo>
                  <a:pt x="4195" y="2782"/>
                </a:lnTo>
                <a:lnTo>
                  <a:pt x="4195" y="2782"/>
                </a:lnTo>
                <a:lnTo>
                  <a:pt x="4195" y="2782"/>
                </a:lnTo>
                <a:close/>
                <a:moveTo>
                  <a:pt x="4409" y="2722"/>
                </a:moveTo>
                <a:lnTo>
                  <a:pt x="4409" y="2722"/>
                </a:lnTo>
                <a:lnTo>
                  <a:pt x="4409" y="2722"/>
                </a:lnTo>
                <a:lnTo>
                  <a:pt x="4409" y="2722"/>
                </a:lnTo>
                <a:lnTo>
                  <a:pt x="4409" y="2722"/>
                </a:lnTo>
                <a:lnTo>
                  <a:pt x="4409" y="2722"/>
                </a:lnTo>
                <a:lnTo>
                  <a:pt x="4409" y="2722"/>
                </a:lnTo>
                <a:lnTo>
                  <a:pt x="4409" y="2722"/>
                </a:lnTo>
                <a:lnTo>
                  <a:pt x="4415" y="2728"/>
                </a:lnTo>
                <a:lnTo>
                  <a:pt x="4415" y="2734"/>
                </a:lnTo>
                <a:lnTo>
                  <a:pt x="4415" y="2734"/>
                </a:lnTo>
                <a:lnTo>
                  <a:pt x="4415" y="2734"/>
                </a:lnTo>
                <a:lnTo>
                  <a:pt x="4415" y="2740"/>
                </a:lnTo>
                <a:lnTo>
                  <a:pt x="4415" y="2740"/>
                </a:lnTo>
                <a:lnTo>
                  <a:pt x="4415" y="2740"/>
                </a:lnTo>
                <a:lnTo>
                  <a:pt x="4415" y="2740"/>
                </a:lnTo>
                <a:lnTo>
                  <a:pt x="4415" y="2746"/>
                </a:lnTo>
                <a:lnTo>
                  <a:pt x="4421" y="2746"/>
                </a:lnTo>
                <a:lnTo>
                  <a:pt x="4421" y="2746"/>
                </a:lnTo>
                <a:lnTo>
                  <a:pt x="4421" y="2746"/>
                </a:lnTo>
                <a:lnTo>
                  <a:pt x="4421" y="2746"/>
                </a:lnTo>
                <a:lnTo>
                  <a:pt x="4421" y="2752"/>
                </a:lnTo>
                <a:lnTo>
                  <a:pt x="4421" y="2758"/>
                </a:lnTo>
                <a:lnTo>
                  <a:pt x="4427" y="2764"/>
                </a:lnTo>
                <a:lnTo>
                  <a:pt x="4427" y="2770"/>
                </a:lnTo>
                <a:lnTo>
                  <a:pt x="4427" y="2770"/>
                </a:lnTo>
                <a:lnTo>
                  <a:pt x="4427" y="2770"/>
                </a:lnTo>
                <a:lnTo>
                  <a:pt x="4427" y="2770"/>
                </a:lnTo>
                <a:lnTo>
                  <a:pt x="4427" y="2770"/>
                </a:lnTo>
                <a:lnTo>
                  <a:pt x="4427" y="2776"/>
                </a:lnTo>
                <a:lnTo>
                  <a:pt x="4427" y="2776"/>
                </a:lnTo>
                <a:lnTo>
                  <a:pt x="4427" y="2776"/>
                </a:lnTo>
                <a:lnTo>
                  <a:pt x="4433" y="2788"/>
                </a:lnTo>
                <a:lnTo>
                  <a:pt x="4433" y="2794"/>
                </a:lnTo>
                <a:lnTo>
                  <a:pt x="4438" y="2794"/>
                </a:lnTo>
                <a:lnTo>
                  <a:pt x="4438" y="2794"/>
                </a:lnTo>
                <a:lnTo>
                  <a:pt x="4438" y="2799"/>
                </a:lnTo>
                <a:lnTo>
                  <a:pt x="4438" y="2799"/>
                </a:lnTo>
                <a:lnTo>
                  <a:pt x="4438" y="2794"/>
                </a:lnTo>
                <a:lnTo>
                  <a:pt x="4421" y="2752"/>
                </a:lnTo>
                <a:lnTo>
                  <a:pt x="4421" y="2746"/>
                </a:lnTo>
                <a:lnTo>
                  <a:pt x="4421" y="2746"/>
                </a:lnTo>
                <a:lnTo>
                  <a:pt x="4421" y="2746"/>
                </a:lnTo>
                <a:lnTo>
                  <a:pt x="4421" y="2746"/>
                </a:lnTo>
                <a:lnTo>
                  <a:pt x="4421" y="2740"/>
                </a:lnTo>
                <a:lnTo>
                  <a:pt x="4421" y="2740"/>
                </a:lnTo>
                <a:lnTo>
                  <a:pt x="4415" y="2734"/>
                </a:lnTo>
                <a:lnTo>
                  <a:pt x="4415" y="2728"/>
                </a:lnTo>
                <a:lnTo>
                  <a:pt x="4415" y="2728"/>
                </a:lnTo>
                <a:lnTo>
                  <a:pt x="4415" y="2722"/>
                </a:lnTo>
                <a:lnTo>
                  <a:pt x="4415" y="2722"/>
                </a:lnTo>
                <a:lnTo>
                  <a:pt x="4415" y="2722"/>
                </a:lnTo>
                <a:lnTo>
                  <a:pt x="4415" y="2722"/>
                </a:lnTo>
                <a:lnTo>
                  <a:pt x="4409" y="2722"/>
                </a:lnTo>
                <a:lnTo>
                  <a:pt x="4409" y="2722"/>
                </a:lnTo>
                <a:lnTo>
                  <a:pt x="4409" y="2722"/>
                </a:lnTo>
                <a:lnTo>
                  <a:pt x="4409" y="2722"/>
                </a:lnTo>
                <a:lnTo>
                  <a:pt x="4409" y="2722"/>
                </a:lnTo>
                <a:close/>
                <a:moveTo>
                  <a:pt x="4154" y="2574"/>
                </a:moveTo>
                <a:lnTo>
                  <a:pt x="4154" y="2574"/>
                </a:lnTo>
                <a:lnTo>
                  <a:pt x="4154" y="2574"/>
                </a:lnTo>
                <a:lnTo>
                  <a:pt x="4154" y="2574"/>
                </a:lnTo>
                <a:lnTo>
                  <a:pt x="4154" y="2574"/>
                </a:lnTo>
                <a:lnTo>
                  <a:pt x="4148" y="2574"/>
                </a:lnTo>
                <a:lnTo>
                  <a:pt x="4148" y="2574"/>
                </a:lnTo>
                <a:lnTo>
                  <a:pt x="4148" y="2580"/>
                </a:lnTo>
                <a:lnTo>
                  <a:pt x="4154" y="2580"/>
                </a:lnTo>
                <a:lnTo>
                  <a:pt x="4154" y="2580"/>
                </a:lnTo>
                <a:lnTo>
                  <a:pt x="4154" y="2574"/>
                </a:lnTo>
                <a:lnTo>
                  <a:pt x="4154" y="2574"/>
                </a:lnTo>
                <a:lnTo>
                  <a:pt x="4154" y="2574"/>
                </a:lnTo>
                <a:close/>
                <a:moveTo>
                  <a:pt x="3947" y="2515"/>
                </a:moveTo>
                <a:lnTo>
                  <a:pt x="3947" y="2515"/>
                </a:lnTo>
                <a:lnTo>
                  <a:pt x="3947" y="2515"/>
                </a:lnTo>
                <a:lnTo>
                  <a:pt x="3947" y="2515"/>
                </a:lnTo>
                <a:lnTo>
                  <a:pt x="3947" y="2515"/>
                </a:lnTo>
                <a:lnTo>
                  <a:pt x="3947" y="2515"/>
                </a:lnTo>
                <a:lnTo>
                  <a:pt x="3947" y="2515"/>
                </a:lnTo>
                <a:lnTo>
                  <a:pt x="3947" y="2515"/>
                </a:lnTo>
                <a:lnTo>
                  <a:pt x="3947" y="2515"/>
                </a:lnTo>
                <a:lnTo>
                  <a:pt x="3941" y="2515"/>
                </a:lnTo>
                <a:lnTo>
                  <a:pt x="3941" y="2515"/>
                </a:lnTo>
                <a:lnTo>
                  <a:pt x="3941" y="2515"/>
                </a:lnTo>
                <a:lnTo>
                  <a:pt x="3941" y="2515"/>
                </a:lnTo>
                <a:lnTo>
                  <a:pt x="3941" y="2515"/>
                </a:lnTo>
                <a:lnTo>
                  <a:pt x="3935" y="2515"/>
                </a:lnTo>
                <a:lnTo>
                  <a:pt x="3935" y="2515"/>
                </a:lnTo>
                <a:lnTo>
                  <a:pt x="3941" y="2515"/>
                </a:lnTo>
                <a:lnTo>
                  <a:pt x="3941" y="2515"/>
                </a:lnTo>
                <a:lnTo>
                  <a:pt x="3941" y="2515"/>
                </a:lnTo>
                <a:lnTo>
                  <a:pt x="3941" y="2521"/>
                </a:lnTo>
                <a:lnTo>
                  <a:pt x="3941" y="2521"/>
                </a:lnTo>
                <a:lnTo>
                  <a:pt x="3941" y="2521"/>
                </a:lnTo>
                <a:lnTo>
                  <a:pt x="3947" y="2521"/>
                </a:lnTo>
                <a:lnTo>
                  <a:pt x="3947" y="2521"/>
                </a:lnTo>
                <a:lnTo>
                  <a:pt x="3947" y="2521"/>
                </a:lnTo>
                <a:lnTo>
                  <a:pt x="3947" y="2521"/>
                </a:lnTo>
                <a:lnTo>
                  <a:pt x="3947" y="2521"/>
                </a:lnTo>
                <a:lnTo>
                  <a:pt x="3947" y="2521"/>
                </a:lnTo>
                <a:lnTo>
                  <a:pt x="3947" y="2515"/>
                </a:lnTo>
                <a:lnTo>
                  <a:pt x="3947" y="2515"/>
                </a:lnTo>
                <a:close/>
                <a:moveTo>
                  <a:pt x="3988" y="2509"/>
                </a:move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58" y="2521"/>
                </a:lnTo>
                <a:lnTo>
                  <a:pt x="3953" y="2521"/>
                </a:lnTo>
                <a:lnTo>
                  <a:pt x="3953" y="2521"/>
                </a:lnTo>
                <a:lnTo>
                  <a:pt x="3947" y="2521"/>
                </a:lnTo>
                <a:lnTo>
                  <a:pt x="3947" y="2521"/>
                </a:lnTo>
                <a:lnTo>
                  <a:pt x="3947" y="2521"/>
                </a:lnTo>
                <a:lnTo>
                  <a:pt x="3947" y="2521"/>
                </a:lnTo>
                <a:lnTo>
                  <a:pt x="3953" y="2521"/>
                </a:lnTo>
                <a:lnTo>
                  <a:pt x="3953" y="2521"/>
                </a:lnTo>
                <a:lnTo>
                  <a:pt x="3958" y="2521"/>
                </a:lnTo>
                <a:lnTo>
                  <a:pt x="3958" y="2521"/>
                </a:lnTo>
                <a:lnTo>
                  <a:pt x="3964" y="2521"/>
                </a:lnTo>
                <a:lnTo>
                  <a:pt x="3970" y="2515"/>
                </a:lnTo>
                <a:lnTo>
                  <a:pt x="3976" y="2515"/>
                </a:lnTo>
                <a:lnTo>
                  <a:pt x="3982" y="2515"/>
                </a:lnTo>
                <a:lnTo>
                  <a:pt x="3982" y="2509"/>
                </a:lnTo>
                <a:lnTo>
                  <a:pt x="3988" y="2509"/>
                </a:lnTo>
                <a:lnTo>
                  <a:pt x="3988" y="2509"/>
                </a:lnTo>
                <a:lnTo>
                  <a:pt x="3988" y="2509"/>
                </a:lnTo>
                <a:lnTo>
                  <a:pt x="3988" y="2509"/>
                </a:lnTo>
                <a:lnTo>
                  <a:pt x="3988" y="2509"/>
                </a:lnTo>
                <a:lnTo>
                  <a:pt x="3988" y="2509"/>
                </a:lnTo>
                <a:lnTo>
                  <a:pt x="3988" y="2503"/>
                </a:lnTo>
                <a:lnTo>
                  <a:pt x="3988" y="2503"/>
                </a:lnTo>
                <a:lnTo>
                  <a:pt x="3988" y="2509"/>
                </a:lnTo>
                <a:close/>
                <a:moveTo>
                  <a:pt x="3793" y="2432"/>
                </a:moveTo>
                <a:lnTo>
                  <a:pt x="3787" y="2432"/>
                </a:lnTo>
                <a:lnTo>
                  <a:pt x="3787" y="2432"/>
                </a:lnTo>
                <a:lnTo>
                  <a:pt x="3787" y="2432"/>
                </a:lnTo>
                <a:lnTo>
                  <a:pt x="3787" y="2432"/>
                </a:lnTo>
                <a:lnTo>
                  <a:pt x="3775" y="2432"/>
                </a:lnTo>
                <a:lnTo>
                  <a:pt x="3769" y="2432"/>
                </a:lnTo>
                <a:lnTo>
                  <a:pt x="3769" y="2432"/>
                </a:lnTo>
                <a:lnTo>
                  <a:pt x="3769" y="2432"/>
                </a:lnTo>
                <a:lnTo>
                  <a:pt x="3763" y="2432"/>
                </a:lnTo>
                <a:lnTo>
                  <a:pt x="3763" y="2432"/>
                </a:lnTo>
                <a:lnTo>
                  <a:pt x="3763" y="2432"/>
                </a:lnTo>
                <a:lnTo>
                  <a:pt x="3763" y="2438"/>
                </a:lnTo>
                <a:lnTo>
                  <a:pt x="3757" y="2438"/>
                </a:lnTo>
                <a:lnTo>
                  <a:pt x="3751" y="2438"/>
                </a:lnTo>
                <a:lnTo>
                  <a:pt x="3739" y="2438"/>
                </a:lnTo>
                <a:lnTo>
                  <a:pt x="3733" y="2438"/>
                </a:lnTo>
                <a:lnTo>
                  <a:pt x="3727" y="2438"/>
                </a:lnTo>
                <a:lnTo>
                  <a:pt x="3733" y="2444"/>
                </a:lnTo>
                <a:lnTo>
                  <a:pt x="3757" y="2438"/>
                </a:lnTo>
                <a:lnTo>
                  <a:pt x="3769" y="2438"/>
                </a:lnTo>
                <a:lnTo>
                  <a:pt x="3781" y="2438"/>
                </a:lnTo>
                <a:lnTo>
                  <a:pt x="3804" y="2432"/>
                </a:lnTo>
                <a:lnTo>
                  <a:pt x="3804" y="2432"/>
                </a:lnTo>
                <a:lnTo>
                  <a:pt x="3804" y="2432"/>
                </a:lnTo>
                <a:lnTo>
                  <a:pt x="3804" y="2432"/>
                </a:lnTo>
                <a:lnTo>
                  <a:pt x="3804" y="2432"/>
                </a:lnTo>
                <a:lnTo>
                  <a:pt x="3798" y="2432"/>
                </a:lnTo>
                <a:lnTo>
                  <a:pt x="3793" y="2432"/>
                </a:lnTo>
                <a:close/>
                <a:moveTo>
                  <a:pt x="4000" y="2497"/>
                </a:moveTo>
                <a:lnTo>
                  <a:pt x="4000" y="2497"/>
                </a:lnTo>
                <a:lnTo>
                  <a:pt x="3994" y="2503"/>
                </a:lnTo>
                <a:lnTo>
                  <a:pt x="3994" y="2503"/>
                </a:lnTo>
                <a:lnTo>
                  <a:pt x="3988" y="2503"/>
                </a:lnTo>
                <a:lnTo>
                  <a:pt x="3994" y="2503"/>
                </a:lnTo>
                <a:lnTo>
                  <a:pt x="4000" y="2503"/>
                </a:lnTo>
                <a:lnTo>
                  <a:pt x="4000" y="2497"/>
                </a:lnTo>
                <a:lnTo>
                  <a:pt x="4000" y="2497"/>
                </a:lnTo>
                <a:lnTo>
                  <a:pt x="4000" y="2497"/>
                </a:lnTo>
                <a:close/>
                <a:moveTo>
                  <a:pt x="4427" y="3001"/>
                </a:moveTo>
                <a:lnTo>
                  <a:pt x="4427" y="3001"/>
                </a:lnTo>
                <a:lnTo>
                  <a:pt x="4427" y="3007"/>
                </a:lnTo>
                <a:lnTo>
                  <a:pt x="4421" y="3007"/>
                </a:lnTo>
                <a:lnTo>
                  <a:pt x="4421" y="3007"/>
                </a:lnTo>
                <a:lnTo>
                  <a:pt x="4421" y="3007"/>
                </a:lnTo>
                <a:lnTo>
                  <a:pt x="4421" y="3007"/>
                </a:lnTo>
                <a:lnTo>
                  <a:pt x="4421" y="3007"/>
                </a:lnTo>
                <a:lnTo>
                  <a:pt x="4421" y="3013"/>
                </a:lnTo>
                <a:lnTo>
                  <a:pt x="4421" y="3013"/>
                </a:lnTo>
                <a:lnTo>
                  <a:pt x="4421" y="3013"/>
                </a:lnTo>
                <a:lnTo>
                  <a:pt x="4421" y="3013"/>
                </a:lnTo>
                <a:lnTo>
                  <a:pt x="4421" y="3013"/>
                </a:lnTo>
                <a:lnTo>
                  <a:pt x="4421" y="3013"/>
                </a:lnTo>
                <a:lnTo>
                  <a:pt x="4421" y="3013"/>
                </a:lnTo>
                <a:lnTo>
                  <a:pt x="4421" y="3013"/>
                </a:lnTo>
                <a:lnTo>
                  <a:pt x="4415" y="3019"/>
                </a:lnTo>
                <a:lnTo>
                  <a:pt x="4415" y="3025"/>
                </a:lnTo>
                <a:lnTo>
                  <a:pt x="4409" y="3025"/>
                </a:lnTo>
                <a:lnTo>
                  <a:pt x="4409" y="3025"/>
                </a:lnTo>
                <a:lnTo>
                  <a:pt x="4409" y="3025"/>
                </a:lnTo>
                <a:lnTo>
                  <a:pt x="4409" y="3025"/>
                </a:lnTo>
                <a:lnTo>
                  <a:pt x="4415" y="3025"/>
                </a:lnTo>
                <a:lnTo>
                  <a:pt x="4409" y="3025"/>
                </a:lnTo>
                <a:lnTo>
                  <a:pt x="4409" y="3025"/>
                </a:lnTo>
                <a:lnTo>
                  <a:pt x="4409" y="3025"/>
                </a:lnTo>
                <a:lnTo>
                  <a:pt x="4409" y="3025"/>
                </a:lnTo>
                <a:lnTo>
                  <a:pt x="4409" y="3031"/>
                </a:lnTo>
                <a:lnTo>
                  <a:pt x="4409" y="3031"/>
                </a:lnTo>
                <a:lnTo>
                  <a:pt x="4409" y="3031"/>
                </a:lnTo>
                <a:lnTo>
                  <a:pt x="4409" y="3031"/>
                </a:lnTo>
                <a:lnTo>
                  <a:pt x="4409" y="3031"/>
                </a:lnTo>
                <a:lnTo>
                  <a:pt x="4409" y="3031"/>
                </a:lnTo>
                <a:lnTo>
                  <a:pt x="4409" y="3031"/>
                </a:lnTo>
                <a:lnTo>
                  <a:pt x="4403" y="3037"/>
                </a:lnTo>
                <a:lnTo>
                  <a:pt x="4403" y="3037"/>
                </a:lnTo>
                <a:lnTo>
                  <a:pt x="4403" y="3037"/>
                </a:lnTo>
                <a:lnTo>
                  <a:pt x="4403" y="3037"/>
                </a:lnTo>
                <a:lnTo>
                  <a:pt x="4403" y="3037"/>
                </a:lnTo>
                <a:lnTo>
                  <a:pt x="4403" y="3037"/>
                </a:lnTo>
                <a:lnTo>
                  <a:pt x="4403" y="3037"/>
                </a:lnTo>
                <a:lnTo>
                  <a:pt x="4397" y="3037"/>
                </a:lnTo>
                <a:lnTo>
                  <a:pt x="4397" y="3043"/>
                </a:lnTo>
                <a:lnTo>
                  <a:pt x="4397" y="3043"/>
                </a:lnTo>
                <a:lnTo>
                  <a:pt x="4397" y="3043"/>
                </a:lnTo>
                <a:lnTo>
                  <a:pt x="4397" y="3043"/>
                </a:lnTo>
                <a:lnTo>
                  <a:pt x="4397" y="3043"/>
                </a:lnTo>
                <a:lnTo>
                  <a:pt x="4397" y="3043"/>
                </a:lnTo>
                <a:lnTo>
                  <a:pt x="4397" y="3043"/>
                </a:lnTo>
                <a:lnTo>
                  <a:pt x="4397" y="3049"/>
                </a:lnTo>
                <a:lnTo>
                  <a:pt x="4397" y="3049"/>
                </a:lnTo>
                <a:lnTo>
                  <a:pt x="4397" y="3043"/>
                </a:lnTo>
                <a:lnTo>
                  <a:pt x="4403" y="3043"/>
                </a:lnTo>
                <a:lnTo>
                  <a:pt x="4403" y="3037"/>
                </a:lnTo>
                <a:lnTo>
                  <a:pt x="4409" y="3037"/>
                </a:lnTo>
                <a:lnTo>
                  <a:pt x="4409" y="3037"/>
                </a:lnTo>
                <a:lnTo>
                  <a:pt x="4409" y="3037"/>
                </a:lnTo>
                <a:lnTo>
                  <a:pt x="4409" y="3031"/>
                </a:lnTo>
                <a:lnTo>
                  <a:pt x="4409" y="3031"/>
                </a:lnTo>
                <a:lnTo>
                  <a:pt x="4409" y="3031"/>
                </a:lnTo>
                <a:lnTo>
                  <a:pt x="4409" y="3031"/>
                </a:lnTo>
                <a:lnTo>
                  <a:pt x="4409" y="3031"/>
                </a:lnTo>
                <a:lnTo>
                  <a:pt x="4409" y="3031"/>
                </a:lnTo>
                <a:lnTo>
                  <a:pt x="4415" y="3025"/>
                </a:lnTo>
                <a:lnTo>
                  <a:pt x="4421" y="3025"/>
                </a:lnTo>
                <a:lnTo>
                  <a:pt x="4421" y="3025"/>
                </a:lnTo>
                <a:lnTo>
                  <a:pt x="4421" y="3019"/>
                </a:lnTo>
                <a:lnTo>
                  <a:pt x="4421" y="3019"/>
                </a:lnTo>
                <a:lnTo>
                  <a:pt x="4421" y="3013"/>
                </a:lnTo>
                <a:lnTo>
                  <a:pt x="4421" y="3013"/>
                </a:lnTo>
                <a:lnTo>
                  <a:pt x="4427" y="3007"/>
                </a:lnTo>
                <a:lnTo>
                  <a:pt x="4427" y="3007"/>
                </a:lnTo>
                <a:lnTo>
                  <a:pt x="4427" y="3007"/>
                </a:lnTo>
                <a:lnTo>
                  <a:pt x="4427" y="3007"/>
                </a:lnTo>
                <a:lnTo>
                  <a:pt x="4427" y="3007"/>
                </a:lnTo>
                <a:lnTo>
                  <a:pt x="4427" y="3007"/>
                </a:lnTo>
                <a:lnTo>
                  <a:pt x="4427" y="3007"/>
                </a:lnTo>
                <a:lnTo>
                  <a:pt x="4427" y="3007"/>
                </a:lnTo>
                <a:lnTo>
                  <a:pt x="4427" y="3007"/>
                </a:lnTo>
                <a:lnTo>
                  <a:pt x="4427" y="3001"/>
                </a:lnTo>
                <a:lnTo>
                  <a:pt x="4427" y="3001"/>
                </a:lnTo>
                <a:lnTo>
                  <a:pt x="4427" y="3001"/>
                </a:lnTo>
                <a:lnTo>
                  <a:pt x="4427" y="3001"/>
                </a:lnTo>
                <a:lnTo>
                  <a:pt x="4427" y="3001"/>
                </a:lnTo>
                <a:lnTo>
                  <a:pt x="4433" y="3001"/>
                </a:lnTo>
                <a:lnTo>
                  <a:pt x="4433" y="3001"/>
                </a:lnTo>
                <a:lnTo>
                  <a:pt x="4433" y="3001"/>
                </a:lnTo>
                <a:lnTo>
                  <a:pt x="4427" y="3001"/>
                </a:lnTo>
                <a:lnTo>
                  <a:pt x="4427" y="3001"/>
                </a:lnTo>
                <a:close/>
                <a:moveTo>
                  <a:pt x="4344" y="3001"/>
                </a:moveTo>
                <a:lnTo>
                  <a:pt x="4344" y="3001"/>
                </a:lnTo>
                <a:lnTo>
                  <a:pt x="4344" y="3007"/>
                </a:lnTo>
                <a:lnTo>
                  <a:pt x="4344" y="3007"/>
                </a:lnTo>
                <a:lnTo>
                  <a:pt x="4344" y="3007"/>
                </a:lnTo>
                <a:lnTo>
                  <a:pt x="4350" y="3007"/>
                </a:lnTo>
                <a:lnTo>
                  <a:pt x="4350" y="3007"/>
                </a:lnTo>
                <a:lnTo>
                  <a:pt x="4350" y="3007"/>
                </a:lnTo>
                <a:lnTo>
                  <a:pt x="4350" y="3001"/>
                </a:lnTo>
                <a:lnTo>
                  <a:pt x="4344" y="3001"/>
                </a:lnTo>
                <a:lnTo>
                  <a:pt x="4344" y="3001"/>
                </a:lnTo>
                <a:lnTo>
                  <a:pt x="4344" y="3001"/>
                </a:lnTo>
                <a:lnTo>
                  <a:pt x="4344" y="3001"/>
                </a:lnTo>
                <a:lnTo>
                  <a:pt x="4344" y="3001"/>
                </a:lnTo>
                <a:lnTo>
                  <a:pt x="4344" y="3001"/>
                </a:lnTo>
                <a:close/>
                <a:moveTo>
                  <a:pt x="3644" y="2450"/>
                </a:moveTo>
                <a:lnTo>
                  <a:pt x="3644" y="2450"/>
                </a:lnTo>
                <a:lnTo>
                  <a:pt x="3644" y="2450"/>
                </a:lnTo>
                <a:lnTo>
                  <a:pt x="3644" y="2450"/>
                </a:lnTo>
                <a:lnTo>
                  <a:pt x="3644" y="2450"/>
                </a:lnTo>
                <a:lnTo>
                  <a:pt x="3644" y="2450"/>
                </a:lnTo>
                <a:lnTo>
                  <a:pt x="3638" y="2450"/>
                </a:lnTo>
                <a:lnTo>
                  <a:pt x="3633" y="2450"/>
                </a:lnTo>
                <a:lnTo>
                  <a:pt x="3627" y="2450"/>
                </a:lnTo>
                <a:lnTo>
                  <a:pt x="3627" y="2450"/>
                </a:lnTo>
                <a:lnTo>
                  <a:pt x="3627" y="2450"/>
                </a:lnTo>
                <a:lnTo>
                  <a:pt x="3650" y="2450"/>
                </a:lnTo>
                <a:lnTo>
                  <a:pt x="3650" y="2450"/>
                </a:lnTo>
                <a:lnTo>
                  <a:pt x="3650" y="2450"/>
                </a:lnTo>
                <a:lnTo>
                  <a:pt x="3650" y="2450"/>
                </a:lnTo>
                <a:lnTo>
                  <a:pt x="3650" y="2450"/>
                </a:lnTo>
                <a:lnTo>
                  <a:pt x="3650" y="2450"/>
                </a:lnTo>
                <a:lnTo>
                  <a:pt x="3650" y="2444"/>
                </a:lnTo>
                <a:lnTo>
                  <a:pt x="3644" y="2450"/>
                </a:lnTo>
                <a:close/>
              </a:path>
            </a:pathLst>
          </a:custGeom>
          <a:solidFill>
            <a:schemeClr val="bg2">
              <a:lumMod val="40000"/>
              <a:lumOff val="6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7F61EDA9-6FBA-1518-E4EC-26BD0DEC7F32}"/>
              </a:ext>
            </a:extLst>
          </p:cNvPr>
          <p:cNvSpPr/>
          <p:nvPr/>
        </p:nvSpPr>
        <p:spPr>
          <a:xfrm>
            <a:off x="9334500" y="1671919"/>
            <a:ext cx="2857500" cy="370018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 name="Title 1">
            <a:extLst>
              <a:ext uri="{FF2B5EF4-FFF2-40B4-BE49-F238E27FC236}">
                <a16:creationId xmlns:a16="http://schemas.microsoft.com/office/drawing/2014/main" id="{311BD63F-66F6-FABD-84E1-49B168B6EBC3}"/>
              </a:ext>
            </a:extLst>
          </p:cNvPr>
          <p:cNvSpPr>
            <a:spLocks noGrp="1"/>
          </p:cNvSpPr>
          <p:nvPr>
            <p:ph type="title"/>
          </p:nvPr>
        </p:nvSpPr>
        <p:spPr>
          <a:xfrm>
            <a:off x="536240" y="414320"/>
            <a:ext cx="10896000" cy="1082209"/>
          </a:xfrm>
        </p:spPr>
        <p:txBody>
          <a:bodyPr/>
          <a:lstStyle/>
          <a:p>
            <a:r>
              <a:rPr lang="en-US" noProof="0"/>
              <a:t>Obesity prevalence in United States over time</a:t>
            </a:r>
            <a:br>
              <a:rPr lang="en-US" noProof="0"/>
            </a:br>
            <a:r>
              <a:rPr lang="en-US" i="1" noProof="0"/>
              <a:t>Adults and children/youth</a:t>
            </a:r>
          </a:p>
        </p:txBody>
      </p:sp>
      <p:sp>
        <p:nvSpPr>
          <p:cNvPr id="3" name="Text Placeholder 2">
            <a:extLst>
              <a:ext uri="{FF2B5EF4-FFF2-40B4-BE49-F238E27FC236}">
                <a16:creationId xmlns:a16="http://schemas.microsoft.com/office/drawing/2014/main" id="{0B0C3D6C-6554-713A-D1A4-BBC08C4C3F1E}"/>
              </a:ext>
            </a:extLst>
          </p:cNvPr>
          <p:cNvSpPr>
            <a:spLocks noGrp="1"/>
          </p:cNvSpPr>
          <p:nvPr>
            <p:ph type="body" sz="quarter" idx="13"/>
          </p:nvPr>
        </p:nvSpPr>
        <p:spPr>
          <a:xfrm>
            <a:off x="536575" y="5358200"/>
            <a:ext cx="11104563" cy="979100"/>
          </a:xfrm>
        </p:spPr>
        <p:txBody>
          <a:bodyPr/>
          <a:lstStyle/>
          <a:p>
            <a:endParaRPr lang="en-US" noProof="0" dirty="0"/>
          </a:p>
          <a:p>
            <a:r>
              <a:rPr lang="en-US" noProof="0" dirty="0"/>
              <a:t>*Significant linear trend. BMI, body mass index; CDC, Centers for Disease Control and Prevention.</a:t>
            </a:r>
            <a:br>
              <a:rPr lang="en-US" noProof="0" dirty="0"/>
            </a:br>
            <a:r>
              <a:rPr lang="en-US" noProof="0" dirty="0"/>
              <a:t>Estimates are age-adjusted by the direct method to the 2000 US census population using the age groups 20–39, 40–59, and 60+.</a:t>
            </a:r>
            <a:br>
              <a:rPr lang="en-US" noProof="0" dirty="0"/>
            </a:br>
            <a:r>
              <a:rPr lang="en-US" noProof="0" dirty="0"/>
              <a:t>Obesity was defined as BMI ≥95th percentile for age and sex (Centers for Disease Control and Prevention growth charts, 2000).</a:t>
            </a:r>
            <a:r>
              <a:rPr lang="en-US" baseline="30000" noProof="0" dirty="0"/>
              <a:t>2,3</a:t>
            </a:r>
            <a:br>
              <a:rPr lang="en-US" noProof="0" dirty="0"/>
            </a:br>
            <a:r>
              <a:rPr lang="en-US" noProof="0" dirty="0"/>
              <a:t>1. Hales CM et al. NCHS Data Brief 2017;288 (National Health and Nutrition Examination Survey). </a:t>
            </a:r>
            <a:r>
              <a:rPr lang="en-US" noProof="0" dirty="0">
                <a:hlinkClick r:id="rId3">
                  <a:extLst>
                    <a:ext uri="{A12FA001-AC4F-418D-AE19-62706E023703}">
                      <ahyp:hlinkClr xmlns:ahyp="http://schemas.microsoft.com/office/drawing/2018/hyperlinkcolor" val="tx"/>
                    </a:ext>
                  </a:extLst>
                </a:hlinkClick>
              </a:rPr>
              <a:t>https://www.cdc.gov/nchs/data/databriefs/db288.pdf</a:t>
            </a:r>
            <a:r>
              <a:rPr lang="en-US" noProof="0" dirty="0"/>
              <a:t>. Accessed October 2025; 2. </a:t>
            </a:r>
            <a:r>
              <a:rPr lang="en-US" dirty="0"/>
              <a:t>Emmerich SD et al. NCHS Data Brief 2024;508 (National Health and Nutrition Examination Survey). </a:t>
            </a:r>
            <a:r>
              <a:rPr lang="en-US" dirty="0">
                <a:hlinkClick r:id="rId4"/>
              </a:rPr>
              <a:t>https://www.cdc.gov/nchs/data/databriefs/db508.pdf</a:t>
            </a:r>
            <a:r>
              <a:rPr lang="en-US" dirty="0"/>
              <a:t>. Accessed October 2025; 3. </a:t>
            </a:r>
            <a:r>
              <a:rPr lang="en-US" noProof="0" dirty="0"/>
              <a:t>Fryar CD et al. Prevalence of overweight, obesity, and severe obesity among children and adolescents aged 2–19 years: United States, 1963–1965 through 2015–2016. </a:t>
            </a:r>
            <a:r>
              <a:rPr lang="en-US" dirty="0">
                <a:hlinkClick r:id="rId5"/>
              </a:rPr>
              <a:t>https://www.cdc.gov/nchs/data/hestat/obesity_child_15_16/obesity_child_15_16.pdf</a:t>
            </a:r>
            <a:r>
              <a:rPr lang="en-US" noProof="0" dirty="0">
                <a:hlinkClick r:id="rId5"/>
              </a:rPr>
              <a:t>.</a:t>
            </a:r>
            <a:r>
              <a:rPr lang="en-US" noProof="0" dirty="0"/>
              <a:t> Accessed October 2025; 4. Hu K, Staiano A. JAMA </a:t>
            </a:r>
            <a:r>
              <a:rPr lang="en-US" noProof="0" dirty="0" err="1"/>
              <a:t>Pediatr</a:t>
            </a:r>
            <a:r>
              <a:rPr lang="en-US" noProof="0" dirty="0"/>
              <a:t> 2022;176:1037–1039. 5. CDC. Defining childhood obesity. </a:t>
            </a:r>
            <a:r>
              <a:rPr lang="en-US" u="sng" dirty="0">
                <a:hlinkClick r:id="rId6"/>
              </a:rPr>
              <a:t>https://www.cdc.gov/obesity/childhood-obesity-facts/childhood-obesity-facts.html</a:t>
            </a:r>
            <a:r>
              <a:rPr lang="en-US" u="sng" dirty="0"/>
              <a:t>.</a:t>
            </a:r>
            <a:r>
              <a:rPr lang="en-US" dirty="0"/>
              <a:t> Accessed </a:t>
            </a:r>
            <a:r>
              <a:rPr lang="en-US" noProof="0" dirty="0"/>
              <a:t>October 2025; 6. Skinner AC et al. JAMA </a:t>
            </a:r>
            <a:r>
              <a:rPr lang="en-US" noProof="0" dirty="0" err="1"/>
              <a:t>Pediatr</a:t>
            </a:r>
            <a:r>
              <a:rPr lang="en-US" noProof="0" dirty="0"/>
              <a:t> 2014;168:561–566; 7. Kelly AS et al. Circulation 2013;128:1689–1712.</a:t>
            </a:r>
          </a:p>
        </p:txBody>
      </p:sp>
      <p:graphicFrame>
        <p:nvGraphicFramePr>
          <p:cNvPr id="17" name="Chart 16">
            <a:extLst>
              <a:ext uri="{FF2B5EF4-FFF2-40B4-BE49-F238E27FC236}">
                <a16:creationId xmlns:a16="http://schemas.microsoft.com/office/drawing/2014/main" id="{49E24EB5-941A-CAD6-6605-7DD09B7FDFE1}"/>
              </a:ext>
            </a:extLst>
          </p:cNvPr>
          <p:cNvGraphicFramePr/>
          <p:nvPr>
            <p:extLst>
              <p:ext uri="{D42A27DB-BD31-4B8C-83A1-F6EECF244321}">
                <p14:modId xmlns:p14="http://schemas.microsoft.com/office/powerpoint/2010/main" val="4051586090"/>
              </p:ext>
            </p:extLst>
          </p:nvPr>
        </p:nvGraphicFramePr>
        <p:xfrm>
          <a:off x="701481" y="1798528"/>
          <a:ext cx="8394144" cy="3258221"/>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Box 17">
            <a:extLst>
              <a:ext uri="{FF2B5EF4-FFF2-40B4-BE49-F238E27FC236}">
                <a16:creationId xmlns:a16="http://schemas.microsoft.com/office/drawing/2014/main" id="{5DA60D79-7019-36DD-F399-5CE899EA94CB}"/>
              </a:ext>
            </a:extLst>
          </p:cNvPr>
          <p:cNvSpPr txBox="1"/>
          <p:nvPr/>
        </p:nvSpPr>
        <p:spPr>
          <a:xfrm>
            <a:off x="1082040" y="4785201"/>
            <a:ext cx="7860550" cy="307777"/>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Survey years</a:t>
            </a:r>
          </a:p>
        </p:txBody>
      </p:sp>
      <p:sp>
        <p:nvSpPr>
          <p:cNvPr id="19" name="TextBox 18">
            <a:extLst>
              <a:ext uri="{FF2B5EF4-FFF2-40B4-BE49-F238E27FC236}">
                <a16:creationId xmlns:a16="http://schemas.microsoft.com/office/drawing/2014/main" id="{8BB2AC91-B565-01FF-214F-3BBF90496D4D}"/>
              </a:ext>
            </a:extLst>
          </p:cNvPr>
          <p:cNvSpPr txBox="1"/>
          <p:nvPr/>
        </p:nvSpPr>
        <p:spPr>
          <a:xfrm>
            <a:off x="393188" y="1879210"/>
            <a:ext cx="400110" cy="2712720"/>
          </a:xfrm>
          <a:prstGeom prst="rect">
            <a:avLst/>
          </a:prstGeom>
          <a:noFill/>
        </p:spPr>
        <p:txBody>
          <a:bodyPr vert="vert270"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Patients (%)</a:t>
            </a:r>
          </a:p>
        </p:txBody>
      </p:sp>
      <p:sp>
        <p:nvSpPr>
          <p:cNvPr id="8" name="TextBox 7">
            <a:extLst>
              <a:ext uri="{FF2B5EF4-FFF2-40B4-BE49-F238E27FC236}">
                <a16:creationId xmlns:a16="http://schemas.microsoft.com/office/drawing/2014/main" id="{5B7562DA-B325-32A0-AB75-CC1D068FEAA0}"/>
              </a:ext>
            </a:extLst>
          </p:cNvPr>
          <p:cNvSpPr txBox="1"/>
          <p:nvPr/>
        </p:nvSpPr>
        <p:spPr>
          <a:xfrm>
            <a:off x="10088432" y="3483614"/>
            <a:ext cx="1683082" cy="1384995"/>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accent3"/>
                </a:solidFill>
                <a:effectLst/>
                <a:uLnTx/>
                <a:uFillTx/>
                <a:latin typeface="Arial" panose="020B0604020202020204" pitchFamily="34" charset="0"/>
                <a:ea typeface="Apis For Office" panose="020B0504010101010104" pitchFamily="34" charset="0"/>
                <a:cs typeface="Arial" panose="020B0604020202020204" pitchFamily="34" charset="0"/>
              </a:rPr>
              <a:t>Children/Youth</a:t>
            </a:r>
            <a:r>
              <a:rPr lang="en-US" sz="1200" b="1" baseline="300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1</a:t>
            </a:r>
            <a:r>
              <a:rPr kumimoji="0" lang="en-US" sz="1200" b="1" i="0" u="none" strike="noStrike" kern="1200" cap="none" spc="0" normalizeH="0" baseline="30000" noProof="0">
                <a:ln>
                  <a:noFill/>
                </a:ln>
                <a:solidFill>
                  <a:schemeClr val="accent3"/>
                </a:solidFill>
                <a:effectLst/>
                <a:uLnTx/>
                <a:uFillTx/>
                <a:latin typeface="Arial" panose="020B0604020202020204" pitchFamily="34" charset="0"/>
                <a:ea typeface="Apis For Office" panose="020B0504010101010104" pitchFamily="34" charset="0"/>
                <a:cs typeface="Arial" panose="020B0604020202020204" pitchFamily="34" charset="0"/>
              </a:rPr>
              <a:t>,3</a:t>
            </a:r>
          </a:p>
          <a:p>
            <a:pPr defTabSz="1219139" fontAlgn="base">
              <a:spcBef>
                <a:spcPct val="0"/>
              </a:spcBef>
              <a:spcAft>
                <a:spcPct val="0"/>
              </a:spcAft>
              <a:defRPr/>
            </a:pPr>
            <a:r>
              <a:rPr lang="en-US" sz="1200" noProof="0">
                <a:solidFill>
                  <a:schemeClr val="accent3"/>
                </a:solidFill>
                <a:latin typeface="Arial" panose="020B0604020202020204" pitchFamily="34" charset="0"/>
                <a:cs typeface="Arial" panose="020B0604020202020204" pitchFamily="34" charset="0"/>
              </a:rPr>
              <a:t>Estimated prevalence of BMI ≥30 kg/m</a:t>
            </a:r>
            <a:r>
              <a:rPr lang="en-US" sz="1200" baseline="30000" noProof="0">
                <a:solidFill>
                  <a:schemeClr val="accent3"/>
                </a:solidFill>
                <a:latin typeface="Arial" panose="020B0604020202020204" pitchFamily="34" charset="0"/>
                <a:cs typeface="Arial" panose="020B0604020202020204" pitchFamily="34" charset="0"/>
              </a:rPr>
              <a:t>2</a:t>
            </a:r>
            <a:r>
              <a:rPr lang="en-US" sz="1200" noProof="0">
                <a:solidFill>
                  <a:schemeClr val="accent3"/>
                </a:solidFill>
                <a:latin typeface="Arial" panose="020B0604020202020204" pitchFamily="34" charset="0"/>
                <a:cs typeface="Arial" panose="020B0604020202020204" pitchFamily="34" charset="0"/>
              </a:rPr>
              <a:t> among US children/youth aged 2–19 years, </a:t>
            </a:r>
            <a:br>
              <a:rPr lang="en-US" sz="1200" noProof="0">
                <a:solidFill>
                  <a:schemeClr val="accent3"/>
                </a:solidFill>
                <a:latin typeface="Arial" panose="020B0604020202020204" pitchFamily="34" charset="0"/>
                <a:cs typeface="Arial" panose="020B0604020202020204" pitchFamily="34" charset="0"/>
              </a:rPr>
            </a:br>
            <a:r>
              <a:rPr lang="en-US" sz="1200" noProof="0">
                <a:solidFill>
                  <a:schemeClr val="accent3"/>
                </a:solidFill>
                <a:latin typeface="Arial" panose="020B0604020202020204" pitchFamily="34" charset="0"/>
                <a:cs typeface="Arial" panose="020B0604020202020204" pitchFamily="34" charset="0"/>
              </a:rPr>
              <a:t>1999–2020</a:t>
            </a:r>
            <a:r>
              <a:rPr lang="en-US" sz="1200" baseline="30000">
                <a:solidFill>
                  <a:schemeClr val="accent3"/>
                </a:solidFill>
                <a:latin typeface="Arial" panose="020B0604020202020204" pitchFamily="34" charset="0"/>
                <a:cs typeface="Arial" panose="020B0604020202020204" pitchFamily="34" charset="0"/>
              </a:rPr>
              <a:t>3</a:t>
            </a:r>
            <a:r>
              <a:rPr lang="en-US" sz="1200" baseline="30000" noProof="0">
                <a:solidFill>
                  <a:schemeClr val="accent3"/>
                </a:solidFill>
                <a:latin typeface="Arial" panose="020B0604020202020204" pitchFamily="34" charset="0"/>
                <a:cs typeface="Arial" panose="020B0604020202020204" pitchFamily="34" charset="0"/>
              </a:rPr>
              <a:t>,4</a:t>
            </a:r>
            <a:endParaRPr lang="en-US" sz="1200" noProof="0">
              <a:solidFill>
                <a:schemeClr val="accent3"/>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8A5D871D-6238-85C9-1C46-60276CC5176C}"/>
              </a:ext>
            </a:extLst>
          </p:cNvPr>
          <p:cNvSpPr txBox="1"/>
          <p:nvPr/>
        </p:nvSpPr>
        <p:spPr>
          <a:xfrm>
            <a:off x="10088432" y="2050698"/>
            <a:ext cx="1552705" cy="1323439"/>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Adults</a:t>
            </a:r>
            <a:r>
              <a:rPr lang="en-US" sz="1200" baseline="30000" noProof="0">
                <a:latin typeface="Arial" panose="020B0604020202020204" pitchFamily="34" charset="0"/>
                <a:ea typeface="Apis For Office" panose="020B0504010101010104" pitchFamily="34" charset="0"/>
                <a:cs typeface="Arial" panose="020B0604020202020204" pitchFamily="34" charset="0"/>
              </a:rPr>
              <a:t>*</a:t>
            </a:r>
            <a:r>
              <a:rPr kumimoji="0" lang="en-US" sz="1200" b="0" i="0" u="none" strike="noStrike" kern="1200" cap="none" spc="0" normalizeH="0" baseline="30000" noProof="0">
                <a:ln>
                  <a:noFill/>
                </a:ln>
                <a:effectLst/>
                <a:uLnTx/>
                <a:uFillTx/>
                <a:latin typeface="Arial" panose="020B0604020202020204" pitchFamily="34" charset="0"/>
                <a:cs typeface="Arial" panose="020B0604020202020204" pitchFamily="34" charset="0"/>
              </a:rPr>
              <a:t>,</a:t>
            </a:r>
            <a:r>
              <a:rPr lang="en-US" sz="1200" b="1" baseline="30000" noProof="0">
                <a:latin typeface="Arial" panose="020B0604020202020204" pitchFamily="34" charset="0"/>
                <a:cs typeface="Arial" panose="020B0604020202020204" pitchFamily="34" charset="0"/>
              </a:rPr>
              <a:t>1</a:t>
            </a:r>
          </a:p>
          <a:p>
            <a:pPr defTabSz="1219139" fontAlgn="base">
              <a:spcBef>
                <a:spcPct val="0"/>
              </a:spcBef>
              <a:spcAft>
                <a:spcPct val="0"/>
              </a:spcAft>
              <a:defRPr/>
            </a:pPr>
            <a:r>
              <a:rPr lang="en-US" sz="1200" noProof="0">
                <a:cs typeface="Arial"/>
              </a:rPr>
              <a:t>Estimated prevalence of BMI ≥30 kg/m</a:t>
            </a:r>
            <a:r>
              <a:rPr lang="en-US" sz="1200" baseline="30000" noProof="0">
                <a:cs typeface="Arial"/>
              </a:rPr>
              <a:t>2</a:t>
            </a:r>
            <a:r>
              <a:rPr lang="en-US" sz="1200" noProof="0">
                <a:cs typeface="Arial"/>
              </a:rPr>
              <a:t> among US adults, </a:t>
            </a:r>
            <a:br>
              <a:rPr lang="en-US" sz="1200" noProof="0">
                <a:cs typeface="Arial"/>
              </a:rPr>
            </a:br>
            <a:r>
              <a:rPr lang="en-US" sz="1200" noProof="0">
                <a:cs typeface="Arial"/>
              </a:rPr>
              <a:t>1999–2023</a:t>
            </a:r>
            <a:r>
              <a:rPr lang="en-US" sz="1200" baseline="30000" noProof="0">
                <a:cs typeface="Arial"/>
              </a:rPr>
              <a:t>1,2</a:t>
            </a:r>
          </a:p>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30000" noProof="0">
              <a:ln>
                <a:noFill/>
              </a:ln>
              <a:effectLst/>
              <a:uLnTx/>
              <a:uFillTx/>
              <a:latin typeface="Arial" panose="020B0604020202020204" pitchFamily="34" charset="0"/>
              <a:ea typeface="Apis For Office" panose="020B0504010101010104" pitchFamily="34" charset="0"/>
              <a:cs typeface="Arial" panose="020B0604020202020204" pitchFamily="34" charset="0"/>
            </a:endParaRPr>
          </a:p>
        </p:txBody>
      </p:sp>
      <p:sp>
        <p:nvSpPr>
          <p:cNvPr id="11" name="Freeform 5">
            <a:extLst>
              <a:ext uri="{FF2B5EF4-FFF2-40B4-BE49-F238E27FC236}">
                <a16:creationId xmlns:a16="http://schemas.microsoft.com/office/drawing/2014/main" id="{6102CCD4-11BC-A05E-CDED-1B3ACD936352}"/>
              </a:ext>
            </a:extLst>
          </p:cNvPr>
          <p:cNvSpPr>
            <a:spLocks/>
          </p:cNvSpPr>
          <p:nvPr/>
        </p:nvSpPr>
        <p:spPr bwMode="auto">
          <a:xfrm>
            <a:off x="9460354" y="2138713"/>
            <a:ext cx="506606" cy="1018642"/>
          </a:xfrm>
          <a:custGeom>
            <a:avLst/>
            <a:gdLst>
              <a:gd name="T0" fmla="*/ 846 w 874"/>
              <a:gd name="T1" fmla="*/ 650 h 1828"/>
              <a:gd name="T2" fmla="*/ 614 w 874"/>
              <a:gd name="T3" fmla="*/ 296 h 1828"/>
              <a:gd name="T4" fmla="*/ 601 w 874"/>
              <a:gd name="T5" fmla="*/ 292 h 1828"/>
              <a:gd name="T6" fmla="*/ 588 w 874"/>
              <a:gd name="T7" fmla="*/ 287 h 1828"/>
              <a:gd name="T8" fmla="*/ 532 w 874"/>
              <a:gd name="T9" fmla="*/ 256 h 1828"/>
              <a:gd name="T10" fmla="*/ 541 w 874"/>
              <a:gd name="T11" fmla="*/ 154 h 1828"/>
              <a:gd name="T12" fmla="*/ 550 w 874"/>
              <a:gd name="T13" fmla="*/ 74 h 1828"/>
              <a:gd name="T14" fmla="*/ 511 w 874"/>
              <a:gd name="T15" fmla="*/ 17 h 1828"/>
              <a:gd name="T16" fmla="*/ 385 w 874"/>
              <a:gd name="T17" fmla="*/ 6 h 1828"/>
              <a:gd name="T18" fmla="*/ 325 w 874"/>
              <a:gd name="T19" fmla="*/ 54 h 1828"/>
              <a:gd name="T20" fmla="*/ 328 w 874"/>
              <a:gd name="T21" fmla="*/ 132 h 1828"/>
              <a:gd name="T22" fmla="*/ 362 w 874"/>
              <a:gd name="T23" fmla="*/ 224 h 1828"/>
              <a:gd name="T24" fmla="*/ 279 w 874"/>
              <a:gd name="T25" fmla="*/ 289 h 1828"/>
              <a:gd name="T26" fmla="*/ 266 w 874"/>
              <a:gd name="T27" fmla="*/ 294 h 1828"/>
              <a:gd name="T28" fmla="*/ 254 w 874"/>
              <a:gd name="T29" fmla="*/ 298 h 1828"/>
              <a:gd name="T30" fmla="*/ 10 w 874"/>
              <a:gd name="T31" fmla="*/ 835 h 1828"/>
              <a:gd name="T32" fmla="*/ 84 w 874"/>
              <a:gd name="T33" fmla="*/ 1017 h 1828"/>
              <a:gd name="T34" fmla="*/ 114 w 874"/>
              <a:gd name="T35" fmla="*/ 966 h 1828"/>
              <a:gd name="T36" fmla="*/ 86 w 874"/>
              <a:gd name="T37" fmla="*/ 855 h 1828"/>
              <a:gd name="T38" fmla="*/ 188 w 874"/>
              <a:gd name="T39" fmla="*/ 564 h 1828"/>
              <a:gd name="T40" fmla="*/ 188 w 874"/>
              <a:gd name="T41" fmla="*/ 568 h 1828"/>
              <a:gd name="T42" fmla="*/ 188 w 874"/>
              <a:gd name="T43" fmla="*/ 571 h 1828"/>
              <a:gd name="T44" fmla="*/ 187 w 874"/>
              <a:gd name="T45" fmla="*/ 575 h 1828"/>
              <a:gd name="T46" fmla="*/ 186 w 874"/>
              <a:gd name="T47" fmla="*/ 579 h 1828"/>
              <a:gd name="T48" fmla="*/ 185 w 874"/>
              <a:gd name="T49" fmla="*/ 584 h 1828"/>
              <a:gd name="T50" fmla="*/ 182 w 874"/>
              <a:gd name="T51" fmla="*/ 595 h 1828"/>
              <a:gd name="T52" fmla="*/ 139 w 874"/>
              <a:gd name="T53" fmla="*/ 805 h 1828"/>
              <a:gd name="T54" fmla="*/ 138 w 874"/>
              <a:gd name="T55" fmla="*/ 841 h 1828"/>
              <a:gd name="T56" fmla="*/ 140 w 874"/>
              <a:gd name="T57" fmla="*/ 882 h 1828"/>
              <a:gd name="T58" fmla="*/ 210 w 874"/>
              <a:gd name="T59" fmla="*/ 1188 h 1828"/>
              <a:gd name="T60" fmla="*/ 313 w 874"/>
              <a:gd name="T61" fmla="*/ 1738 h 1828"/>
              <a:gd name="T62" fmla="*/ 411 w 874"/>
              <a:gd name="T63" fmla="*/ 1741 h 1828"/>
              <a:gd name="T64" fmla="*/ 419 w 874"/>
              <a:gd name="T65" fmla="*/ 1210 h 1828"/>
              <a:gd name="T66" fmla="*/ 437 w 874"/>
              <a:gd name="T67" fmla="*/ 972 h 1828"/>
              <a:gd name="T68" fmla="*/ 468 w 874"/>
              <a:gd name="T69" fmla="*/ 1686 h 1828"/>
              <a:gd name="T70" fmla="*/ 581 w 874"/>
              <a:gd name="T71" fmla="*/ 1788 h 1828"/>
              <a:gd name="T72" fmla="*/ 617 w 874"/>
              <a:gd name="T73" fmla="*/ 1303 h 1828"/>
              <a:gd name="T74" fmla="*/ 733 w 874"/>
              <a:gd name="T75" fmla="*/ 887 h 1828"/>
              <a:gd name="T76" fmla="*/ 735 w 874"/>
              <a:gd name="T77" fmla="*/ 856 h 1828"/>
              <a:gd name="T78" fmla="*/ 735 w 874"/>
              <a:gd name="T79" fmla="*/ 805 h 1828"/>
              <a:gd name="T80" fmla="*/ 691 w 874"/>
              <a:gd name="T81" fmla="*/ 595 h 1828"/>
              <a:gd name="T82" fmla="*/ 688 w 874"/>
              <a:gd name="T83" fmla="*/ 584 h 1828"/>
              <a:gd name="T84" fmla="*/ 687 w 874"/>
              <a:gd name="T85" fmla="*/ 579 h 1828"/>
              <a:gd name="T86" fmla="*/ 686 w 874"/>
              <a:gd name="T87" fmla="*/ 574 h 1828"/>
              <a:gd name="T88" fmla="*/ 685 w 874"/>
              <a:gd name="T89" fmla="*/ 570 h 1828"/>
              <a:gd name="T90" fmla="*/ 685 w 874"/>
              <a:gd name="T91" fmla="*/ 567 h 1828"/>
              <a:gd name="T92" fmla="*/ 734 w 874"/>
              <a:gd name="T93" fmla="*/ 645 h 1828"/>
              <a:gd name="T94" fmla="*/ 791 w 874"/>
              <a:gd name="T95" fmla="*/ 876 h 1828"/>
              <a:gd name="T96" fmla="*/ 807 w 874"/>
              <a:gd name="T97" fmla="*/ 916 h 1828"/>
              <a:gd name="T98" fmla="*/ 865 w 874"/>
              <a:gd name="T99" fmla="*/ 86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4" h="1828">
                <a:moveTo>
                  <a:pt x="865" y="867"/>
                </a:moveTo>
                <a:cubicBezTo>
                  <a:pt x="865" y="866"/>
                  <a:pt x="865" y="866"/>
                  <a:pt x="865" y="865"/>
                </a:cubicBezTo>
                <a:cubicBezTo>
                  <a:pt x="865" y="856"/>
                  <a:pt x="863" y="846"/>
                  <a:pt x="863" y="835"/>
                </a:cubicBezTo>
                <a:cubicBezTo>
                  <a:pt x="864" y="741"/>
                  <a:pt x="863" y="690"/>
                  <a:pt x="846" y="650"/>
                </a:cubicBezTo>
                <a:cubicBezTo>
                  <a:pt x="846" y="648"/>
                  <a:pt x="845" y="645"/>
                  <a:pt x="845" y="644"/>
                </a:cubicBezTo>
                <a:cubicBezTo>
                  <a:pt x="840" y="441"/>
                  <a:pt x="729" y="319"/>
                  <a:pt x="621" y="298"/>
                </a:cubicBezTo>
                <a:cubicBezTo>
                  <a:pt x="621" y="298"/>
                  <a:pt x="620" y="298"/>
                  <a:pt x="620" y="298"/>
                </a:cubicBezTo>
                <a:cubicBezTo>
                  <a:pt x="618" y="297"/>
                  <a:pt x="616" y="297"/>
                  <a:pt x="614" y="296"/>
                </a:cubicBezTo>
                <a:cubicBezTo>
                  <a:pt x="614" y="296"/>
                  <a:pt x="614" y="296"/>
                  <a:pt x="613" y="296"/>
                </a:cubicBezTo>
                <a:cubicBezTo>
                  <a:pt x="612" y="295"/>
                  <a:pt x="610" y="295"/>
                  <a:pt x="608" y="294"/>
                </a:cubicBezTo>
                <a:cubicBezTo>
                  <a:pt x="607" y="294"/>
                  <a:pt x="607" y="294"/>
                  <a:pt x="607" y="294"/>
                </a:cubicBezTo>
                <a:cubicBezTo>
                  <a:pt x="605" y="293"/>
                  <a:pt x="603" y="292"/>
                  <a:pt x="601" y="292"/>
                </a:cubicBezTo>
                <a:cubicBezTo>
                  <a:pt x="601" y="292"/>
                  <a:pt x="601" y="292"/>
                  <a:pt x="601" y="292"/>
                </a:cubicBezTo>
                <a:cubicBezTo>
                  <a:pt x="599" y="291"/>
                  <a:pt x="597" y="290"/>
                  <a:pt x="594" y="289"/>
                </a:cubicBezTo>
                <a:cubicBezTo>
                  <a:pt x="594" y="289"/>
                  <a:pt x="594" y="289"/>
                  <a:pt x="594" y="289"/>
                </a:cubicBezTo>
                <a:cubicBezTo>
                  <a:pt x="592" y="288"/>
                  <a:pt x="590" y="288"/>
                  <a:pt x="588" y="287"/>
                </a:cubicBezTo>
                <a:cubicBezTo>
                  <a:pt x="588" y="287"/>
                  <a:pt x="588" y="287"/>
                  <a:pt x="588" y="287"/>
                </a:cubicBezTo>
                <a:cubicBezTo>
                  <a:pt x="581" y="284"/>
                  <a:pt x="574" y="281"/>
                  <a:pt x="567" y="278"/>
                </a:cubicBezTo>
                <a:cubicBezTo>
                  <a:pt x="567" y="278"/>
                  <a:pt x="567" y="278"/>
                  <a:pt x="567" y="278"/>
                </a:cubicBezTo>
                <a:cubicBezTo>
                  <a:pt x="552" y="271"/>
                  <a:pt x="538" y="263"/>
                  <a:pt x="532" y="256"/>
                </a:cubicBezTo>
                <a:cubicBezTo>
                  <a:pt x="521" y="245"/>
                  <a:pt x="515" y="234"/>
                  <a:pt x="512" y="224"/>
                </a:cubicBezTo>
                <a:cubicBezTo>
                  <a:pt x="516" y="218"/>
                  <a:pt x="519" y="212"/>
                  <a:pt x="521" y="207"/>
                </a:cubicBezTo>
                <a:cubicBezTo>
                  <a:pt x="524" y="196"/>
                  <a:pt x="528" y="187"/>
                  <a:pt x="530" y="175"/>
                </a:cubicBezTo>
                <a:cubicBezTo>
                  <a:pt x="535" y="169"/>
                  <a:pt x="538" y="162"/>
                  <a:pt x="541" y="154"/>
                </a:cubicBezTo>
                <a:cubicBezTo>
                  <a:pt x="545" y="145"/>
                  <a:pt x="541" y="141"/>
                  <a:pt x="546" y="132"/>
                </a:cubicBezTo>
                <a:cubicBezTo>
                  <a:pt x="550" y="126"/>
                  <a:pt x="552" y="118"/>
                  <a:pt x="550" y="112"/>
                </a:cubicBezTo>
                <a:cubicBezTo>
                  <a:pt x="549" y="105"/>
                  <a:pt x="553" y="99"/>
                  <a:pt x="554" y="93"/>
                </a:cubicBezTo>
                <a:cubicBezTo>
                  <a:pt x="555" y="86"/>
                  <a:pt x="551" y="80"/>
                  <a:pt x="550" y="74"/>
                </a:cubicBezTo>
                <a:cubicBezTo>
                  <a:pt x="549" y="67"/>
                  <a:pt x="551" y="61"/>
                  <a:pt x="548" y="54"/>
                </a:cubicBezTo>
                <a:cubicBezTo>
                  <a:pt x="546" y="50"/>
                  <a:pt x="540" y="46"/>
                  <a:pt x="537" y="42"/>
                </a:cubicBezTo>
                <a:cubicBezTo>
                  <a:pt x="534" y="36"/>
                  <a:pt x="532" y="32"/>
                  <a:pt x="528" y="27"/>
                </a:cubicBezTo>
                <a:cubicBezTo>
                  <a:pt x="523" y="21"/>
                  <a:pt x="517" y="20"/>
                  <a:pt x="511" y="17"/>
                </a:cubicBezTo>
                <a:cubicBezTo>
                  <a:pt x="502" y="13"/>
                  <a:pt x="498" y="8"/>
                  <a:pt x="488" y="6"/>
                </a:cubicBezTo>
                <a:cubicBezTo>
                  <a:pt x="471" y="3"/>
                  <a:pt x="455" y="0"/>
                  <a:pt x="437" y="0"/>
                </a:cubicBezTo>
                <a:cubicBezTo>
                  <a:pt x="436" y="0"/>
                  <a:pt x="436" y="0"/>
                  <a:pt x="436" y="0"/>
                </a:cubicBezTo>
                <a:cubicBezTo>
                  <a:pt x="418" y="0"/>
                  <a:pt x="403" y="3"/>
                  <a:pt x="385" y="6"/>
                </a:cubicBezTo>
                <a:cubicBezTo>
                  <a:pt x="375" y="8"/>
                  <a:pt x="372" y="13"/>
                  <a:pt x="363" y="17"/>
                </a:cubicBezTo>
                <a:cubicBezTo>
                  <a:pt x="356" y="20"/>
                  <a:pt x="350" y="21"/>
                  <a:pt x="346" y="27"/>
                </a:cubicBezTo>
                <a:cubicBezTo>
                  <a:pt x="341" y="32"/>
                  <a:pt x="340" y="36"/>
                  <a:pt x="336" y="42"/>
                </a:cubicBezTo>
                <a:cubicBezTo>
                  <a:pt x="333" y="46"/>
                  <a:pt x="327" y="50"/>
                  <a:pt x="325" y="54"/>
                </a:cubicBezTo>
                <a:cubicBezTo>
                  <a:pt x="323" y="61"/>
                  <a:pt x="325" y="67"/>
                  <a:pt x="324" y="74"/>
                </a:cubicBezTo>
                <a:cubicBezTo>
                  <a:pt x="322" y="80"/>
                  <a:pt x="319" y="86"/>
                  <a:pt x="319" y="93"/>
                </a:cubicBezTo>
                <a:cubicBezTo>
                  <a:pt x="320" y="99"/>
                  <a:pt x="324" y="105"/>
                  <a:pt x="323" y="112"/>
                </a:cubicBezTo>
                <a:cubicBezTo>
                  <a:pt x="322" y="118"/>
                  <a:pt x="324" y="126"/>
                  <a:pt x="328" y="132"/>
                </a:cubicBezTo>
                <a:cubicBezTo>
                  <a:pt x="333" y="141"/>
                  <a:pt x="329" y="145"/>
                  <a:pt x="332" y="154"/>
                </a:cubicBezTo>
                <a:cubicBezTo>
                  <a:pt x="335" y="162"/>
                  <a:pt x="339" y="169"/>
                  <a:pt x="343" y="175"/>
                </a:cubicBezTo>
                <a:cubicBezTo>
                  <a:pt x="345" y="187"/>
                  <a:pt x="350" y="196"/>
                  <a:pt x="353" y="207"/>
                </a:cubicBezTo>
                <a:cubicBezTo>
                  <a:pt x="355" y="212"/>
                  <a:pt x="358" y="218"/>
                  <a:pt x="362" y="224"/>
                </a:cubicBezTo>
                <a:cubicBezTo>
                  <a:pt x="358" y="234"/>
                  <a:pt x="352" y="245"/>
                  <a:pt x="342" y="256"/>
                </a:cubicBezTo>
                <a:cubicBezTo>
                  <a:pt x="335" y="263"/>
                  <a:pt x="321" y="271"/>
                  <a:pt x="306" y="278"/>
                </a:cubicBezTo>
                <a:cubicBezTo>
                  <a:pt x="306" y="278"/>
                  <a:pt x="306" y="278"/>
                  <a:pt x="306" y="278"/>
                </a:cubicBezTo>
                <a:cubicBezTo>
                  <a:pt x="297" y="282"/>
                  <a:pt x="288" y="286"/>
                  <a:pt x="279" y="289"/>
                </a:cubicBezTo>
                <a:cubicBezTo>
                  <a:pt x="279" y="289"/>
                  <a:pt x="279" y="289"/>
                  <a:pt x="279" y="289"/>
                </a:cubicBezTo>
                <a:cubicBezTo>
                  <a:pt x="277" y="290"/>
                  <a:pt x="275" y="291"/>
                  <a:pt x="273" y="292"/>
                </a:cubicBezTo>
                <a:cubicBezTo>
                  <a:pt x="273" y="292"/>
                  <a:pt x="273" y="292"/>
                  <a:pt x="272" y="292"/>
                </a:cubicBezTo>
                <a:cubicBezTo>
                  <a:pt x="270" y="292"/>
                  <a:pt x="268" y="293"/>
                  <a:pt x="266" y="294"/>
                </a:cubicBezTo>
                <a:cubicBezTo>
                  <a:pt x="266" y="294"/>
                  <a:pt x="266" y="294"/>
                  <a:pt x="266" y="294"/>
                </a:cubicBezTo>
                <a:cubicBezTo>
                  <a:pt x="264" y="295"/>
                  <a:pt x="262" y="295"/>
                  <a:pt x="260" y="296"/>
                </a:cubicBezTo>
                <a:cubicBezTo>
                  <a:pt x="260" y="296"/>
                  <a:pt x="260" y="296"/>
                  <a:pt x="260" y="296"/>
                </a:cubicBezTo>
                <a:cubicBezTo>
                  <a:pt x="258" y="297"/>
                  <a:pt x="256" y="297"/>
                  <a:pt x="254" y="298"/>
                </a:cubicBezTo>
                <a:cubicBezTo>
                  <a:pt x="253" y="298"/>
                  <a:pt x="253" y="298"/>
                  <a:pt x="252" y="298"/>
                </a:cubicBezTo>
                <a:cubicBezTo>
                  <a:pt x="145" y="319"/>
                  <a:pt x="33" y="441"/>
                  <a:pt x="28" y="644"/>
                </a:cubicBezTo>
                <a:cubicBezTo>
                  <a:pt x="28" y="645"/>
                  <a:pt x="28" y="648"/>
                  <a:pt x="28" y="650"/>
                </a:cubicBezTo>
                <a:cubicBezTo>
                  <a:pt x="10" y="690"/>
                  <a:pt x="9" y="741"/>
                  <a:pt x="10" y="835"/>
                </a:cubicBezTo>
                <a:cubicBezTo>
                  <a:pt x="10" y="846"/>
                  <a:pt x="8" y="856"/>
                  <a:pt x="8" y="865"/>
                </a:cubicBezTo>
                <a:cubicBezTo>
                  <a:pt x="8" y="866"/>
                  <a:pt x="8" y="866"/>
                  <a:pt x="9" y="867"/>
                </a:cubicBezTo>
                <a:cubicBezTo>
                  <a:pt x="0" y="892"/>
                  <a:pt x="5" y="920"/>
                  <a:pt x="14" y="943"/>
                </a:cubicBezTo>
                <a:cubicBezTo>
                  <a:pt x="34" y="999"/>
                  <a:pt x="76" y="1025"/>
                  <a:pt x="84" y="1017"/>
                </a:cubicBezTo>
                <a:cubicBezTo>
                  <a:pt x="93" y="1008"/>
                  <a:pt x="80" y="997"/>
                  <a:pt x="71" y="977"/>
                </a:cubicBezTo>
                <a:cubicBezTo>
                  <a:pt x="56" y="946"/>
                  <a:pt x="68" y="929"/>
                  <a:pt x="67" y="916"/>
                </a:cubicBezTo>
                <a:cubicBezTo>
                  <a:pt x="73" y="926"/>
                  <a:pt x="78" y="921"/>
                  <a:pt x="88" y="952"/>
                </a:cubicBezTo>
                <a:cubicBezTo>
                  <a:pt x="93" y="964"/>
                  <a:pt x="114" y="967"/>
                  <a:pt x="114" y="966"/>
                </a:cubicBezTo>
                <a:cubicBezTo>
                  <a:pt x="112" y="954"/>
                  <a:pt x="109" y="941"/>
                  <a:pt x="107" y="928"/>
                </a:cubicBezTo>
                <a:cubicBezTo>
                  <a:pt x="100" y="893"/>
                  <a:pt x="90" y="884"/>
                  <a:pt x="83" y="876"/>
                </a:cubicBezTo>
                <a:cubicBezTo>
                  <a:pt x="83" y="875"/>
                  <a:pt x="84" y="874"/>
                  <a:pt x="84" y="873"/>
                </a:cubicBezTo>
                <a:cubicBezTo>
                  <a:pt x="84" y="873"/>
                  <a:pt x="84" y="863"/>
                  <a:pt x="86" y="855"/>
                </a:cubicBezTo>
                <a:cubicBezTo>
                  <a:pt x="99" y="807"/>
                  <a:pt x="141" y="758"/>
                  <a:pt x="142" y="686"/>
                </a:cubicBezTo>
                <a:cubicBezTo>
                  <a:pt x="142" y="669"/>
                  <a:pt x="141" y="656"/>
                  <a:pt x="140" y="645"/>
                </a:cubicBezTo>
                <a:cubicBezTo>
                  <a:pt x="154" y="625"/>
                  <a:pt x="172" y="596"/>
                  <a:pt x="188" y="564"/>
                </a:cubicBezTo>
                <a:cubicBezTo>
                  <a:pt x="188" y="564"/>
                  <a:pt x="188" y="564"/>
                  <a:pt x="188" y="564"/>
                </a:cubicBezTo>
                <a:cubicBezTo>
                  <a:pt x="188" y="565"/>
                  <a:pt x="188" y="566"/>
                  <a:pt x="188" y="567"/>
                </a:cubicBezTo>
                <a:cubicBezTo>
                  <a:pt x="188" y="567"/>
                  <a:pt x="188" y="567"/>
                  <a:pt x="188" y="567"/>
                </a:cubicBezTo>
                <a:cubicBezTo>
                  <a:pt x="188" y="567"/>
                  <a:pt x="188" y="568"/>
                  <a:pt x="188" y="568"/>
                </a:cubicBezTo>
                <a:cubicBezTo>
                  <a:pt x="188" y="568"/>
                  <a:pt x="188" y="568"/>
                  <a:pt x="188" y="568"/>
                </a:cubicBezTo>
                <a:cubicBezTo>
                  <a:pt x="188" y="569"/>
                  <a:pt x="188" y="569"/>
                  <a:pt x="188" y="570"/>
                </a:cubicBezTo>
                <a:cubicBezTo>
                  <a:pt x="188" y="570"/>
                  <a:pt x="188" y="570"/>
                  <a:pt x="188" y="570"/>
                </a:cubicBezTo>
                <a:cubicBezTo>
                  <a:pt x="188" y="570"/>
                  <a:pt x="188" y="571"/>
                  <a:pt x="188" y="571"/>
                </a:cubicBezTo>
                <a:cubicBezTo>
                  <a:pt x="188" y="571"/>
                  <a:pt x="188" y="571"/>
                  <a:pt x="188" y="571"/>
                </a:cubicBezTo>
                <a:cubicBezTo>
                  <a:pt x="188" y="572"/>
                  <a:pt x="188" y="573"/>
                  <a:pt x="188" y="573"/>
                </a:cubicBezTo>
                <a:cubicBezTo>
                  <a:pt x="188" y="574"/>
                  <a:pt x="188" y="574"/>
                  <a:pt x="188" y="574"/>
                </a:cubicBezTo>
                <a:cubicBezTo>
                  <a:pt x="188" y="574"/>
                  <a:pt x="188" y="574"/>
                  <a:pt x="187" y="575"/>
                </a:cubicBezTo>
                <a:cubicBezTo>
                  <a:pt x="187" y="575"/>
                  <a:pt x="187" y="575"/>
                  <a:pt x="187" y="575"/>
                </a:cubicBezTo>
                <a:cubicBezTo>
                  <a:pt x="187" y="576"/>
                  <a:pt x="187" y="577"/>
                  <a:pt x="187" y="578"/>
                </a:cubicBezTo>
                <a:cubicBezTo>
                  <a:pt x="187" y="578"/>
                  <a:pt x="187" y="578"/>
                  <a:pt x="187" y="578"/>
                </a:cubicBezTo>
                <a:cubicBezTo>
                  <a:pt x="187" y="578"/>
                  <a:pt x="187" y="579"/>
                  <a:pt x="186" y="579"/>
                </a:cubicBezTo>
                <a:cubicBezTo>
                  <a:pt x="186" y="579"/>
                  <a:pt x="186" y="579"/>
                  <a:pt x="186" y="579"/>
                </a:cubicBezTo>
                <a:cubicBezTo>
                  <a:pt x="186" y="580"/>
                  <a:pt x="186" y="582"/>
                  <a:pt x="186" y="583"/>
                </a:cubicBezTo>
                <a:cubicBezTo>
                  <a:pt x="186" y="583"/>
                  <a:pt x="186" y="583"/>
                  <a:pt x="186" y="583"/>
                </a:cubicBezTo>
                <a:cubicBezTo>
                  <a:pt x="186" y="583"/>
                  <a:pt x="185" y="583"/>
                  <a:pt x="185" y="584"/>
                </a:cubicBezTo>
                <a:cubicBezTo>
                  <a:pt x="185" y="584"/>
                  <a:pt x="185" y="584"/>
                  <a:pt x="185" y="584"/>
                </a:cubicBezTo>
                <a:cubicBezTo>
                  <a:pt x="185" y="585"/>
                  <a:pt x="185" y="586"/>
                  <a:pt x="184" y="587"/>
                </a:cubicBezTo>
                <a:cubicBezTo>
                  <a:pt x="184" y="588"/>
                  <a:pt x="184" y="589"/>
                  <a:pt x="184" y="590"/>
                </a:cubicBezTo>
                <a:cubicBezTo>
                  <a:pt x="184" y="590"/>
                  <a:pt x="184" y="590"/>
                  <a:pt x="183" y="590"/>
                </a:cubicBezTo>
                <a:cubicBezTo>
                  <a:pt x="183" y="592"/>
                  <a:pt x="183" y="593"/>
                  <a:pt x="182" y="595"/>
                </a:cubicBezTo>
                <a:cubicBezTo>
                  <a:pt x="182" y="595"/>
                  <a:pt x="182" y="595"/>
                  <a:pt x="182" y="595"/>
                </a:cubicBezTo>
                <a:cubicBezTo>
                  <a:pt x="181" y="597"/>
                  <a:pt x="181" y="600"/>
                  <a:pt x="180" y="602"/>
                </a:cubicBezTo>
                <a:cubicBezTo>
                  <a:pt x="166" y="645"/>
                  <a:pt x="141" y="718"/>
                  <a:pt x="139" y="805"/>
                </a:cubicBezTo>
                <a:cubicBezTo>
                  <a:pt x="139" y="805"/>
                  <a:pt x="139" y="805"/>
                  <a:pt x="139" y="805"/>
                </a:cubicBezTo>
                <a:cubicBezTo>
                  <a:pt x="139" y="805"/>
                  <a:pt x="139" y="805"/>
                  <a:pt x="139" y="805"/>
                </a:cubicBezTo>
                <a:cubicBezTo>
                  <a:pt x="139" y="805"/>
                  <a:pt x="139" y="805"/>
                  <a:pt x="139" y="805"/>
                </a:cubicBezTo>
                <a:cubicBezTo>
                  <a:pt x="138" y="816"/>
                  <a:pt x="138" y="828"/>
                  <a:pt x="138" y="840"/>
                </a:cubicBezTo>
                <a:cubicBezTo>
                  <a:pt x="138" y="840"/>
                  <a:pt x="138" y="841"/>
                  <a:pt x="138" y="841"/>
                </a:cubicBezTo>
                <a:cubicBezTo>
                  <a:pt x="138" y="846"/>
                  <a:pt x="139" y="851"/>
                  <a:pt x="139" y="856"/>
                </a:cubicBezTo>
                <a:cubicBezTo>
                  <a:pt x="139" y="858"/>
                  <a:pt x="139" y="859"/>
                  <a:pt x="139" y="861"/>
                </a:cubicBezTo>
                <a:cubicBezTo>
                  <a:pt x="139" y="865"/>
                  <a:pt x="139" y="869"/>
                  <a:pt x="140" y="873"/>
                </a:cubicBezTo>
                <a:cubicBezTo>
                  <a:pt x="140" y="876"/>
                  <a:pt x="140" y="879"/>
                  <a:pt x="140" y="882"/>
                </a:cubicBezTo>
                <a:cubicBezTo>
                  <a:pt x="141" y="884"/>
                  <a:pt x="141" y="886"/>
                  <a:pt x="141" y="888"/>
                </a:cubicBezTo>
                <a:cubicBezTo>
                  <a:pt x="143" y="909"/>
                  <a:pt x="145" y="931"/>
                  <a:pt x="149" y="953"/>
                </a:cubicBezTo>
                <a:cubicBezTo>
                  <a:pt x="149" y="953"/>
                  <a:pt x="149" y="953"/>
                  <a:pt x="149" y="953"/>
                </a:cubicBezTo>
                <a:cubicBezTo>
                  <a:pt x="164" y="1054"/>
                  <a:pt x="193" y="1152"/>
                  <a:pt x="210" y="1188"/>
                </a:cubicBezTo>
                <a:cubicBezTo>
                  <a:pt x="230" y="1229"/>
                  <a:pt x="249" y="1251"/>
                  <a:pt x="257" y="1303"/>
                </a:cubicBezTo>
                <a:cubicBezTo>
                  <a:pt x="261" y="1334"/>
                  <a:pt x="254" y="1376"/>
                  <a:pt x="254" y="1425"/>
                </a:cubicBezTo>
                <a:cubicBezTo>
                  <a:pt x="255" y="1500"/>
                  <a:pt x="300" y="1616"/>
                  <a:pt x="327" y="1691"/>
                </a:cubicBezTo>
                <a:cubicBezTo>
                  <a:pt x="329" y="1698"/>
                  <a:pt x="314" y="1726"/>
                  <a:pt x="313" y="1738"/>
                </a:cubicBezTo>
                <a:cubicBezTo>
                  <a:pt x="310" y="1761"/>
                  <a:pt x="295" y="1775"/>
                  <a:pt x="293" y="1788"/>
                </a:cubicBezTo>
                <a:cubicBezTo>
                  <a:pt x="289" y="1809"/>
                  <a:pt x="342" y="1815"/>
                  <a:pt x="357" y="1816"/>
                </a:cubicBezTo>
                <a:cubicBezTo>
                  <a:pt x="368" y="1817"/>
                  <a:pt x="422" y="1828"/>
                  <a:pt x="423" y="1801"/>
                </a:cubicBezTo>
                <a:cubicBezTo>
                  <a:pt x="423" y="1792"/>
                  <a:pt x="413" y="1767"/>
                  <a:pt x="411" y="1741"/>
                </a:cubicBezTo>
                <a:cubicBezTo>
                  <a:pt x="408" y="1714"/>
                  <a:pt x="407" y="1700"/>
                  <a:pt x="406" y="1686"/>
                </a:cubicBezTo>
                <a:cubicBezTo>
                  <a:pt x="403" y="1630"/>
                  <a:pt x="426" y="1531"/>
                  <a:pt x="429" y="1446"/>
                </a:cubicBezTo>
                <a:cubicBezTo>
                  <a:pt x="432" y="1380"/>
                  <a:pt x="419" y="1349"/>
                  <a:pt x="417" y="1314"/>
                </a:cubicBezTo>
                <a:cubicBezTo>
                  <a:pt x="415" y="1286"/>
                  <a:pt x="427" y="1272"/>
                  <a:pt x="419" y="1210"/>
                </a:cubicBezTo>
                <a:cubicBezTo>
                  <a:pt x="417" y="1197"/>
                  <a:pt x="434" y="1085"/>
                  <a:pt x="437" y="972"/>
                </a:cubicBezTo>
                <a:cubicBezTo>
                  <a:pt x="437" y="972"/>
                  <a:pt x="437" y="972"/>
                  <a:pt x="437" y="972"/>
                </a:cubicBezTo>
                <a:cubicBezTo>
                  <a:pt x="437" y="965"/>
                  <a:pt x="437" y="965"/>
                  <a:pt x="437" y="972"/>
                </a:cubicBezTo>
                <a:cubicBezTo>
                  <a:pt x="437" y="972"/>
                  <a:pt x="437" y="972"/>
                  <a:pt x="437" y="972"/>
                </a:cubicBezTo>
                <a:cubicBezTo>
                  <a:pt x="439" y="1085"/>
                  <a:pt x="457" y="1197"/>
                  <a:pt x="455" y="1210"/>
                </a:cubicBezTo>
                <a:cubicBezTo>
                  <a:pt x="447" y="1272"/>
                  <a:pt x="458" y="1286"/>
                  <a:pt x="457" y="1314"/>
                </a:cubicBezTo>
                <a:cubicBezTo>
                  <a:pt x="454" y="1349"/>
                  <a:pt x="442" y="1380"/>
                  <a:pt x="444" y="1446"/>
                </a:cubicBezTo>
                <a:cubicBezTo>
                  <a:pt x="448" y="1531"/>
                  <a:pt x="471" y="1630"/>
                  <a:pt x="468" y="1686"/>
                </a:cubicBezTo>
                <a:cubicBezTo>
                  <a:pt x="467" y="1700"/>
                  <a:pt x="465" y="1714"/>
                  <a:pt x="463" y="1741"/>
                </a:cubicBezTo>
                <a:cubicBezTo>
                  <a:pt x="460" y="1767"/>
                  <a:pt x="450" y="1792"/>
                  <a:pt x="450" y="1801"/>
                </a:cubicBezTo>
                <a:cubicBezTo>
                  <a:pt x="451" y="1828"/>
                  <a:pt x="505" y="1817"/>
                  <a:pt x="517" y="1816"/>
                </a:cubicBezTo>
                <a:cubicBezTo>
                  <a:pt x="531" y="1815"/>
                  <a:pt x="585" y="1809"/>
                  <a:pt x="581" y="1788"/>
                </a:cubicBezTo>
                <a:cubicBezTo>
                  <a:pt x="578" y="1775"/>
                  <a:pt x="564" y="1761"/>
                  <a:pt x="561" y="1738"/>
                </a:cubicBezTo>
                <a:cubicBezTo>
                  <a:pt x="559" y="1726"/>
                  <a:pt x="544" y="1698"/>
                  <a:pt x="546" y="1691"/>
                </a:cubicBezTo>
                <a:cubicBezTo>
                  <a:pt x="574" y="1616"/>
                  <a:pt x="618" y="1500"/>
                  <a:pt x="619" y="1425"/>
                </a:cubicBezTo>
                <a:cubicBezTo>
                  <a:pt x="620" y="1376"/>
                  <a:pt x="612" y="1334"/>
                  <a:pt x="617" y="1303"/>
                </a:cubicBezTo>
                <a:cubicBezTo>
                  <a:pt x="625" y="1251"/>
                  <a:pt x="643" y="1229"/>
                  <a:pt x="664" y="1188"/>
                </a:cubicBezTo>
                <a:cubicBezTo>
                  <a:pt x="681" y="1152"/>
                  <a:pt x="709" y="1054"/>
                  <a:pt x="725" y="953"/>
                </a:cubicBezTo>
                <a:cubicBezTo>
                  <a:pt x="725" y="953"/>
                  <a:pt x="725" y="953"/>
                  <a:pt x="725" y="953"/>
                </a:cubicBezTo>
                <a:cubicBezTo>
                  <a:pt x="728" y="931"/>
                  <a:pt x="731" y="909"/>
                  <a:pt x="733" y="887"/>
                </a:cubicBezTo>
                <a:cubicBezTo>
                  <a:pt x="733" y="886"/>
                  <a:pt x="733" y="884"/>
                  <a:pt x="733" y="883"/>
                </a:cubicBezTo>
                <a:cubicBezTo>
                  <a:pt x="733" y="879"/>
                  <a:pt x="734" y="876"/>
                  <a:pt x="734" y="872"/>
                </a:cubicBezTo>
                <a:cubicBezTo>
                  <a:pt x="734" y="869"/>
                  <a:pt x="734" y="865"/>
                  <a:pt x="735" y="861"/>
                </a:cubicBezTo>
                <a:cubicBezTo>
                  <a:pt x="735" y="859"/>
                  <a:pt x="735" y="858"/>
                  <a:pt x="735" y="856"/>
                </a:cubicBezTo>
                <a:cubicBezTo>
                  <a:pt x="735" y="851"/>
                  <a:pt x="735" y="846"/>
                  <a:pt x="735" y="841"/>
                </a:cubicBezTo>
                <a:cubicBezTo>
                  <a:pt x="735" y="841"/>
                  <a:pt x="735" y="840"/>
                  <a:pt x="735" y="840"/>
                </a:cubicBezTo>
                <a:cubicBezTo>
                  <a:pt x="736" y="828"/>
                  <a:pt x="735" y="816"/>
                  <a:pt x="735" y="805"/>
                </a:cubicBezTo>
                <a:cubicBezTo>
                  <a:pt x="735" y="805"/>
                  <a:pt x="735" y="805"/>
                  <a:pt x="735" y="805"/>
                </a:cubicBezTo>
                <a:cubicBezTo>
                  <a:pt x="735" y="805"/>
                  <a:pt x="735" y="805"/>
                  <a:pt x="735" y="805"/>
                </a:cubicBezTo>
                <a:cubicBezTo>
                  <a:pt x="735" y="805"/>
                  <a:pt x="735" y="805"/>
                  <a:pt x="735" y="805"/>
                </a:cubicBezTo>
                <a:cubicBezTo>
                  <a:pt x="733" y="718"/>
                  <a:pt x="707" y="645"/>
                  <a:pt x="694" y="602"/>
                </a:cubicBezTo>
                <a:cubicBezTo>
                  <a:pt x="693" y="600"/>
                  <a:pt x="692" y="597"/>
                  <a:pt x="691" y="595"/>
                </a:cubicBezTo>
                <a:cubicBezTo>
                  <a:pt x="691" y="595"/>
                  <a:pt x="691" y="595"/>
                  <a:pt x="691" y="595"/>
                </a:cubicBezTo>
                <a:cubicBezTo>
                  <a:pt x="691" y="593"/>
                  <a:pt x="690" y="591"/>
                  <a:pt x="690" y="589"/>
                </a:cubicBezTo>
                <a:cubicBezTo>
                  <a:pt x="690" y="589"/>
                  <a:pt x="689" y="588"/>
                  <a:pt x="689" y="587"/>
                </a:cubicBezTo>
                <a:cubicBezTo>
                  <a:pt x="689" y="586"/>
                  <a:pt x="688" y="585"/>
                  <a:pt x="688" y="584"/>
                </a:cubicBezTo>
                <a:cubicBezTo>
                  <a:pt x="688" y="584"/>
                  <a:pt x="688" y="584"/>
                  <a:pt x="688" y="584"/>
                </a:cubicBezTo>
                <a:cubicBezTo>
                  <a:pt x="688" y="583"/>
                  <a:pt x="688" y="583"/>
                  <a:pt x="688" y="583"/>
                </a:cubicBezTo>
                <a:cubicBezTo>
                  <a:pt x="688" y="582"/>
                  <a:pt x="687" y="580"/>
                  <a:pt x="687" y="579"/>
                </a:cubicBezTo>
                <a:cubicBezTo>
                  <a:pt x="687" y="579"/>
                  <a:pt x="687" y="579"/>
                  <a:pt x="687" y="579"/>
                </a:cubicBezTo>
                <a:cubicBezTo>
                  <a:pt x="687" y="579"/>
                  <a:pt x="687" y="578"/>
                  <a:pt x="687" y="578"/>
                </a:cubicBezTo>
                <a:cubicBezTo>
                  <a:pt x="686" y="577"/>
                  <a:pt x="686" y="576"/>
                  <a:pt x="686" y="575"/>
                </a:cubicBezTo>
                <a:cubicBezTo>
                  <a:pt x="686" y="575"/>
                  <a:pt x="686" y="575"/>
                  <a:pt x="686" y="575"/>
                </a:cubicBezTo>
                <a:cubicBezTo>
                  <a:pt x="686" y="574"/>
                  <a:pt x="686" y="574"/>
                  <a:pt x="686" y="574"/>
                </a:cubicBezTo>
                <a:cubicBezTo>
                  <a:pt x="686" y="574"/>
                  <a:pt x="686" y="574"/>
                  <a:pt x="686" y="574"/>
                </a:cubicBezTo>
                <a:cubicBezTo>
                  <a:pt x="686" y="573"/>
                  <a:pt x="686" y="572"/>
                  <a:pt x="685" y="571"/>
                </a:cubicBezTo>
                <a:cubicBezTo>
                  <a:pt x="685" y="571"/>
                  <a:pt x="685" y="571"/>
                  <a:pt x="685" y="571"/>
                </a:cubicBezTo>
                <a:cubicBezTo>
                  <a:pt x="685" y="571"/>
                  <a:pt x="685" y="570"/>
                  <a:pt x="685" y="570"/>
                </a:cubicBezTo>
                <a:cubicBezTo>
                  <a:pt x="685" y="570"/>
                  <a:pt x="685" y="570"/>
                  <a:pt x="685" y="570"/>
                </a:cubicBezTo>
                <a:cubicBezTo>
                  <a:pt x="685" y="569"/>
                  <a:pt x="685" y="569"/>
                  <a:pt x="685" y="568"/>
                </a:cubicBezTo>
                <a:cubicBezTo>
                  <a:pt x="685" y="568"/>
                  <a:pt x="685" y="568"/>
                  <a:pt x="685" y="568"/>
                </a:cubicBezTo>
                <a:cubicBezTo>
                  <a:pt x="685" y="568"/>
                  <a:pt x="685" y="567"/>
                  <a:pt x="685" y="567"/>
                </a:cubicBezTo>
                <a:cubicBezTo>
                  <a:pt x="685" y="567"/>
                  <a:pt x="685" y="567"/>
                  <a:pt x="685" y="567"/>
                </a:cubicBezTo>
                <a:cubicBezTo>
                  <a:pt x="685" y="566"/>
                  <a:pt x="685" y="565"/>
                  <a:pt x="685" y="564"/>
                </a:cubicBezTo>
                <a:cubicBezTo>
                  <a:pt x="685" y="564"/>
                  <a:pt x="685" y="564"/>
                  <a:pt x="685" y="564"/>
                </a:cubicBezTo>
                <a:cubicBezTo>
                  <a:pt x="702" y="596"/>
                  <a:pt x="719" y="625"/>
                  <a:pt x="734" y="645"/>
                </a:cubicBezTo>
                <a:cubicBezTo>
                  <a:pt x="732" y="656"/>
                  <a:pt x="732" y="669"/>
                  <a:pt x="732" y="686"/>
                </a:cubicBezTo>
                <a:cubicBezTo>
                  <a:pt x="732" y="758"/>
                  <a:pt x="775" y="807"/>
                  <a:pt x="787" y="855"/>
                </a:cubicBezTo>
                <a:cubicBezTo>
                  <a:pt x="789" y="863"/>
                  <a:pt x="790" y="873"/>
                  <a:pt x="790" y="873"/>
                </a:cubicBezTo>
                <a:cubicBezTo>
                  <a:pt x="790" y="874"/>
                  <a:pt x="790" y="875"/>
                  <a:pt x="791" y="876"/>
                </a:cubicBezTo>
                <a:cubicBezTo>
                  <a:pt x="783" y="884"/>
                  <a:pt x="773" y="893"/>
                  <a:pt x="767" y="928"/>
                </a:cubicBezTo>
                <a:cubicBezTo>
                  <a:pt x="764" y="941"/>
                  <a:pt x="761" y="954"/>
                  <a:pt x="760" y="966"/>
                </a:cubicBezTo>
                <a:cubicBezTo>
                  <a:pt x="760" y="967"/>
                  <a:pt x="781" y="964"/>
                  <a:pt x="785" y="952"/>
                </a:cubicBezTo>
                <a:cubicBezTo>
                  <a:pt x="796" y="921"/>
                  <a:pt x="800" y="926"/>
                  <a:pt x="807" y="916"/>
                </a:cubicBezTo>
                <a:cubicBezTo>
                  <a:pt x="806" y="929"/>
                  <a:pt x="817" y="946"/>
                  <a:pt x="803" y="977"/>
                </a:cubicBezTo>
                <a:cubicBezTo>
                  <a:pt x="793" y="997"/>
                  <a:pt x="780" y="1008"/>
                  <a:pt x="789" y="1017"/>
                </a:cubicBezTo>
                <a:cubicBezTo>
                  <a:pt x="798" y="1025"/>
                  <a:pt x="839" y="999"/>
                  <a:pt x="860" y="943"/>
                </a:cubicBezTo>
                <a:cubicBezTo>
                  <a:pt x="868" y="920"/>
                  <a:pt x="874" y="892"/>
                  <a:pt x="865" y="867"/>
                </a:cubicBezTo>
                <a:close/>
              </a:path>
            </a:pathLst>
          </a:custGeom>
          <a:noFill/>
          <a:ln w="19050">
            <a:solidFill>
              <a:schemeClr val="tx1"/>
            </a:solid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12" name="Freeform 6">
            <a:extLst>
              <a:ext uri="{FF2B5EF4-FFF2-40B4-BE49-F238E27FC236}">
                <a16:creationId xmlns:a16="http://schemas.microsoft.com/office/drawing/2014/main" id="{981F54D8-DA34-A910-E1EE-141CAFF099AC}"/>
              </a:ext>
            </a:extLst>
          </p:cNvPr>
          <p:cNvSpPr>
            <a:spLocks/>
          </p:cNvSpPr>
          <p:nvPr/>
        </p:nvSpPr>
        <p:spPr bwMode="auto">
          <a:xfrm>
            <a:off x="9516111" y="3996289"/>
            <a:ext cx="378392" cy="793698"/>
          </a:xfrm>
          <a:custGeom>
            <a:avLst/>
            <a:gdLst>
              <a:gd name="T0" fmla="*/ 611 w 626"/>
              <a:gd name="T1" fmla="*/ 483 h 1312"/>
              <a:gd name="T2" fmla="*/ 453 w 626"/>
              <a:gd name="T3" fmla="*/ 261 h 1312"/>
              <a:gd name="T4" fmla="*/ 453 w 626"/>
              <a:gd name="T5" fmla="*/ 261 h 1312"/>
              <a:gd name="T6" fmla="*/ 437 w 626"/>
              <a:gd name="T7" fmla="*/ 258 h 1312"/>
              <a:gd name="T8" fmla="*/ 418 w 626"/>
              <a:gd name="T9" fmla="*/ 255 h 1312"/>
              <a:gd name="T10" fmla="*/ 359 w 626"/>
              <a:gd name="T11" fmla="*/ 219 h 1312"/>
              <a:gd name="T12" fmla="*/ 358 w 626"/>
              <a:gd name="T13" fmla="*/ 215 h 1312"/>
              <a:gd name="T14" fmla="*/ 381 w 626"/>
              <a:gd name="T15" fmla="*/ 188 h 1312"/>
              <a:gd name="T16" fmla="*/ 405 w 626"/>
              <a:gd name="T17" fmla="*/ 119 h 1312"/>
              <a:gd name="T18" fmla="*/ 408 w 626"/>
              <a:gd name="T19" fmla="*/ 66 h 1312"/>
              <a:gd name="T20" fmla="*/ 390 w 626"/>
              <a:gd name="T21" fmla="*/ 24 h 1312"/>
              <a:gd name="T22" fmla="*/ 315 w 626"/>
              <a:gd name="T23" fmla="*/ 0 h 1312"/>
              <a:gd name="T24" fmla="*/ 239 w 626"/>
              <a:gd name="T25" fmla="*/ 24 h 1312"/>
              <a:gd name="T26" fmla="*/ 221 w 626"/>
              <a:gd name="T27" fmla="*/ 66 h 1312"/>
              <a:gd name="T28" fmla="*/ 225 w 626"/>
              <a:gd name="T29" fmla="*/ 119 h 1312"/>
              <a:gd name="T30" fmla="*/ 249 w 626"/>
              <a:gd name="T31" fmla="*/ 188 h 1312"/>
              <a:gd name="T32" fmla="*/ 270 w 626"/>
              <a:gd name="T33" fmla="*/ 210 h 1312"/>
              <a:gd name="T34" fmla="*/ 207 w 626"/>
              <a:gd name="T35" fmla="*/ 255 h 1312"/>
              <a:gd name="T36" fmla="*/ 189 w 626"/>
              <a:gd name="T37" fmla="*/ 258 h 1312"/>
              <a:gd name="T38" fmla="*/ 173 w 626"/>
              <a:gd name="T39" fmla="*/ 261 h 1312"/>
              <a:gd name="T40" fmla="*/ 67 w 626"/>
              <a:gd name="T41" fmla="*/ 356 h 1312"/>
              <a:gd name="T42" fmla="*/ 14 w 626"/>
              <a:gd name="T43" fmla="*/ 486 h 1312"/>
              <a:gd name="T44" fmla="*/ 29 w 626"/>
              <a:gd name="T45" fmla="*/ 711 h 1312"/>
              <a:gd name="T46" fmla="*/ 65 w 626"/>
              <a:gd name="T47" fmla="*/ 689 h 1312"/>
              <a:gd name="T48" fmla="*/ 91 w 626"/>
              <a:gd name="T49" fmla="*/ 695 h 1312"/>
              <a:gd name="T50" fmla="*/ 63 w 626"/>
              <a:gd name="T51" fmla="*/ 640 h 1312"/>
              <a:gd name="T52" fmla="*/ 139 w 626"/>
              <a:gd name="T53" fmla="*/ 422 h 1312"/>
              <a:gd name="T54" fmla="*/ 115 w 626"/>
              <a:gd name="T55" fmla="*/ 633 h 1312"/>
              <a:gd name="T56" fmla="*/ 176 w 626"/>
              <a:gd name="T57" fmla="*/ 1012 h 1312"/>
              <a:gd name="T58" fmla="*/ 222 w 626"/>
              <a:gd name="T59" fmla="*/ 1288 h 1312"/>
              <a:gd name="T60" fmla="*/ 293 w 626"/>
              <a:gd name="T61" fmla="*/ 1253 h 1312"/>
              <a:gd name="T62" fmla="*/ 296 w 626"/>
              <a:gd name="T63" fmla="*/ 930 h 1312"/>
              <a:gd name="T64" fmla="*/ 310 w 626"/>
              <a:gd name="T65" fmla="*/ 801 h 1312"/>
              <a:gd name="T66" fmla="*/ 315 w 626"/>
              <a:gd name="T67" fmla="*/ 801 h 1312"/>
              <a:gd name="T68" fmla="*/ 330 w 626"/>
              <a:gd name="T69" fmla="*/ 930 h 1312"/>
              <a:gd name="T70" fmla="*/ 333 w 626"/>
              <a:gd name="T71" fmla="*/ 1253 h 1312"/>
              <a:gd name="T72" fmla="*/ 404 w 626"/>
              <a:gd name="T73" fmla="*/ 1288 h 1312"/>
              <a:gd name="T74" fmla="*/ 450 w 626"/>
              <a:gd name="T75" fmla="*/ 1012 h 1312"/>
              <a:gd name="T76" fmla="*/ 511 w 626"/>
              <a:gd name="T77" fmla="*/ 633 h 1312"/>
              <a:gd name="T78" fmla="*/ 519 w 626"/>
              <a:gd name="T79" fmla="*/ 611 h 1312"/>
              <a:gd name="T80" fmla="*/ 523 w 626"/>
              <a:gd name="T81" fmla="*/ 575 h 1312"/>
              <a:gd name="T82" fmla="*/ 514 w 626"/>
              <a:gd name="T83" fmla="*/ 509 h 1312"/>
              <a:gd name="T84" fmla="*/ 505 w 626"/>
              <a:gd name="T85" fmla="*/ 476 h 1312"/>
              <a:gd name="T86" fmla="*/ 491 w 626"/>
              <a:gd name="T87" fmla="*/ 434 h 1312"/>
              <a:gd name="T88" fmla="*/ 539 w 626"/>
              <a:gd name="T89" fmla="*/ 495 h 1312"/>
              <a:gd name="T90" fmla="*/ 562 w 626"/>
              <a:gd name="T91" fmla="*/ 653 h 1312"/>
              <a:gd name="T92" fmla="*/ 543 w 626"/>
              <a:gd name="T93" fmla="*/ 716 h 1312"/>
              <a:gd name="T94" fmla="*/ 534 w 626"/>
              <a:gd name="T95" fmla="*/ 757 h 1312"/>
              <a:gd name="T96" fmla="*/ 611 w 626"/>
              <a:gd name="T97" fmla="*/ 640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26" h="1312">
                <a:moveTo>
                  <a:pt x="611" y="486"/>
                </a:moveTo>
                <a:cubicBezTo>
                  <a:pt x="611" y="485"/>
                  <a:pt x="611" y="485"/>
                  <a:pt x="611" y="485"/>
                </a:cubicBezTo>
                <a:cubicBezTo>
                  <a:pt x="611" y="484"/>
                  <a:pt x="611" y="484"/>
                  <a:pt x="611" y="483"/>
                </a:cubicBezTo>
                <a:cubicBezTo>
                  <a:pt x="601" y="443"/>
                  <a:pt x="580" y="401"/>
                  <a:pt x="558" y="356"/>
                </a:cubicBezTo>
                <a:cubicBezTo>
                  <a:pt x="540" y="316"/>
                  <a:pt x="485" y="269"/>
                  <a:pt x="456" y="262"/>
                </a:cubicBezTo>
                <a:cubicBezTo>
                  <a:pt x="455" y="262"/>
                  <a:pt x="454" y="262"/>
                  <a:pt x="453" y="261"/>
                </a:cubicBezTo>
                <a:cubicBezTo>
                  <a:pt x="453" y="261"/>
                  <a:pt x="453" y="261"/>
                  <a:pt x="453" y="261"/>
                </a:cubicBezTo>
                <a:cubicBezTo>
                  <a:pt x="453" y="261"/>
                  <a:pt x="453" y="261"/>
                  <a:pt x="453" y="261"/>
                </a:cubicBezTo>
                <a:cubicBezTo>
                  <a:pt x="453" y="261"/>
                  <a:pt x="453" y="261"/>
                  <a:pt x="453" y="261"/>
                </a:cubicBezTo>
                <a:cubicBezTo>
                  <a:pt x="451" y="260"/>
                  <a:pt x="448" y="260"/>
                  <a:pt x="445" y="259"/>
                </a:cubicBezTo>
                <a:cubicBezTo>
                  <a:pt x="445" y="259"/>
                  <a:pt x="445" y="259"/>
                  <a:pt x="445" y="259"/>
                </a:cubicBezTo>
                <a:cubicBezTo>
                  <a:pt x="442" y="259"/>
                  <a:pt x="439" y="258"/>
                  <a:pt x="437" y="258"/>
                </a:cubicBezTo>
                <a:cubicBezTo>
                  <a:pt x="436" y="258"/>
                  <a:pt x="436" y="258"/>
                  <a:pt x="436" y="258"/>
                </a:cubicBezTo>
                <a:cubicBezTo>
                  <a:pt x="433" y="257"/>
                  <a:pt x="431" y="257"/>
                  <a:pt x="428" y="256"/>
                </a:cubicBezTo>
                <a:cubicBezTo>
                  <a:pt x="425" y="256"/>
                  <a:pt x="422" y="255"/>
                  <a:pt x="418" y="255"/>
                </a:cubicBezTo>
                <a:cubicBezTo>
                  <a:pt x="393" y="250"/>
                  <a:pt x="368" y="243"/>
                  <a:pt x="360" y="221"/>
                </a:cubicBezTo>
                <a:cubicBezTo>
                  <a:pt x="360" y="221"/>
                  <a:pt x="360" y="221"/>
                  <a:pt x="360" y="221"/>
                </a:cubicBezTo>
                <a:cubicBezTo>
                  <a:pt x="359" y="221"/>
                  <a:pt x="359" y="220"/>
                  <a:pt x="359" y="219"/>
                </a:cubicBezTo>
                <a:cubicBezTo>
                  <a:pt x="359" y="219"/>
                  <a:pt x="359" y="218"/>
                  <a:pt x="358" y="217"/>
                </a:cubicBezTo>
                <a:cubicBezTo>
                  <a:pt x="358" y="217"/>
                  <a:pt x="358" y="217"/>
                  <a:pt x="358" y="217"/>
                </a:cubicBezTo>
                <a:cubicBezTo>
                  <a:pt x="358" y="216"/>
                  <a:pt x="358" y="216"/>
                  <a:pt x="358" y="215"/>
                </a:cubicBezTo>
                <a:cubicBezTo>
                  <a:pt x="358" y="215"/>
                  <a:pt x="358" y="215"/>
                  <a:pt x="358" y="215"/>
                </a:cubicBezTo>
                <a:cubicBezTo>
                  <a:pt x="357" y="214"/>
                  <a:pt x="357" y="212"/>
                  <a:pt x="357" y="211"/>
                </a:cubicBezTo>
                <a:cubicBezTo>
                  <a:pt x="366" y="205"/>
                  <a:pt x="376" y="197"/>
                  <a:pt x="381" y="188"/>
                </a:cubicBezTo>
                <a:cubicBezTo>
                  <a:pt x="385" y="180"/>
                  <a:pt x="388" y="171"/>
                  <a:pt x="389" y="161"/>
                </a:cubicBezTo>
                <a:cubicBezTo>
                  <a:pt x="394" y="154"/>
                  <a:pt x="398" y="147"/>
                  <a:pt x="401" y="139"/>
                </a:cubicBezTo>
                <a:cubicBezTo>
                  <a:pt x="404" y="130"/>
                  <a:pt x="400" y="127"/>
                  <a:pt x="405" y="119"/>
                </a:cubicBezTo>
                <a:cubicBezTo>
                  <a:pt x="408" y="113"/>
                  <a:pt x="409" y="106"/>
                  <a:pt x="408" y="100"/>
                </a:cubicBezTo>
                <a:cubicBezTo>
                  <a:pt x="407" y="94"/>
                  <a:pt x="411" y="89"/>
                  <a:pt x="411" y="83"/>
                </a:cubicBezTo>
                <a:cubicBezTo>
                  <a:pt x="412" y="77"/>
                  <a:pt x="409" y="72"/>
                  <a:pt x="408" y="66"/>
                </a:cubicBezTo>
                <a:cubicBezTo>
                  <a:pt x="407" y="60"/>
                  <a:pt x="409" y="55"/>
                  <a:pt x="407" y="49"/>
                </a:cubicBezTo>
                <a:cubicBezTo>
                  <a:pt x="405" y="45"/>
                  <a:pt x="400" y="41"/>
                  <a:pt x="398" y="37"/>
                </a:cubicBezTo>
                <a:cubicBezTo>
                  <a:pt x="394" y="33"/>
                  <a:pt x="393" y="29"/>
                  <a:pt x="390" y="24"/>
                </a:cubicBezTo>
                <a:cubicBezTo>
                  <a:pt x="386" y="19"/>
                  <a:pt x="381" y="18"/>
                  <a:pt x="375" y="15"/>
                </a:cubicBezTo>
                <a:cubicBezTo>
                  <a:pt x="368" y="11"/>
                  <a:pt x="365" y="7"/>
                  <a:pt x="357" y="5"/>
                </a:cubicBezTo>
                <a:cubicBezTo>
                  <a:pt x="342" y="2"/>
                  <a:pt x="329" y="0"/>
                  <a:pt x="315" y="0"/>
                </a:cubicBezTo>
                <a:cubicBezTo>
                  <a:pt x="300" y="0"/>
                  <a:pt x="287" y="2"/>
                  <a:pt x="272" y="5"/>
                </a:cubicBezTo>
                <a:cubicBezTo>
                  <a:pt x="264" y="7"/>
                  <a:pt x="261" y="11"/>
                  <a:pt x="254" y="15"/>
                </a:cubicBezTo>
                <a:cubicBezTo>
                  <a:pt x="248" y="18"/>
                  <a:pt x="243" y="19"/>
                  <a:pt x="239" y="24"/>
                </a:cubicBezTo>
                <a:cubicBezTo>
                  <a:pt x="236" y="29"/>
                  <a:pt x="235" y="33"/>
                  <a:pt x="231" y="37"/>
                </a:cubicBezTo>
                <a:cubicBezTo>
                  <a:pt x="229" y="41"/>
                  <a:pt x="224" y="45"/>
                  <a:pt x="222" y="49"/>
                </a:cubicBezTo>
                <a:cubicBezTo>
                  <a:pt x="220" y="55"/>
                  <a:pt x="222" y="60"/>
                  <a:pt x="221" y="66"/>
                </a:cubicBezTo>
                <a:cubicBezTo>
                  <a:pt x="220" y="72"/>
                  <a:pt x="217" y="77"/>
                  <a:pt x="218" y="83"/>
                </a:cubicBezTo>
                <a:cubicBezTo>
                  <a:pt x="218" y="89"/>
                  <a:pt x="222" y="94"/>
                  <a:pt x="221" y="100"/>
                </a:cubicBezTo>
                <a:cubicBezTo>
                  <a:pt x="220" y="106"/>
                  <a:pt x="221" y="113"/>
                  <a:pt x="225" y="119"/>
                </a:cubicBezTo>
                <a:cubicBezTo>
                  <a:pt x="229" y="127"/>
                  <a:pt x="225" y="130"/>
                  <a:pt x="228" y="139"/>
                </a:cubicBezTo>
                <a:cubicBezTo>
                  <a:pt x="231" y="147"/>
                  <a:pt x="235" y="155"/>
                  <a:pt x="241" y="163"/>
                </a:cubicBezTo>
                <a:cubicBezTo>
                  <a:pt x="243" y="172"/>
                  <a:pt x="245" y="180"/>
                  <a:pt x="249" y="188"/>
                </a:cubicBezTo>
                <a:cubicBezTo>
                  <a:pt x="254" y="196"/>
                  <a:pt x="261" y="203"/>
                  <a:pt x="270" y="209"/>
                </a:cubicBezTo>
                <a:cubicBezTo>
                  <a:pt x="270" y="209"/>
                  <a:pt x="270" y="209"/>
                  <a:pt x="270" y="210"/>
                </a:cubicBezTo>
                <a:cubicBezTo>
                  <a:pt x="270" y="210"/>
                  <a:pt x="270" y="210"/>
                  <a:pt x="270" y="210"/>
                </a:cubicBezTo>
                <a:cubicBezTo>
                  <a:pt x="269" y="213"/>
                  <a:pt x="268" y="216"/>
                  <a:pt x="267" y="218"/>
                </a:cubicBezTo>
                <a:cubicBezTo>
                  <a:pt x="267" y="219"/>
                  <a:pt x="267" y="219"/>
                  <a:pt x="267" y="219"/>
                </a:cubicBezTo>
                <a:cubicBezTo>
                  <a:pt x="259" y="243"/>
                  <a:pt x="233" y="250"/>
                  <a:pt x="207" y="255"/>
                </a:cubicBezTo>
                <a:cubicBezTo>
                  <a:pt x="204" y="255"/>
                  <a:pt x="201" y="256"/>
                  <a:pt x="198" y="256"/>
                </a:cubicBezTo>
                <a:cubicBezTo>
                  <a:pt x="195" y="257"/>
                  <a:pt x="193" y="257"/>
                  <a:pt x="190" y="258"/>
                </a:cubicBezTo>
                <a:cubicBezTo>
                  <a:pt x="190" y="258"/>
                  <a:pt x="190" y="258"/>
                  <a:pt x="189" y="258"/>
                </a:cubicBezTo>
                <a:cubicBezTo>
                  <a:pt x="187" y="258"/>
                  <a:pt x="184" y="259"/>
                  <a:pt x="181" y="259"/>
                </a:cubicBezTo>
                <a:cubicBezTo>
                  <a:pt x="181" y="259"/>
                  <a:pt x="181" y="259"/>
                  <a:pt x="181" y="259"/>
                </a:cubicBezTo>
                <a:cubicBezTo>
                  <a:pt x="178" y="260"/>
                  <a:pt x="175" y="260"/>
                  <a:pt x="173" y="261"/>
                </a:cubicBezTo>
                <a:cubicBezTo>
                  <a:pt x="173" y="261"/>
                  <a:pt x="173" y="261"/>
                  <a:pt x="172" y="261"/>
                </a:cubicBezTo>
                <a:cubicBezTo>
                  <a:pt x="172" y="262"/>
                  <a:pt x="171" y="262"/>
                  <a:pt x="170" y="262"/>
                </a:cubicBezTo>
                <a:cubicBezTo>
                  <a:pt x="141" y="269"/>
                  <a:pt x="86" y="316"/>
                  <a:pt x="67" y="356"/>
                </a:cubicBezTo>
                <a:cubicBezTo>
                  <a:pt x="46" y="401"/>
                  <a:pt x="25" y="443"/>
                  <a:pt x="15" y="483"/>
                </a:cubicBezTo>
                <a:cubicBezTo>
                  <a:pt x="15" y="484"/>
                  <a:pt x="15" y="484"/>
                  <a:pt x="15" y="485"/>
                </a:cubicBezTo>
                <a:cubicBezTo>
                  <a:pt x="15" y="485"/>
                  <a:pt x="15" y="485"/>
                  <a:pt x="14" y="486"/>
                </a:cubicBezTo>
                <a:cubicBezTo>
                  <a:pt x="0" y="524"/>
                  <a:pt x="3" y="541"/>
                  <a:pt x="15" y="640"/>
                </a:cubicBezTo>
                <a:cubicBezTo>
                  <a:pt x="16" y="648"/>
                  <a:pt x="16" y="655"/>
                  <a:pt x="17" y="662"/>
                </a:cubicBezTo>
                <a:cubicBezTo>
                  <a:pt x="23" y="681"/>
                  <a:pt x="21" y="697"/>
                  <a:pt x="29" y="711"/>
                </a:cubicBezTo>
                <a:cubicBezTo>
                  <a:pt x="50" y="746"/>
                  <a:pt x="78" y="762"/>
                  <a:pt x="92" y="757"/>
                </a:cubicBezTo>
                <a:cubicBezTo>
                  <a:pt x="101" y="754"/>
                  <a:pt x="87" y="744"/>
                  <a:pt x="77" y="731"/>
                </a:cubicBezTo>
                <a:cubicBezTo>
                  <a:pt x="62" y="710"/>
                  <a:pt x="67" y="698"/>
                  <a:pt x="65" y="689"/>
                </a:cubicBezTo>
                <a:cubicBezTo>
                  <a:pt x="71" y="696"/>
                  <a:pt x="72" y="696"/>
                  <a:pt x="83" y="716"/>
                </a:cubicBezTo>
                <a:cubicBezTo>
                  <a:pt x="88" y="724"/>
                  <a:pt x="95" y="721"/>
                  <a:pt x="96" y="720"/>
                </a:cubicBezTo>
                <a:cubicBezTo>
                  <a:pt x="99" y="718"/>
                  <a:pt x="94" y="703"/>
                  <a:pt x="91" y="695"/>
                </a:cubicBezTo>
                <a:cubicBezTo>
                  <a:pt x="78" y="662"/>
                  <a:pt x="70" y="665"/>
                  <a:pt x="64" y="653"/>
                </a:cubicBezTo>
                <a:cubicBezTo>
                  <a:pt x="64" y="653"/>
                  <a:pt x="64" y="653"/>
                  <a:pt x="64" y="653"/>
                </a:cubicBezTo>
                <a:cubicBezTo>
                  <a:pt x="63" y="650"/>
                  <a:pt x="63" y="646"/>
                  <a:pt x="63" y="640"/>
                </a:cubicBezTo>
                <a:cubicBezTo>
                  <a:pt x="69" y="575"/>
                  <a:pt x="93" y="541"/>
                  <a:pt x="86" y="495"/>
                </a:cubicBezTo>
                <a:cubicBezTo>
                  <a:pt x="109" y="467"/>
                  <a:pt x="126" y="443"/>
                  <a:pt x="139" y="422"/>
                </a:cubicBezTo>
                <a:cubicBezTo>
                  <a:pt x="139" y="422"/>
                  <a:pt x="139" y="422"/>
                  <a:pt x="139" y="422"/>
                </a:cubicBezTo>
                <a:cubicBezTo>
                  <a:pt x="128" y="448"/>
                  <a:pt x="106" y="521"/>
                  <a:pt x="104" y="553"/>
                </a:cubicBezTo>
                <a:cubicBezTo>
                  <a:pt x="102" y="587"/>
                  <a:pt x="101" y="599"/>
                  <a:pt x="115" y="633"/>
                </a:cubicBezTo>
                <a:cubicBezTo>
                  <a:pt x="115" y="633"/>
                  <a:pt x="115" y="633"/>
                  <a:pt x="115" y="633"/>
                </a:cubicBezTo>
                <a:cubicBezTo>
                  <a:pt x="115" y="758"/>
                  <a:pt x="157" y="825"/>
                  <a:pt x="170" y="858"/>
                </a:cubicBezTo>
                <a:cubicBezTo>
                  <a:pt x="179" y="883"/>
                  <a:pt x="194" y="902"/>
                  <a:pt x="190" y="924"/>
                </a:cubicBezTo>
                <a:cubicBezTo>
                  <a:pt x="187" y="946"/>
                  <a:pt x="175" y="978"/>
                  <a:pt x="176" y="1012"/>
                </a:cubicBezTo>
                <a:cubicBezTo>
                  <a:pt x="177" y="1064"/>
                  <a:pt x="234" y="1174"/>
                  <a:pt x="233" y="1219"/>
                </a:cubicBezTo>
                <a:cubicBezTo>
                  <a:pt x="233" y="1224"/>
                  <a:pt x="233" y="1243"/>
                  <a:pt x="231" y="1252"/>
                </a:cubicBezTo>
                <a:cubicBezTo>
                  <a:pt x="228" y="1268"/>
                  <a:pt x="222" y="1278"/>
                  <a:pt x="222" y="1288"/>
                </a:cubicBezTo>
                <a:cubicBezTo>
                  <a:pt x="222" y="1300"/>
                  <a:pt x="245" y="1305"/>
                  <a:pt x="261" y="1306"/>
                </a:cubicBezTo>
                <a:cubicBezTo>
                  <a:pt x="273" y="1306"/>
                  <a:pt x="308" y="1312"/>
                  <a:pt x="309" y="1293"/>
                </a:cubicBezTo>
                <a:cubicBezTo>
                  <a:pt x="309" y="1287"/>
                  <a:pt x="295" y="1271"/>
                  <a:pt x="293" y="1253"/>
                </a:cubicBezTo>
                <a:cubicBezTo>
                  <a:pt x="290" y="1234"/>
                  <a:pt x="286" y="1216"/>
                  <a:pt x="285" y="1207"/>
                </a:cubicBezTo>
                <a:cubicBezTo>
                  <a:pt x="282" y="1167"/>
                  <a:pt x="305" y="1085"/>
                  <a:pt x="309" y="1027"/>
                </a:cubicBezTo>
                <a:cubicBezTo>
                  <a:pt x="312" y="981"/>
                  <a:pt x="298" y="954"/>
                  <a:pt x="296" y="930"/>
                </a:cubicBezTo>
                <a:cubicBezTo>
                  <a:pt x="294" y="910"/>
                  <a:pt x="299" y="896"/>
                  <a:pt x="304" y="862"/>
                </a:cubicBezTo>
                <a:cubicBezTo>
                  <a:pt x="307" y="842"/>
                  <a:pt x="309" y="821"/>
                  <a:pt x="310" y="801"/>
                </a:cubicBezTo>
                <a:cubicBezTo>
                  <a:pt x="310" y="801"/>
                  <a:pt x="310" y="801"/>
                  <a:pt x="310" y="801"/>
                </a:cubicBezTo>
                <a:cubicBezTo>
                  <a:pt x="311" y="785"/>
                  <a:pt x="312" y="775"/>
                  <a:pt x="312" y="764"/>
                </a:cubicBezTo>
                <a:cubicBezTo>
                  <a:pt x="314" y="764"/>
                  <a:pt x="314" y="764"/>
                  <a:pt x="314" y="764"/>
                </a:cubicBezTo>
                <a:cubicBezTo>
                  <a:pt x="314" y="775"/>
                  <a:pt x="315" y="785"/>
                  <a:pt x="315" y="801"/>
                </a:cubicBezTo>
                <a:cubicBezTo>
                  <a:pt x="316" y="801"/>
                  <a:pt x="316" y="801"/>
                  <a:pt x="316" y="801"/>
                </a:cubicBezTo>
                <a:cubicBezTo>
                  <a:pt x="317" y="821"/>
                  <a:pt x="319" y="842"/>
                  <a:pt x="322" y="862"/>
                </a:cubicBezTo>
                <a:cubicBezTo>
                  <a:pt x="327" y="896"/>
                  <a:pt x="332" y="910"/>
                  <a:pt x="330" y="930"/>
                </a:cubicBezTo>
                <a:cubicBezTo>
                  <a:pt x="327" y="954"/>
                  <a:pt x="314" y="981"/>
                  <a:pt x="317" y="1027"/>
                </a:cubicBezTo>
                <a:cubicBezTo>
                  <a:pt x="321" y="1085"/>
                  <a:pt x="344" y="1167"/>
                  <a:pt x="341" y="1207"/>
                </a:cubicBezTo>
                <a:cubicBezTo>
                  <a:pt x="340" y="1216"/>
                  <a:pt x="336" y="1234"/>
                  <a:pt x="333" y="1253"/>
                </a:cubicBezTo>
                <a:cubicBezTo>
                  <a:pt x="330" y="1271"/>
                  <a:pt x="317" y="1287"/>
                  <a:pt x="317" y="1293"/>
                </a:cubicBezTo>
                <a:cubicBezTo>
                  <a:pt x="318" y="1312"/>
                  <a:pt x="353" y="1306"/>
                  <a:pt x="365" y="1306"/>
                </a:cubicBezTo>
                <a:cubicBezTo>
                  <a:pt x="381" y="1305"/>
                  <a:pt x="408" y="1302"/>
                  <a:pt x="404" y="1288"/>
                </a:cubicBezTo>
                <a:cubicBezTo>
                  <a:pt x="401" y="1278"/>
                  <a:pt x="398" y="1268"/>
                  <a:pt x="395" y="1252"/>
                </a:cubicBezTo>
                <a:cubicBezTo>
                  <a:pt x="393" y="1243"/>
                  <a:pt x="392" y="1224"/>
                  <a:pt x="392" y="1219"/>
                </a:cubicBezTo>
                <a:cubicBezTo>
                  <a:pt x="391" y="1174"/>
                  <a:pt x="449" y="1064"/>
                  <a:pt x="450" y="1012"/>
                </a:cubicBezTo>
                <a:cubicBezTo>
                  <a:pt x="451" y="978"/>
                  <a:pt x="439" y="946"/>
                  <a:pt x="435" y="924"/>
                </a:cubicBezTo>
                <a:cubicBezTo>
                  <a:pt x="432" y="902"/>
                  <a:pt x="447" y="883"/>
                  <a:pt x="456" y="858"/>
                </a:cubicBezTo>
                <a:cubicBezTo>
                  <a:pt x="469" y="825"/>
                  <a:pt x="511" y="758"/>
                  <a:pt x="511" y="633"/>
                </a:cubicBezTo>
                <a:cubicBezTo>
                  <a:pt x="511" y="633"/>
                  <a:pt x="511" y="633"/>
                  <a:pt x="511" y="633"/>
                </a:cubicBezTo>
                <a:cubicBezTo>
                  <a:pt x="513" y="627"/>
                  <a:pt x="515" y="621"/>
                  <a:pt x="517" y="616"/>
                </a:cubicBezTo>
                <a:cubicBezTo>
                  <a:pt x="518" y="614"/>
                  <a:pt x="518" y="612"/>
                  <a:pt x="519" y="611"/>
                </a:cubicBezTo>
                <a:cubicBezTo>
                  <a:pt x="520" y="608"/>
                  <a:pt x="520" y="605"/>
                  <a:pt x="521" y="602"/>
                </a:cubicBezTo>
                <a:cubicBezTo>
                  <a:pt x="522" y="596"/>
                  <a:pt x="523" y="590"/>
                  <a:pt x="523" y="584"/>
                </a:cubicBezTo>
                <a:cubicBezTo>
                  <a:pt x="523" y="581"/>
                  <a:pt x="523" y="578"/>
                  <a:pt x="523" y="575"/>
                </a:cubicBezTo>
                <a:cubicBezTo>
                  <a:pt x="523" y="568"/>
                  <a:pt x="522" y="561"/>
                  <a:pt x="522" y="553"/>
                </a:cubicBezTo>
                <a:cubicBezTo>
                  <a:pt x="521" y="544"/>
                  <a:pt x="519" y="532"/>
                  <a:pt x="516" y="518"/>
                </a:cubicBezTo>
                <a:cubicBezTo>
                  <a:pt x="516" y="515"/>
                  <a:pt x="515" y="512"/>
                  <a:pt x="514" y="509"/>
                </a:cubicBezTo>
                <a:cubicBezTo>
                  <a:pt x="514" y="507"/>
                  <a:pt x="513" y="506"/>
                  <a:pt x="513" y="504"/>
                </a:cubicBezTo>
                <a:cubicBezTo>
                  <a:pt x="511" y="498"/>
                  <a:pt x="510" y="492"/>
                  <a:pt x="508" y="485"/>
                </a:cubicBezTo>
                <a:cubicBezTo>
                  <a:pt x="507" y="482"/>
                  <a:pt x="506" y="479"/>
                  <a:pt x="505" y="476"/>
                </a:cubicBezTo>
                <a:cubicBezTo>
                  <a:pt x="504" y="473"/>
                  <a:pt x="503" y="469"/>
                  <a:pt x="502" y="466"/>
                </a:cubicBezTo>
                <a:cubicBezTo>
                  <a:pt x="502" y="465"/>
                  <a:pt x="501" y="463"/>
                  <a:pt x="501" y="462"/>
                </a:cubicBezTo>
                <a:cubicBezTo>
                  <a:pt x="498" y="451"/>
                  <a:pt x="494" y="442"/>
                  <a:pt x="491" y="434"/>
                </a:cubicBezTo>
                <a:cubicBezTo>
                  <a:pt x="490" y="429"/>
                  <a:pt x="488" y="425"/>
                  <a:pt x="487" y="422"/>
                </a:cubicBezTo>
                <a:cubicBezTo>
                  <a:pt x="487" y="422"/>
                  <a:pt x="487" y="422"/>
                  <a:pt x="487" y="422"/>
                </a:cubicBezTo>
                <a:cubicBezTo>
                  <a:pt x="500" y="443"/>
                  <a:pt x="517" y="467"/>
                  <a:pt x="539" y="495"/>
                </a:cubicBezTo>
                <a:cubicBezTo>
                  <a:pt x="533" y="541"/>
                  <a:pt x="557" y="575"/>
                  <a:pt x="563" y="640"/>
                </a:cubicBezTo>
                <a:cubicBezTo>
                  <a:pt x="563" y="646"/>
                  <a:pt x="563" y="650"/>
                  <a:pt x="562" y="653"/>
                </a:cubicBezTo>
                <a:cubicBezTo>
                  <a:pt x="562" y="653"/>
                  <a:pt x="562" y="653"/>
                  <a:pt x="562" y="653"/>
                </a:cubicBezTo>
                <a:cubicBezTo>
                  <a:pt x="556" y="665"/>
                  <a:pt x="548" y="662"/>
                  <a:pt x="535" y="695"/>
                </a:cubicBezTo>
                <a:cubicBezTo>
                  <a:pt x="532" y="703"/>
                  <a:pt x="527" y="718"/>
                  <a:pt x="530" y="720"/>
                </a:cubicBezTo>
                <a:cubicBezTo>
                  <a:pt x="531" y="721"/>
                  <a:pt x="538" y="724"/>
                  <a:pt x="543" y="716"/>
                </a:cubicBezTo>
                <a:cubicBezTo>
                  <a:pt x="554" y="696"/>
                  <a:pt x="555" y="696"/>
                  <a:pt x="561" y="689"/>
                </a:cubicBezTo>
                <a:cubicBezTo>
                  <a:pt x="559" y="698"/>
                  <a:pt x="563" y="710"/>
                  <a:pt x="548" y="731"/>
                </a:cubicBezTo>
                <a:cubicBezTo>
                  <a:pt x="539" y="744"/>
                  <a:pt x="525" y="754"/>
                  <a:pt x="534" y="757"/>
                </a:cubicBezTo>
                <a:cubicBezTo>
                  <a:pt x="548" y="762"/>
                  <a:pt x="576" y="746"/>
                  <a:pt x="597" y="711"/>
                </a:cubicBezTo>
                <a:cubicBezTo>
                  <a:pt x="605" y="697"/>
                  <a:pt x="603" y="681"/>
                  <a:pt x="608" y="662"/>
                </a:cubicBezTo>
                <a:cubicBezTo>
                  <a:pt x="610" y="655"/>
                  <a:pt x="610" y="648"/>
                  <a:pt x="611" y="640"/>
                </a:cubicBezTo>
                <a:cubicBezTo>
                  <a:pt x="623" y="541"/>
                  <a:pt x="626" y="524"/>
                  <a:pt x="611" y="486"/>
                </a:cubicBezTo>
                <a:close/>
              </a:path>
            </a:pathLst>
          </a:custGeom>
          <a:noFill/>
          <a:ln w="19050">
            <a:solidFill>
              <a:schemeClr val="accent3"/>
            </a:solid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23" name="TextBox 22">
            <a:extLst>
              <a:ext uri="{FF2B5EF4-FFF2-40B4-BE49-F238E27FC236}">
                <a16:creationId xmlns:a16="http://schemas.microsoft.com/office/drawing/2014/main" id="{62400F9C-DFCD-7D51-FB91-301D3C7D9165}"/>
              </a:ext>
            </a:extLst>
          </p:cNvPr>
          <p:cNvSpPr txBox="1"/>
          <p:nvPr/>
        </p:nvSpPr>
        <p:spPr>
          <a:xfrm>
            <a:off x="9363076" y="4896535"/>
            <a:ext cx="2262822" cy="461665"/>
          </a:xfrm>
          <a:prstGeom prst="rect">
            <a:avLst/>
          </a:prstGeom>
          <a:noFill/>
        </p:spPr>
        <p:txBody>
          <a:bodyPr wrap="square">
            <a:spAutoFit/>
          </a:bodyPr>
          <a:lstStyle/>
          <a:p>
            <a:pPr marL="0" marR="0" lvl="1" indent="0" algn="l" defTabSz="1219139" rtl="0" eaLnBrk="1" fontAlgn="auto" latinLnBrk="0" hangingPunct="1">
              <a:lnSpc>
                <a:spcPct val="100000"/>
              </a:lnSpc>
              <a:spcBef>
                <a:spcPct val="0"/>
              </a:spcBef>
              <a:spcAft>
                <a:spcPts val="800"/>
              </a:spcAft>
              <a:buClr>
                <a:srgbClr val="001965"/>
              </a:buClr>
              <a:buSzPct val="100000"/>
              <a:buNone/>
              <a:tabLst/>
              <a:defRPr/>
            </a:pPr>
            <a:r>
              <a:rPr kumimoji="0" lang="en-US" sz="800" b="1" i="0" u="none" strike="noStrike" kern="1200" cap="none" spc="0" normalizeH="0" baseline="0" noProof="0">
                <a:ln>
                  <a:noFill/>
                </a:ln>
                <a:solidFill>
                  <a:schemeClr val="tx1"/>
                </a:solidFill>
                <a:effectLst/>
                <a:uLnTx/>
                <a:uFillTx/>
                <a:latin typeface="Arial" panose="020B0604020202020204" pitchFamily="34" charset="0"/>
                <a:ea typeface="Apis For Office" panose="020B0504010101010104" pitchFamily="34" charset="0"/>
                <a:cs typeface="Arial" panose="020B0604020202020204" pitchFamily="34" charset="0"/>
              </a:rPr>
              <a:t>Note: </a:t>
            </a:r>
            <a:r>
              <a:rPr kumimoji="0" lang="en-US" sz="800" i="0" u="none" strike="noStrike" kern="1200" cap="none" spc="0" normalizeH="0" baseline="0" noProof="0">
                <a:ln>
                  <a:noFill/>
                </a:ln>
                <a:solidFill>
                  <a:schemeClr val="tx1"/>
                </a:solidFill>
                <a:effectLst/>
                <a:uLnTx/>
                <a:uFillTx/>
                <a:latin typeface="Arial" panose="020B0604020202020204" pitchFamily="34" charset="0"/>
                <a:ea typeface="Apis For Office" panose="020B0504010101010104" pitchFamily="34" charset="0"/>
                <a:cs typeface="Arial" panose="020B0604020202020204" pitchFamily="34" charset="0"/>
              </a:rPr>
              <a:t>Pre-obesity and obesity criteria used by the CDC</a:t>
            </a:r>
            <a:r>
              <a:rPr lang="en-US" sz="800" baseline="30000" noProof="0">
                <a:solidFill>
                  <a:schemeClr val="tx1"/>
                </a:solidFill>
                <a:latin typeface="Arial" panose="020B0604020202020204" pitchFamily="34" charset="0"/>
                <a:ea typeface="Apis For Office" panose="020B0504010101010104" pitchFamily="34" charset="0"/>
                <a:cs typeface="Arial" panose="020B0604020202020204" pitchFamily="34" charset="0"/>
              </a:rPr>
              <a:t>5</a:t>
            </a:r>
            <a:r>
              <a:rPr kumimoji="0" lang="en-US" sz="800" i="0" u="none" strike="noStrike" kern="1200" cap="none" spc="0" normalizeH="0" baseline="0" noProof="0">
                <a:ln>
                  <a:noFill/>
                </a:ln>
                <a:solidFill>
                  <a:schemeClr val="tx1"/>
                </a:solidFill>
                <a:effectLst/>
                <a:uLnTx/>
                <a:uFillTx/>
                <a:latin typeface="Arial" panose="020B0604020202020204" pitchFamily="34" charset="0"/>
                <a:ea typeface="Apis For Office" panose="020B0504010101010104" pitchFamily="34" charset="0"/>
                <a:cs typeface="Arial" panose="020B0604020202020204" pitchFamily="34" charset="0"/>
              </a:rPr>
              <a:t> and severe obesity classification used by the American Heart Association</a:t>
            </a:r>
            <a:r>
              <a:rPr kumimoji="0" lang="en-US" sz="800" i="0" u="none" strike="noStrike" kern="1200" cap="none" spc="0" normalizeH="0" baseline="30000" noProof="0">
                <a:ln>
                  <a:noFill/>
                </a:ln>
                <a:solidFill>
                  <a:schemeClr val="tx1"/>
                </a:solidFill>
                <a:effectLst/>
                <a:uLnTx/>
                <a:uFillTx/>
                <a:latin typeface="Arial" panose="020B0604020202020204" pitchFamily="34" charset="0"/>
                <a:ea typeface="Apis For Office" panose="020B0504010101010104" pitchFamily="34" charset="0"/>
                <a:cs typeface="Arial" panose="020B0604020202020204" pitchFamily="34" charset="0"/>
              </a:rPr>
              <a:t>6,7</a:t>
            </a:r>
            <a:endParaRPr kumimoji="0" lang="en-US" sz="800" i="0" u="none" strike="noStrike" kern="1200" cap="none" spc="0" normalizeH="0" baseline="0" noProof="0">
              <a:ln>
                <a:noFill/>
              </a:ln>
              <a:solidFill>
                <a:schemeClr val="tx1"/>
              </a:solidFill>
              <a:effectLst/>
              <a:uLnTx/>
              <a:uFillTx/>
              <a:latin typeface="Arial" panose="020B0604020202020204" pitchFamily="34" charset="0"/>
              <a:ea typeface="Apis For Office" panose="020B0504010101010104" pitchFamily="34" charset="0"/>
              <a:cs typeface="Arial" panose="020B0604020202020204" pitchFamily="34" charset="0"/>
            </a:endParaRPr>
          </a:p>
        </p:txBody>
      </p:sp>
    </p:spTree>
    <p:extLst>
      <p:ext uri="{BB962C8B-B14F-4D97-AF65-F5344CB8AC3E}">
        <p14:creationId xmlns:p14="http://schemas.microsoft.com/office/powerpoint/2010/main" val="191159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01740-F0C3-3B2A-F569-B1E2AC6A9686}"/>
            </a:ext>
          </a:extLst>
        </p:cNvPr>
        <p:cNvGrpSpPr/>
        <p:nvPr/>
      </p:nvGrpSpPr>
      <p:grpSpPr>
        <a:xfrm>
          <a:off x="0" y="0"/>
          <a:ext cx="0" cy="0"/>
          <a:chOff x="0" y="0"/>
          <a:chExt cx="0" cy="0"/>
        </a:xfrm>
      </p:grpSpPr>
      <p:sp>
        <p:nvSpPr>
          <p:cNvPr id="4" name="Freeform 1323">
            <a:extLst>
              <a:ext uri="{FF2B5EF4-FFF2-40B4-BE49-F238E27FC236}">
                <a16:creationId xmlns:a16="http://schemas.microsoft.com/office/drawing/2014/main" id="{2B180FAA-1732-40B9-2678-D6B4C77E2310}"/>
              </a:ext>
            </a:extLst>
          </p:cNvPr>
          <p:cNvSpPr>
            <a:spLocks noEditPoints="1"/>
          </p:cNvSpPr>
          <p:nvPr/>
        </p:nvSpPr>
        <p:spPr bwMode="auto">
          <a:xfrm>
            <a:off x="1176868" y="2086539"/>
            <a:ext cx="5239794" cy="2469812"/>
          </a:xfrm>
          <a:custGeom>
            <a:avLst/>
            <a:gdLst>
              <a:gd name="T0" fmla="*/ 5084 w 5760"/>
              <a:gd name="T1" fmla="*/ 1151 h 3090"/>
              <a:gd name="T2" fmla="*/ 515 w 5760"/>
              <a:gd name="T3" fmla="*/ 2094 h 3090"/>
              <a:gd name="T4" fmla="*/ 515 w 5760"/>
              <a:gd name="T5" fmla="*/ 2011 h 3090"/>
              <a:gd name="T6" fmla="*/ 2951 w 5760"/>
              <a:gd name="T7" fmla="*/ 2580 h 3090"/>
              <a:gd name="T8" fmla="*/ 225 w 5760"/>
              <a:gd name="T9" fmla="*/ 202 h 3090"/>
              <a:gd name="T10" fmla="*/ 184 w 5760"/>
              <a:gd name="T11" fmla="*/ 42 h 3090"/>
              <a:gd name="T12" fmla="*/ 4670 w 5760"/>
              <a:gd name="T13" fmla="*/ 1993 h 3090"/>
              <a:gd name="T14" fmla="*/ 4000 w 5760"/>
              <a:gd name="T15" fmla="*/ 463 h 3090"/>
              <a:gd name="T16" fmla="*/ 5481 w 5760"/>
              <a:gd name="T17" fmla="*/ 741 h 3090"/>
              <a:gd name="T18" fmla="*/ 5618 w 5760"/>
              <a:gd name="T19" fmla="*/ 688 h 3090"/>
              <a:gd name="T20" fmla="*/ 5416 w 5760"/>
              <a:gd name="T21" fmla="*/ 439 h 3090"/>
              <a:gd name="T22" fmla="*/ 4563 w 5760"/>
              <a:gd name="T23" fmla="*/ 890 h 3090"/>
              <a:gd name="T24" fmla="*/ 4071 w 5760"/>
              <a:gd name="T25" fmla="*/ 724 h 3090"/>
              <a:gd name="T26" fmla="*/ 3698 w 5760"/>
              <a:gd name="T27" fmla="*/ 1020 h 3090"/>
              <a:gd name="T28" fmla="*/ 3994 w 5760"/>
              <a:gd name="T29" fmla="*/ 433 h 3090"/>
              <a:gd name="T30" fmla="*/ 3378 w 5760"/>
              <a:gd name="T31" fmla="*/ 302 h 3090"/>
              <a:gd name="T32" fmla="*/ 201 w 5760"/>
              <a:gd name="T33" fmla="*/ 30 h 3090"/>
              <a:gd name="T34" fmla="*/ 172 w 5760"/>
              <a:gd name="T35" fmla="*/ 279 h 3090"/>
              <a:gd name="T36" fmla="*/ 184 w 5760"/>
              <a:gd name="T37" fmla="*/ 136 h 3090"/>
              <a:gd name="T38" fmla="*/ 71 w 5760"/>
              <a:gd name="T39" fmla="*/ 380 h 3090"/>
              <a:gd name="T40" fmla="*/ 65 w 5760"/>
              <a:gd name="T41" fmla="*/ 611 h 3090"/>
              <a:gd name="T42" fmla="*/ 59 w 5760"/>
              <a:gd name="T43" fmla="*/ 1145 h 3090"/>
              <a:gd name="T44" fmla="*/ 225 w 5760"/>
              <a:gd name="T45" fmla="*/ 1530 h 3090"/>
              <a:gd name="T46" fmla="*/ 267 w 5760"/>
              <a:gd name="T47" fmla="*/ 1584 h 3090"/>
              <a:gd name="T48" fmla="*/ 338 w 5760"/>
              <a:gd name="T49" fmla="*/ 1785 h 3090"/>
              <a:gd name="T50" fmla="*/ 622 w 5760"/>
              <a:gd name="T51" fmla="*/ 2011 h 3090"/>
              <a:gd name="T52" fmla="*/ 1647 w 5760"/>
              <a:gd name="T53" fmla="*/ 2278 h 3090"/>
              <a:gd name="T54" fmla="*/ 2169 w 5760"/>
              <a:gd name="T55" fmla="*/ 2574 h 3090"/>
              <a:gd name="T56" fmla="*/ 2477 w 5760"/>
              <a:gd name="T57" fmla="*/ 2722 h 3090"/>
              <a:gd name="T58" fmla="*/ 2732 w 5760"/>
              <a:gd name="T59" fmla="*/ 2900 h 3090"/>
              <a:gd name="T60" fmla="*/ 2750 w 5760"/>
              <a:gd name="T61" fmla="*/ 2687 h 3090"/>
              <a:gd name="T62" fmla="*/ 2963 w 5760"/>
              <a:gd name="T63" fmla="*/ 2562 h 3090"/>
              <a:gd name="T64" fmla="*/ 3318 w 5760"/>
              <a:gd name="T65" fmla="*/ 2533 h 3090"/>
              <a:gd name="T66" fmla="*/ 3478 w 5760"/>
              <a:gd name="T67" fmla="*/ 2544 h 3090"/>
              <a:gd name="T68" fmla="*/ 3508 w 5760"/>
              <a:gd name="T69" fmla="*/ 2515 h 3090"/>
              <a:gd name="T70" fmla="*/ 3514 w 5760"/>
              <a:gd name="T71" fmla="*/ 2455 h 3090"/>
              <a:gd name="T72" fmla="*/ 3751 w 5760"/>
              <a:gd name="T73" fmla="*/ 2426 h 3090"/>
              <a:gd name="T74" fmla="*/ 3917 w 5760"/>
              <a:gd name="T75" fmla="*/ 2515 h 3090"/>
              <a:gd name="T76" fmla="*/ 4172 w 5760"/>
              <a:gd name="T77" fmla="*/ 2728 h 3090"/>
              <a:gd name="T78" fmla="*/ 4278 w 5760"/>
              <a:gd name="T79" fmla="*/ 2853 h 3090"/>
              <a:gd name="T80" fmla="*/ 4427 w 5760"/>
              <a:gd name="T81" fmla="*/ 2995 h 3090"/>
              <a:gd name="T82" fmla="*/ 4308 w 5760"/>
              <a:gd name="T83" fmla="*/ 2366 h 3090"/>
              <a:gd name="T84" fmla="*/ 4415 w 5760"/>
              <a:gd name="T85" fmla="*/ 2189 h 3090"/>
              <a:gd name="T86" fmla="*/ 4723 w 5760"/>
              <a:gd name="T87" fmla="*/ 1928 h 3090"/>
              <a:gd name="T88" fmla="*/ 4794 w 5760"/>
              <a:gd name="T89" fmla="*/ 1833 h 3090"/>
              <a:gd name="T90" fmla="*/ 4782 w 5760"/>
              <a:gd name="T91" fmla="*/ 1726 h 3090"/>
              <a:gd name="T92" fmla="*/ 4824 w 5760"/>
              <a:gd name="T93" fmla="*/ 1649 h 3090"/>
              <a:gd name="T94" fmla="*/ 4782 w 5760"/>
              <a:gd name="T95" fmla="*/ 1542 h 3090"/>
              <a:gd name="T96" fmla="*/ 4753 w 5760"/>
              <a:gd name="T97" fmla="*/ 1406 h 3090"/>
              <a:gd name="T98" fmla="*/ 4800 w 5760"/>
              <a:gd name="T99" fmla="*/ 1376 h 3090"/>
              <a:gd name="T100" fmla="*/ 4818 w 5760"/>
              <a:gd name="T101" fmla="*/ 1423 h 3090"/>
              <a:gd name="T102" fmla="*/ 4877 w 5760"/>
              <a:gd name="T103" fmla="*/ 1542 h 3090"/>
              <a:gd name="T104" fmla="*/ 4895 w 5760"/>
              <a:gd name="T105" fmla="*/ 1305 h 3090"/>
              <a:gd name="T106" fmla="*/ 5055 w 5760"/>
              <a:gd name="T107" fmla="*/ 1198 h 3090"/>
              <a:gd name="T108" fmla="*/ 5310 w 5760"/>
              <a:gd name="T109" fmla="*/ 1038 h 3090"/>
              <a:gd name="T110" fmla="*/ 5375 w 5760"/>
              <a:gd name="T111" fmla="*/ 961 h 3090"/>
              <a:gd name="T112" fmla="*/ 5464 w 5760"/>
              <a:gd name="T113" fmla="*/ 747 h 3090"/>
              <a:gd name="T114" fmla="*/ 5570 w 5760"/>
              <a:gd name="T115" fmla="*/ 658 h 3090"/>
              <a:gd name="T116" fmla="*/ 5713 w 5760"/>
              <a:gd name="T117" fmla="*/ 635 h 3090"/>
              <a:gd name="T118" fmla="*/ 3366 w 5760"/>
              <a:gd name="T119" fmla="*/ 2586 h 3090"/>
              <a:gd name="T120" fmla="*/ 3514 w 5760"/>
              <a:gd name="T121" fmla="*/ 2503 h 3090"/>
              <a:gd name="T122" fmla="*/ 4296 w 5760"/>
              <a:gd name="T123" fmla="*/ 3078 h 3090"/>
              <a:gd name="T124" fmla="*/ 4397 w 5760"/>
              <a:gd name="T125" fmla="*/ 2639 h 3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0" h="3090">
                <a:moveTo>
                  <a:pt x="5031" y="1192"/>
                </a:moveTo>
                <a:lnTo>
                  <a:pt x="5031" y="1192"/>
                </a:lnTo>
                <a:lnTo>
                  <a:pt x="5031" y="1186"/>
                </a:lnTo>
                <a:lnTo>
                  <a:pt x="5031" y="1186"/>
                </a:lnTo>
                <a:lnTo>
                  <a:pt x="5031" y="1186"/>
                </a:lnTo>
                <a:lnTo>
                  <a:pt x="5031" y="1186"/>
                </a:lnTo>
                <a:lnTo>
                  <a:pt x="5031" y="1186"/>
                </a:lnTo>
                <a:lnTo>
                  <a:pt x="5031" y="1186"/>
                </a:lnTo>
                <a:lnTo>
                  <a:pt x="5031" y="1186"/>
                </a:lnTo>
                <a:lnTo>
                  <a:pt x="5031" y="1186"/>
                </a:lnTo>
                <a:lnTo>
                  <a:pt x="5031" y="1180"/>
                </a:lnTo>
                <a:lnTo>
                  <a:pt x="5031" y="1180"/>
                </a:lnTo>
                <a:lnTo>
                  <a:pt x="5031" y="1180"/>
                </a:lnTo>
                <a:lnTo>
                  <a:pt x="5031" y="1174"/>
                </a:lnTo>
                <a:lnTo>
                  <a:pt x="5037" y="1174"/>
                </a:lnTo>
                <a:lnTo>
                  <a:pt x="5037" y="1174"/>
                </a:lnTo>
                <a:lnTo>
                  <a:pt x="5037" y="1174"/>
                </a:lnTo>
                <a:lnTo>
                  <a:pt x="5037" y="1174"/>
                </a:lnTo>
                <a:lnTo>
                  <a:pt x="5043" y="1174"/>
                </a:lnTo>
                <a:lnTo>
                  <a:pt x="5043" y="1174"/>
                </a:lnTo>
                <a:lnTo>
                  <a:pt x="5043" y="1174"/>
                </a:lnTo>
                <a:lnTo>
                  <a:pt x="5043" y="1174"/>
                </a:lnTo>
                <a:lnTo>
                  <a:pt x="5043" y="1174"/>
                </a:lnTo>
                <a:lnTo>
                  <a:pt x="5043" y="1174"/>
                </a:lnTo>
                <a:lnTo>
                  <a:pt x="5043" y="1174"/>
                </a:lnTo>
                <a:lnTo>
                  <a:pt x="5043" y="1174"/>
                </a:lnTo>
                <a:lnTo>
                  <a:pt x="5043" y="1174"/>
                </a:lnTo>
                <a:lnTo>
                  <a:pt x="5043" y="1174"/>
                </a:lnTo>
                <a:lnTo>
                  <a:pt x="5043" y="1174"/>
                </a:lnTo>
                <a:lnTo>
                  <a:pt x="5043" y="1180"/>
                </a:lnTo>
                <a:lnTo>
                  <a:pt x="5049" y="1180"/>
                </a:lnTo>
                <a:lnTo>
                  <a:pt x="5049" y="1180"/>
                </a:lnTo>
                <a:lnTo>
                  <a:pt x="5049" y="1180"/>
                </a:lnTo>
                <a:lnTo>
                  <a:pt x="5043" y="1186"/>
                </a:lnTo>
                <a:lnTo>
                  <a:pt x="5043" y="1186"/>
                </a:lnTo>
                <a:lnTo>
                  <a:pt x="5037" y="1186"/>
                </a:lnTo>
                <a:lnTo>
                  <a:pt x="5037" y="1186"/>
                </a:lnTo>
                <a:lnTo>
                  <a:pt x="5037" y="1186"/>
                </a:lnTo>
                <a:lnTo>
                  <a:pt x="5037" y="1192"/>
                </a:lnTo>
                <a:lnTo>
                  <a:pt x="5037" y="1192"/>
                </a:lnTo>
                <a:lnTo>
                  <a:pt x="5031" y="1192"/>
                </a:lnTo>
                <a:lnTo>
                  <a:pt x="5031" y="1192"/>
                </a:lnTo>
                <a:lnTo>
                  <a:pt x="5031" y="1192"/>
                </a:lnTo>
                <a:lnTo>
                  <a:pt x="5031" y="1192"/>
                </a:lnTo>
                <a:lnTo>
                  <a:pt x="5025" y="1192"/>
                </a:lnTo>
                <a:lnTo>
                  <a:pt x="5025" y="1192"/>
                </a:lnTo>
                <a:lnTo>
                  <a:pt x="5025" y="1192"/>
                </a:lnTo>
                <a:lnTo>
                  <a:pt x="5025" y="1192"/>
                </a:lnTo>
                <a:lnTo>
                  <a:pt x="5025" y="1192"/>
                </a:lnTo>
                <a:lnTo>
                  <a:pt x="5031" y="1192"/>
                </a:lnTo>
                <a:lnTo>
                  <a:pt x="5031" y="1192"/>
                </a:lnTo>
                <a:close/>
                <a:moveTo>
                  <a:pt x="5061" y="1151"/>
                </a:moveTo>
                <a:lnTo>
                  <a:pt x="5061" y="1151"/>
                </a:lnTo>
                <a:lnTo>
                  <a:pt x="5061" y="1145"/>
                </a:lnTo>
                <a:lnTo>
                  <a:pt x="5061" y="1145"/>
                </a:lnTo>
                <a:lnTo>
                  <a:pt x="5061" y="1145"/>
                </a:lnTo>
                <a:lnTo>
                  <a:pt x="5061" y="1145"/>
                </a:lnTo>
                <a:lnTo>
                  <a:pt x="5061" y="1145"/>
                </a:lnTo>
                <a:lnTo>
                  <a:pt x="5061" y="1145"/>
                </a:lnTo>
                <a:lnTo>
                  <a:pt x="5061" y="1145"/>
                </a:lnTo>
                <a:lnTo>
                  <a:pt x="5061" y="1145"/>
                </a:lnTo>
                <a:lnTo>
                  <a:pt x="5055" y="1157"/>
                </a:lnTo>
                <a:lnTo>
                  <a:pt x="5055" y="1157"/>
                </a:lnTo>
                <a:lnTo>
                  <a:pt x="5055" y="1162"/>
                </a:lnTo>
                <a:lnTo>
                  <a:pt x="5055" y="1162"/>
                </a:lnTo>
                <a:lnTo>
                  <a:pt x="5049" y="1162"/>
                </a:lnTo>
                <a:lnTo>
                  <a:pt x="5049" y="1168"/>
                </a:lnTo>
                <a:lnTo>
                  <a:pt x="5055" y="1168"/>
                </a:lnTo>
                <a:lnTo>
                  <a:pt x="5055" y="1168"/>
                </a:lnTo>
                <a:lnTo>
                  <a:pt x="5055" y="1162"/>
                </a:lnTo>
                <a:lnTo>
                  <a:pt x="5055" y="1162"/>
                </a:lnTo>
                <a:lnTo>
                  <a:pt x="5055" y="1162"/>
                </a:lnTo>
                <a:lnTo>
                  <a:pt x="5055" y="1162"/>
                </a:lnTo>
                <a:lnTo>
                  <a:pt x="5061" y="1157"/>
                </a:lnTo>
                <a:lnTo>
                  <a:pt x="5061" y="1157"/>
                </a:lnTo>
                <a:lnTo>
                  <a:pt x="5061" y="1151"/>
                </a:lnTo>
                <a:lnTo>
                  <a:pt x="5061" y="1151"/>
                </a:lnTo>
                <a:lnTo>
                  <a:pt x="5061" y="1151"/>
                </a:lnTo>
                <a:lnTo>
                  <a:pt x="5061" y="1151"/>
                </a:lnTo>
                <a:close/>
                <a:moveTo>
                  <a:pt x="5126" y="1174"/>
                </a:moveTo>
                <a:lnTo>
                  <a:pt x="5126" y="1174"/>
                </a:lnTo>
                <a:lnTo>
                  <a:pt x="5126" y="1174"/>
                </a:lnTo>
                <a:lnTo>
                  <a:pt x="5120" y="1174"/>
                </a:lnTo>
                <a:lnTo>
                  <a:pt x="5120" y="1174"/>
                </a:lnTo>
                <a:lnTo>
                  <a:pt x="5120" y="1174"/>
                </a:lnTo>
                <a:lnTo>
                  <a:pt x="5120" y="1174"/>
                </a:lnTo>
                <a:lnTo>
                  <a:pt x="5114" y="1174"/>
                </a:lnTo>
                <a:lnTo>
                  <a:pt x="5114" y="1174"/>
                </a:lnTo>
                <a:lnTo>
                  <a:pt x="5114" y="1174"/>
                </a:lnTo>
                <a:lnTo>
                  <a:pt x="5108" y="1180"/>
                </a:lnTo>
                <a:lnTo>
                  <a:pt x="5108" y="1180"/>
                </a:lnTo>
                <a:lnTo>
                  <a:pt x="5108" y="1180"/>
                </a:lnTo>
                <a:lnTo>
                  <a:pt x="5096" y="1180"/>
                </a:lnTo>
                <a:lnTo>
                  <a:pt x="5096" y="1186"/>
                </a:lnTo>
                <a:lnTo>
                  <a:pt x="5114" y="1180"/>
                </a:lnTo>
                <a:lnTo>
                  <a:pt x="5120" y="1174"/>
                </a:lnTo>
                <a:lnTo>
                  <a:pt x="5126" y="1174"/>
                </a:lnTo>
                <a:lnTo>
                  <a:pt x="5126" y="1174"/>
                </a:lnTo>
                <a:close/>
                <a:moveTo>
                  <a:pt x="5173" y="1157"/>
                </a:moveTo>
                <a:lnTo>
                  <a:pt x="5173" y="1157"/>
                </a:lnTo>
                <a:lnTo>
                  <a:pt x="5167" y="1162"/>
                </a:lnTo>
                <a:lnTo>
                  <a:pt x="5161" y="1162"/>
                </a:lnTo>
                <a:lnTo>
                  <a:pt x="5161" y="1162"/>
                </a:lnTo>
                <a:lnTo>
                  <a:pt x="5161" y="1162"/>
                </a:lnTo>
                <a:lnTo>
                  <a:pt x="5155" y="1162"/>
                </a:lnTo>
                <a:lnTo>
                  <a:pt x="5155" y="1168"/>
                </a:lnTo>
                <a:lnTo>
                  <a:pt x="5150" y="1168"/>
                </a:lnTo>
                <a:lnTo>
                  <a:pt x="5150" y="1168"/>
                </a:lnTo>
                <a:lnTo>
                  <a:pt x="5144" y="1174"/>
                </a:lnTo>
                <a:lnTo>
                  <a:pt x="5132" y="1174"/>
                </a:lnTo>
                <a:lnTo>
                  <a:pt x="5132" y="1174"/>
                </a:lnTo>
                <a:lnTo>
                  <a:pt x="5126" y="1174"/>
                </a:lnTo>
                <a:lnTo>
                  <a:pt x="5126" y="1174"/>
                </a:lnTo>
                <a:lnTo>
                  <a:pt x="5126" y="1174"/>
                </a:lnTo>
                <a:lnTo>
                  <a:pt x="5120" y="1174"/>
                </a:lnTo>
                <a:lnTo>
                  <a:pt x="5120" y="1174"/>
                </a:lnTo>
                <a:lnTo>
                  <a:pt x="5120" y="1180"/>
                </a:lnTo>
                <a:lnTo>
                  <a:pt x="5126" y="1174"/>
                </a:lnTo>
                <a:lnTo>
                  <a:pt x="5138" y="1174"/>
                </a:lnTo>
                <a:lnTo>
                  <a:pt x="5138" y="1174"/>
                </a:lnTo>
                <a:lnTo>
                  <a:pt x="5150" y="1168"/>
                </a:lnTo>
                <a:lnTo>
                  <a:pt x="5150" y="1168"/>
                </a:lnTo>
                <a:lnTo>
                  <a:pt x="5155" y="1168"/>
                </a:lnTo>
                <a:lnTo>
                  <a:pt x="5161" y="1168"/>
                </a:lnTo>
                <a:lnTo>
                  <a:pt x="5167" y="1162"/>
                </a:lnTo>
                <a:lnTo>
                  <a:pt x="5173" y="1162"/>
                </a:lnTo>
                <a:lnTo>
                  <a:pt x="5173" y="1157"/>
                </a:lnTo>
                <a:lnTo>
                  <a:pt x="5173" y="1157"/>
                </a:lnTo>
                <a:lnTo>
                  <a:pt x="5173" y="1157"/>
                </a:lnTo>
                <a:lnTo>
                  <a:pt x="5173" y="1157"/>
                </a:lnTo>
                <a:lnTo>
                  <a:pt x="5173" y="1157"/>
                </a:lnTo>
                <a:close/>
                <a:moveTo>
                  <a:pt x="5262" y="1115"/>
                </a:moveTo>
                <a:lnTo>
                  <a:pt x="5262" y="1115"/>
                </a:lnTo>
                <a:lnTo>
                  <a:pt x="5256" y="1115"/>
                </a:lnTo>
                <a:lnTo>
                  <a:pt x="5262" y="1121"/>
                </a:lnTo>
                <a:lnTo>
                  <a:pt x="5262" y="1121"/>
                </a:lnTo>
                <a:lnTo>
                  <a:pt x="5256" y="1121"/>
                </a:lnTo>
                <a:lnTo>
                  <a:pt x="5256" y="1115"/>
                </a:lnTo>
                <a:lnTo>
                  <a:pt x="5256" y="1121"/>
                </a:lnTo>
                <a:lnTo>
                  <a:pt x="5256" y="1121"/>
                </a:lnTo>
                <a:lnTo>
                  <a:pt x="5256" y="1121"/>
                </a:lnTo>
                <a:lnTo>
                  <a:pt x="5256" y="1121"/>
                </a:lnTo>
                <a:lnTo>
                  <a:pt x="5250" y="1121"/>
                </a:lnTo>
                <a:lnTo>
                  <a:pt x="5250" y="1121"/>
                </a:lnTo>
                <a:lnTo>
                  <a:pt x="5250" y="1121"/>
                </a:lnTo>
                <a:lnTo>
                  <a:pt x="5250" y="1121"/>
                </a:lnTo>
                <a:lnTo>
                  <a:pt x="5244" y="1127"/>
                </a:lnTo>
                <a:lnTo>
                  <a:pt x="5244" y="1127"/>
                </a:lnTo>
                <a:lnTo>
                  <a:pt x="5238" y="1127"/>
                </a:lnTo>
                <a:lnTo>
                  <a:pt x="5238" y="1127"/>
                </a:lnTo>
                <a:lnTo>
                  <a:pt x="5238" y="1127"/>
                </a:lnTo>
                <a:lnTo>
                  <a:pt x="5238" y="1127"/>
                </a:lnTo>
                <a:lnTo>
                  <a:pt x="5238" y="1121"/>
                </a:lnTo>
                <a:lnTo>
                  <a:pt x="5233" y="1121"/>
                </a:lnTo>
                <a:lnTo>
                  <a:pt x="5233" y="1121"/>
                </a:lnTo>
                <a:lnTo>
                  <a:pt x="5233" y="1127"/>
                </a:lnTo>
                <a:lnTo>
                  <a:pt x="5233" y="1127"/>
                </a:lnTo>
                <a:lnTo>
                  <a:pt x="5233" y="1127"/>
                </a:lnTo>
                <a:lnTo>
                  <a:pt x="5233" y="1121"/>
                </a:lnTo>
                <a:lnTo>
                  <a:pt x="5233" y="1121"/>
                </a:lnTo>
                <a:lnTo>
                  <a:pt x="5227" y="1121"/>
                </a:lnTo>
                <a:lnTo>
                  <a:pt x="5227" y="1121"/>
                </a:lnTo>
                <a:lnTo>
                  <a:pt x="5227" y="1121"/>
                </a:lnTo>
                <a:lnTo>
                  <a:pt x="5227" y="1121"/>
                </a:lnTo>
                <a:lnTo>
                  <a:pt x="5227" y="1121"/>
                </a:lnTo>
                <a:lnTo>
                  <a:pt x="5227" y="1127"/>
                </a:lnTo>
                <a:lnTo>
                  <a:pt x="5227" y="1127"/>
                </a:lnTo>
                <a:lnTo>
                  <a:pt x="5227" y="1127"/>
                </a:lnTo>
                <a:lnTo>
                  <a:pt x="5227" y="1127"/>
                </a:lnTo>
                <a:lnTo>
                  <a:pt x="5227" y="1127"/>
                </a:lnTo>
                <a:lnTo>
                  <a:pt x="5221" y="1127"/>
                </a:lnTo>
                <a:lnTo>
                  <a:pt x="5221" y="1127"/>
                </a:lnTo>
                <a:lnTo>
                  <a:pt x="5221" y="1121"/>
                </a:lnTo>
                <a:lnTo>
                  <a:pt x="5221" y="1121"/>
                </a:lnTo>
                <a:lnTo>
                  <a:pt x="5221" y="1121"/>
                </a:lnTo>
                <a:lnTo>
                  <a:pt x="5221" y="1121"/>
                </a:lnTo>
                <a:lnTo>
                  <a:pt x="5221" y="1121"/>
                </a:lnTo>
                <a:lnTo>
                  <a:pt x="5221" y="1127"/>
                </a:lnTo>
                <a:lnTo>
                  <a:pt x="5221" y="1127"/>
                </a:lnTo>
                <a:lnTo>
                  <a:pt x="5215" y="1127"/>
                </a:lnTo>
                <a:lnTo>
                  <a:pt x="5215" y="1127"/>
                </a:lnTo>
                <a:lnTo>
                  <a:pt x="5215" y="1133"/>
                </a:lnTo>
                <a:lnTo>
                  <a:pt x="5209" y="1133"/>
                </a:lnTo>
                <a:lnTo>
                  <a:pt x="5209" y="1133"/>
                </a:lnTo>
                <a:lnTo>
                  <a:pt x="5209" y="1133"/>
                </a:lnTo>
                <a:lnTo>
                  <a:pt x="5209" y="1133"/>
                </a:lnTo>
                <a:lnTo>
                  <a:pt x="5209" y="1133"/>
                </a:lnTo>
                <a:lnTo>
                  <a:pt x="5209" y="1139"/>
                </a:lnTo>
                <a:lnTo>
                  <a:pt x="5209" y="1139"/>
                </a:lnTo>
                <a:lnTo>
                  <a:pt x="5209" y="1139"/>
                </a:lnTo>
                <a:lnTo>
                  <a:pt x="5203" y="1139"/>
                </a:lnTo>
                <a:lnTo>
                  <a:pt x="5203" y="1139"/>
                </a:lnTo>
                <a:lnTo>
                  <a:pt x="5203" y="1139"/>
                </a:lnTo>
                <a:lnTo>
                  <a:pt x="5197" y="1139"/>
                </a:lnTo>
                <a:lnTo>
                  <a:pt x="5197" y="1139"/>
                </a:lnTo>
                <a:lnTo>
                  <a:pt x="5197" y="1139"/>
                </a:lnTo>
                <a:lnTo>
                  <a:pt x="5191" y="1139"/>
                </a:lnTo>
                <a:lnTo>
                  <a:pt x="5191" y="1139"/>
                </a:lnTo>
                <a:lnTo>
                  <a:pt x="5191" y="1139"/>
                </a:lnTo>
                <a:lnTo>
                  <a:pt x="5191" y="1139"/>
                </a:lnTo>
                <a:lnTo>
                  <a:pt x="5191" y="1139"/>
                </a:lnTo>
                <a:lnTo>
                  <a:pt x="5191" y="1139"/>
                </a:lnTo>
                <a:lnTo>
                  <a:pt x="5191" y="1139"/>
                </a:lnTo>
                <a:lnTo>
                  <a:pt x="5191" y="1139"/>
                </a:lnTo>
                <a:lnTo>
                  <a:pt x="5191" y="1139"/>
                </a:lnTo>
                <a:lnTo>
                  <a:pt x="5191" y="1139"/>
                </a:lnTo>
                <a:lnTo>
                  <a:pt x="5197" y="1133"/>
                </a:lnTo>
                <a:lnTo>
                  <a:pt x="5197" y="1133"/>
                </a:lnTo>
                <a:lnTo>
                  <a:pt x="5197" y="1133"/>
                </a:lnTo>
                <a:lnTo>
                  <a:pt x="5197" y="1133"/>
                </a:lnTo>
                <a:lnTo>
                  <a:pt x="5197" y="1133"/>
                </a:lnTo>
                <a:lnTo>
                  <a:pt x="5197" y="1133"/>
                </a:lnTo>
                <a:lnTo>
                  <a:pt x="5197" y="1127"/>
                </a:lnTo>
                <a:lnTo>
                  <a:pt x="5203" y="1127"/>
                </a:lnTo>
                <a:lnTo>
                  <a:pt x="5203" y="1127"/>
                </a:lnTo>
                <a:lnTo>
                  <a:pt x="5203" y="1127"/>
                </a:lnTo>
                <a:lnTo>
                  <a:pt x="5203" y="1127"/>
                </a:lnTo>
                <a:lnTo>
                  <a:pt x="5203" y="1127"/>
                </a:lnTo>
                <a:lnTo>
                  <a:pt x="5203" y="1127"/>
                </a:lnTo>
                <a:lnTo>
                  <a:pt x="5203" y="1127"/>
                </a:lnTo>
                <a:lnTo>
                  <a:pt x="5203" y="1127"/>
                </a:lnTo>
                <a:lnTo>
                  <a:pt x="5209" y="1127"/>
                </a:lnTo>
                <a:lnTo>
                  <a:pt x="5209" y="1127"/>
                </a:lnTo>
                <a:lnTo>
                  <a:pt x="5209" y="1127"/>
                </a:lnTo>
                <a:lnTo>
                  <a:pt x="5209" y="1127"/>
                </a:lnTo>
                <a:lnTo>
                  <a:pt x="5209" y="1127"/>
                </a:lnTo>
                <a:lnTo>
                  <a:pt x="5209" y="1127"/>
                </a:lnTo>
                <a:lnTo>
                  <a:pt x="5209" y="1127"/>
                </a:lnTo>
                <a:lnTo>
                  <a:pt x="5209" y="1127"/>
                </a:lnTo>
                <a:lnTo>
                  <a:pt x="5209" y="1127"/>
                </a:lnTo>
                <a:lnTo>
                  <a:pt x="5209" y="1127"/>
                </a:lnTo>
                <a:lnTo>
                  <a:pt x="5209" y="1127"/>
                </a:lnTo>
                <a:lnTo>
                  <a:pt x="5209" y="1121"/>
                </a:lnTo>
                <a:lnTo>
                  <a:pt x="5209" y="1121"/>
                </a:lnTo>
                <a:lnTo>
                  <a:pt x="5215" y="1121"/>
                </a:lnTo>
                <a:lnTo>
                  <a:pt x="5215" y="1121"/>
                </a:lnTo>
                <a:lnTo>
                  <a:pt x="5215" y="1121"/>
                </a:lnTo>
                <a:lnTo>
                  <a:pt x="5209" y="1121"/>
                </a:lnTo>
                <a:lnTo>
                  <a:pt x="5209" y="1121"/>
                </a:lnTo>
                <a:lnTo>
                  <a:pt x="5209" y="1121"/>
                </a:lnTo>
                <a:lnTo>
                  <a:pt x="5215" y="1115"/>
                </a:lnTo>
                <a:lnTo>
                  <a:pt x="5221" y="1109"/>
                </a:lnTo>
                <a:lnTo>
                  <a:pt x="5221" y="1115"/>
                </a:lnTo>
                <a:lnTo>
                  <a:pt x="5221" y="1115"/>
                </a:lnTo>
                <a:lnTo>
                  <a:pt x="5227" y="1115"/>
                </a:lnTo>
                <a:lnTo>
                  <a:pt x="5227" y="1109"/>
                </a:lnTo>
                <a:lnTo>
                  <a:pt x="5227" y="1109"/>
                </a:lnTo>
                <a:lnTo>
                  <a:pt x="5227" y="1109"/>
                </a:lnTo>
                <a:lnTo>
                  <a:pt x="5227" y="1109"/>
                </a:lnTo>
                <a:lnTo>
                  <a:pt x="5227" y="1109"/>
                </a:lnTo>
                <a:lnTo>
                  <a:pt x="5227" y="1109"/>
                </a:lnTo>
                <a:lnTo>
                  <a:pt x="5227" y="1109"/>
                </a:lnTo>
                <a:lnTo>
                  <a:pt x="5227" y="1109"/>
                </a:lnTo>
                <a:lnTo>
                  <a:pt x="5221" y="1109"/>
                </a:lnTo>
                <a:lnTo>
                  <a:pt x="5221" y="1109"/>
                </a:lnTo>
                <a:lnTo>
                  <a:pt x="5215" y="1109"/>
                </a:lnTo>
                <a:lnTo>
                  <a:pt x="5215" y="1109"/>
                </a:lnTo>
                <a:lnTo>
                  <a:pt x="5215" y="1109"/>
                </a:lnTo>
                <a:lnTo>
                  <a:pt x="5215" y="1115"/>
                </a:lnTo>
                <a:lnTo>
                  <a:pt x="5215" y="1115"/>
                </a:lnTo>
                <a:lnTo>
                  <a:pt x="5215" y="1115"/>
                </a:lnTo>
                <a:lnTo>
                  <a:pt x="5209" y="1115"/>
                </a:lnTo>
                <a:lnTo>
                  <a:pt x="5209" y="1115"/>
                </a:lnTo>
                <a:lnTo>
                  <a:pt x="5209" y="1115"/>
                </a:lnTo>
                <a:lnTo>
                  <a:pt x="5209" y="1115"/>
                </a:lnTo>
                <a:lnTo>
                  <a:pt x="5209" y="1115"/>
                </a:lnTo>
                <a:lnTo>
                  <a:pt x="5203" y="1121"/>
                </a:lnTo>
                <a:lnTo>
                  <a:pt x="5203" y="1121"/>
                </a:lnTo>
                <a:lnTo>
                  <a:pt x="5197" y="1127"/>
                </a:lnTo>
                <a:lnTo>
                  <a:pt x="5191" y="1127"/>
                </a:lnTo>
                <a:lnTo>
                  <a:pt x="5191" y="1127"/>
                </a:lnTo>
                <a:lnTo>
                  <a:pt x="5191" y="1127"/>
                </a:lnTo>
                <a:lnTo>
                  <a:pt x="5185" y="1133"/>
                </a:lnTo>
                <a:lnTo>
                  <a:pt x="5185" y="1133"/>
                </a:lnTo>
                <a:lnTo>
                  <a:pt x="5179" y="1133"/>
                </a:lnTo>
                <a:lnTo>
                  <a:pt x="5173" y="1133"/>
                </a:lnTo>
                <a:lnTo>
                  <a:pt x="5167" y="1133"/>
                </a:lnTo>
                <a:lnTo>
                  <a:pt x="5161" y="1133"/>
                </a:lnTo>
                <a:lnTo>
                  <a:pt x="5150" y="1133"/>
                </a:lnTo>
                <a:lnTo>
                  <a:pt x="5150" y="1133"/>
                </a:lnTo>
                <a:lnTo>
                  <a:pt x="5144" y="1133"/>
                </a:lnTo>
                <a:lnTo>
                  <a:pt x="5144" y="1133"/>
                </a:lnTo>
                <a:lnTo>
                  <a:pt x="5144" y="1133"/>
                </a:lnTo>
                <a:lnTo>
                  <a:pt x="5144" y="1133"/>
                </a:lnTo>
                <a:lnTo>
                  <a:pt x="5144" y="1133"/>
                </a:lnTo>
                <a:lnTo>
                  <a:pt x="5144" y="1133"/>
                </a:lnTo>
                <a:lnTo>
                  <a:pt x="5144" y="1133"/>
                </a:lnTo>
                <a:lnTo>
                  <a:pt x="5144" y="1133"/>
                </a:lnTo>
                <a:lnTo>
                  <a:pt x="5144" y="1133"/>
                </a:lnTo>
                <a:lnTo>
                  <a:pt x="5144" y="1133"/>
                </a:lnTo>
                <a:lnTo>
                  <a:pt x="5138" y="1133"/>
                </a:lnTo>
                <a:lnTo>
                  <a:pt x="5138" y="1133"/>
                </a:lnTo>
                <a:lnTo>
                  <a:pt x="5138" y="1133"/>
                </a:lnTo>
                <a:lnTo>
                  <a:pt x="5138" y="1133"/>
                </a:lnTo>
                <a:lnTo>
                  <a:pt x="5138" y="1139"/>
                </a:lnTo>
                <a:lnTo>
                  <a:pt x="5138" y="1139"/>
                </a:lnTo>
                <a:lnTo>
                  <a:pt x="5132" y="1139"/>
                </a:lnTo>
                <a:lnTo>
                  <a:pt x="5132" y="1139"/>
                </a:lnTo>
                <a:lnTo>
                  <a:pt x="5132" y="1139"/>
                </a:lnTo>
                <a:lnTo>
                  <a:pt x="5126" y="1139"/>
                </a:lnTo>
                <a:lnTo>
                  <a:pt x="5126" y="1139"/>
                </a:lnTo>
                <a:lnTo>
                  <a:pt x="5126" y="1139"/>
                </a:lnTo>
                <a:lnTo>
                  <a:pt x="5126" y="1139"/>
                </a:lnTo>
                <a:lnTo>
                  <a:pt x="5126" y="1139"/>
                </a:lnTo>
                <a:lnTo>
                  <a:pt x="5120" y="1139"/>
                </a:lnTo>
                <a:lnTo>
                  <a:pt x="5120" y="1139"/>
                </a:lnTo>
                <a:lnTo>
                  <a:pt x="5120" y="1139"/>
                </a:lnTo>
                <a:lnTo>
                  <a:pt x="5120" y="1139"/>
                </a:lnTo>
                <a:lnTo>
                  <a:pt x="5114" y="1139"/>
                </a:lnTo>
                <a:lnTo>
                  <a:pt x="5114" y="1139"/>
                </a:lnTo>
                <a:lnTo>
                  <a:pt x="5114" y="1133"/>
                </a:lnTo>
                <a:lnTo>
                  <a:pt x="5114" y="1133"/>
                </a:lnTo>
                <a:lnTo>
                  <a:pt x="5114" y="1133"/>
                </a:lnTo>
                <a:lnTo>
                  <a:pt x="5114" y="1133"/>
                </a:lnTo>
                <a:lnTo>
                  <a:pt x="5114" y="1133"/>
                </a:lnTo>
                <a:lnTo>
                  <a:pt x="5114" y="1133"/>
                </a:lnTo>
                <a:lnTo>
                  <a:pt x="5114" y="1139"/>
                </a:lnTo>
                <a:lnTo>
                  <a:pt x="5114" y="1139"/>
                </a:lnTo>
                <a:lnTo>
                  <a:pt x="5114" y="1139"/>
                </a:lnTo>
                <a:lnTo>
                  <a:pt x="5114" y="1139"/>
                </a:lnTo>
                <a:lnTo>
                  <a:pt x="5114" y="1139"/>
                </a:lnTo>
                <a:lnTo>
                  <a:pt x="5114" y="1139"/>
                </a:lnTo>
                <a:lnTo>
                  <a:pt x="5114" y="1139"/>
                </a:lnTo>
                <a:lnTo>
                  <a:pt x="5114" y="1139"/>
                </a:lnTo>
                <a:lnTo>
                  <a:pt x="5114" y="1139"/>
                </a:lnTo>
                <a:lnTo>
                  <a:pt x="5108" y="1139"/>
                </a:lnTo>
                <a:lnTo>
                  <a:pt x="5108" y="1139"/>
                </a:lnTo>
                <a:lnTo>
                  <a:pt x="5108" y="1139"/>
                </a:lnTo>
                <a:lnTo>
                  <a:pt x="5108" y="1139"/>
                </a:lnTo>
                <a:lnTo>
                  <a:pt x="5108" y="1139"/>
                </a:lnTo>
                <a:lnTo>
                  <a:pt x="5102" y="1133"/>
                </a:lnTo>
                <a:lnTo>
                  <a:pt x="5102" y="1139"/>
                </a:lnTo>
                <a:lnTo>
                  <a:pt x="5102" y="1139"/>
                </a:lnTo>
                <a:lnTo>
                  <a:pt x="5102" y="1139"/>
                </a:lnTo>
                <a:lnTo>
                  <a:pt x="5108" y="1139"/>
                </a:lnTo>
                <a:lnTo>
                  <a:pt x="5108" y="1139"/>
                </a:lnTo>
                <a:lnTo>
                  <a:pt x="5108" y="1145"/>
                </a:lnTo>
                <a:lnTo>
                  <a:pt x="5102" y="1145"/>
                </a:lnTo>
                <a:lnTo>
                  <a:pt x="5102" y="1145"/>
                </a:lnTo>
                <a:lnTo>
                  <a:pt x="5102" y="1145"/>
                </a:lnTo>
                <a:lnTo>
                  <a:pt x="5102" y="1145"/>
                </a:lnTo>
                <a:lnTo>
                  <a:pt x="5102" y="1145"/>
                </a:lnTo>
                <a:lnTo>
                  <a:pt x="5102" y="1145"/>
                </a:lnTo>
                <a:lnTo>
                  <a:pt x="5102" y="1145"/>
                </a:lnTo>
                <a:lnTo>
                  <a:pt x="5102" y="1139"/>
                </a:lnTo>
                <a:lnTo>
                  <a:pt x="5102" y="1145"/>
                </a:lnTo>
                <a:lnTo>
                  <a:pt x="5102" y="1145"/>
                </a:lnTo>
                <a:lnTo>
                  <a:pt x="5096" y="1145"/>
                </a:lnTo>
                <a:lnTo>
                  <a:pt x="5096" y="1145"/>
                </a:lnTo>
                <a:lnTo>
                  <a:pt x="5096" y="1139"/>
                </a:lnTo>
                <a:lnTo>
                  <a:pt x="5102" y="1145"/>
                </a:lnTo>
                <a:lnTo>
                  <a:pt x="5102" y="1145"/>
                </a:lnTo>
                <a:lnTo>
                  <a:pt x="5102" y="1139"/>
                </a:lnTo>
                <a:lnTo>
                  <a:pt x="5102" y="1139"/>
                </a:lnTo>
                <a:lnTo>
                  <a:pt x="5102" y="1139"/>
                </a:lnTo>
                <a:lnTo>
                  <a:pt x="5102" y="1139"/>
                </a:lnTo>
                <a:lnTo>
                  <a:pt x="5096" y="1139"/>
                </a:lnTo>
                <a:lnTo>
                  <a:pt x="5090" y="1139"/>
                </a:lnTo>
                <a:lnTo>
                  <a:pt x="5090" y="1145"/>
                </a:lnTo>
                <a:lnTo>
                  <a:pt x="5084" y="1145"/>
                </a:lnTo>
                <a:lnTo>
                  <a:pt x="5090" y="1151"/>
                </a:lnTo>
                <a:lnTo>
                  <a:pt x="5090" y="1151"/>
                </a:lnTo>
                <a:lnTo>
                  <a:pt x="5084" y="1151"/>
                </a:lnTo>
                <a:lnTo>
                  <a:pt x="5084" y="1151"/>
                </a:lnTo>
                <a:lnTo>
                  <a:pt x="5084" y="1151"/>
                </a:lnTo>
                <a:lnTo>
                  <a:pt x="5084" y="1145"/>
                </a:lnTo>
                <a:lnTo>
                  <a:pt x="5084" y="1145"/>
                </a:lnTo>
                <a:lnTo>
                  <a:pt x="5084" y="1145"/>
                </a:lnTo>
                <a:lnTo>
                  <a:pt x="5078" y="1145"/>
                </a:lnTo>
                <a:lnTo>
                  <a:pt x="5078" y="1145"/>
                </a:lnTo>
                <a:lnTo>
                  <a:pt x="5078" y="1145"/>
                </a:lnTo>
                <a:lnTo>
                  <a:pt x="5078" y="1151"/>
                </a:lnTo>
                <a:lnTo>
                  <a:pt x="5084" y="1151"/>
                </a:lnTo>
                <a:lnTo>
                  <a:pt x="5084" y="1151"/>
                </a:lnTo>
                <a:lnTo>
                  <a:pt x="5084" y="1151"/>
                </a:lnTo>
                <a:lnTo>
                  <a:pt x="5078" y="1151"/>
                </a:lnTo>
                <a:lnTo>
                  <a:pt x="5078" y="1151"/>
                </a:lnTo>
                <a:lnTo>
                  <a:pt x="5078" y="1151"/>
                </a:lnTo>
                <a:lnTo>
                  <a:pt x="5078" y="1151"/>
                </a:lnTo>
                <a:lnTo>
                  <a:pt x="5078" y="1151"/>
                </a:lnTo>
                <a:lnTo>
                  <a:pt x="5078" y="1151"/>
                </a:lnTo>
                <a:lnTo>
                  <a:pt x="5078" y="1151"/>
                </a:lnTo>
                <a:lnTo>
                  <a:pt x="5078" y="1151"/>
                </a:lnTo>
                <a:lnTo>
                  <a:pt x="5078" y="1157"/>
                </a:lnTo>
                <a:lnTo>
                  <a:pt x="5078" y="1157"/>
                </a:lnTo>
                <a:lnTo>
                  <a:pt x="5078" y="1157"/>
                </a:lnTo>
                <a:lnTo>
                  <a:pt x="5073" y="1157"/>
                </a:lnTo>
                <a:lnTo>
                  <a:pt x="5073" y="1157"/>
                </a:lnTo>
                <a:lnTo>
                  <a:pt x="5067" y="1157"/>
                </a:lnTo>
                <a:lnTo>
                  <a:pt x="5067" y="1157"/>
                </a:lnTo>
                <a:lnTo>
                  <a:pt x="5067" y="1157"/>
                </a:lnTo>
                <a:lnTo>
                  <a:pt x="5061" y="1157"/>
                </a:lnTo>
                <a:lnTo>
                  <a:pt x="5061" y="1157"/>
                </a:lnTo>
                <a:lnTo>
                  <a:pt x="5061" y="1157"/>
                </a:lnTo>
                <a:lnTo>
                  <a:pt x="5061" y="1157"/>
                </a:lnTo>
                <a:lnTo>
                  <a:pt x="5055" y="1162"/>
                </a:lnTo>
                <a:lnTo>
                  <a:pt x="5055" y="1162"/>
                </a:lnTo>
                <a:lnTo>
                  <a:pt x="5055" y="1168"/>
                </a:lnTo>
                <a:lnTo>
                  <a:pt x="5055" y="1168"/>
                </a:lnTo>
                <a:lnTo>
                  <a:pt x="5055" y="1168"/>
                </a:lnTo>
                <a:lnTo>
                  <a:pt x="5055" y="1168"/>
                </a:lnTo>
                <a:lnTo>
                  <a:pt x="5055" y="1168"/>
                </a:lnTo>
                <a:lnTo>
                  <a:pt x="5055" y="1168"/>
                </a:lnTo>
                <a:lnTo>
                  <a:pt x="5049" y="1168"/>
                </a:lnTo>
                <a:lnTo>
                  <a:pt x="5049" y="1168"/>
                </a:lnTo>
                <a:lnTo>
                  <a:pt x="5049" y="1174"/>
                </a:lnTo>
                <a:lnTo>
                  <a:pt x="5049" y="1174"/>
                </a:lnTo>
                <a:lnTo>
                  <a:pt x="5049" y="1174"/>
                </a:lnTo>
                <a:lnTo>
                  <a:pt x="5049" y="1174"/>
                </a:lnTo>
                <a:lnTo>
                  <a:pt x="5049" y="1174"/>
                </a:lnTo>
                <a:lnTo>
                  <a:pt x="5049" y="1180"/>
                </a:lnTo>
                <a:lnTo>
                  <a:pt x="5049" y="1180"/>
                </a:lnTo>
                <a:lnTo>
                  <a:pt x="5055" y="1180"/>
                </a:lnTo>
                <a:lnTo>
                  <a:pt x="5055" y="1180"/>
                </a:lnTo>
                <a:lnTo>
                  <a:pt x="5055" y="1180"/>
                </a:lnTo>
                <a:lnTo>
                  <a:pt x="5055" y="1180"/>
                </a:lnTo>
                <a:lnTo>
                  <a:pt x="5049" y="1180"/>
                </a:lnTo>
                <a:lnTo>
                  <a:pt x="5049" y="1180"/>
                </a:lnTo>
                <a:lnTo>
                  <a:pt x="5055" y="1186"/>
                </a:lnTo>
                <a:lnTo>
                  <a:pt x="5055" y="1186"/>
                </a:lnTo>
                <a:lnTo>
                  <a:pt x="5055" y="1186"/>
                </a:lnTo>
                <a:lnTo>
                  <a:pt x="5055" y="1186"/>
                </a:lnTo>
                <a:lnTo>
                  <a:pt x="5061" y="1186"/>
                </a:lnTo>
                <a:lnTo>
                  <a:pt x="5061" y="1180"/>
                </a:lnTo>
                <a:lnTo>
                  <a:pt x="5061" y="1180"/>
                </a:lnTo>
                <a:lnTo>
                  <a:pt x="5061" y="1180"/>
                </a:lnTo>
                <a:lnTo>
                  <a:pt x="5061" y="1180"/>
                </a:lnTo>
                <a:lnTo>
                  <a:pt x="5061" y="1180"/>
                </a:lnTo>
                <a:lnTo>
                  <a:pt x="5061" y="1186"/>
                </a:lnTo>
                <a:lnTo>
                  <a:pt x="5067" y="1180"/>
                </a:lnTo>
                <a:lnTo>
                  <a:pt x="5067" y="1180"/>
                </a:lnTo>
                <a:lnTo>
                  <a:pt x="5067" y="1180"/>
                </a:lnTo>
                <a:lnTo>
                  <a:pt x="5061" y="1180"/>
                </a:lnTo>
                <a:lnTo>
                  <a:pt x="5061" y="1174"/>
                </a:lnTo>
                <a:lnTo>
                  <a:pt x="5067" y="1174"/>
                </a:lnTo>
                <a:lnTo>
                  <a:pt x="5067" y="1174"/>
                </a:lnTo>
                <a:lnTo>
                  <a:pt x="5067" y="1174"/>
                </a:lnTo>
                <a:lnTo>
                  <a:pt x="5067" y="1174"/>
                </a:lnTo>
                <a:lnTo>
                  <a:pt x="5067" y="1174"/>
                </a:lnTo>
                <a:lnTo>
                  <a:pt x="5067" y="1174"/>
                </a:lnTo>
                <a:lnTo>
                  <a:pt x="5067" y="1174"/>
                </a:lnTo>
                <a:lnTo>
                  <a:pt x="5073" y="1174"/>
                </a:lnTo>
                <a:lnTo>
                  <a:pt x="5073" y="1174"/>
                </a:lnTo>
                <a:lnTo>
                  <a:pt x="5073" y="1174"/>
                </a:lnTo>
                <a:lnTo>
                  <a:pt x="5073" y="1174"/>
                </a:lnTo>
                <a:lnTo>
                  <a:pt x="5073" y="1180"/>
                </a:lnTo>
                <a:lnTo>
                  <a:pt x="5073" y="1180"/>
                </a:lnTo>
                <a:lnTo>
                  <a:pt x="5073" y="1180"/>
                </a:lnTo>
                <a:lnTo>
                  <a:pt x="5073" y="1180"/>
                </a:lnTo>
                <a:lnTo>
                  <a:pt x="5073" y="1180"/>
                </a:lnTo>
                <a:lnTo>
                  <a:pt x="5067" y="1180"/>
                </a:lnTo>
                <a:lnTo>
                  <a:pt x="5061" y="1186"/>
                </a:lnTo>
                <a:lnTo>
                  <a:pt x="5061" y="1186"/>
                </a:lnTo>
                <a:lnTo>
                  <a:pt x="5061" y="1186"/>
                </a:lnTo>
                <a:lnTo>
                  <a:pt x="5073" y="1180"/>
                </a:lnTo>
                <a:lnTo>
                  <a:pt x="5073" y="1180"/>
                </a:lnTo>
                <a:lnTo>
                  <a:pt x="5078" y="1180"/>
                </a:lnTo>
                <a:lnTo>
                  <a:pt x="5078" y="1180"/>
                </a:lnTo>
                <a:lnTo>
                  <a:pt x="5078" y="1180"/>
                </a:lnTo>
                <a:lnTo>
                  <a:pt x="5084" y="1180"/>
                </a:lnTo>
                <a:lnTo>
                  <a:pt x="5096" y="1180"/>
                </a:lnTo>
                <a:lnTo>
                  <a:pt x="5096" y="1180"/>
                </a:lnTo>
                <a:lnTo>
                  <a:pt x="5090" y="1180"/>
                </a:lnTo>
                <a:lnTo>
                  <a:pt x="5090" y="1180"/>
                </a:lnTo>
                <a:lnTo>
                  <a:pt x="5090" y="1180"/>
                </a:lnTo>
                <a:lnTo>
                  <a:pt x="5078" y="1180"/>
                </a:lnTo>
                <a:lnTo>
                  <a:pt x="5078" y="1180"/>
                </a:lnTo>
                <a:lnTo>
                  <a:pt x="5078" y="1180"/>
                </a:lnTo>
                <a:lnTo>
                  <a:pt x="5084" y="1180"/>
                </a:lnTo>
                <a:lnTo>
                  <a:pt x="5084" y="1180"/>
                </a:lnTo>
                <a:lnTo>
                  <a:pt x="5084" y="1174"/>
                </a:lnTo>
                <a:lnTo>
                  <a:pt x="5084" y="1180"/>
                </a:lnTo>
                <a:lnTo>
                  <a:pt x="5084" y="1180"/>
                </a:lnTo>
                <a:lnTo>
                  <a:pt x="5084" y="1180"/>
                </a:lnTo>
                <a:lnTo>
                  <a:pt x="5084" y="1180"/>
                </a:lnTo>
                <a:lnTo>
                  <a:pt x="5084" y="1180"/>
                </a:lnTo>
                <a:lnTo>
                  <a:pt x="5090" y="1180"/>
                </a:lnTo>
                <a:lnTo>
                  <a:pt x="5090" y="1180"/>
                </a:lnTo>
                <a:lnTo>
                  <a:pt x="5096" y="1174"/>
                </a:lnTo>
                <a:lnTo>
                  <a:pt x="5102" y="1174"/>
                </a:lnTo>
                <a:lnTo>
                  <a:pt x="5108" y="1174"/>
                </a:lnTo>
                <a:lnTo>
                  <a:pt x="5114" y="1174"/>
                </a:lnTo>
                <a:lnTo>
                  <a:pt x="5114" y="1174"/>
                </a:lnTo>
                <a:lnTo>
                  <a:pt x="5114" y="1174"/>
                </a:lnTo>
                <a:lnTo>
                  <a:pt x="5120" y="1168"/>
                </a:lnTo>
                <a:lnTo>
                  <a:pt x="5120" y="1168"/>
                </a:lnTo>
                <a:lnTo>
                  <a:pt x="5126" y="1168"/>
                </a:lnTo>
                <a:lnTo>
                  <a:pt x="5126" y="1168"/>
                </a:lnTo>
                <a:lnTo>
                  <a:pt x="5126" y="1168"/>
                </a:lnTo>
                <a:lnTo>
                  <a:pt x="5126" y="1162"/>
                </a:lnTo>
                <a:lnTo>
                  <a:pt x="5132" y="1168"/>
                </a:lnTo>
                <a:lnTo>
                  <a:pt x="5132" y="1168"/>
                </a:lnTo>
                <a:lnTo>
                  <a:pt x="5138" y="1168"/>
                </a:lnTo>
                <a:lnTo>
                  <a:pt x="5138" y="1168"/>
                </a:lnTo>
                <a:lnTo>
                  <a:pt x="5138" y="1168"/>
                </a:lnTo>
                <a:lnTo>
                  <a:pt x="5138" y="1168"/>
                </a:lnTo>
                <a:lnTo>
                  <a:pt x="5138" y="1162"/>
                </a:lnTo>
                <a:lnTo>
                  <a:pt x="5138" y="1162"/>
                </a:lnTo>
                <a:lnTo>
                  <a:pt x="5138" y="1162"/>
                </a:lnTo>
                <a:lnTo>
                  <a:pt x="5138" y="1162"/>
                </a:lnTo>
                <a:lnTo>
                  <a:pt x="5138" y="1162"/>
                </a:lnTo>
                <a:lnTo>
                  <a:pt x="5144" y="1162"/>
                </a:lnTo>
                <a:lnTo>
                  <a:pt x="5144" y="1162"/>
                </a:lnTo>
                <a:lnTo>
                  <a:pt x="5144" y="1162"/>
                </a:lnTo>
                <a:lnTo>
                  <a:pt x="5144" y="1162"/>
                </a:lnTo>
                <a:lnTo>
                  <a:pt x="5144" y="1162"/>
                </a:lnTo>
                <a:lnTo>
                  <a:pt x="5150" y="1162"/>
                </a:lnTo>
                <a:lnTo>
                  <a:pt x="5150" y="1162"/>
                </a:lnTo>
                <a:lnTo>
                  <a:pt x="5150" y="1162"/>
                </a:lnTo>
                <a:lnTo>
                  <a:pt x="5150" y="1162"/>
                </a:lnTo>
                <a:lnTo>
                  <a:pt x="5155" y="1162"/>
                </a:lnTo>
                <a:lnTo>
                  <a:pt x="5155" y="1162"/>
                </a:lnTo>
                <a:lnTo>
                  <a:pt x="5161" y="1162"/>
                </a:lnTo>
                <a:lnTo>
                  <a:pt x="5161" y="1162"/>
                </a:lnTo>
                <a:lnTo>
                  <a:pt x="5161" y="1157"/>
                </a:lnTo>
                <a:lnTo>
                  <a:pt x="5161" y="1162"/>
                </a:lnTo>
                <a:lnTo>
                  <a:pt x="5167" y="1162"/>
                </a:lnTo>
                <a:lnTo>
                  <a:pt x="5167" y="1157"/>
                </a:lnTo>
                <a:lnTo>
                  <a:pt x="5167" y="1157"/>
                </a:lnTo>
                <a:lnTo>
                  <a:pt x="5167" y="1157"/>
                </a:lnTo>
                <a:lnTo>
                  <a:pt x="5173" y="1157"/>
                </a:lnTo>
                <a:lnTo>
                  <a:pt x="5167" y="1157"/>
                </a:lnTo>
                <a:lnTo>
                  <a:pt x="5167" y="1157"/>
                </a:lnTo>
                <a:lnTo>
                  <a:pt x="5173" y="1157"/>
                </a:lnTo>
                <a:lnTo>
                  <a:pt x="5173" y="1157"/>
                </a:lnTo>
                <a:lnTo>
                  <a:pt x="5179" y="1157"/>
                </a:lnTo>
                <a:lnTo>
                  <a:pt x="5179" y="1157"/>
                </a:lnTo>
                <a:lnTo>
                  <a:pt x="5179" y="1151"/>
                </a:lnTo>
                <a:lnTo>
                  <a:pt x="5179" y="1157"/>
                </a:lnTo>
                <a:lnTo>
                  <a:pt x="5185" y="1157"/>
                </a:lnTo>
                <a:lnTo>
                  <a:pt x="5185" y="1157"/>
                </a:lnTo>
                <a:lnTo>
                  <a:pt x="5185" y="1157"/>
                </a:lnTo>
                <a:lnTo>
                  <a:pt x="5185" y="1157"/>
                </a:lnTo>
                <a:lnTo>
                  <a:pt x="5179" y="1157"/>
                </a:lnTo>
                <a:lnTo>
                  <a:pt x="5179" y="1157"/>
                </a:lnTo>
                <a:lnTo>
                  <a:pt x="5179" y="1157"/>
                </a:lnTo>
                <a:lnTo>
                  <a:pt x="5179" y="1157"/>
                </a:lnTo>
                <a:lnTo>
                  <a:pt x="5179" y="1157"/>
                </a:lnTo>
                <a:lnTo>
                  <a:pt x="5179" y="1157"/>
                </a:lnTo>
                <a:lnTo>
                  <a:pt x="5179" y="1157"/>
                </a:lnTo>
                <a:lnTo>
                  <a:pt x="5191" y="1157"/>
                </a:lnTo>
                <a:lnTo>
                  <a:pt x="5197" y="1151"/>
                </a:lnTo>
                <a:lnTo>
                  <a:pt x="5203" y="1151"/>
                </a:lnTo>
                <a:lnTo>
                  <a:pt x="5203" y="1151"/>
                </a:lnTo>
                <a:lnTo>
                  <a:pt x="5203" y="1151"/>
                </a:lnTo>
                <a:lnTo>
                  <a:pt x="5203" y="1145"/>
                </a:lnTo>
                <a:lnTo>
                  <a:pt x="5203" y="1145"/>
                </a:lnTo>
                <a:lnTo>
                  <a:pt x="5203" y="1145"/>
                </a:lnTo>
                <a:lnTo>
                  <a:pt x="5203" y="1145"/>
                </a:lnTo>
                <a:lnTo>
                  <a:pt x="5203" y="1145"/>
                </a:lnTo>
                <a:lnTo>
                  <a:pt x="5203" y="1145"/>
                </a:lnTo>
                <a:lnTo>
                  <a:pt x="5203" y="1145"/>
                </a:lnTo>
                <a:lnTo>
                  <a:pt x="5203" y="1145"/>
                </a:lnTo>
                <a:lnTo>
                  <a:pt x="5203" y="1145"/>
                </a:lnTo>
                <a:lnTo>
                  <a:pt x="5203" y="1145"/>
                </a:lnTo>
                <a:lnTo>
                  <a:pt x="5209" y="1145"/>
                </a:lnTo>
                <a:lnTo>
                  <a:pt x="5209" y="1145"/>
                </a:lnTo>
                <a:lnTo>
                  <a:pt x="5209" y="1145"/>
                </a:lnTo>
                <a:lnTo>
                  <a:pt x="5203" y="1145"/>
                </a:lnTo>
                <a:lnTo>
                  <a:pt x="5209" y="1145"/>
                </a:lnTo>
                <a:lnTo>
                  <a:pt x="5209" y="1145"/>
                </a:lnTo>
                <a:lnTo>
                  <a:pt x="5215" y="1145"/>
                </a:lnTo>
                <a:lnTo>
                  <a:pt x="5221" y="1139"/>
                </a:lnTo>
                <a:lnTo>
                  <a:pt x="5233" y="1139"/>
                </a:lnTo>
                <a:lnTo>
                  <a:pt x="5238" y="1133"/>
                </a:lnTo>
                <a:lnTo>
                  <a:pt x="5238" y="1133"/>
                </a:lnTo>
                <a:lnTo>
                  <a:pt x="5244" y="1127"/>
                </a:lnTo>
                <a:lnTo>
                  <a:pt x="5244" y="1127"/>
                </a:lnTo>
                <a:lnTo>
                  <a:pt x="5250" y="1127"/>
                </a:lnTo>
                <a:lnTo>
                  <a:pt x="5256" y="1121"/>
                </a:lnTo>
                <a:lnTo>
                  <a:pt x="5262" y="1121"/>
                </a:lnTo>
                <a:lnTo>
                  <a:pt x="5262" y="1121"/>
                </a:lnTo>
                <a:lnTo>
                  <a:pt x="5262" y="1121"/>
                </a:lnTo>
                <a:lnTo>
                  <a:pt x="5262" y="1121"/>
                </a:lnTo>
                <a:lnTo>
                  <a:pt x="5268" y="1121"/>
                </a:lnTo>
                <a:lnTo>
                  <a:pt x="5268" y="1121"/>
                </a:lnTo>
                <a:lnTo>
                  <a:pt x="5268" y="1121"/>
                </a:lnTo>
                <a:lnTo>
                  <a:pt x="5262" y="1115"/>
                </a:lnTo>
                <a:close/>
                <a:moveTo>
                  <a:pt x="5221" y="1115"/>
                </a:moveTo>
                <a:lnTo>
                  <a:pt x="5221" y="1115"/>
                </a:lnTo>
                <a:lnTo>
                  <a:pt x="5221" y="1115"/>
                </a:lnTo>
                <a:lnTo>
                  <a:pt x="5221" y="1115"/>
                </a:lnTo>
                <a:lnTo>
                  <a:pt x="5215" y="1115"/>
                </a:lnTo>
                <a:lnTo>
                  <a:pt x="5215" y="1115"/>
                </a:lnTo>
                <a:lnTo>
                  <a:pt x="5215" y="1115"/>
                </a:lnTo>
                <a:lnTo>
                  <a:pt x="5215" y="1115"/>
                </a:lnTo>
                <a:lnTo>
                  <a:pt x="5215" y="1115"/>
                </a:lnTo>
                <a:lnTo>
                  <a:pt x="5215" y="1121"/>
                </a:lnTo>
                <a:lnTo>
                  <a:pt x="5215" y="1121"/>
                </a:lnTo>
                <a:lnTo>
                  <a:pt x="5215" y="1121"/>
                </a:lnTo>
                <a:lnTo>
                  <a:pt x="5215" y="1121"/>
                </a:lnTo>
                <a:lnTo>
                  <a:pt x="5215" y="1121"/>
                </a:lnTo>
                <a:lnTo>
                  <a:pt x="5215" y="1121"/>
                </a:lnTo>
                <a:lnTo>
                  <a:pt x="5221" y="1121"/>
                </a:lnTo>
                <a:lnTo>
                  <a:pt x="5221" y="1121"/>
                </a:lnTo>
                <a:lnTo>
                  <a:pt x="5221" y="1121"/>
                </a:lnTo>
                <a:lnTo>
                  <a:pt x="5227" y="1121"/>
                </a:lnTo>
                <a:lnTo>
                  <a:pt x="5227" y="1121"/>
                </a:lnTo>
                <a:lnTo>
                  <a:pt x="5227" y="1121"/>
                </a:lnTo>
                <a:lnTo>
                  <a:pt x="5227" y="1121"/>
                </a:lnTo>
                <a:lnTo>
                  <a:pt x="5221" y="1121"/>
                </a:lnTo>
                <a:lnTo>
                  <a:pt x="5221" y="1121"/>
                </a:lnTo>
                <a:lnTo>
                  <a:pt x="5227" y="1121"/>
                </a:lnTo>
                <a:lnTo>
                  <a:pt x="5221" y="1121"/>
                </a:lnTo>
                <a:lnTo>
                  <a:pt x="5221" y="1121"/>
                </a:lnTo>
                <a:lnTo>
                  <a:pt x="5221" y="1115"/>
                </a:lnTo>
                <a:lnTo>
                  <a:pt x="5221" y="1115"/>
                </a:lnTo>
                <a:close/>
                <a:moveTo>
                  <a:pt x="5238" y="1115"/>
                </a:moveTo>
                <a:lnTo>
                  <a:pt x="5238" y="1115"/>
                </a:lnTo>
                <a:lnTo>
                  <a:pt x="5238" y="1115"/>
                </a:lnTo>
                <a:lnTo>
                  <a:pt x="5238" y="1115"/>
                </a:lnTo>
                <a:lnTo>
                  <a:pt x="5238" y="1115"/>
                </a:lnTo>
                <a:lnTo>
                  <a:pt x="5238" y="1115"/>
                </a:lnTo>
                <a:lnTo>
                  <a:pt x="5244" y="1121"/>
                </a:lnTo>
                <a:lnTo>
                  <a:pt x="5244" y="1121"/>
                </a:lnTo>
                <a:lnTo>
                  <a:pt x="5244" y="1121"/>
                </a:lnTo>
                <a:lnTo>
                  <a:pt x="5244" y="1121"/>
                </a:lnTo>
                <a:lnTo>
                  <a:pt x="5244" y="1115"/>
                </a:lnTo>
                <a:lnTo>
                  <a:pt x="5244" y="1115"/>
                </a:lnTo>
                <a:lnTo>
                  <a:pt x="5244" y="1115"/>
                </a:lnTo>
                <a:lnTo>
                  <a:pt x="5244" y="1115"/>
                </a:lnTo>
                <a:lnTo>
                  <a:pt x="5244" y="1115"/>
                </a:lnTo>
                <a:lnTo>
                  <a:pt x="5244" y="1115"/>
                </a:lnTo>
                <a:lnTo>
                  <a:pt x="5244" y="1115"/>
                </a:lnTo>
                <a:lnTo>
                  <a:pt x="5238" y="1115"/>
                </a:lnTo>
                <a:lnTo>
                  <a:pt x="5238" y="1109"/>
                </a:lnTo>
                <a:lnTo>
                  <a:pt x="5238" y="1115"/>
                </a:lnTo>
                <a:lnTo>
                  <a:pt x="5238" y="1115"/>
                </a:lnTo>
                <a:lnTo>
                  <a:pt x="5238" y="1115"/>
                </a:lnTo>
                <a:lnTo>
                  <a:pt x="5238" y="1115"/>
                </a:lnTo>
                <a:close/>
                <a:moveTo>
                  <a:pt x="5250" y="1091"/>
                </a:moveTo>
                <a:lnTo>
                  <a:pt x="5250" y="1097"/>
                </a:lnTo>
                <a:lnTo>
                  <a:pt x="5250" y="1091"/>
                </a:lnTo>
                <a:lnTo>
                  <a:pt x="5256" y="1091"/>
                </a:lnTo>
                <a:lnTo>
                  <a:pt x="5256" y="1091"/>
                </a:lnTo>
                <a:lnTo>
                  <a:pt x="5256" y="1091"/>
                </a:lnTo>
                <a:lnTo>
                  <a:pt x="5256" y="1091"/>
                </a:lnTo>
                <a:lnTo>
                  <a:pt x="5256" y="1091"/>
                </a:lnTo>
                <a:lnTo>
                  <a:pt x="5262" y="1091"/>
                </a:lnTo>
                <a:lnTo>
                  <a:pt x="5256" y="1091"/>
                </a:lnTo>
                <a:lnTo>
                  <a:pt x="5256" y="1091"/>
                </a:lnTo>
                <a:lnTo>
                  <a:pt x="5256" y="1091"/>
                </a:lnTo>
                <a:lnTo>
                  <a:pt x="5250" y="1091"/>
                </a:lnTo>
                <a:lnTo>
                  <a:pt x="5250" y="1091"/>
                </a:lnTo>
                <a:lnTo>
                  <a:pt x="5250" y="1091"/>
                </a:lnTo>
                <a:lnTo>
                  <a:pt x="5250" y="1091"/>
                </a:lnTo>
                <a:lnTo>
                  <a:pt x="5250" y="1091"/>
                </a:lnTo>
                <a:lnTo>
                  <a:pt x="5250" y="1091"/>
                </a:lnTo>
                <a:lnTo>
                  <a:pt x="5250" y="1091"/>
                </a:lnTo>
                <a:lnTo>
                  <a:pt x="5250" y="1091"/>
                </a:lnTo>
                <a:lnTo>
                  <a:pt x="5250" y="1091"/>
                </a:lnTo>
                <a:lnTo>
                  <a:pt x="5250" y="1091"/>
                </a:lnTo>
                <a:lnTo>
                  <a:pt x="5250" y="1097"/>
                </a:lnTo>
                <a:lnTo>
                  <a:pt x="5250" y="1091"/>
                </a:lnTo>
                <a:lnTo>
                  <a:pt x="5250" y="1091"/>
                </a:lnTo>
                <a:lnTo>
                  <a:pt x="5250" y="1091"/>
                </a:lnTo>
                <a:close/>
                <a:moveTo>
                  <a:pt x="4551" y="860"/>
                </a:moveTo>
                <a:lnTo>
                  <a:pt x="4551" y="860"/>
                </a:lnTo>
                <a:lnTo>
                  <a:pt x="4557" y="860"/>
                </a:lnTo>
                <a:lnTo>
                  <a:pt x="4557" y="860"/>
                </a:lnTo>
                <a:lnTo>
                  <a:pt x="4557" y="860"/>
                </a:lnTo>
                <a:lnTo>
                  <a:pt x="4563" y="854"/>
                </a:lnTo>
                <a:lnTo>
                  <a:pt x="4563" y="854"/>
                </a:lnTo>
                <a:lnTo>
                  <a:pt x="4563" y="854"/>
                </a:lnTo>
                <a:lnTo>
                  <a:pt x="4563" y="848"/>
                </a:lnTo>
                <a:lnTo>
                  <a:pt x="4557" y="848"/>
                </a:lnTo>
                <a:lnTo>
                  <a:pt x="4557" y="848"/>
                </a:lnTo>
                <a:lnTo>
                  <a:pt x="4557" y="848"/>
                </a:lnTo>
                <a:lnTo>
                  <a:pt x="4551" y="848"/>
                </a:lnTo>
                <a:lnTo>
                  <a:pt x="4551" y="854"/>
                </a:lnTo>
                <a:lnTo>
                  <a:pt x="4551" y="860"/>
                </a:lnTo>
                <a:lnTo>
                  <a:pt x="4551" y="860"/>
                </a:lnTo>
                <a:close/>
                <a:moveTo>
                  <a:pt x="4830" y="724"/>
                </a:moveTo>
                <a:lnTo>
                  <a:pt x="4830" y="724"/>
                </a:lnTo>
                <a:lnTo>
                  <a:pt x="4830" y="718"/>
                </a:lnTo>
                <a:lnTo>
                  <a:pt x="4830" y="718"/>
                </a:lnTo>
                <a:lnTo>
                  <a:pt x="4830" y="718"/>
                </a:lnTo>
                <a:lnTo>
                  <a:pt x="4830" y="718"/>
                </a:lnTo>
                <a:lnTo>
                  <a:pt x="4830" y="718"/>
                </a:lnTo>
                <a:lnTo>
                  <a:pt x="4824" y="718"/>
                </a:lnTo>
                <a:lnTo>
                  <a:pt x="4824" y="724"/>
                </a:lnTo>
                <a:lnTo>
                  <a:pt x="4824" y="724"/>
                </a:lnTo>
                <a:lnTo>
                  <a:pt x="4830" y="724"/>
                </a:lnTo>
                <a:close/>
                <a:moveTo>
                  <a:pt x="4835" y="688"/>
                </a:moveTo>
                <a:lnTo>
                  <a:pt x="4841" y="682"/>
                </a:lnTo>
                <a:lnTo>
                  <a:pt x="4847" y="682"/>
                </a:lnTo>
                <a:lnTo>
                  <a:pt x="4847" y="682"/>
                </a:lnTo>
                <a:lnTo>
                  <a:pt x="4847" y="682"/>
                </a:lnTo>
                <a:lnTo>
                  <a:pt x="4847" y="682"/>
                </a:lnTo>
                <a:lnTo>
                  <a:pt x="4847" y="676"/>
                </a:lnTo>
                <a:lnTo>
                  <a:pt x="4847" y="676"/>
                </a:lnTo>
                <a:lnTo>
                  <a:pt x="4847" y="676"/>
                </a:lnTo>
                <a:lnTo>
                  <a:pt x="4841" y="682"/>
                </a:lnTo>
                <a:lnTo>
                  <a:pt x="4841" y="676"/>
                </a:lnTo>
                <a:lnTo>
                  <a:pt x="4841" y="682"/>
                </a:lnTo>
                <a:lnTo>
                  <a:pt x="4841" y="682"/>
                </a:lnTo>
                <a:lnTo>
                  <a:pt x="4835" y="682"/>
                </a:lnTo>
                <a:lnTo>
                  <a:pt x="4835" y="682"/>
                </a:lnTo>
                <a:lnTo>
                  <a:pt x="4835" y="682"/>
                </a:lnTo>
                <a:lnTo>
                  <a:pt x="4835" y="682"/>
                </a:lnTo>
                <a:lnTo>
                  <a:pt x="4835" y="688"/>
                </a:lnTo>
                <a:close/>
                <a:moveTo>
                  <a:pt x="4847" y="676"/>
                </a:moveTo>
                <a:lnTo>
                  <a:pt x="4847" y="682"/>
                </a:lnTo>
                <a:lnTo>
                  <a:pt x="4847" y="682"/>
                </a:lnTo>
                <a:lnTo>
                  <a:pt x="4853" y="682"/>
                </a:lnTo>
                <a:lnTo>
                  <a:pt x="4853" y="676"/>
                </a:lnTo>
                <a:lnTo>
                  <a:pt x="4853" y="676"/>
                </a:lnTo>
                <a:lnTo>
                  <a:pt x="4859" y="676"/>
                </a:lnTo>
                <a:lnTo>
                  <a:pt x="4859" y="670"/>
                </a:lnTo>
                <a:lnTo>
                  <a:pt x="4859" y="670"/>
                </a:lnTo>
                <a:lnTo>
                  <a:pt x="4859" y="670"/>
                </a:lnTo>
                <a:lnTo>
                  <a:pt x="4859" y="670"/>
                </a:lnTo>
                <a:lnTo>
                  <a:pt x="4859" y="670"/>
                </a:lnTo>
                <a:lnTo>
                  <a:pt x="4859" y="670"/>
                </a:lnTo>
                <a:lnTo>
                  <a:pt x="4859" y="670"/>
                </a:lnTo>
                <a:lnTo>
                  <a:pt x="4859" y="670"/>
                </a:lnTo>
                <a:lnTo>
                  <a:pt x="4859" y="670"/>
                </a:lnTo>
                <a:lnTo>
                  <a:pt x="4853" y="670"/>
                </a:lnTo>
                <a:lnTo>
                  <a:pt x="4853" y="676"/>
                </a:lnTo>
                <a:lnTo>
                  <a:pt x="4853" y="676"/>
                </a:lnTo>
                <a:lnTo>
                  <a:pt x="4853" y="676"/>
                </a:lnTo>
                <a:lnTo>
                  <a:pt x="4853" y="676"/>
                </a:lnTo>
                <a:lnTo>
                  <a:pt x="4853" y="676"/>
                </a:lnTo>
                <a:lnTo>
                  <a:pt x="4853" y="670"/>
                </a:lnTo>
                <a:lnTo>
                  <a:pt x="4853" y="670"/>
                </a:lnTo>
                <a:lnTo>
                  <a:pt x="4853" y="676"/>
                </a:lnTo>
                <a:lnTo>
                  <a:pt x="4853" y="676"/>
                </a:lnTo>
                <a:lnTo>
                  <a:pt x="4847" y="676"/>
                </a:lnTo>
                <a:lnTo>
                  <a:pt x="4847" y="676"/>
                </a:lnTo>
                <a:lnTo>
                  <a:pt x="4847" y="676"/>
                </a:lnTo>
                <a:lnTo>
                  <a:pt x="4847" y="676"/>
                </a:lnTo>
                <a:lnTo>
                  <a:pt x="4847" y="676"/>
                </a:lnTo>
                <a:lnTo>
                  <a:pt x="4847" y="676"/>
                </a:lnTo>
                <a:lnTo>
                  <a:pt x="4847" y="676"/>
                </a:lnTo>
                <a:lnTo>
                  <a:pt x="4847" y="676"/>
                </a:lnTo>
                <a:close/>
                <a:moveTo>
                  <a:pt x="527" y="2100"/>
                </a:moveTo>
                <a:lnTo>
                  <a:pt x="527" y="2100"/>
                </a:lnTo>
                <a:lnTo>
                  <a:pt x="527" y="2100"/>
                </a:lnTo>
                <a:lnTo>
                  <a:pt x="527" y="2100"/>
                </a:lnTo>
                <a:lnTo>
                  <a:pt x="521" y="2094"/>
                </a:lnTo>
                <a:lnTo>
                  <a:pt x="521" y="2094"/>
                </a:lnTo>
                <a:lnTo>
                  <a:pt x="521" y="2094"/>
                </a:lnTo>
                <a:lnTo>
                  <a:pt x="521" y="2094"/>
                </a:lnTo>
                <a:lnTo>
                  <a:pt x="521" y="2094"/>
                </a:lnTo>
                <a:lnTo>
                  <a:pt x="521" y="2094"/>
                </a:lnTo>
                <a:lnTo>
                  <a:pt x="515" y="2094"/>
                </a:lnTo>
                <a:lnTo>
                  <a:pt x="515" y="2094"/>
                </a:lnTo>
                <a:lnTo>
                  <a:pt x="515" y="2094"/>
                </a:lnTo>
                <a:lnTo>
                  <a:pt x="515" y="2094"/>
                </a:lnTo>
                <a:lnTo>
                  <a:pt x="515" y="2094"/>
                </a:lnTo>
                <a:lnTo>
                  <a:pt x="515" y="2094"/>
                </a:lnTo>
                <a:lnTo>
                  <a:pt x="515" y="2094"/>
                </a:lnTo>
                <a:lnTo>
                  <a:pt x="515" y="2094"/>
                </a:lnTo>
                <a:lnTo>
                  <a:pt x="515" y="2094"/>
                </a:lnTo>
                <a:lnTo>
                  <a:pt x="515" y="2100"/>
                </a:lnTo>
                <a:lnTo>
                  <a:pt x="515" y="2100"/>
                </a:lnTo>
                <a:lnTo>
                  <a:pt x="515" y="2100"/>
                </a:lnTo>
                <a:lnTo>
                  <a:pt x="515" y="2100"/>
                </a:lnTo>
                <a:lnTo>
                  <a:pt x="515" y="2100"/>
                </a:lnTo>
                <a:lnTo>
                  <a:pt x="515" y="2100"/>
                </a:lnTo>
                <a:lnTo>
                  <a:pt x="521" y="2100"/>
                </a:lnTo>
                <a:lnTo>
                  <a:pt x="521" y="2100"/>
                </a:lnTo>
                <a:lnTo>
                  <a:pt x="521" y="2100"/>
                </a:lnTo>
                <a:lnTo>
                  <a:pt x="521" y="2100"/>
                </a:lnTo>
                <a:lnTo>
                  <a:pt x="521" y="2100"/>
                </a:lnTo>
                <a:lnTo>
                  <a:pt x="521" y="2100"/>
                </a:lnTo>
                <a:lnTo>
                  <a:pt x="521" y="2100"/>
                </a:lnTo>
                <a:lnTo>
                  <a:pt x="527" y="2100"/>
                </a:lnTo>
                <a:lnTo>
                  <a:pt x="527" y="2100"/>
                </a:lnTo>
                <a:lnTo>
                  <a:pt x="527" y="2100"/>
                </a:lnTo>
                <a:lnTo>
                  <a:pt x="527" y="2100"/>
                </a:lnTo>
                <a:lnTo>
                  <a:pt x="527" y="2100"/>
                </a:lnTo>
                <a:lnTo>
                  <a:pt x="527" y="2100"/>
                </a:lnTo>
                <a:lnTo>
                  <a:pt x="527" y="2100"/>
                </a:lnTo>
                <a:lnTo>
                  <a:pt x="527" y="2100"/>
                </a:lnTo>
                <a:close/>
                <a:moveTo>
                  <a:pt x="640" y="2088"/>
                </a:moveTo>
                <a:lnTo>
                  <a:pt x="640" y="2088"/>
                </a:lnTo>
                <a:lnTo>
                  <a:pt x="640" y="2088"/>
                </a:lnTo>
                <a:lnTo>
                  <a:pt x="640" y="2088"/>
                </a:lnTo>
                <a:lnTo>
                  <a:pt x="640" y="2088"/>
                </a:lnTo>
                <a:lnTo>
                  <a:pt x="640" y="2088"/>
                </a:lnTo>
                <a:lnTo>
                  <a:pt x="640" y="2088"/>
                </a:lnTo>
                <a:lnTo>
                  <a:pt x="640" y="2088"/>
                </a:lnTo>
                <a:lnTo>
                  <a:pt x="640" y="2088"/>
                </a:lnTo>
                <a:lnTo>
                  <a:pt x="640" y="2088"/>
                </a:lnTo>
                <a:lnTo>
                  <a:pt x="640" y="2088"/>
                </a:lnTo>
                <a:lnTo>
                  <a:pt x="640" y="2088"/>
                </a:lnTo>
                <a:lnTo>
                  <a:pt x="640" y="2082"/>
                </a:lnTo>
                <a:lnTo>
                  <a:pt x="634" y="2082"/>
                </a:lnTo>
                <a:lnTo>
                  <a:pt x="634" y="2082"/>
                </a:lnTo>
                <a:lnTo>
                  <a:pt x="634" y="2082"/>
                </a:lnTo>
                <a:lnTo>
                  <a:pt x="634" y="2082"/>
                </a:lnTo>
                <a:lnTo>
                  <a:pt x="634" y="2082"/>
                </a:lnTo>
                <a:lnTo>
                  <a:pt x="634" y="2082"/>
                </a:lnTo>
                <a:lnTo>
                  <a:pt x="634" y="2082"/>
                </a:lnTo>
                <a:lnTo>
                  <a:pt x="634" y="2082"/>
                </a:lnTo>
                <a:lnTo>
                  <a:pt x="634" y="2082"/>
                </a:lnTo>
                <a:lnTo>
                  <a:pt x="634" y="2082"/>
                </a:lnTo>
                <a:lnTo>
                  <a:pt x="634" y="2082"/>
                </a:lnTo>
                <a:lnTo>
                  <a:pt x="634" y="2076"/>
                </a:lnTo>
                <a:lnTo>
                  <a:pt x="634" y="2076"/>
                </a:lnTo>
                <a:lnTo>
                  <a:pt x="634" y="2076"/>
                </a:lnTo>
                <a:lnTo>
                  <a:pt x="634" y="2076"/>
                </a:lnTo>
                <a:lnTo>
                  <a:pt x="634" y="2076"/>
                </a:lnTo>
                <a:lnTo>
                  <a:pt x="634" y="2076"/>
                </a:lnTo>
                <a:lnTo>
                  <a:pt x="628" y="2076"/>
                </a:lnTo>
                <a:lnTo>
                  <a:pt x="628" y="2076"/>
                </a:lnTo>
                <a:lnTo>
                  <a:pt x="628" y="2076"/>
                </a:lnTo>
                <a:lnTo>
                  <a:pt x="628" y="2076"/>
                </a:lnTo>
                <a:lnTo>
                  <a:pt x="628" y="2076"/>
                </a:lnTo>
                <a:lnTo>
                  <a:pt x="628" y="2076"/>
                </a:lnTo>
                <a:lnTo>
                  <a:pt x="628" y="2076"/>
                </a:lnTo>
                <a:lnTo>
                  <a:pt x="628" y="2076"/>
                </a:lnTo>
                <a:lnTo>
                  <a:pt x="628"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6"/>
                </a:lnTo>
                <a:lnTo>
                  <a:pt x="622" y="2070"/>
                </a:lnTo>
                <a:lnTo>
                  <a:pt x="622" y="2070"/>
                </a:lnTo>
                <a:lnTo>
                  <a:pt x="616" y="2070"/>
                </a:lnTo>
                <a:lnTo>
                  <a:pt x="616" y="2070"/>
                </a:lnTo>
                <a:lnTo>
                  <a:pt x="616" y="2070"/>
                </a:lnTo>
                <a:lnTo>
                  <a:pt x="616" y="2070"/>
                </a:lnTo>
                <a:lnTo>
                  <a:pt x="616" y="2070"/>
                </a:lnTo>
                <a:lnTo>
                  <a:pt x="616" y="2070"/>
                </a:lnTo>
                <a:lnTo>
                  <a:pt x="616" y="2070"/>
                </a:lnTo>
                <a:lnTo>
                  <a:pt x="616" y="2070"/>
                </a:lnTo>
                <a:lnTo>
                  <a:pt x="616" y="2070"/>
                </a:lnTo>
                <a:lnTo>
                  <a:pt x="616" y="2070"/>
                </a:lnTo>
                <a:lnTo>
                  <a:pt x="616" y="2070"/>
                </a:lnTo>
                <a:lnTo>
                  <a:pt x="610" y="2070"/>
                </a:lnTo>
                <a:lnTo>
                  <a:pt x="610" y="2070"/>
                </a:lnTo>
                <a:lnTo>
                  <a:pt x="610" y="2070"/>
                </a:lnTo>
                <a:lnTo>
                  <a:pt x="610" y="2070"/>
                </a:lnTo>
                <a:lnTo>
                  <a:pt x="610" y="2070"/>
                </a:lnTo>
                <a:lnTo>
                  <a:pt x="610" y="2070"/>
                </a:lnTo>
                <a:lnTo>
                  <a:pt x="610" y="2070"/>
                </a:lnTo>
                <a:lnTo>
                  <a:pt x="616" y="2076"/>
                </a:lnTo>
                <a:lnTo>
                  <a:pt x="616" y="2076"/>
                </a:lnTo>
                <a:lnTo>
                  <a:pt x="616" y="2076"/>
                </a:lnTo>
                <a:lnTo>
                  <a:pt x="616" y="2076"/>
                </a:lnTo>
                <a:lnTo>
                  <a:pt x="616" y="2076"/>
                </a:lnTo>
                <a:lnTo>
                  <a:pt x="616" y="2076"/>
                </a:lnTo>
                <a:lnTo>
                  <a:pt x="616" y="2076"/>
                </a:lnTo>
                <a:lnTo>
                  <a:pt x="616" y="2076"/>
                </a:lnTo>
                <a:lnTo>
                  <a:pt x="616" y="2076"/>
                </a:lnTo>
                <a:lnTo>
                  <a:pt x="616" y="2076"/>
                </a:lnTo>
                <a:lnTo>
                  <a:pt x="616" y="2076"/>
                </a:lnTo>
                <a:lnTo>
                  <a:pt x="616" y="2076"/>
                </a:lnTo>
                <a:lnTo>
                  <a:pt x="616" y="2076"/>
                </a:lnTo>
                <a:lnTo>
                  <a:pt x="616" y="2076"/>
                </a:lnTo>
                <a:lnTo>
                  <a:pt x="622" y="2076"/>
                </a:lnTo>
                <a:lnTo>
                  <a:pt x="622" y="2076"/>
                </a:lnTo>
                <a:lnTo>
                  <a:pt x="622" y="2076"/>
                </a:lnTo>
                <a:lnTo>
                  <a:pt x="622" y="2076"/>
                </a:lnTo>
                <a:lnTo>
                  <a:pt x="622" y="2076"/>
                </a:lnTo>
                <a:lnTo>
                  <a:pt x="622" y="2076"/>
                </a:lnTo>
                <a:lnTo>
                  <a:pt x="622" y="2076"/>
                </a:lnTo>
                <a:lnTo>
                  <a:pt x="622" y="2082"/>
                </a:lnTo>
                <a:lnTo>
                  <a:pt x="622" y="2082"/>
                </a:lnTo>
                <a:lnTo>
                  <a:pt x="622" y="2082"/>
                </a:lnTo>
                <a:lnTo>
                  <a:pt x="622" y="2082"/>
                </a:lnTo>
                <a:lnTo>
                  <a:pt x="622" y="2082"/>
                </a:lnTo>
                <a:lnTo>
                  <a:pt x="622" y="2082"/>
                </a:lnTo>
                <a:lnTo>
                  <a:pt x="622" y="2082"/>
                </a:lnTo>
                <a:lnTo>
                  <a:pt x="622" y="2082"/>
                </a:lnTo>
                <a:lnTo>
                  <a:pt x="622" y="2082"/>
                </a:lnTo>
                <a:lnTo>
                  <a:pt x="622" y="2082"/>
                </a:lnTo>
                <a:lnTo>
                  <a:pt x="622" y="2088"/>
                </a:lnTo>
                <a:lnTo>
                  <a:pt x="622" y="2088"/>
                </a:lnTo>
                <a:lnTo>
                  <a:pt x="622" y="2088"/>
                </a:lnTo>
                <a:lnTo>
                  <a:pt x="622" y="2088"/>
                </a:lnTo>
                <a:lnTo>
                  <a:pt x="622" y="2088"/>
                </a:lnTo>
                <a:lnTo>
                  <a:pt x="628" y="2088"/>
                </a:lnTo>
                <a:lnTo>
                  <a:pt x="628" y="2088"/>
                </a:lnTo>
                <a:lnTo>
                  <a:pt x="628" y="2088"/>
                </a:lnTo>
                <a:lnTo>
                  <a:pt x="628" y="2088"/>
                </a:lnTo>
                <a:lnTo>
                  <a:pt x="634" y="2088"/>
                </a:lnTo>
                <a:lnTo>
                  <a:pt x="634" y="2088"/>
                </a:lnTo>
                <a:lnTo>
                  <a:pt x="634" y="2088"/>
                </a:lnTo>
                <a:lnTo>
                  <a:pt x="634" y="2088"/>
                </a:lnTo>
                <a:lnTo>
                  <a:pt x="640" y="2094"/>
                </a:lnTo>
                <a:lnTo>
                  <a:pt x="640" y="2094"/>
                </a:lnTo>
                <a:lnTo>
                  <a:pt x="640" y="2094"/>
                </a:lnTo>
                <a:lnTo>
                  <a:pt x="640" y="2094"/>
                </a:lnTo>
                <a:lnTo>
                  <a:pt x="640" y="2094"/>
                </a:lnTo>
                <a:lnTo>
                  <a:pt x="640" y="2094"/>
                </a:lnTo>
                <a:lnTo>
                  <a:pt x="640" y="2088"/>
                </a:lnTo>
                <a:lnTo>
                  <a:pt x="640" y="2088"/>
                </a:lnTo>
                <a:lnTo>
                  <a:pt x="640" y="2088"/>
                </a:lnTo>
                <a:close/>
                <a:moveTo>
                  <a:pt x="652" y="2034"/>
                </a:moveTo>
                <a:lnTo>
                  <a:pt x="652" y="2034"/>
                </a:lnTo>
                <a:lnTo>
                  <a:pt x="646" y="2034"/>
                </a:lnTo>
                <a:lnTo>
                  <a:pt x="646" y="2034"/>
                </a:lnTo>
                <a:lnTo>
                  <a:pt x="646" y="2034"/>
                </a:lnTo>
                <a:lnTo>
                  <a:pt x="646" y="2034"/>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52" y="2040"/>
                </a:lnTo>
                <a:lnTo>
                  <a:pt x="652" y="2034"/>
                </a:lnTo>
                <a:close/>
                <a:moveTo>
                  <a:pt x="438" y="2005"/>
                </a:moveTo>
                <a:lnTo>
                  <a:pt x="438" y="2005"/>
                </a:lnTo>
                <a:lnTo>
                  <a:pt x="438" y="2005"/>
                </a:lnTo>
                <a:lnTo>
                  <a:pt x="438" y="2005"/>
                </a:lnTo>
                <a:lnTo>
                  <a:pt x="438" y="2005"/>
                </a:lnTo>
                <a:lnTo>
                  <a:pt x="438" y="2005"/>
                </a:lnTo>
                <a:lnTo>
                  <a:pt x="438" y="2005"/>
                </a:lnTo>
                <a:lnTo>
                  <a:pt x="438" y="2005"/>
                </a:lnTo>
                <a:lnTo>
                  <a:pt x="438" y="1999"/>
                </a:lnTo>
                <a:lnTo>
                  <a:pt x="438" y="1999"/>
                </a:lnTo>
                <a:lnTo>
                  <a:pt x="438" y="1999"/>
                </a:lnTo>
                <a:lnTo>
                  <a:pt x="438" y="1999"/>
                </a:lnTo>
                <a:lnTo>
                  <a:pt x="438" y="1999"/>
                </a:lnTo>
                <a:lnTo>
                  <a:pt x="438" y="1999"/>
                </a:lnTo>
                <a:lnTo>
                  <a:pt x="438" y="1999"/>
                </a:lnTo>
                <a:lnTo>
                  <a:pt x="433" y="1999"/>
                </a:lnTo>
                <a:lnTo>
                  <a:pt x="433" y="1999"/>
                </a:lnTo>
                <a:lnTo>
                  <a:pt x="433" y="1999"/>
                </a:lnTo>
                <a:lnTo>
                  <a:pt x="433" y="1999"/>
                </a:lnTo>
                <a:lnTo>
                  <a:pt x="433" y="2005"/>
                </a:lnTo>
                <a:lnTo>
                  <a:pt x="433" y="1999"/>
                </a:lnTo>
                <a:lnTo>
                  <a:pt x="427" y="2005"/>
                </a:lnTo>
                <a:lnTo>
                  <a:pt x="427" y="2005"/>
                </a:lnTo>
                <a:lnTo>
                  <a:pt x="427" y="2005"/>
                </a:lnTo>
                <a:lnTo>
                  <a:pt x="427" y="2005"/>
                </a:lnTo>
                <a:lnTo>
                  <a:pt x="427" y="2005"/>
                </a:lnTo>
                <a:lnTo>
                  <a:pt x="433" y="2005"/>
                </a:lnTo>
                <a:lnTo>
                  <a:pt x="433" y="2005"/>
                </a:lnTo>
                <a:lnTo>
                  <a:pt x="433" y="2005"/>
                </a:lnTo>
                <a:lnTo>
                  <a:pt x="433" y="2005"/>
                </a:lnTo>
                <a:lnTo>
                  <a:pt x="433" y="2005"/>
                </a:lnTo>
                <a:lnTo>
                  <a:pt x="433" y="2005"/>
                </a:lnTo>
                <a:lnTo>
                  <a:pt x="433" y="2005"/>
                </a:lnTo>
                <a:lnTo>
                  <a:pt x="433" y="2005"/>
                </a:lnTo>
                <a:lnTo>
                  <a:pt x="438" y="2005"/>
                </a:lnTo>
                <a:lnTo>
                  <a:pt x="438" y="2005"/>
                </a:lnTo>
                <a:lnTo>
                  <a:pt x="438" y="2005"/>
                </a:lnTo>
                <a:lnTo>
                  <a:pt x="438" y="2005"/>
                </a:lnTo>
                <a:lnTo>
                  <a:pt x="438" y="2005"/>
                </a:lnTo>
                <a:lnTo>
                  <a:pt x="444" y="2005"/>
                </a:lnTo>
                <a:lnTo>
                  <a:pt x="444" y="2005"/>
                </a:lnTo>
                <a:lnTo>
                  <a:pt x="444" y="2005"/>
                </a:lnTo>
                <a:lnTo>
                  <a:pt x="444" y="2005"/>
                </a:lnTo>
                <a:lnTo>
                  <a:pt x="438" y="2005"/>
                </a:lnTo>
                <a:close/>
                <a:moveTo>
                  <a:pt x="474" y="2011"/>
                </a:moveTo>
                <a:lnTo>
                  <a:pt x="474" y="2011"/>
                </a:lnTo>
                <a:lnTo>
                  <a:pt x="474" y="2011"/>
                </a:lnTo>
                <a:lnTo>
                  <a:pt x="474" y="2011"/>
                </a:lnTo>
                <a:lnTo>
                  <a:pt x="474" y="2011"/>
                </a:lnTo>
                <a:lnTo>
                  <a:pt x="468" y="2011"/>
                </a:lnTo>
                <a:lnTo>
                  <a:pt x="468" y="2011"/>
                </a:lnTo>
                <a:lnTo>
                  <a:pt x="468" y="2005"/>
                </a:lnTo>
                <a:lnTo>
                  <a:pt x="468" y="2005"/>
                </a:lnTo>
                <a:lnTo>
                  <a:pt x="468" y="2005"/>
                </a:lnTo>
                <a:lnTo>
                  <a:pt x="468" y="2005"/>
                </a:lnTo>
                <a:lnTo>
                  <a:pt x="468" y="2005"/>
                </a:lnTo>
                <a:lnTo>
                  <a:pt x="468" y="2005"/>
                </a:lnTo>
                <a:lnTo>
                  <a:pt x="468" y="2005"/>
                </a:lnTo>
                <a:lnTo>
                  <a:pt x="468" y="2005"/>
                </a:lnTo>
                <a:lnTo>
                  <a:pt x="468" y="2005"/>
                </a:lnTo>
                <a:lnTo>
                  <a:pt x="462" y="2005"/>
                </a:lnTo>
                <a:lnTo>
                  <a:pt x="456" y="2005"/>
                </a:lnTo>
                <a:lnTo>
                  <a:pt x="456" y="2005"/>
                </a:lnTo>
                <a:lnTo>
                  <a:pt x="456" y="2005"/>
                </a:lnTo>
                <a:lnTo>
                  <a:pt x="456" y="2005"/>
                </a:lnTo>
                <a:lnTo>
                  <a:pt x="456" y="2005"/>
                </a:lnTo>
                <a:lnTo>
                  <a:pt x="456" y="2005"/>
                </a:lnTo>
                <a:lnTo>
                  <a:pt x="450" y="2005"/>
                </a:lnTo>
                <a:lnTo>
                  <a:pt x="450" y="2005"/>
                </a:lnTo>
                <a:lnTo>
                  <a:pt x="450" y="2005"/>
                </a:lnTo>
                <a:lnTo>
                  <a:pt x="450" y="2011"/>
                </a:lnTo>
                <a:lnTo>
                  <a:pt x="450" y="2011"/>
                </a:lnTo>
                <a:lnTo>
                  <a:pt x="450" y="2011"/>
                </a:lnTo>
                <a:lnTo>
                  <a:pt x="450" y="2011"/>
                </a:lnTo>
                <a:lnTo>
                  <a:pt x="450" y="2011"/>
                </a:lnTo>
                <a:lnTo>
                  <a:pt x="450" y="2017"/>
                </a:lnTo>
                <a:lnTo>
                  <a:pt x="456" y="2017"/>
                </a:lnTo>
                <a:lnTo>
                  <a:pt x="456" y="2017"/>
                </a:lnTo>
                <a:lnTo>
                  <a:pt x="456" y="2017"/>
                </a:lnTo>
                <a:lnTo>
                  <a:pt x="456" y="2017"/>
                </a:lnTo>
                <a:lnTo>
                  <a:pt x="456" y="2017"/>
                </a:lnTo>
                <a:lnTo>
                  <a:pt x="456" y="2022"/>
                </a:lnTo>
                <a:lnTo>
                  <a:pt x="462" y="2022"/>
                </a:lnTo>
                <a:lnTo>
                  <a:pt x="462" y="2022"/>
                </a:lnTo>
                <a:lnTo>
                  <a:pt x="462" y="2022"/>
                </a:lnTo>
                <a:lnTo>
                  <a:pt x="462" y="2022"/>
                </a:lnTo>
                <a:lnTo>
                  <a:pt x="462" y="2017"/>
                </a:lnTo>
                <a:lnTo>
                  <a:pt x="462" y="2017"/>
                </a:lnTo>
                <a:lnTo>
                  <a:pt x="462" y="2017"/>
                </a:lnTo>
                <a:lnTo>
                  <a:pt x="468" y="2017"/>
                </a:lnTo>
                <a:lnTo>
                  <a:pt x="468" y="2017"/>
                </a:lnTo>
                <a:lnTo>
                  <a:pt x="468" y="2017"/>
                </a:lnTo>
                <a:lnTo>
                  <a:pt x="474" y="2017"/>
                </a:lnTo>
                <a:lnTo>
                  <a:pt x="474" y="2017"/>
                </a:lnTo>
                <a:lnTo>
                  <a:pt x="474" y="2017"/>
                </a:lnTo>
                <a:lnTo>
                  <a:pt x="474" y="2011"/>
                </a:lnTo>
                <a:close/>
                <a:moveTo>
                  <a:pt x="515" y="2005"/>
                </a:moveTo>
                <a:lnTo>
                  <a:pt x="515" y="2005"/>
                </a:lnTo>
                <a:lnTo>
                  <a:pt x="515" y="2005"/>
                </a:lnTo>
                <a:lnTo>
                  <a:pt x="515" y="2005"/>
                </a:lnTo>
                <a:lnTo>
                  <a:pt x="521" y="2005"/>
                </a:lnTo>
                <a:lnTo>
                  <a:pt x="521" y="2005"/>
                </a:lnTo>
                <a:lnTo>
                  <a:pt x="521" y="2005"/>
                </a:lnTo>
                <a:lnTo>
                  <a:pt x="521" y="2005"/>
                </a:lnTo>
                <a:lnTo>
                  <a:pt x="515" y="1999"/>
                </a:lnTo>
                <a:lnTo>
                  <a:pt x="515" y="2005"/>
                </a:lnTo>
                <a:lnTo>
                  <a:pt x="515" y="2005"/>
                </a:lnTo>
                <a:lnTo>
                  <a:pt x="510" y="2005"/>
                </a:lnTo>
                <a:lnTo>
                  <a:pt x="510" y="2005"/>
                </a:lnTo>
                <a:lnTo>
                  <a:pt x="510" y="2005"/>
                </a:lnTo>
                <a:lnTo>
                  <a:pt x="510" y="2005"/>
                </a:lnTo>
                <a:lnTo>
                  <a:pt x="510" y="2005"/>
                </a:lnTo>
                <a:lnTo>
                  <a:pt x="510" y="2005"/>
                </a:lnTo>
                <a:lnTo>
                  <a:pt x="510" y="2005"/>
                </a:lnTo>
                <a:lnTo>
                  <a:pt x="504" y="2005"/>
                </a:lnTo>
                <a:lnTo>
                  <a:pt x="504" y="2005"/>
                </a:lnTo>
                <a:lnTo>
                  <a:pt x="504" y="2005"/>
                </a:lnTo>
                <a:lnTo>
                  <a:pt x="504" y="2005"/>
                </a:lnTo>
                <a:lnTo>
                  <a:pt x="504" y="2005"/>
                </a:lnTo>
                <a:lnTo>
                  <a:pt x="504" y="2005"/>
                </a:lnTo>
                <a:lnTo>
                  <a:pt x="504" y="2005"/>
                </a:lnTo>
                <a:lnTo>
                  <a:pt x="504" y="2005"/>
                </a:lnTo>
                <a:lnTo>
                  <a:pt x="498" y="2005"/>
                </a:lnTo>
                <a:lnTo>
                  <a:pt x="498" y="2005"/>
                </a:lnTo>
                <a:lnTo>
                  <a:pt x="498" y="2005"/>
                </a:lnTo>
                <a:lnTo>
                  <a:pt x="498" y="2005"/>
                </a:lnTo>
                <a:lnTo>
                  <a:pt x="498" y="2005"/>
                </a:lnTo>
                <a:lnTo>
                  <a:pt x="498" y="1999"/>
                </a:lnTo>
                <a:lnTo>
                  <a:pt x="498" y="1999"/>
                </a:lnTo>
                <a:lnTo>
                  <a:pt x="492" y="1999"/>
                </a:lnTo>
                <a:lnTo>
                  <a:pt x="492" y="1999"/>
                </a:lnTo>
                <a:lnTo>
                  <a:pt x="492" y="1999"/>
                </a:lnTo>
                <a:lnTo>
                  <a:pt x="492" y="1999"/>
                </a:lnTo>
                <a:lnTo>
                  <a:pt x="492" y="2005"/>
                </a:lnTo>
                <a:lnTo>
                  <a:pt x="492" y="1999"/>
                </a:lnTo>
                <a:lnTo>
                  <a:pt x="486" y="1999"/>
                </a:lnTo>
                <a:lnTo>
                  <a:pt x="486" y="1999"/>
                </a:lnTo>
                <a:lnTo>
                  <a:pt x="486" y="1999"/>
                </a:lnTo>
                <a:lnTo>
                  <a:pt x="480" y="1999"/>
                </a:lnTo>
                <a:lnTo>
                  <a:pt x="480" y="1999"/>
                </a:lnTo>
                <a:lnTo>
                  <a:pt x="480" y="1999"/>
                </a:lnTo>
                <a:lnTo>
                  <a:pt x="480" y="1999"/>
                </a:lnTo>
                <a:lnTo>
                  <a:pt x="480" y="1999"/>
                </a:lnTo>
                <a:lnTo>
                  <a:pt x="480" y="1999"/>
                </a:lnTo>
                <a:lnTo>
                  <a:pt x="480" y="1999"/>
                </a:lnTo>
                <a:lnTo>
                  <a:pt x="480" y="1999"/>
                </a:lnTo>
                <a:lnTo>
                  <a:pt x="480" y="1999"/>
                </a:lnTo>
                <a:lnTo>
                  <a:pt x="480" y="2005"/>
                </a:lnTo>
                <a:lnTo>
                  <a:pt x="486" y="2005"/>
                </a:lnTo>
                <a:lnTo>
                  <a:pt x="486" y="2005"/>
                </a:lnTo>
                <a:lnTo>
                  <a:pt x="486" y="2005"/>
                </a:lnTo>
                <a:lnTo>
                  <a:pt x="486" y="2005"/>
                </a:lnTo>
                <a:lnTo>
                  <a:pt x="486" y="2005"/>
                </a:lnTo>
                <a:lnTo>
                  <a:pt x="486" y="2011"/>
                </a:lnTo>
                <a:lnTo>
                  <a:pt x="486" y="2011"/>
                </a:lnTo>
                <a:lnTo>
                  <a:pt x="486" y="2011"/>
                </a:lnTo>
                <a:lnTo>
                  <a:pt x="486" y="2011"/>
                </a:lnTo>
                <a:lnTo>
                  <a:pt x="486" y="2011"/>
                </a:lnTo>
                <a:lnTo>
                  <a:pt x="486" y="2011"/>
                </a:lnTo>
                <a:lnTo>
                  <a:pt x="492" y="2011"/>
                </a:lnTo>
                <a:lnTo>
                  <a:pt x="492" y="2011"/>
                </a:lnTo>
                <a:lnTo>
                  <a:pt x="492" y="2011"/>
                </a:lnTo>
                <a:lnTo>
                  <a:pt x="492" y="2011"/>
                </a:lnTo>
                <a:lnTo>
                  <a:pt x="498" y="2011"/>
                </a:lnTo>
                <a:lnTo>
                  <a:pt x="498" y="2011"/>
                </a:lnTo>
                <a:lnTo>
                  <a:pt x="498" y="2011"/>
                </a:lnTo>
                <a:lnTo>
                  <a:pt x="498" y="2011"/>
                </a:lnTo>
                <a:lnTo>
                  <a:pt x="498" y="2011"/>
                </a:lnTo>
                <a:lnTo>
                  <a:pt x="498" y="2011"/>
                </a:lnTo>
                <a:lnTo>
                  <a:pt x="498" y="2011"/>
                </a:lnTo>
                <a:lnTo>
                  <a:pt x="504" y="2011"/>
                </a:lnTo>
                <a:lnTo>
                  <a:pt x="504" y="2011"/>
                </a:lnTo>
                <a:lnTo>
                  <a:pt x="504" y="2011"/>
                </a:lnTo>
                <a:lnTo>
                  <a:pt x="504" y="2011"/>
                </a:lnTo>
                <a:lnTo>
                  <a:pt x="504" y="2011"/>
                </a:lnTo>
                <a:lnTo>
                  <a:pt x="504" y="2011"/>
                </a:lnTo>
                <a:lnTo>
                  <a:pt x="504" y="2011"/>
                </a:lnTo>
                <a:lnTo>
                  <a:pt x="504" y="2011"/>
                </a:lnTo>
                <a:lnTo>
                  <a:pt x="504" y="2011"/>
                </a:lnTo>
                <a:lnTo>
                  <a:pt x="504" y="2011"/>
                </a:lnTo>
                <a:lnTo>
                  <a:pt x="504" y="2011"/>
                </a:lnTo>
                <a:lnTo>
                  <a:pt x="504" y="2011"/>
                </a:lnTo>
                <a:lnTo>
                  <a:pt x="510" y="2011"/>
                </a:lnTo>
                <a:lnTo>
                  <a:pt x="510" y="2011"/>
                </a:lnTo>
                <a:lnTo>
                  <a:pt x="510" y="2011"/>
                </a:lnTo>
                <a:lnTo>
                  <a:pt x="515" y="2011"/>
                </a:lnTo>
                <a:lnTo>
                  <a:pt x="515" y="2011"/>
                </a:lnTo>
                <a:lnTo>
                  <a:pt x="515" y="2011"/>
                </a:lnTo>
                <a:lnTo>
                  <a:pt x="515" y="2005"/>
                </a:lnTo>
                <a:close/>
                <a:moveTo>
                  <a:pt x="634" y="2147"/>
                </a:moveTo>
                <a:lnTo>
                  <a:pt x="628" y="2141"/>
                </a:lnTo>
                <a:lnTo>
                  <a:pt x="628" y="2141"/>
                </a:lnTo>
                <a:lnTo>
                  <a:pt x="628" y="2141"/>
                </a:lnTo>
                <a:lnTo>
                  <a:pt x="628" y="2141"/>
                </a:lnTo>
                <a:lnTo>
                  <a:pt x="622" y="2135"/>
                </a:lnTo>
                <a:lnTo>
                  <a:pt x="622" y="2135"/>
                </a:lnTo>
                <a:lnTo>
                  <a:pt x="622" y="2135"/>
                </a:lnTo>
                <a:lnTo>
                  <a:pt x="622" y="2135"/>
                </a:lnTo>
                <a:lnTo>
                  <a:pt x="622" y="2135"/>
                </a:lnTo>
                <a:lnTo>
                  <a:pt x="622" y="2135"/>
                </a:lnTo>
                <a:lnTo>
                  <a:pt x="622" y="2129"/>
                </a:lnTo>
                <a:lnTo>
                  <a:pt x="616" y="2129"/>
                </a:lnTo>
                <a:lnTo>
                  <a:pt x="616" y="2129"/>
                </a:lnTo>
                <a:lnTo>
                  <a:pt x="616" y="2129"/>
                </a:lnTo>
                <a:lnTo>
                  <a:pt x="616" y="2123"/>
                </a:lnTo>
                <a:lnTo>
                  <a:pt x="616" y="2123"/>
                </a:lnTo>
                <a:lnTo>
                  <a:pt x="616" y="2123"/>
                </a:lnTo>
                <a:lnTo>
                  <a:pt x="616" y="2123"/>
                </a:lnTo>
                <a:lnTo>
                  <a:pt x="616" y="2123"/>
                </a:lnTo>
                <a:lnTo>
                  <a:pt x="610" y="2123"/>
                </a:lnTo>
                <a:lnTo>
                  <a:pt x="610" y="2123"/>
                </a:lnTo>
                <a:lnTo>
                  <a:pt x="610" y="2123"/>
                </a:lnTo>
                <a:lnTo>
                  <a:pt x="610" y="2123"/>
                </a:lnTo>
                <a:lnTo>
                  <a:pt x="610" y="2123"/>
                </a:lnTo>
                <a:lnTo>
                  <a:pt x="610" y="2123"/>
                </a:lnTo>
                <a:lnTo>
                  <a:pt x="610" y="2129"/>
                </a:lnTo>
                <a:lnTo>
                  <a:pt x="616" y="2129"/>
                </a:lnTo>
                <a:lnTo>
                  <a:pt x="616" y="2129"/>
                </a:lnTo>
                <a:lnTo>
                  <a:pt x="616" y="2135"/>
                </a:lnTo>
                <a:lnTo>
                  <a:pt x="616" y="2135"/>
                </a:lnTo>
                <a:lnTo>
                  <a:pt x="616" y="2135"/>
                </a:lnTo>
                <a:lnTo>
                  <a:pt x="616" y="2135"/>
                </a:lnTo>
                <a:lnTo>
                  <a:pt x="616" y="2135"/>
                </a:lnTo>
                <a:lnTo>
                  <a:pt x="616" y="2141"/>
                </a:lnTo>
                <a:lnTo>
                  <a:pt x="616" y="2141"/>
                </a:lnTo>
                <a:lnTo>
                  <a:pt x="616" y="2141"/>
                </a:lnTo>
                <a:lnTo>
                  <a:pt x="622" y="2141"/>
                </a:lnTo>
                <a:lnTo>
                  <a:pt x="622" y="2141"/>
                </a:lnTo>
                <a:lnTo>
                  <a:pt x="622" y="2141"/>
                </a:lnTo>
                <a:lnTo>
                  <a:pt x="622" y="2141"/>
                </a:lnTo>
                <a:lnTo>
                  <a:pt x="622" y="2141"/>
                </a:lnTo>
                <a:lnTo>
                  <a:pt x="622" y="2147"/>
                </a:lnTo>
                <a:lnTo>
                  <a:pt x="622" y="2147"/>
                </a:lnTo>
                <a:lnTo>
                  <a:pt x="622" y="2147"/>
                </a:lnTo>
                <a:lnTo>
                  <a:pt x="628" y="2147"/>
                </a:lnTo>
                <a:lnTo>
                  <a:pt x="628" y="2147"/>
                </a:lnTo>
                <a:lnTo>
                  <a:pt x="628" y="2147"/>
                </a:lnTo>
                <a:lnTo>
                  <a:pt x="628" y="2153"/>
                </a:lnTo>
                <a:lnTo>
                  <a:pt x="628" y="2153"/>
                </a:lnTo>
                <a:lnTo>
                  <a:pt x="628" y="2153"/>
                </a:lnTo>
                <a:lnTo>
                  <a:pt x="628" y="2153"/>
                </a:lnTo>
                <a:lnTo>
                  <a:pt x="628" y="2153"/>
                </a:lnTo>
                <a:lnTo>
                  <a:pt x="628" y="2153"/>
                </a:lnTo>
                <a:lnTo>
                  <a:pt x="634" y="2147"/>
                </a:lnTo>
                <a:lnTo>
                  <a:pt x="634" y="2147"/>
                </a:lnTo>
                <a:lnTo>
                  <a:pt x="634" y="2147"/>
                </a:lnTo>
                <a:lnTo>
                  <a:pt x="634" y="2147"/>
                </a:lnTo>
                <a:lnTo>
                  <a:pt x="634" y="2147"/>
                </a:lnTo>
                <a:lnTo>
                  <a:pt x="634" y="2147"/>
                </a:lnTo>
                <a:lnTo>
                  <a:pt x="634" y="2147"/>
                </a:lnTo>
                <a:lnTo>
                  <a:pt x="634" y="2147"/>
                </a:lnTo>
                <a:lnTo>
                  <a:pt x="634" y="2147"/>
                </a:lnTo>
                <a:close/>
                <a:moveTo>
                  <a:pt x="124" y="409"/>
                </a:moveTo>
                <a:lnTo>
                  <a:pt x="124" y="409"/>
                </a:lnTo>
                <a:lnTo>
                  <a:pt x="130" y="409"/>
                </a:lnTo>
                <a:lnTo>
                  <a:pt x="130" y="409"/>
                </a:lnTo>
                <a:lnTo>
                  <a:pt x="130" y="409"/>
                </a:lnTo>
                <a:lnTo>
                  <a:pt x="130" y="409"/>
                </a:lnTo>
                <a:lnTo>
                  <a:pt x="130" y="409"/>
                </a:lnTo>
                <a:lnTo>
                  <a:pt x="130" y="409"/>
                </a:lnTo>
                <a:lnTo>
                  <a:pt x="130" y="403"/>
                </a:lnTo>
                <a:lnTo>
                  <a:pt x="130" y="403"/>
                </a:lnTo>
                <a:lnTo>
                  <a:pt x="130" y="403"/>
                </a:lnTo>
                <a:lnTo>
                  <a:pt x="124" y="403"/>
                </a:lnTo>
                <a:lnTo>
                  <a:pt x="124" y="403"/>
                </a:lnTo>
                <a:lnTo>
                  <a:pt x="124" y="403"/>
                </a:lnTo>
                <a:lnTo>
                  <a:pt x="124" y="403"/>
                </a:lnTo>
                <a:lnTo>
                  <a:pt x="124" y="403"/>
                </a:lnTo>
                <a:lnTo>
                  <a:pt x="124" y="403"/>
                </a:lnTo>
                <a:lnTo>
                  <a:pt x="124" y="403"/>
                </a:lnTo>
                <a:lnTo>
                  <a:pt x="124" y="403"/>
                </a:lnTo>
                <a:lnTo>
                  <a:pt x="124" y="409"/>
                </a:lnTo>
                <a:close/>
                <a:moveTo>
                  <a:pt x="2779" y="2693"/>
                </a:moveTo>
                <a:lnTo>
                  <a:pt x="2779" y="2693"/>
                </a:lnTo>
                <a:lnTo>
                  <a:pt x="2779" y="2693"/>
                </a:lnTo>
                <a:lnTo>
                  <a:pt x="2773" y="2693"/>
                </a:lnTo>
                <a:lnTo>
                  <a:pt x="2773" y="2693"/>
                </a:lnTo>
                <a:lnTo>
                  <a:pt x="2773" y="2693"/>
                </a:lnTo>
                <a:lnTo>
                  <a:pt x="2773" y="2693"/>
                </a:lnTo>
                <a:lnTo>
                  <a:pt x="2773" y="2693"/>
                </a:lnTo>
                <a:lnTo>
                  <a:pt x="2773" y="2693"/>
                </a:lnTo>
                <a:lnTo>
                  <a:pt x="2773" y="2693"/>
                </a:lnTo>
                <a:lnTo>
                  <a:pt x="2767" y="2699"/>
                </a:lnTo>
                <a:lnTo>
                  <a:pt x="2767" y="2705"/>
                </a:lnTo>
                <a:lnTo>
                  <a:pt x="2767" y="2705"/>
                </a:lnTo>
                <a:lnTo>
                  <a:pt x="2767" y="2705"/>
                </a:lnTo>
                <a:lnTo>
                  <a:pt x="2767" y="2705"/>
                </a:lnTo>
                <a:lnTo>
                  <a:pt x="2767" y="2705"/>
                </a:lnTo>
                <a:lnTo>
                  <a:pt x="2767" y="2705"/>
                </a:lnTo>
                <a:lnTo>
                  <a:pt x="2767" y="2710"/>
                </a:lnTo>
                <a:lnTo>
                  <a:pt x="2767" y="2710"/>
                </a:lnTo>
                <a:lnTo>
                  <a:pt x="2767" y="2710"/>
                </a:lnTo>
                <a:lnTo>
                  <a:pt x="2767" y="2710"/>
                </a:lnTo>
                <a:lnTo>
                  <a:pt x="2761" y="2710"/>
                </a:lnTo>
                <a:lnTo>
                  <a:pt x="2761" y="2716"/>
                </a:lnTo>
                <a:lnTo>
                  <a:pt x="2761" y="2716"/>
                </a:lnTo>
                <a:lnTo>
                  <a:pt x="2755" y="2722"/>
                </a:lnTo>
                <a:lnTo>
                  <a:pt x="2761" y="2722"/>
                </a:lnTo>
                <a:lnTo>
                  <a:pt x="2761" y="2722"/>
                </a:lnTo>
                <a:lnTo>
                  <a:pt x="2761" y="2716"/>
                </a:lnTo>
                <a:lnTo>
                  <a:pt x="2761" y="2716"/>
                </a:lnTo>
                <a:lnTo>
                  <a:pt x="2767" y="2716"/>
                </a:lnTo>
                <a:lnTo>
                  <a:pt x="2767" y="2710"/>
                </a:lnTo>
                <a:lnTo>
                  <a:pt x="2779" y="2699"/>
                </a:lnTo>
                <a:lnTo>
                  <a:pt x="2779" y="2699"/>
                </a:lnTo>
                <a:lnTo>
                  <a:pt x="2779" y="2699"/>
                </a:lnTo>
                <a:lnTo>
                  <a:pt x="2779" y="2693"/>
                </a:lnTo>
                <a:lnTo>
                  <a:pt x="2779" y="2693"/>
                </a:lnTo>
                <a:lnTo>
                  <a:pt x="2779" y="2693"/>
                </a:lnTo>
                <a:lnTo>
                  <a:pt x="2779" y="2693"/>
                </a:lnTo>
                <a:lnTo>
                  <a:pt x="2779" y="2693"/>
                </a:lnTo>
                <a:close/>
                <a:moveTo>
                  <a:pt x="2821" y="2663"/>
                </a:moveTo>
                <a:lnTo>
                  <a:pt x="2821" y="2663"/>
                </a:lnTo>
                <a:lnTo>
                  <a:pt x="2821" y="2663"/>
                </a:lnTo>
                <a:lnTo>
                  <a:pt x="2821" y="2663"/>
                </a:lnTo>
                <a:lnTo>
                  <a:pt x="2821" y="2663"/>
                </a:lnTo>
                <a:lnTo>
                  <a:pt x="2821" y="2663"/>
                </a:lnTo>
                <a:lnTo>
                  <a:pt x="2821" y="2663"/>
                </a:lnTo>
                <a:lnTo>
                  <a:pt x="2821" y="2663"/>
                </a:lnTo>
                <a:lnTo>
                  <a:pt x="2821" y="2663"/>
                </a:lnTo>
                <a:lnTo>
                  <a:pt x="2821" y="2663"/>
                </a:lnTo>
                <a:lnTo>
                  <a:pt x="2821" y="2663"/>
                </a:lnTo>
                <a:lnTo>
                  <a:pt x="2821" y="2669"/>
                </a:lnTo>
                <a:lnTo>
                  <a:pt x="2815" y="2669"/>
                </a:lnTo>
                <a:lnTo>
                  <a:pt x="2815" y="2669"/>
                </a:lnTo>
                <a:lnTo>
                  <a:pt x="2815" y="2669"/>
                </a:lnTo>
                <a:lnTo>
                  <a:pt x="2809" y="2669"/>
                </a:lnTo>
                <a:lnTo>
                  <a:pt x="2809" y="2669"/>
                </a:lnTo>
                <a:lnTo>
                  <a:pt x="2809" y="2669"/>
                </a:lnTo>
                <a:lnTo>
                  <a:pt x="2809" y="2669"/>
                </a:lnTo>
                <a:lnTo>
                  <a:pt x="2803" y="2675"/>
                </a:lnTo>
                <a:lnTo>
                  <a:pt x="2803" y="2675"/>
                </a:lnTo>
                <a:lnTo>
                  <a:pt x="2803" y="2675"/>
                </a:lnTo>
                <a:lnTo>
                  <a:pt x="2803" y="2675"/>
                </a:lnTo>
                <a:lnTo>
                  <a:pt x="2803" y="2675"/>
                </a:lnTo>
                <a:lnTo>
                  <a:pt x="2797" y="2675"/>
                </a:lnTo>
                <a:lnTo>
                  <a:pt x="2797" y="2675"/>
                </a:lnTo>
                <a:lnTo>
                  <a:pt x="2797" y="2681"/>
                </a:lnTo>
                <a:lnTo>
                  <a:pt x="2797" y="2681"/>
                </a:lnTo>
                <a:lnTo>
                  <a:pt x="2797" y="2681"/>
                </a:lnTo>
                <a:lnTo>
                  <a:pt x="2791" y="2681"/>
                </a:lnTo>
                <a:lnTo>
                  <a:pt x="2791" y="2681"/>
                </a:lnTo>
                <a:lnTo>
                  <a:pt x="2791" y="2681"/>
                </a:lnTo>
                <a:lnTo>
                  <a:pt x="2791" y="2681"/>
                </a:lnTo>
                <a:lnTo>
                  <a:pt x="2785" y="2687"/>
                </a:lnTo>
                <a:lnTo>
                  <a:pt x="2785" y="2687"/>
                </a:lnTo>
                <a:lnTo>
                  <a:pt x="2779" y="2687"/>
                </a:lnTo>
                <a:lnTo>
                  <a:pt x="2779" y="2687"/>
                </a:lnTo>
                <a:lnTo>
                  <a:pt x="2779" y="2687"/>
                </a:lnTo>
                <a:lnTo>
                  <a:pt x="2779" y="2687"/>
                </a:lnTo>
                <a:lnTo>
                  <a:pt x="2779" y="2693"/>
                </a:lnTo>
                <a:lnTo>
                  <a:pt x="2779" y="2693"/>
                </a:lnTo>
                <a:lnTo>
                  <a:pt x="2779" y="2693"/>
                </a:lnTo>
                <a:lnTo>
                  <a:pt x="2779" y="2693"/>
                </a:lnTo>
                <a:lnTo>
                  <a:pt x="2779" y="2693"/>
                </a:lnTo>
                <a:lnTo>
                  <a:pt x="2779" y="2699"/>
                </a:lnTo>
                <a:lnTo>
                  <a:pt x="2779" y="2699"/>
                </a:lnTo>
                <a:lnTo>
                  <a:pt x="2779" y="2699"/>
                </a:lnTo>
                <a:lnTo>
                  <a:pt x="2779" y="2699"/>
                </a:lnTo>
                <a:lnTo>
                  <a:pt x="2779" y="2693"/>
                </a:lnTo>
                <a:lnTo>
                  <a:pt x="2779" y="2693"/>
                </a:lnTo>
                <a:lnTo>
                  <a:pt x="2785" y="2693"/>
                </a:lnTo>
                <a:lnTo>
                  <a:pt x="2791" y="2687"/>
                </a:lnTo>
                <a:lnTo>
                  <a:pt x="2791" y="2687"/>
                </a:lnTo>
                <a:lnTo>
                  <a:pt x="2803" y="2681"/>
                </a:lnTo>
                <a:lnTo>
                  <a:pt x="2809" y="2675"/>
                </a:lnTo>
                <a:lnTo>
                  <a:pt x="2809" y="2675"/>
                </a:lnTo>
                <a:lnTo>
                  <a:pt x="2809" y="2675"/>
                </a:lnTo>
                <a:lnTo>
                  <a:pt x="2809" y="2675"/>
                </a:lnTo>
                <a:lnTo>
                  <a:pt x="2815" y="2675"/>
                </a:lnTo>
                <a:lnTo>
                  <a:pt x="2821" y="2669"/>
                </a:lnTo>
                <a:lnTo>
                  <a:pt x="2821" y="2669"/>
                </a:lnTo>
                <a:lnTo>
                  <a:pt x="2821" y="2669"/>
                </a:lnTo>
                <a:lnTo>
                  <a:pt x="2821" y="2669"/>
                </a:lnTo>
                <a:lnTo>
                  <a:pt x="2821" y="2669"/>
                </a:lnTo>
                <a:lnTo>
                  <a:pt x="2821" y="2669"/>
                </a:lnTo>
                <a:lnTo>
                  <a:pt x="2821" y="2663"/>
                </a:lnTo>
                <a:lnTo>
                  <a:pt x="2821" y="2663"/>
                </a:lnTo>
                <a:lnTo>
                  <a:pt x="2821" y="2663"/>
                </a:lnTo>
                <a:close/>
                <a:moveTo>
                  <a:pt x="2833" y="2657"/>
                </a:moveTo>
                <a:lnTo>
                  <a:pt x="2827" y="2657"/>
                </a:lnTo>
                <a:lnTo>
                  <a:pt x="2827" y="2663"/>
                </a:lnTo>
                <a:lnTo>
                  <a:pt x="2827" y="2657"/>
                </a:lnTo>
                <a:lnTo>
                  <a:pt x="2827" y="2657"/>
                </a:lnTo>
                <a:lnTo>
                  <a:pt x="2833" y="2657"/>
                </a:lnTo>
                <a:lnTo>
                  <a:pt x="2833" y="2657"/>
                </a:lnTo>
                <a:lnTo>
                  <a:pt x="2833" y="2657"/>
                </a:lnTo>
                <a:lnTo>
                  <a:pt x="2833" y="2657"/>
                </a:lnTo>
                <a:lnTo>
                  <a:pt x="2833" y="2657"/>
                </a:lnTo>
                <a:lnTo>
                  <a:pt x="2838" y="2651"/>
                </a:lnTo>
                <a:lnTo>
                  <a:pt x="2838" y="2651"/>
                </a:lnTo>
                <a:lnTo>
                  <a:pt x="2838" y="2651"/>
                </a:lnTo>
                <a:lnTo>
                  <a:pt x="2838" y="2651"/>
                </a:lnTo>
                <a:lnTo>
                  <a:pt x="2838" y="2651"/>
                </a:lnTo>
                <a:lnTo>
                  <a:pt x="2838" y="2651"/>
                </a:lnTo>
                <a:lnTo>
                  <a:pt x="2838" y="2651"/>
                </a:lnTo>
                <a:lnTo>
                  <a:pt x="2838" y="2651"/>
                </a:lnTo>
                <a:lnTo>
                  <a:pt x="2833" y="2651"/>
                </a:lnTo>
                <a:lnTo>
                  <a:pt x="2833" y="2657"/>
                </a:lnTo>
                <a:close/>
                <a:moveTo>
                  <a:pt x="2726" y="2847"/>
                </a:moveTo>
                <a:lnTo>
                  <a:pt x="2726" y="2853"/>
                </a:lnTo>
                <a:lnTo>
                  <a:pt x="2726" y="2853"/>
                </a:lnTo>
                <a:lnTo>
                  <a:pt x="2726" y="2853"/>
                </a:lnTo>
                <a:lnTo>
                  <a:pt x="2726" y="2859"/>
                </a:lnTo>
                <a:lnTo>
                  <a:pt x="2732" y="2859"/>
                </a:lnTo>
                <a:lnTo>
                  <a:pt x="2732" y="2859"/>
                </a:lnTo>
                <a:lnTo>
                  <a:pt x="2732" y="2859"/>
                </a:lnTo>
                <a:lnTo>
                  <a:pt x="2732" y="2859"/>
                </a:lnTo>
                <a:lnTo>
                  <a:pt x="2732" y="2865"/>
                </a:lnTo>
                <a:lnTo>
                  <a:pt x="2732" y="2871"/>
                </a:lnTo>
                <a:lnTo>
                  <a:pt x="2732" y="2871"/>
                </a:lnTo>
                <a:lnTo>
                  <a:pt x="2738" y="2877"/>
                </a:lnTo>
                <a:lnTo>
                  <a:pt x="2738" y="2877"/>
                </a:lnTo>
                <a:lnTo>
                  <a:pt x="2738" y="2877"/>
                </a:lnTo>
                <a:lnTo>
                  <a:pt x="2738" y="2877"/>
                </a:lnTo>
                <a:lnTo>
                  <a:pt x="2738" y="2888"/>
                </a:lnTo>
                <a:lnTo>
                  <a:pt x="2738" y="2888"/>
                </a:lnTo>
                <a:lnTo>
                  <a:pt x="2738" y="2894"/>
                </a:lnTo>
                <a:lnTo>
                  <a:pt x="2744" y="2900"/>
                </a:lnTo>
                <a:lnTo>
                  <a:pt x="2744" y="2912"/>
                </a:lnTo>
                <a:lnTo>
                  <a:pt x="2744" y="2918"/>
                </a:lnTo>
                <a:lnTo>
                  <a:pt x="2744" y="2918"/>
                </a:lnTo>
                <a:lnTo>
                  <a:pt x="2744" y="2918"/>
                </a:lnTo>
                <a:lnTo>
                  <a:pt x="2744" y="2918"/>
                </a:lnTo>
                <a:lnTo>
                  <a:pt x="2744" y="2918"/>
                </a:lnTo>
                <a:lnTo>
                  <a:pt x="2744" y="2912"/>
                </a:lnTo>
                <a:lnTo>
                  <a:pt x="2744" y="2912"/>
                </a:lnTo>
                <a:lnTo>
                  <a:pt x="2744" y="2906"/>
                </a:lnTo>
                <a:lnTo>
                  <a:pt x="2744" y="2906"/>
                </a:lnTo>
                <a:lnTo>
                  <a:pt x="2744" y="2900"/>
                </a:lnTo>
                <a:lnTo>
                  <a:pt x="2744" y="2894"/>
                </a:lnTo>
                <a:lnTo>
                  <a:pt x="2744" y="2894"/>
                </a:lnTo>
                <a:lnTo>
                  <a:pt x="2738" y="2888"/>
                </a:lnTo>
                <a:lnTo>
                  <a:pt x="2738" y="2888"/>
                </a:lnTo>
                <a:lnTo>
                  <a:pt x="2738" y="2882"/>
                </a:lnTo>
                <a:lnTo>
                  <a:pt x="2738" y="2882"/>
                </a:lnTo>
                <a:lnTo>
                  <a:pt x="2738" y="2882"/>
                </a:lnTo>
                <a:lnTo>
                  <a:pt x="2726" y="2847"/>
                </a:lnTo>
                <a:lnTo>
                  <a:pt x="2726" y="2829"/>
                </a:lnTo>
                <a:lnTo>
                  <a:pt x="2726" y="2829"/>
                </a:lnTo>
                <a:lnTo>
                  <a:pt x="2726" y="2823"/>
                </a:lnTo>
                <a:lnTo>
                  <a:pt x="2726" y="2799"/>
                </a:lnTo>
                <a:lnTo>
                  <a:pt x="2726" y="2794"/>
                </a:lnTo>
                <a:lnTo>
                  <a:pt x="2726" y="2794"/>
                </a:lnTo>
                <a:lnTo>
                  <a:pt x="2726" y="2794"/>
                </a:lnTo>
                <a:lnTo>
                  <a:pt x="2726" y="2799"/>
                </a:lnTo>
                <a:lnTo>
                  <a:pt x="2720" y="2799"/>
                </a:lnTo>
                <a:lnTo>
                  <a:pt x="2720" y="2805"/>
                </a:lnTo>
                <a:lnTo>
                  <a:pt x="2720" y="2805"/>
                </a:lnTo>
                <a:lnTo>
                  <a:pt x="2720" y="2805"/>
                </a:lnTo>
                <a:lnTo>
                  <a:pt x="2720" y="2811"/>
                </a:lnTo>
                <a:lnTo>
                  <a:pt x="2720" y="2811"/>
                </a:lnTo>
                <a:lnTo>
                  <a:pt x="2720" y="2811"/>
                </a:lnTo>
                <a:lnTo>
                  <a:pt x="2720" y="2817"/>
                </a:lnTo>
                <a:lnTo>
                  <a:pt x="2720" y="2817"/>
                </a:lnTo>
                <a:lnTo>
                  <a:pt x="2720" y="2817"/>
                </a:lnTo>
                <a:lnTo>
                  <a:pt x="2726" y="2817"/>
                </a:lnTo>
                <a:lnTo>
                  <a:pt x="2726" y="2829"/>
                </a:lnTo>
                <a:lnTo>
                  <a:pt x="2726" y="2829"/>
                </a:lnTo>
                <a:lnTo>
                  <a:pt x="2726" y="2835"/>
                </a:lnTo>
                <a:lnTo>
                  <a:pt x="2726" y="2835"/>
                </a:lnTo>
                <a:lnTo>
                  <a:pt x="2720" y="2835"/>
                </a:lnTo>
                <a:lnTo>
                  <a:pt x="2726" y="2841"/>
                </a:lnTo>
                <a:lnTo>
                  <a:pt x="2726" y="2841"/>
                </a:lnTo>
                <a:lnTo>
                  <a:pt x="2726" y="2841"/>
                </a:lnTo>
                <a:lnTo>
                  <a:pt x="2726" y="2847"/>
                </a:lnTo>
                <a:lnTo>
                  <a:pt x="2726" y="2847"/>
                </a:lnTo>
                <a:lnTo>
                  <a:pt x="2726" y="2847"/>
                </a:lnTo>
                <a:lnTo>
                  <a:pt x="2726" y="2847"/>
                </a:lnTo>
                <a:lnTo>
                  <a:pt x="2726" y="2847"/>
                </a:lnTo>
                <a:lnTo>
                  <a:pt x="2726" y="2847"/>
                </a:lnTo>
                <a:lnTo>
                  <a:pt x="2726" y="2847"/>
                </a:lnTo>
                <a:lnTo>
                  <a:pt x="2726" y="2847"/>
                </a:lnTo>
                <a:lnTo>
                  <a:pt x="2726" y="2847"/>
                </a:lnTo>
                <a:lnTo>
                  <a:pt x="2726" y="2847"/>
                </a:lnTo>
                <a:lnTo>
                  <a:pt x="2726" y="2847"/>
                </a:lnTo>
                <a:lnTo>
                  <a:pt x="2726" y="2847"/>
                </a:lnTo>
                <a:lnTo>
                  <a:pt x="2726" y="2847"/>
                </a:lnTo>
                <a:close/>
                <a:moveTo>
                  <a:pt x="2755" y="2722"/>
                </a:moveTo>
                <a:lnTo>
                  <a:pt x="2755" y="2722"/>
                </a:lnTo>
                <a:lnTo>
                  <a:pt x="2755" y="2722"/>
                </a:lnTo>
                <a:lnTo>
                  <a:pt x="2755" y="2728"/>
                </a:lnTo>
                <a:lnTo>
                  <a:pt x="2755" y="2728"/>
                </a:lnTo>
                <a:lnTo>
                  <a:pt x="2755" y="2728"/>
                </a:lnTo>
                <a:lnTo>
                  <a:pt x="2750" y="2728"/>
                </a:lnTo>
                <a:lnTo>
                  <a:pt x="2750" y="2734"/>
                </a:lnTo>
                <a:lnTo>
                  <a:pt x="2750" y="2734"/>
                </a:lnTo>
                <a:lnTo>
                  <a:pt x="2744" y="2746"/>
                </a:lnTo>
                <a:lnTo>
                  <a:pt x="2744" y="2746"/>
                </a:lnTo>
                <a:lnTo>
                  <a:pt x="2738" y="2746"/>
                </a:lnTo>
                <a:lnTo>
                  <a:pt x="2738" y="2746"/>
                </a:lnTo>
                <a:lnTo>
                  <a:pt x="2738" y="2746"/>
                </a:lnTo>
                <a:lnTo>
                  <a:pt x="2738" y="2746"/>
                </a:lnTo>
                <a:lnTo>
                  <a:pt x="2738" y="2746"/>
                </a:lnTo>
                <a:lnTo>
                  <a:pt x="2738" y="2746"/>
                </a:lnTo>
                <a:lnTo>
                  <a:pt x="2738" y="2746"/>
                </a:lnTo>
                <a:lnTo>
                  <a:pt x="2738" y="2752"/>
                </a:lnTo>
                <a:lnTo>
                  <a:pt x="2738" y="2752"/>
                </a:lnTo>
                <a:lnTo>
                  <a:pt x="2738" y="2752"/>
                </a:lnTo>
                <a:lnTo>
                  <a:pt x="2738" y="2758"/>
                </a:lnTo>
                <a:lnTo>
                  <a:pt x="2732" y="2758"/>
                </a:lnTo>
                <a:lnTo>
                  <a:pt x="2732" y="2764"/>
                </a:lnTo>
                <a:lnTo>
                  <a:pt x="2732" y="2764"/>
                </a:lnTo>
                <a:lnTo>
                  <a:pt x="2732" y="2764"/>
                </a:lnTo>
                <a:lnTo>
                  <a:pt x="2732" y="2770"/>
                </a:lnTo>
                <a:lnTo>
                  <a:pt x="2732" y="2770"/>
                </a:lnTo>
                <a:lnTo>
                  <a:pt x="2726" y="2770"/>
                </a:lnTo>
                <a:lnTo>
                  <a:pt x="2726" y="2776"/>
                </a:lnTo>
                <a:lnTo>
                  <a:pt x="2726" y="2782"/>
                </a:lnTo>
                <a:lnTo>
                  <a:pt x="2726" y="2794"/>
                </a:lnTo>
                <a:lnTo>
                  <a:pt x="2720" y="2794"/>
                </a:lnTo>
                <a:lnTo>
                  <a:pt x="2726" y="2794"/>
                </a:lnTo>
                <a:lnTo>
                  <a:pt x="2726" y="2794"/>
                </a:lnTo>
                <a:lnTo>
                  <a:pt x="2726" y="2794"/>
                </a:lnTo>
                <a:lnTo>
                  <a:pt x="2726" y="2794"/>
                </a:lnTo>
                <a:lnTo>
                  <a:pt x="2726" y="2794"/>
                </a:lnTo>
                <a:lnTo>
                  <a:pt x="2726" y="2788"/>
                </a:lnTo>
                <a:lnTo>
                  <a:pt x="2726" y="2788"/>
                </a:lnTo>
                <a:lnTo>
                  <a:pt x="2726" y="2788"/>
                </a:lnTo>
                <a:lnTo>
                  <a:pt x="2732" y="2776"/>
                </a:lnTo>
                <a:lnTo>
                  <a:pt x="2738" y="2764"/>
                </a:lnTo>
                <a:lnTo>
                  <a:pt x="2738" y="2764"/>
                </a:lnTo>
                <a:lnTo>
                  <a:pt x="2738" y="2758"/>
                </a:lnTo>
                <a:lnTo>
                  <a:pt x="2744" y="2746"/>
                </a:lnTo>
                <a:lnTo>
                  <a:pt x="2750" y="2740"/>
                </a:lnTo>
                <a:lnTo>
                  <a:pt x="2755" y="2728"/>
                </a:lnTo>
                <a:lnTo>
                  <a:pt x="2755" y="2722"/>
                </a:lnTo>
                <a:lnTo>
                  <a:pt x="2755" y="2722"/>
                </a:lnTo>
                <a:lnTo>
                  <a:pt x="2755" y="2722"/>
                </a:lnTo>
                <a:close/>
                <a:moveTo>
                  <a:pt x="2981" y="2550"/>
                </a:moveTo>
                <a:lnTo>
                  <a:pt x="2981" y="2550"/>
                </a:lnTo>
                <a:lnTo>
                  <a:pt x="2981" y="2550"/>
                </a:lnTo>
                <a:lnTo>
                  <a:pt x="2981" y="2550"/>
                </a:lnTo>
                <a:lnTo>
                  <a:pt x="2981" y="2550"/>
                </a:lnTo>
                <a:lnTo>
                  <a:pt x="2981" y="2550"/>
                </a:lnTo>
                <a:lnTo>
                  <a:pt x="2981" y="2550"/>
                </a:lnTo>
                <a:lnTo>
                  <a:pt x="2981" y="2550"/>
                </a:lnTo>
                <a:lnTo>
                  <a:pt x="2981" y="2550"/>
                </a:lnTo>
                <a:lnTo>
                  <a:pt x="2981" y="2550"/>
                </a:lnTo>
                <a:lnTo>
                  <a:pt x="2981" y="2550"/>
                </a:lnTo>
                <a:lnTo>
                  <a:pt x="2981" y="2550"/>
                </a:lnTo>
                <a:lnTo>
                  <a:pt x="2975" y="2550"/>
                </a:lnTo>
                <a:lnTo>
                  <a:pt x="2975" y="2550"/>
                </a:lnTo>
                <a:lnTo>
                  <a:pt x="2981" y="2556"/>
                </a:lnTo>
                <a:lnTo>
                  <a:pt x="2981" y="2556"/>
                </a:lnTo>
                <a:lnTo>
                  <a:pt x="2981" y="2556"/>
                </a:lnTo>
                <a:lnTo>
                  <a:pt x="2975" y="2556"/>
                </a:lnTo>
                <a:lnTo>
                  <a:pt x="2975" y="2556"/>
                </a:lnTo>
                <a:lnTo>
                  <a:pt x="2975" y="2556"/>
                </a:lnTo>
                <a:lnTo>
                  <a:pt x="2975" y="2556"/>
                </a:lnTo>
                <a:lnTo>
                  <a:pt x="2975" y="2562"/>
                </a:lnTo>
                <a:lnTo>
                  <a:pt x="2975" y="2562"/>
                </a:lnTo>
                <a:lnTo>
                  <a:pt x="2969" y="2562"/>
                </a:lnTo>
                <a:lnTo>
                  <a:pt x="2969" y="2562"/>
                </a:lnTo>
                <a:lnTo>
                  <a:pt x="2969" y="2562"/>
                </a:lnTo>
                <a:lnTo>
                  <a:pt x="2969" y="2568"/>
                </a:lnTo>
                <a:lnTo>
                  <a:pt x="2969" y="2568"/>
                </a:lnTo>
                <a:lnTo>
                  <a:pt x="2969" y="2568"/>
                </a:lnTo>
                <a:lnTo>
                  <a:pt x="2963" y="2568"/>
                </a:lnTo>
                <a:lnTo>
                  <a:pt x="2957" y="2574"/>
                </a:lnTo>
                <a:lnTo>
                  <a:pt x="2951" y="2580"/>
                </a:lnTo>
                <a:lnTo>
                  <a:pt x="2951" y="2580"/>
                </a:lnTo>
                <a:lnTo>
                  <a:pt x="2951" y="2580"/>
                </a:lnTo>
                <a:lnTo>
                  <a:pt x="2951" y="2580"/>
                </a:lnTo>
                <a:lnTo>
                  <a:pt x="2951" y="2580"/>
                </a:lnTo>
                <a:lnTo>
                  <a:pt x="2951" y="2580"/>
                </a:lnTo>
                <a:lnTo>
                  <a:pt x="2951" y="2580"/>
                </a:lnTo>
                <a:lnTo>
                  <a:pt x="2969" y="2568"/>
                </a:lnTo>
                <a:lnTo>
                  <a:pt x="2969" y="2568"/>
                </a:lnTo>
                <a:lnTo>
                  <a:pt x="2975" y="2568"/>
                </a:lnTo>
                <a:lnTo>
                  <a:pt x="2987" y="2556"/>
                </a:lnTo>
                <a:lnTo>
                  <a:pt x="2987" y="2556"/>
                </a:lnTo>
                <a:lnTo>
                  <a:pt x="2987" y="2556"/>
                </a:lnTo>
                <a:lnTo>
                  <a:pt x="2981" y="2550"/>
                </a:lnTo>
                <a:close/>
                <a:moveTo>
                  <a:pt x="3757" y="546"/>
                </a:moveTo>
                <a:lnTo>
                  <a:pt x="3757" y="552"/>
                </a:lnTo>
                <a:lnTo>
                  <a:pt x="3757" y="546"/>
                </a:lnTo>
                <a:lnTo>
                  <a:pt x="3757" y="546"/>
                </a:lnTo>
                <a:lnTo>
                  <a:pt x="3757" y="546"/>
                </a:lnTo>
                <a:lnTo>
                  <a:pt x="3757" y="546"/>
                </a:lnTo>
                <a:lnTo>
                  <a:pt x="3757" y="546"/>
                </a:lnTo>
                <a:lnTo>
                  <a:pt x="3757" y="540"/>
                </a:lnTo>
                <a:lnTo>
                  <a:pt x="3757" y="540"/>
                </a:lnTo>
                <a:lnTo>
                  <a:pt x="3757" y="540"/>
                </a:lnTo>
                <a:lnTo>
                  <a:pt x="3751" y="540"/>
                </a:lnTo>
                <a:lnTo>
                  <a:pt x="3751" y="540"/>
                </a:lnTo>
                <a:lnTo>
                  <a:pt x="3751" y="540"/>
                </a:lnTo>
                <a:lnTo>
                  <a:pt x="3751" y="540"/>
                </a:lnTo>
                <a:lnTo>
                  <a:pt x="3751" y="540"/>
                </a:lnTo>
                <a:lnTo>
                  <a:pt x="3751" y="540"/>
                </a:lnTo>
                <a:lnTo>
                  <a:pt x="3751" y="546"/>
                </a:lnTo>
                <a:lnTo>
                  <a:pt x="3751" y="546"/>
                </a:lnTo>
                <a:lnTo>
                  <a:pt x="3751" y="546"/>
                </a:lnTo>
                <a:lnTo>
                  <a:pt x="3745" y="546"/>
                </a:lnTo>
                <a:lnTo>
                  <a:pt x="3745" y="546"/>
                </a:lnTo>
                <a:lnTo>
                  <a:pt x="3745" y="552"/>
                </a:lnTo>
                <a:lnTo>
                  <a:pt x="3745" y="552"/>
                </a:lnTo>
                <a:lnTo>
                  <a:pt x="3745" y="552"/>
                </a:lnTo>
                <a:lnTo>
                  <a:pt x="3739" y="558"/>
                </a:lnTo>
                <a:lnTo>
                  <a:pt x="3739" y="558"/>
                </a:lnTo>
                <a:lnTo>
                  <a:pt x="3739" y="558"/>
                </a:lnTo>
                <a:lnTo>
                  <a:pt x="3739" y="558"/>
                </a:lnTo>
                <a:lnTo>
                  <a:pt x="3733" y="558"/>
                </a:lnTo>
                <a:lnTo>
                  <a:pt x="3733" y="558"/>
                </a:lnTo>
                <a:lnTo>
                  <a:pt x="3733" y="558"/>
                </a:lnTo>
                <a:lnTo>
                  <a:pt x="3733" y="563"/>
                </a:lnTo>
                <a:lnTo>
                  <a:pt x="3733" y="563"/>
                </a:lnTo>
                <a:lnTo>
                  <a:pt x="3733" y="569"/>
                </a:lnTo>
                <a:lnTo>
                  <a:pt x="3733" y="569"/>
                </a:lnTo>
                <a:lnTo>
                  <a:pt x="3727" y="569"/>
                </a:lnTo>
                <a:lnTo>
                  <a:pt x="3727" y="575"/>
                </a:lnTo>
                <a:lnTo>
                  <a:pt x="3727" y="575"/>
                </a:lnTo>
                <a:lnTo>
                  <a:pt x="3727" y="575"/>
                </a:lnTo>
                <a:lnTo>
                  <a:pt x="3727" y="575"/>
                </a:lnTo>
                <a:lnTo>
                  <a:pt x="3727" y="575"/>
                </a:lnTo>
                <a:lnTo>
                  <a:pt x="3727" y="575"/>
                </a:lnTo>
                <a:lnTo>
                  <a:pt x="3721" y="581"/>
                </a:lnTo>
                <a:lnTo>
                  <a:pt x="3721" y="587"/>
                </a:lnTo>
                <a:lnTo>
                  <a:pt x="3715" y="593"/>
                </a:lnTo>
                <a:lnTo>
                  <a:pt x="3715" y="599"/>
                </a:lnTo>
                <a:lnTo>
                  <a:pt x="3721" y="605"/>
                </a:lnTo>
                <a:lnTo>
                  <a:pt x="3727" y="605"/>
                </a:lnTo>
                <a:lnTo>
                  <a:pt x="3727" y="605"/>
                </a:lnTo>
                <a:lnTo>
                  <a:pt x="3727" y="605"/>
                </a:lnTo>
                <a:lnTo>
                  <a:pt x="3733" y="599"/>
                </a:lnTo>
                <a:lnTo>
                  <a:pt x="3733" y="599"/>
                </a:lnTo>
                <a:lnTo>
                  <a:pt x="3733" y="593"/>
                </a:lnTo>
                <a:lnTo>
                  <a:pt x="3739" y="593"/>
                </a:lnTo>
                <a:lnTo>
                  <a:pt x="3739" y="593"/>
                </a:lnTo>
                <a:lnTo>
                  <a:pt x="3739" y="593"/>
                </a:lnTo>
                <a:lnTo>
                  <a:pt x="3739" y="593"/>
                </a:lnTo>
                <a:lnTo>
                  <a:pt x="3739" y="587"/>
                </a:lnTo>
                <a:lnTo>
                  <a:pt x="3739" y="587"/>
                </a:lnTo>
                <a:lnTo>
                  <a:pt x="3745" y="575"/>
                </a:lnTo>
                <a:lnTo>
                  <a:pt x="3745" y="575"/>
                </a:lnTo>
                <a:lnTo>
                  <a:pt x="3745" y="575"/>
                </a:lnTo>
                <a:lnTo>
                  <a:pt x="3745" y="569"/>
                </a:lnTo>
                <a:lnTo>
                  <a:pt x="3745" y="569"/>
                </a:lnTo>
                <a:lnTo>
                  <a:pt x="3751" y="575"/>
                </a:lnTo>
                <a:lnTo>
                  <a:pt x="3751" y="575"/>
                </a:lnTo>
                <a:lnTo>
                  <a:pt x="3751" y="575"/>
                </a:lnTo>
                <a:lnTo>
                  <a:pt x="3751" y="569"/>
                </a:lnTo>
                <a:lnTo>
                  <a:pt x="3751" y="569"/>
                </a:lnTo>
                <a:lnTo>
                  <a:pt x="3751" y="569"/>
                </a:lnTo>
                <a:lnTo>
                  <a:pt x="3751" y="569"/>
                </a:lnTo>
                <a:lnTo>
                  <a:pt x="3751" y="569"/>
                </a:lnTo>
                <a:lnTo>
                  <a:pt x="3751" y="569"/>
                </a:lnTo>
                <a:lnTo>
                  <a:pt x="3751" y="563"/>
                </a:lnTo>
                <a:lnTo>
                  <a:pt x="3751" y="563"/>
                </a:lnTo>
                <a:lnTo>
                  <a:pt x="3751" y="558"/>
                </a:lnTo>
                <a:lnTo>
                  <a:pt x="3751" y="558"/>
                </a:lnTo>
                <a:lnTo>
                  <a:pt x="3751" y="558"/>
                </a:lnTo>
                <a:lnTo>
                  <a:pt x="3751" y="563"/>
                </a:lnTo>
                <a:lnTo>
                  <a:pt x="3751" y="558"/>
                </a:lnTo>
                <a:lnTo>
                  <a:pt x="3751" y="558"/>
                </a:lnTo>
                <a:lnTo>
                  <a:pt x="3751" y="558"/>
                </a:lnTo>
                <a:lnTo>
                  <a:pt x="3751" y="558"/>
                </a:lnTo>
                <a:lnTo>
                  <a:pt x="3751" y="552"/>
                </a:lnTo>
                <a:lnTo>
                  <a:pt x="3751" y="552"/>
                </a:lnTo>
                <a:lnTo>
                  <a:pt x="3751" y="552"/>
                </a:lnTo>
                <a:lnTo>
                  <a:pt x="3751" y="546"/>
                </a:lnTo>
                <a:lnTo>
                  <a:pt x="3751" y="546"/>
                </a:lnTo>
                <a:lnTo>
                  <a:pt x="3757" y="546"/>
                </a:lnTo>
                <a:close/>
                <a:moveTo>
                  <a:pt x="3775" y="528"/>
                </a:moveTo>
                <a:lnTo>
                  <a:pt x="3775" y="528"/>
                </a:lnTo>
                <a:lnTo>
                  <a:pt x="3769" y="522"/>
                </a:lnTo>
                <a:lnTo>
                  <a:pt x="3769" y="522"/>
                </a:lnTo>
                <a:lnTo>
                  <a:pt x="3769" y="522"/>
                </a:lnTo>
                <a:lnTo>
                  <a:pt x="3769" y="522"/>
                </a:lnTo>
                <a:lnTo>
                  <a:pt x="3763" y="522"/>
                </a:lnTo>
                <a:lnTo>
                  <a:pt x="3763" y="522"/>
                </a:lnTo>
                <a:lnTo>
                  <a:pt x="3763" y="522"/>
                </a:lnTo>
                <a:lnTo>
                  <a:pt x="3763" y="522"/>
                </a:lnTo>
                <a:lnTo>
                  <a:pt x="3763" y="528"/>
                </a:lnTo>
                <a:lnTo>
                  <a:pt x="3763" y="528"/>
                </a:lnTo>
                <a:lnTo>
                  <a:pt x="3763" y="534"/>
                </a:lnTo>
                <a:lnTo>
                  <a:pt x="3763" y="534"/>
                </a:lnTo>
                <a:lnTo>
                  <a:pt x="3763" y="534"/>
                </a:lnTo>
                <a:lnTo>
                  <a:pt x="3763" y="534"/>
                </a:lnTo>
                <a:lnTo>
                  <a:pt x="3763" y="534"/>
                </a:lnTo>
                <a:lnTo>
                  <a:pt x="3769" y="534"/>
                </a:lnTo>
                <a:lnTo>
                  <a:pt x="3769" y="534"/>
                </a:lnTo>
                <a:lnTo>
                  <a:pt x="3769" y="534"/>
                </a:lnTo>
                <a:lnTo>
                  <a:pt x="3769" y="528"/>
                </a:lnTo>
                <a:lnTo>
                  <a:pt x="3775" y="528"/>
                </a:lnTo>
                <a:close/>
                <a:moveTo>
                  <a:pt x="3395" y="320"/>
                </a:moveTo>
                <a:lnTo>
                  <a:pt x="3395" y="320"/>
                </a:lnTo>
                <a:lnTo>
                  <a:pt x="3401" y="320"/>
                </a:lnTo>
                <a:lnTo>
                  <a:pt x="3401" y="320"/>
                </a:lnTo>
                <a:lnTo>
                  <a:pt x="3401" y="314"/>
                </a:lnTo>
                <a:lnTo>
                  <a:pt x="3401" y="314"/>
                </a:lnTo>
                <a:lnTo>
                  <a:pt x="3395" y="314"/>
                </a:lnTo>
                <a:lnTo>
                  <a:pt x="3390" y="314"/>
                </a:lnTo>
                <a:lnTo>
                  <a:pt x="3390" y="320"/>
                </a:lnTo>
                <a:lnTo>
                  <a:pt x="3390" y="320"/>
                </a:lnTo>
                <a:lnTo>
                  <a:pt x="3384" y="326"/>
                </a:lnTo>
                <a:lnTo>
                  <a:pt x="3378" y="326"/>
                </a:lnTo>
                <a:lnTo>
                  <a:pt x="3378" y="332"/>
                </a:lnTo>
                <a:lnTo>
                  <a:pt x="3384" y="332"/>
                </a:lnTo>
                <a:lnTo>
                  <a:pt x="3384" y="326"/>
                </a:lnTo>
                <a:lnTo>
                  <a:pt x="3390" y="326"/>
                </a:lnTo>
                <a:lnTo>
                  <a:pt x="3395" y="326"/>
                </a:lnTo>
                <a:lnTo>
                  <a:pt x="3390" y="326"/>
                </a:lnTo>
                <a:lnTo>
                  <a:pt x="3390" y="320"/>
                </a:lnTo>
                <a:lnTo>
                  <a:pt x="3395" y="320"/>
                </a:lnTo>
                <a:close/>
                <a:moveTo>
                  <a:pt x="3407" y="302"/>
                </a:moveTo>
                <a:lnTo>
                  <a:pt x="3407" y="302"/>
                </a:lnTo>
                <a:lnTo>
                  <a:pt x="3407" y="302"/>
                </a:lnTo>
                <a:lnTo>
                  <a:pt x="3407" y="302"/>
                </a:lnTo>
                <a:lnTo>
                  <a:pt x="3401" y="302"/>
                </a:lnTo>
                <a:lnTo>
                  <a:pt x="3395" y="302"/>
                </a:lnTo>
                <a:lnTo>
                  <a:pt x="3395" y="302"/>
                </a:lnTo>
                <a:lnTo>
                  <a:pt x="3395" y="308"/>
                </a:lnTo>
                <a:lnTo>
                  <a:pt x="3395" y="308"/>
                </a:lnTo>
                <a:lnTo>
                  <a:pt x="3401" y="308"/>
                </a:lnTo>
                <a:lnTo>
                  <a:pt x="3401" y="308"/>
                </a:lnTo>
                <a:lnTo>
                  <a:pt x="3401" y="308"/>
                </a:lnTo>
                <a:lnTo>
                  <a:pt x="3407" y="308"/>
                </a:lnTo>
                <a:lnTo>
                  <a:pt x="3401" y="308"/>
                </a:lnTo>
                <a:lnTo>
                  <a:pt x="3407" y="302"/>
                </a:lnTo>
                <a:lnTo>
                  <a:pt x="3407" y="302"/>
                </a:lnTo>
                <a:close/>
                <a:moveTo>
                  <a:pt x="3390" y="308"/>
                </a:moveTo>
                <a:lnTo>
                  <a:pt x="3390" y="302"/>
                </a:lnTo>
                <a:lnTo>
                  <a:pt x="3390" y="302"/>
                </a:lnTo>
                <a:lnTo>
                  <a:pt x="3390" y="302"/>
                </a:lnTo>
                <a:lnTo>
                  <a:pt x="3384" y="302"/>
                </a:lnTo>
                <a:lnTo>
                  <a:pt x="3384" y="297"/>
                </a:lnTo>
                <a:lnTo>
                  <a:pt x="3384" y="302"/>
                </a:lnTo>
                <a:lnTo>
                  <a:pt x="3384" y="302"/>
                </a:lnTo>
                <a:lnTo>
                  <a:pt x="3384" y="302"/>
                </a:lnTo>
                <a:lnTo>
                  <a:pt x="3384" y="302"/>
                </a:lnTo>
                <a:lnTo>
                  <a:pt x="3384" y="308"/>
                </a:lnTo>
                <a:lnTo>
                  <a:pt x="3390" y="308"/>
                </a:lnTo>
                <a:lnTo>
                  <a:pt x="3390" y="308"/>
                </a:lnTo>
                <a:lnTo>
                  <a:pt x="3390" y="308"/>
                </a:lnTo>
                <a:close/>
                <a:moveTo>
                  <a:pt x="3360" y="297"/>
                </a:moveTo>
                <a:lnTo>
                  <a:pt x="3360" y="297"/>
                </a:lnTo>
                <a:lnTo>
                  <a:pt x="3366" y="302"/>
                </a:lnTo>
                <a:lnTo>
                  <a:pt x="3366" y="297"/>
                </a:lnTo>
                <a:lnTo>
                  <a:pt x="3366" y="297"/>
                </a:lnTo>
                <a:lnTo>
                  <a:pt x="3366" y="297"/>
                </a:lnTo>
                <a:lnTo>
                  <a:pt x="3366" y="291"/>
                </a:lnTo>
                <a:lnTo>
                  <a:pt x="3366" y="297"/>
                </a:lnTo>
                <a:lnTo>
                  <a:pt x="3360" y="297"/>
                </a:lnTo>
                <a:close/>
                <a:moveTo>
                  <a:pt x="3419" y="285"/>
                </a:moveTo>
                <a:lnTo>
                  <a:pt x="3419" y="285"/>
                </a:lnTo>
                <a:lnTo>
                  <a:pt x="3419" y="285"/>
                </a:lnTo>
                <a:lnTo>
                  <a:pt x="3413" y="285"/>
                </a:lnTo>
                <a:lnTo>
                  <a:pt x="3413" y="285"/>
                </a:lnTo>
                <a:lnTo>
                  <a:pt x="3413" y="291"/>
                </a:lnTo>
                <a:lnTo>
                  <a:pt x="3413" y="297"/>
                </a:lnTo>
                <a:lnTo>
                  <a:pt x="3419" y="291"/>
                </a:lnTo>
                <a:lnTo>
                  <a:pt x="3419" y="291"/>
                </a:lnTo>
                <a:lnTo>
                  <a:pt x="3419" y="285"/>
                </a:lnTo>
                <a:lnTo>
                  <a:pt x="3419" y="285"/>
                </a:lnTo>
                <a:lnTo>
                  <a:pt x="3419" y="285"/>
                </a:lnTo>
                <a:close/>
                <a:moveTo>
                  <a:pt x="130" y="415"/>
                </a:moveTo>
                <a:lnTo>
                  <a:pt x="136" y="415"/>
                </a:lnTo>
                <a:lnTo>
                  <a:pt x="136" y="415"/>
                </a:lnTo>
                <a:lnTo>
                  <a:pt x="136" y="421"/>
                </a:lnTo>
                <a:lnTo>
                  <a:pt x="142" y="421"/>
                </a:lnTo>
                <a:lnTo>
                  <a:pt x="142" y="421"/>
                </a:lnTo>
                <a:lnTo>
                  <a:pt x="142" y="415"/>
                </a:lnTo>
                <a:lnTo>
                  <a:pt x="136" y="415"/>
                </a:lnTo>
                <a:lnTo>
                  <a:pt x="136" y="415"/>
                </a:lnTo>
                <a:lnTo>
                  <a:pt x="136" y="415"/>
                </a:lnTo>
                <a:lnTo>
                  <a:pt x="136" y="415"/>
                </a:lnTo>
                <a:lnTo>
                  <a:pt x="136" y="409"/>
                </a:lnTo>
                <a:lnTo>
                  <a:pt x="130" y="409"/>
                </a:lnTo>
                <a:lnTo>
                  <a:pt x="130" y="409"/>
                </a:lnTo>
                <a:lnTo>
                  <a:pt x="130" y="415"/>
                </a:lnTo>
                <a:lnTo>
                  <a:pt x="130" y="415"/>
                </a:lnTo>
                <a:lnTo>
                  <a:pt x="130" y="415"/>
                </a:lnTo>
                <a:close/>
                <a:moveTo>
                  <a:pt x="77" y="380"/>
                </a:moveTo>
                <a:lnTo>
                  <a:pt x="77" y="380"/>
                </a:lnTo>
                <a:lnTo>
                  <a:pt x="77" y="374"/>
                </a:lnTo>
                <a:lnTo>
                  <a:pt x="77" y="374"/>
                </a:lnTo>
                <a:lnTo>
                  <a:pt x="77" y="374"/>
                </a:lnTo>
                <a:lnTo>
                  <a:pt x="77" y="374"/>
                </a:lnTo>
                <a:lnTo>
                  <a:pt x="77" y="374"/>
                </a:lnTo>
                <a:lnTo>
                  <a:pt x="77" y="374"/>
                </a:lnTo>
                <a:lnTo>
                  <a:pt x="77" y="368"/>
                </a:lnTo>
                <a:lnTo>
                  <a:pt x="77" y="368"/>
                </a:lnTo>
                <a:lnTo>
                  <a:pt x="77" y="368"/>
                </a:lnTo>
                <a:lnTo>
                  <a:pt x="77" y="368"/>
                </a:lnTo>
                <a:lnTo>
                  <a:pt x="77" y="374"/>
                </a:lnTo>
                <a:lnTo>
                  <a:pt x="77" y="374"/>
                </a:lnTo>
                <a:lnTo>
                  <a:pt x="77" y="374"/>
                </a:lnTo>
                <a:lnTo>
                  <a:pt x="77" y="380"/>
                </a:lnTo>
                <a:lnTo>
                  <a:pt x="77" y="380"/>
                </a:lnTo>
                <a:close/>
                <a:moveTo>
                  <a:pt x="231" y="237"/>
                </a:moveTo>
                <a:lnTo>
                  <a:pt x="225" y="243"/>
                </a:lnTo>
                <a:lnTo>
                  <a:pt x="225" y="243"/>
                </a:lnTo>
                <a:lnTo>
                  <a:pt x="225" y="243"/>
                </a:lnTo>
                <a:lnTo>
                  <a:pt x="225" y="243"/>
                </a:lnTo>
                <a:lnTo>
                  <a:pt x="225" y="243"/>
                </a:lnTo>
                <a:lnTo>
                  <a:pt x="225" y="243"/>
                </a:lnTo>
                <a:lnTo>
                  <a:pt x="225" y="243"/>
                </a:lnTo>
                <a:lnTo>
                  <a:pt x="231" y="243"/>
                </a:lnTo>
                <a:lnTo>
                  <a:pt x="231" y="243"/>
                </a:lnTo>
                <a:lnTo>
                  <a:pt x="237" y="237"/>
                </a:lnTo>
                <a:lnTo>
                  <a:pt x="237" y="237"/>
                </a:lnTo>
                <a:lnTo>
                  <a:pt x="237" y="237"/>
                </a:lnTo>
                <a:lnTo>
                  <a:pt x="231" y="237"/>
                </a:lnTo>
                <a:lnTo>
                  <a:pt x="231" y="237"/>
                </a:lnTo>
                <a:lnTo>
                  <a:pt x="231" y="231"/>
                </a:lnTo>
                <a:lnTo>
                  <a:pt x="231" y="231"/>
                </a:lnTo>
                <a:lnTo>
                  <a:pt x="231" y="231"/>
                </a:lnTo>
                <a:lnTo>
                  <a:pt x="231" y="225"/>
                </a:lnTo>
                <a:lnTo>
                  <a:pt x="231" y="225"/>
                </a:lnTo>
                <a:lnTo>
                  <a:pt x="231" y="225"/>
                </a:lnTo>
                <a:lnTo>
                  <a:pt x="225" y="225"/>
                </a:lnTo>
                <a:lnTo>
                  <a:pt x="225" y="225"/>
                </a:lnTo>
                <a:lnTo>
                  <a:pt x="225" y="225"/>
                </a:lnTo>
                <a:lnTo>
                  <a:pt x="225" y="219"/>
                </a:lnTo>
                <a:lnTo>
                  <a:pt x="225" y="225"/>
                </a:lnTo>
                <a:lnTo>
                  <a:pt x="225" y="225"/>
                </a:lnTo>
                <a:lnTo>
                  <a:pt x="225" y="225"/>
                </a:lnTo>
                <a:lnTo>
                  <a:pt x="225" y="225"/>
                </a:lnTo>
                <a:lnTo>
                  <a:pt x="225" y="225"/>
                </a:lnTo>
                <a:lnTo>
                  <a:pt x="225" y="231"/>
                </a:lnTo>
                <a:lnTo>
                  <a:pt x="225" y="231"/>
                </a:lnTo>
                <a:lnTo>
                  <a:pt x="219" y="237"/>
                </a:lnTo>
                <a:lnTo>
                  <a:pt x="219" y="237"/>
                </a:lnTo>
                <a:lnTo>
                  <a:pt x="219" y="243"/>
                </a:lnTo>
                <a:lnTo>
                  <a:pt x="219" y="243"/>
                </a:lnTo>
                <a:lnTo>
                  <a:pt x="219" y="243"/>
                </a:lnTo>
                <a:lnTo>
                  <a:pt x="219" y="243"/>
                </a:lnTo>
                <a:lnTo>
                  <a:pt x="219" y="243"/>
                </a:lnTo>
                <a:lnTo>
                  <a:pt x="219" y="243"/>
                </a:lnTo>
                <a:lnTo>
                  <a:pt x="219" y="243"/>
                </a:lnTo>
                <a:lnTo>
                  <a:pt x="219" y="243"/>
                </a:lnTo>
                <a:lnTo>
                  <a:pt x="225" y="249"/>
                </a:lnTo>
                <a:lnTo>
                  <a:pt x="225" y="249"/>
                </a:lnTo>
                <a:lnTo>
                  <a:pt x="225" y="243"/>
                </a:lnTo>
                <a:lnTo>
                  <a:pt x="225" y="243"/>
                </a:lnTo>
                <a:lnTo>
                  <a:pt x="225" y="243"/>
                </a:lnTo>
                <a:lnTo>
                  <a:pt x="225" y="243"/>
                </a:lnTo>
                <a:lnTo>
                  <a:pt x="225" y="243"/>
                </a:lnTo>
                <a:lnTo>
                  <a:pt x="225" y="243"/>
                </a:lnTo>
                <a:lnTo>
                  <a:pt x="225" y="237"/>
                </a:lnTo>
                <a:lnTo>
                  <a:pt x="225" y="237"/>
                </a:lnTo>
                <a:lnTo>
                  <a:pt x="225" y="237"/>
                </a:lnTo>
                <a:lnTo>
                  <a:pt x="225" y="237"/>
                </a:lnTo>
                <a:lnTo>
                  <a:pt x="225" y="237"/>
                </a:lnTo>
                <a:lnTo>
                  <a:pt x="231" y="237"/>
                </a:lnTo>
                <a:lnTo>
                  <a:pt x="231" y="237"/>
                </a:lnTo>
                <a:lnTo>
                  <a:pt x="231" y="237"/>
                </a:lnTo>
                <a:lnTo>
                  <a:pt x="231" y="237"/>
                </a:lnTo>
                <a:close/>
                <a:moveTo>
                  <a:pt x="207" y="267"/>
                </a:moveTo>
                <a:lnTo>
                  <a:pt x="207" y="267"/>
                </a:lnTo>
                <a:lnTo>
                  <a:pt x="201" y="267"/>
                </a:lnTo>
                <a:lnTo>
                  <a:pt x="201" y="267"/>
                </a:lnTo>
                <a:lnTo>
                  <a:pt x="201" y="273"/>
                </a:lnTo>
                <a:lnTo>
                  <a:pt x="201" y="273"/>
                </a:lnTo>
                <a:lnTo>
                  <a:pt x="201" y="273"/>
                </a:lnTo>
                <a:lnTo>
                  <a:pt x="201" y="273"/>
                </a:lnTo>
                <a:lnTo>
                  <a:pt x="201" y="273"/>
                </a:lnTo>
                <a:lnTo>
                  <a:pt x="201" y="273"/>
                </a:lnTo>
                <a:lnTo>
                  <a:pt x="201" y="273"/>
                </a:lnTo>
                <a:lnTo>
                  <a:pt x="201" y="273"/>
                </a:lnTo>
                <a:lnTo>
                  <a:pt x="201" y="273"/>
                </a:lnTo>
                <a:lnTo>
                  <a:pt x="201" y="273"/>
                </a:lnTo>
                <a:lnTo>
                  <a:pt x="201" y="273"/>
                </a:lnTo>
                <a:lnTo>
                  <a:pt x="201" y="279"/>
                </a:lnTo>
                <a:lnTo>
                  <a:pt x="201" y="279"/>
                </a:lnTo>
                <a:lnTo>
                  <a:pt x="201" y="279"/>
                </a:lnTo>
                <a:lnTo>
                  <a:pt x="201" y="279"/>
                </a:lnTo>
                <a:lnTo>
                  <a:pt x="201" y="279"/>
                </a:lnTo>
                <a:lnTo>
                  <a:pt x="201" y="279"/>
                </a:lnTo>
                <a:lnTo>
                  <a:pt x="207" y="279"/>
                </a:lnTo>
                <a:lnTo>
                  <a:pt x="207" y="273"/>
                </a:lnTo>
                <a:lnTo>
                  <a:pt x="207" y="273"/>
                </a:lnTo>
                <a:lnTo>
                  <a:pt x="207" y="273"/>
                </a:lnTo>
                <a:lnTo>
                  <a:pt x="207" y="273"/>
                </a:lnTo>
                <a:lnTo>
                  <a:pt x="207" y="273"/>
                </a:lnTo>
                <a:lnTo>
                  <a:pt x="207" y="267"/>
                </a:lnTo>
                <a:lnTo>
                  <a:pt x="207" y="267"/>
                </a:lnTo>
                <a:close/>
                <a:moveTo>
                  <a:pt x="190" y="255"/>
                </a:moveTo>
                <a:lnTo>
                  <a:pt x="190" y="255"/>
                </a:lnTo>
                <a:lnTo>
                  <a:pt x="190" y="255"/>
                </a:lnTo>
                <a:lnTo>
                  <a:pt x="190" y="255"/>
                </a:lnTo>
                <a:lnTo>
                  <a:pt x="190" y="249"/>
                </a:lnTo>
                <a:lnTo>
                  <a:pt x="190" y="255"/>
                </a:lnTo>
                <a:lnTo>
                  <a:pt x="190" y="255"/>
                </a:lnTo>
                <a:lnTo>
                  <a:pt x="184" y="255"/>
                </a:lnTo>
                <a:lnTo>
                  <a:pt x="184" y="255"/>
                </a:lnTo>
                <a:lnTo>
                  <a:pt x="184" y="255"/>
                </a:lnTo>
                <a:lnTo>
                  <a:pt x="184" y="255"/>
                </a:lnTo>
                <a:lnTo>
                  <a:pt x="184" y="255"/>
                </a:lnTo>
                <a:lnTo>
                  <a:pt x="184" y="255"/>
                </a:lnTo>
                <a:lnTo>
                  <a:pt x="184" y="255"/>
                </a:lnTo>
                <a:lnTo>
                  <a:pt x="184" y="261"/>
                </a:lnTo>
                <a:lnTo>
                  <a:pt x="184" y="261"/>
                </a:lnTo>
                <a:lnTo>
                  <a:pt x="184" y="261"/>
                </a:lnTo>
                <a:lnTo>
                  <a:pt x="184" y="261"/>
                </a:lnTo>
                <a:lnTo>
                  <a:pt x="184" y="267"/>
                </a:lnTo>
                <a:lnTo>
                  <a:pt x="184" y="267"/>
                </a:lnTo>
                <a:lnTo>
                  <a:pt x="184" y="267"/>
                </a:lnTo>
                <a:lnTo>
                  <a:pt x="184" y="267"/>
                </a:lnTo>
                <a:lnTo>
                  <a:pt x="184" y="267"/>
                </a:lnTo>
                <a:lnTo>
                  <a:pt x="184" y="267"/>
                </a:lnTo>
                <a:lnTo>
                  <a:pt x="184" y="273"/>
                </a:lnTo>
                <a:lnTo>
                  <a:pt x="184" y="273"/>
                </a:lnTo>
                <a:lnTo>
                  <a:pt x="190" y="267"/>
                </a:lnTo>
                <a:lnTo>
                  <a:pt x="190" y="267"/>
                </a:lnTo>
                <a:lnTo>
                  <a:pt x="190" y="267"/>
                </a:lnTo>
                <a:lnTo>
                  <a:pt x="190" y="267"/>
                </a:lnTo>
                <a:lnTo>
                  <a:pt x="190" y="267"/>
                </a:lnTo>
                <a:lnTo>
                  <a:pt x="190" y="261"/>
                </a:lnTo>
                <a:lnTo>
                  <a:pt x="190" y="261"/>
                </a:lnTo>
                <a:lnTo>
                  <a:pt x="190" y="261"/>
                </a:lnTo>
                <a:lnTo>
                  <a:pt x="190" y="261"/>
                </a:lnTo>
                <a:lnTo>
                  <a:pt x="190" y="255"/>
                </a:lnTo>
                <a:close/>
                <a:moveTo>
                  <a:pt x="219" y="202"/>
                </a:moveTo>
                <a:lnTo>
                  <a:pt x="213" y="208"/>
                </a:lnTo>
                <a:lnTo>
                  <a:pt x="213" y="208"/>
                </a:lnTo>
                <a:lnTo>
                  <a:pt x="219" y="208"/>
                </a:lnTo>
                <a:lnTo>
                  <a:pt x="219" y="208"/>
                </a:lnTo>
                <a:lnTo>
                  <a:pt x="219" y="208"/>
                </a:lnTo>
                <a:lnTo>
                  <a:pt x="219" y="214"/>
                </a:lnTo>
                <a:lnTo>
                  <a:pt x="225" y="214"/>
                </a:lnTo>
                <a:lnTo>
                  <a:pt x="225" y="208"/>
                </a:lnTo>
                <a:lnTo>
                  <a:pt x="225" y="208"/>
                </a:lnTo>
                <a:lnTo>
                  <a:pt x="225" y="208"/>
                </a:lnTo>
                <a:lnTo>
                  <a:pt x="225" y="208"/>
                </a:lnTo>
                <a:lnTo>
                  <a:pt x="225" y="208"/>
                </a:lnTo>
                <a:lnTo>
                  <a:pt x="225" y="208"/>
                </a:lnTo>
                <a:lnTo>
                  <a:pt x="225" y="208"/>
                </a:lnTo>
                <a:lnTo>
                  <a:pt x="225" y="208"/>
                </a:lnTo>
                <a:lnTo>
                  <a:pt x="225" y="208"/>
                </a:lnTo>
                <a:lnTo>
                  <a:pt x="225" y="208"/>
                </a:lnTo>
                <a:lnTo>
                  <a:pt x="225" y="202"/>
                </a:lnTo>
                <a:lnTo>
                  <a:pt x="225" y="202"/>
                </a:lnTo>
                <a:lnTo>
                  <a:pt x="225" y="202"/>
                </a:lnTo>
                <a:lnTo>
                  <a:pt x="225" y="202"/>
                </a:lnTo>
                <a:lnTo>
                  <a:pt x="225" y="202"/>
                </a:lnTo>
                <a:lnTo>
                  <a:pt x="225" y="202"/>
                </a:lnTo>
                <a:lnTo>
                  <a:pt x="225" y="202"/>
                </a:lnTo>
                <a:lnTo>
                  <a:pt x="225" y="202"/>
                </a:lnTo>
                <a:lnTo>
                  <a:pt x="225" y="196"/>
                </a:lnTo>
                <a:lnTo>
                  <a:pt x="225" y="196"/>
                </a:lnTo>
                <a:lnTo>
                  <a:pt x="225" y="196"/>
                </a:lnTo>
                <a:lnTo>
                  <a:pt x="219" y="190"/>
                </a:lnTo>
                <a:lnTo>
                  <a:pt x="219" y="190"/>
                </a:lnTo>
                <a:lnTo>
                  <a:pt x="219" y="190"/>
                </a:lnTo>
                <a:lnTo>
                  <a:pt x="219" y="190"/>
                </a:lnTo>
                <a:lnTo>
                  <a:pt x="219" y="190"/>
                </a:lnTo>
                <a:lnTo>
                  <a:pt x="219" y="190"/>
                </a:lnTo>
                <a:lnTo>
                  <a:pt x="219" y="190"/>
                </a:lnTo>
                <a:lnTo>
                  <a:pt x="219" y="190"/>
                </a:lnTo>
                <a:lnTo>
                  <a:pt x="219" y="196"/>
                </a:lnTo>
                <a:lnTo>
                  <a:pt x="219" y="196"/>
                </a:lnTo>
                <a:lnTo>
                  <a:pt x="219" y="196"/>
                </a:lnTo>
                <a:lnTo>
                  <a:pt x="213" y="196"/>
                </a:lnTo>
                <a:lnTo>
                  <a:pt x="213" y="196"/>
                </a:lnTo>
                <a:lnTo>
                  <a:pt x="213" y="202"/>
                </a:lnTo>
                <a:lnTo>
                  <a:pt x="213" y="202"/>
                </a:lnTo>
                <a:lnTo>
                  <a:pt x="213" y="202"/>
                </a:lnTo>
                <a:lnTo>
                  <a:pt x="219" y="202"/>
                </a:lnTo>
                <a:lnTo>
                  <a:pt x="219" y="202"/>
                </a:lnTo>
                <a:lnTo>
                  <a:pt x="219" y="202"/>
                </a:lnTo>
                <a:close/>
                <a:moveTo>
                  <a:pt x="201" y="142"/>
                </a:moveTo>
                <a:lnTo>
                  <a:pt x="201" y="142"/>
                </a:lnTo>
                <a:lnTo>
                  <a:pt x="201" y="142"/>
                </a:lnTo>
                <a:lnTo>
                  <a:pt x="201" y="136"/>
                </a:lnTo>
                <a:lnTo>
                  <a:pt x="201" y="136"/>
                </a:lnTo>
                <a:lnTo>
                  <a:pt x="201" y="136"/>
                </a:lnTo>
                <a:lnTo>
                  <a:pt x="201" y="136"/>
                </a:lnTo>
                <a:lnTo>
                  <a:pt x="201" y="136"/>
                </a:lnTo>
                <a:lnTo>
                  <a:pt x="201" y="136"/>
                </a:lnTo>
                <a:lnTo>
                  <a:pt x="201" y="136"/>
                </a:lnTo>
                <a:lnTo>
                  <a:pt x="201" y="142"/>
                </a:lnTo>
                <a:lnTo>
                  <a:pt x="201" y="142"/>
                </a:lnTo>
                <a:lnTo>
                  <a:pt x="201" y="142"/>
                </a:lnTo>
                <a:lnTo>
                  <a:pt x="201" y="142"/>
                </a:lnTo>
                <a:lnTo>
                  <a:pt x="201" y="148"/>
                </a:lnTo>
                <a:lnTo>
                  <a:pt x="207" y="148"/>
                </a:lnTo>
                <a:lnTo>
                  <a:pt x="207" y="148"/>
                </a:lnTo>
                <a:lnTo>
                  <a:pt x="207" y="142"/>
                </a:lnTo>
                <a:lnTo>
                  <a:pt x="207" y="142"/>
                </a:lnTo>
                <a:lnTo>
                  <a:pt x="207" y="142"/>
                </a:lnTo>
                <a:lnTo>
                  <a:pt x="207" y="136"/>
                </a:lnTo>
                <a:lnTo>
                  <a:pt x="207" y="136"/>
                </a:lnTo>
                <a:lnTo>
                  <a:pt x="201" y="130"/>
                </a:lnTo>
                <a:lnTo>
                  <a:pt x="201" y="130"/>
                </a:lnTo>
                <a:lnTo>
                  <a:pt x="201" y="130"/>
                </a:lnTo>
                <a:lnTo>
                  <a:pt x="201" y="130"/>
                </a:lnTo>
                <a:lnTo>
                  <a:pt x="201" y="130"/>
                </a:lnTo>
                <a:lnTo>
                  <a:pt x="201" y="136"/>
                </a:lnTo>
                <a:lnTo>
                  <a:pt x="201" y="136"/>
                </a:lnTo>
                <a:lnTo>
                  <a:pt x="201" y="136"/>
                </a:lnTo>
                <a:lnTo>
                  <a:pt x="201" y="142"/>
                </a:lnTo>
                <a:close/>
                <a:moveTo>
                  <a:pt x="195" y="113"/>
                </a:moveTo>
                <a:lnTo>
                  <a:pt x="195" y="113"/>
                </a:lnTo>
                <a:lnTo>
                  <a:pt x="201" y="119"/>
                </a:lnTo>
                <a:lnTo>
                  <a:pt x="201" y="119"/>
                </a:lnTo>
                <a:lnTo>
                  <a:pt x="201" y="119"/>
                </a:lnTo>
                <a:lnTo>
                  <a:pt x="201" y="119"/>
                </a:lnTo>
                <a:lnTo>
                  <a:pt x="201" y="119"/>
                </a:lnTo>
                <a:lnTo>
                  <a:pt x="201" y="119"/>
                </a:lnTo>
                <a:lnTo>
                  <a:pt x="201" y="119"/>
                </a:lnTo>
                <a:lnTo>
                  <a:pt x="207" y="125"/>
                </a:lnTo>
                <a:lnTo>
                  <a:pt x="207" y="125"/>
                </a:lnTo>
                <a:lnTo>
                  <a:pt x="207" y="125"/>
                </a:lnTo>
                <a:lnTo>
                  <a:pt x="207" y="125"/>
                </a:lnTo>
                <a:lnTo>
                  <a:pt x="213" y="125"/>
                </a:lnTo>
                <a:lnTo>
                  <a:pt x="213" y="125"/>
                </a:lnTo>
                <a:lnTo>
                  <a:pt x="213" y="130"/>
                </a:lnTo>
                <a:lnTo>
                  <a:pt x="213" y="136"/>
                </a:lnTo>
                <a:lnTo>
                  <a:pt x="213" y="136"/>
                </a:lnTo>
                <a:lnTo>
                  <a:pt x="213" y="142"/>
                </a:lnTo>
                <a:lnTo>
                  <a:pt x="213" y="142"/>
                </a:lnTo>
                <a:lnTo>
                  <a:pt x="213" y="142"/>
                </a:lnTo>
                <a:lnTo>
                  <a:pt x="213" y="142"/>
                </a:lnTo>
                <a:lnTo>
                  <a:pt x="213" y="148"/>
                </a:lnTo>
                <a:lnTo>
                  <a:pt x="219" y="148"/>
                </a:lnTo>
                <a:lnTo>
                  <a:pt x="219" y="148"/>
                </a:lnTo>
                <a:lnTo>
                  <a:pt x="219" y="148"/>
                </a:lnTo>
                <a:lnTo>
                  <a:pt x="219" y="154"/>
                </a:lnTo>
                <a:lnTo>
                  <a:pt x="219" y="154"/>
                </a:lnTo>
                <a:lnTo>
                  <a:pt x="219" y="154"/>
                </a:lnTo>
                <a:lnTo>
                  <a:pt x="219" y="154"/>
                </a:lnTo>
                <a:lnTo>
                  <a:pt x="225" y="154"/>
                </a:lnTo>
                <a:lnTo>
                  <a:pt x="225" y="154"/>
                </a:lnTo>
                <a:lnTo>
                  <a:pt x="225" y="148"/>
                </a:lnTo>
                <a:lnTo>
                  <a:pt x="225" y="148"/>
                </a:lnTo>
                <a:lnTo>
                  <a:pt x="225" y="148"/>
                </a:lnTo>
                <a:lnTo>
                  <a:pt x="231" y="154"/>
                </a:lnTo>
                <a:lnTo>
                  <a:pt x="231" y="154"/>
                </a:lnTo>
                <a:lnTo>
                  <a:pt x="231" y="160"/>
                </a:lnTo>
                <a:lnTo>
                  <a:pt x="231" y="160"/>
                </a:lnTo>
                <a:lnTo>
                  <a:pt x="231" y="160"/>
                </a:lnTo>
                <a:lnTo>
                  <a:pt x="231" y="160"/>
                </a:lnTo>
                <a:lnTo>
                  <a:pt x="231" y="160"/>
                </a:lnTo>
                <a:lnTo>
                  <a:pt x="231" y="160"/>
                </a:lnTo>
                <a:lnTo>
                  <a:pt x="231" y="160"/>
                </a:lnTo>
                <a:lnTo>
                  <a:pt x="231" y="160"/>
                </a:lnTo>
                <a:lnTo>
                  <a:pt x="231" y="160"/>
                </a:lnTo>
                <a:lnTo>
                  <a:pt x="231" y="160"/>
                </a:lnTo>
                <a:lnTo>
                  <a:pt x="231" y="160"/>
                </a:lnTo>
                <a:lnTo>
                  <a:pt x="231" y="160"/>
                </a:lnTo>
                <a:lnTo>
                  <a:pt x="231" y="160"/>
                </a:lnTo>
                <a:lnTo>
                  <a:pt x="237" y="160"/>
                </a:lnTo>
                <a:lnTo>
                  <a:pt x="237" y="160"/>
                </a:lnTo>
                <a:lnTo>
                  <a:pt x="237" y="160"/>
                </a:lnTo>
                <a:lnTo>
                  <a:pt x="237" y="160"/>
                </a:lnTo>
                <a:lnTo>
                  <a:pt x="237" y="160"/>
                </a:lnTo>
                <a:lnTo>
                  <a:pt x="237" y="160"/>
                </a:lnTo>
                <a:lnTo>
                  <a:pt x="237" y="160"/>
                </a:lnTo>
                <a:lnTo>
                  <a:pt x="237" y="160"/>
                </a:lnTo>
                <a:lnTo>
                  <a:pt x="237" y="154"/>
                </a:lnTo>
                <a:lnTo>
                  <a:pt x="237" y="154"/>
                </a:lnTo>
                <a:lnTo>
                  <a:pt x="237" y="154"/>
                </a:lnTo>
                <a:lnTo>
                  <a:pt x="237" y="154"/>
                </a:lnTo>
                <a:lnTo>
                  <a:pt x="237" y="154"/>
                </a:lnTo>
                <a:lnTo>
                  <a:pt x="237" y="154"/>
                </a:lnTo>
                <a:lnTo>
                  <a:pt x="237" y="154"/>
                </a:lnTo>
                <a:lnTo>
                  <a:pt x="237" y="148"/>
                </a:lnTo>
                <a:lnTo>
                  <a:pt x="237" y="148"/>
                </a:lnTo>
                <a:lnTo>
                  <a:pt x="237" y="148"/>
                </a:lnTo>
                <a:lnTo>
                  <a:pt x="225" y="142"/>
                </a:lnTo>
                <a:lnTo>
                  <a:pt x="225" y="136"/>
                </a:lnTo>
                <a:lnTo>
                  <a:pt x="225" y="136"/>
                </a:lnTo>
                <a:lnTo>
                  <a:pt x="225" y="136"/>
                </a:lnTo>
                <a:lnTo>
                  <a:pt x="219" y="136"/>
                </a:lnTo>
                <a:lnTo>
                  <a:pt x="219" y="136"/>
                </a:lnTo>
                <a:lnTo>
                  <a:pt x="219" y="136"/>
                </a:lnTo>
                <a:lnTo>
                  <a:pt x="219" y="136"/>
                </a:lnTo>
                <a:lnTo>
                  <a:pt x="225" y="142"/>
                </a:lnTo>
                <a:lnTo>
                  <a:pt x="219" y="142"/>
                </a:lnTo>
                <a:lnTo>
                  <a:pt x="219" y="148"/>
                </a:lnTo>
                <a:lnTo>
                  <a:pt x="219" y="148"/>
                </a:lnTo>
                <a:lnTo>
                  <a:pt x="219" y="148"/>
                </a:lnTo>
                <a:lnTo>
                  <a:pt x="219" y="148"/>
                </a:lnTo>
                <a:lnTo>
                  <a:pt x="219" y="136"/>
                </a:lnTo>
                <a:lnTo>
                  <a:pt x="219" y="130"/>
                </a:lnTo>
                <a:lnTo>
                  <a:pt x="219" y="125"/>
                </a:lnTo>
                <a:lnTo>
                  <a:pt x="213" y="119"/>
                </a:lnTo>
                <a:lnTo>
                  <a:pt x="213" y="119"/>
                </a:lnTo>
                <a:lnTo>
                  <a:pt x="213" y="119"/>
                </a:lnTo>
                <a:lnTo>
                  <a:pt x="213" y="119"/>
                </a:lnTo>
                <a:lnTo>
                  <a:pt x="207" y="113"/>
                </a:lnTo>
                <a:lnTo>
                  <a:pt x="207" y="113"/>
                </a:lnTo>
                <a:lnTo>
                  <a:pt x="201" y="113"/>
                </a:lnTo>
                <a:lnTo>
                  <a:pt x="201" y="113"/>
                </a:lnTo>
                <a:lnTo>
                  <a:pt x="201" y="113"/>
                </a:lnTo>
                <a:lnTo>
                  <a:pt x="207" y="113"/>
                </a:lnTo>
                <a:lnTo>
                  <a:pt x="207" y="113"/>
                </a:lnTo>
                <a:lnTo>
                  <a:pt x="207" y="107"/>
                </a:lnTo>
                <a:lnTo>
                  <a:pt x="207" y="107"/>
                </a:lnTo>
                <a:lnTo>
                  <a:pt x="207" y="107"/>
                </a:lnTo>
                <a:lnTo>
                  <a:pt x="213" y="107"/>
                </a:lnTo>
                <a:lnTo>
                  <a:pt x="213" y="107"/>
                </a:lnTo>
                <a:lnTo>
                  <a:pt x="213" y="107"/>
                </a:lnTo>
                <a:lnTo>
                  <a:pt x="213" y="101"/>
                </a:lnTo>
                <a:lnTo>
                  <a:pt x="213" y="101"/>
                </a:lnTo>
                <a:lnTo>
                  <a:pt x="213" y="101"/>
                </a:lnTo>
                <a:lnTo>
                  <a:pt x="213" y="101"/>
                </a:lnTo>
                <a:lnTo>
                  <a:pt x="219" y="107"/>
                </a:lnTo>
                <a:lnTo>
                  <a:pt x="219" y="107"/>
                </a:lnTo>
                <a:lnTo>
                  <a:pt x="219" y="107"/>
                </a:lnTo>
                <a:lnTo>
                  <a:pt x="219" y="107"/>
                </a:lnTo>
                <a:lnTo>
                  <a:pt x="219" y="107"/>
                </a:lnTo>
                <a:lnTo>
                  <a:pt x="219" y="107"/>
                </a:lnTo>
                <a:lnTo>
                  <a:pt x="219" y="107"/>
                </a:lnTo>
                <a:lnTo>
                  <a:pt x="219" y="101"/>
                </a:lnTo>
                <a:lnTo>
                  <a:pt x="213" y="95"/>
                </a:lnTo>
                <a:lnTo>
                  <a:pt x="213" y="95"/>
                </a:lnTo>
                <a:lnTo>
                  <a:pt x="213" y="89"/>
                </a:lnTo>
                <a:lnTo>
                  <a:pt x="213" y="89"/>
                </a:lnTo>
                <a:lnTo>
                  <a:pt x="213" y="89"/>
                </a:lnTo>
                <a:lnTo>
                  <a:pt x="213" y="89"/>
                </a:lnTo>
                <a:lnTo>
                  <a:pt x="213" y="89"/>
                </a:lnTo>
                <a:lnTo>
                  <a:pt x="213" y="89"/>
                </a:lnTo>
                <a:lnTo>
                  <a:pt x="213" y="89"/>
                </a:lnTo>
                <a:lnTo>
                  <a:pt x="213" y="89"/>
                </a:lnTo>
                <a:lnTo>
                  <a:pt x="213" y="89"/>
                </a:lnTo>
                <a:lnTo>
                  <a:pt x="213" y="89"/>
                </a:lnTo>
                <a:lnTo>
                  <a:pt x="213" y="89"/>
                </a:lnTo>
                <a:lnTo>
                  <a:pt x="213" y="89"/>
                </a:lnTo>
                <a:lnTo>
                  <a:pt x="213" y="89"/>
                </a:lnTo>
                <a:lnTo>
                  <a:pt x="207" y="89"/>
                </a:lnTo>
                <a:lnTo>
                  <a:pt x="207" y="89"/>
                </a:lnTo>
                <a:lnTo>
                  <a:pt x="207" y="95"/>
                </a:lnTo>
                <a:lnTo>
                  <a:pt x="201" y="101"/>
                </a:lnTo>
                <a:lnTo>
                  <a:pt x="201" y="113"/>
                </a:lnTo>
                <a:lnTo>
                  <a:pt x="195" y="113"/>
                </a:lnTo>
                <a:close/>
                <a:moveTo>
                  <a:pt x="201" y="59"/>
                </a:moveTo>
                <a:lnTo>
                  <a:pt x="201" y="59"/>
                </a:lnTo>
                <a:lnTo>
                  <a:pt x="201" y="59"/>
                </a:lnTo>
                <a:lnTo>
                  <a:pt x="201" y="59"/>
                </a:lnTo>
                <a:lnTo>
                  <a:pt x="201" y="65"/>
                </a:lnTo>
                <a:lnTo>
                  <a:pt x="201" y="65"/>
                </a:lnTo>
                <a:lnTo>
                  <a:pt x="201" y="65"/>
                </a:lnTo>
                <a:lnTo>
                  <a:pt x="201" y="65"/>
                </a:lnTo>
                <a:lnTo>
                  <a:pt x="207" y="65"/>
                </a:lnTo>
                <a:lnTo>
                  <a:pt x="207" y="65"/>
                </a:lnTo>
                <a:lnTo>
                  <a:pt x="207" y="65"/>
                </a:lnTo>
                <a:lnTo>
                  <a:pt x="207" y="65"/>
                </a:lnTo>
                <a:lnTo>
                  <a:pt x="207" y="65"/>
                </a:lnTo>
                <a:lnTo>
                  <a:pt x="207" y="65"/>
                </a:lnTo>
                <a:lnTo>
                  <a:pt x="207" y="59"/>
                </a:lnTo>
                <a:lnTo>
                  <a:pt x="201" y="59"/>
                </a:lnTo>
                <a:lnTo>
                  <a:pt x="201" y="59"/>
                </a:lnTo>
                <a:lnTo>
                  <a:pt x="201" y="59"/>
                </a:lnTo>
                <a:lnTo>
                  <a:pt x="201" y="59"/>
                </a:lnTo>
                <a:lnTo>
                  <a:pt x="201" y="59"/>
                </a:lnTo>
                <a:lnTo>
                  <a:pt x="201" y="59"/>
                </a:lnTo>
                <a:close/>
                <a:moveTo>
                  <a:pt x="184" y="83"/>
                </a:moveTo>
                <a:lnTo>
                  <a:pt x="190" y="83"/>
                </a:lnTo>
                <a:lnTo>
                  <a:pt x="190" y="83"/>
                </a:lnTo>
                <a:lnTo>
                  <a:pt x="195" y="83"/>
                </a:lnTo>
                <a:lnTo>
                  <a:pt x="195" y="77"/>
                </a:lnTo>
                <a:lnTo>
                  <a:pt x="195" y="77"/>
                </a:lnTo>
                <a:lnTo>
                  <a:pt x="190" y="77"/>
                </a:lnTo>
                <a:lnTo>
                  <a:pt x="190" y="77"/>
                </a:lnTo>
                <a:lnTo>
                  <a:pt x="190" y="77"/>
                </a:lnTo>
                <a:lnTo>
                  <a:pt x="190" y="77"/>
                </a:lnTo>
                <a:lnTo>
                  <a:pt x="190" y="77"/>
                </a:lnTo>
                <a:lnTo>
                  <a:pt x="190" y="77"/>
                </a:lnTo>
                <a:lnTo>
                  <a:pt x="190" y="77"/>
                </a:lnTo>
                <a:lnTo>
                  <a:pt x="190" y="77"/>
                </a:lnTo>
                <a:lnTo>
                  <a:pt x="190" y="71"/>
                </a:lnTo>
                <a:lnTo>
                  <a:pt x="190" y="65"/>
                </a:lnTo>
                <a:lnTo>
                  <a:pt x="184" y="65"/>
                </a:lnTo>
                <a:lnTo>
                  <a:pt x="184" y="65"/>
                </a:lnTo>
                <a:lnTo>
                  <a:pt x="184" y="65"/>
                </a:lnTo>
                <a:lnTo>
                  <a:pt x="184" y="65"/>
                </a:lnTo>
                <a:lnTo>
                  <a:pt x="184" y="65"/>
                </a:lnTo>
                <a:lnTo>
                  <a:pt x="184" y="65"/>
                </a:lnTo>
                <a:lnTo>
                  <a:pt x="184" y="71"/>
                </a:lnTo>
                <a:lnTo>
                  <a:pt x="184" y="71"/>
                </a:lnTo>
                <a:lnTo>
                  <a:pt x="184" y="71"/>
                </a:lnTo>
                <a:lnTo>
                  <a:pt x="184" y="71"/>
                </a:lnTo>
                <a:lnTo>
                  <a:pt x="178" y="71"/>
                </a:lnTo>
                <a:lnTo>
                  <a:pt x="178" y="77"/>
                </a:lnTo>
                <a:lnTo>
                  <a:pt x="178" y="77"/>
                </a:lnTo>
                <a:lnTo>
                  <a:pt x="184" y="83"/>
                </a:lnTo>
                <a:lnTo>
                  <a:pt x="184" y="83"/>
                </a:lnTo>
                <a:lnTo>
                  <a:pt x="184" y="83"/>
                </a:lnTo>
                <a:lnTo>
                  <a:pt x="184" y="83"/>
                </a:lnTo>
                <a:lnTo>
                  <a:pt x="184" y="83"/>
                </a:lnTo>
                <a:lnTo>
                  <a:pt x="184" y="83"/>
                </a:lnTo>
                <a:lnTo>
                  <a:pt x="184" y="83"/>
                </a:lnTo>
                <a:close/>
                <a:moveTo>
                  <a:pt x="154" y="59"/>
                </a:moveTo>
                <a:lnTo>
                  <a:pt x="154" y="59"/>
                </a:lnTo>
                <a:lnTo>
                  <a:pt x="160" y="65"/>
                </a:lnTo>
                <a:lnTo>
                  <a:pt x="160" y="71"/>
                </a:lnTo>
                <a:lnTo>
                  <a:pt x="160" y="71"/>
                </a:lnTo>
                <a:lnTo>
                  <a:pt x="160" y="71"/>
                </a:lnTo>
                <a:lnTo>
                  <a:pt x="160" y="77"/>
                </a:lnTo>
                <a:lnTo>
                  <a:pt x="160" y="77"/>
                </a:lnTo>
                <a:lnTo>
                  <a:pt x="166" y="77"/>
                </a:lnTo>
                <a:lnTo>
                  <a:pt x="166" y="77"/>
                </a:lnTo>
                <a:lnTo>
                  <a:pt x="166" y="77"/>
                </a:lnTo>
                <a:lnTo>
                  <a:pt x="166" y="77"/>
                </a:lnTo>
                <a:lnTo>
                  <a:pt x="166" y="77"/>
                </a:lnTo>
                <a:lnTo>
                  <a:pt x="166" y="77"/>
                </a:lnTo>
                <a:lnTo>
                  <a:pt x="166" y="77"/>
                </a:lnTo>
                <a:lnTo>
                  <a:pt x="172" y="77"/>
                </a:lnTo>
                <a:lnTo>
                  <a:pt x="172" y="77"/>
                </a:lnTo>
                <a:lnTo>
                  <a:pt x="172" y="77"/>
                </a:lnTo>
                <a:lnTo>
                  <a:pt x="172" y="77"/>
                </a:lnTo>
                <a:lnTo>
                  <a:pt x="172" y="83"/>
                </a:lnTo>
                <a:lnTo>
                  <a:pt x="172" y="83"/>
                </a:lnTo>
                <a:lnTo>
                  <a:pt x="172" y="77"/>
                </a:lnTo>
                <a:lnTo>
                  <a:pt x="178" y="77"/>
                </a:lnTo>
                <a:lnTo>
                  <a:pt x="178" y="83"/>
                </a:lnTo>
                <a:lnTo>
                  <a:pt x="178" y="77"/>
                </a:lnTo>
                <a:lnTo>
                  <a:pt x="178" y="77"/>
                </a:lnTo>
                <a:lnTo>
                  <a:pt x="178" y="77"/>
                </a:lnTo>
                <a:lnTo>
                  <a:pt x="172" y="77"/>
                </a:lnTo>
                <a:lnTo>
                  <a:pt x="172" y="77"/>
                </a:lnTo>
                <a:lnTo>
                  <a:pt x="172" y="77"/>
                </a:lnTo>
                <a:lnTo>
                  <a:pt x="172" y="77"/>
                </a:lnTo>
                <a:lnTo>
                  <a:pt x="172" y="71"/>
                </a:lnTo>
                <a:lnTo>
                  <a:pt x="172" y="71"/>
                </a:lnTo>
                <a:lnTo>
                  <a:pt x="172" y="71"/>
                </a:lnTo>
                <a:lnTo>
                  <a:pt x="172" y="71"/>
                </a:lnTo>
                <a:lnTo>
                  <a:pt x="172" y="71"/>
                </a:lnTo>
                <a:lnTo>
                  <a:pt x="172" y="71"/>
                </a:lnTo>
                <a:lnTo>
                  <a:pt x="172" y="71"/>
                </a:lnTo>
                <a:lnTo>
                  <a:pt x="178" y="71"/>
                </a:lnTo>
                <a:lnTo>
                  <a:pt x="178" y="71"/>
                </a:lnTo>
                <a:lnTo>
                  <a:pt x="178" y="71"/>
                </a:lnTo>
                <a:lnTo>
                  <a:pt x="178" y="65"/>
                </a:lnTo>
                <a:lnTo>
                  <a:pt x="172" y="65"/>
                </a:lnTo>
                <a:lnTo>
                  <a:pt x="172" y="65"/>
                </a:lnTo>
                <a:lnTo>
                  <a:pt x="172" y="65"/>
                </a:lnTo>
                <a:lnTo>
                  <a:pt x="172" y="65"/>
                </a:lnTo>
                <a:lnTo>
                  <a:pt x="166" y="59"/>
                </a:lnTo>
                <a:lnTo>
                  <a:pt x="166" y="59"/>
                </a:lnTo>
                <a:lnTo>
                  <a:pt x="166" y="59"/>
                </a:lnTo>
                <a:lnTo>
                  <a:pt x="166" y="59"/>
                </a:lnTo>
                <a:lnTo>
                  <a:pt x="166" y="59"/>
                </a:lnTo>
                <a:lnTo>
                  <a:pt x="166" y="59"/>
                </a:lnTo>
                <a:lnTo>
                  <a:pt x="160" y="53"/>
                </a:lnTo>
                <a:lnTo>
                  <a:pt x="160" y="53"/>
                </a:lnTo>
                <a:lnTo>
                  <a:pt x="160" y="53"/>
                </a:lnTo>
                <a:lnTo>
                  <a:pt x="154" y="59"/>
                </a:lnTo>
                <a:lnTo>
                  <a:pt x="154" y="59"/>
                </a:lnTo>
                <a:lnTo>
                  <a:pt x="154" y="59"/>
                </a:lnTo>
                <a:close/>
                <a:moveTo>
                  <a:pt x="166" y="0"/>
                </a:moveTo>
                <a:lnTo>
                  <a:pt x="172" y="0"/>
                </a:lnTo>
                <a:lnTo>
                  <a:pt x="172" y="0"/>
                </a:lnTo>
                <a:lnTo>
                  <a:pt x="172" y="0"/>
                </a:lnTo>
                <a:lnTo>
                  <a:pt x="172" y="0"/>
                </a:lnTo>
                <a:lnTo>
                  <a:pt x="166" y="0"/>
                </a:lnTo>
                <a:lnTo>
                  <a:pt x="166" y="0"/>
                </a:lnTo>
                <a:lnTo>
                  <a:pt x="166" y="0"/>
                </a:lnTo>
                <a:lnTo>
                  <a:pt x="166" y="0"/>
                </a:lnTo>
                <a:close/>
                <a:moveTo>
                  <a:pt x="172" y="59"/>
                </a:moveTo>
                <a:lnTo>
                  <a:pt x="172" y="59"/>
                </a:lnTo>
                <a:lnTo>
                  <a:pt x="172" y="59"/>
                </a:lnTo>
                <a:lnTo>
                  <a:pt x="172" y="59"/>
                </a:lnTo>
                <a:lnTo>
                  <a:pt x="172" y="59"/>
                </a:lnTo>
                <a:lnTo>
                  <a:pt x="178" y="53"/>
                </a:lnTo>
                <a:lnTo>
                  <a:pt x="178" y="53"/>
                </a:lnTo>
                <a:lnTo>
                  <a:pt x="178" y="53"/>
                </a:lnTo>
                <a:lnTo>
                  <a:pt x="178" y="53"/>
                </a:lnTo>
                <a:lnTo>
                  <a:pt x="178" y="53"/>
                </a:lnTo>
                <a:lnTo>
                  <a:pt x="178" y="53"/>
                </a:lnTo>
                <a:lnTo>
                  <a:pt x="178" y="53"/>
                </a:lnTo>
                <a:lnTo>
                  <a:pt x="178" y="53"/>
                </a:lnTo>
                <a:lnTo>
                  <a:pt x="178" y="53"/>
                </a:lnTo>
                <a:lnTo>
                  <a:pt x="178" y="59"/>
                </a:lnTo>
                <a:lnTo>
                  <a:pt x="178" y="59"/>
                </a:lnTo>
                <a:lnTo>
                  <a:pt x="184" y="59"/>
                </a:lnTo>
                <a:lnTo>
                  <a:pt x="184" y="59"/>
                </a:lnTo>
                <a:lnTo>
                  <a:pt x="184" y="59"/>
                </a:lnTo>
                <a:lnTo>
                  <a:pt x="184" y="59"/>
                </a:lnTo>
                <a:lnTo>
                  <a:pt x="184" y="59"/>
                </a:lnTo>
                <a:lnTo>
                  <a:pt x="184" y="59"/>
                </a:lnTo>
                <a:lnTo>
                  <a:pt x="190" y="59"/>
                </a:lnTo>
                <a:lnTo>
                  <a:pt x="184" y="47"/>
                </a:lnTo>
                <a:lnTo>
                  <a:pt x="184" y="47"/>
                </a:lnTo>
                <a:lnTo>
                  <a:pt x="184" y="47"/>
                </a:lnTo>
                <a:lnTo>
                  <a:pt x="184" y="47"/>
                </a:lnTo>
                <a:lnTo>
                  <a:pt x="184" y="47"/>
                </a:lnTo>
                <a:lnTo>
                  <a:pt x="184" y="47"/>
                </a:lnTo>
                <a:lnTo>
                  <a:pt x="184" y="42"/>
                </a:lnTo>
                <a:lnTo>
                  <a:pt x="184" y="42"/>
                </a:lnTo>
                <a:lnTo>
                  <a:pt x="184" y="42"/>
                </a:lnTo>
                <a:lnTo>
                  <a:pt x="184" y="42"/>
                </a:lnTo>
                <a:lnTo>
                  <a:pt x="184" y="47"/>
                </a:lnTo>
                <a:lnTo>
                  <a:pt x="184" y="47"/>
                </a:lnTo>
                <a:lnTo>
                  <a:pt x="184" y="47"/>
                </a:lnTo>
                <a:lnTo>
                  <a:pt x="184" y="47"/>
                </a:lnTo>
                <a:lnTo>
                  <a:pt x="190" y="53"/>
                </a:lnTo>
                <a:lnTo>
                  <a:pt x="190" y="53"/>
                </a:lnTo>
                <a:lnTo>
                  <a:pt x="190" y="53"/>
                </a:lnTo>
                <a:lnTo>
                  <a:pt x="190" y="59"/>
                </a:lnTo>
                <a:lnTo>
                  <a:pt x="195" y="53"/>
                </a:lnTo>
                <a:lnTo>
                  <a:pt x="195" y="53"/>
                </a:lnTo>
                <a:lnTo>
                  <a:pt x="195" y="53"/>
                </a:lnTo>
                <a:lnTo>
                  <a:pt x="195" y="53"/>
                </a:lnTo>
                <a:lnTo>
                  <a:pt x="195" y="53"/>
                </a:lnTo>
                <a:lnTo>
                  <a:pt x="195" y="53"/>
                </a:lnTo>
                <a:lnTo>
                  <a:pt x="195" y="53"/>
                </a:lnTo>
                <a:lnTo>
                  <a:pt x="195" y="53"/>
                </a:lnTo>
                <a:lnTo>
                  <a:pt x="195" y="53"/>
                </a:lnTo>
                <a:lnTo>
                  <a:pt x="195" y="47"/>
                </a:lnTo>
                <a:lnTo>
                  <a:pt x="201" y="47"/>
                </a:lnTo>
                <a:lnTo>
                  <a:pt x="201" y="47"/>
                </a:lnTo>
                <a:lnTo>
                  <a:pt x="195" y="47"/>
                </a:lnTo>
                <a:lnTo>
                  <a:pt x="190" y="42"/>
                </a:lnTo>
                <a:lnTo>
                  <a:pt x="184" y="42"/>
                </a:lnTo>
                <a:lnTo>
                  <a:pt x="184" y="42"/>
                </a:lnTo>
                <a:lnTo>
                  <a:pt x="184" y="42"/>
                </a:lnTo>
                <a:lnTo>
                  <a:pt x="178" y="47"/>
                </a:lnTo>
                <a:lnTo>
                  <a:pt x="178" y="47"/>
                </a:lnTo>
                <a:lnTo>
                  <a:pt x="178" y="47"/>
                </a:lnTo>
                <a:lnTo>
                  <a:pt x="172" y="47"/>
                </a:lnTo>
                <a:lnTo>
                  <a:pt x="172" y="47"/>
                </a:lnTo>
                <a:lnTo>
                  <a:pt x="172" y="53"/>
                </a:lnTo>
                <a:lnTo>
                  <a:pt x="172" y="53"/>
                </a:lnTo>
                <a:lnTo>
                  <a:pt x="172" y="53"/>
                </a:lnTo>
                <a:lnTo>
                  <a:pt x="172" y="53"/>
                </a:lnTo>
                <a:lnTo>
                  <a:pt x="172" y="59"/>
                </a:lnTo>
                <a:close/>
                <a:moveTo>
                  <a:pt x="207" y="42"/>
                </a:moveTo>
                <a:lnTo>
                  <a:pt x="207" y="47"/>
                </a:lnTo>
                <a:lnTo>
                  <a:pt x="207" y="47"/>
                </a:lnTo>
                <a:lnTo>
                  <a:pt x="207" y="47"/>
                </a:lnTo>
                <a:lnTo>
                  <a:pt x="207" y="47"/>
                </a:lnTo>
                <a:lnTo>
                  <a:pt x="207" y="47"/>
                </a:lnTo>
                <a:lnTo>
                  <a:pt x="207" y="47"/>
                </a:lnTo>
                <a:lnTo>
                  <a:pt x="213" y="53"/>
                </a:lnTo>
                <a:lnTo>
                  <a:pt x="213" y="53"/>
                </a:lnTo>
                <a:lnTo>
                  <a:pt x="213" y="53"/>
                </a:lnTo>
                <a:lnTo>
                  <a:pt x="213" y="47"/>
                </a:lnTo>
                <a:lnTo>
                  <a:pt x="213" y="47"/>
                </a:lnTo>
                <a:lnTo>
                  <a:pt x="213" y="47"/>
                </a:lnTo>
                <a:lnTo>
                  <a:pt x="213" y="47"/>
                </a:lnTo>
                <a:lnTo>
                  <a:pt x="213" y="47"/>
                </a:lnTo>
                <a:lnTo>
                  <a:pt x="213" y="47"/>
                </a:lnTo>
                <a:lnTo>
                  <a:pt x="207" y="47"/>
                </a:lnTo>
                <a:lnTo>
                  <a:pt x="207" y="42"/>
                </a:lnTo>
                <a:lnTo>
                  <a:pt x="207" y="42"/>
                </a:lnTo>
                <a:lnTo>
                  <a:pt x="207" y="42"/>
                </a:lnTo>
                <a:lnTo>
                  <a:pt x="207" y="42"/>
                </a:lnTo>
                <a:lnTo>
                  <a:pt x="207" y="42"/>
                </a:lnTo>
                <a:lnTo>
                  <a:pt x="201" y="36"/>
                </a:lnTo>
                <a:lnTo>
                  <a:pt x="201" y="36"/>
                </a:lnTo>
                <a:lnTo>
                  <a:pt x="201" y="36"/>
                </a:lnTo>
                <a:lnTo>
                  <a:pt x="201" y="42"/>
                </a:lnTo>
                <a:lnTo>
                  <a:pt x="201" y="42"/>
                </a:lnTo>
                <a:lnTo>
                  <a:pt x="201" y="42"/>
                </a:lnTo>
                <a:lnTo>
                  <a:pt x="207" y="42"/>
                </a:lnTo>
                <a:close/>
                <a:moveTo>
                  <a:pt x="4883" y="1584"/>
                </a:moveTo>
                <a:lnTo>
                  <a:pt x="4883" y="1584"/>
                </a:lnTo>
                <a:lnTo>
                  <a:pt x="4883" y="1590"/>
                </a:lnTo>
                <a:lnTo>
                  <a:pt x="4883" y="1595"/>
                </a:lnTo>
                <a:lnTo>
                  <a:pt x="4883" y="1595"/>
                </a:lnTo>
                <a:lnTo>
                  <a:pt x="4883" y="1590"/>
                </a:lnTo>
                <a:lnTo>
                  <a:pt x="4889" y="1584"/>
                </a:lnTo>
                <a:lnTo>
                  <a:pt x="4889" y="1584"/>
                </a:lnTo>
                <a:lnTo>
                  <a:pt x="4889" y="1584"/>
                </a:lnTo>
                <a:lnTo>
                  <a:pt x="4889" y="1584"/>
                </a:lnTo>
                <a:lnTo>
                  <a:pt x="4889" y="1584"/>
                </a:lnTo>
                <a:lnTo>
                  <a:pt x="4883" y="1584"/>
                </a:lnTo>
                <a:close/>
                <a:moveTo>
                  <a:pt x="4865" y="1625"/>
                </a:moveTo>
                <a:lnTo>
                  <a:pt x="4865" y="1625"/>
                </a:lnTo>
                <a:lnTo>
                  <a:pt x="4865" y="1625"/>
                </a:lnTo>
                <a:lnTo>
                  <a:pt x="4859" y="1625"/>
                </a:lnTo>
                <a:lnTo>
                  <a:pt x="4859" y="1625"/>
                </a:lnTo>
                <a:lnTo>
                  <a:pt x="4859" y="1625"/>
                </a:lnTo>
                <a:lnTo>
                  <a:pt x="4859" y="1625"/>
                </a:lnTo>
                <a:lnTo>
                  <a:pt x="4859" y="1625"/>
                </a:lnTo>
                <a:lnTo>
                  <a:pt x="4859" y="1625"/>
                </a:lnTo>
                <a:lnTo>
                  <a:pt x="4859" y="1625"/>
                </a:lnTo>
                <a:lnTo>
                  <a:pt x="4865" y="1625"/>
                </a:lnTo>
                <a:lnTo>
                  <a:pt x="4865" y="1625"/>
                </a:lnTo>
                <a:lnTo>
                  <a:pt x="4865" y="1625"/>
                </a:lnTo>
                <a:lnTo>
                  <a:pt x="4865" y="1625"/>
                </a:lnTo>
                <a:lnTo>
                  <a:pt x="4865" y="1625"/>
                </a:lnTo>
                <a:lnTo>
                  <a:pt x="4871" y="1619"/>
                </a:lnTo>
                <a:lnTo>
                  <a:pt x="4871" y="1619"/>
                </a:lnTo>
                <a:lnTo>
                  <a:pt x="4871" y="1619"/>
                </a:lnTo>
                <a:lnTo>
                  <a:pt x="4871" y="1619"/>
                </a:lnTo>
                <a:lnTo>
                  <a:pt x="4871" y="1613"/>
                </a:lnTo>
                <a:lnTo>
                  <a:pt x="4871" y="1613"/>
                </a:lnTo>
                <a:lnTo>
                  <a:pt x="4871" y="1613"/>
                </a:lnTo>
                <a:lnTo>
                  <a:pt x="4871" y="1613"/>
                </a:lnTo>
                <a:lnTo>
                  <a:pt x="4871" y="1613"/>
                </a:lnTo>
                <a:lnTo>
                  <a:pt x="4871" y="1619"/>
                </a:lnTo>
                <a:lnTo>
                  <a:pt x="4871" y="1619"/>
                </a:lnTo>
                <a:lnTo>
                  <a:pt x="4871" y="1619"/>
                </a:lnTo>
                <a:lnTo>
                  <a:pt x="4865" y="1619"/>
                </a:lnTo>
                <a:lnTo>
                  <a:pt x="4865" y="1613"/>
                </a:lnTo>
                <a:lnTo>
                  <a:pt x="4865" y="1613"/>
                </a:lnTo>
                <a:lnTo>
                  <a:pt x="4865" y="1613"/>
                </a:lnTo>
                <a:lnTo>
                  <a:pt x="4865" y="1613"/>
                </a:lnTo>
                <a:lnTo>
                  <a:pt x="4865" y="1613"/>
                </a:lnTo>
                <a:lnTo>
                  <a:pt x="4865" y="1607"/>
                </a:lnTo>
                <a:lnTo>
                  <a:pt x="4865" y="1607"/>
                </a:lnTo>
                <a:lnTo>
                  <a:pt x="4865" y="1607"/>
                </a:lnTo>
                <a:lnTo>
                  <a:pt x="4865" y="1607"/>
                </a:lnTo>
                <a:lnTo>
                  <a:pt x="4865" y="1607"/>
                </a:lnTo>
                <a:lnTo>
                  <a:pt x="4865" y="1607"/>
                </a:lnTo>
                <a:lnTo>
                  <a:pt x="4865" y="1607"/>
                </a:lnTo>
                <a:lnTo>
                  <a:pt x="4865" y="1607"/>
                </a:lnTo>
                <a:lnTo>
                  <a:pt x="4865" y="1607"/>
                </a:lnTo>
                <a:lnTo>
                  <a:pt x="4865" y="1607"/>
                </a:lnTo>
                <a:lnTo>
                  <a:pt x="4865" y="1613"/>
                </a:lnTo>
                <a:lnTo>
                  <a:pt x="4865" y="1619"/>
                </a:lnTo>
                <a:lnTo>
                  <a:pt x="4865" y="1619"/>
                </a:lnTo>
                <a:lnTo>
                  <a:pt x="4865" y="1619"/>
                </a:lnTo>
                <a:lnTo>
                  <a:pt x="4865" y="1619"/>
                </a:lnTo>
                <a:lnTo>
                  <a:pt x="4865" y="1625"/>
                </a:lnTo>
                <a:lnTo>
                  <a:pt x="4865" y="1625"/>
                </a:lnTo>
                <a:lnTo>
                  <a:pt x="4865" y="1625"/>
                </a:lnTo>
                <a:lnTo>
                  <a:pt x="4865" y="1625"/>
                </a:lnTo>
                <a:close/>
                <a:moveTo>
                  <a:pt x="4889" y="1578"/>
                </a:moveTo>
                <a:lnTo>
                  <a:pt x="4889" y="1578"/>
                </a:lnTo>
                <a:lnTo>
                  <a:pt x="4895" y="1572"/>
                </a:lnTo>
                <a:lnTo>
                  <a:pt x="4895" y="1572"/>
                </a:lnTo>
                <a:lnTo>
                  <a:pt x="4889" y="1566"/>
                </a:lnTo>
                <a:lnTo>
                  <a:pt x="4889" y="1572"/>
                </a:lnTo>
                <a:lnTo>
                  <a:pt x="4889" y="1572"/>
                </a:lnTo>
                <a:lnTo>
                  <a:pt x="4889" y="1572"/>
                </a:lnTo>
                <a:lnTo>
                  <a:pt x="4889" y="1572"/>
                </a:lnTo>
                <a:lnTo>
                  <a:pt x="4889" y="1572"/>
                </a:lnTo>
                <a:lnTo>
                  <a:pt x="4889" y="1578"/>
                </a:lnTo>
                <a:lnTo>
                  <a:pt x="4889" y="1578"/>
                </a:lnTo>
                <a:lnTo>
                  <a:pt x="4889" y="1578"/>
                </a:lnTo>
                <a:lnTo>
                  <a:pt x="4883" y="1578"/>
                </a:lnTo>
                <a:lnTo>
                  <a:pt x="4889" y="1584"/>
                </a:lnTo>
                <a:lnTo>
                  <a:pt x="4889" y="1578"/>
                </a:lnTo>
                <a:lnTo>
                  <a:pt x="4889" y="1578"/>
                </a:lnTo>
                <a:lnTo>
                  <a:pt x="4889" y="1578"/>
                </a:lnTo>
                <a:lnTo>
                  <a:pt x="4889" y="1578"/>
                </a:lnTo>
                <a:close/>
                <a:moveTo>
                  <a:pt x="4521" y="2117"/>
                </a:moveTo>
                <a:lnTo>
                  <a:pt x="4521" y="2123"/>
                </a:lnTo>
                <a:lnTo>
                  <a:pt x="4521" y="2123"/>
                </a:lnTo>
                <a:lnTo>
                  <a:pt x="4515" y="2123"/>
                </a:lnTo>
                <a:lnTo>
                  <a:pt x="4515" y="2123"/>
                </a:lnTo>
                <a:lnTo>
                  <a:pt x="4515" y="2129"/>
                </a:lnTo>
                <a:lnTo>
                  <a:pt x="4521" y="2129"/>
                </a:lnTo>
                <a:lnTo>
                  <a:pt x="4521" y="2123"/>
                </a:lnTo>
                <a:lnTo>
                  <a:pt x="4521" y="2123"/>
                </a:lnTo>
                <a:lnTo>
                  <a:pt x="4521" y="2117"/>
                </a:lnTo>
                <a:lnTo>
                  <a:pt x="4521" y="2117"/>
                </a:lnTo>
                <a:lnTo>
                  <a:pt x="4521" y="2117"/>
                </a:lnTo>
                <a:lnTo>
                  <a:pt x="4521" y="2117"/>
                </a:lnTo>
                <a:close/>
                <a:moveTo>
                  <a:pt x="5298" y="1103"/>
                </a:moveTo>
                <a:lnTo>
                  <a:pt x="5292" y="1103"/>
                </a:lnTo>
                <a:lnTo>
                  <a:pt x="5298" y="1103"/>
                </a:lnTo>
                <a:lnTo>
                  <a:pt x="5298" y="1097"/>
                </a:lnTo>
                <a:lnTo>
                  <a:pt x="5292" y="1097"/>
                </a:lnTo>
                <a:lnTo>
                  <a:pt x="5292" y="1097"/>
                </a:lnTo>
                <a:lnTo>
                  <a:pt x="5292" y="1097"/>
                </a:lnTo>
                <a:lnTo>
                  <a:pt x="5292" y="1097"/>
                </a:lnTo>
                <a:lnTo>
                  <a:pt x="5292" y="1097"/>
                </a:lnTo>
                <a:lnTo>
                  <a:pt x="5292" y="1097"/>
                </a:lnTo>
                <a:lnTo>
                  <a:pt x="5292" y="1103"/>
                </a:lnTo>
                <a:lnTo>
                  <a:pt x="5292" y="1103"/>
                </a:lnTo>
                <a:lnTo>
                  <a:pt x="5292" y="1103"/>
                </a:lnTo>
                <a:lnTo>
                  <a:pt x="5292" y="1103"/>
                </a:lnTo>
                <a:lnTo>
                  <a:pt x="5292" y="1103"/>
                </a:lnTo>
                <a:lnTo>
                  <a:pt x="5292" y="1103"/>
                </a:lnTo>
                <a:lnTo>
                  <a:pt x="5292" y="1109"/>
                </a:lnTo>
                <a:lnTo>
                  <a:pt x="5292" y="1109"/>
                </a:lnTo>
                <a:lnTo>
                  <a:pt x="5292" y="1109"/>
                </a:lnTo>
                <a:lnTo>
                  <a:pt x="5298" y="1109"/>
                </a:lnTo>
                <a:lnTo>
                  <a:pt x="5298" y="1103"/>
                </a:lnTo>
                <a:lnTo>
                  <a:pt x="5298" y="1103"/>
                </a:lnTo>
                <a:lnTo>
                  <a:pt x="5298" y="1103"/>
                </a:lnTo>
                <a:close/>
                <a:moveTo>
                  <a:pt x="5315" y="1056"/>
                </a:moveTo>
                <a:lnTo>
                  <a:pt x="5315" y="1050"/>
                </a:lnTo>
                <a:lnTo>
                  <a:pt x="5315" y="1050"/>
                </a:lnTo>
                <a:lnTo>
                  <a:pt x="5315" y="1050"/>
                </a:lnTo>
                <a:lnTo>
                  <a:pt x="5315" y="1050"/>
                </a:lnTo>
                <a:lnTo>
                  <a:pt x="5315" y="1050"/>
                </a:lnTo>
                <a:lnTo>
                  <a:pt x="5315" y="1050"/>
                </a:lnTo>
                <a:lnTo>
                  <a:pt x="5310" y="1056"/>
                </a:lnTo>
                <a:lnTo>
                  <a:pt x="5310" y="1056"/>
                </a:lnTo>
                <a:lnTo>
                  <a:pt x="5310" y="1056"/>
                </a:lnTo>
                <a:lnTo>
                  <a:pt x="5315" y="1062"/>
                </a:lnTo>
                <a:lnTo>
                  <a:pt x="5310" y="1062"/>
                </a:lnTo>
                <a:lnTo>
                  <a:pt x="5310" y="1062"/>
                </a:lnTo>
                <a:lnTo>
                  <a:pt x="5310" y="1062"/>
                </a:lnTo>
                <a:lnTo>
                  <a:pt x="5310" y="1062"/>
                </a:lnTo>
                <a:lnTo>
                  <a:pt x="5310" y="1062"/>
                </a:lnTo>
                <a:lnTo>
                  <a:pt x="5310" y="1062"/>
                </a:lnTo>
                <a:lnTo>
                  <a:pt x="5310" y="1062"/>
                </a:lnTo>
                <a:lnTo>
                  <a:pt x="5310" y="1062"/>
                </a:lnTo>
                <a:lnTo>
                  <a:pt x="5310" y="1062"/>
                </a:lnTo>
                <a:lnTo>
                  <a:pt x="5310" y="1062"/>
                </a:lnTo>
                <a:lnTo>
                  <a:pt x="5310" y="1062"/>
                </a:lnTo>
                <a:lnTo>
                  <a:pt x="5310" y="1068"/>
                </a:lnTo>
                <a:lnTo>
                  <a:pt x="5310" y="1068"/>
                </a:lnTo>
                <a:lnTo>
                  <a:pt x="5310" y="1068"/>
                </a:lnTo>
                <a:lnTo>
                  <a:pt x="5315" y="1068"/>
                </a:lnTo>
                <a:lnTo>
                  <a:pt x="5315" y="1062"/>
                </a:lnTo>
                <a:lnTo>
                  <a:pt x="5315" y="1062"/>
                </a:lnTo>
                <a:lnTo>
                  <a:pt x="5315" y="1062"/>
                </a:lnTo>
                <a:lnTo>
                  <a:pt x="5315" y="1062"/>
                </a:lnTo>
                <a:lnTo>
                  <a:pt x="5315" y="1062"/>
                </a:lnTo>
                <a:lnTo>
                  <a:pt x="5315" y="1056"/>
                </a:lnTo>
                <a:lnTo>
                  <a:pt x="5315" y="1056"/>
                </a:lnTo>
                <a:close/>
                <a:moveTo>
                  <a:pt x="5327" y="1044"/>
                </a:moveTo>
                <a:lnTo>
                  <a:pt x="5327" y="1044"/>
                </a:lnTo>
                <a:lnTo>
                  <a:pt x="5327" y="1044"/>
                </a:lnTo>
                <a:lnTo>
                  <a:pt x="5327" y="1044"/>
                </a:lnTo>
                <a:lnTo>
                  <a:pt x="5321" y="1044"/>
                </a:lnTo>
                <a:lnTo>
                  <a:pt x="5321" y="1044"/>
                </a:lnTo>
                <a:lnTo>
                  <a:pt x="5321" y="1050"/>
                </a:lnTo>
                <a:lnTo>
                  <a:pt x="5321" y="1050"/>
                </a:lnTo>
                <a:lnTo>
                  <a:pt x="5321" y="1050"/>
                </a:lnTo>
                <a:lnTo>
                  <a:pt x="5321" y="1050"/>
                </a:lnTo>
                <a:lnTo>
                  <a:pt x="5321" y="1050"/>
                </a:lnTo>
                <a:lnTo>
                  <a:pt x="5321" y="1050"/>
                </a:lnTo>
                <a:lnTo>
                  <a:pt x="5321" y="1050"/>
                </a:lnTo>
                <a:lnTo>
                  <a:pt x="5321" y="1050"/>
                </a:lnTo>
                <a:lnTo>
                  <a:pt x="5321" y="1056"/>
                </a:lnTo>
                <a:lnTo>
                  <a:pt x="5321" y="1056"/>
                </a:lnTo>
                <a:lnTo>
                  <a:pt x="5321" y="1056"/>
                </a:lnTo>
                <a:lnTo>
                  <a:pt x="5321" y="1056"/>
                </a:lnTo>
                <a:lnTo>
                  <a:pt x="5321" y="1056"/>
                </a:lnTo>
                <a:lnTo>
                  <a:pt x="5321" y="1056"/>
                </a:lnTo>
                <a:lnTo>
                  <a:pt x="5321" y="1062"/>
                </a:lnTo>
                <a:lnTo>
                  <a:pt x="5321" y="1062"/>
                </a:lnTo>
                <a:lnTo>
                  <a:pt x="5321" y="1062"/>
                </a:lnTo>
                <a:lnTo>
                  <a:pt x="5321" y="1062"/>
                </a:lnTo>
                <a:lnTo>
                  <a:pt x="5315" y="1062"/>
                </a:lnTo>
                <a:lnTo>
                  <a:pt x="5315" y="1062"/>
                </a:lnTo>
                <a:lnTo>
                  <a:pt x="5315" y="1068"/>
                </a:lnTo>
                <a:lnTo>
                  <a:pt x="5315" y="1068"/>
                </a:lnTo>
                <a:lnTo>
                  <a:pt x="5315" y="1068"/>
                </a:lnTo>
                <a:lnTo>
                  <a:pt x="5315" y="1068"/>
                </a:lnTo>
                <a:lnTo>
                  <a:pt x="5315" y="1068"/>
                </a:lnTo>
                <a:lnTo>
                  <a:pt x="5315" y="1068"/>
                </a:lnTo>
                <a:lnTo>
                  <a:pt x="5321" y="1068"/>
                </a:lnTo>
                <a:lnTo>
                  <a:pt x="5321" y="1068"/>
                </a:lnTo>
                <a:lnTo>
                  <a:pt x="5321" y="1068"/>
                </a:lnTo>
                <a:lnTo>
                  <a:pt x="5321" y="1062"/>
                </a:lnTo>
                <a:lnTo>
                  <a:pt x="5327" y="1062"/>
                </a:lnTo>
                <a:lnTo>
                  <a:pt x="5327" y="1062"/>
                </a:lnTo>
                <a:lnTo>
                  <a:pt x="5327" y="1062"/>
                </a:lnTo>
                <a:lnTo>
                  <a:pt x="5327" y="1062"/>
                </a:lnTo>
                <a:lnTo>
                  <a:pt x="5327" y="1062"/>
                </a:lnTo>
                <a:lnTo>
                  <a:pt x="5327" y="1062"/>
                </a:lnTo>
                <a:lnTo>
                  <a:pt x="5327" y="1056"/>
                </a:lnTo>
                <a:lnTo>
                  <a:pt x="5327" y="1056"/>
                </a:lnTo>
                <a:lnTo>
                  <a:pt x="5327" y="1056"/>
                </a:lnTo>
                <a:lnTo>
                  <a:pt x="5327" y="1050"/>
                </a:lnTo>
                <a:lnTo>
                  <a:pt x="5327" y="1044"/>
                </a:lnTo>
                <a:lnTo>
                  <a:pt x="5327" y="1038"/>
                </a:lnTo>
                <a:lnTo>
                  <a:pt x="5327" y="1038"/>
                </a:lnTo>
                <a:lnTo>
                  <a:pt x="5327" y="1044"/>
                </a:lnTo>
                <a:close/>
                <a:moveTo>
                  <a:pt x="5315" y="1050"/>
                </a:moveTo>
                <a:lnTo>
                  <a:pt x="5315" y="1050"/>
                </a:lnTo>
                <a:lnTo>
                  <a:pt x="5315" y="1050"/>
                </a:lnTo>
                <a:lnTo>
                  <a:pt x="5321" y="1050"/>
                </a:lnTo>
                <a:lnTo>
                  <a:pt x="5321" y="1050"/>
                </a:lnTo>
                <a:lnTo>
                  <a:pt x="5321" y="1050"/>
                </a:lnTo>
                <a:lnTo>
                  <a:pt x="5321" y="1044"/>
                </a:lnTo>
                <a:lnTo>
                  <a:pt x="5321" y="1044"/>
                </a:lnTo>
                <a:lnTo>
                  <a:pt x="5321" y="1044"/>
                </a:lnTo>
                <a:lnTo>
                  <a:pt x="5315" y="1044"/>
                </a:lnTo>
                <a:lnTo>
                  <a:pt x="5315" y="1038"/>
                </a:lnTo>
                <a:lnTo>
                  <a:pt x="5315" y="1038"/>
                </a:lnTo>
                <a:lnTo>
                  <a:pt x="5315" y="1038"/>
                </a:lnTo>
                <a:lnTo>
                  <a:pt x="5315" y="1038"/>
                </a:lnTo>
                <a:lnTo>
                  <a:pt x="5315" y="1038"/>
                </a:lnTo>
                <a:lnTo>
                  <a:pt x="5315" y="1038"/>
                </a:lnTo>
                <a:lnTo>
                  <a:pt x="5315" y="1044"/>
                </a:lnTo>
                <a:lnTo>
                  <a:pt x="5315" y="1044"/>
                </a:lnTo>
                <a:lnTo>
                  <a:pt x="5315" y="1044"/>
                </a:lnTo>
                <a:lnTo>
                  <a:pt x="5315" y="1044"/>
                </a:lnTo>
                <a:lnTo>
                  <a:pt x="5315" y="1044"/>
                </a:lnTo>
                <a:lnTo>
                  <a:pt x="5315" y="1044"/>
                </a:lnTo>
                <a:lnTo>
                  <a:pt x="5315" y="1050"/>
                </a:lnTo>
                <a:lnTo>
                  <a:pt x="5315" y="1050"/>
                </a:lnTo>
                <a:close/>
                <a:moveTo>
                  <a:pt x="5019" y="1329"/>
                </a:moveTo>
                <a:lnTo>
                  <a:pt x="5019" y="1329"/>
                </a:lnTo>
                <a:lnTo>
                  <a:pt x="5013" y="1329"/>
                </a:lnTo>
                <a:lnTo>
                  <a:pt x="5019" y="1329"/>
                </a:lnTo>
                <a:lnTo>
                  <a:pt x="5013" y="1334"/>
                </a:lnTo>
                <a:lnTo>
                  <a:pt x="5013" y="1334"/>
                </a:lnTo>
                <a:lnTo>
                  <a:pt x="5013" y="1334"/>
                </a:lnTo>
                <a:lnTo>
                  <a:pt x="5013" y="1334"/>
                </a:lnTo>
                <a:lnTo>
                  <a:pt x="5013" y="1334"/>
                </a:lnTo>
                <a:lnTo>
                  <a:pt x="5013" y="1334"/>
                </a:lnTo>
                <a:lnTo>
                  <a:pt x="5013" y="1334"/>
                </a:lnTo>
                <a:lnTo>
                  <a:pt x="5007" y="1334"/>
                </a:lnTo>
                <a:lnTo>
                  <a:pt x="5007" y="1334"/>
                </a:lnTo>
                <a:lnTo>
                  <a:pt x="5007" y="1334"/>
                </a:lnTo>
                <a:lnTo>
                  <a:pt x="5013" y="1340"/>
                </a:lnTo>
                <a:lnTo>
                  <a:pt x="5019" y="1334"/>
                </a:lnTo>
                <a:lnTo>
                  <a:pt x="5019" y="1334"/>
                </a:lnTo>
                <a:lnTo>
                  <a:pt x="5019" y="1329"/>
                </a:lnTo>
                <a:lnTo>
                  <a:pt x="5019" y="1329"/>
                </a:lnTo>
                <a:lnTo>
                  <a:pt x="5019" y="1329"/>
                </a:lnTo>
                <a:lnTo>
                  <a:pt x="5019" y="1329"/>
                </a:lnTo>
                <a:lnTo>
                  <a:pt x="5019" y="1329"/>
                </a:lnTo>
                <a:lnTo>
                  <a:pt x="5025" y="1329"/>
                </a:lnTo>
                <a:lnTo>
                  <a:pt x="5019" y="1329"/>
                </a:lnTo>
                <a:lnTo>
                  <a:pt x="5019" y="1329"/>
                </a:lnTo>
                <a:close/>
                <a:moveTo>
                  <a:pt x="5043" y="1293"/>
                </a:moveTo>
                <a:lnTo>
                  <a:pt x="5043" y="1293"/>
                </a:lnTo>
                <a:lnTo>
                  <a:pt x="5037" y="1293"/>
                </a:lnTo>
                <a:lnTo>
                  <a:pt x="5037" y="1293"/>
                </a:lnTo>
                <a:lnTo>
                  <a:pt x="5037" y="1299"/>
                </a:lnTo>
                <a:lnTo>
                  <a:pt x="5037" y="1299"/>
                </a:lnTo>
                <a:lnTo>
                  <a:pt x="5031" y="1311"/>
                </a:lnTo>
                <a:lnTo>
                  <a:pt x="5031" y="1317"/>
                </a:lnTo>
                <a:lnTo>
                  <a:pt x="5031" y="1317"/>
                </a:lnTo>
                <a:lnTo>
                  <a:pt x="5025" y="1317"/>
                </a:lnTo>
                <a:lnTo>
                  <a:pt x="5025" y="1317"/>
                </a:lnTo>
                <a:lnTo>
                  <a:pt x="5025" y="1317"/>
                </a:lnTo>
                <a:lnTo>
                  <a:pt x="5025" y="1317"/>
                </a:lnTo>
                <a:lnTo>
                  <a:pt x="5025" y="1323"/>
                </a:lnTo>
                <a:lnTo>
                  <a:pt x="5025" y="1323"/>
                </a:lnTo>
                <a:lnTo>
                  <a:pt x="5025" y="1317"/>
                </a:lnTo>
                <a:lnTo>
                  <a:pt x="5031" y="1317"/>
                </a:lnTo>
                <a:lnTo>
                  <a:pt x="5037" y="1311"/>
                </a:lnTo>
                <a:lnTo>
                  <a:pt x="5037" y="1305"/>
                </a:lnTo>
                <a:lnTo>
                  <a:pt x="5037" y="1305"/>
                </a:lnTo>
                <a:lnTo>
                  <a:pt x="5037" y="1299"/>
                </a:lnTo>
                <a:lnTo>
                  <a:pt x="5037" y="1299"/>
                </a:lnTo>
                <a:lnTo>
                  <a:pt x="5043" y="1293"/>
                </a:lnTo>
                <a:lnTo>
                  <a:pt x="5043" y="1293"/>
                </a:lnTo>
                <a:lnTo>
                  <a:pt x="5043" y="1293"/>
                </a:lnTo>
                <a:lnTo>
                  <a:pt x="5043" y="1293"/>
                </a:lnTo>
                <a:lnTo>
                  <a:pt x="5043" y="1293"/>
                </a:lnTo>
                <a:close/>
                <a:moveTo>
                  <a:pt x="4883" y="1773"/>
                </a:moveTo>
                <a:lnTo>
                  <a:pt x="4883" y="1779"/>
                </a:lnTo>
                <a:lnTo>
                  <a:pt x="4889" y="1779"/>
                </a:lnTo>
                <a:lnTo>
                  <a:pt x="4889" y="1779"/>
                </a:lnTo>
                <a:lnTo>
                  <a:pt x="4889" y="1785"/>
                </a:lnTo>
                <a:lnTo>
                  <a:pt x="4889" y="1785"/>
                </a:lnTo>
                <a:lnTo>
                  <a:pt x="4889" y="1785"/>
                </a:lnTo>
                <a:lnTo>
                  <a:pt x="4889" y="1785"/>
                </a:lnTo>
                <a:lnTo>
                  <a:pt x="4889" y="1785"/>
                </a:lnTo>
                <a:lnTo>
                  <a:pt x="4889" y="1785"/>
                </a:lnTo>
                <a:lnTo>
                  <a:pt x="4889" y="1785"/>
                </a:lnTo>
                <a:lnTo>
                  <a:pt x="4889" y="1785"/>
                </a:lnTo>
                <a:lnTo>
                  <a:pt x="4889" y="1785"/>
                </a:lnTo>
                <a:lnTo>
                  <a:pt x="4889" y="1785"/>
                </a:lnTo>
                <a:lnTo>
                  <a:pt x="4895" y="1779"/>
                </a:lnTo>
                <a:lnTo>
                  <a:pt x="4889" y="1779"/>
                </a:lnTo>
                <a:lnTo>
                  <a:pt x="4889" y="1779"/>
                </a:lnTo>
                <a:lnTo>
                  <a:pt x="4889" y="1773"/>
                </a:lnTo>
                <a:lnTo>
                  <a:pt x="4889" y="1773"/>
                </a:lnTo>
                <a:lnTo>
                  <a:pt x="4889" y="1773"/>
                </a:lnTo>
                <a:lnTo>
                  <a:pt x="4889" y="1773"/>
                </a:lnTo>
                <a:lnTo>
                  <a:pt x="4889" y="1773"/>
                </a:lnTo>
                <a:lnTo>
                  <a:pt x="4883" y="1773"/>
                </a:lnTo>
                <a:lnTo>
                  <a:pt x="4883" y="1773"/>
                </a:lnTo>
                <a:lnTo>
                  <a:pt x="4883" y="1773"/>
                </a:lnTo>
                <a:lnTo>
                  <a:pt x="4883" y="1773"/>
                </a:lnTo>
                <a:lnTo>
                  <a:pt x="4883" y="1773"/>
                </a:lnTo>
                <a:lnTo>
                  <a:pt x="4883" y="1773"/>
                </a:lnTo>
                <a:lnTo>
                  <a:pt x="4883" y="1773"/>
                </a:lnTo>
                <a:lnTo>
                  <a:pt x="4883" y="1773"/>
                </a:lnTo>
                <a:lnTo>
                  <a:pt x="4883" y="1773"/>
                </a:lnTo>
                <a:lnTo>
                  <a:pt x="4883" y="1773"/>
                </a:lnTo>
                <a:lnTo>
                  <a:pt x="4883" y="1773"/>
                </a:lnTo>
                <a:lnTo>
                  <a:pt x="4883" y="1773"/>
                </a:lnTo>
                <a:lnTo>
                  <a:pt x="4883" y="1773"/>
                </a:lnTo>
                <a:close/>
                <a:moveTo>
                  <a:pt x="4658" y="2022"/>
                </a:moveTo>
                <a:lnTo>
                  <a:pt x="4658" y="2022"/>
                </a:lnTo>
                <a:lnTo>
                  <a:pt x="4658" y="2022"/>
                </a:lnTo>
                <a:lnTo>
                  <a:pt x="4658" y="2022"/>
                </a:lnTo>
                <a:lnTo>
                  <a:pt x="4652" y="2022"/>
                </a:lnTo>
                <a:lnTo>
                  <a:pt x="4652" y="2022"/>
                </a:lnTo>
                <a:lnTo>
                  <a:pt x="4652" y="2022"/>
                </a:lnTo>
                <a:lnTo>
                  <a:pt x="4652" y="2022"/>
                </a:lnTo>
                <a:lnTo>
                  <a:pt x="4652" y="2022"/>
                </a:lnTo>
                <a:lnTo>
                  <a:pt x="4652" y="2022"/>
                </a:lnTo>
                <a:lnTo>
                  <a:pt x="4658" y="2028"/>
                </a:lnTo>
                <a:lnTo>
                  <a:pt x="4658" y="2028"/>
                </a:lnTo>
                <a:lnTo>
                  <a:pt x="4658" y="2028"/>
                </a:lnTo>
                <a:lnTo>
                  <a:pt x="4658" y="2022"/>
                </a:lnTo>
                <a:lnTo>
                  <a:pt x="4658" y="2017"/>
                </a:lnTo>
                <a:lnTo>
                  <a:pt x="4658" y="2017"/>
                </a:lnTo>
                <a:lnTo>
                  <a:pt x="4658" y="2017"/>
                </a:lnTo>
                <a:lnTo>
                  <a:pt x="4658" y="2022"/>
                </a:lnTo>
                <a:close/>
                <a:moveTo>
                  <a:pt x="4670" y="1987"/>
                </a:moveTo>
                <a:lnTo>
                  <a:pt x="4670" y="1987"/>
                </a:lnTo>
                <a:lnTo>
                  <a:pt x="4670" y="1993"/>
                </a:lnTo>
                <a:lnTo>
                  <a:pt x="4670" y="1993"/>
                </a:lnTo>
                <a:lnTo>
                  <a:pt x="4670" y="1999"/>
                </a:lnTo>
                <a:lnTo>
                  <a:pt x="4670" y="1999"/>
                </a:lnTo>
                <a:lnTo>
                  <a:pt x="4670" y="1999"/>
                </a:lnTo>
                <a:lnTo>
                  <a:pt x="4670" y="1993"/>
                </a:lnTo>
                <a:lnTo>
                  <a:pt x="4670" y="1987"/>
                </a:lnTo>
                <a:lnTo>
                  <a:pt x="4670" y="1987"/>
                </a:lnTo>
                <a:lnTo>
                  <a:pt x="4670" y="1987"/>
                </a:lnTo>
                <a:lnTo>
                  <a:pt x="4670" y="1987"/>
                </a:lnTo>
                <a:lnTo>
                  <a:pt x="4670" y="1987"/>
                </a:lnTo>
                <a:lnTo>
                  <a:pt x="4670" y="1987"/>
                </a:lnTo>
                <a:lnTo>
                  <a:pt x="4670" y="1987"/>
                </a:lnTo>
                <a:lnTo>
                  <a:pt x="4670" y="1987"/>
                </a:lnTo>
                <a:lnTo>
                  <a:pt x="4670" y="1987"/>
                </a:lnTo>
                <a:close/>
                <a:moveTo>
                  <a:pt x="4717" y="1945"/>
                </a:moveTo>
                <a:lnTo>
                  <a:pt x="4717" y="1945"/>
                </a:lnTo>
                <a:lnTo>
                  <a:pt x="4717" y="1945"/>
                </a:lnTo>
                <a:lnTo>
                  <a:pt x="4717" y="1945"/>
                </a:lnTo>
                <a:lnTo>
                  <a:pt x="4711" y="1945"/>
                </a:lnTo>
                <a:lnTo>
                  <a:pt x="4711" y="1945"/>
                </a:lnTo>
                <a:lnTo>
                  <a:pt x="4711" y="1945"/>
                </a:lnTo>
                <a:lnTo>
                  <a:pt x="4711" y="1951"/>
                </a:lnTo>
                <a:lnTo>
                  <a:pt x="4693" y="1957"/>
                </a:lnTo>
                <a:lnTo>
                  <a:pt x="4693" y="1957"/>
                </a:lnTo>
                <a:lnTo>
                  <a:pt x="4693" y="1963"/>
                </a:lnTo>
                <a:lnTo>
                  <a:pt x="4693" y="1963"/>
                </a:lnTo>
                <a:lnTo>
                  <a:pt x="4693" y="1963"/>
                </a:lnTo>
                <a:lnTo>
                  <a:pt x="4693" y="1963"/>
                </a:lnTo>
                <a:lnTo>
                  <a:pt x="4699" y="1957"/>
                </a:lnTo>
                <a:lnTo>
                  <a:pt x="4705" y="1951"/>
                </a:lnTo>
                <a:lnTo>
                  <a:pt x="4705" y="1951"/>
                </a:lnTo>
                <a:lnTo>
                  <a:pt x="4705" y="1951"/>
                </a:lnTo>
                <a:lnTo>
                  <a:pt x="4717" y="1945"/>
                </a:lnTo>
                <a:lnTo>
                  <a:pt x="4717" y="1945"/>
                </a:lnTo>
                <a:lnTo>
                  <a:pt x="4717" y="1945"/>
                </a:lnTo>
                <a:lnTo>
                  <a:pt x="4717" y="1945"/>
                </a:lnTo>
                <a:lnTo>
                  <a:pt x="4717" y="1945"/>
                </a:lnTo>
                <a:lnTo>
                  <a:pt x="4717" y="1945"/>
                </a:lnTo>
                <a:lnTo>
                  <a:pt x="4717" y="1945"/>
                </a:lnTo>
                <a:lnTo>
                  <a:pt x="4717" y="1945"/>
                </a:lnTo>
                <a:lnTo>
                  <a:pt x="4717" y="1945"/>
                </a:lnTo>
                <a:close/>
                <a:moveTo>
                  <a:pt x="4764" y="1922"/>
                </a:moveTo>
                <a:lnTo>
                  <a:pt x="4747" y="1928"/>
                </a:lnTo>
                <a:lnTo>
                  <a:pt x="4747" y="1928"/>
                </a:lnTo>
                <a:lnTo>
                  <a:pt x="4747" y="1928"/>
                </a:lnTo>
                <a:lnTo>
                  <a:pt x="4747" y="1928"/>
                </a:lnTo>
                <a:lnTo>
                  <a:pt x="4770" y="1922"/>
                </a:lnTo>
                <a:lnTo>
                  <a:pt x="4776" y="1922"/>
                </a:lnTo>
                <a:lnTo>
                  <a:pt x="4788" y="1922"/>
                </a:lnTo>
                <a:lnTo>
                  <a:pt x="4788" y="1922"/>
                </a:lnTo>
                <a:lnTo>
                  <a:pt x="4782" y="1922"/>
                </a:lnTo>
                <a:lnTo>
                  <a:pt x="4764" y="1922"/>
                </a:lnTo>
                <a:close/>
                <a:moveTo>
                  <a:pt x="4847" y="1880"/>
                </a:moveTo>
                <a:lnTo>
                  <a:pt x="4847" y="1880"/>
                </a:lnTo>
                <a:lnTo>
                  <a:pt x="4847" y="1880"/>
                </a:lnTo>
                <a:lnTo>
                  <a:pt x="4847" y="1880"/>
                </a:lnTo>
                <a:lnTo>
                  <a:pt x="4847" y="1880"/>
                </a:lnTo>
                <a:lnTo>
                  <a:pt x="4841" y="1880"/>
                </a:lnTo>
                <a:lnTo>
                  <a:pt x="4841" y="1880"/>
                </a:lnTo>
                <a:lnTo>
                  <a:pt x="4841" y="1880"/>
                </a:lnTo>
                <a:lnTo>
                  <a:pt x="4841" y="1880"/>
                </a:lnTo>
                <a:lnTo>
                  <a:pt x="4841" y="1886"/>
                </a:lnTo>
                <a:lnTo>
                  <a:pt x="4841" y="1886"/>
                </a:lnTo>
                <a:lnTo>
                  <a:pt x="4841" y="1886"/>
                </a:lnTo>
                <a:lnTo>
                  <a:pt x="4841" y="1886"/>
                </a:lnTo>
                <a:lnTo>
                  <a:pt x="4841" y="1886"/>
                </a:lnTo>
                <a:lnTo>
                  <a:pt x="4847" y="1880"/>
                </a:lnTo>
                <a:lnTo>
                  <a:pt x="4847" y="1880"/>
                </a:lnTo>
                <a:lnTo>
                  <a:pt x="4847" y="1880"/>
                </a:lnTo>
                <a:lnTo>
                  <a:pt x="4847" y="1880"/>
                </a:lnTo>
                <a:lnTo>
                  <a:pt x="4847" y="1880"/>
                </a:lnTo>
                <a:lnTo>
                  <a:pt x="4847" y="1880"/>
                </a:lnTo>
                <a:lnTo>
                  <a:pt x="4847" y="1880"/>
                </a:lnTo>
                <a:lnTo>
                  <a:pt x="4847" y="1880"/>
                </a:lnTo>
                <a:lnTo>
                  <a:pt x="4847" y="1880"/>
                </a:lnTo>
                <a:lnTo>
                  <a:pt x="4847" y="1880"/>
                </a:lnTo>
                <a:close/>
                <a:moveTo>
                  <a:pt x="4871" y="1862"/>
                </a:moveTo>
                <a:lnTo>
                  <a:pt x="4871" y="1868"/>
                </a:lnTo>
                <a:lnTo>
                  <a:pt x="4865" y="1868"/>
                </a:lnTo>
                <a:lnTo>
                  <a:pt x="4859" y="1874"/>
                </a:lnTo>
                <a:lnTo>
                  <a:pt x="4859" y="1874"/>
                </a:lnTo>
                <a:lnTo>
                  <a:pt x="4859" y="1874"/>
                </a:lnTo>
                <a:lnTo>
                  <a:pt x="4853" y="1874"/>
                </a:lnTo>
                <a:lnTo>
                  <a:pt x="4853" y="1874"/>
                </a:lnTo>
                <a:lnTo>
                  <a:pt x="4853" y="1874"/>
                </a:lnTo>
                <a:lnTo>
                  <a:pt x="4853" y="1880"/>
                </a:lnTo>
                <a:lnTo>
                  <a:pt x="4865" y="1868"/>
                </a:lnTo>
                <a:lnTo>
                  <a:pt x="4871" y="1868"/>
                </a:lnTo>
                <a:lnTo>
                  <a:pt x="4871" y="1868"/>
                </a:lnTo>
                <a:lnTo>
                  <a:pt x="4871" y="1868"/>
                </a:lnTo>
                <a:lnTo>
                  <a:pt x="4871" y="1862"/>
                </a:lnTo>
                <a:lnTo>
                  <a:pt x="4877" y="1862"/>
                </a:lnTo>
                <a:lnTo>
                  <a:pt x="4877" y="1862"/>
                </a:lnTo>
                <a:lnTo>
                  <a:pt x="4877" y="1862"/>
                </a:lnTo>
                <a:lnTo>
                  <a:pt x="4877" y="1862"/>
                </a:lnTo>
                <a:lnTo>
                  <a:pt x="4871" y="1862"/>
                </a:lnTo>
                <a:lnTo>
                  <a:pt x="4871" y="1862"/>
                </a:lnTo>
                <a:close/>
                <a:moveTo>
                  <a:pt x="4907" y="1809"/>
                </a:moveTo>
                <a:lnTo>
                  <a:pt x="4907" y="1803"/>
                </a:lnTo>
                <a:lnTo>
                  <a:pt x="4907" y="1803"/>
                </a:lnTo>
                <a:lnTo>
                  <a:pt x="4907" y="1803"/>
                </a:lnTo>
                <a:lnTo>
                  <a:pt x="4907" y="1797"/>
                </a:lnTo>
                <a:lnTo>
                  <a:pt x="4907" y="1797"/>
                </a:lnTo>
                <a:lnTo>
                  <a:pt x="4907" y="1797"/>
                </a:lnTo>
                <a:lnTo>
                  <a:pt x="4901" y="1791"/>
                </a:lnTo>
                <a:lnTo>
                  <a:pt x="4901" y="1791"/>
                </a:lnTo>
                <a:lnTo>
                  <a:pt x="4901" y="1791"/>
                </a:lnTo>
                <a:lnTo>
                  <a:pt x="4901" y="1791"/>
                </a:lnTo>
                <a:lnTo>
                  <a:pt x="4901" y="1791"/>
                </a:lnTo>
                <a:lnTo>
                  <a:pt x="4901" y="1797"/>
                </a:lnTo>
                <a:lnTo>
                  <a:pt x="4901" y="1797"/>
                </a:lnTo>
                <a:lnTo>
                  <a:pt x="4901" y="1797"/>
                </a:lnTo>
                <a:lnTo>
                  <a:pt x="4901" y="1797"/>
                </a:lnTo>
                <a:lnTo>
                  <a:pt x="4901" y="1803"/>
                </a:lnTo>
                <a:lnTo>
                  <a:pt x="4907" y="1803"/>
                </a:lnTo>
                <a:lnTo>
                  <a:pt x="4907" y="1809"/>
                </a:lnTo>
                <a:lnTo>
                  <a:pt x="4907" y="1809"/>
                </a:lnTo>
                <a:lnTo>
                  <a:pt x="4907" y="1815"/>
                </a:lnTo>
                <a:lnTo>
                  <a:pt x="4907" y="1815"/>
                </a:lnTo>
                <a:lnTo>
                  <a:pt x="4907" y="1821"/>
                </a:lnTo>
                <a:lnTo>
                  <a:pt x="4907" y="1821"/>
                </a:lnTo>
                <a:lnTo>
                  <a:pt x="4907" y="1821"/>
                </a:lnTo>
                <a:lnTo>
                  <a:pt x="4907" y="1821"/>
                </a:lnTo>
                <a:lnTo>
                  <a:pt x="4907" y="1821"/>
                </a:lnTo>
                <a:lnTo>
                  <a:pt x="4907" y="1821"/>
                </a:lnTo>
                <a:lnTo>
                  <a:pt x="4907" y="1821"/>
                </a:lnTo>
                <a:lnTo>
                  <a:pt x="4907" y="1827"/>
                </a:lnTo>
                <a:lnTo>
                  <a:pt x="4907" y="1827"/>
                </a:lnTo>
                <a:lnTo>
                  <a:pt x="4907" y="1827"/>
                </a:lnTo>
                <a:lnTo>
                  <a:pt x="4907" y="1833"/>
                </a:lnTo>
                <a:lnTo>
                  <a:pt x="4907" y="1833"/>
                </a:lnTo>
                <a:lnTo>
                  <a:pt x="4907" y="1833"/>
                </a:lnTo>
                <a:lnTo>
                  <a:pt x="4901" y="1839"/>
                </a:lnTo>
                <a:lnTo>
                  <a:pt x="4901" y="1839"/>
                </a:lnTo>
                <a:lnTo>
                  <a:pt x="4901" y="1839"/>
                </a:lnTo>
                <a:lnTo>
                  <a:pt x="4901" y="1845"/>
                </a:lnTo>
                <a:lnTo>
                  <a:pt x="4901" y="1850"/>
                </a:lnTo>
                <a:lnTo>
                  <a:pt x="4901" y="1850"/>
                </a:lnTo>
                <a:lnTo>
                  <a:pt x="4901" y="1850"/>
                </a:lnTo>
                <a:lnTo>
                  <a:pt x="4901" y="1856"/>
                </a:lnTo>
                <a:lnTo>
                  <a:pt x="4895" y="1856"/>
                </a:lnTo>
                <a:lnTo>
                  <a:pt x="4883" y="1862"/>
                </a:lnTo>
                <a:lnTo>
                  <a:pt x="4883" y="1862"/>
                </a:lnTo>
                <a:lnTo>
                  <a:pt x="4883" y="1862"/>
                </a:lnTo>
                <a:lnTo>
                  <a:pt x="4883" y="1862"/>
                </a:lnTo>
                <a:lnTo>
                  <a:pt x="4883" y="1862"/>
                </a:lnTo>
                <a:lnTo>
                  <a:pt x="4883" y="1856"/>
                </a:lnTo>
                <a:lnTo>
                  <a:pt x="4883" y="1856"/>
                </a:lnTo>
                <a:lnTo>
                  <a:pt x="4883" y="1856"/>
                </a:lnTo>
                <a:lnTo>
                  <a:pt x="4883" y="1856"/>
                </a:lnTo>
                <a:lnTo>
                  <a:pt x="4883" y="1856"/>
                </a:lnTo>
                <a:lnTo>
                  <a:pt x="4883" y="1862"/>
                </a:lnTo>
                <a:lnTo>
                  <a:pt x="4883" y="1862"/>
                </a:lnTo>
                <a:lnTo>
                  <a:pt x="4883" y="1862"/>
                </a:lnTo>
                <a:lnTo>
                  <a:pt x="4883" y="1862"/>
                </a:lnTo>
                <a:lnTo>
                  <a:pt x="4883" y="1862"/>
                </a:lnTo>
                <a:lnTo>
                  <a:pt x="4883" y="1862"/>
                </a:lnTo>
                <a:lnTo>
                  <a:pt x="4883" y="1862"/>
                </a:lnTo>
                <a:lnTo>
                  <a:pt x="4883" y="1862"/>
                </a:lnTo>
                <a:lnTo>
                  <a:pt x="4883" y="1862"/>
                </a:lnTo>
                <a:lnTo>
                  <a:pt x="4883" y="1862"/>
                </a:lnTo>
                <a:lnTo>
                  <a:pt x="4877" y="1862"/>
                </a:lnTo>
                <a:lnTo>
                  <a:pt x="4877" y="1862"/>
                </a:lnTo>
                <a:lnTo>
                  <a:pt x="4877" y="1862"/>
                </a:lnTo>
                <a:lnTo>
                  <a:pt x="4883" y="1862"/>
                </a:lnTo>
                <a:lnTo>
                  <a:pt x="4883" y="1862"/>
                </a:lnTo>
                <a:lnTo>
                  <a:pt x="4883" y="1862"/>
                </a:lnTo>
                <a:lnTo>
                  <a:pt x="4883" y="1862"/>
                </a:lnTo>
                <a:lnTo>
                  <a:pt x="4883" y="1862"/>
                </a:lnTo>
                <a:lnTo>
                  <a:pt x="4883" y="1862"/>
                </a:lnTo>
                <a:lnTo>
                  <a:pt x="4889" y="1862"/>
                </a:lnTo>
                <a:lnTo>
                  <a:pt x="4889" y="1862"/>
                </a:lnTo>
                <a:lnTo>
                  <a:pt x="4889" y="1862"/>
                </a:lnTo>
                <a:lnTo>
                  <a:pt x="4895" y="1856"/>
                </a:lnTo>
                <a:lnTo>
                  <a:pt x="4895" y="1856"/>
                </a:lnTo>
                <a:lnTo>
                  <a:pt x="4895" y="1856"/>
                </a:lnTo>
                <a:lnTo>
                  <a:pt x="4901" y="1856"/>
                </a:lnTo>
                <a:lnTo>
                  <a:pt x="4901" y="1856"/>
                </a:lnTo>
                <a:lnTo>
                  <a:pt x="4901" y="1856"/>
                </a:lnTo>
                <a:lnTo>
                  <a:pt x="4901" y="1856"/>
                </a:lnTo>
                <a:lnTo>
                  <a:pt x="4901" y="1856"/>
                </a:lnTo>
                <a:lnTo>
                  <a:pt x="4901" y="1850"/>
                </a:lnTo>
                <a:lnTo>
                  <a:pt x="4907" y="1845"/>
                </a:lnTo>
                <a:lnTo>
                  <a:pt x="4907" y="1839"/>
                </a:lnTo>
                <a:lnTo>
                  <a:pt x="4907" y="1827"/>
                </a:lnTo>
                <a:lnTo>
                  <a:pt x="4907" y="1821"/>
                </a:lnTo>
                <a:lnTo>
                  <a:pt x="4907" y="1815"/>
                </a:lnTo>
                <a:lnTo>
                  <a:pt x="4907" y="1809"/>
                </a:lnTo>
                <a:lnTo>
                  <a:pt x="4907" y="1809"/>
                </a:lnTo>
                <a:close/>
                <a:moveTo>
                  <a:pt x="4800" y="1934"/>
                </a:moveTo>
                <a:lnTo>
                  <a:pt x="4800" y="1928"/>
                </a:lnTo>
                <a:lnTo>
                  <a:pt x="4800" y="1928"/>
                </a:lnTo>
                <a:lnTo>
                  <a:pt x="4800" y="1928"/>
                </a:lnTo>
                <a:lnTo>
                  <a:pt x="4794" y="1928"/>
                </a:lnTo>
                <a:lnTo>
                  <a:pt x="4788" y="1928"/>
                </a:lnTo>
                <a:lnTo>
                  <a:pt x="4788" y="1928"/>
                </a:lnTo>
                <a:lnTo>
                  <a:pt x="4788" y="1928"/>
                </a:lnTo>
                <a:lnTo>
                  <a:pt x="4788" y="1928"/>
                </a:lnTo>
                <a:lnTo>
                  <a:pt x="4794" y="1928"/>
                </a:lnTo>
                <a:lnTo>
                  <a:pt x="4800" y="1934"/>
                </a:lnTo>
                <a:lnTo>
                  <a:pt x="4800" y="1934"/>
                </a:lnTo>
                <a:lnTo>
                  <a:pt x="4800" y="1934"/>
                </a:lnTo>
                <a:lnTo>
                  <a:pt x="4800" y="1934"/>
                </a:lnTo>
                <a:close/>
                <a:moveTo>
                  <a:pt x="4830" y="1898"/>
                </a:moveTo>
                <a:lnTo>
                  <a:pt x="4830" y="1898"/>
                </a:lnTo>
                <a:lnTo>
                  <a:pt x="4830" y="1898"/>
                </a:lnTo>
                <a:lnTo>
                  <a:pt x="4830" y="1898"/>
                </a:lnTo>
                <a:lnTo>
                  <a:pt x="4824" y="1904"/>
                </a:lnTo>
                <a:lnTo>
                  <a:pt x="4812" y="1910"/>
                </a:lnTo>
                <a:lnTo>
                  <a:pt x="4800" y="1934"/>
                </a:lnTo>
                <a:lnTo>
                  <a:pt x="4800" y="1934"/>
                </a:lnTo>
                <a:lnTo>
                  <a:pt x="4800" y="1934"/>
                </a:lnTo>
                <a:lnTo>
                  <a:pt x="4800" y="1939"/>
                </a:lnTo>
                <a:lnTo>
                  <a:pt x="4800" y="1934"/>
                </a:lnTo>
                <a:lnTo>
                  <a:pt x="4800" y="1934"/>
                </a:lnTo>
                <a:lnTo>
                  <a:pt x="4812" y="1916"/>
                </a:lnTo>
                <a:lnTo>
                  <a:pt x="4818" y="1910"/>
                </a:lnTo>
                <a:lnTo>
                  <a:pt x="4818" y="1904"/>
                </a:lnTo>
                <a:lnTo>
                  <a:pt x="4818" y="1904"/>
                </a:lnTo>
                <a:lnTo>
                  <a:pt x="4824" y="1904"/>
                </a:lnTo>
                <a:lnTo>
                  <a:pt x="4824" y="1904"/>
                </a:lnTo>
                <a:lnTo>
                  <a:pt x="4824" y="1904"/>
                </a:lnTo>
                <a:lnTo>
                  <a:pt x="4830" y="1898"/>
                </a:lnTo>
                <a:lnTo>
                  <a:pt x="4830" y="1898"/>
                </a:lnTo>
                <a:lnTo>
                  <a:pt x="4830" y="1898"/>
                </a:lnTo>
                <a:lnTo>
                  <a:pt x="4835" y="1892"/>
                </a:lnTo>
                <a:lnTo>
                  <a:pt x="4830" y="1892"/>
                </a:lnTo>
                <a:lnTo>
                  <a:pt x="4830" y="1898"/>
                </a:lnTo>
                <a:close/>
                <a:moveTo>
                  <a:pt x="3567" y="2455"/>
                </a:moveTo>
                <a:lnTo>
                  <a:pt x="3561" y="2455"/>
                </a:lnTo>
                <a:lnTo>
                  <a:pt x="3561" y="2455"/>
                </a:lnTo>
                <a:lnTo>
                  <a:pt x="3561" y="2455"/>
                </a:lnTo>
                <a:lnTo>
                  <a:pt x="3567" y="2455"/>
                </a:lnTo>
                <a:lnTo>
                  <a:pt x="3567" y="2455"/>
                </a:lnTo>
                <a:lnTo>
                  <a:pt x="3567" y="2455"/>
                </a:lnTo>
                <a:close/>
                <a:moveTo>
                  <a:pt x="3609" y="2455"/>
                </a:moveTo>
                <a:lnTo>
                  <a:pt x="3609" y="2455"/>
                </a:lnTo>
                <a:lnTo>
                  <a:pt x="3615" y="2455"/>
                </a:lnTo>
                <a:lnTo>
                  <a:pt x="3615" y="2455"/>
                </a:lnTo>
                <a:lnTo>
                  <a:pt x="3615" y="2455"/>
                </a:lnTo>
                <a:lnTo>
                  <a:pt x="3615" y="2455"/>
                </a:lnTo>
                <a:lnTo>
                  <a:pt x="3609" y="2455"/>
                </a:lnTo>
                <a:lnTo>
                  <a:pt x="3609" y="2455"/>
                </a:lnTo>
                <a:close/>
                <a:moveTo>
                  <a:pt x="3550" y="2455"/>
                </a:moveTo>
                <a:lnTo>
                  <a:pt x="3550" y="2455"/>
                </a:lnTo>
                <a:lnTo>
                  <a:pt x="3550" y="2455"/>
                </a:lnTo>
                <a:lnTo>
                  <a:pt x="3550" y="2455"/>
                </a:lnTo>
                <a:lnTo>
                  <a:pt x="3550" y="2455"/>
                </a:lnTo>
                <a:lnTo>
                  <a:pt x="3550" y="2455"/>
                </a:lnTo>
                <a:lnTo>
                  <a:pt x="3550" y="2455"/>
                </a:lnTo>
                <a:lnTo>
                  <a:pt x="3550" y="2455"/>
                </a:lnTo>
                <a:lnTo>
                  <a:pt x="3550" y="2455"/>
                </a:lnTo>
                <a:lnTo>
                  <a:pt x="3550" y="2450"/>
                </a:lnTo>
                <a:lnTo>
                  <a:pt x="3550" y="2450"/>
                </a:lnTo>
                <a:lnTo>
                  <a:pt x="3550" y="2450"/>
                </a:lnTo>
                <a:lnTo>
                  <a:pt x="3550" y="2450"/>
                </a:lnTo>
                <a:lnTo>
                  <a:pt x="3555" y="2450"/>
                </a:lnTo>
                <a:lnTo>
                  <a:pt x="3555" y="2450"/>
                </a:lnTo>
                <a:lnTo>
                  <a:pt x="3555" y="2450"/>
                </a:lnTo>
                <a:lnTo>
                  <a:pt x="3555" y="2450"/>
                </a:lnTo>
                <a:lnTo>
                  <a:pt x="3550" y="2450"/>
                </a:lnTo>
                <a:lnTo>
                  <a:pt x="3550" y="2450"/>
                </a:lnTo>
                <a:lnTo>
                  <a:pt x="3550" y="2450"/>
                </a:lnTo>
                <a:lnTo>
                  <a:pt x="3544" y="2450"/>
                </a:lnTo>
                <a:lnTo>
                  <a:pt x="3544" y="2450"/>
                </a:lnTo>
                <a:lnTo>
                  <a:pt x="3550" y="2450"/>
                </a:lnTo>
                <a:lnTo>
                  <a:pt x="3550" y="2450"/>
                </a:lnTo>
                <a:lnTo>
                  <a:pt x="3550" y="2455"/>
                </a:lnTo>
                <a:lnTo>
                  <a:pt x="3550" y="2455"/>
                </a:lnTo>
                <a:lnTo>
                  <a:pt x="3550" y="2455"/>
                </a:lnTo>
                <a:lnTo>
                  <a:pt x="3550" y="2455"/>
                </a:lnTo>
                <a:lnTo>
                  <a:pt x="3550" y="2455"/>
                </a:lnTo>
                <a:lnTo>
                  <a:pt x="3550" y="2455"/>
                </a:lnTo>
                <a:close/>
                <a:moveTo>
                  <a:pt x="3597" y="2450"/>
                </a:moveTo>
                <a:lnTo>
                  <a:pt x="3597" y="2450"/>
                </a:lnTo>
                <a:lnTo>
                  <a:pt x="3591" y="2450"/>
                </a:lnTo>
                <a:lnTo>
                  <a:pt x="3591" y="2450"/>
                </a:lnTo>
                <a:lnTo>
                  <a:pt x="3585" y="2450"/>
                </a:lnTo>
                <a:lnTo>
                  <a:pt x="3585" y="2450"/>
                </a:lnTo>
                <a:lnTo>
                  <a:pt x="3585" y="2450"/>
                </a:lnTo>
                <a:lnTo>
                  <a:pt x="3585" y="2450"/>
                </a:lnTo>
                <a:lnTo>
                  <a:pt x="3585" y="2450"/>
                </a:lnTo>
                <a:lnTo>
                  <a:pt x="3603" y="2455"/>
                </a:lnTo>
                <a:lnTo>
                  <a:pt x="3603" y="2455"/>
                </a:lnTo>
                <a:lnTo>
                  <a:pt x="3603" y="2455"/>
                </a:lnTo>
                <a:lnTo>
                  <a:pt x="3603" y="2450"/>
                </a:lnTo>
                <a:lnTo>
                  <a:pt x="3603" y="2450"/>
                </a:lnTo>
                <a:lnTo>
                  <a:pt x="3597" y="2450"/>
                </a:lnTo>
                <a:close/>
                <a:moveTo>
                  <a:pt x="4142" y="979"/>
                </a:moveTo>
                <a:lnTo>
                  <a:pt x="4142" y="979"/>
                </a:lnTo>
                <a:lnTo>
                  <a:pt x="4142" y="985"/>
                </a:lnTo>
                <a:lnTo>
                  <a:pt x="4142" y="979"/>
                </a:lnTo>
                <a:lnTo>
                  <a:pt x="4142" y="979"/>
                </a:lnTo>
                <a:lnTo>
                  <a:pt x="4142" y="967"/>
                </a:lnTo>
                <a:lnTo>
                  <a:pt x="4142" y="967"/>
                </a:lnTo>
                <a:lnTo>
                  <a:pt x="4142" y="979"/>
                </a:lnTo>
                <a:close/>
                <a:moveTo>
                  <a:pt x="3846" y="575"/>
                </a:moveTo>
                <a:lnTo>
                  <a:pt x="3846" y="575"/>
                </a:lnTo>
                <a:lnTo>
                  <a:pt x="3846" y="575"/>
                </a:lnTo>
                <a:lnTo>
                  <a:pt x="3846" y="575"/>
                </a:lnTo>
                <a:lnTo>
                  <a:pt x="3846" y="575"/>
                </a:lnTo>
                <a:lnTo>
                  <a:pt x="3840" y="581"/>
                </a:lnTo>
                <a:lnTo>
                  <a:pt x="3846" y="581"/>
                </a:lnTo>
                <a:lnTo>
                  <a:pt x="3846" y="581"/>
                </a:lnTo>
                <a:lnTo>
                  <a:pt x="3846" y="581"/>
                </a:lnTo>
                <a:lnTo>
                  <a:pt x="3846" y="575"/>
                </a:lnTo>
                <a:lnTo>
                  <a:pt x="3852" y="575"/>
                </a:lnTo>
                <a:lnTo>
                  <a:pt x="3852" y="575"/>
                </a:lnTo>
                <a:lnTo>
                  <a:pt x="3846" y="575"/>
                </a:lnTo>
                <a:close/>
                <a:moveTo>
                  <a:pt x="3858" y="563"/>
                </a:moveTo>
                <a:lnTo>
                  <a:pt x="3858" y="563"/>
                </a:lnTo>
                <a:lnTo>
                  <a:pt x="3858" y="563"/>
                </a:lnTo>
                <a:lnTo>
                  <a:pt x="3858" y="563"/>
                </a:lnTo>
                <a:lnTo>
                  <a:pt x="3858" y="558"/>
                </a:lnTo>
                <a:lnTo>
                  <a:pt x="3858" y="558"/>
                </a:lnTo>
                <a:lnTo>
                  <a:pt x="3852" y="558"/>
                </a:lnTo>
                <a:lnTo>
                  <a:pt x="3852" y="558"/>
                </a:lnTo>
                <a:lnTo>
                  <a:pt x="3852" y="563"/>
                </a:lnTo>
                <a:lnTo>
                  <a:pt x="3852" y="569"/>
                </a:lnTo>
                <a:lnTo>
                  <a:pt x="3858" y="569"/>
                </a:lnTo>
                <a:lnTo>
                  <a:pt x="3858" y="569"/>
                </a:lnTo>
                <a:lnTo>
                  <a:pt x="3858" y="569"/>
                </a:lnTo>
                <a:lnTo>
                  <a:pt x="3858" y="569"/>
                </a:lnTo>
                <a:lnTo>
                  <a:pt x="3858" y="563"/>
                </a:lnTo>
                <a:close/>
                <a:moveTo>
                  <a:pt x="3870" y="516"/>
                </a:moveTo>
                <a:lnTo>
                  <a:pt x="3870" y="516"/>
                </a:lnTo>
                <a:lnTo>
                  <a:pt x="3870" y="516"/>
                </a:lnTo>
                <a:lnTo>
                  <a:pt x="3870" y="516"/>
                </a:lnTo>
                <a:lnTo>
                  <a:pt x="3875" y="528"/>
                </a:lnTo>
                <a:lnTo>
                  <a:pt x="3875" y="528"/>
                </a:lnTo>
                <a:lnTo>
                  <a:pt x="3875" y="522"/>
                </a:lnTo>
                <a:lnTo>
                  <a:pt x="3875" y="522"/>
                </a:lnTo>
                <a:lnTo>
                  <a:pt x="3870" y="522"/>
                </a:lnTo>
                <a:lnTo>
                  <a:pt x="3870" y="516"/>
                </a:lnTo>
                <a:close/>
                <a:moveTo>
                  <a:pt x="3905" y="474"/>
                </a:moveTo>
                <a:lnTo>
                  <a:pt x="3911" y="474"/>
                </a:lnTo>
                <a:lnTo>
                  <a:pt x="3905" y="474"/>
                </a:lnTo>
                <a:lnTo>
                  <a:pt x="3905" y="474"/>
                </a:lnTo>
                <a:lnTo>
                  <a:pt x="3899" y="474"/>
                </a:lnTo>
                <a:lnTo>
                  <a:pt x="3899" y="474"/>
                </a:lnTo>
                <a:lnTo>
                  <a:pt x="3899" y="474"/>
                </a:lnTo>
                <a:lnTo>
                  <a:pt x="3899" y="480"/>
                </a:lnTo>
                <a:lnTo>
                  <a:pt x="3899" y="480"/>
                </a:lnTo>
                <a:lnTo>
                  <a:pt x="3899" y="480"/>
                </a:lnTo>
                <a:lnTo>
                  <a:pt x="3899" y="480"/>
                </a:lnTo>
                <a:lnTo>
                  <a:pt x="3899" y="486"/>
                </a:lnTo>
                <a:lnTo>
                  <a:pt x="3899" y="492"/>
                </a:lnTo>
                <a:lnTo>
                  <a:pt x="3893" y="492"/>
                </a:lnTo>
                <a:lnTo>
                  <a:pt x="3893" y="492"/>
                </a:lnTo>
                <a:lnTo>
                  <a:pt x="3899" y="498"/>
                </a:lnTo>
                <a:lnTo>
                  <a:pt x="3899" y="498"/>
                </a:lnTo>
                <a:lnTo>
                  <a:pt x="3905" y="498"/>
                </a:lnTo>
                <a:lnTo>
                  <a:pt x="3905" y="498"/>
                </a:lnTo>
                <a:lnTo>
                  <a:pt x="3911" y="492"/>
                </a:lnTo>
                <a:lnTo>
                  <a:pt x="3911" y="492"/>
                </a:lnTo>
                <a:lnTo>
                  <a:pt x="3905" y="486"/>
                </a:lnTo>
                <a:lnTo>
                  <a:pt x="3905" y="486"/>
                </a:lnTo>
                <a:lnTo>
                  <a:pt x="3905" y="480"/>
                </a:lnTo>
                <a:lnTo>
                  <a:pt x="3905" y="480"/>
                </a:lnTo>
                <a:lnTo>
                  <a:pt x="3905" y="480"/>
                </a:lnTo>
                <a:lnTo>
                  <a:pt x="3905" y="480"/>
                </a:lnTo>
                <a:lnTo>
                  <a:pt x="3905" y="474"/>
                </a:lnTo>
                <a:lnTo>
                  <a:pt x="3905" y="474"/>
                </a:lnTo>
                <a:lnTo>
                  <a:pt x="3905" y="474"/>
                </a:lnTo>
                <a:close/>
                <a:moveTo>
                  <a:pt x="4018" y="469"/>
                </a:moveTo>
                <a:lnTo>
                  <a:pt x="4018" y="469"/>
                </a:lnTo>
                <a:lnTo>
                  <a:pt x="4018" y="463"/>
                </a:lnTo>
                <a:lnTo>
                  <a:pt x="4012" y="469"/>
                </a:lnTo>
                <a:lnTo>
                  <a:pt x="4012" y="469"/>
                </a:lnTo>
                <a:lnTo>
                  <a:pt x="4012" y="469"/>
                </a:lnTo>
                <a:lnTo>
                  <a:pt x="4012" y="469"/>
                </a:lnTo>
                <a:lnTo>
                  <a:pt x="4012" y="469"/>
                </a:lnTo>
                <a:lnTo>
                  <a:pt x="4006" y="463"/>
                </a:lnTo>
                <a:lnTo>
                  <a:pt x="4000" y="463"/>
                </a:lnTo>
                <a:lnTo>
                  <a:pt x="4000" y="469"/>
                </a:lnTo>
                <a:lnTo>
                  <a:pt x="4000" y="469"/>
                </a:lnTo>
                <a:lnTo>
                  <a:pt x="4006" y="474"/>
                </a:lnTo>
                <a:lnTo>
                  <a:pt x="4006" y="474"/>
                </a:lnTo>
                <a:lnTo>
                  <a:pt x="4012" y="480"/>
                </a:lnTo>
                <a:lnTo>
                  <a:pt x="4012" y="480"/>
                </a:lnTo>
                <a:lnTo>
                  <a:pt x="4012" y="480"/>
                </a:lnTo>
                <a:lnTo>
                  <a:pt x="4018" y="480"/>
                </a:lnTo>
                <a:lnTo>
                  <a:pt x="4018" y="480"/>
                </a:lnTo>
                <a:lnTo>
                  <a:pt x="4018" y="474"/>
                </a:lnTo>
                <a:lnTo>
                  <a:pt x="4018" y="474"/>
                </a:lnTo>
                <a:lnTo>
                  <a:pt x="4024" y="469"/>
                </a:lnTo>
                <a:lnTo>
                  <a:pt x="4018" y="469"/>
                </a:lnTo>
                <a:lnTo>
                  <a:pt x="4018" y="469"/>
                </a:lnTo>
                <a:close/>
                <a:moveTo>
                  <a:pt x="3911" y="469"/>
                </a:moveTo>
                <a:lnTo>
                  <a:pt x="3911" y="469"/>
                </a:lnTo>
                <a:lnTo>
                  <a:pt x="3911" y="469"/>
                </a:lnTo>
                <a:lnTo>
                  <a:pt x="3911" y="469"/>
                </a:lnTo>
                <a:lnTo>
                  <a:pt x="3911" y="469"/>
                </a:lnTo>
                <a:lnTo>
                  <a:pt x="3911" y="469"/>
                </a:lnTo>
                <a:lnTo>
                  <a:pt x="3911" y="469"/>
                </a:lnTo>
                <a:lnTo>
                  <a:pt x="3911" y="469"/>
                </a:lnTo>
                <a:lnTo>
                  <a:pt x="3911" y="469"/>
                </a:lnTo>
                <a:lnTo>
                  <a:pt x="3911" y="463"/>
                </a:lnTo>
                <a:lnTo>
                  <a:pt x="3905" y="463"/>
                </a:lnTo>
                <a:lnTo>
                  <a:pt x="3905" y="463"/>
                </a:lnTo>
                <a:lnTo>
                  <a:pt x="3905" y="463"/>
                </a:lnTo>
                <a:lnTo>
                  <a:pt x="3905" y="463"/>
                </a:lnTo>
                <a:lnTo>
                  <a:pt x="3905" y="463"/>
                </a:lnTo>
                <a:lnTo>
                  <a:pt x="3905" y="469"/>
                </a:lnTo>
                <a:lnTo>
                  <a:pt x="3905" y="469"/>
                </a:lnTo>
                <a:lnTo>
                  <a:pt x="3911" y="469"/>
                </a:lnTo>
                <a:lnTo>
                  <a:pt x="3911" y="469"/>
                </a:lnTo>
                <a:close/>
                <a:moveTo>
                  <a:pt x="4024" y="445"/>
                </a:moveTo>
                <a:lnTo>
                  <a:pt x="4024" y="445"/>
                </a:lnTo>
                <a:lnTo>
                  <a:pt x="4018" y="445"/>
                </a:lnTo>
                <a:lnTo>
                  <a:pt x="4018" y="445"/>
                </a:lnTo>
                <a:lnTo>
                  <a:pt x="4018" y="439"/>
                </a:lnTo>
                <a:lnTo>
                  <a:pt x="4018" y="439"/>
                </a:lnTo>
                <a:lnTo>
                  <a:pt x="4018" y="439"/>
                </a:lnTo>
                <a:lnTo>
                  <a:pt x="4012" y="439"/>
                </a:lnTo>
                <a:lnTo>
                  <a:pt x="4012" y="439"/>
                </a:lnTo>
                <a:lnTo>
                  <a:pt x="4012" y="445"/>
                </a:lnTo>
                <a:lnTo>
                  <a:pt x="4012" y="445"/>
                </a:lnTo>
                <a:lnTo>
                  <a:pt x="4018" y="445"/>
                </a:lnTo>
                <a:lnTo>
                  <a:pt x="4018" y="445"/>
                </a:lnTo>
                <a:lnTo>
                  <a:pt x="4018" y="445"/>
                </a:lnTo>
                <a:lnTo>
                  <a:pt x="4012" y="445"/>
                </a:lnTo>
                <a:lnTo>
                  <a:pt x="4018" y="445"/>
                </a:lnTo>
                <a:lnTo>
                  <a:pt x="4018" y="445"/>
                </a:lnTo>
                <a:lnTo>
                  <a:pt x="4024" y="445"/>
                </a:lnTo>
                <a:lnTo>
                  <a:pt x="4024" y="445"/>
                </a:lnTo>
                <a:close/>
                <a:moveTo>
                  <a:pt x="4071" y="445"/>
                </a:moveTo>
                <a:lnTo>
                  <a:pt x="4071" y="445"/>
                </a:lnTo>
                <a:lnTo>
                  <a:pt x="4071" y="439"/>
                </a:lnTo>
                <a:lnTo>
                  <a:pt x="4071" y="439"/>
                </a:lnTo>
                <a:lnTo>
                  <a:pt x="4071" y="445"/>
                </a:lnTo>
                <a:lnTo>
                  <a:pt x="4071" y="445"/>
                </a:lnTo>
                <a:lnTo>
                  <a:pt x="4071" y="445"/>
                </a:lnTo>
                <a:lnTo>
                  <a:pt x="4077" y="445"/>
                </a:lnTo>
                <a:lnTo>
                  <a:pt x="4077" y="451"/>
                </a:lnTo>
                <a:lnTo>
                  <a:pt x="4077" y="451"/>
                </a:lnTo>
                <a:lnTo>
                  <a:pt x="4077" y="451"/>
                </a:lnTo>
                <a:lnTo>
                  <a:pt x="4077" y="445"/>
                </a:lnTo>
                <a:lnTo>
                  <a:pt x="4077" y="445"/>
                </a:lnTo>
                <a:lnTo>
                  <a:pt x="4083" y="445"/>
                </a:lnTo>
                <a:lnTo>
                  <a:pt x="4083" y="445"/>
                </a:lnTo>
                <a:lnTo>
                  <a:pt x="4083" y="451"/>
                </a:lnTo>
                <a:lnTo>
                  <a:pt x="4083" y="451"/>
                </a:lnTo>
                <a:lnTo>
                  <a:pt x="4089" y="451"/>
                </a:lnTo>
                <a:lnTo>
                  <a:pt x="4089" y="445"/>
                </a:lnTo>
                <a:lnTo>
                  <a:pt x="4089" y="445"/>
                </a:lnTo>
                <a:lnTo>
                  <a:pt x="4095" y="451"/>
                </a:lnTo>
                <a:lnTo>
                  <a:pt x="4095" y="451"/>
                </a:lnTo>
                <a:lnTo>
                  <a:pt x="4101" y="451"/>
                </a:lnTo>
                <a:lnTo>
                  <a:pt x="4101" y="451"/>
                </a:lnTo>
                <a:lnTo>
                  <a:pt x="4107" y="451"/>
                </a:lnTo>
                <a:lnTo>
                  <a:pt x="4107" y="445"/>
                </a:lnTo>
                <a:lnTo>
                  <a:pt x="4107" y="445"/>
                </a:lnTo>
                <a:lnTo>
                  <a:pt x="4107" y="439"/>
                </a:lnTo>
                <a:lnTo>
                  <a:pt x="4107" y="439"/>
                </a:lnTo>
                <a:lnTo>
                  <a:pt x="4107" y="439"/>
                </a:lnTo>
                <a:lnTo>
                  <a:pt x="4107" y="439"/>
                </a:lnTo>
                <a:lnTo>
                  <a:pt x="4101" y="433"/>
                </a:lnTo>
                <a:lnTo>
                  <a:pt x="4101" y="433"/>
                </a:lnTo>
                <a:lnTo>
                  <a:pt x="4101" y="427"/>
                </a:lnTo>
                <a:lnTo>
                  <a:pt x="4101" y="427"/>
                </a:lnTo>
                <a:lnTo>
                  <a:pt x="4095" y="427"/>
                </a:lnTo>
                <a:lnTo>
                  <a:pt x="4089" y="427"/>
                </a:lnTo>
                <a:lnTo>
                  <a:pt x="4083" y="427"/>
                </a:lnTo>
                <a:lnTo>
                  <a:pt x="4083" y="427"/>
                </a:lnTo>
                <a:lnTo>
                  <a:pt x="4089" y="427"/>
                </a:lnTo>
                <a:lnTo>
                  <a:pt x="4089" y="427"/>
                </a:lnTo>
                <a:lnTo>
                  <a:pt x="4089" y="427"/>
                </a:lnTo>
                <a:lnTo>
                  <a:pt x="4089" y="433"/>
                </a:lnTo>
                <a:lnTo>
                  <a:pt x="4089" y="433"/>
                </a:lnTo>
                <a:lnTo>
                  <a:pt x="4089" y="433"/>
                </a:lnTo>
                <a:lnTo>
                  <a:pt x="4089" y="433"/>
                </a:lnTo>
                <a:lnTo>
                  <a:pt x="4083" y="433"/>
                </a:lnTo>
                <a:lnTo>
                  <a:pt x="4083" y="433"/>
                </a:lnTo>
                <a:lnTo>
                  <a:pt x="4083" y="439"/>
                </a:lnTo>
                <a:lnTo>
                  <a:pt x="4077" y="439"/>
                </a:lnTo>
                <a:lnTo>
                  <a:pt x="4077" y="439"/>
                </a:lnTo>
                <a:lnTo>
                  <a:pt x="4077" y="439"/>
                </a:lnTo>
                <a:lnTo>
                  <a:pt x="4077" y="439"/>
                </a:lnTo>
                <a:lnTo>
                  <a:pt x="4077" y="439"/>
                </a:lnTo>
                <a:lnTo>
                  <a:pt x="4071" y="439"/>
                </a:lnTo>
                <a:lnTo>
                  <a:pt x="4071" y="439"/>
                </a:lnTo>
                <a:lnTo>
                  <a:pt x="4071" y="439"/>
                </a:lnTo>
                <a:lnTo>
                  <a:pt x="4065" y="439"/>
                </a:lnTo>
                <a:lnTo>
                  <a:pt x="4071" y="445"/>
                </a:lnTo>
                <a:lnTo>
                  <a:pt x="4071" y="445"/>
                </a:lnTo>
                <a:close/>
                <a:moveTo>
                  <a:pt x="4041" y="391"/>
                </a:moveTo>
                <a:lnTo>
                  <a:pt x="4041" y="391"/>
                </a:lnTo>
                <a:lnTo>
                  <a:pt x="4035" y="391"/>
                </a:lnTo>
                <a:lnTo>
                  <a:pt x="4035" y="391"/>
                </a:lnTo>
                <a:lnTo>
                  <a:pt x="4035" y="397"/>
                </a:lnTo>
                <a:lnTo>
                  <a:pt x="4035" y="397"/>
                </a:lnTo>
                <a:lnTo>
                  <a:pt x="4041" y="403"/>
                </a:lnTo>
                <a:lnTo>
                  <a:pt x="4041" y="403"/>
                </a:lnTo>
                <a:lnTo>
                  <a:pt x="4041" y="403"/>
                </a:lnTo>
                <a:lnTo>
                  <a:pt x="4047" y="403"/>
                </a:lnTo>
                <a:lnTo>
                  <a:pt x="4047" y="403"/>
                </a:lnTo>
                <a:lnTo>
                  <a:pt x="4047" y="397"/>
                </a:lnTo>
                <a:lnTo>
                  <a:pt x="4041" y="391"/>
                </a:lnTo>
                <a:close/>
                <a:moveTo>
                  <a:pt x="3787" y="368"/>
                </a:moveTo>
                <a:lnTo>
                  <a:pt x="3787" y="368"/>
                </a:lnTo>
                <a:lnTo>
                  <a:pt x="3793" y="368"/>
                </a:lnTo>
                <a:lnTo>
                  <a:pt x="3793" y="368"/>
                </a:lnTo>
                <a:lnTo>
                  <a:pt x="3793" y="374"/>
                </a:lnTo>
                <a:lnTo>
                  <a:pt x="3793" y="374"/>
                </a:lnTo>
                <a:lnTo>
                  <a:pt x="3793" y="374"/>
                </a:lnTo>
                <a:lnTo>
                  <a:pt x="3793" y="374"/>
                </a:lnTo>
                <a:lnTo>
                  <a:pt x="3793" y="374"/>
                </a:lnTo>
                <a:lnTo>
                  <a:pt x="3793" y="368"/>
                </a:lnTo>
                <a:lnTo>
                  <a:pt x="3793" y="368"/>
                </a:lnTo>
                <a:lnTo>
                  <a:pt x="3793" y="374"/>
                </a:lnTo>
                <a:lnTo>
                  <a:pt x="3793" y="374"/>
                </a:lnTo>
                <a:lnTo>
                  <a:pt x="3793" y="374"/>
                </a:lnTo>
                <a:lnTo>
                  <a:pt x="3798" y="374"/>
                </a:lnTo>
                <a:lnTo>
                  <a:pt x="3798" y="374"/>
                </a:lnTo>
                <a:lnTo>
                  <a:pt x="3798" y="368"/>
                </a:lnTo>
                <a:lnTo>
                  <a:pt x="3798" y="368"/>
                </a:lnTo>
                <a:lnTo>
                  <a:pt x="3798" y="368"/>
                </a:lnTo>
                <a:lnTo>
                  <a:pt x="3793" y="368"/>
                </a:lnTo>
                <a:lnTo>
                  <a:pt x="3793" y="368"/>
                </a:lnTo>
                <a:lnTo>
                  <a:pt x="3793" y="368"/>
                </a:lnTo>
                <a:lnTo>
                  <a:pt x="3793" y="368"/>
                </a:lnTo>
                <a:lnTo>
                  <a:pt x="3798" y="362"/>
                </a:lnTo>
                <a:lnTo>
                  <a:pt x="3793" y="362"/>
                </a:lnTo>
                <a:lnTo>
                  <a:pt x="3793" y="362"/>
                </a:lnTo>
                <a:lnTo>
                  <a:pt x="3793" y="356"/>
                </a:lnTo>
                <a:lnTo>
                  <a:pt x="3793" y="356"/>
                </a:lnTo>
                <a:lnTo>
                  <a:pt x="3787" y="356"/>
                </a:lnTo>
                <a:lnTo>
                  <a:pt x="3787" y="362"/>
                </a:lnTo>
                <a:lnTo>
                  <a:pt x="3787" y="362"/>
                </a:lnTo>
                <a:lnTo>
                  <a:pt x="3787" y="368"/>
                </a:lnTo>
                <a:lnTo>
                  <a:pt x="3787" y="368"/>
                </a:lnTo>
                <a:close/>
                <a:moveTo>
                  <a:pt x="3603" y="255"/>
                </a:moveTo>
                <a:lnTo>
                  <a:pt x="3603" y="261"/>
                </a:lnTo>
                <a:lnTo>
                  <a:pt x="3597" y="261"/>
                </a:lnTo>
                <a:lnTo>
                  <a:pt x="3597" y="261"/>
                </a:lnTo>
                <a:lnTo>
                  <a:pt x="3597" y="267"/>
                </a:lnTo>
                <a:lnTo>
                  <a:pt x="3597" y="273"/>
                </a:lnTo>
                <a:lnTo>
                  <a:pt x="3597" y="273"/>
                </a:lnTo>
                <a:lnTo>
                  <a:pt x="3609" y="273"/>
                </a:lnTo>
                <a:lnTo>
                  <a:pt x="3609" y="279"/>
                </a:lnTo>
                <a:lnTo>
                  <a:pt x="3609" y="279"/>
                </a:lnTo>
                <a:lnTo>
                  <a:pt x="3609" y="279"/>
                </a:lnTo>
                <a:lnTo>
                  <a:pt x="3615" y="279"/>
                </a:lnTo>
                <a:lnTo>
                  <a:pt x="3615" y="279"/>
                </a:lnTo>
                <a:lnTo>
                  <a:pt x="3615" y="273"/>
                </a:lnTo>
                <a:lnTo>
                  <a:pt x="3615" y="273"/>
                </a:lnTo>
                <a:lnTo>
                  <a:pt x="3615" y="273"/>
                </a:lnTo>
                <a:lnTo>
                  <a:pt x="3615" y="273"/>
                </a:lnTo>
                <a:lnTo>
                  <a:pt x="3615" y="267"/>
                </a:lnTo>
                <a:lnTo>
                  <a:pt x="3615" y="267"/>
                </a:lnTo>
                <a:lnTo>
                  <a:pt x="3621" y="267"/>
                </a:lnTo>
                <a:lnTo>
                  <a:pt x="3621" y="267"/>
                </a:lnTo>
                <a:lnTo>
                  <a:pt x="3621" y="273"/>
                </a:lnTo>
                <a:lnTo>
                  <a:pt x="3615" y="279"/>
                </a:lnTo>
                <a:lnTo>
                  <a:pt x="3615" y="279"/>
                </a:lnTo>
                <a:lnTo>
                  <a:pt x="3615" y="279"/>
                </a:lnTo>
                <a:lnTo>
                  <a:pt x="3615" y="285"/>
                </a:lnTo>
                <a:lnTo>
                  <a:pt x="3609" y="285"/>
                </a:lnTo>
                <a:lnTo>
                  <a:pt x="3609" y="285"/>
                </a:lnTo>
                <a:lnTo>
                  <a:pt x="3609" y="285"/>
                </a:lnTo>
                <a:lnTo>
                  <a:pt x="3615" y="297"/>
                </a:lnTo>
                <a:lnTo>
                  <a:pt x="3615" y="297"/>
                </a:lnTo>
                <a:lnTo>
                  <a:pt x="3621" y="297"/>
                </a:lnTo>
                <a:lnTo>
                  <a:pt x="3621" y="291"/>
                </a:lnTo>
                <a:lnTo>
                  <a:pt x="3627" y="285"/>
                </a:lnTo>
                <a:lnTo>
                  <a:pt x="3627" y="279"/>
                </a:lnTo>
                <a:lnTo>
                  <a:pt x="3627" y="279"/>
                </a:lnTo>
                <a:lnTo>
                  <a:pt x="3633" y="279"/>
                </a:lnTo>
                <a:lnTo>
                  <a:pt x="3633" y="273"/>
                </a:lnTo>
                <a:lnTo>
                  <a:pt x="3633" y="273"/>
                </a:lnTo>
                <a:lnTo>
                  <a:pt x="3633" y="273"/>
                </a:lnTo>
                <a:lnTo>
                  <a:pt x="3633" y="273"/>
                </a:lnTo>
                <a:lnTo>
                  <a:pt x="3633" y="273"/>
                </a:lnTo>
                <a:lnTo>
                  <a:pt x="3633" y="273"/>
                </a:lnTo>
                <a:lnTo>
                  <a:pt x="3633" y="267"/>
                </a:lnTo>
                <a:lnTo>
                  <a:pt x="3638" y="267"/>
                </a:lnTo>
                <a:lnTo>
                  <a:pt x="3638" y="261"/>
                </a:lnTo>
                <a:lnTo>
                  <a:pt x="3638" y="261"/>
                </a:lnTo>
                <a:lnTo>
                  <a:pt x="3638" y="261"/>
                </a:lnTo>
                <a:lnTo>
                  <a:pt x="3638" y="261"/>
                </a:lnTo>
                <a:lnTo>
                  <a:pt x="3644" y="261"/>
                </a:lnTo>
                <a:lnTo>
                  <a:pt x="3644" y="255"/>
                </a:lnTo>
                <a:lnTo>
                  <a:pt x="3644" y="255"/>
                </a:lnTo>
                <a:lnTo>
                  <a:pt x="3650" y="255"/>
                </a:lnTo>
                <a:lnTo>
                  <a:pt x="3650" y="255"/>
                </a:lnTo>
                <a:lnTo>
                  <a:pt x="3650" y="249"/>
                </a:lnTo>
                <a:lnTo>
                  <a:pt x="3650" y="249"/>
                </a:lnTo>
                <a:lnTo>
                  <a:pt x="3656" y="249"/>
                </a:lnTo>
                <a:lnTo>
                  <a:pt x="3656" y="249"/>
                </a:lnTo>
                <a:lnTo>
                  <a:pt x="3662" y="243"/>
                </a:lnTo>
                <a:lnTo>
                  <a:pt x="3662" y="243"/>
                </a:lnTo>
                <a:lnTo>
                  <a:pt x="3656" y="237"/>
                </a:lnTo>
                <a:lnTo>
                  <a:pt x="3656" y="237"/>
                </a:lnTo>
                <a:lnTo>
                  <a:pt x="3656" y="237"/>
                </a:lnTo>
                <a:lnTo>
                  <a:pt x="3656" y="237"/>
                </a:lnTo>
                <a:lnTo>
                  <a:pt x="3662" y="237"/>
                </a:lnTo>
                <a:lnTo>
                  <a:pt x="3668" y="237"/>
                </a:lnTo>
                <a:lnTo>
                  <a:pt x="3668" y="237"/>
                </a:lnTo>
                <a:lnTo>
                  <a:pt x="3674" y="237"/>
                </a:lnTo>
                <a:lnTo>
                  <a:pt x="3674" y="237"/>
                </a:lnTo>
                <a:lnTo>
                  <a:pt x="3680" y="237"/>
                </a:lnTo>
                <a:lnTo>
                  <a:pt x="3680" y="237"/>
                </a:lnTo>
                <a:lnTo>
                  <a:pt x="3686" y="237"/>
                </a:lnTo>
                <a:lnTo>
                  <a:pt x="3686" y="231"/>
                </a:lnTo>
                <a:lnTo>
                  <a:pt x="3686" y="231"/>
                </a:lnTo>
                <a:lnTo>
                  <a:pt x="3686" y="231"/>
                </a:lnTo>
                <a:lnTo>
                  <a:pt x="3686" y="231"/>
                </a:lnTo>
                <a:lnTo>
                  <a:pt x="3680" y="225"/>
                </a:lnTo>
                <a:lnTo>
                  <a:pt x="3680" y="225"/>
                </a:lnTo>
                <a:lnTo>
                  <a:pt x="3674" y="225"/>
                </a:lnTo>
                <a:lnTo>
                  <a:pt x="3650" y="225"/>
                </a:lnTo>
                <a:lnTo>
                  <a:pt x="3644" y="225"/>
                </a:lnTo>
                <a:lnTo>
                  <a:pt x="3638" y="231"/>
                </a:lnTo>
                <a:lnTo>
                  <a:pt x="3638" y="231"/>
                </a:lnTo>
                <a:lnTo>
                  <a:pt x="3633" y="231"/>
                </a:lnTo>
                <a:lnTo>
                  <a:pt x="3633" y="231"/>
                </a:lnTo>
                <a:lnTo>
                  <a:pt x="3633" y="231"/>
                </a:lnTo>
                <a:lnTo>
                  <a:pt x="3633" y="231"/>
                </a:lnTo>
                <a:lnTo>
                  <a:pt x="3633" y="231"/>
                </a:lnTo>
                <a:lnTo>
                  <a:pt x="3627" y="231"/>
                </a:lnTo>
                <a:lnTo>
                  <a:pt x="3627" y="231"/>
                </a:lnTo>
                <a:lnTo>
                  <a:pt x="3621" y="237"/>
                </a:lnTo>
                <a:lnTo>
                  <a:pt x="3615" y="243"/>
                </a:lnTo>
                <a:lnTo>
                  <a:pt x="3609" y="255"/>
                </a:lnTo>
                <a:lnTo>
                  <a:pt x="3603" y="255"/>
                </a:lnTo>
                <a:close/>
                <a:moveTo>
                  <a:pt x="3538" y="166"/>
                </a:moveTo>
                <a:lnTo>
                  <a:pt x="3538" y="166"/>
                </a:lnTo>
                <a:lnTo>
                  <a:pt x="3538" y="166"/>
                </a:lnTo>
                <a:lnTo>
                  <a:pt x="3538" y="172"/>
                </a:lnTo>
                <a:lnTo>
                  <a:pt x="3538" y="172"/>
                </a:lnTo>
                <a:lnTo>
                  <a:pt x="3538" y="172"/>
                </a:lnTo>
                <a:lnTo>
                  <a:pt x="3538" y="172"/>
                </a:lnTo>
                <a:lnTo>
                  <a:pt x="3544" y="172"/>
                </a:lnTo>
                <a:lnTo>
                  <a:pt x="3544" y="172"/>
                </a:lnTo>
                <a:lnTo>
                  <a:pt x="3544" y="172"/>
                </a:lnTo>
                <a:lnTo>
                  <a:pt x="3561" y="166"/>
                </a:lnTo>
                <a:lnTo>
                  <a:pt x="3567" y="166"/>
                </a:lnTo>
                <a:lnTo>
                  <a:pt x="3567" y="160"/>
                </a:lnTo>
                <a:lnTo>
                  <a:pt x="3561" y="160"/>
                </a:lnTo>
                <a:lnTo>
                  <a:pt x="3561" y="160"/>
                </a:lnTo>
                <a:lnTo>
                  <a:pt x="3561" y="160"/>
                </a:lnTo>
                <a:lnTo>
                  <a:pt x="3561" y="154"/>
                </a:lnTo>
                <a:lnTo>
                  <a:pt x="3591" y="148"/>
                </a:lnTo>
                <a:lnTo>
                  <a:pt x="3597" y="142"/>
                </a:lnTo>
                <a:lnTo>
                  <a:pt x="3597" y="136"/>
                </a:lnTo>
                <a:lnTo>
                  <a:pt x="3597" y="136"/>
                </a:lnTo>
                <a:lnTo>
                  <a:pt x="3597" y="136"/>
                </a:lnTo>
                <a:lnTo>
                  <a:pt x="3597" y="136"/>
                </a:lnTo>
                <a:lnTo>
                  <a:pt x="3597" y="136"/>
                </a:lnTo>
                <a:lnTo>
                  <a:pt x="3603" y="130"/>
                </a:lnTo>
                <a:lnTo>
                  <a:pt x="3609" y="125"/>
                </a:lnTo>
                <a:lnTo>
                  <a:pt x="3609" y="125"/>
                </a:lnTo>
                <a:lnTo>
                  <a:pt x="3615" y="125"/>
                </a:lnTo>
                <a:lnTo>
                  <a:pt x="3615" y="119"/>
                </a:lnTo>
                <a:lnTo>
                  <a:pt x="3615" y="119"/>
                </a:lnTo>
                <a:lnTo>
                  <a:pt x="3615" y="125"/>
                </a:lnTo>
                <a:lnTo>
                  <a:pt x="3609" y="125"/>
                </a:lnTo>
                <a:lnTo>
                  <a:pt x="3609" y="125"/>
                </a:lnTo>
                <a:lnTo>
                  <a:pt x="3609" y="125"/>
                </a:lnTo>
                <a:lnTo>
                  <a:pt x="3609" y="119"/>
                </a:lnTo>
                <a:lnTo>
                  <a:pt x="3609" y="119"/>
                </a:lnTo>
                <a:lnTo>
                  <a:pt x="3603" y="125"/>
                </a:lnTo>
                <a:lnTo>
                  <a:pt x="3603" y="125"/>
                </a:lnTo>
                <a:lnTo>
                  <a:pt x="3597" y="125"/>
                </a:lnTo>
                <a:lnTo>
                  <a:pt x="3597" y="125"/>
                </a:lnTo>
                <a:lnTo>
                  <a:pt x="3597" y="125"/>
                </a:lnTo>
                <a:lnTo>
                  <a:pt x="3585" y="130"/>
                </a:lnTo>
                <a:lnTo>
                  <a:pt x="3585" y="130"/>
                </a:lnTo>
                <a:lnTo>
                  <a:pt x="3585" y="130"/>
                </a:lnTo>
                <a:lnTo>
                  <a:pt x="3579" y="136"/>
                </a:lnTo>
                <a:lnTo>
                  <a:pt x="3573" y="136"/>
                </a:lnTo>
                <a:lnTo>
                  <a:pt x="3573" y="136"/>
                </a:lnTo>
                <a:lnTo>
                  <a:pt x="3573" y="142"/>
                </a:lnTo>
                <a:lnTo>
                  <a:pt x="3567" y="142"/>
                </a:lnTo>
                <a:lnTo>
                  <a:pt x="3567" y="142"/>
                </a:lnTo>
                <a:lnTo>
                  <a:pt x="3561" y="142"/>
                </a:lnTo>
                <a:lnTo>
                  <a:pt x="3561" y="148"/>
                </a:lnTo>
                <a:lnTo>
                  <a:pt x="3550" y="154"/>
                </a:lnTo>
                <a:lnTo>
                  <a:pt x="3538" y="160"/>
                </a:lnTo>
                <a:lnTo>
                  <a:pt x="3538" y="160"/>
                </a:lnTo>
                <a:lnTo>
                  <a:pt x="3538" y="160"/>
                </a:lnTo>
                <a:lnTo>
                  <a:pt x="3544" y="160"/>
                </a:lnTo>
                <a:lnTo>
                  <a:pt x="3544" y="160"/>
                </a:lnTo>
                <a:lnTo>
                  <a:pt x="3538" y="166"/>
                </a:lnTo>
                <a:close/>
                <a:moveTo>
                  <a:pt x="5481" y="747"/>
                </a:moveTo>
                <a:lnTo>
                  <a:pt x="5481" y="747"/>
                </a:lnTo>
                <a:lnTo>
                  <a:pt x="5481" y="747"/>
                </a:lnTo>
                <a:lnTo>
                  <a:pt x="5481" y="747"/>
                </a:lnTo>
                <a:lnTo>
                  <a:pt x="5481" y="753"/>
                </a:lnTo>
                <a:lnTo>
                  <a:pt x="5487" y="753"/>
                </a:lnTo>
                <a:lnTo>
                  <a:pt x="5487" y="747"/>
                </a:lnTo>
                <a:lnTo>
                  <a:pt x="5487" y="747"/>
                </a:lnTo>
                <a:lnTo>
                  <a:pt x="5487" y="747"/>
                </a:lnTo>
                <a:lnTo>
                  <a:pt x="5487" y="747"/>
                </a:lnTo>
                <a:lnTo>
                  <a:pt x="5481" y="741"/>
                </a:lnTo>
                <a:lnTo>
                  <a:pt x="5481" y="747"/>
                </a:lnTo>
                <a:close/>
                <a:moveTo>
                  <a:pt x="5481" y="730"/>
                </a:moveTo>
                <a:lnTo>
                  <a:pt x="5481" y="730"/>
                </a:lnTo>
                <a:lnTo>
                  <a:pt x="5481" y="724"/>
                </a:lnTo>
                <a:lnTo>
                  <a:pt x="5481" y="730"/>
                </a:lnTo>
                <a:lnTo>
                  <a:pt x="5481" y="730"/>
                </a:lnTo>
                <a:lnTo>
                  <a:pt x="5481" y="730"/>
                </a:lnTo>
                <a:lnTo>
                  <a:pt x="5481" y="735"/>
                </a:lnTo>
                <a:lnTo>
                  <a:pt x="5475" y="735"/>
                </a:lnTo>
                <a:lnTo>
                  <a:pt x="5475" y="735"/>
                </a:lnTo>
                <a:lnTo>
                  <a:pt x="5475" y="735"/>
                </a:lnTo>
                <a:lnTo>
                  <a:pt x="5475"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41"/>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5"/>
                </a:lnTo>
                <a:lnTo>
                  <a:pt x="5481" y="730"/>
                </a:lnTo>
                <a:lnTo>
                  <a:pt x="5481" y="730"/>
                </a:lnTo>
                <a:close/>
                <a:moveTo>
                  <a:pt x="5588" y="712"/>
                </a:moveTo>
                <a:lnTo>
                  <a:pt x="5588" y="712"/>
                </a:lnTo>
                <a:lnTo>
                  <a:pt x="5588" y="712"/>
                </a:lnTo>
                <a:lnTo>
                  <a:pt x="5588" y="712"/>
                </a:lnTo>
                <a:lnTo>
                  <a:pt x="5582" y="712"/>
                </a:lnTo>
                <a:lnTo>
                  <a:pt x="5582" y="718"/>
                </a:lnTo>
                <a:lnTo>
                  <a:pt x="5582" y="718"/>
                </a:lnTo>
                <a:lnTo>
                  <a:pt x="5582" y="718"/>
                </a:lnTo>
                <a:lnTo>
                  <a:pt x="5582" y="718"/>
                </a:lnTo>
                <a:lnTo>
                  <a:pt x="5588" y="718"/>
                </a:lnTo>
                <a:lnTo>
                  <a:pt x="5588" y="718"/>
                </a:lnTo>
                <a:lnTo>
                  <a:pt x="5588" y="718"/>
                </a:lnTo>
                <a:lnTo>
                  <a:pt x="5588" y="718"/>
                </a:lnTo>
                <a:lnTo>
                  <a:pt x="5588" y="712"/>
                </a:lnTo>
                <a:lnTo>
                  <a:pt x="5588" y="712"/>
                </a:lnTo>
                <a:close/>
                <a:moveTo>
                  <a:pt x="5570" y="712"/>
                </a:moveTo>
                <a:lnTo>
                  <a:pt x="5570" y="712"/>
                </a:lnTo>
                <a:lnTo>
                  <a:pt x="5570" y="712"/>
                </a:lnTo>
                <a:lnTo>
                  <a:pt x="5564" y="712"/>
                </a:lnTo>
                <a:lnTo>
                  <a:pt x="5564" y="712"/>
                </a:lnTo>
                <a:lnTo>
                  <a:pt x="5564" y="706"/>
                </a:lnTo>
                <a:lnTo>
                  <a:pt x="5564" y="706"/>
                </a:lnTo>
                <a:lnTo>
                  <a:pt x="5558" y="706"/>
                </a:lnTo>
                <a:lnTo>
                  <a:pt x="5558" y="706"/>
                </a:lnTo>
                <a:lnTo>
                  <a:pt x="5558" y="712"/>
                </a:lnTo>
                <a:lnTo>
                  <a:pt x="5564" y="712"/>
                </a:lnTo>
                <a:lnTo>
                  <a:pt x="5564" y="712"/>
                </a:lnTo>
                <a:lnTo>
                  <a:pt x="5564" y="712"/>
                </a:lnTo>
                <a:lnTo>
                  <a:pt x="5564" y="712"/>
                </a:lnTo>
                <a:lnTo>
                  <a:pt x="5564" y="718"/>
                </a:lnTo>
                <a:lnTo>
                  <a:pt x="5564" y="718"/>
                </a:lnTo>
                <a:lnTo>
                  <a:pt x="5564" y="718"/>
                </a:lnTo>
                <a:lnTo>
                  <a:pt x="5570" y="718"/>
                </a:lnTo>
                <a:lnTo>
                  <a:pt x="5570" y="718"/>
                </a:lnTo>
                <a:lnTo>
                  <a:pt x="5570" y="718"/>
                </a:lnTo>
                <a:lnTo>
                  <a:pt x="5570" y="718"/>
                </a:lnTo>
                <a:lnTo>
                  <a:pt x="5570" y="718"/>
                </a:lnTo>
                <a:lnTo>
                  <a:pt x="5570" y="712"/>
                </a:lnTo>
                <a:lnTo>
                  <a:pt x="5570" y="712"/>
                </a:lnTo>
                <a:lnTo>
                  <a:pt x="5570" y="712"/>
                </a:lnTo>
                <a:lnTo>
                  <a:pt x="5570" y="712"/>
                </a:lnTo>
                <a:lnTo>
                  <a:pt x="5570" y="712"/>
                </a:lnTo>
                <a:close/>
                <a:moveTo>
                  <a:pt x="5558" y="682"/>
                </a:moveTo>
                <a:lnTo>
                  <a:pt x="5558" y="682"/>
                </a:lnTo>
                <a:lnTo>
                  <a:pt x="5558" y="682"/>
                </a:lnTo>
                <a:lnTo>
                  <a:pt x="5558" y="682"/>
                </a:lnTo>
                <a:lnTo>
                  <a:pt x="5558" y="682"/>
                </a:lnTo>
                <a:lnTo>
                  <a:pt x="5558" y="682"/>
                </a:lnTo>
                <a:lnTo>
                  <a:pt x="5558" y="688"/>
                </a:lnTo>
                <a:lnTo>
                  <a:pt x="5558" y="688"/>
                </a:lnTo>
                <a:lnTo>
                  <a:pt x="5558" y="688"/>
                </a:lnTo>
                <a:lnTo>
                  <a:pt x="5558" y="688"/>
                </a:lnTo>
                <a:lnTo>
                  <a:pt x="5558" y="682"/>
                </a:lnTo>
                <a:lnTo>
                  <a:pt x="5558" y="682"/>
                </a:lnTo>
                <a:lnTo>
                  <a:pt x="5564" y="682"/>
                </a:lnTo>
                <a:lnTo>
                  <a:pt x="5558" y="676"/>
                </a:lnTo>
                <a:lnTo>
                  <a:pt x="5558" y="676"/>
                </a:lnTo>
                <a:lnTo>
                  <a:pt x="5558" y="682"/>
                </a:lnTo>
                <a:lnTo>
                  <a:pt x="5558" y="682"/>
                </a:lnTo>
                <a:close/>
                <a:moveTo>
                  <a:pt x="5612" y="700"/>
                </a:moveTo>
                <a:lnTo>
                  <a:pt x="5612" y="700"/>
                </a:lnTo>
                <a:lnTo>
                  <a:pt x="5606" y="694"/>
                </a:lnTo>
                <a:lnTo>
                  <a:pt x="5606" y="700"/>
                </a:lnTo>
                <a:lnTo>
                  <a:pt x="5606" y="700"/>
                </a:lnTo>
                <a:lnTo>
                  <a:pt x="5606" y="700"/>
                </a:lnTo>
                <a:lnTo>
                  <a:pt x="5606" y="700"/>
                </a:lnTo>
                <a:lnTo>
                  <a:pt x="5606" y="700"/>
                </a:lnTo>
                <a:lnTo>
                  <a:pt x="5606" y="694"/>
                </a:lnTo>
                <a:lnTo>
                  <a:pt x="5606" y="694"/>
                </a:lnTo>
                <a:lnTo>
                  <a:pt x="5600" y="700"/>
                </a:lnTo>
                <a:lnTo>
                  <a:pt x="5600" y="700"/>
                </a:lnTo>
                <a:lnTo>
                  <a:pt x="5600" y="700"/>
                </a:lnTo>
                <a:lnTo>
                  <a:pt x="5600" y="700"/>
                </a:lnTo>
                <a:lnTo>
                  <a:pt x="5600" y="700"/>
                </a:lnTo>
                <a:lnTo>
                  <a:pt x="5600" y="700"/>
                </a:lnTo>
                <a:lnTo>
                  <a:pt x="5600" y="700"/>
                </a:lnTo>
                <a:lnTo>
                  <a:pt x="5600" y="700"/>
                </a:lnTo>
                <a:lnTo>
                  <a:pt x="5606" y="700"/>
                </a:lnTo>
                <a:lnTo>
                  <a:pt x="5606" y="700"/>
                </a:lnTo>
                <a:lnTo>
                  <a:pt x="5606" y="700"/>
                </a:lnTo>
                <a:lnTo>
                  <a:pt x="5606" y="706"/>
                </a:lnTo>
                <a:lnTo>
                  <a:pt x="5612" y="706"/>
                </a:lnTo>
                <a:lnTo>
                  <a:pt x="5612" y="700"/>
                </a:lnTo>
                <a:lnTo>
                  <a:pt x="5612" y="700"/>
                </a:lnTo>
                <a:lnTo>
                  <a:pt x="5612" y="700"/>
                </a:lnTo>
                <a:lnTo>
                  <a:pt x="5612" y="700"/>
                </a:lnTo>
                <a:lnTo>
                  <a:pt x="5612" y="700"/>
                </a:lnTo>
                <a:close/>
                <a:moveTo>
                  <a:pt x="5558" y="706"/>
                </a:moveTo>
                <a:lnTo>
                  <a:pt x="5558" y="706"/>
                </a:lnTo>
                <a:lnTo>
                  <a:pt x="5564" y="706"/>
                </a:lnTo>
                <a:lnTo>
                  <a:pt x="5564" y="706"/>
                </a:lnTo>
                <a:lnTo>
                  <a:pt x="5564" y="706"/>
                </a:lnTo>
                <a:lnTo>
                  <a:pt x="5564" y="706"/>
                </a:lnTo>
                <a:lnTo>
                  <a:pt x="5570" y="700"/>
                </a:lnTo>
                <a:lnTo>
                  <a:pt x="5570" y="700"/>
                </a:lnTo>
                <a:lnTo>
                  <a:pt x="5570" y="700"/>
                </a:lnTo>
                <a:lnTo>
                  <a:pt x="5570" y="700"/>
                </a:lnTo>
                <a:lnTo>
                  <a:pt x="5570" y="700"/>
                </a:lnTo>
                <a:lnTo>
                  <a:pt x="5564" y="700"/>
                </a:lnTo>
                <a:lnTo>
                  <a:pt x="5558" y="700"/>
                </a:lnTo>
                <a:lnTo>
                  <a:pt x="5558" y="700"/>
                </a:lnTo>
                <a:lnTo>
                  <a:pt x="5558" y="706"/>
                </a:lnTo>
                <a:lnTo>
                  <a:pt x="5558" y="706"/>
                </a:lnTo>
                <a:lnTo>
                  <a:pt x="5558" y="706"/>
                </a:lnTo>
                <a:lnTo>
                  <a:pt x="5558" y="706"/>
                </a:lnTo>
                <a:lnTo>
                  <a:pt x="5558" y="706"/>
                </a:lnTo>
                <a:lnTo>
                  <a:pt x="5558" y="706"/>
                </a:lnTo>
                <a:lnTo>
                  <a:pt x="5558" y="706"/>
                </a:lnTo>
                <a:close/>
                <a:moveTo>
                  <a:pt x="5588" y="700"/>
                </a:moveTo>
                <a:lnTo>
                  <a:pt x="5588" y="700"/>
                </a:lnTo>
                <a:lnTo>
                  <a:pt x="5588" y="694"/>
                </a:lnTo>
                <a:lnTo>
                  <a:pt x="5582" y="694"/>
                </a:lnTo>
                <a:lnTo>
                  <a:pt x="5582" y="694"/>
                </a:lnTo>
                <a:lnTo>
                  <a:pt x="5588" y="694"/>
                </a:lnTo>
                <a:lnTo>
                  <a:pt x="5588" y="694"/>
                </a:lnTo>
                <a:lnTo>
                  <a:pt x="5588" y="694"/>
                </a:lnTo>
                <a:lnTo>
                  <a:pt x="5588" y="688"/>
                </a:lnTo>
                <a:lnTo>
                  <a:pt x="5588" y="688"/>
                </a:lnTo>
                <a:lnTo>
                  <a:pt x="5588" y="688"/>
                </a:lnTo>
                <a:lnTo>
                  <a:pt x="5588" y="688"/>
                </a:lnTo>
                <a:lnTo>
                  <a:pt x="5588" y="688"/>
                </a:lnTo>
                <a:lnTo>
                  <a:pt x="5588" y="688"/>
                </a:lnTo>
                <a:lnTo>
                  <a:pt x="5582" y="682"/>
                </a:lnTo>
                <a:lnTo>
                  <a:pt x="5582" y="682"/>
                </a:lnTo>
                <a:lnTo>
                  <a:pt x="5582" y="682"/>
                </a:lnTo>
                <a:lnTo>
                  <a:pt x="5582" y="688"/>
                </a:lnTo>
                <a:lnTo>
                  <a:pt x="5582" y="688"/>
                </a:lnTo>
                <a:lnTo>
                  <a:pt x="5582" y="688"/>
                </a:lnTo>
                <a:lnTo>
                  <a:pt x="5582" y="688"/>
                </a:lnTo>
                <a:lnTo>
                  <a:pt x="5582" y="688"/>
                </a:lnTo>
                <a:lnTo>
                  <a:pt x="5582" y="688"/>
                </a:lnTo>
                <a:lnTo>
                  <a:pt x="5582" y="694"/>
                </a:lnTo>
                <a:lnTo>
                  <a:pt x="5582" y="694"/>
                </a:lnTo>
                <a:lnTo>
                  <a:pt x="5576" y="694"/>
                </a:lnTo>
                <a:lnTo>
                  <a:pt x="5576" y="694"/>
                </a:lnTo>
                <a:lnTo>
                  <a:pt x="5576" y="694"/>
                </a:lnTo>
                <a:lnTo>
                  <a:pt x="5576" y="694"/>
                </a:lnTo>
                <a:lnTo>
                  <a:pt x="5576" y="694"/>
                </a:lnTo>
                <a:lnTo>
                  <a:pt x="5576" y="694"/>
                </a:lnTo>
                <a:lnTo>
                  <a:pt x="5576" y="700"/>
                </a:lnTo>
                <a:lnTo>
                  <a:pt x="5576" y="700"/>
                </a:lnTo>
                <a:lnTo>
                  <a:pt x="5576" y="700"/>
                </a:lnTo>
                <a:lnTo>
                  <a:pt x="5576" y="700"/>
                </a:lnTo>
                <a:lnTo>
                  <a:pt x="5582" y="700"/>
                </a:lnTo>
                <a:lnTo>
                  <a:pt x="5582" y="700"/>
                </a:lnTo>
                <a:lnTo>
                  <a:pt x="5588" y="700"/>
                </a:lnTo>
                <a:close/>
                <a:moveTo>
                  <a:pt x="5689" y="652"/>
                </a:moveTo>
                <a:lnTo>
                  <a:pt x="5689" y="652"/>
                </a:lnTo>
                <a:lnTo>
                  <a:pt x="5689" y="652"/>
                </a:lnTo>
                <a:lnTo>
                  <a:pt x="5689" y="652"/>
                </a:lnTo>
                <a:lnTo>
                  <a:pt x="5689" y="652"/>
                </a:lnTo>
                <a:lnTo>
                  <a:pt x="5689" y="652"/>
                </a:lnTo>
                <a:lnTo>
                  <a:pt x="5689" y="652"/>
                </a:lnTo>
                <a:lnTo>
                  <a:pt x="5689" y="658"/>
                </a:lnTo>
                <a:lnTo>
                  <a:pt x="5689" y="658"/>
                </a:lnTo>
                <a:lnTo>
                  <a:pt x="5689" y="658"/>
                </a:lnTo>
                <a:lnTo>
                  <a:pt x="5689" y="658"/>
                </a:lnTo>
                <a:lnTo>
                  <a:pt x="5695" y="658"/>
                </a:lnTo>
                <a:lnTo>
                  <a:pt x="5695" y="658"/>
                </a:lnTo>
                <a:lnTo>
                  <a:pt x="5689" y="652"/>
                </a:lnTo>
                <a:lnTo>
                  <a:pt x="5689" y="652"/>
                </a:lnTo>
                <a:close/>
                <a:moveTo>
                  <a:pt x="5718" y="635"/>
                </a:moveTo>
                <a:lnTo>
                  <a:pt x="5718" y="635"/>
                </a:lnTo>
                <a:lnTo>
                  <a:pt x="5718" y="635"/>
                </a:lnTo>
                <a:lnTo>
                  <a:pt x="5718" y="641"/>
                </a:lnTo>
                <a:lnTo>
                  <a:pt x="5718" y="641"/>
                </a:lnTo>
                <a:lnTo>
                  <a:pt x="5724" y="641"/>
                </a:lnTo>
                <a:lnTo>
                  <a:pt x="5724" y="635"/>
                </a:lnTo>
                <a:lnTo>
                  <a:pt x="5724" y="635"/>
                </a:lnTo>
                <a:lnTo>
                  <a:pt x="5718" y="635"/>
                </a:lnTo>
                <a:lnTo>
                  <a:pt x="5718" y="635"/>
                </a:lnTo>
                <a:close/>
                <a:moveTo>
                  <a:pt x="5760" y="593"/>
                </a:moveTo>
                <a:lnTo>
                  <a:pt x="5760" y="593"/>
                </a:lnTo>
                <a:lnTo>
                  <a:pt x="5760" y="587"/>
                </a:lnTo>
                <a:lnTo>
                  <a:pt x="5760" y="587"/>
                </a:lnTo>
                <a:lnTo>
                  <a:pt x="5760" y="587"/>
                </a:lnTo>
                <a:lnTo>
                  <a:pt x="5754" y="593"/>
                </a:lnTo>
                <a:lnTo>
                  <a:pt x="5754" y="593"/>
                </a:lnTo>
                <a:lnTo>
                  <a:pt x="5754" y="593"/>
                </a:lnTo>
                <a:lnTo>
                  <a:pt x="5754" y="599"/>
                </a:lnTo>
                <a:lnTo>
                  <a:pt x="5754" y="599"/>
                </a:lnTo>
                <a:lnTo>
                  <a:pt x="5754" y="599"/>
                </a:lnTo>
                <a:lnTo>
                  <a:pt x="5754" y="599"/>
                </a:lnTo>
                <a:lnTo>
                  <a:pt x="5754" y="599"/>
                </a:lnTo>
                <a:lnTo>
                  <a:pt x="5754" y="605"/>
                </a:lnTo>
                <a:lnTo>
                  <a:pt x="5754" y="605"/>
                </a:lnTo>
                <a:lnTo>
                  <a:pt x="5754" y="605"/>
                </a:lnTo>
                <a:lnTo>
                  <a:pt x="5754" y="605"/>
                </a:lnTo>
                <a:lnTo>
                  <a:pt x="5754" y="605"/>
                </a:lnTo>
                <a:lnTo>
                  <a:pt x="5760" y="605"/>
                </a:lnTo>
                <a:lnTo>
                  <a:pt x="5760" y="605"/>
                </a:lnTo>
                <a:lnTo>
                  <a:pt x="5760" y="605"/>
                </a:lnTo>
                <a:lnTo>
                  <a:pt x="5754" y="599"/>
                </a:lnTo>
                <a:lnTo>
                  <a:pt x="5760" y="599"/>
                </a:lnTo>
                <a:lnTo>
                  <a:pt x="5760" y="599"/>
                </a:lnTo>
                <a:lnTo>
                  <a:pt x="5760" y="599"/>
                </a:lnTo>
                <a:lnTo>
                  <a:pt x="5760" y="593"/>
                </a:lnTo>
                <a:lnTo>
                  <a:pt x="5760" y="593"/>
                </a:lnTo>
                <a:lnTo>
                  <a:pt x="5760" y="593"/>
                </a:lnTo>
                <a:lnTo>
                  <a:pt x="5760" y="593"/>
                </a:lnTo>
                <a:close/>
                <a:moveTo>
                  <a:pt x="5742" y="593"/>
                </a:moveTo>
                <a:lnTo>
                  <a:pt x="5748" y="593"/>
                </a:lnTo>
                <a:lnTo>
                  <a:pt x="5748" y="599"/>
                </a:lnTo>
                <a:lnTo>
                  <a:pt x="5748" y="599"/>
                </a:lnTo>
                <a:lnTo>
                  <a:pt x="5748" y="599"/>
                </a:lnTo>
                <a:lnTo>
                  <a:pt x="5748" y="599"/>
                </a:lnTo>
                <a:lnTo>
                  <a:pt x="5748" y="593"/>
                </a:lnTo>
                <a:lnTo>
                  <a:pt x="5748" y="593"/>
                </a:lnTo>
                <a:lnTo>
                  <a:pt x="5748" y="593"/>
                </a:lnTo>
                <a:lnTo>
                  <a:pt x="5748" y="587"/>
                </a:lnTo>
                <a:lnTo>
                  <a:pt x="5742" y="593"/>
                </a:lnTo>
                <a:lnTo>
                  <a:pt x="5742" y="593"/>
                </a:lnTo>
                <a:close/>
                <a:moveTo>
                  <a:pt x="5748" y="587"/>
                </a:moveTo>
                <a:lnTo>
                  <a:pt x="5748" y="593"/>
                </a:lnTo>
                <a:lnTo>
                  <a:pt x="5748" y="593"/>
                </a:lnTo>
                <a:lnTo>
                  <a:pt x="5754" y="593"/>
                </a:lnTo>
                <a:lnTo>
                  <a:pt x="5754" y="593"/>
                </a:lnTo>
                <a:lnTo>
                  <a:pt x="5754" y="587"/>
                </a:lnTo>
                <a:lnTo>
                  <a:pt x="5754" y="587"/>
                </a:lnTo>
                <a:lnTo>
                  <a:pt x="5754" y="587"/>
                </a:lnTo>
                <a:lnTo>
                  <a:pt x="5754" y="581"/>
                </a:lnTo>
                <a:lnTo>
                  <a:pt x="5754" y="581"/>
                </a:lnTo>
                <a:lnTo>
                  <a:pt x="5754" y="581"/>
                </a:lnTo>
                <a:lnTo>
                  <a:pt x="5754" y="581"/>
                </a:lnTo>
                <a:lnTo>
                  <a:pt x="5754" y="581"/>
                </a:lnTo>
                <a:lnTo>
                  <a:pt x="5754" y="581"/>
                </a:lnTo>
                <a:lnTo>
                  <a:pt x="5754" y="581"/>
                </a:lnTo>
                <a:lnTo>
                  <a:pt x="5754" y="581"/>
                </a:lnTo>
                <a:lnTo>
                  <a:pt x="5754" y="581"/>
                </a:lnTo>
                <a:lnTo>
                  <a:pt x="5748" y="581"/>
                </a:lnTo>
                <a:lnTo>
                  <a:pt x="5748" y="581"/>
                </a:lnTo>
                <a:lnTo>
                  <a:pt x="5748" y="587"/>
                </a:lnTo>
                <a:lnTo>
                  <a:pt x="5748" y="587"/>
                </a:lnTo>
                <a:lnTo>
                  <a:pt x="5748" y="587"/>
                </a:lnTo>
                <a:close/>
                <a:moveTo>
                  <a:pt x="5624" y="664"/>
                </a:moveTo>
                <a:lnTo>
                  <a:pt x="5624" y="664"/>
                </a:lnTo>
                <a:lnTo>
                  <a:pt x="5624" y="664"/>
                </a:lnTo>
                <a:lnTo>
                  <a:pt x="5624" y="664"/>
                </a:lnTo>
                <a:lnTo>
                  <a:pt x="5624" y="658"/>
                </a:lnTo>
                <a:lnTo>
                  <a:pt x="5624" y="658"/>
                </a:lnTo>
                <a:lnTo>
                  <a:pt x="5618" y="658"/>
                </a:lnTo>
                <a:lnTo>
                  <a:pt x="5612" y="664"/>
                </a:lnTo>
                <a:lnTo>
                  <a:pt x="5612" y="664"/>
                </a:lnTo>
                <a:lnTo>
                  <a:pt x="5612" y="664"/>
                </a:lnTo>
                <a:lnTo>
                  <a:pt x="5612" y="670"/>
                </a:lnTo>
                <a:lnTo>
                  <a:pt x="5612" y="670"/>
                </a:lnTo>
                <a:lnTo>
                  <a:pt x="5612" y="670"/>
                </a:lnTo>
                <a:lnTo>
                  <a:pt x="5612" y="670"/>
                </a:lnTo>
                <a:lnTo>
                  <a:pt x="5612" y="670"/>
                </a:lnTo>
                <a:lnTo>
                  <a:pt x="5612" y="670"/>
                </a:lnTo>
                <a:lnTo>
                  <a:pt x="5606" y="676"/>
                </a:lnTo>
                <a:lnTo>
                  <a:pt x="5606" y="676"/>
                </a:lnTo>
                <a:lnTo>
                  <a:pt x="5606" y="682"/>
                </a:lnTo>
                <a:lnTo>
                  <a:pt x="5606" y="682"/>
                </a:lnTo>
                <a:lnTo>
                  <a:pt x="5606" y="682"/>
                </a:lnTo>
                <a:lnTo>
                  <a:pt x="5606" y="682"/>
                </a:lnTo>
                <a:lnTo>
                  <a:pt x="5612" y="682"/>
                </a:lnTo>
                <a:lnTo>
                  <a:pt x="5612" y="682"/>
                </a:lnTo>
                <a:lnTo>
                  <a:pt x="5606" y="682"/>
                </a:lnTo>
                <a:lnTo>
                  <a:pt x="5606" y="688"/>
                </a:lnTo>
                <a:lnTo>
                  <a:pt x="5612" y="688"/>
                </a:lnTo>
                <a:lnTo>
                  <a:pt x="5612" y="688"/>
                </a:lnTo>
                <a:lnTo>
                  <a:pt x="5612" y="688"/>
                </a:lnTo>
                <a:lnTo>
                  <a:pt x="5612" y="688"/>
                </a:lnTo>
                <a:lnTo>
                  <a:pt x="5612" y="688"/>
                </a:lnTo>
                <a:lnTo>
                  <a:pt x="5612" y="688"/>
                </a:lnTo>
                <a:lnTo>
                  <a:pt x="5612" y="688"/>
                </a:lnTo>
                <a:lnTo>
                  <a:pt x="5618" y="688"/>
                </a:lnTo>
                <a:lnTo>
                  <a:pt x="5618" y="694"/>
                </a:lnTo>
                <a:lnTo>
                  <a:pt x="5618" y="688"/>
                </a:lnTo>
                <a:lnTo>
                  <a:pt x="5618" y="688"/>
                </a:lnTo>
                <a:lnTo>
                  <a:pt x="5618" y="688"/>
                </a:lnTo>
                <a:lnTo>
                  <a:pt x="5618" y="688"/>
                </a:lnTo>
                <a:lnTo>
                  <a:pt x="5618" y="688"/>
                </a:lnTo>
                <a:lnTo>
                  <a:pt x="5618" y="682"/>
                </a:lnTo>
                <a:lnTo>
                  <a:pt x="5618" y="682"/>
                </a:lnTo>
                <a:lnTo>
                  <a:pt x="5618" y="682"/>
                </a:lnTo>
                <a:lnTo>
                  <a:pt x="5618" y="682"/>
                </a:lnTo>
                <a:lnTo>
                  <a:pt x="5618" y="682"/>
                </a:lnTo>
                <a:lnTo>
                  <a:pt x="5624" y="682"/>
                </a:lnTo>
                <a:lnTo>
                  <a:pt x="5624" y="682"/>
                </a:lnTo>
                <a:lnTo>
                  <a:pt x="5630" y="682"/>
                </a:lnTo>
                <a:lnTo>
                  <a:pt x="5630" y="676"/>
                </a:lnTo>
                <a:lnTo>
                  <a:pt x="5630" y="670"/>
                </a:lnTo>
                <a:lnTo>
                  <a:pt x="5624" y="664"/>
                </a:lnTo>
                <a:close/>
                <a:moveTo>
                  <a:pt x="5600" y="676"/>
                </a:moveTo>
                <a:lnTo>
                  <a:pt x="5600" y="676"/>
                </a:lnTo>
                <a:lnTo>
                  <a:pt x="5600" y="676"/>
                </a:lnTo>
                <a:lnTo>
                  <a:pt x="5600" y="676"/>
                </a:lnTo>
                <a:lnTo>
                  <a:pt x="5600" y="676"/>
                </a:lnTo>
                <a:lnTo>
                  <a:pt x="5600" y="676"/>
                </a:lnTo>
                <a:lnTo>
                  <a:pt x="5600" y="670"/>
                </a:lnTo>
                <a:lnTo>
                  <a:pt x="5600" y="670"/>
                </a:lnTo>
                <a:lnTo>
                  <a:pt x="5600" y="670"/>
                </a:lnTo>
                <a:lnTo>
                  <a:pt x="5600" y="670"/>
                </a:lnTo>
                <a:lnTo>
                  <a:pt x="5600" y="670"/>
                </a:lnTo>
                <a:lnTo>
                  <a:pt x="5600" y="670"/>
                </a:lnTo>
                <a:lnTo>
                  <a:pt x="5600" y="670"/>
                </a:lnTo>
                <a:lnTo>
                  <a:pt x="5600" y="670"/>
                </a:lnTo>
                <a:lnTo>
                  <a:pt x="5600" y="670"/>
                </a:lnTo>
                <a:lnTo>
                  <a:pt x="5600" y="676"/>
                </a:lnTo>
                <a:lnTo>
                  <a:pt x="5600" y="676"/>
                </a:lnTo>
                <a:lnTo>
                  <a:pt x="5600" y="676"/>
                </a:lnTo>
                <a:lnTo>
                  <a:pt x="5600" y="676"/>
                </a:lnTo>
                <a:lnTo>
                  <a:pt x="5600" y="676"/>
                </a:lnTo>
                <a:lnTo>
                  <a:pt x="5600" y="676"/>
                </a:lnTo>
                <a:lnTo>
                  <a:pt x="5600" y="676"/>
                </a:lnTo>
                <a:close/>
                <a:moveTo>
                  <a:pt x="5558" y="676"/>
                </a:moveTo>
                <a:lnTo>
                  <a:pt x="5564" y="676"/>
                </a:lnTo>
                <a:lnTo>
                  <a:pt x="5564" y="676"/>
                </a:lnTo>
                <a:lnTo>
                  <a:pt x="5564" y="676"/>
                </a:lnTo>
                <a:lnTo>
                  <a:pt x="5564" y="670"/>
                </a:lnTo>
                <a:lnTo>
                  <a:pt x="5564" y="670"/>
                </a:lnTo>
                <a:lnTo>
                  <a:pt x="5564" y="670"/>
                </a:lnTo>
                <a:lnTo>
                  <a:pt x="5558" y="670"/>
                </a:lnTo>
                <a:lnTo>
                  <a:pt x="5558" y="670"/>
                </a:lnTo>
                <a:lnTo>
                  <a:pt x="5558" y="676"/>
                </a:lnTo>
                <a:lnTo>
                  <a:pt x="5558" y="676"/>
                </a:lnTo>
                <a:lnTo>
                  <a:pt x="5558" y="676"/>
                </a:lnTo>
                <a:lnTo>
                  <a:pt x="5558" y="676"/>
                </a:lnTo>
                <a:lnTo>
                  <a:pt x="5558" y="676"/>
                </a:lnTo>
                <a:close/>
                <a:moveTo>
                  <a:pt x="5754" y="605"/>
                </a:moveTo>
                <a:lnTo>
                  <a:pt x="5748" y="605"/>
                </a:lnTo>
                <a:lnTo>
                  <a:pt x="5748" y="605"/>
                </a:lnTo>
                <a:lnTo>
                  <a:pt x="5748" y="605"/>
                </a:lnTo>
                <a:lnTo>
                  <a:pt x="5748" y="605"/>
                </a:lnTo>
                <a:lnTo>
                  <a:pt x="5748" y="605"/>
                </a:lnTo>
                <a:lnTo>
                  <a:pt x="5748" y="605"/>
                </a:lnTo>
                <a:lnTo>
                  <a:pt x="5748" y="605"/>
                </a:lnTo>
                <a:lnTo>
                  <a:pt x="5748" y="605"/>
                </a:lnTo>
                <a:lnTo>
                  <a:pt x="5748" y="605"/>
                </a:lnTo>
                <a:lnTo>
                  <a:pt x="5748" y="605"/>
                </a:lnTo>
                <a:lnTo>
                  <a:pt x="5748" y="605"/>
                </a:lnTo>
                <a:lnTo>
                  <a:pt x="5748" y="599"/>
                </a:lnTo>
                <a:lnTo>
                  <a:pt x="5742" y="599"/>
                </a:lnTo>
                <a:lnTo>
                  <a:pt x="5742" y="599"/>
                </a:lnTo>
                <a:lnTo>
                  <a:pt x="5742" y="599"/>
                </a:lnTo>
                <a:lnTo>
                  <a:pt x="5748" y="605"/>
                </a:lnTo>
                <a:lnTo>
                  <a:pt x="5742" y="605"/>
                </a:lnTo>
                <a:lnTo>
                  <a:pt x="5742" y="605"/>
                </a:lnTo>
                <a:lnTo>
                  <a:pt x="5742" y="605"/>
                </a:lnTo>
                <a:lnTo>
                  <a:pt x="5742" y="605"/>
                </a:lnTo>
                <a:lnTo>
                  <a:pt x="5742" y="599"/>
                </a:lnTo>
                <a:lnTo>
                  <a:pt x="5742" y="599"/>
                </a:lnTo>
                <a:lnTo>
                  <a:pt x="5742" y="599"/>
                </a:lnTo>
                <a:lnTo>
                  <a:pt x="5742" y="599"/>
                </a:lnTo>
                <a:lnTo>
                  <a:pt x="5736" y="599"/>
                </a:lnTo>
                <a:lnTo>
                  <a:pt x="5736" y="599"/>
                </a:lnTo>
                <a:lnTo>
                  <a:pt x="5736" y="599"/>
                </a:lnTo>
                <a:lnTo>
                  <a:pt x="5742" y="599"/>
                </a:lnTo>
                <a:lnTo>
                  <a:pt x="5742" y="599"/>
                </a:lnTo>
                <a:lnTo>
                  <a:pt x="5742" y="599"/>
                </a:lnTo>
                <a:lnTo>
                  <a:pt x="5736" y="605"/>
                </a:lnTo>
                <a:lnTo>
                  <a:pt x="5736" y="605"/>
                </a:lnTo>
                <a:lnTo>
                  <a:pt x="5736" y="605"/>
                </a:lnTo>
                <a:lnTo>
                  <a:pt x="5742" y="605"/>
                </a:lnTo>
                <a:lnTo>
                  <a:pt x="5736" y="605"/>
                </a:lnTo>
                <a:lnTo>
                  <a:pt x="5736" y="599"/>
                </a:lnTo>
                <a:lnTo>
                  <a:pt x="5736" y="599"/>
                </a:lnTo>
                <a:lnTo>
                  <a:pt x="5736" y="605"/>
                </a:lnTo>
                <a:lnTo>
                  <a:pt x="5736" y="605"/>
                </a:lnTo>
                <a:lnTo>
                  <a:pt x="5736" y="605"/>
                </a:lnTo>
                <a:lnTo>
                  <a:pt x="5736" y="611"/>
                </a:lnTo>
                <a:lnTo>
                  <a:pt x="5736" y="605"/>
                </a:lnTo>
                <a:lnTo>
                  <a:pt x="5730" y="599"/>
                </a:lnTo>
                <a:lnTo>
                  <a:pt x="5730" y="599"/>
                </a:lnTo>
                <a:lnTo>
                  <a:pt x="5730" y="599"/>
                </a:lnTo>
                <a:lnTo>
                  <a:pt x="5730" y="599"/>
                </a:lnTo>
                <a:lnTo>
                  <a:pt x="5730" y="593"/>
                </a:lnTo>
                <a:lnTo>
                  <a:pt x="5730" y="593"/>
                </a:lnTo>
                <a:lnTo>
                  <a:pt x="5730" y="593"/>
                </a:lnTo>
                <a:lnTo>
                  <a:pt x="5730" y="593"/>
                </a:lnTo>
                <a:lnTo>
                  <a:pt x="5736" y="599"/>
                </a:lnTo>
                <a:lnTo>
                  <a:pt x="5736" y="599"/>
                </a:lnTo>
                <a:lnTo>
                  <a:pt x="5736" y="599"/>
                </a:lnTo>
                <a:lnTo>
                  <a:pt x="5736" y="599"/>
                </a:lnTo>
                <a:lnTo>
                  <a:pt x="5736" y="599"/>
                </a:lnTo>
                <a:lnTo>
                  <a:pt x="5736" y="593"/>
                </a:lnTo>
                <a:lnTo>
                  <a:pt x="5736" y="593"/>
                </a:lnTo>
                <a:lnTo>
                  <a:pt x="5736" y="593"/>
                </a:lnTo>
                <a:lnTo>
                  <a:pt x="5736" y="593"/>
                </a:lnTo>
                <a:lnTo>
                  <a:pt x="5736" y="587"/>
                </a:lnTo>
                <a:lnTo>
                  <a:pt x="5736" y="587"/>
                </a:lnTo>
                <a:lnTo>
                  <a:pt x="5742" y="593"/>
                </a:lnTo>
                <a:lnTo>
                  <a:pt x="5742" y="593"/>
                </a:lnTo>
                <a:lnTo>
                  <a:pt x="5742" y="593"/>
                </a:lnTo>
                <a:lnTo>
                  <a:pt x="5742" y="587"/>
                </a:lnTo>
                <a:lnTo>
                  <a:pt x="5742" y="587"/>
                </a:lnTo>
                <a:lnTo>
                  <a:pt x="5742" y="587"/>
                </a:lnTo>
                <a:lnTo>
                  <a:pt x="5748" y="587"/>
                </a:lnTo>
                <a:lnTo>
                  <a:pt x="5742" y="587"/>
                </a:lnTo>
                <a:lnTo>
                  <a:pt x="5742" y="587"/>
                </a:lnTo>
                <a:lnTo>
                  <a:pt x="5742" y="581"/>
                </a:lnTo>
                <a:lnTo>
                  <a:pt x="5742" y="581"/>
                </a:lnTo>
                <a:lnTo>
                  <a:pt x="5742" y="581"/>
                </a:lnTo>
                <a:lnTo>
                  <a:pt x="5736" y="575"/>
                </a:lnTo>
                <a:lnTo>
                  <a:pt x="5736" y="575"/>
                </a:lnTo>
                <a:lnTo>
                  <a:pt x="5736" y="575"/>
                </a:lnTo>
                <a:lnTo>
                  <a:pt x="5742" y="575"/>
                </a:lnTo>
                <a:lnTo>
                  <a:pt x="5736" y="569"/>
                </a:lnTo>
                <a:lnTo>
                  <a:pt x="5736" y="569"/>
                </a:lnTo>
                <a:lnTo>
                  <a:pt x="5736" y="569"/>
                </a:lnTo>
                <a:lnTo>
                  <a:pt x="5736" y="569"/>
                </a:lnTo>
                <a:lnTo>
                  <a:pt x="5736" y="569"/>
                </a:lnTo>
                <a:lnTo>
                  <a:pt x="5736" y="569"/>
                </a:lnTo>
                <a:lnTo>
                  <a:pt x="5736" y="563"/>
                </a:lnTo>
                <a:lnTo>
                  <a:pt x="5736" y="563"/>
                </a:lnTo>
                <a:lnTo>
                  <a:pt x="5736" y="563"/>
                </a:lnTo>
                <a:lnTo>
                  <a:pt x="5736" y="563"/>
                </a:lnTo>
                <a:lnTo>
                  <a:pt x="5736" y="563"/>
                </a:lnTo>
                <a:lnTo>
                  <a:pt x="5730" y="563"/>
                </a:lnTo>
                <a:lnTo>
                  <a:pt x="5730" y="563"/>
                </a:lnTo>
                <a:lnTo>
                  <a:pt x="5730" y="563"/>
                </a:lnTo>
                <a:lnTo>
                  <a:pt x="5730" y="558"/>
                </a:lnTo>
                <a:lnTo>
                  <a:pt x="5730" y="558"/>
                </a:lnTo>
                <a:lnTo>
                  <a:pt x="5730" y="558"/>
                </a:lnTo>
                <a:lnTo>
                  <a:pt x="5730" y="558"/>
                </a:lnTo>
                <a:lnTo>
                  <a:pt x="5730" y="558"/>
                </a:lnTo>
                <a:lnTo>
                  <a:pt x="5730" y="558"/>
                </a:lnTo>
                <a:lnTo>
                  <a:pt x="5730" y="558"/>
                </a:lnTo>
                <a:lnTo>
                  <a:pt x="5730" y="558"/>
                </a:lnTo>
                <a:lnTo>
                  <a:pt x="5730" y="558"/>
                </a:lnTo>
                <a:lnTo>
                  <a:pt x="5730" y="558"/>
                </a:lnTo>
                <a:lnTo>
                  <a:pt x="5730" y="558"/>
                </a:lnTo>
                <a:lnTo>
                  <a:pt x="5730" y="558"/>
                </a:lnTo>
                <a:lnTo>
                  <a:pt x="5724" y="552"/>
                </a:lnTo>
                <a:lnTo>
                  <a:pt x="5724" y="552"/>
                </a:lnTo>
                <a:lnTo>
                  <a:pt x="5724" y="552"/>
                </a:lnTo>
                <a:lnTo>
                  <a:pt x="5724" y="552"/>
                </a:lnTo>
                <a:lnTo>
                  <a:pt x="5724" y="558"/>
                </a:lnTo>
                <a:lnTo>
                  <a:pt x="5724" y="558"/>
                </a:lnTo>
                <a:lnTo>
                  <a:pt x="5724" y="558"/>
                </a:lnTo>
                <a:lnTo>
                  <a:pt x="5724" y="558"/>
                </a:lnTo>
                <a:lnTo>
                  <a:pt x="5724" y="558"/>
                </a:lnTo>
                <a:lnTo>
                  <a:pt x="5718" y="558"/>
                </a:lnTo>
                <a:lnTo>
                  <a:pt x="5718" y="563"/>
                </a:lnTo>
                <a:lnTo>
                  <a:pt x="5718" y="558"/>
                </a:lnTo>
                <a:lnTo>
                  <a:pt x="5713" y="558"/>
                </a:lnTo>
                <a:lnTo>
                  <a:pt x="5713" y="558"/>
                </a:lnTo>
                <a:lnTo>
                  <a:pt x="5707" y="552"/>
                </a:lnTo>
                <a:lnTo>
                  <a:pt x="5707" y="552"/>
                </a:lnTo>
                <a:lnTo>
                  <a:pt x="5707" y="546"/>
                </a:lnTo>
                <a:lnTo>
                  <a:pt x="5701" y="546"/>
                </a:lnTo>
                <a:lnTo>
                  <a:pt x="5701" y="540"/>
                </a:lnTo>
                <a:lnTo>
                  <a:pt x="5701" y="540"/>
                </a:lnTo>
                <a:lnTo>
                  <a:pt x="5701" y="540"/>
                </a:lnTo>
                <a:lnTo>
                  <a:pt x="5701" y="540"/>
                </a:lnTo>
                <a:lnTo>
                  <a:pt x="5707" y="534"/>
                </a:lnTo>
                <a:lnTo>
                  <a:pt x="5707" y="528"/>
                </a:lnTo>
                <a:lnTo>
                  <a:pt x="5701" y="516"/>
                </a:lnTo>
                <a:lnTo>
                  <a:pt x="5701" y="516"/>
                </a:lnTo>
                <a:lnTo>
                  <a:pt x="5701" y="510"/>
                </a:lnTo>
                <a:lnTo>
                  <a:pt x="5701" y="510"/>
                </a:lnTo>
                <a:lnTo>
                  <a:pt x="5701" y="510"/>
                </a:lnTo>
                <a:lnTo>
                  <a:pt x="5707" y="510"/>
                </a:lnTo>
                <a:lnTo>
                  <a:pt x="5707" y="510"/>
                </a:lnTo>
                <a:lnTo>
                  <a:pt x="5707" y="510"/>
                </a:lnTo>
                <a:lnTo>
                  <a:pt x="5707" y="504"/>
                </a:lnTo>
                <a:lnTo>
                  <a:pt x="5707" y="504"/>
                </a:lnTo>
                <a:lnTo>
                  <a:pt x="5707" y="504"/>
                </a:lnTo>
                <a:lnTo>
                  <a:pt x="5707" y="504"/>
                </a:lnTo>
                <a:lnTo>
                  <a:pt x="5707" y="498"/>
                </a:lnTo>
                <a:lnTo>
                  <a:pt x="5707" y="498"/>
                </a:lnTo>
                <a:lnTo>
                  <a:pt x="5707" y="498"/>
                </a:lnTo>
                <a:lnTo>
                  <a:pt x="5695" y="498"/>
                </a:lnTo>
                <a:lnTo>
                  <a:pt x="5695" y="498"/>
                </a:lnTo>
                <a:lnTo>
                  <a:pt x="5689" y="498"/>
                </a:lnTo>
                <a:lnTo>
                  <a:pt x="5683" y="498"/>
                </a:lnTo>
                <a:lnTo>
                  <a:pt x="5683" y="492"/>
                </a:lnTo>
                <a:lnTo>
                  <a:pt x="5677" y="492"/>
                </a:lnTo>
                <a:lnTo>
                  <a:pt x="5677" y="492"/>
                </a:lnTo>
                <a:lnTo>
                  <a:pt x="5677" y="492"/>
                </a:lnTo>
                <a:lnTo>
                  <a:pt x="5677" y="492"/>
                </a:lnTo>
                <a:lnTo>
                  <a:pt x="5671" y="486"/>
                </a:lnTo>
                <a:lnTo>
                  <a:pt x="5665" y="480"/>
                </a:lnTo>
                <a:lnTo>
                  <a:pt x="5665" y="480"/>
                </a:lnTo>
                <a:lnTo>
                  <a:pt x="5665" y="474"/>
                </a:lnTo>
                <a:lnTo>
                  <a:pt x="5665" y="480"/>
                </a:lnTo>
                <a:lnTo>
                  <a:pt x="5665" y="474"/>
                </a:lnTo>
                <a:lnTo>
                  <a:pt x="5665" y="474"/>
                </a:lnTo>
                <a:lnTo>
                  <a:pt x="5671" y="474"/>
                </a:lnTo>
                <a:lnTo>
                  <a:pt x="5671" y="474"/>
                </a:lnTo>
                <a:lnTo>
                  <a:pt x="5671" y="474"/>
                </a:lnTo>
                <a:lnTo>
                  <a:pt x="5671" y="469"/>
                </a:lnTo>
                <a:lnTo>
                  <a:pt x="5671" y="469"/>
                </a:lnTo>
                <a:lnTo>
                  <a:pt x="5671" y="469"/>
                </a:lnTo>
                <a:lnTo>
                  <a:pt x="5671" y="469"/>
                </a:lnTo>
                <a:lnTo>
                  <a:pt x="5671" y="463"/>
                </a:lnTo>
                <a:lnTo>
                  <a:pt x="5671" y="463"/>
                </a:lnTo>
                <a:lnTo>
                  <a:pt x="5671" y="463"/>
                </a:lnTo>
                <a:lnTo>
                  <a:pt x="5671" y="463"/>
                </a:lnTo>
                <a:lnTo>
                  <a:pt x="5671" y="457"/>
                </a:lnTo>
                <a:lnTo>
                  <a:pt x="5671" y="457"/>
                </a:lnTo>
                <a:lnTo>
                  <a:pt x="5671" y="457"/>
                </a:lnTo>
                <a:lnTo>
                  <a:pt x="5671" y="457"/>
                </a:lnTo>
                <a:lnTo>
                  <a:pt x="5671" y="457"/>
                </a:lnTo>
                <a:lnTo>
                  <a:pt x="5671" y="451"/>
                </a:lnTo>
                <a:lnTo>
                  <a:pt x="5671" y="451"/>
                </a:lnTo>
                <a:lnTo>
                  <a:pt x="5671" y="451"/>
                </a:lnTo>
                <a:lnTo>
                  <a:pt x="5671" y="451"/>
                </a:lnTo>
                <a:lnTo>
                  <a:pt x="5671" y="451"/>
                </a:lnTo>
                <a:lnTo>
                  <a:pt x="5671" y="445"/>
                </a:lnTo>
                <a:lnTo>
                  <a:pt x="5671" y="445"/>
                </a:lnTo>
                <a:lnTo>
                  <a:pt x="5671" y="427"/>
                </a:lnTo>
                <a:lnTo>
                  <a:pt x="5671" y="427"/>
                </a:lnTo>
                <a:lnTo>
                  <a:pt x="5671" y="427"/>
                </a:lnTo>
                <a:lnTo>
                  <a:pt x="5671" y="409"/>
                </a:lnTo>
                <a:lnTo>
                  <a:pt x="5671" y="391"/>
                </a:lnTo>
                <a:lnTo>
                  <a:pt x="5671" y="386"/>
                </a:lnTo>
                <a:lnTo>
                  <a:pt x="5671" y="386"/>
                </a:lnTo>
                <a:lnTo>
                  <a:pt x="5671" y="368"/>
                </a:lnTo>
                <a:lnTo>
                  <a:pt x="5671" y="350"/>
                </a:lnTo>
                <a:lnTo>
                  <a:pt x="5671" y="350"/>
                </a:lnTo>
                <a:lnTo>
                  <a:pt x="5671" y="344"/>
                </a:lnTo>
                <a:lnTo>
                  <a:pt x="5671" y="332"/>
                </a:lnTo>
                <a:lnTo>
                  <a:pt x="5671" y="314"/>
                </a:lnTo>
                <a:lnTo>
                  <a:pt x="5671" y="308"/>
                </a:lnTo>
                <a:lnTo>
                  <a:pt x="5671" y="308"/>
                </a:lnTo>
                <a:lnTo>
                  <a:pt x="5671" y="291"/>
                </a:lnTo>
                <a:lnTo>
                  <a:pt x="5671" y="285"/>
                </a:lnTo>
                <a:lnTo>
                  <a:pt x="5671" y="285"/>
                </a:lnTo>
                <a:lnTo>
                  <a:pt x="5671" y="285"/>
                </a:lnTo>
                <a:lnTo>
                  <a:pt x="5671" y="285"/>
                </a:lnTo>
                <a:lnTo>
                  <a:pt x="5665" y="279"/>
                </a:lnTo>
                <a:lnTo>
                  <a:pt x="5665" y="279"/>
                </a:lnTo>
                <a:lnTo>
                  <a:pt x="5659" y="273"/>
                </a:lnTo>
                <a:lnTo>
                  <a:pt x="5653" y="273"/>
                </a:lnTo>
                <a:lnTo>
                  <a:pt x="5653" y="273"/>
                </a:lnTo>
                <a:lnTo>
                  <a:pt x="5653" y="267"/>
                </a:lnTo>
                <a:lnTo>
                  <a:pt x="5653" y="267"/>
                </a:lnTo>
                <a:lnTo>
                  <a:pt x="5653" y="261"/>
                </a:lnTo>
                <a:lnTo>
                  <a:pt x="5647" y="261"/>
                </a:lnTo>
                <a:lnTo>
                  <a:pt x="5641" y="255"/>
                </a:lnTo>
                <a:lnTo>
                  <a:pt x="5635" y="255"/>
                </a:lnTo>
                <a:lnTo>
                  <a:pt x="5635" y="249"/>
                </a:lnTo>
                <a:lnTo>
                  <a:pt x="5635" y="249"/>
                </a:lnTo>
                <a:lnTo>
                  <a:pt x="5630" y="249"/>
                </a:lnTo>
                <a:lnTo>
                  <a:pt x="5630" y="243"/>
                </a:lnTo>
                <a:lnTo>
                  <a:pt x="5624" y="243"/>
                </a:lnTo>
                <a:lnTo>
                  <a:pt x="5618" y="243"/>
                </a:lnTo>
                <a:lnTo>
                  <a:pt x="5618" y="243"/>
                </a:lnTo>
                <a:lnTo>
                  <a:pt x="5612" y="243"/>
                </a:lnTo>
                <a:lnTo>
                  <a:pt x="5612" y="249"/>
                </a:lnTo>
                <a:lnTo>
                  <a:pt x="5612" y="249"/>
                </a:lnTo>
                <a:lnTo>
                  <a:pt x="5612" y="249"/>
                </a:lnTo>
                <a:lnTo>
                  <a:pt x="5612" y="249"/>
                </a:lnTo>
                <a:lnTo>
                  <a:pt x="5612" y="249"/>
                </a:lnTo>
                <a:lnTo>
                  <a:pt x="5612" y="249"/>
                </a:lnTo>
                <a:lnTo>
                  <a:pt x="5612" y="249"/>
                </a:lnTo>
                <a:lnTo>
                  <a:pt x="5606" y="249"/>
                </a:lnTo>
                <a:lnTo>
                  <a:pt x="5606" y="255"/>
                </a:lnTo>
                <a:lnTo>
                  <a:pt x="5606" y="255"/>
                </a:lnTo>
                <a:lnTo>
                  <a:pt x="5606" y="255"/>
                </a:lnTo>
                <a:lnTo>
                  <a:pt x="5606" y="249"/>
                </a:lnTo>
                <a:lnTo>
                  <a:pt x="5606" y="249"/>
                </a:lnTo>
                <a:lnTo>
                  <a:pt x="5600" y="249"/>
                </a:lnTo>
                <a:lnTo>
                  <a:pt x="5600" y="249"/>
                </a:lnTo>
                <a:lnTo>
                  <a:pt x="5594" y="249"/>
                </a:lnTo>
                <a:lnTo>
                  <a:pt x="5594" y="255"/>
                </a:lnTo>
                <a:lnTo>
                  <a:pt x="5588" y="255"/>
                </a:lnTo>
                <a:lnTo>
                  <a:pt x="5588" y="255"/>
                </a:lnTo>
                <a:lnTo>
                  <a:pt x="5588" y="255"/>
                </a:lnTo>
                <a:lnTo>
                  <a:pt x="5588" y="255"/>
                </a:lnTo>
                <a:lnTo>
                  <a:pt x="5588" y="261"/>
                </a:lnTo>
                <a:lnTo>
                  <a:pt x="5582" y="261"/>
                </a:lnTo>
                <a:lnTo>
                  <a:pt x="5576" y="261"/>
                </a:lnTo>
                <a:lnTo>
                  <a:pt x="5576" y="261"/>
                </a:lnTo>
                <a:lnTo>
                  <a:pt x="5558" y="267"/>
                </a:lnTo>
                <a:lnTo>
                  <a:pt x="5558" y="267"/>
                </a:lnTo>
                <a:lnTo>
                  <a:pt x="5547" y="261"/>
                </a:lnTo>
                <a:lnTo>
                  <a:pt x="5547" y="255"/>
                </a:lnTo>
                <a:lnTo>
                  <a:pt x="5547" y="255"/>
                </a:lnTo>
                <a:lnTo>
                  <a:pt x="5547" y="255"/>
                </a:lnTo>
                <a:lnTo>
                  <a:pt x="5547" y="249"/>
                </a:lnTo>
                <a:lnTo>
                  <a:pt x="5547" y="249"/>
                </a:lnTo>
                <a:lnTo>
                  <a:pt x="5541" y="249"/>
                </a:lnTo>
                <a:lnTo>
                  <a:pt x="5547" y="237"/>
                </a:lnTo>
                <a:lnTo>
                  <a:pt x="5547" y="231"/>
                </a:lnTo>
                <a:lnTo>
                  <a:pt x="5547" y="231"/>
                </a:lnTo>
                <a:lnTo>
                  <a:pt x="5541" y="231"/>
                </a:lnTo>
                <a:lnTo>
                  <a:pt x="5529" y="225"/>
                </a:lnTo>
                <a:lnTo>
                  <a:pt x="5529" y="225"/>
                </a:lnTo>
                <a:lnTo>
                  <a:pt x="5523" y="231"/>
                </a:lnTo>
                <a:lnTo>
                  <a:pt x="5523" y="231"/>
                </a:lnTo>
                <a:lnTo>
                  <a:pt x="5517" y="237"/>
                </a:lnTo>
                <a:lnTo>
                  <a:pt x="5517" y="243"/>
                </a:lnTo>
                <a:lnTo>
                  <a:pt x="5505" y="255"/>
                </a:lnTo>
                <a:lnTo>
                  <a:pt x="5499" y="273"/>
                </a:lnTo>
                <a:lnTo>
                  <a:pt x="5487" y="285"/>
                </a:lnTo>
                <a:lnTo>
                  <a:pt x="5481" y="297"/>
                </a:lnTo>
                <a:lnTo>
                  <a:pt x="5475" y="302"/>
                </a:lnTo>
                <a:lnTo>
                  <a:pt x="5470" y="308"/>
                </a:lnTo>
                <a:lnTo>
                  <a:pt x="5464" y="320"/>
                </a:lnTo>
                <a:lnTo>
                  <a:pt x="5458" y="320"/>
                </a:lnTo>
                <a:lnTo>
                  <a:pt x="5452" y="338"/>
                </a:lnTo>
                <a:lnTo>
                  <a:pt x="5452" y="338"/>
                </a:lnTo>
                <a:lnTo>
                  <a:pt x="5452" y="338"/>
                </a:lnTo>
                <a:lnTo>
                  <a:pt x="5446" y="344"/>
                </a:lnTo>
                <a:lnTo>
                  <a:pt x="5446" y="350"/>
                </a:lnTo>
                <a:lnTo>
                  <a:pt x="5446" y="350"/>
                </a:lnTo>
                <a:lnTo>
                  <a:pt x="5446" y="368"/>
                </a:lnTo>
                <a:lnTo>
                  <a:pt x="5446" y="368"/>
                </a:lnTo>
                <a:lnTo>
                  <a:pt x="5446" y="374"/>
                </a:lnTo>
                <a:lnTo>
                  <a:pt x="5446" y="380"/>
                </a:lnTo>
                <a:lnTo>
                  <a:pt x="5446" y="380"/>
                </a:lnTo>
                <a:lnTo>
                  <a:pt x="5434" y="386"/>
                </a:lnTo>
                <a:lnTo>
                  <a:pt x="5434" y="386"/>
                </a:lnTo>
                <a:lnTo>
                  <a:pt x="5434" y="386"/>
                </a:lnTo>
                <a:lnTo>
                  <a:pt x="5434" y="391"/>
                </a:lnTo>
                <a:lnTo>
                  <a:pt x="5434" y="391"/>
                </a:lnTo>
                <a:lnTo>
                  <a:pt x="5428" y="391"/>
                </a:lnTo>
                <a:lnTo>
                  <a:pt x="5428" y="391"/>
                </a:lnTo>
                <a:lnTo>
                  <a:pt x="5428" y="397"/>
                </a:lnTo>
                <a:lnTo>
                  <a:pt x="5428" y="397"/>
                </a:lnTo>
                <a:lnTo>
                  <a:pt x="5428" y="397"/>
                </a:lnTo>
                <a:lnTo>
                  <a:pt x="5428" y="397"/>
                </a:lnTo>
                <a:lnTo>
                  <a:pt x="5428" y="397"/>
                </a:lnTo>
                <a:lnTo>
                  <a:pt x="5428" y="403"/>
                </a:lnTo>
                <a:lnTo>
                  <a:pt x="5422" y="409"/>
                </a:lnTo>
                <a:lnTo>
                  <a:pt x="5422" y="415"/>
                </a:lnTo>
                <a:lnTo>
                  <a:pt x="5422" y="415"/>
                </a:lnTo>
                <a:lnTo>
                  <a:pt x="5428" y="415"/>
                </a:lnTo>
                <a:lnTo>
                  <a:pt x="5428" y="421"/>
                </a:lnTo>
                <a:lnTo>
                  <a:pt x="5428" y="421"/>
                </a:lnTo>
                <a:lnTo>
                  <a:pt x="5428" y="421"/>
                </a:lnTo>
                <a:lnTo>
                  <a:pt x="5422" y="427"/>
                </a:lnTo>
                <a:lnTo>
                  <a:pt x="5422" y="427"/>
                </a:lnTo>
                <a:lnTo>
                  <a:pt x="5422" y="427"/>
                </a:lnTo>
                <a:lnTo>
                  <a:pt x="5422" y="427"/>
                </a:lnTo>
                <a:lnTo>
                  <a:pt x="5422" y="433"/>
                </a:lnTo>
                <a:lnTo>
                  <a:pt x="5422" y="433"/>
                </a:lnTo>
                <a:lnTo>
                  <a:pt x="5422" y="433"/>
                </a:lnTo>
                <a:lnTo>
                  <a:pt x="5422" y="433"/>
                </a:lnTo>
                <a:lnTo>
                  <a:pt x="5422" y="433"/>
                </a:lnTo>
                <a:lnTo>
                  <a:pt x="5422" y="433"/>
                </a:lnTo>
                <a:lnTo>
                  <a:pt x="5422" y="433"/>
                </a:lnTo>
                <a:lnTo>
                  <a:pt x="5422" y="433"/>
                </a:lnTo>
                <a:lnTo>
                  <a:pt x="5422" y="433"/>
                </a:lnTo>
                <a:lnTo>
                  <a:pt x="5422" y="433"/>
                </a:lnTo>
                <a:lnTo>
                  <a:pt x="5422" y="433"/>
                </a:lnTo>
                <a:lnTo>
                  <a:pt x="5416" y="439"/>
                </a:lnTo>
                <a:lnTo>
                  <a:pt x="5416" y="439"/>
                </a:lnTo>
                <a:lnTo>
                  <a:pt x="5416" y="445"/>
                </a:lnTo>
                <a:lnTo>
                  <a:pt x="5422" y="445"/>
                </a:lnTo>
                <a:lnTo>
                  <a:pt x="5422" y="445"/>
                </a:lnTo>
                <a:lnTo>
                  <a:pt x="5422" y="445"/>
                </a:lnTo>
                <a:lnTo>
                  <a:pt x="5422" y="445"/>
                </a:lnTo>
                <a:lnTo>
                  <a:pt x="5422" y="445"/>
                </a:lnTo>
                <a:lnTo>
                  <a:pt x="5422" y="445"/>
                </a:lnTo>
                <a:lnTo>
                  <a:pt x="5428" y="445"/>
                </a:lnTo>
                <a:lnTo>
                  <a:pt x="5422" y="451"/>
                </a:lnTo>
                <a:lnTo>
                  <a:pt x="5422" y="451"/>
                </a:lnTo>
                <a:lnTo>
                  <a:pt x="5422" y="457"/>
                </a:lnTo>
                <a:lnTo>
                  <a:pt x="5422" y="457"/>
                </a:lnTo>
                <a:lnTo>
                  <a:pt x="5422" y="457"/>
                </a:lnTo>
                <a:lnTo>
                  <a:pt x="5410" y="463"/>
                </a:lnTo>
                <a:lnTo>
                  <a:pt x="5410" y="469"/>
                </a:lnTo>
                <a:lnTo>
                  <a:pt x="5410" y="469"/>
                </a:lnTo>
                <a:lnTo>
                  <a:pt x="5410" y="469"/>
                </a:lnTo>
                <a:lnTo>
                  <a:pt x="5410" y="469"/>
                </a:lnTo>
                <a:lnTo>
                  <a:pt x="5410" y="469"/>
                </a:lnTo>
                <a:lnTo>
                  <a:pt x="5410" y="469"/>
                </a:lnTo>
                <a:lnTo>
                  <a:pt x="5410" y="474"/>
                </a:lnTo>
                <a:lnTo>
                  <a:pt x="5410" y="474"/>
                </a:lnTo>
                <a:lnTo>
                  <a:pt x="5410" y="474"/>
                </a:lnTo>
                <a:lnTo>
                  <a:pt x="5410" y="480"/>
                </a:lnTo>
                <a:lnTo>
                  <a:pt x="5410" y="480"/>
                </a:lnTo>
                <a:lnTo>
                  <a:pt x="5410" y="480"/>
                </a:lnTo>
                <a:lnTo>
                  <a:pt x="5404" y="480"/>
                </a:lnTo>
                <a:lnTo>
                  <a:pt x="5404" y="480"/>
                </a:lnTo>
                <a:lnTo>
                  <a:pt x="5404" y="480"/>
                </a:lnTo>
                <a:lnTo>
                  <a:pt x="5404" y="480"/>
                </a:lnTo>
                <a:lnTo>
                  <a:pt x="5404" y="480"/>
                </a:lnTo>
                <a:lnTo>
                  <a:pt x="5404" y="480"/>
                </a:lnTo>
                <a:lnTo>
                  <a:pt x="5398" y="486"/>
                </a:lnTo>
                <a:lnTo>
                  <a:pt x="5393" y="486"/>
                </a:lnTo>
                <a:lnTo>
                  <a:pt x="5393" y="492"/>
                </a:lnTo>
                <a:lnTo>
                  <a:pt x="5387" y="498"/>
                </a:lnTo>
                <a:lnTo>
                  <a:pt x="5381" y="504"/>
                </a:lnTo>
                <a:lnTo>
                  <a:pt x="5381" y="504"/>
                </a:lnTo>
                <a:lnTo>
                  <a:pt x="5381" y="510"/>
                </a:lnTo>
                <a:lnTo>
                  <a:pt x="5381" y="510"/>
                </a:lnTo>
                <a:lnTo>
                  <a:pt x="5381" y="510"/>
                </a:lnTo>
                <a:lnTo>
                  <a:pt x="5381" y="516"/>
                </a:lnTo>
                <a:lnTo>
                  <a:pt x="5381" y="516"/>
                </a:lnTo>
                <a:lnTo>
                  <a:pt x="5381" y="516"/>
                </a:lnTo>
                <a:lnTo>
                  <a:pt x="5387" y="522"/>
                </a:lnTo>
                <a:lnTo>
                  <a:pt x="5387" y="522"/>
                </a:lnTo>
                <a:lnTo>
                  <a:pt x="5387" y="522"/>
                </a:lnTo>
                <a:lnTo>
                  <a:pt x="5387" y="522"/>
                </a:lnTo>
                <a:lnTo>
                  <a:pt x="5387" y="528"/>
                </a:lnTo>
                <a:lnTo>
                  <a:pt x="5381" y="528"/>
                </a:lnTo>
                <a:lnTo>
                  <a:pt x="5381" y="528"/>
                </a:lnTo>
                <a:lnTo>
                  <a:pt x="5381" y="528"/>
                </a:lnTo>
                <a:lnTo>
                  <a:pt x="5375" y="522"/>
                </a:lnTo>
                <a:lnTo>
                  <a:pt x="5375" y="522"/>
                </a:lnTo>
                <a:lnTo>
                  <a:pt x="5369" y="522"/>
                </a:lnTo>
                <a:lnTo>
                  <a:pt x="5369" y="522"/>
                </a:lnTo>
                <a:lnTo>
                  <a:pt x="5369" y="522"/>
                </a:lnTo>
                <a:lnTo>
                  <a:pt x="5369" y="522"/>
                </a:lnTo>
                <a:lnTo>
                  <a:pt x="5369" y="528"/>
                </a:lnTo>
                <a:lnTo>
                  <a:pt x="5369" y="528"/>
                </a:lnTo>
                <a:lnTo>
                  <a:pt x="5369" y="534"/>
                </a:lnTo>
                <a:lnTo>
                  <a:pt x="5369" y="534"/>
                </a:lnTo>
                <a:lnTo>
                  <a:pt x="5369" y="540"/>
                </a:lnTo>
                <a:lnTo>
                  <a:pt x="5369" y="540"/>
                </a:lnTo>
                <a:lnTo>
                  <a:pt x="5369" y="540"/>
                </a:lnTo>
                <a:lnTo>
                  <a:pt x="5363" y="540"/>
                </a:lnTo>
                <a:lnTo>
                  <a:pt x="5363" y="540"/>
                </a:lnTo>
                <a:lnTo>
                  <a:pt x="5363" y="540"/>
                </a:lnTo>
                <a:lnTo>
                  <a:pt x="5363" y="546"/>
                </a:lnTo>
                <a:lnTo>
                  <a:pt x="5363" y="546"/>
                </a:lnTo>
                <a:lnTo>
                  <a:pt x="5363" y="546"/>
                </a:lnTo>
                <a:lnTo>
                  <a:pt x="5363" y="546"/>
                </a:lnTo>
                <a:lnTo>
                  <a:pt x="5363" y="546"/>
                </a:lnTo>
                <a:lnTo>
                  <a:pt x="5363" y="552"/>
                </a:lnTo>
                <a:lnTo>
                  <a:pt x="5363" y="546"/>
                </a:lnTo>
                <a:lnTo>
                  <a:pt x="5357" y="534"/>
                </a:lnTo>
                <a:lnTo>
                  <a:pt x="5357" y="534"/>
                </a:lnTo>
                <a:lnTo>
                  <a:pt x="5351" y="534"/>
                </a:lnTo>
                <a:lnTo>
                  <a:pt x="5351" y="534"/>
                </a:lnTo>
                <a:lnTo>
                  <a:pt x="5351" y="534"/>
                </a:lnTo>
                <a:lnTo>
                  <a:pt x="5345" y="534"/>
                </a:lnTo>
                <a:lnTo>
                  <a:pt x="5345" y="540"/>
                </a:lnTo>
                <a:lnTo>
                  <a:pt x="5345" y="540"/>
                </a:lnTo>
                <a:lnTo>
                  <a:pt x="5345" y="540"/>
                </a:lnTo>
                <a:lnTo>
                  <a:pt x="5345" y="540"/>
                </a:lnTo>
                <a:lnTo>
                  <a:pt x="5345" y="540"/>
                </a:lnTo>
                <a:lnTo>
                  <a:pt x="5345" y="540"/>
                </a:lnTo>
                <a:lnTo>
                  <a:pt x="5339" y="540"/>
                </a:lnTo>
                <a:lnTo>
                  <a:pt x="5339" y="540"/>
                </a:lnTo>
                <a:lnTo>
                  <a:pt x="5339" y="540"/>
                </a:lnTo>
                <a:lnTo>
                  <a:pt x="5339" y="540"/>
                </a:lnTo>
                <a:lnTo>
                  <a:pt x="5339" y="546"/>
                </a:lnTo>
                <a:lnTo>
                  <a:pt x="5339" y="546"/>
                </a:lnTo>
                <a:lnTo>
                  <a:pt x="5339" y="546"/>
                </a:lnTo>
                <a:lnTo>
                  <a:pt x="5333" y="546"/>
                </a:lnTo>
                <a:lnTo>
                  <a:pt x="5333" y="546"/>
                </a:lnTo>
                <a:lnTo>
                  <a:pt x="5333" y="546"/>
                </a:lnTo>
                <a:lnTo>
                  <a:pt x="5333" y="546"/>
                </a:lnTo>
                <a:lnTo>
                  <a:pt x="5327" y="546"/>
                </a:lnTo>
                <a:lnTo>
                  <a:pt x="5321" y="540"/>
                </a:lnTo>
                <a:lnTo>
                  <a:pt x="5321" y="540"/>
                </a:lnTo>
                <a:lnTo>
                  <a:pt x="5321" y="540"/>
                </a:lnTo>
                <a:lnTo>
                  <a:pt x="5321" y="540"/>
                </a:lnTo>
                <a:lnTo>
                  <a:pt x="5321" y="540"/>
                </a:lnTo>
                <a:lnTo>
                  <a:pt x="5315" y="540"/>
                </a:lnTo>
                <a:lnTo>
                  <a:pt x="5315" y="546"/>
                </a:lnTo>
                <a:lnTo>
                  <a:pt x="5315" y="546"/>
                </a:lnTo>
                <a:lnTo>
                  <a:pt x="5315" y="546"/>
                </a:lnTo>
                <a:lnTo>
                  <a:pt x="5315" y="546"/>
                </a:lnTo>
                <a:lnTo>
                  <a:pt x="5310" y="546"/>
                </a:lnTo>
                <a:lnTo>
                  <a:pt x="5310" y="546"/>
                </a:lnTo>
                <a:lnTo>
                  <a:pt x="5310" y="552"/>
                </a:lnTo>
                <a:lnTo>
                  <a:pt x="5304" y="552"/>
                </a:lnTo>
                <a:lnTo>
                  <a:pt x="5310" y="552"/>
                </a:lnTo>
                <a:lnTo>
                  <a:pt x="5310" y="552"/>
                </a:lnTo>
                <a:lnTo>
                  <a:pt x="5310" y="558"/>
                </a:lnTo>
                <a:lnTo>
                  <a:pt x="5310" y="558"/>
                </a:lnTo>
                <a:lnTo>
                  <a:pt x="5310" y="563"/>
                </a:lnTo>
                <a:lnTo>
                  <a:pt x="5310" y="563"/>
                </a:lnTo>
                <a:lnTo>
                  <a:pt x="5310" y="563"/>
                </a:lnTo>
                <a:lnTo>
                  <a:pt x="5310" y="563"/>
                </a:lnTo>
                <a:lnTo>
                  <a:pt x="5304" y="563"/>
                </a:lnTo>
                <a:lnTo>
                  <a:pt x="5304" y="563"/>
                </a:lnTo>
                <a:lnTo>
                  <a:pt x="5304" y="569"/>
                </a:lnTo>
                <a:lnTo>
                  <a:pt x="5304" y="569"/>
                </a:lnTo>
                <a:lnTo>
                  <a:pt x="5304" y="575"/>
                </a:lnTo>
                <a:lnTo>
                  <a:pt x="5304" y="575"/>
                </a:lnTo>
                <a:lnTo>
                  <a:pt x="5304" y="575"/>
                </a:lnTo>
                <a:lnTo>
                  <a:pt x="5298" y="575"/>
                </a:lnTo>
                <a:lnTo>
                  <a:pt x="5304" y="575"/>
                </a:lnTo>
                <a:lnTo>
                  <a:pt x="5304" y="581"/>
                </a:lnTo>
                <a:lnTo>
                  <a:pt x="5304" y="581"/>
                </a:lnTo>
                <a:lnTo>
                  <a:pt x="5292" y="581"/>
                </a:lnTo>
                <a:lnTo>
                  <a:pt x="5280" y="581"/>
                </a:lnTo>
                <a:lnTo>
                  <a:pt x="5280" y="581"/>
                </a:lnTo>
                <a:lnTo>
                  <a:pt x="5274" y="581"/>
                </a:lnTo>
                <a:lnTo>
                  <a:pt x="5262" y="581"/>
                </a:lnTo>
                <a:lnTo>
                  <a:pt x="5256" y="581"/>
                </a:lnTo>
                <a:lnTo>
                  <a:pt x="5250" y="581"/>
                </a:lnTo>
                <a:lnTo>
                  <a:pt x="5238" y="581"/>
                </a:lnTo>
                <a:lnTo>
                  <a:pt x="5233" y="581"/>
                </a:lnTo>
                <a:lnTo>
                  <a:pt x="5221" y="581"/>
                </a:lnTo>
                <a:lnTo>
                  <a:pt x="5221" y="581"/>
                </a:lnTo>
                <a:lnTo>
                  <a:pt x="5209" y="581"/>
                </a:lnTo>
                <a:lnTo>
                  <a:pt x="5203" y="581"/>
                </a:lnTo>
                <a:lnTo>
                  <a:pt x="5191" y="581"/>
                </a:lnTo>
                <a:lnTo>
                  <a:pt x="5191" y="581"/>
                </a:lnTo>
                <a:lnTo>
                  <a:pt x="5179" y="581"/>
                </a:lnTo>
                <a:lnTo>
                  <a:pt x="5173" y="581"/>
                </a:lnTo>
                <a:lnTo>
                  <a:pt x="5161" y="581"/>
                </a:lnTo>
                <a:lnTo>
                  <a:pt x="5150" y="581"/>
                </a:lnTo>
                <a:lnTo>
                  <a:pt x="5144" y="581"/>
                </a:lnTo>
                <a:lnTo>
                  <a:pt x="5132" y="581"/>
                </a:lnTo>
                <a:lnTo>
                  <a:pt x="5132" y="581"/>
                </a:lnTo>
                <a:lnTo>
                  <a:pt x="5126" y="581"/>
                </a:lnTo>
                <a:lnTo>
                  <a:pt x="5120" y="581"/>
                </a:lnTo>
                <a:lnTo>
                  <a:pt x="5120" y="581"/>
                </a:lnTo>
                <a:lnTo>
                  <a:pt x="5120" y="581"/>
                </a:lnTo>
                <a:lnTo>
                  <a:pt x="5114" y="581"/>
                </a:lnTo>
                <a:lnTo>
                  <a:pt x="5114" y="581"/>
                </a:lnTo>
                <a:lnTo>
                  <a:pt x="5114" y="581"/>
                </a:lnTo>
                <a:lnTo>
                  <a:pt x="5102" y="581"/>
                </a:lnTo>
                <a:lnTo>
                  <a:pt x="5090" y="581"/>
                </a:lnTo>
                <a:lnTo>
                  <a:pt x="5084" y="581"/>
                </a:lnTo>
                <a:lnTo>
                  <a:pt x="5073" y="581"/>
                </a:lnTo>
                <a:lnTo>
                  <a:pt x="5073" y="581"/>
                </a:lnTo>
                <a:lnTo>
                  <a:pt x="5061" y="581"/>
                </a:lnTo>
                <a:lnTo>
                  <a:pt x="5055" y="581"/>
                </a:lnTo>
                <a:lnTo>
                  <a:pt x="5043" y="581"/>
                </a:lnTo>
                <a:lnTo>
                  <a:pt x="5031" y="581"/>
                </a:lnTo>
                <a:lnTo>
                  <a:pt x="5025" y="581"/>
                </a:lnTo>
                <a:lnTo>
                  <a:pt x="5013" y="581"/>
                </a:lnTo>
                <a:lnTo>
                  <a:pt x="5001" y="581"/>
                </a:lnTo>
                <a:lnTo>
                  <a:pt x="4995" y="581"/>
                </a:lnTo>
                <a:lnTo>
                  <a:pt x="4984" y="581"/>
                </a:lnTo>
                <a:lnTo>
                  <a:pt x="4984" y="581"/>
                </a:lnTo>
                <a:lnTo>
                  <a:pt x="4978" y="581"/>
                </a:lnTo>
                <a:lnTo>
                  <a:pt x="4966" y="581"/>
                </a:lnTo>
                <a:lnTo>
                  <a:pt x="4966" y="581"/>
                </a:lnTo>
                <a:lnTo>
                  <a:pt x="4960" y="581"/>
                </a:lnTo>
                <a:lnTo>
                  <a:pt x="4960" y="581"/>
                </a:lnTo>
                <a:lnTo>
                  <a:pt x="4954" y="587"/>
                </a:lnTo>
                <a:lnTo>
                  <a:pt x="4954" y="587"/>
                </a:lnTo>
                <a:lnTo>
                  <a:pt x="4954" y="587"/>
                </a:lnTo>
                <a:lnTo>
                  <a:pt x="4948" y="587"/>
                </a:lnTo>
                <a:lnTo>
                  <a:pt x="4948" y="593"/>
                </a:lnTo>
                <a:lnTo>
                  <a:pt x="4948" y="593"/>
                </a:lnTo>
                <a:lnTo>
                  <a:pt x="4942" y="593"/>
                </a:lnTo>
                <a:lnTo>
                  <a:pt x="4924" y="599"/>
                </a:lnTo>
                <a:lnTo>
                  <a:pt x="4918" y="611"/>
                </a:lnTo>
                <a:lnTo>
                  <a:pt x="4907" y="617"/>
                </a:lnTo>
                <a:lnTo>
                  <a:pt x="4895" y="629"/>
                </a:lnTo>
                <a:lnTo>
                  <a:pt x="4883" y="641"/>
                </a:lnTo>
                <a:lnTo>
                  <a:pt x="4877" y="646"/>
                </a:lnTo>
                <a:lnTo>
                  <a:pt x="4877" y="652"/>
                </a:lnTo>
                <a:lnTo>
                  <a:pt x="4877" y="652"/>
                </a:lnTo>
                <a:lnTo>
                  <a:pt x="4877" y="652"/>
                </a:lnTo>
                <a:lnTo>
                  <a:pt x="4877" y="652"/>
                </a:lnTo>
                <a:lnTo>
                  <a:pt x="4877" y="658"/>
                </a:lnTo>
                <a:lnTo>
                  <a:pt x="4877" y="658"/>
                </a:lnTo>
                <a:lnTo>
                  <a:pt x="4877" y="664"/>
                </a:lnTo>
                <a:lnTo>
                  <a:pt x="4871" y="664"/>
                </a:lnTo>
                <a:lnTo>
                  <a:pt x="4871" y="664"/>
                </a:lnTo>
                <a:lnTo>
                  <a:pt x="4871" y="670"/>
                </a:lnTo>
                <a:lnTo>
                  <a:pt x="4871" y="670"/>
                </a:lnTo>
                <a:lnTo>
                  <a:pt x="4865" y="670"/>
                </a:lnTo>
                <a:lnTo>
                  <a:pt x="4865" y="670"/>
                </a:lnTo>
                <a:lnTo>
                  <a:pt x="4865" y="670"/>
                </a:lnTo>
                <a:lnTo>
                  <a:pt x="4859" y="670"/>
                </a:lnTo>
                <a:lnTo>
                  <a:pt x="4859" y="676"/>
                </a:lnTo>
                <a:lnTo>
                  <a:pt x="4847" y="688"/>
                </a:lnTo>
                <a:lnTo>
                  <a:pt x="4835" y="694"/>
                </a:lnTo>
                <a:lnTo>
                  <a:pt x="4818" y="706"/>
                </a:lnTo>
                <a:lnTo>
                  <a:pt x="4818" y="706"/>
                </a:lnTo>
                <a:lnTo>
                  <a:pt x="4818" y="706"/>
                </a:lnTo>
                <a:lnTo>
                  <a:pt x="4818" y="712"/>
                </a:lnTo>
                <a:lnTo>
                  <a:pt x="4818" y="712"/>
                </a:lnTo>
                <a:lnTo>
                  <a:pt x="4824" y="712"/>
                </a:lnTo>
                <a:lnTo>
                  <a:pt x="4824" y="712"/>
                </a:lnTo>
                <a:lnTo>
                  <a:pt x="4824" y="712"/>
                </a:lnTo>
                <a:lnTo>
                  <a:pt x="4824" y="718"/>
                </a:lnTo>
                <a:lnTo>
                  <a:pt x="4824" y="718"/>
                </a:lnTo>
                <a:lnTo>
                  <a:pt x="4824" y="718"/>
                </a:lnTo>
                <a:lnTo>
                  <a:pt x="4824" y="718"/>
                </a:lnTo>
                <a:lnTo>
                  <a:pt x="4824" y="718"/>
                </a:lnTo>
                <a:lnTo>
                  <a:pt x="4824" y="718"/>
                </a:lnTo>
                <a:lnTo>
                  <a:pt x="4824" y="712"/>
                </a:lnTo>
                <a:lnTo>
                  <a:pt x="4830" y="712"/>
                </a:lnTo>
                <a:lnTo>
                  <a:pt x="4835" y="712"/>
                </a:lnTo>
                <a:lnTo>
                  <a:pt x="4835" y="712"/>
                </a:lnTo>
                <a:lnTo>
                  <a:pt x="4841" y="712"/>
                </a:lnTo>
                <a:lnTo>
                  <a:pt x="4835" y="712"/>
                </a:lnTo>
                <a:lnTo>
                  <a:pt x="4835" y="712"/>
                </a:lnTo>
                <a:lnTo>
                  <a:pt x="4835" y="718"/>
                </a:lnTo>
                <a:lnTo>
                  <a:pt x="4835" y="718"/>
                </a:lnTo>
                <a:lnTo>
                  <a:pt x="4841" y="712"/>
                </a:lnTo>
                <a:lnTo>
                  <a:pt x="4841" y="712"/>
                </a:lnTo>
                <a:lnTo>
                  <a:pt x="4841" y="712"/>
                </a:lnTo>
                <a:lnTo>
                  <a:pt x="4841" y="718"/>
                </a:lnTo>
                <a:lnTo>
                  <a:pt x="4841" y="718"/>
                </a:lnTo>
                <a:lnTo>
                  <a:pt x="4835" y="718"/>
                </a:lnTo>
                <a:lnTo>
                  <a:pt x="4835" y="718"/>
                </a:lnTo>
                <a:lnTo>
                  <a:pt x="4835" y="724"/>
                </a:lnTo>
                <a:lnTo>
                  <a:pt x="4830" y="724"/>
                </a:lnTo>
                <a:lnTo>
                  <a:pt x="4835" y="724"/>
                </a:lnTo>
                <a:lnTo>
                  <a:pt x="4841" y="724"/>
                </a:lnTo>
                <a:lnTo>
                  <a:pt x="4841" y="724"/>
                </a:lnTo>
                <a:lnTo>
                  <a:pt x="4841" y="724"/>
                </a:lnTo>
                <a:lnTo>
                  <a:pt x="4847" y="718"/>
                </a:lnTo>
                <a:lnTo>
                  <a:pt x="4847" y="724"/>
                </a:lnTo>
                <a:lnTo>
                  <a:pt x="4847" y="724"/>
                </a:lnTo>
                <a:lnTo>
                  <a:pt x="4847" y="724"/>
                </a:lnTo>
                <a:lnTo>
                  <a:pt x="4847" y="724"/>
                </a:lnTo>
                <a:lnTo>
                  <a:pt x="4847" y="724"/>
                </a:lnTo>
                <a:lnTo>
                  <a:pt x="4841" y="730"/>
                </a:lnTo>
                <a:lnTo>
                  <a:pt x="4841" y="730"/>
                </a:lnTo>
                <a:lnTo>
                  <a:pt x="4841" y="730"/>
                </a:lnTo>
                <a:lnTo>
                  <a:pt x="4841" y="730"/>
                </a:lnTo>
                <a:lnTo>
                  <a:pt x="4841" y="735"/>
                </a:lnTo>
                <a:lnTo>
                  <a:pt x="4835" y="735"/>
                </a:lnTo>
                <a:lnTo>
                  <a:pt x="4835" y="741"/>
                </a:lnTo>
                <a:lnTo>
                  <a:pt x="4830" y="741"/>
                </a:lnTo>
                <a:lnTo>
                  <a:pt x="4830" y="741"/>
                </a:lnTo>
                <a:lnTo>
                  <a:pt x="4830" y="741"/>
                </a:lnTo>
                <a:lnTo>
                  <a:pt x="4830" y="735"/>
                </a:lnTo>
                <a:lnTo>
                  <a:pt x="4824" y="735"/>
                </a:lnTo>
                <a:lnTo>
                  <a:pt x="4824" y="741"/>
                </a:lnTo>
                <a:lnTo>
                  <a:pt x="4824" y="741"/>
                </a:lnTo>
                <a:lnTo>
                  <a:pt x="4824" y="741"/>
                </a:lnTo>
                <a:lnTo>
                  <a:pt x="4824" y="741"/>
                </a:lnTo>
                <a:lnTo>
                  <a:pt x="4830" y="747"/>
                </a:lnTo>
                <a:lnTo>
                  <a:pt x="4830" y="747"/>
                </a:lnTo>
                <a:lnTo>
                  <a:pt x="4830" y="747"/>
                </a:lnTo>
                <a:lnTo>
                  <a:pt x="4830" y="747"/>
                </a:lnTo>
                <a:lnTo>
                  <a:pt x="4830" y="747"/>
                </a:lnTo>
                <a:lnTo>
                  <a:pt x="4830" y="747"/>
                </a:lnTo>
                <a:lnTo>
                  <a:pt x="4830" y="747"/>
                </a:lnTo>
                <a:lnTo>
                  <a:pt x="4830" y="753"/>
                </a:lnTo>
                <a:lnTo>
                  <a:pt x="4830" y="759"/>
                </a:lnTo>
                <a:lnTo>
                  <a:pt x="4830" y="759"/>
                </a:lnTo>
                <a:lnTo>
                  <a:pt x="4830" y="759"/>
                </a:lnTo>
                <a:lnTo>
                  <a:pt x="4830" y="765"/>
                </a:lnTo>
                <a:lnTo>
                  <a:pt x="4830" y="765"/>
                </a:lnTo>
                <a:lnTo>
                  <a:pt x="4830" y="771"/>
                </a:lnTo>
                <a:lnTo>
                  <a:pt x="4835" y="771"/>
                </a:lnTo>
                <a:lnTo>
                  <a:pt x="4835" y="765"/>
                </a:lnTo>
                <a:lnTo>
                  <a:pt x="4835" y="765"/>
                </a:lnTo>
                <a:lnTo>
                  <a:pt x="4835" y="765"/>
                </a:lnTo>
                <a:lnTo>
                  <a:pt x="4830" y="777"/>
                </a:lnTo>
                <a:lnTo>
                  <a:pt x="4830" y="777"/>
                </a:lnTo>
                <a:lnTo>
                  <a:pt x="4835" y="777"/>
                </a:lnTo>
                <a:lnTo>
                  <a:pt x="4835" y="783"/>
                </a:lnTo>
                <a:lnTo>
                  <a:pt x="4830" y="783"/>
                </a:lnTo>
                <a:lnTo>
                  <a:pt x="4830" y="789"/>
                </a:lnTo>
                <a:lnTo>
                  <a:pt x="4818" y="789"/>
                </a:lnTo>
                <a:lnTo>
                  <a:pt x="4818" y="789"/>
                </a:lnTo>
                <a:lnTo>
                  <a:pt x="4812" y="789"/>
                </a:lnTo>
                <a:lnTo>
                  <a:pt x="4812" y="789"/>
                </a:lnTo>
                <a:lnTo>
                  <a:pt x="4806" y="789"/>
                </a:lnTo>
                <a:lnTo>
                  <a:pt x="4806" y="795"/>
                </a:lnTo>
                <a:lnTo>
                  <a:pt x="4794" y="801"/>
                </a:lnTo>
                <a:lnTo>
                  <a:pt x="4788" y="801"/>
                </a:lnTo>
                <a:lnTo>
                  <a:pt x="4788" y="807"/>
                </a:lnTo>
                <a:lnTo>
                  <a:pt x="4782" y="813"/>
                </a:lnTo>
                <a:lnTo>
                  <a:pt x="4782" y="813"/>
                </a:lnTo>
                <a:lnTo>
                  <a:pt x="4776" y="813"/>
                </a:lnTo>
                <a:lnTo>
                  <a:pt x="4776" y="813"/>
                </a:lnTo>
                <a:lnTo>
                  <a:pt x="4776" y="813"/>
                </a:lnTo>
                <a:lnTo>
                  <a:pt x="4770" y="818"/>
                </a:lnTo>
                <a:lnTo>
                  <a:pt x="4758" y="818"/>
                </a:lnTo>
                <a:lnTo>
                  <a:pt x="4758" y="818"/>
                </a:lnTo>
                <a:lnTo>
                  <a:pt x="4758" y="818"/>
                </a:lnTo>
                <a:lnTo>
                  <a:pt x="4758" y="818"/>
                </a:lnTo>
                <a:lnTo>
                  <a:pt x="4758" y="824"/>
                </a:lnTo>
                <a:lnTo>
                  <a:pt x="4758" y="824"/>
                </a:lnTo>
                <a:lnTo>
                  <a:pt x="4758" y="824"/>
                </a:lnTo>
                <a:lnTo>
                  <a:pt x="4758" y="824"/>
                </a:lnTo>
                <a:lnTo>
                  <a:pt x="4758" y="824"/>
                </a:lnTo>
                <a:lnTo>
                  <a:pt x="4758" y="824"/>
                </a:lnTo>
                <a:lnTo>
                  <a:pt x="4758" y="824"/>
                </a:lnTo>
                <a:lnTo>
                  <a:pt x="4758" y="824"/>
                </a:lnTo>
                <a:lnTo>
                  <a:pt x="4753" y="824"/>
                </a:lnTo>
                <a:lnTo>
                  <a:pt x="4753" y="824"/>
                </a:lnTo>
                <a:lnTo>
                  <a:pt x="4753" y="824"/>
                </a:lnTo>
                <a:lnTo>
                  <a:pt x="4753" y="818"/>
                </a:lnTo>
                <a:lnTo>
                  <a:pt x="4717" y="818"/>
                </a:lnTo>
                <a:lnTo>
                  <a:pt x="4711" y="818"/>
                </a:lnTo>
                <a:lnTo>
                  <a:pt x="4699" y="824"/>
                </a:lnTo>
                <a:lnTo>
                  <a:pt x="4693" y="824"/>
                </a:lnTo>
                <a:lnTo>
                  <a:pt x="4693" y="824"/>
                </a:lnTo>
                <a:lnTo>
                  <a:pt x="4687" y="818"/>
                </a:lnTo>
                <a:lnTo>
                  <a:pt x="4681" y="818"/>
                </a:lnTo>
                <a:lnTo>
                  <a:pt x="4681" y="813"/>
                </a:lnTo>
                <a:lnTo>
                  <a:pt x="4681" y="813"/>
                </a:lnTo>
                <a:lnTo>
                  <a:pt x="4681" y="813"/>
                </a:lnTo>
                <a:lnTo>
                  <a:pt x="4646" y="807"/>
                </a:lnTo>
                <a:lnTo>
                  <a:pt x="4634" y="807"/>
                </a:lnTo>
                <a:lnTo>
                  <a:pt x="4616" y="807"/>
                </a:lnTo>
                <a:lnTo>
                  <a:pt x="4587" y="813"/>
                </a:lnTo>
                <a:lnTo>
                  <a:pt x="4581" y="813"/>
                </a:lnTo>
                <a:lnTo>
                  <a:pt x="4569" y="813"/>
                </a:lnTo>
                <a:lnTo>
                  <a:pt x="4557" y="818"/>
                </a:lnTo>
                <a:lnTo>
                  <a:pt x="4551" y="818"/>
                </a:lnTo>
                <a:lnTo>
                  <a:pt x="4551" y="824"/>
                </a:lnTo>
                <a:lnTo>
                  <a:pt x="4551" y="824"/>
                </a:lnTo>
                <a:lnTo>
                  <a:pt x="4551" y="836"/>
                </a:lnTo>
                <a:lnTo>
                  <a:pt x="4551" y="836"/>
                </a:lnTo>
                <a:lnTo>
                  <a:pt x="4551" y="836"/>
                </a:lnTo>
                <a:lnTo>
                  <a:pt x="4551" y="842"/>
                </a:lnTo>
                <a:lnTo>
                  <a:pt x="4551" y="842"/>
                </a:lnTo>
                <a:lnTo>
                  <a:pt x="4551" y="842"/>
                </a:lnTo>
                <a:lnTo>
                  <a:pt x="4551" y="842"/>
                </a:lnTo>
                <a:lnTo>
                  <a:pt x="4545" y="842"/>
                </a:lnTo>
                <a:lnTo>
                  <a:pt x="4545" y="842"/>
                </a:lnTo>
                <a:lnTo>
                  <a:pt x="4545" y="842"/>
                </a:lnTo>
                <a:lnTo>
                  <a:pt x="4551" y="848"/>
                </a:lnTo>
                <a:lnTo>
                  <a:pt x="4563" y="848"/>
                </a:lnTo>
                <a:lnTo>
                  <a:pt x="4563" y="854"/>
                </a:lnTo>
                <a:lnTo>
                  <a:pt x="4563" y="854"/>
                </a:lnTo>
                <a:lnTo>
                  <a:pt x="4563" y="860"/>
                </a:lnTo>
                <a:lnTo>
                  <a:pt x="4563" y="860"/>
                </a:lnTo>
                <a:lnTo>
                  <a:pt x="4563" y="866"/>
                </a:lnTo>
                <a:lnTo>
                  <a:pt x="4563" y="866"/>
                </a:lnTo>
                <a:lnTo>
                  <a:pt x="4563" y="866"/>
                </a:lnTo>
                <a:lnTo>
                  <a:pt x="4563" y="872"/>
                </a:lnTo>
                <a:lnTo>
                  <a:pt x="4563" y="872"/>
                </a:lnTo>
                <a:lnTo>
                  <a:pt x="4569" y="878"/>
                </a:lnTo>
                <a:lnTo>
                  <a:pt x="4569" y="878"/>
                </a:lnTo>
                <a:lnTo>
                  <a:pt x="4569" y="878"/>
                </a:lnTo>
                <a:lnTo>
                  <a:pt x="4569" y="884"/>
                </a:lnTo>
                <a:lnTo>
                  <a:pt x="4569" y="890"/>
                </a:lnTo>
                <a:lnTo>
                  <a:pt x="4569" y="890"/>
                </a:lnTo>
                <a:lnTo>
                  <a:pt x="4563" y="890"/>
                </a:lnTo>
                <a:lnTo>
                  <a:pt x="4563" y="890"/>
                </a:lnTo>
                <a:lnTo>
                  <a:pt x="4557" y="896"/>
                </a:lnTo>
                <a:lnTo>
                  <a:pt x="4551" y="896"/>
                </a:lnTo>
                <a:lnTo>
                  <a:pt x="4551" y="902"/>
                </a:lnTo>
                <a:lnTo>
                  <a:pt x="4545" y="907"/>
                </a:lnTo>
                <a:lnTo>
                  <a:pt x="4545" y="907"/>
                </a:lnTo>
                <a:lnTo>
                  <a:pt x="4545" y="907"/>
                </a:lnTo>
                <a:lnTo>
                  <a:pt x="4545" y="913"/>
                </a:lnTo>
                <a:lnTo>
                  <a:pt x="4539" y="913"/>
                </a:lnTo>
                <a:lnTo>
                  <a:pt x="4539" y="913"/>
                </a:lnTo>
                <a:lnTo>
                  <a:pt x="4539" y="919"/>
                </a:lnTo>
                <a:lnTo>
                  <a:pt x="4539" y="919"/>
                </a:lnTo>
                <a:lnTo>
                  <a:pt x="4533" y="919"/>
                </a:lnTo>
                <a:lnTo>
                  <a:pt x="4527" y="925"/>
                </a:lnTo>
                <a:lnTo>
                  <a:pt x="4521" y="925"/>
                </a:lnTo>
                <a:lnTo>
                  <a:pt x="4521" y="925"/>
                </a:lnTo>
                <a:lnTo>
                  <a:pt x="4515" y="931"/>
                </a:lnTo>
                <a:lnTo>
                  <a:pt x="4515" y="931"/>
                </a:lnTo>
                <a:lnTo>
                  <a:pt x="4515" y="931"/>
                </a:lnTo>
                <a:lnTo>
                  <a:pt x="4515" y="931"/>
                </a:lnTo>
                <a:lnTo>
                  <a:pt x="4510" y="931"/>
                </a:lnTo>
                <a:lnTo>
                  <a:pt x="4510" y="937"/>
                </a:lnTo>
                <a:lnTo>
                  <a:pt x="4504" y="943"/>
                </a:lnTo>
                <a:lnTo>
                  <a:pt x="4498" y="943"/>
                </a:lnTo>
                <a:lnTo>
                  <a:pt x="4498" y="949"/>
                </a:lnTo>
                <a:lnTo>
                  <a:pt x="4492" y="949"/>
                </a:lnTo>
                <a:lnTo>
                  <a:pt x="4486" y="955"/>
                </a:lnTo>
                <a:lnTo>
                  <a:pt x="4480" y="955"/>
                </a:lnTo>
                <a:lnTo>
                  <a:pt x="4480" y="961"/>
                </a:lnTo>
                <a:lnTo>
                  <a:pt x="4480" y="961"/>
                </a:lnTo>
                <a:lnTo>
                  <a:pt x="4468" y="961"/>
                </a:lnTo>
                <a:lnTo>
                  <a:pt x="4462" y="967"/>
                </a:lnTo>
                <a:lnTo>
                  <a:pt x="4456" y="967"/>
                </a:lnTo>
                <a:lnTo>
                  <a:pt x="4450" y="973"/>
                </a:lnTo>
                <a:lnTo>
                  <a:pt x="4450" y="973"/>
                </a:lnTo>
                <a:lnTo>
                  <a:pt x="4444" y="979"/>
                </a:lnTo>
                <a:lnTo>
                  <a:pt x="4444" y="979"/>
                </a:lnTo>
                <a:lnTo>
                  <a:pt x="4444" y="979"/>
                </a:lnTo>
                <a:lnTo>
                  <a:pt x="4444" y="979"/>
                </a:lnTo>
                <a:lnTo>
                  <a:pt x="4444" y="973"/>
                </a:lnTo>
                <a:lnTo>
                  <a:pt x="4444" y="973"/>
                </a:lnTo>
                <a:lnTo>
                  <a:pt x="4444" y="973"/>
                </a:lnTo>
                <a:lnTo>
                  <a:pt x="4450" y="973"/>
                </a:lnTo>
                <a:lnTo>
                  <a:pt x="4450" y="973"/>
                </a:lnTo>
                <a:lnTo>
                  <a:pt x="4444" y="973"/>
                </a:lnTo>
                <a:lnTo>
                  <a:pt x="4444" y="973"/>
                </a:lnTo>
                <a:lnTo>
                  <a:pt x="4444" y="973"/>
                </a:lnTo>
                <a:lnTo>
                  <a:pt x="4438" y="973"/>
                </a:lnTo>
                <a:lnTo>
                  <a:pt x="4438" y="979"/>
                </a:lnTo>
                <a:lnTo>
                  <a:pt x="4438" y="979"/>
                </a:lnTo>
                <a:lnTo>
                  <a:pt x="4438" y="979"/>
                </a:lnTo>
                <a:lnTo>
                  <a:pt x="4433" y="985"/>
                </a:lnTo>
                <a:lnTo>
                  <a:pt x="4415" y="990"/>
                </a:lnTo>
                <a:lnTo>
                  <a:pt x="4409" y="990"/>
                </a:lnTo>
                <a:lnTo>
                  <a:pt x="4409" y="996"/>
                </a:lnTo>
                <a:lnTo>
                  <a:pt x="4409" y="996"/>
                </a:lnTo>
                <a:lnTo>
                  <a:pt x="4403" y="996"/>
                </a:lnTo>
                <a:lnTo>
                  <a:pt x="4379" y="1008"/>
                </a:lnTo>
                <a:lnTo>
                  <a:pt x="4373" y="1008"/>
                </a:lnTo>
                <a:lnTo>
                  <a:pt x="4367" y="1008"/>
                </a:lnTo>
                <a:lnTo>
                  <a:pt x="4367" y="1008"/>
                </a:lnTo>
                <a:lnTo>
                  <a:pt x="4367" y="1008"/>
                </a:lnTo>
                <a:lnTo>
                  <a:pt x="4367" y="1008"/>
                </a:lnTo>
                <a:lnTo>
                  <a:pt x="4367" y="1014"/>
                </a:lnTo>
                <a:lnTo>
                  <a:pt x="4361" y="1014"/>
                </a:lnTo>
                <a:lnTo>
                  <a:pt x="4361" y="1014"/>
                </a:lnTo>
                <a:lnTo>
                  <a:pt x="4355" y="1014"/>
                </a:lnTo>
                <a:lnTo>
                  <a:pt x="4320" y="1032"/>
                </a:lnTo>
                <a:lnTo>
                  <a:pt x="4290" y="1056"/>
                </a:lnTo>
                <a:lnTo>
                  <a:pt x="4284" y="1062"/>
                </a:lnTo>
                <a:lnTo>
                  <a:pt x="4284" y="1062"/>
                </a:lnTo>
                <a:lnTo>
                  <a:pt x="4278" y="1062"/>
                </a:lnTo>
                <a:lnTo>
                  <a:pt x="4278" y="1062"/>
                </a:lnTo>
                <a:lnTo>
                  <a:pt x="4273" y="1062"/>
                </a:lnTo>
                <a:lnTo>
                  <a:pt x="4273" y="1062"/>
                </a:lnTo>
                <a:lnTo>
                  <a:pt x="4273" y="1062"/>
                </a:lnTo>
                <a:lnTo>
                  <a:pt x="4273" y="1062"/>
                </a:lnTo>
                <a:lnTo>
                  <a:pt x="4267" y="1062"/>
                </a:lnTo>
                <a:lnTo>
                  <a:pt x="4255" y="1062"/>
                </a:lnTo>
                <a:lnTo>
                  <a:pt x="4255" y="1062"/>
                </a:lnTo>
                <a:lnTo>
                  <a:pt x="4237" y="1062"/>
                </a:lnTo>
                <a:lnTo>
                  <a:pt x="4231" y="1068"/>
                </a:lnTo>
                <a:lnTo>
                  <a:pt x="4225" y="1068"/>
                </a:lnTo>
                <a:lnTo>
                  <a:pt x="4219" y="1068"/>
                </a:lnTo>
                <a:lnTo>
                  <a:pt x="4219" y="1068"/>
                </a:lnTo>
                <a:lnTo>
                  <a:pt x="4219" y="1074"/>
                </a:lnTo>
                <a:lnTo>
                  <a:pt x="4213" y="1074"/>
                </a:lnTo>
                <a:lnTo>
                  <a:pt x="4207" y="1074"/>
                </a:lnTo>
                <a:lnTo>
                  <a:pt x="4207" y="1074"/>
                </a:lnTo>
                <a:lnTo>
                  <a:pt x="4201" y="1074"/>
                </a:lnTo>
                <a:lnTo>
                  <a:pt x="4195" y="1068"/>
                </a:lnTo>
                <a:lnTo>
                  <a:pt x="4195" y="1068"/>
                </a:lnTo>
                <a:lnTo>
                  <a:pt x="4190" y="1068"/>
                </a:lnTo>
                <a:lnTo>
                  <a:pt x="4190" y="1068"/>
                </a:lnTo>
                <a:lnTo>
                  <a:pt x="4190" y="1062"/>
                </a:lnTo>
                <a:lnTo>
                  <a:pt x="4190" y="1062"/>
                </a:lnTo>
                <a:lnTo>
                  <a:pt x="4190" y="1062"/>
                </a:lnTo>
                <a:lnTo>
                  <a:pt x="4190" y="1062"/>
                </a:lnTo>
                <a:lnTo>
                  <a:pt x="4190" y="1068"/>
                </a:lnTo>
                <a:lnTo>
                  <a:pt x="4195" y="1068"/>
                </a:lnTo>
                <a:lnTo>
                  <a:pt x="4195" y="1074"/>
                </a:lnTo>
                <a:lnTo>
                  <a:pt x="4190" y="1068"/>
                </a:lnTo>
                <a:lnTo>
                  <a:pt x="4190" y="1068"/>
                </a:lnTo>
                <a:lnTo>
                  <a:pt x="4184" y="1068"/>
                </a:lnTo>
                <a:lnTo>
                  <a:pt x="4184" y="1068"/>
                </a:lnTo>
                <a:lnTo>
                  <a:pt x="4184" y="1068"/>
                </a:lnTo>
                <a:lnTo>
                  <a:pt x="4184" y="1068"/>
                </a:lnTo>
                <a:lnTo>
                  <a:pt x="4178" y="1068"/>
                </a:lnTo>
                <a:lnTo>
                  <a:pt x="4178" y="1068"/>
                </a:lnTo>
                <a:lnTo>
                  <a:pt x="4178" y="1062"/>
                </a:lnTo>
                <a:lnTo>
                  <a:pt x="4172" y="1068"/>
                </a:lnTo>
                <a:lnTo>
                  <a:pt x="4166" y="1068"/>
                </a:lnTo>
                <a:lnTo>
                  <a:pt x="4166" y="1068"/>
                </a:lnTo>
                <a:lnTo>
                  <a:pt x="4160" y="1068"/>
                </a:lnTo>
                <a:lnTo>
                  <a:pt x="4160" y="1068"/>
                </a:lnTo>
                <a:lnTo>
                  <a:pt x="4160" y="1068"/>
                </a:lnTo>
                <a:lnTo>
                  <a:pt x="4160" y="1068"/>
                </a:lnTo>
                <a:lnTo>
                  <a:pt x="4160" y="1068"/>
                </a:lnTo>
                <a:lnTo>
                  <a:pt x="4154" y="1068"/>
                </a:lnTo>
                <a:lnTo>
                  <a:pt x="4148" y="1068"/>
                </a:lnTo>
                <a:lnTo>
                  <a:pt x="4154" y="1068"/>
                </a:lnTo>
                <a:lnTo>
                  <a:pt x="4154" y="1068"/>
                </a:lnTo>
                <a:lnTo>
                  <a:pt x="4160" y="1062"/>
                </a:lnTo>
                <a:lnTo>
                  <a:pt x="4160" y="1068"/>
                </a:lnTo>
                <a:lnTo>
                  <a:pt x="4160" y="1068"/>
                </a:lnTo>
                <a:lnTo>
                  <a:pt x="4160" y="1062"/>
                </a:lnTo>
                <a:lnTo>
                  <a:pt x="4160" y="1062"/>
                </a:lnTo>
                <a:lnTo>
                  <a:pt x="4160" y="1062"/>
                </a:lnTo>
                <a:lnTo>
                  <a:pt x="4160" y="1062"/>
                </a:lnTo>
                <a:lnTo>
                  <a:pt x="4166" y="1062"/>
                </a:lnTo>
                <a:lnTo>
                  <a:pt x="4172" y="1062"/>
                </a:lnTo>
                <a:lnTo>
                  <a:pt x="4172" y="1062"/>
                </a:lnTo>
                <a:lnTo>
                  <a:pt x="4172" y="1062"/>
                </a:lnTo>
                <a:lnTo>
                  <a:pt x="4178" y="1062"/>
                </a:lnTo>
                <a:lnTo>
                  <a:pt x="4178" y="1062"/>
                </a:lnTo>
                <a:lnTo>
                  <a:pt x="4184" y="1062"/>
                </a:lnTo>
                <a:lnTo>
                  <a:pt x="4184" y="1056"/>
                </a:lnTo>
                <a:lnTo>
                  <a:pt x="4184" y="1056"/>
                </a:lnTo>
                <a:lnTo>
                  <a:pt x="4184" y="1056"/>
                </a:lnTo>
                <a:lnTo>
                  <a:pt x="4178" y="1056"/>
                </a:lnTo>
                <a:lnTo>
                  <a:pt x="4178" y="1056"/>
                </a:lnTo>
                <a:lnTo>
                  <a:pt x="4178" y="1056"/>
                </a:lnTo>
                <a:lnTo>
                  <a:pt x="4178" y="1056"/>
                </a:lnTo>
                <a:lnTo>
                  <a:pt x="4178" y="1056"/>
                </a:lnTo>
                <a:lnTo>
                  <a:pt x="4178" y="1056"/>
                </a:lnTo>
                <a:lnTo>
                  <a:pt x="4172" y="1050"/>
                </a:lnTo>
                <a:lnTo>
                  <a:pt x="4172" y="1050"/>
                </a:lnTo>
                <a:lnTo>
                  <a:pt x="4172" y="1050"/>
                </a:lnTo>
                <a:lnTo>
                  <a:pt x="4172" y="1050"/>
                </a:lnTo>
                <a:lnTo>
                  <a:pt x="4172" y="1050"/>
                </a:lnTo>
                <a:lnTo>
                  <a:pt x="4172" y="1056"/>
                </a:lnTo>
                <a:lnTo>
                  <a:pt x="4172" y="1056"/>
                </a:lnTo>
                <a:lnTo>
                  <a:pt x="4172" y="1056"/>
                </a:lnTo>
                <a:lnTo>
                  <a:pt x="4166" y="1056"/>
                </a:lnTo>
                <a:lnTo>
                  <a:pt x="4166" y="1056"/>
                </a:lnTo>
                <a:lnTo>
                  <a:pt x="4160" y="1056"/>
                </a:lnTo>
                <a:lnTo>
                  <a:pt x="4160" y="1056"/>
                </a:lnTo>
                <a:lnTo>
                  <a:pt x="4160" y="1056"/>
                </a:lnTo>
                <a:lnTo>
                  <a:pt x="4154" y="1056"/>
                </a:lnTo>
                <a:lnTo>
                  <a:pt x="4148" y="1050"/>
                </a:lnTo>
                <a:lnTo>
                  <a:pt x="4148" y="1044"/>
                </a:lnTo>
                <a:lnTo>
                  <a:pt x="4142" y="1044"/>
                </a:lnTo>
                <a:lnTo>
                  <a:pt x="4142" y="1044"/>
                </a:lnTo>
                <a:lnTo>
                  <a:pt x="4136" y="1044"/>
                </a:lnTo>
                <a:lnTo>
                  <a:pt x="4130" y="1038"/>
                </a:lnTo>
                <a:lnTo>
                  <a:pt x="4124" y="1038"/>
                </a:lnTo>
                <a:lnTo>
                  <a:pt x="4124" y="1032"/>
                </a:lnTo>
                <a:lnTo>
                  <a:pt x="4124" y="1032"/>
                </a:lnTo>
                <a:lnTo>
                  <a:pt x="4124" y="1032"/>
                </a:lnTo>
                <a:lnTo>
                  <a:pt x="4118" y="1032"/>
                </a:lnTo>
                <a:lnTo>
                  <a:pt x="4118" y="1032"/>
                </a:lnTo>
                <a:lnTo>
                  <a:pt x="4113" y="1032"/>
                </a:lnTo>
                <a:lnTo>
                  <a:pt x="4113" y="1032"/>
                </a:lnTo>
                <a:lnTo>
                  <a:pt x="4113" y="1032"/>
                </a:lnTo>
                <a:lnTo>
                  <a:pt x="4113" y="1026"/>
                </a:lnTo>
                <a:lnTo>
                  <a:pt x="4113" y="1026"/>
                </a:lnTo>
                <a:lnTo>
                  <a:pt x="4113" y="1026"/>
                </a:lnTo>
                <a:lnTo>
                  <a:pt x="4113" y="1026"/>
                </a:lnTo>
                <a:lnTo>
                  <a:pt x="4113" y="1026"/>
                </a:lnTo>
                <a:lnTo>
                  <a:pt x="4113" y="1026"/>
                </a:lnTo>
                <a:lnTo>
                  <a:pt x="4113" y="1020"/>
                </a:lnTo>
                <a:lnTo>
                  <a:pt x="4113" y="1020"/>
                </a:lnTo>
                <a:lnTo>
                  <a:pt x="4113" y="1020"/>
                </a:lnTo>
                <a:lnTo>
                  <a:pt x="4118" y="1008"/>
                </a:lnTo>
                <a:lnTo>
                  <a:pt x="4118" y="1008"/>
                </a:lnTo>
                <a:lnTo>
                  <a:pt x="4124" y="1008"/>
                </a:lnTo>
                <a:lnTo>
                  <a:pt x="4124" y="1008"/>
                </a:lnTo>
                <a:lnTo>
                  <a:pt x="4124" y="1002"/>
                </a:lnTo>
                <a:lnTo>
                  <a:pt x="4130" y="1002"/>
                </a:lnTo>
                <a:lnTo>
                  <a:pt x="4130" y="1002"/>
                </a:lnTo>
                <a:lnTo>
                  <a:pt x="4130" y="1002"/>
                </a:lnTo>
                <a:lnTo>
                  <a:pt x="4130" y="1002"/>
                </a:lnTo>
                <a:lnTo>
                  <a:pt x="4130" y="996"/>
                </a:lnTo>
                <a:lnTo>
                  <a:pt x="4130" y="996"/>
                </a:lnTo>
                <a:lnTo>
                  <a:pt x="4130" y="996"/>
                </a:lnTo>
                <a:lnTo>
                  <a:pt x="4136" y="996"/>
                </a:lnTo>
                <a:lnTo>
                  <a:pt x="4136" y="990"/>
                </a:lnTo>
                <a:lnTo>
                  <a:pt x="4136" y="990"/>
                </a:lnTo>
                <a:lnTo>
                  <a:pt x="4136" y="990"/>
                </a:lnTo>
                <a:lnTo>
                  <a:pt x="4136" y="990"/>
                </a:lnTo>
                <a:lnTo>
                  <a:pt x="4136" y="990"/>
                </a:lnTo>
                <a:lnTo>
                  <a:pt x="4136" y="990"/>
                </a:lnTo>
                <a:lnTo>
                  <a:pt x="4136" y="990"/>
                </a:lnTo>
                <a:lnTo>
                  <a:pt x="4136" y="990"/>
                </a:lnTo>
                <a:lnTo>
                  <a:pt x="4136" y="985"/>
                </a:lnTo>
                <a:lnTo>
                  <a:pt x="4136" y="985"/>
                </a:lnTo>
                <a:lnTo>
                  <a:pt x="4136" y="985"/>
                </a:lnTo>
                <a:lnTo>
                  <a:pt x="4136" y="985"/>
                </a:lnTo>
                <a:lnTo>
                  <a:pt x="4136" y="985"/>
                </a:lnTo>
                <a:lnTo>
                  <a:pt x="4136" y="979"/>
                </a:lnTo>
                <a:lnTo>
                  <a:pt x="4136" y="979"/>
                </a:lnTo>
                <a:lnTo>
                  <a:pt x="4136" y="979"/>
                </a:lnTo>
                <a:lnTo>
                  <a:pt x="4142" y="961"/>
                </a:lnTo>
                <a:lnTo>
                  <a:pt x="4142" y="961"/>
                </a:lnTo>
                <a:lnTo>
                  <a:pt x="4148" y="955"/>
                </a:lnTo>
                <a:lnTo>
                  <a:pt x="4148" y="949"/>
                </a:lnTo>
                <a:lnTo>
                  <a:pt x="4154" y="949"/>
                </a:lnTo>
                <a:lnTo>
                  <a:pt x="4160" y="949"/>
                </a:lnTo>
                <a:lnTo>
                  <a:pt x="4160" y="943"/>
                </a:lnTo>
                <a:lnTo>
                  <a:pt x="4160" y="943"/>
                </a:lnTo>
                <a:lnTo>
                  <a:pt x="4166" y="943"/>
                </a:lnTo>
                <a:lnTo>
                  <a:pt x="4166" y="943"/>
                </a:lnTo>
                <a:lnTo>
                  <a:pt x="4166" y="943"/>
                </a:lnTo>
                <a:lnTo>
                  <a:pt x="4166" y="937"/>
                </a:lnTo>
                <a:lnTo>
                  <a:pt x="4166" y="937"/>
                </a:lnTo>
                <a:lnTo>
                  <a:pt x="4172" y="931"/>
                </a:lnTo>
                <a:lnTo>
                  <a:pt x="4172" y="931"/>
                </a:lnTo>
                <a:lnTo>
                  <a:pt x="4172" y="931"/>
                </a:lnTo>
                <a:lnTo>
                  <a:pt x="4166" y="931"/>
                </a:lnTo>
                <a:lnTo>
                  <a:pt x="4166" y="925"/>
                </a:lnTo>
                <a:lnTo>
                  <a:pt x="4166" y="925"/>
                </a:lnTo>
                <a:lnTo>
                  <a:pt x="4172" y="919"/>
                </a:lnTo>
                <a:lnTo>
                  <a:pt x="4172" y="919"/>
                </a:lnTo>
                <a:lnTo>
                  <a:pt x="4172" y="919"/>
                </a:lnTo>
                <a:lnTo>
                  <a:pt x="4178" y="919"/>
                </a:lnTo>
                <a:lnTo>
                  <a:pt x="4178" y="913"/>
                </a:lnTo>
                <a:lnTo>
                  <a:pt x="4178" y="913"/>
                </a:lnTo>
                <a:lnTo>
                  <a:pt x="4178" y="913"/>
                </a:lnTo>
                <a:lnTo>
                  <a:pt x="4178" y="913"/>
                </a:lnTo>
                <a:lnTo>
                  <a:pt x="4178" y="913"/>
                </a:lnTo>
                <a:lnTo>
                  <a:pt x="4178" y="907"/>
                </a:lnTo>
                <a:lnTo>
                  <a:pt x="4172" y="907"/>
                </a:lnTo>
                <a:lnTo>
                  <a:pt x="4178" y="907"/>
                </a:lnTo>
                <a:lnTo>
                  <a:pt x="4178" y="907"/>
                </a:lnTo>
                <a:lnTo>
                  <a:pt x="4184" y="902"/>
                </a:lnTo>
                <a:lnTo>
                  <a:pt x="4184" y="902"/>
                </a:lnTo>
                <a:lnTo>
                  <a:pt x="4184" y="902"/>
                </a:lnTo>
                <a:lnTo>
                  <a:pt x="4190" y="902"/>
                </a:lnTo>
                <a:lnTo>
                  <a:pt x="4190" y="902"/>
                </a:lnTo>
                <a:lnTo>
                  <a:pt x="4195" y="902"/>
                </a:lnTo>
                <a:lnTo>
                  <a:pt x="4195" y="902"/>
                </a:lnTo>
                <a:lnTo>
                  <a:pt x="4190" y="907"/>
                </a:lnTo>
                <a:lnTo>
                  <a:pt x="4190" y="907"/>
                </a:lnTo>
                <a:lnTo>
                  <a:pt x="4190" y="907"/>
                </a:lnTo>
                <a:lnTo>
                  <a:pt x="4195" y="907"/>
                </a:lnTo>
                <a:lnTo>
                  <a:pt x="4195" y="913"/>
                </a:lnTo>
                <a:lnTo>
                  <a:pt x="4190" y="913"/>
                </a:lnTo>
                <a:lnTo>
                  <a:pt x="4195" y="913"/>
                </a:lnTo>
                <a:lnTo>
                  <a:pt x="4195" y="919"/>
                </a:lnTo>
                <a:lnTo>
                  <a:pt x="4190" y="919"/>
                </a:lnTo>
                <a:lnTo>
                  <a:pt x="4190" y="919"/>
                </a:lnTo>
                <a:lnTo>
                  <a:pt x="4190" y="919"/>
                </a:lnTo>
                <a:lnTo>
                  <a:pt x="4190" y="919"/>
                </a:lnTo>
                <a:lnTo>
                  <a:pt x="4195" y="919"/>
                </a:lnTo>
                <a:lnTo>
                  <a:pt x="4195" y="919"/>
                </a:lnTo>
                <a:lnTo>
                  <a:pt x="4195" y="919"/>
                </a:lnTo>
                <a:lnTo>
                  <a:pt x="4195" y="919"/>
                </a:lnTo>
                <a:lnTo>
                  <a:pt x="4201" y="919"/>
                </a:lnTo>
                <a:lnTo>
                  <a:pt x="4201" y="919"/>
                </a:lnTo>
                <a:lnTo>
                  <a:pt x="4201" y="913"/>
                </a:lnTo>
                <a:lnTo>
                  <a:pt x="4201" y="913"/>
                </a:lnTo>
                <a:lnTo>
                  <a:pt x="4201" y="913"/>
                </a:lnTo>
                <a:lnTo>
                  <a:pt x="4207" y="907"/>
                </a:lnTo>
                <a:lnTo>
                  <a:pt x="4207" y="907"/>
                </a:lnTo>
                <a:lnTo>
                  <a:pt x="4207" y="902"/>
                </a:lnTo>
                <a:lnTo>
                  <a:pt x="4207" y="896"/>
                </a:lnTo>
                <a:lnTo>
                  <a:pt x="4207" y="890"/>
                </a:lnTo>
                <a:lnTo>
                  <a:pt x="4207" y="890"/>
                </a:lnTo>
                <a:lnTo>
                  <a:pt x="4207" y="890"/>
                </a:lnTo>
                <a:lnTo>
                  <a:pt x="4207" y="890"/>
                </a:lnTo>
                <a:lnTo>
                  <a:pt x="4207" y="890"/>
                </a:lnTo>
                <a:lnTo>
                  <a:pt x="4207" y="890"/>
                </a:lnTo>
                <a:lnTo>
                  <a:pt x="4207" y="890"/>
                </a:lnTo>
                <a:lnTo>
                  <a:pt x="4207" y="890"/>
                </a:lnTo>
                <a:lnTo>
                  <a:pt x="4207" y="884"/>
                </a:lnTo>
                <a:lnTo>
                  <a:pt x="4207" y="884"/>
                </a:lnTo>
                <a:lnTo>
                  <a:pt x="4207" y="884"/>
                </a:lnTo>
                <a:lnTo>
                  <a:pt x="4207" y="884"/>
                </a:lnTo>
                <a:lnTo>
                  <a:pt x="4207" y="884"/>
                </a:lnTo>
                <a:lnTo>
                  <a:pt x="4207" y="878"/>
                </a:lnTo>
                <a:lnTo>
                  <a:pt x="4207" y="878"/>
                </a:lnTo>
                <a:lnTo>
                  <a:pt x="4207" y="872"/>
                </a:lnTo>
                <a:lnTo>
                  <a:pt x="4213" y="872"/>
                </a:lnTo>
                <a:lnTo>
                  <a:pt x="4213" y="872"/>
                </a:lnTo>
                <a:lnTo>
                  <a:pt x="4213" y="866"/>
                </a:lnTo>
                <a:lnTo>
                  <a:pt x="4213" y="866"/>
                </a:lnTo>
                <a:lnTo>
                  <a:pt x="4213" y="860"/>
                </a:lnTo>
                <a:lnTo>
                  <a:pt x="4213" y="860"/>
                </a:lnTo>
                <a:lnTo>
                  <a:pt x="4213" y="860"/>
                </a:lnTo>
                <a:lnTo>
                  <a:pt x="4213" y="860"/>
                </a:lnTo>
                <a:lnTo>
                  <a:pt x="4213" y="860"/>
                </a:lnTo>
                <a:lnTo>
                  <a:pt x="4213" y="860"/>
                </a:lnTo>
                <a:lnTo>
                  <a:pt x="4213" y="854"/>
                </a:lnTo>
                <a:lnTo>
                  <a:pt x="4213" y="854"/>
                </a:lnTo>
                <a:lnTo>
                  <a:pt x="4207" y="848"/>
                </a:lnTo>
                <a:lnTo>
                  <a:pt x="4207" y="848"/>
                </a:lnTo>
                <a:lnTo>
                  <a:pt x="4207" y="848"/>
                </a:lnTo>
                <a:lnTo>
                  <a:pt x="4201" y="824"/>
                </a:lnTo>
                <a:lnTo>
                  <a:pt x="4201" y="801"/>
                </a:lnTo>
                <a:lnTo>
                  <a:pt x="4195" y="789"/>
                </a:lnTo>
                <a:lnTo>
                  <a:pt x="4190" y="747"/>
                </a:lnTo>
                <a:lnTo>
                  <a:pt x="4190" y="741"/>
                </a:lnTo>
                <a:lnTo>
                  <a:pt x="4190" y="735"/>
                </a:lnTo>
                <a:lnTo>
                  <a:pt x="4190" y="735"/>
                </a:lnTo>
                <a:lnTo>
                  <a:pt x="4190" y="735"/>
                </a:lnTo>
                <a:lnTo>
                  <a:pt x="4184" y="724"/>
                </a:lnTo>
                <a:lnTo>
                  <a:pt x="4178" y="724"/>
                </a:lnTo>
                <a:lnTo>
                  <a:pt x="4178" y="718"/>
                </a:lnTo>
                <a:lnTo>
                  <a:pt x="4166" y="712"/>
                </a:lnTo>
                <a:lnTo>
                  <a:pt x="4160" y="712"/>
                </a:lnTo>
                <a:lnTo>
                  <a:pt x="4160" y="712"/>
                </a:lnTo>
                <a:lnTo>
                  <a:pt x="4154" y="712"/>
                </a:lnTo>
                <a:lnTo>
                  <a:pt x="4154" y="718"/>
                </a:lnTo>
                <a:lnTo>
                  <a:pt x="4148" y="718"/>
                </a:lnTo>
                <a:lnTo>
                  <a:pt x="4148" y="718"/>
                </a:lnTo>
                <a:lnTo>
                  <a:pt x="4142" y="718"/>
                </a:lnTo>
                <a:lnTo>
                  <a:pt x="4142" y="724"/>
                </a:lnTo>
                <a:lnTo>
                  <a:pt x="4142" y="724"/>
                </a:lnTo>
                <a:lnTo>
                  <a:pt x="4142" y="724"/>
                </a:lnTo>
                <a:lnTo>
                  <a:pt x="4130" y="724"/>
                </a:lnTo>
                <a:lnTo>
                  <a:pt x="4130" y="724"/>
                </a:lnTo>
                <a:lnTo>
                  <a:pt x="4130" y="724"/>
                </a:lnTo>
                <a:lnTo>
                  <a:pt x="4130" y="724"/>
                </a:lnTo>
                <a:lnTo>
                  <a:pt x="4124" y="730"/>
                </a:lnTo>
                <a:lnTo>
                  <a:pt x="4124" y="730"/>
                </a:lnTo>
                <a:lnTo>
                  <a:pt x="4124" y="730"/>
                </a:lnTo>
                <a:lnTo>
                  <a:pt x="4118" y="735"/>
                </a:lnTo>
                <a:lnTo>
                  <a:pt x="4118" y="735"/>
                </a:lnTo>
                <a:lnTo>
                  <a:pt x="4118" y="735"/>
                </a:lnTo>
                <a:lnTo>
                  <a:pt x="4124" y="735"/>
                </a:lnTo>
                <a:lnTo>
                  <a:pt x="4124" y="735"/>
                </a:lnTo>
                <a:lnTo>
                  <a:pt x="4118" y="741"/>
                </a:lnTo>
                <a:lnTo>
                  <a:pt x="4118" y="741"/>
                </a:lnTo>
                <a:lnTo>
                  <a:pt x="4118" y="747"/>
                </a:lnTo>
                <a:lnTo>
                  <a:pt x="4118" y="747"/>
                </a:lnTo>
                <a:lnTo>
                  <a:pt x="4113" y="753"/>
                </a:lnTo>
                <a:lnTo>
                  <a:pt x="4107" y="759"/>
                </a:lnTo>
                <a:lnTo>
                  <a:pt x="4107" y="765"/>
                </a:lnTo>
                <a:lnTo>
                  <a:pt x="4107" y="765"/>
                </a:lnTo>
                <a:lnTo>
                  <a:pt x="4107" y="759"/>
                </a:lnTo>
                <a:lnTo>
                  <a:pt x="4107" y="759"/>
                </a:lnTo>
                <a:lnTo>
                  <a:pt x="4107" y="759"/>
                </a:lnTo>
                <a:lnTo>
                  <a:pt x="4101" y="759"/>
                </a:lnTo>
                <a:lnTo>
                  <a:pt x="4095" y="771"/>
                </a:lnTo>
                <a:lnTo>
                  <a:pt x="4095" y="777"/>
                </a:lnTo>
                <a:lnTo>
                  <a:pt x="4089" y="777"/>
                </a:lnTo>
                <a:lnTo>
                  <a:pt x="4083" y="777"/>
                </a:lnTo>
                <a:lnTo>
                  <a:pt x="4083" y="771"/>
                </a:lnTo>
                <a:lnTo>
                  <a:pt x="4077" y="771"/>
                </a:lnTo>
                <a:lnTo>
                  <a:pt x="4071" y="771"/>
                </a:lnTo>
                <a:lnTo>
                  <a:pt x="4071" y="765"/>
                </a:lnTo>
                <a:lnTo>
                  <a:pt x="4065" y="765"/>
                </a:lnTo>
                <a:lnTo>
                  <a:pt x="4065" y="765"/>
                </a:lnTo>
                <a:lnTo>
                  <a:pt x="4065" y="759"/>
                </a:lnTo>
                <a:lnTo>
                  <a:pt x="4059" y="753"/>
                </a:lnTo>
                <a:lnTo>
                  <a:pt x="4065" y="753"/>
                </a:lnTo>
                <a:lnTo>
                  <a:pt x="4065" y="753"/>
                </a:lnTo>
                <a:lnTo>
                  <a:pt x="4065" y="747"/>
                </a:lnTo>
                <a:lnTo>
                  <a:pt x="4065" y="741"/>
                </a:lnTo>
                <a:lnTo>
                  <a:pt x="4065" y="741"/>
                </a:lnTo>
                <a:lnTo>
                  <a:pt x="4065" y="741"/>
                </a:lnTo>
                <a:lnTo>
                  <a:pt x="4065" y="741"/>
                </a:lnTo>
                <a:lnTo>
                  <a:pt x="4065" y="741"/>
                </a:lnTo>
                <a:lnTo>
                  <a:pt x="4065" y="730"/>
                </a:lnTo>
                <a:lnTo>
                  <a:pt x="4071" y="724"/>
                </a:lnTo>
                <a:lnTo>
                  <a:pt x="4077" y="724"/>
                </a:lnTo>
                <a:lnTo>
                  <a:pt x="4077" y="724"/>
                </a:lnTo>
                <a:lnTo>
                  <a:pt x="4077" y="724"/>
                </a:lnTo>
                <a:lnTo>
                  <a:pt x="4077" y="724"/>
                </a:lnTo>
                <a:lnTo>
                  <a:pt x="4083" y="724"/>
                </a:lnTo>
                <a:lnTo>
                  <a:pt x="4083" y="724"/>
                </a:lnTo>
                <a:lnTo>
                  <a:pt x="4083" y="718"/>
                </a:lnTo>
                <a:lnTo>
                  <a:pt x="4083" y="724"/>
                </a:lnTo>
                <a:lnTo>
                  <a:pt x="4089" y="724"/>
                </a:lnTo>
                <a:lnTo>
                  <a:pt x="4089" y="724"/>
                </a:lnTo>
                <a:lnTo>
                  <a:pt x="4089" y="724"/>
                </a:lnTo>
                <a:lnTo>
                  <a:pt x="4089" y="718"/>
                </a:lnTo>
                <a:lnTo>
                  <a:pt x="4089" y="718"/>
                </a:lnTo>
                <a:lnTo>
                  <a:pt x="4089" y="712"/>
                </a:lnTo>
                <a:lnTo>
                  <a:pt x="4095" y="712"/>
                </a:lnTo>
                <a:lnTo>
                  <a:pt x="4095" y="712"/>
                </a:lnTo>
                <a:lnTo>
                  <a:pt x="4095" y="712"/>
                </a:lnTo>
                <a:lnTo>
                  <a:pt x="4095" y="712"/>
                </a:lnTo>
                <a:lnTo>
                  <a:pt x="4095" y="712"/>
                </a:lnTo>
                <a:lnTo>
                  <a:pt x="4101" y="706"/>
                </a:lnTo>
                <a:lnTo>
                  <a:pt x="4101" y="706"/>
                </a:lnTo>
                <a:lnTo>
                  <a:pt x="4101" y="706"/>
                </a:lnTo>
                <a:lnTo>
                  <a:pt x="4101" y="694"/>
                </a:lnTo>
                <a:lnTo>
                  <a:pt x="4101" y="688"/>
                </a:lnTo>
                <a:lnTo>
                  <a:pt x="4101" y="688"/>
                </a:lnTo>
                <a:lnTo>
                  <a:pt x="4107" y="682"/>
                </a:lnTo>
                <a:lnTo>
                  <a:pt x="4107" y="682"/>
                </a:lnTo>
                <a:lnTo>
                  <a:pt x="4113" y="682"/>
                </a:lnTo>
                <a:lnTo>
                  <a:pt x="4113" y="682"/>
                </a:lnTo>
                <a:lnTo>
                  <a:pt x="4113" y="688"/>
                </a:lnTo>
                <a:lnTo>
                  <a:pt x="4113" y="688"/>
                </a:lnTo>
                <a:lnTo>
                  <a:pt x="4113" y="682"/>
                </a:lnTo>
                <a:lnTo>
                  <a:pt x="4118" y="676"/>
                </a:lnTo>
                <a:lnTo>
                  <a:pt x="4118" y="676"/>
                </a:lnTo>
                <a:lnTo>
                  <a:pt x="4118" y="676"/>
                </a:lnTo>
                <a:lnTo>
                  <a:pt x="4118" y="676"/>
                </a:lnTo>
                <a:lnTo>
                  <a:pt x="4118" y="676"/>
                </a:lnTo>
                <a:lnTo>
                  <a:pt x="4124" y="676"/>
                </a:lnTo>
                <a:lnTo>
                  <a:pt x="4124" y="670"/>
                </a:lnTo>
                <a:lnTo>
                  <a:pt x="4124" y="670"/>
                </a:lnTo>
                <a:lnTo>
                  <a:pt x="4124" y="664"/>
                </a:lnTo>
                <a:lnTo>
                  <a:pt x="4124" y="635"/>
                </a:lnTo>
                <a:lnTo>
                  <a:pt x="4124" y="635"/>
                </a:lnTo>
                <a:lnTo>
                  <a:pt x="4124" y="629"/>
                </a:lnTo>
                <a:lnTo>
                  <a:pt x="4130" y="623"/>
                </a:lnTo>
                <a:lnTo>
                  <a:pt x="4130" y="623"/>
                </a:lnTo>
                <a:lnTo>
                  <a:pt x="4124" y="617"/>
                </a:lnTo>
                <a:lnTo>
                  <a:pt x="4124" y="611"/>
                </a:lnTo>
                <a:lnTo>
                  <a:pt x="4124" y="605"/>
                </a:lnTo>
                <a:lnTo>
                  <a:pt x="4124" y="605"/>
                </a:lnTo>
                <a:lnTo>
                  <a:pt x="4124" y="599"/>
                </a:lnTo>
                <a:lnTo>
                  <a:pt x="4124" y="599"/>
                </a:lnTo>
                <a:lnTo>
                  <a:pt x="4124" y="599"/>
                </a:lnTo>
                <a:lnTo>
                  <a:pt x="4124" y="599"/>
                </a:lnTo>
                <a:lnTo>
                  <a:pt x="4124" y="599"/>
                </a:lnTo>
                <a:lnTo>
                  <a:pt x="4118" y="599"/>
                </a:lnTo>
                <a:lnTo>
                  <a:pt x="4118" y="593"/>
                </a:lnTo>
                <a:lnTo>
                  <a:pt x="4118" y="593"/>
                </a:lnTo>
                <a:lnTo>
                  <a:pt x="4113" y="593"/>
                </a:lnTo>
                <a:lnTo>
                  <a:pt x="4113" y="587"/>
                </a:lnTo>
                <a:lnTo>
                  <a:pt x="4113" y="587"/>
                </a:lnTo>
                <a:lnTo>
                  <a:pt x="4113" y="587"/>
                </a:lnTo>
                <a:lnTo>
                  <a:pt x="4113" y="587"/>
                </a:lnTo>
                <a:lnTo>
                  <a:pt x="4113" y="581"/>
                </a:lnTo>
                <a:lnTo>
                  <a:pt x="4113" y="581"/>
                </a:lnTo>
                <a:lnTo>
                  <a:pt x="4113" y="581"/>
                </a:lnTo>
                <a:lnTo>
                  <a:pt x="4113" y="581"/>
                </a:lnTo>
                <a:lnTo>
                  <a:pt x="4113" y="581"/>
                </a:lnTo>
                <a:lnTo>
                  <a:pt x="4113" y="581"/>
                </a:lnTo>
                <a:lnTo>
                  <a:pt x="4113" y="581"/>
                </a:lnTo>
                <a:lnTo>
                  <a:pt x="4113" y="581"/>
                </a:lnTo>
                <a:lnTo>
                  <a:pt x="4113" y="575"/>
                </a:lnTo>
                <a:lnTo>
                  <a:pt x="4113" y="575"/>
                </a:lnTo>
                <a:lnTo>
                  <a:pt x="4113" y="569"/>
                </a:lnTo>
                <a:lnTo>
                  <a:pt x="4118" y="569"/>
                </a:lnTo>
                <a:lnTo>
                  <a:pt x="4118" y="569"/>
                </a:lnTo>
                <a:lnTo>
                  <a:pt x="4124" y="575"/>
                </a:lnTo>
                <a:lnTo>
                  <a:pt x="4124" y="575"/>
                </a:lnTo>
                <a:lnTo>
                  <a:pt x="4124" y="575"/>
                </a:lnTo>
                <a:lnTo>
                  <a:pt x="4124" y="575"/>
                </a:lnTo>
                <a:lnTo>
                  <a:pt x="4130" y="575"/>
                </a:lnTo>
                <a:lnTo>
                  <a:pt x="4130" y="575"/>
                </a:lnTo>
                <a:lnTo>
                  <a:pt x="4124" y="575"/>
                </a:lnTo>
                <a:lnTo>
                  <a:pt x="4124" y="569"/>
                </a:lnTo>
                <a:lnTo>
                  <a:pt x="4124" y="569"/>
                </a:lnTo>
                <a:lnTo>
                  <a:pt x="4124" y="569"/>
                </a:lnTo>
                <a:lnTo>
                  <a:pt x="4124" y="569"/>
                </a:lnTo>
                <a:lnTo>
                  <a:pt x="4124" y="569"/>
                </a:lnTo>
                <a:lnTo>
                  <a:pt x="4124" y="569"/>
                </a:lnTo>
                <a:lnTo>
                  <a:pt x="4124" y="569"/>
                </a:lnTo>
                <a:lnTo>
                  <a:pt x="4124" y="563"/>
                </a:lnTo>
                <a:lnTo>
                  <a:pt x="4124" y="563"/>
                </a:lnTo>
                <a:lnTo>
                  <a:pt x="4124" y="563"/>
                </a:lnTo>
                <a:lnTo>
                  <a:pt x="4124" y="563"/>
                </a:lnTo>
                <a:lnTo>
                  <a:pt x="4124" y="558"/>
                </a:lnTo>
                <a:lnTo>
                  <a:pt x="4124" y="558"/>
                </a:lnTo>
                <a:lnTo>
                  <a:pt x="4124" y="558"/>
                </a:lnTo>
                <a:lnTo>
                  <a:pt x="4118" y="558"/>
                </a:lnTo>
                <a:lnTo>
                  <a:pt x="4118" y="558"/>
                </a:lnTo>
                <a:lnTo>
                  <a:pt x="4118" y="552"/>
                </a:lnTo>
                <a:lnTo>
                  <a:pt x="4118" y="552"/>
                </a:lnTo>
                <a:lnTo>
                  <a:pt x="4113" y="546"/>
                </a:lnTo>
                <a:lnTo>
                  <a:pt x="4118" y="546"/>
                </a:lnTo>
                <a:lnTo>
                  <a:pt x="4118" y="546"/>
                </a:lnTo>
                <a:lnTo>
                  <a:pt x="4118" y="546"/>
                </a:lnTo>
                <a:lnTo>
                  <a:pt x="4113" y="540"/>
                </a:lnTo>
                <a:lnTo>
                  <a:pt x="4113" y="534"/>
                </a:lnTo>
                <a:lnTo>
                  <a:pt x="4107" y="534"/>
                </a:lnTo>
                <a:lnTo>
                  <a:pt x="4101" y="528"/>
                </a:lnTo>
                <a:lnTo>
                  <a:pt x="4095" y="528"/>
                </a:lnTo>
                <a:lnTo>
                  <a:pt x="4095" y="528"/>
                </a:lnTo>
                <a:lnTo>
                  <a:pt x="4095" y="528"/>
                </a:lnTo>
                <a:lnTo>
                  <a:pt x="4089" y="528"/>
                </a:lnTo>
                <a:lnTo>
                  <a:pt x="4089" y="528"/>
                </a:lnTo>
                <a:lnTo>
                  <a:pt x="4089" y="522"/>
                </a:lnTo>
                <a:lnTo>
                  <a:pt x="4083" y="522"/>
                </a:lnTo>
                <a:lnTo>
                  <a:pt x="4083" y="522"/>
                </a:lnTo>
                <a:lnTo>
                  <a:pt x="4077" y="522"/>
                </a:lnTo>
                <a:lnTo>
                  <a:pt x="4077" y="522"/>
                </a:lnTo>
                <a:lnTo>
                  <a:pt x="4077" y="522"/>
                </a:lnTo>
                <a:lnTo>
                  <a:pt x="4071" y="522"/>
                </a:lnTo>
                <a:lnTo>
                  <a:pt x="4071" y="516"/>
                </a:lnTo>
                <a:lnTo>
                  <a:pt x="4065" y="516"/>
                </a:lnTo>
                <a:lnTo>
                  <a:pt x="4065" y="510"/>
                </a:lnTo>
                <a:lnTo>
                  <a:pt x="4047" y="510"/>
                </a:lnTo>
                <a:lnTo>
                  <a:pt x="4047" y="510"/>
                </a:lnTo>
                <a:lnTo>
                  <a:pt x="4041" y="510"/>
                </a:lnTo>
                <a:lnTo>
                  <a:pt x="4041" y="504"/>
                </a:lnTo>
                <a:lnTo>
                  <a:pt x="4041" y="504"/>
                </a:lnTo>
                <a:lnTo>
                  <a:pt x="4041" y="498"/>
                </a:lnTo>
                <a:lnTo>
                  <a:pt x="4041" y="498"/>
                </a:lnTo>
                <a:lnTo>
                  <a:pt x="4035" y="492"/>
                </a:lnTo>
                <a:lnTo>
                  <a:pt x="4035" y="492"/>
                </a:lnTo>
                <a:lnTo>
                  <a:pt x="4030" y="486"/>
                </a:lnTo>
                <a:lnTo>
                  <a:pt x="4024" y="486"/>
                </a:lnTo>
                <a:lnTo>
                  <a:pt x="4018" y="486"/>
                </a:lnTo>
                <a:lnTo>
                  <a:pt x="4012" y="486"/>
                </a:lnTo>
                <a:lnTo>
                  <a:pt x="4006" y="486"/>
                </a:lnTo>
                <a:lnTo>
                  <a:pt x="4000" y="480"/>
                </a:lnTo>
                <a:lnTo>
                  <a:pt x="3988" y="474"/>
                </a:lnTo>
                <a:lnTo>
                  <a:pt x="3982" y="469"/>
                </a:lnTo>
                <a:lnTo>
                  <a:pt x="3982" y="469"/>
                </a:lnTo>
                <a:lnTo>
                  <a:pt x="3982" y="469"/>
                </a:lnTo>
                <a:lnTo>
                  <a:pt x="3976" y="469"/>
                </a:lnTo>
                <a:lnTo>
                  <a:pt x="3976" y="474"/>
                </a:lnTo>
                <a:lnTo>
                  <a:pt x="3976" y="474"/>
                </a:lnTo>
                <a:lnTo>
                  <a:pt x="3976" y="474"/>
                </a:lnTo>
                <a:lnTo>
                  <a:pt x="3964" y="474"/>
                </a:lnTo>
                <a:lnTo>
                  <a:pt x="3958" y="474"/>
                </a:lnTo>
                <a:lnTo>
                  <a:pt x="3958" y="474"/>
                </a:lnTo>
                <a:lnTo>
                  <a:pt x="3958" y="474"/>
                </a:lnTo>
                <a:lnTo>
                  <a:pt x="3964" y="480"/>
                </a:lnTo>
                <a:lnTo>
                  <a:pt x="3964" y="480"/>
                </a:lnTo>
                <a:lnTo>
                  <a:pt x="3964" y="480"/>
                </a:lnTo>
                <a:lnTo>
                  <a:pt x="3958" y="486"/>
                </a:lnTo>
                <a:lnTo>
                  <a:pt x="3953" y="492"/>
                </a:lnTo>
                <a:lnTo>
                  <a:pt x="3947" y="492"/>
                </a:lnTo>
                <a:lnTo>
                  <a:pt x="3947" y="498"/>
                </a:lnTo>
                <a:lnTo>
                  <a:pt x="3947" y="504"/>
                </a:lnTo>
                <a:lnTo>
                  <a:pt x="3947" y="510"/>
                </a:lnTo>
                <a:lnTo>
                  <a:pt x="3947" y="510"/>
                </a:lnTo>
                <a:lnTo>
                  <a:pt x="3953" y="516"/>
                </a:lnTo>
                <a:lnTo>
                  <a:pt x="3953" y="522"/>
                </a:lnTo>
                <a:lnTo>
                  <a:pt x="3953" y="522"/>
                </a:lnTo>
                <a:lnTo>
                  <a:pt x="3964" y="522"/>
                </a:lnTo>
                <a:lnTo>
                  <a:pt x="3964" y="522"/>
                </a:lnTo>
                <a:lnTo>
                  <a:pt x="3964" y="528"/>
                </a:lnTo>
                <a:lnTo>
                  <a:pt x="3958" y="528"/>
                </a:lnTo>
                <a:lnTo>
                  <a:pt x="3953" y="528"/>
                </a:lnTo>
                <a:lnTo>
                  <a:pt x="3947" y="528"/>
                </a:lnTo>
                <a:lnTo>
                  <a:pt x="3941" y="528"/>
                </a:lnTo>
                <a:lnTo>
                  <a:pt x="3923" y="540"/>
                </a:lnTo>
                <a:lnTo>
                  <a:pt x="3923" y="540"/>
                </a:lnTo>
                <a:lnTo>
                  <a:pt x="3917" y="546"/>
                </a:lnTo>
                <a:lnTo>
                  <a:pt x="3917" y="552"/>
                </a:lnTo>
                <a:lnTo>
                  <a:pt x="3917" y="569"/>
                </a:lnTo>
                <a:lnTo>
                  <a:pt x="3917" y="581"/>
                </a:lnTo>
                <a:lnTo>
                  <a:pt x="3917" y="593"/>
                </a:lnTo>
                <a:lnTo>
                  <a:pt x="3911" y="605"/>
                </a:lnTo>
                <a:lnTo>
                  <a:pt x="3905" y="617"/>
                </a:lnTo>
                <a:lnTo>
                  <a:pt x="3905" y="617"/>
                </a:lnTo>
                <a:lnTo>
                  <a:pt x="3899" y="617"/>
                </a:lnTo>
                <a:lnTo>
                  <a:pt x="3899" y="617"/>
                </a:lnTo>
                <a:lnTo>
                  <a:pt x="3899" y="611"/>
                </a:lnTo>
                <a:lnTo>
                  <a:pt x="3899" y="611"/>
                </a:lnTo>
                <a:lnTo>
                  <a:pt x="3899" y="611"/>
                </a:lnTo>
                <a:lnTo>
                  <a:pt x="3905" y="611"/>
                </a:lnTo>
                <a:lnTo>
                  <a:pt x="3905" y="605"/>
                </a:lnTo>
                <a:lnTo>
                  <a:pt x="3905" y="605"/>
                </a:lnTo>
                <a:lnTo>
                  <a:pt x="3905" y="599"/>
                </a:lnTo>
                <a:lnTo>
                  <a:pt x="3905" y="599"/>
                </a:lnTo>
                <a:lnTo>
                  <a:pt x="3905" y="599"/>
                </a:lnTo>
                <a:lnTo>
                  <a:pt x="3905" y="593"/>
                </a:lnTo>
                <a:lnTo>
                  <a:pt x="3905" y="587"/>
                </a:lnTo>
                <a:lnTo>
                  <a:pt x="3911" y="587"/>
                </a:lnTo>
                <a:lnTo>
                  <a:pt x="3911" y="587"/>
                </a:lnTo>
                <a:lnTo>
                  <a:pt x="3911" y="587"/>
                </a:lnTo>
                <a:lnTo>
                  <a:pt x="3911" y="581"/>
                </a:lnTo>
                <a:lnTo>
                  <a:pt x="3905" y="581"/>
                </a:lnTo>
                <a:lnTo>
                  <a:pt x="3905" y="581"/>
                </a:lnTo>
                <a:lnTo>
                  <a:pt x="3905" y="581"/>
                </a:lnTo>
                <a:lnTo>
                  <a:pt x="3905" y="581"/>
                </a:lnTo>
                <a:lnTo>
                  <a:pt x="3905" y="587"/>
                </a:lnTo>
                <a:lnTo>
                  <a:pt x="3905" y="587"/>
                </a:lnTo>
                <a:lnTo>
                  <a:pt x="3905" y="593"/>
                </a:lnTo>
                <a:lnTo>
                  <a:pt x="3905" y="593"/>
                </a:lnTo>
                <a:lnTo>
                  <a:pt x="3899" y="593"/>
                </a:lnTo>
                <a:lnTo>
                  <a:pt x="3899" y="593"/>
                </a:lnTo>
                <a:lnTo>
                  <a:pt x="3905" y="599"/>
                </a:lnTo>
                <a:lnTo>
                  <a:pt x="3905" y="599"/>
                </a:lnTo>
                <a:lnTo>
                  <a:pt x="3899" y="599"/>
                </a:lnTo>
                <a:lnTo>
                  <a:pt x="3899" y="599"/>
                </a:lnTo>
                <a:lnTo>
                  <a:pt x="3899" y="605"/>
                </a:lnTo>
                <a:lnTo>
                  <a:pt x="3899" y="605"/>
                </a:lnTo>
                <a:lnTo>
                  <a:pt x="3899" y="611"/>
                </a:lnTo>
                <a:lnTo>
                  <a:pt x="3899" y="611"/>
                </a:lnTo>
                <a:lnTo>
                  <a:pt x="3899" y="611"/>
                </a:lnTo>
                <a:lnTo>
                  <a:pt x="3893" y="611"/>
                </a:lnTo>
                <a:lnTo>
                  <a:pt x="3893" y="611"/>
                </a:lnTo>
                <a:lnTo>
                  <a:pt x="3893" y="605"/>
                </a:lnTo>
                <a:lnTo>
                  <a:pt x="3893" y="605"/>
                </a:lnTo>
                <a:lnTo>
                  <a:pt x="3893" y="599"/>
                </a:lnTo>
                <a:lnTo>
                  <a:pt x="3899" y="587"/>
                </a:lnTo>
                <a:lnTo>
                  <a:pt x="3899" y="587"/>
                </a:lnTo>
                <a:lnTo>
                  <a:pt x="3899" y="587"/>
                </a:lnTo>
                <a:lnTo>
                  <a:pt x="3899" y="581"/>
                </a:lnTo>
                <a:lnTo>
                  <a:pt x="3893" y="581"/>
                </a:lnTo>
                <a:lnTo>
                  <a:pt x="3893" y="587"/>
                </a:lnTo>
                <a:lnTo>
                  <a:pt x="3893" y="581"/>
                </a:lnTo>
                <a:lnTo>
                  <a:pt x="3893" y="581"/>
                </a:lnTo>
                <a:lnTo>
                  <a:pt x="3899" y="575"/>
                </a:lnTo>
                <a:lnTo>
                  <a:pt x="3899" y="575"/>
                </a:lnTo>
                <a:lnTo>
                  <a:pt x="3899" y="575"/>
                </a:lnTo>
                <a:lnTo>
                  <a:pt x="3899" y="569"/>
                </a:lnTo>
                <a:lnTo>
                  <a:pt x="3899" y="563"/>
                </a:lnTo>
                <a:lnTo>
                  <a:pt x="3899" y="563"/>
                </a:lnTo>
                <a:lnTo>
                  <a:pt x="3899" y="563"/>
                </a:lnTo>
                <a:lnTo>
                  <a:pt x="3899" y="558"/>
                </a:lnTo>
                <a:lnTo>
                  <a:pt x="3899" y="558"/>
                </a:lnTo>
                <a:lnTo>
                  <a:pt x="3899" y="558"/>
                </a:lnTo>
                <a:lnTo>
                  <a:pt x="3905" y="552"/>
                </a:lnTo>
                <a:lnTo>
                  <a:pt x="3905" y="552"/>
                </a:lnTo>
                <a:lnTo>
                  <a:pt x="3899" y="552"/>
                </a:lnTo>
                <a:lnTo>
                  <a:pt x="3899" y="558"/>
                </a:lnTo>
                <a:lnTo>
                  <a:pt x="3899" y="558"/>
                </a:lnTo>
                <a:lnTo>
                  <a:pt x="3893" y="558"/>
                </a:lnTo>
                <a:lnTo>
                  <a:pt x="3893" y="558"/>
                </a:lnTo>
                <a:lnTo>
                  <a:pt x="3893" y="558"/>
                </a:lnTo>
                <a:lnTo>
                  <a:pt x="3887" y="563"/>
                </a:lnTo>
                <a:lnTo>
                  <a:pt x="3887" y="569"/>
                </a:lnTo>
                <a:lnTo>
                  <a:pt x="3881" y="569"/>
                </a:lnTo>
                <a:lnTo>
                  <a:pt x="3881" y="575"/>
                </a:lnTo>
                <a:lnTo>
                  <a:pt x="3881" y="575"/>
                </a:lnTo>
                <a:lnTo>
                  <a:pt x="3875" y="587"/>
                </a:lnTo>
                <a:lnTo>
                  <a:pt x="3875" y="587"/>
                </a:lnTo>
                <a:lnTo>
                  <a:pt x="3875" y="587"/>
                </a:lnTo>
                <a:lnTo>
                  <a:pt x="3870" y="587"/>
                </a:lnTo>
                <a:lnTo>
                  <a:pt x="3870" y="587"/>
                </a:lnTo>
                <a:lnTo>
                  <a:pt x="3870" y="587"/>
                </a:lnTo>
                <a:lnTo>
                  <a:pt x="3864" y="587"/>
                </a:lnTo>
                <a:lnTo>
                  <a:pt x="3864" y="587"/>
                </a:lnTo>
                <a:lnTo>
                  <a:pt x="3864" y="587"/>
                </a:lnTo>
                <a:lnTo>
                  <a:pt x="3864" y="587"/>
                </a:lnTo>
                <a:lnTo>
                  <a:pt x="3864" y="587"/>
                </a:lnTo>
                <a:lnTo>
                  <a:pt x="3864" y="587"/>
                </a:lnTo>
                <a:lnTo>
                  <a:pt x="3864" y="587"/>
                </a:lnTo>
                <a:lnTo>
                  <a:pt x="3858" y="593"/>
                </a:lnTo>
                <a:lnTo>
                  <a:pt x="3858" y="593"/>
                </a:lnTo>
                <a:lnTo>
                  <a:pt x="3858" y="593"/>
                </a:lnTo>
                <a:lnTo>
                  <a:pt x="3858" y="593"/>
                </a:lnTo>
                <a:lnTo>
                  <a:pt x="3858" y="593"/>
                </a:lnTo>
                <a:lnTo>
                  <a:pt x="3858" y="593"/>
                </a:lnTo>
                <a:lnTo>
                  <a:pt x="3852" y="593"/>
                </a:lnTo>
                <a:lnTo>
                  <a:pt x="3852" y="593"/>
                </a:lnTo>
                <a:lnTo>
                  <a:pt x="3852" y="593"/>
                </a:lnTo>
                <a:lnTo>
                  <a:pt x="3852" y="599"/>
                </a:lnTo>
                <a:lnTo>
                  <a:pt x="3846" y="611"/>
                </a:lnTo>
                <a:lnTo>
                  <a:pt x="3852" y="617"/>
                </a:lnTo>
                <a:lnTo>
                  <a:pt x="3846" y="617"/>
                </a:lnTo>
                <a:lnTo>
                  <a:pt x="3846" y="617"/>
                </a:lnTo>
                <a:lnTo>
                  <a:pt x="3846" y="617"/>
                </a:lnTo>
                <a:lnTo>
                  <a:pt x="3846" y="617"/>
                </a:lnTo>
                <a:lnTo>
                  <a:pt x="3846" y="617"/>
                </a:lnTo>
                <a:lnTo>
                  <a:pt x="3840" y="617"/>
                </a:lnTo>
                <a:lnTo>
                  <a:pt x="3840" y="617"/>
                </a:lnTo>
                <a:lnTo>
                  <a:pt x="3840" y="617"/>
                </a:lnTo>
                <a:lnTo>
                  <a:pt x="3840" y="617"/>
                </a:lnTo>
                <a:lnTo>
                  <a:pt x="3834" y="623"/>
                </a:lnTo>
                <a:lnTo>
                  <a:pt x="3834" y="623"/>
                </a:lnTo>
                <a:lnTo>
                  <a:pt x="3828" y="629"/>
                </a:lnTo>
                <a:lnTo>
                  <a:pt x="3834" y="629"/>
                </a:lnTo>
                <a:lnTo>
                  <a:pt x="3834" y="635"/>
                </a:lnTo>
                <a:lnTo>
                  <a:pt x="3834" y="635"/>
                </a:lnTo>
                <a:lnTo>
                  <a:pt x="3834" y="641"/>
                </a:lnTo>
                <a:lnTo>
                  <a:pt x="3834" y="652"/>
                </a:lnTo>
                <a:lnTo>
                  <a:pt x="3834" y="652"/>
                </a:lnTo>
                <a:lnTo>
                  <a:pt x="3834" y="652"/>
                </a:lnTo>
                <a:lnTo>
                  <a:pt x="3834" y="658"/>
                </a:lnTo>
                <a:lnTo>
                  <a:pt x="3828" y="658"/>
                </a:lnTo>
                <a:lnTo>
                  <a:pt x="3834" y="664"/>
                </a:lnTo>
                <a:lnTo>
                  <a:pt x="3828" y="670"/>
                </a:lnTo>
                <a:lnTo>
                  <a:pt x="3828" y="676"/>
                </a:lnTo>
                <a:lnTo>
                  <a:pt x="3822" y="682"/>
                </a:lnTo>
                <a:lnTo>
                  <a:pt x="3822" y="694"/>
                </a:lnTo>
                <a:lnTo>
                  <a:pt x="3816" y="700"/>
                </a:lnTo>
                <a:lnTo>
                  <a:pt x="3810" y="706"/>
                </a:lnTo>
                <a:lnTo>
                  <a:pt x="3804" y="712"/>
                </a:lnTo>
                <a:lnTo>
                  <a:pt x="3804" y="718"/>
                </a:lnTo>
                <a:lnTo>
                  <a:pt x="3804" y="718"/>
                </a:lnTo>
                <a:lnTo>
                  <a:pt x="3810" y="724"/>
                </a:lnTo>
                <a:lnTo>
                  <a:pt x="3810" y="724"/>
                </a:lnTo>
                <a:lnTo>
                  <a:pt x="3810" y="724"/>
                </a:lnTo>
                <a:lnTo>
                  <a:pt x="3810" y="730"/>
                </a:lnTo>
                <a:lnTo>
                  <a:pt x="3810" y="730"/>
                </a:lnTo>
                <a:lnTo>
                  <a:pt x="3810" y="735"/>
                </a:lnTo>
                <a:lnTo>
                  <a:pt x="3810" y="735"/>
                </a:lnTo>
                <a:lnTo>
                  <a:pt x="3816" y="747"/>
                </a:lnTo>
                <a:lnTo>
                  <a:pt x="3816" y="753"/>
                </a:lnTo>
                <a:lnTo>
                  <a:pt x="3810" y="759"/>
                </a:lnTo>
                <a:lnTo>
                  <a:pt x="3804" y="765"/>
                </a:lnTo>
                <a:lnTo>
                  <a:pt x="3804" y="771"/>
                </a:lnTo>
                <a:lnTo>
                  <a:pt x="3804" y="771"/>
                </a:lnTo>
                <a:lnTo>
                  <a:pt x="3804" y="777"/>
                </a:lnTo>
                <a:lnTo>
                  <a:pt x="3804" y="783"/>
                </a:lnTo>
                <a:lnTo>
                  <a:pt x="3804" y="783"/>
                </a:lnTo>
                <a:lnTo>
                  <a:pt x="3822" y="824"/>
                </a:lnTo>
                <a:lnTo>
                  <a:pt x="3822" y="824"/>
                </a:lnTo>
                <a:lnTo>
                  <a:pt x="3828" y="824"/>
                </a:lnTo>
                <a:lnTo>
                  <a:pt x="3834" y="824"/>
                </a:lnTo>
                <a:lnTo>
                  <a:pt x="3834" y="824"/>
                </a:lnTo>
                <a:lnTo>
                  <a:pt x="3828" y="824"/>
                </a:lnTo>
                <a:lnTo>
                  <a:pt x="3828" y="830"/>
                </a:lnTo>
                <a:lnTo>
                  <a:pt x="3828" y="830"/>
                </a:lnTo>
                <a:lnTo>
                  <a:pt x="3822" y="830"/>
                </a:lnTo>
                <a:lnTo>
                  <a:pt x="3828" y="830"/>
                </a:lnTo>
                <a:lnTo>
                  <a:pt x="3828" y="848"/>
                </a:lnTo>
                <a:lnTo>
                  <a:pt x="3834" y="848"/>
                </a:lnTo>
                <a:lnTo>
                  <a:pt x="3834" y="854"/>
                </a:lnTo>
                <a:lnTo>
                  <a:pt x="3834" y="860"/>
                </a:lnTo>
                <a:lnTo>
                  <a:pt x="3834" y="860"/>
                </a:lnTo>
                <a:lnTo>
                  <a:pt x="3834" y="860"/>
                </a:lnTo>
                <a:lnTo>
                  <a:pt x="3834" y="860"/>
                </a:lnTo>
                <a:lnTo>
                  <a:pt x="3834" y="860"/>
                </a:lnTo>
                <a:lnTo>
                  <a:pt x="3834" y="860"/>
                </a:lnTo>
                <a:lnTo>
                  <a:pt x="3834" y="860"/>
                </a:lnTo>
                <a:lnTo>
                  <a:pt x="3834" y="860"/>
                </a:lnTo>
                <a:lnTo>
                  <a:pt x="3834" y="860"/>
                </a:lnTo>
                <a:lnTo>
                  <a:pt x="3834" y="860"/>
                </a:lnTo>
                <a:lnTo>
                  <a:pt x="3834" y="866"/>
                </a:lnTo>
                <a:lnTo>
                  <a:pt x="3834" y="902"/>
                </a:lnTo>
                <a:lnTo>
                  <a:pt x="3828" y="931"/>
                </a:lnTo>
                <a:lnTo>
                  <a:pt x="3828" y="943"/>
                </a:lnTo>
                <a:lnTo>
                  <a:pt x="3822" y="961"/>
                </a:lnTo>
                <a:lnTo>
                  <a:pt x="3810" y="979"/>
                </a:lnTo>
                <a:lnTo>
                  <a:pt x="3798" y="1002"/>
                </a:lnTo>
                <a:lnTo>
                  <a:pt x="3793" y="1008"/>
                </a:lnTo>
                <a:lnTo>
                  <a:pt x="3787" y="1020"/>
                </a:lnTo>
                <a:lnTo>
                  <a:pt x="3781" y="1020"/>
                </a:lnTo>
                <a:lnTo>
                  <a:pt x="3781" y="1020"/>
                </a:lnTo>
                <a:lnTo>
                  <a:pt x="3781" y="1026"/>
                </a:lnTo>
                <a:lnTo>
                  <a:pt x="3775" y="1026"/>
                </a:lnTo>
                <a:lnTo>
                  <a:pt x="3757" y="1038"/>
                </a:lnTo>
                <a:lnTo>
                  <a:pt x="3739" y="1044"/>
                </a:lnTo>
                <a:lnTo>
                  <a:pt x="3727" y="1044"/>
                </a:lnTo>
                <a:lnTo>
                  <a:pt x="3721" y="1044"/>
                </a:lnTo>
                <a:lnTo>
                  <a:pt x="3715" y="1044"/>
                </a:lnTo>
                <a:lnTo>
                  <a:pt x="3715" y="1038"/>
                </a:lnTo>
                <a:lnTo>
                  <a:pt x="3715" y="1038"/>
                </a:lnTo>
                <a:lnTo>
                  <a:pt x="3715" y="1038"/>
                </a:lnTo>
                <a:lnTo>
                  <a:pt x="3710" y="1038"/>
                </a:lnTo>
                <a:lnTo>
                  <a:pt x="3710" y="1038"/>
                </a:lnTo>
                <a:lnTo>
                  <a:pt x="3704" y="1032"/>
                </a:lnTo>
                <a:lnTo>
                  <a:pt x="3698" y="1020"/>
                </a:lnTo>
                <a:lnTo>
                  <a:pt x="3698" y="1020"/>
                </a:lnTo>
                <a:lnTo>
                  <a:pt x="3698" y="1008"/>
                </a:lnTo>
                <a:lnTo>
                  <a:pt x="3692" y="1002"/>
                </a:lnTo>
                <a:lnTo>
                  <a:pt x="3692" y="990"/>
                </a:lnTo>
                <a:lnTo>
                  <a:pt x="3692" y="990"/>
                </a:lnTo>
                <a:lnTo>
                  <a:pt x="3692" y="985"/>
                </a:lnTo>
                <a:lnTo>
                  <a:pt x="3692" y="985"/>
                </a:lnTo>
                <a:lnTo>
                  <a:pt x="3692" y="985"/>
                </a:lnTo>
                <a:lnTo>
                  <a:pt x="3686" y="985"/>
                </a:lnTo>
                <a:lnTo>
                  <a:pt x="3686" y="979"/>
                </a:lnTo>
                <a:lnTo>
                  <a:pt x="3686" y="979"/>
                </a:lnTo>
                <a:lnTo>
                  <a:pt x="3686" y="979"/>
                </a:lnTo>
                <a:lnTo>
                  <a:pt x="3686" y="979"/>
                </a:lnTo>
                <a:lnTo>
                  <a:pt x="3680" y="979"/>
                </a:lnTo>
                <a:lnTo>
                  <a:pt x="3680" y="973"/>
                </a:lnTo>
                <a:lnTo>
                  <a:pt x="3680" y="973"/>
                </a:lnTo>
                <a:lnTo>
                  <a:pt x="3680" y="967"/>
                </a:lnTo>
                <a:lnTo>
                  <a:pt x="3680" y="961"/>
                </a:lnTo>
                <a:lnTo>
                  <a:pt x="3674" y="955"/>
                </a:lnTo>
                <a:lnTo>
                  <a:pt x="3674" y="949"/>
                </a:lnTo>
                <a:lnTo>
                  <a:pt x="3674" y="943"/>
                </a:lnTo>
                <a:lnTo>
                  <a:pt x="3674" y="943"/>
                </a:lnTo>
                <a:lnTo>
                  <a:pt x="3674" y="943"/>
                </a:lnTo>
                <a:lnTo>
                  <a:pt x="3680" y="943"/>
                </a:lnTo>
                <a:lnTo>
                  <a:pt x="3680" y="931"/>
                </a:lnTo>
                <a:lnTo>
                  <a:pt x="3680" y="931"/>
                </a:lnTo>
                <a:lnTo>
                  <a:pt x="3680" y="919"/>
                </a:lnTo>
                <a:lnTo>
                  <a:pt x="3680" y="919"/>
                </a:lnTo>
                <a:lnTo>
                  <a:pt x="3680" y="913"/>
                </a:lnTo>
                <a:lnTo>
                  <a:pt x="3680" y="913"/>
                </a:lnTo>
                <a:lnTo>
                  <a:pt x="3680" y="913"/>
                </a:lnTo>
                <a:lnTo>
                  <a:pt x="3680" y="907"/>
                </a:lnTo>
                <a:lnTo>
                  <a:pt x="3680" y="907"/>
                </a:lnTo>
                <a:lnTo>
                  <a:pt x="3680" y="907"/>
                </a:lnTo>
                <a:lnTo>
                  <a:pt x="3680" y="902"/>
                </a:lnTo>
                <a:lnTo>
                  <a:pt x="3680" y="902"/>
                </a:lnTo>
                <a:lnTo>
                  <a:pt x="3680" y="890"/>
                </a:lnTo>
                <a:lnTo>
                  <a:pt x="3680" y="890"/>
                </a:lnTo>
                <a:lnTo>
                  <a:pt x="3680" y="884"/>
                </a:lnTo>
                <a:lnTo>
                  <a:pt x="3674" y="878"/>
                </a:lnTo>
                <a:lnTo>
                  <a:pt x="3674" y="878"/>
                </a:lnTo>
                <a:lnTo>
                  <a:pt x="3674" y="878"/>
                </a:lnTo>
                <a:lnTo>
                  <a:pt x="3674" y="866"/>
                </a:lnTo>
                <a:lnTo>
                  <a:pt x="3674" y="860"/>
                </a:lnTo>
                <a:lnTo>
                  <a:pt x="3674" y="860"/>
                </a:lnTo>
                <a:lnTo>
                  <a:pt x="3668" y="860"/>
                </a:lnTo>
                <a:lnTo>
                  <a:pt x="3668" y="854"/>
                </a:lnTo>
                <a:lnTo>
                  <a:pt x="3668" y="854"/>
                </a:lnTo>
                <a:lnTo>
                  <a:pt x="3668" y="848"/>
                </a:lnTo>
                <a:lnTo>
                  <a:pt x="3674" y="848"/>
                </a:lnTo>
                <a:lnTo>
                  <a:pt x="3674" y="848"/>
                </a:lnTo>
                <a:lnTo>
                  <a:pt x="3668" y="848"/>
                </a:lnTo>
                <a:lnTo>
                  <a:pt x="3668" y="842"/>
                </a:lnTo>
                <a:lnTo>
                  <a:pt x="3668" y="842"/>
                </a:lnTo>
                <a:lnTo>
                  <a:pt x="3668" y="842"/>
                </a:lnTo>
                <a:lnTo>
                  <a:pt x="3668" y="836"/>
                </a:lnTo>
                <a:lnTo>
                  <a:pt x="3668" y="836"/>
                </a:lnTo>
                <a:lnTo>
                  <a:pt x="3668" y="830"/>
                </a:lnTo>
                <a:lnTo>
                  <a:pt x="3668" y="830"/>
                </a:lnTo>
                <a:lnTo>
                  <a:pt x="3668" y="830"/>
                </a:lnTo>
                <a:lnTo>
                  <a:pt x="3668" y="824"/>
                </a:lnTo>
                <a:lnTo>
                  <a:pt x="3668" y="813"/>
                </a:lnTo>
                <a:lnTo>
                  <a:pt x="3674" y="807"/>
                </a:lnTo>
                <a:lnTo>
                  <a:pt x="3680" y="795"/>
                </a:lnTo>
                <a:lnTo>
                  <a:pt x="3680" y="789"/>
                </a:lnTo>
                <a:lnTo>
                  <a:pt x="3680" y="783"/>
                </a:lnTo>
                <a:lnTo>
                  <a:pt x="3680" y="783"/>
                </a:lnTo>
                <a:lnTo>
                  <a:pt x="3680" y="777"/>
                </a:lnTo>
                <a:lnTo>
                  <a:pt x="3686" y="771"/>
                </a:lnTo>
                <a:lnTo>
                  <a:pt x="3686" y="765"/>
                </a:lnTo>
                <a:lnTo>
                  <a:pt x="3686" y="759"/>
                </a:lnTo>
                <a:lnTo>
                  <a:pt x="3686" y="759"/>
                </a:lnTo>
                <a:lnTo>
                  <a:pt x="3686" y="759"/>
                </a:lnTo>
                <a:lnTo>
                  <a:pt x="3686" y="759"/>
                </a:lnTo>
                <a:lnTo>
                  <a:pt x="3686" y="759"/>
                </a:lnTo>
                <a:lnTo>
                  <a:pt x="3686" y="753"/>
                </a:lnTo>
                <a:lnTo>
                  <a:pt x="3686" y="753"/>
                </a:lnTo>
                <a:lnTo>
                  <a:pt x="3686" y="753"/>
                </a:lnTo>
                <a:lnTo>
                  <a:pt x="3686" y="747"/>
                </a:lnTo>
                <a:lnTo>
                  <a:pt x="3686" y="747"/>
                </a:lnTo>
                <a:lnTo>
                  <a:pt x="3686" y="747"/>
                </a:lnTo>
                <a:lnTo>
                  <a:pt x="3686" y="741"/>
                </a:lnTo>
                <a:lnTo>
                  <a:pt x="3686" y="730"/>
                </a:lnTo>
                <a:lnTo>
                  <a:pt x="3686" y="730"/>
                </a:lnTo>
                <a:lnTo>
                  <a:pt x="3686" y="730"/>
                </a:lnTo>
                <a:lnTo>
                  <a:pt x="3686" y="730"/>
                </a:lnTo>
                <a:lnTo>
                  <a:pt x="3686" y="724"/>
                </a:lnTo>
                <a:lnTo>
                  <a:pt x="3692" y="718"/>
                </a:lnTo>
                <a:lnTo>
                  <a:pt x="3692" y="706"/>
                </a:lnTo>
                <a:lnTo>
                  <a:pt x="3698" y="706"/>
                </a:lnTo>
                <a:lnTo>
                  <a:pt x="3698" y="706"/>
                </a:lnTo>
                <a:lnTo>
                  <a:pt x="3704" y="700"/>
                </a:lnTo>
                <a:lnTo>
                  <a:pt x="3704" y="700"/>
                </a:lnTo>
                <a:lnTo>
                  <a:pt x="3710" y="700"/>
                </a:lnTo>
                <a:lnTo>
                  <a:pt x="3710" y="694"/>
                </a:lnTo>
                <a:lnTo>
                  <a:pt x="3710" y="694"/>
                </a:lnTo>
                <a:lnTo>
                  <a:pt x="3710" y="688"/>
                </a:lnTo>
                <a:lnTo>
                  <a:pt x="3704" y="682"/>
                </a:lnTo>
                <a:lnTo>
                  <a:pt x="3704" y="676"/>
                </a:lnTo>
                <a:lnTo>
                  <a:pt x="3704" y="676"/>
                </a:lnTo>
                <a:lnTo>
                  <a:pt x="3704" y="676"/>
                </a:lnTo>
                <a:lnTo>
                  <a:pt x="3704" y="670"/>
                </a:lnTo>
                <a:lnTo>
                  <a:pt x="3704" y="670"/>
                </a:lnTo>
                <a:lnTo>
                  <a:pt x="3710" y="670"/>
                </a:lnTo>
                <a:lnTo>
                  <a:pt x="3710" y="664"/>
                </a:lnTo>
                <a:lnTo>
                  <a:pt x="3710" y="646"/>
                </a:lnTo>
                <a:lnTo>
                  <a:pt x="3710" y="641"/>
                </a:lnTo>
                <a:lnTo>
                  <a:pt x="3715" y="635"/>
                </a:lnTo>
                <a:lnTo>
                  <a:pt x="3721" y="629"/>
                </a:lnTo>
                <a:lnTo>
                  <a:pt x="3721" y="629"/>
                </a:lnTo>
                <a:lnTo>
                  <a:pt x="3721" y="629"/>
                </a:lnTo>
                <a:lnTo>
                  <a:pt x="3721" y="623"/>
                </a:lnTo>
                <a:lnTo>
                  <a:pt x="3721" y="623"/>
                </a:lnTo>
                <a:lnTo>
                  <a:pt x="3721" y="623"/>
                </a:lnTo>
                <a:lnTo>
                  <a:pt x="3727" y="611"/>
                </a:lnTo>
                <a:lnTo>
                  <a:pt x="3727" y="611"/>
                </a:lnTo>
                <a:lnTo>
                  <a:pt x="3721" y="611"/>
                </a:lnTo>
                <a:lnTo>
                  <a:pt x="3721" y="605"/>
                </a:lnTo>
                <a:lnTo>
                  <a:pt x="3721" y="605"/>
                </a:lnTo>
                <a:lnTo>
                  <a:pt x="3715" y="599"/>
                </a:lnTo>
                <a:lnTo>
                  <a:pt x="3715" y="599"/>
                </a:lnTo>
                <a:lnTo>
                  <a:pt x="3710" y="599"/>
                </a:lnTo>
                <a:lnTo>
                  <a:pt x="3710" y="599"/>
                </a:lnTo>
                <a:lnTo>
                  <a:pt x="3710" y="599"/>
                </a:lnTo>
                <a:lnTo>
                  <a:pt x="3704" y="605"/>
                </a:lnTo>
                <a:lnTo>
                  <a:pt x="3704" y="605"/>
                </a:lnTo>
                <a:lnTo>
                  <a:pt x="3704" y="605"/>
                </a:lnTo>
                <a:lnTo>
                  <a:pt x="3698" y="605"/>
                </a:lnTo>
                <a:lnTo>
                  <a:pt x="3698" y="605"/>
                </a:lnTo>
                <a:lnTo>
                  <a:pt x="3692" y="605"/>
                </a:lnTo>
                <a:lnTo>
                  <a:pt x="3692" y="611"/>
                </a:lnTo>
                <a:lnTo>
                  <a:pt x="3686" y="617"/>
                </a:lnTo>
                <a:lnTo>
                  <a:pt x="3686" y="623"/>
                </a:lnTo>
                <a:lnTo>
                  <a:pt x="3686" y="623"/>
                </a:lnTo>
                <a:lnTo>
                  <a:pt x="3686" y="623"/>
                </a:lnTo>
                <a:lnTo>
                  <a:pt x="3686" y="629"/>
                </a:lnTo>
                <a:lnTo>
                  <a:pt x="3680" y="629"/>
                </a:lnTo>
                <a:lnTo>
                  <a:pt x="3680" y="629"/>
                </a:lnTo>
                <a:lnTo>
                  <a:pt x="3674" y="635"/>
                </a:lnTo>
                <a:lnTo>
                  <a:pt x="3668" y="635"/>
                </a:lnTo>
                <a:lnTo>
                  <a:pt x="3668" y="641"/>
                </a:lnTo>
                <a:lnTo>
                  <a:pt x="3668" y="641"/>
                </a:lnTo>
                <a:lnTo>
                  <a:pt x="3668" y="646"/>
                </a:lnTo>
                <a:lnTo>
                  <a:pt x="3662" y="646"/>
                </a:lnTo>
                <a:lnTo>
                  <a:pt x="3662" y="646"/>
                </a:lnTo>
                <a:lnTo>
                  <a:pt x="3656" y="646"/>
                </a:lnTo>
                <a:lnTo>
                  <a:pt x="3656" y="646"/>
                </a:lnTo>
                <a:lnTo>
                  <a:pt x="3656" y="641"/>
                </a:lnTo>
                <a:lnTo>
                  <a:pt x="3656" y="641"/>
                </a:lnTo>
                <a:lnTo>
                  <a:pt x="3656" y="641"/>
                </a:lnTo>
                <a:lnTo>
                  <a:pt x="3656" y="635"/>
                </a:lnTo>
                <a:lnTo>
                  <a:pt x="3656" y="635"/>
                </a:lnTo>
                <a:lnTo>
                  <a:pt x="3656" y="635"/>
                </a:lnTo>
                <a:lnTo>
                  <a:pt x="3656" y="629"/>
                </a:lnTo>
                <a:lnTo>
                  <a:pt x="3656" y="629"/>
                </a:lnTo>
                <a:lnTo>
                  <a:pt x="3662" y="629"/>
                </a:lnTo>
                <a:lnTo>
                  <a:pt x="3662" y="629"/>
                </a:lnTo>
                <a:lnTo>
                  <a:pt x="3656" y="629"/>
                </a:lnTo>
                <a:lnTo>
                  <a:pt x="3656" y="623"/>
                </a:lnTo>
                <a:lnTo>
                  <a:pt x="3662" y="623"/>
                </a:lnTo>
                <a:lnTo>
                  <a:pt x="3662" y="623"/>
                </a:lnTo>
                <a:lnTo>
                  <a:pt x="3662" y="617"/>
                </a:lnTo>
                <a:lnTo>
                  <a:pt x="3662" y="617"/>
                </a:lnTo>
                <a:lnTo>
                  <a:pt x="3662" y="617"/>
                </a:lnTo>
                <a:lnTo>
                  <a:pt x="3662" y="617"/>
                </a:lnTo>
                <a:lnTo>
                  <a:pt x="3668" y="611"/>
                </a:lnTo>
                <a:lnTo>
                  <a:pt x="3668" y="611"/>
                </a:lnTo>
                <a:lnTo>
                  <a:pt x="3668" y="611"/>
                </a:lnTo>
                <a:lnTo>
                  <a:pt x="3668" y="605"/>
                </a:lnTo>
                <a:lnTo>
                  <a:pt x="3674" y="599"/>
                </a:lnTo>
                <a:lnTo>
                  <a:pt x="3674" y="599"/>
                </a:lnTo>
                <a:lnTo>
                  <a:pt x="3674" y="593"/>
                </a:lnTo>
                <a:lnTo>
                  <a:pt x="3674" y="587"/>
                </a:lnTo>
                <a:lnTo>
                  <a:pt x="3680" y="587"/>
                </a:lnTo>
                <a:lnTo>
                  <a:pt x="3692" y="587"/>
                </a:lnTo>
                <a:lnTo>
                  <a:pt x="3692" y="587"/>
                </a:lnTo>
                <a:lnTo>
                  <a:pt x="3692" y="581"/>
                </a:lnTo>
                <a:lnTo>
                  <a:pt x="3692" y="581"/>
                </a:lnTo>
                <a:lnTo>
                  <a:pt x="3698" y="581"/>
                </a:lnTo>
                <a:lnTo>
                  <a:pt x="3698" y="575"/>
                </a:lnTo>
                <a:lnTo>
                  <a:pt x="3698" y="575"/>
                </a:lnTo>
                <a:lnTo>
                  <a:pt x="3698" y="575"/>
                </a:lnTo>
                <a:lnTo>
                  <a:pt x="3698" y="569"/>
                </a:lnTo>
                <a:lnTo>
                  <a:pt x="3698" y="569"/>
                </a:lnTo>
                <a:lnTo>
                  <a:pt x="3698" y="569"/>
                </a:lnTo>
                <a:lnTo>
                  <a:pt x="3698" y="563"/>
                </a:lnTo>
                <a:lnTo>
                  <a:pt x="3698" y="558"/>
                </a:lnTo>
                <a:lnTo>
                  <a:pt x="3704" y="558"/>
                </a:lnTo>
                <a:lnTo>
                  <a:pt x="3721" y="522"/>
                </a:lnTo>
                <a:lnTo>
                  <a:pt x="3721" y="522"/>
                </a:lnTo>
                <a:lnTo>
                  <a:pt x="3727" y="516"/>
                </a:lnTo>
                <a:lnTo>
                  <a:pt x="3727" y="516"/>
                </a:lnTo>
                <a:lnTo>
                  <a:pt x="3727" y="516"/>
                </a:lnTo>
                <a:lnTo>
                  <a:pt x="3727" y="510"/>
                </a:lnTo>
                <a:lnTo>
                  <a:pt x="3727" y="504"/>
                </a:lnTo>
                <a:lnTo>
                  <a:pt x="3733" y="504"/>
                </a:lnTo>
                <a:lnTo>
                  <a:pt x="3733" y="498"/>
                </a:lnTo>
                <a:lnTo>
                  <a:pt x="3739" y="498"/>
                </a:lnTo>
                <a:lnTo>
                  <a:pt x="3739" y="486"/>
                </a:lnTo>
                <a:lnTo>
                  <a:pt x="3745" y="486"/>
                </a:lnTo>
                <a:lnTo>
                  <a:pt x="3745" y="486"/>
                </a:lnTo>
                <a:lnTo>
                  <a:pt x="3751" y="480"/>
                </a:lnTo>
                <a:lnTo>
                  <a:pt x="3751" y="480"/>
                </a:lnTo>
                <a:lnTo>
                  <a:pt x="3751" y="480"/>
                </a:lnTo>
                <a:lnTo>
                  <a:pt x="3751" y="474"/>
                </a:lnTo>
                <a:lnTo>
                  <a:pt x="3751" y="469"/>
                </a:lnTo>
                <a:lnTo>
                  <a:pt x="3751" y="463"/>
                </a:lnTo>
                <a:lnTo>
                  <a:pt x="3757" y="463"/>
                </a:lnTo>
                <a:lnTo>
                  <a:pt x="3757" y="463"/>
                </a:lnTo>
                <a:lnTo>
                  <a:pt x="3757" y="451"/>
                </a:lnTo>
                <a:lnTo>
                  <a:pt x="3757" y="451"/>
                </a:lnTo>
                <a:lnTo>
                  <a:pt x="3763" y="451"/>
                </a:lnTo>
                <a:lnTo>
                  <a:pt x="3763" y="451"/>
                </a:lnTo>
                <a:lnTo>
                  <a:pt x="3763" y="457"/>
                </a:lnTo>
                <a:lnTo>
                  <a:pt x="3763" y="457"/>
                </a:lnTo>
                <a:lnTo>
                  <a:pt x="3763" y="457"/>
                </a:lnTo>
                <a:lnTo>
                  <a:pt x="3757" y="463"/>
                </a:lnTo>
                <a:lnTo>
                  <a:pt x="3757" y="463"/>
                </a:lnTo>
                <a:lnTo>
                  <a:pt x="3757" y="463"/>
                </a:lnTo>
                <a:lnTo>
                  <a:pt x="3757" y="469"/>
                </a:lnTo>
                <a:lnTo>
                  <a:pt x="3757" y="469"/>
                </a:lnTo>
                <a:lnTo>
                  <a:pt x="3757" y="469"/>
                </a:lnTo>
                <a:lnTo>
                  <a:pt x="3763" y="474"/>
                </a:lnTo>
                <a:lnTo>
                  <a:pt x="3757" y="480"/>
                </a:lnTo>
                <a:lnTo>
                  <a:pt x="3757" y="480"/>
                </a:lnTo>
                <a:lnTo>
                  <a:pt x="3763" y="486"/>
                </a:lnTo>
                <a:lnTo>
                  <a:pt x="3763" y="486"/>
                </a:lnTo>
                <a:lnTo>
                  <a:pt x="3763" y="480"/>
                </a:lnTo>
                <a:lnTo>
                  <a:pt x="3763" y="480"/>
                </a:lnTo>
                <a:lnTo>
                  <a:pt x="3769" y="480"/>
                </a:lnTo>
                <a:lnTo>
                  <a:pt x="3769" y="480"/>
                </a:lnTo>
                <a:lnTo>
                  <a:pt x="3769" y="480"/>
                </a:lnTo>
                <a:lnTo>
                  <a:pt x="3775" y="480"/>
                </a:lnTo>
                <a:lnTo>
                  <a:pt x="3775" y="474"/>
                </a:lnTo>
                <a:lnTo>
                  <a:pt x="3775" y="474"/>
                </a:lnTo>
                <a:lnTo>
                  <a:pt x="3775" y="469"/>
                </a:lnTo>
                <a:lnTo>
                  <a:pt x="3775" y="469"/>
                </a:lnTo>
                <a:lnTo>
                  <a:pt x="3775" y="469"/>
                </a:lnTo>
                <a:lnTo>
                  <a:pt x="3781" y="469"/>
                </a:lnTo>
                <a:lnTo>
                  <a:pt x="3781" y="469"/>
                </a:lnTo>
                <a:lnTo>
                  <a:pt x="3781" y="463"/>
                </a:lnTo>
                <a:lnTo>
                  <a:pt x="3781" y="463"/>
                </a:lnTo>
                <a:lnTo>
                  <a:pt x="3781" y="457"/>
                </a:lnTo>
                <a:lnTo>
                  <a:pt x="3781" y="457"/>
                </a:lnTo>
                <a:lnTo>
                  <a:pt x="3787" y="457"/>
                </a:lnTo>
                <a:lnTo>
                  <a:pt x="3787" y="463"/>
                </a:lnTo>
                <a:lnTo>
                  <a:pt x="3793" y="463"/>
                </a:lnTo>
                <a:lnTo>
                  <a:pt x="3793" y="463"/>
                </a:lnTo>
                <a:lnTo>
                  <a:pt x="3793" y="457"/>
                </a:lnTo>
                <a:lnTo>
                  <a:pt x="3793" y="457"/>
                </a:lnTo>
                <a:lnTo>
                  <a:pt x="3798" y="457"/>
                </a:lnTo>
                <a:lnTo>
                  <a:pt x="3798" y="457"/>
                </a:lnTo>
                <a:lnTo>
                  <a:pt x="3798" y="457"/>
                </a:lnTo>
                <a:lnTo>
                  <a:pt x="3804" y="457"/>
                </a:lnTo>
                <a:lnTo>
                  <a:pt x="3804" y="457"/>
                </a:lnTo>
                <a:lnTo>
                  <a:pt x="3804" y="457"/>
                </a:lnTo>
                <a:lnTo>
                  <a:pt x="3798" y="469"/>
                </a:lnTo>
                <a:lnTo>
                  <a:pt x="3798" y="469"/>
                </a:lnTo>
                <a:lnTo>
                  <a:pt x="3804" y="469"/>
                </a:lnTo>
                <a:lnTo>
                  <a:pt x="3804" y="469"/>
                </a:lnTo>
                <a:lnTo>
                  <a:pt x="3804" y="474"/>
                </a:lnTo>
                <a:lnTo>
                  <a:pt x="3798" y="474"/>
                </a:lnTo>
                <a:lnTo>
                  <a:pt x="3798" y="474"/>
                </a:lnTo>
                <a:lnTo>
                  <a:pt x="3798" y="469"/>
                </a:lnTo>
                <a:lnTo>
                  <a:pt x="3798" y="469"/>
                </a:lnTo>
                <a:lnTo>
                  <a:pt x="3798" y="469"/>
                </a:lnTo>
                <a:lnTo>
                  <a:pt x="3793" y="469"/>
                </a:lnTo>
                <a:lnTo>
                  <a:pt x="3793" y="469"/>
                </a:lnTo>
                <a:lnTo>
                  <a:pt x="3793" y="474"/>
                </a:lnTo>
                <a:lnTo>
                  <a:pt x="3793" y="474"/>
                </a:lnTo>
                <a:lnTo>
                  <a:pt x="3793" y="474"/>
                </a:lnTo>
                <a:lnTo>
                  <a:pt x="3793" y="474"/>
                </a:lnTo>
                <a:lnTo>
                  <a:pt x="3793" y="474"/>
                </a:lnTo>
                <a:lnTo>
                  <a:pt x="3793" y="474"/>
                </a:lnTo>
                <a:lnTo>
                  <a:pt x="3793" y="474"/>
                </a:lnTo>
                <a:lnTo>
                  <a:pt x="3793" y="474"/>
                </a:lnTo>
                <a:lnTo>
                  <a:pt x="3793" y="480"/>
                </a:lnTo>
                <a:lnTo>
                  <a:pt x="3793" y="480"/>
                </a:lnTo>
                <a:lnTo>
                  <a:pt x="3787" y="486"/>
                </a:lnTo>
                <a:lnTo>
                  <a:pt x="3787" y="486"/>
                </a:lnTo>
                <a:lnTo>
                  <a:pt x="3787" y="492"/>
                </a:lnTo>
                <a:lnTo>
                  <a:pt x="3787" y="492"/>
                </a:lnTo>
                <a:lnTo>
                  <a:pt x="3793" y="492"/>
                </a:lnTo>
                <a:lnTo>
                  <a:pt x="3793" y="492"/>
                </a:lnTo>
                <a:lnTo>
                  <a:pt x="3793" y="498"/>
                </a:lnTo>
                <a:lnTo>
                  <a:pt x="3798" y="498"/>
                </a:lnTo>
                <a:lnTo>
                  <a:pt x="3798" y="498"/>
                </a:lnTo>
                <a:lnTo>
                  <a:pt x="3798" y="492"/>
                </a:lnTo>
                <a:lnTo>
                  <a:pt x="3798" y="492"/>
                </a:lnTo>
                <a:lnTo>
                  <a:pt x="3798" y="492"/>
                </a:lnTo>
                <a:lnTo>
                  <a:pt x="3798" y="492"/>
                </a:lnTo>
                <a:lnTo>
                  <a:pt x="3793" y="492"/>
                </a:lnTo>
                <a:lnTo>
                  <a:pt x="3793" y="486"/>
                </a:lnTo>
                <a:lnTo>
                  <a:pt x="3798" y="486"/>
                </a:lnTo>
                <a:lnTo>
                  <a:pt x="3798" y="486"/>
                </a:lnTo>
                <a:lnTo>
                  <a:pt x="3798" y="486"/>
                </a:lnTo>
                <a:lnTo>
                  <a:pt x="3798" y="486"/>
                </a:lnTo>
                <a:lnTo>
                  <a:pt x="3798" y="480"/>
                </a:lnTo>
                <a:lnTo>
                  <a:pt x="3798" y="480"/>
                </a:lnTo>
                <a:lnTo>
                  <a:pt x="3804" y="480"/>
                </a:lnTo>
                <a:lnTo>
                  <a:pt x="3804" y="480"/>
                </a:lnTo>
                <a:lnTo>
                  <a:pt x="3804" y="474"/>
                </a:lnTo>
                <a:lnTo>
                  <a:pt x="3804" y="474"/>
                </a:lnTo>
                <a:lnTo>
                  <a:pt x="3804" y="474"/>
                </a:lnTo>
                <a:lnTo>
                  <a:pt x="3804" y="474"/>
                </a:lnTo>
                <a:lnTo>
                  <a:pt x="3810" y="474"/>
                </a:lnTo>
                <a:lnTo>
                  <a:pt x="3810" y="474"/>
                </a:lnTo>
                <a:lnTo>
                  <a:pt x="3816" y="469"/>
                </a:lnTo>
                <a:lnTo>
                  <a:pt x="3816" y="469"/>
                </a:lnTo>
                <a:lnTo>
                  <a:pt x="3816" y="469"/>
                </a:lnTo>
                <a:lnTo>
                  <a:pt x="3816" y="469"/>
                </a:lnTo>
                <a:lnTo>
                  <a:pt x="3822" y="469"/>
                </a:lnTo>
                <a:lnTo>
                  <a:pt x="3822" y="469"/>
                </a:lnTo>
                <a:lnTo>
                  <a:pt x="3822" y="469"/>
                </a:lnTo>
                <a:lnTo>
                  <a:pt x="3822" y="463"/>
                </a:lnTo>
                <a:lnTo>
                  <a:pt x="3822" y="457"/>
                </a:lnTo>
                <a:lnTo>
                  <a:pt x="3828" y="451"/>
                </a:lnTo>
                <a:lnTo>
                  <a:pt x="3834" y="445"/>
                </a:lnTo>
                <a:lnTo>
                  <a:pt x="3852" y="445"/>
                </a:lnTo>
                <a:lnTo>
                  <a:pt x="3852" y="445"/>
                </a:lnTo>
                <a:lnTo>
                  <a:pt x="3858" y="445"/>
                </a:lnTo>
                <a:lnTo>
                  <a:pt x="3864" y="451"/>
                </a:lnTo>
                <a:lnTo>
                  <a:pt x="3864" y="445"/>
                </a:lnTo>
                <a:lnTo>
                  <a:pt x="3864" y="445"/>
                </a:lnTo>
                <a:lnTo>
                  <a:pt x="3870" y="445"/>
                </a:lnTo>
                <a:lnTo>
                  <a:pt x="3881" y="445"/>
                </a:lnTo>
                <a:lnTo>
                  <a:pt x="3893" y="445"/>
                </a:lnTo>
                <a:lnTo>
                  <a:pt x="3893" y="439"/>
                </a:lnTo>
                <a:lnTo>
                  <a:pt x="3893" y="439"/>
                </a:lnTo>
                <a:lnTo>
                  <a:pt x="3899" y="433"/>
                </a:lnTo>
                <a:lnTo>
                  <a:pt x="3905" y="427"/>
                </a:lnTo>
                <a:lnTo>
                  <a:pt x="3905" y="427"/>
                </a:lnTo>
                <a:lnTo>
                  <a:pt x="3911" y="427"/>
                </a:lnTo>
                <a:lnTo>
                  <a:pt x="3917" y="421"/>
                </a:lnTo>
                <a:lnTo>
                  <a:pt x="3917" y="421"/>
                </a:lnTo>
                <a:lnTo>
                  <a:pt x="3917" y="427"/>
                </a:lnTo>
                <a:lnTo>
                  <a:pt x="3917" y="427"/>
                </a:lnTo>
                <a:lnTo>
                  <a:pt x="3923" y="427"/>
                </a:lnTo>
                <a:lnTo>
                  <a:pt x="3923" y="427"/>
                </a:lnTo>
                <a:lnTo>
                  <a:pt x="3923" y="427"/>
                </a:lnTo>
                <a:lnTo>
                  <a:pt x="3923" y="427"/>
                </a:lnTo>
                <a:lnTo>
                  <a:pt x="3929" y="427"/>
                </a:lnTo>
                <a:lnTo>
                  <a:pt x="3929" y="427"/>
                </a:lnTo>
                <a:lnTo>
                  <a:pt x="3941" y="427"/>
                </a:lnTo>
                <a:lnTo>
                  <a:pt x="3941" y="433"/>
                </a:lnTo>
                <a:lnTo>
                  <a:pt x="3947" y="433"/>
                </a:lnTo>
                <a:lnTo>
                  <a:pt x="3953" y="439"/>
                </a:lnTo>
                <a:lnTo>
                  <a:pt x="3958" y="439"/>
                </a:lnTo>
                <a:lnTo>
                  <a:pt x="3958" y="445"/>
                </a:lnTo>
                <a:lnTo>
                  <a:pt x="3964" y="445"/>
                </a:lnTo>
                <a:lnTo>
                  <a:pt x="3964" y="445"/>
                </a:lnTo>
                <a:lnTo>
                  <a:pt x="3964" y="451"/>
                </a:lnTo>
                <a:lnTo>
                  <a:pt x="3964" y="451"/>
                </a:lnTo>
                <a:lnTo>
                  <a:pt x="3970" y="451"/>
                </a:lnTo>
                <a:lnTo>
                  <a:pt x="3970" y="451"/>
                </a:lnTo>
                <a:lnTo>
                  <a:pt x="3970" y="451"/>
                </a:lnTo>
                <a:lnTo>
                  <a:pt x="3970" y="457"/>
                </a:lnTo>
                <a:lnTo>
                  <a:pt x="3976" y="457"/>
                </a:lnTo>
                <a:lnTo>
                  <a:pt x="3976" y="463"/>
                </a:lnTo>
                <a:lnTo>
                  <a:pt x="3982" y="463"/>
                </a:lnTo>
                <a:lnTo>
                  <a:pt x="3988" y="457"/>
                </a:lnTo>
                <a:lnTo>
                  <a:pt x="3982" y="457"/>
                </a:lnTo>
                <a:lnTo>
                  <a:pt x="3982" y="457"/>
                </a:lnTo>
                <a:lnTo>
                  <a:pt x="3982" y="451"/>
                </a:lnTo>
                <a:lnTo>
                  <a:pt x="3988" y="451"/>
                </a:lnTo>
                <a:lnTo>
                  <a:pt x="3982" y="451"/>
                </a:lnTo>
                <a:lnTo>
                  <a:pt x="3982" y="445"/>
                </a:lnTo>
                <a:lnTo>
                  <a:pt x="3982" y="445"/>
                </a:lnTo>
                <a:lnTo>
                  <a:pt x="3988" y="445"/>
                </a:lnTo>
                <a:lnTo>
                  <a:pt x="3988" y="445"/>
                </a:lnTo>
                <a:lnTo>
                  <a:pt x="3988" y="445"/>
                </a:lnTo>
                <a:lnTo>
                  <a:pt x="3988" y="439"/>
                </a:lnTo>
                <a:lnTo>
                  <a:pt x="3988" y="433"/>
                </a:lnTo>
                <a:lnTo>
                  <a:pt x="3994" y="433"/>
                </a:lnTo>
                <a:lnTo>
                  <a:pt x="3994" y="433"/>
                </a:lnTo>
                <a:lnTo>
                  <a:pt x="4000" y="433"/>
                </a:lnTo>
                <a:lnTo>
                  <a:pt x="4000" y="433"/>
                </a:lnTo>
                <a:lnTo>
                  <a:pt x="4000" y="433"/>
                </a:lnTo>
                <a:lnTo>
                  <a:pt x="4000" y="439"/>
                </a:lnTo>
                <a:lnTo>
                  <a:pt x="4006" y="439"/>
                </a:lnTo>
                <a:lnTo>
                  <a:pt x="4006" y="439"/>
                </a:lnTo>
                <a:lnTo>
                  <a:pt x="4006" y="439"/>
                </a:lnTo>
                <a:lnTo>
                  <a:pt x="4006" y="439"/>
                </a:lnTo>
                <a:lnTo>
                  <a:pt x="4006" y="439"/>
                </a:lnTo>
                <a:lnTo>
                  <a:pt x="4006" y="439"/>
                </a:lnTo>
                <a:lnTo>
                  <a:pt x="4006" y="439"/>
                </a:lnTo>
                <a:lnTo>
                  <a:pt x="4012" y="445"/>
                </a:lnTo>
                <a:lnTo>
                  <a:pt x="4012" y="439"/>
                </a:lnTo>
                <a:lnTo>
                  <a:pt x="4012" y="439"/>
                </a:lnTo>
                <a:lnTo>
                  <a:pt x="4018" y="439"/>
                </a:lnTo>
                <a:lnTo>
                  <a:pt x="4018" y="439"/>
                </a:lnTo>
                <a:lnTo>
                  <a:pt x="4024" y="439"/>
                </a:lnTo>
                <a:lnTo>
                  <a:pt x="4024" y="439"/>
                </a:lnTo>
                <a:lnTo>
                  <a:pt x="4024" y="439"/>
                </a:lnTo>
                <a:lnTo>
                  <a:pt x="4024" y="439"/>
                </a:lnTo>
                <a:lnTo>
                  <a:pt x="4024" y="439"/>
                </a:lnTo>
                <a:lnTo>
                  <a:pt x="4024" y="439"/>
                </a:lnTo>
                <a:lnTo>
                  <a:pt x="4030" y="439"/>
                </a:lnTo>
                <a:lnTo>
                  <a:pt x="4030" y="439"/>
                </a:lnTo>
                <a:lnTo>
                  <a:pt x="4035" y="439"/>
                </a:lnTo>
                <a:lnTo>
                  <a:pt x="4053" y="445"/>
                </a:lnTo>
                <a:lnTo>
                  <a:pt x="4053" y="445"/>
                </a:lnTo>
                <a:lnTo>
                  <a:pt x="4059" y="445"/>
                </a:lnTo>
                <a:lnTo>
                  <a:pt x="4059" y="445"/>
                </a:lnTo>
                <a:lnTo>
                  <a:pt x="4059" y="445"/>
                </a:lnTo>
                <a:lnTo>
                  <a:pt x="4059" y="445"/>
                </a:lnTo>
                <a:lnTo>
                  <a:pt x="4065" y="445"/>
                </a:lnTo>
                <a:lnTo>
                  <a:pt x="4065" y="445"/>
                </a:lnTo>
                <a:lnTo>
                  <a:pt x="4065" y="445"/>
                </a:lnTo>
                <a:lnTo>
                  <a:pt x="4065" y="439"/>
                </a:lnTo>
                <a:lnTo>
                  <a:pt x="4065" y="439"/>
                </a:lnTo>
                <a:lnTo>
                  <a:pt x="4065" y="439"/>
                </a:lnTo>
                <a:lnTo>
                  <a:pt x="4065" y="439"/>
                </a:lnTo>
                <a:lnTo>
                  <a:pt x="4065" y="433"/>
                </a:lnTo>
                <a:lnTo>
                  <a:pt x="4059" y="433"/>
                </a:lnTo>
                <a:lnTo>
                  <a:pt x="4059" y="433"/>
                </a:lnTo>
                <a:lnTo>
                  <a:pt x="4059" y="433"/>
                </a:lnTo>
                <a:lnTo>
                  <a:pt x="4059" y="433"/>
                </a:lnTo>
                <a:lnTo>
                  <a:pt x="4053" y="433"/>
                </a:lnTo>
                <a:lnTo>
                  <a:pt x="4053" y="427"/>
                </a:lnTo>
                <a:lnTo>
                  <a:pt x="4053" y="427"/>
                </a:lnTo>
                <a:lnTo>
                  <a:pt x="4053" y="421"/>
                </a:lnTo>
                <a:lnTo>
                  <a:pt x="4053" y="421"/>
                </a:lnTo>
                <a:lnTo>
                  <a:pt x="4053" y="421"/>
                </a:lnTo>
                <a:lnTo>
                  <a:pt x="4053" y="421"/>
                </a:lnTo>
                <a:lnTo>
                  <a:pt x="4053" y="421"/>
                </a:lnTo>
                <a:lnTo>
                  <a:pt x="4053" y="421"/>
                </a:lnTo>
                <a:lnTo>
                  <a:pt x="4047" y="415"/>
                </a:lnTo>
                <a:lnTo>
                  <a:pt x="4047" y="415"/>
                </a:lnTo>
                <a:lnTo>
                  <a:pt x="4047" y="415"/>
                </a:lnTo>
                <a:lnTo>
                  <a:pt x="4047" y="415"/>
                </a:lnTo>
                <a:lnTo>
                  <a:pt x="4047" y="415"/>
                </a:lnTo>
                <a:lnTo>
                  <a:pt x="4047" y="415"/>
                </a:lnTo>
                <a:lnTo>
                  <a:pt x="4041" y="415"/>
                </a:lnTo>
                <a:lnTo>
                  <a:pt x="4041" y="415"/>
                </a:lnTo>
                <a:lnTo>
                  <a:pt x="4035" y="415"/>
                </a:lnTo>
                <a:lnTo>
                  <a:pt x="4035" y="415"/>
                </a:lnTo>
                <a:lnTo>
                  <a:pt x="4035" y="415"/>
                </a:lnTo>
                <a:lnTo>
                  <a:pt x="4035" y="415"/>
                </a:lnTo>
                <a:lnTo>
                  <a:pt x="4030" y="409"/>
                </a:lnTo>
                <a:lnTo>
                  <a:pt x="4030" y="409"/>
                </a:lnTo>
                <a:lnTo>
                  <a:pt x="4035" y="409"/>
                </a:lnTo>
                <a:lnTo>
                  <a:pt x="4035" y="403"/>
                </a:lnTo>
                <a:lnTo>
                  <a:pt x="4041" y="403"/>
                </a:lnTo>
                <a:lnTo>
                  <a:pt x="4035" y="403"/>
                </a:lnTo>
                <a:lnTo>
                  <a:pt x="4035" y="397"/>
                </a:lnTo>
                <a:lnTo>
                  <a:pt x="4035" y="397"/>
                </a:lnTo>
                <a:lnTo>
                  <a:pt x="4035" y="391"/>
                </a:lnTo>
                <a:lnTo>
                  <a:pt x="4041" y="391"/>
                </a:lnTo>
                <a:lnTo>
                  <a:pt x="4041" y="391"/>
                </a:lnTo>
                <a:lnTo>
                  <a:pt x="4041" y="391"/>
                </a:lnTo>
                <a:lnTo>
                  <a:pt x="4041" y="391"/>
                </a:lnTo>
                <a:lnTo>
                  <a:pt x="4047" y="391"/>
                </a:lnTo>
                <a:lnTo>
                  <a:pt x="4047" y="391"/>
                </a:lnTo>
                <a:lnTo>
                  <a:pt x="4047" y="391"/>
                </a:lnTo>
                <a:lnTo>
                  <a:pt x="4047" y="391"/>
                </a:lnTo>
                <a:lnTo>
                  <a:pt x="4047" y="391"/>
                </a:lnTo>
                <a:lnTo>
                  <a:pt x="4041" y="386"/>
                </a:lnTo>
                <a:lnTo>
                  <a:pt x="4041" y="386"/>
                </a:lnTo>
                <a:lnTo>
                  <a:pt x="4041" y="386"/>
                </a:lnTo>
                <a:lnTo>
                  <a:pt x="4041" y="380"/>
                </a:lnTo>
                <a:lnTo>
                  <a:pt x="4047" y="368"/>
                </a:lnTo>
                <a:lnTo>
                  <a:pt x="4047" y="362"/>
                </a:lnTo>
                <a:lnTo>
                  <a:pt x="4041" y="362"/>
                </a:lnTo>
                <a:lnTo>
                  <a:pt x="4035" y="362"/>
                </a:lnTo>
                <a:lnTo>
                  <a:pt x="4035" y="362"/>
                </a:lnTo>
                <a:lnTo>
                  <a:pt x="4024" y="368"/>
                </a:lnTo>
                <a:lnTo>
                  <a:pt x="4024" y="368"/>
                </a:lnTo>
                <a:lnTo>
                  <a:pt x="4018" y="368"/>
                </a:lnTo>
                <a:lnTo>
                  <a:pt x="4012" y="368"/>
                </a:lnTo>
                <a:lnTo>
                  <a:pt x="4012" y="368"/>
                </a:lnTo>
                <a:lnTo>
                  <a:pt x="4012" y="368"/>
                </a:lnTo>
                <a:lnTo>
                  <a:pt x="4012" y="368"/>
                </a:lnTo>
                <a:lnTo>
                  <a:pt x="4012" y="374"/>
                </a:lnTo>
                <a:lnTo>
                  <a:pt x="4012" y="374"/>
                </a:lnTo>
                <a:lnTo>
                  <a:pt x="4006" y="374"/>
                </a:lnTo>
                <a:lnTo>
                  <a:pt x="4006" y="374"/>
                </a:lnTo>
                <a:lnTo>
                  <a:pt x="4006" y="374"/>
                </a:lnTo>
                <a:lnTo>
                  <a:pt x="4006" y="380"/>
                </a:lnTo>
                <a:lnTo>
                  <a:pt x="4000" y="380"/>
                </a:lnTo>
                <a:lnTo>
                  <a:pt x="3994" y="380"/>
                </a:lnTo>
                <a:lnTo>
                  <a:pt x="4000" y="374"/>
                </a:lnTo>
                <a:lnTo>
                  <a:pt x="3994" y="368"/>
                </a:lnTo>
                <a:lnTo>
                  <a:pt x="3994" y="368"/>
                </a:lnTo>
                <a:lnTo>
                  <a:pt x="3988" y="368"/>
                </a:lnTo>
                <a:lnTo>
                  <a:pt x="3988" y="374"/>
                </a:lnTo>
                <a:lnTo>
                  <a:pt x="3982" y="374"/>
                </a:lnTo>
                <a:lnTo>
                  <a:pt x="3976" y="374"/>
                </a:lnTo>
                <a:lnTo>
                  <a:pt x="3976" y="374"/>
                </a:lnTo>
                <a:lnTo>
                  <a:pt x="3976" y="374"/>
                </a:lnTo>
                <a:lnTo>
                  <a:pt x="3970" y="374"/>
                </a:lnTo>
                <a:lnTo>
                  <a:pt x="3964" y="368"/>
                </a:lnTo>
                <a:lnTo>
                  <a:pt x="3964" y="368"/>
                </a:lnTo>
                <a:lnTo>
                  <a:pt x="3964" y="368"/>
                </a:lnTo>
                <a:lnTo>
                  <a:pt x="3964" y="368"/>
                </a:lnTo>
                <a:lnTo>
                  <a:pt x="3958" y="368"/>
                </a:lnTo>
                <a:lnTo>
                  <a:pt x="3958" y="368"/>
                </a:lnTo>
                <a:lnTo>
                  <a:pt x="3958" y="368"/>
                </a:lnTo>
                <a:lnTo>
                  <a:pt x="3953" y="368"/>
                </a:lnTo>
                <a:lnTo>
                  <a:pt x="3953" y="368"/>
                </a:lnTo>
                <a:lnTo>
                  <a:pt x="3953" y="368"/>
                </a:lnTo>
                <a:lnTo>
                  <a:pt x="3953" y="362"/>
                </a:lnTo>
                <a:lnTo>
                  <a:pt x="3953" y="362"/>
                </a:lnTo>
                <a:lnTo>
                  <a:pt x="3953" y="356"/>
                </a:lnTo>
                <a:lnTo>
                  <a:pt x="3953" y="350"/>
                </a:lnTo>
                <a:lnTo>
                  <a:pt x="3958" y="338"/>
                </a:lnTo>
                <a:lnTo>
                  <a:pt x="3958" y="332"/>
                </a:lnTo>
                <a:lnTo>
                  <a:pt x="3958" y="332"/>
                </a:lnTo>
                <a:lnTo>
                  <a:pt x="3958" y="332"/>
                </a:lnTo>
                <a:lnTo>
                  <a:pt x="3958" y="326"/>
                </a:lnTo>
                <a:lnTo>
                  <a:pt x="3964" y="326"/>
                </a:lnTo>
                <a:lnTo>
                  <a:pt x="3958" y="326"/>
                </a:lnTo>
                <a:lnTo>
                  <a:pt x="3953" y="326"/>
                </a:lnTo>
                <a:lnTo>
                  <a:pt x="3953" y="326"/>
                </a:lnTo>
                <a:lnTo>
                  <a:pt x="3947" y="326"/>
                </a:lnTo>
                <a:lnTo>
                  <a:pt x="3935" y="326"/>
                </a:lnTo>
                <a:lnTo>
                  <a:pt x="3929" y="332"/>
                </a:lnTo>
                <a:lnTo>
                  <a:pt x="3911" y="338"/>
                </a:lnTo>
                <a:lnTo>
                  <a:pt x="3905" y="344"/>
                </a:lnTo>
                <a:lnTo>
                  <a:pt x="3870" y="338"/>
                </a:lnTo>
                <a:lnTo>
                  <a:pt x="3870" y="338"/>
                </a:lnTo>
                <a:lnTo>
                  <a:pt x="3870" y="338"/>
                </a:lnTo>
                <a:lnTo>
                  <a:pt x="3864" y="338"/>
                </a:lnTo>
                <a:lnTo>
                  <a:pt x="3846" y="344"/>
                </a:lnTo>
                <a:lnTo>
                  <a:pt x="3846" y="344"/>
                </a:lnTo>
                <a:lnTo>
                  <a:pt x="3846" y="338"/>
                </a:lnTo>
                <a:lnTo>
                  <a:pt x="3828" y="350"/>
                </a:lnTo>
                <a:lnTo>
                  <a:pt x="3816" y="356"/>
                </a:lnTo>
                <a:lnTo>
                  <a:pt x="3816" y="362"/>
                </a:lnTo>
                <a:lnTo>
                  <a:pt x="3810" y="362"/>
                </a:lnTo>
                <a:lnTo>
                  <a:pt x="3810" y="362"/>
                </a:lnTo>
                <a:lnTo>
                  <a:pt x="3804" y="362"/>
                </a:lnTo>
                <a:lnTo>
                  <a:pt x="3804" y="368"/>
                </a:lnTo>
                <a:lnTo>
                  <a:pt x="3798" y="374"/>
                </a:lnTo>
                <a:lnTo>
                  <a:pt x="3793" y="374"/>
                </a:lnTo>
                <a:lnTo>
                  <a:pt x="3793" y="380"/>
                </a:lnTo>
                <a:lnTo>
                  <a:pt x="3793" y="374"/>
                </a:lnTo>
                <a:lnTo>
                  <a:pt x="3793" y="374"/>
                </a:lnTo>
                <a:lnTo>
                  <a:pt x="3793" y="374"/>
                </a:lnTo>
                <a:lnTo>
                  <a:pt x="3793" y="374"/>
                </a:lnTo>
                <a:lnTo>
                  <a:pt x="3787" y="374"/>
                </a:lnTo>
                <a:lnTo>
                  <a:pt x="3787" y="374"/>
                </a:lnTo>
                <a:lnTo>
                  <a:pt x="3787" y="368"/>
                </a:lnTo>
                <a:lnTo>
                  <a:pt x="3781" y="368"/>
                </a:lnTo>
                <a:lnTo>
                  <a:pt x="3781" y="368"/>
                </a:lnTo>
                <a:lnTo>
                  <a:pt x="3775" y="374"/>
                </a:lnTo>
                <a:lnTo>
                  <a:pt x="3775" y="374"/>
                </a:lnTo>
                <a:lnTo>
                  <a:pt x="3775" y="374"/>
                </a:lnTo>
                <a:lnTo>
                  <a:pt x="3769" y="374"/>
                </a:lnTo>
                <a:lnTo>
                  <a:pt x="3769" y="374"/>
                </a:lnTo>
                <a:lnTo>
                  <a:pt x="3769" y="368"/>
                </a:lnTo>
                <a:lnTo>
                  <a:pt x="3769" y="368"/>
                </a:lnTo>
                <a:lnTo>
                  <a:pt x="3769" y="368"/>
                </a:lnTo>
                <a:lnTo>
                  <a:pt x="3763" y="368"/>
                </a:lnTo>
                <a:lnTo>
                  <a:pt x="3763" y="368"/>
                </a:lnTo>
                <a:lnTo>
                  <a:pt x="3763" y="362"/>
                </a:lnTo>
                <a:lnTo>
                  <a:pt x="3763" y="362"/>
                </a:lnTo>
                <a:lnTo>
                  <a:pt x="3763" y="362"/>
                </a:lnTo>
                <a:lnTo>
                  <a:pt x="3757" y="362"/>
                </a:lnTo>
                <a:lnTo>
                  <a:pt x="3757" y="362"/>
                </a:lnTo>
                <a:lnTo>
                  <a:pt x="3757" y="362"/>
                </a:lnTo>
                <a:lnTo>
                  <a:pt x="3757" y="362"/>
                </a:lnTo>
                <a:lnTo>
                  <a:pt x="3757" y="362"/>
                </a:lnTo>
                <a:lnTo>
                  <a:pt x="3751" y="362"/>
                </a:lnTo>
                <a:lnTo>
                  <a:pt x="3751" y="362"/>
                </a:lnTo>
                <a:lnTo>
                  <a:pt x="3751" y="362"/>
                </a:lnTo>
                <a:lnTo>
                  <a:pt x="3751" y="362"/>
                </a:lnTo>
                <a:lnTo>
                  <a:pt x="3745" y="368"/>
                </a:lnTo>
                <a:lnTo>
                  <a:pt x="3745" y="368"/>
                </a:lnTo>
                <a:lnTo>
                  <a:pt x="3745" y="368"/>
                </a:lnTo>
                <a:lnTo>
                  <a:pt x="3739" y="368"/>
                </a:lnTo>
                <a:lnTo>
                  <a:pt x="3733" y="368"/>
                </a:lnTo>
                <a:lnTo>
                  <a:pt x="3721" y="368"/>
                </a:lnTo>
                <a:lnTo>
                  <a:pt x="3721" y="362"/>
                </a:lnTo>
                <a:lnTo>
                  <a:pt x="3721" y="362"/>
                </a:lnTo>
                <a:lnTo>
                  <a:pt x="3721" y="356"/>
                </a:lnTo>
                <a:lnTo>
                  <a:pt x="3721" y="356"/>
                </a:lnTo>
                <a:lnTo>
                  <a:pt x="3715" y="350"/>
                </a:lnTo>
                <a:lnTo>
                  <a:pt x="3710" y="350"/>
                </a:lnTo>
                <a:lnTo>
                  <a:pt x="3710" y="350"/>
                </a:lnTo>
                <a:lnTo>
                  <a:pt x="3710" y="344"/>
                </a:lnTo>
                <a:lnTo>
                  <a:pt x="3710" y="344"/>
                </a:lnTo>
                <a:lnTo>
                  <a:pt x="3710" y="344"/>
                </a:lnTo>
                <a:lnTo>
                  <a:pt x="3704" y="338"/>
                </a:lnTo>
                <a:lnTo>
                  <a:pt x="3704" y="338"/>
                </a:lnTo>
                <a:lnTo>
                  <a:pt x="3704" y="338"/>
                </a:lnTo>
                <a:lnTo>
                  <a:pt x="3698" y="332"/>
                </a:lnTo>
                <a:lnTo>
                  <a:pt x="3698" y="332"/>
                </a:lnTo>
                <a:lnTo>
                  <a:pt x="3698" y="320"/>
                </a:lnTo>
                <a:lnTo>
                  <a:pt x="3698" y="320"/>
                </a:lnTo>
                <a:lnTo>
                  <a:pt x="3692" y="320"/>
                </a:lnTo>
                <a:lnTo>
                  <a:pt x="3692" y="320"/>
                </a:lnTo>
                <a:lnTo>
                  <a:pt x="3692" y="320"/>
                </a:lnTo>
                <a:lnTo>
                  <a:pt x="3692" y="314"/>
                </a:lnTo>
                <a:lnTo>
                  <a:pt x="3692" y="314"/>
                </a:lnTo>
                <a:lnTo>
                  <a:pt x="3686" y="320"/>
                </a:lnTo>
                <a:lnTo>
                  <a:pt x="3686" y="320"/>
                </a:lnTo>
                <a:lnTo>
                  <a:pt x="3686" y="314"/>
                </a:lnTo>
                <a:lnTo>
                  <a:pt x="3686" y="314"/>
                </a:lnTo>
                <a:lnTo>
                  <a:pt x="3686" y="314"/>
                </a:lnTo>
                <a:lnTo>
                  <a:pt x="3680" y="314"/>
                </a:lnTo>
                <a:lnTo>
                  <a:pt x="3680" y="314"/>
                </a:lnTo>
                <a:lnTo>
                  <a:pt x="3680" y="314"/>
                </a:lnTo>
                <a:lnTo>
                  <a:pt x="3680" y="308"/>
                </a:lnTo>
                <a:lnTo>
                  <a:pt x="3680" y="308"/>
                </a:lnTo>
                <a:lnTo>
                  <a:pt x="3668" y="308"/>
                </a:lnTo>
                <a:lnTo>
                  <a:pt x="3650" y="302"/>
                </a:lnTo>
                <a:lnTo>
                  <a:pt x="3644" y="308"/>
                </a:lnTo>
                <a:lnTo>
                  <a:pt x="3638" y="308"/>
                </a:lnTo>
                <a:lnTo>
                  <a:pt x="3638" y="308"/>
                </a:lnTo>
                <a:lnTo>
                  <a:pt x="3638" y="314"/>
                </a:lnTo>
                <a:lnTo>
                  <a:pt x="3633" y="314"/>
                </a:lnTo>
                <a:lnTo>
                  <a:pt x="3633" y="320"/>
                </a:lnTo>
                <a:lnTo>
                  <a:pt x="3627" y="320"/>
                </a:lnTo>
                <a:lnTo>
                  <a:pt x="3627" y="320"/>
                </a:lnTo>
                <a:lnTo>
                  <a:pt x="3633" y="314"/>
                </a:lnTo>
                <a:lnTo>
                  <a:pt x="3633" y="314"/>
                </a:lnTo>
                <a:lnTo>
                  <a:pt x="3633" y="308"/>
                </a:lnTo>
                <a:lnTo>
                  <a:pt x="3638" y="302"/>
                </a:lnTo>
                <a:lnTo>
                  <a:pt x="3644" y="302"/>
                </a:lnTo>
                <a:lnTo>
                  <a:pt x="3644" y="302"/>
                </a:lnTo>
                <a:lnTo>
                  <a:pt x="3638" y="297"/>
                </a:lnTo>
                <a:lnTo>
                  <a:pt x="3638" y="302"/>
                </a:lnTo>
                <a:lnTo>
                  <a:pt x="3633" y="302"/>
                </a:lnTo>
                <a:lnTo>
                  <a:pt x="3633" y="308"/>
                </a:lnTo>
                <a:lnTo>
                  <a:pt x="3627" y="308"/>
                </a:lnTo>
                <a:lnTo>
                  <a:pt x="3627" y="314"/>
                </a:lnTo>
                <a:lnTo>
                  <a:pt x="3621" y="314"/>
                </a:lnTo>
                <a:lnTo>
                  <a:pt x="3621" y="314"/>
                </a:lnTo>
                <a:lnTo>
                  <a:pt x="3621" y="314"/>
                </a:lnTo>
                <a:lnTo>
                  <a:pt x="3621" y="314"/>
                </a:lnTo>
                <a:lnTo>
                  <a:pt x="3615" y="326"/>
                </a:lnTo>
                <a:lnTo>
                  <a:pt x="3609" y="326"/>
                </a:lnTo>
                <a:lnTo>
                  <a:pt x="3609" y="326"/>
                </a:lnTo>
                <a:lnTo>
                  <a:pt x="3609" y="326"/>
                </a:lnTo>
                <a:lnTo>
                  <a:pt x="3609" y="326"/>
                </a:lnTo>
                <a:lnTo>
                  <a:pt x="3615" y="326"/>
                </a:lnTo>
                <a:lnTo>
                  <a:pt x="3615" y="326"/>
                </a:lnTo>
                <a:lnTo>
                  <a:pt x="3615" y="326"/>
                </a:lnTo>
                <a:lnTo>
                  <a:pt x="3615" y="320"/>
                </a:lnTo>
                <a:lnTo>
                  <a:pt x="3609" y="320"/>
                </a:lnTo>
                <a:lnTo>
                  <a:pt x="3609" y="320"/>
                </a:lnTo>
                <a:lnTo>
                  <a:pt x="3609" y="314"/>
                </a:lnTo>
                <a:lnTo>
                  <a:pt x="3609" y="314"/>
                </a:lnTo>
                <a:lnTo>
                  <a:pt x="3609" y="314"/>
                </a:lnTo>
                <a:lnTo>
                  <a:pt x="3609" y="314"/>
                </a:lnTo>
                <a:lnTo>
                  <a:pt x="3609" y="308"/>
                </a:lnTo>
                <a:lnTo>
                  <a:pt x="3615" y="308"/>
                </a:lnTo>
                <a:lnTo>
                  <a:pt x="3615" y="302"/>
                </a:lnTo>
                <a:lnTo>
                  <a:pt x="3615" y="302"/>
                </a:lnTo>
                <a:lnTo>
                  <a:pt x="3615" y="297"/>
                </a:lnTo>
                <a:lnTo>
                  <a:pt x="3615" y="297"/>
                </a:lnTo>
                <a:lnTo>
                  <a:pt x="3615" y="291"/>
                </a:lnTo>
                <a:lnTo>
                  <a:pt x="3609" y="291"/>
                </a:lnTo>
                <a:lnTo>
                  <a:pt x="3609" y="291"/>
                </a:lnTo>
                <a:lnTo>
                  <a:pt x="3609" y="291"/>
                </a:lnTo>
                <a:lnTo>
                  <a:pt x="3609" y="291"/>
                </a:lnTo>
                <a:lnTo>
                  <a:pt x="3609" y="291"/>
                </a:lnTo>
                <a:lnTo>
                  <a:pt x="3609" y="291"/>
                </a:lnTo>
                <a:lnTo>
                  <a:pt x="3609" y="291"/>
                </a:lnTo>
                <a:lnTo>
                  <a:pt x="3609" y="285"/>
                </a:lnTo>
                <a:lnTo>
                  <a:pt x="3609" y="285"/>
                </a:lnTo>
                <a:lnTo>
                  <a:pt x="3609" y="279"/>
                </a:lnTo>
                <a:lnTo>
                  <a:pt x="3609" y="279"/>
                </a:lnTo>
                <a:lnTo>
                  <a:pt x="3603" y="279"/>
                </a:lnTo>
                <a:lnTo>
                  <a:pt x="3603" y="279"/>
                </a:lnTo>
                <a:lnTo>
                  <a:pt x="3597" y="273"/>
                </a:lnTo>
                <a:lnTo>
                  <a:pt x="3597" y="273"/>
                </a:lnTo>
                <a:lnTo>
                  <a:pt x="3597" y="273"/>
                </a:lnTo>
                <a:lnTo>
                  <a:pt x="3597" y="267"/>
                </a:lnTo>
                <a:lnTo>
                  <a:pt x="3597" y="267"/>
                </a:lnTo>
                <a:lnTo>
                  <a:pt x="3597" y="261"/>
                </a:lnTo>
                <a:lnTo>
                  <a:pt x="3591" y="261"/>
                </a:lnTo>
                <a:lnTo>
                  <a:pt x="3591" y="261"/>
                </a:lnTo>
                <a:lnTo>
                  <a:pt x="3573" y="279"/>
                </a:lnTo>
                <a:lnTo>
                  <a:pt x="3573" y="279"/>
                </a:lnTo>
                <a:lnTo>
                  <a:pt x="3567" y="279"/>
                </a:lnTo>
                <a:lnTo>
                  <a:pt x="3567" y="285"/>
                </a:lnTo>
                <a:lnTo>
                  <a:pt x="3567" y="285"/>
                </a:lnTo>
                <a:lnTo>
                  <a:pt x="3567" y="285"/>
                </a:lnTo>
                <a:lnTo>
                  <a:pt x="3561" y="291"/>
                </a:lnTo>
                <a:lnTo>
                  <a:pt x="3561" y="291"/>
                </a:lnTo>
                <a:lnTo>
                  <a:pt x="3561" y="291"/>
                </a:lnTo>
                <a:lnTo>
                  <a:pt x="3555" y="291"/>
                </a:lnTo>
                <a:lnTo>
                  <a:pt x="3555" y="297"/>
                </a:lnTo>
                <a:lnTo>
                  <a:pt x="3555" y="297"/>
                </a:lnTo>
                <a:lnTo>
                  <a:pt x="3550" y="297"/>
                </a:lnTo>
                <a:lnTo>
                  <a:pt x="3544" y="297"/>
                </a:lnTo>
                <a:lnTo>
                  <a:pt x="3544" y="297"/>
                </a:lnTo>
                <a:lnTo>
                  <a:pt x="3538" y="302"/>
                </a:lnTo>
                <a:lnTo>
                  <a:pt x="3526" y="308"/>
                </a:lnTo>
                <a:lnTo>
                  <a:pt x="3520" y="314"/>
                </a:lnTo>
                <a:lnTo>
                  <a:pt x="3478" y="320"/>
                </a:lnTo>
                <a:lnTo>
                  <a:pt x="3478" y="320"/>
                </a:lnTo>
                <a:lnTo>
                  <a:pt x="3455" y="338"/>
                </a:lnTo>
                <a:lnTo>
                  <a:pt x="3455" y="344"/>
                </a:lnTo>
                <a:lnTo>
                  <a:pt x="3437" y="350"/>
                </a:lnTo>
                <a:lnTo>
                  <a:pt x="3431" y="350"/>
                </a:lnTo>
                <a:lnTo>
                  <a:pt x="3431" y="350"/>
                </a:lnTo>
                <a:lnTo>
                  <a:pt x="3425" y="350"/>
                </a:lnTo>
                <a:lnTo>
                  <a:pt x="3425" y="350"/>
                </a:lnTo>
                <a:lnTo>
                  <a:pt x="3419" y="356"/>
                </a:lnTo>
                <a:lnTo>
                  <a:pt x="3419" y="356"/>
                </a:lnTo>
                <a:lnTo>
                  <a:pt x="3413" y="356"/>
                </a:lnTo>
                <a:lnTo>
                  <a:pt x="3413" y="356"/>
                </a:lnTo>
                <a:lnTo>
                  <a:pt x="3407" y="356"/>
                </a:lnTo>
                <a:lnTo>
                  <a:pt x="3401" y="350"/>
                </a:lnTo>
                <a:lnTo>
                  <a:pt x="3395" y="350"/>
                </a:lnTo>
                <a:lnTo>
                  <a:pt x="3384" y="338"/>
                </a:lnTo>
                <a:lnTo>
                  <a:pt x="3384" y="338"/>
                </a:lnTo>
                <a:lnTo>
                  <a:pt x="3384" y="338"/>
                </a:lnTo>
                <a:lnTo>
                  <a:pt x="3390" y="344"/>
                </a:lnTo>
                <a:lnTo>
                  <a:pt x="3384" y="344"/>
                </a:lnTo>
                <a:lnTo>
                  <a:pt x="3384" y="344"/>
                </a:lnTo>
                <a:lnTo>
                  <a:pt x="3384" y="344"/>
                </a:lnTo>
                <a:lnTo>
                  <a:pt x="3384" y="344"/>
                </a:lnTo>
                <a:lnTo>
                  <a:pt x="3384" y="344"/>
                </a:lnTo>
                <a:lnTo>
                  <a:pt x="3384" y="344"/>
                </a:lnTo>
                <a:lnTo>
                  <a:pt x="3384" y="344"/>
                </a:lnTo>
                <a:lnTo>
                  <a:pt x="3384" y="350"/>
                </a:lnTo>
                <a:lnTo>
                  <a:pt x="3372" y="356"/>
                </a:lnTo>
                <a:lnTo>
                  <a:pt x="3366" y="356"/>
                </a:lnTo>
                <a:lnTo>
                  <a:pt x="3366" y="350"/>
                </a:lnTo>
                <a:lnTo>
                  <a:pt x="3366" y="350"/>
                </a:lnTo>
                <a:lnTo>
                  <a:pt x="3366" y="344"/>
                </a:lnTo>
                <a:lnTo>
                  <a:pt x="3372" y="338"/>
                </a:lnTo>
                <a:lnTo>
                  <a:pt x="3372" y="338"/>
                </a:lnTo>
                <a:lnTo>
                  <a:pt x="3372" y="338"/>
                </a:lnTo>
                <a:lnTo>
                  <a:pt x="3372" y="332"/>
                </a:lnTo>
                <a:lnTo>
                  <a:pt x="3372" y="332"/>
                </a:lnTo>
                <a:lnTo>
                  <a:pt x="3372" y="332"/>
                </a:lnTo>
                <a:lnTo>
                  <a:pt x="3372" y="326"/>
                </a:lnTo>
                <a:lnTo>
                  <a:pt x="3372" y="326"/>
                </a:lnTo>
                <a:lnTo>
                  <a:pt x="3378" y="326"/>
                </a:lnTo>
                <a:lnTo>
                  <a:pt x="3378" y="320"/>
                </a:lnTo>
                <a:lnTo>
                  <a:pt x="3378" y="314"/>
                </a:lnTo>
                <a:lnTo>
                  <a:pt x="3384" y="314"/>
                </a:lnTo>
                <a:lnTo>
                  <a:pt x="3384" y="314"/>
                </a:lnTo>
                <a:lnTo>
                  <a:pt x="3384" y="314"/>
                </a:lnTo>
                <a:lnTo>
                  <a:pt x="3384" y="308"/>
                </a:lnTo>
                <a:lnTo>
                  <a:pt x="3384" y="308"/>
                </a:lnTo>
                <a:lnTo>
                  <a:pt x="3384" y="308"/>
                </a:lnTo>
                <a:lnTo>
                  <a:pt x="3384" y="308"/>
                </a:lnTo>
                <a:lnTo>
                  <a:pt x="3384" y="302"/>
                </a:lnTo>
                <a:lnTo>
                  <a:pt x="3378" y="302"/>
                </a:lnTo>
                <a:lnTo>
                  <a:pt x="3378" y="302"/>
                </a:lnTo>
                <a:lnTo>
                  <a:pt x="3378" y="302"/>
                </a:lnTo>
                <a:lnTo>
                  <a:pt x="3378" y="302"/>
                </a:lnTo>
                <a:lnTo>
                  <a:pt x="3378" y="302"/>
                </a:lnTo>
                <a:lnTo>
                  <a:pt x="3378" y="302"/>
                </a:lnTo>
                <a:lnTo>
                  <a:pt x="3378" y="302"/>
                </a:lnTo>
                <a:lnTo>
                  <a:pt x="3372" y="302"/>
                </a:lnTo>
                <a:lnTo>
                  <a:pt x="3372" y="297"/>
                </a:lnTo>
                <a:lnTo>
                  <a:pt x="3372" y="302"/>
                </a:lnTo>
                <a:lnTo>
                  <a:pt x="3372" y="302"/>
                </a:lnTo>
                <a:lnTo>
                  <a:pt x="3372" y="302"/>
                </a:lnTo>
                <a:lnTo>
                  <a:pt x="3372" y="302"/>
                </a:lnTo>
                <a:lnTo>
                  <a:pt x="3372" y="302"/>
                </a:lnTo>
                <a:lnTo>
                  <a:pt x="3366" y="302"/>
                </a:lnTo>
                <a:lnTo>
                  <a:pt x="3366" y="302"/>
                </a:lnTo>
                <a:lnTo>
                  <a:pt x="3366" y="302"/>
                </a:lnTo>
                <a:lnTo>
                  <a:pt x="3366" y="302"/>
                </a:lnTo>
                <a:lnTo>
                  <a:pt x="3366" y="302"/>
                </a:lnTo>
                <a:lnTo>
                  <a:pt x="3360" y="302"/>
                </a:lnTo>
                <a:lnTo>
                  <a:pt x="3360" y="302"/>
                </a:lnTo>
                <a:lnTo>
                  <a:pt x="3360" y="302"/>
                </a:lnTo>
                <a:lnTo>
                  <a:pt x="3360" y="302"/>
                </a:lnTo>
                <a:lnTo>
                  <a:pt x="3354" y="308"/>
                </a:lnTo>
                <a:lnTo>
                  <a:pt x="3354" y="308"/>
                </a:lnTo>
                <a:lnTo>
                  <a:pt x="3354" y="308"/>
                </a:lnTo>
                <a:lnTo>
                  <a:pt x="3354" y="308"/>
                </a:lnTo>
                <a:lnTo>
                  <a:pt x="3354" y="308"/>
                </a:lnTo>
                <a:lnTo>
                  <a:pt x="3354" y="308"/>
                </a:lnTo>
                <a:lnTo>
                  <a:pt x="3354" y="308"/>
                </a:lnTo>
                <a:lnTo>
                  <a:pt x="3348" y="308"/>
                </a:lnTo>
                <a:lnTo>
                  <a:pt x="3348" y="314"/>
                </a:lnTo>
                <a:lnTo>
                  <a:pt x="3348" y="314"/>
                </a:lnTo>
                <a:lnTo>
                  <a:pt x="3348" y="314"/>
                </a:lnTo>
                <a:lnTo>
                  <a:pt x="3342" y="314"/>
                </a:lnTo>
                <a:lnTo>
                  <a:pt x="3348" y="314"/>
                </a:lnTo>
                <a:lnTo>
                  <a:pt x="3348" y="314"/>
                </a:lnTo>
                <a:lnTo>
                  <a:pt x="3342" y="314"/>
                </a:lnTo>
                <a:lnTo>
                  <a:pt x="3342" y="314"/>
                </a:lnTo>
                <a:lnTo>
                  <a:pt x="3342" y="314"/>
                </a:lnTo>
                <a:lnTo>
                  <a:pt x="3342" y="314"/>
                </a:lnTo>
                <a:lnTo>
                  <a:pt x="3342" y="314"/>
                </a:lnTo>
                <a:lnTo>
                  <a:pt x="3342" y="314"/>
                </a:lnTo>
                <a:lnTo>
                  <a:pt x="3336" y="314"/>
                </a:lnTo>
                <a:lnTo>
                  <a:pt x="3330" y="314"/>
                </a:lnTo>
                <a:lnTo>
                  <a:pt x="3324" y="320"/>
                </a:lnTo>
                <a:lnTo>
                  <a:pt x="3318" y="326"/>
                </a:lnTo>
                <a:lnTo>
                  <a:pt x="3318" y="326"/>
                </a:lnTo>
                <a:lnTo>
                  <a:pt x="3313" y="326"/>
                </a:lnTo>
                <a:lnTo>
                  <a:pt x="3301" y="332"/>
                </a:lnTo>
                <a:lnTo>
                  <a:pt x="3283" y="338"/>
                </a:lnTo>
                <a:lnTo>
                  <a:pt x="3265" y="338"/>
                </a:lnTo>
                <a:lnTo>
                  <a:pt x="3265" y="338"/>
                </a:lnTo>
                <a:lnTo>
                  <a:pt x="3259" y="338"/>
                </a:lnTo>
                <a:lnTo>
                  <a:pt x="3253" y="338"/>
                </a:lnTo>
                <a:lnTo>
                  <a:pt x="3253" y="338"/>
                </a:lnTo>
                <a:lnTo>
                  <a:pt x="3253" y="332"/>
                </a:lnTo>
                <a:lnTo>
                  <a:pt x="3247" y="332"/>
                </a:lnTo>
                <a:lnTo>
                  <a:pt x="3247" y="326"/>
                </a:lnTo>
                <a:lnTo>
                  <a:pt x="3247" y="326"/>
                </a:lnTo>
                <a:lnTo>
                  <a:pt x="3253" y="326"/>
                </a:lnTo>
                <a:lnTo>
                  <a:pt x="3253" y="320"/>
                </a:lnTo>
                <a:lnTo>
                  <a:pt x="3265" y="314"/>
                </a:lnTo>
                <a:lnTo>
                  <a:pt x="3271" y="308"/>
                </a:lnTo>
                <a:lnTo>
                  <a:pt x="3277" y="308"/>
                </a:lnTo>
                <a:lnTo>
                  <a:pt x="3283" y="302"/>
                </a:lnTo>
                <a:lnTo>
                  <a:pt x="3283" y="297"/>
                </a:lnTo>
                <a:lnTo>
                  <a:pt x="3289" y="297"/>
                </a:lnTo>
                <a:lnTo>
                  <a:pt x="3295" y="291"/>
                </a:lnTo>
                <a:lnTo>
                  <a:pt x="3295" y="291"/>
                </a:lnTo>
                <a:lnTo>
                  <a:pt x="3295" y="285"/>
                </a:lnTo>
                <a:lnTo>
                  <a:pt x="3295" y="285"/>
                </a:lnTo>
                <a:lnTo>
                  <a:pt x="3295" y="285"/>
                </a:lnTo>
                <a:lnTo>
                  <a:pt x="3301" y="285"/>
                </a:lnTo>
                <a:lnTo>
                  <a:pt x="3301" y="285"/>
                </a:lnTo>
                <a:lnTo>
                  <a:pt x="3301" y="285"/>
                </a:lnTo>
                <a:lnTo>
                  <a:pt x="3301" y="279"/>
                </a:lnTo>
                <a:lnTo>
                  <a:pt x="3307" y="279"/>
                </a:lnTo>
                <a:lnTo>
                  <a:pt x="3360" y="225"/>
                </a:lnTo>
                <a:lnTo>
                  <a:pt x="3366" y="219"/>
                </a:lnTo>
                <a:lnTo>
                  <a:pt x="3378" y="208"/>
                </a:lnTo>
                <a:lnTo>
                  <a:pt x="3407" y="190"/>
                </a:lnTo>
                <a:lnTo>
                  <a:pt x="3419" y="184"/>
                </a:lnTo>
                <a:lnTo>
                  <a:pt x="3425" y="184"/>
                </a:lnTo>
                <a:lnTo>
                  <a:pt x="3425" y="184"/>
                </a:lnTo>
                <a:lnTo>
                  <a:pt x="3431" y="184"/>
                </a:lnTo>
                <a:lnTo>
                  <a:pt x="3449" y="178"/>
                </a:lnTo>
                <a:lnTo>
                  <a:pt x="3484" y="160"/>
                </a:lnTo>
                <a:lnTo>
                  <a:pt x="3484" y="154"/>
                </a:lnTo>
                <a:lnTo>
                  <a:pt x="3490" y="154"/>
                </a:lnTo>
                <a:lnTo>
                  <a:pt x="3490" y="154"/>
                </a:lnTo>
                <a:lnTo>
                  <a:pt x="3496" y="148"/>
                </a:lnTo>
                <a:lnTo>
                  <a:pt x="3496" y="148"/>
                </a:lnTo>
                <a:lnTo>
                  <a:pt x="3496" y="148"/>
                </a:lnTo>
                <a:lnTo>
                  <a:pt x="3502" y="148"/>
                </a:lnTo>
                <a:lnTo>
                  <a:pt x="3502" y="148"/>
                </a:lnTo>
                <a:lnTo>
                  <a:pt x="3502" y="148"/>
                </a:lnTo>
                <a:lnTo>
                  <a:pt x="3502" y="148"/>
                </a:lnTo>
                <a:lnTo>
                  <a:pt x="3496" y="148"/>
                </a:lnTo>
                <a:lnTo>
                  <a:pt x="3490" y="148"/>
                </a:lnTo>
                <a:lnTo>
                  <a:pt x="3490" y="148"/>
                </a:lnTo>
                <a:lnTo>
                  <a:pt x="3490" y="148"/>
                </a:lnTo>
                <a:lnTo>
                  <a:pt x="3484" y="148"/>
                </a:lnTo>
                <a:lnTo>
                  <a:pt x="3484" y="148"/>
                </a:lnTo>
                <a:lnTo>
                  <a:pt x="3484" y="142"/>
                </a:lnTo>
                <a:lnTo>
                  <a:pt x="3478" y="142"/>
                </a:lnTo>
                <a:lnTo>
                  <a:pt x="3478" y="148"/>
                </a:lnTo>
                <a:lnTo>
                  <a:pt x="3467" y="148"/>
                </a:lnTo>
                <a:lnTo>
                  <a:pt x="3467" y="148"/>
                </a:lnTo>
                <a:lnTo>
                  <a:pt x="3467" y="148"/>
                </a:lnTo>
                <a:lnTo>
                  <a:pt x="3461" y="148"/>
                </a:lnTo>
                <a:lnTo>
                  <a:pt x="3461" y="148"/>
                </a:lnTo>
                <a:lnTo>
                  <a:pt x="3461" y="142"/>
                </a:lnTo>
                <a:lnTo>
                  <a:pt x="3461" y="142"/>
                </a:lnTo>
                <a:lnTo>
                  <a:pt x="3461" y="142"/>
                </a:lnTo>
                <a:lnTo>
                  <a:pt x="3455" y="136"/>
                </a:lnTo>
                <a:lnTo>
                  <a:pt x="3455" y="136"/>
                </a:lnTo>
                <a:lnTo>
                  <a:pt x="3455" y="130"/>
                </a:lnTo>
                <a:lnTo>
                  <a:pt x="3449" y="130"/>
                </a:lnTo>
                <a:lnTo>
                  <a:pt x="3449" y="130"/>
                </a:lnTo>
                <a:lnTo>
                  <a:pt x="3443" y="130"/>
                </a:lnTo>
                <a:lnTo>
                  <a:pt x="3437" y="130"/>
                </a:lnTo>
                <a:lnTo>
                  <a:pt x="3413" y="136"/>
                </a:lnTo>
                <a:lnTo>
                  <a:pt x="3413" y="136"/>
                </a:lnTo>
                <a:lnTo>
                  <a:pt x="3413" y="136"/>
                </a:lnTo>
                <a:lnTo>
                  <a:pt x="3413" y="136"/>
                </a:lnTo>
                <a:lnTo>
                  <a:pt x="3413" y="136"/>
                </a:lnTo>
                <a:lnTo>
                  <a:pt x="3413" y="136"/>
                </a:lnTo>
                <a:lnTo>
                  <a:pt x="3407" y="136"/>
                </a:lnTo>
                <a:lnTo>
                  <a:pt x="3407" y="136"/>
                </a:lnTo>
                <a:lnTo>
                  <a:pt x="3407" y="136"/>
                </a:lnTo>
                <a:lnTo>
                  <a:pt x="3407" y="136"/>
                </a:lnTo>
                <a:lnTo>
                  <a:pt x="3407" y="136"/>
                </a:lnTo>
                <a:lnTo>
                  <a:pt x="3407" y="136"/>
                </a:lnTo>
                <a:lnTo>
                  <a:pt x="3401" y="136"/>
                </a:lnTo>
                <a:lnTo>
                  <a:pt x="3401" y="136"/>
                </a:lnTo>
                <a:lnTo>
                  <a:pt x="3401" y="130"/>
                </a:lnTo>
                <a:lnTo>
                  <a:pt x="3401" y="130"/>
                </a:lnTo>
                <a:lnTo>
                  <a:pt x="3401" y="130"/>
                </a:lnTo>
                <a:lnTo>
                  <a:pt x="3401" y="130"/>
                </a:lnTo>
                <a:lnTo>
                  <a:pt x="3401" y="130"/>
                </a:lnTo>
                <a:lnTo>
                  <a:pt x="3390" y="136"/>
                </a:lnTo>
                <a:lnTo>
                  <a:pt x="3384" y="136"/>
                </a:lnTo>
                <a:lnTo>
                  <a:pt x="3384" y="136"/>
                </a:lnTo>
                <a:lnTo>
                  <a:pt x="3384" y="136"/>
                </a:lnTo>
                <a:lnTo>
                  <a:pt x="3384" y="130"/>
                </a:lnTo>
                <a:lnTo>
                  <a:pt x="3378" y="130"/>
                </a:lnTo>
                <a:lnTo>
                  <a:pt x="3378" y="130"/>
                </a:lnTo>
                <a:lnTo>
                  <a:pt x="3378" y="130"/>
                </a:lnTo>
                <a:lnTo>
                  <a:pt x="3378" y="125"/>
                </a:lnTo>
                <a:lnTo>
                  <a:pt x="3378" y="125"/>
                </a:lnTo>
                <a:lnTo>
                  <a:pt x="3378" y="125"/>
                </a:lnTo>
                <a:lnTo>
                  <a:pt x="3378" y="125"/>
                </a:lnTo>
                <a:lnTo>
                  <a:pt x="3378" y="125"/>
                </a:lnTo>
                <a:lnTo>
                  <a:pt x="3378" y="125"/>
                </a:lnTo>
                <a:lnTo>
                  <a:pt x="3378" y="119"/>
                </a:lnTo>
                <a:lnTo>
                  <a:pt x="3378" y="119"/>
                </a:lnTo>
                <a:lnTo>
                  <a:pt x="3372" y="119"/>
                </a:lnTo>
                <a:lnTo>
                  <a:pt x="3378" y="119"/>
                </a:lnTo>
                <a:lnTo>
                  <a:pt x="3378" y="119"/>
                </a:lnTo>
                <a:lnTo>
                  <a:pt x="3378" y="119"/>
                </a:lnTo>
                <a:lnTo>
                  <a:pt x="3378" y="119"/>
                </a:lnTo>
                <a:lnTo>
                  <a:pt x="3378" y="113"/>
                </a:lnTo>
                <a:lnTo>
                  <a:pt x="3372" y="113"/>
                </a:lnTo>
                <a:lnTo>
                  <a:pt x="3372" y="113"/>
                </a:lnTo>
                <a:lnTo>
                  <a:pt x="3366" y="113"/>
                </a:lnTo>
                <a:lnTo>
                  <a:pt x="3366" y="113"/>
                </a:lnTo>
                <a:lnTo>
                  <a:pt x="3360" y="119"/>
                </a:lnTo>
                <a:lnTo>
                  <a:pt x="3360" y="119"/>
                </a:lnTo>
                <a:lnTo>
                  <a:pt x="3354" y="119"/>
                </a:lnTo>
                <a:lnTo>
                  <a:pt x="3354" y="125"/>
                </a:lnTo>
                <a:lnTo>
                  <a:pt x="3342" y="130"/>
                </a:lnTo>
                <a:lnTo>
                  <a:pt x="3342" y="130"/>
                </a:lnTo>
                <a:lnTo>
                  <a:pt x="3336" y="130"/>
                </a:lnTo>
                <a:lnTo>
                  <a:pt x="3336" y="136"/>
                </a:lnTo>
                <a:lnTo>
                  <a:pt x="3336" y="136"/>
                </a:lnTo>
                <a:lnTo>
                  <a:pt x="3330" y="136"/>
                </a:lnTo>
                <a:lnTo>
                  <a:pt x="3330" y="136"/>
                </a:lnTo>
                <a:lnTo>
                  <a:pt x="3330" y="136"/>
                </a:lnTo>
                <a:lnTo>
                  <a:pt x="3324" y="136"/>
                </a:lnTo>
                <a:lnTo>
                  <a:pt x="3324" y="142"/>
                </a:lnTo>
                <a:lnTo>
                  <a:pt x="3318" y="142"/>
                </a:lnTo>
                <a:lnTo>
                  <a:pt x="3318" y="142"/>
                </a:lnTo>
                <a:lnTo>
                  <a:pt x="3313" y="142"/>
                </a:lnTo>
                <a:lnTo>
                  <a:pt x="3313" y="142"/>
                </a:lnTo>
                <a:lnTo>
                  <a:pt x="3313" y="142"/>
                </a:lnTo>
                <a:lnTo>
                  <a:pt x="3313" y="142"/>
                </a:lnTo>
                <a:lnTo>
                  <a:pt x="3313" y="142"/>
                </a:lnTo>
                <a:lnTo>
                  <a:pt x="3301" y="142"/>
                </a:lnTo>
                <a:lnTo>
                  <a:pt x="3301" y="142"/>
                </a:lnTo>
                <a:lnTo>
                  <a:pt x="3301" y="142"/>
                </a:lnTo>
                <a:lnTo>
                  <a:pt x="3301" y="142"/>
                </a:lnTo>
                <a:lnTo>
                  <a:pt x="3301" y="136"/>
                </a:lnTo>
                <a:lnTo>
                  <a:pt x="3301" y="136"/>
                </a:lnTo>
                <a:lnTo>
                  <a:pt x="3301" y="136"/>
                </a:lnTo>
                <a:lnTo>
                  <a:pt x="3301" y="136"/>
                </a:lnTo>
                <a:lnTo>
                  <a:pt x="3301" y="136"/>
                </a:lnTo>
                <a:lnTo>
                  <a:pt x="3301" y="136"/>
                </a:lnTo>
                <a:lnTo>
                  <a:pt x="3301" y="136"/>
                </a:lnTo>
                <a:lnTo>
                  <a:pt x="3301" y="136"/>
                </a:lnTo>
                <a:lnTo>
                  <a:pt x="3301" y="136"/>
                </a:lnTo>
                <a:lnTo>
                  <a:pt x="3301" y="136"/>
                </a:lnTo>
                <a:lnTo>
                  <a:pt x="3289" y="130"/>
                </a:lnTo>
                <a:lnTo>
                  <a:pt x="3289" y="130"/>
                </a:lnTo>
                <a:lnTo>
                  <a:pt x="3289" y="130"/>
                </a:lnTo>
                <a:lnTo>
                  <a:pt x="3289" y="125"/>
                </a:lnTo>
                <a:lnTo>
                  <a:pt x="3289" y="125"/>
                </a:lnTo>
                <a:lnTo>
                  <a:pt x="3289" y="125"/>
                </a:lnTo>
                <a:lnTo>
                  <a:pt x="3283" y="119"/>
                </a:lnTo>
                <a:lnTo>
                  <a:pt x="3283" y="119"/>
                </a:lnTo>
                <a:lnTo>
                  <a:pt x="3283" y="119"/>
                </a:lnTo>
                <a:lnTo>
                  <a:pt x="3277" y="119"/>
                </a:lnTo>
                <a:lnTo>
                  <a:pt x="3277" y="119"/>
                </a:lnTo>
                <a:lnTo>
                  <a:pt x="3265" y="113"/>
                </a:lnTo>
                <a:lnTo>
                  <a:pt x="3265" y="113"/>
                </a:lnTo>
                <a:lnTo>
                  <a:pt x="3265" y="113"/>
                </a:lnTo>
                <a:lnTo>
                  <a:pt x="3259" y="113"/>
                </a:lnTo>
                <a:lnTo>
                  <a:pt x="3259" y="107"/>
                </a:lnTo>
                <a:lnTo>
                  <a:pt x="3259" y="107"/>
                </a:lnTo>
                <a:lnTo>
                  <a:pt x="3259" y="107"/>
                </a:lnTo>
                <a:lnTo>
                  <a:pt x="3259" y="107"/>
                </a:lnTo>
                <a:lnTo>
                  <a:pt x="3259" y="101"/>
                </a:lnTo>
                <a:lnTo>
                  <a:pt x="3259" y="101"/>
                </a:lnTo>
                <a:lnTo>
                  <a:pt x="3259" y="101"/>
                </a:lnTo>
                <a:lnTo>
                  <a:pt x="3253" y="101"/>
                </a:lnTo>
                <a:lnTo>
                  <a:pt x="3253" y="101"/>
                </a:lnTo>
                <a:lnTo>
                  <a:pt x="3253" y="95"/>
                </a:lnTo>
                <a:lnTo>
                  <a:pt x="3253" y="95"/>
                </a:lnTo>
                <a:lnTo>
                  <a:pt x="3247" y="95"/>
                </a:lnTo>
                <a:lnTo>
                  <a:pt x="3235" y="95"/>
                </a:lnTo>
                <a:lnTo>
                  <a:pt x="3235" y="95"/>
                </a:lnTo>
                <a:lnTo>
                  <a:pt x="3235" y="95"/>
                </a:lnTo>
                <a:lnTo>
                  <a:pt x="3230" y="101"/>
                </a:lnTo>
                <a:lnTo>
                  <a:pt x="3230" y="101"/>
                </a:lnTo>
                <a:lnTo>
                  <a:pt x="3230" y="101"/>
                </a:lnTo>
                <a:lnTo>
                  <a:pt x="3230" y="107"/>
                </a:lnTo>
                <a:lnTo>
                  <a:pt x="3230" y="107"/>
                </a:lnTo>
                <a:lnTo>
                  <a:pt x="3230" y="113"/>
                </a:lnTo>
                <a:lnTo>
                  <a:pt x="3230" y="113"/>
                </a:lnTo>
                <a:lnTo>
                  <a:pt x="3230" y="113"/>
                </a:lnTo>
                <a:lnTo>
                  <a:pt x="3230" y="113"/>
                </a:lnTo>
                <a:lnTo>
                  <a:pt x="3224" y="113"/>
                </a:lnTo>
                <a:lnTo>
                  <a:pt x="3224" y="113"/>
                </a:lnTo>
                <a:lnTo>
                  <a:pt x="3224" y="113"/>
                </a:lnTo>
                <a:lnTo>
                  <a:pt x="3224" y="113"/>
                </a:lnTo>
                <a:lnTo>
                  <a:pt x="3218" y="107"/>
                </a:lnTo>
                <a:lnTo>
                  <a:pt x="3218" y="107"/>
                </a:lnTo>
                <a:lnTo>
                  <a:pt x="3218" y="101"/>
                </a:lnTo>
                <a:lnTo>
                  <a:pt x="3212" y="101"/>
                </a:lnTo>
                <a:lnTo>
                  <a:pt x="3212" y="95"/>
                </a:lnTo>
                <a:lnTo>
                  <a:pt x="3212" y="95"/>
                </a:lnTo>
                <a:lnTo>
                  <a:pt x="3212" y="95"/>
                </a:lnTo>
                <a:lnTo>
                  <a:pt x="3212" y="89"/>
                </a:lnTo>
                <a:lnTo>
                  <a:pt x="3212" y="89"/>
                </a:lnTo>
                <a:lnTo>
                  <a:pt x="3212" y="89"/>
                </a:lnTo>
                <a:lnTo>
                  <a:pt x="3212" y="89"/>
                </a:lnTo>
                <a:lnTo>
                  <a:pt x="3212" y="83"/>
                </a:lnTo>
                <a:lnTo>
                  <a:pt x="3206" y="83"/>
                </a:lnTo>
                <a:lnTo>
                  <a:pt x="3206" y="83"/>
                </a:lnTo>
                <a:lnTo>
                  <a:pt x="3206" y="83"/>
                </a:lnTo>
                <a:lnTo>
                  <a:pt x="3200" y="83"/>
                </a:lnTo>
                <a:lnTo>
                  <a:pt x="3194" y="83"/>
                </a:lnTo>
                <a:lnTo>
                  <a:pt x="3194" y="83"/>
                </a:lnTo>
                <a:lnTo>
                  <a:pt x="3194" y="83"/>
                </a:lnTo>
                <a:lnTo>
                  <a:pt x="3188" y="83"/>
                </a:lnTo>
                <a:lnTo>
                  <a:pt x="3188" y="83"/>
                </a:lnTo>
                <a:lnTo>
                  <a:pt x="3188" y="77"/>
                </a:lnTo>
                <a:lnTo>
                  <a:pt x="3188" y="77"/>
                </a:lnTo>
                <a:lnTo>
                  <a:pt x="3188" y="77"/>
                </a:lnTo>
                <a:lnTo>
                  <a:pt x="3194" y="77"/>
                </a:lnTo>
                <a:lnTo>
                  <a:pt x="3194" y="71"/>
                </a:lnTo>
                <a:lnTo>
                  <a:pt x="3194" y="71"/>
                </a:lnTo>
                <a:lnTo>
                  <a:pt x="3194" y="71"/>
                </a:lnTo>
                <a:lnTo>
                  <a:pt x="3194" y="71"/>
                </a:lnTo>
                <a:lnTo>
                  <a:pt x="3200" y="71"/>
                </a:lnTo>
                <a:lnTo>
                  <a:pt x="3200" y="71"/>
                </a:lnTo>
                <a:lnTo>
                  <a:pt x="3200" y="71"/>
                </a:lnTo>
                <a:lnTo>
                  <a:pt x="3200" y="71"/>
                </a:lnTo>
                <a:lnTo>
                  <a:pt x="3194" y="65"/>
                </a:lnTo>
                <a:lnTo>
                  <a:pt x="3194" y="65"/>
                </a:lnTo>
                <a:lnTo>
                  <a:pt x="3188" y="65"/>
                </a:lnTo>
                <a:lnTo>
                  <a:pt x="3176" y="59"/>
                </a:lnTo>
                <a:lnTo>
                  <a:pt x="3170" y="59"/>
                </a:lnTo>
                <a:lnTo>
                  <a:pt x="3170" y="59"/>
                </a:lnTo>
                <a:lnTo>
                  <a:pt x="3170" y="59"/>
                </a:lnTo>
                <a:lnTo>
                  <a:pt x="3164" y="53"/>
                </a:lnTo>
                <a:lnTo>
                  <a:pt x="3164" y="53"/>
                </a:lnTo>
                <a:lnTo>
                  <a:pt x="3164" y="53"/>
                </a:lnTo>
                <a:lnTo>
                  <a:pt x="3147" y="53"/>
                </a:lnTo>
                <a:lnTo>
                  <a:pt x="3135" y="53"/>
                </a:lnTo>
                <a:lnTo>
                  <a:pt x="3135" y="53"/>
                </a:lnTo>
                <a:lnTo>
                  <a:pt x="3123" y="53"/>
                </a:lnTo>
                <a:lnTo>
                  <a:pt x="3123" y="59"/>
                </a:lnTo>
                <a:lnTo>
                  <a:pt x="3117" y="59"/>
                </a:lnTo>
                <a:lnTo>
                  <a:pt x="3117" y="59"/>
                </a:lnTo>
                <a:lnTo>
                  <a:pt x="3117" y="59"/>
                </a:lnTo>
                <a:lnTo>
                  <a:pt x="3117" y="59"/>
                </a:lnTo>
                <a:lnTo>
                  <a:pt x="3117" y="59"/>
                </a:lnTo>
                <a:lnTo>
                  <a:pt x="3117" y="59"/>
                </a:lnTo>
                <a:lnTo>
                  <a:pt x="3117" y="59"/>
                </a:lnTo>
                <a:lnTo>
                  <a:pt x="3117" y="65"/>
                </a:lnTo>
                <a:lnTo>
                  <a:pt x="3111" y="65"/>
                </a:lnTo>
                <a:lnTo>
                  <a:pt x="3111" y="65"/>
                </a:lnTo>
                <a:lnTo>
                  <a:pt x="3105" y="65"/>
                </a:lnTo>
                <a:lnTo>
                  <a:pt x="3105" y="65"/>
                </a:lnTo>
                <a:lnTo>
                  <a:pt x="3099" y="71"/>
                </a:lnTo>
                <a:lnTo>
                  <a:pt x="3099" y="71"/>
                </a:lnTo>
                <a:lnTo>
                  <a:pt x="3099" y="71"/>
                </a:lnTo>
                <a:lnTo>
                  <a:pt x="3087" y="71"/>
                </a:lnTo>
                <a:lnTo>
                  <a:pt x="3087" y="71"/>
                </a:lnTo>
                <a:lnTo>
                  <a:pt x="3081" y="71"/>
                </a:lnTo>
                <a:lnTo>
                  <a:pt x="3081" y="65"/>
                </a:lnTo>
                <a:lnTo>
                  <a:pt x="3081" y="65"/>
                </a:lnTo>
                <a:lnTo>
                  <a:pt x="3081" y="59"/>
                </a:lnTo>
                <a:lnTo>
                  <a:pt x="3075" y="53"/>
                </a:lnTo>
                <a:lnTo>
                  <a:pt x="3075" y="53"/>
                </a:lnTo>
                <a:lnTo>
                  <a:pt x="3075" y="53"/>
                </a:lnTo>
                <a:lnTo>
                  <a:pt x="3058" y="53"/>
                </a:lnTo>
                <a:lnTo>
                  <a:pt x="3040" y="47"/>
                </a:lnTo>
                <a:lnTo>
                  <a:pt x="3040" y="47"/>
                </a:lnTo>
                <a:lnTo>
                  <a:pt x="3040" y="47"/>
                </a:lnTo>
                <a:lnTo>
                  <a:pt x="3034" y="47"/>
                </a:lnTo>
                <a:lnTo>
                  <a:pt x="3034" y="47"/>
                </a:lnTo>
                <a:lnTo>
                  <a:pt x="3034" y="47"/>
                </a:lnTo>
                <a:lnTo>
                  <a:pt x="3034" y="47"/>
                </a:lnTo>
                <a:lnTo>
                  <a:pt x="3034" y="47"/>
                </a:lnTo>
                <a:lnTo>
                  <a:pt x="3034" y="47"/>
                </a:lnTo>
                <a:lnTo>
                  <a:pt x="3034" y="47"/>
                </a:lnTo>
                <a:lnTo>
                  <a:pt x="3034" y="42"/>
                </a:lnTo>
                <a:lnTo>
                  <a:pt x="3034" y="42"/>
                </a:lnTo>
                <a:lnTo>
                  <a:pt x="3034" y="42"/>
                </a:lnTo>
                <a:lnTo>
                  <a:pt x="3034" y="42"/>
                </a:lnTo>
                <a:lnTo>
                  <a:pt x="3034" y="42"/>
                </a:lnTo>
                <a:lnTo>
                  <a:pt x="3034" y="42"/>
                </a:lnTo>
                <a:lnTo>
                  <a:pt x="3034" y="42"/>
                </a:lnTo>
                <a:lnTo>
                  <a:pt x="3034" y="42"/>
                </a:lnTo>
                <a:lnTo>
                  <a:pt x="3028" y="42"/>
                </a:lnTo>
                <a:lnTo>
                  <a:pt x="3016" y="42"/>
                </a:lnTo>
                <a:lnTo>
                  <a:pt x="3010" y="42"/>
                </a:lnTo>
                <a:lnTo>
                  <a:pt x="3004" y="42"/>
                </a:lnTo>
                <a:lnTo>
                  <a:pt x="2993" y="30"/>
                </a:lnTo>
                <a:lnTo>
                  <a:pt x="2993" y="30"/>
                </a:lnTo>
                <a:lnTo>
                  <a:pt x="2993" y="30"/>
                </a:lnTo>
                <a:lnTo>
                  <a:pt x="2993" y="30"/>
                </a:lnTo>
                <a:lnTo>
                  <a:pt x="2993" y="24"/>
                </a:lnTo>
                <a:lnTo>
                  <a:pt x="2993" y="24"/>
                </a:lnTo>
                <a:lnTo>
                  <a:pt x="2993" y="24"/>
                </a:lnTo>
                <a:lnTo>
                  <a:pt x="2993" y="24"/>
                </a:lnTo>
                <a:lnTo>
                  <a:pt x="2993" y="24"/>
                </a:lnTo>
                <a:lnTo>
                  <a:pt x="2993" y="24"/>
                </a:lnTo>
                <a:lnTo>
                  <a:pt x="2993" y="18"/>
                </a:lnTo>
                <a:lnTo>
                  <a:pt x="2993" y="12"/>
                </a:lnTo>
                <a:lnTo>
                  <a:pt x="2987" y="0"/>
                </a:lnTo>
                <a:lnTo>
                  <a:pt x="2987" y="0"/>
                </a:lnTo>
                <a:lnTo>
                  <a:pt x="201" y="0"/>
                </a:lnTo>
                <a:lnTo>
                  <a:pt x="201" y="6"/>
                </a:lnTo>
                <a:lnTo>
                  <a:pt x="195" y="0"/>
                </a:lnTo>
                <a:lnTo>
                  <a:pt x="195" y="6"/>
                </a:lnTo>
                <a:lnTo>
                  <a:pt x="190" y="6"/>
                </a:lnTo>
                <a:lnTo>
                  <a:pt x="195" y="6"/>
                </a:lnTo>
                <a:lnTo>
                  <a:pt x="195" y="6"/>
                </a:lnTo>
                <a:lnTo>
                  <a:pt x="195" y="6"/>
                </a:lnTo>
                <a:lnTo>
                  <a:pt x="195" y="6"/>
                </a:lnTo>
                <a:lnTo>
                  <a:pt x="201" y="12"/>
                </a:lnTo>
                <a:lnTo>
                  <a:pt x="201" y="12"/>
                </a:lnTo>
                <a:lnTo>
                  <a:pt x="195" y="12"/>
                </a:lnTo>
                <a:lnTo>
                  <a:pt x="195" y="12"/>
                </a:lnTo>
                <a:lnTo>
                  <a:pt x="195" y="12"/>
                </a:lnTo>
                <a:lnTo>
                  <a:pt x="195" y="12"/>
                </a:lnTo>
                <a:lnTo>
                  <a:pt x="195" y="18"/>
                </a:lnTo>
                <a:lnTo>
                  <a:pt x="195" y="18"/>
                </a:lnTo>
                <a:lnTo>
                  <a:pt x="195" y="18"/>
                </a:lnTo>
                <a:lnTo>
                  <a:pt x="195" y="18"/>
                </a:lnTo>
                <a:lnTo>
                  <a:pt x="201" y="24"/>
                </a:lnTo>
                <a:lnTo>
                  <a:pt x="201" y="24"/>
                </a:lnTo>
                <a:lnTo>
                  <a:pt x="201" y="24"/>
                </a:lnTo>
                <a:lnTo>
                  <a:pt x="201" y="24"/>
                </a:lnTo>
                <a:lnTo>
                  <a:pt x="201" y="30"/>
                </a:lnTo>
                <a:lnTo>
                  <a:pt x="201" y="30"/>
                </a:lnTo>
                <a:lnTo>
                  <a:pt x="201" y="30"/>
                </a:lnTo>
                <a:lnTo>
                  <a:pt x="207" y="30"/>
                </a:lnTo>
                <a:lnTo>
                  <a:pt x="207" y="30"/>
                </a:lnTo>
                <a:lnTo>
                  <a:pt x="207" y="30"/>
                </a:lnTo>
                <a:lnTo>
                  <a:pt x="207" y="36"/>
                </a:lnTo>
                <a:lnTo>
                  <a:pt x="207" y="36"/>
                </a:lnTo>
                <a:lnTo>
                  <a:pt x="207" y="36"/>
                </a:lnTo>
                <a:lnTo>
                  <a:pt x="207" y="36"/>
                </a:lnTo>
                <a:lnTo>
                  <a:pt x="207" y="36"/>
                </a:lnTo>
                <a:lnTo>
                  <a:pt x="207" y="36"/>
                </a:lnTo>
                <a:lnTo>
                  <a:pt x="207" y="36"/>
                </a:lnTo>
                <a:lnTo>
                  <a:pt x="207" y="36"/>
                </a:lnTo>
                <a:lnTo>
                  <a:pt x="207" y="42"/>
                </a:lnTo>
                <a:lnTo>
                  <a:pt x="207" y="42"/>
                </a:lnTo>
                <a:lnTo>
                  <a:pt x="207" y="42"/>
                </a:lnTo>
                <a:lnTo>
                  <a:pt x="213" y="36"/>
                </a:lnTo>
                <a:lnTo>
                  <a:pt x="213" y="30"/>
                </a:lnTo>
                <a:lnTo>
                  <a:pt x="213" y="30"/>
                </a:lnTo>
                <a:lnTo>
                  <a:pt x="219" y="30"/>
                </a:lnTo>
                <a:lnTo>
                  <a:pt x="219" y="30"/>
                </a:lnTo>
                <a:lnTo>
                  <a:pt x="225" y="36"/>
                </a:lnTo>
                <a:lnTo>
                  <a:pt x="225" y="36"/>
                </a:lnTo>
                <a:lnTo>
                  <a:pt x="225" y="36"/>
                </a:lnTo>
                <a:lnTo>
                  <a:pt x="219" y="42"/>
                </a:lnTo>
                <a:lnTo>
                  <a:pt x="219" y="42"/>
                </a:lnTo>
                <a:lnTo>
                  <a:pt x="225" y="47"/>
                </a:lnTo>
                <a:lnTo>
                  <a:pt x="225" y="47"/>
                </a:lnTo>
                <a:lnTo>
                  <a:pt x="225" y="47"/>
                </a:lnTo>
                <a:lnTo>
                  <a:pt x="225" y="47"/>
                </a:lnTo>
                <a:lnTo>
                  <a:pt x="225" y="47"/>
                </a:lnTo>
                <a:lnTo>
                  <a:pt x="225" y="53"/>
                </a:lnTo>
                <a:lnTo>
                  <a:pt x="225" y="53"/>
                </a:lnTo>
                <a:lnTo>
                  <a:pt x="225" y="53"/>
                </a:lnTo>
                <a:lnTo>
                  <a:pt x="225" y="53"/>
                </a:lnTo>
                <a:lnTo>
                  <a:pt x="225" y="53"/>
                </a:lnTo>
                <a:lnTo>
                  <a:pt x="225" y="53"/>
                </a:lnTo>
                <a:lnTo>
                  <a:pt x="225" y="53"/>
                </a:lnTo>
                <a:lnTo>
                  <a:pt x="231" y="59"/>
                </a:lnTo>
                <a:lnTo>
                  <a:pt x="231" y="59"/>
                </a:lnTo>
                <a:lnTo>
                  <a:pt x="231" y="65"/>
                </a:lnTo>
                <a:lnTo>
                  <a:pt x="231" y="65"/>
                </a:lnTo>
                <a:lnTo>
                  <a:pt x="225" y="65"/>
                </a:lnTo>
                <a:lnTo>
                  <a:pt x="225" y="65"/>
                </a:lnTo>
                <a:lnTo>
                  <a:pt x="225" y="65"/>
                </a:lnTo>
                <a:lnTo>
                  <a:pt x="219" y="59"/>
                </a:lnTo>
                <a:lnTo>
                  <a:pt x="219" y="59"/>
                </a:lnTo>
                <a:lnTo>
                  <a:pt x="219" y="59"/>
                </a:lnTo>
                <a:lnTo>
                  <a:pt x="219" y="59"/>
                </a:lnTo>
                <a:lnTo>
                  <a:pt x="219" y="65"/>
                </a:lnTo>
                <a:lnTo>
                  <a:pt x="225" y="65"/>
                </a:lnTo>
                <a:lnTo>
                  <a:pt x="225" y="71"/>
                </a:lnTo>
                <a:lnTo>
                  <a:pt x="225" y="71"/>
                </a:lnTo>
                <a:lnTo>
                  <a:pt x="225" y="71"/>
                </a:lnTo>
                <a:lnTo>
                  <a:pt x="225" y="71"/>
                </a:lnTo>
                <a:lnTo>
                  <a:pt x="225" y="77"/>
                </a:lnTo>
                <a:lnTo>
                  <a:pt x="225" y="77"/>
                </a:lnTo>
                <a:lnTo>
                  <a:pt x="225" y="77"/>
                </a:lnTo>
                <a:lnTo>
                  <a:pt x="225" y="77"/>
                </a:lnTo>
                <a:lnTo>
                  <a:pt x="225" y="77"/>
                </a:lnTo>
                <a:lnTo>
                  <a:pt x="225" y="77"/>
                </a:lnTo>
                <a:lnTo>
                  <a:pt x="225" y="77"/>
                </a:lnTo>
                <a:lnTo>
                  <a:pt x="225" y="77"/>
                </a:lnTo>
                <a:lnTo>
                  <a:pt x="225" y="83"/>
                </a:lnTo>
                <a:lnTo>
                  <a:pt x="219" y="83"/>
                </a:lnTo>
                <a:lnTo>
                  <a:pt x="219" y="77"/>
                </a:lnTo>
                <a:lnTo>
                  <a:pt x="219" y="77"/>
                </a:lnTo>
                <a:lnTo>
                  <a:pt x="219" y="77"/>
                </a:lnTo>
                <a:lnTo>
                  <a:pt x="213" y="77"/>
                </a:lnTo>
                <a:lnTo>
                  <a:pt x="213" y="77"/>
                </a:lnTo>
                <a:lnTo>
                  <a:pt x="213" y="77"/>
                </a:lnTo>
                <a:lnTo>
                  <a:pt x="213" y="77"/>
                </a:lnTo>
                <a:lnTo>
                  <a:pt x="213" y="77"/>
                </a:lnTo>
                <a:lnTo>
                  <a:pt x="213" y="71"/>
                </a:lnTo>
                <a:lnTo>
                  <a:pt x="207" y="71"/>
                </a:lnTo>
                <a:lnTo>
                  <a:pt x="207" y="71"/>
                </a:lnTo>
                <a:lnTo>
                  <a:pt x="207" y="71"/>
                </a:lnTo>
                <a:lnTo>
                  <a:pt x="207" y="71"/>
                </a:lnTo>
                <a:lnTo>
                  <a:pt x="207" y="71"/>
                </a:lnTo>
                <a:lnTo>
                  <a:pt x="207" y="71"/>
                </a:lnTo>
                <a:lnTo>
                  <a:pt x="201" y="71"/>
                </a:lnTo>
                <a:lnTo>
                  <a:pt x="201" y="71"/>
                </a:lnTo>
                <a:lnTo>
                  <a:pt x="201" y="71"/>
                </a:lnTo>
                <a:lnTo>
                  <a:pt x="201" y="77"/>
                </a:lnTo>
                <a:lnTo>
                  <a:pt x="201" y="77"/>
                </a:lnTo>
                <a:lnTo>
                  <a:pt x="207" y="77"/>
                </a:lnTo>
                <a:lnTo>
                  <a:pt x="207" y="77"/>
                </a:lnTo>
                <a:lnTo>
                  <a:pt x="207" y="77"/>
                </a:lnTo>
                <a:lnTo>
                  <a:pt x="207" y="77"/>
                </a:lnTo>
                <a:lnTo>
                  <a:pt x="207" y="77"/>
                </a:lnTo>
                <a:lnTo>
                  <a:pt x="207" y="83"/>
                </a:lnTo>
                <a:lnTo>
                  <a:pt x="207" y="83"/>
                </a:lnTo>
                <a:lnTo>
                  <a:pt x="207" y="83"/>
                </a:lnTo>
                <a:lnTo>
                  <a:pt x="207" y="83"/>
                </a:lnTo>
                <a:lnTo>
                  <a:pt x="207" y="89"/>
                </a:lnTo>
                <a:lnTo>
                  <a:pt x="207" y="89"/>
                </a:lnTo>
                <a:lnTo>
                  <a:pt x="207" y="89"/>
                </a:lnTo>
                <a:lnTo>
                  <a:pt x="213" y="89"/>
                </a:lnTo>
                <a:lnTo>
                  <a:pt x="213" y="89"/>
                </a:lnTo>
                <a:lnTo>
                  <a:pt x="213" y="89"/>
                </a:lnTo>
                <a:lnTo>
                  <a:pt x="213" y="83"/>
                </a:lnTo>
                <a:lnTo>
                  <a:pt x="213" y="83"/>
                </a:lnTo>
                <a:lnTo>
                  <a:pt x="213" y="83"/>
                </a:lnTo>
                <a:lnTo>
                  <a:pt x="213" y="83"/>
                </a:lnTo>
                <a:lnTo>
                  <a:pt x="213" y="83"/>
                </a:lnTo>
                <a:lnTo>
                  <a:pt x="219" y="83"/>
                </a:lnTo>
                <a:lnTo>
                  <a:pt x="219" y="83"/>
                </a:lnTo>
                <a:lnTo>
                  <a:pt x="219" y="83"/>
                </a:lnTo>
                <a:lnTo>
                  <a:pt x="219" y="89"/>
                </a:lnTo>
                <a:lnTo>
                  <a:pt x="219" y="89"/>
                </a:lnTo>
                <a:lnTo>
                  <a:pt x="219" y="89"/>
                </a:lnTo>
                <a:lnTo>
                  <a:pt x="219" y="95"/>
                </a:lnTo>
                <a:lnTo>
                  <a:pt x="225" y="95"/>
                </a:lnTo>
                <a:lnTo>
                  <a:pt x="225" y="95"/>
                </a:lnTo>
                <a:lnTo>
                  <a:pt x="225" y="95"/>
                </a:lnTo>
                <a:lnTo>
                  <a:pt x="225" y="95"/>
                </a:lnTo>
                <a:lnTo>
                  <a:pt x="231" y="101"/>
                </a:lnTo>
                <a:lnTo>
                  <a:pt x="237" y="101"/>
                </a:lnTo>
                <a:lnTo>
                  <a:pt x="237" y="101"/>
                </a:lnTo>
                <a:lnTo>
                  <a:pt x="237" y="101"/>
                </a:lnTo>
                <a:lnTo>
                  <a:pt x="237" y="101"/>
                </a:lnTo>
                <a:lnTo>
                  <a:pt x="237" y="101"/>
                </a:lnTo>
                <a:lnTo>
                  <a:pt x="237" y="107"/>
                </a:lnTo>
                <a:lnTo>
                  <a:pt x="237" y="107"/>
                </a:lnTo>
                <a:lnTo>
                  <a:pt x="237" y="107"/>
                </a:lnTo>
                <a:lnTo>
                  <a:pt x="237" y="107"/>
                </a:lnTo>
                <a:lnTo>
                  <a:pt x="237" y="113"/>
                </a:lnTo>
                <a:lnTo>
                  <a:pt x="237" y="113"/>
                </a:lnTo>
                <a:lnTo>
                  <a:pt x="237" y="113"/>
                </a:lnTo>
                <a:lnTo>
                  <a:pt x="231" y="113"/>
                </a:lnTo>
                <a:lnTo>
                  <a:pt x="231" y="113"/>
                </a:lnTo>
                <a:lnTo>
                  <a:pt x="231" y="113"/>
                </a:lnTo>
                <a:lnTo>
                  <a:pt x="231" y="107"/>
                </a:lnTo>
                <a:lnTo>
                  <a:pt x="231" y="107"/>
                </a:lnTo>
                <a:lnTo>
                  <a:pt x="225" y="107"/>
                </a:lnTo>
                <a:lnTo>
                  <a:pt x="225" y="107"/>
                </a:lnTo>
                <a:lnTo>
                  <a:pt x="225" y="113"/>
                </a:lnTo>
                <a:lnTo>
                  <a:pt x="225" y="113"/>
                </a:lnTo>
                <a:lnTo>
                  <a:pt x="219" y="113"/>
                </a:lnTo>
                <a:lnTo>
                  <a:pt x="219" y="113"/>
                </a:lnTo>
                <a:lnTo>
                  <a:pt x="219" y="113"/>
                </a:lnTo>
                <a:lnTo>
                  <a:pt x="219" y="119"/>
                </a:lnTo>
                <a:lnTo>
                  <a:pt x="219" y="119"/>
                </a:lnTo>
                <a:lnTo>
                  <a:pt x="219" y="119"/>
                </a:lnTo>
                <a:lnTo>
                  <a:pt x="219" y="125"/>
                </a:lnTo>
                <a:lnTo>
                  <a:pt x="219" y="125"/>
                </a:lnTo>
                <a:lnTo>
                  <a:pt x="225" y="125"/>
                </a:lnTo>
                <a:lnTo>
                  <a:pt x="225" y="130"/>
                </a:lnTo>
                <a:lnTo>
                  <a:pt x="231" y="136"/>
                </a:lnTo>
                <a:lnTo>
                  <a:pt x="231" y="136"/>
                </a:lnTo>
                <a:lnTo>
                  <a:pt x="237" y="136"/>
                </a:lnTo>
                <a:lnTo>
                  <a:pt x="237" y="142"/>
                </a:lnTo>
                <a:lnTo>
                  <a:pt x="237" y="142"/>
                </a:lnTo>
                <a:lnTo>
                  <a:pt x="237" y="142"/>
                </a:lnTo>
                <a:lnTo>
                  <a:pt x="237" y="136"/>
                </a:lnTo>
                <a:lnTo>
                  <a:pt x="237" y="130"/>
                </a:lnTo>
                <a:lnTo>
                  <a:pt x="231" y="130"/>
                </a:lnTo>
                <a:lnTo>
                  <a:pt x="231" y="130"/>
                </a:lnTo>
                <a:lnTo>
                  <a:pt x="231" y="130"/>
                </a:lnTo>
                <a:lnTo>
                  <a:pt x="231" y="130"/>
                </a:lnTo>
                <a:lnTo>
                  <a:pt x="225" y="125"/>
                </a:lnTo>
                <a:lnTo>
                  <a:pt x="225" y="125"/>
                </a:lnTo>
                <a:lnTo>
                  <a:pt x="225" y="119"/>
                </a:lnTo>
                <a:lnTo>
                  <a:pt x="225" y="119"/>
                </a:lnTo>
                <a:lnTo>
                  <a:pt x="225" y="119"/>
                </a:lnTo>
                <a:lnTo>
                  <a:pt x="231" y="119"/>
                </a:lnTo>
                <a:lnTo>
                  <a:pt x="231" y="119"/>
                </a:lnTo>
                <a:lnTo>
                  <a:pt x="231" y="113"/>
                </a:lnTo>
                <a:lnTo>
                  <a:pt x="231" y="113"/>
                </a:lnTo>
                <a:lnTo>
                  <a:pt x="231" y="113"/>
                </a:lnTo>
                <a:lnTo>
                  <a:pt x="231" y="113"/>
                </a:lnTo>
                <a:lnTo>
                  <a:pt x="231" y="113"/>
                </a:lnTo>
                <a:lnTo>
                  <a:pt x="231" y="113"/>
                </a:lnTo>
                <a:lnTo>
                  <a:pt x="231" y="113"/>
                </a:lnTo>
                <a:lnTo>
                  <a:pt x="231" y="113"/>
                </a:lnTo>
                <a:lnTo>
                  <a:pt x="237" y="119"/>
                </a:lnTo>
                <a:lnTo>
                  <a:pt x="237" y="119"/>
                </a:lnTo>
                <a:lnTo>
                  <a:pt x="237" y="125"/>
                </a:lnTo>
                <a:lnTo>
                  <a:pt x="237" y="130"/>
                </a:lnTo>
                <a:lnTo>
                  <a:pt x="237" y="136"/>
                </a:lnTo>
                <a:lnTo>
                  <a:pt x="243" y="136"/>
                </a:lnTo>
                <a:lnTo>
                  <a:pt x="249" y="142"/>
                </a:lnTo>
                <a:lnTo>
                  <a:pt x="249" y="142"/>
                </a:lnTo>
                <a:lnTo>
                  <a:pt x="255" y="142"/>
                </a:lnTo>
                <a:lnTo>
                  <a:pt x="255" y="142"/>
                </a:lnTo>
                <a:lnTo>
                  <a:pt x="255" y="142"/>
                </a:lnTo>
                <a:lnTo>
                  <a:pt x="255" y="142"/>
                </a:lnTo>
                <a:lnTo>
                  <a:pt x="255" y="142"/>
                </a:lnTo>
                <a:lnTo>
                  <a:pt x="255" y="142"/>
                </a:lnTo>
                <a:lnTo>
                  <a:pt x="255" y="142"/>
                </a:lnTo>
                <a:lnTo>
                  <a:pt x="255" y="148"/>
                </a:lnTo>
                <a:lnTo>
                  <a:pt x="255" y="148"/>
                </a:lnTo>
                <a:lnTo>
                  <a:pt x="255" y="148"/>
                </a:lnTo>
                <a:lnTo>
                  <a:pt x="255" y="148"/>
                </a:lnTo>
                <a:lnTo>
                  <a:pt x="249" y="148"/>
                </a:lnTo>
                <a:lnTo>
                  <a:pt x="249" y="154"/>
                </a:lnTo>
                <a:lnTo>
                  <a:pt x="249" y="154"/>
                </a:lnTo>
                <a:lnTo>
                  <a:pt x="249" y="154"/>
                </a:lnTo>
                <a:lnTo>
                  <a:pt x="243" y="154"/>
                </a:lnTo>
                <a:lnTo>
                  <a:pt x="243" y="154"/>
                </a:lnTo>
                <a:lnTo>
                  <a:pt x="243" y="154"/>
                </a:lnTo>
                <a:lnTo>
                  <a:pt x="243" y="154"/>
                </a:lnTo>
                <a:lnTo>
                  <a:pt x="243" y="154"/>
                </a:lnTo>
                <a:lnTo>
                  <a:pt x="243" y="154"/>
                </a:lnTo>
                <a:lnTo>
                  <a:pt x="243" y="154"/>
                </a:lnTo>
                <a:lnTo>
                  <a:pt x="243" y="154"/>
                </a:lnTo>
                <a:lnTo>
                  <a:pt x="243" y="154"/>
                </a:lnTo>
                <a:lnTo>
                  <a:pt x="243" y="160"/>
                </a:lnTo>
                <a:lnTo>
                  <a:pt x="243" y="160"/>
                </a:lnTo>
                <a:lnTo>
                  <a:pt x="243" y="160"/>
                </a:lnTo>
                <a:lnTo>
                  <a:pt x="243" y="160"/>
                </a:lnTo>
                <a:lnTo>
                  <a:pt x="243" y="160"/>
                </a:lnTo>
                <a:lnTo>
                  <a:pt x="237" y="166"/>
                </a:lnTo>
                <a:lnTo>
                  <a:pt x="237" y="166"/>
                </a:lnTo>
                <a:lnTo>
                  <a:pt x="237" y="172"/>
                </a:lnTo>
                <a:lnTo>
                  <a:pt x="237" y="172"/>
                </a:lnTo>
                <a:lnTo>
                  <a:pt x="237" y="172"/>
                </a:lnTo>
                <a:lnTo>
                  <a:pt x="231" y="178"/>
                </a:lnTo>
                <a:lnTo>
                  <a:pt x="231" y="178"/>
                </a:lnTo>
                <a:lnTo>
                  <a:pt x="231" y="178"/>
                </a:lnTo>
                <a:lnTo>
                  <a:pt x="231" y="178"/>
                </a:lnTo>
                <a:lnTo>
                  <a:pt x="231" y="178"/>
                </a:lnTo>
                <a:lnTo>
                  <a:pt x="231" y="184"/>
                </a:lnTo>
                <a:lnTo>
                  <a:pt x="231" y="184"/>
                </a:lnTo>
                <a:lnTo>
                  <a:pt x="231" y="184"/>
                </a:lnTo>
                <a:lnTo>
                  <a:pt x="237" y="184"/>
                </a:lnTo>
                <a:lnTo>
                  <a:pt x="237" y="190"/>
                </a:lnTo>
                <a:lnTo>
                  <a:pt x="237" y="190"/>
                </a:lnTo>
                <a:lnTo>
                  <a:pt x="237" y="190"/>
                </a:lnTo>
                <a:lnTo>
                  <a:pt x="237" y="190"/>
                </a:lnTo>
                <a:lnTo>
                  <a:pt x="231" y="196"/>
                </a:lnTo>
                <a:lnTo>
                  <a:pt x="231" y="196"/>
                </a:lnTo>
                <a:lnTo>
                  <a:pt x="231" y="196"/>
                </a:lnTo>
                <a:lnTo>
                  <a:pt x="231" y="196"/>
                </a:lnTo>
                <a:lnTo>
                  <a:pt x="231" y="196"/>
                </a:lnTo>
                <a:lnTo>
                  <a:pt x="231" y="196"/>
                </a:lnTo>
                <a:lnTo>
                  <a:pt x="231" y="196"/>
                </a:lnTo>
                <a:lnTo>
                  <a:pt x="231" y="202"/>
                </a:lnTo>
                <a:lnTo>
                  <a:pt x="231" y="202"/>
                </a:lnTo>
                <a:lnTo>
                  <a:pt x="231" y="202"/>
                </a:lnTo>
                <a:lnTo>
                  <a:pt x="231" y="202"/>
                </a:lnTo>
                <a:lnTo>
                  <a:pt x="231" y="202"/>
                </a:lnTo>
                <a:lnTo>
                  <a:pt x="237" y="202"/>
                </a:lnTo>
                <a:lnTo>
                  <a:pt x="237" y="208"/>
                </a:lnTo>
                <a:lnTo>
                  <a:pt x="237" y="208"/>
                </a:lnTo>
                <a:lnTo>
                  <a:pt x="237" y="208"/>
                </a:lnTo>
                <a:lnTo>
                  <a:pt x="237" y="208"/>
                </a:lnTo>
                <a:lnTo>
                  <a:pt x="237" y="208"/>
                </a:lnTo>
                <a:lnTo>
                  <a:pt x="237" y="214"/>
                </a:lnTo>
                <a:lnTo>
                  <a:pt x="237" y="214"/>
                </a:lnTo>
                <a:lnTo>
                  <a:pt x="237" y="214"/>
                </a:lnTo>
                <a:lnTo>
                  <a:pt x="237" y="208"/>
                </a:lnTo>
                <a:lnTo>
                  <a:pt x="237" y="208"/>
                </a:lnTo>
                <a:lnTo>
                  <a:pt x="237" y="208"/>
                </a:lnTo>
                <a:lnTo>
                  <a:pt x="237" y="208"/>
                </a:lnTo>
                <a:lnTo>
                  <a:pt x="231" y="208"/>
                </a:lnTo>
                <a:lnTo>
                  <a:pt x="231" y="214"/>
                </a:lnTo>
                <a:lnTo>
                  <a:pt x="231" y="214"/>
                </a:lnTo>
                <a:lnTo>
                  <a:pt x="231" y="214"/>
                </a:lnTo>
                <a:lnTo>
                  <a:pt x="231" y="214"/>
                </a:lnTo>
                <a:lnTo>
                  <a:pt x="237" y="219"/>
                </a:lnTo>
                <a:lnTo>
                  <a:pt x="237" y="219"/>
                </a:lnTo>
                <a:lnTo>
                  <a:pt x="237" y="219"/>
                </a:lnTo>
                <a:lnTo>
                  <a:pt x="237" y="225"/>
                </a:lnTo>
                <a:lnTo>
                  <a:pt x="237" y="225"/>
                </a:lnTo>
                <a:lnTo>
                  <a:pt x="237" y="231"/>
                </a:lnTo>
                <a:lnTo>
                  <a:pt x="237" y="231"/>
                </a:lnTo>
                <a:lnTo>
                  <a:pt x="237" y="231"/>
                </a:lnTo>
                <a:lnTo>
                  <a:pt x="243" y="237"/>
                </a:lnTo>
                <a:lnTo>
                  <a:pt x="243" y="237"/>
                </a:lnTo>
                <a:lnTo>
                  <a:pt x="243" y="243"/>
                </a:lnTo>
                <a:lnTo>
                  <a:pt x="243" y="243"/>
                </a:lnTo>
                <a:lnTo>
                  <a:pt x="243" y="243"/>
                </a:lnTo>
                <a:lnTo>
                  <a:pt x="243" y="243"/>
                </a:lnTo>
                <a:lnTo>
                  <a:pt x="243" y="243"/>
                </a:lnTo>
                <a:lnTo>
                  <a:pt x="237" y="243"/>
                </a:lnTo>
                <a:lnTo>
                  <a:pt x="237" y="243"/>
                </a:lnTo>
                <a:lnTo>
                  <a:pt x="237" y="249"/>
                </a:lnTo>
                <a:lnTo>
                  <a:pt x="231" y="249"/>
                </a:lnTo>
                <a:lnTo>
                  <a:pt x="231" y="249"/>
                </a:lnTo>
                <a:lnTo>
                  <a:pt x="231" y="249"/>
                </a:lnTo>
                <a:lnTo>
                  <a:pt x="231" y="249"/>
                </a:lnTo>
                <a:lnTo>
                  <a:pt x="231" y="249"/>
                </a:lnTo>
                <a:lnTo>
                  <a:pt x="231" y="249"/>
                </a:lnTo>
                <a:lnTo>
                  <a:pt x="231" y="249"/>
                </a:lnTo>
                <a:lnTo>
                  <a:pt x="231" y="255"/>
                </a:lnTo>
                <a:lnTo>
                  <a:pt x="231" y="255"/>
                </a:lnTo>
                <a:lnTo>
                  <a:pt x="231" y="255"/>
                </a:lnTo>
                <a:lnTo>
                  <a:pt x="231" y="255"/>
                </a:lnTo>
                <a:lnTo>
                  <a:pt x="231" y="255"/>
                </a:lnTo>
                <a:lnTo>
                  <a:pt x="231" y="255"/>
                </a:lnTo>
                <a:lnTo>
                  <a:pt x="231" y="255"/>
                </a:lnTo>
                <a:lnTo>
                  <a:pt x="225" y="255"/>
                </a:lnTo>
                <a:lnTo>
                  <a:pt x="219" y="249"/>
                </a:lnTo>
                <a:lnTo>
                  <a:pt x="219" y="249"/>
                </a:lnTo>
                <a:lnTo>
                  <a:pt x="219" y="255"/>
                </a:lnTo>
                <a:lnTo>
                  <a:pt x="219" y="261"/>
                </a:lnTo>
                <a:lnTo>
                  <a:pt x="219" y="261"/>
                </a:lnTo>
                <a:lnTo>
                  <a:pt x="219" y="267"/>
                </a:lnTo>
                <a:lnTo>
                  <a:pt x="213" y="273"/>
                </a:lnTo>
                <a:lnTo>
                  <a:pt x="207" y="279"/>
                </a:lnTo>
                <a:lnTo>
                  <a:pt x="207" y="279"/>
                </a:lnTo>
                <a:lnTo>
                  <a:pt x="207" y="279"/>
                </a:lnTo>
                <a:lnTo>
                  <a:pt x="201" y="285"/>
                </a:lnTo>
                <a:lnTo>
                  <a:pt x="201" y="285"/>
                </a:lnTo>
                <a:lnTo>
                  <a:pt x="201" y="279"/>
                </a:lnTo>
                <a:lnTo>
                  <a:pt x="201" y="279"/>
                </a:lnTo>
                <a:lnTo>
                  <a:pt x="201" y="279"/>
                </a:lnTo>
                <a:lnTo>
                  <a:pt x="195" y="279"/>
                </a:lnTo>
                <a:lnTo>
                  <a:pt x="195" y="279"/>
                </a:lnTo>
                <a:lnTo>
                  <a:pt x="195" y="279"/>
                </a:lnTo>
                <a:lnTo>
                  <a:pt x="195" y="273"/>
                </a:lnTo>
                <a:lnTo>
                  <a:pt x="195" y="273"/>
                </a:lnTo>
                <a:lnTo>
                  <a:pt x="195" y="273"/>
                </a:lnTo>
                <a:lnTo>
                  <a:pt x="190" y="273"/>
                </a:lnTo>
                <a:lnTo>
                  <a:pt x="190" y="273"/>
                </a:lnTo>
                <a:lnTo>
                  <a:pt x="190" y="273"/>
                </a:lnTo>
                <a:lnTo>
                  <a:pt x="190" y="273"/>
                </a:lnTo>
                <a:lnTo>
                  <a:pt x="190" y="273"/>
                </a:lnTo>
                <a:lnTo>
                  <a:pt x="190" y="273"/>
                </a:lnTo>
                <a:lnTo>
                  <a:pt x="190" y="273"/>
                </a:lnTo>
                <a:lnTo>
                  <a:pt x="190" y="279"/>
                </a:lnTo>
                <a:lnTo>
                  <a:pt x="190" y="279"/>
                </a:lnTo>
                <a:lnTo>
                  <a:pt x="190" y="279"/>
                </a:lnTo>
                <a:lnTo>
                  <a:pt x="190" y="273"/>
                </a:lnTo>
                <a:lnTo>
                  <a:pt x="190" y="273"/>
                </a:lnTo>
                <a:lnTo>
                  <a:pt x="190" y="273"/>
                </a:lnTo>
                <a:lnTo>
                  <a:pt x="190" y="273"/>
                </a:lnTo>
                <a:lnTo>
                  <a:pt x="190" y="273"/>
                </a:lnTo>
                <a:lnTo>
                  <a:pt x="184" y="273"/>
                </a:lnTo>
                <a:lnTo>
                  <a:pt x="184" y="279"/>
                </a:lnTo>
                <a:lnTo>
                  <a:pt x="184" y="279"/>
                </a:lnTo>
                <a:lnTo>
                  <a:pt x="184" y="279"/>
                </a:lnTo>
                <a:lnTo>
                  <a:pt x="184" y="279"/>
                </a:lnTo>
                <a:lnTo>
                  <a:pt x="184" y="285"/>
                </a:lnTo>
                <a:lnTo>
                  <a:pt x="184" y="285"/>
                </a:lnTo>
                <a:lnTo>
                  <a:pt x="184" y="285"/>
                </a:lnTo>
                <a:lnTo>
                  <a:pt x="184" y="285"/>
                </a:lnTo>
                <a:lnTo>
                  <a:pt x="184" y="285"/>
                </a:lnTo>
                <a:lnTo>
                  <a:pt x="184" y="285"/>
                </a:lnTo>
                <a:lnTo>
                  <a:pt x="184" y="285"/>
                </a:lnTo>
                <a:lnTo>
                  <a:pt x="184" y="291"/>
                </a:lnTo>
                <a:lnTo>
                  <a:pt x="184" y="291"/>
                </a:lnTo>
                <a:lnTo>
                  <a:pt x="184" y="285"/>
                </a:lnTo>
                <a:lnTo>
                  <a:pt x="184" y="285"/>
                </a:lnTo>
                <a:lnTo>
                  <a:pt x="184" y="285"/>
                </a:lnTo>
                <a:lnTo>
                  <a:pt x="184" y="285"/>
                </a:lnTo>
                <a:lnTo>
                  <a:pt x="178" y="285"/>
                </a:lnTo>
                <a:lnTo>
                  <a:pt x="178" y="285"/>
                </a:lnTo>
                <a:lnTo>
                  <a:pt x="184" y="279"/>
                </a:lnTo>
                <a:lnTo>
                  <a:pt x="184" y="279"/>
                </a:lnTo>
                <a:lnTo>
                  <a:pt x="184" y="279"/>
                </a:lnTo>
                <a:lnTo>
                  <a:pt x="178" y="279"/>
                </a:lnTo>
                <a:lnTo>
                  <a:pt x="178" y="279"/>
                </a:lnTo>
                <a:lnTo>
                  <a:pt x="178" y="279"/>
                </a:lnTo>
                <a:lnTo>
                  <a:pt x="178" y="285"/>
                </a:lnTo>
                <a:lnTo>
                  <a:pt x="178" y="285"/>
                </a:lnTo>
                <a:lnTo>
                  <a:pt x="172" y="285"/>
                </a:lnTo>
                <a:lnTo>
                  <a:pt x="172" y="285"/>
                </a:lnTo>
                <a:lnTo>
                  <a:pt x="178" y="279"/>
                </a:lnTo>
                <a:lnTo>
                  <a:pt x="178" y="273"/>
                </a:lnTo>
                <a:lnTo>
                  <a:pt x="178" y="267"/>
                </a:lnTo>
                <a:lnTo>
                  <a:pt x="178" y="267"/>
                </a:lnTo>
                <a:lnTo>
                  <a:pt x="178" y="273"/>
                </a:lnTo>
                <a:lnTo>
                  <a:pt x="178" y="273"/>
                </a:lnTo>
                <a:lnTo>
                  <a:pt x="178" y="273"/>
                </a:lnTo>
                <a:lnTo>
                  <a:pt x="178" y="273"/>
                </a:lnTo>
                <a:lnTo>
                  <a:pt x="178" y="273"/>
                </a:lnTo>
                <a:lnTo>
                  <a:pt x="166" y="279"/>
                </a:lnTo>
                <a:lnTo>
                  <a:pt x="166" y="279"/>
                </a:lnTo>
                <a:lnTo>
                  <a:pt x="166" y="279"/>
                </a:lnTo>
                <a:lnTo>
                  <a:pt x="166" y="279"/>
                </a:lnTo>
                <a:lnTo>
                  <a:pt x="172" y="279"/>
                </a:lnTo>
                <a:lnTo>
                  <a:pt x="172" y="279"/>
                </a:lnTo>
                <a:lnTo>
                  <a:pt x="172" y="279"/>
                </a:lnTo>
                <a:lnTo>
                  <a:pt x="172" y="279"/>
                </a:lnTo>
                <a:lnTo>
                  <a:pt x="172" y="279"/>
                </a:lnTo>
                <a:lnTo>
                  <a:pt x="172" y="273"/>
                </a:lnTo>
                <a:lnTo>
                  <a:pt x="172" y="273"/>
                </a:lnTo>
                <a:lnTo>
                  <a:pt x="172" y="273"/>
                </a:lnTo>
                <a:lnTo>
                  <a:pt x="172" y="273"/>
                </a:lnTo>
                <a:lnTo>
                  <a:pt x="166" y="273"/>
                </a:lnTo>
                <a:lnTo>
                  <a:pt x="166" y="279"/>
                </a:lnTo>
                <a:lnTo>
                  <a:pt x="166" y="279"/>
                </a:lnTo>
                <a:lnTo>
                  <a:pt x="166" y="273"/>
                </a:lnTo>
                <a:lnTo>
                  <a:pt x="166" y="273"/>
                </a:lnTo>
                <a:lnTo>
                  <a:pt x="172" y="273"/>
                </a:lnTo>
                <a:lnTo>
                  <a:pt x="172" y="273"/>
                </a:lnTo>
                <a:lnTo>
                  <a:pt x="172" y="273"/>
                </a:lnTo>
                <a:lnTo>
                  <a:pt x="178" y="273"/>
                </a:lnTo>
                <a:lnTo>
                  <a:pt x="178" y="267"/>
                </a:lnTo>
                <a:lnTo>
                  <a:pt x="178" y="267"/>
                </a:lnTo>
                <a:lnTo>
                  <a:pt x="178" y="267"/>
                </a:lnTo>
                <a:lnTo>
                  <a:pt x="184" y="255"/>
                </a:lnTo>
                <a:lnTo>
                  <a:pt x="184" y="255"/>
                </a:lnTo>
                <a:lnTo>
                  <a:pt x="184" y="255"/>
                </a:lnTo>
                <a:lnTo>
                  <a:pt x="184" y="255"/>
                </a:lnTo>
                <a:lnTo>
                  <a:pt x="184" y="255"/>
                </a:lnTo>
                <a:lnTo>
                  <a:pt x="190" y="249"/>
                </a:lnTo>
                <a:lnTo>
                  <a:pt x="190" y="249"/>
                </a:lnTo>
                <a:lnTo>
                  <a:pt x="190" y="249"/>
                </a:lnTo>
                <a:lnTo>
                  <a:pt x="190" y="249"/>
                </a:lnTo>
                <a:lnTo>
                  <a:pt x="190" y="237"/>
                </a:lnTo>
                <a:lnTo>
                  <a:pt x="195" y="237"/>
                </a:lnTo>
                <a:lnTo>
                  <a:pt x="190" y="237"/>
                </a:lnTo>
                <a:lnTo>
                  <a:pt x="190" y="237"/>
                </a:lnTo>
                <a:lnTo>
                  <a:pt x="195" y="237"/>
                </a:lnTo>
                <a:lnTo>
                  <a:pt x="195" y="243"/>
                </a:lnTo>
                <a:lnTo>
                  <a:pt x="195" y="243"/>
                </a:lnTo>
                <a:lnTo>
                  <a:pt x="195" y="243"/>
                </a:lnTo>
                <a:lnTo>
                  <a:pt x="195" y="243"/>
                </a:lnTo>
                <a:lnTo>
                  <a:pt x="195" y="243"/>
                </a:lnTo>
                <a:lnTo>
                  <a:pt x="195" y="249"/>
                </a:lnTo>
                <a:lnTo>
                  <a:pt x="195" y="249"/>
                </a:lnTo>
                <a:lnTo>
                  <a:pt x="195" y="255"/>
                </a:lnTo>
                <a:lnTo>
                  <a:pt x="190" y="255"/>
                </a:lnTo>
                <a:lnTo>
                  <a:pt x="190" y="255"/>
                </a:lnTo>
                <a:lnTo>
                  <a:pt x="190" y="261"/>
                </a:lnTo>
                <a:lnTo>
                  <a:pt x="190" y="261"/>
                </a:lnTo>
                <a:lnTo>
                  <a:pt x="195" y="267"/>
                </a:lnTo>
                <a:lnTo>
                  <a:pt x="195" y="267"/>
                </a:lnTo>
                <a:lnTo>
                  <a:pt x="195" y="273"/>
                </a:lnTo>
                <a:lnTo>
                  <a:pt x="201" y="267"/>
                </a:lnTo>
                <a:lnTo>
                  <a:pt x="201" y="267"/>
                </a:lnTo>
                <a:lnTo>
                  <a:pt x="201" y="267"/>
                </a:lnTo>
                <a:lnTo>
                  <a:pt x="201" y="267"/>
                </a:lnTo>
                <a:lnTo>
                  <a:pt x="201" y="267"/>
                </a:lnTo>
                <a:lnTo>
                  <a:pt x="201" y="267"/>
                </a:lnTo>
                <a:lnTo>
                  <a:pt x="201" y="261"/>
                </a:lnTo>
                <a:lnTo>
                  <a:pt x="201" y="261"/>
                </a:lnTo>
                <a:lnTo>
                  <a:pt x="201" y="261"/>
                </a:lnTo>
                <a:lnTo>
                  <a:pt x="201" y="261"/>
                </a:lnTo>
                <a:lnTo>
                  <a:pt x="201" y="261"/>
                </a:lnTo>
                <a:lnTo>
                  <a:pt x="201" y="261"/>
                </a:lnTo>
                <a:lnTo>
                  <a:pt x="201" y="261"/>
                </a:lnTo>
                <a:lnTo>
                  <a:pt x="201" y="261"/>
                </a:lnTo>
                <a:lnTo>
                  <a:pt x="201" y="261"/>
                </a:lnTo>
                <a:lnTo>
                  <a:pt x="201" y="261"/>
                </a:lnTo>
                <a:lnTo>
                  <a:pt x="201" y="255"/>
                </a:lnTo>
                <a:lnTo>
                  <a:pt x="195" y="255"/>
                </a:lnTo>
                <a:lnTo>
                  <a:pt x="201" y="255"/>
                </a:lnTo>
                <a:lnTo>
                  <a:pt x="201" y="255"/>
                </a:lnTo>
                <a:lnTo>
                  <a:pt x="201" y="249"/>
                </a:lnTo>
                <a:lnTo>
                  <a:pt x="201" y="249"/>
                </a:lnTo>
                <a:lnTo>
                  <a:pt x="201" y="249"/>
                </a:lnTo>
                <a:lnTo>
                  <a:pt x="201" y="249"/>
                </a:lnTo>
                <a:lnTo>
                  <a:pt x="201" y="249"/>
                </a:lnTo>
                <a:lnTo>
                  <a:pt x="201" y="249"/>
                </a:lnTo>
                <a:lnTo>
                  <a:pt x="201" y="249"/>
                </a:lnTo>
                <a:lnTo>
                  <a:pt x="201" y="243"/>
                </a:lnTo>
                <a:lnTo>
                  <a:pt x="201" y="243"/>
                </a:lnTo>
                <a:lnTo>
                  <a:pt x="201" y="243"/>
                </a:lnTo>
                <a:lnTo>
                  <a:pt x="201" y="243"/>
                </a:lnTo>
                <a:lnTo>
                  <a:pt x="201" y="243"/>
                </a:lnTo>
                <a:lnTo>
                  <a:pt x="207" y="243"/>
                </a:lnTo>
                <a:lnTo>
                  <a:pt x="207" y="237"/>
                </a:lnTo>
                <a:lnTo>
                  <a:pt x="207" y="237"/>
                </a:lnTo>
                <a:lnTo>
                  <a:pt x="207" y="237"/>
                </a:lnTo>
                <a:lnTo>
                  <a:pt x="207" y="237"/>
                </a:lnTo>
                <a:lnTo>
                  <a:pt x="213" y="237"/>
                </a:lnTo>
                <a:lnTo>
                  <a:pt x="213" y="243"/>
                </a:lnTo>
                <a:lnTo>
                  <a:pt x="207" y="243"/>
                </a:lnTo>
                <a:lnTo>
                  <a:pt x="207" y="243"/>
                </a:lnTo>
                <a:lnTo>
                  <a:pt x="207" y="243"/>
                </a:lnTo>
                <a:lnTo>
                  <a:pt x="207" y="249"/>
                </a:lnTo>
                <a:lnTo>
                  <a:pt x="207" y="249"/>
                </a:lnTo>
                <a:lnTo>
                  <a:pt x="207" y="249"/>
                </a:lnTo>
                <a:lnTo>
                  <a:pt x="207" y="249"/>
                </a:lnTo>
                <a:lnTo>
                  <a:pt x="207" y="249"/>
                </a:lnTo>
                <a:lnTo>
                  <a:pt x="207" y="249"/>
                </a:lnTo>
                <a:lnTo>
                  <a:pt x="207" y="255"/>
                </a:lnTo>
                <a:lnTo>
                  <a:pt x="213" y="255"/>
                </a:lnTo>
                <a:lnTo>
                  <a:pt x="219" y="255"/>
                </a:lnTo>
                <a:lnTo>
                  <a:pt x="219" y="255"/>
                </a:lnTo>
                <a:lnTo>
                  <a:pt x="219" y="255"/>
                </a:lnTo>
                <a:lnTo>
                  <a:pt x="219" y="249"/>
                </a:lnTo>
                <a:lnTo>
                  <a:pt x="213" y="243"/>
                </a:lnTo>
                <a:lnTo>
                  <a:pt x="219" y="243"/>
                </a:lnTo>
                <a:lnTo>
                  <a:pt x="219" y="243"/>
                </a:lnTo>
                <a:lnTo>
                  <a:pt x="219" y="243"/>
                </a:lnTo>
                <a:lnTo>
                  <a:pt x="219" y="243"/>
                </a:lnTo>
                <a:lnTo>
                  <a:pt x="219" y="243"/>
                </a:lnTo>
                <a:lnTo>
                  <a:pt x="219" y="237"/>
                </a:lnTo>
                <a:lnTo>
                  <a:pt x="219" y="237"/>
                </a:lnTo>
                <a:lnTo>
                  <a:pt x="219" y="237"/>
                </a:lnTo>
                <a:lnTo>
                  <a:pt x="219" y="231"/>
                </a:lnTo>
                <a:lnTo>
                  <a:pt x="219" y="231"/>
                </a:lnTo>
                <a:lnTo>
                  <a:pt x="219" y="225"/>
                </a:lnTo>
                <a:lnTo>
                  <a:pt x="219" y="225"/>
                </a:lnTo>
                <a:lnTo>
                  <a:pt x="225" y="219"/>
                </a:lnTo>
                <a:lnTo>
                  <a:pt x="225" y="219"/>
                </a:lnTo>
                <a:lnTo>
                  <a:pt x="225" y="219"/>
                </a:lnTo>
                <a:lnTo>
                  <a:pt x="219" y="219"/>
                </a:lnTo>
                <a:lnTo>
                  <a:pt x="219" y="214"/>
                </a:lnTo>
                <a:lnTo>
                  <a:pt x="219" y="214"/>
                </a:lnTo>
                <a:lnTo>
                  <a:pt x="219" y="208"/>
                </a:lnTo>
                <a:lnTo>
                  <a:pt x="213" y="214"/>
                </a:lnTo>
                <a:lnTo>
                  <a:pt x="213" y="214"/>
                </a:lnTo>
                <a:lnTo>
                  <a:pt x="213" y="214"/>
                </a:lnTo>
                <a:lnTo>
                  <a:pt x="207" y="219"/>
                </a:lnTo>
                <a:lnTo>
                  <a:pt x="207" y="219"/>
                </a:lnTo>
                <a:lnTo>
                  <a:pt x="207" y="214"/>
                </a:lnTo>
                <a:lnTo>
                  <a:pt x="207" y="214"/>
                </a:lnTo>
                <a:lnTo>
                  <a:pt x="207" y="214"/>
                </a:lnTo>
                <a:lnTo>
                  <a:pt x="207" y="214"/>
                </a:lnTo>
                <a:lnTo>
                  <a:pt x="207" y="214"/>
                </a:lnTo>
                <a:lnTo>
                  <a:pt x="207" y="214"/>
                </a:lnTo>
                <a:lnTo>
                  <a:pt x="207" y="214"/>
                </a:lnTo>
                <a:lnTo>
                  <a:pt x="207" y="214"/>
                </a:lnTo>
                <a:lnTo>
                  <a:pt x="207" y="214"/>
                </a:lnTo>
                <a:lnTo>
                  <a:pt x="207" y="214"/>
                </a:lnTo>
                <a:lnTo>
                  <a:pt x="207" y="208"/>
                </a:lnTo>
                <a:lnTo>
                  <a:pt x="207" y="208"/>
                </a:lnTo>
                <a:lnTo>
                  <a:pt x="207" y="208"/>
                </a:lnTo>
                <a:lnTo>
                  <a:pt x="201" y="208"/>
                </a:lnTo>
                <a:lnTo>
                  <a:pt x="201" y="202"/>
                </a:lnTo>
                <a:lnTo>
                  <a:pt x="201" y="202"/>
                </a:lnTo>
                <a:lnTo>
                  <a:pt x="207" y="202"/>
                </a:lnTo>
                <a:lnTo>
                  <a:pt x="207" y="202"/>
                </a:lnTo>
                <a:lnTo>
                  <a:pt x="207" y="208"/>
                </a:lnTo>
                <a:lnTo>
                  <a:pt x="213" y="214"/>
                </a:lnTo>
                <a:lnTo>
                  <a:pt x="213" y="208"/>
                </a:lnTo>
                <a:lnTo>
                  <a:pt x="213" y="208"/>
                </a:lnTo>
                <a:lnTo>
                  <a:pt x="213" y="208"/>
                </a:lnTo>
                <a:lnTo>
                  <a:pt x="213" y="208"/>
                </a:lnTo>
                <a:lnTo>
                  <a:pt x="213" y="202"/>
                </a:lnTo>
                <a:lnTo>
                  <a:pt x="213" y="196"/>
                </a:lnTo>
                <a:lnTo>
                  <a:pt x="213" y="196"/>
                </a:lnTo>
                <a:lnTo>
                  <a:pt x="207" y="190"/>
                </a:lnTo>
                <a:lnTo>
                  <a:pt x="207" y="190"/>
                </a:lnTo>
                <a:lnTo>
                  <a:pt x="207" y="190"/>
                </a:lnTo>
                <a:lnTo>
                  <a:pt x="207" y="190"/>
                </a:lnTo>
                <a:lnTo>
                  <a:pt x="207" y="190"/>
                </a:lnTo>
                <a:lnTo>
                  <a:pt x="207" y="190"/>
                </a:lnTo>
                <a:lnTo>
                  <a:pt x="207" y="190"/>
                </a:lnTo>
                <a:lnTo>
                  <a:pt x="207" y="190"/>
                </a:lnTo>
                <a:lnTo>
                  <a:pt x="207" y="190"/>
                </a:lnTo>
                <a:lnTo>
                  <a:pt x="207" y="190"/>
                </a:lnTo>
                <a:lnTo>
                  <a:pt x="213" y="196"/>
                </a:lnTo>
                <a:lnTo>
                  <a:pt x="213" y="190"/>
                </a:lnTo>
                <a:lnTo>
                  <a:pt x="219" y="190"/>
                </a:lnTo>
                <a:lnTo>
                  <a:pt x="219" y="190"/>
                </a:lnTo>
                <a:lnTo>
                  <a:pt x="219" y="190"/>
                </a:lnTo>
                <a:lnTo>
                  <a:pt x="219" y="190"/>
                </a:lnTo>
                <a:lnTo>
                  <a:pt x="219" y="184"/>
                </a:lnTo>
                <a:lnTo>
                  <a:pt x="219" y="184"/>
                </a:lnTo>
                <a:lnTo>
                  <a:pt x="225" y="190"/>
                </a:lnTo>
                <a:lnTo>
                  <a:pt x="225" y="190"/>
                </a:lnTo>
                <a:lnTo>
                  <a:pt x="225" y="190"/>
                </a:lnTo>
                <a:lnTo>
                  <a:pt x="225" y="184"/>
                </a:lnTo>
                <a:lnTo>
                  <a:pt x="225" y="184"/>
                </a:lnTo>
                <a:lnTo>
                  <a:pt x="225" y="184"/>
                </a:lnTo>
                <a:lnTo>
                  <a:pt x="225" y="184"/>
                </a:lnTo>
                <a:lnTo>
                  <a:pt x="225" y="184"/>
                </a:lnTo>
                <a:lnTo>
                  <a:pt x="225" y="184"/>
                </a:lnTo>
                <a:lnTo>
                  <a:pt x="225" y="184"/>
                </a:lnTo>
                <a:lnTo>
                  <a:pt x="225" y="184"/>
                </a:lnTo>
                <a:lnTo>
                  <a:pt x="225" y="184"/>
                </a:lnTo>
                <a:lnTo>
                  <a:pt x="225" y="184"/>
                </a:lnTo>
                <a:lnTo>
                  <a:pt x="225" y="178"/>
                </a:lnTo>
                <a:lnTo>
                  <a:pt x="225" y="178"/>
                </a:lnTo>
                <a:lnTo>
                  <a:pt x="225" y="178"/>
                </a:lnTo>
                <a:lnTo>
                  <a:pt x="225" y="178"/>
                </a:lnTo>
                <a:lnTo>
                  <a:pt x="225" y="178"/>
                </a:lnTo>
                <a:lnTo>
                  <a:pt x="225" y="172"/>
                </a:lnTo>
                <a:lnTo>
                  <a:pt x="225" y="172"/>
                </a:lnTo>
                <a:lnTo>
                  <a:pt x="225" y="172"/>
                </a:lnTo>
                <a:lnTo>
                  <a:pt x="225" y="172"/>
                </a:lnTo>
                <a:lnTo>
                  <a:pt x="219" y="166"/>
                </a:lnTo>
                <a:lnTo>
                  <a:pt x="219" y="166"/>
                </a:lnTo>
                <a:lnTo>
                  <a:pt x="219" y="160"/>
                </a:lnTo>
                <a:lnTo>
                  <a:pt x="219" y="160"/>
                </a:lnTo>
                <a:lnTo>
                  <a:pt x="219" y="160"/>
                </a:lnTo>
                <a:lnTo>
                  <a:pt x="213" y="154"/>
                </a:lnTo>
                <a:lnTo>
                  <a:pt x="213" y="160"/>
                </a:lnTo>
                <a:lnTo>
                  <a:pt x="213" y="160"/>
                </a:lnTo>
                <a:lnTo>
                  <a:pt x="213" y="160"/>
                </a:lnTo>
                <a:lnTo>
                  <a:pt x="219" y="172"/>
                </a:lnTo>
                <a:lnTo>
                  <a:pt x="219" y="172"/>
                </a:lnTo>
                <a:lnTo>
                  <a:pt x="219" y="172"/>
                </a:lnTo>
                <a:lnTo>
                  <a:pt x="219" y="172"/>
                </a:lnTo>
                <a:lnTo>
                  <a:pt x="213" y="172"/>
                </a:lnTo>
                <a:lnTo>
                  <a:pt x="213" y="172"/>
                </a:lnTo>
                <a:lnTo>
                  <a:pt x="213" y="172"/>
                </a:lnTo>
                <a:lnTo>
                  <a:pt x="213" y="172"/>
                </a:lnTo>
                <a:lnTo>
                  <a:pt x="213" y="172"/>
                </a:lnTo>
                <a:lnTo>
                  <a:pt x="213" y="172"/>
                </a:lnTo>
                <a:lnTo>
                  <a:pt x="213" y="172"/>
                </a:lnTo>
                <a:lnTo>
                  <a:pt x="213" y="172"/>
                </a:lnTo>
                <a:lnTo>
                  <a:pt x="207" y="172"/>
                </a:lnTo>
                <a:lnTo>
                  <a:pt x="201" y="184"/>
                </a:lnTo>
                <a:lnTo>
                  <a:pt x="201" y="190"/>
                </a:lnTo>
                <a:lnTo>
                  <a:pt x="201" y="190"/>
                </a:lnTo>
                <a:lnTo>
                  <a:pt x="195" y="196"/>
                </a:lnTo>
                <a:lnTo>
                  <a:pt x="195" y="196"/>
                </a:lnTo>
                <a:lnTo>
                  <a:pt x="195" y="196"/>
                </a:lnTo>
                <a:lnTo>
                  <a:pt x="195" y="202"/>
                </a:lnTo>
                <a:lnTo>
                  <a:pt x="184" y="202"/>
                </a:lnTo>
                <a:lnTo>
                  <a:pt x="178" y="208"/>
                </a:lnTo>
                <a:lnTo>
                  <a:pt x="178" y="208"/>
                </a:lnTo>
                <a:lnTo>
                  <a:pt x="172" y="219"/>
                </a:lnTo>
                <a:lnTo>
                  <a:pt x="166" y="231"/>
                </a:lnTo>
                <a:lnTo>
                  <a:pt x="166" y="231"/>
                </a:lnTo>
                <a:lnTo>
                  <a:pt x="166" y="231"/>
                </a:lnTo>
                <a:lnTo>
                  <a:pt x="166" y="231"/>
                </a:lnTo>
                <a:lnTo>
                  <a:pt x="166" y="237"/>
                </a:lnTo>
                <a:lnTo>
                  <a:pt x="160" y="237"/>
                </a:lnTo>
                <a:lnTo>
                  <a:pt x="160" y="237"/>
                </a:lnTo>
                <a:lnTo>
                  <a:pt x="160" y="237"/>
                </a:lnTo>
                <a:lnTo>
                  <a:pt x="166" y="243"/>
                </a:lnTo>
                <a:lnTo>
                  <a:pt x="166" y="243"/>
                </a:lnTo>
                <a:lnTo>
                  <a:pt x="178" y="237"/>
                </a:lnTo>
                <a:lnTo>
                  <a:pt x="184" y="231"/>
                </a:lnTo>
                <a:lnTo>
                  <a:pt x="190" y="231"/>
                </a:lnTo>
                <a:lnTo>
                  <a:pt x="190" y="231"/>
                </a:lnTo>
                <a:lnTo>
                  <a:pt x="190" y="231"/>
                </a:lnTo>
                <a:lnTo>
                  <a:pt x="184" y="237"/>
                </a:lnTo>
                <a:lnTo>
                  <a:pt x="184" y="237"/>
                </a:lnTo>
                <a:lnTo>
                  <a:pt x="166" y="243"/>
                </a:lnTo>
                <a:lnTo>
                  <a:pt x="160" y="243"/>
                </a:lnTo>
                <a:lnTo>
                  <a:pt x="160" y="243"/>
                </a:lnTo>
                <a:lnTo>
                  <a:pt x="160" y="243"/>
                </a:lnTo>
                <a:lnTo>
                  <a:pt x="160" y="243"/>
                </a:lnTo>
                <a:lnTo>
                  <a:pt x="160" y="243"/>
                </a:lnTo>
                <a:lnTo>
                  <a:pt x="160" y="237"/>
                </a:lnTo>
                <a:lnTo>
                  <a:pt x="160" y="237"/>
                </a:lnTo>
                <a:lnTo>
                  <a:pt x="160" y="231"/>
                </a:lnTo>
                <a:lnTo>
                  <a:pt x="160" y="231"/>
                </a:lnTo>
                <a:lnTo>
                  <a:pt x="160" y="231"/>
                </a:lnTo>
                <a:lnTo>
                  <a:pt x="166" y="225"/>
                </a:lnTo>
                <a:lnTo>
                  <a:pt x="166" y="225"/>
                </a:lnTo>
                <a:lnTo>
                  <a:pt x="166" y="225"/>
                </a:lnTo>
                <a:lnTo>
                  <a:pt x="166" y="225"/>
                </a:lnTo>
                <a:lnTo>
                  <a:pt x="166" y="219"/>
                </a:lnTo>
                <a:lnTo>
                  <a:pt x="172" y="214"/>
                </a:lnTo>
                <a:lnTo>
                  <a:pt x="172" y="214"/>
                </a:lnTo>
                <a:lnTo>
                  <a:pt x="172" y="214"/>
                </a:lnTo>
                <a:lnTo>
                  <a:pt x="178" y="202"/>
                </a:lnTo>
                <a:lnTo>
                  <a:pt x="178" y="202"/>
                </a:lnTo>
                <a:lnTo>
                  <a:pt x="178" y="202"/>
                </a:lnTo>
                <a:lnTo>
                  <a:pt x="178" y="202"/>
                </a:lnTo>
                <a:lnTo>
                  <a:pt x="184" y="202"/>
                </a:lnTo>
                <a:lnTo>
                  <a:pt x="184" y="202"/>
                </a:lnTo>
                <a:lnTo>
                  <a:pt x="184" y="196"/>
                </a:lnTo>
                <a:lnTo>
                  <a:pt x="184" y="196"/>
                </a:lnTo>
                <a:lnTo>
                  <a:pt x="184" y="196"/>
                </a:lnTo>
                <a:lnTo>
                  <a:pt x="184" y="196"/>
                </a:lnTo>
                <a:lnTo>
                  <a:pt x="184" y="190"/>
                </a:lnTo>
                <a:lnTo>
                  <a:pt x="184" y="190"/>
                </a:lnTo>
                <a:lnTo>
                  <a:pt x="190" y="190"/>
                </a:lnTo>
                <a:lnTo>
                  <a:pt x="190" y="190"/>
                </a:lnTo>
                <a:lnTo>
                  <a:pt x="190" y="184"/>
                </a:lnTo>
                <a:lnTo>
                  <a:pt x="190" y="184"/>
                </a:lnTo>
                <a:lnTo>
                  <a:pt x="190" y="184"/>
                </a:lnTo>
                <a:lnTo>
                  <a:pt x="190" y="178"/>
                </a:lnTo>
                <a:lnTo>
                  <a:pt x="190" y="178"/>
                </a:lnTo>
                <a:lnTo>
                  <a:pt x="190" y="178"/>
                </a:lnTo>
                <a:lnTo>
                  <a:pt x="190" y="178"/>
                </a:lnTo>
                <a:lnTo>
                  <a:pt x="190" y="172"/>
                </a:lnTo>
                <a:lnTo>
                  <a:pt x="190" y="172"/>
                </a:lnTo>
                <a:lnTo>
                  <a:pt x="190" y="172"/>
                </a:lnTo>
                <a:lnTo>
                  <a:pt x="190" y="178"/>
                </a:lnTo>
                <a:lnTo>
                  <a:pt x="190" y="178"/>
                </a:lnTo>
                <a:lnTo>
                  <a:pt x="190" y="178"/>
                </a:lnTo>
                <a:lnTo>
                  <a:pt x="190" y="178"/>
                </a:lnTo>
                <a:lnTo>
                  <a:pt x="190" y="178"/>
                </a:lnTo>
                <a:lnTo>
                  <a:pt x="190" y="172"/>
                </a:lnTo>
                <a:lnTo>
                  <a:pt x="195" y="172"/>
                </a:lnTo>
                <a:lnTo>
                  <a:pt x="195" y="172"/>
                </a:lnTo>
                <a:lnTo>
                  <a:pt x="195" y="178"/>
                </a:lnTo>
                <a:lnTo>
                  <a:pt x="195" y="178"/>
                </a:lnTo>
                <a:lnTo>
                  <a:pt x="195" y="184"/>
                </a:lnTo>
                <a:lnTo>
                  <a:pt x="190" y="190"/>
                </a:lnTo>
                <a:lnTo>
                  <a:pt x="190" y="196"/>
                </a:lnTo>
                <a:lnTo>
                  <a:pt x="190" y="196"/>
                </a:lnTo>
                <a:lnTo>
                  <a:pt x="190" y="196"/>
                </a:lnTo>
                <a:lnTo>
                  <a:pt x="190" y="196"/>
                </a:lnTo>
                <a:lnTo>
                  <a:pt x="195" y="196"/>
                </a:lnTo>
                <a:lnTo>
                  <a:pt x="195" y="196"/>
                </a:lnTo>
                <a:lnTo>
                  <a:pt x="195" y="196"/>
                </a:lnTo>
                <a:lnTo>
                  <a:pt x="195" y="190"/>
                </a:lnTo>
                <a:lnTo>
                  <a:pt x="195" y="190"/>
                </a:lnTo>
                <a:lnTo>
                  <a:pt x="195" y="190"/>
                </a:lnTo>
                <a:lnTo>
                  <a:pt x="195" y="184"/>
                </a:lnTo>
                <a:lnTo>
                  <a:pt x="201" y="184"/>
                </a:lnTo>
                <a:lnTo>
                  <a:pt x="201" y="178"/>
                </a:lnTo>
                <a:lnTo>
                  <a:pt x="201" y="172"/>
                </a:lnTo>
                <a:lnTo>
                  <a:pt x="207" y="172"/>
                </a:lnTo>
                <a:lnTo>
                  <a:pt x="207" y="172"/>
                </a:lnTo>
                <a:lnTo>
                  <a:pt x="207" y="172"/>
                </a:lnTo>
                <a:lnTo>
                  <a:pt x="207" y="166"/>
                </a:lnTo>
                <a:lnTo>
                  <a:pt x="207" y="166"/>
                </a:lnTo>
                <a:lnTo>
                  <a:pt x="207" y="166"/>
                </a:lnTo>
                <a:lnTo>
                  <a:pt x="207" y="166"/>
                </a:lnTo>
                <a:lnTo>
                  <a:pt x="213" y="166"/>
                </a:lnTo>
                <a:lnTo>
                  <a:pt x="213" y="166"/>
                </a:lnTo>
                <a:lnTo>
                  <a:pt x="213" y="166"/>
                </a:lnTo>
                <a:lnTo>
                  <a:pt x="213" y="166"/>
                </a:lnTo>
                <a:lnTo>
                  <a:pt x="213" y="166"/>
                </a:lnTo>
                <a:lnTo>
                  <a:pt x="207" y="160"/>
                </a:lnTo>
                <a:lnTo>
                  <a:pt x="207" y="154"/>
                </a:lnTo>
                <a:lnTo>
                  <a:pt x="207" y="154"/>
                </a:lnTo>
                <a:lnTo>
                  <a:pt x="207" y="154"/>
                </a:lnTo>
                <a:lnTo>
                  <a:pt x="207" y="154"/>
                </a:lnTo>
                <a:lnTo>
                  <a:pt x="207" y="154"/>
                </a:lnTo>
                <a:lnTo>
                  <a:pt x="201" y="148"/>
                </a:lnTo>
                <a:lnTo>
                  <a:pt x="201" y="148"/>
                </a:lnTo>
                <a:lnTo>
                  <a:pt x="201" y="148"/>
                </a:lnTo>
                <a:lnTo>
                  <a:pt x="201" y="142"/>
                </a:lnTo>
                <a:lnTo>
                  <a:pt x="195" y="142"/>
                </a:lnTo>
                <a:lnTo>
                  <a:pt x="195" y="142"/>
                </a:lnTo>
                <a:lnTo>
                  <a:pt x="195" y="136"/>
                </a:lnTo>
                <a:lnTo>
                  <a:pt x="195" y="136"/>
                </a:lnTo>
                <a:lnTo>
                  <a:pt x="195" y="136"/>
                </a:lnTo>
                <a:lnTo>
                  <a:pt x="195" y="136"/>
                </a:lnTo>
                <a:lnTo>
                  <a:pt x="195" y="136"/>
                </a:lnTo>
                <a:lnTo>
                  <a:pt x="195" y="136"/>
                </a:lnTo>
                <a:lnTo>
                  <a:pt x="195" y="130"/>
                </a:lnTo>
                <a:lnTo>
                  <a:pt x="195" y="130"/>
                </a:lnTo>
                <a:lnTo>
                  <a:pt x="195" y="130"/>
                </a:lnTo>
                <a:lnTo>
                  <a:pt x="195" y="130"/>
                </a:lnTo>
                <a:lnTo>
                  <a:pt x="201" y="130"/>
                </a:lnTo>
                <a:lnTo>
                  <a:pt x="195" y="130"/>
                </a:lnTo>
                <a:lnTo>
                  <a:pt x="195" y="125"/>
                </a:lnTo>
                <a:lnTo>
                  <a:pt x="195" y="125"/>
                </a:lnTo>
                <a:lnTo>
                  <a:pt x="190" y="130"/>
                </a:lnTo>
                <a:lnTo>
                  <a:pt x="190" y="130"/>
                </a:lnTo>
                <a:lnTo>
                  <a:pt x="190" y="130"/>
                </a:lnTo>
                <a:lnTo>
                  <a:pt x="190" y="130"/>
                </a:lnTo>
                <a:lnTo>
                  <a:pt x="184" y="130"/>
                </a:lnTo>
                <a:lnTo>
                  <a:pt x="184" y="130"/>
                </a:lnTo>
                <a:lnTo>
                  <a:pt x="184" y="136"/>
                </a:lnTo>
                <a:lnTo>
                  <a:pt x="184" y="136"/>
                </a:lnTo>
                <a:lnTo>
                  <a:pt x="184" y="136"/>
                </a:lnTo>
                <a:lnTo>
                  <a:pt x="190" y="142"/>
                </a:lnTo>
                <a:lnTo>
                  <a:pt x="190" y="142"/>
                </a:lnTo>
                <a:lnTo>
                  <a:pt x="190" y="148"/>
                </a:lnTo>
                <a:lnTo>
                  <a:pt x="190" y="148"/>
                </a:lnTo>
                <a:lnTo>
                  <a:pt x="190" y="148"/>
                </a:lnTo>
                <a:lnTo>
                  <a:pt x="184" y="148"/>
                </a:lnTo>
                <a:lnTo>
                  <a:pt x="184" y="148"/>
                </a:lnTo>
                <a:lnTo>
                  <a:pt x="190" y="148"/>
                </a:lnTo>
                <a:lnTo>
                  <a:pt x="190" y="148"/>
                </a:lnTo>
                <a:lnTo>
                  <a:pt x="190" y="142"/>
                </a:lnTo>
                <a:lnTo>
                  <a:pt x="190" y="142"/>
                </a:lnTo>
                <a:lnTo>
                  <a:pt x="184" y="142"/>
                </a:lnTo>
                <a:lnTo>
                  <a:pt x="184" y="142"/>
                </a:lnTo>
                <a:lnTo>
                  <a:pt x="184" y="136"/>
                </a:lnTo>
                <a:lnTo>
                  <a:pt x="184" y="136"/>
                </a:lnTo>
                <a:lnTo>
                  <a:pt x="184" y="136"/>
                </a:lnTo>
                <a:lnTo>
                  <a:pt x="184" y="136"/>
                </a:lnTo>
                <a:lnTo>
                  <a:pt x="184" y="136"/>
                </a:lnTo>
                <a:lnTo>
                  <a:pt x="184" y="136"/>
                </a:lnTo>
                <a:lnTo>
                  <a:pt x="184" y="136"/>
                </a:lnTo>
                <a:lnTo>
                  <a:pt x="184" y="136"/>
                </a:lnTo>
                <a:lnTo>
                  <a:pt x="184" y="136"/>
                </a:lnTo>
                <a:lnTo>
                  <a:pt x="178" y="130"/>
                </a:lnTo>
                <a:lnTo>
                  <a:pt x="178" y="130"/>
                </a:lnTo>
                <a:lnTo>
                  <a:pt x="172" y="136"/>
                </a:lnTo>
                <a:lnTo>
                  <a:pt x="172" y="136"/>
                </a:lnTo>
                <a:lnTo>
                  <a:pt x="172" y="136"/>
                </a:lnTo>
                <a:lnTo>
                  <a:pt x="172" y="142"/>
                </a:lnTo>
                <a:lnTo>
                  <a:pt x="172" y="142"/>
                </a:lnTo>
                <a:lnTo>
                  <a:pt x="172" y="142"/>
                </a:lnTo>
                <a:lnTo>
                  <a:pt x="172" y="142"/>
                </a:lnTo>
                <a:lnTo>
                  <a:pt x="172" y="136"/>
                </a:lnTo>
                <a:lnTo>
                  <a:pt x="172" y="136"/>
                </a:lnTo>
                <a:lnTo>
                  <a:pt x="172" y="136"/>
                </a:lnTo>
                <a:lnTo>
                  <a:pt x="166" y="130"/>
                </a:lnTo>
                <a:lnTo>
                  <a:pt x="166" y="130"/>
                </a:lnTo>
                <a:lnTo>
                  <a:pt x="166" y="130"/>
                </a:lnTo>
                <a:lnTo>
                  <a:pt x="160" y="125"/>
                </a:lnTo>
                <a:lnTo>
                  <a:pt x="160" y="125"/>
                </a:lnTo>
                <a:lnTo>
                  <a:pt x="160" y="125"/>
                </a:lnTo>
                <a:lnTo>
                  <a:pt x="160" y="125"/>
                </a:lnTo>
                <a:lnTo>
                  <a:pt x="160" y="125"/>
                </a:lnTo>
                <a:lnTo>
                  <a:pt x="160" y="125"/>
                </a:lnTo>
                <a:lnTo>
                  <a:pt x="160" y="119"/>
                </a:lnTo>
                <a:lnTo>
                  <a:pt x="166" y="119"/>
                </a:lnTo>
                <a:lnTo>
                  <a:pt x="160" y="119"/>
                </a:lnTo>
                <a:lnTo>
                  <a:pt x="160" y="125"/>
                </a:lnTo>
                <a:lnTo>
                  <a:pt x="154" y="125"/>
                </a:lnTo>
                <a:lnTo>
                  <a:pt x="154" y="125"/>
                </a:lnTo>
                <a:lnTo>
                  <a:pt x="154" y="130"/>
                </a:lnTo>
                <a:lnTo>
                  <a:pt x="148" y="130"/>
                </a:lnTo>
                <a:lnTo>
                  <a:pt x="148" y="130"/>
                </a:lnTo>
                <a:lnTo>
                  <a:pt x="142" y="130"/>
                </a:lnTo>
                <a:lnTo>
                  <a:pt x="142" y="130"/>
                </a:lnTo>
                <a:lnTo>
                  <a:pt x="142" y="130"/>
                </a:lnTo>
                <a:lnTo>
                  <a:pt x="136" y="130"/>
                </a:lnTo>
                <a:lnTo>
                  <a:pt x="136" y="130"/>
                </a:lnTo>
                <a:lnTo>
                  <a:pt x="130" y="130"/>
                </a:lnTo>
                <a:lnTo>
                  <a:pt x="130" y="130"/>
                </a:lnTo>
                <a:lnTo>
                  <a:pt x="130" y="130"/>
                </a:lnTo>
                <a:lnTo>
                  <a:pt x="130" y="130"/>
                </a:lnTo>
                <a:lnTo>
                  <a:pt x="130" y="130"/>
                </a:lnTo>
                <a:lnTo>
                  <a:pt x="130" y="125"/>
                </a:lnTo>
                <a:lnTo>
                  <a:pt x="136" y="125"/>
                </a:lnTo>
                <a:lnTo>
                  <a:pt x="130" y="125"/>
                </a:lnTo>
                <a:lnTo>
                  <a:pt x="130" y="125"/>
                </a:lnTo>
                <a:lnTo>
                  <a:pt x="124" y="130"/>
                </a:lnTo>
                <a:lnTo>
                  <a:pt x="124" y="130"/>
                </a:lnTo>
                <a:lnTo>
                  <a:pt x="124" y="130"/>
                </a:lnTo>
                <a:lnTo>
                  <a:pt x="118" y="125"/>
                </a:lnTo>
                <a:lnTo>
                  <a:pt x="118" y="125"/>
                </a:lnTo>
                <a:lnTo>
                  <a:pt x="118" y="125"/>
                </a:lnTo>
                <a:lnTo>
                  <a:pt x="118" y="130"/>
                </a:lnTo>
                <a:lnTo>
                  <a:pt x="113" y="125"/>
                </a:lnTo>
                <a:lnTo>
                  <a:pt x="113" y="125"/>
                </a:lnTo>
                <a:lnTo>
                  <a:pt x="107" y="125"/>
                </a:lnTo>
                <a:lnTo>
                  <a:pt x="101" y="125"/>
                </a:lnTo>
                <a:lnTo>
                  <a:pt x="95" y="125"/>
                </a:lnTo>
                <a:lnTo>
                  <a:pt x="95" y="125"/>
                </a:lnTo>
                <a:lnTo>
                  <a:pt x="95" y="125"/>
                </a:lnTo>
                <a:lnTo>
                  <a:pt x="95" y="125"/>
                </a:lnTo>
                <a:lnTo>
                  <a:pt x="89" y="125"/>
                </a:lnTo>
                <a:lnTo>
                  <a:pt x="89" y="125"/>
                </a:lnTo>
                <a:lnTo>
                  <a:pt x="83" y="125"/>
                </a:lnTo>
                <a:lnTo>
                  <a:pt x="77" y="125"/>
                </a:lnTo>
                <a:lnTo>
                  <a:pt x="77" y="125"/>
                </a:lnTo>
                <a:lnTo>
                  <a:pt x="77" y="125"/>
                </a:lnTo>
                <a:lnTo>
                  <a:pt x="71" y="119"/>
                </a:lnTo>
                <a:lnTo>
                  <a:pt x="65" y="119"/>
                </a:lnTo>
                <a:lnTo>
                  <a:pt x="65" y="119"/>
                </a:lnTo>
                <a:lnTo>
                  <a:pt x="65" y="119"/>
                </a:lnTo>
                <a:lnTo>
                  <a:pt x="65" y="113"/>
                </a:lnTo>
                <a:lnTo>
                  <a:pt x="59" y="113"/>
                </a:lnTo>
                <a:lnTo>
                  <a:pt x="59" y="113"/>
                </a:lnTo>
                <a:lnTo>
                  <a:pt x="53" y="107"/>
                </a:lnTo>
                <a:lnTo>
                  <a:pt x="47" y="107"/>
                </a:lnTo>
                <a:lnTo>
                  <a:pt x="47" y="107"/>
                </a:lnTo>
                <a:lnTo>
                  <a:pt x="47" y="107"/>
                </a:lnTo>
                <a:lnTo>
                  <a:pt x="41" y="107"/>
                </a:lnTo>
                <a:lnTo>
                  <a:pt x="41" y="107"/>
                </a:lnTo>
                <a:lnTo>
                  <a:pt x="41" y="107"/>
                </a:lnTo>
                <a:lnTo>
                  <a:pt x="41" y="107"/>
                </a:lnTo>
                <a:lnTo>
                  <a:pt x="35" y="107"/>
                </a:lnTo>
                <a:lnTo>
                  <a:pt x="30" y="101"/>
                </a:lnTo>
                <a:lnTo>
                  <a:pt x="24" y="95"/>
                </a:lnTo>
                <a:lnTo>
                  <a:pt x="18" y="95"/>
                </a:lnTo>
                <a:lnTo>
                  <a:pt x="18" y="89"/>
                </a:lnTo>
                <a:lnTo>
                  <a:pt x="18" y="89"/>
                </a:lnTo>
                <a:lnTo>
                  <a:pt x="12" y="95"/>
                </a:lnTo>
                <a:lnTo>
                  <a:pt x="12" y="95"/>
                </a:lnTo>
                <a:lnTo>
                  <a:pt x="12" y="95"/>
                </a:lnTo>
                <a:lnTo>
                  <a:pt x="12" y="89"/>
                </a:lnTo>
                <a:lnTo>
                  <a:pt x="6" y="89"/>
                </a:lnTo>
                <a:lnTo>
                  <a:pt x="6" y="89"/>
                </a:lnTo>
                <a:lnTo>
                  <a:pt x="0" y="89"/>
                </a:lnTo>
                <a:lnTo>
                  <a:pt x="0" y="95"/>
                </a:lnTo>
                <a:lnTo>
                  <a:pt x="0" y="95"/>
                </a:lnTo>
                <a:lnTo>
                  <a:pt x="0" y="95"/>
                </a:lnTo>
                <a:lnTo>
                  <a:pt x="6" y="95"/>
                </a:lnTo>
                <a:lnTo>
                  <a:pt x="6" y="95"/>
                </a:lnTo>
                <a:lnTo>
                  <a:pt x="6" y="95"/>
                </a:lnTo>
                <a:lnTo>
                  <a:pt x="6" y="101"/>
                </a:lnTo>
                <a:lnTo>
                  <a:pt x="6" y="101"/>
                </a:lnTo>
                <a:lnTo>
                  <a:pt x="6" y="101"/>
                </a:lnTo>
                <a:lnTo>
                  <a:pt x="6" y="101"/>
                </a:lnTo>
                <a:lnTo>
                  <a:pt x="6" y="101"/>
                </a:lnTo>
                <a:lnTo>
                  <a:pt x="6" y="101"/>
                </a:lnTo>
                <a:lnTo>
                  <a:pt x="6" y="101"/>
                </a:lnTo>
                <a:lnTo>
                  <a:pt x="6" y="101"/>
                </a:lnTo>
                <a:lnTo>
                  <a:pt x="6" y="107"/>
                </a:lnTo>
                <a:lnTo>
                  <a:pt x="6" y="107"/>
                </a:lnTo>
                <a:lnTo>
                  <a:pt x="6" y="107"/>
                </a:lnTo>
                <a:lnTo>
                  <a:pt x="6" y="107"/>
                </a:lnTo>
                <a:lnTo>
                  <a:pt x="6" y="113"/>
                </a:lnTo>
                <a:lnTo>
                  <a:pt x="6" y="113"/>
                </a:lnTo>
                <a:lnTo>
                  <a:pt x="6" y="113"/>
                </a:lnTo>
                <a:lnTo>
                  <a:pt x="6" y="113"/>
                </a:lnTo>
                <a:lnTo>
                  <a:pt x="6" y="113"/>
                </a:lnTo>
                <a:lnTo>
                  <a:pt x="6" y="113"/>
                </a:lnTo>
                <a:lnTo>
                  <a:pt x="6" y="119"/>
                </a:lnTo>
                <a:lnTo>
                  <a:pt x="6" y="119"/>
                </a:lnTo>
                <a:lnTo>
                  <a:pt x="6" y="119"/>
                </a:lnTo>
                <a:lnTo>
                  <a:pt x="6" y="119"/>
                </a:lnTo>
                <a:lnTo>
                  <a:pt x="0" y="119"/>
                </a:lnTo>
                <a:lnTo>
                  <a:pt x="0" y="125"/>
                </a:lnTo>
                <a:lnTo>
                  <a:pt x="0" y="125"/>
                </a:lnTo>
                <a:lnTo>
                  <a:pt x="0" y="125"/>
                </a:lnTo>
                <a:lnTo>
                  <a:pt x="0" y="125"/>
                </a:lnTo>
                <a:lnTo>
                  <a:pt x="6" y="130"/>
                </a:lnTo>
                <a:lnTo>
                  <a:pt x="6" y="136"/>
                </a:lnTo>
                <a:lnTo>
                  <a:pt x="6" y="136"/>
                </a:lnTo>
                <a:lnTo>
                  <a:pt x="6" y="142"/>
                </a:lnTo>
                <a:lnTo>
                  <a:pt x="6" y="148"/>
                </a:lnTo>
                <a:lnTo>
                  <a:pt x="6" y="154"/>
                </a:lnTo>
                <a:lnTo>
                  <a:pt x="12" y="160"/>
                </a:lnTo>
                <a:lnTo>
                  <a:pt x="12" y="160"/>
                </a:lnTo>
                <a:lnTo>
                  <a:pt x="12" y="166"/>
                </a:lnTo>
                <a:lnTo>
                  <a:pt x="18" y="166"/>
                </a:lnTo>
                <a:lnTo>
                  <a:pt x="18" y="166"/>
                </a:lnTo>
                <a:lnTo>
                  <a:pt x="18" y="172"/>
                </a:lnTo>
                <a:lnTo>
                  <a:pt x="18" y="172"/>
                </a:lnTo>
                <a:lnTo>
                  <a:pt x="24" y="178"/>
                </a:lnTo>
                <a:lnTo>
                  <a:pt x="24" y="178"/>
                </a:lnTo>
                <a:lnTo>
                  <a:pt x="30" y="178"/>
                </a:lnTo>
                <a:lnTo>
                  <a:pt x="30" y="184"/>
                </a:lnTo>
                <a:lnTo>
                  <a:pt x="30" y="184"/>
                </a:lnTo>
                <a:lnTo>
                  <a:pt x="30" y="184"/>
                </a:lnTo>
                <a:lnTo>
                  <a:pt x="30" y="184"/>
                </a:lnTo>
                <a:lnTo>
                  <a:pt x="35" y="190"/>
                </a:lnTo>
                <a:lnTo>
                  <a:pt x="35" y="196"/>
                </a:lnTo>
                <a:lnTo>
                  <a:pt x="35" y="196"/>
                </a:lnTo>
                <a:lnTo>
                  <a:pt x="35" y="202"/>
                </a:lnTo>
                <a:lnTo>
                  <a:pt x="35" y="202"/>
                </a:lnTo>
                <a:lnTo>
                  <a:pt x="35" y="208"/>
                </a:lnTo>
                <a:lnTo>
                  <a:pt x="35" y="208"/>
                </a:lnTo>
                <a:lnTo>
                  <a:pt x="41" y="214"/>
                </a:lnTo>
                <a:lnTo>
                  <a:pt x="41" y="219"/>
                </a:lnTo>
                <a:lnTo>
                  <a:pt x="41" y="219"/>
                </a:lnTo>
                <a:lnTo>
                  <a:pt x="41" y="243"/>
                </a:lnTo>
                <a:lnTo>
                  <a:pt x="41" y="243"/>
                </a:lnTo>
                <a:lnTo>
                  <a:pt x="47" y="243"/>
                </a:lnTo>
                <a:lnTo>
                  <a:pt x="47" y="243"/>
                </a:lnTo>
                <a:lnTo>
                  <a:pt x="47" y="243"/>
                </a:lnTo>
                <a:lnTo>
                  <a:pt x="47" y="243"/>
                </a:lnTo>
                <a:lnTo>
                  <a:pt x="47" y="243"/>
                </a:lnTo>
                <a:lnTo>
                  <a:pt x="47" y="243"/>
                </a:lnTo>
                <a:lnTo>
                  <a:pt x="41" y="243"/>
                </a:lnTo>
                <a:lnTo>
                  <a:pt x="47" y="249"/>
                </a:lnTo>
                <a:lnTo>
                  <a:pt x="47" y="249"/>
                </a:lnTo>
                <a:lnTo>
                  <a:pt x="47" y="249"/>
                </a:lnTo>
                <a:lnTo>
                  <a:pt x="47" y="249"/>
                </a:lnTo>
                <a:lnTo>
                  <a:pt x="47" y="249"/>
                </a:lnTo>
                <a:lnTo>
                  <a:pt x="47" y="249"/>
                </a:lnTo>
                <a:lnTo>
                  <a:pt x="47" y="249"/>
                </a:lnTo>
                <a:lnTo>
                  <a:pt x="47" y="255"/>
                </a:lnTo>
                <a:lnTo>
                  <a:pt x="53" y="255"/>
                </a:lnTo>
                <a:lnTo>
                  <a:pt x="53" y="255"/>
                </a:lnTo>
                <a:lnTo>
                  <a:pt x="53" y="261"/>
                </a:lnTo>
                <a:lnTo>
                  <a:pt x="53" y="267"/>
                </a:lnTo>
                <a:lnTo>
                  <a:pt x="53" y="267"/>
                </a:lnTo>
                <a:lnTo>
                  <a:pt x="59" y="279"/>
                </a:lnTo>
                <a:lnTo>
                  <a:pt x="59" y="285"/>
                </a:lnTo>
                <a:lnTo>
                  <a:pt x="59" y="291"/>
                </a:lnTo>
                <a:lnTo>
                  <a:pt x="59" y="297"/>
                </a:lnTo>
                <a:lnTo>
                  <a:pt x="59" y="302"/>
                </a:lnTo>
                <a:lnTo>
                  <a:pt x="59" y="302"/>
                </a:lnTo>
                <a:lnTo>
                  <a:pt x="59" y="302"/>
                </a:lnTo>
                <a:lnTo>
                  <a:pt x="59" y="302"/>
                </a:lnTo>
                <a:lnTo>
                  <a:pt x="59" y="308"/>
                </a:lnTo>
                <a:lnTo>
                  <a:pt x="59" y="308"/>
                </a:lnTo>
                <a:lnTo>
                  <a:pt x="59" y="308"/>
                </a:lnTo>
                <a:lnTo>
                  <a:pt x="59" y="308"/>
                </a:lnTo>
                <a:lnTo>
                  <a:pt x="59" y="302"/>
                </a:lnTo>
                <a:lnTo>
                  <a:pt x="59" y="302"/>
                </a:lnTo>
                <a:lnTo>
                  <a:pt x="59" y="302"/>
                </a:lnTo>
                <a:lnTo>
                  <a:pt x="59" y="302"/>
                </a:lnTo>
                <a:lnTo>
                  <a:pt x="59" y="302"/>
                </a:lnTo>
                <a:lnTo>
                  <a:pt x="65" y="302"/>
                </a:lnTo>
                <a:lnTo>
                  <a:pt x="65" y="302"/>
                </a:lnTo>
                <a:lnTo>
                  <a:pt x="65" y="302"/>
                </a:lnTo>
                <a:lnTo>
                  <a:pt x="65" y="302"/>
                </a:lnTo>
                <a:lnTo>
                  <a:pt x="65" y="302"/>
                </a:lnTo>
                <a:lnTo>
                  <a:pt x="59" y="302"/>
                </a:lnTo>
                <a:lnTo>
                  <a:pt x="59" y="302"/>
                </a:lnTo>
                <a:lnTo>
                  <a:pt x="59" y="302"/>
                </a:lnTo>
                <a:lnTo>
                  <a:pt x="59" y="302"/>
                </a:lnTo>
                <a:lnTo>
                  <a:pt x="59" y="302"/>
                </a:lnTo>
                <a:lnTo>
                  <a:pt x="59" y="297"/>
                </a:lnTo>
                <a:lnTo>
                  <a:pt x="59" y="297"/>
                </a:lnTo>
                <a:lnTo>
                  <a:pt x="59" y="297"/>
                </a:lnTo>
                <a:lnTo>
                  <a:pt x="59" y="297"/>
                </a:lnTo>
                <a:lnTo>
                  <a:pt x="59" y="291"/>
                </a:lnTo>
                <a:lnTo>
                  <a:pt x="59" y="291"/>
                </a:lnTo>
                <a:lnTo>
                  <a:pt x="59" y="291"/>
                </a:lnTo>
                <a:lnTo>
                  <a:pt x="59" y="291"/>
                </a:lnTo>
                <a:lnTo>
                  <a:pt x="59" y="291"/>
                </a:lnTo>
                <a:lnTo>
                  <a:pt x="65" y="291"/>
                </a:lnTo>
                <a:lnTo>
                  <a:pt x="65" y="291"/>
                </a:lnTo>
                <a:lnTo>
                  <a:pt x="65" y="291"/>
                </a:lnTo>
                <a:lnTo>
                  <a:pt x="71" y="291"/>
                </a:lnTo>
                <a:lnTo>
                  <a:pt x="71" y="291"/>
                </a:lnTo>
                <a:lnTo>
                  <a:pt x="71" y="297"/>
                </a:lnTo>
                <a:lnTo>
                  <a:pt x="71" y="297"/>
                </a:lnTo>
                <a:lnTo>
                  <a:pt x="71" y="297"/>
                </a:lnTo>
                <a:lnTo>
                  <a:pt x="71" y="297"/>
                </a:lnTo>
                <a:lnTo>
                  <a:pt x="71" y="297"/>
                </a:lnTo>
                <a:lnTo>
                  <a:pt x="77" y="297"/>
                </a:lnTo>
                <a:lnTo>
                  <a:pt x="77" y="297"/>
                </a:lnTo>
                <a:lnTo>
                  <a:pt x="83" y="297"/>
                </a:lnTo>
                <a:lnTo>
                  <a:pt x="83" y="297"/>
                </a:lnTo>
                <a:lnTo>
                  <a:pt x="77" y="297"/>
                </a:lnTo>
                <a:lnTo>
                  <a:pt x="77" y="297"/>
                </a:lnTo>
                <a:lnTo>
                  <a:pt x="77" y="297"/>
                </a:lnTo>
                <a:lnTo>
                  <a:pt x="77" y="302"/>
                </a:lnTo>
                <a:lnTo>
                  <a:pt x="89" y="302"/>
                </a:lnTo>
                <a:lnTo>
                  <a:pt x="89" y="302"/>
                </a:lnTo>
                <a:lnTo>
                  <a:pt x="89" y="302"/>
                </a:lnTo>
                <a:lnTo>
                  <a:pt x="95" y="302"/>
                </a:lnTo>
                <a:lnTo>
                  <a:pt x="95" y="302"/>
                </a:lnTo>
                <a:lnTo>
                  <a:pt x="89" y="302"/>
                </a:lnTo>
                <a:lnTo>
                  <a:pt x="89" y="302"/>
                </a:lnTo>
                <a:lnTo>
                  <a:pt x="77" y="308"/>
                </a:lnTo>
                <a:lnTo>
                  <a:pt x="77" y="308"/>
                </a:lnTo>
                <a:lnTo>
                  <a:pt x="71" y="308"/>
                </a:lnTo>
                <a:lnTo>
                  <a:pt x="71" y="308"/>
                </a:lnTo>
                <a:lnTo>
                  <a:pt x="71" y="308"/>
                </a:lnTo>
                <a:lnTo>
                  <a:pt x="71" y="308"/>
                </a:lnTo>
                <a:lnTo>
                  <a:pt x="71" y="314"/>
                </a:lnTo>
                <a:lnTo>
                  <a:pt x="71" y="314"/>
                </a:lnTo>
                <a:lnTo>
                  <a:pt x="71" y="314"/>
                </a:lnTo>
                <a:lnTo>
                  <a:pt x="71" y="314"/>
                </a:lnTo>
                <a:lnTo>
                  <a:pt x="71" y="314"/>
                </a:lnTo>
                <a:lnTo>
                  <a:pt x="71" y="314"/>
                </a:lnTo>
                <a:lnTo>
                  <a:pt x="71" y="314"/>
                </a:lnTo>
                <a:lnTo>
                  <a:pt x="71" y="314"/>
                </a:lnTo>
                <a:lnTo>
                  <a:pt x="71" y="320"/>
                </a:lnTo>
                <a:lnTo>
                  <a:pt x="71" y="320"/>
                </a:lnTo>
                <a:lnTo>
                  <a:pt x="71" y="320"/>
                </a:lnTo>
                <a:lnTo>
                  <a:pt x="71" y="320"/>
                </a:lnTo>
                <a:lnTo>
                  <a:pt x="71" y="320"/>
                </a:lnTo>
                <a:lnTo>
                  <a:pt x="71" y="320"/>
                </a:lnTo>
                <a:lnTo>
                  <a:pt x="71" y="320"/>
                </a:lnTo>
                <a:lnTo>
                  <a:pt x="71" y="320"/>
                </a:lnTo>
                <a:lnTo>
                  <a:pt x="65" y="320"/>
                </a:lnTo>
                <a:lnTo>
                  <a:pt x="65" y="314"/>
                </a:lnTo>
                <a:lnTo>
                  <a:pt x="65" y="314"/>
                </a:lnTo>
                <a:lnTo>
                  <a:pt x="65" y="314"/>
                </a:lnTo>
                <a:lnTo>
                  <a:pt x="65" y="314"/>
                </a:lnTo>
                <a:lnTo>
                  <a:pt x="65" y="308"/>
                </a:lnTo>
                <a:lnTo>
                  <a:pt x="65" y="308"/>
                </a:lnTo>
                <a:lnTo>
                  <a:pt x="65" y="308"/>
                </a:lnTo>
                <a:lnTo>
                  <a:pt x="59" y="308"/>
                </a:lnTo>
                <a:lnTo>
                  <a:pt x="59" y="308"/>
                </a:lnTo>
                <a:lnTo>
                  <a:pt x="59" y="314"/>
                </a:lnTo>
                <a:lnTo>
                  <a:pt x="65" y="314"/>
                </a:lnTo>
                <a:lnTo>
                  <a:pt x="65" y="320"/>
                </a:lnTo>
                <a:lnTo>
                  <a:pt x="65" y="320"/>
                </a:lnTo>
                <a:lnTo>
                  <a:pt x="65" y="326"/>
                </a:lnTo>
                <a:lnTo>
                  <a:pt x="65" y="326"/>
                </a:lnTo>
                <a:lnTo>
                  <a:pt x="65" y="332"/>
                </a:lnTo>
                <a:lnTo>
                  <a:pt x="65" y="332"/>
                </a:lnTo>
                <a:lnTo>
                  <a:pt x="65" y="332"/>
                </a:lnTo>
                <a:lnTo>
                  <a:pt x="71" y="338"/>
                </a:lnTo>
                <a:lnTo>
                  <a:pt x="71" y="338"/>
                </a:lnTo>
                <a:lnTo>
                  <a:pt x="71" y="338"/>
                </a:lnTo>
                <a:lnTo>
                  <a:pt x="77" y="338"/>
                </a:lnTo>
                <a:lnTo>
                  <a:pt x="77" y="338"/>
                </a:lnTo>
                <a:lnTo>
                  <a:pt x="77" y="338"/>
                </a:lnTo>
                <a:lnTo>
                  <a:pt x="77" y="338"/>
                </a:lnTo>
                <a:lnTo>
                  <a:pt x="77" y="338"/>
                </a:lnTo>
                <a:lnTo>
                  <a:pt x="77" y="338"/>
                </a:lnTo>
                <a:lnTo>
                  <a:pt x="77" y="338"/>
                </a:lnTo>
                <a:lnTo>
                  <a:pt x="77" y="338"/>
                </a:lnTo>
                <a:lnTo>
                  <a:pt x="77" y="332"/>
                </a:lnTo>
                <a:lnTo>
                  <a:pt x="77" y="338"/>
                </a:lnTo>
                <a:lnTo>
                  <a:pt x="83" y="332"/>
                </a:lnTo>
                <a:lnTo>
                  <a:pt x="83" y="332"/>
                </a:lnTo>
                <a:lnTo>
                  <a:pt x="83" y="332"/>
                </a:lnTo>
                <a:lnTo>
                  <a:pt x="83" y="332"/>
                </a:lnTo>
                <a:lnTo>
                  <a:pt x="83" y="332"/>
                </a:lnTo>
                <a:lnTo>
                  <a:pt x="83" y="332"/>
                </a:lnTo>
                <a:lnTo>
                  <a:pt x="89" y="332"/>
                </a:lnTo>
                <a:lnTo>
                  <a:pt x="89" y="338"/>
                </a:lnTo>
                <a:lnTo>
                  <a:pt x="89" y="338"/>
                </a:lnTo>
                <a:lnTo>
                  <a:pt x="95" y="338"/>
                </a:lnTo>
                <a:lnTo>
                  <a:pt x="95" y="338"/>
                </a:lnTo>
                <a:lnTo>
                  <a:pt x="95" y="344"/>
                </a:lnTo>
                <a:lnTo>
                  <a:pt x="95" y="344"/>
                </a:lnTo>
                <a:lnTo>
                  <a:pt x="95" y="344"/>
                </a:lnTo>
                <a:lnTo>
                  <a:pt x="95" y="344"/>
                </a:lnTo>
                <a:lnTo>
                  <a:pt x="95" y="344"/>
                </a:lnTo>
                <a:lnTo>
                  <a:pt x="95" y="344"/>
                </a:lnTo>
                <a:lnTo>
                  <a:pt x="89" y="344"/>
                </a:lnTo>
                <a:lnTo>
                  <a:pt x="89" y="338"/>
                </a:lnTo>
                <a:lnTo>
                  <a:pt x="89" y="338"/>
                </a:lnTo>
                <a:lnTo>
                  <a:pt x="89" y="338"/>
                </a:lnTo>
                <a:lnTo>
                  <a:pt x="83" y="344"/>
                </a:lnTo>
                <a:lnTo>
                  <a:pt x="83" y="344"/>
                </a:lnTo>
                <a:lnTo>
                  <a:pt x="83" y="344"/>
                </a:lnTo>
                <a:lnTo>
                  <a:pt x="83" y="350"/>
                </a:lnTo>
                <a:lnTo>
                  <a:pt x="83" y="356"/>
                </a:lnTo>
                <a:lnTo>
                  <a:pt x="83" y="356"/>
                </a:lnTo>
                <a:lnTo>
                  <a:pt x="83" y="350"/>
                </a:lnTo>
                <a:lnTo>
                  <a:pt x="83" y="350"/>
                </a:lnTo>
                <a:lnTo>
                  <a:pt x="77" y="350"/>
                </a:lnTo>
                <a:lnTo>
                  <a:pt x="77" y="350"/>
                </a:lnTo>
                <a:lnTo>
                  <a:pt x="83" y="356"/>
                </a:lnTo>
                <a:lnTo>
                  <a:pt x="83" y="362"/>
                </a:lnTo>
                <a:lnTo>
                  <a:pt x="83" y="362"/>
                </a:lnTo>
                <a:lnTo>
                  <a:pt x="83" y="362"/>
                </a:lnTo>
                <a:lnTo>
                  <a:pt x="83" y="362"/>
                </a:lnTo>
                <a:lnTo>
                  <a:pt x="83" y="362"/>
                </a:lnTo>
                <a:lnTo>
                  <a:pt x="83" y="362"/>
                </a:lnTo>
                <a:lnTo>
                  <a:pt x="83" y="368"/>
                </a:lnTo>
                <a:lnTo>
                  <a:pt x="83" y="368"/>
                </a:lnTo>
                <a:lnTo>
                  <a:pt x="83" y="368"/>
                </a:lnTo>
                <a:lnTo>
                  <a:pt x="83" y="368"/>
                </a:lnTo>
                <a:lnTo>
                  <a:pt x="83" y="368"/>
                </a:lnTo>
                <a:lnTo>
                  <a:pt x="83" y="368"/>
                </a:lnTo>
                <a:lnTo>
                  <a:pt x="83" y="368"/>
                </a:lnTo>
                <a:lnTo>
                  <a:pt x="83" y="374"/>
                </a:lnTo>
                <a:lnTo>
                  <a:pt x="83" y="374"/>
                </a:lnTo>
                <a:lnTo>
                  <a:pt x="83" y="374"/>
                </a:lnTo>
                <a:lnTo>
                  <a:pt x="83" y="374"/>
                </a:lnTo>
                <a:lnTo>
                  <a:pt x="83" y="374"/>
                </a:lnTo>
                <a:lnTo>
                  <a:pt x="83" y="374"/>
                </a:lnTo>
                <a:lnTo>
                  <a:pt x="83" y="374"/>
                </a:lnTo>
                <a:lnTo>
                  <a:pt x="83" y="374"/>
                </a:lnTo>
                <a:lnTo>
                  <a:pt x="83" y="374"/>
                </a:lnTo>
                <a:lnTo>
                  <a:pt x="83" y="374"/>
                </a:lnTo>
                <a:lnTo>
                  <a:pt x="83" y="374"/>
                </a:lnTo>
                <a:lnTo>
                  <a:pt x="89" y="380"/>
                </a:lnTo>
                <a:lnTo>
                  <a:pt x="89" y="380"/>
                </a:lnTo>
                <a:lnTo>
                  <a:pt x="89" y="380"/>
                </a:lnTo>
                <a:lnTo>
                  <a:pt x="89" y="380"/>
                </a:lnTo>
                <a:lnTo>
                  <a:pt x="89" y="386"/>
                </a:lnTo>
                <a:lnTo>
                  <a:pt x="89" y="380"/>
                </a:lnTo>
                <a:lnTo>
                  <a:pt x="83" y="380"/>
                </a:lnTo>
                <a:lnTo>
                  <a:pt x="83" y="380"/>
                </a:lnTo>
                <a:lnTo>
                  <a:pt x="83" y="380"/>
                </a:lnTo>
                <a:lnTo>
                  <a:pt x="83" y="380"/>
                </a:lnTo>
                <a:lnTo>
                  <a:pt x="83" y="380"/>
                </a:lnTo>
                <a:lnTo>
                  <a:pt x="77" y="380"/>
                </a:lnTo>
                <a:lnTo>
                  <a:pt x="77" y="380"/>
                </a:lnTo>
                <a:lnTo>
                  <a:pt x="77" y="386"/>
                </a:lnTo>
                <a:lnTo>
                  <a:pt x="77" y="386"/>
                </a:lnTo>
                <a:lnTo>
                  <a:pt x="77" y="386"/>
                </a:lnTo>
                <a:lnTo>
                  <a:pt x="71" y="386"/>
                </a:lnTo>
                <a:lnTo>
                  <a:pt x="71" y="380"/>
                </a:lnTo>
                <a:lnTo>
                  <a:pt x="71" y="380"/>
                </a:lnTo>
                <a:lnTo>
                  <a:pt x="71" y="374"/>
                </a:lnTo>
                <a:lnTo>
                  <a:pt x="71" y="374"/>
                </a:lnTo>
                <a:lnTo>
                  <a:pt x="71" y="368"/>
                </a:lnTo>
                <a:lnTo>
                  <a:pt x="71" y="368"/>
                </a:lnTo>
                <a:lnTo>
                  <a:pt x="71" y="356"/>
                </a:lnTo>
                <a:lnTo>
                  <a:pt x="71" y="356"/>
                </a:lnTo>
                <a:lnTo>
                  <a:pt x="71" y="356"/>
                </a:lnTo>
                <a:lnTo>
                  <a:pt x="71" y="356"/>
                </a:lnTo>
                <a:lnTo>
                  <a:pt x="71" y="350"/>
                </a:lnTo>
                <a:lnTo>
                  <a:pt x="71" y="350"/>
                </a:lnTo>
                <a:lnTo>
                  <a:pt x="71" y="350"/>
                </a:lnTo>
                <a:lnTo>
                  <a:pt x="71" y="350"/>
                </a:lnTo>
                <a:lnTo>
                  <a:pt x="71" y="350"/>
                </a:lnTo>
                <a:lnTo>
                  <a:pt x="65" y="344"/>
                </a:lnTo>
                <a:lnTo>
                  <a:pt x="65" y="344"/>
                </a:lnTo>
                <a:lnTo>
                  <a:pt x="65" y="350"/>
                </a:lnTo>
                <a:lnTo>
                  <a:pt x="65" y="356"/>
                </a:lnTo>
                <a:lnTo>
                  <a:pt x="65" y="368"/>
                </a:lnTo>
                <a:lnTo>
                  <a:pt x="65" y="380"/>
                </a:lnTo>
                <a:lnTo>
                  <a:pt x="65" y="386"/>
                </a:lnTo>
                <a:lnTo>
                  <a:pt x="65" y="386"/>
                </a:lnTo>
                <a:lnTo>
                  <a:pt x="65" y="391"/>
                </a:lnTo>
                <a:lnTo>
                  <a:pt x="65" y="391"/>
                </a:lnTo>
                <a:lnTo>
                  <a:pt x="65" y="391"/>
                </a:lnTo>
                <a:lnTo>
                  <a:pt x="65" y="391"/>
                </a:lnTo>
                <a:lnTo>
                  <a:pt x="65" y="397"/>
                </a:lnTo>
                <a:lnTo>
                  <a:pt x="65" y="397"/>
                </a:lnTo>
                <a:lnTo>
                  <a:pt x="65" y="397"/>
                </a:lnTo>
                <a:lnTo>
                  <a:pt x="65" y="397"/>
                </a:lnTo>
                <a:lnTo>
                  <a:pt x="65" y="397"/>
                </a:lnTo>
                <a:lnTo>
                  <a:pt x="65" y="403"/>
                </a:lnTo>
                <a:lnTo>
                  <a:pt x="65" y="403"/>
                </a:lnTo>
                <a:lnTo>
                  <a:pt x="65" y="403"/>
                </a:lnTo>
                <a:lnTo>
                  <a:pt x="65" y="403"/>
                </a:lnTo>
                <a:lnTo>
                  <a:pt x="71" y="403"/>
                </a:lnTo>
                <a:lnTo>
                  <a:pt x="71" y="403"/>
                </a:lnTo>
                <a:lnTo>
                  <a:pt x="71" y="403"/>
                </a:lnTo>
                <a:lnTo>
                  <a:pt x="71" y="397"/>
                </a:lnTo>
                <a:lnTo>
                  <a:pt x="71" y="397"/>
                </a:lnTo>
                <a:lnTo>
                  <a:pt x="71" y="397"/>
                </a:lnTo>
                <a:lnTo>
                  <a:pt x="71" y="397"/>
                </a:lnTo>
                <a:lnTo>
                  <a:pt x="71" y="397"/>
                </a:lnTo>
                <a:lnTo>
                  <a:pt x="71" y="397"/>
                </a:lnTo>
                <a:lnTo>
                  <a:pt x="71" y="397"/>
                </a:lnTo>
                <a:lnTo>
                  <a:pt x="71" y="397"/>
                </a:lnTo>
                <a:lnTo>
                  <a:pt x="71" y="397"/>
                </a:lnTo>
                <a:lnTo>
                  <a:pt x="71" y="397"/>
                </a:lnTo>
                <a:lnTo>
                  <a:pt x="77" y="397"/>
                </a:lnTo>
                <a:lnTo>
                  <a:pt x="77" y="397"/>
                </a:lnTo>
                <a:lnTo>
                  <a:pt x="77" y="397"/>
                </a:lnTo>
                <a:lnTo>
                  <a:pt x="77" y="403"/>
                </a:lnTo>
                <a:lnTo>
                  <a:pt x="83" y="403"/>
                </a:lnTo>
                <a:lnTo>
                  <a:pt x="83" y="403"/>
                </a:lnTo>
                <a:lnTo>
                  <a:pt x="83" y="403"/>
                </a:lnTo>
                <a:lnTo>
                  <a:pt x="83" y="403"/>
                </a:lnTo>
                <a:lnTo>
                  <a:pt x="83" y="403"/>
                </a:lnTo>
                <a:lnTo>
                  <a:pt x="83" y="403"/>
                </a:lnTo>
                <a:lnTo>
                  <a:pt x="89" y="403"/>
                </a:lnTo>
                <a:lnTo>
                  <a:pt x="89" y="403"/>
                </a:lnTo>
                <a:lnTo>
                  <a:pt x="89" y="403"/>
                </a:lnTo>
                <a:lnTo>
                  <a:pt x="89" y="403"/>
                </a:lnTo>
                <a:lnTo>
                  <a:pt x="89" y="403"/>
                </a:lnTo>
                <a:lnTo>
                  <a:pt x="89" y="403"/>
                </a:lnTo>
                <a:lnTo>
                  <a:pt x="95" y="403"/>
                </a:lnTo>
                <a:lnTo>
                  <a:pt x="95" y="403"/>
                </a:lnTo>
                <a:lnTo>
                  <a:pt x="95" y="403"/>
                </a:lnTo>
                <a:lnTo>
                  <a:pt x="95" y="397"/>
                </a:lnTo>
                <a:lnTo>
                  <a:pt x="95" y="397"/>
                </a:lnTo>
                <a:lnTo>
                  <a:pt x="95" y="397"/>
                </a:lnTo>
                <a:lnTo>
                  <a:pt x="95" y="403"/>
                </a:lnTo>
                <a:lnTo>
                  <a:pt x="95" y="403"/>
                </a:lnTo>
                <a:lnTo>
                  <a:pt x="95" y="403"/>
                </a:lnTo>
                <a:lnTo>
                  <a:pt x="95" y="403"/>
                </a:lnTo>
                <a:lnTo>
                  <a:pt x="101" y="403"/>
                </a:lnTo>
                <a:lnTo>
                  <a:pt x="101" y="397"/>
                </a:lnTo>
                <a:lnTo>
                  <a:pt x="101" y="397"/>
                </a:lnTo>
                <a:lnTo>
                  <a:pt x="101" y="397"/>
                </a:lnTo>
                <a:lnTo>
                  <a:pt x="101" y="397"/>
                </a:lnTo>
                <a:lnTo>
                  <a:pt x="101" y="397"/>
                </a:lnTo>
                <a:lnTo>
                  <a:pt x="101" y="397"/>
                </a:lnTo>
                <a:lnTo>
                  <a:pt x="101" y="397"/>
                </a:lnTo>
                <a:lnTo>
                  <a:pt x="101" y="397"/>
                </a:lnTo>
                <a:lnTo>
                  <a:pt x="101" y="397"/>
                </a:lnTo>
                <a:lnTo>
                  <a:pt x="101" y="397"/>
                </a:lnTo>
                <a:lnTo>
                  <a:pt x="101" y="397"/>
                </a:lnTo>
                <a:lnTo>
                  <a:pt x="107" y="397"/>
                </a:lnTo>
                <a:lnTo>
                  <a:pt x="107" y="397"/>
                </a:lnTo>
                <a:lnTo>
                  <a:pt x="107" y="397"/>
                </a:lnTo>
                <a:lnTo>
                  <a:pt x="107" y="397"/>
                </a:lnTo>
                <a:lnTo>
                  <a:pt x="107" y="397"/>
                </a:lnTo>
                <a:lnTo>
                  <a:pt x="107" y="397"/>
                </a:lnTo>
                <a:lnTo>
                  <a:pt x="107" y="397"/>
                </a:lnTo>
                <a:lnTo>
                  <a:pt x="107" y="397"/>
                </a:lnTo>
                <a:lnTo>
                  <a:pt x="107" y="403"/>
                </a:lnTo>
                <a:lnTo>
                  <a:pt x="113" y="403"/>
                </a:lnTo>
                <a:lnTo>
                  <a:pt x="113" y="403"/>
                </a:lnTo>
                <a:lnTo>
                  <a:pt x="118" y="403"/>
                </a:lnTo>
                <a:lnTo>
                  <a:pt x="124" y="403"/>
                </a:lnTo>
                <a:lnTo>
                  <a:pt x="130" y="403"/>
                </a:lnTo>
                <a:lnTo>
                  <a:pt x="130" y="403"/>
                </a:lnTo>
                <a:lnTo>
                  <a:pt x="130" y="403"/>
                </a:lnTo>
                <a:lnTo>
                  <a:pt x="130" y="409"/>
                </a:lnTo>
                <a:lnTo>
                  <a:pt x="130" y="409"/>
                </a:lnTo>
                <a:lnTo>
                  <a:pt x="136" y="409"/>
                </a:lnTo>
                <a:lnTo>
                  <a:pt x="136" y="409"/>
                </a:lnTo>
                <a:lnTo>
                  <a:pt x="142" y="415"/>
                </a:lnTo>
                <a:lnTo>
                  <a:pt x="142" y="421"/>
                </a:lnTo>
                <a:lnTo>
                  <a:pt x="148" y="421"/>
                </a:lnTo>
                <a:lnTo>
                  <a:pt x="148" y="415"/>
                </a:lnTo>
                <a:lnTo>
                  <a:pt x="154" y="415"/>
                </a:lnTo>
                <a:lnTo>
                  <a:pt x="154" y="415"/>
                </a:lnTo>
                <a:lnTo>
                  <a:pt x="154" y="415"/>
                </a:lnTo>
                <a:lnTo>
                  <a:pt x="154" y="415"/>
                </a:lnTo>
                <a:lnTo>
                  <a:pt x="154" y="415"/>
                </a:lnTo>
                <a:lnTo>
                  <a:pt x="154" y="415"/>
                </a:lnTo>
                <a:lnTo>
                  <a:pt x="154" y="415"/>
                </a:lnTo>
                <a:lnTo>
                  <a:pt x="154" y="421"/>
                </a:lnTo>
                <a:lnTo>
                  <a:pt x="148" y="421"/>
                </a:lnTo>
                <a:lnTo>
                  <a:pt x="148" y="421"/>
                </a:lnTo>
                <a:lnTo>
                  <a:pt x="148" y="421"/>
                </a:lnTo>
                <a:lnTo>
                  <a:pt x="142" y="421"/>
                </a:lnTo>
                <a:lnTo>
                  <a:pt x="142" y="421"/>
                </a:lnTo>
                <a:lnTo>
                  <a:pt x="142" y="421"/>
                </a:lnTo>
                <a:lnTo>
                  <a:pt x="136" y="421"/>
                </a:lnTo>
                <a:lnTo>
                  <a:pt x="136" y="415"/>
                </a:lnTo>
                <a:lnTo>
                  <a:pt x="130" y="415"/>
                </a:lnTo>
                <a:lnTo>
                  <a:pt x="130" y="415"/>
                </a:lnTo>
                <a:lnTo>
                  <a:pt x="130" y="415"/>
                </a:lnTo>
                <a:lnTo>
                  <a:pt x="130" y="415"/>
                </a:lnTo>
                <a:lnTo>
                  <a:pt x="130" y="415"/>
                </a:lnTo>
                <a:lnTo>
                  <a:pt x="130" y="409"/>
                </a:lnTo>
                <a:lnTo>
                  <a:pt x="130" y="409"/>
                </a:lnTo>
                <a:lnTo>
                  <a:pt x="124" y="409"/>
                </a:lnTo>
                <a:lnTo>
                  <a:pt x="124" y="409"/>
                </a:lnTo>
                <a:lnTo>
                  <a:pt x="124" y="409"/>
                </a:lnTo>
                <a:lnTo>
                  <a:pt x="124" y="409"/>
                </a:lnTo>
                <a:lnTo>
                  <a:pt x="124" y="409"/>
                </a:lnTo>
                <a:lnTo>
                  <a:pt x="124" y="409"/>
                </a:lnTo>
                <a:lnTo>
                  <a:pt x="118" y="409"/>
                </a:lnTo>
                <a:lnTo>
                  <a:pt x="118" y="409"/>
                </a:lnTo>
                <a:lnTo>
                  <a:pt x="118" y="409"/>
                </a:lnTo>
                <a:lnTo>
                  <a:pt x="118" y="409"/>
                </a:lnTo>
                <a:lnTo>
                  <a:pt x="118" y="409"/>
                </a:lnTo>
                <a:lnTo>
                  <a:pt x="113" y="409"/>
                </a:lnTo>
                <a:lnTo>
                  <a:pt x="113" y="409"/>
                </a:lnTo>
                <a:lnTo>
                  <a:pt x="113" y="409"/>
                </a:lnTo>
                <a:lnTo>
                  <a:pt x="113" y="409"/>
                </a:lnTo>
                <a:lnTo>
                  <a:pt x="113" y="415"/>
                </a:lnTo>
                <a:lnTo>
                  <a:pt x="113" y="415"/>
                </a:lnTo>
                <a:lnTo>
                  <a:pt x="113" y="415"/>
                </a:lnTo>
                <a:lnTo>
                  <a:pt x="101" y="415"/>
                </a:lnTo>
                <a:lnTo>
                  <a:pt x="101" y="415"/>
                </a:lnTo>
                <a:lnTo>
                  <a:pt x="101" y="415"/>
                </a:lnTo>
                <a:lnTo>
                  <a:pt x="101" y="415"/>
                </a:lnTo>
                <a:lnTo>
                  <a:pt x="101" y="415"/>
                </a:lnTo>
                <a:lnTo>
                  <a:pt x="101" y="415"/>
                </a:lnTo>
                <a:lnTo>
                  <a:pt x="101" y="409"/>
                </a:lnTo>
                <a:lnTo>
                  <a:pt x="95" y="409"/>
                </a:lnTo>
                <a:lnTo>
                  <a:pt x="95" y="409"/>
                </a:lnTo>
                <a:lnTo>
                  <a:pt x="95" y="415"/>
                </a:lnTo>
                <a:lnTo>
                  <a:pt x="95" y="415"/>
                </a:lnTo>
                <a:lnTo>
                  <a:pt x="95" y="415"/>
                </a:lnTo>
                <a:lnTo>
                  <a:pt x="89" y="415"/>
                </a:lnTo>
                <a:lnTo>
                  <a:pt x="89" y="415"/>
                </a:lnTo>
                <a:lnTo>
                  <a:pt x="89" y="415"/>
                </a:lnTo>
                <a:lnTo>
                  <a:pt x="89" y="415"/>
                </a:lnTo>
                <a:lnTo>
                  <a:pt x="89" y="415"/>
                </a:lnTo>
                <a:lnTo>
                  <a:pt x="89" y="415"/>
                </a:lnTo>
                <a:lnTo>
                  <a:pt x="89" y="415"/>
                </a:lnTo>
                <a:lnTo>
                  <a:pt x="89" y="415"/>
                </a:lnTo>
                <a:lnTo>
                  <a:pt x="89" y="415"/>
                </a:lnTo>
                <a:lnTo>
                  <a:pt x="89" y="415"/>
                </a:lnTo>
                <a:lnTo>
                  <a:pt x="95" y="415"/>
                </a:lnTo>
                <a:lnTo>
                  <a:pt x="95" y="415"/>
                </a:lnTo>
                <a:lnTo>
                  <a:pt x="95" y="421"/>
                </a:lnTo>
                <a:lnTo>
                  <a:pt x="95" y="421"/>
                </a:lnTo>
                <a:lnTo>
                  <a:pt x="95" y="421"/>
                </a:lnTo>
                <a:lnTo>
                  <a:pt x="95" y="421"/>
                </a:lnTo>
                <a:lnTo>
                  <a:pt x="95" y="421"/>
                </a:lnTo>
                <a:lnTo>
                  <a:pt x="95" y="421"/>
                </a:lnTo>
                <a:lnTo>
                  <a:pt x="95" y="421"/>
                </a:lnTo>
                <a:lnTo>
                  <a:pt x="95" y="421"/>
                </a:lnTo>
                <a:lnTo>
                  <a:pt x="95" y="427"/>
                </a:lnTo>
                <a:lnTo>
                  <a:pt x="95" y="421"/>
                </a:lnTo>
                <a:lnTo>
                  <a:pt x="95" y="421"/>
                </a:lnTo>
                <a:lnTo>
                  <a:pt x="95" y="421"/>
                </a:lnTo>
                <a:lnTo>
                  <a:pt x="89" y="415"/>
                </a:lnTo>
                <a:lnTo>
                  <a:pt x="89" y="415"/>
                </a:lnTo>
                <a:lnTo>
                  <a:pt x="89" y="415"/>
                </a:lnTo>
                <a:lnTo>
                  <a:pt x="89" y="415"/>
                </a:lnTo>
                <a:lnTo>
                  <a:pt x="83" y="415"/>
                </a:lnTo>
                <a:lnTo>
                  <a:pt x="83" y="415"/>
                </a:lnTo>
                <a:lnTo>
                  <a:pt x="83" y="415"/>
                </a:lnTo>
                <a:lnTo>
                  <a:pt x="83" y="415"/>
                </a:lnTo>
                <a:lnTo>
                  <a:pt x="83" y="415"/>
                </a:lnTo>
                <a:lnTo>
                  <a:pt x="83" y="415"/>
                </a:lnTo>
                <a:lnTo>
                  <a:pt x="83" y="415"/>
                </a:lnTo>
                <a:lnTo>
                  <a:pt x="83" y="415"/>
                </a:lnTo>
                <a:lnTo>
                  <a:pt x="83" y="415"/>
                </a:lnTo>
                <a:lnTo>
                  <a:pt x="77" y="409"/>
                </a:lnTo>
                <a:lnTo>
                  <a:pt x="77" y="409"/>
                </a:lnTo>
                <a:lnTo>
                  <a:pt x="77" y="409"/>
                </a:lnTo>
                <a:lnTo>
                  <a:pt x="77" y="409"/>
                </a:lnTo>
                <a:lnTo>
                  <a:pt x="77" y="409"/>
                </a:lnTo>
                <a:lnTo>
                  <a:pt x="71" y="403"/>
                </a:lnTo>
                <a:lnTo>
                  <a:pt x="71" y="409"/>
                </a:lnTo>
                <a:lnTo>
                  <a:pt x="71" y="409"/>
                </a:lnTo>
                <a:lnTo>
                  <a:pt x="71" y="409"/>
                </a:lnTo>
                <a:lnTo>
                  <a:pt x="77" y="409"/>
                </a:lnTo>
                <a:lnTo>
                  <a:pt x="77" y="421"/>
                </a:lnTo>
                <a:lnTo>
                  <a:pt x="83" y="427"/>
                </a:lnTo>
                <a:lnTo>
                  <a:pt x="83" y="427"/>
                </a:lnTo>
                <a:lnTo>
                  <a:pt x="83" y="433"/>
                </a:lnTo>
                <a:lnTo>
                  <a:pt x="83" y="433"/>
                </a:lnTo>
                <a:lnTo>
                  <a:pt x="83" y="439"/>
                </a:lnTo>
                <a:lnTo>
                  <a:pt x="83" y="439"/>
                </a:lnTo>
                <a:lnTo>
                  <a:pt x="83" y="445"/>
                </a:lnTo>
                <a:lnTo>
                  <a:pt x="77" y="445"/>
                </a:lnTo>
                <a:lnTo>
                  <a:pt x="77" y="445"/>
                </a:lnTo>
                <a:lnTo>
                  <a:pt x="77" y="445"/>
                </a:lnTo>
                <a:lnTo>
                  <a:pt x="77" y="445"/>
                </a:lnTo>
                <a:lnTo>
                  <a:pt x="77" y="445"/>
                </a:lnTo>
                <a:lnTo>
                  <a:pt x="77" y="451"/>
                </a:lnTo>
                <a:lnTo>
                  <a:pt x="77" y="451"/>
                </a:lnTo>
                <a:lnTo>
                  <a:pt x="77" y="451"/>
                </a:lnTo>
                <a:lnTo>
                  <a:pt x="77" y="457"/>
                </a:lnTo>
                <a:lnTo>
                  <a:pt x="77" y="457"/>
                </a:lnTo>
                <a:lnTo>
                  <a:pt x="77" y="457"/>
                </a:lnTo>
                <a:lnTo>
                  <a:pt x="77" y="469"/>
                </a:lnTo>
                <a:lnTo>
                  <a:pt x="77" y="469"/>
                </a:lnTo>
                <a:lnTo>
                  <a:pt x="77" y="469"/>
                </a:lnTo>
                <a:lnTo>
                  <a:pt x="77" y="469"/>
                </a:lnTo>
                <a:lnTo>
                  <a:pt x="77" y="469"/>
                </a:lnTo>
                <a:lnTo>
                  <a:pt x="77" y="474"/>
                </a:lnTo>
                <a:lnTo>
                  <a:pt x="77" y="474"/>
                </a:lnTo>
                <a:lnTo>
                  <a:pt x="77" y="474"/>
                </a:lnTo>
                <a:lnTo>
                  <a:pt x="77" y="474"/>
                </a:lnTo>
                <a:lnTo>
                  <a:pt x="77" y="474"/>
                </a:lnTo>
                <a:lnTo>
                  <a:pt x="77" y="474"/>
                </a:lnTo>
                <a:lnTo>
                  <a:pt x="77" y="474"/>
                </a:lnTo>
                <a:lnTo>
                  <a:pt x="77" y="474"/>
                </a:lnTo>
                <a:lnTo>
                  <a:pt x="77" y="480"/>
                </a:lnTo>
                <a:lnTo>
                  <a:pt x="77" y="480"/>
                </a:lnTo>
                <a:lnTo>
                  <a:pt x="83" y="480"/>
                </a:lnTo>
                <a:lnTo>
                  <a:pt x="83" y="480"/>
                </a:lnTo>
                <a:lnTo>
                  <a:pt x="83" y="486"/>
                </a:lnTo>
                <a:lnTo>
                  <a:pt x="83" y="486"/>
                </a:lnTo>
                <a:lnTo>
                  <a:pt x="83" y="486"/>
                </a:lnTo>
                <a:lnTo>
                  <a:pt x="83" y="486"/>
                </a:lnTo>
                <a:lnTo>
                  <a:pt x="83" y="486"/>
                </a:lnTo>
                <a:lnTo>
                  <a:pt x="83" y="486"/>
                </a:lnTo>
                <a:lnTo>
                  <a:pt x="83" y="486"/>
                </a:lnTo>
                <a:lnTo>
                  <a:pt x="83" y="486"/>
                </a:lnTo>
                <a:lnTo>
                  <a:pt x="83" y="486"/>
                </a:lnTo>
                <a:lnTo>
                  <a:pt x="83" y="480"/>
                </a:lnTo>
                <a:lnTo>
                  <a:pt x="83" y="480"/>
                </a:lnTo>
                <a:lnTo>
                  <a:pt x="83" y="480"/>
                </a:lnTo>
                <a:lnTo>
                  <a:pt x="83" y="480"/>
                </a:lnTo>
                <a:lnTo>
                  <a:pt x="83" y="486"/>
                </a:lnTo>
                <a:lnTo>
                  <a:pt x="83" y="486"/>
                </a:lnTo>
                <a:lnTo>
                  <a:pt x="89" y="486"/>
                </a:lnTo>
                <a:lnTo>
                  <a:pt x="89" y="486"/>
                </a:lnTo>
                <a:lnTo>
                  <a:pt x="89" y="486"/>
                </a:lnTo>
                <a:lnTo>
                  <a:pt x="89" y="480"/>
                </a:lnTo>
                <a:lnTo>
                  <a:pt x="89" y="486"/>
                </a:lnTo>
                <a:lnTo>
                  <a:pt x="83" y="486"/>
                </a:lnTo>
                <a:lnTo>
                  <a:pt x="83" y="486"/>
                </a:lnTo>
                <a:lnTo>
                  <a:pt x="83" y="486"/>
                </a:lnTo>
                <a:lnTo>
                  <a:pt x="83" y="486"/>
                </a:lnTo>
                <a:lnTo>
                  <a:pt x="83" y="486"/>
                </a:lnTo>
                <a:lnTo>
                  <a:pt x="83" y="486"/>
                </a:lnTo>
                <a:lnTo>
                  <a:pt x="83" y="486"/>
                </a:lnTo>
                <a:lnTo>
                  <a:pt x="83" y="486"/>
                </a:lnTo>
                <a:lnTo>
                  <a:pt x="77" y="492"/>
                </a:lnTo>
                <a:lnTo>
                  <a:pt x="77" y="492"/>
                </a:lnTo>
                <a:lnTo>
                  <a:pt x="77" y="498"/>
                </a:lnTo>
                <a:lnTo>
                  <a:pt x="77" y="498"/>
                </a:lnTo>
                <a:lnTo>
                  <a:pt x="77" y="498"/>
                </a:lnTo>
                <a:lnTo>
                  <a:pt x="77" y="504"/>
                </a:lnTo>
                <a:lnTo>
                  <a:pt x="83" y="504"/>
                </a:lnTo>
                <a:lnTo>
                  <a:pt x="83" y="504"/>
                </a:lnTo>
                <a:lnTo>
                  <a:pt x="83" y="504"/>
                </a:lnTo>
                <a:lnTo>
                  <a:pt x="83" y="504"/>
                </a:lnTo>
                <a:lnTo>
                  <a:pt x="83" y="510"/>
                </a:lnTo>
                <a:lnTo>
                  <a:pt x="83" y="510"/>
                </a:lnTo>
                <a:lnTo>
                  <a:pt x="83" y="510"/>
                </a:lnTo>
                <a:lnTo>
                  <a:pt x="83" y="510"/>
                </a:lnTo>
                <a:lnTo>
                  <a:pt x="83" y="510"/>
                </a:lnTo>
                <a:lnTo>
                  <a:pt x="83" y="510"/>
                </a:lnTo>
                <a:lnTo>
                  <a:pt x="83" y="516"/>
                </a:lnTo>
                <a:lnTo>
                  <a:pt x="83" y="516"/>
                </a:lnTo>
                <a:lnTo>
                  <a:pt x="83" y="516"/>
                </a:lnTo>
                <a:lnTo>
                  <a:pt x="83" y="516"/>
                </a:lnTo>
                <a:lnTo>
                  <a:pt x="83" y="516"/>
                </a:lnTo>
                <a:lnTo>
                  <a:pt x="83" y="516"/>
                </a:lnTo>
                <a:lnTo>
                  <a:pt x="83" y="510"/>
                </a:lnTo>
                <a:lnTo>
                  <a:pt x="83" y="510"/>
                </a:lnTo>
                <a:lnTo>
                  <a:pt x="83" y="510"/>
                </a:lnTo>
                <a:lnTo>
                  <a:pt x="77" y="510"/>
                </a:lnTo>
                <a:lnTo>
                  <a:pt x="77" y="504"/>
                </a:lnTo>
                <a:lnTo>
                  <a:pt x="77" y="504"/>
                </a:lnTo>
                <a:lnTo>
                  <a:pt x="77" y="504"/>
                </a:lnTo>
                <a:lnTo>
                  <a:pt x="77" y="510"/>
                </a:lnTo>
                <a:lnTo>
                  <a:pt x="77" y="510"/>
                </a:lnTo>
                <a:lnTo>
                  <a:pt x="77" y="510"/>
                </a:lnTo>
                <a:lnTo>
                  <a:pt x="77" y="516"/>
                </a:lnTo>
                <a:lnTo>
                  <a:pt x="77" y="516"/>
                </a:lnTo>
                <a:lnTo>
                  <a:pt x="77" y="522"/>
                </a:lnTo>
                <a:lnTo>
                  <a:pt x="83" y="522"/>
                </a:lnTo>
                <a:lnTo>
                  <a:pt x="83" y="522"/>
                </a:lnTo>
                <a:lnTo>
                  <a:pt x="83" y="528"/>
                </a:lnTo>
                <a:lnTo>
                  <a:pt x="77" y="528"/>
                </a:lnTo>
                <a:lnTo>
                  <a:pt x="77" y="528"/>
                </a:lnTo>
                <a:lnTo>
                  <a:pt x="77" y="528"/>
                </a:lnTo>
                <a:lnTo>
                  <a:pt x="77" y="528"/>
                </a:lnTo>
                <a:lnTo>
                  <a:pt x="77" y="522"/>
                </a:lnTo>
                <a:lnTo>
                  <a:pt x="77" y="522"/>
                </a:lnTo>
                <a:lnTo>
                  <a:pt x="77" y="522"/>
                </a:lnTo>
                <a:lnTo>
                  <a:pt x="77" y="522"/>
                </a:lnTo>
                <a:lnTo>
                  <a:pt x="77" y="522"/>
                </a:lnTo>
                <a:lnTo>
                  <a:pt x="77" y="522"/>
                </a:lnTo>
                <a:lnTo>
                  <a:pt x="77" y="528"/>
                </a:lnTo>
                <a:lnTo>
                  <a:pt x="77" y="528"/>
                </a:lnTo>
                <a:lnTo>
                  <a:pt x="77" y="528"/>
                </a:lnTo>
                <a:lnTo>
                  <a:pt x="77" y="534"/>
                </a:lnTo>
                <a:lnTo>
                  <a:pt x="77" y="534"/>
                </a:lnTo>
                <a:lnTo>
                  <a:pt x="77" y="534"/>
                </a:lnTo>
                <a:lnTo>
                  <a:pt x="71" y="534"/>
                </a:lnTo>
                <a:lnTo>
                  <a:pt x="71" y="534"/>
                </a:lnTo>
                <a:lnTo>
                  <a:pt x="77" y="534"/>
                </a:lnTo>
                <a:lnTo>
                  <a:pt x="77" y="534"/>
                </a:lnTo>
                <a:lnTo>
                  <a:pt x="77" y="534"/>
                </a:lnTo>
                <a:lnTo>
                  <a:pt x="77" y="540"/>
                </a:lnTo>
                <a:lnTo>
                  <a:pt x="77" y="540"/>
                </a:lnTo>
                <a:lnTo>
                  <a:pt x="77" y="546"/>
                </a:lnTo>
                <a:lnTo>
                  <a:pt x="77" y="546"/>
                </a:lnTo>
                <a:lnTo>
                  <a:pt x="77" y="546"/>
                </a:lnTo>
                <a:lnTo>
                  <a:pt x="77" y="546"/>
                </a:lnTo>
                <a:lnTo>
                  <a:pt x="77" y="546"/>
                </a:lnTo>
                <a:lnTo>
                  <a:pt x="77" y="552"/>
                </a:lnTo>
                <a:lnTo>
                  <a:pt x="77" y="552"/>
                </a:lnTo>
                <a:lnTo>
                  <a:pt x="77" y="558"/>
                </a:lnTo>
                <a:lnTo>
                  <a:pt x="77" y="558"/>
                </a:lnTo>
                <a:lnTo>
                  <a:pt x="77" y="558"/>
                </a:lnTo>
                <a:lnTo>
                  <a:pt x="77" y="563"/>
                </a:lnTo>
                <a:lnTo>
                  <a:pt x="77" y="563"/>
                </a:lnTo>
                <a:lnTo>
                  <a:pt x="77" y="563"/>
                </a:lnTo>
                <a:lnTo>
                  <a:pt x="77" y="569"/>
                </a:lnTo>
                <a:lnTo>
                  <a:pt x="71" y="569"/>
                </a:lnTo>
                <a:lnTo>
                  <a:pt x="71" y="575"/>
                </a:lnTo>
                <a:lnTo>
                  <a:pt x="71" y="575"/>
                </a:lnTo>
                <a:lnTo>
                  <a:pt x="71" y="575"/>
                </a:lnTo>
                <a:lnTo>
                  <a:pt x="71" y="575"/>
                </a:lnTo>
                <a:lnTo>
                  <a:pt x="71" y="581"/>
                </a:lnTo>
                <a:lnTo>
                  <a:pt x="71" y="587"/>
                </a:lnTo>
                <a:lnTo>
                  <a:pt x="71" y="587"/>
                </a:lnTo>
                <a:lnTo>
                  <a:pt x="71" y="587"/>
                </a:lnTo>
                <a:lnTo>
                  <a:pt x="71" y="593"/>
                </a:lnTo>
                <a:lnTo>
                  <a:pt x="71" y="593"/>
                </a:lnTo>
                <a:lnTo>
                  <a:pt x="71" y="593"/>
                </a:lnTo>
                <a:lnTo>
                  <a:pt x="71" y="593"/>
                </a:lnTo>
                <a:lnTo>
                  <a:pt x="71" y="593"/>
                </a:lnTo>
                <a:lnTo>
                  <a:pt x="71" y="593"/>
                </a:lnTo>
                <a:lnTo>
                  <a:pt x="71" y="593"/>
                </a:lnTo>
                <a:lnTo>
                  <a:pt x="71" y="593"/>
                </a:lnTo>
                <a:lnTo>
                  <a:pt x="71" y="599"/>
                </a:lnTo>
                <a:lnTo>
                  <a:pt x="71" y="599"/>
                </a:lnTo>
                <a:lnTo>
                  <a:pt x="71" y="599"/>
                </a:lnTo>
                <a:lnTo>
                  <a:pt x="71" y="605"/>
                </a:lnTo>
                <a:lnTo>
                  <a:pt x="71" y="605"/>
                </a:lnTo>
                <a:lnTo>
                  <a:pt x="71" y="605"/>
                </a:lnTo>
                <a:lnTo>
                  <a:pt x="65" y="605"/>
                </a:lnTo>
                <a:lnTo>
                  <a:pt x="65" y="611"/>
                </a:lnTo>
                <a:lnTo>
                  <a:pt x="65" y="611"/>
                </a:lnTo>
                <a:lnTo>
                  <a:pt x="65" y="617"/>
                </a:lnTo>
                <a:lnTo>
                  <a:pt x="65" y="617"/>
                </a:lnTo>
                <a:lnTo>
                  <a:pt x="65" y="617"/>
                </a:lnTo>
                <a:lnTo>
                  <a:pt x="71" y="617"/>
                </a:lnTo>
                <a:lnTo>
                  <a:pt x="71" y="623"/>
                </a:lnTo>
                <a:lnTo>
                  <a:pt x="65" y="623"/>
                </a:lnTo>
                <a:lnTo>
                  <a:pt x="65" y="629"/>
                </a:lnTo>
                <a:lnTo>
                  <a:pt x="65" y="629"/>
                </a:lnTo>
                <a:lnTo>
                  <a:pt x="65" y="629"/>
                </a:lnTo>
                <a:lnTo>
                  <a:pt x="65" y="629"/>
                </a:lnTo>
                <a:lnTo>
                  <a:pt x="65" y="629"/>
                </a:lnTo>
                <a:lnTo>
                  <a:pt x="65" y="629"/>
                </a:lnTo>
                <a:lnTo>
                  <a:pt x="65" y="629"/>
                </a:lnTo>
                <a:lnTo>
                  <a:pt x="71" y="629"/>
                </a:lnTo>
                <a:lnTo>
                  <a:pt x="71" y="629"/>
                </a:lnTo>
                <a:lnTo>
                  <a:pt x="71" y="629"/>
                </a:lnTo>
                <a:lnTo>
                  <a:pt x="65" y="635"/>
                </a:lnTo>
                <a:lnTo>
                  <a:pt x="65" y="635"/>
                </a:lnTo>
                <a:lnTo>
                  <a:pt x="65" y="635"/>
                </a:lnTo>
                <a:lnTo>
                  <a:pt x="65" y="635"/>
                </a:lnTo>
                <a:lnTo>
                  <a:pt x="71" y="635"/>
                </a:lnTo>
                <a:lnTo>
                  <a:pt x="71" y="635"/>
                </a:lnTo>
                <a:lnTo>
                  <a:pt x="71" y="635"/>
                </a:lnTo>
                <a:lnTo>
                  <a:pt x="71" y="635"/>
                </a:lnTo>
                <a:lnTo>
                  <a:pt x="71" y="635"/>
                </a:lnTo>
                <a:lnTo>
                  <a:pt x="71" y="635"/>
                </a:lnTo>
                <a:lnTo>
                  <a:pt x="71" y="635"/>
                </a:lnTo>
                <a:lnTo>
                  <a:pt x="71" y="635"/>
                </a:lnTo>
                <a:lnTo>
                  <a:pt x="71" y="635"/>
                </a:lnTo>
                <a:lnTo>
                  <a:pt x="71" y="635"/>
                </a:lnTo>
                <a:lnTo>
                  <a:pt x="71" y="635"/>
                </a:lnTo>
                <a:lnTo>
                  <a:pt x="71" y="635"/>
                </a:lnTo>
                <a:lnTo>
                  <a:pt x="71" y="641"/>
                </a:lnTo>
                <a:lnTo>
                  <a:pt x="71" y="635"/>
                </a:lnTo>
                <a:lnTo>
                  <a:pt x="71" y="635"/>
                </a:lnTo>
                <a:lnTo>
                  <a:pt x="71" y="635"/>
                </a:lnTo>
                <a:lnTo>
                  <a:pt x="71" y="635"/>
                </a:lnTo>
                <a:lnTo>
                  <a:pt x="71" y="635"/>
                </a:lnTo>
                <a:lnTo>
                  <a:pt x="71" y="635"/>
                </a:lnTo>
                <a:lnTo>
                  <a:pt x="65" y="635"/>
                </a:lnTo>
                <a:lnTo>
                  <a:pt x="65" y="646"/>
                </a:lnTo>
                <a:lnTo>
                  <a:pt x="65" y="652"/>
                </a:lnTo>
                <a:lnTo>
                  <a:pt x="65" y="658"/>
                </a:lnTo>
                <a:lnTo>
                  <a:pt x="65" y="658"/>
                </a:lnTo>
                <a:lnTo>
                  <a:pt x="65" y="658"/>
                </a:lnTo>
                <a:lnTo>
                  <a:pt x="65" y="658"/>
                </a:lnTo>
                <a:lnTo>
                  <a:pt x="65" y="664"/>
                </a:lnTo>
                <a:lnTo>
                  <a:pt x="65" y="664"/>
                </a:lnTo>
                <a:lnTo>
                  <a:pt x="65" y="664"/>
                </a:lnTo>
                <a:lnTo>
                  <a:pt x="65" y="658"/>
                </a:lnTo>
                <a:lnTo>
                  <a:pt x="71" y="658"/>
                </a:lnTo>
                <a:lnTo>
                  <a:pt x="71" y="658"/>
                </a:lnTo>
                <a:lnTo>
                  <a:pt x="71" y="658"/>
                </a:lnTo>
                <a:lnTo>
                  <a:pt x="71" y="664"/>
                </a:lnTo>
                <a:lnTo>
                  <a:pt x="71" y="664"/>
                </a:lnTo>
                <a:lnTo>
                  <a:pt x="71" y="664"/>
                </a:lnTo>
                <a:lnTo>
                  <a:pt x="71" y="664"/>
                </a:lnTo>
                <a:lnTo>
                  <a:pt x="71" y="664"/>
                </a:lnTo>
                <a:lnTo>
                  <a:pt x="65" y="664"/>
                </a:lnTo>
                <a:lnTo>
                  <a:pt x="65" y="664"/>
                </a:lnTo>
                <a:lnTo>
                  <a:pt x="65" y="664"/>
                </a:lnTo>
                <a:lnTo>
                  <a:pt x="65" y="670"/>
                </a:lnTo>
                <a:lnTo>
                  <a:pt x="65" y="676"/>
                </a:lnTo>
                <a:lnTo>
                  <a:pt x="65" y="676"/>
                </a:lnTo>
                <a:lnTo>
                  <a:pt x="65" y="676"/>
                </a:lnTo>
                <a:lnTo>
                  <a:pt x="65" y="676"/>
                </a:lnTo>
                <a:lnTo>
                  <a:pt x="65" y="676"/>
                </a:lnTo>
                <a:lnTo>
                  <a:pt x="65" y="676"/>
                </a:lnTo>
                <a:lnTo>
                  <a:pt x="65" y="682"/>
                </a:lnTo>
                <a:lnTo>
                  <a:pt x="65" y="682"/>
                </a:lnTo>
                <a:lnTo>
                  <a:pt x="65" y="682"/>
                </a:lnTo>
                <a:lnTo>
                  <a:pt x="65" y="682"/>
                </a:lnTo>
                <a:lnTo>
                  <a:pt x="65" y="682"/>
                </a:lnTo>
                <a:lnTo>
                  <a:pt x="65" y="682"/>
                </a:lnTo>
                <a:lnTo>
                  <a:pt x="65" y="688"/>
                </a:lnTo>
                <a:lnTo>
                  <a:pt x="65" y="688"/>
                </a:lnTo>
                <a:lnTo>
                  <a:pt x="65" y="694"/>
                </a:lnTo>
                <a:lnTo>
                  <a:pt x="65" y="694"/>
                </a:lnTo>
                <a:lnTo>
                  <a:pt x="59" y="706"/>
                </a:lnTo>
                <a:lnTo>
                  <a:pt x="59" y="718"/>
                </a:lnTo>
                <a:lnTo>
                  <a:pt x="59" y="718"/>
                </a:lnTo>
                <a:lnTo>
                  <a:pt x="65" y="724"/>
                </a:lnTo>
                <a:lnTo>
                  <a:pt x="65" y="724"/>
                </a:lnTo>
                <a:lnTo>
                  <a:pt x="59" y="724"/>
                </a:lnTo>
                <a:lnTo>
                  <a:pt x="59" y="724"/>
                </a:lnTo>
                <a:lnTo>
                  <a:pt x="59" y="724"/>
                </a:lnTo>
                <a:lnTo>
                  <a:pt x="59" y="724"/>
                </a:lnTo>
                <a:lnTo>
                  <a:pt x="59" y="724"/>
                </a:lnTo>
                <a:lnTo>
                  <a:pt x="59" y="730"/>
                </a:lnTo>
                <a:lnTo>
                  <a:pt x="59" y="730"/>
                </a:lnTo>
                <a:lnTo>
                  <a:pt x="59" y="735"/>
                </a:lnTo>
                <a:lnTo>
                  <a:pt x="59" y="741"/>
                </a:lnTo>
                <a:lnTo>
                  <a:pt x="59" y="753"/>
                </a:lnTo>
                <a:lnTo>
                  <a:pt x="53" y="759"/>
                </a:lnTo>
                <a:lnTo>
                  <a:pt x="53" y="759"/>
                </a:lnTo>
                <a:lnTo>
                  <a:pt x="53" y="765"/>
                </a:lnTo>
                <a:lnTo>
                  <a:pt x="53" y="765"/>
                </a:lnTo>
                <a:lnTo>
                  <a:pt x="53" y="765"/>
                </a:lnTo>
                <a:lnTo>
                  <a:pt x="59" y="765"/>
                </a:lnTo>
                <a:lnTo>
                  <a:pt x="59" y="765"/>
                </a:lnTo>
                <a:lnTo>
                  <a:pt x="59" y="759"/>
                </a:lnTo>
                <a:lnTo>
                  <a:pt x="59" y="759"/>
                </a:lnTo>
                <a:lnTo>
                  <a:pt x="59" y="759"/>
                </a:lnTo>
                <a:lnTo>
                  <a:pt x="59" y="759"/>
                </a:lnTo>
                <a:lnTo>
                  <a:pt x="65" y="759"/>
                </a:lnTo>
                <a:lnTo>
                  <a:pt x="65" y="759"/>
                </a:lnTo>
                <a:lnTo>
                  <a:pt x="65" y="759"/>
                </a:lnTo>
                <a:lnTo>
                  <a:pt x="65" y="759"/>
                </a:lnTo>
                <a:lnTo>
                  <a:pt x="65" y="759"/>
                </a:lnTo>
                <a:lnTo>
                  <a:pt x="65" y="765"/>
                </a:lnTo>
                <a:lnTo>
                  <a:pt x="65" y="765"/>
                </a:lnTo>
                <a:lnTo>
                  <a:pt x="65" y="765"/>
                </a:lnTo>
                <a:lnTo>
                  <a:pt x="65" y="759"/>
                </a:lnTo>
                <a:lnTo>
                  <a:pt x="59" y="759"/>
                </a:lnTo>
                <a:lnTo>
                  <a:pt x="59" y="759"/>
                </a:lnTo>
                <a:lnTo>
                  <a:pt x="59" y="759"/>
                </a:lnTo>
                <a:lnTo>
                  <a:pt x="59" y="759"/>
                </a:lnTo>
                <a:lnTo>
                  <a:pt x="59" y="759"/>
                </a:lnTo>
                <a:lnTo>
                  <a:pt x="59" y="759"/>
                </a:lnTo>
                <a:lnTo>
                  <a:pt x="59" y="765"/>
                </a:lnTo>
                <a:lnTo>
                  <a:pt x="59" y="765"/>
                </a:lnTo>
                <a:lnTo>
                  <a:pt x="59" y="765"/>
                </a:lnTo>
                <a:lnTo>
                  <a:pt x="59" y="765"/>
                </a:lnTo>
                <a:lnTo>
                  <a:pt x="53" y="771"/>
                </a:lnTo>
                <a:lnTo>
                  <a:pt x="53" y="771"/>
                </a:lnTo>
                <a:lnTo>
                  <a:pt x="53" y="771"/>
                </a:lnTo>
                <a:lnTo>
                  <a:pt x="53" y="771"/>
                </a:lnTo>
                <a:lnTo>
                  <a:pt x="53" y="771"/>
                </a:lnTo>
                <a:lnTo>
                  <a:pt x="53" y="777"/>
                </a:lnTo>
                <a:lnTo>
                  <a:pt x="53" y="777"/>
                </a:lnTo>
                <a:lnTo>
                  <a:pt x="53" y="783"/>
                </a:lnTo>
                <a:lnTo>
                  <a:pt x="53" y="783"/>
                </a:lnTo>
                <a:lnTo>
                  <a:pt x="47" y="789"/>
                </a:lnTo>
                <a:lnTo>
                  <a:pt x="47" y="801"/>
                </a:lnTo>
                <a:lnTo>
                  <a:pt x="41" y="807"/>
                </a:lnTo>
                <a:lnTo>
                  <a:pt x="41" y="813"/>
                </a:lnTo>
                <a:lnTo>
                  <a:pt x="47" y="807"/>
                </a:lnTo>
                <a:lnTo>
                  <a:pt x="47" y="801"/>
                </a:lnTo>
                <a:lnTo>
                  <a:pt x="47" y="801"/>
                </a:lnTo>
                <a:lnTo>
                  <a:pt x="47" y="801"/>
                </a:lnTo>
                <a:lnTo>
                  <a:pt x="47" y="801"/>
                </a:lnTo>
                <a:lnTo>
                  <a:pt x="53" y="801"/>
                </a:lnTo>
                <a:lnTo>
                  <a:pt x="53" y="795"/>
                </a:lnTo>
                <a:lnTo>
                  <a:pt x="53" y="795"/>
                </a:lnTo>
                <a:lnTo>
                  <a:pt x="53" y="801"/>
                </a:lnTo>
                <a:lnTo>
                  <a:pt x="53" y="801"/>
                </a:lnTo>
                <a:lnTo>
                  <a:pt x="53" y="801"/>
                </a:lnTo>
                <a:lnTo>
                  <a:pt x="53" y="801"/>
                </a:lnTo>
                <a:lnTo>
                  <a:pt x="53" y="801"/>
                </a:lnTo>
                <a:lnTo>
                  <a:pt x="53" y="801"/>
                </a:lnTo>
                <a:lnTo>
                  <a:pt x="53" y="807"/>
                </a:lnTo>
                <a:lnTo>
                  <a:pt x="53" y="807"/>
                </a:lnTo>
                <a:lnTo>
                  <a:pt x="59" y="807"/>
                </a:lnTo>
                <a:lnTo>
                  <a:pt x="59" y="807"/>
                </a:lnTo>
                <a:lnTo>
                  <a:pt x="59" y="807"/>
                </a:lnTo>
                <a:lnTo>
                  <a:pt x="59" y="807"/>
                </a:lnTo>
                <a:lnTo>
                  <a:pt x="59" y="807"/>
                </a:lnTo>
                <a:lnTo>
                  <a:pt x="53" y="807"/>
                </a:lnTo>
                <a:lnTo>
                  <a:pt x="53" y="807"/>
                </a:lnTo>
                <a:lnTo>
                  <a:pt x="53" y="807"/>
                </a:lnTo>
                <a:lnTo>
                  <a:pt x="53" y="807"/>
                </a:lnTo>
                <a:lnTo>
                  <a:pt x="53" y="807"/>
                </a:lnTo>
                <a:lnTo>
                  <a:pt x="53" y="807"/>
                </a:lnTo>
                <a:lnTo>
                  <a:pt x="53" y="801"/>
                </a:lnTo>
                <a:lnTo>
                  <a:pt x="53" y="801"/>
                </a:lnTo>
                <a:lnTo>
                  <a:pt x="53" y="801"/>
                </a:lnTo>
                <a:lnTo>
                  <a:pt x="53" y="801"/>
                </a:lnTo>
                <a:lnTo>
                  <a:pt x="53" y="801"/>
                </a:lnTo>
                <a:lnTo>
                  <a:pt x="53" y="801"/>
                </a:lnTo>
                <a:lnTo>
                  <a:pt x="47" y="801"/>
                </a:lnTo>
                <a:lnTo>
                  <a:pt x="47" y="801"/>
                </a:lnTo>
                <a:lnTo>
                  <a:pt x="47" y="807"/>
                </a:lnTo>
                <a:lnTo>
                  <a:pt x="47" y="807"/>
                </a:lnTo>
                <a:lnTo>
                  <a:pt x="47" y="807"/>
                </a:lnTo>
                <a:lnTo>
                  <a:pt x="47" y="807"/>
                </a:lnTo>
                <a:lnTo>
                  <a:pt x="41" y="813"/>
                </a:lnTo>
                <a:lnTo>
                  <a:pt x="41" y="813"/>
                </a:lnTo>
                <a:lnTo>
                  <a:pt x="41" y="813"/>
                </a:lnTo>
                <a:lnTo>
                  <a:pt x="41" y="813"/>
                </a:lnTo>
                <a:lnTo>
                  <a:pt x="41" y="813"/>
                </a:lnTo>
                <a:lnTo>
                  <a:pt x="41" y="818"/>
                </a:lnTo>
                <a:lnTo>
                  <a:pt x="41" y="818"/>
                </a:lnTo>
                <a:lnTo>
                  <a:pt x="41" y="818"/>
                </a:lnTo>
                <a:lnTo>
                  <a:pt x="41" y="818"/>
                </a:lnTo>
                <a:lnTo>
                  <a:pt x="41" y="818"/>
                </a:lnTo>
                <a:lnTo>
                  <a:pt x="41" y="813"/>
                </a:lnTo>
                <a:lnTo>
                  <a:pt x="41" y="813"/>
                </a:lnTo>
                <a:lnTo>
                  <a:pt x="41" y="813"/>
                </a:lnTo>
                <a:lnTo>
                  <a:pt x="41" y="813"/>
                </a:lnTo>
                <a:lnTo>
                  <a:pt x="35" y="813"/>
                </a:lnTo>
                <a:lnTo>
                  <a:pt x="35" y="813"/>
                </a:lnTo>
                <a:lnTo>
                  <a:pt x="35" y="813"/>
                </a:lnTo>
                <a:lnTo>
                  <a:pt x="35" y="813"/>
                </a:lnTo>
                <a:lnTo>
                  <a:pt x="35" y="818"/>
                </a:lnTo>
                <a:lnTo>
                  <a:pt x="35" y="818"/>
                </a:lnTo>
                <a:lnTo>
                  <a:pt x="35" y="818"/>
                </a:lnTo>
                <a:lnTo>
                  <a:pt x="35" y="824"/>
                </a:lnTo>
                <a:lnTo>
                  <a:pt x="35" y="836"/>
                </a:lnTo>
                <a:lnTo>
                  <a:pt x="30" y="842"/>
                </a:lnTo>
                <a:lnTo>
                  <a:pt x="35" y="842"/>
                </a:lnTo>
                <a:lnTo>
                  <a:pt x="35" y="842"/>
                </a:lnTo>
                <a:lnTo>
                  <a:pt x="30" y="842"/>
                </a:lnTo>
                <a:lnTo>
                  <a:pt x="30" y="842"/>
                </a:lnTo>
                <a:lnTo>
                  <a:pt x="30" y="848"/>
                </a:lnTo>
                <a:lnTo>
                  <a:pt x="30" y="854"/>
                </a:lnTo>
                <a:lnTo>
                  <a:pt x="30" y="854"/>
                </a:lnTo>
                <a:lnTo>
                  <a:pt x="30" y="854"/>
                </a:lnTo>
                <a:lnTo>
                  <a:pt x="30" y="860"/>
                </a:lnTo>
                <a:lnTo>
                  <a:pt x="30" y="860"/>
                </a:lnTo>
                <a:lnTo>
                  <a:pt x="24" y="866"/>
                </a:lnTo>
                <a:lnTo>
                  <a:pt x="24" y="872"/>
                </a:lnTo>
                <a:lnTo>
                  <a:pt x="24" y="878"/>
                </a:lnTo>
                <a:lnTo>
                  <a:pt x="18" y="878"/>
                </a:lnTo>
                <a:lnTo>
                  <a:pt x="18" y="884"/>
                </a:lnTo>
                <a:lnTo>
                  <a:pt x="18" y="884"/>
                </a:lnTo>
                <a:lnTo>
                  <a:pt x="18" y="884"/>
                </a:lnTo>
                <a:lnTo>
                  <a:pt x="18" y="884"/>
                </a:lnTo>
                <a:lnTo>
                  <a:pt x="24" y="884"/>
                </a:lnTo>
                <a:lnTo>
                  <a:pt x="24" y="896"/>
                </a:lnTo>
                <a:lnTo>
                  <a:pt x="24" y="896"/>
                </a:lnTo>
                <a:lnTo>
                  <a:pt x="24" y="896"/>
                </a:lnTo>
                <a:lnTo>
                  <a:pt x="24" y="896"/>
                </a:lnTo>
                <a:lnTo>
                  <a:pt x="30" y="896"/>
                </a:lnTo>
                <a:lnTo>
                  <a:pt x="30" y="902"/>
                </a:lnTo>
                <a:lnTo>
                  <a:pt x="30" y="902"/>
                </a:lnTo>
                <a:lnTo>
                  <a:pt x="30" y="902"/>
                </a:lnTo>
                <a:lnTo>
                  <a:pt x="30" y="902"/>
                </a:lnTo>
                <a:lnTo>
                  <a:pt x="35" y="907"/>
                </a:lnTo>
                <a:lnTo>
                  <a:pt x="35" y="907"/>
                </a:lnTo>
                <a:lnTo>
                  <a:pt x="35" y="907"/>
                </a:lnTo>
                <a:lnTo>
                  <a:pt x="35" y="907"/>
                </a:lnTo>
                <a:lnTo>
                  <a:pt x="35" y="913"/>
                </a:lnTo>
                <a:lnTo>
                  <a:pt x="35" y="913"/>
                </a:lnTo>
                <a:lnTo>
                  <a:pt x="35" y="913"/>
                </a:lnTo>
                <a:lnTo>
                  <a:pt x="35" y="913"/>
                </a:lnTo>
                <a:lnTo>
                  <a:pt x="35" y="919"/>
                </a:lnTo>
                <a:lnTo>
                  <a:pt x="35" y="919"/>
                </a:lnTo>
                <a:lnTo>
                  <a:pt x="35" y="919"/>
                </a:lnTo>
                <a:lnTo>
                  <a:pt x="35" y="925"/>
                </a:lnTo>
                <a:lnTo>
                  <a:pt x="35" y="925"/>
                </a:lnTo>
                <a:lnTo>
                  <a:pt x="35" y="925"/>
                </a:lnTo>
                <a:lnTo>
                  <a:pt x="30" y="931"/>
                </a:lnTo>
                <a:lnTo>
                  <a:pt x="30" y="931"/>
                </a:lnTo>
                <a:lnTo>
                  <a:pt x="30" y="931"/>
                </a:lnTo>
                <a:lnTo>
                  <a:pt x="30" y="931"/>
                </a:lnTo>
                <a:lnTo>
                  <a:pt x="30" y="937"/>
                </a:lnTo>
                <a:lnTo>
                  <a:pt x="30" y="937"/>
                </a:lnTo>
                <a:lnTo>
                  <a:pt x="30" y="937"/>
                </a:lnTo>
                <a:lnTo>
                  <a:pt x="30" y="943"/>
                </a:lnTo>
                <a:lnTo>
                  <a:pt x="30" y="943"/>
                </a:lnTo>
                <a:lnTo>
                  <a:pt x="30" y="943"/>
                </a:lnTo>
                <a:lnTo>
                  <a:pt x="30" y="949"/>
                </a:lnTo>
                <a:lnTo>
                  <a:pt x="30" y="949"/>
                </a:lnTo>
                <a:lnTo>
                  <a:pt x="30" y="949"/>
                </a:lnTo>
                <a:lnTo>
                  <a:pt x="30" y="949"/>
                </a:lnTo>
                <a:lnTo>
                  <a:pt x="30" y="949"/>
                </a:lnTo>
                <a:lnTo>
                  <a:pt x="30" y="949"/>
                </a:lnTo>
                <a:lnTo>
                  <a:pt x="30" y="949"/>
                </a:lnTo>
                <a:lnTo>
                  <a:pt x="35" y="955"/>
                </a:lnTo>
                <a:lnTo>
                  <a:pt x="35" y="955"/>
                </a:lnTo>
                <a:lnTo>
                  <a:pt x="35" y="961"/>
                </a:lnTo>
                <a:lnTo>
                  <a:pt x="35" y="961"/>
                </a:lnTo>
                <a:lnTo>
                  <a:pt x="35" y="961"/>
                </a:lnTo>
                <a:lnTo>
                  <a:pt x="35" y="961"/>
                </a:lnTo>
                <a:lnTo>
                  <a:pt x="35" y="961"/>
                </a:lnTo>
                <a:lnTo>
                  <a:pt x="35" y="961"/>
                </a:lnTo>
                <a:lnTo>
                  <a:pt x="35" y="967"/>
                </a:lnTo>
                <a:lnTo>
                  <a:pt x="35" y="967"/>
                </a:lnTo>
                <a:lnTo>
                  <a:pt x="35" y="967"/>
                </a:lnTo>
                <a:lnTo>
                  <a:pt x="35" y="973"/>
                </a:lnTo>
                <a:lnTo>
                  <a:pt x="35" y="973"/>
                </a:lnTo>
                <a:lnTo>
                  <a:pt x="35" y="973"/>
                </a:lnTo>
                <a:lnTo>
                  <a:pt x="41" y="979"/>
                </a:lnTo>
                <a:lnTo>
                  <a:pt x="41" y="979"/>
                </a:lnTo>
                <a:lnTo>
                  <a:pt x="35" y="979"/>
                </a:lnTo>
                <a:lnTo>
                  <a:pt x="41" y="979"/>
                </a:lnTo>
                <a:lnTo>
                  <a:pt x="41" y="985"/>
                </a:lnTo>
                <a:lnTo>
                  <a:pt x="47" y="990"/>
                </a:lnTo>
                <a:lnTo>
                  <a:pt x="47" y="990"/>
                </a:lnTo>
                <a:lnTo>
                  <a:pt x="47" y="990"/>
                </a:lnTo>
                <a:lnTo>
                  <a:pt x="47" y="990"/>
                </a:lnTo>
                <a:lnTo>
                  <a:pt x="53" y="990"/>
                </a:lnTo>
                <a:lnTo>
                  <a:pt x="53" y="996"/>
                </a:lnTo>
                <a:lnTo>
                  <a:pt x="53" y="996"/>
                </a:lnTo>
                <a:lnTo>
                  <a:pt x="53" y="996"/>
                </a:lnTo>
                <a:lnTo>
                  <a:pt x="53" y="996"/>
                </a:lnTo>
                <a:lnTo>
                  <a:pt x="53" y="996"/>
                </a:lnTo>
                <a:lnTo>
                  <a:pt x="53" y="996"/>
                </a:lnTo>
                <a:lnTo>
                  <a:pt x="53" y="996"/>
                </a:lnTo>
                <a:lnTo>
                  <a:pt x="53" y="1002"/>
                </a:lnTo>
                <a:lnTo>
                  <a:pt x="53" y="1008"/>
                </a:lnTo>
                <a:lnTo>
                  <a:pt x="53" y="1014"/>
                </a:lnTo>
                <a:lnTo>
                  <a:pt x="53" y="1020"/>
                </a:lnTo>
                <a:lnTo>
                  <a:pt x="47" y="1020"/>
                </a:lnTo>
                <a:lnTo>
                  <a:pt x="47" y="1020"/>
                </a:lnTo>
                <a:lnTo>
                  <a:pt x="47" y="1026"/>
                </a:lnTo>
                <a:lnTo>
                  <a:pt x="47" y="1026"/>
                </a:lnTo>
                <a:lnTo>
                  <a:pt x="53" y="1026"/>
                </a:lnTo>
                <a:lnTo>
                  <a:pt x="53" y="1032"/>
                </a:lnTo>
                <a:lnTo>
                  <a:pt x="53" y="1026"/>
                </a:lnTo>
                <a:lnTo>
                  <a:pt x="53" y="1026"/>
                </a:lnTo>
                <a:lnTo>
                  <a:pt x="59" y="1026"/>
                </a:lnTo>
                <a:lnTo>
                  <a:pt x="59" y="1032"/>
                </a:lnTo>
                <a:lnTo>
                  <a:pt x="59" y="1032"/>
                </a:lnTo>
                <a:lnTo>
                  <a:pt x="59" y="1032"/>
                </a:lnTo>
                <a:lnTo>
                  <a:pt x="59" y="1038"/>
                </a:lnTo>
                <a:lnTo>
                  <a:pt x="59" y="1038"/>
                </a:lnTo>
                <a:lnTo>
                  <a:pt x="59" y="1038"/>
                </a:lnTo>
                <a:lnTo>
                  <a:pt x="59" y="1044"/>
                </a:lnTo>
                <a:lnTo>
                  <a:pt x="59" y="1044"/>
                </a:lnTo>
                <a:lnTo>
                  <a:pt x="65" y="1044"/>
                </a:lnTo>
                <a:lnTo>
                  <a:pt x="65" y="1044"/>
                </a:lnTo>
                <a:lnTo>
                  <a:pt x="65" y="1050"/>
                </a:lnTo>
                <a:lnTo>
                  <a:pt x="65" y="1050"/>
                </a:lnTo>
                <a:lnTo>
                  <a:pt x="65" y="1050"/>
                </a:lnTo>
                <a:lnTo>
                  <a:pt x="65" y="1050"/>
                </a:lnTo>
                <a:lnTo>
                  <a:pt x="65" y="1050"/>
                </a:lnTo>
                <a:lnTo>
                  <a:pt x="65" y="1056"/>
                </a:lnTo>
                <a:lnTo>
                  <a:pt x="65" y="1056"/>
                </a:lnTo>
                <a:lnTo>
                  <a:pt x="65" y="1056"/>
                </a:lnTo>
                <a:lnTo>
                  <a:pt x="65" y="1056"/>
                </a:lnTo>
                <a:lnTo>
                  <a:pt x="65" y="1056"/>
                </a:lnTo>
                <a:lnTo>
                  <a:pt x="65" y="1056"/>
                </a:lnTo>
                <a:lnTo>
                  <a:pt x="65" y="1062"/>
                </a:lnTo>
                <a:lnTo>
                  <a:pt x="65" y="1068"/>
                </a:lnTo>
                <a:lnTo>
                  <a:pt x="65" y="1074"/>
                </a:lnTo>
                <a:lnTo>
                  <a:pt x="65" y="1079"/>
                </a:lnTo>
                <a:lnTo>
                  <a:pt x="65" y="1091"/>
                </a:lnTo>
                <a:lnTo>
                  <a:pt x="65" y="1091"/>
                </a:lnTo>
                <a:lnTo>
                  <a:pt x="65" y="1097"/>
                </a:lnTo>
                <a:lnTo>
                  <a:pt x="59" y="1103"/>
                </a:lnTo>
                <a:lnTo>
                  <a:pt x="59" y="1109"/>
                </a:lnTo>
                <a:lnTo>
                  <a:pt x="59" y="1109"/>
                </a:lnTo>
                <a:lnTo>
                  <a:pt x="59" y="1109"/>
                </a:lnTo>
                <a:lnTo>
                  <a:pt x="59" y="1109"/>
                </a:lnTo>
                <a:lnTo>
                  <a:pt x="59" y="1109"/>
                </a:lnTo>
                <a:lnTo>
                  <a:pt x="59" y="1109"/>
                </a:lnTo>
                <a:lnTo>
                  <a:pt x="59" y="1109"/>
                </a:lnTo>
                <a:lnTo>
                  <a:pt x="59" y="1109"/>
                </a:lnTo>
                <a:lnTo>
                  <a:pt x="59" y="1115"/>
                </a:lnTo>
                <a:lnTo>
                  <a:pt x="59" y="1115"/>
                </a:lnTo>
                <a:lnTo>
                  <a:pt x="59" y="1115"/>
                </a:lnTo>
                <a:lnTo>
                  <a:pt x="59" y="1115"/>
                </a:lnTo>
                <a:lnTo>
                  <a:pt x="59" y="1115"/>
                </a:lnTo>
                <a:lnTo>
                  <a:pt x="59" y="1121"/>
                </a:lnTo>
                <a:lnTo>
                  <a:pt x="59" y="1121"/>
                </a:lnTo>
                <a:lnTo>
                  <a:pt x="59" y="1121"/>
                </a:lnTo>
                <a:lnTo>
                  <a:pt x="59" y="1121"/>
                </a:lnTo>
                <a:lnTo>
                  <a:pt x="65" y="1121"/>
                </a:lnTo>
                <a:lnTo>
                  <a:pt x="65" y="1121"/>
                </a:lnTo>
                <a:lnTo>
                  <a:pt x="65" y="1121"/>
                </a:lnTo>
                <a:lnTo>
                  <a:pt x="65" y="1127"/>
                </a:lnTo>
                <a:lnTo>
                  <a:pt x="59" y="1133"/>
                </a:lnTo>
                <a:lnTo>
                  <a:pt x="59" y="1139"/>
                </a:lnTo>
                <a:lnTo>
                  <a:pt x="59" y="1151"/>
                </a:lnTo>
                <a:lnTo>
                  <a:pt x="53" y="1157"/>
                </a:lnTo>
                <a:lnTo>
                  <a:pt x="53" y="1157"/>
                </a:lnTo>
                <a:lnTo>
                  <a:pt x="53" y="1157"/>
                </a:lnTo>
                <a:lnTo>
                  <a:pt x="53" y="1162"/>
                </a:lnTo>
                <a:lnTo>
                  <a:pt x="53" y="1157"/>
                </a:lnTo>
                <a:lnTo>
                  <a:pt x="53" y="1157"/>
                </a:lnTo>
                <a:lnTo>
                  <a:pt x="53" y="1151"/>
                </a:lnTo>
                <a:lnTo>
                  <a:pt x="59" y="1151"/>
                </a:lnTo>
                <a:lnTo>
                  <a:pt x="59" y="1151"/>
                </a:lnTo>
                <a:lnTo>
                  <a:pt x="59" y="1151"/>
                </a:lnTo>
                <a:lnTo>
                  <a:pt x="59" y="1151"/>
                </a:lnTo>
                <a:lnTo>
                  <a:pt x="59" y="1145"/>
                </a:lnTo>
                <a:lnTo>
                  <a:pt x="59" y="1145"/>
                </a:lnTo>
                <a:lnTo>
                  <a:pt x="59" y="1145"/>
                </a:lnTo>
                <a:lnTo>
                  <a:pt x="59" y="1145"/>
                </a:lnTo>
                <a:lnTo>
                  <a:pt x="59" y="1145"/>
                </a:lnTo>
                <a:lnTo>
                  <a:pt x="59" y="1145"/>
                </a:lnTo>
                <a:lnTo>
                  <a:pt x="59" y="1145"/>
                </a:lnTo>
                <a:lnTo>
                  <a:pt x="59" y="1145"/>
                </a:lnTo>
                <a:lnTo>
                  <a:pt x="59" y="1145"/>
                </a:lnTo>
                <a:lnTo>
                  <a:pt x="59" y="1145"/>
                </a:lnTo>
                <a:lnTo>
                  <a:pt x="65" y="1145"/>
                </a:lnTo>
                <a:lnTo>
                  <a:pt x="65" y="1145"/>
                </a:lnTo>
                <a:lnTo>
                  <a:pt x="65" y="1145"/>
                </a:lnTo>
                <a:lnTo>
                  <a:pt x="65" y="1145"/>
                </a:lnTo>
                <a:lnTo>
                  <a:pt x="65" y="1145"/>
                </a:lnTo>
                <a:lnTo>
                  <a:pt x="65" y="1145"/>
                </a:lnTo>
                <a:lnTo>
                  <a:pt x="65" y="1151"/>
                </a:lnTo>
                <a:lnTo>
                  <a:pt x="65" y="1151"/>
                </a:lnTo>
                <a:lnTo>
                  <a:pt x="65" y="1151"/>
                </a:lnTo>
                <a:lnTo>
                  <a:pt x="65" y="1151"/>
                </a:lnTo>
                <a:lnTo>
                  <a:pt x="59" y="1151"/>
                </a:lnTo>
                <a:lnTo>
                  <a:pt x="59" y="1151"/>
                </a:lnTo>
                <a:lnTo>
                  <a:pt x="59" y="1151"/>
                </a:lnTo>
                <a:lnTo>
                  <a:pt x="59" y="1151"/>
                </a:lnTo>
                <a:lnTo>
                  <a:pt x="59" y="1151"/>
                </a:lnTo>
                <a:lnTo>
                  <a:pt x="59" y="1151"/>
                </a:lnTo>
                <a:lnTo>
                  <a:pt x="59" y="1151"/>
                </a:lnTo>
                <a:lnTo>
                  <a:pt x="53" y="1157"/>
                </a:lnTo>
                <a:lnTo>
                  <a:pt x="53" y="1157"/>
                </a:lnTo>
                <a:lnTo>
                  <a:pt x="53" y="1157"/>
                </a:lnTo>
                <a:lnTo>
                  <a:pt x="53" y="1157"/>
                </a:lnTo>
                <a:lnTo>
                  <a:pt x="53" y="1157"/>
                </a:lnTo>
                <a:lnTo>
                  <a:pt x="53" y="1157"/>
                </a:lnTo>
                <a:lnTo>
                  <a:pt x="53" y="1162"/>
                </a:lnTo>
                <a:lnTo>
                  <a:pt x="53" y="1162"/>
                </a:lnTo>
                <a:lnTo>
                  <a:pt x="53" y="1162"/>
                </a:lnTo>
                <a:lnTo>
                  <a:pt x="53" y="1162"/>
                </a:lnTo>
                <a:lnTo>
                  <a:pt x="53" y="1162"/>
                </a:lnTo>
                <a:lnTo>
                  <a:pt x="53" y="1162"/>
                </a:lnTo>
                <a:lnTo>
                  <a:pt x="53" y="1162"/>
                </a:lnTo>
                <a:lnTo>
                  <a:pt x="53" y="1162"/>
                </a:lnTo>
                <a:lnTo>
                  <a:pt x="53" y="1162"/>
                </a:lnTo>
                <a:lnTo>
                  <a:pt x="53" y="1162"/>
                </a:lnTo>
                <a:lnTo>
                  <a:pt x="53" y="1168"/>
                </a:lnTo>
                <a:lnTo>
                  <a:pt x="53" y="1168"/>
                </a:lnTo>
                <a:lnTo>
                  <a:pt x="53" y="1168"/>
                </a:lnTo>
                <a:lnTo>
                  <a:pt x="53" y="1168"/>
                </a:lnTo>
                <a:lnTo>
                  <a:pt x="53" y="1168"/>
                </a:lnTo>
                <a:lnTo>
                  <a:pt x="53" y="1168"/>
                </a:lnTo>
                <a:lnTo>
                  <a:pt x="53" y="1168"/>
                </a:lnTo>
                <a:lnTo>
                  <a:pt x="53" y="1168"/>
                </a:lnTo>
                <a:lnTo>
                  <a:pt x="53" y="1168"/>
                </a:lnTo>
                <a:lnTo>
                  <a:pt x="53" y="1168"/>
                </a:lnTo>
                <a:lnTo>
                  <a:pt x="53" y="1168"/>
                </a:lnTo>
                <a:lnTo>
                  <a:pt x="47" y="1168"/>
                </a:lnTo>
                <a:lnTo>
                  <a:pt x="47" y="1168"/>
                </a:lnTo>
                <a:lnTo>
                  <a:pt x="47" y="1168"/>
                </a:lnTo>
                <a:lnTo>
                  <a:pt x="47" y="1168"/>
                </a:lnTo>
                <a:lnTo>
                  <a:pt x="47" y="1168"/>
                </a:lnTo>
                <a:lnTo>
                  <a:pt x="47" y="1168"/>
                </a:lnTo>
                <a:lnTo>
                  <a:pt x="47" y="1162"/>
                </a:lnTo>
                <a:lnTo>
                  <a:pt x="53" y="1162"/>
                </a:lnTo>
                <a:lnTo>
                  <a:pt x="53" y="1162"/>
                </a:lnTo>
                <a:lnTo>
                  <a:pt x="47" y="1157"/>
                </a:lnTo>
                <a:lnTo>
                  <a:pt x="47" y="1162"/>
                </a:lnTo>
                <a:lnTo>
                  <a:pt x="47" y="1168"/>
                </a:lnTo>
                <a:lnTo>
                  <a:pt x="47" y="1168"/>
                </a:lnTo>
                <a:lnTo>
                  <a:pt x="47" y="1168"/>
                </a:lnTo>
                <a:lnTo>
                  <a:pt x="47" y="1168"/>
                </a:lnTo>
                <a:lnTo>
                  <a:pt x="41" y="1174"/>
                </a:lnTo>
                <a:lnTo>
                  <a:pt x="41" y="1174"/>
                </a:lnTo>
                <a:lnTo>
                  <a:pt x="41" y="1174"/>
                </a:lnTo>
                <a:lnTo>
                  <a:pt x="41" y="1174"/>
                </a:lnTo>
                <a:lnTo>
                  <a:pt x="41" y="1174"/>
                </a:lnTo>
                <a:lnTo>
                  <a:pt x="41" y="1174"/>
                </a:lnTo>
                <a:lnTo>
                  <a:pt x="41" y="1174"/>
                </a:lnTo>
                <a:lnTo>
                  <a:pt x="41" y="1174"/>
                </a:lnTo>
                <a:lnTo>
                  <a:pt x="41" y="1174"/>
                </a:lnTo>
                <a:lnTo>
                  <a:pt x="41" y="1174"/>
                </a:lnTo>
                <a:lnTo>
                  <a:pt x="41" y="1174"/>
                </a:lnTo>
                <a:lnTo>
                  <a:pt x="41" y="1174"/>
                </a:lnTo>
                <a:lnTo>
                  <a:pt x="41" y="1174"/>
                </a:lnTo>
                <a:lnTo>
                  <a:pt x="41" y="1180"/>
                </a:lnTo>
                <a:lnTo>
                  <a:pt x="41" y="1180"/>
                </a:lnTo>
                <a:lnTo>
                  <a:pt x="41" y="1180"/>
                </a:lnTo>
                <a:lnTo>
                  <a:pt x="41" y="1180"/>
                </a:lnTo>
                <a:lnTo>
                  <a:pt x="41" y="1186"/>
                </a:lnTo>
                <a:lnTo>
                  <a:pt x="41" y="1186"/>
                </a:lnTo>
                <a:lnTo>
                  <a:pt x="35" y="1186"/>
                </a:lnTo>
                <a:lnTo>
                  <a:pt x="35" y="1192"/>
                </a:lnTo>
                <a:lnTo>
                  <a:pt x="35" y="1192"/>
                </a:lnTo>
                <a:lnTo>
                  <a:pt x="35" y="1192"/>
                </a:lnTo>
                <a:lnTo>
                  <a:pt x="35" y="1198"/>
                </a:lnTo>
                <a:lnTo>
                  <a:pt x="35" y="1198"/>
                </a:lnTo>
                <a:lnTo>
                  <a:pt x="35" y="1198"/>
                </a:lnTo>
                <a:lnTo>
                  <a:pt x="35" y="1204"/>
                </a:lnTo>
                <a:lnTo>
                  <a:pt x="35" y="1204"/>
                </a:lnTo>
                <a:lnTo>
                  <a:pt x="35" y="1210"/>
                </a:lnTo>
                <a:lnTo>
                  <a:pt x="35" y="1210"/>
                </a:lnTo>
                <a:lnTo>
                  <a:pt x="35" y="1216"/>
                </a:lnTo>
                <a:lnTo>
                  <a:pt x="41" y="1216"/>
                </a:lnTo>
                <a:lnTo>
                  <a:pt x="35" y="1222"/>
                </a:lnTo>
                <a:lnTo>
                  <a:pt x="35" y="1222"/>
                </a:lnTo>
                <a:lnTo>
                  <a:pt x="35" y="1222"/>
                </a:lnTo>
                <a:lnTo>
                  <a:pt x="41" y="1228"/>
                </a:lnTo>
                <a:lnTo>
                  <a:pt x="41" y="1228"/>
                </a:lnTo>
                <a:lnTo>
                  <a:pt x="41" y="1228"/>
                </a:lnTo>
                <a:lnTo>
                  <a:pt x="41" y="1228"/>
                </a:lnTo>
                <a:lnTo>
                  <a:pt x="41" y="1228"/>
                </a:lnTo>
                <a:lnTo>
                  <a:pt x="47" y="1234"/>
                </a:lnTo>
                <a:lnTo>
                  <a:pt x="53" y="1240"/>
                </a:lnTo>
                <a:lnTo>
                  <a:pt x="53" y="1240"/>
                </a:lnTo>
                <a:lnTo>
                  <a:pt x="53" y="1240"/>
                </a:lnTo>
                <a:lnTo>
                  <a:pt x="53" y="1240"/>
                </a:lnTo>
                <a:lnTo>
                  <a:pt x="59" y="1246"/>
                </a:lnTo>
                <a:lnTo>
                  <a:pt x="65" y="1246"/>
                </a:lnTo>
                <a:lnTo>
                  <a:pt x="65" y="1251"/>
                </a:lnTo>
                <a:lnTo>
                  <a:pt x="65" y="1251"/>
                </a:lnTo>
                <a:lnTo>
                  <a:pt x="65" y="1251"/>
                </a:lnTo>
                <a:lnTo>
                  <a:pt x="65" y="1251"/>
                </a:lnTo>
                <a:lnTo>
                  <a:pt x="65" y="1257"/>
                </a:lnTo>
                <a:lnTo>
                  <a:pt x="65" y="1257"/>
                </a:lnTo>
                <a:lnTo>
                  <a:pt x="65" y="1257"/>
                </a:lnTo>
                <a:lnTo>
                  <a:pt x="65" y="1257"/>
                </a:lnTo>
                <a:lnTo>
                  <a:pt x="65" y="1257"/>
                </a:lnTo>
                <a:lnTo>
                  <a:pt x="71" y="1257"/>
                </a:lnTo>
                <a:lnTo>
                  <a:pt x="71" y="1257"/>
                </a:lnTo>
                <a:lnTo>
                  <a:pt x="71" y="1257"/>
                </a:lnTo>
                <a:lnTo>
                  <a:pt x="71" y="1257"/>
                </a:lnTo>
                <a:lnTo>
                  <a:pt x="71" y="1257"/>
                </a:lnTo>
                <a:lnTo>
                  <a:pt x="77" y="1263"/>
                </a:lnTo>
                <a:lnTo>
                  <a:pt x="77" y="1263"/>
                </a:lnTo>
                <a:lnTo>
                  <a:pt x="77" y="1269"/>
                </a:lnTo>
                <a:lnTo>
                  <a:pt x="83" y="1269"/>
                </a:lnTo>
                <a:lnTo>
                  <a:pt x="83" y="1275"/>
                </a:lnTo>
                <a:lnTo>
                  <a:pt x="89" y="1281"/>
                </a:lnTo>
                <a:lnTo>
                  <a:pt x="89" y="1281"/>
                </a:lnTo>
                <a:lnTo>
                  <a:pt x="89" y="1281"/>
                </a:lnTo>
                <a:lnTo>
                  <a:pt x="89" y="1287"/>
                </a:lnTo>
                <a:lnTo>
                  <a:pt x="89" y="1287"/>
                </a:lnTo>
                <a:lnTo>
                  <a:pt x="89" y="1287"/>
                </a:lnTo>
                <a:lnTo>
                  <a:pt x="89" y="1287"/>
                </a:lnTo>
                <a:lnTo>
                  <a:pt x="89" y="1293"/>
                </a:lnTo>
                <a:lnTo>
                  <a:pt x="89" y="1293"/>
                </a:lnTo>
                <a:lnTo>
                  <a:pt x="89" y="1293"/>
                </a:lnTo>
                <a:lnTo>
                  <a:pt x="89" y="1293"/>
                </a:lnTo>
                <a:lnTo>
                  <a:pt x="95" y="1299"/>
                </a:lnTo>
                <a:lnTo>
                  <a:pt x="95" y="1299"/>
                </a:lnTo>
                <a:lnTo>
                  <a:pt x="95" y="1299"/>
                </a:lnTo>
                <a:lnTo>
                  <a:pt x="95" y="1299"/>
                </a:lnTo>
                <a:lnTo>
                  <a:pt x="95" y="1299"/>
                </a:lnTo>
                <a:lnTo>
                  <a:pt x="95" y="1305"/>
                </a:lnTo>
                <a:lnTo>
                  <a:pt x="95" y="1305"/>
                </a:lnTo>
                <a:lnTo>
                  <a:pt x="95" y="1305"/>
                </a:lnTo>
                <a:lnTo>
                  <a:pt x="95" y="1311"/>
                </a:lnTo>
                <a:lnTo>
                  <a:pt x="95" y="1311"/>
                </a:lnTo>
                <a:lnTo>
                  <a:pt x="95" y="1317"/>
                </a:lnTo>
                <a:lnTo>
                  <a:pt x="95" y="1317"/>
                </a:lnTo>
                <a:lnTo>
                  <a:pt x="95" y="1317"/>
                </a:lnTo>
                <a:lnTo>
                  <a:pt x="95" y="1323"/>
                </a:lnTo>
                <a:lnTo>
                  <a:pt x="95" y="1323"/>
                </a:lnTo>
                <a:lnTo>
                  <a:pt x="95" y="1329"/>
                </a:lnTo>
                <a:lnTo>
                  <a:pt x="95" y="1329"/>
                </a:lnTo>
                <a:lnTo>
                  <a:pt x="95" y="1334"/>
                </a:lnTo>
                <a:lnTo>
                  <a:pt x="89" y="1340"/>
                </a:lnTo>
                <a:lnTo>
                  <a:pt x="89" y="1340"/>
                </a:lnTo>
                <a:lnTo>
                  <a:pt x="95" y="1346"/>
                </a:lnTo>
                <a:lnTo>
                  <a:pt x="95" y="1346"/>
                </a:lnTo>
                <a:lnTo>
                  <a:pt x="95" y="1352"/>
                </a:lnTo>
                <a:lnTo>
                  <a:pt x="95" y="1352"/>
                </a:lnTo>
                <a:lnTo>
                  <a:pt x="95" y="1352"/>
                </a:lnTo>
                <a:lnTo>
                  <a:pt x="95" y="1352"/>
                </a:lnTo>
                <a:lnTo>
                  <a:pt x="95" y="1358"/>
                </a:lnTo>
                <a:lnTo>
                  <a:pt x="95" y="1364"/>
                </a:lnTo>
                <a:lnTo>
                  <a:pt x="101" y="1364"/>
                </a:lnTo>
                <a:lnTo>
                  <a:pt x="101" y="1370"/>
                </a:lnTo>
                <a:lnTo>
                  <a:pt x="101" y="1370"/>
                </a:lnTo>
                <a:lnTo>
                  <a:pt x="101" y="1370"/>
                </a:lnTo>
                <a:lnTo>
                  <a:pt x="101" y="1370"/>
                </a:lnTo>
                <a:lnTo>
                  <a:pt x="101" y="1370"/>
                </a:lnTo>
                <a:lnTo>
                  <a:pt x="101" y="1376"/>
                </a:lnTo>
                <a:lnTo>
                  <a:pt x="101" y="1376"/>
                </a:lnTo>
                <a:lnTo>
                  <a:pt x="101" y="1376"/>
                </a:lnTo>
                <a:lnTo>
                  <a:pt x="107" y="1382"/>
                </a:lnTo>
                <a:lnTo>
                  <a:pt x="107" y="1382"/>
                </a:lnTo>
                <a:lnTo>
                  <a:pt x="107" y="1382"/>
                </a:lnTo>
                <a:lnTo>
                  <a:pt x="107" y="1382"/>
                </a:lnTo>
                <a:lnTo>
                  <a:pt x="107" y="1388"/>
                </a:lnTo>
                <a:lnTo>
                  <a:pt x="107" y="1388"/>
                </a:lnTo>
                <a:lnTo>
                  <a:pt x="107" y="1388"/>
                </a:lnTo>
                <a:lnTo>
                  <a:pt x="101" y="1388"/>
                </a:lnTo>
                <a:lnTo>
                  <a:pt x="101" y="1394"/>
                </a:lnTo>
                <a:lnTo>
                  <a:pt x="101" y="1394"/>
                </a:lnTo>
                <a:lnTo>
                  <a:pt x="101" y="1394"/>
                </a:lnTo>
                <a:lnTo>
                  <a:pt x="101" y="1394"/>
                </a:lnTo>
                <a:lnTo>
                  <a:pt x="101" y="1394"/>
                </a:lnTo>
                <a:lnTo>
                  <a:pt x="101" y="1394"/>
                </a:lnTo>
                <a:lnTo>
                  <a:pt x="101" y="1400"/>
                </a:lnTo>
                <a:lnTo>
                  <a:pt x="101" y="1400"/>
                </a:lnTo>
                <a:lnTo>
                  <a:pt x="107" y="1400"/>
                </a:lnTo>
                <a:lnTo>
                  <a:pt x="107" y="1406"/>
                </a:lnTo>
                <a:lnTo>
                  <a:pt x="107" y="1406"/>
                </a:lnTo>
                <a:lnTo>
                  <a:pt x="107" y="1406"/>
                </a:lnTo>
                <a:lnTo>
                  <a:pt x="113" y="1406"/>
                </a:lnTo>
                <a:lnTo>
                  <a:pt x="113" y="1412"/>
                </a:lnTo>
                <a:lnTo>
                  <a:pt x="113" y="1412"/>
                </a:lnTo>
                <a:lnTo>
                  <a:pt x="113" y="1412"/>
                </a:lnTo>
                <a:lnTo>
                  <a:pt x="118" y="1412"/>
                </a:lnTo>
                <a:lnTo>
                  <a:pt x="118" y="1418"/>
                </a:lnTo>
                <a:lnTo>
                  <a:pt x="118" y="1418"/>
                </a:lnTo>
                <a:lnTo>
                  <a:pt x="118" y="1418"/>
                </a:lnTo>
                <a:lnTo>
                  <a:pt x="118" y="1418"/>
                </a:lnTo>
                <a:lnTo>
                  <a:pt x="124" y="1418"/>
                </a:lnTo>
                <a:lnTo>
                  <a:pt x="124" y="1418"/>
                </a:lnTo>
                <a:lnTo>
                  <a:pt x="124" y="1423"/>
                </a:lnTo>
                <a:lnTo>
                  <a:pt x="124" y="1423"/>
                </a:lnTo>
                <a:lnTo>
                  <a:pt x="130" y="1429"/>
                </a:lnTo>
                <a:lnTo>
                  <a:pt x="130" y="1429"/>
                </a:lnTo>
                <a:lnTo>
                  <a:pt x="130" y="1429"/>
                </a:lnTo>
                <a:lnTo>
                  <a:pt x="130" y="1429"/>
                </a:lnTo>
                <a:lnTo>
                  <a:pt x="130" y="1429"/>
                </a:lnTo>
                <a:lnTo>
                  <a:pt x="136" y="1435"/>
                </a:lnTo>
                <a:lnTo>
                  <a:pt x="136" y="1435"/>
                </a:lnTo>
                <a:lnTo>
                  <a:pt x="136" y="1435"/>
                </a:lnTo>
                <a:lnTo>
                  <a:pt x="136" y="1441"/>
                </a:lnTo>
                <a:lnTo>
                  <a:pt x="136" y="1441"/>
                </a:lnTo>
                <a:lnTo>
                  <a:pt x="142" y="1441"/>
                </a:lnTo>
                <a:lnTo>
                  <a:pt x="142" y="1441"/>
                </a:lnTo>
                <a:lnTo>
                  <a:pt x="142" y="1441"/>
                </a:lnTo>
                <a:lnTo>
                  <a:pt x="142" y="1447"/>
                </a:lnTo>
                <a:lnTo>
                  <a:pt x="142" y="1447"/>
                </a:lnTo>
                <a:lnTo>
                  <a:pt x="148" y="1447"/>
                </a:lnTo>
                <a:lnTo>
                  <a:pt x="148" y="1453"/>
                </a:lnTo>
                <a:lnTo>
                  <a:pt x="154" y="1453"/>
                </a:lnTo>
                <a:lnTo>
                  <a:pt x="154" y="1453"/>
                </a:lnTo>
                <a:lnTo>
                  <a:pt x="160" y="1453"/>
                </a:lnTo>
                <a:lnTo>
                  <a:pt x="160" y="1459"/>
                </a:lnTo>
                <a:lnTo>
                  <a:pt x="160" y="1459"/>
                </a:lnTo>
                <a:lnTo>
                  <a:pt x="160" y="1459"/>
                </a:lnTo>
                <a:lnTo>
                  <a:pt x="160" y="1459"/>
                </a:lnTo>
                <a:lnTo>
                  <a:pt x="160" y="1465"/>
                </a:lnTo>
                <a:lnTo>
                  <a:pt x="166" y="1465"/>
                </a:lnTo>
                <a:lnTo>
                  <a:pt x="166" y="1465"/>
                </a:lnTo>
                <a:lnTo>
                  <a:pt x="166" y="1465"/>
                </a:lnTo>
                <a:lnTo>
                  <a:pt x="166" y="1465"/>
                </a:lnTo>
                <a:lnTo>
                  <a:pt x="166" y="1465"/>
                </a:lnTo>
                <a:lnTo>
                  <a:pt x="166" y="1471"/>
                </a:lnTo>
                <a:lnTo>
                  <a:pt x="166" y="1471"/>
                </a:lnTo>
                <a:lnTo>
                  <a:pt x="166" y="1471"/>
                </a:lnTo>
                <a:lnTo>
                  <a:pt x="166" y="1471"/>
                </a:lnTo>
                <a:lnTo>
                  <a:pt x="166" y="1471"/>
                </a:lnTo>
                <a:lnTo>
                  <a:pt x="166" y="1471"/>
                </a:lnTo>
                <a:lnTo>
                  <a:pt x="166" y="1477"/>
                </a:lnTo>
                <a:lnTo>
                  <a:pt x="166" y="1477"/>
                </a:lnTo>
                <a:lnTo>
                  <a:pt x="166" y="1477"/>
                </a:lnTo>
                <a:lnTo>
                  <a:pt x="166" y="1477"/>
                </a:lnTo>
                <a:lnTo>
                  <a:pt x="166" y="1477"/>
                </a:lnTo>
                <a:lnTo>
                  <a:pt x="166" y="1477"/>
                </a:lnTo>
                <a:lnTo>
                  <a:pt x="172" y="1477"/>
                </a:lnTo>
                <a:lnTo>
                  <a:pt x="172" y="1477"/>
                </a:lnTo>
                <a:lnTo>
                  <a:pt x="172" y="1477"/>
                </a:lnTo>
                <a:lnTo>
                  <a:pt x="172" y="1477"/>
                </a:lnTo>
                <a:lnTo>
                  <a:pt x="172" y="1477"/>
                </a:lnTo>
                <a:lnTo>
                  <a:pt x="178" y="1483"/>
                </a:lnTo>
                <a:lnTo>
                  <a:pt x="178" y="1483"/>
                </a:lnTo>
                <a:lnTo>
                  <a:pt x="178" y="1483"/>
                </a:lnTo>
                <a:lnTo>
                  <a:pt x="178" y="1483"/>
                </a:lnTo>
                <a:lnTo>
                  <a:pt x="178" y="1483"/>
                </a:lnTo>
                <a:lnTo>
                  <a:pt x="178" y="1489"/>
                </a:lnTo>
                <a:lnTo>
                  <a:pt x="178" y="1489"/>
                </a:lnTo>
                <a:lnTo>
                  <a:pt x="178" y="1489"/>
                </a:lnTo>
                <a:lnTo>
                  <a:pt x="178" y="1489"/>
                </a:lnTo>
                <a:lnTo>
                  <a:pt x="178" y="1489"/>
                </a:lnTo>
                <a:lnTo>
                  <a:pt x="178" y="1489"/>
                </a:lnTo>
                <a:lnTo>
                  <a:pt x="178" y="1489"/>
                </a:lnTo>
                <a:lnTo>
                  <a:pt x="184" y="1495"/>
                </a:lnTo>
                <a:lnTo>
                  <a:pt x="184" y="1495"/>
                </a:lnTo>
                <a:lnTo>
                  <a:pt x="190" y="1501"/>
                </a:lnTo>
                <a:lnTo>
                  <a:pt x="190" y="1501"/>
                </a:lnTo>
                <a:lnTo>
                  <a:pt x="190" y="1501"/>
                </a:lnTo>
                <a:lnTo>
                  <a:pt x="190" y="1506"/>
                </a:lnTo>
                <a:lnTo>
                  <a:pt x="190" y="1506"/>
                </a:lnTo>
                <a:lnTo>
                  <a:pt x="190" y="1506"/>
                </a:lnTo>
                <a:lnTo>
                  <a:pt x="190" y="1506"/>
                </a:lnTo>
                <a:lnTo>
                  <a:pt x="190" y="1501"/>
                </a:lnTo>
                <a:lnTo>
                  <a:pt x="190" y="1501"/>
                </a:lnTo>
                <a:lnTo>
                  <a:pt x="184" y="1501"/>
                </a:lnTo>
                <a:lnTo>
                  <a:pt x="184" y="1501"/>
                </a:lnTo>
                <a:lnTo>
                  <a:pt x="184" y="1495"/>
                </a:lnTo>
                <a:lnTo>
                  <a:pt x="184" y="1495"/>
                </a:lnTo>
                <a:lnTo>
                  <a:pt x="178" y="1489"/>
                </a:lnTo>
                <a:lnTo>
                  <a:pt x="178" y="1483"/>
                </a:lnTo>
                <a:lnTo>
                  <a:pt x="178" y="1483"/>
                </a:lnTo>
                <a:lnTo>
                  <a:pt x="172" y="1483"/>
                </a:lnTo>
                <a:lnTo>
                  <a:pt x="172" y="1483"/>
                </a:lnTo>
                <a:lnTo>
                  <a:pt x="172" y="1489"/>
                </a:lnTo>
                <a:lnTo>
                  <a:pt x="178" y="1489"/>
                </a:lnTo>
                <a:lnTo>
                  <a:pt x="178" y="1489"/>
                </a:lnTo>
                <a:lnTo>
                  <a:pt x="178" y="1489"/>
                </a:lnTo>
                <a:lnTo>
                  <a:pt x="178" y="1495"/>
                </a:lnTo>
                <a:lnTo>
                  <a:pt x="178" y="1495"/>
                </a:lnTo>
                <a:lnTo>
                  <a:pt x="178" y="1495"/>
                </a:lnTo>
                <a:lnTo>
                  <a:pt x="178" y="1495"/>
                </a:lnTo>
                <a:lnTo>
                  <a:pt x="178" y="1501"/>
                </a:lnTo>
                <a:lnTo>
                  <a:pt x="172" y="1506"/>
                </a:lnTo>
                <a:lnTo>
                  <a:pt x="172" y="1512"/>
                </a:lnTo>
                <a:lnTo>
                  <a:pt x="172" y="1512"/>
                </a:lnTo>
                <a:lnTo>
                  <a:pt x="172" y="1512"/>
                </a:lnTo>
                <a:lnTo>
                  <a:pt x="172" y="1518"/>
                </a:lnTo>
                <a:lnTo>
                  <a:pt x="172" y="1518"/>
                </a:lnTo>
                <a:lnTo>
                  <a:pt x="172" y="1518"/>
                </a:lnTo>
                <a:lnTo>
                  <a:pt x="178" y="1518"/>
                </a:lnTo>
                <a:lnTo>
                  <a:pt x="178" y="1518"/>
                </a:lnTo>
                <a:lnTo>
                  <a:pt x="178" y="1518"/>
                </a:lnTo>
                <a:lnTo>
                  <a:pt x="178" y="1518"/>
                </a:lnTo>
                <a:lnTo>
                  <a:pt x="178" y="1518"/>
                </a:lnTo>
                <a:lnTo>
                  <a:pt x="178" y="1518"/>
                </a:lnTo>
                <a:lnTo>
                  <a:pt x="178" y="1518"/>
                </a:lnTo>
                <a:lnTo>
                  <a:pt x="178" y="1512"/>
                </a:lnTo>
                <a:lnTo>
                  <a:pt x="178" y="1512"/>
                </a:lnTo>
                <a:lnTo>
                  <a:pt x="178" y="1512"/>
                </a:lnTo>
                <a:lnTo>
                  <a:pt x="178" y="1512"/>
                </a:lnTo>
                <a:lnTo>
                  <a:pt x="178" y="1512"/>
                </a:lnTo>
                <a:lnTo>
                  <a:pt x="178" y="1512"/>
                </a:lnTo>
                <a:lnTo>
                  <a:pt x="178" y="1512"/>
                </a:lnTo>
                <a:lnTo>
                  <a:pt x="178" y="1512"/>
                </a:lnTo>
                <a:lnTo>
                  <a:pt x="178" y="1512"/>
                </a:lnTo>
                <a:lnTo>
                  <a:pt x="178" y="1512"/>
                </a:lnTo>
                <a:lnTo>
                  <a:pt x="178" y="1512"/>
                </a:lnTo>
                <a:lnTo>
                  <a:pt x="178" y="1506"/>
                </a:lnTo>
                <a:lnTo>
                  <a:pt x="178" y="1506"/>
                </a:lnTo>
                <a:lnTo>
                  <a:pt x="178" y="1506"/>
                </a:lnTo>
                <a:lnTo>
                  <a:pt x="178" y="1506"/>
                </a:lnTo>
                <a:lnTo>
                  <a:pt x="178" y="1506"/>
                </a:lnTo>
                <a:lnTo>
                  <a:pt x="184" y="1506"/>
                </a:lnTo>
                <a:lnTo>
                  <a:pt x="178" y="1506"/>
                </a:lnTo>
                <a:lnTo>
                  <a:pt x="178" y="1506"/>
                </a:lnTo>
                <a:lnTo>
                  <a:pt x="184" y="1512"/>
                </a:lnTo>
                <a:lnTo>
                  <a:pt x="184" y="1512"/>
                </a:lnTo>
                <a:lnTo>
                  <a:pt x="184" y="1512"/>
                </a:lnTo>
                <a:lnTo>
                  <a:pt x="190" y="1512"/>
                </a:lnTo>
                <a:lnTo>
                  <a:pt x="190" y="1518"/>
                </a:lnTo>
                <a:lnTo>
                  <a:pt x="190" y="1518"/>
                </a:lnTo>
                <a:lnTo>
                  <a:pt x="195" y="1518"/>
                </a:lnTo>
                <a:lnTo>
                  <a:pt x="195" y="1518"/>
                </a:lnTo>
                <a:lnTo>
                  <a:pt x="195" y="1524"/>
                </a:lnTo>
                <a:lnTo>
                  <a:pt x="195" y="1524"/>
                </a:lnTo>
                <a:lnTo>
                  <a:pt x="201" y="1524"/>
                </a:lnTo>
                <a:lnTo>
                  <a:pt x="201" y="1524"/>
                </a:lnTo>
                <a:lnTo>
                  <a:pt x="201" y="1530"/>
                </a:lnTo>
                <a:lnTo>
                  <a:pt x="201" y="1530"/>
                </a:lnTo>
                <a:lnTo>
                  <a:pt x="201" y="1530"/>
                </a:lnTo>
                <a:lnTo>
                  <a:pt x="201" y="1530"/>
                </a:lnTo>
                <a:lnTo>
                  <a:pt x="201" y="1530"/>
                </a:lnTo>
                <a:lnTo>
                  <a:pt x="201" y="1530"/>
                </a:lnTo>
                <a:lnTo>
                  <a:pt x="201" y="1530"/>
                </a:lnTo>
                <a:lnTo>
                  <a:pt x="207" y="1530"/>
                </a:lnTo>
                <a:lnTo>
                  <a:pt x="207" y="1524"/>
                </a:lnTo>
                <a:lnTo>
                  <a:pt x="207" y="1530"/>
                </a:lnTo>
                <a:lnTo>
                  <a:pt x="213" y="1530"/>
                </a:lnTo>
                <a:lnTo>
                  <a:pt x="213" y="1530"/>
                </a:lnTo>
                <a:lnTo>
                  <a:pt x="213" y="1530"/>
                </a:lnTo>
                <a:lnTo>
                  <a:pt x="213" y="1536"/>
                </a:lnTo>
                <a:lnTo>
                  <a:pt x="219" y="1536"/>
                </a:lnTo>
                <a:lnTo>
                  <a:pt x="219" y="1536"/>
                </a:lnTo>
                <a:lnTo>
                  <a:pt x="219" y="1536"/>
                </a:lnTo>
                <a:lnTo>
                  <a:pt x="219" y="1536"/>
                </a:lnTo>
                <a:lnTo>
                  <a:pt x="219" y="1536"/>
                </a:lnTo>
                <a:lnTo>
                  <a:pt x="219" y="1536"/>
                </a:lnTo>
                <a:lnTo>
                  <a:pt x="225" y="1536"/>
                </a:lnTo>
                <a:lnTo>
                  <a:pt x="225" y="1536"/>
                </a:lnTo>
                <a:lnTo>
                  <a:pt x="225" y="1536"/>
                </a:lnTo>
                <a:lnTo>
                  <a:pt x="225" y="1536"/>
                </a:lnTo>
                <a:lnTo>
                  <a:pt x="225" y="1536"/>
                </a:lnTo>
                <a:lnTo>
                  <a:pt x="225" y="1536"/>
                </a:lnTo>
                <a:lnTo>
                  <a:pt x="225" y="1536"/>
                </a:lnTo>
                <a:lnTo>
                  <a:pt x="225" y="1536"/>
                </a:lnTo>
                <a:lnTo>
                  <a:pt x="225" y="1536"/>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25" y="1530"/>
                </a:lnTo>
                <a:lnTo>
                  <a:pt x="231" y="1530"/>
                </a:lnTo>
                <a:lnTo>
                  <a:pt x="231" y="1530"/>
                </a:lnTo>
                <a:lnTo>
                  <a:pt x="231" y="1530"/>
                </a:lnTo>
                <a:lnTo>
                  <a:pt x="231" y="1530"/>
                </a:lnTo>
                <a:lnTo>
                  <a:pt x="225" y="1530"/>
                </a:lnTo>
                <a:lnTo>
                  <a:pt x="225" y="1524"/>
                </a:lnTo>
                <a:lnTo>
                  <a:pt x="225" y="1524"/>
                </a:lnTo>
                <a:lnTo>
                  <a:pt x="225" y="1524"/>
                </a:lnTo>
                <a:lnTo>
                  <a:pt x="225" y="1524"/>
                </a:lnTo>
                <a:lnTo>
                  <a:pt x="225" y="1524"/>
                </a:lnTo>
                <a:lnTo>
                  <a:pt x="225" y="1524"/>
                </a:lnTo>
                <a:lnTo>
                  <a:pt x="225" y="1524"/>
                </a:lnTo>
                <a:lnTo>
                  <a:pt x="225" y="1524"/>
                </a:lnTo>
                <a:lnTo>
                  <a:pt x="225" y="1524"/>
                </a:lnTo>
                <a:lnTo>
                  <a:pt x="225" y="1524"/>
                </a:lnTo>
                <a:lnTo>
                  <a:pt x="225" y="1518"/>
                </a:lnTo>
                <a:lnTo>
                  <a:pt x="225" y="1518"/>
                </a:lnTo>
                <a:lnTo>
                  <a:pt x="225" y="1518"/>
                </a:lnTo>
                <a:lnTo>
                  <a:pt x="225" y="1518"/>
                </a:lnTo>
                <a:lnTo>
                  <a:pt x="225" y="1518"/>
                </a:lnTo>
                <a:lnTo>
                  <a:pt x="225" y="1518"/>
                </a:lnTo>
                <a:lnTo>
                  <a:pt x="225" y="1518"/>
                </a:lnTo>
                <a:lnTo>
                  <a:pt x="225" y="1518"/>
                </a:lnTo>
                <a:lnTo>
                  <a:pt x="231" y="1518"/>
                </a:lnTo>
                <a:lnTo>
                  <a:pt x="231" y="1518"/>
                </a:lnTo>
                <a:lnTo>
                  <a:pt x="225" y="1518"/>
                </a:lnTo>
                <a:lnTo>
                  <a:pt x="225" y="1512"/>
                </a:lnTo>
                <a:lnTo>
                  <a:pt x="225" y="1512"/>
                </a:lnTo>
                <a:lnTo>
                  <a:pt x="225" y="1512"/>
                </a:lnTo>
                <a:lnTo>
                  <a:pt x="225" y="1512"/>
                </a:lnTo>
                <a:lnTo>
                  <a:pt x="225" y="1512"/>
                </a:lnTo>
                <a:lnTo>
                  <a:pt x="225" y="1506"/>
                </a:lnTo>
                <a:lnTo>
                  <a:pt x="225" y="1506"/>
                </a:lnTo>
                <a:lnTo>
                  <a:pt x="225" y="1501"/>
                </a:lnTo>
                <a:lnTo>
                  <a:pt x="225" y="1501"/>
                </a:lnTo>
                <a:lnTo>
                  <a:pt x="225" y="1501"/>
                </a:lnTo>
                <a:lnTo>
                  <a:pt x="231" y="1501"/>
                </a:lnTo>
                <a:lnTo>
                  <a:pt x="231" y="1501"/>
                </a:lnTo>
                <a:lnTo>
                  <a:pt x="231" y="1501"/>
                </a:lnTo>
                <a:lnTo>
                  <a:pt x="231" y="1501"/>
                </a:lnTo>
                <a:lnTo>
                  <a:pt x="231" y="1495"/>
                </a:lnTo>
                <a:lnTo>
                  <a:pt x="237" y="1501"/>
                </a:lnTo>
                <a:lnTo>
                  <a:pt x="243" y="1501"/>
                </a:lnTo>
                <a:lnTo>
                  <a:pt x="243" y="1506"/>
                </a:lnTo>
                <a:lnTo>
                  <a:pt x="249" y="1506"/>
                </a:lnTo>
                <a:lnTo>
                  <a:pt x="249" y="1506"/>
                </a:lnTo>
                <a:lnTo>
                  <a:pt x="249" y="1506"/>
                </a:lnTo>
                <a:lnTo>
                  <a:pt x="249" y="1506"/>
                </a:lnTo>
                <a:lnTo>
                  <a:pt x="249" y="1506"/>
                </a:lnTo>
                <a:lnTo>
                  <a:pt x="255" y="1506"/>
                </a:lnTo>
                <a:lnTo>
                  <a:pt x="255" y="1506"/>
                </a:lnTo>
                <a:lnTo>
                  <a:pt x="255" y="1506"/>
                </a:lnTo>
                <a:lnTo>
                  <a:pt x="255" y="1506"/>
                </a:lnTo>
                <a:lnTo>
                  <a:pt x="255" y="1506"/>
                </a:lnTo>
                <a:lnTo>
                  <a:pt x="255" y="1506"/>
                </a:lnTo>
                <a:lnTo>
                  <a:pt x="255" y="1506"/>
                </a:lnTo>
                <a:lnTo>
                  <a:pt x="255" y="1512"/>
                </a:lnTo>
                <a:lnTo>
                  <a:pt x="261" y="1512"/>
                </a:lnTo>
                <a:lnTo>
                  <a:pt x="261" y="1512"/>
                </a:lnTo>
                <a:lnTo>
                  <a:pt x="261" y="1506"/>
                </a:lnTo>
                <a:lnTo>
                  <a:pt x="261" y="1506"/>
                </a:lnTo>
                <a:lnTo>
                  <a:pt x="261" y="1506"/>
                </a:lnTo>
                <a:lnTo>
                  <a:pt x="267" y="1506"/>
                </a:lnTo>
                <a:lnTo>
                  <a:pt x="267" y="1501"/>
                </a:lnTo>
                <a:lnTo>
                  <a:pt x="267" y="1501"/>
                </a:lnTo>
                <a:lnTo>
                  <a:pt x="267" y="1501"/>
                </a:lnTo>
                <a:lnTo>
                  <a:pt x="267" y="1501"/>
                </a:lnTo>
                <a:lnTo>
                  <a:pt x="267" y="1501"/>
                </a:lnTo>
                <a:lnTo>
                  <a:pt x="267" y="1501"/>
                </a:lnTo>
                <a:lnTo>
                  <a:pt x="267" y="1501"/>
                </a:lnTo>
                <a:lnTo>
                  <a:pt x="267" y="1501"/>
                </a:lnTo>
                <a:lnTo>
                  <a:pt x="267" y="1501"/>
                </a:lnTo>
                <a:lnTo>
                  <a:pt x="273" y="1495"/>
                </a:lnTo>
                <a:lnTo>
                  <a:pt x="273" y="1501"/>
                </a:lnTo>
                <a:lnTo>
                  <a:pt x="273" y="1501"/>
                </a:lnTo>
                <a:lnTo>
                  <a:pt x="273" y="1501"/>
                </a:lnTo>
                <a:lnTo>
                  <a:pt x="273" y="1501"/>
                </a:lnTo>
                <a:lnTo>
                  <a:pt x="273" y="1501"/>
                </a:lnTo>
                <a:lnTo>
                  <a:pt x="273" y="1506"/>
                </a:lnTo>
                <a:lnTo>
                  <a:pt x="278" y="1506"/>
                </a:lnTo>
                <a:lnTo>
                  <a:pt x="278" y="1506"/>
                </a:lnTo>
                <a:lnTo>
                  <a:pt x="278" y="1506"/>
                </a:lnTo>
                <a:lnTo>
                  <a:pt x="284" y="1506"/>
                </a:lnTo>
                <a:lnTo>
                  <a:pt x="284" y="1506"/>
                </a:lnTo>
                <a:lnTo>
                  <a:pt x="278" y="1506"/>
                </a:lnTo>
                <a:lnTo>
                  <a:pt x="278" y="1506"/>
                </a:lnTo>
                <a:lnTo>
                  <a:pt x="284" y="1506"/>
                </a:lnTo>
                <a:lnTo>
                  <a:pt x="284" y="1506"/>
                </a:lnTo>
                <a:lnTo>
                  <a:pt x="284" y="1506"/>
                </a:lnTo>
                <a:lnTo>
                  <a:pt x="284" y="1506"/>
                </a:lnTo>
                <a:lnTo>
                  <a:pt x="284" y="1506"/>
                </a:lnTo>
                <a:lnTo>
                  <a:pt x="284" y="1506"/>
                </a:lnTo>
                <a:lnTo>
                  <a:pt x="290" y="1506"/>
                </a:lnTo>
                <a:lnTo>
                  <a:pt x="290" y="1506"/>
                </a:lnTo>
                <a:lnTo>
                  <a:pt x="290" y="1506"/>
                </a:lnTo>
                <a:lnTo>
                  <a:pt x="290" y="1506"/>
                </a:lnTo>
                <a:lnTo>
                  <a:pt x="290" y="1506"/>
                </a:lnTo>
                <a:lnTo>
                  <a:pt x="290" y="1506"/>
                </a:lnTo>
                <a:lnTo>
                  <a:pt x="296" y="1506"/>
                </a:lnTo>
                <a:lnTo>
                  <a:pt x="296" y="1506"/>
                </a:lnTo>
                <a:lnTo>
                  <a:pt x="296" y="1506"/>
                </a:lnTo>
                <a:lnTo>
                  <a:pt x="302" y="1501"/>
                </a:lnTo>
                <a:lnTo>
                  <a:pt x="302" y="1501"/>
                </a:lnTo>
                <a:lnTo>
                  <a:pt x="302" y="1501"/>
                </a:lnTo>
                <a:lnTo>
                  <a:pt x="302" y="1495"/>
                </a:lnTo>
                <a:lnTo>
                  <a:pt x="302" y="1495"/>
                </a:lnTo>
                <a:lnTo>
                  <a:pt x="302" y="1501"/>
                </a:lnTo>
                <a:lnTo>
                  <a:pt x="302" y="1501"/>
                </a:lnTo>
                <a:lnTo>
                  <a:pt x="302" y="1501"/>
                </a:lnTo>
                <a:lnTo>
                  <a:pt x="302" y="1501"/>
                </a:lnTo>
                <a:lnTo>
                  <a:pt x="302" y="1506"/>
                </a:lnTo>
                <a:lnTo>
                  <a:pt x="296" y="1506"/>
                </a:lnTo>
                <a:lnTo>
                  <a:pt x="296" y="1506"/>
                </a:lnTo>
                <a:lnTo>
                  <a:pt x="296" y="1506"/>
                </a:lnTo>
                <a:lnTo>
                  <a:pt x="296" y="1506"/>
                </a:lnTo>
                <a:lnTo>
                  <a:pt x="296" y="1506"/>
                </a:lnTo>
                <a:lnTo>
                  <a:pt x="296" y="1506"/>
                </a:lnTo>
                <a:lnTo>
                  <a:pt x="296" y="1506"/>
                </a:lnTo>
                <a:lnTo>
                  <a:pt x="296" y="1506"/>
                </a:lnTo>
                <a:lnTo>
                  <a:pt x="296" y="1506"/>
                </a:lnTo>
                <a:lnTo>
                  <a:pt x="296" y="1512"/>
                </a:lnTo>
                <a:lnTo>
                  <a:pt x="296" y="1512"/>
                </a:lnTo>
                <a:lnTo>
                  <a:pt x="296" y="1512"/>
                </a:lnTo>
                <a:lnTo>
                  <a:pt x="296" y="1512"/>
                </a:lnTo>
                <a:lnTo>
                  <a:pt x="302" y="1512"/>
                </a:lnTo>
                <a:lnTo>
                  <a:pt x="302" y="1506"/>
                </a:lnTo>
                <a:lnTo>
                  <a:pt x="302" y="1506"/>
                </a:lnTo>
                <a:lnTo>
                  <a:pt x="302" y="1506"/>
                </a:lnTo>
                <a:lnTo>
                  <a:pt x="302" y="1506"/>
                </a:lnTo>
                <a:lnTo>
                  <a:pt x="302" y="1506"/>
                </a:lnTo>
                <a:lnTo>
                  <a:pt x="302" y="1506"/>
                </a:lnTo>
                <a:lnTo>
                  <a:pt x="302" y="1506"/>
                </a:lnTo>
                <a:lnTo>
                  <a:pt x="302" y="1501"/>
                </a:lnTo>
                <a:lnTo>
                  <a:pt x="308" y="1501"/>
                </a:lnTo>
                <a:lnTo>
                  <a:pt x="308" y="1501"/>
                </a:lnTo>
                <a:lnTo>
                  <a:pt x="308" y="1501"/>
                </a:lnTo>
                <a:lnTo>
                  <a:pt x="308" y="1501"/>
                </a:lnTo>
                <a:lnTo>
                  <a:pt x="308" y="1501"/>
                </a:lnTo>
                <a:lnTo>
                  <a:pt x="308" y="1501"/>
                </a:lnTo>
                <a:lnTo>
                  <a:pt x="308" y="1501"/>
                </a:lnTo>
                <a:lnTo>
                  <a:pt x="308" y="1501"/>
                </a:lnTo>
                <a:lnTo>
                  <a:pt x="314" y="1501"/>
                </a:lnTo>
                <a:lnTo>
                  <a:pt x="314" y="1501"/>
                </a:lnTo>
                <a:lnTo>
                  <a:pt x="314" y="1501"/>
                </a:lnTo>
                <a:lnTo>
                  <a:pt x="314" y="1501"/>
                </a:lnTo>
                <a:lnTo>
                  <a:pt x="314" y="1506"/>
                </a:lnTo>
                <a:lnTo>
                  <a:pt x="320" y="1506"/>
                </a:lnTo>
                <a:lnTo>
                  <a:pt x="320" y="1506"/>
                </a:lnTo>
                <a:lnTo>
                  <a:pt x="320" y="1506"/>
                </a:lnTo>
                <a:lnTo>
                  <a:pt x="320" y="1506"/>
                </a:lnTo>
                <a:lnTo>
                  <a:pt x="320" y="1506"/>
                </a:lnTo>
                <a:lnTo>
                  <a:pt x="320" y="1506"/>
                </a:lnTo>
                <a:lnTo>
                  <a:pt x="320" y="1506"/>
                </a:lnTo>
                <a:lnTo>
                  <a:pt x="326" y="1512"/>
                </a:lnTo>
                <a:lnTo>
                  <a:pt x="326" y="1512"/>
                </a:lnTo>
                <a:lnTo>
                  <a:pt x="326" y="1512"/>
                </a:lnTo>
                <a:lnTo>
                  <a:pt x="326" y="1512"/>
                </a:lnTo>
                <a:lnTo>
                  <a:pt x="326" y="1512"/>
                </a:lnTo>
                <a:lnTo>
                  <a:pt x="326" y="1512"/>
                </a:lnTo>
                <a:lnTo>
                  <a:pt x="326" y="1518"/>
                </a:lnTo>
                <a:lnTo>
                  <a:pt x="326" y="1512"/>
                </a:lnTo>
                <a:lnTo>
                  <a:pt x="326" y="1512"/>
                </a:lnTo>
                <a:lnTo>
                  <a:pt x="326" y="1512"/>
                </a:lnTo>
                <a:lnTo>
                  <a:pt x="320" y="1512"/>
                </a:lnTo>
                <a:lnTo>
                  <a:pt x="320" y="1512"/>
                </a:lnTo>
                <a:lnTo>
                  <a:pt x="320" y="1506"/>
                </a:lnTo>
                <a:lnTo>
                  <a:pt x="320" y="1506"/>
                </a:lnTo>
                <a:lnTo>
                  <a:pt x="320" y="1506"/>
                </a:lnTo>
                <a:lnTo>
                  <a:pt x="314" y="1506"/>
                </a:lnTo>
                <a:lnTo>
                  <a:pt x="314" y="1506"/>
                </a:lnTo>
                <a:lnTo>
                  <a:pt x="314" y="1506"/>
                </a:lnTo>
                <a:lnTo>
                  <a:pt x="314" y="1506"/>
                </a:lnTo>
                <a:lnTo>
                  <a:pt x="314" y="1512"/>
                </a:lnTo>
                <a:lnTo>
                  <a:pt x="314" y="1512"/>
                </a:lnTo>
                <a:lnTo>
                  <a:pt x="314" y="1512"/>
                </a:lnTo>
                <a:lnTo>
                  <a:pt x="314" y="1512"/>
                </a:lnTo>
                <a:lnTo>
                  <a:pt x="314" y="1512"/>
                </a:lnTo>
                <a:lnTo>
                  <a:pt x="314" y="1512"/>
                </a:lnTo>
                <a:lnTo>
                  <a:pt x="314" y="1512"/>
                </a:lnTo>
                <a:lnTo>
                  <a:pt x="314" y="1512"/>
                </a:lnTo>
                <a:lnTo>
                  <a:pt x="314" y="1512"/>
                </a:lnTo>
                <a:lnTo>
                  <a:pt x="308" y="1512"/>
                </a:lnTo>
                <a:lnTo>
                  <a:pt x="308" y="1512"/>
                </a:lnTo>
                <a:lnTo>
                  <a:pt x="308" y="1506"/>
                </a:lnTo>
                <a:lnTo>
                  <a:pt x="308" y="1506"/>
                </a:lnTo>
                <a:lnTo>
                  <a:pt x="308" y="1506"/>
                </a:lnTo>
                <a:lnTo>
                  <a:pt x="314" y="1506"/>
                </a:lnTo>
                <a:lnTo>
                  <a:pt x="314" y="1506"/>
                </a:lnTo>
                <a:lnTo>
                  <a:pt x="314" y="1506"/>
                </a:lnTo>
                <a:lnTo>
                  <a:pt x="314" y="1506"/>
                </a:lnTo>
                <a:lnTo>
                  <a:pt x="314" y="1506"/>
                </a:lnTo>
                <a:lnTo>
                  <a:pt x="314" y="1506"/>
                </a:lnTo>
                <a:lnTo>
                  <a:pt x="314" y="1506"/>
                </a:lnTo>
                <a:lnTo>
                  <a:pt x="314" y="1506"/>
                </a:lnTo>
                <a:lnTo>
                  <a:pt x="314" y="1506"/>
                </a:lnTo>
                <a:lnTo>
                  <a:pt x="314" y="1501"/>
                </a:lnTo>
                <a:lnTo>
                  <a:pt x="314" y="1501"/>
                </a:lnTo>
                <a:lnTo>
                  <a:pt x="314" y="1501"/>
                </a:lnTo>
                <a:lnTo>
                  <a:pt x="314" y="1501"/>
                </a:lnTo>
                <a:lnTo>
                  <a:pt x="308" y="1501"/>
                </a:lnTo>
                <a:lnTo>
                  <a:pt x="308" y="1501"/>
                </a:lnTo>
                <a:lnTo>
                  <a:pt x="308" y="1506"/>
                </a:lnTo>
                <a:lnTo>
                  <a:pt x="308" y="1506"/>
                </a:lnTo>
                <a:lnTo>
                  <a:pt x="308" y="1506"/>
                </a:lnTo>
                <a:lnTo>
                  <a:pt x="308" y="1506"/>
                </a:lnTo>
                <a:lnTo>
                  <a:pt x="308" y="1506"/>
                </a:lnTo>
                <a:lnTo>
                  <a:pt x="308" y="1506"/>
                </a:lnTo>
                <a:lnTo>
                  <a:pt x="308" y="1506"/>
                </a:lnTo>
                <a:lnTo>
                  <a:pt x="308" y="1506"/>
                </a:lnTo>
                <a:lnTo>
                  <a:pt x="308" y="1506"/>
                </a:lnTo>
                <a:lnTo>
                  <a:pt x="302" y="1506"/>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302" y="1512"/>
                </a:lnTo>
                <a:lnTo>
                  <a:pt x="296" y="1512"/>
                </a:lnTo>
                <a:lnTo>
                  <a:pt x="296" y="1512"/>
                </a:lnTo>
                <a:lnTo>
                  <a:pt x="290" y="1512"/>
                </a:lnTo>
                <a:lnTo>
                  <a:pt x="284" y="1512"/>
                </a:lnTo>
                <a:lnTo>
                  <a:pt x="284" y="1512"/>
                </a:lnTo>
                <a:lnTo>
                  <a:pt x="278" y="1512"/>
                </a:lnTo>
                <a:lnTo>
                  <a:pt x="273" y="1506"/>
                </a:lnTo>
                <a:lnTo>
                  <a:pt x="267" y="1506"/>
                </a:lnTo>
                <a:lnTo>
                  <a:pt x="267" y="1506"/>
                </a:lnTo>
                <a:lnTo>
                  <a:pt x="267" y="1506"/>
                </a:lnTo>
                <a:lnTo>
                  <a:pt x="267" y="1506"/>
                </a:lnTo>
                <a:lnTo>
                  <a:pt x="261" y="1512"/>
                </a:lnTo>
                <a:lnTo>
                  <a:pt x="261" y="1512"/>
                </a:lnTo>
                <a:lnTo>
                  <a:pt x="261" y="1512"/>
                </a:lnTo>
                <a:lnTo>
                  <a:pt x="261" y="1512"/>
                </a:lnTo>
                <a:lnTo>
                  <a:pt x="255" y="1512"/>
                </a:lnTo>
                <a:lnTo>
                  <a:pt x="255" y="1512"/>
                </a:lnTo>
                <a:lnTo>
                  <a:pt x="255" y="1506"/>
                </a:lnTo>
                <a:lnTo>
                  <a:pt x="255" y="1506"/>
                </a:lnTo>
                <a:lnTo>
                  <a:pt x="255" y="1506"/>
                </a:lnTo>
                <a:lnTo>
                  <a:pt x="249" y="1506"/>
                </a:lnTo>
                <a:lnTo>
                  <a:pt x="249" y="1506"/>
                </a:lnTo>
                <a:lnTo>
                  <a:pt x="249" y="1506"/>
                </a:lnTo>
                <a:lnTo>
                  <a:pt x="249" y="1506"/>
                </a:lnTo>
                <a:lnTo>
                  <a:pt x="249" y="1512"/>
                </a:lnTo>
                <a:lnTo>
                  <a:pt x="243" y="1512"/>
                </a:lnTo>
                <a:lnTo>
                  <a:pt x="243" y="1512"/>
                </a:lnTo>
                <a:lnTo>
                  <a:pt x="243" y="1512"/>
                </a:lnTo>
                <a:lnTo>
                  <a:pt x="243" y="1512"/>
                </a:lnTo>
                <a:lnTo>
                  <a:pt x="243" y="1512"/>
                </a:lnTo>
                <a:lnTo>
                  <a:pt x="243" y="1512"/>
                </a:lnTo>
                <a:lnTo>
                  <a:pt x="243" y="1512"/>
                </a:lnTo>
                <a:lnTo>
                  <a:pt x="237" y="1512"/>
                </a:lnTo>
                <a:lnTo>
                  <a:pt x="237" y="1512"/>
                </a:lnTo>
                <a:lnTo>
                  <a:pt x="237" y="1512"/>
                </a:lnTo>
                <a:lnTo>
                  <a:pt x="237" y="1512"/>
                </a:lnTo>
                <a:lnTo>
                  <a:pt x="237" y="1512"/>
                </a:lnTo>
                <a:lnTo>
                  <a:pt x="237" y="1512"/>
                </a:lnTo>
                <a:lnTo>
                  <a:pt x="237" y="1518"/>
                </a:lnTo>
                <a:lnTo>
                  <a:pt x="237" y="1518"/>
                </a:lnTo>
                <a:lnTo>
                  <a:pt x="237" y="1518"/>
                </a:lnTo>
                <a:lnTo>
                  <a:pt x="231" y="1518"/>
                </a:lnTo>
                <a:lnTo>
                  <a:pt x="231" y="1518"/>
                </a:lnTo>
                <a:lnTo>
                  <a:pt x="231" y="1518"/>
                </a:lnTo>
                <a:lnTo>
                  <a:pt x="231" y="1518"/>
                </a:lnTo>
                <a:lnTo>
                  <a:pt x="231" y="1518"/>
                </a:lnTo>
                <a:lnTo>
                  <a:pt x="231" y="1518"/>
                </a:lnTo>
                <a:lnTo>
                  <a:pt x="231" y="1518"/>
                </a:lnTo>
                <a:lnTo>
                  <a:pt x="231" y="1524"/>
                </a:lnTo>
                <a:lnTo>
                  <a:pt x="231" y="1524"/>
                </a:lnTo>
                <a:lnTo>
                  <a:pt x="231" y="1524"/>
                </a:lnTo>
                <a:lnTo>
                  <a:pt x="237" y="1524"/>
                </a:lnTo>
                <a:lnTo>
                  <a:pt x="237" y="1524"/>
                </a:lnTo>
                <a:lnTo>
                  <a:pt x="237" y="1524"/>
                </a:lnTo>
                <a:lnTo>
                  <a:pt x="237" y="1530"/>
                </a:lnTo>
                <a:lnTo>
                  <a:pt x="237" y="1524"/>
                </a:lnTo>
                <a:lnTo>
                  <a:pt x="243" y="1524"/>
                </a:lnTo>
                <a:lnTo>
                  <a:pt x="243" y="1530"/>
                </a:lnTo>
                <a:lnTo>
                  <a:pt x="243" y="1530"/>
                </a:lnTo>
                <a:lnTo>
                  <a:pt x="243" y="1530"/>
                </a:lnTo>
                <a:lnTo>
                  <a:pt x="243" y="1530"/>
                </a:lnTo>
                <a:lnTo>
                  <a:pt x="243" y="1530"/>
                </a:lnTo>
                <a:lnTo>
                  <a:pt x="243" y="1530"/>
                </a:lnTo>
                <a:lnTo>
                  <a:pt x="243" y="1530"/>
                </a:lnTo>
                <a:lnTo>
                  <a:pt x="243" y="1530"/>
                </a:lnTo>
                <a:lnTo>
                  <a:pt x="243" y="1536"/>
                </a:lnTo>
                <a:lnTo>
                  <a:pt x="243" y="1536"/>
                </a:lnTo>
                <a:lnTo>
                  <a:pt x="243" y="1536"/>
                </a:lnTo>
                <a:lnTo>
                  <a:pt x="243" y="1536"/>
                </a:lnTo>
                <a:lnTo>
                  <a:pt x="243" y="1536"/>
                </a:lnTo>
                <a:lnTo>
                  <a:pt x="243" y="1536"/>
                </a:lnTo>
                <a:lnTo>
                  <a:pt x="243" y="1536"/>
                </a:lnTo>
                <a:lnTo>
                  <a:pt x="243" y="1536"/>
                </a:lnTo>
                <a:lnTo>
                  <a:pt x="243" y="1536"/>
                </a:lnTo>
                <a:lnTo>
                  <a:pt x="243" y="1536"/>
                </a:lnTo>
                <a:lnTo>
                  <a:pt x="243" y="1536"/>
                </a:lnTo>
                <a:lnTo>
                  <a:pt x="243" y="1536"/>
                </a:lnTo>
                <a:lnTo>
                  <a:pt x="237" y="1542"/>
                </a:lnTo>
                <a:lnTo>
                  <a:pt x="237"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2"/>
                </a:lnTo>
                <a:lnTo>
                  <a:pt x="243" y="1548"/>
                </a:lnTo>
                <a:lnTo>
                  <a:pt x="249" y="1548"/>
                </a:lnTo>
                <a:lnTo>
                  <a:pt x="249" y="1548"/>
                </a:lnTo>
                <a:lnTo>
                  <a:pt x="249" y="1548"/>
                </a:lnTo>
                <a:lnTo>
                  <a:pt x="249" y="1548"/>
                </a:lnTo>
                <a:lnTo>
                  <a:pt x="249" y="1548"/>
                </a:lnTo>
                <a:lnTo>
                  <a:pt x="249" y="1548"/>
                </a:lnTo>
                <a:lnTo>
                  <a:pt x="255" y="1548"/>
                </a:lnTo>
                <a:lnTo>
                  <a:pt x="255" y="1548"/>
                </a:lnTo>
                <a:lnTo>
                  <a:pt x="249" y="1548"/>
                </a:lnTo>
                <a:lnTo>
                  <a:pt x="249" y="1548"/>
                </a:lnTo>
                <a:lnTo>
                  <a:pt x="249" y="1548"/>
                </a:lnTo>
                <a:lnTo>
                  <a:pt x="249" y="1548"/>
                </a:lnTo>
                <a:lnTo>
                  <a:pt x="255" y="1554"/>
                </a:lnTo>
                <a:lnTo>
                  <a:pt x="255" y="1554"/>
                </a:lnTo>
                <a:lnTo>
                  <a:pt x="255" y="1554"/>
                </a:lnTo>
                <a:lnTo>
                  <a:pt x="255" y="1554"/>
                </a:lnTo>
                <a:lnTo>
                  <a:pt x="255" y="1560"/>
                </a:lnTo>
                <a:lnTo>
                  <a:pt x="261" y="1566"/>
                </a:lnTo>
                <a:lnTo>
                  <a:pt x="261" y="1566"/>
                </a:lnTo>
                <a:lnTo>
                  <a:pt x="261" y="1566"/>
                </a:lnTo>
                <a:lnTo>
                  <a:pt x="261" y="1566"/>
                </a:lnTo>
                <a:lnTo>
                  <a:pt x="261" y="1572"/>
                </a:lnTo>
                <a:lnTo>
                  <a:pt x="261" y="1578"/>
                </a:lnTo>
                <a:lnTo>
                  <a:pt x="267" y="1578"/>
                </a:lnTo>
                <a:lnTo>
                  <a:pt x="267" y="1578"/>
                </a:lnTo>
                <a:lnTo>
                  <a:pt x="267" y="1578"/>
                </a:lnTo>
                <a:lnTo>
                  <a:pt x="267" y="1578"/>
                </a:lnTo>
                <a:lnTo>
                  <a:pt x="267" y="1578"/>
                </a:lnTo>
                <a:lnTo>
                  <a:pt x="267" y="1578"/>
                </a:lnTo>
                <a:lnTo>
                  <a:pt x="267" y="1578"/>
                </a:lnTo>
                <a:lnTo>
                  <a:pt x="267" y="1578"/>
                </a:lnTo>
                <a:lnTo>
                  <a:pt x="267" y="1584"/>
                </a:lnTo>
                <a:lnTo>
                  <a:pt x="267" y="1584"/>
                </a:lnTo>
                <a:lnTo>
                  <a:pt x="267" y="1584"/>
                </a:lnTo>
                <a:lnTo>
                  <a:pt x="267" y="1584"/>
                </a:lnTo>
                <a:lnTo>
                  <a:pt x="267" y="1584"/>
                </a:lnTo>
                <a:lnTo>
                  <a:pt x="267" y="1584"/>
                </a:lnTo>
                <a:lnTo>
                  <a:pt x="267" y="1584"/>
                </a:lnTo>
                <a:lnTo>
                  <a:pt x="273" y="1584"/>
                </a:lnTo>
                <a:lnTo>
                  <a:pt x="267" y="1584"/>
                </a:lnTo>
                <a:lnTo>
                  <a:pt x="267" y="1584"/>
                </a:lnTo>
                <a:lnTo>
                  <a:pt x="267" y="1584"/>
                </a:lnTo>
                <a:lnTo>
                  <a:pt x="261" y="1584"/>
                </a:lnTo>
                <a:lnTo>
                  <a:pt x="261" y="1584"/>
                </a:lnTo>
                <a:lnTo>
                  <a:pt x="261" y="1578"/>
                </a:lnTo>
                <a:lnTo>
                  <a:pt x="261" y="1578"/>
                </a:lnTo>
                <a:lnTo>
                  <a:pt x="261" y="1578"/>
                </a:lnTo>
                <a:lnTo>
                  <a:pt x="261" y="1578"/>
                </a:lnTo>
                <a:lnTo>
                  <a:pt x="255" y="1578"/>
                </a:lnTo>
                <a:lnTo>
                  <a:pt x="255" y="1578"/>
                </a:lnTo>
                <a:lnTo>
                  <a:pt x="255" y="1578"/>
                </a:lnTo>
                <a:lnTo>
                  <a:pt x="255" y="1578"/>
                </a:lnTo>
                <a:lnTo>
                  <a:pt x="255" y="1578"/>
                </a:lnTo>
                <a:lnTo>
                  <a:pt x="255" y="1578"/>
                </a:lnTo>
                <a:lnTo>
                  <a:pt x="255" y="1578"/>
                </a:lnTo>
                <a:lnTo>
                  <a:pt x="255" y="1578"/>
                </a:lnTo>
                <a:lnTo>
                  <a:pt x="255" y="1572"/>
                </a:lnTo>
                <a:lnTo>
                  <a:pt x="255" y="1572"/>
                </a:lnTo>
                <a:lnTo>
                  <a:pt x="255" y="1572"/>
                </a:lnTo>
                <a:lnTo>
                  <a:pt x="255" y="1572"/>
                </a:lnTo>
                <a:lnTo>
                  <a:pt x="249" y="1572"/>
                </a:lnTo>
                <a:lnTo>
                  <a:pt x="249" y="1572"/>
                </a:lnTo>
                <a:lnTo>
                  <a:pt x="249" y="1572"/>
                </a:lnTo>
                <a:lnTo>
                  <a:pt x="249" y="1572"/>
                </a:lnTo>
                <a:lnTo>
                  <a:pt x="249" y="1572"/>
                </a:lnTo>
                <a:lnTo>
                  <a:pt x="249" y="1572"/>
                </a:lnTo>
                <a:lnTo>
                  <a:pt x="249" y="1572"/>
                </a:lnTo>
                <a:lnTo>
                  <a:pt x="243" y="1572"/>
                </a:lnTo>
                <a:lnTo>
                  <a:pt x="243" y="1566"/>
                </a:lnTo>
                <a:lnTo>
                  <a:pt x="243" y="1566"/>
                </a:lnTo>
                <a:lnTo>
                  <a:pt x="243" y="1566"/>
                </a:lnTo>
                <a:lnTo>
                  <a:pt x="243" y="1566"/>
                </a:lnTo>
                <a:lnTo>
                  <a:pt x="243" y="1566"/>
                </a:lnTo>
                <a:lnTo>
                  <a:pt x="237" y="1566"/>
                </a:lnTo>
                <a:lnTo>
                  <a:pt x="237" y="1566"/>
                </a:lnTo>
                <a:lnTo>
                  <a:pt x="237" y="1566"/>
                </a:lnTo>
                <a:lnTo>
                  <a:pt x="237" y="1566"/>
                </a:lnTo>
                <a:lnTo>
                  <a:pt x="237" y="1566"/>
                </a:lnTo>
                <a:lnTo>
                  <a:pt x="237" y="1566"/>
                </a:lnTo>
                <a:lnTo>
                  <a:pt x="237" y="1566"/>
                </a:lnTo>
                <a:lnTo>
                  <a:pt x="237" y="1566"/>
                </a:lnTo>
                <a:lnTo>
                  <a:pt x="237" y="1566"/>
                </a:lnTo>
                <a:lnTo>
                  <a:pt x="237" y="1560"/>
                </a:lnTo>
                <a:lnTo>
                  <a:pt x="237" y="1560"/>
                </a:lnTo>
                <a:lnTo>
                  <a:pt x="237" y="1560"/>
                </a:lnTo>
                <a:lnTo>
                  <a:pt x="237" y="1560"/>
                </a:lnTo>
                <a:lnTo>
                  <a:pt x="237" y="1560"/>
                </a:lnTo>
                <a:lnTo>
                  <a:pt x="237" y="1560"/>
                </a:lnTo>
                <a:lnTo>
                  <a:pt x="237" y="1560"/>
                </a:lnTo>
                <a:lnTo>
                  <a:pt x="237" y="1560"/>
                </a:lnTo>
                <a:lnTo>
                  <a:pt x="237" y="1560"/>
                </a:lnTo>
                <a:lnTo>
                  <a:pt x="237" y="1554"/>
                </a:lnTo>
                <a:lnTo>
                  <a:pt x="237" y="1554"/>
                </a:lnTo>
                <a:lnTo>
                  <a:pt x="237" y="1554"/>
                </a:lnTo>
                <a:lnTo>
                  <a:pt x="237" y="1554"/>
                </a:lnTo>
                <a:lnTo>
                  <a:pt x="237" y="1554"/>
                </a:lnTo>
                <a:lnTo>
                  <a:pt x="237" y="1554"/>
                </a:lnTo>
                <a:lnTo>
                  <a:pt x="237" y="1548"/>
                </a:lnTo>
                <a:lnTo>
                  <a:pt x="237" y="1554"/>
                </a:lnTo>
                <a:lnTo>
                  <a:pt x="237" y="1548"/>
                </a:lnTo>
                <a:lnTo>
                  <a:pt x="237" y="1548"/>
                </a:lnTo>
                <a:lnTo>
                  <a:pt x="237" y="1548"/>
                </a:lnTo>
                <a:lnTo>
                  <a:pt x="237" y="1548"/>
                </a:lnTo>
                <a:lnTo>
                  <a:pt x="237" y="1548"/>
                </a:lnTo>
                <a:lnTo>
                  <a:pt x="237" y="1548"/>
                </a:lnTo>
                <a:lnTo>
                  <a:pt x="237" y="1542"/>
                </a:lnTo>
                <a:lnTo>
                  <a:pt x="237" y="1542"/>
                </a:lnTo>
                <a:lnTo>
                  <a:pt x="237" y="1542"/>
                </a:lnTo>
                <a:lnTo>
                  <a:pt x="237" y="1542"/>
                </a:lnTo>
                <a:lnTo>
                  <a:pt x="237" y="1542"/>
                </a:lnTo>
                <a:lnTo>
                  <a:pt x="231" y="1542"/>
                </a:lnTo>
                <a:lnTo>
                  <a:pt x="231" y="1542"/>
                </a:lnTo>
                <a:lnTo>
                  <a:pt x="231" y="1536"/>
                </a:lnTo>
                <a:lnTo>
                  <a:pt x="225" y="1542"/>
                </a:lnTo>
                <a:lnTo>
                  <a:pt x="225" y="1542"/>
                </a:lnTo>
                <a:lnTo>
                  <a:pt x="225" y="1542"/>
                </a:lnTo>
                <a:lnTo>
                  <a:pt x="225" y="1542"/>
                </a:lnTo>
                <a:lnTo>
                  <a:pt x="225" y="1542"/>
                </a:lnTo>
                <a:lnTo>
                  <a:pt x="225" y="1542"/>
                </a:lnTo>
                <a:lnTo>
                  <a:pt x="219" y="1542"/>
                </a:lnTo>
                <a:lnTo>
                  <a:pt x="219" y="1542"/>
                </a:lnTo>
                <a:lnTo>
                  <a:pt x="219" y="1548"/>
                </a:lnTo>
                <a:lnTo>
                  <a:pt x="225" y="1548"/>
                </a:lnTo>
                <a:lnTo>
                  <a:pt x="225" y="1554"/>
                </a:lnTo>
                <a:lnTo>
                  <a:pt x="225" y="1554"/>
                </a:lnTo>
                <a:lnTo>
                  <a:pt x="225" y="1560"/>
                </a:lnTo>
                <a:lnTo>
                  <a:pt x="225" y="1560"/>
                </a:lnTo>
                <a:lnTo>
                  <a:pt x="225" y="1560"/>
                </a:lnTo>
                <a:lnTo>
                  <a:pt x="225" y="1566"/>
                </a:lnTo>
                <a:lnTo>
                  <a:pt x="225" y="1566"/>
                </a:lnTo>
                <a:lnTo>
                  <a:pt x="225" y="1566"/>
                </a:lnTo>
                <a:lnTo>
                  <a:pt x="225" y="1566"/>
                </a:lnTo>
                <a:lnTo>
                  <a:pt x="225" y="1566"/>
                </a:lnTo>
                <a:lnTo>
                  <a:pt x="225" y="1566"/>
                </a:lnTo>
                <a:lnTo>
                  <a:pt x="219" y="1566"/>
                </a:lnTo>
                <a:lnTo>
                  <a:pt x="219" y="1566"/>
                </a:lnTo>
                <a:lnTo>
                  <a:pt x="219" y="1566"/>
                </a:lnTo>
                <a:lnTo>
                  <a:pt x="219" y="1566"/>
                </a:lnTo>
                <a:lnTo>
                  <a:pt x="219" y="1566"/>
                </a:lnTo>
                <a:lnTo>
                  <a:pt x="219" y="1572"/>
                </a:lnTo>
                <a:lnTo>
                  <a:pt x="219" y="1572"/>
                </a:lnTo>
                <a:lnTo>
                  <a:pt x="219" y="1572"/>
                </a:lnTo>
                <a:lnTo>
                  <a:pt x="219" y="1572"/>
                </a:lnTo>
                <a:lnTo>
                  <a:pt x="219" y="1572"/>
                </a:lnTo>
                <a:lnTo>
                  <a:pt x="219" y="1572"/>
                </a:lnTo>
                <a:lnTo>
                  <a:pt x="225" y="1578"/>
                </a:lnTo>
                <a:lnTo>
                  <a:pt x="225" y="1578"/>
                </a:lnTo>
                <a:lnTo>
                  <a:pt x="225" y="1578"/>
                </a:lnTo>
                <a:lnTo>
                  <a:pt x="225" y="1578"/>
                </a:lnTo>
                <a:lnTo>
                  <a:pt x="225" y="1578"/>
                </a:lnTo>
                <a:lnTo>
                  <a:pt x="225" y="1578"/>
                </a:lnTo>
                <a:lnTo>
                  <a:pt x="225" y="1578"/>
                </a:lnTo>
                <a:lnTo>
                  <a:pt x="225" y="1578"/>
                </a:lnTo>
                <a:lnTo>
                  <a:pt x="225" y="1578"/>
                </a:lnTo>
                <a:lnTo>
                  <a:pt x="231" y="1584"/>
                </a:lnTo>
                <a:lnTo>
                  <a:pt x="231" y="1584"/>
                </a:lnTo>
                <a:lnTo>
                  <a:pt x="231" y="1590"/>
                </a:lnTo>
                <a:lnTo>
                  <a:pt x="231" y="1590"/>
                </a:lnTo>
                <a:lnTo>
                  <a:pt x="231" y="1595"/>
                </a:lnTo>
                <a:lnTo>
                  <a:pt x="231" y="1595"/>
                </a:lnTo>
                <a:lnTo>
                  <a:pt x="231" y="1595"/>
                </a:lnTo>
                <a:lnTo>
                  <a:pt x="231" y="1595"/>
                </a:lnTo>
                <a:lnTo>
                  <a:pt x="231" y="1595"/>
                </a:lnTo>
                <a:lnTo>
                  <a:pt x="231" y="1595"/>
                </a:lnTo>
                <a:lnTo>
                  <a:pt x="231" y="1601"/>
                </a:lnTo>
                <a:lnTo>
                  <a:pt x="231" y="1601"/>
                </a:lnTo>
                <a:lnTo>
                  <a:pt x="231" y="1607"/>
                </a:lnTo>
                <a:lnTo>
                  <a:pt x="231" y="1607"/>
                </a:lnTo>
                <a:lnTo>
                  <a:pt x="231" y="1607"/>
                </a:lnTo>
                <a:lnTo>
                  <a:pt x="231" y="1613"/>
                </a:lnTo>
                <a:lnTo>
                  <a:pt x="231" y="1613"/>
                </a:lnTo>
                <a:lnTo>
                  <a:pt x="231" y="1613"/>
                </a:lnTo>
                <a:lnTo>
                  <a:pt x="231" y="1613"/>
                </a:lnTo>
                <a:lnTo>
                  <a:pt x="231" y="1619"/>
                </a:lnTo>
                <a:lnTo>
                  <a:pt x="231" y="1619"/>
                </a:lnTo>
                <a:lnTo>
                  <a:pt x="237" y="1619"/>
                </a:lnTo>
                <a:lnTo>
                  <a:pt x="237" y="1619"/>
                </a:lnTo>
                <a:lnTo>
                  <a:pt x="237" y="1619"/>
                </a:lnTo>
                <a:lnTo>
                  <a:pt x="237" y="1619"/>
                </a:lnTo>
                <a:lnTo>
                  <a:pt x="237" y="1619"/>
                </a:lnTo>
                <a:lnTo>
                  <a:pt x="237" y="1625"/>
                </a:lnTo>
                <a:lnTo>
                  <a:pt x="237" y="1625"/>
                </a:lnTo>
                <a:lnTo>
                  <a:pt x="237" y="1625"/>
                </a:lnTo>
                <a:lnTo>
                  <a:pt x="243" y="1625"/>
                </a:lnTo>
                <a:lnTo>
                  <a:pt x="243" y="1625"/>
                </a:lnTo>
                <a:lnTo>
                  <a:pt x="243" y="1625"/>
                </a:lnTo>
                <a:lnTo>
                  <a:pt x="243" y="1625"/>
                </a:lnTo>
                <a:lnTo>
                  <a:pt x="243" y="1625"/>
                </a:lnTo>
                <a:lnTo>
                  <a:pt x="243" y="1625"/>
                </a:lnTo>
                <a:lnTo>
                  <a:pt x="243" y="1625"/>
                </a:lnTo>
                <a:lnTo>
                  <a:pt x="243" y="1625"/>
                </a:lnTo>
                <a:lnTo>
                  <a:pt x="243" y="1625"/>
                </a:lnTo>
                <a:lnTo>
                  <a:pt x="243" y="1631"/>
                </a:lnTo>
                <a:lnTo>
                  <a:pt x="243" y="1631"/>
                </a:lnTo>
                <a:lnTo>
                  <a:pt x="249" y="1631"/>
                </a:lnTo>
                <a:lnTo>
                  <a:pt x="249" y="1631"/>
                </a:lnTo>
                <a:lnTo>
                  <a:pt x="249" y="1631"/>
                </a:lnTo>
                <a:lnTo>
                  <a:pt x="249" y="1637"/>
                </a:lnTo>
                <a:lnTo>
                  <a:pt x="249" y="1637"/>
                </a:lnTo>
                <a:lnTo>
                  <a:pt x="249" y="1637"/>
                </a:lnTo>
                <a:lnTo>
                  <a:pt x="255" y="1637"/>
                </a:lnTo>
                <a:lnTo>
                  <a:pt x="255" y="1643"/>
                </a:lnTo>
                <a:lnTo>
                  <a:pt x="255" y="1643"/>
                </a:lnTo>
                <a:lnTo>
                  <a:pt x="255" y="1643"/>
                </a:lnTo>
                <a:lnTo>
                  <a:pt x="261" y="1643"/>
                </a:lnTo>
                <a:lnTo>
                  <a:pt x="261" y="1643"/>
                </a:lnTo>
                <a:lnTo>
                  <a:pt x="261" y="1643"/>
                </a:lnTo>
                <a:lnTo>
                  <a:pt x="261" y="1643"/>
                </a:lnTo>
                <a:lnTo>
                  <a:pt x="261" y="1643"/>
                </a:lnTo>
                <a:lnTo>
                  <a:pt x="261" y="1643"/>
                </a:lnTo>
                <a:lnTo>
                  <a:pt x="261" y="1649"/>
                </a:lnTo>
                <a:lnTo>
                  <a:pt x="267" y="1649"/>
                </a:lnTo>
                <a:lnTo>
                  <a:pt x="267" y="1649"/>
                </a:lnTo>
                <a:lnTo>
                  <a:pt x="267" y="1649"/>
                </a:lnTo>
                <a:lnTo>
                  <a:pt x="267" y="1649"/>
                </a:lnTo>
                <a:lnTo>
                  <a:pt x="267" y="1649"/>
                </a:lnTo>
                <a:lnTo>
                  <a:pt x="273" y="1649"/>
                </a:lnTo>
                <a:lnTo>
                  <a:pt x="273" y="1649"/>
                </a:lnTo>
                <a:lnTo>
                  <a:pt x="273" y="1649"/>
                </a:lnTo>
                <a:lnTo>
                  <a:pt x="273" y="1649"/>
                </a:lnTo>
                <a:lnTo>
                  <a:pt x="273" y="1643"/>
                </a:lnTo>
                <a:lnTo>
                  <a:pt x="273" y="1643"/>
                </a:lnTo>
                <a:lnTo>
                  <a:pt x="273" y="1643"/>
                </a:lnTo>
                <a:lnTo>
                  <a:pt x="273" y="1643"/>
                </a:lnTo>
                <a:lnTo>
                  <a:pt x="273" y="1643"/>
                </a:lnTo>
                <a:lnTo>
                  <a:pt x="273" y="1643"/>
                </a:lnTo>
                <a:lnTo>
                  <a:pt x="278" y="1649"/>
                </a:lnTo>
                <a:lnTo>
                  <a:pt x="278" y="1649"/>
                </a:lnTo>
                <a:lnTo>
                  <a:pt x="278" y="1649"/>
                </a:lnTo>
                <a:lnTo>
                  <a:pt x="278" y="1643"/>
                </a:lnTo>
                <a:lnTo>
                  <a:pt x="278" y="1643"/>
                </a:lnTo>
                <a:lnTo>
                  <a:pt x="278" y="1643"/>
                </a:lnTo>
                <a:lnTo>
                  <a:pt x="278" y="1643"/>
                </a:lnTo>
                <a:lnTo>
                  <a:pt x="278" y="1643"/>
                </a:lnTo>
                <a:lnTo>
                  <a:pt x="284" y="1643"/>
                </a:lnTo>
                <a:lnTo>
                  <a:pt x="284" y="1649"/>
                </a:lnTo>
                <a:lnTo>
                  <a:pt x="284" y="1649"/>
                </a:lnTo>
                <a:lnTo>
                  <a:pt x="284" y="1649"/>
                </a:lnTo>
                <a:lnTo>
                  <a:pt x="290" y="1649"/>
                </a:lnTo>
                <a:lnTo>
                  <a:pt x="290" y="1661"/>
                </a:lnTo>
                <a:lnTo>
                  <a:pt x="296" y="1661"/>
                </a:lnTo>
                <a:lnTo>
                  <a:pt x="296" y="1667"/>
                </a:lnTo>
                <a:lnTo>
                  <a:pt x="296" y="1667"/>
                </a:lnTo>
                <a:lnTo>
                  <a:pt x="290" y="1673"/>
                </a:lnTo>
                <a:lnTo>
                  <a:pt x="290" y="1673"/>
                </a:lnTo>
                <a:lnTo>
                  <a:pt x="296" y="1673"/>
                </a:lnTo>
                <a:lnTo>
                  <a:pt x="296" y="1673"/>
                </a:lnTo>
                <a:lnTo>
                  <a:pt x="296" y="1673"/>
                </a:lnTo>
                <a:lnTo>
                  <a:pt x="296" y="1673"/>
                </a:lnTo>
                <a:lnTo>
                  <a:pt x="296" y="1673"/>
                </a:lnTo>
                <a:lnTo>
                  <a:pt x="296" y="1673"/>
                </a:lnTo>
                <a:lnTo>
                  <a:pt x="296" y="1673"/>
                </a:lnTo>
                <a:lnTo>
                  <a:pt x="296" y="1673"/>
                </a:lnTo>
                <a:lnTo>
                  <a:pt x="296" y="1673"/>
                </a:lnTo>
                <a:lnTo>
                  <a:pt x="296" y="1673"/>
                </a:lnTo>
                <a:lnTo>
                  <a:pt x="296" y="1673"/>
                </a:lnTo>
                <a:lnTo>
                  <a:pt x="296" y="1673"/>
                </a:lnTo>
                <a:lnTo>
                  <a:pt x="290" y="1673"/>
                </a:lnTo>
                <a:lnTo>
                  <a:pt x="290" y="1673"/>
                </a:lnTo>
                <a:lnTo>
                  <a:pt x="290" y="1678"/>
                </a:lnTo>
                <a:lnTo>
                  <a:pt x="290" y="1678"/>
                </a:lnTo>
                <a:lnTo>
                  <a:pt x="290" y="1678"/>
                </a:lnTo>
                <a:lnTo>
                  <a:pt x="290" y="1684"/>
                </a:lnTo>
                <a:lnTo>
                  <a:pt x="290" y="1684"/>
                </a:lnTo>
                <a:lnTo>
                  <a:pt x="290" y="1684"/>
                </a:lnTo>
                <a:lnTo>
                  <a:pt x="290" y="1684"/>
                </a:lnTo>
                <a:lnTo>
                  <a:pt x="290" y="1690"/>
                </a:lnTo>
                <a:lnTo>
                  <a:pt x="290" y="1690"/>
                </a:lnTo>
                <a:lnTo>
                  <a:pt x="284" y="1690"/>
                </a:lnTo>
                <a:lnTo>
                  <a:pt x="284" y="1690"/>
                </a:lnTo>
                <a:lnTo>
                  <a:pt x="284" y="1690"/>
                </a:lnTo>
                <a:lnTo>
                  <a:pt x="284" y="1690"/>
                </a:lnTo>
                <a:lnTo>
                  <a:pt x="284" y="1690"/>
                </a:lnTo>
                <a:lnTo>
                  <a:pt x="284" y="1690"/>
                </a:lnTo>
                <a:lnTo>
                  <a:pt x="284" y="1690"/>
                </a:lnTo>
                <a:lnTo>
                  <a:pt x="284" y="1690"/>
                </a:lnTo>
                <a:lnTo>
                  <a:pt x="284" y="1690"/>
                </a:lnTo>
                <a:lnTo>
                  <a:pt x="284" y="1690"/>
                </a:lnTo>
                <a:lnTo>
                  <a:pt x="278" y="1684"/>
                </a:lnTo>
                <a:lnTo>
                  <a:pt x="278" y="1684"/>
                </a:lnTo>
                <a:lnTo>
                  <a:pt x="278" y="1684"/>
                </a:lnTo>
                <a:lnTo>
                  <a:pt x="278" y="1684"/>
                </a:lnTo>
                <a:lnTo>
                  <a:pt x="278" y="1684"/>
                </a:lnTo>
                <a:lnTo>
                  <a:pt x="278" y="1684"/>
                </a:lnTo>
                <a:lnTo>
                  <a:pt x="278" y="1684"/>
                </a:lnTo>
                <a:lnTo>
                  <a:pt x="278" y="1684"/>
                </a:lnTo>
                <a:lnTo>
                  <a:pt x="278" y="1690"/>
                </a:lnTo>
                <a:lnTo>
                  <a:pt x="278" y="1690"/>
                </a:lnTo>
                <a:lnTo>
                  <a:pt x="278" y="1690"/>
                </a:lnTo>
                <a:lnTo>
                  <a:pt x="278" y="1690"/>
                </a:lnTo>
                <a:lnTo>
                  <a:pt x="278" y="1690"/>
                </a:lnTo>
                <a:lnTo>
                  <a:pt x="278" y="1690"/>
                </a:lnTo>
                <a:lnTo>
                  <a:pt x="278" y="1690"/>
                </a:lnTo>
                <a:lnTo>
                  <a:pt x="278" y="1690"/>
                </a:lnTo>
                <a:lnTo>
                  <a:pt x="278" y="1690"/>
                </a:lnTo>
                <a:lnTo>
                  <a:pt x="278" y="1690"/>
                </a:lnTo>
                <a:lnTo>
                  <a:pt x="278" y="1690"/>
                </a:lnTo>
                <a:lnTo>
                  <a:pt x="273" y="1690"/>
                </a:lnTo>
                <a:lnTo>
                  <a:pt x="273"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696"/>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2"/>
                </a:lnTo>
                <a:lnTo>
                  <a:pt x="278" y="1708"/>
                </a:lnTo>
                <a:lnTo>
                  <a:pt x="278" y="1708"/>
                </a:lnTo>
                <a:lnTo>
                  <a:pt x="278" y="1708"/>
                </a:lnTo>
                <a:lnTo>
                  <a:pt x="278" y="1708"/>
                </a:lnTo>
                <a:lnTo>
                  <a:pt x="278" y="1708"/>
                </a:lnTo>
                <a:lnTo>
                  <a:pt x="278" y="1708"/>
                </a:lnTo>
                <a:lnTo>
                  <a:pt x="278" y="1714"/>
                </a:lnTo>
                <a:lnTo>
                  <a:pt x="284" y="1714"/>
                </a:lnTo>
                <a:lnTo>
                  <a:pt x="284" y="1714"/>
                </a:lnTo>
                <a:lnTo>
                  <a:pt x="284" y="1714"/>
                </a:lnTo>
                <a:lnTo>
                  <a:pt x="284" y="1714"/>
                </a:lnTo>
                <a:lnTo>
                  <a:pt x="284" y="1714"/>
                </a:lnTo>
                <a:lnTo>
                  <a:pt x="284" y="1714"/>
                </a:lnTo>
                <a:lnTo>
                  <a:pt x="284" y="1714"/>
                </a:lnTo>
                <a:lnTo>
                  <a:pt x="284" y="1720"/>
                </a:lnTo>
                <a:lnTo>
                  <a:pt x="284" y="1720"/>
                </a:lnTo>
                <a:lnTo>
                  <a:pt x="284" y="1720"/>
                </a:lnTo>
                <a:lnTo>
                  <a:pt x="284" y="1720"/>
                </a:lnTo>
                <a:lnTo>
                  <a:pt x="284" y="1720"/>
                </a:lnTo>
                <a:lnTo>
                  <a:pt x="284" y="1720"/>
                </a:lnTo>
                <a:lnTo>
                  <a:pt x="284" y="1720"/>
                </a:lnTo>
                <a:lnTo>
                  <a:pt x="284" y="1720"/>
                </a:lnTo>
                <a:lnTo>
                  <a:pt x="284" y="1720"/>
                </a:lnTo>
                <a:lnTo>
                  <a:pt x="284" y="1726"/>
                </a:lnTo>
                <a:lnTo>
                  <a:pt x="284" y="1726"/>
                </a:lnTo>
                <a:lnTo>
                  <a:pt x="284" y="1726"/>
                </a:lnTo>
                <a:lnTo>
                  <a:pt x="284" y="1726"/>
                </a:lnTo>
                <a:lnTo>
                  <a:pt x="284" y="1726"/>
                </a:lnTo>
                <a:lnTo>
                  <a:pt x="284" y="1726"/>
                </a:lnTo>
                <a:lnTo>
                  <a:pt x="284" y="1726"/>
                </a:lnTo>
                <a:lnTo>
                  <a:pt x="284" y="1732"/>
                </a:lnTo>
                <a:lnTo>
                  <a:pt x="284" y="1732"/>
                </a:lnTo>
                <a:lnTo>
                  <a:pt x="290" y="1732"/>
                </a:lnTo>
                <a:lnTo>
                  <a:pt x="290" y="1732"/>
                </a:lnTo>
                <a:lnTo>
                  <a:pt x="290" y="1732"/>
                </a:lnTo>
                <a:lnTo>
                  <a:pt x="290" y="1732"/>
                </a:lnTo>
                <a:lnTo>
                  <a:pt x="290" y="1732"/>
                </a:lnTo>
                <a:lnTo>
                  <a:pt x="290" y="1732"/>
                </a:lnTo>
                <a:lnTo>
                  <a:pt x="290" y="1738"/>
                </a:lnTo>
                <a:lnTo>
                  <a:pt x="290" y="1738"/>
                </a:lnTo>
                <a:lnTo>
                  <a:pt x="290" y="1738"/>
                </a:lnTo>
                <a:lnTo>
                  <a:pt x="290" y="1738"/>
                </a:lnTo>
                <a:lnTo>
                  <a:pt x="296" y="1738"/>
                </a:lnTo>
                <a:lnTo>
                  <a:pt x="296" y="1738"/>
                </a:lnTo>
                <a:lnTo>
                  <a:pt x="296" y="1738"/>
                </a:lnTo>
                <a:lnTo>
                  <a:pt x="302" y="1738"/>
                </a:lnTo>
                <a:lnTo>
                  <a:pt x="302" y="1744"/>
                </a:lnTo>
                <a:lnTo>
                  <a:pt x="302" y="1744"/>
                </a:lnTo>
                <a:lnTo>
                  <a:pt x="308" y="1744"/>
                </a:lnTo>
                <a:lnTo>
                  <a:pt x="308" y="1750"/>
                </a:lnTo>
                <a:lnTo>
                  <a:pt x="308" y="1750"/>
                </a:lnTo>
                <a:lnTo>
                  <a:pt x="308" y="1750"/>
                </a:lnTo>
                <a:lnTo>
                  <a:pt x="308" y="1756"/>
                </a:lnTo>
                <a:lnTo>
                  <a:pt x="314" y="1756"/>
                </a:lnTo>
                <a:lnTo>
                  <a:pt x="314" y="1756"/>
                </a:lnTo>
                <a:lnTo>
                  <a:pt x="314" y="1756"/>
                </a:lnTo>
                <a:lnTo>
                  <a:pt x="314" y="1756"/>
                </a:lnTo>
                <a:lnTo>
                  <a:pt x="314" y="1756"/>
                </a:lnTo>
                <a:lnTo>
                  <a:pt x="314" y="1762"/>
                </a:lnTo>
                <a:lnTo>
                  <a:pt x="314" y="1762"/>
                </a:lnTo>
                <a:lnTo>
                  <a:pt x="320" y="1762"/>
                </a:lnTo>
                <a:lnTo>
                  <a:pt x="320" y="1762"/>
                </a:lnTo>
                <a:lnTo>
                  <a:pt x="320" y="1762"/>
                </a:lnTo>
                <a:lnTo>
                  <a:pt x="326" y="1767"/>
                </a:lnTo>
                <a:lnTo>
                  <a:pt x="326" y="1767"/>
                </a:lnTo>
                <a:lnTo>
                  <a:pt x="326" y="1773"/>
                </a:lnTo>
                <a:lnTo>
                  <a:pt x="326" y="1773"/>
                </a:lnTo>
                <a:lnTo>
                  <a:pt x="326" y="1773"/>
                </a:lnTo>
                <a:lnTo>
                  <a:pt x="326" y="1773"/>
                </a:lnTo>
                <a:lnTo>
                  <a:pt x="326" y="1773"/>
                </a:lnTo>
                <a:lnTo>
                  <a:pt x="326" y="1779"/>
                </a:lnTo>
                <a:lnTo>
                  <a:pt x="326" y="1779"/>
                </a:lnTo>
                <a:lnTo>
                  <a:pt x="332" y="1779"/>
                </a:lnTo>
                <a:lnTo>
                  <a:pt x="332" y="1779"/>
                </a:lnTo>
                <a:lnTo>
                  <a:pt x="332" y="1785"/>
                </a:lnTo>
                <a:lnTo>
                  <a:pt x="332" y="1785"/>
                </a:lnTo>
                <a:lnTo>
                  <a:pt x="332" y="1785"/>
                </a:lnTo>
                <a:lnTo>
                  <a:pt x="338" y="1785"/>
                </a:lnTo>
                <a:lnTo>
                  <a:pt x="338" y="1785"/>
                </a:lnTo>
                <a:lnTo>
                  <a:pt x="338" y="1791"/>
                </a:lnTo>
                <a:lnTo>
                  <a:pt x="338" y="1791"/>
                </a:lnTo>
                <a:lnTo>
                  <a:pt x="338" y="1791"/>
                </a:lnTo>
                <a:lnTo>
                  <a:pt x="344" y="1797"/>
                </a:lnTo>
                <a:lnTo>
                  <a:pt x="344" y="1803"/>
                </a:lnTo>
                <a:lnTo>
                  <a:pt x="344" y="1803"/>
                </a:lnTo>
                <a:lnTo>
                  <a:pt x="344" y="1803"/>
                </a:lnTo>
                <a:lnTo>
                  <a:pt x="344" y="1803"/>
                </a:lnTo>
                <a:lnTo>
                  <a:pt x="344" y="1803"/>
                </a:lnTo>
                <a:lnTo>
                  <a:pt x="344" y="1809"/>
                </a:lnTo>
                <a:lnTo>
                  <a:pt x="350" y="1809"/>
                </a:lnTo>
                <a:lnTo>
                  <a:pt x="350" y="1809"/>
                </a:lnTo>
                <a:lnTo>
                  <a:pt x="350" y="1809"/>
                </a:lnTo>
                <a:lnTo>
                  <a:pt x="355" y="1809"/>
                </a:lnTo>
                <a:lnTo>
                  <a:pt x="355" y="1809"/>
                </a:lnTo>
                <a:lnTo>
                  <a:pt x="355" y="1809"/>
                </a:lnTo>
                <a:lnTo>
                  <a:pt x="355" y="1809"/>
                </a:lnTo>
                <a:lnTo>
                  <a:pt x="355" y="1809"/>
                </a:lnTo>
                <a:lnTo>
                  <a:pt x="355" y="1809"/>
                </a:lnTo>
                <a:lnTo>
                  <a:pt x="355" y="1809"/>
                </a:lnTo>
                <a:lnTo>
                  <a:pt x="355" y="1809"/>
                </a:lnTo>
                <a:lnTo>
                  <a:pt x="355" y="1809"/>
                </a:lnTo>
                <a:lnTo>
                  <a:pt x="361" y="1815"/>
                </a:lnTo>
                <a:lnTo>
                  <a:pt x="361" y="1815"/>
                </a:lnTo>
                <a:lnTo>
                  <a:pt x="361" y="1821"/>
                </a:lnTo>
                <a:lnTo>
                  <a:pt x="361" y="1821"/>
                </a:lnTo>
                <a:lnTo>
                  <a:pt x="367" y="1827"/>
                </a:lnTo>
                <a:lnTo>
                  <a:pt x="367" y="1827"/>
                </a:lnTo>
                <a:lnTo>
                  <a:pt x="373" y="1833"/>
                </a:lnTo>
                <a:lnTo>
                  <a:pt x="373" y="1833"/>
                </a:lnTo>
                <a:lnTo>
                  <a:pt x="373" y="1833"/>
                </a:lnTo>
                <a:lnTo>
                  <a:pt x="373" y="1833"/>
                </a:lnTo>
                <a:lnTo>
                  <a:pt x="379" y="1833"/>
                </a:lnTo>
                <a:lnTo>
                  <a:pt x="379" y="1833"/>
                </a:lnTo>
                <a:lnTo>
                  <a:pt x="379" y="1833"/>
                </a:lnTo>
                <a:lnTo>
                  <a:pt x="385" y="1833"/>
                </a:lnTo>
                <a:lnTo>
                  <a:pt x="385" y="1833"/>
                </a:lnTo>
                <a:lnTo>
                  <a:pt x="385" y="1833"/>
                </a:lnTo>
                <a:lnTo>
                  <a:pt x="385" y="1839"/>
                </a:lnTo>
                <a:lnTo>
                  <a:pt x="385" y="1839"/>
                </a:lnTo>
                <a:lnTo>
                  <a:pt x="385" y="1839"/>
                </a:lnTo>
                <a:lnTo>
                  <a:pt x="385" y="1845"/>
                </a:lnTo>
                <a:lnTo>
                  <a:pt x="385" y="1845"/>
                </a:lnTo>
                <a:lnTo>
                  <a:pt x="385" y="1845"/>
                </a:lnTo>
                <a:lnTo>
                  <a:pt x="385" y="1845"/>
                </a:lnTo>
                <a:lnTo>
                  <a:pt x="391" y="1845"/>
                </a:lnTo>
                <a:lnTo>
                  <a:pt x="391" y="1845"/>
                </a:lnTo>
                <a:lnTo>
                  <a:pt x="391" y="1845"/>
                </a:lnTo>
                <a:lnTo>
                  <a:pt x="391" y="1845"/>
                </a:lnTo>
                <a:lnTo>
                  <a:pt x="391" y="1845"/>
                </a:lnTo>
                <a:lnTo>
                  <a:pt x="391" y="1850"/>
                </a:lnTo>
                <a:lnTo>
                  <a:pt x="385" y="1850"/>
                </a:lnTo>
                <a:lnTo>
                  <a:pt x="385" y="1850"/>
                </a:lnTo>
                <a:lnTo>
                  <a:pt x="385" y="1845"/>
                </a:lnTo>
                <a:lnTo>
                  <a:pt x="385" y="1845"/>
                </a:lnTo>
                <a:lnTo>
                  <a:pt x="385" y="1845"/>
                </a:lnTo>
                <a:lnTo>
                  <a:pt x="385" y="1845"/>
                </a:lnTo>
                <a:lnTo>
                  <a:pt x="385" y="1845"/>
                </a:lnTo>
                <a:lnTo>
                  <a:pt x="385" y="1850"/>
                </a:lnTo>
                <a:lnTo>
                  <a:pt x="385" y="1850"/>
                </a:lnTo>
                <a:lnTo>
                  <a:pt x="385" y="1856"/>
                </a:lnTo>
                <a:lnTo>
                  <a:pt x="385" y="1856"/>
                </a:lnTo>
                <a:lnTo>
                  <a:pt x="385" y="1856"/>
                </a:lnTo>
                <a:lnTo>
                  <a:pt x="385" y="1856"/>
                </a:lnTo>
                <a:lnTo>
                  <a:pt x="385" y="1862"/>
                </a:lnTo>
                <a:lnTo>
                  <a:pt x="385" y="1862"/>
                </a:lnTo>
                <a:lnTo>
                  <a:pt x="391" y="1868"/>
                </a:lnTo>
                <a:lnTo>
                  <a:pt x="397" y="1868"/>
                </a:lnTo>
                <a:lnTo>
                  <a:pt x="397" y="1868"/>
                </a:lnTo>
                <a:lnTo>
                  <a:pt x="397" y="1868"/>
                </a:lnTo>
                <a:lnTo>
                  <a:pt x="397" y="1868"/>
                </a:lnTo>
                <a:lnTo>
                  <a:pt x="397" y="1868"/>
                </a:lnTo>
                <a:lnTo>
                  <a:pt x="397" y="1868"/>
                </a:lnTo>
                <a:lnTo>
                  <a:pt x="397" y="1868"/>
                </a:lnTo>
                <a:lnTo>
                  <a:pt x="397" y="1868"/>
                </a:lnTo>
                <a:lnTo>
                  <a:pt x="397" y="1868"/>
                </a:lnTo>
                <a:lnTo>
                  <a:pt x="397" y="1868"/>
                </a:lnTo>
                <a:lnTo>
                  <a:pt x="403" y="1868"/>
                </a:lnTo>
                <a:lnTo>
                  <a:pt x="403" y="1868"/>
                </a:lnTo>
                <a:lnTo>
                  <a:pt x="403" y="1868"/>
                </a:lnTo>
                <a:lnTo>
                  <a:pt x="403" y="1868"/>
                </a:lnTo>
                <a:lnTo>
                  <a:pt x="403" y="1868"/>
                </a:lnTo>
                <a:lnTo>
                  <a:pt x="403" y="1868"/>
                </a:lnTo>
                <a:lnTo>
                  <a:pt x="409" y="1868"/>
                </a:lnTo>
                <a:lnTo>
                  <a:pt x="409" y="1868"/>
                </a:lnTo>
                <a:lnTo>
                  <a:pt x="409" y="1868"/>
                </a:lnTo>
                <a:lnTo>
                  <a:pt x="409" y="1874"/>
                </a:lnTo>
                <a:lnTo>
                  <a:pt x="409" y="1880"/>
                </a:lnTo>
                <a:lnTo>
                  <a:pt x="409" y="1880"/>
                </a:lnTo>
                <a:lnTo>
                  <a:pt x="409" y="1880"/>
                </a:lnTo>
                <a:lnTo>
                  <a:pt x="409" y="1886"/>
                </a:lnTo>
                <a:lnTo>
                  <a:pt x="409" y="1892"/>
                </a:lnTo>
                <a:lnTo>
                  <a:pt x="409" y="1898"/>
                </a:lnTo>
                <a:lnTo>
                  <a:pt x="409" y="1898"/>
                </a:lnTo>
                <a:lnTo>
                  <a:pt x="403" y="1898"/>
                </a:lnTo>
                <a:lnTo>
                  <a:pt x="403" y="1898"/>
                </a:lnTo>
                <a:lnTo>
                  <a:pt x="409" y="1898"/>
                </a:lnTo>
                <a:lnTo>
                  <a:pt x="409" y="1898"/>
                </a:lnTo>
                <a:lnTo>
                  <a:pt x="409" y="1898"/>
                </a:lnTo>
                <a:lnTo>
                  <a:pt x="409" y="1904"/>
                </a:lnTo>
                <a:lnTo>
                  <a:pt x="409" y="1904"/>
                </a:lnTo>
                <a:lnTo>
                  <a:pt x="409" y="1904"/>
                </a:lnTo>
                <a:lnTo>
                  <a:pt x="409" y="1904"/>
                </a:lnTo>
                <a:lnTo>
                  <a:pt x="409" y="1904"/>
                </a:lnTo>
                <a:lnTo>
                  <a:pt x="409" y="1904"/>
                </a:lnTo>
                <a:lnTo>
                  <a:pt x="409" y="1904"/>
                </a:lnTo>
                <a:lnTo>
                  <a:pt x="409" y="1904"/>
                </a:lnTo>
                <a:lnTo>
                  <a:pt x="409" y="1910"/>
                </a:lnTo>
                <a:lnTo>
                  <a:pt x="409" y="1910"/>
                </a:lnTo>
                <a:lnTo>
                  <a:pt x="409" y="1916"/>
                </a:lnTo>
                <a:lnTo>
                  <a:pt x="409" y="1916"/>
                </a:lnTo>
                <a:lnTo>
                  <a:pt x="409" y="1916"/>
                </a:lnTo>
                <a:lnTo>
                  <a:pt x="409" y="1916"/>
                </a:lnTo>
                <a:lnTo>
                  <a:pt x="409" y="1922"/>
                </a:lnTo>
                <a:lnTo>
                  <a:pt x="409" y="1922"/>
                </a:lnTo>
                <a:lnTo>
                  <a:pt x="415" y="1922"/>
                </a:lnTo>
                <a:lnTo>
                  <a:pt x="415" y="1922"/>
                </a:lnTo>
                <a:lnTo>
                  <a:pt x="415" y="1928"/>
                </a:lnTo>
                <a:lnTo>
                  <a:pt x="409" y="1928"/>
                </a:lnTo>
                <a:lnTo>
                  <a:pt x="409" y="1934"/>
                </a:lnTo>
                <a:lnTo>
                  <a:pt x="409" y="1934"/>
                </a:lnTo>
                <a:lnTo>
                  <a:pt x="409" y="1939"/>
                </a:lnTo>
                <a:lnTo>
                  <a:pt x="409" y="1939"/>
                </a:lnTo>
                <a:lnTo>
                  <a:pt x="409" y="1939"/>
                </a:lnTo>
                <a:lnTo>
                  <a:pt x="409" y="1939"/>
                </a:lnTo>
                <a:lnTo>
                  <a:pt x="409" y="1939"/>
                </a:lnTo>
                <a:lnTo>
                  <a:pt x="409" y="1939"/>
                </a:lnTo>
                <a:lnTo>
                  <a:pt x="415" y="1939"/>
                </a:lnTo>
                <a:lnTo>
                  <a:pt x="415" y="1939"/>
                </a:lnTo>
                <a:lnTo>
                  <a:pt x="415" y="1945"/>
                </a:lnTo>
                <a:lnTo>
                  <a:pt x="421" y="1945"/>
                </a:lnTo>
                <a:lnTo>
                  <a:pt x="421" y="1945"/>
                </a:lnTo>
                <a:lnTo>
                  <a:pt x="421" y="1945"/>
                </a:lnTo>
                <a:lnTo>
                  <a:pt x="421" y="1945"/>
                </a:lnTo>
                <a:lnTo>
                  <a:pt x="421" y="1951"/>
                </a:lnTo>
                <a:lnTo>
                  <a:pt x="427" y="1951"/>
                </a:lnTo>
                <a:lnTo>
                  <a:pt x="427" y="1957"/>
                </a:lnTo>
                <a:lnTo>
                  <a:pt x="427" y="1951"/>
                </a:lnTo>
                <a:lnTo>
                  <a:pt x="433" y="1951"/>
                </a:lnTo>
                <a:lnTo>
                  <a:pt x="444" y="1951"/>
                </a:lnTo>
                <a:lnTo>
                  <a:pt x="456" y="1951"/>
                </a:lnTo>
                <a:lnTo>
                  <a:pt x="456" y="1951"/>
                </a:lnTo>
                <a:lnTo>
                  <a:pt x="462" y="1951"/>
                </a:lnTo>
                <a:lnTo>
                  <a:pt x="468" y="1951"/>
                </a:lnTo>
                <a:lnTo>
                  <a:pt x="468" y="1951"/>
                </a:lnTo>
                <a:lnTo>
                  <a:pt x="474" y="1951"/>
                </a:lnTo>
                <a:lnTo>
                  <a:pt x="474" y="1951"/>
                </a:lnTo>
                <a:lnTo>
                  <a:pt x="474" y="1951"/>
                </a:lnTo>
                <a:lnTo>
                  <a:pt x="474" y="1951"/>
                </a:lnTo>
                <a:lnTo>
                  <a:pt x="474" y="1951"/>
                </a:lnTo>
                <a:lnTo>
                  <a:pt x="474" y="1957"/>
                </a:lnTo>
                <a:lnTo>
                  <a:pt x="474" y="1957"/>
                </a:lnTo>
                <a:lnTo>
                  <a:pt x="480" y="1957"/>
                </a:lnTo>
                <a:lnTo>
                  <a:pt x="480" y="1957"/>
                </a:lnTo>
                <a:lnTo>
                  <a:pt x="480" y="1957"/>
                </a:lnTo>
                <a:lnTo>
                  <a:pt x="480" y="1957"/>
                </a:lnTo>
                <a:lnTo>
                  <a:pt x="480" y="1957"/>
                </a:lnTo>
                <a:lnTo>
                  <a:pt x="480" y="1957"/>
                </a:lnTo>
                <a:lnTo>
                  <a:pt x="480"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86" y="1957"/>
                </a:lnTo>
                <a:lnTo>
                  <a:pt x="492" y="1957"/>
                </a:lnTo>
                <a:lnTo>
                  <a:pt x="492" y="1957"/>
                </a:lnTo>
                <a:lnTo>
                  <a:pt x="492" y="1957"/>
                </a:lnTo>
                <a:lnTo>
                  <a:pt x="492" y="1957"/>
                </a:lnTo>
                <a:lnTo>
                  <a:pt x="492" y="1957"/>
                </a:lnTo>
                <a:lnTo>
                  <a:pt x="492" y="1957"/>
                </a:lnTo>
                <a:lnTo>
                  <a:pt x="492" y="1957"/>
                </a:lnTo>
                <a:lnTo>
                  <a:pt x="498" y="1957"/>
                </a:lnTo>
                <a:lnTo>
                  <a:pt x="498" y="1957"/>
                </a:lnTo>
                <a:lnTo>
                  <a:pt x="498" y="1957"/>
                </a:lnTo>
                <a:lnTo>
                  <a:pt x="498" y="1957"/>
                </a:lnTo>
                <a:lnTo>
                  <a:pt x="498" y="1957"/>
                </a:lnTo>
                <a:lnTo>
                  <a:pt x="498" y="1963"/>
                </a:lnTo>
                <a:lnTo>
                  <a:pt x="498" y="1963"/>
                </a:lnTo>
                <a:lnTo>
                  <a:pt x="504" y="1963"/>
                </a:lnTo>
                <a:lnTo>
                  <a:pt x="504" y="1957"/>
                </a:lnTo>
                <a:lnTo>
                  <a:pt x="504" y="1957"/>
                </a:lnTo>
                <a:lnTo>
                  <a:pt x="504" y="1957"/>
                </a:lnTo>
                <a:lnTo>
                  <a:pt x="504" y="1957"/>
                </a:lnTo>
                <a:lnTo>
                  <a:pt x="504" y="1957"/>
                </a:lnTo>
                <a:lnTo>
                  <a:pt x="504" y="1957"/>
                </a:lnTo>
                <a:lnTo>
                  <a:pt x="504" y="1957"/>
                </a:lnTo>
                <a:lnTo>
                  <a:pt x="504" y="1957"/>
                </a:lnTo>
                <a:lnTo>
                  <a:pt x="504" y="1957"/>
                </a:lnTo>
                <a:lnTo>
                  <a:pt x="504" y="1957"/>
                </a:lnTo>
                <a:lnTo>
                  <a:pt x="504" y="1957"/>
                </a:lnTo>
                <a:lnTo>
                  <a:pt x="504" y="1957"/>
                </a:lnTo>
                <a:lnTo>
                  <a:pt x="504" y="1957"/>
                </a:lnTo>
                <a:lnTo>
                  <a:pt x="510" y="1957"/>
                </a:lnTo>
                <a:lnTo>
                  <a:pt x="510" y="1957"/>
                </a:lnTo>
                <a:lnTo>
                  <a:pt x="510" y="1957"/>
                </a:lnTo>
                <a:lnTo>
                  <a:pt x="510" y="1957"/>
                </a:lnTo>
                <a:lnTo>
                  <a:pt x="510" y="1957"/>
                </a:lnTo>
                <a:lnTo>
                  <a:pt x="510" y="1957"/>
                </a:lnTo>
                <a:lnTo>
                  <a:pt x="515" y="1957"/>
                </a:lnTo>
                <a:lnTo>
                  <a:pt x="515" y="1957"/>
                </a:lnTo>
                <a:lnTo>
                  <a:pt x="515" y="1957"/>
                </a:lnTo>
                <a:lnTo>
                  <a:pt x="515" y="1957"/>
                </a:lnTo>
                <a:lnTo>
                  <a:pt x="515" y="1957"/>
                </a:lnTo>
                <a:lnTo>
                  <a:pt x="515" y="1957"/>
                </a:lnTo>
                <a:lnTo>
                  <a:pt x="515" y="1957"/>
                </a:lnTo>
                <a:lnTo>
                  <a:pt x="515" y="1957"/>
                </a:lnTo>
                <a:lnTo>
                  <a:pt x="515" y="1957"/>
                </a:lnTo>
                <a:lnTo>
                  <a:pt x="515" y="1957"/>
                </a:lnTo>
                <a:lnTo>
                  <a:pt x="515" y="1957"/>
                </a:lnTo>
                <a:lnTo>
                  <a:pt x="521" y="1963"/>
                </a:lnTo>
                <a:lnTo>
                  <a:pt x="521" y="1963"/>
                </a:lnTo>
                <a:lnTo>
                  <a:pt x="521" y="1963"/>
                </a:lnTo>
                <a:lnTo>
                  <a:pt x="521" y="1963"/>
                </a:lnTo>
                <a:lnTo>
                  <a:pt x="521" y="1963"/>
                </a:lnTo>
                <a:lnTo>
                  <a:pt x="521" y="1963"/>
                </a:lnTo>
                <a:lnTo>
                  <a:pt x="521" y="1963"/>
                </a:lnTo>
                <a:lnTo>
                  <a:pt x="521" y="1963"/>
                </a:lnTo>
                <a:lnTo>
                  <a:pt x="521" y="1963"/>
                </a:lnTo>
                <a:lnTo>
                  <a:pt x="521" y="1963"/>
                </a:lnTo>
                <a:lnTo>
                  <a:pt x="521" y="1963"/>
                </a:lnTo>
                <a:lnTo>
                  <a:pt x="521" y="1963"/>
                </a:lnTo>
                <a:lnTo>
                  <a:pt x="521" y="1963"/>
                </a:lnTo>
                <a:lnTo>
                  <a:pt x="521" y="1963"/>
                </a:lnTo>
                <a:lnTo>
                  <a:pt x="527" y="1963"/>
                </a:lnTo>
                <a:lnTo>
                  <a:pt x="527" y="1963"/>
                </a:lnTo>
                <a:lnTo>
                  <a:pt x="527" y="1963"/>
                </a:lnTo>
                <a:lnTo>
                  <a:pt x="527" y="1963"/>
                </a:lnTo>
                <a:lnTo>
                  <a:pt x="527" y="1963"/>
                </a:lnTo>
                <a:lnTo>
                  <a:pt x="527" y="1963"/>
                </a:lnTo>
                <a:lnTo>
                  <a:pt x="527" y="1963"/>
                </a:lnTo>
                <a:lnTo>
                  <a:pt x="527" y="1963"/>
                </a:lnTo>
                <a:lnTo>
                  <a:pt x="527" y="1963"/>
                </a:lnTo>
                <a:lnTo>
                  <a:pt x="527" y="1963"/>
                </a:lnTo>
                <a:lnTo>
                  <a:pt x="527" y="1963"/>
                </a:lnTo>
                <a:lnTo>
                  <a:pt x="527" y="1963"/>
                </a:lnTo>
                <a:lnTo>
                  <a:pt x="527" y="1963"/>
                </a:lnTo>
                <a:lnTo>
                  <a:pt x="533" y="1969"/>
                </a:lnTo>
                <a:lnTo>
                  <a:pt x="533" y="1969"/>
                </a:lnTo>
                <a:lnTo>
                  <a:pt x="533" y="1969"/>
                </a:lnTo>
                <a:lnTo>
                  <a:pt x="533" y="1969"/>
                </a:lnTo>
                <a:lnTo>
                  <a:pt x="533" y="1969"/>
                </a:lnTo>
                <a:lnTo>
                  <a:pt x="533" y="1969"/>
                </a:lnTo>
                <a:lnTo>
                  <a:pt x="533" y="1969"/>
                </a:lnTo>
                <a:lnTo>
                  <a:pt x="533" y="1969"/>
                </a:lnTo>
                <a:lnTo>
                  <a:pt x="533" y="1969"/>
                </a:lnTo>
                <a:lnTo>
                  <a:pt x="533" y="1969"/>
                </a:lnTo>
                <a:lnTo>
                  <a:pt x="533" y="1969"/>
                </a:lnTo>
                <a:lnTo>
                  <a:pt x="533" y="1969"/>
                </a:lnTo>
                <a:lnTo>
                  <a:pt x="533" y="1969"/>
                </a:lnTo>
                <a:lnTo>
                  <a:pt x="533" y="1969"/>
                </a:lnTo>
                <a:lnTo>
                  <a:pt x="539" y="1969"/>
                </a:lnTo>
                <a:lnTo>
                  <a:pt x="539" y="1969"/>
                </a:lnTo>
                <a:lnTo>
                  <a:pt x="539" y="1969"/>
                </a:lnTo>
                <a:lnTo>
                  <a:pt x="539" y="1975"/>
                </a:lnTo>
                <a:lnTo>
                  <a:pt x="539" y="1975"/>
                </a:lnTo>
                <a:lnTo>
                  <a:pt x="539" y="1975"/>
                </a:lnTo>
                <a:lnTo>
                  <a:pt x="539" y="1975"/>
                </a:lnTo>
                <a:lnTo>
                  <a:pt x="539" y="1975"/>
                </a:lnTo>
                <a:lnTo>
                  <a:pt x="539" y="1975"/>
                </a:lnTo>
                <a:lnTo>
                  <a:pt x="539" y="1975"/>
                </a:lnTo>
                <a:lnTo>
                  <a:pt x="545" y="1975"/>
                </a:lnTo>
                <a:lnTo>
                  <a:pt x="545" y="1975"/>
                </a:lnTo>
                <a:lnTo>
                  <a:pt x="545" y="1975"/>
                </a:lnTo>
                <a:lnTo>
                  <a:pt x="545" y="1975"/>
                </a:lnTo>
                <a:lnTo>
                  <a:pt x="545" y="1981"/>
                </a:lnTo>
                <a:lnTo>
                  <a:pt x="545" y="1981"/>
                </a:lnTo>
                <a:lnTo>
                  <a:pt x="545" y="1981"/>
                </a:lnTo>
                <a:lnTo>
                  <a:pt x="545" y="1981"/>
                </a:lnTo>
                <a:lnTo>
                  <a:pt x="545" y="1981"/>
                </a:lnTo>
                <a:lnTo>
                  <a:pt x="545" y="1981"/>
                </a:lnTo>
                <a:lnTo>
                  <a:pt x="545" y="1981"/>
                </a:lnTo>
                <a:lnTo>
                  <a:pt x="545" y="1981"/>
                </a:lnTo>
                <a:lnTo>
                  <a:pt x="545" y="1981"/>
                </a:lnTo>
                <a:lnTo>
                  <a:pt x="545" y="1987"/>
                </a:lnTo>
                <a:lnTo>
                  <a:pt x="545" y="1987"/>
                </a:lnTo>
                <a:lnTo>
                  <a:pt x="551" y="1987"/>
                </a:lnTo>
                <a:lnTo>
                  <a:pt x="551" y="1987"/>
                </a:lnTo>
                <a:lnTo>
                  <a:pt x="551" y="1987"/>
                </a:lnTo>
                <a:lnTo>
                  <a:pt x="551" y="1987"/>
                </a:lnTo>
                <a:lnTo>
                  <a:pt x="551" y="1987"/>
                </a:lnTo>
                <a:lnTo>
                  <a:pt x="551" y="1993"/>
                </a:lnTo>
                <a:lnTo>
                  <a:pt x="551" y="1993"/>
                </a:lnTo>
                <a:lnTo>
                  <a:pt x="551" y="1993"/>
                </a:lnTo>
                <a:lnTo>
                  <a:pt x="551" y="1993"/>
                </a:lnTo>
                <a:lnTo>
                  <a:pt x="551" y="1993"/>
                </a:lnTo>
                <a:lnTo>
                  <a:pt x="551" y="1987"/>
                </a:lnTo>
                <a:lnTo>
                  <a:pt x="551" y="1987"/>
                </a:lnTo>
                <a:lnTo>
                  <a:pt x="551" y="1987"/>
                </a:lnTo>
                <a:lnTo>
                  <a:pt x="551" y="1993"/>
                </a:lnTo>
                <a:lnTo>
                  <a:pt x="551" y="1993"/>
                </a:lnTo>
                <a:lnTo>
                  <a:pt x="551" y="1993"/>
                </a:lnTo>
                <a:lnTo>
                  <a:pt x="551" y="1993"/>
                </a:lnTo>
                <a:lnTo>
                  <a:pt x="551" y="1993"/>
                </a:lnTo>
                <a:lnTo>
                  <a:pt x="551" y="1993"/>
                </a:lnTo>
                <a:lnTo>
                  <a:pt x="557" y="1993"/>
                </a:lnTo>
                <a:lnTo>
                  <a:pt x="557" y="1999"/>
                </a:lnTo>
                <a:lnTo>
                  <a:pt x="557" y="1999"/>
                </a:lnTo>
                <a:lnTo>
                  <a:pt x="557" y="1999"/>
                </a:lnTo>
                <a:lnTo>
                  <a:pt x="563" y="1999"/>
                </a:lnTo>
                <a:lnTo>
                  <a:pt x="563" y="1999"/>
                </a:lnTo>
                <a:lnTo>
                  <a:pt x="563" y="1999"/>
                </a:lnTo>
                <a:lnTo>
                  <a:pt x="563" y="1993"/>
                </a:lnTo>
                <a:lnTo>
                  <a:pt x="563" y="1993"/>
                </a:lnTo>
                <a:lnTo>
                  <a:pt x="563" y="1993"/>
                </a:lnTo>
                <a:lnTo>
                  <a:pt x="563" y="1993"/>
                </a:lnTo>
                <a:lnTo>
                  <a:pt x="563" y="1999"/>
                </a:lnTo>
                <a:lnTo>
                  <a:pt x="569" y="1999"/>
                </a:lnTo>
                <a:lnTo>
                  <a:pt x="569" y="1999"/>
                </a:lnTo>
                <a:lnTo>
                  <a:pt x="569" y="1999"/>
                </a:lnTo>
                <a:lnTo>
                  <a:pt x="575" y="1999"/>
                </a:lnTo>
                <a:lnTo>
                  <a:pt x="575" y="1999"/>
                </a:lnTo>
                <a:lnTo>
                  <a:pt x="575" y="2005"/>
                </a:lnTo>
                <a:lnTo>
                  <a:pt x="581" y="2005"/>
                </a:lnTo>
                <a:lnTo>
                  <a:pt x="581" y="2005"/>
                </a:lnTo>
                <a:lnTo>
                  <a:pt x="581" y="2005"/>
                </a:lnTo>
                <a:lnTo>
                  <a:pt x="581" y="2005"/>
                </a:lnTo>
                <a:lnTo>
                  <a:pt x="581" y="2005"/>
                </a:lnTo>
                <a:lnTo>
                  <a:pt x="581" y="2005"/>
                </a:lnTo>
                <a:lnTo>
                  <a:pt x="581" y="2005"/>
                </a:lnTo>
                <a:lnTo>
                  <a:pt x="587" y="2005"/>
                </a:lnTo>
                <a:lnTo>
                  <a:pt x="587" y="2005"/>
                </a:lnTo>
                <a:lnTo>
                  <a:pt x="587" y="2005"/>
                </a:lnTo>
                <a:lnTo>
                  <a:pt x="587" y="2005"/>
                </a:lnTo>
                <a:lnTo>
                  <a:pt x="593" y="2011"/>
                </a:lnTo>
                <a:lnTo>
                  <a:pt x="593" y="2011"/>
                </a:lnTo>
                <a:lnTo>
                  <a:pt x="593" y="2011"/>
                </a:lnTo>
                <a:lnTo>
                  <a:pt x="593" y="2005"/>
                </a:lnTo>
                <a:lnTo>
                  <a:pt x="593" y="2005"/>
                </a:lnTo>
                <a:lnTo>
                  <a:pt x="593" y="2005"/>
                </a:lnTo>
                <a:lnTo>
                  <a:pt x="593" y="2005"/>
                </a:lnTo>
                <a:lnTo>
                  <a:pt x="593" y="2005"/>
                </a:lnTo>
                <a:lnTo>
                  <a:pt x="593" y="2005"/>
                </a:lnTo>
                <a:lnTo>
                  <a:pt x="593" y="2005"/>
                </a:lnTo>
                <a:lnTo>
                  <a:pt x="593" y="2005"/>
                </a:lnTo>
                <a:lnTo>
                  <a:pt x="593" y="2005"/>
                </a:lnTo>
                <a:lnTo>
                  <a:pt x="593" y="2005"/>
                </a:lnTo>
                <a:lnTo>
                  <a:pt x="593" y="2005"/>
                </a:lnTo>
                <a:lnTo>
                  <a:pt x="598" y="2005"/>
                </a:lnTo>
                <a:lnTo>
                  <a:pt x="598" y="2005"/>
                </a:lnTo>
                <a:lnTo>
                  <a:pt x="598" y="2005"/>
                </a:lnTo>
                <a:lnTo>
                  <a:pt x="598" y="2005"/>
                </a:lnTo>
                <a:lnTo>
                  <a:pt x="598" y="2005"/>
                </a:lnTo>
                <a:lnTo>
                  <a:pt x="604" y="2005"/>
                </a:lnTo>
                <a:lnTo>
                  <a:pt x="604" y="2005"/>
                </a:lnTo>
                <a:lnTo>
                  <a:pt x="604" y="2005"/>
                </a:lnTo>
                <a:lnTo>
                  <a:pt x="604" y="2005"/>
                </a:lnTo>
                <a:lnTo>
                  <a:pt x="604" y="2005"/>
                </a:lnTo>
                <a:lnTo>
                  <a:pt x="604" y="2005"/>
                </a:lnTo>
                <a:lnTo>
                  <a:pt x="610" y="2005"/>
                </a:lnTo>
                <a:lnTo>
                  <a:pt x="610" y="2005"/>
                </a:lnTo>
                <a:lnTo>
                  <a:pt x="610" y="2005"/>
                </a:lnTo>
                <a:lnTo>
                  <a:pt x="610" y="2005"/>
                </a:lnTo>
                <a:lnTo>
                  <a:pt x="610" y="2005"/>
                </a:lnTo>
                <a:lnTo>
                  <a:pt x="610" y="2005"/>
                </a:lnTo>
                <a:lnTo>
                  <a:pt x="610" y="2005"/>
                </a:lnTo>
                <a:lnTo>
                  <a:pt x="616" y="2005"/>
                </a:lnTo>
                <a:lnTo>
                  <a:pt x="616" y="2005"/>
                </a:lnTo>
                <a:lnTo>
                  <a:pt x="616" y="2005"/>
                </a:lnTo>
                <a:lnTo>
                  <a:pt x="616" y="2005"/>
                </a:lnTo>
                <a:lnTo>
                  <a:pt x="616" y="2005"/>
                </a:lnTo>
                <a:lnTo>
                  <a:pt x="622" y="2005"/>
                </a:lnTo>
                <a:lnTo>
                  <a:pt x="622" y="2011"/>
                </a:lnTo>
                <a:lnTo>
                  <a:pt x="622" y="2011"/>
                </a:lnTo>
                <a:lnTo>
                  <a:pt x="622" y="2011"/>
                </a:lnTo>
                <a:lnTo>
                  <a:pt x="628" y="2017"/>
                </a:lnTo>
                <a:lnTo>
                  <a:pt x="628" y="2017"/>
                </a:lnTo>
                <a:lnTo>
                  <a:pt x="628" y="2017"/>
                </a:lnTo>
                <a:lnTo>
                  <a:pt x="628" y="2017"/>
                </a:lnTo>
                <a:lnTo>
                  <a:pt x="628" y="2022"/>
                </a:lnTo>
                <a:lnTo>
                  <a:pt x="634" y="2028"/>
                </a:lnTo>
                <a:lnTo>
                  <a:pt x="634" y="2028"/>
                </a:lnTo>
                <a:lnTo>
                  <a:pt x="634" y="2028"/>
                </a:lnTo>
                <a:lnTo>
                  <a:pt x="634" y="2028"/>
                </a:lnTo>
                <a:lnTo>
                  <a:pt x="634" y="2028"/>
                </a:lnTo>
                <a:lnTo>
                  <a:pt x="634" y="2028"/>
                </a:lnTo>
                <a:lnTo>
                  <a:pt x="634" y="2034"/>
                </a:lnTo>
                <a:lnTo>
                  <a:pt x="628" y="2034"/>
                </a:lnTo>
                <a:lnTo>
                  <a:pt x="628" y="2034"/>
                </a:lnTo>
                <a:lnTo>
                  <a:pt x="628" y="2034"/>
                </a:lnTo>
                <a:lnTo>
                  <a:pt x="628" y="2034"/>
                </a:lnTo>
                <a:lnTo>
                  <a:pt x="628" y="2034"/>
                </a:lnTo>
                <a:lnTo>
                  <a:pt x="628" y="2034"/>
                </a:lnTo>
                <a:lnTo>
                  <a:pt x="628" y="2034"/>
                </a:lnTo>
                <a:lnTo>
                  <a:pt x="628" y="2040"/>
                </a:lnTo>
                <a:lnTo>
                  <a:pt x="628" y="2040"/>
                </a:lnTo>
                <a:lnTo>
                  <a:pt x="628" y="2040"/>
                </a:lnTo>
                <a:lnTo>
                  <a:pt x="634" y="2040"/>
                </a:lnTo>
                <a:lnTo>
                  <a:pt x="634" y="2040"/>
                </a:lnTo>
                <a:lnTo>
                  <a:pt x="634" y="2040"/>
                </a:lnTo>
                <a:lnTo>
                  <a:pt x="634" y="2040"/>
                </a:lnTo>
                <a:lnTo>
                  <a:pt x="634" y="2040"/>
                </a:lnTo>
                <a:lnTo>
                  <a:pt x="634" y="2040"/>
                </a:lnTo>
                <a:lnTo>
                  <a:pt x="634" y="2040"/>
                </a:lnTo>
                <a:lnTo>
                  <a:pt x="634" y="2040"/>
                </a:lnTo>
                <a:lnTo>
                  <a:pt x="640" y="2040"/>
                </a:lnTo>
                <a:lnTo>
                  <a:pt x="640" y="2040"/>
                </a:lnTo>
                <a:lnTo>
                  <a:pt x="640" y="2040"/>
                </a:lnTo>
                <a:lnTo>
                  <a:pt x="640" y="2046"/>
                </a:lnTo>
                <a:lnTo>
                  <a:pt x="640" y="2046"/>
                </a:lnTo>
                <a:lnTo>
                  <a:pt x="646" y="2040"/>
                </a:lnTo>
                <a:lnTo>
                  <a:pt x="646" y="2040"/>
                </a:lnTo>
                <a:lnTo>
                  <a:pt x="646" y="2040"/>
                </a:lnTo>
                <a:lnTo>
                  <a:pt x="646" y="2040"/>
                </a:lnTo>
                <a:lnTo>
                  <a:pt x="646" y="2040"/>
                </a:lnTo>
                <a:lnTo>
                  <a:pt x="646" y="2040"/>
                </a:lnTo>
                <a:lnTo>
                  <a:pt x="646" y="2040"/>
                </a:lnTo>
                <a:lnTo>
                  <a:pt x="646" y="2040"/>
                </a:lnTo>
                <a:lnTo>
                  <a:pt x="646" y="2040"/>
                </a:lnTo>
                <a:lnTo>
                  <a:pt x="646" y="2040"/>
                </a:lnTo>
                <a:lnTo>
                  <a:pt x="646" y="2034"/>
                </a:lnTo>
                <a:lnTo>
                  <a:pt x="646" y="2040"/>
                </a:lnTo>
                <a:lnTo>
                  <a:pt x="646" y="2034"/>
                </a:lnTo>
                <a:lnTo>
                  <a:pt x="646" y="2034"/>
                </a:lnTo>
                <a:lnTo>
                  <a:pt x="646" y="2034"/>
                </a:lnTo>
                <a:lnTo>
                  <a:pt x="646" y="2034"/>
                </a:lnTo>
                <a:lnTo>
                  <a:pt x="646" y="2034"/>
                </a:lnTo>
                <a:lnTo>
                  <a:pt x="646" y="2034"/>
                </a:lnTo>
                <a:lnTo>
                  <a:pt x="652" y="2034"/>
                </a:lnTo>
                <a:lnTo>
                  <a:pt x="652" y="2040"/>
                </a:lnTo>
                <a:lnTo>
                  <a:pt x="652" y="2040"/>
                </a:lnTo>
                <a:lnTo>
                  <a:pt x="652" y="2040"/>
                </a:lnTo>
                <a:lnTo>
                  <a:pt x="652" y="2040"/>
                </a:lnTo>
                <a:lnTo>
                  <a:pt x="652" y="2040"/>
                </a:lnTo>
                <a:lnTo>
                  <a:pt x="652" y="2040"/>
                </a:lnTo>
                <a:lnTo>
                  <a:pt x="652" y="2040"/>
                </a:lnTo>
                <a:lnTo>
                  <a:pt x="652" y="2040"/>
                </a:lnTo>
                <a:lnTo>
                  <a:pt x="652" y="2040"/>
                </a:lnTo>
                <a:lnTo>
                  <a:pt x="652" y="2040"/>
                </a:lnTo>
                <a:lnTo>
                  <a:pt x="652" y="2034"/>
                </a:lnTo>
                <a:lnTo>
                  <a:pt x="652" y="2034"/>
                </a:lnTo>
                <a:lnTo>
                  <a:pt x="652" y="2034"/>
                </a:lnTo>
                <a:lnTo>
                  <a:pt x="652" y="2034"/>
                </a:lnTo>
                <a:lnTo>
                  <a:pt x="658" y="2034"/>
                </a:lnTo>
                <a:lnTo>
                  <a:pt x="658" y="2040"/>
                </a:lnTo>
                <a:lnTo>
                  <a:pt x="664" y="2040"/>
                </a:lnTo>
                <a:lnTo>
                  <a:pt x="675" y="2052"/>
                </a:lnTo>
                <a:lnTo>
                  <a:pt x="681" y="2058"/>
                </a:lnTo>
                <a:lnTo>
                  <a:pt x="681" y="2058"/>
                </a:lnTo>
                <a:lnTo>
                  <a:pt x="687" y="2058"/>
                </a:lnTo>
                <a:lnTo>
                  <a:pt x="687" y="2058"/>
                </a:lnTo>
                <a:lnTo>
                  <a:pt x="687" y="2064"/>
                </a:lnTo>
                <a:lnTo>
                  <a:pt x="693" y="2064"/>
                </a:lnTo>
                <a:lnTo>
                  <a:pt x="699" y="2070"/>
                </a:lnTo>
                <a:lnTo>
                  <a:pt x="699" y="2070"/>
                </a:lnTo>
                <a:lnTo>
                  <a:pt x="699" y="2070"/>
                </a:lnTo>
                <a:lnTo>
                  <a:pt x="705" y="2076"/>
                </a:lnTo>
                <a:lnTo>
                  <a:pt x="705" y="2076"/>
                </a:lnTo>
                <a:lnTo>
                  <a:pt x="711" y="2082"/>
                </a:lnTo>
                <a:lnTo>
                  <a:pt x="723" y="2088"/>
                </a:lnTo>
                <a:lnTo>
                  <a:pt x="735" y="2106"/>
                </a:lnTo>
                <a:lnTo>
                  <a:pt x="741" y="2117"/>
                </a:lnTo>
                <a:lnTo>
                  <a:pt x="741" y="2123"/>
                </a:lnTo>
                <a:lnTo>
                  <a:pt x="741" y="2123"/>
                </a:lnTo>
                <a:lnTo>
                  <a:pt x="741" y="2129"/>
                </a:lnTo>
                <a:lnTo>
                  <a:pt x="747" y="2129"/>
                </a:lnTo>
                <a:lnTo>
                  <a:pt x="747" y="2141"/>
                </a:lnTo>
                <a:lnTo>
                  <a:pt x="747" y="2141"/>
                </a:lnTo>
                <a:lnTo>
                  <a:pt x="747" y="2141"/>
                </a:lnTo>
                <a:lnTo>
                  <a:pt x="747" y="2147"/>
                </a:lnTo>
                <a:lnTo>
                  <a:pt x="747" y="2147"/>
                </a:lnTo>
                <a:lnTo>
                  <a:pt x="747" y="2147"/>
                </a:lnTo>
                <a:lnTo>
                  <a:pt x="741" y="2147"/>
                </a:lnTo>
                <a:lnTo>
                  <a:pt x="741" y="2147"/>
                </a:lnTo>
                <a:lnTo>
                  <a:pt x="741" y="2147"/>
                </a:lnTo>
                <a:lnTo>
                  <a:pt x="741" y="2147"/>
                </a:lnTo>
                <a:lnTo>
                  <a:pt x="747" y="2153"/>
                </a:lnTo>
                <a:lnTo>
                  <a:pt x="747" y="2153"/>
                </a:lnTo>
                <a:lnTo>
                  <a:pt x="747" y="2159"/>
                </a:lnTo>
                <a:lnTo>
                  <a:pt x="747" y="2159"/>
                </a:lnTo>
                <a:lnTo>
                  <a:pt x="747" y="2159"/>
                </a:lnTo>
                <a:lnTo>
                  <a:pt x="747" y="2165"/>
                </a:lnTo>
                <a:lnTo>
                  <a:pt x="747" y="2165"/>
                </a:lnTo>
                <a:lnTo>
                  <a:pt x="747" y="2165"/>
                </a:lnTo>
                <a:lnTo>
                  <a:pt x="747" y="2165"/>
                </a:lnTo>
                <a:lnTo>
                  <a:pt x="747" y="2165"/>
                </a:lnTo>
                <a:lnTo>
                  <a:pt x="747" y="2165"/>
                </a:lnTo>
                <a:lnTo>
                  <a:pt x="747" y="2165"/>
                </a:lnTo>
                <a:lnTo>
                  <a:pt x="747" y="2159"/>
                </a:lnTo>
                <a:lnTo>
                  <a:pt x="753" y="2159"/>
                </a:lnTo>
                <a:lnTo>
                  <a:pt x="753" y="2159"/>
                </a:lnTo>
                <a:lnTo>
                  <a:pt x="753" y="2159"/>
                </a:lnTo>
                <a:lnTo>
                  <a:pt x="753" y="2159"/>
                </a:lnTo>
                <a:lnTo>
                  <a:pt x="753" y="2159"/>
                </a:lnTo>
                <a:lnTo>
                  <a:pt x="753" y="2165"/>
                </a:lnTo>
                <a:lnTo>
                  <a:pt x="758" y="2165"/>
                </a:lnTo>
                <a:lnTo>
                  <a:pt x="758" y="2165"/>
                </a:lnTo>
                <a:lnTo>
                  <a:pt x="758" y="2165"/>
                </a:lnTo>
                <a:lnTo>
                  <a:pt x="758" y="2165"/>
                </a:lnTo>
                <a:lnTo>
                  <a:pt x="758" y="2165"/>
                </a:lnTo>
                <a:lnTo>
                  <a:pt x="758" y="2171"/>
                </a:lnTo>
                <a:lnTo>
                  <a:pt x="758" y="2171"/>
                </a:lnTo>
                <a:lnTo>
                  <a:pt x="758" y="2177"/>
                </a:lnTo>
                <a:lnTo>
                  <a:pt x="758" y="2177"/>
                </a:lnTo>
                <a:lnTo>
                  <a:pt x="758" y="2177"/>
                </a:lnTo>
                <a:lnTo>
                  <a:pt x="758" y="2171"/>
                </a:lnTo>
                <a:lnTo>
                  <a:pt x="758" y="2171"/>
                </a:lnTo>
                <a:lnTo>
                  <a:pt x="758" y="2165"/>
                </a:lnTo>
                <a:lnTo>
                  <a:pt x="753" y="2165"/>
                </a:lnTo>
                <a:lnTo>
                  <a:pt x="753" y="2165"/>
                </a:lnTo>
                <a:lnTo>
                  <a:pt x="753" y="2165"/>
                </a:lnTo>
                <a:lnTo>
                  <a:pt x="753" y="2159"/>
                </a:lnTo>
                <a:lnTo>
                  <a:pt x="753" y="2159"/>
                </a:lnTo>
                <a:lnTo>
                  <a:pt x="747" y="2165"/>
                </a:lnTo>
                <a:lnTo>
                  <a:pt x="747" y="2165"/>
                </a:lnTo>
                <a:lnTo>
                  <a:pt x="747" y="2165"/>
                </a:lnTo>
                <a:lnTo>
                  <a:pt x="747" y="2165"/>
                </a:lnTo>
                <a:lnTo>
                  <a:pt x="747" y="2165"/>
                </a:lnTo>
                <a:lnTo>
                  <a:pt x="753" y="2165"/>
                </a:lnTo>
                <a:lnTo>
                  <a:pt x="753" y="2165"/>
                </a:lnTo>
                <a:lnTo>
                  <a:pt x="758" y="2171"/>
                </a:lnTo>
                <a:lnTo>
                  <a:pt x="758" y="2171"/>
                </a:lnTo>
                <a:lnTo>
                  <a:pt x="758" y="2177"/>
                </a:lnTo>
                <a:lnTo>
                  <a:pt x="758" y="2177"/>
                </a:lnTo>
                <a:lnTo>
                  <a:pt x="758" y="2177"/>
                </a:lnTo>
                <a:lnTo>
                  <a:pt x="758" y="2183"/>
                </a:lnTo>
                <a:lnTo>
                  <a:pt x="758" y="2183"/>
                </a:lnTo>
                <a:lnTo>
                  <a:pt x="758" y="2183"/>
                </a:lnTo>
                <a:lnTo>
                  <a:pt x="758" y="2183"/>
                </a:lnTo>
                <a:lnTo>
                  <a:pt x="764" y="2183"/>
                </a:lnTo>
                <a:lnTo>
                  <a:pt x="764" y="2183"/>
                </a:lnTo>
                <a:lnTo>
                  <a:pt x="776" y="2183"/>
                </a:lnTo>
                <a:lnTo>
                  <a:pt x="782" y="2183"/>
                </a:lnTo>
                <a:lnTo>
                  <a:pt x="788" y="2183"/>
                </a:lnTo>
                <a:lnTo>
                  <a:pt x="788" y="2183"/>
                </a:lnTo>
                <a:lnTo>
                  <a:pt x="794" y="2183"/>
                </a:lnTo>
                <a:lnTo>
                  <a:pt x="794" y="2183"/>
                </a:lnTo>
                <a:lnTo>
                  <a:pt x="806" y="2177"/>
                </a:lnTo>
                <a:lnTo>
                  <a:pt x="812" y="2177"/>
                </a:lnTo>
                <a:lnTo>
                  <a:pt x="818" y="2177"/>
                </a:lnTo>
                <a:lnTo>
                  <a:pt x="824" y="2177"/>
                </a:lnTo>
                <a:lnTo>
                  <a:pt x="835" y="2177"/>
                </a:lnTo>
                <a:lnTo>
                  <a:pt x="841" y="2177"/>
                </a:lnTo>
                <a:lnTo>
                  <a:pt x="847" y="2177"/>
                </a:lnTo>
                <a:lnTo>
                  <a:pt x="853" y="2177"/>
                </a:lnTo>
                <a:lnTo>
                  <a:pt x="859" y="2177"/>
                </a:lnTo>
                <a:lnTo>
                  <a:pt x="871" y="2171"/>
                </a:lnTo>
                <a:lnTo>
                  <a:pt x="871" y="2171"/>
                </a:lnTo>
                <a:lnTo>
                  <a:pt x="871" y="2171"/>
                </a:lnTo>
                <a:lnTo>
                  <a:pt x="877" y="2171"/>
                </a:lnTo>
                <a:lnTo>
                  <a:pt x="883" y="2171"/>
                </a:lnTo>
                <a:lnTo>
                  <a:pt x="889" y="2171"/>
                </a:lnTo>
                <a:lnTo>
                  <a:pt x="895" y="2171"/>
                </a:lnTo>
                <a:lnTo>
                  <a:pt x="901" y="2171"/>
                </a:lnTo>
                <a:lnTo>
                  <a:pt x="901" y="2171"/>
                </a:lnTo>
                <a:lnTo>
                  <a:pt x="907" y="2171"/>
                </a:lnTo>
                <a:lnTo>
                  <a:pt x="913" y="2171"/>
                </a:lnTo>
                <a:lnTo>
                  <a:pt x="918" y="2171"/>
                </a:lnTo>
                <a:lnTo>
                  <a:pt x="930" y="2171"/>
                </a:lnTo>
                <a:lnTo>
                  <a:pt x="936" y="2165"/>
                </a:lnTo>
                <a:lnTo>
                  <a:pt x="942" y="2165"/>
                </a:lnTo>
                <a:lnTo>
                  <a:pt x="948" y="2165"/>
                </a:lnTo>
                <a:lnTo>
                  <a:pt x="960" y="2165"/>
                </a:lnTo>
                <a:lnTo>
                  <a:pt x="966" y="2165"/>
                </a:lnTo>
                <a:lnTo>
                  <a:pt x="972" y="2165"/>
                </a:lnTo>
                <a:lnTo>
                  <a:pt x="972" y="2165"/>
                </a:lnTo>
                <a:lnTo>
                  <a:pt x="978" y="2165"/>
                </a:lnTo>
                <a:lnTo>
                  <a:pt x="978" y="2165"/>
                </a:lnTo>
                <a:lnTo>
                  <a:pt x="984" y="2165"/>
                </a:lnTo>
                <a:lnTo>
                  <a:pt x="995" y="2165"/>
                </a:lnTo>
                <a:lnTo>
                  <a:pt x="995" y="2159"/>
                </a:lnTo>
                <a:lnTo>
                  <a:pt x="995" y="2159"/>
                </a:lnTo>
                <a:lnTo>
                  <a:pt x="995" y="2159"/>
                </a:lnTo>
                <a:lnTo>
                  <a:pt x="995" y="2159"/>
                </a:lnTo>
                <a:lnTo>
                  <a:pt x="995" y="2165"/>
                </a:lnTo>
                <a:lnTo>
                  <a:pt x="995" y="2165"/>
                </a:lnTo>
                <a:lnTo>
                  <a:pt x="995" y="2165"/>
                </a:lnTo>
                <a:lnTo>
                  <a:pt x="995" y="2165"/>
                </a:lnTo>
                <a:lnTo>
                  <a:pt x="995" y="2165"/>
                </a:lnTo>
                <a:lnTo>
                  <a:pt x="995" y="2171"/>
                </a:lnTo>
                <a:lnTo>
                  <a:pt x="995" y="2171"/>
                </a:lnTo>
                <a:lnTo>
                  <a:pt x="995" y="2171"/>
                </a:lnTo>
                <a:lnTo>
                  <a:pt x="995" y="2171"/>
                </a:lnTo>
                <a:lnTo>
                  <a:pt x="990" y="2171"/>
                </a:lnTo>
                <a:lnTo>
                  <a:pt x="990" y="2171"/>
                </a:lnTo>
                <a:lnTo>
                  <a:pt x="990" y="2171"/>
                </a:lnTo>
                <a:lnTo>
                  <a:pt x="990" y="2171"/>
                </a:lnTo>
                <a:lnTo>
                  <a:pt x="990" y="2177"/>
                </a:lnTo>
                <a:lnTo>
                  <a:pt x="990" y="2177"/>
                </a:lnTo>
                <a:lnTo>
                  <a:pt x="990" y="2177"/>
                </a:lnTo>
                <a:lnTo>
                  <a:pt x="990" y="2183"/>
                </a:lnTo>
                <a:lnTo>
                  <a:pt x="990" y="2183"/>
                </a:lnTo>
                <a:lnTo>
                  <a:pt x="990" y="2189"/>
                </a:lnTo>
                <a:lnTo>
                  <a:pt x="990" y="2189"/>
                </a:lnTo>
                <a:lnTo>
                  <a:pt x="990" y="2189"/>
                </a:lnTo>
                <a:lnTo>
                  <a:pt x="990" y="2189"/>
                </a:lnTo>
                <a:lnTo>
                  <a:pt x="1031" y="2200"/>
                </a:lnTo>
                <a:lnTo>
                  <a:pt x="1073" y="2218"/>
                </a:lnTo>
                <a:lnTo>
                  <a:pt x="1114" y="2236"/>
                </a:lnTo>
                <a:lnTo>
                  <a:pt x="1138" y="2242"/>
                </a:lnTo>
                <a:lnTo>
                  <a:pt x="1155" y="2248"/>
                </a:lnTo>
                <a:lnTo>
                  <a:pt x="1167" y="2254"/>
                </a:lnTo>
                <a:lnTo>
                  <a:pt x="1197" y="2266"/>
                </a:lnTo>
                <a:lnTo>
                  <a:pt x="1238" y="2278"/>
                </a:lnTo>
                <a:lnTo>
                  <a:pt x="1280" y="2295"/>
                </a:lnTo>
                <a:lnTo>
                  <a:pt x="1315" y="2307"/>
                </a:lnTo>
                <a:lnTo>
                  <a:pt x="1321" y="2307"/>
                </a:lnTo>
                <a:lnTo>
                  <a:pt x="1327" y="2313"/>
                </a:lnTo>
                <a:lnTo>
                  <a:pt x="1333" y="2313"/>
                </a:lnTo>
                <a:lnTo>
                  <a:pt x="1333" y="2313"/>
                </a:lnTo>
                <a:lnTo>
                  <a:pt x="1333" y="2313"/>
                </a:lnTo>
                <a:lnTo>
                  <a:pt x="1339" y="2313"/>
                </a:lnTo>
                <a:lnTo>
                  <a:pt x="1339" y="2319"/>
                </a:lnTo>
                <a:lnTo>
                  <a:pt x="1345" y="2319"/>
                </a:lnTo>
                <a:lnTo>
                  <a:pt x="1345" y="2319"/>
                </a:lnTo>
                <a:lnTo>
                  <a:pt x="1351" y="2319"/>
                </a:lnTo>
                <a:lnTo>
                  <a:pt x="1351" y="2319"/>
                </a:lnTo>
                <a:lnTo>
                  <a:pt x="1357" y="2325"/>
                </a:lnTo>
                <a:lnTo>
                  <a:pt x="1363" y="2325"/>
                </a:lnTo>
                <a:lnTo>
                  <a:pt x="1363" y="2325"/>
                </a:lnTo>
                <a:lnTo>
                  <a:pt x="1369" y="2325"/>
                </a:lnTo>
                <a:lnTo>
                  <a:pt x="1369" y="2325"/>
                </a:lnTo>
                <a:lnTo>
                  <a:pt x="1375" y="2325"/>
                </a:lnTo>
                <a:lnTo>
                  <a:pt x="1375" y="2325"/>
                </a:lnTo>
                <a:lnTo>
                  <a:pt x="1381" y="2325"/>
                </a:lnTo>
                <a:lnTo>
                  <a:pt x="1381" y="2325"/>
                </a:lnTo>
                <a:lnTo>
                  <a:pt x="1387" y="2325"/>
                </a:lnTo>
                <a:lnTo>
                  <a:pt x="1393" y="2325"/>
                </a:lnTo>
                <a:lnTo>
                  <a:pt x="1393" y="2325"/>
                </a:lnTo>
                <a:lnTo>
                  <a:pt x="1398" y="2325"/>
                </a:lnTo>
                <a:lnTo>
                  <a:pt x="1404" y="2325"/>
                </a:lnTo>
                <a:lnTo>
                  <a:pt x="1410" y="2325"/>
                </a:lnTo>
                <a:lnTo>
                  <a:pt x="1410" y="2325"/>
                </a:lnTo>
                <a:lnTo>
                  <a:pt x="1416" y="2325"/>
                </a:lnTo>
                <a:lnTo>
                  <a:pt x="1422" y="2325"/>
                </a:lnTo>
                <a:lnTo>
                  <a:pt x="1422" y="2325"/>
                </a:lnTo>
                <a:lnTo>
                  <a:pt x="1428" y="2325"/>
                </a:lnTo>
                <a:lnTo>
                  <a:pt x="1434" y="2325"/>
                </a:lnTo>
                <a:lnTo>
                  <a:pt x="1440" y="2325"/>
                </a:lnTo>
                <a:lnTo>
                  <a:pt x="1440" y="2325"/>
                </a:lnTo>
                <a:lnTo>
                  <a:pt x="1446" y="2325"/>
                </a:lnTo>
                <a:lnTo>
                  <a:pt x="1452" y="2325"/>
                </a:lnTo>
                <a:lnTo>
                  <a:pt x="1452" y="2325"/>
                </a:lnTo>
                <a:lnTo>
                  <a:pt x="1458" y="2325"/>
                </a:lnTo>
                <a:lnTo>
                  <a:pt x="1464" y="2325"/>
                </a:lnTo>
                <a:lnTo>
                  <a:pt x="1470" y="2325"/>
                </a:lnTo>
                <a:lnTo>
                  <a:pt x="1470" y="2325"/>
                </a:lnTo>
                <a:lnTo>
                  <a:pt x="1475" y="2325"/>
                </a:lnTo>
                <a:lnTo>
                  <a:pt x="1481" y="2325"/>
                </a:lnTo>
                <a:lnTo>
                  <a:pt x="1481" y="2325"/>
                </a:lnTo>
                <a:lnTo>
                  <a:pt x="1487" y="2325"/>
                </a:lnTo>
                <a:lnTo>
                  <a:pt x="1493" y="2325"/>
                </a:lnTo>
                <a:lnTo>
                  <a:pt x="1499" y="2325"/>
                </a:lnTo>
                <a:lnTo>
                  <a:pt x="1499" y="2325"/>
                </a:lnTo>
                <a:lnTo>
                  <a:pt x="1505" y="2325"/>
                </a:lnTo>
                <a:lnTo>
                  <a:pt x="1511" y="2325"/>
                </a:lnTo>
                <a:lnTo>
                  <a:pt x="1511" y="2325"/>
                </a:lnTo>
                <a:lnTo>
                  <a:pt x="1517" y="2325"/>
                </a:lnTo>
                <a:lnTo>
                  <a:pt x="1523" y="2325"/>
                </a:lnTo>
                <a:lnTo>
                  <a:pt x="1529" y="2325"/>
                </a:lnTo>
                <a:lnTo>
                  <a:pt x="1529" y="2325"/>
                </a:lnTo>
                <a:lnTo>
                  <a:pt x="1535" y="2325"/>
                </a:lnTo>
                <a:lnTo>
                  <a:pt x="1541" y="2325"/>
                </a:lnTo>
                <a:lnTo>
                  <a:pt x="1547" y="2325"/>
                </a:lnTo>
                <a:lnTo>
                  <a:pt x="1547" y="2325"/>
                </a:lnTo>
                <a:lnTo>
                  <a:pt x="1553" y="2325"/>
                </a:lnTo>
                <a:lnTo>
                  <a:pt x="1558" y="2325"/>
                </a:lnTo>
                <a:lnTo>
                  <a:pt x="1558" y="2325"/>
                </a:lnTo>
                <a:lnTo>
                  <a:pt x="1564" y="2325"/>
                </a:lnTo>
                <a:lnTo>
                  <a:pt x="1564" y="2325"/>
                </a:lnTo>
                <a:lnTo>
                  <a:pt x="1570" y="2325"/>
                </a:lnTo>
                <a:lnTo>
                  <a:pt x="1570" y="2325"/>
                </a:lnTo>
                <a:lnTo>
                  <a:pt x="1576" y="2325"/>
                </a:lnTo>
                <a:lnTo>
                  <a:pt x="1576" y="2325"/>
                </a:lnTo>
                <a:lnTo>
                  <a:pt x="1582" y="2325"/>
                </a:lnTo>
                <a:lnTo>
                  <a:pt x="1588" y="2325"/>
                </a:lnTo>
                <a:lnTo>
                  <a:pt x="1588" y="2325"/>
                </a:lnTo>
                <a:lnTo>
                  <a:pt x="1594" y="2325"/>
                </a:lnTo>
                <a:lnTo>
                  <a:pt x="1600" y="2325"/>
                </a:lnTo>
                <a:lnTo>
                  <a:pt x="1606" y="2325"/>
                </a:lnTo>
                <a:lnTo>
                  <a:pt x="1606" y="2325"/>
                </a:lnTo>
                <a:lnTo>
                  <a:pt x="1612" y="2325"/>
                </a:lnTo>
                <a:lnTo>
                  <a:pt x="1618" y="2325"/>
                </a:lnTo>
                <a:lnTo>
                  <a:pt x="1618" y="2325"/>
                </a:lnTo>
                <a:lnTo>
                  <a:pt x="1624" y="2325"/>
                </a:lnTo>
                <a:lnTo>
                  <a:pt x="1630" y="2325"/>
                </a:lnTo>
                <a:lnTo>
                  <a:pt x="1635" y="2325"/>
                </a:lnTo>
                <a:lnTo>
                  <a:pt x="1635" y="2325"/>
                </a:lnTo>
                <a:lnTo>
                  <a:pt x="1641" y="2325"/>
                </a:lnTo>
                <a:lnTo>
                  <a:pt x="1647" y="2325"/>
                </a:lnTo>
                <a:lnTo>
                  <a:pt x="1647" y="2325"/>
                </a:lnTo>
                <a:lnTo>
                  <a:pt x="1647" y="2325"/>
                </a:lnTo>
                <a:lnTo>
                  <a:pt x="1647" y="2325"/>
                </a:lnTo>
                <a:lnTo>
                  <a:pt x="1647" y="2319"/>
                </a:lnTo>
                <a:lnTo>
                  <a:pt x="1647" y="2319"/>
                </a:lnTo>
                <a:lnTo>
                  <a:pt x="1647" y="2319"/>
                </a:lnTo>
                <a:lnTo>
                  <a:pt x="1647" y="2319"/>
                </a:lnTo>
                <a:lnTo>
                  <a:pt x="1647" y="2319"/>
                </a:lnTo>
                <a:lnTo>
                  <a:pt x="1647" y="2319"/>
                </a:lnTo>
                <a:lnTo>
                  <a:pt x="1647" y="2319"/>
                </a:lnTo>
                <a:lnTo>
                  <a:pt x="1647" y="2313"/>
                </a:lnTo>
                <a:lnTo>
                  <a:pt x="1647" y="2313"/>
                </a:lnTo>
                <a:lnTo>
                  <a:pt x="1647" y="2313"/>
                </a:lnTo>
                <a:lnTo>
                  <a:pt x="1647" y="2313"/>
                </a:lnTo>
                <a:lnTo>
                  <a:pt x="1647" y="2313"/>
                </a:lnTo>
                <a:lnTo>
                  <a:pt x="1647" y="2313"/>
                </a:lnTo>
                <a:lnTo>
                  <a:pt x="1647" y="2313"/>
                </a:lnTo>
                <a:lnTo>
                  <a:pt x="1647" y="2313"/>
                </a:lnTo>
                <a:lnTo>
                  <a:pt x="1647" y="2307"/>
                </a:lnTo>
                <a:lnTo>
                  <a:pt x="1647" y="2307"/>
                </a:lnTo>
                <a:lnTo>
                  <a:pt x="1647" y="2307"/>
                </a:lnTo>
                <a:lnTo>
                  <a:pt x="1647" y="2307"/>
                </a:lnTo>
                <a:lnTo>
                  <a:pt x="1647" y="2307"/>
                </a:lnTo>
                <a:lnTo>
                  <a:pt x="1647" y="2307"/>
                </a:lnTo>
                <a:lnTo>
                  <a:pt x="1647" y="2307"/>
                </a:lnTo>
                <a:lnTo>
                  <a:pt x="1647" y="2301"/>
                </a:lnTo>
                <a:lnTo>
                  <a:pt x="1647" y="2301"/>
                </a:lnTo>
                <a:lnTo>
                  <a:pt x="1647" y="2301"/>
                </a:lnTo>
                <a:lnTo>
                  <a:pt x="1647" y="2301"/>
                </a:lnTo>
                <a:lnTo>
                  <a:pt x="1647" y="2301"/>
                </a:lnTo>
                <a:lnTo>
                  <a:pt x="1647" y="2301"/>
                </a:lnTo>
                <a:lnTo>
                  <a:pt x="1647" y="2301"/>
                </a:lnTo>
                <a:lnTo>
                  <a:pt x="1647" y="2295"/>
                </a:lnTo>
                <a:lnTo>
                  <a:pt x="1647" y="2295"/>
                </a:lnTo>
                <a:lnTo>
                  <a:pt x="1647" y="2295"/>
                </a:lnTo>
                <a:lnTo>
                  <a:pt x="1647" y="2295"/>
                </a:lnTo>
                <a:lnTo>
                  <a:pt x="1647" y="2295"/>
                </a:lnTo>
                <a:lnTo>
                  <a:pt x="1647" y="2295"/>
                </a:lnTo>
                <a:lnTo>
                  <a:pt x="1647" y="2295"/>
                </a:lnTo>
                <a:lnTo>
                  <a:pt x="1647" y="2295"/>
                </a:lnTo>
                <a:lnTo>
                  <a:pt x="1647" y="2289"/>
                </a:lnTo>
                <a:lnTo>
                  <a:pt x="1647" y="2289"/>
                </a:lnTo>
                <a:lnTo>
                  <a:pt x="1647" y="2289"/>
                </a:lnTo>
                <a:lnTo>
                  <a:pt x="1647" y="2289"/>
                </a:lnTo>
                <a:lnTo>
                  <a:pt x="1647" y="2289"/>
                </a:lnTo>
                <a:lnTo>
                  <a:pt x="1647" y="2289"/>
                </a:lnTo>
                <a:lnTo>
                  <a:pt x="1647" y="2289"/>
                </a:lnTo>
                <a:lnTo>
                  <a:pt x="1647" y="2283"/>
                </a:lnTo>
                <a:lnTo>
                  <a:pt x="1647" y="2283"/>
                </a:lnTo>
                <a:lnTo>
                  <a:pt x="1647" y="2283"/>
                </a:lnTo>
                <a:lnTo>
                  <a:pt x="1647" y="2283"/>
                </a:lnTo>
                <a:lnTo>
                  <a:pt x="1647" y="2283"/>
                </a:lnTo>
                <a:lnTo>
                  <a:pt x="1647" y="2283"/>
                </a:lnTo>
                <a:lnTo>
                  <a:pt x="1647" y="2283"/>
                </a:lnTo>
                <a:lnTo>
                  <a:pt x="1647" y="2283"/>
                </a:lnTo>
                <a:lnTo>
                  <a:pt x="1647" y="2283"/>
                </a:lnTo>
                <a:lnTo>
                  <a:pt x="1647" y="2278"/>
                </a:lnTo>
                <a:lnTo>
                  <a:pt x="1647" y="2278"/>
                </a:lnTo>
                <a:lnTo>
                  <a:pt x="1647" y="2278"/>
                </a:lnTo>
                <a:lnTo>
                  <a:pt x="1647" y="2278"/>
                </a:lnTo>
                <a:lnTo>
                  <a:pt x="1647" y="2278"/>
                </a:lnTo>
                <a:lnTo>
                  <a:pt x="1647" y="2278"/>
                </a:lnTo>
                <a:lnTo>
                  <a:pt x="1647" y="2278"/>
                </a:lnTo>
                <a:lnTo>
                  <a:pt x="1647" y="2272"/>
                </a:lnTo>
                <a:lnTo>
                  <a:pt x="1647" y="2272"/>
                </a:lnTo>
                <a:lnTo>
                  <a:pt x="1647" y="2272"/>
                </a:lnTo>
                <a:lnTo>
                  <a:pt x="1647" y="2272"/>
                </a:lnTo>
                <a:lnTo>
                  <a:pt x="1647" y="2272"/>
                </a:lnTo>
                <a:lnTo>
                  <a:pt x="1647" y="2272"/>
                </a:lnTo>
                <a:lnTo>
                  <a:pt x="1653" y="2272"/>
                </a:lnTo>
                <a:lnTo>
                  <a:pt x="1653" y="2272"/>
                </a:lnTo>
                <a:lnTo>
                  <a:pt x="1653" y="2272"/>
                </a:lnTo>
                <a:lnTo>
                  <a:pt x="1659" y="2272"/>
                </a:lnTo>
                <a:lnTo>
                  <a:pt x="1659" y="2272"/>
                </a:lnTo>
                <a:lnTo>
                  <a:pt x="1665" y="2272"/>
                </a:lnTo>
                <a:lnTo>
                  <a:pt x="1665" y="2272"/>
                </a:lnTo>
                <a:lnTo>
                  <a:pt x="1665" y="2272"/>
                </a:lnTo>
                <a:lnTo>
                  <a:pt x="1671" y="2272"/>
                </a:lnTo>
                <a:lnTo>
                  <a:pt x="1671" y="2272"/>
                </a:lnTo>
                <a:lnTo>
                  <a:pt x="1677" y="2272"/>
                </a:lnTo>
                <a:lnTo>
                  <a:pt x="1677" y="2272"/>
                </a:lnTo>
                <a:lnTo>
                  <a:pt x="1677" y="2272"/>
                </a:lnTo>
                <a:lnTo>
                  <a:pt x="1683" y="2272"/>
                </a:lnTo>
                <a:lnTo>
                  <a:pt x="1683" y="2272"/>
                </a:lnTo>
                <a:lnTo>
                  <a:pt x="1689" y="2272"/>
                </a:lnTo>
                <a:lnTo>
                  <a:pt x="1689" y="2272"/>
                </a:lnTo>
                <a:lnTo>
                  <a:pt x="1695" y="2272"/>
                </a:lnTo>
                <a:lnTo>
                  <a:pt x="1695" y="2272"/>
                </a:lnTo>
                <a:lnTo>
                  <a:pt x="1695" y="2272"/>
                </a:lnTo>
                <a:lnTo>
                  <a:pt x="1701" y="2272"/>
                </a:lnTo>
                <a:lnTo>
                  <a:pt x="1701" y="2272"/>
                </a:lnTo>
                <a:lnTo>
                  <a:pt x="1707" y="2272"/>
                </a:lnTo>
                <a:lnTo>
                  <a:pt x="1707" y="2272"/>
                </a:lnTo>
                <a:lnTo>
                  <a:pt x="1713" y="2272"/>
                </a:lnTo>
                <a:lnTo>
                  <a:pt x="1713" y="2272"/>
                </a:lnTo>
                <a:lnTo>
                  <a:pt x="1713" y="2272"/>
                </a:lnTo>
                <a:lnTo>
                  <a:pt x="1718" y="2272"/>
                </a:lnTo>
                <a:lnTo>
                  <a:pt x="1718" y="2272"/>
                </a:lnTo>
                <a:lnTo>
                  <a:pt x="1724" y="2272"/>
                </a:lnTo>
                <a:lnTo>
                  <a:pt x="1724" y="2272"/>
                </a:lnTo>
                <a:lnTo>
                  <a:pt x="1730" y="2272"/>
                </a:lnTo>
                <a:lnTo>
                  <a:pt x="1730" y="2272"/>
                </a:lnTo>
                <a:lnTo>
                  <a:pt x="1736" y="2272"/>
                </a:lnTo>
                <a:lnTo>
                  <a:pt x="1736" y="2272"/>
                </a:lnTo>
                <a:lnTo>
                  <a:pt x="1736" y="2272"/>
                </a:lnTo>
                <a:lnTo>
                  <a:pt x="1742" y="2272"/>
                </a:lnTo>
                <a:lnTo>
                  <a:pt x="1742" y="2272"/>
                </a:lnTo>
                <a:lnTo>
                  <a:pt x="1742" y="2272"/>
                </a:lnTo>
                <a:lnTo>
                  <a:pt x="1742" y="2272"/>
                </a:lnTo>
                <a:lnTo>
                  <a:pt x="1742" y="2272"/>
                </a:lnTo>
                <a:lnTo>
                  <a:pt x="1748" y="2272"/>
                </a:lnTo>
                <a:lnTo>
                  <a:pt x="1748" y="2272"/>
                </a:lnTo>
                <a:lnTo>
                  <a:pt x="1748" y="2272"/>
                </a:lnTo>
                <a:lnTo>
                  <a:pt x="1754" y="2272"/>
                </a:lnTo>
                <a:lnTo>
                  <a:pt x="1754" y="2272"/>
                </a:lnTo>
                <a:lnTo>
                  <a:pt x="1754" y="2272"/>
                </a:lnTo>
                <a:lnTo>
                  <a:pt x="1760" y="2272"/>
                </a:lnTo>
                <a:lnTo>
                  <a:pt x="1760" y="2272"/>
                </a:lnTo>
                <a:lnTo>
                  <a:pt x="1766" y="2272"/>
                </a:lnTo>
                <a:lnTo>
                  <a:pt x="1766" y="2272"/>
                </a:lnTo>
                <a:lnTo>
                  <a:pt x="1766" y="2272"/>
                </a:lnTo>
                <a:lnTo>
                  <a:pt x="1766" y="2272"/>
                </a:lnTo>
                <a:lnTo>
                  <a:pt x="1766" y="2272"/>
                </a:lnTo>
                <a:lnTo>
                  <a:pt x="1772" y="2272"/>
                </a:lnTo>
                <a:lnTo>
                  <a:pt x="1772" y="2272"/>
                </a:lnTo>
                <a:lnTo>
                  <a:pt x="1772" y="2272"/>
                </a:lnTo>
                <a:lnTo>
                  <a:pt x="1778" y="2272"/>
                </a:lnTo>
                <a:lnTo>
                  <a:pt x="1778" y="2272"/>
                </a:lnTo>
                <a:lnTo>
                  <a:pt x="1784" y="2272"/>
                </a:lnTo>
                <a:lnTo>
                  <a:pt x="1784" y="2272"/>
                </a:lnTo>
                <a:lnTo>
                  <a:pt x="1784" y="2272"/>
                </a:lnTo>
                <a:lnTo>
                  <a:pt x="1784" y="2272"/>
                </a:lnTo>
                <a:lnTo>
                  <a:pt x="1790" y="2272"/>
                </a:lnTo>
                <a:lnTo>
                  <a:pt x="1790" y="2272"/>
                </a:lnTo>
                <a:lnTo>
                  <a:pt x="1790" y="2272"/>
                </a:lnTo>
                <a:lnTo>
                  <a:pt x="1795" y="2272"/>
                </a:lnTo>
                <a:lnTo>
                  <a:pt x="1795" y="2272"/>
                </a:lnTo>
                <a:lnTo>
                  <a:pt x="1795" y="2272"/>
                </a:lnTo>
                <a:lnTo>
                  <a:pt x="1801" y="2272"/>
                </a:lnTo>
                <a:lnTo>
                  <a:pt x="1801" y="2272"/>
                </a:lnTo>
                <a:lnTo>
                  <a:pt x="1807" y="2272"/>
                </a:lnTo>
                <a:lnTo>
                  <a:pt x="1807" y="2272"/>
                </a:lnTo>
                <a:lnTo>
                  <a:pt x="1807" y="2272"/>
                </a:lnTo>
                <a:lnTo>
                  <a:pt x="1807" y="2272"/>
                </a:lnTo>
                <a:lnTo>
                  <a:pt x="1813" y="2272"/>
                </a:lnTo>
                <a:lnTo>
                  <a:pt x="1813" y="2272"/>
                </a:lnTo>
                <a:lnTo>
                  <a:pt x="1813" y="2272"/>
                </a:lnTo>
                <a:lnTo>
                  <a:pt x="1813" y="2272"/>
                </a:lnTo>
                <a:lnTo>
                  <a:pt x="1819" y="2272"/>
                </a:lnTo>
                <a:lnTo>
                  <a:pt x="1819" y="2272"/>
                </a:lnTo>
                <a:lnTo>
                  <a:pt x="1819" y="2272"/>
                </a:lnTo>
                <a:lnTo>
                  <a:pt x="1819" y="2272"/>
                </a:lnTo>
                <a:lnTo>
                  <a:pt x="1825" y="2272"/>
                </a:lnTo>
                <a:lnTo>
                  <a:pt x="1825" y="2278"/>
                </a:lnTo>
                <a:lnTo>
                  <a:pt x="1831" y="2278"/>
                </a:lnTo>
                <a:lnTo>
                  <a:pt x="1831" y="2283"/>
                </a:lnTo>
                <a:lnTo>
                  <a:pt x="1837" y="2289"/>
                </a:lnTo>
                <a:lnTo>
                  <a:pt x="1837" y="2295"/>
                </a:lnTo>
                <a:lnTo>
                  <a:pt x="1837" y="2295"/>
                </a:lnTo>
                <a:lnTo>
                  <a:pt x="1843" y="2301"/>
                </a:lnTo>
                <a:lnTo>
                  <a:pt x="1843" y="2301"/>
                </a:lnTo>
                <a:lnTo>
                  <a:pt x="1843" y="2307"/>
                </a:lnTo>
                <a:lnTo>
                  <a:pt x="1843" y="2307"/>
                </a:lnTo>
                <a:lnTo>
                  <a:pt x="1843" y="2307"/>
                </a:lnTo>
                <a:lnTo>
                  <a:pt x="1843" y="2307"/>
                </a:lnTo>
                <a:lnTo>
                  <a:pt x="1843" y="2307"/>
                </a:lnTo>
                <a:lnTo>
                  <a:pt x="1843" y="2307"/>
                </a:lnTo>
                <a:lnTo>
                  <a:pt x="1849" y="2307"/>
                </a:lnTo>
                <a:lnTo>
                  <a:pt x="1849" y="2313"/>
                </a:lnTo>
                <a:lnTo>
                  <a:pt x="1849" y="2313"/>
                </a:lnTo>
                <a:lnTo>
                  <a:pt x="1855" y="2313"/>
                </a:lnTo>
                <a:lnTo>
                  <a:pt x="1855" y="2313"/>
                </a:lnTo>
                <a:lnTo>
                  <a:pt x="1861" y="2313"/>
                </a:lnTo>
                <a:lnTo>
                  <a:pt x="1861" y="2313"/>
                </a:lnTo>
                <a:lnTo>
                  <a:pt x="1867" y="2313"/>
                </a:lnTo>
                <a:lnTo>
                  <a:pt x="1867" y="2319"/>
                </a:lnTo>
                <a:lnTo>
                  <a:pt x="1873" y="2319"/>
                </a:lnTo>
                <a:lnTo>
                  <a:pt x="1873" y="2319"/>
                </a:lnTo>
                <a:lnTo>
                  <a:pt x="1873" y="2319"/>
                </a:lnTo>
                <a:lnTo>
                  <a:pt x="1873" y="2325"/>
                </a:lnTo>
                <a:lnTo>
                  <a:pt x="1873" y="2325"/>
                </a:lnTo>
                <a:lnTo>
                  <a:pt x="1873" y="2325"/>
                </a:lnTo>
                <a:lnTo>
                  <a:pt x="1878" y="2325"/>
                </a:lnTo>
                <a:lnTo>
                  <a:pt x="1878" y="2325"/>
                </a:lnTo>
                <a:lnTo>
                  <a:pt x="1878" y="2325"/>
                </a:lnTo>
                <a:lnTo>
                  <a:pt x="1878" y="2331"/>
                </a:lnTo>
                <a:lnTo>
                  <a:pt x="1878" y="2331"/>
                </a:lnTo>
                <a:lnTo>
                  <a:pt x="1884" y="2337"/>
                </a:lnTo>
                <a:lnTo>
                  <a:pt x="1890" y="2337"/>
                </a:lnTo>
                <a:lnTo>
                  <a:pt x="1890" y="2343"/>
                </a:lnTo>
                <a:lnTo>
                  <a:pt x="1890" y="2343"/>
                </a:lnTo>
                <a:lnTo>
                  <a:pt x="1896" y="2349"/>
                </a:lnTo>
                <a:lnTo>
                  <a:pt x="1896" y="2349"/>
                </a:lnTo>
                <a:lnTo>
                  <a:pt x="1902" y="2349"/>
                </a:lnTo>
                <a:lnTo>
                  <a:pt x="1902" y="2349"/>
                </a:lnTo>
                <a:lnTo>
                  <a:pt x="1902" y="2355"/>
                </a:lnTo>
                <a:lnTo>
                  <a:pt x="1908" y="2355"/>
                </a:lnTo>
                <a:lnTo>
                  <a:pt x="1908" y="2355"/>
                </a:lnTo>
                <a:lnTo>
                  <a:pt x="1908" y="2355"/>
                </a:lnTo>
                <a:lnTo>
                  <a:pt x="1908" y="2355"/>
                </a:lnTo>
                <a:lnTo>
                  <a:pt x="1908" y="2355"/>
                </a:lnTo>
                <a:lnTo>
                  <a:pt x="1908" y="2361"/>
                </a:lnTo>
                <a:lnTo>
                  <a:pt x="1908" y="2361"/>
                </a:lnTo>
                <a:lnTo>
                  <a:pt x="1908" y="2361"/>
                </a:lnTo>
                <a:lnTo>
                  <a:pt x="1914" y="2366"/>
                </a:lnTo>
                <a:lnTo>
                  <a:pt x="1914" y="2366"/>
                </a:lnTo>
                <a:lnTo>
                  <a:pt x="1926" y="2372"/>
                </a:lnTo>
                <a:lnTo>
                  <a:pt x="1926" y="2378"/>
                </a:lnTo>
                <a:lnTo>
                  <a:pt x="1932" y="2378"/>
                </a:lnTo>
                <a:lnTo>
                  <a:pt x="1932" y="2378"/>
                </a:lnTo>
                <a:lnTo>
                  <a:pt x="1938" y="2384"/>
                </a:lnTo>
                <a:lnTo>
                  <a:pt x="1938" y="2384"/>
                </a:lnTo>
                <a:lnTo>
                  <a:pt x="1938" y="2384"/>
                </a:lnTo>
                <a:lnTo>
                  <a:pt x="1938" y="2384"/>
                </a:lnTo>
                <a:lnTo>
                  <a:pt x="1938" y="2384"/>
                </a:lnTo>
                <a:lnTo>
                  <a:pt x="1944" y="2384"/>
                </a:lnTo>
                <a:lnTo>
                  <a:pt x="1944" y="2384"/>
                </a:lnTo>
                <a:lnTo>
                  <a:pt x="1944" y="2384"/>
                </a:lnTo>
                <a:lnTo>
                  <a:pt x="1944" y="2384"/>
                </a:lnTo>
                <a:lnTo>
                  <a:pt x="1944" y="2384"/>
                </a:lnTo>
                <a:lnTo>
                  <a:pt x="1944" y="2384"/>
                </a:lnTo>
                <a:lnTo>
                  <a:pt x="1944" y="2384"/>
                </a:lnTo>
                <a:lnTo>
                  <a:pt x="1944" y="2384"/>
                </a:lnTo>
                <a:lnTo>
                  <a:pt x="1944" y="2384"/>
                </a:lnTo>
                <a:lnTo>
                  <a:pt x="1944" y="2384"/>
                </a:lnTo>
                <a:lnTo>
                  <a:pt x="1944" y="2390"/>
                </a:lnTo>
                <a:lnTo>
                  <a:pt x="1950" y="2390"/>
                </a:lnTo>
                <a:lnTo>
                  <a:pt x="1950" y="2390"/>
                </a:lnTo>
                <a:lnTo>
                  <a:pt x="1950" y="2390"/>
                </a:lnTo>
                <a:lnTo>
                  <a:pt x="1950" y="2390"/>
                </a:lnTo>
                <a:lnTo>
                  <a:pt x="1950" y="2390"/>
                </a:lnTo>
                <a:lnTo>
                  <a:pt x="1950" y="2390"/>
                </a:lnTo>
                <a:lnTo>
                  <a:pt x="1950" y="2390"/>
                </a:lnTo>
                <a:lnTo>
                  <a:pt x="1950" y="2390"/>
                </a:lnTo>
                <a:lnTo>
                  <a:pt x="1950" y="2390"/>
                </a:lnTo>
                <a:lnTo>
                  <a:pt x="1950" y="2390"/>
                </a:lnTo>
                <a:lnTo>
                  <a:pt x="1955" y="2390"/>
                </a:lnTo>
                <a:lnTo>
                  <a:pt x="1955" y="2396"/>
                </a:lnTo>
                <a:lnTo>
                  <a:pt x="1961" y="2396"/>
                </a:lnTo>
                <a:lnTo>
                  <a:pt x="1961" y="2396"/>
                </a:lnTo>
                <a:lnTo>
                  <a:pt x="1961" y="2396"/>
                </a:lnTo>
                <a:lnTo>
                  <a:pt x="1961" y="2402"/>
                </a:lnTo>
                <a:lnTo>
                  <a:pt x="1967" y="2402"/>
                </a:lnTo>
                <a:lnTo>
                  <a:pt x="1967" y="2402"/>
                </a:lnTo>
                <a:lnTo>
                  <a:pt x="1967" y="2402"/>
                </a:lnTo>
                <a:lnTo>
                  <a:pt x="1967" y="2402"/>
                </a:lnTo>
                <a:lnTo>
                  <a:pt x="1967" y="2402"/>
                </a:lnTo>
                <a:lnTo>
                  <a:pt x="1967" y="2402"/>
                </a:lnTo>
                <a:lnTo>
                  <a:pt x="1967" y="2402"/>
                </a:lnTo>
                <a:lnTo>
                  <a:pt x="1967" y="2408"/>
                </a:lnTo>
                <a:lnTo>
                  <a:pt x="1967" y="2408"/>
                </a:lnTo>
                <a:lnTo>
                  <a:pt x="1967" y="2408"/>
                </a:lnTo>
                <a:lnTo>
                  <a:pt x="1973" y="2408"/>
                </a:lnTo>
                <a:lnTo>
                  <a:pt x="1973" y="2408"/>
                </a:lnTo>
                <a:lnTo>
                  <a:pt x="1973" y="2408"/>
                </a:lnTo>
                <a:lnTo>
                  <a:pt x="1973" y="2414"/>
                </a:lnTo>
                <a:lnTo>
                  <a:pt x="1973" y="2414"/>
                </a:lnTo>
                <a:lnTo>
                  <a:pt x="1979" y="2414"/>
                </a:lnTo>
                <a:lnTo>
                  <a:pt x="1979" y="2414"/>
                </a:lnTo>
                <a:lnTo>
                  <a:pt x="1979" y="2414"/>
                </a:lnTo>
                <a:lnTo>
                  <a:pt x="1979" y="2420"/>
                </a:lnTo>
                <a:lnTo>
                  <a:pt x="1979" y="2420"/>
                </a:lnTo>
                <a:lnTo>
                  <a:pt x="1979" y="2420"/>
                </a:lnTo>
                <a:lnTo>
                  <a:pt x="1979" y="2420"/>
                </a:lnTo>
                <a:lnTo>
                  <a:pt x="1979" y="2420"/>
                </a:lnTo>
                <a:lnTo>
                  <a:pt x="1979" y="2426"/>
                </a:lnTo>
                <a:lnTo>
                  <a:pt x="1979" y="2426"/>
                </a:lnTo>
                <a:lnTo>
                  <a:pt x="1979" y="2426"/>
                </a:lnTo>
                <a:lnTo>
                  <a:pt x="1979" y="2426"/>
                </a:lnTo>
                <a:lnTo>
                  <a:pt x="1979" y="2426"/>
                </a:lnTo>
                <a:lnTo>
                  <a:pt x="1979" y="2426"/>
                </a:lnTo>
                <a:lnTo>
                  <a:pt x="1979" y="2426"/>
                </a:lnTo>
                <a:lnTo>
                  <a:pt x="1979" y="2432"/>
                </a:lnTo>
                <a:lnTo>
                  <a:pt x="1979" y="2432"/>
                </a:lnTo>
                <a:lnTo>
                  <a:pt x="1979" y="2432"/>
                </a:lnTo>
                <a:lnTo>
                  <a:pt x="1979" y="2432"/>
                </a:lnTo>
                <a:lnTo>
                  <a:pt x="1979" y="2432"/>
                </a:lnTo>
                <a:lnTo>
                  <a:pt x="1985" y="2432"/>
                </a:lnTo>
                <a:lnTo>
                  <a:pt x="1985" y="2432"/>
                </a:lnTo>
                <a:lnTo>
                  <a:pt x="1985" y="2432"/>
                </a:lnTo>
                <a:lnTo>
                  <a:pt x="1985" y="2438"/>
                </a:lnTo>
                <a:lnTo>
                  <a:pt x="1985" y="2438"/>
                </a:lnTo>
                <a:lnTo>
                  <a:pt x="1985" y="2438"/>
                </a:lnTo>
                <a:lnTo>
                  <a:pt x="1985" y="2438"/>
                </a:lnTo>
                <a:lnTo>
                  <a:pt x="1985" y="2438"/>
                </a:lnTo>
                <a:lnTo>
                  <a:pt x="1985" y="2438"/>
                </a:lnTo>
                <a:lnTo>
                  <a:pt x="1991" y="2444"/>
                </a:lnTo>
                <a:lnTo>
                  <a:pt x="1991" y="2444"/>
                </a:lnTo>
                <a:lnTo>
                  <a:pt x="1991" y="2444"/>
                </a:lnTo>
                <a:lnTo>
                  <a:pt x="1991" y="2444"/>
                </a:lnTo>
                <a:lnTo>
                  <a:pt x="1991" y="2450"/>
                </a:lnTo>
                <a:lnTo>
                  <a:pt x="1991" y="2450"/>
                </a:lnTo>
                <a:lnTo>
                  <a:pt x="1991" y="2450"/>
                </a:lnTo>
                <a:lnTo>
                  <a:pt x="1991" y="2450"/>
                </a:lnTo>
                <a:lnTo>
                  <a:pt x="1997" y="2450"/>
                </a:lnTo>
                <a:lnTo>
                  <a:pt x="1997" y="2455"/>
                </a:lnTo>
                <a:lnTo>
                  <a:pt x="1997" y="2455"/>
                </a:lnTo>
                <a:lnTo>
                  <a:pt x="1997" y="2455"/>
                </a:lnTo>
                <a:lnTo>
                  <a:pt x="1997" y="2461"/>
                </a:lnTo>
                <a:lnTo>
                  <a:pt x="1997" y="2461"/>
                </a:lnTo>
                <a:lnTo>
                  <a:pt x="1997" y="2461"/>
                </a:lnTo>
                <a:lnTo>
                  <a:pt x="1997" y="2467"/>
                </a:lnTo>
                <a:lnTo>
                  <a:pt x="1997" y="2467"/>
                </a:lnTo>
                <a:lnTo>
                  <a:pt x="1997" y="2467"/>
                </a:lnTo>
                <a:lnTo>
                  <a:pt x="1997" y="2473"/>
                </a:lnTo>
                <a:lnTo>
                  <a:pt x="1997" y="2473"/>
                </a:lnTo>
                <a:lnTo>
                  <a:pt x="1997" y="2473"/>
                </a:lnTo>
                <a:lnTo>
                  <a:pt x="1997" y="2473"/>
                </a:lnTo>
                <a:lnTo>
                  <a:pt x="1997" y="2479"/>
                </a:lnTo>
                <a:lnTo>
                  <a:pt x="1997" y="2479"/>
                </a:lnTo>
                <a:lnTo>
                  <a:pt x="1997" y="2479"/>
                </a:lnTo>
                <a:lnTo>
                  <a:pt x="1997" y="2485"/>
                </a:lnTo>
                <a:lnTo>
                  <a:pt x="1997" y="2485"/>
                </a:lnTo>
                <a:lnTo>
                  <a:pt x="1997" y="2485"/>
                </a:lnTo>
                <a:lnTo>
                  <a:pt x="1997" y="2485"/>
                </a:lnTo>
                <a:lnTo>
                  <a:pt x="1997" y="2485"/>
                </a:lnTo>
                <a:lnTo>
                  <a:pt x="1997" y="2485"/>
                </a:lnTo>
                <a:lnTo>
                  <a:pt x="2003" y="2491"/>
                </a:lnTo>
                <a:lnTo>
                  <a:pt x="2003" y="2491"/>
                </a:lnTo>
                <a:lnTo>
                  <a:pt x="2003" y="2491"/>
                </a:lnTo>
                <a:lnTo>
                  <a:pt x="2003" y="2497"/>
                </a:lnTo>
                <a:lnTo>
                  <a:pt x="2003" y="2497"/>
                </a:lnTo>
                <a:lnTo>
                  <a:pt x="2003" y="2497"/>
                </a:lnTo>
                <a:lnTo>
                  <a:pt x="2009" y="2503"/>
                </a:lnTo>
                <a:lnTo>
                  <a:pt x="2009" y="2503"/>
                </a:lnTo>
                <a:lnTo>
                  <a:pt x="2009" y="2503"/>
                </a:lnTo>
                <a:lnTo>
                  <a:pt x="2009" y="2503"/>
                </a:lnTo>
                <a:lnTo>
                  <a:pt x="2009" y="2509"/>
                </a:lnTo>
                <a:lnTo>
                  <a:pt x="2009" y="2509"/>
                </a:lnTo>
                <a:lnTo>
                  <a:pt x="2015" y="2515"/>
                </a:lnTo>
                <a:lnTo>
                  <a:pt x="2015" y="2515"/>
                </a:lnTo>
                <a:lnTo>
                  <a:pt x="2015" y="2515"/>
                </a:lnTo>
                <a:lnTo>
                  <a:pt x="2015" y="2515"/>
                </a:lnTo>
                <a:lnTo>
                  <a:pt x="2015" y="2515"/>
                </a:lnTo>
                <a:lnTo>
                  <a:pt x="2015" y="2521"/>
                </a:lnTo>
                <a:lnTo>
                  <a:pt x="2021" y="2521"/>
                </a:lnTo>
                <a:lnTo>
                  <a:pt x="2021" y="2521"/>
                </a:lnTo>
                <a:lnTo>
                  <a:pt x="2021" y="2521"/>
                </a:lnTo>
                <a:lnTo>
                  <a:pt x="2021" y="2521"/>
                </a:lnTo>
                <a:lnTo>
                  <a:pt x="2021" y="2527"/>
                </a:lnTo>
                <a:lnTo>
                  <a:pt x="2021" y="2527"/>
                </a:lnTo>
                <a:lnTo>
                  <a:pt x="2021" y="2527"/>
                </a:lnTo>
                <a:lnTo>
                  <a:pt x="2021" y="2527"/>
                </a:lnTo>
                <a:lnTo>
                  <a:pt x="2021" y="2527"/>
                </a:lnTo>
                <a:lnTo>
                  <a:pt x="2033" y="2533"/>
                </a:lnTo>
                <a:lnTo>
                  <a:pt x="2033" y="2533"/>
                </a:lnTo>
                <a:lnTo>
                  <a:pt x="2033" y="2533"/>
                </a:lnTo>
                <a:lnTo>
                  <a:pt x="2033" y="2533"/>
                </a:lnTo>
                <a:lnTo>
                  <a:pt x="2038" y="2533"/>
                </a:lnTo>
                <a:lnTo>
                  <a:pt x="2038" y="2533"/>
                </a:lnTo>
                <a:lnTo>
                  <a:pt x="2038" y="2533"/>
                </a:lnTo>
                <a:lnTo>
                  <a:pt x="2038" y="2533"/>
                </a:lnTo>
                <a:lnTo>
                  <a:pt x="2038" y="2533"/>
                </a:lnTo>
                <a:lnTo>
                  <a:pt x="2038" y="2533"/>
                </a:lnTo>
                <a:lnTo>
                  <a:pt x="2044" y="2538"/>
                </a:lnTo>
                <a:lnTo>
                  <a:pt x="2044" y="2538"/>
                </a:lnTo>
                <a:lnTo>
                  <a:pt x="2044" y="2538"/>
                </a:lnTo>
                <a:lnTo>
                  <a:pt x="2044" y="2538"/>
                </a:lnTo>
                <a:lnTo>
                  <a:pt x="2044" y="2538"/>
                </a:lnTo>
                <a:lnTo>
                  <a:pt x="2044" y="2538"/>
                </a:lnTo>
                <a:lnTo>
                  <a:pt x="2044" y="2544"/>
                </a:lnTo>
                <a:lnTo>
                  <a:pt x="2050" y="2544"/>
                </a:lnTo>
                <a:lnTo>
                  <a:pt x="2050" y="2544"/>
                </a:lnTo>
                <a:lnTo>
                  <a:pt x="2056" y="2550"/>
                </a:lnTo>
                <a:lnTo>
                  <a:pt x="2062" y="2556"/>
                </a:lnTo>
                <a:lnTo>
                  <a:pt x="2062" y="2556"/>
                </a:lnTo>
                <a:lnTo>
                  <a:pt x="2074" y="2562"/>
                </a:lnTo>
                <a:lnTo>
                  <a:pt x="2080" y="2562"/>
                </a:lnTo>
                <a:lnTo>
                  <a:pt x="2086" y="2562"/>
                </a:lnTo>
                <a:lnTo>
                  <a:pt x="2086" y="2562"/>
                </a:lnTo>
                <a:lnTo>
                  <a:pt x="2086" y="2562"/>
                </a:lnTo>
                <a:lnTo>
                  <a:pt x="2086" y="2562"/>
                </a:lnTo>
                <a:lnTo>
                  <a:pt x="2086" y="2568"/>
                </a:lnTo>
                <a:lnTo>
                  <a:pt x="2086" y="2568"/>
                </a:lnTo>
                <a:lnTo>
                  <a:pt x="2092" y="2568"/>
                </a:lnTo>
                <a:lnTo>
                  <a:pt x="2092" y="2568"/>
                </a:lnTo>
                <a:lnTo>
                  <a:pt x="2098" y="2574"/>
                </a:lnTo>
                <a:lnTo>
                  <a:pt x="2098" y="2574"/>
                </a:lnTo>
                <a:lnTo>
                  <a:pt x="2110" y="2574"/>
                </a:lnTo>
                <a:lnTo>
                  <a:pt x="2110" y="2574"/>
                </a:lnTo>
                <a:lnTo>
                  <a:pt x="2110" y="2574"/>
                </a:lnTo>
                <a:lnTo>
                  <a:pt x="2110" y="2574"/>
                </a:lnTo>
                <a:lnTo>
                  <a:pt x="2110" y="2574"/>
                </a:lnTo>
                <a:lnTo>
                  <a:pt x="2110" y="2574"/>
                </a:lnTo>
                <a:lnTo>
                  <a:pt x="2110" y="2574"/>
                </a:lnTo>
                <a:lnTo>
                  <a:pt x="2110" y="2574"/>
                </a:lnTo>
                <a:lnTo>
                  <a:pt x="2110" y="2580"/>
                </a:lnTo>
                <a:lnTo>
                  <a:pt x="2110" y="2580"/>
                </a:lnTo>
                <a:lnTo>
                  <a:pt x="2110" y="2580"/>
                </a:lnTo>
                <a:lnTo>
                  <a:pt x="2110" y="2580"/>
                </a:lnTo>
                <a:lnTo>
                  <a:pt x="2115" y="2586"/>
                </a:lnTo>
                <a:lnTo>
                  <a:pt x="2121" y="2586"/>
                </a:lnTo>
                <a:lnTo>
                  <a:pt x="2121" y="2586"/>
                </a:lnTo>
                <a:lnTo>
                  <a:pt x="2121" y="2586"/>
                </a:lnTo>
                <a:lnTo>
                  <a:pt x="2127" y="2592"/>
                </a:lnTo>
                <a:lnTo>
                  <a:pt x="2127" y="2592"/>
                </a:lnTo>
                <a:lnTo>
                  <a:pt x="2127" y="2592"/>
                </a:lnTo>
                <a:lnTo>
                  <a:pt x="2127" y="2586"/>
                </a:lnTo>
                <a:lnTo>
                  <a:pt x="2133" y="2586"/>
                </a:lnTo>
                <a:lnTo>
                  <a:pt x="2133" y="2592"/>
                </a:lnTo>
                <a:lnTo>
                  <a:pt x="2133" y="2592"/>
                </a:lnTo>
                <a:lnTo>
                  <a:pt x="2133" y="2592"/>
                </a:lnTo>
                <a:lnTo>
                  <a:pt x="2133" y="2592"/>
                </a:lnTo>
                <a:lnTo>
                  <a:pt x="2133" y="2592"/>
                </a:lnTo>
                <a:lnTo>
                  <a:pt x="2133" y="2592"/>
                </a:lnTo>
                <a:lnTo>
                  <a:pt x="2133" y="2592"/>
                </a:lnTo>
                <a:lnTo>
                  <a:pt x="2133" y="2592"/>
                </a:lnTo>
                <a:lnTo>
                  <a:pt x="2133" y="2592"/>
                </a:lnTo>
                <a:lnTo>
                  <a:pt x="2133" y="2592"/>
                </a:lnTo>
                <a:lnTo>
                  <a:pt x="2139" y="2592"/>
                </a:lnTo>
                <a:lnTo>
                  <a:pt x="2145" y="2592"/>
                </a:lnTo>
                <a:lnTo>
                  <a:pt x="2145" y="2592"/>
                </a:lnTo>
                <a:lnTo>
                  <a:pt x="2151" y="2592"/>
                </a:lnTo>
                <a:lnTo>
                  <a:pt x="2151" y="2592"/>
                </a:lnTo>
                <a:lnTo>
                  <a:pt x="2151" y="2592"/>
                </a:lnTo>
                <a:lnTo>
                  <a:pt x="2151" y="2592"/>
                </a:lnTo>
                <a:lnTo>
                  <a:pt x="2157" y="2592"/>
                </a:lnTo>
                <a:lnTo>
                  <a:pt x="2157" y="2586"/>
                </a:lnTo>
                <a:lnTo>
                  <a:pt x="2157" y="2586"/>
                </a:lnTo>
                <a:lnTo>
                  <a:pt x="2157" y="2586"/>
                </a:lnTo>
                <a:lnTo>
                  <a:pt x="2157" y="2586"/>
                </a:lnTo>
                <a:lnTo>
                  <a:pt x="2157" y="2586"/>
                </a:lnTo>
                <a:lnTo>
                  <a:pt x="2157" y="2586"/>
                </a:lnTo>
                <a:lnTo>
                  <a:pt x="2157" y="2580"/>
                </a:lnTo>
                <a:lnTo>
                  <a:pt x="2163" y="2580"/>
                </a:lnTo>
                <a:lnTo>
                  <a:pt x="2163" y="2580"/>
                </a:lnTo>
                <a:lnTo>
                  <a:pt x="2163" y="2580"/>
                </a:lnTo>
                <a:lnTo>
                  <a:pt x="2163" y="2574"/>
                </a:lnTo>
                <a:lnTo>
                  <a:pt x="2169" y="2574"/>
                </a:lnTo>
                <a:lnTo>
                  <a:pt x="2169" y="2574"/>
                </a:lnTo>
                <a:lnTo>
                  <a:pt x="2169" y="2568"/>
                </a:lnTo>
                <a:lnTo>
                  <a:pt x="2169" y="2574"/>
                </a:lnTo>
                <a:lnTo>
                  <a:pt x="2169" y="2574"/>
                </a:lnTo>
                <a:lnTo>
                  <a:pt x="2169" y="2568"/>
                </a:lnTo>
                <a:lnTo>
                  <a:pt x="2175" y="2568"/>
                </a:lnTo>
                <a:lnTo>
                  <a:pt x="2181" y="2568"/>
                </a:lnTo>
                <a:lnTo>
                  <a:pt x="2181" y="2568"/>
                </a:lnTo>
                <a:lnTo>
                  <a:pt x="2181" y="2568"/>
                </a:lnTo>
                <a:lnTo>
                  <a:pt x="2181" y="2568"/>
                </a:lnTo>
                <a:lnTo>
                  <a:pt x="2175" y="2562"/>
                </a:lnTo>
                <a:lnTo>
                  <a:pt x="2175" y="2562"/>
                </a:lnTo>
                <a:lnTo>
                  <a:pt x="2175" y="2562"/>
                </a:lnTo>
                <a:lnTo>
                  <a:pt x="2175" y="2562"/>
                </a:lnTo>
                <a:lnTo>
                  <a:pt x="2175" y="2556"/>
                </a:lnTo>
                <a:lnTo>
                  <a:pt x="2175" y="2556"/>
                </a:lnTo>
                <a:lnTo>
                  <a:pt x="2175" y="2556"/>
                </a:lnTo>
                <a:lnTo>
                  <a:pt x="2175" y="2556"/>
                </a:lnTo>
                <a:lnTo>
                  <a:pt x="2175" y="2556"/>
                </a:lnTo>
                <a:lnTo>
                  <a:pt x="2175" y="2550"/>
                </a:lnTo>
                <a:lnTo>
                  <a:pt x="2181" y="2550"/>
                </a:lnTo>
                <a:lnTo>
                  <a:pt x="2181" y="2550"/>
                </a:lnTo>
                <a:lnTo>
                  <a:pt x="2181" y="2550"/>
                </a:lnTo>
                <a:lnTo>
                  <a:pt x="2181" y="2550"/>
                </a:lnTo>
                <a:lnTo>
                  <a:pt x="2181" y="2550"/>
                </a:lnTo>
                <a:lnTo>
                  <a:pt x="2181" y="2550"/>
                </a:lnTo>
                <a:lnTo>
                  <a:pt x="2181" y="2550"/>
                </a:lnTo>
                <a:lnTo>
                  <a:pt x="2181" y="2550"/>
                </a:lnTo>
                <a:lnTo>
                  <a:pt x="2181" y="2550"/>
                </a:lnTo>
                <a:lnTo>
                  <a:pt x="2181" y="2550"/>
                </a:lnTo>
                <a:lnTo>
                  <a:pt x="2181" y="2550"/>
                </a:lnTo>
                <a:lnTo>
                  <a:pt x="2181" y="2550"/>
                </a:lnTo>
                <a:lnTo>
                  <a:pt x="2181" y="2544"/>
                </a:lnTo>
                <a:lnTo>
                  <a:pt x="2181" y="2544"/>
                </a:lnTo>
                <a:lnTo>
                  <a:pt x="2181" y="2544"/>
                </a:lnTo>
                <a:lnTo>
                  <a:pt x="2181" y="2544"/>
                </a:lnTo>
                <a:lnTo>
                  <a:pt x="2181" y="2544"/>
                </a:lnTo>
                <a:lnTo>
                  <a:pt x="2181" y="2538"/>
                </a:lnTo>
                <a:lnTo>
                  <a:pt x="2181" y="2538"/>
                </a:lnTo>
                <a:lnTo>
                  <a:pt x="2181" y="2538"/>
                </a:lnTo>
                <a:lnTo>
                  <a:pt x="2187" y="2533"/>
                </a:lnTo>
                <a:lnTo>
                  <a:pt x="2187" y="2533"/>
                </a:lnTo>
                <a:lnTo>
                  <a:pt x="2187" y="2533"/>
                </a:lnTo>
                <a:lnTo>
                  <a:pt x="2187" y="2527"/>
                </a:lnTo>
                <a:lnTo>
                  <a:pt x="2187" y="2527"/>
                </a:lnTo>
                <a:lnTo>
                  <a:pt x="2187" y="2527"/>
                </a:lnTo>
                <a:lnTo>
                  <a:pt x="2187" y="2527"/>
                </a:lnTo>
                <a:lnTo>
                  <a:pt x="2187" y="2527"/>
                </a:lnTo>
                <a:lnTo>
                  <a:pt x="2187" y="2527"/>
                </a:lnTo>
                <a:lnTo>
                  <a:pt x="2187" y="2527"/>
                </a:lnTo>
                <a:lnTo>
                  <a:pt x="2187" y="2527"/>
                </a:lnTo>
                <a:lnTo>
                  <a:pt x="2187" y="2527"/>
                </a:lnTo>
                <a:lnTo>
                  <a:pt x="2193" y="2521"/>
                </a:lnTo>
                <a:lnTo>
                  <a:pt x="2193" y="2521"/>
                </a:lnTo>
                <a:lnTo>
                  <a:pt x="2193" y="2521"/>
                </a:lnTo>
                <a:lnTo>
                  <a:pt x="2193" y="2521"/>
                </a:lnTo>
                <a:lnTo>
                  <a:pt x="2193" y="2521"/>
                </a:lnTo>
                <a:lnTo>
                  <a:pt x="2193" y="2521"/>
                </a:lnTo>
                <a:lnTo>
                  <a:pt x="2193" y="2515"/>
                </a:lnTo>
                <a:lnTo>
                  <a:pt x="2193" y="2509"/>
                </a:lnTo>
                <a:lnTo>
                  <a:pt x="2193" y="2509"/>
                </a:lnTo>
                <a:lnTo>
                  <a:pt x="2193" y="2509"/>
                </a:lnTo>
                <a:lnTo>
                  <a:pt x="2193" y="2509"/>
                </a:lnTo>
                <a:lnTo>
                  <a:pt x="2198" y="2509"/>
                </a:lnTo>
                <a:lnTo>
                  <a:pt x="2198" y="2509"/>
                </a:lnTo>
                <a:lnTo>
                  <a:pt x="2198" y="2509"/>
                </a:lnTo>
                <a:lnTo>
                  <a:pt x="2198" y="2509"/>
                </a:lnTo>
                <a:lnTo>
                  <a:pt x="2198" y="2509"/>
                </a:lnTo>
                <a:lnTo>
                  <a:pt x="2198" y="2509"/>
                </a:lnTo>
                <a:lnTo>
                  <a:pt x="2204" y="2509"/>
                </a:lnTo>
                <a:lnTo>
                  <a:pt x="2204" y="2503"/>
                </a:lnTo>
                <a:lnTo>
                  <a:pt x="2204" y="2503"/>
                </a:lnTo>
                <a:lnTo>
                  <a:pt x="2204" y="2503"/>
                </a:lnTo>
                <a:lnTo>
                  <a:pt x="2210" y="2503"/>
                </a:lnTo>
                <a:lnTo>
                  <a:pt x="2210" y="2503"/>
                </a:lnTo>
                <a:lnTo>
                  <a:pt x="2210" y="2503"/>
                </a:lnTo>
                <a:lnTo>
                  <a:pt x="2210" y="2503"/>
                </a:lnTo>
                <a:lnTo>
                  <a:pt x="2210" y="2509"/>
                </a:lnTo>
                <a:lnTo>
                  <a:pt x="2210" y="2509"/>
                </a:lnTo>
                <a:lnTo>
                  <a:pt x="2210" y="2509"/>
                </a:lnTo>
                <a:lnTo>
                  <a:pt x="2210" y="2509"/>
                </a:lnTo>
                <a:lnTo>
                  <a:pt x="2210" y="2503"/>
                </a:lnTo>
                <a:lnTo>
                  <a:pt x="2210" y="2503"/>
                </a:lnTo>
                <a:lnTo>
                  <a:pt x="2210" y="2503"/>
                </a:lnTo>
                <a:lnTo>
                  <a:pt x="2210" y="2503"/>
                </a:lnTo>
                <a:lnTo>
                  <a:pt x="2216" y="2503"/>
                </a:lnTo>
                <a:lnTo>
                  <a:pt x="2222" y="2503"/>
                </a:lnTo>
                <a:lnTo>
                  <a:pt x="2222" y="2503"/>
                </a:lnTo>
                <a:lnTo>
                  <a:pt x="2228" y="2503"/>
                </a:lnTo>
                <a:lnTo>
                  <a:pt x="2228" y="2497"/>
                </a:lnTo>
                <a:lnTo>
                  <a:pt x="2228" y="2497"/>
                </a:lnTo>
                <a:lnTo>
                  <a:pt x="2228" y="2497"/>
                </a:lnTo>
                <a:lnTo>
                  <a:pt x="2228" y="2497"/>
                </a:lnTo>
                <a:lnTo>
                  <a:pt x="2228" y="2497"/>
                </a:lnTo>
                <a:lnTo>
                  <a:pt x="2228" y="2491"/>
                </a:lnTo>
                <a:lnTo>
                  <a:pt x="2228" y="2491"/>
                </a:lnTo>
                <a:lnTo>
                  <a:pt x="2228" y="2491"/>
                </a:lnTo>
                <a:lnTo>
                  <a:pt x="2228" y="2491"/>
                </a:lnTo>
                <a:lnTo>
                  <a:pt x="2228" y="2491"/>
                </a:lnTo>
                <a:lnTo>
                  <a:pt x="2234" y="2491"/>
                </a:lnTo>
                <a:lnTo>
                  <a:pt x="2234" y="2491"/>
                </a:lnTo>
                <a:lnTo>
                  <a:pt x="2234" y="2491"/>
                </a:lnTo>
                <a:lnTo>
                  <a:pt x="2234" y="2491"/>
                </a:lnTo>
                <a:lnTo>
                  <a:pt x="2240" y="2491"/>
                </a:lnTo>
                <a:lnTo>
                  <a:pt x="2240" y="2491"/>
                </a:lnTo>
                <a:lnTo>
                  <a:pt x="2240" y="2497"/>
                </a:lnTo>
                <a:lnTo>
                  <a:pt x="2240" y="2497"/>
                </a:lnTo>
                <a:lnTo>
                  <a:pt x="2246" y="2497"/>
                </a:lnTo>
                <a:lnTo>
                  <a:pt x="2252" y="2497"/>
                </a:lnTo>
                <a:lnTo>
                  <a:pt x="2252" y="2497"/>
                </a:lnTo>
                <a:lnTo>
                  <a:pt x="2252" y="2503"/>
                </a:lnTo>
                <a:lnTo>
                  <a:pt x="2264" y="2503"/>
                </a:lnTo>
                <a:lnTo>
                  <a:pt x="2264" y="2503"/>
                </a:lnTo>
                <a:lnTo>
                  <a:pt x="2264" y="2503"/>
                </a:lnTo>
                <a:lnTo>
                  <a:pt x="2264" y="2503"/>
                </a:lnTo>
                <a:lnTo>
                  <a:pt x="2270" y="2497"/>
                </a:lnTo>
                <a:lnTo>
                  <a:pt x="2270" y="2497"/>
                </a:lnTo>
                <a:lnTo>
                  <a:pt x="2270" y="2503"/>
                </a:lnTo>
                <a:lnTo>
                  <a:pt x="2270" y="2503"/>
                </a:lnTo>
                <a:lnTo>
                  <a:pt x="2270" y="2503"/>
                </a:lnTo>
                <a:lnTo>
                  <a:pt x="2275" y="2503"/>
                </a:lnTo>
                <a:lnTo>
                  <a:pt x="2275" y="2503"/>
                </a:lnTo>
                <a:lnTo>
                  <a:pt x="2275" y="2503"/>
                </a:lnTo>
                <a:lnTo>
                  <a:pt x="2275" y="2503"/>
                </a:lnTo>
                <a:lnTo>
                  <a:pt x="2275" y="2497"/>
                </a:lnTo>
                <a:lnTo>
                  <a:pt x="2275" y="2503"/>
                </a:lnTo>
                <a:lnTo>
                  <a:pt x="2281" y="2503"/>
                </a:lnTo>
                <a:lnTo>
                  <a:pt x="2281" y="2503"/>
                </a:lnTo>
                <a:lnTo>
                  <a:pt x="2281" y="2497"/>
                </a:lnTo>
                <a:lnTo>
                  <a:pt x="2281" y="2497"/>
                </a:lnTo>
                <a:lnTo>
                  <a:pt x="2281" y="2497"/>
                </a:lnTo>
                <a:lnTo>
                  <a:pt x="2281" y="2503"/>
                </a:lnTo>
                <a:lnTo>
                  <a:pt x="2281" y="2503"/>
                </a:lnTo>
                <a:lnTo>
                  <a:pt x="2287" y="2503"/>
                </a:lnTo>
                <a:lnTo>
                  <a:pt x="2299" y="2503"/>
                </a:lnTo>
                <a:lnTo>
                  <a:pt x="2305" y="2503"/>
                </a:lnTo>
                <a:lnTo>
                  <a:pt x="2305" y="2503"/>
                </a:lnTo>
                <a:lnTo>
                  <a:pt x="2311" y="2503"/>
                </a:lnTo>
                <a:lnTo>
                  <a:pt x="2311" y="2503"/>
                </a:lnTo>
                <a:lnTo>
                  <a:pt x="2311" y="2503"/>
                </a:lnTo>
                <a:lnTo>
                  <a:pt x="2311" y="2497"/>
                </a:lnTo>
                <a:lnTo>
                  <a:pt x="2311" y="2497"/>
                </a:lnTo>
                <a:lnTo>
                  <a:pt x="2311" y="2497"/>
                </a:lnTo>
                <a:lnTo>
                  <a:pt x="2311" y="2503"/>
                </a:lnTo>
                <a:lnTo>
                  <a:pt x="2311" y="2503"/>
                </a:lnTo>
                <a:lnTo>
                  <a:pt x="2311" y="2503"/>
                </a:lnTo>
                <a:lnTo>
                  <a:pt x="2311" y="2503"/>
                </a:lnTo>
                <a:lnTo>
                  <a:pt x="2311" y="2503"/>
                </a:lnTo>
                <a:lnTo>
                  <a:pt x="2311" y="2503"/>
                </a:lnTo>
                <a:lnTo>
                  <a:pt x="2311" y="2503"/>
                </a:lnTo>
                <a:lnTo>
                  <a:pt x="2311" y="2503"/>
                </a:lnTo>
                <a:lnTo>
                  <a:pt x="2317" y="2503"/>
                </a:lnTo>
                <a:lnTo>
                  <a:pt x="2317" y="2503"/>
                </a:lnTo>
                <a:lnTo>
                  <a:pt x="2317" y="2503"/>
                </a:lnTo>
                <a:lnTo>
                  <a:pt x="2317" y="2503"/>
                </a:lnTo>
                <a:lnTo>
                  <a:pt x="2317" y="2503"/>
                </a:lnTo>
                <a:lnTo>
                  <a:pt x="2323" y="2503"/>
                </a:lnTo>
                <a:lnTo>
                  <a:pt x="2323" y="2503"/>
                </a:lnTo>
                <a:lnTo>
                  <a:pt x="2323" y="2503"/>
                </a:lnTo>
                <a:lnTo>
                  <a:pt x="2323" y="2503"/>
                </a:lnTo>
                <a:lnTo>
                  <a:pt x="2323" y="2503"/>
                </a:lnTo>
                <a:lnTo>
                  <a:pt x="2323" y="2503"/>
                </a:lnTo>
                <a:lnTo>
                  <a:pt x="2323" y="2503"/>
                </a:lnTo>
                <a:lnTo>
                  <a:pt x="2323" y="2503"/>
                </a:lnTo>
                <a:lnTo>
                  <a:pt x="2323" y="2509"/>
                </a:lnTo>
                <a:lnTo>
                  <a:pt x="2323" y="2509"/>
                </a:lnTo>
                <a:lnTo>
                  <a:pt x="2329" y="2509"/>
                </a:lnTo>
                <a:lnTo>
                  <a:pt x="2329" y="2515"/>
                </a:lnTo>
                <a:lnTo>
                  <a:pt x="2329" y="2515"/>
                </a:lnTo>
                <a:lnTo>
                  <a:pt x="2329" y="2515"/>
                </a:lnTo>
                <a:lnTo>
                  <a:pt x="2329" y="2515"/>
                </a:lnTo>
                <a:lnTo>
                  <a:pt x="2329" y="2521"/>
                </a:lnTo>
                <a:lnTo>
                  <a:pt x="2335" y="2521"/>
                </a:lnTo>
                <a:lnTo>
                  <a:pt x="2335" y="2521"/>
                </a:lnTo>
                <a:lnTo>
                  <a:pt x="2335" y="2521"/>
                </a:lnTo>
                <a:lnTo>
                  <a:pt x="2335" y="2521"/>
                </a:lnTo>
                <a:lnTo>
                  <a:pt x="2335" y="2521"/>
                </a:lnTo>
                <a:lnTo>
                  <a:pt x="2335" y="2521"/>
                </a:lnTo>
                <a:lnTo>
                  <a:pt x="2335" y="2521"/>
                </a:lnTo>
                <a:lnTo>
                  <a:pt x="2341" y="2521"/>
                </a:lnTo>
                <a:lnTo>
                  <a:pt x="2341" y="2521"/>
                </a:lnTo>
                <a:lnTo>
                  <a:pt x="2341" y="2521"/>
                </a:lnTo>
                <a:lnTo>
                  <a:pt x="2347" y="2521"/>
                </a:lnTo>
                <a:lnTo>
                  <a:pt x="2341" y="2527"/>
                </a:lnTo>
                <a:lnTo>
                  <a:pt x="2347" y="2533"/>
                </a:lnTo>
                <a:lnTo>
                  <a:pt x="2347" y="2527"/>
                </a:lnTo>
                <a:lnTo>
                  <a:pt x="2347" y="2527"/>
                </a:lnTo>
                <a:lnTo>
                  <a:pt x="2347" y="2527"/>
                </a:lnTo>
                <a:lnTo>
                  <a:pt x="2347" y="2527"/>
                </a:lnTo>
                <a:lnTo>
                  <a:pt x="2347" y="2527"/>
                </a:lnTo>
                <a:lnTo>
                  <a:pt x="2347" y="2527"/>
                </a:lnTo>
                <a:lnTo>
                  <a:pt x="2347" y="2533"/>
                </a:lnTo>
                <a:lnTo>
                  <a:pt x="2347" y="2533"/>
                </a:lnTo>
                <a:lnTo>
                  <a:pt x="2347" y="2533"/>
                </a:lnTo>
                <a:lnTo>
                  <a:pt x="2353" y="2533"/>
                </a:lnTo>
                <a:lnTo>
                  <a:pt x="2353" y="2533"/>
                </a:lnTo>
                <a:lnTo>
                  <a:pt x="2353" y="2533"/>
                </a:lnTo>
                <a:lnTo>
                  <a:pt x="2353" y="2538"/>
                </a:lnTo>
                <a:lnTo>
                  <a:pt x="2353" y="2538"/>
                </a:lnTo>
                <a:lnTo>
                  <a:pt x="2358" y="2538"/>
                </a:lnTo>
                <a:lnTo>
                  <a:pt x="2358" y="2538"/>
                </a:lnTo>
                <a:lnTo>
                  <a:pt x="2358" y="2538"/>
                </a:lnTo>
                <a:lnTo>
                  <a:pt x="2358" y="2533"/>
                </a:lnTo>
                <a:lnTo>
                  <a:pt x="2358" y="2533"/>
                </a:lnTo>
                <a:lnTo>
                  <a:pt x="2364" y="2533"/>
                </a:lnTo>
                <a:lnTo>
                  <a:pt x="2364" y="2533"/>
                </a:lnTo>
                <a:lnTo>
                  <a:pt x="2364" y="2533"/>
                </a:lnTo>
                <a:lnTo>
                  <a:pt x="2364" y="2533"/>
                </a:lnTo>
                <a:lnTo>
                  <a:pt x="2364" y="2533"/>
                </a:lnTo>
                <a:lnTo>
                  <a:pt x="2364" y="2533"/>
                </a:lnTo>
                <a:lnTo>
                  <a:pt x="2364" y="2533"/>
                </a:lnTo>
                <a:lnTo>
                  <a:pt x="2364" y="2533"/>
                </a:lnTo>
                <a:lnTo>
                  <a:pt x="2364" y="2533"/>
                </a:lnTo>
                <a:lnTo>
                  <a:pt x="2364" y="2533"/>
                </a:lnTo>
                <a:lnTo>
                  <a:pt x="2364" y="2527"/>
                </a:lnTo>
                <a:lnTo>
                  <a:pt x="2364" y="2527"/>
                </a:lnTo>
                <a:lnTo>
                  <a:pt x="2364" y="2527"/>
                </a:lnTo>
                <a:lnTo>
                  <a:pt x="2370" y="2521"/>
                </a:lnTo>
                <a:lnTo>
                  <a:pt x="2370" y="2521"/>
                </a:lnTo>
                <a:lnTo>
                  <a:pt x="2370" y="2521"/>
                </a:lnTo>
                <a:lnTo>
                  <a:pt x="2370" y="2521"/>
                </a:lnTo>
                <a:lnTo>
                  <a:pt x="2370" y="2521"/>
                </a:lnTo>
                <a:lnTo>
                  <a:pt x="2370" y="2521"/>
                </a:lnTo>
                <a:lnTo>
                  <a:pt x="2370" y="2527"/>
                </a:lnTo>
                <a:lnTo>
                  <a:pt x="2370" y="2527"/>
                </a:lnTo>
                <a:lnTo>
                  <a:pt x="2370" y="2527"/>
                </a:lnTo>
                <a:lnTo>
                  <a:pt x="2370" y="2533"/>
                </a:lnTo>
                <a:lnTo>
                  <a:pt x="2370" y="2533"/>
                </a:lnTo>
                <a:lnTo>
                  <a:pt x="2370" y="2533"/>
                </a:lnTo>
                <a:lnTo>
                  <a:pt x="2370" y="2533"/>
                </a:lnTo>
                <a:lnTo>
                  <a:pt x="2376" y="2533"/>
                </a:lnTo>
                <a:lnTo>
                  <a:pt x="2370" y="2538"/>
                </a:lnTo>
                <a:lnTo>
                  <a:pt x="2370" y="2538"/>
                </a:lnTo>
                <a:lnTo>
                  <a:pt x="2370" y="2538"/>
                </a:lnTo>
                <a:lnTo>
                  <a:pt x="2370" y="2538"/>
                </a:lnTo>
                <a:lnTo>
                  <a:pt x="2364" y="2538"/>
                </a:lnTo>
                <a:lnTo>
                  <a:pt x="2364" y="2538"/>
                </a:lnTo>
                <a:lnTo>
                  <a:pt x="2358" y="2538"/>
                </a:lnTo>
                <a:lnTo>
                  <a:pt x="2358" y="2538"/>
                </a:lnTo>
                <a:lnTo>
                  <a:pt x="2358" y="2538"/>
                </a:lnTo>
                <a:lnTo>
                  <a:pt x="2358" y="2538"/>
                </a:lnTo>
                <a:lnTo>
                  <a:pt x="2358" y="2544"/>
                </a:lnTo>
                <a:lnTo>
                  <a:pt x="2358" y="2544"/>
                </a:lnTo>
                <a:lnTo>
                  <a:pt x="2364" y="2544"/>
                </a:lnTo>
                <a:lnTo>
                  <a:pt x="2364" y="2544"/>
                </a:lnTo>
                <a:lnTo>
                  <a:pt x="2364" y="2550"/>
                </a:lnTo>
                <a:lnTo>
                  <a:pt x="2364" y="2550"/>
                </a:lnTo>
                <a:lnTo>
                  <a:pt x="2364" y="2550"/>
                </a:lnTo>
                <a:lnTo>
                  <a:pt x="2364" y="2550"/>
                </a:lnTo>
                <a:lnTo>
                  <a:pt x="2364" y="2550"/>
                </a:lnTo>
                <a:lnTo>
                  <a:pt x="2364" y="2550"/>
                </a:lnTo>
                <a:lnTo>
                  <a:pt x="2364" y="2550"/>
                </a:lnTo>
                <a:lnTo>
                  <a:pt x="2370" y="2556"/>
                </a:lnTo>
                <a:lnTo>
                  <a:pt x="2376" y="2556"/>
                </a:lnTo>
                <a:lnTo>
                  <a:pt x="2376" y="2556"/>
                </a:lnTo>
                <a:lnTo>
                  <a:pt x="2376" y="2562"/>
                </a:lnTo>
                <a:lnTo>
                  <a:pt x="2382" y="2562"/>
                </a:lnTo>
                <a:lnTo>
                  <a:pt x="2382" y="2562"/>
                </a:lnTo>
                <a:lnTo>
                  <a:pt x="2388" y="2562"/>
                </a:lnTo>
                <a:lnTo>
                  <a:pt x="2388" y="2568"/>
                </a:lnTo>
                <a:lnTo>
                  <a:pt x="2388" y="2574"/>
                </a:lnTo>
                <a:lnTo>
                  <a:pt x="2388" y="2574"/>
                </a:lnTo>
                <a:lnTo>
                  <a:pt x="2394" y="2580"/>
                </a:lnTo>
                <a:lnTo>
                  <a:pt x="2394" y="2580"/>
                </a:lnTo>
                <a:lnTo>
                  <a:pt x="2394" y="2580"/>
                </a:lnTo>
                <a:lnTo>
                  <a:pt x="2394" y="2580"/>
                </a:lnTo>
                <a:lnTo>
                  <a:pt x="2394" y="2580"/>
                </a:lnTo>
                <a:lnTo>
                  <a:pt x="2400" y="2580"/>
                </a:lnTo>
                <a:lnTo>
                  <a:pt x="2400" y="2580"/>
                </a:lnTo>
                <a:lnTo>
                  <a:pt x="2400" y="2580"/>
                </a:lnTo>
                <a:lnTo>
                  <a:pt x="2400" y="2586"/>
                </a:lnTo>
                <a:lnTo>
                  <a:pt x="2400" y="2586"/>
                </a:lnTo>
                <a:lnTo>
                  <a:pt x="2400" y="2592"/>
                </a:lnTo>
                <a:lnTo>
                  <a:pt x="2400" y="2592"/>
                </a:lnTo>
                <a:lnTo>
                  <a:pt x="2400" y="2592"/>
                </a:lnTo>
                <a:lnTo>
                  <a:pt x="2400" y="2592"/>
                </a:lnTo>
                <a:lnTo>
                  <a:pt x="2400" y="2598"/>
                </a:lnTo>
                <a:lnTo>
                  <a:pt x="2400" y="2598"/>
                </a:lnTo>
                <a:lnTo>
                  <a:pt x="2400" y="2598"/>
                </a:lnTo>
                <a:lnTo>
                  <a:pt x="2400" y="2598"/>
                </a:lnTo>
                <a:lnTo>
                  <a:pt x="2400" y="2604"/>
                </a:lnTo>
                <a:lnTo>
                  <a:pt x="2400" y="2604"/>
                </a:lnTo>
                <a:lnTo>
                  <a:pt x="2406" y="2604"/>
                </a:lnTo>
                <a:lnTo>
                  <a:pt x="2406" y="2604"/>
                </a:lnTo>
                <a:lnTo>
                  <a:pt x="2406" y="2604"/>
                </a:lnTo>
                <a:lnTo>
                  <a:pt x="2406" y="2604"/>
                </a:lnTo>
                <a:lnTo>
                  <a:pt x="2406" y="2604"/>
                </a:lnTo>
                <a:lnTo>
                  <a:pt x="2406" y="2604"/>
                </a:lnTo>
                <a:lnTo>
                  <a:pt x="2406" y="2610"/>
                </a:lnTo>
                <a:lnTo>
                  <a:pt x="2406" y="2610"/>
                </a:lnTo>
                <a:lnTo>
                  <a:pt x="2406" y="2610"/>
                </a:lnTo>
                <a:lnTo>
                  <a:pt x="2406" y="2610"/>
                </a:lnTo>
                <a:lnTo>
                  <a:pt x="2406" y="2610"/>
                </a:lnTo>
                <a:lnTo>
                  <a:pt x="2406" y="2610"/>
                </a:lnTo>
                <a:lnTo>
                  <a:pt x="2406" y="2610"/>
                </a:lnTo>
                <a:lnTo>
                  <a:pt x="2412" y="2610"/>
                </a:lnTo>
                <a:lnTo>
                  <a:pt x="2412" y="2610"/>
                </a:lnTo>
                <a:lnTo>
                  <a:pt x="2412" y="2610"/>
                </a:lnTo>
                <a:lnTo>
                  <a:pt x="2412" y="2610"/>
                </a:lnTo>
                <a:lnTo>
                  <a:pt x="2412" y="2616"/>
                </a:lnTo>
                <a:lnTo>
                  <a:pt x="2412" y="2616"/>
                </a:lnTo>
                <a:lnTo>
                  <a:pt x="2412" y="2616"/>
                </a:lnTo>
                <a:lnTo>
                  <a:pt x="2412" y="2627"/>
                </a:lnTo>
                <a:lnTo>
                  <a:pt x="2418" y="2627"/>
                </a:lnTo>
                <a:lnTo>
                  <a:pt x="2418" y="2633"/>
                </a:lnTo>
                <a:lnTo>
                  <a:pt x="2418" y="2633"/>
                </a:lnTo>
                <a:lnTo>
                  <a:pt x="2418" y="2633"/>
                </a:lnTo>
                <a:lnTo>
                  <a:pt x="2418" y="2633"/>
                </a:lnTo>
                <a:lnTo>
                  <a:pt x="2424" y="2639"/>
                </a:lnTo>
                <a:lnTo>
                  <a:pt x="2424" y="2639"/>
                </a:lnTo>
                <a:lnTo>
                  <a:pt x="2424" y="2639"/>
                </a:lnTo>
                <a:lnTo>
                  <a:pt x="2424" y="2639"/>
                </a:lnTo>
                <a:lnTo>
                  <a:pt x="2424" y="2639"/>
                </a:lnTo>
                <a:lnTo>
                  <a:pt x="2424" y="2639"/>
                </a:lnTo>
                <a:lnTo>
                  <a:pt x="2424" y="2645"/>
                </a:lnTo>
                <a:lnTo>
                  <a:pt x="2424" y="2645"/>
                </a:lnTo>
                <a:lnTo>
                  <a:pt x="2424" y="2645"/>
                </a:lnTo>
                <a:lnTo>
                  <a:pt x="2430" y="2645"/>
                </a:lnTo>
                <a:lnTo>
                  <a:pt x="2430" y="2651"/>
                </a:lnTo>
                <a:lnTo>
                  <a:pt x="2430" y="2651"/>
                </a:lnTo>
                <a:lnTo>
                  <a:pt x="2430" y="2651"/>
                </a:lnTo>
                <a:lnTo>
                  <a:pt x="2430" y="2651"/>
                </a:lnTo>
                <a:lnTo>
                  <a:pt x="2430" y="2651"/>
                </a:lnTo>
                <a:lnTo>
                  <a:pt x="2430" y="2651"/>
                </a:lnTo>
                <a:lnTo>
                  <a:pt x="2430" y="2651"/>
                </a:lnTo>
                <a:lnTo>
                  <a:pt x="2430" y="2651"/>
                </a:lnTo>
                <a:lnTo>
                  <a:pt x="2430" y="2657"/>
                </a:lnTo>
                <a:lnTo>
                  <a:pt x="2430" y="2657"/>
                </a:lnTo>
                <a:lnTo>
                  <a:pt x="2430" y="2663"/>
                </a:lnTo>
                <a:lnTo>
                  <a:pt x="2435" y="2669"/>
                </a:lnTo>
                <a:lnTo>
                  <a:pt x="2435" y="2669"/>
                </a:lnTo>
                <a:lnTo>
                  <a:pt x="2435" y="2669"/>
                </a:lnTo>
                <a:lnTo>
                  <a:pt x="2435" y="2669"/>
                </a:lnTo>
                <a:lnTo>
                  <a:pt x="2435" y="2669"/>
                </a:lnTo>
                <a:lnTo>
                  <a:pt x="2435" y="2675"/>
                </a:lnTo>
                <a:lnTo>
                  <a:pt x="2435" y="2675"/>
                </a:lnTo>
                <a:lnTo>
                  <a:pt x="2435" y="2675"/>
                </a:lnTo>
                <a:lnTo>
                  <a:pt x="2441" y="2681"/>
                </a:lnTo>
                <a:lnTo>
                  <a:pt x="2441" y="2681"/>
                </a:lnTo>
                <a:lnTo>
                  <a:pt x="2441" y="2681"/>
                </a:lnTo>
                <a:lnTo>
                  <a:pt x="2441" y="2681"/>
                </a:lnTo>
                <a:lnTo>
                  <a:pt x="2441" y="2681"/>
                </a:lnTo>
                <a:lnTo>
                  <a:pt x="2441" y="2681"/>
                </a:lnTo>
                <a:lnTo>
                  <a:pt x="2447" y="2681"/>
                </a:lnTo>
                <a:lnTo>
                  <a:pt x="2447" y="2681"/>
                </a:lnTo>
                <a:lnTo>
                  <a:pt x="2459" y="2687"/>
                </a:lnTo>
                <a:lnTo>
                  <a:pt x="2459" y="2693"/>
                </a:lnTo>
                <a:lnTo>
                  <a:pt x="2459" y="2693"/>
                </a:lnTo>
                <a:lnTo>
                  <a:pt x="2459" y="2693"/>
                </a:lnTo>
                <a:lnTo>
                  <a:pt x="2459" y="2693"/>
                </a:lnTo>
                <a:lnTo>
                  <a:pt x="2459" y="2699"/>
                </a:lnTo>
                <a:lnTo>
                  <a:pt x="2459" y="2699"/>
                </a:lnTo>
                <a:lnTo>
                  <a:pt x="2465" y="2699"/>
                </a:lnTo>
                <a:lnTo>
                  <a:pt x="2465" y="2699"/>
                </a:lnTo>
                <a:lnTo>
                  <a:pt x="2465" y="2699"/>
                </a:lnTo>
                <a:lnTo>
                  <a:pt x="2465" y="2699"/>
                </a:lnTo>
                <a:lnTo>
                  <a:pt x="2465" y="2699"/>
                </a:lnTo>
                <a:lnTo>
                  <a:pt x="2465" y="2699"/>
                </a:lnTo>
                <a:lnTo>
                  <a:pt x="2465" y="2705"/>
                </a:lnTo>
                <a:lnTo>
                  <a:pt x="2465" y="2705"/>
                </a:lnTo>
                <a:lnTo>
                  <a:pt x="2465" y="2705"/>
                </a:lnTo>
                <a:lnTo>
                  <a:pt x="2465" y="2705"/>
                </a:lnTo>
                <a:lnTo>
                  <a:pt x="2465" y="2705"/>
                </a:lnTo>
                <a:lnTo>
                  <a:pt x="2465" y="2710"/>
                </a:lnTo>
                <a:lnTo>
                  <a:pt x="2471" y="2710"/>
                </a:lnTo>
                <a:lnTo>
                  <a:pt x="2471" y="2710"/>
                </a:lnTo>
                <a:lnTo>
                  <a:pt x="2471" y="2710"/>
                </a:lnTo>
                <a:lnTo>
                  <a:pt x="2471" y="2710"/>
                </a:lnTo>
                <a:lnTo>
                  <a:pt x="2471" y="2716"/>
                </a:lnTo>
                <a:lnTo>
                  <a:pt x="2471" y="2716"/>
                </a:lnTo>
                <a:lnTo>
                  <a:pt x="2471" y="2716"/>
                </a:lnTo>
                <a:lnTo>
                  <a:pt x="2477" y="2716"/>
                </a:lnTo>
                <a:lnTo>
                  <a:pt x="2477" y="2716"/>
                </a:lnTo>
                <a:lnTo>
                  <a:pt x="2477" y="2716"/>
                </a:lnTo>
                <a:lnTo>
                  <a:pt x="2477" y="2716"/>
                </a:lnTo>
                <a:lnTo>
                  <a:pt x="2477" y="2716"/>
                </a:lnTo>
                <a:lnTo>
                  <a:pt x="2477" y="2722"/>
                </a:lnTo>
                <a:lnTo>
                  <a:pt x="2477" y="2722"/>
                </a:lnTo>
                <a:lnTo>
                  <a:pt x="2477" y="2722"/>
                </a:lnTo>
                <a:lnTo>
                  <a:pt x="2477" y="2722"/>
                </a:lnTo>
                <a:lnTo>
                  <a:pt x="2477" y="2722"/>
                </a:lnTo>
                <a:lnTo>
                  <a:pt x="2477" y="2722"/>
                </a:lnTo>
                <a:lnTo>
                  <a:pt x="2477" y="2722"/>
                </a:lnTo>
                <a:lnTo>
                  <a:pt x="2477" y="2722"/>
                </a:lnTo>
                <a:lnTo>
                  <a:pt x="2477" y="2728"/>
                </a:lnTo>
                <a:lnTo>
                  <a:pt x="2477" y="2728"/>
                </a:lnTo>
                <a:lnTo>
                  <a:pt x="2477" y="2728"/>
                </a:lnTo>
                <a:lnTo>
                  <a:pt x="2477" y="2728"/>
                </a:lnTo>
                <a:lnTo>
                  <a:pt x="2477" y="2728"/>
                </a:lnTo>
                <a:lnTo>
                  <a:pt x="2477" y="2728"/>
                </a:lnTo>
                <a:lnTo>
                  <a:pt x="2477" y="2728"/>
                </a:lnTo>
                <a:lnTo>
                  <a:pt x="2483" y="2728"/>
                </a:lnTo>
                <a:lnTo>
                  <a:pt x="2483" y="2734"/>
                </a:lnTo>
                <a:lnTo>
                  <a:pt x="2483" y="2734"/>
                </a:lnTo>
                <a:lnTo>
                  <a:pt x="2483" y="2734"/>
                </a:lnTo>
                <a:lnTo>
                  <a:pt x="2483" y="2734"/>
                </a:lnTo>
                <a:lnTo>
                  <a:pt x="2483" y="2734"/>
                </a:lnTo>
                <a:lnTo>
                  <a:pt x="2483" y="2734"/>
                </a:lnTo>
                <a:lnTo>
                  <a:pt x="2489" y="2734"/>
                </a:lnTo>
                <a:lnTo>
                  <a:pt x="2489" y="2734"/>
                </a:lnTo>
                <a:lnTo>
                  <a:pt x="2489" y="2734"/>
                </a:lnTo>
                <a:lnTo>
                  <a:pt x="2489" y="2740"/>
                </a:lnTo>
                <a:lnTo>
                  <a:pt x="2489" y="2740"/>
                </a:lnTo>
                <a:lnTo>
                  <a:pt x="2489" y="2740"/>
                </a:lnTo>
                <a:lnTo>
                  <a:pt x="2489" y="2740"/>
                </a:lnTo>
                <a:lnTo>
                  <a:pt x="2489" y="2740"/>
                </a:lnTo>
                <a:lnTo>
                  <a:pt x="2489" y="2740"/>
                </a:lnTo>
                <a:lnTo>
                  <a:pt x="2489" y="2740"/>
                </a:lnTo>
                <a:lnTo>
                  <a:pt x="2489" y="2740"/>
                </a:lnTo>
                <a:lnTo>
                  <a:pt x="2495" y="2746"/>
                </a:lnTo>
                <a:lnTo>
                  <a:pt x="2495" y="2746"/>
                </a:lnTo>
                <a:lnTo>
                  <a:pt x="2495" y="2746"/>
                </a:lnTo>
                <a:lnTo>
                  <a:pt x="2495" y="2746"/>
                </a:lnTo>
                <a:lnTo>
                  <a:pt x="2495" y="2746"/>
                </a:lnTo>
                <a:lnTo>
                  <a:pt x="2495" y="2746"/>
                </a:lnTo>
                <a:lnTo>
                  <a:pt x="2501" y="2746"/>
                </a:lnTo>
                <a:lnTo>
                  <a:pt x="2501" y="2746"/>
                </a:lnTo>
                <a:lnTo>
                  <a:pt x="2501" y="2746"/>
                </a:lnTo>
                <a:lnTo>
                  <a:pt x="2501" y="2746"/>
                </a:lnTo>
                <a:lnTo>
                  <a:pt x="2501" y="2746"/>
                </a:lnTo>
                <a:lnTo>
                  <a:pt x="2501" y="2746"/>
                </a:lnTo>
                <a:lnTo>
                  <a:pt x="2501" y="2746"/>
                </a:lnTo>
                <a:lnTo>
                  <a:pt x="2501" y="2746"/>
                </a:lnTo>
                <a:lnTo>
                  <a:pt x="2507" y="2746"/>
                </a:lnTo>
                <a:lnTo>
                  <a:pt x="2507" y="2746"/>
                </a:lnTo>
                <a:lnTo>
                  <a:pt x="2507" y="2752"/>
                </a:lnTo>
                <a:lnTo>
                  <a:pt x="2507" y="2752"/>
                </a:lnTo>
                <a:lnTo>
                  <a:pt x="2513" y="2752"/>
                </a:lnTo>
                <a:lnTo>
                  <a:pt x="2513" y="2752"/>
                </a:lnTo>
                <a:lnTo>
                  <a:pt x="2513" y="2752"/>
                </a:lnTo>
                <a:lnTo>
                  <a:pt x="2513" y="2758"/>
                </a:lnTo>
                <a:lnTo>
                  <a:pt x="2513" y="2758"/>
                </a:lnTo>
                <a:lnTo>
                  <a:pt x="2513" y="2764"/>
                </a:lnTo>
                <a:lnTo>
                  <a:pt x="2513" y="2764"/>
                </a:lnTo>
                <a:lnTo>
                  <a:pt x="2513" y="2764"/>
                </a:lnTo>
                <a:lnTo>
                  <a:pt x="2513" y="2764"/>
                </a:lnTo>
                <a:lnTo>
                  <a:pt x="2513" y="2764"/>
                </a:lnTo>
                <a:lnTo>
                  <a:pt x="2518" y="2764"/>
                </a:lnTo>
                <a:lnTo>
                  <a:pt x="2518" y="2764"/>
                </a:lnTo>
                <a:lnTo>
                  <a:pt x="2518" y="2764"/>
                </a:lnTo>
                <a:lnTo>
                  <a:pt x="2518" y="2770"/>
                </a:lnTo>
                <a:lnTo>
                  <a:pt x="2518" y="2770"/>
                </a:lnTo>
                <a:lnTo>
                  <a:pt x="2518" y="2770"/>
                </a:lnTo>
                <a:lnTo>
                  <a:pt x="2518" y="2776"/>
                </a:lnTo>
                <a:lnTo>
                  <a:pt x="2513" y="2776"/>
                </a:lnTo>
                <a:lnTo>
                  <a:pt x="2513" y="2776"/>
                </a:lnTo>
                <a:lnTo>
                  <a:pt x="2513" y="2776"/>
                </a:lnTo>
                <a:lnTo>
                  <a:pt x="2513" y="2782"/>
                </a:lnTo>
                <a:lnTo>
                  <a:pt x="2513" y="2782"/>
                </a:lnTo>
                <a:lnTo>
                  <a:pt x="2513" y="2782"/>
                </a:lnTo>
                <a:lnTo>
                  <a:pt x="2513" y="2782"/>
                </a:lnTo>
                <a:lnTo>
                  <a:pt x="2513" y="2782"/>
                </a:lnTo>
                <a:lnTo>
                  <a:pt x="2513" y="2782"/>
                </a:lnTo>
                <a:lnTo>
                  <a:pt x="2513" y="2782"/>
                </a:lnTo>
                <a:lnTo>
                  <a:pt x="2513" y="2782"/>
                </a:lnTo>
                <a:lnTo>
                  <a:pt x="2513" y="2788"/>
                </a:lnTo>
                <a:lnTo>
                  <a:pt x="2513" y="2788"/>
                </a:lnTo>
                <a:lnTo>
                  <a:pt x="2513" y="2788"/>
                </a:lnTo>
                <a:lnTo>
                  <a:pt x="2513" y="2788"/>
                </a:lnTo>
                <a:lnTo>
                  <a:pt x="2513" y="2788"/>
                </a:lnTo>
                <a:lnTo>
                  <a:pt x="2518" y="2788"/>
                </a:lnTo>
                <a:lnTo>
                  <a:pt x="2518" y="2788"/>
                </a:lnTo>
                <a:lnTo>
                  <a:pt x="2518" y="2788"/>
                </a:lnTo>
                <a:lnTo>
                  <a:pt x="2518" y="2788"/>
                </a:lnTo>
                <a:lnTo>
                  <a:pt x="2518" y="2794"/>
                </a:lnTo>
                <a:lnTo>
                  <a:pt x="2518" y="2794"/>
                </a:lnTo>
                <a:lnTo>
                  <a:pt x="2518" y="2794"/>
                </a:lnTo>
                <a:lnTo>
                  <a:pt x="2518" y="2799"/>
                </a:lnTo>
                <a:lnTo>
                  <a:pt x="2518" y="2799"/>
                </a:lnTo>
                <a:lnTo>
                  <a:pt x="2518" y="2799"/>
                </a:lnTo>
                <a:lnTo>
                  <a:pt x="2518" y="2805"/>
                </a:lnTo>
                <a:lnTo>
                  <a:pt x="2518" y="2805"/>
                </a:lnTo>
                <a:lnTo>
                  <a:pt x="2518" y="2805"/>
                </a:lnTo>
                <a:lnTo>
                  <a:pt x="2518" y="2805"/>
                </a:lnTo>
                <a:lnTo>
                  <a:pt x="2518" y="2805"/>
                </a:lnTo>
                <a:lnTo>
                  <a:pt x="2518" y="2805"/>
                </a:lnTo>
                <a:lnTo>
                  <a:pt x="2518" y="2805"/>
                </a:lnTo>
                <a:lnTo>
                  <a:pt x="2518" y="2805"/>
                </a:lnTo>
                <a:lnTo>
                  <a:pt x="2518" y="2811"/>
                </a:lnTo>
                <a:lnTo>
                  <a:pt x="2518" y="2811"/>
                </a:lnTo>
                <a:lnTo>
                  <a:pt x="2518" y="2811"/>
                </a:lnTo>
                <a:lnTo>
                  <a:pt x="2518" y="2811"/>
                </a:lnTo>
                <a:lnTo>
                  <a:pt x="2518" y="2811"/>
                </a:lnTo>
                <a:lnTo>
                  <a:pt x="2518" y="2817"/>
                </a:lnTo>
                <a:lnTo>
                  <a:pt x="2524" y="2817"/>
                </a:lnTo>
                <a:lnTo>
                  <a:pt x="2524" y="2817"/>
                </a:lnTo>
                <a:lnTo>
                  <a:pt x="2524" y="2823"/>
                </a:lnTo>
                <a:lnTo>
                  <a:pt x="2524" y="2823"/>
                </a:lnTo>
                <a:lnTo>
                  <a:pt x="2530" y="2823"/>
                </a:lnTo>
                <a:lnTo>
                  <a:pt x="2530" y="2823"/>
                </a:lnTo>
                <a:lnTo>
                  <a:pt x="2530" y="2823"/>
                </a:lnTo>
                <a:lnTo>
                  <a:pt x="2530" y="2823"/>
                </a:lnTo>
                <a:lnTo>
                  <a:pt x="2530" y="2823"/>
                </a:lnTo>
                <a:lnTo>
                  <a:pt x="2530" y="2829"/>
                </a:lnTo>
                <a:lnTo>
                  <a:pt x="2536" y="2829"/>
                </a:lnTo>
                <a:lnTo>
                  <a:pt x="2536" y="2829"/>
                </a:lnTo>
                <a:lnTo>
                  <a:pt x="2536" y="2829"/>
                </a:lnTo>
                <a:lnTo>
                  <a:pt x="2542" y="2829"/>
                </a:lnTo>
                <a:lnTo>
                  <a:pt x="2542" y="2829"/>
                </a:lnTo>
                <a:lnTo>
                  <a:pt x="2542" y="2823"/>
                </a:lnTo>
                <a:lnTo>
                  <a:pt x="2542" y="2823"/>
                </a:lnTo>
                <a:lnTo>
                  <a:pt x="2542" y="2829"/>
                </a:lnTo>
                <a:lnTo>
                  <a:pt x="2542" y="2829"/>
                </a:lnTo>
                <a:lnTo>
                  <a:pt x="2542" y="2829"/>
                </a:lnTo>
                <a:lnTo>
                  <a:pt x="2542" y="2835"/>
                </a:lnTo>
                <a:lnTo>
                  <a:pt x="2542" y="2829"/>
                </a:lnTo>
                <a:lnTo>
                  <a:pt x="2542" y="2835"/>
                </a:lnTo>
                <a:lnTo>
                  <a:pt x="2542" y="2835"/>
                </a:lnTo>
                <a:lnTo>
                  <a:pt x="2542" y="2841"/>
                </a:lnTo>
                <a:lnTo>
                  <a:pt x="2542" y="2835"/>
                </a:lnTo>
                <a:lnTo>
                  <a:pt x="2542" y="2835"/>
                </a:lnTo>
                <a:lnTo>
                  <a:pt x="2542" y="2841"/>
                </a:lnTo>
                <a:lnTo>
                  <a:pt x="2542" y="2841"/>
                </a:lnTo>
                <a:lnTo>
                  <a:pt x="2542" y="2841"/>
                </a:lnTo>
                <a:lnTo>
                  <a:pt x="2542" y="2847"/>
                </a:lnTo>
                <a:lnTo>
                  <a:pt x="2542" y="2847"/>
                </a:lnTo>
                <a:lnTo>
                  <a:pt x="2542" y="2847"/>
                </a:lnTo>
                <a:lnTo>
                  <a:pt x="2542" y="2847"/>
                </a:lnTo>
                <a:lnTo>
                  <a:pt x="2542" y="2853"/>
                </a:lnTo>
                <a:lnTo>
                  <a:pt x="2548" y="2853"/>
                </a:lnTo>
                <a:lnTo>
                  <a:pt x="2548" y="2847"/>
                </a:lnTo>
                <a:lnTo>
                  <a:pt x="2548" y="2847"/>
                </a:lnTo>
                <a:lnTo>
                  <a:pt x="2548" y="2847"/>
                </a:lnTo>
                <a:lnTo>
                  <a:pt x="2554" y="2847"/>
                </a:lnTo>
                <a:lnTo>
                  <a:pt x="2554" y="2847"/>
                </a:lnTo>
                <a:lnTo>
                  <a:pt x="2554" y="2847"/>
                </a:lnTo>
                <a:lnTo>
                  <a:pt x="2554" y="2847"/>
                </a:lnTo>
                <a:lnTo>
                  <a:pt x="2548" y="2847"/>
                </a:lnTo>
                <a:lnTo>
                  <a:pt x="2548" y="2847"/>
                </a:lnTo>
                <a:lnTo>
                  <a:pt x="2548" y="2847"/>
                </a:lnTo>
                <a:lnTo>
                  <a:pt x="2548" y="2853"/>
                </a:lnTo>
                <a:lnTo>
                  <a:pt x="2548" y="2853"/>
                </a:lnTo>
                <a:lnTo>
                  <a:pt x="2548" y="2853"/>
                </a:lnTo>
                <a:lnTo>
                  <a:pt x="2548" y="2859"/>
                </a:lnTo>
                <a:lnTo>
                  <a:pt x="2548" y="2859"/>
                </a:lnTo>
                <a:lnTo>
                  <a:pt x="2548" y="2859"/>
                </a:lnTo>
                <a:lnTo>
                  <a:pt x="2548" y="2859"/>
                </a:lnTo>
                <a:lnTo>
                  <a:pt x="2548" y="2859"/>
                </a:lnTo>
                <a:lnTo>
                  <a:pt x="2548" y="2859"/>
                </a:lnTo>
                <a:lnTo>
                  <a:pt x="2548" y="2865"/>
                </a:lnTo>
                <a:lnTo>
                  <a:pt x="2548" y="2859"/>
                </a:lnTo>
                <a:lnTo>
                  <a:pt x="2548" y="2865"/>
                </a:lnTo>
                <a:lnTo>
                  <a:pt x="2548" y="2865"/>
                </a:lnTo>
                <a:lnTo>
                  <a:pt x="2548" y="2865"/>
                </a:lnTo>
                <a:lnTo>
                  <a:pt x="2548" y="2865"/>
                </a:lnTo>
                <a:lnTo>
                  <a:pt x="2548" y="2871"/>
                </a:lnTo>
                <a:lnTo>
                  <a:pt x="2548" y="2871"/>
                </a:lnTo>
                <a:lnTo>
                  <a:pt x="2548" y="2871"/>
                </a:lnTo>
                <a:lnTo>
                  <a:pt x="2554" y="2871"/>
                </a:lnTo>
                <a:lnTo>
                  <a:pt x="2554" y="2871"/>
                </a:lnTo>
                <a:lnTo>
                  <a:pt x="2554" y="2877"/>
                </a:lnTo>
                <a:lnTo>
                  <a:pt x="2554" y="2877"/>
                </a:lnTo>
                <a:lnTo>
                  <a:pt x="2554" y="2877"/>
                </a:lnTo>
                <a:lnTo>
                  <a:pt x="2554" y="2882"/>
                </a:lnTo>
                <a:lnTo>
                  <a:pt x="2554" y="2882"/>
                </a:lnTo>
                <a:lnTo>
                  <a:pt x="2554" y="2882"/>
                </a:lnTo>
                <a:lnTo>
                  <a:pt x="2554" y="2882"/>
                </a:lnTo>
                <a:lnTo>
                  <a:pt x="2554" y="2882"/>
                </a:lnTo>
                <a:lnTo>
                  <a:pt x="2554" y="2882"/>
                </a:lnTo>
                <a:lnTo>
                  <a:pt x="2554" y="2882"/>
                </a:lnTo>
                <a:lnTo>
                  <a:pt x="2560" y="2882"/>
                </a:lnTo>
                <a:lnTo>
                  <a:pt x="2560" y="2882"/>
                </a:lnTo>
                <a:lnTo>
                  <a:pt x="2560" y="2882"/>
                </a:lnTo>
                <a:lnTo>
                  <a:pt x="2560" y="2882"/>
                </a:lnTo>
                <a:lnTo>
                  <a:pt x="2560" y="2882"/>
                </a:lnTo>
                <a:lnTo>
                  <a:pt x="2560" y="2888"/>
                </a:lnTo>
                <a:lnTo>
                  <a:pt x="2560" y="2888"/>
                </a:lnTo>
                <a:lnTo>
                  <a:pt x="2560" y="2888"/>
                </a:lnTo>
                <a:lnTo>
                  <a:pt x="2566" y="2882"/>
                </a:lnTo>
                <a:lnTo>
                  <a:pt x="2566" y="2888"/>
                </a:lnTo>
                <a:lnTo>
                  <a:pt x="2566" y="2888"/>
                </a:lnTo>
                <a:lnTo>
                  <a:pt x="2566" y="2888"/>
                </a:lnTo>
                <a:lnTo>
                  <a:pt x="2572" y="2888"/>
                </a:lnTo>
                <a:lnTo>
                  <a:pt x="2572" y="2888"/>
                </a:lnTo>
                <a:lnTo>
                  <a:pt x="2578" y="2888"/>
                </a:lnTo>
                <a:lnTo>
                  <a:pt x="2578" y="2888"/>
                </a:lnTo>
                <a:lnTo>
                  <a:pt x="2578" y="2888"/>
                </a:lnTo>
                <a:lnTo>
                  <a:pt x="2578" y="2888"/>
                </a:lnTo>
                <a:lnTo>
                  <a:pt x="2578" y="2888"/>
                </a:lnTo>
                <a:lnTo>
                  <a:pt x="2578" y="2888"/>
                </a:lnTo>
                <a:lnTo>
                  <a:pt x="2578" y="2888"/>
                </a:lnTo>
                <a:lnTo>
                  <a:pt x="2578" y="2888"/>
                </a:lnTo>
                <a:lnTo>
                  <a:pt x="2584" y="2888"/>
                </a:lnTo>
                <a:lnTo>
                  <a:pt x="2584" y="2888"/>
                </a:lnTo>
                <a:lnTo>
                  <a:pt x="2584" y="2888"/>
                </a:lnTo>
                <a:lnTo>
                  <a:pt x="2584" y="2888"/>
                </a:lnTo>
                <a:lnTo>
                  <a:pt x="2584" y="2888"/>
                </a:lnTo>
                <a:lnTo>
                  <a:pt x="2584" y="2888"/>
                </a:lnTo>
                <a:lnTo>
                  <a:pt x="2584" y="2894"/>
                </a:lnTo>
                <a:lnTo>
                  <a:pt x="2590" y="2894"/>
                </a:lnTo>
                <a:lnTo>
                  <a:pt x="2590" y="2894"/>
                </a:lnTo>
                <a:lnTo>
                  <a:pt x="2590" y="2894"/>
                </a:lnTo>
                <a:lnTo>
                  <a:pt x="2590" y="2894"/>
                </a:lnTo>
                <a:lnTo>
                  <a:pt x="2590" y="2894"/>
                </a:lnTo>
                <a:lnTo>
                  <a:pt x="2590" y="2894"/>
                </a:lnTo>
                <a:lnTo>
                  <a:pt x="2590" y="2894"/>
                </a:lnTo>
                <a:lnTo>
                  <a:pt x="2595" y="2894"/>
                </a:lnTo>
                <a:lnTo>
                  <a:pt x="2595" y="2900"/>
                </a:lnTo>
                <a:lnTo>
                  <a:pt x="2595" y="2900"/>
                </a:lnTo>
                <a:lnTo>
                  <a:pt x="2595" y="2900"/>
                </a:lnTo>
                <a:lnTo>
                  <a:pt x="2595" y="2900"/>
                </a:lnTo>
                <a:lnTo>
                  <a:pt x="2595" y="2900"/>
                </a:lnTo>
                <a:lnTo>
                  <a:pt x="2595" y="2900"/>
                </a:lnTo>
                <a:lnTo>
                  <a:pt x="2595" y="2900"/>
                </a:lnTo>
                <a:lnTo>
                  <a:pt x="2595" y="2900"/>
                </a:lnTo>
                <a:lnTo>
                  <a:pt x="2595" y="2900"/>
                </a:lnTo>
                <a:lnTo>
                  <a:pt x="2601" y="2900"/>
                </a:lnTo>
                <a:lnTo>
                  <a:pt x="2607" y="2900"/>
                </a:lnTo>
                <a:lnTo>
                  <a:pt x="2607" y="2900"/>
                </a:lnTo>
                <a:lnTo>
                  <a:pt x="2613" y="2900"/>
                </a:lnTo>
                <a:lnTo>
                  <a:pt x="2613" y="2906"/>
                </a:lnTo>
                <a:lnTo>
                  <a:pt x="2613" y="2906"/>
                </a:lnTo>
                <a:lnTo>
                  <a:pt x="2619" y="2906"/>
                </a:lnTo>
                <a:lnTo>
                  <a:pt x="2619" y="2906"/>
                </a:lnTo>
                <a:lnTo>
                  <a:pt x="2619" y="2906"/>
                </a:lnTo>
                <a:lnTo>
                  <a:pt x="2625" y="2906"/>
                </a:lnTo>
                <a:lnTo>
                  <a:pt x="2625" y="2906"/>
                </a:lnTo>
                <a:lnTo>
                  <a:pt x="2625" y="2912"/>
                </a:lnTo>
                <a:lnTo>
                  <a:pt x="2625" y="2912"/>
                </a:lnTo>
                <a:lnTo>
                  <a:pt x="2625" y="2912"/>
                </a:lnTo>
                <a:lnTo>
                  <a:pt x="2625" y="2912"/>
                </a:lnTo>
                <a:lnTo>
                  <a:pt x="2625" y="2912"/>
                </a:lnTo>
                <a:lnTo>
                  <a:pt x="2625" y="2912"/>
                </a:lnTo>
                <a:lnTo>
                  <a:pt x="2631" y="2912"/>
                </a:lnTo>
                <a:lnTo>
                  <a:pt x="2631" y="2912"/>
                </a:lnTo>
                <a:lnTo>
                  <a:pt x="2631" y="2918"/>
                </a:lnTo>
                <a:lnTo>
                  <a:pt x="2631" y="2918"/>
                </a:lnTo>
                <a:lnTo>
                  <a:pt x="2643" y="2924"/>
                </a:lnTo>
                <a:lnTo>
                  <a:pt x="2643" y="2924"/>
                </a:lnTo>
                <a:lnTo>
                  <a:pt x="2649" y="2924"/>
                </a:lnTo>
                <a:lnTo>
                  <a:pt x="2655" y="2924"/>
                </a:lnTo>
                <a:lnTo>
                  <a:pt x="2655" y="2924"/>
                </a:lnTo>
                <a:lnTo>
                  <a:pt x="2655" y="2924"/>
                </a:lnTo>
                <a:lnTo>
                  <a:pt x="2655" y="2924"/>
                </a:lnTo>
                <a:lnTo>
                  <a:pt x="2655" y="2924"/>
                </a:lnTo>
                <a:lnTo>
                  <a:pt x="2655" y="2924"/>
                </a:lnTo>
                <a:lnTo>
                  <a:pt x="2655" y="2924"/>
                </a:lnTo>
                <a:lnTo>
                  <a:pt x="2661" y="2924"/>
                </a:lnTo>
                <a:lnTo>
                  <a:pt x="2661" y="2924"/>
                </a:lnTo>
                <a:lnTo>
                  <a:pt x="2661" y="2924"/>
                </a:lnTo>
                <a:lnTo>
                  <a:pt x="2667" y="2924"/>
                </a:lnTo>
                <a:lnTo>
                  <a:pt x="2673" y="2924"/>
                </a:lnTo>
                <a:lnTo>
                  <a:pt x="2684" y="2924"/>
                </a:lnTo>
                <a:lnTo>
                  <a:pt x="2684" y="2924"/>
                </a:lnTo>
                <a:lnTo>
                  <a:pt x="2684" y="2924"/>
                </a:lnTo>
                <a:lnTo>
                  <a:pt x="2684" y="2924"/>
                </a:lnTo>
                <a:lnTo>
                  <a:pt x="2684" y="2924"/>
                </a:lnTo>
                <a:lnTo>
                  <a:pt x="2684" y="2924"/>
                </a:lnTo>
                <a:lnTo>
                  <a:pt x="2690" y="2924"/>
                </a:lnTo>
                <a:lnTo>
                  <a:pt x="2696" y="2924"/>
                </a:lnTo>
                <a:lnTo>
                  <a:pt x="2696" y="2924"/>
                </a:lnTo>
                <a:lnTo>
                  <a:pt x="2696" y="2930"/>
                </a:lnTo>
                <a:lnTo>
                  <a:pt x="2702" y="2930"/>
                </a:lnTo>
                <a:lnTo>
                  <a:pt x="2702" y="2930"/>
                </a:lnTo>
                <a:lnTo>
                  <a:pt x="2702" y="2930"/>
                </a:lnTo>
                <a:lnTo>
                  <a:pt x="2702" y="2936"/>
                </a:lnTo>
                <a:lnTo>
                  <a:pt x="2708" y="2936"/>
                </a:lnTo>
                <a:lnTo>
                  <a:pt x="2708" y="2942"/>
                </a:lnTo>
                <a:lnTo>
                  <a:pt x="2714" y="2942"/>
                </a:lnTo>
                <a:lnTo>
                  <a:pt x="2714" y="2942"/>
                </a:lnTo>
                <a:lnTo>
                  <a:pt x="2714" y="2942"/>
                </a:lnTo>
                <a:lnTo>
                  <a:pt x="2720" y="2942"/>
                </a:lnTo>
                <a:lnTo>
                  <a:pt x="2720" y="2942"/>
                </a:lnTo>
                <a:lnTo>
                  <a:pt x="2720" y="2942"/>
                </a:lnTo>
                <a:lnTo>
                  <a:pt x="2720" y="2942"/>
                </a:lnTo>
                <a:lnTo>
                  <a:pt x="2720" y="2942"/>
                </a:lnTo>
                <a:lnTo>
                  <a:pt x="2720" y="2948"/>
                </a:lnTo>
                <a:lnTo>
                  <a:pt x="2720" y="2948"/>
                </a:lnTo>
                <a:lnTo>
                  <a:pt x="2720" y="2948"/>
                </a:lnTo>
                <a:lnTo>
                  <a:pt x="2720" y="2948"/>
                </a:lnTo>
                <a:lnTo>
                  <a:pt x="2720" y="2948"/>
                </a:lnTo>
                <a:lnTo>
                  <a:pt x="2720" y="2948"/>
                </a:lnTo>
                <a:lnTo>
                  <a:pt x="2726" y="2948"/>
                </a:lnTo>
                <a:lnTo>
                  <a:pt x="2726" y="2948"/>
                </a:lnTo>
                <a:lnTo>
                  <a:pt x="2726" y="2948"/>
                </a:lnTo>
                <a:lnTo>
                  <a:pt x="2726" y="2948"/>
                </a:lnTo>
                <a:lnTo>
                  <a:pt x="2726" y="2948"/>
                </a:lnTo>
                <a:lnTo>
                  <a:pt x="2726" y="2948"/>
                </a:lnTo>
                <a:lnTo>
                  <a:pt x="2726" y="2948"/>
                </a:lnTo>
                <a:lnTo>
                  <a:pt x="2726" y="2948"/>
                </a:lnTo>
                <a:lnTo>
                  <a:pt x="2726" y="2948"/>
                </a:lnTo>
                <a:lnTo>
                  <a:pt x="2726" y="2942"/>
                </a:lnTo>
                <a:lnTo>
                  <a:pt x="2726" y="2942"/>
                </a:lnTo>
                <a:lnTo>
                  <a:pt x="2726" y="2942"/>
                </a:lnTo>
                <a:lnTo>
                  <a:pt x="2726" y="2942"/>
                </a:lnTo>
                <a:lnTo>
                  <a:pt x="2732" y="2936"/>
                </a:lnTo>
                <a:lnTo>
                  <a:pt x="2732" y="2936"/>
                </a:lnTo>
                <a:lnTo>
                  <a:pt x="2732" y="2936"/>
                </a:lnTo>
                <a:lnTo>
                  <a:pt x="2738" y="2936"/>
                </a:lnTo>
                <a:lnTo>
                  <a:pt x="2738" y="2936"/>
                </a:lnTo>
                <a:lnTo>
                  <a:pt x="2738" y="2936"/>
                </a:lnTo>
                <a:lnTo>
                  <a:pt x="2738" y="2936"/>
                </a:lnTo>
                <a:lnTo>
                  <a:pt x="2744" y="2936"/>
                </a:lnTo>
                <a:lnTo>
                  <a:pt x="2744" y="2936"/>
                </a:lnTo>
                <a:lnTo>
                  <a:pt x="2744" y="2936"/>
                </a:lnTo>
                <a:lnTo>
                  <a:pt x="2750" y="2936"/>
                </a:lnTo>
                <a:lnTo>
                  <a:pt x="2750" y="2930"/>
                </a:lnTo>
                <a:lnTo>
                  <a:pt x="2750" y="2930"/>
                </a:lnTo>
                <a:lnTo>
                  <a:pt x="2750" y="2924"/>
                </a:lnTo>
                <a:lnTo>
                  <a:pt x="2750" y="2924"/>
                </a:lnTo>
                <a:lnTo>
                  <a:pt x="2744" y="2924"/>
                </a:lnTo>
                <a:lnTo>
                  <a:pt x="2744" y="2924"/>
                </a:lnTo>
                <a:lnTo>
                  <a:pt x="2744" y="2924"/>
                </a:lnTo>
                <a:lnTo>
                  <a:pt x="2744" y="2924"/>
                </a:lnTo>
                <a:lnTo>
                  <a:pt x="2744" y="2924"/>
                </a:lnTo>
                <a:lnTo>
                  <a:pt x="2744" y="2930"/>
                </a:lnTo>
                <a:lnTo>
                  <a:pt x="2744" y="2930"/>
                </a:lnTo>
                <a:lnTo>
                  <a:pt x="2744" y="2930"/>
                </a:lnTo>
                <a:lnTo>
                  <a:pt x="2744" y="2930"/>
                </a:lnTo>
                <a:lnTo>
                  <a:pt x="2738" y="2930"/>
                </a:lnTo>
                <a:lnTo>
                  <a:pt x="2738" y="2930"/>
                </a:lnTo>
                <a:lnTo>
                  <a:pt x="2738" y="2930"/>
                </a:lnTo>
                <a:lnTo>
                  <a:pt x="2738" y="2930"/>
                </a:lnTo>
                <a:lnTo>
                  <a:pt x="2738" y="2930"/>
                </a:lnTo>
                <a:lnTo>
                  <a:pt x="2738" y="2930"/>
                </a:lnTo>
                <a:lnTo>
                  <a:pt x="2738" y="2930"/>
                </a:lnTo>
                <a:lnTo>
                  <a:pt x="2738" y="2930"/>
                </a:lnTo>
                <a:lnTo>
                  <a:pt x="2738" y="2930"/>
                </a:lnTo>
                <a:lnTo>
                  <a:pt x="2738" y="2930"/>
                </a:lnTo>
                <a:lnTo>
                  <a:pt x="2738" y="2924"/>
                </a:lnTo>
                <a:lnTo>
                  <a:pt x="2738" y="2924"/>
                </a:lnTo>
                <a:lnTo>
                  <a:pt x="2738" y="2924"/>
                </a:lnTo>
                <a:lnTo>
                  <a:pt x="2738" y="2924"/>
                </a:lnTo>
                <a:lnTo>
                  <a:pt x="2738" y="2924"/>
                </a:lnTo>
                <a:lnTo>
                  <a:pt x="2744" y="2924"/>
                </a:lnTo>
                <a:lnTo>
                  <a:pt x="2744" y="2918"/>
                </a:lnTo>
                <a:lnTo>
                  <a:pt x="2744" y="2918"/>
                </a:lnTo>
                <a:lnTo>
                  <a:pt x="2738" y="2918"/>
                </a:lnTo>
                <a:lnTo>
                  <a:pt x="2738" y="2918"/>
                </a:lnTo>
                <a:lnTo>
                  <a:pt x="2738" y="2918"/>
                </a:lnTo>
                <a:lnTo>
                  <a:pt x="2738" y="2918"/>
                </a:lnTo>
                <a:lnTo>
                  <a:pt x="2732" y="2918"/>
                </a:lnTo>
                <a:lnTo>
                  <a:pt x="2732" y="2918"/>
                </a:lnTo>
                <a:lnTo>
                  <a:pt x="2732" y="2918"/>
                </a:lnTo>
                <a:lnTo>
                  <a:pt x="2732" y="2918"/>
                </a:lnTo>
                <a:lnTo>
                  <a:pt x="2732" y="2912"/>
                </a:lnTo>
                <a:lnTo>
                  <a:pt x="2732" y="2912"/>
                </a:lnTo>
                <a:lnTo>
                  <a:pt x="2732" y="2912"/>
                </a:lnTo>
                <a:lnTo>
                  <a:pt x="2732" y="2906"/>
                </a:lnTo>
                <a:lnTo>
                  <a:pt x="2732" y="2906"/>
                </a:lnTo>
                <a:lnTo>
                  <a:pt x="2732" y="2906"/>
                </a:lnTo>
                <a:lnTo>
                  <a:pt x="2732" y="2906"/>
                </a:lnTo>
                <a:lnTo>
                  <a:pt x="2732" y="2906"/>
                </a:lnTo>
                <a:lnTo>
                  <a:pt x="2732" y="2906"/>
                </a:lnTo>
                <a:lnTo>
                  <a:pt x="2732" y="2906"/>
                </a:lnTo>
                <a:lnTo>
                  <a:pt x="2732" y="2900"/>
                </a:lnTo>
                <a:lnTo>
                  <a:pt x="2732" y="2900"/>
                </a:lnTo>
                <a:lnTo>
                  <a:pt x="2732" y="2900"/>
                </a:lnTo>
                <a:lnTo>
                  <a:pt x="2732" y="2900"/>
                </a:lnTo>
                <a:lnTo>
                  <a:pt x="2732" y="2900"/>
                </a:lnTo>
                <a:lnTo>
                  <a:pt x="2732" y="2900"/>
                </a:lnTo>
                <a:lnTo>
                  <a:pt x="2732" y="2900"/>
                </a:lnTo>
                <a:lnTo>
                  <a:pt x="2732" y="2900"/>
                </a:lnTo>
                <a:lnTo>
                  <a:pt x="2726" y="2900"/>
                </a:lnTo>
                <a:lnTo>
                  <a:pt x="2726" y="2900"/>
                </a:lnTo>
                <a:lnTo>
                  <a:pt x="2726" y="2900"/>
                </a:lnTo>
                <a:lnTo>
                  <a:pt x="2726" y="2900"/>
                </a:lnTo>
                <a:lnTo>
                  <a:pt x="2726" y="2894"/>
                </a:lnTo>
                <a:lnTo>
                  <a:pt x="2726" y="2894"/>
                </a:lnTo>
                <a:lnTo>
                  <a:pt x="2726" y="2894"/>
                </a:lnTo>
                <a:lnTo>
                  <a:pt x="2726" y="2894"/>
                </a:lnTo>
                <a:lnTo>
                  <a:pt x="2726" y="2894"/>
                </a:lnTo>
                <a:lnTo>
                  <a:pt x="2726" y="2888"/>
                </a:lnTo>
                <a:lnTo>
                  <a:pt x="2726" y="2888"/>
                </a:lnTo>
                <a:lnTo>
                  <a:pt x="2726" y="2888"/>
                </a:lnTo>
                <a:lnTo>
                  <a:pt x="2726" y="2894"/>
                </a:lnTo>
                <a:lnTo>
                  <a:pt x="2726" y="2894"/>
                </a:lnTo>
                <a:lnTo>
                  <a:pt x="2726" y="2894"/>
                </a:lnTo>
                <a:lnTo>
                  <a:pt x="2726" y="2894"/>
                </a:lnTo>
                <a:lnTo>
                  <a:pt x="2726" y="2894"/>
                </a:lnTo>
                <a:lnTo>
                  <a:pt x="2726" y="2888"/>
                </a:lnTo>
                <a:lnTo>
                  <a:pt x="2726" y="2888"/>
                </a:lnTo>
                <a:lnTo>
                  <a:pt x="2726" y="2888"/>
                </a:lnTo>
                <a:lnTo>
                  <a:pt x="2726" y="2888"/>
                </a:lnTo>
                <a:lnTo>
                  <a:pt x="2726" y="2888"/>
                </a:lnTo>
                <a:lnTo>
                  <a:pt x="2720" y="2888"/>
                </a:lnTo>
                <a:lnTo>
                  <a:pt x="2720" y="2888"/>
                </a:lnTo>
                <a:lnTo>
                  <a:pt x="2720" y="2888"/>
                </a:lnTo>
                <a:lnTo>
                  <a:pt x="2720" y="2888"/>
                </a:lnTo>
                <a:lnTo>
                  <a:pt x="2720" y="2888"/>
                </a:lnTo>
                <a:lnTo>
                  <a:pt x="2720" y="2882"/>
                </a:lnTo>
                <a:lnTo>
                  <a:pt x="2720" y="2882"/>
                </a:lnTo>
                <a:lnTo>
                  <a:pt x="2720" y="2882"/>
                </a:lnTo>
                <a:lnTo>
                  <a:pt x="2720" y="2882"/>
                </a:lnTo>
                <a:lnTo>
                  <a:pt x="2720" y="2882"/>
                </a:lnTo>
                <a:lnTo>
                  <a:pt x="2720" y="2882"/>
                </a:lnTo>
                <a:lnTo>
                  <a:pt x="2720" y="2882"/>
                </a:lnTo>
                <a:lnTo>
                  <a:pt x="2720" y="2882"/>
                </a:lnTo>
                <a:lnTo>
                  <a:pt x="2720" y="2877"/>
                </a:lnTo>
                <a:lnTo>
                  <a:pt x="2720" y="2877"/>
                </a:lnTo>
                <a:lnTo>
                  <a:pt x="2720" y="2877"/>
                </a:lnTo>
                <a:lnTo>
                  <a:pt x="2720" y="2877"/>
                </a:lnTo>
                <a:lnTo>
                  <a:pt x="2714" y="2877"/>
                </a:lnTo>
                <a:lnTo>
                  <a:pt x="2720" y="2877"/>
                </a:lnTo>
                <a:lnTo>
                  <a:pt x="2720" y="2871"/>
                </a:lnTo>
                <a:lnTo>
                  <a:pt x="2720" y="2871"/>
                </a:lnTo>
                <a:lnTo>
                  <a:pt x="2720" y="2871"/>
                </a:lnTo>
                <a:lnTo>
                  <a:pt x="2720" y="2871"/>
                </a:lnTo>
                <a:lnTo>
                  <a:pt x="2720" y="2871"/>
                </a:lnTo>
                <a:lnTo>
                  <a:pt x="2720" y="2871"/>
                </a:lnTo>
                <a:lnTo>
                  <a:pt x="2720" y="2877"/>
                </a:lnTo>
                <a:lnTo>
                  <a:pt x="2720" y="2871"/>
                </a:lnTo>
                <a:lnTo>
                  <a:pt x="2720" y="2865"/>
                </a:lnTo>
                <a:lnTo>
                  <a:pt x="2720" y="2865"/>
                </a:lnTo>
                <a:lnTo>
                  <a:pt x="2720" y="2859"/>
                </a:lnTo>
                <a:lnTo>
                  <a:pt x="2714" y="2853"/>
                </a:lnTo>
                <a:lnTo>
                  <a:pt x="2714" y="2847"/>
                </a:lnTo>
                <a:lnTo>
                  <a:pt x="2714" y="2841"/>
                </a:lnTo>
                <a:lnTo>
                  <a:pt x="2714" y="2841"/>
                </a:lnTo>
                <a:lnTo>
                  <a:pt x="2714" y="2841"/>
                </a:lnTo>
                <a:lnTo>
                  <a:pt x="2714" y="2841"/>
                </a:lnTo>
                <a:lnTo>
                  <a:pt x="2708" y="2841"/>
                </a:lnTo>
                <a:lnTo>
                  <a:pt x="2708" y="2841"/>
                </a:lnTo>
                <a:lnTo>
                  <a:pt x="2708" y="2841"/>
                </a:lnTo>
                <a:lnTo>
                  <a:pt x="2708" y="2841"/>
                </a:lnTo>
                <a:lnTo>
                  <a:pt x="2708" y="2841"/>
                </a:lnTo>
                <a:lnTo>
                  <a:pt x="2708" y="2835"/>
                </a:lnTo>
                <a:lnTo>
                  <a:pt x="2708" y="2835"/>
                </a:lnTo>
                <a:lnTo>
                  <a:pt x="2708" y="2835"/>
                </a:lnTo>
                <a:lnTo>
                  <a:pt x="2708" y="2835"/>
                </a:lnTo>
                <a:lnTo>
                  <a:pt x="2708" y="2835"/>
                </a:lnTo>
                <a:lnTo>
                  <a:pt x="2708" y="2835"/>
                </a:lnTo>
                <a:lnTo>
                  <a:pt x="2708" y="2829"/>
                </a:lnTo>
                <a:lnTo>
                  <a:pt x="2708" y="2829"/>
                </a:lnTo>
                <a:lnTo>
                  <a:pt x="2708" y="2829"/>
                </a:lnTo>
                <a:lnTo>
                  <a:pt x="2708" y="2829"/>
                </a:lnTo>
                <a:lnTo>
                  <a:pt x="2714" y="2835"/>
                </a:lnTo>
                <a:lnTo>
                  <a:pt x="2714" y="2835"/>
                </a:lnTo>
                <a:lnTo>
                  <a:pt x="2714" y="2835"/>
                </a:lnTo>
                <a:lnTo>
                  <a:pt x="2714" y="2829"/>
                </a:lnTo>
                <a:lnTo>
                  <a:pt x="2708" y="2829"/>
                </a:lnTo>
                <a:lnTo>
                  <a:pt x="2708" y="2829"/>
                </a:lnTo>
                <a:lnTo>
                  <a:pt x="2708" y="2823"/>
                </a:lnTo>
                <a:lnTo>
                  <a:pt x="2708" y="2823"/>
                </a:lnTo>
                <a:lnTo>
                  <a:pt x="2708" y="2817"/>
                </a:lnTo>
                <a:lnTo>
                  <a:pt x="2708" y="2817"/>
                </a:lnTo>
                <a:lnTo>
                  <a:pt x="2708" y="2817"/>
                </a:lnTo>
                <a:lnTo>
                  <a:pt x="2708" y="2817"/>
                </a:lnTo>
                <a:lnTo>
                  <a:pt x="2714" y="2817"/>
                </a:lnTo>
                <a:lnTo>
                  <a:pt x="2714" y="2817"/>
                </a:lnTo>
                <a:lnTo>
                  <a:pt x="2714" y="2817"/>
                </a:lnTo>
                <a:lnTo>
                  <a:pt x="2714" y="2811"/>
                </a:lnTo>
                <a:lnTo>
                  <a:pt x="2714" y="2811"/>
                </a:lnTo>
                <a:lnTo>
                  <a:pt x="2714" y="2811"/>
                </a:lnTo>
                <a:lnTo>
                  <a:pt x="2714" y="2811"/>
                </a:lnTo>
                <a:lnTo>
                  <a:pt x="2714" y="2811"/>
                </a:lnTo>
                <a:lnTo>
                  <a:pt x="2714" y="2811"/>
                </a:lnTo>
                <a:lnTo>
                  <a:pt x="2714" y="2811"/>
                </a:lnTo>
                <a:lnTo>
                  <a:pt x="2714" y="2805"/>
                </a:lnTo>
                <a:lnTo>
                  <a:pt x="2714" y="2805"/>
                </a:lnTo>
                <a:lnTo>
                  <a:pt x="2714" y="2805"/>
                </a:lnTo>
                <a:lnTo>
                  <a:pt x="2714" y="2805"/>
                </a:lnTo>
                <a:lnTo>
                  <a:pt x="2714" y="2805"/>
                </a:lnTo>
                <a:lnTo>
                  <a:pt x="2714" y="2805"/>
                </a:lnTo>
                <a:lnTo>
                  <a:pt x="2714" y="2805"/>
                </a:lnTo>
                <a:lnTo>
                  <a:pt x="2720" y="2805"/>
                </a:lnTo>
                <a:lnTo>
                  <a:pt x="2720" y="2805"/>
                </a:lnTo>
                <a:lnTo>
                  <a:pt x="2720" y="2805"/>
                </a:lnTo>
                <a:lnTo>
                  <a:pt x="2720" y="2799"/>
                </a:lnTo>
                <a:lnTo>
                  <a:pt x="2720" y="2799"/>
                </a:lnTo>
                <a:lnTo>
                  <a:pt x="2720" y="2799"/>
                </a:lnTo>
                <a:lnTo>
                  <a:pt x="2714" y="2799"/>
                </a:lnTo>
                <a:lnTo>
                  <a:pt x="2720" y="2799"/>
                </a:lnTo>
                <a:lnTo>
                  <a:pt x="2720" y="2799"/>
                </a:lnTo>
                <a:lnTo>
                  <a:pt x="2720" y="2794"/>
                </a:lnTo>
                <a:lnTo>
                  <a:pt x="2720" y="2794"/>
                </a:lnTo>
                <a:lnTo>
                  <a:pt x="2720" y="2794"/>
                </a:lnTo>
                <a:lnTo>
                  <a:pt x="2720" y="2794"/>
                </a:lnTo>
                <a:lnTo>
                  <a:pt x="2720" y="2794"/>
                </a:lnTo>
                <a:lnTo>
                  <a:pt x="2720" y="2794"/>
                </a:lnTo>
                <a:lnTo>
                  <a:pt x="2720" y="2788"/>
                </a:lnTo>
                <a:lnTo>
                  <a:pt x="2720" y="2788"/>
                </a:lnTo>
                <a:lnTo>
                  <a:pt x="2720" y="2788"/>
                </a:lnTo>
                <a:lnTo>
                  <a:pt x="2714" y="2788"/>
                </a:lnTo>
                <a:lnTo>
                  <a:pt x="2714" y="2788"/>
                </a:lnTo>
                <a:lnTo>
                  <a:pt x="2714" y="2788"/>
                </a:lnTo>
                <a:lnTo>
                  <a:pt x="2714" y="2794"/>
                </a:lnTo>
                <a:lnTo>
                  <a:pt x="2708" y="2794"/>
                </a:lnTo>
                <a:lnTo>
                  <a:pt x="2708" y="2794"/>
                </a:lnTo>
                <a:lnTo>
                  <a:pt x="2702" y="2794"/>
                </a:lnTo>
                <a:lnTo>
                  <a:pt x="2702" y="2794"/>
                </a:lnTo>
                <a:lnTo>
                  <a:pt x="2702" y="2794"/>
                </a:lnTo>
                <a:lnTo>
                  <a:pt x="2702" y="2794"/>
                </a:lnTo>
                <a:lnTo>
                  <a:pt x="2696" y="2788"/>
                </a:lnTo>
                <a:lnTo>
                  <a:pt x="2696" y="2788"/>
                </a:lnTo>
                <a:lnTo>
                  <a:pt x="2696" y="2788"/>
                </a:lnTo>
                <a:lnTo>
                  <a:pt x="2696" y="2788"/>
                </a:lnTo>
                <a:lnTo>
                  <a:pt x="2690" y="2788"/>
                </a:lnTo>
                <a:lnTo>
                  <a:pt x="2690" y="2788"/>
                </a:lnTo>
                <a:lnTo>
                  <a:pt x="2690" y="2788"/>
                </a:lnTo>
                <a:lnTo>
                  <a:pt x="2684" y="2788"/>
                </a:lnTo>
                <a:lnTo>
                  <a:pt x="2684" y="2788"/>
                </a:lnTo>
                <a:lnTo>
                  <a:pt x="2684" y="2788"/>
                </a:lnTo>
                <a:lnTo>
                  <a:pt x="2684" y="2788"/>
                </a:lnTo>
                <a:lnTo>
                  <a:pt x="2690" y="2788"/>
                </a:lnTo>
                <a:lnTo>
                  <a:pt x="2690" y="2788"/>
                </a:lnTo>
                <a:lnTo>
                  <a:pt x="2690" y="2788"/>
                </a:lnTo>
                <a:lnTo>
                  <a:pt x="2690" y="2788"/>
                </a:lnTo>
                <a:lnTo>
                  <a:pt x="2690" y="2788"/>
                </a:lnTo>
                <a:lnTo>
                  <a:pt x="2696" y="2788"/>
                </a:lnTo>
                <a:lnTo>
                  <a:pt x="2696" y="2782"/>
                </a:lnTo>
                <a:lnTo>
                  <a:pt x="2696" y="2782"/>
                </a:lnTo>
                <a:lnTo>
                  <a:pt x="2696" y="2782"/>
                </a:lnTo>
                <a:lnTo>
                  <a:pt x="2696" y="2782"/>
                </a:lnTo>
                <a:lnTo>
                  <a:pt x="2690" y="2782"/>
                </a:lnTo>
                <a:lnTo>
                  <a:pt x="2690" y="2782"/>
                </a:lnTo>
                <a:lnTo>
                  <a:pt x="2690" y="2782"/>
                </a:lnTo>
                <a:lnTo>
                  <a:pt x="2690" y="2782"/>
                </a:lnTo>
                <a:lnTo>
                  <a:pt x="2690" y="2782"/>
                </a:lnTo>
                <a:lnTo>
                  <a:pt x="2696" y="2782"/>
                </a:lnTo>
                <a:lnTo>
                  <a:pt x="2690" y="2776"/>
                </a:lnTo>
                <a:lnTo>
                  <a:pt x="2690" y="2776"/>
                </a:lnTo>
                <a:lnTo>
                  <a:pt x="2690" y="2776"/>
                </a:lnTo>
                <a:lnTo>
                  <a:pt x="2690" y="2770"/>
                </a:lnTo>
                <a:lnTo>
                  <a:pt x="2690" y="2770"/>
                </a:lnTo>
                <a:lnTo>
                  <a:pt x="2690" y="2770"/>
                </a:lnTo>
                <a:lnTo>
                  <a:pt x="2684" y="2770"/>
                </a:lnTo>
                <a:lnTo>
                  <a:pt x="2684" y="2764"/>
                </a:lnTo>
                <a:lnTo>
                  <a:pt x="2690" y="2770"/>
                </a:lnTo>
                <a:lnTo>
                  <a:pt x="2690" y="2770"/>
                </a:lnTo>
                <a:lnTo>
                  <a:pt x="2696" y="2782"/>
                </a:lnTo>
                <a:lnTo>
                  <a:pt x="2702" y="2782"/>
                </a:lnTo>
                <a:lnTo>
                  <a:pt x="2702" y="2782"/>
                </a:lnTo>
                <a:lnTo>
                  <a:pt x="2702" y="2788"/>
                </a:lnTo>
                <a:lnTo>
                  <a:pt x="2702" y="2788"/>
                </a:lnTo>
                <a:lnTo>
                  <a:pt x="2702" y="2788"/>
                </a:lnTo>
                <a:lnTo>
                  <a:pt x="2702" y="2788"/>
                </a:lnTo>
                <a:lnTo>
                  <a:pt x="2702" y="2788"/>
                </a:lnTo>
                <a:lnTo>
                  <a:pt x="2702" y="2782"/>
                </a:lnTo>
                <a:lnTo>
                  <a:pt x="2702" y="2782"/>
                </a:lnTo>
                <a:lnTo>
                  <a:pt x="2702" y="2782"/>
                </a:lnTo>
                <a:lnTo>
                  <a:pt x="2702" y="2782"/>
                </a:lnTo>
                <a:lnTo>
                  <a:pt x="2708" y="2782"/>
                </a:lnTo>
                <a:lnTo>
                  <a:pt x="2708" y="2782"/>
                </a:lnTo>
                <a:lnTo>
                  <a:pt x="2708" y="2782"/>
                </a:lnTo>
                <a:lnTo>
                  <a:pt x="2708" y="2782"/>
                </a:lnTo>
                <a:lnTo>
                  <a:pt x="2708" y="2782"/>
                </a:lnTo>
                <a:lnTo>
                  <a:pt x="2708" y="2782"/>
                </a:lnTo>
                <a:lnTo>
                  <a:pt x="2708" y="2782"/>
                </a:lnTo>
                <a:lnTo>
                  <a:pt x="2708" y="2782"/>
                </a:lnTo>
                <a:lnTo>
                  <a:pt x="2708" y="2782"/>
                </a:lnTo>
                <a:lnTo>
                  <a:pt x="2708" y="2776"/>
                </a:lnTo>
                <a:lnTo>
                  <a:pt x="2708" y="2776"/>
                </a:lnTo>
                <a:lnTo>
                  <a:pt x="2708" y="2776"/>
                </a:lnTo>
                <a:lnTo>
                  <a:pt x="2714" y="2776"/>
                </a:lnTo>
                <a:lnTo>
                  <a:pt x="2714" y="2776"/>
                </a:lnTo>
                <a:lnTo>
                  <a:pt x="2714" y="2776"/>
                </a:lnTo>
                <a:lnTo>
                  <a:pt x="2714" y="2776"/>
                </a:lnTo>
                <a:lnTo>
                  <a:pt x="2714" y="2776"/>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14" y="2782"/>
                </a:lnTo>
                <a:lnTo>
                  <a:pt x="2708" y="2788"/>
                </a:lnTo>
                <a:lnTo>
                  <a:pt x="2708" y="2788"/>
                </a:lnTo>
                <a:lnTo>
                  <a:pt x="2714" y="2788"/>
                </a:lnTo>
                <a:lnTo>
                  <a:pt x="2714" y="2782"/>
                </a:lnTo>
                <a:lnTo>
                  <a:pt x="2720" y="2782"/>
                </a:lnTo>
                <a:lnTo>
                  <a:pt x="2720" y="2782"/>
                </a:lnTo>
                <a:lnTo>
                  <a:pt x="2720" y="2782"/>
                </a:lnTo>
                <a:lnTo>
                  <a:pt x="2720" y="2776"/>
                </a:lnTo>
                <a:lnTo>
                  <a:pt x="2726" y="2770"/>
                </a:lnTo>
                <a:lnTo>
                  <a:pt x="2726" y="2764"/>
                </a:lnTo>
                <a:lnTo>
                  <a:pt x="2726" y="2764"/>
                </a:lnTo>
                <a:lnTo>
                  <a:pt x="2726" y="2764"/>
                </a:lnTo>
                <a:lnTo>
                  <a:pt x="2726" y="2764"/>
                </a:lnTo>
                <a:lnTo>
                  <a:pt x="2732" y="2758"/>
                </a:lnTo>
                <a:lnTo>
                  <a:pt x="2732" y="2752"/>
                </a:lnTo>
                <a:lnTo>
                  <a:pt x="2732" y="2752"/>
                </a:lnTo>
                <a:lnTo>
                  <a:pt x="2732" y="2752"/>
                </a:lnTo>
                <a:lnTo>
                  <a:pt x="2732" y="2746"/>
                </a:lnTo>
                <a:lnTo>
                  <a:pt x="2732" y="2746"/>
                </a:lnTo>
                <a:lnTo>
                  <a:pt x="2732" y="2746"/>
                </a:lnTo>
                <a:lnTo>
                  <a:pt x="2732" y="2746"/>
                </a:lnTo>
                <a:lnTo>
                  <a:pt x="2732" y="2746"/>
                </a:lnTo>
                <a:lnTo>
                  <a:pt x="2738" y="2746"/>
                </a:lnTo>
                <a:lnTo>
                  <a:pt x="2738" y="2740"/>
                </a:lnTo>
                <a:lnTo>
                  <a:pt x="2738" y="2740"/>
                </a:lnTo>
                <a:lnTo>
                  <a:pt x="2738" y="2740"/>
                </a:lnTo>
                <a:lnTo>
                  <a:pt x="2738" y="2740"/>
                </a:lnTo>
                <a:lnTo>
                  <a:pt x="2726" y="2734"/>
                </a:lnTo>
                <a:lnTo>
                  <a:pt x="2726" y="2734"/>
                </a:lnTo>
                <a:lnTo>
                  <a:pt x="2726" y="2734"/>
                </a:lnTo>
                <a:lnTo>
                  <a:pt x="2726" y="2728"/>
                </a:lnTo>
                <a:lnTo>
                  <a:pt x="2726" y="2728"/>
                </a:lnTo>
                <a:lnTo>
                  <a:pt x="2726" y="2728"/>
                </a:lnTo>
                <a:lnTo>
                  <a:pt x="2726" y="2728"/>
                </a:lnTo>
                <a:lnTo>
                  <a:pt x="2726" y="2728"/>
                </a:lnTo>
                <a:lnTo>
                  <a:pt x="2726" y="2722"/>
                </a:lnTo>
                <a:lnTo>
                  <a:pt x="2720" y="2722"/>
                </a:lnTo>
                <a:lnTo>
                  <a:pt x="2720" y="2722"/>
                </a:lnTo>
                <a:lnTo>
                  <a:pt x="2720" y="2722"/>
                </a:lnTo>
                <a:lnTo>
                  <a:pt x="2720" y="2722"/>
                </a:lnTo>
                <a:lnTo>
                  <a:pt x="2720" y="2722"/>
                </a:lnTo>
                <a:lnTo>
                  <a:pt x="2714" y="2722"/>
                </a:lnTo>
                <a:lnTo>
                  <a:pt x="2714" y="2722"/>
                </a:lnTo>
                <a:lnTo>
                  <a:pt x="2714" y="2722"/>
                </a:lnTo>
                <a:lnTo>
                  <a:pt x="2714" y="2722"/>
                </a:lnTo>
                <a:lnTo>
                  <a:pt x="2708"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14" y="2722"/>
                </a:lnTo>
                <a:lnTo>
                  <a:pt x="2720" y="2722"/>
                </a:lnTo>
                <a:lnTo>
                  <a:pt x="2720" y="2722"/>
                </a:lnTo>
                <a:lnTo>
                  <a:pt x="2726" y="2722"/>
                </a:lnTo>
                <a:lnTo>
                  <a:pt x="2726" y="2722"/>
                </a:lnTo>
                <a:lnTo>
                  <a:pt x="2726" y="2722"/>
                </a:lnTo>
                <a:lnTo>
                  <a:pt x="2726" y="2722"/>
                </a:lnTo>
                <a:lnTo>
                  <a:pt x="2726" y="2722"/>
                </a:lnTo>
                <a:lnTo>
                  <a:pt x="2726" y="2722"/>
                </a:lnTo>
                <a:lnTo>
                  <a:pt x="2726" y="2722"/>
                </a:lnTo>
                <a:lnTo>
                  <a:pt x="2726" y="2722"/>
                </a:lnTo>
                <a:lnTo>
                  <a:pt x="2726" y="2722"/>
                </a:lnTo>
                <a:lnTo>
                  <a:pt x="2732" y="2722"/>
                </a:lnTo>
                <a:lnTo>
                  <a:pt x="2732" y="2722"/>
                </a:lnTo>
                <a:lnTo>
                  <a:pt x="2732" y="2722"/>
                </a:lnTo>
                <a:lnTo>
                  <a:pt x="2738" y="2722"/>
                </a:lnTo>
                <a:lnTo>
                  <a:pt x="2738" y="2722"/>
                </a:lnTo>
                <a:lnTo>
                  <a:pt x="2738" y="2722"/>
                </a:lnTo>
                <a:lnTo>
                  <a:pt x="2738" y="2722"/>
                </a:lnTo>
                <a:lnTo>
                  <a:pt x="2738" y="2722"/>
                </a:lnTo>
                <a:lnTo>
                  <a:pt x="2744" y="2722"/>
                </a:lnTo>
                <a:lnTo>
                  <a:pt x="2738" y="2722"/>
                </a:lnTo>
                <a:lnTo>
                  <a:pt x="2738" y="2728"/>
                </a:lnTo>
                <a:lnTo>
                  <a:pt x="2738" y="2728"/>
                </a:lnTo>
                <a:lnTo>
                  <a:pt x="2744" y="2728"/>
                </a:lnTo>
                <a:lnTo>
                  <a:pt x="2744" y="2722"/>
                </a:lnTo>
                <a:lnTo>
                  <a:pt x="2750" y="2710"/>
                </a:lnTo>
                <a:lnTo>
                  <a:pt x="2755" y="2710"/>
                </a:lnTo>
                <a:lnTo>
                  <a:pt x="2755" y="2705"/>
                </a:lnTo>
                <a:lnTo>
                  <a:pt x="2755" y="2705"/>
                </a:lnTo>
                <a:lnTo>
                  <a:pt x="2755" y="2705"/>
                </a:lnTo>
                <a:lnTo>
                  <a:pt x="2755" y="2705"/>
                </a:lnTo>
                <a:lnTo>
                  <a:pt x="2755" y="2705"/>
                </a:lnTo>
                <a:lnTo>
                  <a:pt x="2755" y="2705"/>
                </a:lnTo>
                <a:lnTo>
                  <a:pt x="2755" y="2705"/>
                </a:lnTo>
                <a:lnTo>
                  <a:pt x="2755" y="2705"/>
                </a:lnTo>
                <a:lnTo>
                  <a:pt x="2755" y="2705"/>
                </a:lnTo>
                <a:lnTo>
                  <a:pt x="2755" y="2705"/>
                </a:lnTo>
                <a:lnTo>
                  <a:pt x="2761" y="2705"/>
                </a:lnTo>
                <a:lnTo>
                  <a:pt x="2761" y="2705"/>
                </a:lnTo>
                <a:lnTo>
                  <a:pt x="2761" y="2705"/>
                </a:lnTo>
                <a:lnTo>
                  <a:pt x="2761" y="2699"/>
                </a:lnTo>
                <a:lnTo>
                  <a:pt x="2761" y="2699"/>
                </a:lnTo>
                <a:lnTo>
                  <a:pt x="2761" y="2699"/>
                </a:lnTo>
                <a:lnTo>
                  <a:pt x="2761" y="2693"/>
                </a:lnTo>
                <a:lnTo>
                  <a:pt x="2761" y="2693"/>
                </a:lnTo>
                <a:lnTo>
                  <a:pt x="2761" y="2693"/>
                </a:lnTo>
                <a:lnTo>
                  <a:pt x="2761" y="2693"/>
                </a:lnTo>
                <a:lnTo>
                  <a:pt x="2755" y="2693"/>
                </a:lnTo>
                <a:lnTo>
                  <a:pt x="2755" y="2693"/>
                </a:lnTo>
                <a:lnTo>
                  <a:pt x="2755" y="2693"/>
                </a:lnTo>
                <a:lnTo>
                  <a:pt x="2755" y="2693"/>
                </a:lnTo>
                <a:lnTo>
                  <a:pt x="2755" y="2693"/>
                </a:lnTo>
                <a:lnTo>
                  <a:pt x="2755" y="2693"/>
                </a:lnTo>
                <a:lnTo>
                  <a:pt x="2755" y="2693"/>
                </a:lnTo>
                <a:lnTo>
                  <a:pt x="2755" y="2693"/>
                </a:lnTo>
                <a:lnTo>
                  <a:pt x="2755" y="2699"/>
                </a:lnTo>
                <a:lnTo>
                  <a:pt x="2750" y="2699"/>
                </a:lnTo>
                <a:lnTo>
                  <a:pt x="2750" y="2699"/>
                </a:lnTo>
                <a:lnTo>
                  <a:pt x="2750" y="2699"/>
                </a:lnTo>
                <a:lnTo>
                  <a:pt x="2750" y="2699"/>
                </a:lnTo>
                <a:lnTo>
                  <a:pt x="2750" y="2699"/>
                </a:lnTo>
                <a:lnTo>
                  <a:pt x="2750" y="2705"/>
                </a:lnTo>
                <a:lnTo>
                  <a:pt x="2750" y="2705"/>
                </a:lnTo>
                <a:lnTo>
                  <a:pt x="2750" y="2705"/>
                </a:lnTo>
                <a:lnTo>
                  <a:pt x="2750" y="2705"/>
                </a:lnTo>
                <a:lnTo>
                  <a:pt x="2750" y="2705"/>
                </a:lnTo>
                <a:lnTo>
                  <a:pt x="2750" y="2705"/>
                </a:lnTo>
                <a:lnTo>
                  <a:pt x="2750" y="2705"/>
                </a:lnTo>
                <a:lnTo>
                  <a:pt x="2750" y="2705"/>
                </a:lnTo>
                <a:lnTo>
                  <a:pt x="2750" y="2705"/>
                </a:lnTo>
                <a:lnTo>
                  <a:pt x="2750" y="2705"/>
                </a:lnTo>
                <a:lnTo>
                  <a:pt x="2750" y="2705"/>
                </a:lnTo>
                <a:lnTo>
                  <a:pt x="2750" y="2699"/>
                </a:lnTo>
                <a:lnTo>
                  <a:pt x="2744" y="2699"/>
                </a:lnTo>
                <a:lnTo>
                  <a:pt x="2744" y="2699"/>
                </a:lnTo>
                <a:lnTo>
                  <a:pt x="2744" y="2699"/>
                </a:lnTo>
                <a:lnTo>
                  <a:pt x="2744" y="2699"/>
                </a:lnTo>
                <a:lnTo>
                  <a:pt x="2744" y="2699"/>
                </a:lnTo>
                <a:lnTo>
                  <a:pt x="2744" y="2699"/>
                </a:lnTo>
                <a:lnTo>
                  <a:pt x="2744" y="2693"/>
                </a:lnTo>
                <a:lnTo>
                  <a:pt x="2744" y="2693"/>
                </a:lnTo>
                <a:lnTo>
                  <a:pt x="2750" y="2693"/>
                </a:lnTo>
                <a:lnTo>
                  <a:pt x="2744" y="2693"/>
                </a:lnTo>
                <a:lnTo>
                  <a:pt x="2744" y="2693"/>
                </a:lnTo>
                <a:lnTo>
                  <a:pt x="2744" y="2687"/>
                </a:lnTo>
                <a:lnTo>
                  <a:pt x="2744" y="2687"/>
                </a:lnTo>
                <a:lnTo>
                  <a:pt x="2744" y="2687"/>
                </a:lnTo>
                <a:lnTo>
                  <a:pt x="2744" y="2687"/>
                </a:lnTo>
                <a:lnTo>
                  <a:pt x="2744" y="2687"/>
                </a:lnTo>
                <a:lnTo>
                  <a:pt x="2750" y="2687"/>
                </a:lnTo>
                <a:lnTo>
                  <a:pt x="2750" y="2687"/>
                </a:lnTo>
                <a:lnTo>
                  <a:pt x="2750" y="2687"/>
                </a:lnTo>
                <a:lnTo>
                  <a:pt x="2750" y="2687"/>
                </a:lnTo>
                <a:lnTo>
                  <a:pt x="2750" y="2687"/>
                </a:lnTo>
                <a:lnTo>
                  <a:pt x="2750" y="2687"/>
                </a:lnTo>
                <a:lnTo>
                  <a:pt x="2750" y="2687"/>
                </a:lnTo>
                <a:lnTo>
                  <a:pt x="2755" y="2687"/>
                </a:lnTo>
                <a:lnTo>
                  <a:pt x="2761" y="2687"/>
                </a:lnTo>
                <a:lnTo>
                  <a:pt x="2761" y="2687"/>
                </a:lnTo>
                <a:lnTo>
                  <a:pt x="2761" y="2681"/>
                </a:lnTo>
                <a:lnTo>
                  <a:pt x="2761" y="2681"/>
                </a:lnTo>
                <a:lnTo>
                  <a:pt x="2761" y="2687"/>
                </a:lnTo>
                <a:lnTo>
                  <a:pt x="2761" y="2687"/>
                </a:lnTo>
                <a:lnTo>
                  <a:pt x="2761" y="2687"/>
                </a:lnTo>
                <a:lnTo>
                  <a:pt x="2761" y="2687"/>
                </a:lnTo>
                <a:lnTo>
                  <a:pt x="2761" y="2687"/>
                </a:lnTo>
                <a:lnTo>
                  <a:pt x="2761" y="2693"/>
                </a:lnTo>
                <a:lnTo>
                  <a:pt x="2761" y="2693"/>
                </a:lnTo>
                <a:lnTo>
                  <a:pt x="2761" y="2693"/>
                </a:lnTo>
                <a:lnTo>
                  <a:pt x="2761" y="2693"/>
                </a:lnTo>
                <a:lnTo>
                  <a:pt x="2761" y="2693"/>
                </a:lnTo>
                <a:lnTo>
                  <a:pt x="2767" y="2693"/>
                </a:lnTo>
                <a:lnTo>
                  <a:pt x="2767" y="2693"/>
                </a:lnTo>
                <a:lnTo>
                  <a:pt x="2767" y="2687"/>
                </a:lnTo>
                <a:lnTo>
                  <a:pt x="2767" y="2687"/>
                </a:lnTo>
                <a:lnTo>
                  <a:pt x="2767" y="2687"/>
                </a:lnTo>
                <a:lnTo>
                  <a:pt x="2767" y="2681"/>
                </a:lnTo>
                <a:lnTo>
                  <a:pt x="2767" y="2681"/>
                </a:lnTo>
                <a:lnTo>
                  <a:pt x="2767" y="2681"/>
                </a:lnTo>
                <a:lnTo>
                  <a:pt x="2767" y="2681"/>
                </a:lnTo>
                <a:lnTo>
                  <a:pt x="2767" y="2681"/>
                </a:lnTo>
                <a:lnTo>
                  <a:pt x="2767" y="2681"/>
                </a:lnTo>
                <a:lnTo>
                  <a:pt x="2767" y="2675"/>
                </a:lnTo>
                <a:lnTo>
                  <a:pt x="2773" y="2675"/>
                </a:lnTo>
                <a:lnTo>
                  <a:pt x="2773" y="2675"/>
                </a:lnTo>
                <a:lnTo>
                  <a:pt x="2773" y="2681"/>
                </a:lnTo>
                <a:lnTo>
                  <a:pt x="2773" y="2681"/>
                </a:lnTo>
                <a:lnTo>
                  <a:pt x="2767" y="2681"/>
                </a:lnTo>
                <a:lnTo>
                  <a:pt x="2773" y="2687"/>
                </a:lnTo>
                <a:lnTo>
                  <a:pt x="2767" y="2687"/>
                </a:lnTo>
                <a:lnTo>
                  <a:pt x="2767" y="2687"/>
                </a:lnTo>
                <a:lnTo>
                  <a:pt x="2767" y="2687"/>
                </a:lnTo>
                <a:lnTo>
                  <a:pt x="2767" y="2693"/>
                </a:lnTo>
                <a:lnTo>
                  <a:pt x="2767" y="2693"/>
                </a:lnTo>
                <a:lnTo>
                  <a:pt x="2773" y="2693"/>
                </a:lnTo>
                <a:lnTo>
                  <a:pt x="2773" y="2687"/>
                </a:lnTo>
                <a:lnTo>
                  <a:pt x="2773" y="2687"/>
                </a:lnTo>
                <a:lnTo>
                  <a:pt x="2779" y="2687"/>
                </a:lnTo>
                <a:lnTo>
                  <a:pt x="2779" y="2681"/>
                </a:lnTo>
                <a:lnTo>
                  <a:pt x="2785" y="2681"/>
                </a:lnTo>
                <a:lnTo>
                  <a:pt x="2785" y="2681"/>
                </a:lnTo>
                <a:lnTo>
                  <a:pt x="2785" y="2681"/>
                </a:lnTo>
                <a:lnTo>
                  <a:pt x="2785" y="2675"/>
                </a:lnTo>
                <a:lnTo>
                  <a:pt x="2785" y="2675"/>
                </a:lnTo>
                <a:lnTo>
                  <a:pt x="2785" y="2675"/>
                </a:lnTo>
                <a:lnTo>
                  <a:pt x="2785" y="2669"/>
                </a:lnTo>
                <a:lnTo>
                  <a:pt x="2785" y="2669"/>
                </a:lnTo>
                <a:lnTo>
                  <a:pt x="2785" y="2669"/>
                </a:lnTo>
                <a:lnTo>
                  <a:pt x="2785" y="2663"/>
                </a:lnTo>
                <a:lnTo>
                  <a:pt x="2779" y="2663"/>
                </a:lnTo>
                <a:lnTo>
                  <a:pt x="2779" y="2663"/>
                </a:lnTo>
                <a:lnTo>
                  <a:pt x="2779" y="2663"/>
                </a:lnTo>
                <a:lnTo>
                  <a:pt x="2779" y="2657"/>
                </a:lnTo>
                <a:lnTo>
                  <a:pt x="2779" y="2657"/>
                </a:lnTo>
                <a:lnTo>
                  <a:pt x="2779" y="2657"/>
                </a:lnTo>
                <a:lnTo>
                  <a:pt x="2785" y="2657"/>
                </a:lnTo>
                <a:lnTo>
                  <a:pt x="2785" y="2663"/>
                </a:lnTo>
                <a:lnTo>
                  <a:pt x="2785" y="2663"/>
                </a:lnTo>
                <a:lnTo>
                  <a:pt x="2785" y="2657"/>
                </a:lnTo>
                <a:lnTo>
                  <a:pt x="2785" y="2657"/>
                </a:lnTo>
                <a:lnTo>
                  <a:pt x="2785" y="2657"/>
                </a:lnTo>
                <a:lnTo>
                  <a:pt x="2785" y="2657"/>
                </a:lnTo>
                <a:lnTo>
                  <a:pt x="2779" y="2657"/>
                </a:lnTo>
                <a:lnTo>
                  <a:pt x="2779" y="2657"/>
                </a:lnTo>
                <a:lnTo>
                  <a:pt x="2779" y="2657"/>
                </a:lnTo>
                <a:lnTo>
                  <a:pt x="2779" y="2657"/>
                </a:lnTo>
                <a:lnTo>
                  <a:pt x="2779" y="2651"/>
                </a:lnTo>
                <a:lnTo>
                  <a:pt x="2779" y="2651"/>
                </a:lnTo>
                <a:lnTo>
                  <a:pt x="2779" y="2651"/>
                </a:lnTo>
                <a:lnTo>
                  <a:pt x="2785" y="2651"/>
                </a:lnTo>
                <a:lnTo>
                  <a:pt x="2785" y="2651"/>
                </a:lnTo>
                <a:lnTo>
                  <a:pt x="2785" y="2651"/>
                </a:lnTo>
                <a:lnTo>
                  <a:pt x="2785" y="2657"/>
                </a:lnTo>
                <a:lnTo>
                  <a:pt x="2785" y="2657"/>
                </a:lnTo>
                <a:lnTo>
                  <a:pt x="2785" y="2657"/>
                </a:lnTo>
                <a:lnTo>
                  <a:pt x="2785" y="2657"/>
                </a:lnTo>
                <a:lnTo>
                  <a:pt x="2785" y="2657"/>
                </a:lnTo>
                <a:lnTo>
                  <a:pt x="2785" y="2657"/>
                </a:lnTo>
                <a:lnTo>
                  <a:pt x="2785" y="2657"/>
                </a:lnTo>
                <a:lnTo>
                  <a:pt x="2785" y="2657"/>
                </a:lnTo>
                <a:lnTo>
                  <a:pt x="2785" y="2657"/>
                </a:lnTo>
                <a:lnTo>
                  <a:pt x="2785" y="2657"/>
                </a:lnTo>
                <a:lnTo>
                  <a:pt x="2791" y="2657"/>
                </a:lnTo>
                <a:lnTo>
                  <a:pt x="2791" y="2663"/>
                </a:lnTo>
                <a:lnTo>
                  <a:pt x="2791" y="2663"/>
                </a:lnTo>
                <a:lnTo>
                  <a:pt x="2791" y="2663"/>
                </a:lnTo>
                <a:lnTo>
                  <a:pt x="2791" y="2663"/>
                </a:lnTo>
                <a:lnTo>
                  <a:pt x="2791" y="2663"/>
                </a:lnTo>
                <a:lnTo>
                  <a:pt x="2791" y="2663"/>
                </a:lnTo>
                <a:lnTo>
                  <a:pt x="2791" y="2663"/>
                </a:lnTo>
                <a:lnTo>
                  <a:pt x="2791" y="2663"/>
                </a:lnTo>
                <a:lnTo>
                  <a:pt x="2791" y="2669"/>
                </a:lnTo>
                <a:lnTo>
                  <a:pt x="2791" y="2669"/>
                </a:lnTo>
                <a:lnTo>
                  <a:pt x="2791" y="2669"/>
                </a:lnTo>
                <a:lnTo>
                  <a:pt x="2797" y="2669"/>
                </a:lnTo>
                <a:lnTo>
                  <a:pt x="2797" y="2669"/>
                </a:lnTo>
                <a:lnTo>
                  <a:pt x="2797" y="2669"/>
                </a:lnTo>
                <a:lnTo>
                  <a:pt x="2809" y="2663"/>
                </a:lnTo>
                <a:lnTo>
                  <a:pt x="2809" y="2663"/>
                </a:lnTo>
                <a:lnTo>
                  <a:pt x="2815" y="2663"/>
                </a:lnTo>
                <a:lnTo>
                  <a:pt x="2815" y="2663"/>
                </a:lnTo>
                <a:lnTo>
                  <a:pt x="2821" y="2657"/>
                </a:lnTo>
                <a:lnTo>
                  <a:pt x="2821" y="2657"/>
                </a:lnTo>
                <a:lnTo>
                  <a:pt x="2821" y="2657"/>
                </a:lnTo>
                <a:lnTo>
                  <a:pt x="2821" y="2651"/>
                </a:lnTo>
                <a:lnTo>
                  <a:pt x="2815" y="2651"/>
                </a:lnTo>
                <a:lnTo>
                  <a:pt x="2815" y="2651"/>
                </a:lnTo>
                <a:lnTo>
                  <a:pt x="2809" y="2651"/>
                </a:lnTo>
                <a:lnTo>
                  <a:pt x="2809" y="2651"/>
                </a:lnTo>
                <a:lnTo>
                  <a:pt x="2809" y="2651"/>
                </a:lnTo>
                <a:lnTo>
                  <a:pt x="2809" y="2651"/>
                </a:lnTo>
                <a:lnTo>
                  <a:pt x="2809" y="2651"/>
                </a:lnTo>
                <a:lnTo>
                  <a:pt x="2809" y="2651"/>
                </a:lnTo>
                <a:lnTo>
                  <a:pt x="2815" y="2651"/>
                </a:lnTo>
                <a:lnTo>
                  <a:pt x="2815" y="2645"/>
                </a:lnTo>
                <a:lnTo>
                  <a:pt x="2809" y="2645"/>
                </a:lnTo>
                <a:lnTo>
                  <a:pt x="2809" y="2645"/>
                </a:lnTo>
                <a:lnTo>
                  <a:pt x="2809" y="2645"/>
                </a:lnTo>
                <a:lnTo>
                  <a:pt x="2809" y="2645"/>
                </a:lnTo>
                <a:lnTo>
                  <a:pt x="2809" y="2645"/>
                </a:lnTo>
                <a:lnTo>
                  <a:pt x="2803" y="2639"/>
                </a:lnTo>
                <a:lnTo>
                  <a:pt x="2803" y="2639"/>
                </a:lnTo>
                <a:lnTo>
                  <a:pt x="2803" y="2639"/>
                </a:lnTo>
                <a:lnTo>
                  <a:pt x="2803" y="2639"/>
                </a:lnTo>
                <a:lnTo>
                  <a:pt x="2803" y="2639"/>
                </a:lnTo>
                <a:lnTo>
                  <a:pt x="2803" y="2639"/>
                </a:lnTo>
                <a:lnTo>
                  <a:pt x="2803" y="2639"/>
                </a:lnTo>
                <a:lnTo>
                  <a:pt x="2803" y="2639"/>
                </a:lnTo>
                <a:lnTo>
                  <a:pt x="2803" y="2639"/>
                </a:lnTo>
                <a:lnTo>
                  <a:pt x="2803" y="2633"/>
                </a:lnTo>
                <a:lnTo>
                  <a:pt x="2803" y="2633"/>
                </a:lnTo>
                <a:lnTo>
                  <a:pt x="2803" y="2633"/>
                </a:lnTo>
                <a:lnTo>
                  <a:pt x="2803" y="2633"/>
                </a:lnTo>
                <a:lnTo>
                  <a:pt x="2797" y="2627"/>
                </a:lnTo>
                <a:lnTo>
                  <a:pt x="2797" y="2627"/>
                </a:lnTo>
                <a:lnTo>
                  <a:pt x="2797" y="2627"/>
                </a:lnTo>
                <a:lnTo>
                  <a:pt x="2797" y="2627"/>
                </a:lnTo>
                <a:lnTo>
                  <a:pt x="2797" y="2627"/>
                </a:lnTo>
                <a:lnTo>
                  <a:pt x="2797" y="2627"/>
                </a:lnTo>
                <a:lnTo>
                  <a:pt x="2797" y="2622"/>
                </a:lnTo>
                <a:lnTo>
                  <a:pt x="2797" y="2622"/>
                </a:lnTo>
                <a:lnTo>
                  <a:pt x="2797" y="2622"/>
                </a:lnTo>
                <a:lnTo>
                  <a:pt x="2797" y="2627"/>
                </a:lnTo>
                <a:lnTo>
                  <a:pt x="2797" y="2627"/>
                </a:lnTo>
                <a:lnTo>
                  <a:pt x="2803" y="2622"/>
                </a:lnTo>
                <a:lnTo>
                  <a:pt x="2803" y="2622"/>
                </a:lnTo>
                <a:lnTo>
                  <a:pt x="2803" y="2627"/>
                </a:lnTo>
                <a:lnTo>
                  <a:pt x="2803" y="2627"/>
                </a:lnTo>
                <a:lnTo>
                  <a:pt x="2803" y="2627"/>
                </a:lnTo>
                <a:lnTo>
                  <a:pt x="2803" y="2627"/>
                </a:lnTo>
                <a:lnTo>
                  <a:pt x="2803" y="2627"/>
                </a:lnTo>
                <a:lnTo>
                  <a:pt x="2809" y="2627"/>
                </a:lnTo>
                <a:lnTo>
                  <a:pt x="2809" y="2627"/>
                </a:lnTo>
                <a:lnTo>
                  <a:pt x="2809" y="2633"/>
                </a:lnTo>
                <a:lnTo>
                  <a:pt x="2809" y="2633"/>
                </a:lnTo>
                <a:lnTo>
                  <a:pt x="2809" y="2633"/>
                </a:lnTo>
                <a:lnTo>
                  <a:pt x="2809" y="2633"/>
                </a:lnTo>
                <a:lnTo>
                  <a:pt x="2809" y="2633"/>
                </a:lnTo>
                <a:lnTo>
                  <a:pt x="2809" y="2633"/>
                </a:lnTo>
                <a:lnTo>
                  <a:pt x="2809" y="2633"/>
                </a:lnTo>
                <a:lnTo>
                  <a:pt x="2809" y="2633"/>
                </a:lnTo>
                <a:lnTo>
                  <a:pt x="2809" y="2633"/>
                </a:lnTo>
                <a:lnTo>
                  <a:pt x="2809" y="2633"/>
                </a:lnTo>
                <a:lnTo>
                  <a:pt x="2809" y="2633"/>
                </a:lnTo>
                <a:lnTo>
                  <a:pt x="2809" y="2633"/>
                </a:lnTo>
                <a:lnTo>
                  <a:pt x="2815" y="2633"/>
                </a:lnTo>
                <a:lnTo>
                  <a:pt x="2815" y="2633"/>
                </a:lnTo>
                <a:lnTo>
                  <a:pt x="2815" y="2633"/>
                </a:lnTo>
                <a:lnTo>
                  <a:pt x="2815" y="2639"/>
                </a:lnTo>
                <a:lnTo>
                  <a:pt x="2815" y="2633"/>
                </a:lnTo>
                <a:lnTo>
                  <a:pt x="2821" y="2639"/>
                </a:lnTo>
                <a:lnTo>
                  <a:pt x="2821" y="2639"/>
                </a:lnTo>
                <a:lnTo>
                  <a:pt x="2815" y="2639"/>
                </a:lnTo>
                <a:lnTo>
                  <a:pt x="2815" y="2639"/>
                </a:lnTo>
                <a:lnTo>
                  <a:pt x="2815" y="2639"/>
                </a:lnTo>
                <a:lnTo>
                  <a:pt x="2815" y="2639"/>
                </a:lnTo>
                <a:lnTo>
                  <a:pt x="2815" y="2639"/>
                </a:lnTo>
                <a:lnTo>
                  <a:pt x="2815" y="2639"/>
                </a:lnTo>
                <a:lnTo>
                  <a:pt x="2821" y="2639"/>
                </a:lnTo>
                <a:lnTo>
                  <a:pt x="2827" y="2633"/>
                </a:lnTo>
                <a:lnTo>
                  <a:pt x="2821" y="2633"/>
                </a:lnTo>
                <a:lnTo>
                  <a:pt x="2821" y="2633"/>
                </a:lnTo>
                <a:lnTo>
                  <a:pt x="2821" y="2633"/>
                </a:lnTo>
                <a:lnTo>
                  <a:pt x="2821" y="2633"/>
                </a:lnTo>
                <a:lnTo>
                  <a:pt x="2821" y="2633"/>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7"/>
                </a:lnTo>
                <a:lnTo>
                  <a:pt x="2821" y="2622"/>
                </a:lnTo>
                <a:lnTo>
                  <a:pt x="2821" y="2622"/>
                </a:lnTo>
                <a:lnTo>
                  <a:pt x="2821" y="2622"/>
                </a:lnTo>
                <a:lnTo>
                  <a:pt x="2821" y="2622"/>
                </a:lnTo>
                <a:lnTo>
                  <a:pt x="2815" y="2622"/>
                </a:lnTo>
                <a:lnTo>
                  <a:pt x="2821" y="2622"/>
                </a:lnTo>
                <a:lnTo>
                  <a:pt x="2821" y="2622"/>
                </a:lnTo>
                <a:lnTo>
                  <a:pt x="2821" y="2622"/>
                </a:lnTo>
                <a:lnTo>
                  <a:pt x="2821" y="2622"/>
                </a:lnTo>
                <a:lnTo>
                  <a:pt x="2821" y="2622"/>
                </a:lnTo>
                <a:lnTo>
                  <a:pt x="2821" y="2622"/>
                </a:lnTo>
                <a:lnTo>
                  <a:pt x="2821" y="2622"/>
                </a:lnTo>
                <a:lnTo>
                  <a:pt x="2827" y="2622"/>
                </a:lnTo>
                <a:lnTo>
                  <a:pt x="2827" y="2627"/>
                </a:lnTo>
                <a:lnTo>
                  <a:pt x="2827" y="2627"/>
                </a:lnTo>
                <a:lnTo>
                  <a:pt x="2827" y="2627"/>
                </a:lnTo>
                <a:lnTo>
                  <a:pt x="2821" y="2627"/>
                </a:lnTo>
                <a:lnTo>
                  <a:pt x="2821" y="2627"/>
                </a:lnTo>
                <a:lnTo>
                  <a:pt x="2827" y="2633"/>
                </a:lnTo>
                <a:lnTo>
                  <a:pt x="2827" y="2633"/>
                </a:lnTo>
                <a:lnTo>
                  <a:pt x="2827" y="2633"/>
                </a:lnTo>
                <a:lnTo>
                  <a:pt x="2827" y="2633"/>
                </a:lnTo>
                <a:lnTo>
                  <a:pt x="2827" y="2633"/>
                </a:lnTo>
                <a:lnTo>
                  <a:pt x="2827" y="2633"/>
                </a:lnTo>
                <a:lnTo>
                  <a:pt x="2827" y="2633"/>
                </a:lnTo>
                <a:lnTo>
                  <a:pt x="2833" y="2633"/>
                </a:lnTo>
                <a:lnTo>
                  <a:pt x="2833" y="2633"/>
                </a:lnTo>
                <a:lnTo>
                  <a:pt x="2833" y="2627"/>
                </a:lnTo>
                <a:lnTo>
                  <a:pt x="2833" y="2627"/>
                </a:lnTo>
                <a:lnTo>
                  <a:pt x="2838" y="2627"/>
                </a:lnTo>
                <a:lnTo>
                  <a:pt x="2838" y="2627"/>
                </a:lnTo>
                <a:lnTo>
                  <a:pt x="2833" y="2627"/>
                </a:lnTo>
                <a:lnTo>
                  <a:pt x="2838" y="2627"/>
                </a:lnTo>
                <a:lnTo>
                  <a:pt x="2838" y="2627"/>
                </a:lnTo>
                <a:lnTo>
                  <a:pt x="2838" y="2627"/>
                </a:lnTo>
                <a:lnTo>
                  <a:pt x="2838" y="2627"/>
                </a:lnTo>
                <a:lnTo>
                  <a:pt x="2838" y="2627"/>
                </a:lnTo>
                <a:lnTo>
                  <a:pt x="2844" y="2627"/>
                </a:lnTo>
                <a:lnTo>
                  <a:pt x="2844" y="2627"/>
                </a:lnTo>
                <a:lnTo>
                  <a:pt x="2844" y="2627"/>
                </a:lnTo>
                <a:lnTo>
                  <a:pt x="2844" y="2627"/>
                </a:lnTo>
                <a:lnTo>
                  <a:pt x="2838" y="2633"/>
                </a:lnTo>
                <a:lnTo>
                  <a:pt x="2838" y="2633"/>
                </a:lnTo>
                <a:lnTo>
                  <a:pt x="2838" y="2633"/>
                </a:lnTo>
                <a:lnTo>
                  <a:pt x="2838" y="2633"/>
                </a:lnTo>
                <a:lnTo>
                  <a:pt x="2844" y="2633"/>
                </a:lnTo>
                <a:lnTo>
                  <a:pt x="2844" y="2633"/>
                </a:lnTo>
                <a:lnTo>
                  <a:pt x="2844" y="2633"/>
                </a:lnTo>
                <a:lnTo>
                  <a:pt x="2844" y="2633"/>
                </a:lnTo>
                <a:lnTo>
                  <a:pt x="2844" y="2633"/>
                </a:lnTo>
                <a:lnTo>
                  <a:pt x="2844" y="2633"/>
                </a:lnTo>
                <a:lnTo>
                  <a:pt x="2850" y="2633"/>
                </a:lnTo>
                <a:lnTo>
                  <a:pt x="2850" y="2633"/>
                </a:lnTo>
                <a:lnTo>
                  <a:pt x="2850" y="2633"/>
                </a:lnTo>
                <a:lnTo>
                  <a:pt x="2850" y="2633"/>
                </a:lnTo>
                <a:lnTo>
                  <a:pt x="2844" y="2639"/>
                </a:lnTo>
                <a:lnTo>
                  <a:pt x="2844" y="2639"/>
                </a:lnTo>
                <a:lnTo>
                  <a:pt x="2838" y="2639"/>
                </a:lnTo>
                <a:lnTo>
                  <a:pt x="2838" y="2639"/>
                </a:lnTo>
                <a:lnTo>
                  <a:pt x="2844" y="2639"/>
                </a:lnTo>
                <a:lnTo>
                  <a:pt x="2844" y="2639"/>
                </a:lnTo>
                <a:lnTo>
                  <a:pt x="2850" y="2633"/>
                </a:lnTo>
                <a:lnTo>
                  <a:pt x="2856" y="2633"/>
                </a:lnTo>
                <a:lnTo>
                  <a:pt x="2856" y="2633"/>
                </a:lnTo>
                <a:lnTo>
                  <a:pt x="2856" y="2633"/>
                </a:lnTo>
                <a:lnTo>
                  <a:pt x="2856" y="2633"/>
                </a:lnTo>
                <a:lnTo>
                  <a:pt x="2862" y="2633"/>
                </a:lnTo>
                <a:lnTo>
                  <a:pt x="2862" y="2633"/>
                </a:lnTo>
                <a:lnTo>
                  <a:pt x="2862" y="2633"/>
                </a:lnTo>
                <a:lnTo>
                  <a:pt x="2862" y="2633"/>
                </a:lnTo>
                <a:lnTo>
                  <a:pt x="2862" y="2633"/>
                </a:lnTo>
                <a:lnTo>
                  <a:pt x="2862" y="2633"/>
                </a:lnTo>
                <a:lnTo>
                  <a:pt x="2862" y="2639"/>
                </a:lnTo>
                <a:lnTo>
                  <a:pt x="2862" y="2639"/>
                </a:lnTo>
                <a:lnTo>
                  <a:pt x="2862" y="2639"/>
                </a:lnTo>
                <a:lnTo>
                  <a:pt x="2862" y="2639"/>
                </a:lnTo>
                <a:lnTo>
                  <a:pt x="2844" y="2645"/>
                </a:lnTo>
                <a:lnTo>
                  <a:pt x="2844" y="2645"/>
                </a:lnTo>
                <a:lnTo>
                  <a:pt x="2844" y="2645"/>
                </a:lnTo>
                <a:lnTo>
                  <a:pt x="2838" y="2651"/>
                </a:lnTo>
                <a:lnTo>
                  <a:pt x="2838" y="2651"/>
                </a:lnTo>
                <a:lnTo>
                  <a:pt x="2844" y="2651"/>
                </a:lnTo>
                <a:lnTo>
                  <a:pt x="2844" y="2645"/>
                </a:lnTo>
                <a:lnTo>
                  <a:pt x="2850" y="2645"/>
                </a:lnTo>
                <a:lnTo>
                  <a:pt x="2856" y="2645"/>
                </a:lnTo>
                <a:lnTo>
                  <a:pt x="2862" y="2639"/>
                </a:lnTo>
                <a:lnTo>
                  <a:pt x="2868" y="2639"/>
                </a:lnTo>
                <a:lnTo>
                  <a:pt x="2874" y="2633"/>
                </a:lnTo>
                <a:lnTo>
                  <a:pt x="2874" y="2633"/>
                </a:lnTo>
                <a:lnTo>
                  <a:pt x="2880" y="2633"/>
                </a:lnTo>
                <a:lnTo>
                  <a:pt x="2892" y="2627"/>
                </a:lnTo>
                <a:lnTo>
                  <a:pt x="2886" y="2627"/>
                </a:lnTo>
                <a:lnTo>
                  <a:pt x="2886" y="2627"/>
                </a:lnTo>
                <a:lnTo>
                  <a:pt x="2886" y="2627"/>
                </a:lnTo>
                <a:lnTo>
                  <a:pt x="2880" y="2627"/>
                </a:lnTo>
                <a:lnTo>
                  <a:pt x="2868" y="2633"/>
                </a:lnTo>
                <a:lnTo>
                  <a:pt x="2868" y="2633"/>
                </a:lnTo>
                <a:lnTo>
                  <a:pt x="2868" y="2633"/>
                </a:lnTo>
                <a:lnTo>
                  <a:pt x="2868" y="2633"/>
                </a:lnTo>
                <a:lnTo>
                  <a:pt x="2868" y="2633"/>
                </a:lnTo>
                <a:lnTo>
                  <a:pt x="2868" y="2633"/>
                </a:lnTo>
                <a:lnTo>
                  <a:pt x="2868" y="2633"/>
                </a:lnTo>
                <a:lnTo>
                  <a:pt x="2868" y="2633"/>
                </a:lnTo>
                <a:lnTo>
                  <a:pt x="2868" y="2633"/>
                </a:lnTo>
                <a:lnTo>
                  <a:pt x="2868" y="2633"/>
                </a:lnTo>
                <a:lnTo>
                  <a:pt x="2868" y="2633"/>
                </a:lnTo>
                <a:lnTo>
                  <a:pt x="2868" y="2633"/>
                </a:lnTo>
                <a:lnTo>
                  <a:pt x="2868" y="2627"/>
                </a:lnTo>
                <a:lnTo>
                  <a:pt x="2868" y="2627"/>
                </a:lnTo>
                <a:lnTo>
                  <a:pt x="2874" y="2627"/>
                </a:lnTo>
                <a:lnTo>
                  <a:pt x="2880" y="2622"/>
                </a:lnTo>
                <a:lnTo>
                  <a:pt x="2880" y="2622"/>
                </a:lnTo>
                <a:lnTo>
                  <a:pt x="2886" y="2622"/>
                </a:lnTo>
                <a:lnTo>
                  <a:pt x="2886" y="2622"/>
                </a:lnTo>
                <a:lnTo>
                  <a:pt x="2892" y="2622"/>
                </a:lnTo>
                <a:lnTo>
                  <a:pt x="2898" y="2622"/>
                </a:lnTo>
                <a:lnTo>
                  <a:pt x="2904" y="2622"/>
                </a:lnTo>
                <a:lnTo>
                  <a:pt x="2910" y="2616"/>
                </a:lnTo>
                <a:lnTo>
                  <a:pt x="2915" y="2610"/>
                </a:lnTo>
                <a:lnTo>
                  <a:pt x="2915" y="2610"/>
                </a:lnTo>
                <a:lnTo>
                  <a:pt x="2921" y="2610"/>
                </a:lnTo>
                <a:lnTo>
                  <a:pt x="2921" y="2604"/>
                </a:lnTo>
                <a:lnTo>
                  <a:pt x="2921" y="2604"/>
                </a:lnTo>
                <a:lnTo>
                  <a:pt x="2927" y="2604"/>
                </a:lnTo>
                <a:lnTo>
                  <a:pt x="2927" y="2604"/>
                </a:lnTo>
                <a:lnTo>
                  <a:pt x="2927" y="2604"/>
                </a:lnTo>
                <a:lnTo>
                  <a:pt x="2927" y="2604"/>
                </a:lnTo>
                <a:lnTo>
                  <a:pt x="2933" y="2598"/>
                </a:lnTo>
                <a:lnTo>
                  <a:pt x="2933" y="2598"/>
                </a:lnTo>
                <a:lnTo>
                  <a:pt x="2933" y="2592"/>
                </a:lnTo>
                <a:lnTo>
                  <a:pt x="2939" y="2592"/>
                </a:lnTo>
                <a:lnTo>
                  <a:pt x="2945" y="2586"/>
                </a:lnTo>
                <a:lnTo>
                  <a:pt x="2945" y="2586"/>
                </a:lnTo>
                <a:lnTo>
                  <a:pt x="2945" y="2586"/>
                </a:lnTo>
                <a:lnTo>
                  <a:pt x="2945" y="2586"/>
                </a:lnTo>
                <a:lnTo>
                  <a:pt x="2945" y="2586"/>
                </a:lnTo>
                <a:lnTo>
                  <a:pt x="2945" y="2580"/>
                </a:lnTo>
                <a:lnTo>
                  <a:pt x="2945" y="2580"/>
                </a:lnTo>
                <a:lnTo>
                  <a:pt x="2945" y="2574"/>
                </a:lnTo>
                <a:lnTo>
                  <a:pt x="2945" y="2574"/>
                </a:lnTo>
                <a:lnTo>
                  <a:pt x="2945" y="2574"/>
                </a:lnTo>
                <a:lnTo>
                  <a:pt x="2945" y="2574"/>
                </a:lnTo>
                <a:lnTo>
                  <a:pt x="2945" y="2568"/>
                </a:lnTo>
                <a:lnTo>
                  <a:pt x="2945" y="2568"/>
                </a:lnTo>
                <a:lnTo>
                  <a:pt x="2945" y="2568"/>
                </a:lnTo>
                <a:lnTo>
                  <a:pt x="2945" y="2568"/>
                </a:lnTo>
                <a:lnTo>
                  <a:pt x="2951" y="2568"/>
                </a:lnTo>
                <a:lnTo>
                  <a:pt x="2951" y="2574"/>
                </a:lnTo>
                <a:lnTo>
                  <a:pt x="2951" y="2574"/>
                </a:lnTo>
                <a:lnTo>
                  <a:pt x="2951" y="2574"/>
                </a:lnTo>
                <a:lnTo>
                  <a:pt x="2951" y="2574"/>
                </a:lnTo>
                <a:lnTo>
                  <a:pt x="2957" y="2568"/>
                </a:lnTo>
                <a:lnTo>
                  <a:pt x="2963" y="2562"/>
                </a:lnTo>
                <a:lnTo>
                  <a:pt x="2963" y="2562"/>
                </a:lnTo>
                <a:lnTo>
                  <a:pt x="2963" y="2562"/>
                </a:lnTo>
                <a:lnTo>
                  <a:pt x="2963" y="2562"/>
                </a:lnTo>
                <a:lnTo>
                  <a:pt x="2963" y="2562"/>
                </a:lnTo>
                <a:lnTo>
                  <a:pt x="2963" y="2562"/>
                </a:lnTo>
                <a:lnTo>
                  <a:pt x="2963" y="2562"/>
                </a:lnTo>
                <a:lnTo>
                  <a:pt x="2963" y="2562"/>
                </a:lnTo>
                <a:lnTo>
                  <a:pt x="2963" y="2562"/>
                </a:lnTo>
                <a:lnTo>
                  <a:pt x="2963" y="2562"/>
                </a:lnTo>
                <a:lnTo>
                  <a:pt x="2963" y="2562"/>
                </a:lnTo>
                <a:lnTo>
                  <a:pt x="2963" y="2562"/>
                </a:lnTo>
                <a:lnTo>
                  <a:pt x="2963" y="2556"/>
                </a:lnTo>
                <a:lnTo>
                  <a:pt x="2969" y="2556"/>
                </a:lnTo>
                <a:lnTo>
                  <a:pt x="2969" y="2556"/>
                </a:lnTo>
                <a:lnTo>
                  <a:pt x="2969" y="2556"/>
                </a:lnTo>
                <a:lnTo>
                  <a:pt x="2969" y="2556"/>
                </a:lnTo>
                <a:lnTo>
                  <a:pt x="2969" y="2556"/>
                </a:lnTo>
                <a:lnTo>
                  <a:pt x="2969" y="2556"/>
                </a:lnTo>
                <a:lnTo>
                  <a:pt x="2969" y="2556"/>
                </a:lnTo>
                <a:lnTo>
                  <a:pt x="2969" y="2556"/>
                </a:lnTo>
                <a:lnTo>
                  <a:pt x="2975" y="2550"/>
                </a:lnTo>
                <a:lnTo>
                  <a:pt x="2975" y="2550"/>
                </a:lnTo>
                <a:lnTo>
                  <a:pt x="2975" y="2550"/>
                </a:lnTo>
                <a:lnTo>
                  <a:pt x="2975" y="2550"/>
                </a:lnTo>
                <a:lnTo>
                  <a:pt x="2981" y="2550"/>
                </a:lnTo>
                <a:lnTo>
                  <a:pt x="2981" y="2550"/>
                </a:lnTo>
                <a:lnTo>
                  <a:pt x="2981" y="2550"/>
                </a:lnTo>
                <a:lnTo>
                  <a:pt x="2981" y="2550"/>
                </a:lnTo>
                <a:lnTo>
                  <a:pt x="2981" y="2550"/>
                </a:lnTo>
                <a:lnTo>
                  <a:pt x="2981" y="2550"/>
                </a:lnTo>
                <a:lnTo>
                  <a:pt x="2981" y="2550"/>
                </a:lnTo>
                <a:lnTo>
                  <a:pt x="2975" y="2550"/>
                </a:lnTo>
                <a:lnTo>
                  <a:pt x="2975" y="2550"/>
                </a:lnTo>
                <a:lnTo>
                  <a:pt x="2975"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44"/>
                </a:lnTo>
                <a:lnTo>
                  <a:pt x="2969" y="2538"/>
                </a:lnTo>
                <a:lnTo>
                  <a:pt x="2963" y="2538"/>
                </a:lnTo>
                <a:lnTo>
                  <a:pt x="2963" y="2538"/>
                </a:lnTo>
                <a:lnTo>
                  <a:pt x="2969" y="2538"/>
                </a:lnTo>
                <a:lnTo>
                  <a:pt x="2969" y="2538"/>
                </a:lnTo>
                <a:lnTo>
                  <a:pt x="2969" y="2538"/>
                </a:lnTo>
                <a:lnTo>
                  <a:pt x="2969" y="2538"/>
                </a:lnTo>
                <a:lnTo>
                  <a:pt x="2969" y="2538"/>
                </a:lnTo>
                <a:lnTo>
                  <a:pt x="2969" y="2538"/>
                </a:lnTo>
                <a:lnTo>
                  <a:pt x="2963" y="2533"/>
                </a:lnTo>
                <a:lnTo>
                  <a:pt x="2957" y="2533"/>
                </a:lnTo>
                <a:lnTo>
                  <a:pt x="2963" y="2527"/>
                </a:lnTo>
                <a:lnTo>
                  <a:pt x="2963" y="2527"/>
                </a:lnTo>
                <a:lnTo>
                  <a:pt x="2963" y="2527"/>
                </a:lnTo>
                <a:lnTo>
                  <a:pt x="2963" y="2527"/>
                </a:lnTo>
                <a:lnTo>
                  <a:pt x="2963" y="2521"/>
                </a:lnTo>
                <a:lnTo>
                  <a:pt x="2963" y="2521"/>
                </a:lnTo>
                <a:lnTo>
                  <a:pt x="2963" y="2521"/>
                </a:lnTo>
                <a:lnTo>
                  <a:pt x="2963" y="2521"/>
                </a:lnTo>
                <a:lnTo>
                  <a:pt x="2963" y="2521"/>
                </a:lnTo>
                <a:lnTo>
                  <a:pt x="2963" y="2521"/>
                </a:lnTo>
                <a:lnTo>
                  <a:pt x="2963" y="2515"/>
                </a:lnTo>
                <a:lnTo>
                  <a:pt x="2963" y="2515"/>
                </a:lnTo>
                <a:lnTo>
                  <a:pt x="2963" y="2515"/>
                </a:lnTo>
                <a:lnTo>
                  <a:pt x="2963" y="2515"/>
                </a:lnTo>
                <a:lnTo>
                  <a:pt x="2963" y="2515"/>
                </a:lnTo>
                <a:lnTo>
                  <a:pt x="2963" y="2515"/>
                </a:lnTo>
                <a:lnTo>
                  <a:pt x="2957" y="2515"/>
                </a:lnTo>
                <a:lnTo>
                  <a:pt x="2957" y="2515"/>
                </a:lnTo>
                <a:lnTo>
                  <a:pt x="2957" y="2515"/>
                </a:lnTo>
                <a:lnTo>
                  <a:pt x="2957" y="2515"/>
                </a:lnTo>
                <a:lnTo>
                  <a:pt x="2957" y="2515"/>
                </a:lnTo>
                <a:lnTo>
                  <a:pt x="2957" y="2515"/>
                </a:lnTo>
                <a:lnTo>
                  <a:pt x="2957" y="2509"/>
                </a:lnTo>
                <a:lnTo>
                  <a:pt x="2957" y="2509"/>
                </a:lnTo>
                <a:lnTo>
                  <a:pt x="2957" y="2509"/>
                </a:lnTo>
                <a:lnTo>
                  <a:pt x="2957" y="2509"/>
                </a:lnTo>
                <a:lnTo>
                  <a:pt x="2963" y="2509"/>
                </a:lnTo>
                <a:lnTo>
                  <a:pt x="2963" y="2509"/>
                </a:lnTo>
                <a:lnTo>
                  <a:pt x="2963" y="2515"/>
                </a:lnTo>
                <a:lnTo>
                  <a:pt x="2969" y="2515"/>
                </a:lnTo>
                <a:lnTo>
                  <a:pt x="2969" y="2515"/>
                </a:lnTo>
                <a:lnTo>
                  <a:pt x="2969" y="2515"/>
                </a:lnTo>
                <a:lnTo>
                  <a:pt x="2969" y="2515"/>
                </a:lnTo>
                <a:lnTo>
                  <a:pt x="2969" y="2521"/>
                </a:lnTo>
                <a:lnTo>
                  <a:pt x="2969" y="2515"/>
                </a:lnTo>
                <a:lnTo>
                  <a:pt x="2969" y="2515"/>
                </a:lnTo>
                <a:lnTo>
                  <a:pt x="2975" y="2515"/>
                </a:lnTo>
                <a:lnTo>
                  <a:pt x="2975" y="2515"/>
                </a:lnTo>
                <a:lnTo>
                  <a:pt x="2975" y="2515"/>
                </a:lnTo>
                <a:lnTo>
                  <a:pt x="2975" y="2509"/>
                </a:lnTo>
                <a:lnTo>
                  <a:pt x="2981" y="2509"/>
                </a:lnTo>
                <a:lnTo>
                  <a:pt x="2981" y="2509"/>
                </a:lnTo>
                <a:lnTo>
                  <a:pt x="2981" y="2509"/>
                </a:lnTo>
                <a:lnTo>
                  <a:pt x="2981" y="2503"/>
                </a:lnTo>
                <a:lnTo>
                  <a:pt x="2981" y="2503"/>
                </a:lnTo>
                <a:lnTo>
                  <a:pt x="2981" y="2503"/>
                </a:lnTo>
                <a:lnTo>
                  <a:pt x="2981" y="2503"/>
                </a:lnTo>
                <a:lnTo>
                  <a:pt x="2987" y="2503"/>
                </a:lnTo>
                <a:lnTo>
                  <a:pt x="2987" y="2503"/>
                </a:lnTo>
                <a:lnTo>
                  <a:pt x="2987" y="2503"/>
                </a:lnTo>
                <a:lnTo>
                  <a:pt x="2987" y="2503"/>
                </a:lnTo>
                <a:lnTo>
                  <a:pt x="2987" y="2503"/>
                </a:lnTo>
                <a:lnTo>
                  <a:pt x="2993" y="2503"/>
                </a:lnTo>
                <a:lnTo>
                  <a:pt x="2993" y="2509"/>
                </a:lnTo>
                <a:lnTo>
                  <a:pt x="2993" y="2509"/>
                </a:lnTo>
                <a:lnTo>
                  <a:pt x="2993" y="2509"/>
                </a:lnTo>
                <a:lnTo>
                  <a:pt x="2993" y="2509"/>
                </a:lnTo>
                <a:lnTo>
                  <a:pt x="2993" y="2509"/>
                </a:lnTo>
                <a:lnTo>
                  <a:pt x="2993" y="2515"/>
                </a:lnTo>
                <a:lnTo>
                  <a:pt x="2993" y="2515"/>
                </a:lnTo>
                <a:lnTo>
                  <a:pt x="2993" y="2521"/>
                </a:lnTo>
                <a:lnTo>
                  <a:pt x="2993" y="2521"/>
                </a:lnTo>
                <a:lnTo>
                  <a:pt x="2987" y="2527"/>
                </a:lnTo>
                <a:lnTo>
                  <a:pt x="2987" y="2527"/>
                </a:lnTo>
                <a:lnTo>
                  <a:pt x="2987" y="2527"/>
                </a:lnTo>
                <a:lnTo>
                  <a:pt x="2987" y="2527"/>
                </a:lnTo>
                <a:lnTo>
                  <a:pt x="2987" y="2533"/>
                </a:lnTo>
                <a:lnTo>
                  <a:pt x="2987" y="2533"/>
                </a:lnTo>
                <a:lnTo>
                  <a:pt x="2981" y="2533"/>
                </a:lnTo>
                <a:lnTo>
                  <a:pt x="2981" y="2533"/>
                </a:lnTo>
                <a:lnTo>
                  <a:pt x="2981" y="2533"/>
                </a:lnTo>
                <a:lnTo>
                  <a:pt x="2981" y="2533"/>
                </a:lnTo>
                <a:lnTo>
                  <a:pt x="2981" y="2533"/>
                </a:lnTo>
                <a:lnTo>
                  <a:pt x="2987" y="2533"/>
                </a:lnTo>
                <a:lnTo>
                  <a:pt x="2987" y="2533"/>
                </a:lnTo>
                <a:lnTo>
                  <a:pt x="2993" y="2533"/>
                </a:lnTo>
                <a:lnTo>
                  <a:pt x="2993" y="2533"/>
                </a:lnTo>
                <a:lnTo>
                  <a:pt x="2998" y="2533"/>
                </a:lnTo>
                <a:lnTo>
                  <a:pt x="3004" y="2527"/>
                </a:lnTo>
                <a:lnTo>
                  <a:pt x="3004" y="2527"/>
                </a:lnTo>
                <a:lnTo>
                  <a:pt x="3004" y="2527"/>
                </a:lnTo>
                <a:lnTo>
                  <a:pt x="3004" y="2527"/>
                </a:lnTo>
                <a:lnTo>
                  <a:pt x="3010" y="2527"/>
                </a:lnTo>
                <a:lnTo>
                  <a:pt x="3010" y="2533"/>
                </a:lnTo>
                <a:lnTo>
                  <a:pt x="3010" y="2533"/>
                </a:lnTo>
                <a:lnTo>
                  <a:pt x="3010" y="2527"/>
                </a:lnTo>
                <a:lnTo>
                  <a:pt x="3010" y="2527"/>
                </a:lnTo>
                <a:lnTo>
                  <a:pt x="3010" y="2527"/>
                </a:lnTo>
                <a:lnTo>
                  <a:pt x="3010" y="2527"/>
                </a:lnTo>
                <a:lnTo>
                  <a:pt x="3010" y="2533"/>
                </a:lnTo>
                <a:lnTo>
                  <a:pt x="3010" y="2533"/>
                </a:lnTo>
                <a:lnTo>
                  <a:pt x="3010" y="2533"/>
                </a:lnTo>
                <a:lnTo>
                  <a:pt x="3010" y="2533"/>
                </a:lnTo>
                <a:lnTo>
                  <a:pt x="3010" y="2533"/>
                </a:lnTo>
                <a:lnTo>
                  <a:pt x="3004" y="2533"/>
                </a:lnTo>
                <a:lnTo>
                  <a:pt x="3004" y="2533"/>
                </a:lnTo>
                <a:lnTo>
                  <a:pt x="3004" y="2533"/>
                </a:lnTo>
                <a:lnTo>
                  <a:pt x="2998" y="2538"/>
                </a:lnTo>
                <a:lnTo>
                  <a:pt x="2998" y="2538"/>
                </a:lnTo>
                <a:lnTo>
                  <a:pt x="2998" y="2538"/>
                </a:lnTo>
                <a:lnTo>
                  <a:pt x="2998" y="2538"/>
                </a:lnTo>
                <a:lnTo>
                  <a:pt x="2998" y="2538"/>
                </a:lnTo>
                <a:lnTo>
                  <a:pt x="2998" y="2538"/>
                </a:lnTo>
                <a:lnTo>
                  <a:pt x="2993" y="2538"/>
                </a:lnTo>
                <a:lnTo>
                  <a:pt x="2993" y="2538"/>
                </a:lnTo>
                <a:lnTo>
                  <a:pt x="2993" y="2538"/>
                </a:lnTo>
                <a:lnTo>
                  <a:pt x="2981" y="2550"/>
                </a:lnTo>
                <a:lnTo>
                  <a:pt x="2981" y="2550"/>
                </a:lnTo>
                <a:lnTo>
                  <a:pt x="2981" y="2550"/>
                </a:lnTo>
                <a:lnTo>
                  <a:pt x="2981" y="2550"/>
                </a:lnTo>
                <a:lnTo>
                  <a:pt x="2987" y="2550"/>
                </a:lnTo>
                <a:lnTo>
                  <a:pt x="2987" y="2550"/>
                </a:lnTo>
                <a:lnTo>
                  <a:pt x="2993" y="2544"/>
                </a:lnTo>
                <a:lnTo>
                  <a:pt x="2993" y="2544"/>
                </a:lnTo>
                <a:lnTo>
                  <a:pt x="2998" y="2538"/>
                </a:lnTo>
                <a:lnTo>
                  <a:pt x="3028" y="2527"/>
                </a:lnTo>
                <a:lnTo>
                  <a:pt x="3040" y="2521"/>
                </a:lnTo>
                <a:lnTo>
                  <a:pt x="3046" y="2515"/>
                </a:lnTo>
                <a:lnTo>
                  <a:pt x="3052" y="2515"/>
                </a:lnTo>
                <a:lnTo>
                  <a:pt x="3058" y="2515"/>
                </a:lnTo>
                <a:lnTo>
                  <a:pt x="3058" y="2515"/>
                </a:lnTo>
                <a:lnTo>
                  <a:pt x="3058" y="2515"/>
                </a:lnTo>
                <a:lnTo>
                  <a:pt x="3070" y="2515"/>
                </a:lnTo>
                <a:lnTo>
                  <a:pt x="3070" y="2515"/>
                </a:lnTo>
                <a:lnTo>
                  <a:pt x="3070" y="2515"/>
                </a:lnTo>
                <a:lnTo>
                  <a:pt x="3075" y="2515"/>
                </a:lnTo>
                <a:lnTo>
                  <a:pt x="3075" y="2515"/>
                </a:lnTo>
                <a:lnTo>
                  <a:pt x="3075" y="2515"/>
                </a:lnTo>
                <a:lnTo>
                  <a:pt x="3075" y="2509"/>
                </a:lnTo>
                <a:lnTo>
                  <a:pt x="3075" y="2509"/>
                </a:lnTo>
                <a:lnTo>
                  <a:pt x="3070" y="2503"/>
                </a:lnTo>
                <a:lnTo>
                  <a:pt x="3070" y="2503"/>
                </a:lnTo>
                <a:lnTo>
                  <a:pt x="3070" y="2503"/>
                </a:lnTo>
                <a:lnTo>
                  <a:pt x="3070" y="2497"/>
                </a:lnTo>
                <a:lnTo>
                  <a:pt x="3070" y="2491"/>
                </a:lnTo>
                <a:lnTo>
                  <a:pt x="3075" y="2485"/>
                </a:lnTo>
                <a:lnTo>
                  <a:pt x="3075" y="2479"/>
                </a:lnTo>
                <a:lnTo>
                  <a:pt x="3075" y="2479"/>
                </a:lnTo>
                <a:lnTo>
                  <a:pt x="3075" y="2479"/>
                </a:lnTo>
                <a:lnTo>
                  <a:pt x="3081" y="2479"/>
                </a:lnTo>
                <a:lnTo>
                  <a:pt x="3081" y="2479"/>
                </a:lnTo>
                <a:lnTo>
                  <a:pt x="3081" y="2479"/>
                </a:lnTo>
                <a:lnTo>
                  <a:pt x="3081" y="2479"/>
                </a:lnTo>
                <a:lnTo>
                  <a:pt x="3087" y="2485"/>
                </a:lnTo>
                <a:lnTo>
                  <a:pt x="3081" y="2491"/>
                </a:lnTo>
                <a:lnTo>
                  <a:pt x="3081" y="2497"/>
                </a:lnTo>
                <a:lnTo>
                  <a:pt x="3081" y="2497"/>
                </a:lnTo>
                <a:lnTo>
                  <a:pt x="3075" y="2497"/>
                </a:lnTo>
                <a:lnTo>
                  <a:pt x="3075" y="2497"/>
                </a:lnTo>
                <a:lnTo>
                  <a:pt x="3070" y="2503"/>
                </a:lnTo>
                <a:lnTo>
                  <a:pt x="3070" y="2503"/>
                </a:lnTo>
                <a:lnTo>
                  <a:pt x="3070" y="2503"/>
                </a:lnTo>
                <a:lnTo>
                  <a:pt x="3075" y="2509"/>
                </a:lnTo>
                <a:lnTo>
                  <a:pt x="3075" y="2509"/>
                </a:lnTo>
                <a:lnTo>
                  <a:pt x="3075" y="2515"/>
                </a:lnTo>
                <a:lnTo>
                  <a:pt x="3075" y="2515"/>
                </a:lnTo>
                <a:lnTo>
                  <a:pt x="3081" y="2509"/>
                </a:lnTo>
                <a:lnTo>
                  <a:pt x="3081" y="2509"/>
                </a:lnTo>
                <a:lnTo>
                  <a:pt x="3081" y="2509"/>
                </a:lnTo>
                <a:lnTo>
                  <a:pt x="3081" y="2509"/>
                </a:lnTo>
                <a:lnTo>
                  <a:pt x="3087" y="2509"/>
                </a:lnTo>
                <a:lnTo>
                  <a:pt x="3087" y="2509"/>
                </a:lnTo>
                <a:lnTo>
                  <a:pt x="3093" y="2509"/>
                </a:lnTo>
                <a:lnTo>
                  <a:pt x="3099" y="2509"/>
                </a:lnTo>
                <a:lnTo>
                  <a:pt x="3105" y="2509"/>
                </a:lnTo>
                <a:lnTo>
                  <a:pt x="3105" y="2503"/>
                </a:lnTo>
                <a:lnTo>
                  <a:pt x="3105" y="2503"/>
                </a:lnTo>
                <a:lnTo>
                  <a:pt x="3111" y="2503"/>
                </a:lnTo>
                <a:lnTo>
                  <a:pt x="3117" y="2503"/>
                </a:lnTo>
                <a:lnTo>
                  <a:pt x="3117" y="2503"/>
                </a:lnTo>
                <a:lnTo>
                  <a:pt x="3123" y="2503"/>
                </a:lnTo>
                <a:lnTo>
                  <a:pt x="3129" y="2503"/>
                </a:lnTo>
                <a:lnTo>
                  <a:pt x="3129" y="2503"/>
                </a:lnTo>
                <a:lnTo>
                  <a:pt x="3135" y="2503"/>
                </a:lnTo>
                <a:lnTo>
                  <a:pt x="3141" y="2503"/>
                </a:lnTo>
                <a:lnTo>
                  <a:pt x="3153" y="2509"/>
                </a:lnTo>
                <a:lnTo>
                  <a:pt x="3158" y="2509"/>
                </a:lnTo>
                <a:lnTo>
                  <a:pt x="3158" y="2509"/>
                </a:lnTo>
                <a:lnTo>
                  <a:pt x="3164" y="2509"/>
                </a:lnTo>
                <a:lnTo>
                  <a:pt x="3170" y="2515"/>
                </a:lnTo>
                <a:lnTo>
                  <a:pt x="3176" y="2515"/>
                </a:lnTo>
                <a:lnTo>
                  <a:pt x="3182" y="2521"/>
                </a:lnTo>
                <a:lnTo>
                  <a:pt x="3182" y="2521"/>
                </a:lnTo>
                <a:lnTo>
                  <a:pt x="3182" y="2521"/>
                </a:lnTo>
                <a:lnTo>
                  <a:pt x="3194" y="2527"/>
                </a:lnTo>
                <a:lnTo>
                  <a:pt x="3206" y="2527"/>
                </a:lnTo>
                <a:lnTo>
                  <a:pt x="3212" y="2527"/>
                </a:lnTo>
                <a:lnTo>
                  <a:pt x="3212" y="2527"/>
                </a:lnTo>
                <a:lnTo>
                  <a:pt x="3212" y="2527"/>
                </a:lnTo>
                <a:lnTo>
                  <a:pt x="3230" y="2533"/>
                </a:lnTo>
                <a:lnTo>
                  <a:pt x="3235" y="2533"/>
                </a:lnTo>
                <a:lnTo>
                  <a:pt x="3235" y="2533"/>
                </a:lnTo>
                <a:lnTo>
                  <a:pt x="3235" y="2533"/>
                </a:lnTo>
                <a:lnTo>
                  <a:pt x="3241" y="2527"/>
                </a:lnTo>
                <a:lnTo>
                  <a:pt x="3241" y="2527"/>
                </a:lnTo>
                <a:lnTo>
                  <a:pt x="3247" y="2527"/>
                </a:lnTo>
                <a:lnTo>
                  <a:pt x="3253" y="2527"/>
                </a:lnTo>
                <a:lnTo>
                  <a:pt x="3253" y="2527"/>
                </a:lnTo>
                <a:lnTo>
                  <a:pt x="3253" y="2527"/>
                </a:lnTo>
                <a:lnTo>
                  <a:pt x="3253" y="2521"/>
                </a:lnTo>
                <a:lnTo>
                  <a:pt x="3253" y="2521"/>
                </a:lnTo>
                <a:lnTo>
                  <a:pt x="3253" y="2521"/>
                </a:lnTo>
                <a:lnTo>
                  <a:pt x="3253" y="2521"/>
                </a:lnTo>
                <a:lnTo>
                  <a:pt x="3259" y="2521"/>
                </a:lnTo>
                <a:lnTo>
                  <a:pt x="3259" y="2521"/>
                </a:lnTo>
                <a:lnTo>
                  <a:pt x="3259" y="2521"/>
                </a:lnTo>
                <a:lnTo>
                  <a:pt x="3253" y="2521"/>
                </a:lnTo>
                <a:lnTo>
                  <a:pt x="3253" y="2521"/>
                </a:lnTo>
                <a:lnTo>
                  <a:pt x="3253" y="2521"/>
                </a:lnTo>
                <a:lnTo>
                  <a:pt x="3253" y="2521"/>
                </a:lnTo>
                <a:lnTo>
                  <a:pt x="3247" y="2521"/>
                </a:lnTo>
                <a:lnTo>
                  <a:pt x="3247" y="2521"/>
                </a:lnTo>
                <a:lnTo>
                  <a:pt x="3247" y="2521"/>
                </a:lnTo>
                <a:lnTo>
                  <a:pt x="3247" y="2515"/>
                </a:lnTo>
                <a:lnTo>
                  <a:pt x="3247" y="2515"/>
                </a:lnTo>
                <a:lnTo>
                  <a:pt x="3247" y="2515"/>
                </a:lnTo>
                <a:lnTo>
                  <a:pt x="3247" y="2509"/>
                </a:lnTo>
                <a:lnTo>
                  <a:pt x="3247" y="2509"/>
                </a:lnTo>
                <a:lnTo>
                  <a:pt x="3247" y="2509"/>
                </a:lnTo>
                <a:lnTo>
                  <a:pt x="3247" y="2509"/>
                </a:lnTo>
                <a:lnTo>
                  <a:pt x="3247" y="2515"/>
                </a:lnTo>
                <a:lnTo>
                  <a:pt x="3241" y="2515"/>
                </a:lnTo>
                <a:lnTo>
                  <a:pt x="3241" y="2515"/>
                </a:lnTo>
                <a:lnTo>
                  <a:pt x="3241" y="2515"/>
                </a:lnTo>
                <a:lnTo>
                  <a:pt x="3241" y="2515"/>
                </a:lnTo>
                <a:lnTo>
                  <a:pt x="3241" y="2509"/>
                </a:lnTo>
                <a:lnTo>
                  <a:pt x="3241" y="2509"/>
                </a:lnTo>
                <a:lnTo>
                  <a:pt x="3241" y="2503"/>
                </a:lnTo>
                <a:lnTo>
                  <a:pt x="3241" y="2503"/>
                </a:lnTo>
                <a:lnTo>
                  <a:pt x="3241" y="2509"/>
                </a:lnTo>
                <a:lnTo>
                  <a:pt x="3241" y="2509"/>
                </a:lnTo>
                <a:lnTo>
                  <a:pt x="3241" y="2509"/>
                </a:lnTo>
                <a:lnTo>
                  <a:pt x="3241" y="2503"/>
                </a:lnTo>
                <a:lnTo>
                  <a:pt x="3241" y="2503"/>
                </a:lnTo>
                <a:lnTo>
                  <a:pt x="3241" y="2503"/>
                </a:lnTo>
                <a:lnTo>
                  <a:pt x="3247" y="2503"/>
                </a:lnTo>
                <a:lnTo>
                  <a:pt x="3247" y="2503"/>
                </a:lnTo>
                <a:lnTo>
                  <a:pt x="3247" y="2509"/>
                </a:lnTo>
                <a:lnTo>
                  <a:pt x="3247" y="2509"/>
                </a:lnTo>
                <a:lnTo>
                  <a:pt x="3247" y="2509"/>
                </a:lnTo>
                <a:lnTo>
                  <a:pt x="3247" y="2509"/>
                </a:lnTo>
                <a:lnTo>
                  <a:pt x="3247" y="2509"/>
                </a:lnTo>
                <a:lnTo>
                  <a:pt x="3247" y="2509"/>
                </a:lnTo>
                <a:lnTo>
                  <a:pt x="3247" y="2509"/>
                </a:lnTo>
                <a:lnTo>
                  <a:pt x="3247" y="2509"/>
                </a:lnTo>
                <a:lnTo>
                  <a:pt x="3247" y="2503"/>
                </a:lnTo>
                <a:lnTo>
                  <a:pt x="3253" y="2503"/>
                </a:lnTo>
                <a:lnTo>
                  <a:pt x="3253" y="2503"/>
                </a:lnTo>
                <a:lnTo>
                  <a:pt x="3253" y="2503"/>
                </a:lnTo>
                <a:lnTo>
                  <a:pt x="3259" y="2503"/>
                </a:lnTo>
                <a:lnTo>
                  <a:pt x="3259" y="2503"/>
                </a:lnTo>
                <a:lnTo>
                  <a:pt x="3259" y="2503"/>
                </a:lnTo>
                <a:lnTo>
                  <a:pt x="3259" y="2497"/>
                </a:lnTo>
                <a:lnTo>
                  <a:pt x="3259" y="2497"/>
                </a:lnTo>
                <a:lnTo>
                  <a:pt x="3259" y="2497"/>
                </a:lnTo>
                <a:lnTo>
                  <a:pt x="3265" y="2497"/>
                </a:lnTo>
                <a:lnTo>
                  <a:pt x="3265" y="2497"/>
                </a:lnTo>
                <a:lnTo>
                  <a:pt x="3265" y="2497"/>
                </a:lnTo>
                <a:lnTo>
                  <a:pt x="3265" y="2497"/>
                </a:lnTo>
                <a:lnTo>
                  <a:pt x="3271" y="2497"/>
                </a:lnTo>
                <a:lnTo>
                  <a:pt x="3271" y="2497"/>
                </a:lnTo>
                <a:lnTo>
                  <a:pt x="3277" y="2497"/>
                </a:lnTo>
                <a:lnTo>
                  <a:pt x="3277" y="2497"/>
                </a:lnTo>
                <a:lnTo>
                  <a:pt x="3277" y="2497"/>
                </a:lnTo>
                <a:lnTo>
                  <a:pt x="3277" y="2497"/>
                </a:lnTo>
                <a:lnTo>
                  <a:pt x="3277" y="2503"/>
                </a:lnTo>
                <a:lnTo>
                  <a:pt x="3277" y="2503"/>
                </a:lnTo>
                <a:lnTo>
                  <a:pt x="3277" y="2503"/>
                </a:lnTo>
                <a:lnTo>
                  <a:pt x="3277" y="2503"/>
                </a:lnTo>
                <a:lnTo>
                  <a:pt x="3277" y="2503"/>
                </a:lnTo>
                <a:lnTo>
                  <a:pt x="3277" y="2503"/>
                </a:lnTo>
                <a:lnTo>
                  <a:pt x="3277" y="2503"/>
                </a:lnTo>
                <a:lnTo>
                  <a:pt x="3277" y="2503"/>
                </a:lnTo>
                <a:lnTo>
                  <a:pt x="3271" y="2503"/>
                </a:lnTo>
                <a:lnTo>
                  <a:pt x="3271" y="2503"/>
                </a:lnTo>
                <a:lnTo>
                  <a:pt x="3271" y="2503"/>
                </a:lnTo>
                <a:lnTo>
                  <a:pt x="3271" y="2503"/>
                </a:lnTo>
                <a:lnTo>
                  <a:pt x="3271" y="2509"/>
                </a:lnTo>
                <a:lnTo>
                  <a:pt x="3271" y="2509"/>
                </a:lnTo>
                <a:lnTo>
                  <a:pt x="3271" y="2509"/>
                </a:lnTo>
                <a:lnTo>
                  <a:pt x="3271" y="2509"/>
                </a:lnTo>
                <a:lnTo>
                  <a:pt x="3277" y="2509"/>
                </a:lnTo>
                <a:lnTo>
                  <a:pt x="3277" y="2509"/>
                </a:lnTo>
                <a:lnTo>
                  <a:pt x="3277" y="2509"/>
                </a:lnTo>
                <a:lnTo>
                  <a:pt x="3283" y="2509"/>
                </a:lnTo>
                <a:lnTo>
                  <a:pt x="3283" y="2509"/>
                </a:lnTo>
                <a:lnTo>
                  <a:pt x="3289" y="2509"/>
                </a:lnTo>
                <a:lnTo>
                  <a:pt x="3295" y="2509"/>
                </a:lnTo>
                <a:lnTo>
                  <a:pt x="3295" y="2509"/>
                </a:lnTo>
                <a:lnTo>
                  <a:pt x="3295" y="2509"/>
                </a:lnTo>
                <a:lnTo>
                  <a:pt x="3295" y="2509"/>
                </a:lnTo>
                <a:lnTo>
                  <a:pt x="3295" y="2515"/>
                </a:lnTo>
                <a:lnTo>
                  <a:pt x="3295" y="2515"/>
                </a:lnTo>
                <a:lnTo>
                  <a:pt x="3295" y="2515"/>
                </a:lnTo>
                <a:lnTo>
                  <a:pt x="3295" y="2521"/>
                </a:lnTo>
                <a:lnTo>
                  <a:pt x="3295" y="2521"/>
                </a:lnTo>
                <a:lnTo>
                  <a:pt x="3295" y="2521"/>
                </a:lnTo>
                <a:lnTo>
                  <a:pt x="3301" y="2521"/>
                </a:lnTo>
                <a:lnTo>
                  <a:pt x="3301" y="2521"/>
                </a:lnTo>
                <a:lnTo>
                  <a:pt x="3301" y="2521"/>
                </a:lnTo>
                <a:lnTo>
                  <a:pt x="3301" y="2521"/>
                </a:lnTo>
                <a:lnTo>
                  <a:pt x="3301" y="2521"/>
                </a:lnTo>
                <a:lnTo>
                  <a:pt x="3301" y="2521"/>
                </a:lnTo>
                <a:lnTo>
                  <a:pt x="3307" y="2521"/>
                </a:lnTo>
                <a:lnTo>
                  <a:pt x="3307" y="2521"/>
                </a:lnTo>
                <a:lnTo>
                  <a:pt x="3307" y="2521"/>
                </a:lnTo>
                <a:lnTo>
                  <a:pt x="3307" y="2521"/>
                </a:lnTo>
                <a:lnTo>
                  <a:pt x="3307" y="2521"/>
                </a:lnTo>
                <a:lnTo>
                  <a:pt x="3307" y="2527"/>
                </a:lnTo>
                <a:lnTo>
                  <a:pt x="3307" y="2527"/>
                </a:lnTo>
                <a:lnTo>
                  <a:pt x="3307" y="2533"/>
                </a:lnTo>
                <a:lnTo>
                  <a:pt x="3307" y="2533"/>
                </a:lnTo>
                <a:lnTo>
                  <a:pt x="3307" y="2533"/>
                </a:lnTo>
                <a:lnTo>
                  <a:pt x="3307" y="2533"/>
                </a:lnTo>
                <a:lnTo>
                  <a:pt x="3313" y="2533"/>
                </a:lnTo>
                <a:lnTo>
                  <a:pt x="3313" y="2533"/>
                </a:lnTo>
                <a:lnTo>
                  <a:pt x="3313" y="2533"/>
                </a:lnTo>
                <a:lnTo>
                  <a:pt x="3318" y="2527"/>
                </a:lnTo>
                <a:lnTo>
                  <a:pt x="3318" y="2527"/>
                </a:lnTo>
                <a:lnTo>
                  <a:pt x="3318" y="2533"/>
                </a:lnTo>
                <a:lnTo>
                  <a:pt x="3318" y="2533"/>
                </a:lnTo>
                <a:lnTo>
                  <a:pt x="3318" y="2533"/>
                </a:lnTo>
                <a:lnTo>
                  <a:pt x="3318" y="2533"/>
                </a:lnTo>
                <a:lnTo>
                  <a:pt x="3318" y="2533"/>
                </a:lnTo>
                <a:lnTo>
                  <a:pt x="3318" y="2533"/>
                </a:lnTo>
                <a:lnTo>
                  <a:pt x="3318" y="2533"/>
                </a:lnTo>
                <a:lnTo>
                  <a:pt x="3318" y="2533"/>
                </a:lnTo>
                <a:lnTo>
                  <a:pt x="3324" y="2533"/>
                </a:lnTo>
                <a:lnTo>
                  <a:pt x="3324" y="2533"/>
                </a:lnTo>
                <a:lnTo>
                  <a:pt x="3324" y="2533"/>
                </a:lnTo>
                <a:lnTo>
                  <a:pt x="3330" y="2538"/>
                </a:lnTo>
                <a:lnTo>
                  <a:pt x="3330" y="2538"/>
                </a:lnTo>
                <a:lnTo>
                  <a:pt x="3330" y="2538"/>
                </a:lnTo>
                <a:lnTo>
                  <a:pt x="3330" y="2533"/>
                </a:lnTo>
                <a:lnTo>
                  <a:pt x="3330" y="2533"/>
                </a:lnTo>
                <a:lnTo>
                  <a:pt x="3330" y="2533"/>
                </a:lnTo>
                <a:lnTo>
                  <a:pt x="3330" y="2533"/>
                </a:lnTo>
                <a:lnTo>
                  <a:pt x="3330" y="2533"/>
                </a:lnTo>
                <a:lnTo>
                  <a:pt x="3330" y="2533"/>
                </a:lnTo>
                <a:lnTo>
                  <a:pt x="3330" y="2533"/>
                </a:lnTo>
                <a:lnTo>
                  <a:pt x="3330" y="2527"/>
                </a:lnTo>
                <a:lnTo>
                  <a:pt x="3336" y="2527"/>
                </a:lnTo>
                <a:lnTo>
                  <a:pt x="3336" y="2527"/>
                </a:lnTo>
                <a:lnTo>
                  <a:pt x="3336" y="2527"/>
                </a:lnTo>
                <a:lnTo>
                  <a:pt x="3336" y="2521"/>
                </a:lnTo>
                <a:lnTo>
                  <a:pt x="3336" y="2521"/>
                </a:lnTo>
                <a:lnTo>
                  <a:pt x="3336" y="2521"/>
                </a:lnTo>
                <a:lnTo>
                  <a:pt x="3336" y="2527"/>
                </a:lnTo>
                <a:lnTo>
                  <a:pt x="3336" y="2527"/>
                </a:lnTo>
                <a:lnTo>
                  <a:pt x="3336" y="2527"/>
                </a:lnTo>
                <a:lnTo>
                  <a:pt x="3336" y="2527"/>
                </a:lnTo>
                <a:lnTo>
                  <a:pt x="3336" y="2527"/>
                </a:lnTo>
                <a:lnTo>
                  <a:pt x="3336" y="2527"/>
                </a:lnTo>
                <a:lnTo>
                  <a:pt x="3336" y="2527"/>
                </a:lnTo>
                <a:lnTo>
                  <a:pt x="3336" y="2527"/>
                </a:lnTo>
                <a:lnTo>
                  <a:pt x="3336" y="2533"/>
                </a:lnTo>
                <a:lnTo>
                  <a:pt x="3336" y="2533"/>
                </a:lnTo>
                <a:lnTo>
                  <a:pt x="3336" y="2533"/>
                </a:lnTo>
                <a:lnTo>
                  <a:pt x="3330" y="2538"/>
                </a:lnTo>
                <a:lnTo>
                  <a:pt x="3336" y="2538"/>
                </a:lnTo>
                <a:lnTo>
                  <a:pt x="3336" y="2544"/>
                </a:lnTo>
                <a:lnTo>
                  <a:pt x="3336" y="2544"/>
                </a:lnTo>
                <a:lnTo>
                  <a:pt x="3336" y="2544"/>
                </a:lnTo>
                <a:lnTo>
                  <a:pt x="3336" y="2544"/>
                </a:lnTo>
                <a:lnTo>
                  <a:pt x="3336" y="2544"/>
                </a:lnTo>
                <a:lnTo>
                  <a:pt x="3336" y="2544"/>
                </a:lnTo>
                <a:lnTo>
                  <a:pt x="3336" y="2544"/>
                </a:lnTo>
                <a:lnTo>
                  <a:pt x="3336" y="2544"/>
                </a:lnTo>
                <a:lnTo>
                  <a:pt x="3336" y="2550"/>
                </a:lnTo>
                <a:lnTo>
                  <a:pt x="3336" y="2550"/>
                </a:lnTo>
                <a:lnTo>
                  <a:pt x="3342" y="2550"/>
                </a:lnTo>
                <a:lnTo>
                  <a:pt x="3342" y="2550"/>
                </a:lnTo>
                <a:lnTo>
                  <a:pt x="3348" y="2556"/>
                </a:lnTo>
                <a:lnTo>
                  <a:pt x="3348" y="2556"/>
                </a:lnTo>
                <a:lnTo>
                  <a:pt x="3348" y="2556"/>
                </a:lnTo>
                <a:lnTo>
                  <a:pt x="3348" y="2562"/>
                </a:lnTo>
                <a:lnTo>
                  <a:pt x="3348" y="2562"/>
                </a:lnTo>
                <a:lnTo>
                  <a:pt x="3348" y="2562"/>
                </a:lnTo>
                <a:lnTo>
                  <a:pt x="3348" y="2562"/>
                </a:lnTo>
                <a:lnTo>
                  <a:pt x="3348" y="2562"/>
                </a:lnTo>
                <a:lnTo>
                  <a:pt x="3348" y="2562"/>
                </a:lnTo>
                <a:lnTo>
                  <a:pt x="3348" y="2562"/>
                </a:lnTo>
                <a:lnTo>
                  <a:pt x="3348" y="2562"/>
                </a:lnTo>
                <a:lnTo>
                  <a:pt x="3348" y="2562"/>
                </a:lnTo>
                <a:lnTo>
                  <a:pt x="3342" y="2562"/>
                </a:lnTo>
                <a:lnTo>
                  <a:pt x="3342" y="2562"/>
                </a:lnTo>
                <a:lnTo>
                  <a:pt x="3342" y="2562"/>
                </a:lnTo>
                <a:lnTo>
                  <a:pt x="3342" y="2562"/>
                </a:lnTo>
                <a:lnTo>
                  <a:pt x="3342" y="2562"/>
                </a:lnTo>
                <a:lnTo>
                  <a:pt x="3342" y="2562"/>
                </a:lnTo>
                <a:lnTo>
                  <a:pt x="3342" y="2562"/>
                </a:lnTo>
                <a:lnTo>
                  <a:pt x="3342" y="2556"/>
                </a:lnTo>
                <a:lnTo>
                  <a:pt x="3342" y="2556"/>
                </a:lnTo>
                <a:lnTo>
                  <a:pt x="3342" y="2556"/>
                </a:lnTo>
                <a:lnTo>
                  <a:pt x="3342" y="2556"/>
                </a:lnTo>
                <a:lnTo>
                  <a:pt x="3342" y="2556"/>
                </a:lnTo>
                <a:lnTo>
                  <a:pt x="3336" y="2556"/>
                </a:lnTo>
                <a:lnTo>
                  <a:pt x="3336" y="2550"/>
                </a:lnTo>
                <a:lnTo>
                  <a:pt x="3336" y="2550"/>
                </a:lnTo>
                <a:lnTo>
                  <a:pt x="3336" y="2550"/>
                </a:lnTo>
                <a:lnTo>
                  <a:pt x="3336" y="2550"/>
                </a:lnTo>
                <a:lnTo>
                  <a:pt x="3336" y="2550"/>
                </a:lnTo>
                <a:lnTo>
                  <a:pt x="3336" y="2550"/>
                </a:lnTo>
                <a:lnTo>
                  <a:pt x="3330" y="2550"/>
                </a:lnTo>
                <a:lnTo>
                  <a:pt x="3330" y="2556"/>
                </a:lnTo>
                <a:lnTo>
                  <a:pt x="3330" y="2556"/>
                </a:lnTo>
                <a:lnTo>
                  <a:pt x="3330" y="2556"/>
                </a:lnTo>
                <a:lnTo>
                  <a:pt x="3330" y="2556"/>
                </a:lnTo>
                <a:lnTo>
                  <a:pt x="3330" y="2556"/>
                </a:lnTo>
                <a:lnTo>
                  <a:pt x="3324" y="2556"/>
                </a:lnTo>
                <a:lnTo>
                  <a:pt x="3324" y="2556"/>
                </a:lnTo>
                <a:lnTo>
                  <a:pt x="3324" y="2556"/>
                </a:lnTo>
                <a:lnTo>
                  <a:pt x="3330" y="2562"/>
                </a:lnTo>
                <a:lnTo>
                  <a:pt x="3336" y="2568"/>
                </a:lnTo>
                <a:lnTo>
                  <a:pt x="3336" y="2568"/>
                </a:lnTo>
                <a:lnTo>
                  <a:pt x="3336" y="2568"/>
                </a:lnTo>
                <a:lnTo>
                  <a:pt x="3348" y="2568"/>
                </a:lnTo>
                <a:lnTo>
                  <a:pt x="3348" y="2568"/>
                </a:lnTo>
                <a:lnTo>
                  <a:pt x="3348" y="2568"/>
                </a:lnTo>
                <a:lnTo>
                  <a:pt x="3354" y="2568"/>
                </a:lnTo>
                <a:lnTo>
                  <a:pt x="3354" y="2568"/>
                </a:lnTo>
                <a:lnTo>
                  <a:pt x="3354" y="2568"/>
                </a:lnTo>
                <a:lnTo>
                  <a:pt x="3354" y="2568"/>
                </a:lnTo>
                <a:lnTo>
                  <a:pt x="3354" y="2568"/>
                </a:lnTo>
                <a:lnTo>
                  <a:pt x="3354" y="2568"/>
                </a:lnTo>
                <a:lnTo>
                  <a:pt x="3354" y="2568"/>
                </a:lnTo>
                <a:lnTo>
                  <a:pt x="3354" y="2568"/>
                </a:lnTo>
                <a:lnTo>
                  <a:pt x="3354" y="2568"/>
                </a:lnTo>
                <a:lnTo>
                  <a:pt x="3360" y="2568"/>
                </a:lnTo>
                <a:lnTo>
                  <a:pt x="3360" y="2568"/>
                </a:lnTo>
                <a:lnTo>
                  <a:pt x="3360" y="2568"/>
                </a:lnTo>
                <a:lnTo>
                  <a:pt x="3360" y="2568"/>
                </a:lnTo>
                <a:lnTo>
                  <a:pt x="3360" y="2568"/>
                </a:lnTo>
                <a:lnTo>
                  <a:pt x="3360" y="2568"/>
                </a:lnTo>
                <a:lnTo>
                  <a:pt x="3360" y="2568"/>
                </a:lnTo>
                <a:lnTo>
                  <a:pt x="3360" y="2574"/>
                </a:lnTo>
                <a:lnTo>
                  <a:pt x="3360" y="2568"/>
                </a:lnTo>
                <a:lnTo>
                  <a:pt x="3366" y="2574"/>
                </a:lnTo>
                <a:lnTo>
                  <a:pt x="3366" y="2574"/>
                </a:lnTo>
                <a:lnTo>
                  <a:pt x="3372" y="2580"/>
                </a:lnTo>
                <a:lnTo>
                  <a:pt x="3372" y="2580"/>
                </a:lnTo>
                <a:lnTo>
                  <a:pt x="3372" y="2574"/>
                </a:lnTo>
                <a:lnTo>
                  <a:pt x="3372" y="2574"/>
                </a:lnTo>
                <a:lnTo>
                  <a:pt x="3372" y="2574"/>
                </a:lnTo>
                <a:lnTo>
                  <a:pt x="3372" y="2574"/>
                </a:lnTo>
                <a:lnTo>
                  <a:pt x="3372" y="2574"/>
                </a:lnTo>
                <a:lnTo>
                  <a:pt x="3378" y="2574"/>
                </a:lnTo>
                <a:lnTo>
                  <a:pt x="3378" y="2574"/>
                </a:lnTo>
                <a:lnTo>
                  <a:pt x="3378" y="2574"/>
                </a:lnTo>
                <a:lnTo>
                  <a:pt x="3378" y="2574"/>
                </a:lnTo>
                <a:lnTo>
                  <a:pt x="3378" y="2574"/>
                </a:lnTo>
                <a:lnTo>
                  <a:pt x="3378" y="2574"/>
                </a:lnTo>
                <a:lnTo>
                  <a:pt x="3378" y="2574"/>
                </a:lnTo>
                <a:lnTo>
                  <a:pt x="3378" y="2574"/>
                </a:lnTo>
                <a:lnTo>
                  <a:pt x="3378" y="2574"/>
                </a:lnTo>
                <a:lnTo>
                  <a:pt x="3384" y="2574"/>
                </a:lnTo>
                <a:lnTo>
                  <a:pt x="3384" y="2574"/>
                </a:lnTo>
                <a:lnTo>
                  <a:pt x="3384" y="2574"/>
                </a:lnTo>
                <a:lnTo>
                  <a:pt x="3384" y="2574"/>
                </a:lnTo>
                <a:lnTo>
                  <a:pt x="3378" y="2574"/>
                </a:lnTo>
                <a:lnTo>
                  <a:pt x="3378" y="2580"/>
                </a:lnTo>
                <a:lnTo>
                  <a:pt x="3378" y="2580"/>
                </a:lnTo>
                <a:lnTo>
                  <a:pt x="3384" y="2580"/>
                </a:lnTo>
                <a:lnTo>
                  <a:pt x="3384" y="2580"/>
                </a:lnTo>
                <a:lnTo>
                  <a:pt x="3384" y="2580"/>
                </a:lnTo>
                <a:lnTo>
                  <a:pt x="3390" y="2580"/>
                </a:lnTo>
                <a:lnTo>
                  <a:pt x="3390" y="2580"/>
                </a:lnTo>
                <a:lnTo>
                  <a:pt x="3390" y="2580"/>
                </a:lnTo>
                <a:lnTo>
                  <a:pt x="3390" y="2580"/>
                </a:lnTo>
                <a:lnTo>
                  <a:pt x="3390" y="2580"/>
                </a:lnTo>
                <a:lnTo>
                  <a:pt x="3390" y="2580"/>
                </a:lnTo>
                <a:lnTo>
                  <a:pt x="3390" y="2580"/>
                </a:lnTo>
                <a:lnTo>
                  <a:pt x="3390" y="2580"/>
                </a:lnTo>
                <a:lnTo>
                  <a:pt x="3390" y="2574"/>
                </a:lnTo>
                <a:lnTo>
                  <a:pt x="3390" y="2574"/>
                </a:lnTo>
                <a:lnTo>
                  <a:pt x="3390" y="2574"/>
                </a:lnTo>
                <a:lnTo>
                  <a:pt x="3390" y="2574"/>
                </a:lnTo>
                <a:lnTo>
                  <a:pt x="3390" y="2574"/>
                </a:lnTo>
                <a:lnTo>
                  <a:pt x="3395" y="2574"/>
                </a:lnTo>
                <a:lnTo>
                  <a:pt x="3395" y="2574"/>
                </a:lnTo>
                <a:lnTo>
                  <a:pt x="3395" y="2574"/>
                </a:lnTo>
                <a:lnTo>
                  <a:pt x="3395" y="2574"/>
                </a:lnTo>
                <a:lnTo>
                  <a:pt x="3395" y="2574"/>
                </a:lnTo>
                <a:lnTo>
                  <a:pt x="3395" y="2574"/>
                </a:lnTo>
                <a:lnTo>
                  <a:pt x="3395" y="2574"/>
                </a:lnTo>
                <a:lnTo>
                  <a:pt x="3395" y="2574"/>
                </a:lnTo>
                <a:lnTo>
                  <a:pt x="3395" y="2568"/>
                </a:lnTo>
                <a:lnTo>
                  <a:pt x="3395" y="2568"/>
                </a:lnTo>
                <a:lnTo>
                  <a:pt x="3395" y="2568"/>
                </a:lnTo>
                <a:lnTo>
                  <a:pt x="3395" y="2568"/>
                </a:lnTo>
                <a:lnTo>
                  <a:pt x="3395" y="2568"/>
                </a:lnTo>
                <a:lnTo>
                  <a:pt x="3395" y="2568"/>
                </a:lnTo>
                <a:lnTo>
                  <a:pt x="3395" y="2562"/>
                </a:lnTo>
                <a:lnTo>
                  <a:pt x="3401" y="2568"/>
                </a:lnTo>
                <a:lnTo>
                  <a:pt x="3401" y="2568"/>
                </a:lnTo>
                <a:lnTo>
                  <a:pt x="3401" y="2568"/>
                </a:lnTo>
                <a:lnTo>
                  <a:pt x="3401" y="2568"/>
                </a:lnTo>
                <a:lnTo>
                  <a:pt x="3401" y="2568"/>
                </a:lnTo>
                <a:lnTo>
                  <a:pt x="3401" y="2568"/>
                </a:lnTo>
                <a:lnTo>
                  <a:pt x="3401" y="2562"/>
                </a:lnTo>
                <a:lnTo>
                  <a:pt x="3401" y="2562"/>
                </a:lnTo>
                <a:lnTo>
                  <a:pt x="3401" y="2562"/>
                </a:lnTo>
                <a:lnTo>
                  <a:pt x="3401" y="2562"/>
                </a:lnTo>
                <a:lnTo>
                  <a:pt x="3401" y="2562"/>
                </a:lnTo>
                <a:lnTo>
                  <a:pt x="3401" y="2562"/>
                </a:lnTo>
                <a:lnTo>
                  <a:pt x="3401" y="2562"/>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1" y="2556"/>
                </a:lnTo>
                <a:lnTo>
                  <a:pt x="3407" y="2562"/>
                </a:lnTo>
                <a:lnTo>
                  <a:pt x="3407" y="2556"/>
                </a:lnTo>
                <a:lnTo>
                  <a:pt x="3407" y="2556"/>
                </a:lnTo>
                <a:lnTo>
                  <a:pt x="3407" y="2556"/>
                </a:lnTo>
                <a:lnTo>
                  <a:pt x="3413" y="2562"/>
                </a:lnTo>
                <a:lnTo>
                  <a:pt x="3413" y="2556"/>
                </a:lnTo>
                <a:lnTo>
                  <a:pt x="3413" y="2556"/>
                </a:lnTo>
                <a:lnTo>
                  <a:pt x="3413" y="2556"/>
                </a:lnTo>
                <a:lnTo>
                  <a:pt x="3413" y="2556"/>
                </a:lnTo>
                <a:lnTo>
                  <a:pt x="3413" y="2556"/>
                </a:lnTo>
                <a:lnTo>
                  <a:pt x="3413" y="2556"/>
                </a:lnTo>
                <a:lnTo>
                  <a:pt x="3413" y="2550"/>
                </a:lnTo>
                <a:lnTo>
                  <a:pt x="3413" y="2550"/>
                </a:lnTo>
                <a:lnTo>
                  <a:pt x="3419" y="2550"/>
                </a:lnTo>
                <a:lnTo>
                  <a:pt x="3419" y="2550"/>
                </a:lnTo>
                <a:lnTo>
                  <a:pt x="3419" y="2556"/>
                </a:lnTo>
                <a:lnTo>
                  <a:pt x="3419" y="2556"/>
                </a:lnTo>
                <a:lnTo>
                  <a:pt x="3419" y="2556"/>
                </a:lnTo>
                <a:lnTo>
                  <a:pt x="3419" y="2556"/>
                </a:lnTo>
                <a:lnTo>
                  <a:pt x="3419" y="2556"/>
                </a:lnTo>
                <a:lnTo>
                  <a:pt x="3419" y="2562"/>
                </a:lnTo>
                <a:lnTo>
                  <a:pt x="3419" y="2562"/>
                </a:lnTo>
                <a:lnTo>
                  <a:pt x="3425" y="2562"/>
                </a:lnTo>
                <a:lnTo>
                  <a:pt x="3425" y="2562"/>
                </a:lnTo>
                <a:lnTo>
                  <a:pt x="3425" y="2556"/>
                </a:lnTo>
                <a:lnTo>
                  <a:pt x="3425" y="2556"/>
                </a:lnTo>
                <a:lnTo>
                  <a:pt x="3425" y="2556"/>
                </a:lnTo>
                <a:lnTo>
                  <a:pt x="3425" y="2556"/>
                </a:lnTo>
                <a:lnTo>
                  <a:pt x="3425" y="2556"/>
                </a:lnTo>
                <a:lnTo>
                  <a:pt x="3425" y="2562"/>
                </a:lnTo>
                <a:lnTo>
                  <a:pt x="3431" y="2562"/>
                </a:lnTo>
                <a:lnTo>
                  <a:pt x="3431" y="2562"/>
                </a:lnTo>
                <a:lnTo>
                  <a:pt x="3431" y="2568"/>
                </a:lnTo>
                <a:lnTo>
                  <a:pt x="3431" y="2568"/>
                </a:lnTo>
                <a:lnTo>
                  <a:pt x="3431" y="2568"/>
                </a:lnTo>
                <a:lnTo>
                  <a:pt x="3431" y="2562"/>
                </a:lnTo>
                <a:lnTo>
                  <a:pt x="3431" y="2562"/>
                </a:lnTo>
                <a:lnTo>
                  <a:pt x="3431" y="2562"/>
                </a:lnTo>
                <a:lnTo>
                  <a:pt x="3431" y="2562"/>
                </a:lnTo>
                <a:lnTo>
                  <a:pt x="3437" y="2562"/>
                </a:lnTo>
                <a:lnTo>
                  <a:pt x="3437" y="2562"/>
                </a:lnTo>
                <a:lnTo>
                  <a:pt x="3437" y="2568"/>
                </a:lnTo>
                <a:lnTo>
                  <a:pt x="3437" y="2568"/>
                </a:lnTo>
                <a:lnTo>
                  <a:pt x="3431" y="2568"/>
                </a:lnTo>
                <a:lnTo>
                  <a:pt x="3431" y="2568"/>
                </a:lnTo>
                <a:lnTo>
                  <a:pt x="3431" y="2574"/>
                </a:lnTo>
                <a:lnTo>
                  <a:pt x="3431" y="2574"/>
                </a:lnTo>
                <a:lnTo>
                  <a:pt x="3431" y="2574"/>
                </a:lnTo>
                <a:lnTo>
                  <a:pt x="3431" y="2574"/>
                </a:lnTo>
                <a:lnTo>
                  <a:pt x="3437" y="2574"/>
                </a:lnTo>
                <a:lnTo>
                  <a:pt x="3437" y="2580"/>
                </a:lnTo>
                <a:lnTo>
                  <a:pt x="3437" y="2580"/>
                </a:lnTo>
                <a:lnTo>
                  <a:pt x="3437" y="2580"/>
                </a:lnTo>
                <a:lnTo>
                  <a:pt x="3437" y="2580"/>
                </a:lnTo>
                <a:lnTo>
                  <a:pt x="3437" y="2580"/>
                </a:lnTo>
                <a:lnTo>
                  <a:pt x="3437" y="2580"/>
                </a:lnTo>
                <a:lnTo>
                  <a:pt x="3437" y="2580"/>
                </a:lnTo>
                <a:lnTo>
                  <a:pt x="3437" y="2580"/>
                </a:lnTo>
                <a:lnTo>
                  <a:pt x="3437" y="2580"/>
                </a:lnTo>
                <a:lnTo>
                  <a:pt x="3443" y="2580"/>
                </a:lnTo>
                <a:lnTo>
                  <a:pt x="3449" y="2580"/>
                </a:lnTo>
                <a:lnTo>
                  <a:pt x="3449" y="2580"/>
                </a:lnTo>
                <a:lnTo>
                  <a:pt x="3449" y="2574"/>
                </a:lnTo>
                <a:lnTo>
                  <a:pt x="3449" y="2574"/>
                </a:lnTo>
                <a:lnTo>
                  <a:pt x="3449" y="2574"/>
                </a:lnTo>
                <a:lnTo>
                  <a:pt x="3449" y="2574"/>
                </a:lnTo>
                <a:lnTo>
                  <a:pt x="3449" y="2574"/>
                </a:lnTo>
                <a:lnTo>
                  <a:pt x="3455" y="2568"/>
                </a:lnTo>
                <a:lnTo>
                  <a:pt x="3455" y="2568"/>
                </a:lnTo>
                <a:lnTo>
                  <a:pt x="3449" y="2568"/>
                </a:lnTo>
                <a:lnTo>
                  <a:pt x="3449" y="2562"/>
                </a:lnTo>
                <a:lnTo>
                  <a:pt x="3449" y="2562"/>
                </a:lnTo>
                <a:lnTo>
                  <a:pt x="3455" y="2562"/>
                </a:lnTo>
                <a:lnTo>
                  <a:pt x="3455" y="2562"/>
                </a:lnTo>
                <a:lnTo>
                  <a:pt x="3455" y="2556"/>
                </a:lnTo>
                <a:lnTo>
                  <a:pt x="3455" y="2556"/>
                </a:lnTo>
                <a:lnTo>
                  <a:pt x="3455" y="2556"/>
                </a:lnTo>
                <a:lnTo>
                  <a:pt x="3455" y="2556"/>
                </a:lnTo>
                <a:lnTo>
                  <a:pt x="3455" y="2556"/>
                </a:lnTo>
                <a:lnTo>
                  <a:pt x="3455" y="2556"/>
                </a:lnTo>
                <a:lnTo>
                  <a:pt x="3455" y="2562"/>
                </a:lnTo>
                <a:lnTo>
                  <a:pt x="3455" y="2556"/>
                </a:lnTo>
                <a:lnTo>
                  <a:pt x="3455" y="2556"/>
                </a:lnTo>
                <a:lnTo>
                  <a:pt x="3455" y="2556"/>
                </a:lnTo>
                <a:lnTo>
                  <a:pt x="3455" y="2556"/>
                </a:lnTo>
                <a:lnTo>
                  <a:pt x="3455" y="2556"/>
                </a:lnTo>
                <a:lnTo>
                  <a:pt x="3455" y="2556"/>
                </a:lnTo>
                <a:lnTo>
                  <a:pt x="3455" y="2556"/>
                </a:lnTo>
                <a:lnTo>
                  <a:pt x="3455" y="2550"/>
                </a:lnTo>
                <a:lnTo>
                  <a:pt x="3455" y="2550"/>
                </a:lnTo>
                <a:lnTo>
                  <a:pt x="3455" y="2550"/>
                </a:lnTo>
                <a:lnTo>
                  <a:pt x="3455" y="2550"/>
                </a:lnTo>
                <a:lnTo>
                  <a:pt x="3455" y="2556"/>
                </a:lnTo>
                <a:lnTo>
                  <a:pt x="3455" y="2556"/>
                </a:lnTo>
                <a:lnTo>
                  <a:pt x="3455" y="2550"/>
                </a:lnTo>
                <a:lnTo>
                  <a:pt x="3455" y="2550"/>
                </a:lnTo>
                <a:lnTo>
                  <a:pt x="3455" y="2550"/>
                </a:lnTo>
                <a:lnTo>
                  <a:pt x="3455" y="2550"/>
                </a:lnTo>
                <a:lnTo>
                  <a:pt x="3455" y="2550"/>
                </a:lnTo>
                <a:lnTo>
                  <a:pt x="3455" y="2550"/>
                </a:lnTo>
                <a:lnTo>
                  <a:pt x="3455" y="2550"/>
                </a:lnTo>
                <a:lnTo>
                  <a:pt x="3455" y="2550"/>
                </a:lnTo>
                <a:lnTo>
                  <a:pt x="3455" y="2550"/>
                </a:lnTo>
                <a:lnTo>
                  <a:pt x="3455" y="2550"/>
                </a:lnTo>
                <a:lnTo>
                  <a:pt x="3455" y="2544"/>
                </a:lnTo>
                <a:lnTo>
                  <a:pt x="3455" y="2544"/>
                </a:lnTo>
                <a:lnTo>
                  <a:pt x="3455" y="2544"/>
                </a:lnTo>
                <a:lnTo>
                  <a:pt x="3455" y="2544"/>
                </a:lnTo>
                <a:lnTo>
                  <a:pt x="3455" y="2544"/>
                </a:lnTo>
                <a:lnTo>
                  <a:pt x="3455" y="2544"/>
                </a:lnTo>
                <a:lnTo>
                  <a:pt x="3455" y="2544"/>
                </a:lnTo>
                <a:lnTo>
                  <a:pt x="3455" y="2538"/>
                </a:lnTo>
                <a:lnTo>
                  <a:pt x="3449" y="2538"/>
                </a:lnTo>
                <a:lnTo>
                  <a:pt x="3449" y="2538"/>
                </a:lnTo>
                <a:lnTo>
                  <a:pt x="3449" y="2538"/>
                </a:lnTo>
                <a:lnTo>
                  <a:pt x="3449" y="2538"/>
                </a:lnTo>
                <a:lnTo>
                  <a:pt x="3449" y="2538"/>
                </a:lnTo>
                <a:lnTo>
                  <a:pt x="3443" y="2538"/>
                </a:lnTo>
                <a:lnTo>
                  <a:pt x="3443" y="2533"/>
                </a:lnTo>
                <a:lnTo>
                  <a:pt x="3437" y="2533"/>
                </a:lnTo>
                <a:lnTo>
                  <a:pt x="3437" y="2533"/>
                </a:lnTo>
                <a:lnTo>
                  <a:pt x="3437" y="2533"/>
                </a:lnTo>
                <a:lnTo>
                  <a:pt x="3437" y="2533"/>
                </a:lnTo>
                <a:lnTo>
                  <a:pt x="3437" y="2533"/>
                </a:lnTo>
                <a:lnTo>
                  <a:pt x="3437" y="2533"/>
                </a:lnTo>
                <a:lnTo>
                  <a:pt x="3437" y="2533"/>
                </a:lnTo>
                <a:lnTo>
                  <a:pt x="3437" y="2533"/>
                </a:lnTo>
                <a:lnTo>
                  <a:pt x="3437" y="2533"/>
                </a:lnTo>
                <a:lnTo>
                  <a:pt x="3443" y="2533"/>
                </a:lnTo>
                <a:lnTo>
                  <a:pt x="3443" y="2533"/>
                </a:lnTo>
                <a:lnTo>
                  <a:pt x="3443" y="2533"/>
                </a:lnTo>
                <a:lnTo>
                  <a:pt x="3443" y="2533"/>
                </a:lnTo>
                <a:lnTo>
                  <a:pt x="3443" y="2533"/>
                </a:lnTo>
                <a:lnTo>
                  <a:pt x="3437" y="2533"/>
                </a:lnTo>
                <a:lnTo>
                  <a:pt x="3437" y="2533"/>
                </a:lnTo>
                <a:lnTo>
                  <a:pt x="3437" y="2533"/>
                </a:lnTo>
                <a:lnTo>
                  <a:pt x="3437" y="2533"/>
                </a:lnTo>
                <a:lnTo>
                  <a:pt x="3443" y="2527"/>
                </a:lnTo>
                <a:lnTo>
                  <a:pt x="3443" y="2527"/>
                </a:lnTo>
                <a:lnTo>
                  <a:pt x="3443" y="2527"/>
                </a:lnTo>
                <a:lnTo>
                  <a:pt x="3443" y="2533"/>
                </a:lnTo>
                <a:lnTo>
                  <a:pt x="3449" y="2533"/>
                </a:lnTo>
                <a:lnTo>
                  <a:pt x="3449" y="2533"/>
                </a:lnTo>
                <a:lnTo>
                  <a:pt x="3449" y="2533"/>
                </a:lnTo>
                <a:lnTo>
                  <a:pt x="3449" y="2533"/>
                </a:lnTo>
                <a:lnTo>
                  <a:pt x="3449" y="2533"/>
                </a:lnTo>
                <a:lnTo>
                  <a:pt x="3449" y="2533"/>
                </a:lnTo>
                <a:lnTo>
                  <a:pt x="3449" y="2533"/>
                </a:lnTo>
                <a:lnTo>
                  <a:pt x="3449" y="2533"/>
                </a:lnTo>
                <a:lnTo>
                  <a:pt x="3449" y="2533"/>
                </a:lnTo>
                <a:lnTo>
                  <a:pt x="3449" y="2533"/>
                </a:lnTo>
                <a:lnTo>
                  <a:pt x="3461" y="2538"/>
                </a:lnTo>
                <a:lnTo>
                  <a:pt x="3461" y="2538"/>
                </a:lnTo>
                <a:lnTo>
                  <a:pt x="3467" y="2538"/>
                </a:lnTo>
                <a:lnTo>
                  <a:pt x="3467" y="2538"/>
                </a:lnTo>
                <a:lnTo>
                  <a:pt x="3473" y="2544"/>
                </a:lnTo>
                <a:lnTo>
                  <a:pt x="3473" y="2544"/>
                </a:lnTo>
                <a:lnTo>
                  <a:pt x="3473" y="2538"/>
                </a:lnTo>
                <a:lnTo>
                  <a:pt x="3473" y="2538"/>
                </a:lnTo>
                <a:lnTo>
                  <a:pt x="3473" y="2538"/>
                </a:lnTo>
                <a:lnTo>
                  <a:pt x="3473" y="2538"/>
                </a:lnTo>
                <a:lnTo>
                  <a:pt x="3478" y="2538"/>
                </a:lnTo>
                <a:lnTo>
                  <a:pt x="3478" y="2538"/>
                </a:lnTo>
                <a:lnTo>
                  <a:pt x="3478" y="2538"/>
                </a:lnTo>
                <a:lnTo>
                  <a:pt x="3478" y="2538"/>
                </a:lnTo>
                <a:lnTo>
                  <a:pt x="3478" y="2538"/>
                </a:lnTo>
                <a:lnTo>
                  <a:pt x="3478" y="2538"/>
                </a:lnTo>
                <a:lnTo>
                  <a:pt x="3478" y="2538"/>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78" y="2544"/>
                </a:lnTo>
                <a:lnTo>
                  <a:pt x="3484" y="2544"/>
                </a:lnTo>
                <a:lnTo>
                  <a:pt x="3484" y="2544"/>
                </a:lnTo>
                <a:lnTo>
                  <a:pt x="3484" y="2544"/>
                </a:lnTo>
                <a:lnTo>
                  <a:pt x="3484" y="2544"/>
                </a:lnTo>
                <a:lnTo>
                  <a:pt x="3484" y="2544"/>
                </a:lnTo>
                <a:lnTo>
                  <a:pt x="3478" y="2544"/>
                </a:lnTo>
                <a:lnTo>
                  <a:pt x="3478" y="2550"/>
                </a:lnTo>
                <a:lnTo>
                  <a:pt x="3478" y="2550"/>
                </a:lnTo>
                <a:lnTo>
                  <a:pt x="3484" y="2550"/>
                </a:lnTo>
                <a:lnTo>
                  <a:pt x="3484" y="2550"/>
                </a:lnTo>
                <a:lnTo>
                  <a:pt x="3484" y="2550"/>
                </a:lnTo>
                <a:lnTo>
                  <a:pt x="3484" y="2550"/>
                </a:lnTo>
                <a:lnTo>
                  <a:pt x="3484" y="2550"/>
                </a:lnTo>
                <a:lnTo>
                  <a:pt x="3484" y="2550"/>
                </a:lnTo>
                <a:lnTo>
                  <a:pt x="3484" y="2550"/>
                </a:lnTo>
                <a:lnTo>
                  <a:pt x="3484" y="2550"/>
                </a:lnTo>
                <a:lnTo>
                  <a:pt x="3484" y="2550"/>
                </a:lnTo>
                <a:lnTo>
                  <a:pt x="3484" y="2550"/>
                </a:lnTo>
                <a:lnTo>
                  <a:pt x="3484" y="2550"/>
                </a:lnTo>
                <a:lnTo>
                  <a:pt x="3484" y="2550"/>
                </a:lnTo>
                <a:lnTo>
                  <a:pt x="3484" y="2556"/>
                </a:lnTo>
                <a:lnTo>
                  <a:pt x="3484" y="2556"/>
                </a:lnTo>
                <a:lnTo>
                  <a:pt x="3484" y="2556"/>
                </a:lnTo>
                <a:lnTo>
                  <a:pt x="3484" y="2556"/>
                </a:lnTo>
                <a:lnTo>
                  <a:pt x="3478" y="2556"/>
                </a:lnTo>
                <a:lnTo>
                  <a:pt x="3478" y="2556"/>
                </a:lnTo>
                <a:lnTo>
                  <a:pt x="3478" y="2556"/>
                </a:lnTo>
                <a:lnTo>
                  <a:pt x="3478" y="2556"/>
                </a:lnTo>
                <a:lnTo>
                  <a:pt x="3484" y="2556"/>
                </a:lnTo>
                <a:lnTo>
                  <a:pt x="3490" y="2556"/>
                </a:lnTo>
                <a:lnTo>
                  <a:pt x="3490" y="2556"/>
                </a:lnTo>
                <a:lnTo>
                  <a:pt x="3490" y="2556"/>
                </a:lnTo>
                <a:lnTo>
                  <a:pt x="3496" y="2562"/>
                </a:lnTo>
                <a:lnTo>
                  <a:pt x="3496" y="2562"/>
                </a:lnTo>
                <a:lnTo>
                  <a:pt x="3496" y="2562"/>
                </a:lnTo>
                <a:lnTo>
                  <a:pt x="3496" y="2562"/>
                </a:lnTo>
                <a:lnTo>
                  <a:pt x="3496" y="2562"/>
                </a:lnTo>
                <a:lnTo>
                  <a:pt x="3502" y="2562"/>
                </a:lnTo>
                <a:lnTo>
                  <a:pt x="3502" y="2562"/>
                </a:lnTo>
                <a:lnTo>
                  <a:pt x="3502" y="2562"/>
                </a:lnTo>
                <a:lnTo>
                  <a:pt x="3508" y="2568"/>
                </a:lnTo>
                <a:lnTo>
                  <a:pt x="3508" y="2568"/>
                </a:lnTo>
                <a:lnTo>
                  <a:pt x="3508" y="2562"/>
                </a:lnTo>
                <a:lnTo>
                  <a:pt x="3508" y="2562"/>
                </a:lnTo>
                <a:lnTo>
                  <a:pt x="3514" y="2562"/>
                </a:lnTo>
                <a:lnTo>
                  <a:pt x="3514" y="2562"/>
                </a:lnTo>
                <a:lnTo>
                  <a:pt x="3514" y="2562"/>
                </a:lnTo>
                <a:lnTo>
                  <a:pt x="3514" y="2562"/>
                </a:lnTo>
                <a:lnTo>
                  <a:pt x="3514" y="2562"/>
                </a:lnTo>
                <a:lnTo>
                  <a:pt x="3508" y="2562"/>
                </a:lnTo>
                <a:lnTo>
                  <a:pt x="3514" y="2574"/>
                </a:lnTo>
                <a:lnTo>
                  <a:pt x="3520" y="2574"/>
                </a:lnTo>
                <a:lnTo>
                  <a:pt x="3520" y="2574"/>
                </a:lnTo>
                <a:lnTo>
                  <a:pt x="3520" y="2580"/>
                </a:lnTo>
                <a:lnTo>
                  <a:pt x="3520" y="2580"/>
                </a:lnTo>
                <a:lnTo>
                  <a:pt x="3520" y="2580"/>
                </a:lnTo>
                <a:lnTo>
                  <a:pt x="3520" y="2580"/>
                </a:lnTo>
                <a:lnTo>
                  <a:pt x="3520" y="2580"/>
                </a:lnTo>
                <a:lnTo>
                  <a:pt x="3526" y="2580"/>
                </a:lnTo>
                <a:lnTo>
                  <a:pt x="3526" y="2580"/>
                </a:lnTo>
                <a:lnTo>
                  <a:pt x="3526" y="2580"/>
                </a:lnTo>
                <a:lnTo>
                  <a:pt x="3526" y="2580"/>
                </a:lnTo>
                <a:lnTo>
                  <a:pt x="3526" y="2574"/>
                </a:lnTo>
                <a:lnTo>
                  <a:pt x="3526" y="2574"/>
                </a:lnTo>
                <a:lnTo>
                  <a:pt x="3526" y="2574"/>
                </a:lnTo>
                <a:lnTo>
                  <a:pt x="3526" y="2574"/>
                </a:lnTo>
                <a:lnTo>
                  <a:pt x="3526" y="2574"/>
                </a:lnTo>
                <a:lnTo>
                  <a:pt x="3526" y="2574"/>
                </a:lnTo>
                <a:lnTo>
                  <a:pt x="3526" y="2574"/>
                </a:lnTo>
                <a:lnTo>
                  <a:pt x="3526" y="2574"/>
                </a:lnTo>
                <a:lnTo>
                  <a:pt x="3526" y="2574"/>
                </a:lnTo>
                <a:lnTo>
                  <a:pt x="3526" y="2580"/>
                </a:lnTo>
                <a:lnTo>
                  <a:pt x="3526" y="2580"/>
                </a:lnTo>
                <a:lnTo>
                  <a:pt x="3526" y="2580"/>
                </a:lnTo>
                <a:lnTo>
                  <a:pt x="3532" y="2580"/>
                </a:lnTo>
                <a:lnTo>
                  <a:pt x="3532" y="2580"/>
                </a:lnTo>
                <a:lnTo>
                  <a:pt x="3532" y="2574"/>
                </a:lnTo>
                <a:lnTo>
                  <a:pt x="3532" y="2574"/>
                </a:lnTo>
                <a:lnTo>
                  <a:pt x="3532" y="2574"/>
                </a:lnTo>
                <a:lnTo>
                  <a:pt x="3532" y="2574"/>
                </a:lnTo>
                <a:lnTo>
                  <a:pt x="3532" y="2574"/>
                </a:lnTo>
                <a:lnTo>
                  <a:pt x="3532" y="2574"/>
                </a:lnTo>
                <a:lnTo>
                  <a:pt x="3532" y="2574"/>
                </a:lnTo>
                <a:lnTo>
                  <a:pt x="3532" y="2574"/>
                </a:lnTo>
                <a:lnTo>
                  <a:pt x="3532" y="2580"/>
                </a:lnTo>
                <a:lnTo>
                  <a:pt x="3532" y="2580"/>
                </a:lnTo>
                <a:lnTo>
                  <a:pt x="3532" y="2580"/>
                </a:lnTo>
                <a:lnTo>
                  <a:pt x="3526" y="2586"/>
                </a:lnTo>
                <a:lnTo>
                  <a:pt x="3526" y="2586"/>
                </a:lnTo>
                <a:lnTo>
                  <a:pt x="3526" y="2586"/>
                </a:lnTo>
                <a:lnTo>
                  <a:pt x="3526" y="2586"/>
                </a:lnTo>
                <a:lnTo>
                  <a:pt x="3526" y="2586"/>
                </a:lnTo>
                <a:lnTo>
                  <a:pt x="3526" y="2586"/>
                </a:lnTo>
                <a:lnTo>
                  <a:pt x="3526" y="2586"/>
                </a:lnTo>
                <a:lnTo>
                  <a:pt x="3526" y="2592"/>
                </a:lnTo>
                <a:lnTo>
                  <a:pt x="3526" y="2592"/>
                </a:lnTo>
                <a:lnTo>
                  <a:pt x="3526" y="2592"/>
                </a:lnTo>
                <a:lnTo>
                  <a:pt x="3520" y="2592"/>
                </a:lnTo>
                <a:lnTo>
                  <a:pt x="3520" y="2592"/>
                </a:lnTo>
                <a:lnTo>
                  <a:pt x="3520" y="2592"/>
                </a:lnTo>
                <a:lnTo>
                  <a:pt x="3520" y="2598"/>
                </a:lnTo>
                <a:lnTo>
                  <a:pt x="3520" y="2598"/>
                </a:lnTo>
                <a:lnTo>
                  <a:pt x="3520" y="2598"/>
                </a:lnTo>
                <a:lnTo>
                  <a:pt x="3520" y="2598"/>
                </a:lnTo>
                <a:lnTo>
                  <a:pt x="3520" y="2598"/>
                </a:lnTo>
                <a:lnTo>
                  <a:pt x="3520" y="2598"/>
                </a:lnTo>
                <a:lnTo>
                  <a:pt x="3520" y="2604"/>
                </a:lnTo>
                <a:lnTo>
                  <a:pt x="3520" y="2598"/>
                </a:lnTo>
                <a:lnTo>
                  <a:pt x="3520" y="2598"/>
                </a:lnTo>
                <a:lnTo>
                  <a:pt x="3520" y="2598"/>
                </a:lnTo>
                <a:lnTo>
                  <a:pt x="3526" y="2592"/>
                </a:lnTo>
                <a:lnTo>
                  <a:pt x="3526" y="2592"/>
                </a:lnTo>
                <a:lnTo>
                  <a:pt x="3526" y="2592"/>
                </a:lnTo>
                <a:lnTo>
                  <a:pt x="3526" y="2592"/>
                </a:lnTo>
                <a:lnTo>
                  <a:pt x="3526" y="2586"/>
                </a:lnTo>
                <a:lnTo>
                  <a:pt x="3526" y="2586"/>
                </a:lnTo>
                <a:lnTo>
                  <a:pt x="3532" y="2586"/>
                </a:lnTo>
                <a:lnTo>
                  <a:pt x="3532" y="2586"/>
                </a:lnTo>
                <a:lnTo>
                  <a:pt x="3532" y="2586"/>
                </a:lnTo>
                <a:lnTo>
                  <a:pt x="3532" y="2586"/>
                </a:lnTo>
                <a:lnTo>
                  <a:pt x="3532" y="2586"/>
                </a:lnTo>
                <a:lnTo>
                  <a:pt x="3532" y="2586"/>
                </a:lnTo>
                <a:lnTo>
                  <a:pt x="3532" y="2586"/>
                </a:lnTo>
                <a:lnTo>
                  <a:pt x="3532" y="2580"/>
                </a:lnTo>
                <a:lnTo>
                  <a:pt x="3532" y="2580"/>
                </a:lnTo>
                <a:lnTo>
                  <a:pt x="3532" y="2580"/>
                </a:lnTo>
                <a:lnTo>
                  <a:pt x="3532" y="2580"/>
                </a:lnTo>
                <a:lnTo>
                  <a:pt x="3538" y="2580"/>
                </a:lnTo>
                <a:lnTo>
                  <a:pt x="3538" y="2580"/>
                </a:lnTo>
                <a:lnTo>
                  <a:pt x="3538" y="2586"/>
                </a:lnTo>
                <a:lnTo>
                  <a:pt x="3538" y="2586"/>
                </a:lnTo>
                <a:lnTo>
                  <a:pt x="3538" y="2592"/>
                </a:lnTo>
                <a:lnTo>
                  <a:pt x="3544" y="2592"/>
                </a:lnTo>
                <a:lnTo>
                  <a:pt x="3544" y="2592"/>
                </a:lnTo>
                <a:lnTo>
                  <a:pt x="3544" y="2592"/>
                </a:lnTo>
                <a:lnTo>
                  <a:pt x="3544" y="2592"/>
                </a:lnTo>
                <a:lnTo>
                  <a:pt x="3544" y="2592"/>
                </a:lnTo>
                <a:lnTo>
                  <a:pt x="3544" y="2586"/>
                </a:lnTo>
                <a:lnTo>
                  <a:pt x="3544" y="2586"/>
                </a:lnTo>
                <a:lnTo>
                  <a:pt x="3550" y="2586"/>
                </a:lnTo>
                <a:lnTo>
                  <a:pt x="3550" y="2586"/>
                </a:lnTo>
                <a:lnTo>
                  <a:pt x="3550" y="2580"/>
                </a:lnTo>
                <a:lnTo>
                  <a:pt x="3550" y="2580"/>
                </a:lnTo>
                <a:lnTo>
                  <a:pt x="3550" y="2580"/>
                </a:lnTo>
                <a:lnTo>
                  <a:pt x="3550" y="2580"/>
                </a:lnTo>
                <a:lnTo>
                  <a:pt x="3550" y="2586"/>
                </a:lnTo>
                <a:lnTo>
                  <a:pt x="3550" y="2580"/>
                </a:lnTo>
                <a:lnTo>
                  <a:pt x="3550" y="2580"/>
                </a:lnTo>
                <a:lnTo>
                  <a:pt x="3550" y="2580"/>
                </a:lnTo>
                <a:lnTo>
                  <a:pt x="3550" y="2580"/>
                </a:lnTo>
                <a:lnTo>
                  <a:pt x="3550" y="2580"/>
                </a:lnTo>
                <a:lnTo>
                  <a:pt x="3550" y="2580"/>
                </a:lnTo>
                <a:lnTo>
                  <a:pt x="3550" y="2580"/>
                </a:lnTo>
                <a:lnTo>
                  <a:pt x="3550" y="2580"/>
                </a:lnTo>
                <a:lnTo>
                  <a:pt x="3550" y="2580"/>
                </a:lnTo>
                <a:lnTo>
                  <a:pt x="3550" y="2586"/>
                </a:lnTo>
                <a:lnTo>
                  <a:pt x="3555" y="2580"/>
                </a:lnTo>
                <a:lnTo>
                  <a:pt x="3555" y="2574"/>
                </a:lnTo>
                <a:lnTo>
                  <a:pt x="3555" y="2574"/>
                </a:lnTo>
                <a:lnTo>
                  <a:pt x="3550" y="2574"/>
                </a:lnTo>
                <a:lnTo>
                  <a:pt x="3550" y="2574"/>
                </a:lnTo>
                <a:lnTo>
                  <a:pt x="3550" y="2574"/>
                </a:lnTo>
                <a:lnTo>
                  <a:pt x="3550" y="2574"/>
                </a:lnTo>
                <a:lnTo>
                  <a:pt x="3550" y="2574"/>
                </a:lnTo>
                <a:lnTo>
                  <a:pt x="3550"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74"/>
                </a:lnTo>
                <a:lnTo>
                  <a:pt x="3555" y="2568"/>
                </a:lnTo>
                <a:lnTo>
                  <a:pt x="3555" y="2568"/>
                </a:lnTo>
                <a:lnTo>
                  <a:pt x="3555" y="2568"/>
                </a:lnTo>
                <a:lnTo>
                  <a:pt x="3555" y="2568"/>
                </a:lnTo>
                <a:lnTo>
                  <a:pt x="3555" y="2568"/>
                </a:lnTo>
                <a:lnTo>
                  <a:pt x="3555" y="2568"/>
                </a:lnTo>
                <a:lnTo>
                  <a:pt x="3555" y="2568"/>
                </a:lnTo>
                <a:lnTo>
                  <a:pt x="3555" y="2568"/>
                </a:lnTo>
                <a:lnTo>
                  <a:pt x="3550" y="2568"/>
                </a:lnTo>
                <a:lnTo>
                  <a:pt x="3555" y="2568"/>
                </a:lnTo>
                <a:lnTo>
                  <a:pt x="3555" y="2568"/>
                </a:lnTo>
                <a:lnTo>
                  <a:pt x="3555" y="2568"/>
                </a:lnTo>
                <a:lnTo>
                  <a:pt x="3555" y="2568"/>
                </a:lnTo>
                <a:lnTo>
                  <a:pt x="3550" y="2568"/>
                </a:lnTo>
                <a:lnTo>
                  <a:pt x="3550" y="2568"/>
                </a:lnTo>
                <a:lnTo>
                  <a:pt x="3550" y="2568"/>
                </a:lnTo>
                <a:lnTo>
                  <a:pt x="3550" y="2568"/>
                </a:lnTo>
                <a:lnTo>
                  <a:pt x="3544" y="2568"/>
                </a:lnTo>
                <a:lnTo>
                  <a:pt x="3544" y="2562"/>
                </a:lnTo>
                <a:lnTo>
                  <a:pt x="3544" y="2562"/>
                </a:lnTo>
                <a:lnTo>
                  <a:pt x="3544" y="2562"/>
                </a:lnTo>
                <a:lnTo>
                  <a:pt x="3550" y="2562"/>
                </a:lnTo>
                <a:lnTo>
                  <a:pt x="3550" y="2562"/>
                </a:lnTo>
                <a:lnTo>
                  <a:pt x="3550" y="2562"/>
                </a:lnTo>
                <a:lnTo>
                  <a:pt x="3544" y="2562"/>
                </a:lnTo>
                <a:lnTo>
                  <a:pt x="3544" y="2562"/>
                </a:lnTo>
                <a:lnTo>
                  <a:pt x="3544" y="2562"/>
                </a:lnTo>
                <a:lnTo>
                  <a:pt x="3544" y="2556"/>
                </a:lnTo>
                <a:lnTo>
                  <a:pt x="3544" y="2556"/>
                </a:lnTo>
                <a:lnTo>
                  <a:pt x="3544" y="2562"/>
                </a:lnTo>
                <a:lnTo>
                  <a:pt x="3544" y="2556"/>
                </a:lnTo>
                <a:lnTo>
                  <a:pt x="3544" y="2556"/>
                </a:lnTo>
                <a:lnTo>
                  <a:pt x="3544" y="2556"/>
                </a:lnTo>
                <a:lnTo>
                  <a:pt x="3544" y="2556"/>
                </a:lnTo>
                <a:lnTo>
                  <a:pt x="3544" y="2556"/>
                </a:lnTo>
                <a:lnTo>
                  <a:pt x="3544" y="2556"/>
                </a:lnTo>
                <a:lnTo>
                  <a:pt x="3538" y="2556"/>
                </a:lnTo>
                <a:lnTo>
                  <a:pt x="3538" y="2556"/>
                </a:lnTo>
                <a:lnTo>
                  <a:pt x="3538" y="2556"/>
                </a:lnTo>
                <a:lnTo>
                  <a:pt x="3538" y="2556"/>
                </a:lnTo>
                <a:lnTo>
                  <a:pt x="3538" y="2556"/>
                </a:lnTo>
                <a:lnTo>
                  <a:pt x="3538" y="2550"/>
                </a:lnTo>
                <a:lnTo>
                  <a:pt x="3538" y="2550"/>
                </a:lnTo>
                <a:lnTo>
                  <a:pt x="3538" y="2550"/>
                </a:lnTo>
                <a:lnTo>
                  <a:pt x="3538" y="2550"/>
                </a:lnTo>
                <a:lnTo>
                  <a:pt x="3538" y="2550"/>
                </a:lnTo>
                <a:lnTo>
                  <a:pt x="3538" y="2550"/>
                </a:lnTo>
                <a:lnTo>
                  <a:pt x="3538" y="2550"/>
                </a:lnTo>
                <a:lnTo>
                  <a:pt x="3538" y="2550"/>
                </a:lnTo>
                <a:lnTo>
                  <a:pt x="3538" y="2550"/>
                </a:lnTo>
                <a:lnTo>
                  <a:pt x="3538" y="2550"/>
                </a:lnTo>
                <a:lnTo>
                  <a:pt x="3538" y="2556"/>
                </a:lnTo>
                <a:lnTo>
                  <a:pt x="3538" y="2556"/>
                </a:lnTo>
                <a:lnTo>
                  <a:pt x="3532" y="2556"/>
                </a:lnTo>
                <a:lnTo>
                  <a:pt x="3532" y="2556"/>
                </a:lnTo>
                <a:lnTo>
                  <a:pt x="3532" y="2556"/>
                </a:lnTo>
                <a:lnTo>
                  <a:pt x="3532" y="2556"/>
                </a:lnTo>
                <a:lnTo>
                  <a:pt x="3532" y="2550"/>
                </a:lnTo>
                <a:lnTo>
                  <a:pt x="3532" y="2550"/>
                </a:lnTo>
                <a:lnTo>
                  <a:pt x="3532" y="2550"/>
                </a:lnTo>
                <a:lnTo>
                  <a:pt x="3532" y="2550"/>
                </a:lnTo>
                <a:lnTo>
                  <a:pt x="3532" y="2550"/>
                </a:lnTo>
                <a:lnTo>
                  <a:pt x="3526" y="2550"/>
                </a:lnTo>
                <a:lnTo>
                  <a:pt x="3526" y="2550"/>
                </a:lnTo>
                <a:lnTo>
                  <a:pt x="3526" y="2550"/>
                </a:lnTo>
                <a:lnTo>
                  <a:pt x="3526" y="2550"/>
                </a:lnTo>
                <a:lnTo>
                  <a:pt x="3526" y="2550"/>
                </a:lnTo>
                <a:lnTo>
                  <a:pt x="3520" y="2550"/>
                </a:lnTo>
                <a:lnTo>
                  <a:pt x="3520" y="2550"/>
                </a:lnTo>
                <a:lnTo>
                  <a:pt x="3520" y="2550"/>
                </a:lnTo>
                <a:lnTo>
                  <a:pt x="3520" y="2550"/>
                </a:lnTo>
                <a:lnTo>
                  <a:pt x="3520" y="2550"/>
                </a:lnTo>
                <a:lnTo>
                  <a:pt x="3520" y="2550"/>
                </a:lnTo>
                <a:lnTo>
                  <a:pt x="3520" y="2550"/>
                </a:lnTo>
                <a:lnTo>
                  <a:pt x="3520" y="2550"/>
                </a:lnTo>
                <a:lnTo>
                  <a:pt x="3520" y="2550"/>
                </a:lnTo>
                <a:lnTo>
                  <a:pt x="3520" y="2550"/>
                </a:lnTo>
                <a:lnTo>
                  <a:pt x="3526" y="2550"/>
                </a:lnTo>
                <a:lnTo>
                  <a:pt x="3526" y="2550"/>
                </a:lnTo>
                <a:lnTo>
                  <a:pt x="3526" y="2550"/>
                </a:lnTo>
                <a:lnTo>
                  <a:pt x="3526" y="2550"/>
                </a:lnTo>
                <a:lnTo>
                  <a:pt x="3526" y="2550"/>
                </a:lnTo>
                <a:lnTo>
                  <a:pt x="3526" y="2550"/>
                </a:lnTo>
                <a:lnTo>
                  <a:pt x="3526" y="2550"/>
                </a:lnTo>
                <a:lnTo>
                  <a:pt x="3520" y="2550"/>
                </a:lnTo>
                <a:lnTo>
                  <a:pt x="3520" y="2550"/>
                </a:lnTo>
                <a:lnTo>
                  <a:pt x="3520" y="2550"/>
                </a:lnTo>
                <a:lnTo>
                  <a:pt x="3520" y="2550"/>
                </a:lnTo>
                <a:lnTo>
                  <a:pt x="3520" y="2550"/>
                </a:lnTo>
                <a:lnTo>
                  <a:pt x="3520" y="2550"/>
                </a:lnTo>
                <a:lnTo>
                  <a:pt x="3520" y="2550"/>
                </a:lnTo>
                <a:lnTo>
                  <a:pt x="3514" y="2544"/>
                </a:lnTo>
                <a:lnTo>
                  <a:pt x="3514" y="2544"/>
                </a:lnTo>
                <a:lnTo>
                  <a:pt x="3508" y="2550"/>
                </a:lnTo>
                <a:lnTo>
                  <a:pt x="3508" y="2550"/>
                </a:lnTo>
                <a:lnTo>
                  <a:pt x="3508" y="2550"/>
                </a:lnTo>
                <a:lnTo>
                  <a:pt x="3508" y="2550"/>
                </a:lnTo>
                <a:lnTo>
                  <a:pt x="3508" y="2544"/>
                </a:lnTo>
                <a:lnTo>
                  <a:pt x="3502" y="2544"/>
                </a:lnTo>
                <a:lnTo>
                  <a:pt x="3502" y="2544"/>
                </a:lnTo>
                <a:lnTo>
                  <a:pt x="3508" y="2544"/>
                </a:lnTo>
                <a:lnTo>
                  <a:pt x="3508" y="2544"/>
                </a:lnTo>
                <a:lnTo>
                  <a:pt x="3508" y="2544"/>
                </a:lnTo>
                <a:lnTo>
                  <a:pt x="3508" y="2544"/>
                </a:lnTo>
                <a:lnTo>
                  <a:pt x="3508" y="2544"/>
                </a:lnTo>
                <a:lnTo>
                  <a:pt x="3508" y="2544"/>
                </a:lnTo>
                <a:lnTo>
                  <a:pt x="3508" y="2544"/>
                </a:lnTo>
                <a:lnTo>
                  <a:pt x="3508" y="2544"/>
                </a:lnTo>
                <a:lnTo>
                  <a:pt x="3508" y="2544"/>
                </a:lnTo>
                <a:lnTo>
                  <a:pt x="3508" y="2544"/>
                </a:lnTo>
                <a:lnTo>
                  <a:pt x="3508" y="2544"/>
                </a:lnTo>
                <a:lnTo>
                  <a:pt x="3508" y="2538"/>
                </a:lnTo>
                <a:lnTo>
                  <a:pt x="3508" y="2538"/>
                </a:lnTo>
                <a:lnTo>
                  <a:pt x="3508" y="2538"/>
                </a:lnTo>
                <a:lnTo>
                  <a:pt x="3508" y="2538"/>
                </a:lnTo>
                <a:lnTo>
                  <a:pt x="3502" y="2538"/>
                </a:lnTo>
                <a:lnTo>
                  <a:pt x="3502" y="2538"/>
                </a:lnTo>
                <a:lnTo>
                  <a:pt x="3502" y="2538"/>
                </a:lnTo>
                <a:lnTo>
                  <a:pt x="3502" y="2538"/>
                </a:lnTo>
                <a:lnTo>
                  <a:pt x="3502" y="2538"/>
                </a:lnTo>
                <a:lnTo>
                  <a:pt x="3502" y="2538"/>
                </a:lnTo>
                <a:lnTo>
                  <a:pt x="3502" y="2538"/>
                </a:lnTo>
                <a:lnTo>
                  <a:pt x="3502" y="2538"/>
                </a:lnTo>
                <a:lnTo>
                  <a:pt x="3502" y="2533"/>
                </a:lnTo>
                <a:lnTo>
                  <a:pt x="3496" y="2538"/>
                </a:lnTo>
                <a:lnTo>
                  <a:pt x="3496" y="2533"/>
                </a:lnTo>
                <a:lnTo>
                  <a:pt x="3496" y="2533"/>
                </a:lnTo>
                <a:lnTo>
                  <a:pt x="3490" y="2533"/>
                </a:lnTo>
                <a:lnTo>
                  <a:pt x="3490" y="2533"/>
                </a:lnTo>
                <a:lnTo>
                  <a:pt x="3490" y="2533"/>
                </a:lnTo>
                <a:lnTo>
                  <a:pt x="3490" y="2533"/>
                </a:lnTo>
                <a:lnTo>
                  <a:pt x="3490" y="2533"/>
                </a:lnTo>
                <a:lnTo>
                  <a:pt x="3490" y="2527"/>
                </a:lnTo>
                <a:lnTo>
                  <a:pt x="3490" y="2527"/>
                </a:lnTo>
                <a:lnTo>
                  <a:pt x="3484" y="2527"/>
                </a:lnTo>
                <a:lnTo>
                  <a:pt x="3484" y="2527"/>
                </a:lnTo>
                <a:lnTo>
                  <a:pt x="3484" y="2521"/>
                </a:lnTo>
                <a:lnTo>
                  <a:pt x="3484" y="2521"/>
                </a:lnTo>
                <a:lnTo>
                  <a:pt x="3490" y="2521"/>
                </a:lnTo>
                <a:lnTo>
                  <a:pt x="3490" y="2521"/>
                </a:lnTo>
                <a:lnTo>
                  <a:pt x="3484" y="2521"/>
                </a:lnTo>
                <a:lnTo>
                  <a:pt x="3484" y="2521"/>
                </a:lnTo>
                <a:lnTo>
                  <a:pt x="3484" y="2521"/>
                </a:lnTo>
                <a:lnTo>
                  <a:pt x="3484" y="2521"/>
                </a:lnTo>
                <a:lnTo>
                  <a:pt x="3484" y="2521"/>
                </a:lnTo>
                <a:lnTo>
                  <a:pt x="3484" y="2521"/>
                </a:lnTo>
                <a:lnTo>
                  <a:pt x="3496" y="2521"/>
                </a:lnTo>
                <a:lnTo>
                  <a:pt x="3496" y="2521"/>
                </a:lnTo>
                <a:lnTo>
                  <a:pt x="3496" y="2521"/>
                </a:lnTo>
                <a:lnTo>
                  <a:pt x="3496" y="2521"/>
                </a:lnTo>
                <a:lnTo>
                  <a:pt x="3496" y="2521"/>
                </a:lnTo>
                <a:lnTo>
                  <a:pt x="3496" y="2521"/>
                </a:lnTo>
                <a:lnTo>
                  <a:pt x="3496" y="2515"/>
                </a:lnTo>
                <a:lnTo>
                  <a:pt x="3490" y="2515"/>
                </a:lnTo>
                <a:lnTo>
                  <a:pt x="3490" y="2515"/>
                </a:lnTo>
                <a:lnTo>
                  <a:pt x="3496" y="2515"/>
                </a:lnTo>
                <a:lnTo>
                  <a:pt x="3496" y="2515"/>
                </a:lnTo>
                <a:lnTo>
                  <a:pt x="3496" y="2515"/>
                </a:lnTo>
                <a:lnTo>
                  <a:pt x="3490" y="2515"/>
                </a:lnTo>
                <a:lnTo>
                  <a:pt x="3490" y="2515"/>
                </a:lnTo>
                <a:lnTo>
                  <a:pt x="3490" y="2515"/>
                </a:lnTo>
                <a:lnTo>
                  <a:pt x="3490" y="2509"/>
                </a:lnTo>
                <a:lnTo>
                  <a:pt x="3490" y="2515"/>
                </a:lnTo>
                <a:lnTo>
                  <a:pt x="3490" y="2515"/>
                </a:lnTo>
                <a:lnTo>
                  <a:pt x="3490" y="2515"/>
                </a:lnTo>
                <a:lnTo>
                  <a:pt x="3496" y="2515"/>
                </a:lnTo>
                <a:lnTo>
                  <a:pt x="3502" y="2515"/>
                </a:lnTo>
                <a:lnTo>
                  <a:pt x="3502" y="2515"/>
                </a:lnTo>
                <a:lnTo>
                  <a:pt x="3508" y="2515"/>
                </a:lnTo>
                <a:lnTo>
                  <a:pt x="3508" y="2521"/>
                </a:lnTo>
                <a:lnTo>
                  <a:pt x="3508" y="2521"/>
                </a:lnTo>
                <a:lnTo>
                  <a:pt x="3508" y="2521"/>
                </a:lnTo>
                <a:lnTo>
                  <a:pt x="3508" y="2521"/>
                </a:lnTo>
                <a:lnTo>
                  <a:pt x="3508" y="2521"/>
                </a:lnTo>
                <a:lnTo>
                  <a:pt x="3508" y="2521"/>
                </a:lnTo>
                <a:lnTo>
                  <a:pt x="3508" y="2521"/>
                </a:lnTo>
                <a:lnTo>
                  <a:pt x="3508" y="2521"/>
                </a:lnTo>
                <a:lnTo>
                  <a:pt x="3508" y="2515"/>
                </a:lnTo>
                <a:lnTo>
                  <a:pt x="3508" y="2515"/>
                </a:lnTo>
                <a:lnTo>
                  <a:pt x="3508" y="2515"/>
                </a:lnTo>
                <a:lnTo>
                  <a:pt x="3508" y="2515"/>
                </a:lnTo>
                <a:lnTo>
                  <a:pt x="3508" y="2515"/>
                </a:lnTo>
                <a:lnTo>
                  <a:pt x="3508" y="2515"/>
                </a:lnTo>
                <a:lnTo>
                  <a:pt x="3508" y="2515"/>
                </a:lnTo>
                <a:lnTo>
                  <a:pt x="3508" y="2515"/>
                </a:lnTo>
                <a:lnTo>
                  <a:pt x="3508" y="2515"/>
                </a:lnTo>
                <a:lnTo>
                  <a:pt x="3508" y="2515"/>
                </a:lnTo>
                <a:lnTo>
                  <a:pt x="3502" y="2515"/>
                </a:lnTo>
                <a:lnTo>
                  <a:pt x="3502" y="2515"/>
                </a:lnTo>
                <a:lnTo>
                  <a:pt x="3502" y="2515"/>
                </a:lnTo>
                <a:lnTo>
                  <a:pt x="3502" y="2515"/>
                </a:lnTo>
                <a:lnTo>
                  <a:pt x="3502" y="2515"/>
                </a:lnTo>
                <a:lnTo>
                  <a:pt x="3496" y="2509"/>
                </a:lnTo>
                <a:lnTo>
                  <a:pt x="3496" y="2509"/>
                </a:lnTo>
                <a:lnTo>
                  <a:pt x="3502" y="2509"/>
                </a:lnTo>
                <a:lnTo>
                  <a:pt x="3502" y="2509"/>
                </a:lnTo>
                <a:lnTo>
                  <a:pt x="3502" y="2509"/>
                </a:lnTo>
                <a:lnTo>
                  <a:pt x="3502" y="2509"/>
                </a:lnTo>
                <a:lnTo>
                  <a:pt x="3508" y="2509"/>
                </a:lnTo>
                <a:lnTo>
                  <a:pt x="3508" y="2509"/>
                </a:lnTo>
                <a:lnTo>
                  <a:pt x="3508" y="2503"/>
                </a:lnTo>
                <a:lnTo>
                  <a:pt x="3508" y="2503"/>
                </a:lnTo>
                <a:lnTo>
                  <a:pt x="3508" y="2503"/>
                </a:lnTo>
                <a:lnTo>
                  <a:pt x="3508" y="2503"/>
                </a:lnTo>
                <a:lnTo>
                  <a:pt x="3508" y="2503"/>
                </a:lnTo>
                <a:lnTo>
                  <a:pt x="3508" y="2503"/>
                </a:lnTo>
                <a:lnTo>
                  <a:pt x="3508" y="2503"/>
                </a:lnTo>
                <a:lnTo>
                  <a:pt x="3514" y="2497"/>
                </a:lnTo>
                <a:lnTo>
                  <a:pt x="3508" y="2497"/>
                </a:lnTo>
                <a:lnTo>
                  <a:pt x="3508" y="2497"/>
                </a:lnTo>
                <a:lnTo>
                  <a:pt x="3514" y="2497"/>
                </a:lnTo>
                <a:lnTo>
                  <a:pt x="3514" y="2497"/>
                </a:lnTo>
                <a:lnTo>
                  <a:pt x="3514" y="2497"/>
                </a:lnTo>
                <a:lnTo>
                  <a:pt x="3514" y="2497"/>
                </a:lnTo>
                <a:lnTo>
                  <a:pt x="3514" y="2503"/>
                </a:lnTo>
                <a:lnTo>
                  <a:pt x="3520" y="2503"/>
                </a:lnTo>
                <a:lnTo>
                  <a:pt x="3520" y="2503"/>
                </a:lnTo>
                <a:lnTo>
                  <a:pt x="3520" y="2503"/>
                </a:lnTo>
                <a:lnTo>
                  <a:pt x="3520" y="2503"/>
                </a:lnTo>
                <a:lnTo>
                  <a:pt x="3520" y="2503"/>
                </a:lnTo>
                <a:lnTo>
                  <a:pt x="3520" y="2503"/>
                </a:lnTo>
                <a:lnTo>
                  <a:pt x="3520" y="2503"/>
                </a:lnTo>
                <a:lnTo>
                  <a:pt x="3520" y="2503"/>
                </a:lnTo>
                <a:lnTo>
                  <a:pt x="3520" y="2503"/>
                </a:lnTo>
                <a:lnTo>
                  <a:pt x="3520" y="2503"/>
                </a:lnTo>
                <a:lnTo>
                  <a:pt x="3520" y="2503"/>
                </a:lnTo>
                <a:lnTo>
                  <a:pt x="3520" y="2503"/>
                </a:lnTo>
                <a:lnTo>
                  <a:pt x="3520" y="2503"/>
                </a:lnTo>
                <a:lnTo>
                  <a:pt x="3520" y="2503"/>
                </a:lnTo>
                <a:lnTo>
                  <a:pt x="3526" y="2503"/>
                </a:lnTo>
                <a:lnTo>
                  <a:pt x="3526" y="2503"/>
                </a:lnTo>
                <a:lnTo>
                  <a:pt x="3526" y="2503"/>
                </a:lnTo>
                <a:lnTo>
                  <a:pt x="3520" y="2503"/>
                </a:lnTo>
                <a:lnTo>
                  <a:pt x="3520" y="2497"/>
                </a:lnTo>
                <a:lnTo>
                  <a:pt x="3520" y="2497"/>
                </a:lnTo>
                <a:lnTo>
                  <a:pt x="3520" y="2497"/>
                </a:lnTo>
                <a:lnTo>
                  <a:pt x="3520" y="2497"/>
                </a:lnTo>
                <a:lnTo>
                  <a:pt x="3520" y="2497"/>
                </a:lnTo>
                <a:lnTo>
                  <a:pt x="3526" y="2497"/>
                </a:lnTo>
                <a:lnTo>
                  <a:pt x="3526" y="2497"/>
                </a:lnTo>
                <a:lnTo>
                  <a:pt x="3526" y="2497"/>
                </a:lnTo>
                <a:lnTo>
                  <a:pt x="3526" y="2497"/>
                </a:lnTo>
                <a:lnTo>
                  <a:pt x="3526" y="2497"/>
                </a:lnTo>
                <a:lnTo>
                  <a:pt x="3526" y="2497"/>
                </a:lnTo>
                <a:lnTo>
                  <a:pt x="3526" y="2491"/>
                </a:lnTo>
                <a:lnTo>
                  <a:pt x="3526" y="2491"/>
                </a:lnTo>
                <a:lnTo>
                  <a:pt x="3526" y="2491"/>
                </a:lnTo>
                <a:lnTo>
                  <a:pt x="3526" y="2491"/>
                </a:lnTo>
                <a:lnTo>
                  <a:pt x="3526" y="2491"/>
                </a:lnTo>
                <a:lnTo>
                  <a:pt x="3526" y="2491"/>
                </a:lnTo>
                <a:lnTo>
                  <a:pt x="3526" y="2491"/>
                </a:lnTo>
                <a:lnTo>
                  <a:pt x="3526" y="2491"/>
                </a:lnTo>
                <a:lnTo>
                  <a:pt x="3520" y="2491"/>
                </a:lnTo>
                <a:lnTo>
                  <a:pt x="3520" y="2491"/>
                </a:lnTo>
                <a:lnTo>
                  <a:pt x="3520" y="2491"/>
                </a:lnTo>
                <a:lnTo>
                  <a:pt x="3520" y="2491"/>
                </a:lnTo>
                <a:lnTo>
                  <a:pt x="3520" y="2491"/>
                </a:lnTo>
                <a:lnTo>
                  <a:pt x="3520" y="2491"/>
                </a:lnTo>
                <a:lnTo>
                  <a:pt x="3520" y="2491"/>
                </a:lnTo>
                <a:lnTo>
                  <a:pt x="3520" y="2491"/>
                </a:lnTo>
                <a:lnTo>
                  <a:pt x="3520" y="2491"/>
                </a:lnTo>
                <a:lnTo>
                  <a:pt x="3520" y="2491"/>
                </a:lnTo>
                <a:lnTo>
                  <a:pt x="3520" y="2485"/>
                </a:lnTo>
                <a:lnTo>
                  <a:pt x="3520" y="2485"/>
                </a:lnTo>
                <a:lnTo>
                  <a:pt x="3520" y="2485"/>
                </a:lnTo>
                <a:lnTo>
                  <a:pt x="3520" y="2491"/>
                </a:lnTo>
                <a:lnTo>
                  <a:pt x="3520" y="2491"/>
                </a:lnTo>
                <a:lnTo>
                  <a:pt x="3520" y="2491"/>
                </a:lnTo>
                <a:lnTo>
                  <a:pt x="3520" y="2491"/>
                </a:lnTo>
                <a:lnTo>
                  <a:pt x="3520" y="2491"/>
                </a:lnTo>
                <a:lnTo>
                  <a:pt x="3520" y="2491"/>
                </a:lnTo>
                <a:lnTo>
                  <a:pt x="3520" y="2491"/>
                </a:lnTo>
                <a:lnTo>
                  <a:pt x="3520" y="2491"/>
                </a:lnTo>
                <a:lnTo>
                  <a:pt x="3520" y="2491"/>
                </a:lnTo>
                <a:lnTo>
                  <a:pt x="3520" y="2491"/>
                </a:lnTo>
                <a:lnTo>
                  <a:pt x="3520" y="2491"/>
                </a:lnTo>
                <a:lnTo>
                  <a:pt x="3514" y="2485"/>
                </a:lnTo>
                <a:lnTo>
                  <a:pt x="3514" y="2485"/>
                </a:lnTo>
                <a:lnTo>
                  <a:pt x="3514" y="2485"/>
                </a:lnTo>
                <a:lnTo>
                  <a:pt x="3520" y="2485"/>
                </a:lnTo>
                <a:lnTo>
                  <a:pt x="3520" y="2485"/>
                </a:lnTo>
                <a:lnTo>
                  <a:pt x="3520" y="2485"/>
                </a:lnTo>
                <a:lnTo>
                  <a:pt x="3520" y="2485"/>
                </a:lnTo>
                <a:lnTo>
                  <a:pt x="3520" y="2485"/>
                </a:lnTo>
                <a:lnTo>
                  <a:pt x="3520" y="2485"/>
                </a:lnTo>
                <a:lnTo>
                  <a:pt x="3520" y="2485"/>
                </a:lnTo>
                <a:lnTo>
                  <a:pt x="3520" y="2479"/>
                </a:lnTo>
                <a:lnTo>
                  <a:pt x="3520" y="2479"/>
                </a:lnTo>
                <a:lnTo>
                  <a:pt x="3514" y="2479"/>
                </a:lnTo>
                <a:lnTo>
                  <a:pt x="3514" y="2479"/>
                </a:lnTo>
                <a:lnTo>
                  <a:pt x="3514" y="2479"/>
                </a:lnTo>
                <a:lnTo>
                  <a:pt x="3514" y="2479"/>
                </a:lnTo>
                <a:lnTo>
                  <a:pt x="3514" y="2479"/>
                </a:lnTo>
                <a:lnTo>
                  <a:pt x="3514" y="2479"/>
                </a:lnTo>
                <a:lnTo>
                  <a:pt x="3514" y="2479"/>
                </a:lnTo>
                <a:lnTo>
                  <a:pt x="3514" y="2479"/>
                </a:lnTo>
                <a:lnTo>
                  <a:pt x="3514" y="2479"/>
                </a:lnTo>
                <a:lnTo>
                  <a:pt x="3514" y="2479"/>
                </a:lnTo>
                <a:lnTo>
                  <a:pt x="3514" y="2479"/>
                </a:lnTo>
                <a:lnTo>
                  <a:pt x="3514" y="2473"/>
                </a:lnTo>
                <a:lnTo>
                  <a:pt x="3514" y="2473"/>
                </a:lnTo>
                <a:lnTo>
                  <a:pt x="3514" y="2473"/>
                </a:lnTo>
                <a:lnTo>
                  <a:pt x="3520" y="2473"/>
                </a:lnTo>
                <a:lnTo>
                  <a:pt x="3520" y="2473"/>
                </a:lnTo>
                <a:lnTo>
                  <a:pt x="3520" y="2473"/>
                </a:lnTo>
                <a:lnTo>
                  <a:pt x="3520" y="2473"/>
                </a:lnTo>
                <a:lnTo>
                  <a:pt x="3520" y="2473"/>
                </a:lnTo>
                <a:lnTo>
                  <a:pt x="3520" y="2473"/>
                </a:lnTo>
                <a:lnTo>
                  <a:pt x="3520" y="2473"/>
                </a:lnTo>
                <a:lnTo>
                  <a:pt x="3520" y="2473"/>
                </a:lnTo>
                <a:lnTo>
                  <a:pt x="3520" y="2473"/>
                </a:lnTo>
                <a:lnTo>
                  <a:pt x="3520" y="2473"/>
                </a:lnTo>
                <a:lnTo>
                  <a:pt x="3514" y="2473"/>
                </a:lnTo>
                <a:lnTo>
                  <a:pt x="3514" y="2473"/>
                </a:lnTo>
                <a:lnTo>
                  <a:pt x="3514" y="2473"/>
                </a:lnTo>
                <a:lnTo>
                  <a:pt x="3514" y="2473"/>
                </a:lnTo>
                <a:lnTo>
                  <a:pt x="3514" y="2473"/>
                </a:lnTo>
                <a:lnTo>
                  <a:pt x="3514" y="2473"/>
                </a:lnTo>
                <a:lnTo>
                  <a:pt x="3514" y="2473"/>
                </a:lnTo>
                <a:lnTo>
                  <a:pt x="3514" y="2473"/>
                </a:lnTo>
                <a:lnTo>
                  <a:pt x="3514" y="2473"/>
                </a:lnTo>
                <a:lnTo>
                  <a:pt x="3514" y="2473"/>
                </a:lnTo>
                <a:lnTo>
                  <a:pt x="3514" y="2473"/>
                </a:lnTo>
                <a:lnTo>
                  <a:pt x="3514" y="2473"/>
                </a:lnTo>
                <a:lnTo>
                  <a:pt x="3514" y="2467"/>
                </a:lnTo>
                <a:lnTo>
                  <a:pt x="3514" y="2467"/>
                </a:lnTo>
                <a:lnTo>
                  <a:pt x="3514" y="2467"/>
                </a:lnTo>
                <a:lnTo>
                  <a:pt x="3514" y="2467"/>
                </a:lnTo>
                <a:lnTo>
                  <a:pt x="3514" y="2467"/>
                </a:lnTo>
                <a:lnTo>
                  <a:pt x="3508" y="2467"/>
                </a:lnTo>
                <a:lnTo>
                  <a:pt x="3508" y="2467"/>
                </a:lnTo>
                <a:lnTo>
                  <a:pt x="3508" y="2467"/>
                </a:lnTo>
                <a:lnTo>
                  <a:pt x="3508" y="2473"/>
                </a:lnTo>
                <a:lnTo>
                  <a:pt x="3508" y="2473"/>
                </a:lnTo>
                <a:lnTo>
                  <a:pt x="3508" y="2473"/>
                </a:lnTo>
                <a:lnTo>
                  <a:pt x="3508" y="2473"/>
                </a:lnTo>
                <a:lnTo>
                  <a:pt x="3508" y="2473"/>
                </a:lnTo>
                <a:lnTo>
                  <a:pt x="3508" y="2473"/>
                </a:lnTo>
                <a:lnTo>
                  <a:pt x="3508" y="2473"/>
                </a:lnTo>
                <a:lnTo>
                  <a:pt x="3508" y="2473"/>
                </a:lnTo>
                <a:lnTo>
                  <a:pt x="3508" y="2473"/>
                </a:lnTo>
                <a:lnTo>
                  <a:pt x="3508" y="2473"/>
                </a:lnTo>
                <a:lnTo>
                  <a:pt x="3508" y="2479"/>
                </a:lnTo>
                <a:lnTo>
                  <a:pt x="3502" y="2479"/>
                </a:lnTo>
                <a:lnTo>
                  <a:pt x="3502" y="2479"/>
                </a:lnTo>
                <a:lnTo>
                  <a:pt x="3502" y="2479"/>
                </a:lnTo>
                <a:lnTo>
                  <a:pt x="3502" y="2479"/>
                </a:lnTo>
                <a:lnTo>
                  <a:pt x="3502" y="2479"/>
                </a:lnTo>
                <a:lnTo>
                  <a:pt x="3502" y="2479"/>
                </a:lnTo>
                <a:lnTo>
                  <a:pt x="3502" y="2485"/>
                </a:lnTo>
                <a:lnTo>
                  <a:pt x="3502" y="2485"/>
                </a:lnTo>
                <a:lnTo>
                  <a:pt x="3502" y="2485"/>
                </a:lnTo>
                <a:lnTo>
                  <a:pt x="3502" y="2491"/>
                </a:lnTo>
                <a:lnTo>
                  <a:pt x="3502" y="2491"/>
                </a:lnTo>
                <a:lnTo>
                  <a:pt x="3496" y="2491"/>
                </a:lnTo>
                <a:lnTo>
                  <a:pt x="3496" y="2491"/>
                </a:lnTo>
                <a:lnTo>
                  <a:pt x="3496" y="2491"/>
                </a:lnTo>
                <a:lnTo>
                  <a:pt x="3490" y="2491"/>
                </a:lnTo>
                <a:lnTo>
                  <a:pt x="3490" y="2491"/>
                </a:lnTo>
                <a:lnTo>
                  <a:pt x="3490" y="2491"/>
                </a:lnTo>
                <a:lnTo>
                  <a:pt x="3484" y="2485"/>
                </a:lnTo>
                <a:lnTo>
                  <a:pt x="3484" y="2485"/>
                </a:lnTo>
                <a:lnTo>
                  <a:pt x="3484" y="2485"/>
                </a:lnTo>
                <a:lnTo>
                  <a:pt x="3490" y="2485"/>
                </a:lnTo>
                <a:lnTo>
                  <a:pt x="3490" y="2485"/>
                </a:lnTo>
                <a:lnTo>
                  <a:pt x="3490" y="2485"/>
                </a:lnTo>
                <a:lnTo>
                  <a:pt x="3490" y="2485"/>
                </a:lnTo>
                <a:lnTo>
                  <a:pt x="3490" y="2485"/>
                </a:lnTo>
                <a:lnTo>
                  <a:pt x="3484" y="2485"/>
                </a:lnTo>
                <a:lnTo>
                  <a:pt x="3484" y="2485"/>
                </a:lnTo>
                <a:lnTo>
                  <a:pt x="3484" y="2485"/>
                </a:lnTo>
                <a:lnTo>
                  <a:pt x="3478" y="2485"/>
                </a:lnTo>
                <a:lnTo>
                  <a:pt x="3478" y="2485"/>
                </a:lnTo>
                <a:lnTo>
                  <a:pt x="3478" y="2485"/>
                </a:lnTo>
                <a:lnTo>
                  <a:pt x="3478" y="2485"/>
                </a:lnTo>
                <a:lnTo>
                  <a:pt x="3478" y="2485"/>
                </a:lnTo>
                <a:lnTo>
                  <a:pt x="3478" y="2485"/>
                </a:lnTo>
                <a:lnTo>
                  <a:pt x="3478" y="2479"/>
                </a:lnTo>
                <a:lnTo>
                  <a:pt x="3478" y="2479"/>
                </a:lnTo>
                <a:lnTo>
                  <a:pt x="3473" y="2479"/>
                </a:lnTo>
                <a:lnTo>
                  <a:pt x="3473" y="2479"/>
                </a:lnTo>
                <a:lnTo>
                  <a:pt x="3473" y="2479"/>
                </a:lnTo>
                <a:lnTo>
                  <a:pt x="3478" y="2473"/>
                </a:lnTo>
                <a:lnTo>
                  <a:pt x="3478" y="2473"/>
                </a:lnTo>
                <a:lnTo>
                  <a:pt x="3478" y="2473"/>
                </a:lnTo>
                <a:lnTo>
                  <a:pt x="3484" y="2473"/>
                </a:lnTo>
                <a:lnTo>
                  <a:pt x="3484" y="2473"/>
                </a:lnTo>
                <a:lnTo>
                  <a:pt x="3484" y="2473"/>
                </a:lnTo>
                <a:lnTo>
                  <a:pt x="3484" y="2473"/>
                </a:lnTo>
                <a:lnTo>
                  <a:pt x="3484" y="2473"/>
                </a:lnTo>
                <a:lnTo>
                  <a:pt x="3490" y="2473"/>
                </a:lnTo>
                <a:lnTo>
                  <a:pt x="3490" y="2473"/>
                </a:lnTo>
                <a:lnTo>
                  <a:pt x="3490" y="2473"/>
                </a:lnTo>
                <a:lnTo>
                  <a:pt x="3484" y="2473"/>
                </a:lnTo>
                <a:lnTo>
                  <a:pt x="3484" y="2473"/>
                </a:lnTo>
                <a:lnTo>
                  <a:pt x="3484" y="2473"/>
                </a:lnTo>
                <a:lnTo>
                  <a:pt x="3490" y="2473"/>
                </a:lnTo>
                <a:lnTo>
                  <a:pt x="3490" y="2467"/>
                </a:lnTo>
                <a:lnTo>
                  <a:pt x="3490" y="2467"/>
                </a:lnTo>
                <a:lnTo>
                  <a:pt x="3490" y="2467"/>
                </a:lnTo>
                <a:lnTo>
                  <a:pt x="3490" y="2467"/>
                </a:lnTo>
                <a:lnTo>
                  <a:pt x="3490" y="2467"/>
                </a:lnTo>
                <a:lnTo>
                  <a:pt x="3490" y="2467"/>
                </a:lnTo>
                <a:lnTo>
                  <a:pt x="3496" y="2467"/>
                </a:lnTo>
                <a:lnTo>
                  <a:pt x="3496" y="2461"/>
                </a:lnTo>
                <a:lnTo>
                  <a:pt x="3496" y="2461"/>
                </a:lnTo>
                <a:lnTo>
                  <a:pt x="3496" y="2461"/>
                </a:lnTo>
                <a:lnTo>
                  <a:pt x="3496"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90" y="2461"/>
                </a:lnTo>
                <a:lnTo>
                  <a:pt x="3484" y="2461"/>
                </a:lnTo>
                <a:lnTo>
                  <a:pt x="3484" y="2461"/>
                </a:lnTo>
                <a:lnTo>
                  <a:pt x="3484" y="2461"/>
                </a:lnTo>
                <a:lnTo>
                  <a:pt x="3484" y="2467"/>
                </a:lnTo>
                <a:lnTo>
                  <a:pt x="3484" y="2467"/>
                </a:lnTo>
                <a:lnTo>
                  <a:pt x="3484" y="2467"/>
                </a:lnTo>
                <a:lnTo>
                  <a:pt x="3484" y="2467"/>
                </a:lnTo>
                <a:lnTo>
                  <a:pt x="3484" y="2467"/>
                </a:lnTo>
                <a:lnTo>
                  <a:pt x="3484" y="2467"/>
                </a:lnTo>
                <a:lnTo>
                  <a:pt x="3484" y="2467"/>
                </a:lnTo>
                <a:lnTo>
                  <a:pt x="3484" y="2467"/>
                </a:lnTo>
                <a:lnTo>
                  <a:pt x="3484" y="2461"/>
                </a:lnTo>
                <a:lnTo>
                  <a:pt x="3484" y="2461"/>
                </a:lnTo>
                <a:lnTo>
                  <a:pt x="3484" y="2461"/>
                </a:lnTo>
                <a:lnTo>
                  <a:pt x="3484" y="2461"/>
                </a:lnTo>
                <a:lnTo>
                  <a:pt x="3484" y="2461"/>
                </a:lnTo>
                <a:lnTo>
                  <a:pt x="3484" y="2455"/>
                </a:lnTo>
                <a:lnTo>
                  <a:pt x="3484" y="2455"/>
                </a:lnTo>
                <a:lnTo>
                  <a:pt x="3484" y="2455"/>
                </a:lnTo>
                <a:lnTo>
                  <a:pt x="3484" y="2461"/>
                </a:lnTo>
                <a:lnTo>
                  <a:pt x="3484" y="2461"/>
                </a:lnTo>
                <a:lnTo>
                  <a:pt x="3484" y="2461"/>
                </a:lnTo>
                <a:lnTo>
                  <a:pt x="3484" y="2461"/>
                </a:lnTo>
                <a:lnTo>
                  <a:pt x="3484" y="2467"/>
                </a:lnTo>
                <a:lnTo>
                  <a:pt x="3478" y="2467"/>
                </a:lnTo>
                <a:lnTo>
                  <a:pt x="3478" y="2467"/>
                </a:lnTo>
                <a:lnTo>
                  <a:pt x="3478" y="2467"/>
                </a:lnTo>
                <a:lnTo>
                  <a:pt x="3478" y="2467"/>
                </a:lnTo>
                <a:lnTo>
                  <a:pt x="3478" y="2467"/>
                </a:lnTo>
                <a:lnTo>
                  <a:pt x="3478" y="2467"/>
                </a:lnTo>
                <a:lnTo>
                  <a:pt x="3478" y="2467"/>
                </a:lnTo>
                <a:lnTo>
                  <a:pt x="3478" y="2467"/>
                </a:lnTo>
                <a:lnTo>
                  <a:pt x="3478" y="2467"/>
                </a:lnTo>
                <a:lnTo>
                  <a:pt x="3478" y="2467"/>
                </a:lnTo>
                <a:lnTo>
                  <a:pt x="3478" y="2467"/>
                </a:lnTo>
                <a:lnTo>
                  <a:pt x="3473" y="2467"/>
                </a:lnTo>
                <a:lnTo>
                  <a:pt x="3473" y="2461"/>
                </a:lnTo>
                <a:lnTo>
                  <a:pt x="3473" y="2461"/>
                </a:lnTo>
                <a:lnTo>
                  <a:pt x="3473" y="2461"/>
                </a:lnTo>
                <a:lnTo>
                  <a:pt x="3473" y="2461"/>
                </a:lnTo>
                <a:lnTo>
                  <a:pt x="3467" y="2461"/>
                </a:lnTo>
                <a:lnTo>
                  <a:pt x="3467" y="2467"/>
                </a:lnTo>
                <a:lnTo>
                  <a:pt x="3467" y="2467"/>
                </a:lnTo>
                <a:lnTo>
                  <a:pt x="3461" y="2473"/>
                </a:lnTo>
                <a:lnTo>
                  <a:pt x="3461" y="2473"/>
                </a:lnTo>
                <a:lnTo>
                  <a:pt x="3455" y="2473"/>
                </a:lnTo>
                <a:lnTo>
                  <a:pt x="3449" y="2473"/>
                </a:lnTo>
                <a:lnTo>
                  <a:pt x="3443" y="2473"/>
                </a:lnTo>
                <a:lnTo>
                  <a:pt x="3443" y="2473"/>
                </a:lnTo>
                <a:lnTo>
                  <a:pt x="3437" y="2473"/>
                </a:lnTo>
                <a:lnTo>
                  <a:pt x="3431" y="2473"/>
                </a:lnTo>
                <a:lnTo>
                  <a:pt x="3425" y="2473"/>
                </a:lnTo>
                <a:lnTo>
                  <a:pt x="3419" y="2467"/>
                </a:lnTo>
                <a:lnTo>
                  <a:pt x="3419" y="2467"/>
                </a:lnTo>
                <a:lnTo>
                  <a:pt x="3419" y="2467"/>
                </a:lnTo>
                <a:lnTo>
                  <a:pt x="3419" y="2461"/>
                </a:lnTo>
                <a:lnTo>
                  <a:pt x="3419" y="2455"/>
                </a:lnTo>
                <a:lnTo>
                  <a:pt x="3419" y="2455"/>
                </a:lnTo>
                <a:lnTo>
                  <a:pt x="3419" y="2455"/>
                </a:lnTo>
                <a:lnTo>
                  <a:pt x="3425" y="2444"/>
                </a:lnTo>
                <a:lnTo>
                  <a:pt x="3431" y="2444"/>
                </a:lnTo>
                <a:lnTo>
                  <a:pt x="3431" y="2438"/>
                </a:lnTo>
                <a:lnTo>
                  <a:pt x="3431" y="2438"/>
                </a:lnTo>
                <a:lnTo>
                  <a:pt x="3437" y="2438"/>
                </a:lnTo>
                <a:lnTo>
                  <a:pt x="3437" y="2432"/>
                </a:lnTo>
                <a:lnTo>
                  <a:pt x="3443" y="2432"/>
                </a:lnTo>
                <a:lnTo>
                  <a:pt x="3443" y="2432"/>
                </a:lnTo>
                <a:lnTo>
                  <a:pt x="3449" y="2438"/>
                </a:lnTo>
                <a:lnTo>
                  <a:pt x="3455" y="2438"/>
                </a:lnTo>
                <a:lnTo>
                  <a:pt x="3455" y="2438"/>
                </a:lnTo>
                <a:lnTo>
                  <a:pt x="3461" y="2444"/>
                </a:lnTo>
                <a:lnTo>
                  <a:pt x="3461" y="2444"/>
                </a:lnTo>
                <a:lnTo>
                  <a:pt x="3461" y="2444"/>
                </a:lnTo>
                <a:lnTo>
                  <a:pt x="3461" y="2444"/>
                </a:lnTo>
                <a:lnTo>
                  <a:pt x="3461" y="2444"/>
                </a:lnTo>
                <a:lnTo>
                  <a:pt x="3461" y="2450"/>
                </a:lnTo>
                <a:lnTo>
                  <a:pt x="3461" y="2450"/>
                </a:lnTo>
                <a:lnTo>
                  <a:pt x="3461" y="2450"/>
                </a:lnTo>
                <a:lnTo>
                  <a:pt x="3467" y="2450"/>
                </a:lnTo>
                <a:lnTo>
                  <a:pt x="3467" y="2450"/>
                </a:lnTo>
                <a:lnTo>
                  <a:pt x="3467" y="2450"/>
                </a:lnTo>
                <a:lnTo>
                  <a:pt x="3467" y="2450"/>
                </a:lnTo>
                <a:lnTo>
                  <a:pt x="3473" y="2450"/>
                </a:lnTo>
                <a:lnTo>
                  <a:pt x="3473" y="2450"/>
                </a:lnTo>
                <a:lnTo>
                  <a:pt x="3473" y="2450"/>
                </a:lnTo>
                <a:lnTo>
                  <a:pt x="3478" y="2450"/>
                </a:lnTo>
                <a:lnTo>
                  <a:pt x="3478" y="2450"/>
                </a:lnTo>
                <a:lnTo>
                  <a:pt x="3478" y="2450"/>
                </a:lnTo>
                <a:lnTo>
                  <a:pt x="3484" y="2450"/>
                </a:lnTo>
                <a:lnTo>
                  <a:pt x="3484" y="2450"/>
                </a:lnTo>
                <a:lnTo>
                  <a:pt x="3484" y="2450"/>
                </a:lnTo>
                <a:lnTo>
                  <a:pt x="3484" y="2450"/>
                </a:lnTo>
                <a:lnTo>
                  <a:pt x="3484" y="2455"/>
                </a:lnTo>
                <a:lnTo>
                  <a:pt x="3484" y="2455"/>
                </a:lnTo>
                <a:lnTo>
                  <a:pt x="3484" y="2455"/>
                </a:lnTo>
                <a:lnTo>
                  <a:pt x="3484" y="2455"/>
                </a:lnTo>
                <a:lnTo>
                  <a:pt x="3484" y="2455"/>
                </a:lnTo>
                <a:lnTo>
                  <a:pt x="3484" y="2455"/>
                </a:lnTo>
                <a:lnTo>
                  <a:pt x="3490" y="2455"/>
                </a:lnTo>
                <a:lnTo>
                  <a:pt x="3490" y="2455"/>
                </a:lnTo>
                <a:lnTo>
                  <a:pt x="3490" y="2455"/>
                </a:lnTo>
                <a:lnTo>
                  <a:pt x="3490" y="2455"/>
                </a:lnTo>
                <a:lnTo>
                  <a:pt x="3490" y="2455"/>
                </a:lnTo>
                <a:lnTo>
                  <a:pt x="3496" y="2455"/>
                </a:lnTo>
                <a:lnTo>
                  <a:pt x="3496" y="2455"/>
                </a:lnTo>
                <a:lnTo>
                  <a:pt x="3496" y="2455"/>
                </a:lnTo>
                <a:lnTo>
                  <a:pt x="3496" y="2455"/>
                </a:lnTo>
                <a:lnTo>
                  <a:pt x="3502" y="2455"/>
                </a:lnTo>
                <a:lnTo>
                  <a:pt x="3502" y="2455"/>
                </a:lnTo>
                <a:lnTo>
                  <a:pt x="3502" y="2455"/>
                </a:lnTo>
                <a:lnTo>
                  <a:pt x="3502" y="2455"/>
                </a:lnTo>
                <a:lnTo>
                  <a:pt x="3502" y="2461"/>
                </a:lnTo>
                <a:lnTo>
                  <a:pt x="3496" y="2461"/>
                </a:lnTo>
                <a:lnTo>
                  <a:pt x="3496" y="2461"/>
                </a:lnTo>
                <a:lnTo>
                  <a:pt x="3502" y="2461"/>
                </a:lnTo>
                <a:lnTo>
                  <a:pt x="3502" y="2461"/>
                </a:lnTo>
                <a:lnTo>
                  <a:pt x="3508" y="2455"/>
                </a:lnTo>
                <a:lnTo>
                  <a:pt x="3508" y="2455"/>
                </a:lnTo>
                <a:lnTo>
                  <a:pt x="3508" y="2455"/>
                </a:lnTo>
                <a:lnTo>
                  <a:pt x="3508" y="2455"/>
                </a:lnTo>
                <a:lnTo>
                  <a:pt x="3508" y="2455"/>
                </a:lnTo>
                <a:lnTo>
                  <a:pt x="3508" y="2455"/>
                </a:lnTo>
                <a:lnTo>
                  <a:pt x="3508" y="2455"/>
                </a:lnTo>
                <a:lnTo>
                  <a:pt x="3508"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14" y="2455"/>
                </a:lnTo>
                <a:lnTo>
                  <a:pt x="3520" y="2450"/>
                </a:lnTo>
                <a:lnTo>
                  <a:pt x="3520" y="2450"/>
                </a:lnTo>
                <a:lnTo>
                  <a:pt x="3520" y="2450"/>
                </a:lnTo>
                <a:lnTo>
                  <a:pt x="3520" y="2450"/>
                </a:lnTo>
                <a:lnTo>
                  <a:pt x="3520" y="2450"/>
                </a:lnTo>
                <a:lnTo>
                  <a:pt x="3526" y="2444"/>
                </a:lnTo>
                <a:lnTo>
                  <a:pt x="3526" y="2444"/>
                </a:lnTo>
                <a:lnTo>
                  <a:pt x="3526" y="2444"/>
                </a:lnTo>
                <a:lnTo>
                  <a:pt x="3526" y="2444"/>
                </a:lnTo>
                <a:lnTo>
                  <a:pt x="3526" y="2444"/>
                </a:lnTo>
                <a:lnTo>
                  <a:pt x="3526" y="2438"/>
                </a:lnTo>
                <a:lnTo>
                  <a:pt x="3526" y="2438"/>
                </a:lnTo>
                <a:lnTo>
                  <a:pt x="3526" y="2438"/>
                </a:lnTo>
                <a:lnTo>
                  <a:pt x="3526" y="2438"/>
                </a:lnTo>
                <a:lnTo>
                  <a:pt x="3526" y="2438"/>
                </a:lnTo>
                <a:lnTo>
                  <a:pt x="3526" y="2438"/>
                </a:lnTo>
                <a:lnTo>
                  <a:pt x="3526" y="2438"/>
                </a:lnTo>
                <a:lnTo>
                  <a:pt x="3526" y="2438"/>
                </a:lnTo>
                <a:lnTo>
                  <a:pt x="3526" y="2438"/>
                </a:lnTo>
                <a:lnTo>
                  <a:pt x="3526" y="2438"/>
                </a:lnTo>
                <a:lnTo>
                  <a:pt x="3526" y="2438"/>
                </a:lnTo>
                <a:lnTo>
                  <a:pt x="3526" y="2432"/>
                </a:lnTo>
                <a:lnTo>
                  <a:pt x="3526" y="2432"/>
                </a:lnTo>
                <a:lnTo>
                  <a:pt x="3532" y="2438"/>
                </a:lnTo>
                <a:lnTo>
                  <a:pt x="3532" y="2438"/>
                </a:lnTo>
                <a:lnTo>
                  <a:pt x="3532" y="2438"/>
                </a:lnTo>
                <a:lnTo>
                  <a:pt x="3532" y="2438"/>
                </a:lnTo>
                <a:lnTo>
                  <a:pt x="3532" y="2438"/>
                </a:lnTo>
                <a:lnTo>
                  <a:pt x="3532" y="2438"/>
                </a:lnTo>
                <a:lnTo>
                  <a:pt x="3532" y="2438"/>
                </a:lnTo>
                <a:lnTo>
                  <a:pt x="3532" y="2438"/>
                </a:lnTo>
                <a:lnTo>
                  <a:pt x="3532" y="2444"/>
                </a:lnTo>
                <a:lnTo>
                  <a:pt x="3532" y="2444"/>
                </a:lnTo>
                <a:lnTo>
                  <a:pt x="3532" y="2444"/>
                </a:lnTo>
                <a:lnTo>
                  <a:pt x="3532" y="2444"/>
                </a:lnTo>
                <a:lnTo>
                  <a:pt x="3538" y="2444"/>
                </a:lnTo>
                <a:lnTo>
                  <a:pt x="3544" y="2438"/>
                </a:lnTo>
                <a:lnTo>
                  <a:pt x="3550" y="2438"/>
                </a:lnTo>
                <a:lnTo>
                  <a:pt x="3555" y="2438"/>
                </a:lnTo>
                <a:lnTo>
                  <a:pt x="3555" y="2438"/>
                </a:lnTo>
                <a:lnTo>
                  <a:pt x="3555" y="2438"/>
                </a:lnTo>
                <a:lnTo>
                  <a:pt x="3561" y="2432"/>
                </a:lnTo>
                <a:lnTo>
                  <a:pt x="3561" y="2432"/>
                </a:lnTo>
                <a:lnTo>
                  <a:pt x="3567" y="2432"/>
                </a:lnTo>
                <a:lnTo>
                  <a:pt x="3573" y="2432"/>
                </a:lnTo>
                <a:lnTo>
                  <a:pt x="3573" y="2432"/>
                </a:lnTo>
                <a:lnTo>
                  <a:pt x="3573" y="2432"/>
                </a:lnTo>
                <a:lnTo>
                  <a:pt x="3561" y="2432"/>
                </a:lnTo>
                <a:lnTo>
                  <a:pt x="3561" y="2432"/>
                </a:lnTo>
                <a:lnTo>
                  <a:pt x="3561" y="2432"/>
                </a:lnTo>
                <a:lnTo>
                  <a:pt x="3561" y="2426"/>
                </a:lnTo>
                <a:lnTo>
                  <a:pt x="3567" y="2426"/>
                </a:lnTo>
                <a:lnTo>
                  <a:pt x="3573" y="2426"/>
                </a:lnTo>
                <a:lnTo>
                  <a:pt x="3573" y="2432"/>
                </a:lnTo>
                <a:lnTo>
                  <a:pt x="3579" y="2432"/>
                </a:lnTo>
                <a:lnTo>
                  <a:pt x="3585" y="2438"/>
                </a:lnTo>
                <a:lnTo>
                  <a:pt x="3585" y="2438"/>
                </a:lnTo>
                <a:lnTo>
                  <a:pt x="3591" y="2438"/>
                </a:lnTo>
                <a:lnTo>
                  <a:pt x="3597" y="2438"/>
                </a:lnTo>
                <a:lnTo>
                  <a:pt x="3597" y="2438"/>
                </a:lnTo>
                <a:lnTo>
                  <a:pt x="3597" y="2432"/>
                </a:lnTo>
                <a:lnTo>
                  <a:pt x="3597" y="2432"/>
                </a:lnTo>
                <a:lnTo>
                  <a:pt x="3597" y="2432"/>
                </a:lnTo>
                <a:lnTo>
                  <a:pt x="3603" y="2432"/>
                </a:lnTo>
                <a:lnTo>
                  <a:pt x="3603" y="2438"/>
                </a:lnTo>
                <a:lnTo>
                  <a:pt x="3603" y="2438"/>
                </a:lnTo>
                <a:lnTo>
                  <a:pt x="3603" y="2438"/>
                </a:lnTo>
                <a:lnTo>
                  <a:pt x="3603" y="2438"/>
                </a:lnTo>
                <a:lnTo>
                  <a:pt x="3603" y="2438"/>
                </a:lnTo>
                <a:lnTo>
                  <a:pt x="3603" y="2438"/>
                </a:lnTo>
                <a:lnTo>
                  <a:pt x="3609" y="2438"/>
                </a:lnTo>
                <a:lnTo>
                  <a:pt x="3609" y="2438"/>
                </a:lnTo>
                <a:lnTo>
                  <a:pt x="3609" y="2438"/>
                </a:lnTo>
                <a:lnTo>
                  <a:pt x="3609" y="2438"/>
                </a:lnTo>
                <a:lnTo>
                  <a:pt x="3609" y="2444"/>
                </a:lnTo>
                <a:lnTo>
                  <a:pt x="3615" y="2438"/>
                </a:lnTo>
                <a:lnTo>
                  <a:pt x="3615" y="2438"/>
                </a:lnTo>
                <a:lnTo>
                  <a:pt x="3615" y="2438"/>
                </a:lnTo>
                <a:lnTo>
                  <a:pt x="3615" y="2438"/>
                </a:lnTo>
                <a:lnTo>
                  <a:pt x="3615" y="2438"/>
                </a:lnTo>
                <a:lnTo>
                  <a:pt x="3615" y="2438"/>
                </a:lnTo>
                <a:lnTo>
                  <a:pt x="3615" y="2438"/>
                </a:lnTo>
                <a:lnTo>
                  <a:pt x="3615" y="2438"/>
                </a:lnTo>
                <a:lnTo>
                  <a:pt x="3621" y="2438"/>
                </a:lnTo>
                <a:lnTo>
                  <a:pt x="3621" y="2438"/>
                </a:lnTo>
                <a:lnTo>
                  <a:pt x="3621" y="2438"/>
                </a:lnTo>
                <a:lnTo>
                  <a:pt x="3621" y="2438"/>
                </a:lnTo>
                <a:lnTo>
                  <a:pt x="3621" y="2432"/>
                </a:lnTo>
                <a:lnTo>
                  <a:pt x="3621" y="2432"/>
                </a:lnTo>
                <a:lnTo>
                  <a:pt x="3621" y="2432"/>
                </a:lnTo>
                <a:lnTo>
                  <a:pt x="3621" y="2432"/>
                </a:lnTo>
                <a:lnTo>
                  <a:pt x="3621" y="2432"/>
                </a:lnTo>
                <a:lnTo>
                  <a:pt x="3621" y="2432"/>
                </a:lnTo>
                <a:lnTo>
                  <a:pt x="3627" y="2432"/>
                </a:lnTo>
                <a:lnTo>
                  <a:pt x="3627" y="2432"/>
                </a:lnTo>
                <a:lnTo>
                  <a:pt x="3627" y="2432"/>
                </a:lnTo>
                <a:lnTo>
                  <a:pt x="3627" y="2432"/>
                </a:lnTo>
                <a:lnTo>
                  <a:pt x="3627" y="2432"/>
                </a:lnTo>
                <a:lnTo>
                  <a:pt x="3627" y="2432"/>
                </a:lnTo>
                <a:lnTo>
                  <a:pt x="3627" y="2432"/>
                </a:lnTo>
                <a:lnTo>
                  <a:pt x="3627" y="2432"/>
                </a:lnTo>
                <a:lnTo>
                  <a:pt x="3627" y="2432"/>
                </a:lnTo>
                <a:lnTo>
                  <a:pt x="3633" y="2432"/>
                </a:lnTo>
                <a:lnTo>
                  <a:pt x="3638" y="2438"/>
                </a:lnTo>
                <a:lnTo>
                  <a:pt x="3638" y="2438"/>
                </a:lnTo>
                <a:lnTo>
                  <a:pt x="3638" y="2438"/>
                </a:lnTo>
                <a:lnTo>
                  <a:pt x="3638" y="2438"/>
                </a:lnTo>
                <a:lnTo>
                  <a:pt x="3638" y="2438"/>
                </a:lnTo>
                <a:lnTo>
                  <a:pt x="3638" y="2438"/>
                </a:lnTo>
                <a:lnTo>
                  <a:pt x="3638" y="2438"/>
                </a:lnTo>
                <a:lnTo>
                  <a:pt x="3638" y="2438"/>
                </a:lnTo>
                <a:lnTo>
                  <a:pt x="3644" y="2438"/>
                </a:lnTo>
                <a:lnTo>
                  <a:pt x="3644" y="2438"/>
                </a:lnTo>
                <a:lnTo>
                  <a:pt x="3644" y="2438"/>
                </a:lnTo>
                <a:lnTo>
                  <a:pt x="3644" y="2438"/>
                </a:lnTo>
                <a:lnTo>
                  <a:pt x="3644" y="2444"/>
                </a:lnTo>
                <a:lnTo>
                  <a:pt x="3644" y="2444"/>
                </a:lnTo>
                <a:lnTo>
                  <a:pt x="3644" y="2444"/>
                </a:lnTo>
                <a:lnTo>
                  <a:pt x="3644" y="2444"/>
                </a:lnTo>
                <a:lnTo>
                  <a:pt x="3644" y="2438"/>
                </a:lnTo>
                <a:lnTo>
                  <a:pt x="3644" y="2438"/>
                </a:lnTo>
                <a:lnTo>
                  <a:pt x="3650" y="2432"/>
                </a:lnTo>
                <a:lnTo>
                  <a:pt x="3644" y="2426"/>
                </a:lnTo>
                <a:lnTo>
                  <a:pt x="3650" y="2426"/>
                </a:lnTo>
                <a:lnTo>
                  <a:pt x="3650" y="2426"/>
                </a:lnTo>
                <a:lnTo>
                  <a:pt x="3650" y="2420"/>
                </a:lnTo>
                <a:lnTo>
                  <a:pt x="3650" y="2420"/>
                </a:lnTo>
                <a:lnTo>
                  <a:pt x="3650" y="2420"/>
                </a:lnTo>
                <a:lnTo>
                  <a:pt x="3650" y="2420"/>
                </a:lnTo>
                <a:lnTo>
                  <a:pt x="3650" y="2420"/>
                </a:lnTo>
                <a:lnTo>
                  <a:pt x="3650" y="2420"/>
                </a:lnTo>
                <a:lnTo>
                  <a:pt x="3650" y="2414"/>
                </a:lnTo>
                <a:lnTo>
                  <a:pt x="3650" y="2414"/>
                </a:lnTo>
                <a:lnTo>
                  <a:pt x="3650" y="2414"/>
                </a:lnTo>
                <a:lnTo>
                  <a:pt x="3650" y="2414"/>
                </a:lnTo>
                <a:lnTo>
                  <a:pt x="3650" y="2414"/>
                </a:lnTo>
                <a:lnTo>
                  <a:pt x="3650" y="2414"/>
                </a:lnTo>
                <a:lnTo>
                  <a:pt x="3650" y="2414"/>
                </a:lnTo>
                <a:lnTo>
                  <a:pt x="3650" y="2408"/>
                </a:lnTo>
                <a:lnTo>
                  <a:pt x="3650" y="2408"/>
                </a:lnTo>
                <a:lnTo>
                  <a:pt x="3650" y="2408"/>
                </a:lnTo>
                <a:lnTo>
                  <a:pt x="3650" y="2408"/>
                </a:lnTo>
                <a:lnTo>
                  <a:pt x="3650" y="2408"/>
                </a:lnTo>
                <a:lnTo>
                  <a:pt x="3650" y="2408"/>
                </a:lnTo>
                <a:lnTo>
                  <a:pt x="3650" y="2402"/>
                </a:lnTo>
                <a:lnTo>
                  <a:pt x="3650" y="2402"/>
                </a:lnTo>
                <a:lnTo>
                  <a:pt x="3650" y="2402"/>
                </a:lnTo>
                <a:lnTo>
                  <a:pt x="3656" y="2402"/>
                </a:lnTo>
                <a:lnTo>
                  <a:pt x="3656" y="2402"/>
                </a:lnTo>
                <a:lnTo>
                  <a:pt x="3656" y="2402"/>
                </a:lnTo>
                <a:lnTo>
                  <a:pt x="3656" y="2396"/>
                </a:lnTo>
                <a:lnTo>
                  <a:pt x="3656" y="2396"/>
                </a:lnTo>
                <a:lnTo>
                  <a:pt x="3656" y="2396"/>
                </a:lnTo>
                <a:lnTo>
                  <a:pt x="3656" y="2396"/>
                </a:lnTo>
                <a:lnTo>
                  <a:pt x="3656" y="2396"/>
                </a:lnTo>
                <a:lnTo>
                  <a:pt x="3656" y="2396"/>
                </a:lnTo>
                <a:lnTo>
                  <a:pt x="3656" y="2396"/>
                </a:lnTo>
                <a:lnTo>
                  <a:pt x="3656" y="2390"/>
                </a:lnTo>
                <a:lnTo>
                  <a:pt x="3656" y="2396"/>
                </a:lnTo>
                <a:lnTo>
                  <a:pt x="3656" y="2396"/>
                </a:lnTo>
                <a:lnTo>
                  <a:pt x="3656" y="2396"/>
                </a:lnTo>
                <a:lnTo>
                  <a:pt x="3656" y="2396"/>
                </a:lnTo>
                <a:lnTo>
                  <a:pt x="3656" y="2396"/>
                </a:lnTo>
                <a:lnTo>
                  <a:pt x="3656" y="2402"/>
                </a:lnTo>
                <a:lnTo>
                  <a:pt x="3662" y="2402"/>
                </a:lnTo>
                <a:lnTo>
                  <a:pt x="3662" y="2402"/>
                </a:lnTo>
                <a:lnTo>
                  <a:pt x="3662" y="2402"/>
                </a:lnTo>
                <a:lnTo>
                  <a:pt x="3662" y="2402"/>
                </a:lnTo>
                <a:lnTo>
                  <a:pt x="3662" y="2402"/>
                </a:lnTo>
                <a:lnTo>
                  <a:pt x="3662" y="2402"/>
                </a:lnTo>
                <a:lnTo>
                  <a:pt x="3662" y="2402"/>
                </a:lnTo>
                <a:lnTo>
                  <a:pt x="3668" y="2408"/>
                </a:lnTo>
                <a:lnTo>
                  <a:pt x="3668" y="2414"/>
                </a:lnTo>
                <a:lnTo>
                  <a:pt x="3668" y="2414"/>
                </a:lnTo>
                <a:lnTo>
                  <a:pt x="3668" y="2414"/>
                </a:lnTo>
                <a:lnTo>
                  <a:pt x="3668" y="2420"/>
                </a:lnTo>
                <a:lnTo>
                  <a:pt x="3668" y="2420"/>
                </a:lnTo>
                <a:lnTo>
                  <a:pt x="3662" y="2420"/>
                </a:lnTo>
                <a:lnTo>
                  <a:pt x="3662" y="2420"/>
                </a:lnTo>
                <a:lnTo>
                  <a:pt x="3662" y="2420"/>
                </a:lnTo>
                <a:lnTo>
                  <a:pt x="3662" y="2426"/>
                </a:lnTo>
                <a:lnTo>
                  <a:pt x="3668" y="2426"/>
                </a:lnTo>
                <a:lnTo>
                  <a:pt x="3668" y="2426"/>
                </a:lnTo>
                <a:lnTo>
                  <a:pt x="3668" y="2426"/>
                </a:lnTo>
                <a:lnTo>
                  <a:pt x="3668" y="2426"/>
                </a:lnTo>
                <a:lnTo>
                  <a:pt x="3668" y="2426"/>
                </a:lnTo>
                <a:lnTo>
                  <a:pt x="3668" y="2432"/>
                </a:lnTo>
                <a:lnTo>
                  <a:pt x="3668" y="2432"/>
                </a:lnTo>
                <a:lnTo>
                  <a:pt x="3668" y="2432"/>
                </a:lnTo>
                <a:lnTo>
                  <a:pt x="3668" y="2432"/>
                </a:lnTo>
                <a:lnTo>
                  <a:pt x="3668" y="2432"/>
                </a:lnTo>
                <a:lnTo>
                  <a:pt x="3668" y="2432"/>
                </a:lnTo>
                <a:lnTo>
                  <a:pt x="3668" y="2432"/>
                </a:lnTo>
                <a:lnTo>
                  <a:pt x="3668" y="2432"/>
                </a:lnTo>
                <a:lnTo>
                  <a:pt x="3668" y="2432"/>
                </a:lnTo>
                <a:lnTo>
                  <a:pt x="3668" y="2432"/>
                </a:lnTo>
                <a:lnTo>
                  <a:pt x="3674" y="2432"/>
                </a:lnTo>
                <a:lnTo>
                  <a:pt x="3674" y="2432"/>
                </a:lnTo>
                <a:lnTo>
                  <a:pt x="3674" y="2432"/>
                </a:lnTo>
                <a:lnTo>
                  <a:pt x="3674" y="2432"/>
                </a:lnTo>
                <a:lnTo>
                  <a:pt x="3674" y="2432"/>
                </a:lnTo>
                <a:lnTo>
                  <a:pt x="3674" y="2432"/>
                </a:lnTo>
                <a:lnTo>
                  <a:pt x="3674" y="2432"/>
                </a:lnTo>
                <a:lnTo>
                  <a:pt x="3674" y="2432"/>
                </a:lnTo>
                <a:lnTo>
                  <a:pt x="3674" y="2432"/>
                </a:lnTo>
                <a:lnTo>
                  <a:pt x="3674" y="2432"/>
                </a:lnTo>
                <a:lnTo>
                  <a:pt x="3674" y="2432"/>
                </a:lnTo>
                <a:lnTo>
                  <a:pt x="3674" y="2432"/>
                </a:lnTo>
                <a:lnTo>
                  <a:pt x="3674" y="2432"/>
                </a:lnTo>
                <a:lnTo>
                  <a:pt x="3674" y="2438"/>
                </a:lnTo>
                <a:lnTo>
                  <a:pt x="3674" y="2438"/>
                </a:lnTo>
                <a:lnTo>
                  <a:pt x="3674" y="2438"/>
                </a:lnTo>
                <a:lnTo>
                  <a:pt x="3674" y="2438"/>
                </a:lnTo>
                <a:lnTo>
                  <a:pt x="3680" y="2444"/>
                </a:lnTo>
                <a:lnTo>
                  <a:pt x="3680" y="2444"/>
                </a:lnTo>
                <a:lnTo>
                  <a:pt x="3680" y="2450"/>
                </a:lnTo>
                <a:lnTo>
                  <a:pt x="3674" y="2450"/>
                </a:lnTo>
                <a:lnTo>
                  <a:pt x="3668" y="2450"/>
                </a:lnTo>
                <a:lnTo>
                  <a:pt x="3668" y="2450"/>
                </a:lnTo>
                <a:lnTo>
                  <a:pt x="3668" y="2450"/>
                </a:lnTo>
                <a:lnTo>
                  <a:pt x="3668" y="2450"/>
                </a:lnTo>
                <a:lnTo>
                  <a:pt x="3662" y="2450"/>
                </a:lnTo>
                <a:lnTo>
                  <a:pt x="3662" y="2450"/>
                </a:lnTo>
                <a:lnTo>
                  <a:pt x="3662" y="2450"/>
                </a:lnTo>
                <a:lnTo>
                  <a:pt x="3662" y="2450"/>
                </a:lnTo>
                <a:lnTo>
                  <a:pt x="3662" y="2450"/>
                </a:lnTo>
                <a:lnTo>
                  <a:pt x="3662" y="2450"/>
                </a:lnTo>
                <a:lnTo>
                  <a:pt x="3656" y="2450"/>
                </a:lnTo>
                <a:lnTo>
                  <a:pt x="3656" y="2450"/>
                </a:lnTo>
                <a:lnTo>
                  <a:pt x="3656" y="2455"/>
                </a:lnTo>
                <a:lnTo>
                  <a:pt x="3656" y="2455"/>
                </a:lnTo>
                <a:lnTo>
                  <a:pt x="3668" y="2450"/>
                </a:lnTo>
                <a:lnTo>
                  <a:pt x="3668" y="2450"/>
                </a:lnTo>
                <a:lnTo>
                  <a:pt x="3680" y="2450"/>
                </a:lnTo>
                <a:lnTo>
                  <a:pt x="3692" y="2450"/>
                </a:lnTo>
                <a:lnTo>
                  <a:pt x="3698" y="2450"/>
                </a:lnTo>
                <a:lnTo>
                  <a:pt x="3704" y="2444"/>
                </a:lnTo>
                <a:lnTo>
                  <a:pt x="3704" y="2444"/>
                </a:lnTo>
                <a:lnTo>
                  <a:pt x="3704" y="2444"/>
                </a:lnTo>
                <a:lnTo>
                  <a:pt x="3704" y="2444"/>
                </a:lnTo>
                <a:lnTo>
                  <a:pt x="3698" y="2444"/>
                </a:lnTo>
                <a:lnTo>
                  <a:pt x="3698" y="2444"/>
                </a:lnTo>
                <a:lnTo>
                  <a:pt x="3698" y="2444"/>
                </a:lnTo>
                <a:lnTo>
                  <a:pt x="3698" y="2444"/>
                </a:lnTo>
                <a:lnTo>
                  <a:pt x="3698" y="2438"/>
                </a:lnTo>
                <a:lnTo>
                  <a:pt x="3698" y="2438"/>
                </a:lnTo>
                <a:lnTo>
                  <a:pt x="3698" y="2438"/>
                </a:lnTo>
                <a:lnTo>
                  <a:pt x="3698" y="2438"/>
                </a:lnTo>
                <a:lnTo>
                  <a:pt x="3698" y="2438"/>
                </a:lnTo>
                <a:lnTo>
                  <a:pt x="3698" y="2438"/>
                </a:lnTo>
                <a:lnTo>
                  <a:pt x="3698" y="2438"/>
                </a:lnTo>
                <a:lnTo>
                  <a:pt x="3698" y="2438"/>
                </a:lnTo>
                <a:lnTo>
                  <a:pt x="3698" y="2444"/>
                </a:lnTo>
                <a:lnTo>
                  <a:pt x="3704" y="2444"/>
                </a:lnTo>
                <a:lnTo>
                  <a:pt x="3704" y="2444"/>
                </a:lnTo>
                <a:lnTo>
                  <a:pt x="3704" y="2444"/>
                </a:lnTo>
                <a:lnTo>
                  <a:pt x="3704" y="2444"/>
                </a:lnTo>
                <a:lnTo>
                  <a:pt x="3704" y="2444"/>
                </a:lnTo>
                <a:lnTo>
                  <a:pt x="3704" y="2438"/>
                </a:lnTo>
                <a:lnTo>
                  <a:pt x="3710" y="2438"/>
                </a:lnTo>
                <a:lnTo>
                  <a:pt x="3710" y="2438"/>
                </a:lnTo>
                <a:lnTo>
                  <a:pt x="3710" y="2438"/>
                </a:lnTo>
                <a:lnTo>
                  <a:pt x="3710" y="2438"/>
                </a:lnTo>
                <a:lnTo>
                  <a:pt x="3715" y="2432"/>
                </a:lnTo>
                <a:lnTo>
                  <a:pt x="3715" y="2432"/>
                </a:lnTo>
                <a:lnTo>
                  <a:pt x="3715" y="2426"/>
                </a:lnTo>
                <a:lnTo>
                  <a:pt x="3715" y="2426"/>
                </a:lnTo>
                <a:lnTo>
                  <a:pt x="3721" y="2426"/>
                </a:lnTo>
                <a:lnTo>
                  <a:pt x="3715" y="2426"/>
                </a:lnTo>
                <a:lnTo>
                  <a:pt x="3715" y="2426"/>
                </a:lnTo>
                <a:lnTo>
                  <a:pt x="3715" y="2426"/>
                </a:lnTo>
                <a:lnTo>
                  <a:pt x="3715" y="2426"/>
                </a:lnTo>
                <a:lnTo>
                  <a:pt x="3715" y="2420"/>
                </a:lnTo>
                <a:lnTo>
                  <a:pt x="3715" y="2426"/>
                </a:lnTo>
                <a:lnTo>
                  <a:pt x="3715" y="2426"/>
                </a:lnTo>
                <a:lnTo>
                  <a:pt x="3721" y="2426"/>
                </a:lnTo>
                <a:lnTo>
                  <a:pt x="3721" y="2426"/>
                </a:lnTo>
                <a:lnTo>
                  <a:pt x="3721" y="2426"/>
                </a:lnTo>
                <a:lnTo>
                  <a:pt x="3721" y="2426"/>
                </a:lnTo>
                <a:lnTo>
                  <a:pt x="3721" y="2426"/>
                </a:lnTo>
                <a:lnTo>
                  <a:pt x="3721" y="2426"/>
                </a:lnTo>
                <a:lnTo>
                  <a:pt x="3721" y="2426"/>
                </a:lnTo>
                <a:lnTo>
                  <a:pt x="3721" y="2426"/>
                </a:lnTo>
                <a:lnTo>
                  <a:pt x="3721" y="2432"/>
                </a:lnTo>
                <a:lnTo>
                  <a:pt x="3721" y="2432"/>
                </a:lnTo>
                <a:lnTo>
                  <a:pt x="3721" y="2432"/>
                </a:lnTo>
                <a:lnTo>
                  <a:pt x="3721" y="2432"/>
                </a:lnTo>
                <a:lnTo>
                  <a:pt x="3721" y="2432"/>
                </a:lnTo>
                <a:lnTo>
                  <a:pt x="3721" y="2432"/>
                </a:lnTo>
                <a:lnTo>
                  <a:pt x="3715" y="2432"/>
                </a:lnTo>
                <a:lnTo>
                  <a:pt x="3715" y="2438"/>
                </a:lnTo>
                <a:lnTo>
                  <a:pt x="3715" y="2438"/>
                </a:lnTo>
                <a:lnTo>
                  <a:pt x="3715" y="2438"/>
                </a:lnTo>
                <a:lnTo>
                  <a:pt x="3715" y="2438"/>
                </a:lnTo>
                <a:lnTo>
                  <a:pt x="3715" y="2438"/>
                </a:lnTo>
                <a:lnTo>
                  <a:pt x="3715" y="2438"/>
                </a:lnTo>
                <a:lnTo>
                  <a:pt x="3715" y="2438"/>
                </a:lnTo>
                <a:lnTo>
                  <a:pt x="3710" y="2438"/>
                </a:lnTo>
                <a:lnTo>
                  <a:pt x="3710" y="2444"/>
                </a:lnTo>
                <a:lnTo>
                  <a:pt x="3710" y="2444"/>
                </a:lnTo>
                <a:lnTo>
                  <a:pt x="3715" y="2444"/>
                </a:lnTo>
                <a:lnTo>
                  <a:pt x="3715" y="2444"/>
                </a:lnTo>
                <a:lnTo>
                  <a:pt x="3715" y="2444"/>
                </a:lnTo>
                <a:lnTo>
                  <a:pt x="3710" y="2444"/>
                </a:lnTo>
                <a:lnTo>
                  <a:pt x="3710" y="2444"/>
                </a:lnTo>
                <a:lnTo>
                  <a:pt x="3710" y="2444"/>
                </a:lnTo>
                <a:lnTo>
                  <a:pt x="3710" y="2444"/>
                </a:lnTo>
                <a:lnTo>
                  <a:pt x="3710" y="2444"/>
                </a:lnTo>
                <a:lnTo>
                  <a:pt x="3710" y="2444"/>
                </a:lnTo>
                <a:lnTo>
                  <a:pt x="3704" y="2444"/>
                </a:lnTo>
                <a:lnTo>
                  <a:pt x="3704" y="2444"/>
                </a:lnTo>
                <a:lnTo>
                  <a:pt x="3704" y="2444"/>
                </a:lnTo>
                <a:lnTo>
                  <a:pt x="3704" y="2444"/>
                </a:lnTo>
                <a:lnTo>
                  <a:pt x="3704" y="2444"/>
                </a:lnTo>
                <a:lnTo>
                  <a:pt x="3710" y="2444"/>
                </a:lnTo>
                <a:lnTo>
                  <a:pt x="3710" y="2444"/>
                </a:lnTo>
                <a:lnTo>
                  <a:pt x="3710" y="2444"/>
                </a:lnTo>
                <a:lnTo>
                  <a:pt x="3710" y="2444"/>
                </a:lnTo>
                <a:lnTo>
                  <a:pt x="3715" y="2444"/>
                </a:lnTo>
                <a:lnTo>
                  <a:pt x="3727" y="2444"/>
                </a:lnTo>
                <a:lnTo>
                  <a:pt x="3727" y="2438"/>
                </a:lnTo>
                <a:lnTo>
                  <a:pt x="3727" y="2438"/>
                </a:lnTo>
                <a:lnTo>
                  <a:pt x="3727" y="2438"/>
                </a:lnTo>
                <a:lnTo>
                  <a:pt x="3727" y="2438"/>
                </a:lnTo>
                <a:lnTo>
                  <a:pt x="3733" y="2438"/>
                </a:lnTo>
                <a:lnTo>
                  <a:pt x="3733" y="2438"/>
                </a:lnTo>
                <a:lnTo>
                  <a:pt x="3733" y="2438"/>
                </a:lnTo>
                <a:lnTo>
                  <a:pt x="3733" y="2438"/>
                </a:lnTo>
                <a:lnTo>
                  <a:pt x="3733" y="2438"/>
                </a:lnTo>
                <a:lnTo>
                  <a:pt x="3733" y="2432"/>
                </a:lnTo>
                <a:lnTo>
                  <a:pt x="3733" y="2432"/>
                </a:lnTo>
                <a:lnTo>
                  <a:pt x="3733" y="2432"/>
                </a:lnTo>
                <a:lnTo>
                  <a:pt x="3733" y="2432"/>
                </a:lnTo>
                <a:lnTo>
                  <a:pt x="3733" y="2432"/>
                </a:lnTo>
                <a:lnTo>
                  <a:pt x="3733" y="2432"/>
                </a:lnTo>
                <a:lnTo>
                  <a:pt x="3739" y="2432"/>
                </a:lnTo>
                <a:lnTo>
                  <a:pt x="3739" y="2426"/>
                </a:lnTo>
                <a:lnTo>
                  <a:pt x="3739" y="2426"/>
                </a:lnTo>
                <a:lnTo>
                  <a:pt x="3739" y="2426"/>
                </a:lnTo>
                <a:lnTo>
                  <a:pt x="3739" y="2426"/>
                </a:lnTo>
                <a:lnTo>
                  <a:pt x="3739" y="2426"/>
                </a:lnTo>
                <a:lnTo>
                  <a:pt x="3745" y="2426"/>
                </a:lnTo>
                <a:lnTo>
                  <a:pt x="3745" y="2420"/>
                </a:lnTo>
                <a:lnTo>
                  <a:pt x="3745" y="2420"/>
                </a:lnTo>
                <a:lnTo>
                  <a:pt x="3745" y="2420"/>
                </a:lnTo>
                <a:lnTo>
                  <a:pt x="3739" y="2420"/>
                </a:lnTo>
                <a:lnTo>
                  <a:pt x="3739" y="2414"/>
                </a:lnTo>
                <a:lnTo>
                  <a:pt x="3739" y="2414"/>
                </a:lnTo>
                <a:lnTo>
                  <a:pt x="3739" y="2414"/>
                </a:lnTo>
                <a:lnTo>
                  <a:pt x="3739" y="2408"/>
                </a:lnTo>
                <a:lnTo>
                  <a:pt x="3739" y="2408"/>
                </a:lnTo>
                <a:lnTo>
                  <a:pt x="3739" y="2408"/>
                </a:lnTo>
                <a:lnTo>
                  <a:pt x="3739" y="2408"/>
                </a:lnTo>
                <a:lnTo>
                  <a:pt x="3745" y="2414"/>
                </a:lnTo>
                <a:lnTo>
                  <a:pt x="3745" y="2414"/>
                </a:lnTo>
                <a:lnTo>
                  <a:pt x="3745" y="2414"/>
                </a:lnTo>
                <a:lnTo>
                  <a:pt x="3745" y="2414"/>
                </a:lnTo>
                <a:lnTo>
                  <a:pt x="3745" y="2414"/>
                </a:lnTo>
                <a:lnTo>
                  <a:pt x="3745" y="2414"/>
                </a:lnTo>
                <a:lnTo>
                  <a:pt x="3745" y="2414"/>
                </a:lnTo>
                <a:lnTo>
                  <a:pt x="3745" y="2414"/>
                </a:lnTo>
                <a:lnTo>
                  <a:pt x="3745" y="2414"/>
                </a:lnTo>
                <a:lnTo>
                  <a:pt x="3745" y="2420"/>
                </a:lnTo>
                <a:lnTo>
                  <a:pt x="3751" y="2420"/>
                </a:lnTo>
                <a:lnTo>
                  <a:pt x="3751" y="2420"/>
                </a:lnTo>
                <a:lnTo>
                  <a:pt x="3751" y="2426"/>
                </a:lnTo>
                <a:lnTo>
                  <a:pt x="3751" y="2426"/>
                </a:lnTo>
                <a:lnTo>
                  <a:pt x="3751" y="2426"/>
                </a:lnTo>
                <a:lnTo>
                  <a:pt x="3751" y="2426"/>
                </a:lnTo>
                <a:lnTo>
                  <a:pt x="3751" y="2426"/>
                </a:lnTo>
                <a:lnTo>
                  <a:pt x="3751" y="2426"/>
                </a:lnTo>
                <a:lnTo>
                  <a:pt x="3751" y="2420"/>
                </a:lnTo>
                <a:lnTo>
                  <a:pt x="3751" y="2420"/>
                </a:lnTo>
                <a:lnTo>
                  <a:pt x="3751" y="2420"/>
                </a:lnTo>
                <a:lnTo>
                  <a:pt x="3757" y="2414"/>
                </a:lnTo>
                <a:lnTo>
                  <a:pt x="3757" y="2414"/>
                </a:lnTo>
                <a:lnTo>
                  <a:pt x="3757" y="2414"/>
                </a:lnTo>
                <a:lnTo>
                  <a:pt x="3757" y="2408"/>
                </a:lnTo>
                <a:lnTo>
                  <a:pt x="3757" y="2408"/>
                </a:lnTo>
                <a:lnTo>
                  <a:pt x="3757" y="2408"/>
                </a:lnTo>
                <a:lnTo>
                  <a:pt x="3757" y="2408"/>
                </a:lnTo>
                <a:lnTo>
                  <a:pt x="3757" y="2408"/>
                </a:lnTo>
                <a:lnTo>
                  <a:pt x="3757" y="2414"/>
                </a:lnTo>
                <a:lnTo>
                  <a:pt x="3757" y="2414"/>
                </a:lnTo>
                <a:lnTo>
                  <a:pt x="3763" y="2414"/>
                </a:lnTo>
                <a:lnTo>
                  <a:pt x="3763" y="2414"/>
                </a:lnTo>
                <a:lnTo>
                  <a:pt x="3763" y="2414"/>
                </a:lnTo>
                <a:lnTo>
                  <a:pt x="3763" y="2414"/>
                </a:lnTo>
                <a:lnTo>
                  <a:pt x="3757" y="2414"/>
                </a:lnTo>
                <a:lnTo>
                  <a:pt x="3757" y="2414"/>
                </a:lnTo>
                <a:lnTo>
                  <a:pt x="3757" y="2414"/>
                </a:lnTo>
                <a:lnTo>
                  <a:pt x="3757" y="2420"/>
                </a:lnTo>
                <a:lnTo>
                  <a:pt x="3757" y="2420"/>
                </a:lnTo>
                <a:lnTo>
                  <a:pt x="3757" y="2420"/>
                </a:lnTo>
                <a:lnTo>
                  <a:pt x="3757" y="2420"/>
                </a:lnTo>
                <a:lnTo>
                  <a:pt x="3757" y="2420"/>
                </a:lnTo>
                <a:lnTo>
                  <a:pt x="3757" y="2420"/>
                </a:lnTo>
                <a:lnTo>
                  <a:pt x="3757" y="2420"/>
                </a:lnTo>
                <a:lnTo>
                  <a:pt x="3757" y="2420"/>
                </a:lnTo>
                <a:lnTo>
                  <a:pt x="3757" y="2420"/>
                </a:lnTo>
                <a:lnTo>
                  <a:pt x="3763" y="2420"/>
                </a:lnTo>
                <a:lnTo>
                  <a:pt x="3763" y="2426"/>
                </a:lnTo>
                <a:lnTo>
                  <a:pt x="3763" y="2426"/>
                </a:lnTo>
                <a:lnTo>
                  <a:pt x="3763" y="2426"/>
                </a:lnTo>
                <a:lnTo>
                  <a:pt x="3769" y="2426"/>
                </a:lnTo>
                <a:lnTo>
                  <a:pt x="3769" y="2426"/>
                </a:lnTo>
                <a:lnTo>
                  <a:pt x="3769" y="2426"/>
                </a:lnTo>
                <a:lnTo>
                  <a:pt x="3769" y="2426"/>
                </a:lnTo>
                <a:lnTo>
                  <a:pt x="3769" y="2426"/>
                </a:lnTo>
                <a:lnTo>
                  <a:pt x="3763" y="2426"/>
                </a:lnTo>
                <a:lnTo>
                  <a:pt x="3763" y="2426"/>
                </a:lnTo>
                <a:lnTo>
                  <a:pt x="3757" y="2432"/>
                </a:lnTo>
                <a:lnTo>
                  <a:pt x="3757" y="2432"/>
                </a:lnTo>
                <a:lnTo>
                  <a:pt x="3751" y="2432"/>
                </a:lnTo>
                <a:lnTo>
                  <a:pt x="3745" y="2432"/>
                </a:lnTo>
                <a:lnTo>
                  <a:pt x="3739" y="2438"/>
                </a:lnTo>
                <a:lnTo>
                  <a:pt x="3739" y="2438"/>
                </a:lnTo>
                <a:lnTo>
                  <a:pt x="3739" y="2438"/>
                </a:lnTo>
                <a:lnTo>
                  <a:pt x="3739" y="2438"/>
                </a:lnTo>
                <a:lnTo>
                  <a:pt x="3739" y="2438"/>
                </a:lnTo>
                <a:lnTo>
                  <a:pt x="3745" y="2438"/>
                </a:lnTo>
                <a:lnTo>
                  <a:pt x="3745" y="2438"/>
                </a:lnTo>
                <a:lnTo>
                  <a:pt x="3751" y="2432"/>
                </a:lnTo>
                <a:lnTo>
                  <a:pt x="3769" y="2432"/>
                </a:lnTo>
                <a:lnTo>
                  <a:pt x="3775" y="2432"/>
                </a:lnTo>
                <a:lnTo>
                  <a:pt x="3775" y="2432"/>
                </a:lnTo>
                <a:lnTo>
                  <a:pt x="3775" y="2432"/>
                </a:lnTo>
                <a:lnTo>
                  <a:pt x="3781" y="2432"/>
                </a:lnTo>
                <a:lnTo>
                  <a:pt x="3781" y="2432"/>
                </a:lnTo>
                <a:lnTo>
                  <a:pt x="3793" y="2432"/>
                </a:lnTo>
                <a:lnTo>
                  <a:pt x="3798" y="2432"/>
                </a:lnTo>
                <a:lnTo>
                  <a:pt x="3798" y="2432"/>
                </a:lnTo>
                <a:lnTo>
                  <a:pt x="3798" y="2426"/>
                </a:lnTo>
                <a:lnTo>
                  <a:pt x="3798" y="2426"/>
                </a:lnTo>
                <a:lnTo>
                  <a:pt x="3798" y="2426"/>
                </a:lnTo>
                <a:lnTo>
                  <a:pt x="3798" y="2426"/>
                </a:lnTo>
                <a:lnTo>
                  <a:pt x="3798" y="2426"/>
                </a:lnTo>
                <a:lnTo>
                  <a:pt x="3798" y="2426"/>
                </a:lnTo>
                <a:lnTo>
                  <a:pt x="3804" y="2426"/>
                </a:lnTo>
                <a:lnTo>
                  <a:pt x="3804" y="2426"/>
                </a:lnTo>
                <a:lnTo>
                  <a:pt x="3804" y="2426"/>
                </a:lnTo>
                <a:lnTo>
                  <a:pt x="3804" y="2426"/>
                </a:lnTo>
                <a:lnTo>
                  <a:pt x="3804" y="2426"/>
                </a:lnTo>
                <a:lnTo>
                  <a:pt x="3804" y="2426"/>
                </a:lnTo>
                <a:lnTo>
                  <a:pt x="3810" y="2426"/>
                </a:lnTo>
                <a:lnTo>
                  <a:pt x="3810" y="2426"/>
                </a:lnTo>
                <a:lnTo>
                  <a:pt x="3810" y="2420"/>
                </a:lnTo>
                <a:lnTo>
                  <a:pt x="3810" y="2420"/>
                </a:lnTo>
                <a:lnTo>
                  <a:pt x="3810" y="2420"/>
                </a:lnTo>
                <a:lnTo>
                  <a:pt x="3810" y="2420"/>
                </a:lnTo>
                <a:lnTo>
                  <a:pt x="3810" y="2420"/>
                </a:lnTo>
                <a:lnTo>
                  <a:pt x="3810" y="2420"/>
                </a:lnTo>
                <a:lnTo>
                  <a:pt x="3810" y="2420"/>
                </a:lnTo>
                <a:lnTo>
                  <a:pt x="3810" y="2420"/>
                </a:lnTo>
                <a:lnTo>
                  <a:pt x="3810" y="2420"/>
                </a:lnTo>
                <a:lnTo>
                  <a:pt x="3810" y="2420"/>
                </a:lnTo>
                <a:lnTo>
                  <a:pt x="3816" y="2420"/>
                </a:lnTo>
                <a:lnTo>
                  <a:pt x="3816" y="2420"/>
                </a:lnTo>
                <a:lnTo>
                  <a:pt x="3816" y="2420"/>
                </a:lnTo>
                <a:lnTo>
                  <a:pt x="3816" y="2420"/>
                </a:lnTo>
                <a:lnTo>
                  <a:pt x="3816" y="2420"/>
                </a:lnTo>
                <a:lnTo>
                  <a:pt x="3816" y="2426"/>
                </a:lnTo>
                <a:lnTo>
                  <a:pt x="3816" y="2426"/>
                </a:lnTo>
                <a:lnTo>
                  <a:pt x="3816" y="2426"/>
                </a:lnTo>
                <a:lnTo>
                  <a:pt x="3816" y="2426"/>
                </a:lnTo>
                <a:lnTo>
                  <a:pt x="3816" y="2426"/>
                </a:lnTo>
                <a:lnTo>
                  <a:pt x="3816" y="2426"/>
                </a:lnTo>
                <a:lnTo>
                  <a:pt x="3816" y="2426"/>
                </a:lnTo>
                <a:lnTo>
                  <a:pt x="3822" y="2426"/>
                </a:lnTo>
                <a:lnTo>
                  <a:pt x="3822" y="2420"/>
                </a:lnTo>
                <a:lnTo>
                  <a:pt x="3822" y="2420"/>
                </a:lnTo>
                <a:lnTo>
                  <a:pt x="3828" y="2420"/>
                </a:lnTo>
                <a:lnTo>
                  <a:pt x="3828" y="2420"/>
                </a:lnTo>
                <a:lnTo>
                  <a:pt x="3828" y="2420"/>
                </a:lnTo>
                <a:lnTo>
                  <a:pt x="3834" y="2420"/>
                </a:lnTo>
                <a:lnTo>
                  <a:pt x="3834" y="2420"/>
                </a:lnTo>
                <a:lnTo>
                  <a:pt x="3834" y="2420"/>
                </a:lnTo>
                <a:lnTo>
                  <a:pt x="3840" y="2420"/>
                </a:lnTo>
                <a:lnTo>
                  <a:pt x="3840" y="2426"/>
                </a:lnTo>
                <a:lnTo>
                  <a:pt x="3840" y="2426"/>
                </a:lnTo>
                <a:lnTo>
                  <a:pt x="3840" y="2426"/>
                </a:lnTo>
                <a:lnTo>
                  <a:pt x="3840" y="2426"/>
                </a:lnTo>
                <a:lnTo>
                  <a:pt x="3840" y="2426"/>
                </a:lnTo>
                <a:lnTo>
                  <a:pt x="3846" y="2420"/>
                </a:lnTo>
                <a:lnTo>
                  <a:pt x="3846" y="2426"/>
                </a:lnTo>
                <a:lnTo>
                  <a:pt x="3846" y="2426"/>
                </a:lnTo>
                <a:lnTo>
                  <a:pt x="3846" y="2426"/>
                </a:lnTo>
                <a:lnTo>
                  <a:pt x="3840" y="2426"/>
                </a:lnTo>
                <a:lnTo>
                  <a:pt x="3840" y="2426"/>
                </a:lnTo>
                <a:lnTo>
                  <a:pt x="3846" y="2426"/>
                </a:lnTo>
                <a:lnTo>
                  <a:pt x="3846" y="2426"/>
                </a:lnTo>
                <a:lnTo>
                  <a:pt x="3846" y="2432"/>
                </a:lnTo>
                <a:lnTo>
                  <a:pt x="3846" y="2432"/>
                </a:lnTo>
                <a:lnTo>
                  <a:pt x="3846" y="2432"/>
                </a:lnTo>
                <a:lnTo>
                  <a:pt x="3846" y="2432"/>
                </a:lnTo>
                <a:lnTo>
                  <a:pt x="3846" y="2432"/>
                </a:lnTo>
                <a:lnTo>
                  <a:pt x="3846" y="2432"/>
                </a:lnTo>
                <a:lnTo>
                  <a:pt x="3846" y="2432"/>
                </a:lnTo>
                <a:lnTo>
                  <a:pt x="3846" y="2432"/>
                </a:lnTo>
                <a:lnTo>
                  <a:pt x="3846" y="2432"/>
                </a:lnTo>
                <a:lnTo>
                  <a:pt x="3840" y="2432"/>
                </a:lnTo>
                <a:lnTo>
                  <a:pt x="3840" y="2432"/>
                </a:lnTo>
                <a:lnTo>
                  <a:pt x="3834" y="2432"/>
                </a:lnTo>
                <a:lnTo>
                  <a:pt x="3834" y="2432"/>
                </a:lnTo>
                <a:lnTo>
                  <a:pt x="3834" y="2426"/>
                </a:lnTo>
                <a:lnTo>
                  <a:pt x="3834" y="2426"/>
                </a:lnTo>
                <a:lnTo>
                  <a:pt x="3834" y="2426"/>
                </a:lnTo>
                <a:lnTo>
                  <a:pt x="3834" y="2432"/>
                </a:lnTo>
                <a:lnTo>
                  <a:pt x="3834" y="2432"/>
                </a:lnTo>
                <a:lnTo>
                  <a:pt x="3834" y="2432"/>
                </a:lnTo>
                <a:lnTo>
                  <a:pt x="3834" y="2432"/>
                </a:lnTo>
                <a:lnTo>
                  <a:pt x="3834" y="2432"/>
                </a:lnTo>
                <a:lnTo>
                  <a:pt x="3834" y="2432"/>
                </a:lnTo>
                <a:lnTo>
                  <a:pt x="3834" y="2432"/>
                </a:lnTo>
                <a:lnTo>
                  <a:pt x="3834" y="2432"/>
                </a:lnTo>
                <a:lnTo>
                  <a:pt x="3834" y="2432"/>
                </a:lnTo>
                <a:lnTo>
                  <a:pt x="3828" y="2432"/>
                </a:lnTo>
                <a:lnTo>
                  <a:pt x="3828" y="2432"/>
                </a:lnTo>
                <a:lnTo>
                  <a:pt x="3828" y="2432"/>
                </a:lnTo>
                <a:lnTo>
                  <a:pt x="3828" y="2426"/>
                </a:lnTo>
                <a:lnTo>
                  <a:pt x="3828" y="2426"/>
                </a:lnTo>
                <a:lnTo>
                  <a:pt x="3828" y="2426"/>
                </a:lnTo>
                <a:lnTo>
                  <a:pt x="3828" y="2426"/>
                </a:lnTo>
                <a:lnTo>
                  <a:pt x="3828" y="2426"/>
                </a:lnTo>
                <a:lnTo>
                  <a:pt x="3828" y="2432"/>
                </a:lnTo>
                <a:lnTo>
                  <a:pt x="3822" y="2432"/>
                </a:lnTo>
                <a:lnTo>
                  <a:pt x="3822" y="2432"/>
                </a:lnTo>
                <a:lnTo>
                  <a:pt x="3822" y="2432"/>
                </a:lnTo>
                <a:lnTo>
                  <a:pt x="3822" y="2432"/>
                </a:lnTo>
                <a:lnTo>
                  <a:pt x="3822" y="2432"/>
                </a:lnTo>
                <a:lnTo>
                  <a:pt x="3816" y="2432"/>
                </a:lnTo>
                <a:lnTo>
                  <a:pt x="3810" y="2432"/>
                </a:lnTo>
                <a:lnTo>
                  <a:pt x="3804" y="2432"/>
                </a:lnTo>
                <a:lnTo>
                  <a:pt x="3804" y="2432"/>
                </a:lnTo>
                <a:lnTo>
                  <a:pt x="3804" y="2432"/>
                </a:lnTo>
                <a:lnTo>
                  <a:pt x="3804" y="2432"/>
                </a:lnTo>
                <a:lnTo>
                  <a:pt x="3804" y="2432"/>
                </a:lnTo>
                <a:lnTo>
                  <a:pt x="3804" y="2432"/>
                </a:lnTo>
                <a:lnTo>
                  <a:pt x="3810" y="2432"/>
                </a:lnTo>
                <a:lnTo>
                  <a:pt x="3816" y="2432"/>
                </a:lnTo>
                <a:lnTo>
                  <a:pt x="3822" y="2432"/>
                </a:lnTo>
                <a:lnTo>
                  <a:pt x="3828" y="2438"/>
                </a:lnTo>
                <a:lnTo>
                  <a:pt x="3840" y="2438"/>
                </a:lnTo>
                <a:lnTo>
                  <a:pt x="3852" y="2444"/>
                </a:lnTo>
                <a:lnTo>
                  <a:pt x="3864" y="2450"/>
                </a:lnTo>
                <a:lnTo>
                  <a:pt x="3870" y="2455"/>
                </a:lnTo>
                <a:lnTo>
                  <a:pt x="3881" y="2461"/>
                </a:lnTo>
                <a:lnTo>
                  <a:pt x="3887" y="2461"/>
                </a:lnTo>
                <a:lnTo>
                  <a:pt x="3887" y="2461"/>
                </a:lnTo>
                <a:lnTo>
                  <a:pt x="3881" y="2461"/>
                </a:lnTo>
                <a:lnTo>
                  <a:pt x="3887" y="2461"/>
                </a:lnTo>
                <a:lnTo>
                  <a:pt x="3887" y="2461"/>
                </a:lnTo>
                <a:lnTo>
                  <a:pt x="3887" y="2461"/>
                </a:lnTo>
                <a:lnTo>
                  <a:pt x="3887" y="2461"/>
                </a:lnTo>
                <a:lnTo>
                  <a:pt x="3887" y="2461"/>
                </a:lnTo>
                <a:lnTo>
                  <a:pt x="3887" y="2461"/>
                </a:lnTo>
                <a:lnTo>
                  <a:pt x="3881" y="2455"/>
                </a:lnTo>
                <a:lnTo>
                  <a:pt x="3881" y="2455"/>
                </a:lnTo>
                <a:lnTo>
                  <a:pt x="3881" y="2455"/>
                </a:lnTo>
                <a:lnTo>
                  <a:pt x="3881" y="2455"/>
                </a:lnTo>
                <a:lnTo>
                  <a:pt x="3881" y="2455"/>
                </a:lnTo>
                <a:lnTo>
                  <a:pt x="3881" y="2455"/>
                </a:lnTo>
                <a:lnTo>
                  <a:pt x="3881" y="2455"/>
                </a:lnTo>
                <a:lnTo>
                  <a:pt x="3881" y="2450"/>
                </a:lnTo>
                <a:lnTo>
                  <a:pt x="3881" y="2450"/>
                </a:lnTo>
                <a:lnTo>
                  <a:pt x="3881" y="2450"/>
                </a:lnTo>
                <a:lnTo>
                  <a:pt x="3881" y="2450"/>
                </a:lnTo>
                <a:lnTo>
                  <a:pt x="3875" y="2450"/>
                </a:lnTo>
                <a:lnTo>
                  <a:pt x="3875" y="2450"/>
                </a:lnTo>
                <a:lnTo>
                  <a:pt x="3875" y="2450"/>
                </a:lnTo>
                <a:lnTo>
                  <a:pt x="3875" y="2450"/>
                </a:lnTo>
                <a:lnTo>
                  <a:pt x="3870" y="2450"/>
                </a:lnTo>
                <a:lnTo>
                  <a:pt x="3870" y="2450"/>
                </a:lnTo>
                <a:lnTo>
                  <a:pt x="3875" y="2450"/>
                </a:lnTo>
                <a:lnTo>
                  <a:pt x="3875" y="2444"/>
                </a:lnTo>
                <a:lnTo>
                  <a:pt x="3875" y="2444"/>
                </a:lnTo>
                <a:lnTo>
                  <a:pt x="3875" y="2444"/>
                </a:lnTo>
                <a:lnTo>
                  <a:pt x="3875" y="2444"/>
                </a:lnTo>
                <a:lnTo>
                  <a:pt x="3875" y="2444"/>
                </a:lnTo>
                <a:lnTo>
                  <a:pt x="3881" y="2444"/>
                </a:lnTo>
                <a:lnTo>
                  <a:pt x="3881" y="2444"/>
                </a:lnTo>
                <a:lnTo>
                  <a:pt x="3881" y="2444"/>
                </a:lnTo>
                <a:lnTo>
                  <a:pt x="3881" y="2444"/>
                </a:lnTo>
                <a:lnTo>
                  <a:pt x="3881" y="2444"/>
                </a:lnTo>
                <a:lnTo>
                  <a:pt x="3887" y="2444"/>
                </a:lnTo>
                <a:lnTo>
                  <a:pt x="3887" y="2450"/>
                </a:lnTo>
                <a:lnTo>
                  <a:pt x="3887" y="2450"/>
                </a:lnTo>
                <a:lnTo>
                  <a:pt x="3887" y="2450"/>
                </a:lnTo>
                <a:lnTo>
                  <a:pt x="3887" y="2450"/>
                </a:lnTo>
                <a:lnTo>
                  <a:pt x="3887" y="2450"/>
                </a:lnTo>
                <a:lnTo>
                  <a:pt x="3887" y="2450"/>
                </a:lnTo>
                <a:lnTo>
                  <a:pt x="3887" y="2450"/>
                </a:lnTo>
                <a:lnTo>
                  <a:pt x="3887" y="2450"/>
                </a:lnTo>
                <a:lnTo>
                  <a:pt x="3887" y="2450"/>
                </a:lnTo>
                <a:lnTo>
                  <a:pt x="3887" y="2450"/>
                </a:lnTo>
                <a:lnTo>
                  <a:pt x="3887" y="2450"/>
                </a:lnTo>
                <a:lnTo>
                  <a:pt x="3887" y="2450"/>
                </a:lnTo>
                <a:lnTo>
                  <a:pt x="3893" y="2444"/>
                </a:lnTo>
                <a:lnTo>
                  <a:pt x="3893" y="2444"/>
                </a:lnTo>
                <a:lnTo>
                  <a:pt x="3893" y="2444"/>
                </a:lnTo>
                <a:lnTo>
                  <a:pt x="3893" y="2444"/>
                </a:lnTo>
                <a:lnTo>
                  <a:pt x="3893" y="2444"/>
                </a:lnTo>
                <a:lnTo>
                  <a:pt x="3893" y="2444"/>
                </a:lnTo>
                <a:lnTo>
                  <a:pt x="3893" y="2450"/>
                </a:lnTo>
                <a:lnTo>
                  <a:pt x="3893" y="2444"/>
                </a:lnTo>
                <a:lnTo>
                  <a:pt x="3899" y="2444"/>
                </a:lnTo>
                <a:lnTo>
                  <a:pt x="3899" y="2444"/>
                </a:lnTo>
                <a:lnTo>
                  <a:pt x="3899" y="2444"/>
                </a:lnTo>
                <a:lnTo>
                  <a:pt x="3899" y="2444"/>
                </a:lnTo>
                <a:lnTo>
                  <a:pt x="3899" y="2444"/>
                </a:lnTo>
                <a:lnTo>
                  <a:pt x="3899" y="2444"/>
                </a:lnTo>
                <a:lnTo>
                  <a:pt x="3899" y="2444"/>
                </a:lnTo>
                <a:lnTo>
                  <a:pt x="3899" y="2444"/>
                </a:lnTo>
                <a:lnTo>
                  <a:pt x="3893" y="2450"/>
                </a:lnTo>
                <a:lnTo>
                  <a:pt x="3893" y="2450"/>
                </a:lnTo>
                <a:lnTo>
                  <a:pt x="3893" y="2450"/>
                </a:lnTo>
                <a:lnTo>
                  <a:pt x="3887" y="2455"/>
                </a:lnTo>
                <a:lnTo>
                  <a:pt x="3887" y="2455"/>
                </a:lnTo>
                <a:lnTo>
                  <a:pt x="3887" y="2455"/>
                </a:lnTo>
                <a:lnTo>
                  <a:pt x="3887" y="2455"/>
                </a:lnTo>
                <a:lnTo>
                  <a:pt x="3887" y="2455"/>
                </a:lnTo>
                <a:lnTo>
                  <a:pt x="3887" y="2455"/>
                </a:lnTo>
                <a:lnTo>
                  <a:pt x="3887" y="2455"/>
                </a:lnTo>
                <a:lnTo>
                  <a:pt x="3887" y="2455"/>
                </a:lnTo>
                <a:lnTo>
                  <a:pt x="3893" y="2461"/>
                </a:lnTo>
                <a:lnTo>
                  <a:pt x="3893" y="2461"/>
                </a:lnTo>
                <a:lnTo>
                  <a:pt x="3893" y="2461"/>
                </a:lnTo>
                <a:lnTo>
                  <a:pt x="3893" y="2461"/>
                </a:lnTo>
                <a:lnTo>
                  <a:pt x="3893" y="2461"/>
                </a:lnTo>
                <a:lnTo>
                  <a:pt x="3899" y="2461"/>
                </a:lnTo>
                <a:lnTo>
                  <a:pt x="3899" y="2461"/>
                </a:lnTo>
                <a:lnTo>
                  <a:pt x="3899" y="2467"/>
                </a:lnTo>
                <a:lnTo>
                  <a:pt x="3899" y="2467"/>
                </a:lnTo>
                <a:lnTo>
                  <a:pt x="3899" y="2467"/>
                </a:lnTo>
                <a:lnTo>
                  <a:pt x="3899" y="2461"/>
                </a:lnTo>
                <a:lnTo>
                  <a:pt x="3899" y="2461"/>
                </a:lnTo>
                <a:lnTo>
                  <a:pt x="3899" y="2461"/>
                </a:lnTo>
                <a:lnTo>
                  <a:pt x="3899" y="2461"/>
                </a:lnTo>
                <a:lnTo>
                  <a:pt x="3905" y="2461"/>
                </a:lnTo>
                <a:lnTo>
                  <a:pt x="3905" y="2461"/>
                </a:lnTo>
                <a:lnTo>
                  <a:pt x="3905" y="2461"/>
                </a:lnTo>
                <a:lnTo>
                  <a:pt x="3905" y="2461"/>
                </a:lnTo>
                <a:lnTo>
                  <a:pt x="3905" y="2461"/>
                </a:lnTo>
                <a:lnTo>
                  <a:pt x="3905" y="2461"/>
                </a:lnTo>
                <a:lnTo>
                  <a:pt x="3905" y="2461"/>
                </a:lnTo>
                <a:lnTo>
                  <a:pt x="3905" y="2467"/>
                </a:lnTo>
                <a:lnTo>
                  <a:pt x="3905" y="2467"/>
                </a:lnTo>
                <a:lnTo>
                  <a:pt x="3905" y="2467"/>
                </a:lnTo>
                <a:lnTo>
                  <a:pt x="3911" y="2467"/>
                </a:lnTo>
                <a:lnTo>
                  <a:pt x="3911" y="2467"/>
                </a:lnTo>
                <a:lnTo>
                  <a:pt x="3911" y="2467"/>
                </a:lnTo>
                <a:lnTo>
                  <a:pt x="3911" y="2473"/>
                </a:lnTo>
                <a:lnTo>
                  <a:pt x="3911" y="2473"/>
                </a:lnTo>
                <a:lnTo>
                  <a:pt x="3911" y="2473"/>
                </a:lnTo>
                <a:lnTo>
                  <a:pt x="3911" y="2473"/>
                </a:lnTo>
                <a:lnTo>
                  <a:pt x="3911" y="2473"/>
                </a:lnTo>
                <a:lnTo>
                  <a:pt x="3911" y="2473"/>
                </a:lnTo>
                <a:lnTo>
                  <a:pt x="3911" y="2473"/>
                </a:lnTo>
                <a:lnTo>
                  <a:pt x="3917" y="2467"/>
                </a:lnTo>
                <a:lnTo>
                  <a:pt x="3917" y="2473"/>
                </a:lnTo>
                <a:lnTo>
                  <a:pt x="3917" y="2473"/>
                </a:lnTo>
                <a:lnTo>
                  <a:pt x="3917" y="2473"/>
                </a:lnTo>
                <a:lnTo>
                  <a:pt x="3917" y="2473"/>
                </a:lnTo>
                <a:lnTo>
                  <a:pt x="3917" y="2473"/>
                </a:lnTo>
                <a:lnTo>
                  <a:pt x="3917" y="2473"/>
                </a:lnTo>
                <a:lnTo>
                  <a:pt x="3917" y="2473"/>
                </a:lnTo>
                <a:lnTo>
                  <a:pt x="3917" y="2473"/>
                </a:lnTo>
                <a:lnTo>
                  <a:pt x="3917" y="2473"/>
                </a:lnTo>
                <a:lnTo>
                  <a:pt x="3917" y="2473"/>
                </a:lnTo>
                <a:lnTo>
                  <a:pt x="3917" y="2473"/>
                </a:lnTo>
                <a:lnTo>
                  <a:pt x="3917" y="2473"/>
                </a:lnTo>
                <a:lnTo>
                  <a:pt x="3911" y="2473"/>
                </a:lnTo>
                <a:lnTo>
                  <a:pt x="3911" y="2473"/>
                </a:lnTo>
                <a:lnTo>
                  <a:pt x="3911" y="2473"/>
                </a:lnTo>
                <a:lnTo>
                  <a:pt x="3911" y="2473"/>
                </a:lnTo>
                <a:lnTo>
                  <a:pt x="3905" y="2473"/>
                </a:lnTo>
                <a:lnTo>
                  <a:pt x="3905" y="2473"/>
                </a:lnTo>
                <a:lnTo>
                  <a:pt x="3905" y="2467"/>
                </a:lnTo>
                <a:lnTo>
                  <a:pt x="3905" y="2467"/>
                </a:lnTo>
                <a:lnTo>
                  <a:pt x="3899" y="2467"/>
                </a:lnTo>
                <a:lnTo>
                  <a:pt x="3899" y="2461"/>
                </a:lnTo>
                <a:lnTo>
                  <a:pt x="3899" y="2461"/>
                </a:lnTo>
                <a:lnTo>
                  <a:pt x="3893" y="2461"/>
                </a:lnTo>
                <a:lnTo>
                  <a:pt x="3893" y="2461"/>
                </a:lnTo>
                <a:lnTo>
                  <a:pt x="3887" y="2461"/>
                </a:lnTo>
                <a:lnTo>
                  <a:pt x="3887" y="2461"/>
                </a:lnTo>
                <a:lnTo>
                  <a:pt x="3893" y="2461"/>
                </a:lnTo>
                <a:lnTo>
                  <a:pt x="3893" y="2467"/>
                </a:lnTo>
                <a:lnTo>
                  <a:pt x="3893" y="2467"/>
                </a:lnTo>
                <a:lnTo>
                  <a:pt x="3899" y="2467"/>
                </a:lnTo>
                <a:lnTo>
                  <a:pt x="3911" y="2479"/>
                </a:lnTo>
                <a:lnTo>
                  <a:pt x="3905" y="2479"/>
                </a:lnTo>
                <a:lnTo>
                  <a:pt x="3905" y="2479"/>
                </a:lnTo>
                <a:lnTo>
                  <a:pt x="3905" y="2479"/>
                </a:lnTo>
                <a:lnTo>
                  <a:pt x="3905" y="2473"/>
                </a:lnTo>
                <a:lnTo>
                  <a:pt x="3899" y="2473"/>
                </a:lnTo>
                <a:lnTo>
                  <a:pt x="3899" y="2473"/>
                </a:lnTo>
                <a:lnTo>
                  <a:pt x="3899" y="2473"/>
                </a:lnTo>
                <a:lnTo>
                  <a:pt x="3899" y="2473"/>
                </a:lnTo>
                <a:lnTo>
                  <a:pt x="3899" y="2479"/>
                </a:lnTo>
                <a:lnTo>
                  <a:pt x="3899" y="2479"/>
                </a:lnTo>
                <a:lnTo>
                  <a:pt x="3899" y="2479"/>
                </a:lnTo>
                <a:lnTo>
                  <a:pt x="3899" y="2479"/>
                </a:lnTo>
                <a:lnTo>
                  <a:pt x="3905" y="2479"/>
                </a:lnTo>
                <a:lnTo>
                  <a:pt x="3905" y="2479"/>
                </a:lnTo>
                <a:lnTo>
                  <a:pt x="3905" y="2479"/>
                </a:lnTo>
                <a:lnTo>
                  <a:pt x="3917" y="2485"/>
                </a:lnTo>
                <a:lnTo>
                  <a:pt x="3917" y="2485"/>
                </a:lnTo>
                <a:lnTo>
                  <a:pt x="3923" y="2491"/>
                </a:lnTo>
                <a:lnTo>
                  <a:pt x="3923" y="2491"/>
                </a:lnTo>
                <a:lnTo>
                  <a:pt x="3923" y="2491"/>
                </a:lnTo>
                <a:lnTo>
                  <a:pt x="3923" y="2491"/>
                </a:lnTo>
                <a:lnTo>
                  <a:pt x="3923" y="2491"/>
                </a:lnTo>
                <a:lnTo>
                  <a:pt x="3923" y="2491"/>
                </a:lnTo>
                <a:lnTo>
                  <a:pt x="3923" y="2497"/>
                </a:lnTo>
                <a:lnTo>
                  <a:pt x="3929" y="2497"/>
                </a:lnTo>
                <a:lnTo>
                  <a:pt x="3929" y="2503"/>
                </a:lnTo>
                <a:lnTo>
                  <a:pt x="3929" y="2509"/>
                </a:lnTo>
                <a:lnTo>
                  <a:pt x="3929" y="2509"/>
                </a:lnTo>
                <a:lnTo>
                  <a:pt x="3929" y="2509"/>
                </a:lnTo>
                <a:lnTo>
                  <a:pt x="3929" y="2509"/>
                </a:lnTo>
                <a:lnTo>
                  <a:pt x="3929" y="2515"/>
                </a:lnTo>
                <a:lnTo>
                  <a:pt x="3923" y="2515"/>
                </a:lnTo>
                <a:lnTo>
                  <a:pt x="3923" y="2515"/>
                </a:lnTo>
                <a:lnTo>
                  <a:pt x="3923" y="2515"/>
                </a:lnTo>
                <a:lnTo>
                  <a:pt x="3923" y="2515"/>
                </a:lnTo>
                <a:lnTo>
                  <a:pt x="3917" y="2509"/>
                </a:lnTo>
                <a:lnTo>
                  <a:pt x="3917" y="2509"/>
                </a:lnTo>
                <a:lnTo>
                  <a:pt x="3917" y="2503"/>
                </a:lnTo>
                <a:lnTo>
                  <a:pt x="3917" y="2503"/>
                </a:lnTo>
                <a:lnTo>
                  <a:pt x="3917" y="2503"/>
                </a:lnTo>
                <a:lnTo>
                  <a:pt x="3917" y="2497"/>
                </a:lnTo>
                <a:lnTo>
                  <a:pt x="3917" y="2491"/>
                </a:lnTo>
                <a:lnTo>
                  <a:pt x="3917" y="2491"/>
                </a:lnTo>
                <a:lnTo>
                  <a:pt x="3917" y="2491"/>
                </a:lnTo>
                <a:lnTo>
                  <a:pt x="3917" y="2497"/>
                </a:lnTo>
                <a:lnTo>
                  <a:pt x="3917" y="2497"/>
                </a:lnTo>
                <a:lnTo>
                  <a:pt x="3917" y="2503"/>
                </a:lnTo>
                <a:lnTo>
                  <a:pt x="3917" y="2509"/>
                </a:lnTo>
                <a:lnTo>
                  <a:pt x="3917" y="2515"/>
                </a:lnTo>
                <a:lnTo>
                  <a:pt x="3923" y="2515"/>
                </a:lnTo>
                <a:lnTo>
                  <a:pt x="3923" y="2515"/>
                </a:lnTo>
                <a:lnTo>
                  <a:pt x="3929" y="2515"/>
                </a:lnTo>
                <a:lnTo>
                  <a:pt x="3929" y="2515"/>
                </a:lnTo>
                <a:lnTo>
                  <a:pt x="3929" y="2515"/>
                </a:lnTo>
                <a:lnTo>
                  <a:pt x="3935" y="2515"/>
                </a:lnTo>
                <a:lnTo>
                  <a:pt x="3947" y="2509"/>
                </a:lnTo>
                <a:lnTo>
                  <a:pt x="3947" y="2509"/>
                </a:lnTo>
                <a:lnTo>
                  <a:pt x="3958" y="2509"/>
                </a:lnTo>
                <a:lnTo>
                  <a:pt x="3958" y="2509"/>
                </a:lnTo>
                <a:lnTo>
                  <a:pt x="3958" y="2509"/>
                </a:lnTo>
                <a:lnTo>
                  <a:pt x="3958" y="2509"/>
                </a:lnTo>
                <a:lnTo>
                  <a:pt x="3964" y="2509"/>
                </a:lnTo>
                <a:lnTo>
                  <a:pt x="3964" y="2503"/>
                </a:lnTo>
                <a:lnTo>
                  <a:pt x="3964" y="2503"/>
                </a:lnTo>
                <a:lnTo>
                  <a:pt x="3964" y="2503"/>
                </a:lnTo>
                <a:lnTo>
                  <a:pt x="3964" y="2503"/>
                </a:lnTo>
                <a:lnTo>
                  <a:pt x="3970" y="2503"/>
                </a:lnTo>
                <a:lnTo>
                  <a:pt x="3970" y="2503"/>
                </a:lnTo>
                <a:lnTo>
                  <a:pt x="3970" y="2503"/>
                </a:lnTo>
                <a:lnTo>
                  <a:pt x="3970" y="2503"/>
                </a:lnTo>
                <a:lnTo>
                  <a:pt x="3970" y="2509"/>
                </a:lnTo>
                <a:lnTo>
                  <a:pt x="3970" y="2509"/>
                </a:lnTo>
                <a:lnTo>
                  <a:pt x="3970" y="2509"/>
                </a:lnTo>
                <a:lnTo>
                  <a:pt x="3970" y="2509"/>
                </a:lnTo>
                <a:lnTo>
                  <a:pt x="3970" y="2509"/>
                </a:lnTo>
                <a:lnTo>
                  <a:pt x="3970" y="2509"/>
                </a:lnTo>
                <a:lnTo>
                  <a:pt x="3970" y="2509"/>
                </a:lnTo>
                <a:lnTo>
                  <a:pt x="3970" y="2509"/>
                </a:lnTo>
                <a:lnTo>
                  <a:pt x="3976" y="2509"/>
                </a:lnTo>
                <a:lnTo>
                  <a:pt x="3976" y="2503"/>
                </a:lnTo>
                <a:lnTo>
                  <a:pt x="3976" y="2503"/>
                </a:lnTo>
                <a:lnTo>
                  <a:pt x="3982" y="2503"/>
                </a:lnTo>
                <a:lnTo>
                  <a:pt x="3982" y="2503"/>
                </a:lnTo>
                <a:lnTo>
                  <a:pt x="3982" y="2503"/>
                </a:lnTo>
                <a:lnTo>
                  <a:pt x="3988" y="2497"/>
                </a:lnTo>
                <a:lnTo>
                  <a:pt x="3994" y="2497"/>
                </a:lnTo>
                <a:lnTo>
                  <a:pt x="3994" y="2491"/>
                </a:lnTo>
                <a:lnTo>
                  <a:pt x="4000" y="2491"/>
                </a:lnTo>
                <a:lnTo>
                  <a:pt x="4006" y="2491"/>
                </a:lnTo>
                <a:lnTo>
                  <a:pt x="4006" y="2485"/>
                </a:lnTo>
                <a:lnTo>
                  <a:pt x="4006" y="2485"/>
                </a:lnTo>
                <a:lnTo>
                  <a:pt x="4006" y="2491"/>
                </a:lnTo>
                <a:lnTo>
                  <a:pt x="4006" y="2491"/>
                </a:lnTo>
                <a:lnTo>
                  <a:pt x="4012" y="2491"/>
                </a:lnTo>
                <a:lnTo>
                  <a:pt x="4012" y="2485"/>
                </a:lnTo>
                <a:lnTo>
                  <a:pt x="4012" y="2485"/>
                </a:lnTo>
                <a:lnTo>
                  <a:pt x="4012" y="2485"/>
                </a:lnTo>
                <a:lnTo>
                  <a:pt x="4018" y="2485"/>
                </a:lnTo>
                <a:lnTo>
                  <a:pt x="4018" y="2491"/>
                </a:lnTo>
                <a:lnTo>
                  <a:pt x="4018" y="2491"/>
                </a:lnTo>
                <a:lnTo>
                  <a:pt x="4018" y="2491"/>
                </a:lnTo>
                <a:lnTo>
                  <a:pt x="4018" y="2491"/>
                </a:lnTo>
                <a:lnTo>
                  <a:pt x="4018" y="2491"/>
                </a:lnTo>
                <a:lnTo>
                  <a:pt x="4018" y="2491"/>
                </a:lnTo>
                <a:lnTo>
                  <a:pt x="4018" y="2491"/>
                </a:lnTo>
                <a:lnTo>
                  <a:pt x="4024" y="2491"/>
                </a:lnTo>
                <a:lnTo>
                  <a:pt x="4024" y="2485"/>
                </a:lnTo>
                <a:lnTo>
                  <a:pt x="4024" y="2485"/>
                </a:lnTo>
                <a:lnTo>
                  <a:pt x="4018" y="2485"/>
                </a:lnTo>
                <a:lnTo>
                  <a:pt x="4012" y="2485"/>
                </a:lnTo>
                <a:lnTo>
                  <a:pt x="4012" y="2479"/>
                </a:lnTo>
                <a:lnTo>
                  <a:pt x="4012" y="2479"/>
                </a:lnTo>
                <a:lnTo>
                  <a:pt x="4012" y="2479"/>
                </a:lnTo>
                <a:lnTo>
                  <a:pt x="4012" y="2479"/>
                </a:lnTo>
                <a:lnTo>
                  <a:pt x="4012" y="2479"/>
                </a:lnTo>
                <a:lnTo>
                  <a:pt x="4012" y="2479"/>
                </a:lnTo>
                <a:lnTo>
                  <a:pt x="4012" y="2479"/>
                </a:lnTo>
                <a:lnTo>
                  <a:pt x="4012" y="2479"/>
                </a:lnTo>
                <a:lnTo>
                  <a:pt x="4012" y="2479"/>
                </a:lnTo>
                <a:lnTo>
                  <a:pt x="4012" y="2479"/>
                </a:lnTo>
                <a:lnTo>
                  <a:pt x="4018" y="2479"/>
                </a:lnTo>
                <a:lnTo>
                  <a:pt x="4018" y="2479"/>
                </a:lnTo>
                <a:lnTo>
                  <a:pt x="4024" y="2479"/>
                </a:lnTo>
                <a:lnTo>
                  <a:pt x="4024" y="2479"/>
                </a:lnTo>
                <a:lnTo>
                  <a:pt x="4024" y="2479"/>
                </a:lnTo>
                <a:lnTo>
                  <a:pt x="4024" y="2479"/>
                </a:lnTo>
                <a:lnTo>
                  <a:pt x="4024" y="2479"/>
                </a:lnTo>
                <a:lnTo>
                  <a:pt x="4018" y="2479"/>
                </a:lnTo>
                <a:lnTo>
                  <a:pt x="4018" y="2479"/>
                </a:lnTo>
                <a:lnTo>
                  <a:pt x="4018" y="2479"/>
                </a:lnTo>
                <a:lnTo>
                  <a:pt x="4018" y="2479"/>
                </a:lnTo>
                <a:lnTo>
                  <a:pt x="4018" y="2479"/>
                </a:lnTo>
                <a:lnTo>
                  <a:pt x="4018" y="2479"/>
                </a:lnTo>
                <a:lnTo>
                  <a:pt x="4018" y="2479"/>
                </a:lnTo>
                <a:lnTo>
                  <a:pt x="4018" y="2479"/>
                </a:lnTo>
                <a:lnTo>
                  <a:pt x="4018" y="2479"/>
                </a:lnTo>
                <a:lnTo>
                  <a:pt x="4018" y="2479"/>
                </a:lnTo>
                <a:lnTo>
                  <a:pt x="4018" y="2479"/>
                </a:lnTo>
                <a:lnTo>
                  <a:pt x="4018" y="2479"/>
                </a:lnTo>
                <a:lnTo>
                  <a:pt x="4018" y="2479"/>
                </a:lnTo>
                <a:lnTo>
                  <a:pt x="4018" y="2473"/>
                </a:lnTo>
                <a:lnTo>
                  <a:pt x="4018" y="2473"/>
                </a:lnTo>
                <a:lnTo>
                  <a:pt x="4018" y="2473"/>
                </a:lnTo>
                <a:lnTo>
                  <a:pt x="4018" y="2473"/>
                </a:lnTo>
                <a:lnTo>
                  <a:pt x="4018" y="2473"/>
                </a:lnTo>
                <a:lnTo>
                  <a:pt x="4018" y="2473"/>
                </a:lnTo>
                <a:lnTo>
                  <a:pt x="4018" y="2473"/>
                </a:lnTo>
                <a:lnTo>
                  <a:pt x="4018" y="2473"/>
                </a:lnTo>
                <a:lnTo>
                  <a:pt x="4018" y="2473"/>
                </a:lnTo>
                <a:lnTo>
                  <a:pt x="4018" y="2473"/>
                </a:lnTo>
                <a:lnTo>
                  <a:pt x="4024" y="2473"/>
                </a:lnTo>
                <a:lnTo>
                  <a:pt x="4024" y="2473"/>
                </a:lnTo>
                <a:lnTo>
                  <a:pt x="4024" y="2473"/>
                </a:lnTo>
                <a:lnTo>
                  <a:pt x="4024" y="2473"/>
                </a:lnTo>
                <a:lnTo>
                  <a:pt x="4030" y="2473"/>
                </a:lnTo>
                <a:lnTo>
                  <a:pt x="4030" y="2467"/>
                </a:lnTo>
                <a:lnTo>
                  <a:pt x="4030" y="2467"/>
                </a:lnTo>
                <a:lnTo>
                  <a:pt x="4030" y="2467"/>
                </a:lnTo>
                <a:lnTo>
                  <a:pt x="4030" y="2467"/>
                </a:lnTo>
                <a:lnTo>
                  <a:pt x="4030" y="2467"/>
                </a:lnTo>
                <a:lnTo>
                  <a:pt x="4030" y="2467"/>
                </a:lnTo>
                <a:lnTo>
                  <a:pt x="4030" y="2467"/>
                </a:lnTo>
                <a:lnTo>
                  <a:pt x="4030" y="2467"/>
                </a:lnTo>
                <a:lnTo>
                  <a:pt x="4030" y="2467"/>
                </a:lnTo>
                <a:lnTo>
                  <a:pt x="4030" y="2467"/>
                </a:lnTo>
                <a:lnTo>
                  <a:pt x="4030" y="2467"/>
                </a:lnTo>
                <a:lnTo>
                  <a:pt x="4030"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35" y="2467"/>
                </a:lnTo>
                <a:lnTo>
                  <a:pt x="4041" y="2467"/>
                </a:lnTo>
                <a:lnTo>
                  <a:pt x="4041" y="2467"/>
                </a:lnTo>
                <a:lnTo>
                  <a:pt x="4041" y="2467"/>
                </a:lnTo>
                <a:lnTo>
                  <a:pt x="4041" y="2467"/>
                </a:lnTo>
                <a:lnTo>
                  <a:pt x="4041" y="2467"/>
                </a:lnTo>
                <a:lnTo>
                  <a:pt x="4041" y="2467"/>
                </a:lnTo>
                <a:lnTo>
                  <a:pt x="4041" y="2467"/>
                </a:lnTo>
                <a:lnTo>
                  <a:pt x="4047" y="2467"/>
                </a:lnTo>
                <a:lnTo>
                  <a:pt x="4053" y="2467"/>
                </a:lnTo>
                <a:lnTo>
                  <a:pt x="4053" y="2467"/>
                </a:lnTo>
                <a:lnTo>
                  <a:pt x="4059" y="2473"/>
                </a:lnTo>
                <a:lnTo>
                  <a:pt x="4065" y="2473"/>
                </a:lnTo>
                <a:lnTo>
                  <a:pt x="4071" y="2479"/>
                </a:lnTo>
                <a:lnTo>
                  <a:pt x="4077" y="2479"/>
                </a:lnTo>
                <a:lnTo>
                  <a:pt x="4077" y="2479"/>
                </a:lnTo>
                <a:lnTo>
                  <a:pt x="4083" y="2479"/>
                </a:lnTo>
                <a:lnTo>
                  <a:pt x="4083" y="2485"/>
                </a:lnTo>
                <a:lnTo>
                  <a:pt x="4083" y="2485"/>
                </a:lnTo>
                <a:lnTo>
                  <a:pt x="4083" y="2485"/>
                </a:lnTo>
                <a:lnTo>
                  <a:pt x="4089" y="2485"/>
                </a:lnTo>
                <a:lnTo>
                  <a:pt x="4089" y="2491"/>
                </a:lnTo>
                <a:lnTo>
                  <a:pt x="4089" y="2491"/>
                </a:lnTo>
                <a:lnTo>
                  <a:pt x="4089" y="2491"/>
                </a:lnTo>
                <a:lnTo>
                  <a:pt x="4095" y="2491"/>
                </a:lnTo>
                <a:lnTo>
                  <a:pt x="4095" y="2491"/>
                </a:lnTo>
                <a:lnTo>
                  <a:pt x="4095" y="2497"/>
                </a:lnTo>
                <a:lnTo>
                  <a:pt x="4095" y="2497"/>
                </a:lnTo>
                <a:lnTo>
                  <a:pt x="4095" y="2497"/>
                </a:lnTo>
                <a:lnTo>
                  <a:pt x="4095" y="2497"/>
                </a:lnTo>
                <a:lnTo>
                  <a:pt x="4095" y="2497"/>
                </a:lnTo>
                <a:lnTo>
                  <a:pt x="4095" y="2497"/>
                </a:lnTo>
                <a:lnTo>
                  <a:pt x="4101" y="2503"/>
                </a:lnTo>
                <a:lnTo>
                  <a:pt x="4101" y="2503"/>
                </a:lnTo>
                <a:lnTo>
                  <a:pt x="4101" y="2503"/>
                </a:lnTo>
                <a:lnTo>
                  <a:pt x="4101" y="2503"/>
                </a:lnTo>
                <a:lnTo>
                  <a:pt x="4101" y="2503"/>
                </a:lnTo>
                <a:lnTo>
                  <a:pt x="4101" y="2509"/>
                </a:lnTo>
                <a:lnTo>
                  <a:pt x="4101" y="2509"/>
                </a:lnTo>
                <a:lnTo>
                  <a:pt x="4101" y="2509"/>
                </a:lnTo>
                <a:lnTo>
                  <a:pt x="4107" y="2509"/>
                </a:lnTo>
                <a:lnTo>
                  <a:pt x="4107" y="2515"/>
                </a:lnTo>
                <a:lnTo>
                  <a:pt x="4107" y="2515"/>
                </a:lnTo>
                <a:lnTo>
                  <a:pt x="4107" y="2515"/>
                </a:lnTo>
                <a:lnTo>
                  <a:pt x="4113" y="2515"/>
                </a:lnTo>
                <a:lnTo>
                  <a:pt x="4113" y="2515"/>
                </a:lnTo>
                <a:lnTo>
                  <a:pt x="4113" y="2515"/>
                </a:lnTo>
                <a:lnTo>
                  <a:pt x="4113" y="2515"/>
                </a:lnTo>
                <a:lnTo>
                  <a:pt x="4113" y="2515"/>
                </a:lnTo>
                <a:lnTo>
                  <a:pt x="4118" y="2515"/>
                </a:lnTo>
                <a:lnTo>
                  <a:pt x="4118" y="2515"/>
                </a:lnTo>
                <a:lnTo>
                  <a:pt x="4118" y="2521"/>
                </a:lnTo>
                <a:lnTo>
                  <a:pt x="4118" y="2521"/>
                </a:lnTo>
                <a:lnTo>
                  <a:pt x="4118" y="2521"/>
                </a:lnTo>
                <a:lnTo>
                  <a:pt x="4118" y="2521"/>
                </a:lnTo>
                <a:lnTo>
                  <a:pt x="4118" y="2521"/>
                </a:lnTo>
                <a:lnTo>
                  <a:pt x="4118" y="2527"/>
                </a:lnTo>
                <a:lnTo>
                  <a:pt x="4118" y="2527"/>
                </a:lnTo>
                <a:lnTo>
                  <a:pt x="4118" y="2527"/>
                </a:lnTo>
                <a:lnTo>
                  <a:pt x="4113" y="2527"/>
                </a:lnTo>
                <a:lnTo>
                  <a:pt x="4118" y="2527"/>
                </a:lnTo>
                <a:lnTo>
                  <a:pt x="4118" y="2527"/>
                </a:lnTo>
                <a:lnTo>
                  <a:pt x="4118" y="2527"/>
                </a:lnTo>
                <a:lnTo>
                  <a:pt x="4118" y="2533"/>
                </a:lnTo>
                <a:lnTo>
                  <a:pt x="4118" y="2533"/>
                </a:lnTo>
                <a:lnTo>
                  <a:pt x="4118" y="2533"/>
                </a:lnTo>
                <a:lnTo>
                  <a:pt x="4118" y="2533"/>
                </a:lnTo>
                <a:lnTo>
                  <a:pt x="4118" y="2533"/>
                </a:lnTo>
                <a:lnTo>
                  <a:pt x="4118" y="2533"/>
                </a:lnTo>
                <a:lnTo>
                  <a:pt x="4118" y="2533"/>
                </a:lnTo>
                <a:lnTo>
                  <a:pt x="4124" y="2538"/>
                </a:lnTo>
                <a:lnTo>
                  <a:pt x="4130" y="2544"/>
                </a:lnTo>
                <a:lnTo>
                  <a:pt x="4130" y="2544"/>
                </a:lnTo>
                <a:lnTo>
                  <a:pt x="4130" y="2544"/>
                </a:lnTo>
                <a:lnTo>
                  <a:pt x="4130" y="2544"/>
                </a:lnTo>
                <a:lnTo>
                  <a:pt x="4130" y="2544"/>
                </a:lnTo>
                <a:lnTo>
                  <a:pt x="4130" y="2544"/>
                </a:lnTo>
                <a:lnTo>
                  <a:pt x="4136" y="2544"/>
                </a:lnTo>
                <a:lnTo>
                  <a:pt x="4136" y="2550"/>
                </a:lnTo>
                <a:lnTo>
                  <a:pt x="4142" y="2556"/>
                </a:lnTo>
                <a:lnTo>
                  <a:pt x="4142" y="2556"/>
                </a:lnTo>
                <a:lnTo>
                  <a:pt x="4142" y="2556"/>
                </a:lnTo>
                <a:lnTo>
                  <a:pt x="4142" y="2556"/>
                </a:lnTo>
                <a:lnTo>
                  <a:pt x="4142" y="2556"/>
                </a:lnTo>
                <a:lnTo>
                  <a:pt x="4142" y="2556"/>
                </a:lnTo>
                <a:lnTo>
                  <a:pt x="4142" y="2562"/>
                </a:lnTo>
                <a:lnTo>
                  <a:pt x="4142" y="2562"/>
                </a:lnTo>
                <a:lnTo>
                  <a:pt x="4148" y="2562"/>
                </a:lnTo>
                <a:lnTo>
                  <a:pt x="4148" y="2562"/>
                </a:lnTo>
                <a:lnTo>
                  <a:pt x="4148" y="2562"/>
                </a:lnTo>
                <a:lnTo>
                  <a:pt x="4148" y="2562"/>
                </a:lnTo>
                <a:lnTo>
                  <a:pt x="4148" y="2568"/>
                </a:lnTo>
                <a:lnTo>
                  <a:pt x="4148" y="2568"/>
                </a:lnTo>
                <a:lnTo>
                  <a:pt x="4148" y="2568"/>
                </a:lnTo>
                <a:lnTo>
                  <a:pt x="4148" y="2568"/>
                </a:lnTo>
                <a:lnTo>
                  <a:pt x="4148" y="2568"/>
                </a:lnTo>
                <a:lnTo>
                  <a:pt x="4154" y="2568"/>
                </a:lnTo>
                <a:lnTo>
                  <a:pt x="4154" y="2568"/>
                </a:lnTo>
                <a:lnTo>
                  <a:pt x="4154" y="2568"/>
                </a:lnTo>
                <a:lnTo>
                  <a:pt x="4154" y="2574"/>
                </a:lnTo>
                <a:lnTo>
                  <a:pt x="4154" y="2574"/>
                </a:lnTo>
                <a:lnTo>
                  <a:pt x="4154" y="2574"/>
                </a:lnTo>
                <a:lnTo>
                  <a:pt x="4154" y="2574"/>
                </a:lnTo>
                <a:lnTo>
                  <a:pt x="4154" y="2574"/>
                </a:lnTo>
                <a:lnTo>
                  <a:pt x="4154" y="2574"/>
                </a:lnTo>
                <a:lnTo>
                  <a:pt x="4160" y="2574"/>
                </a:lnTo>
                <a:lnTo>
                  <a:pt x="4160" y="2574"/>
                </a:lnTo>
                <a:lnTo>
                  <a:pt x="4160" y="2574"/>
                </a:lnTo>
                <a:lnTo>
                  <a:pt x="4166" y="2574"/>
                </a:lnTo>
                <a:lnTo>
                  <a:pt x="4166" y="2574"/>
                </a:lnTo>
                <a:lnTo>
                  <a:pt x="4166" y="2574"/>
                </a:lnTo>
                <a:lnTo>
                  <a:pt x="4166" y="2574"/>
                </a:lnTo>
                <a:lnTo>
                  <a:pt x="4172" y="2574"/>
                </a:lnTo>
                <a:lnTo>
                  <a:pt x="4172" y="2574"/>
                </a:lnTo>
                <a:lnTo>
                  <a:pt x="4172" y="2574"/>
                </a:lnTo>
                <a:lnTo>
                  <a:pt x="4172" y="2574"/>
                </a:lnTo>
                <a:lnTo>
                  <a:pt x="4172" y="2574"/>
                </a:lnTo>
                <a:lnTo>
                  <a:pt x="4172" y="2574"/>
                </a:lnTo>
                <a:lnTo>
                  <a:pt x="4178" y="2574"/>
                </a:lnTo>
                <a:lnTo>
                  <a:pt x="4178" y="2574"/>
                </a:lnTo>
                <a:lnTo>
                  <a:pt x="4178" y="2574"/>
                </a:lnTo>
                <a:lnTo>
                  <a:pt x="4178" y="2574"/>
                </a:lnTo>
                <a:lnTo>
                  <a:pt x="4178" y="2580"/>
                </a:lnTo>
                <a:lnTo>
                  <a:pt x="4178" y="2580"/>
                </a:lnTo>
                <a:lnTo>
                  <a:pt x="4178" y="2580"/>
                </a:lnTo>
                <a:lnTo>
                  <a:pt x="4178" y="2580"/>
                </a:lnTo>
                <a:lnTo>
                  <a:pt x="4178" y="2580"/>
                </a:lnTo>
                <a:lnTo>
                  <a:pt x="4178" y="2586"/>
                </a:lnTo>
                <a:lnTo>
                  <a:pt x="4184" y="2586"/>
                </a:lnTo>
                <a:lnTo>
                  <a:pt x="4184" y="2586"/>
                </a:lnTo>
                <a:lnTo>
                  <a:pt x="4184" y="2586"/>
                </a:lnTo>
                <a:lnTo>
                  <a:pt x="4184" y="2586"/>
                </a:lnTo>
                <a:lnTo>
                  <a:pt x="4184" y="2592"/>
                </a:lnTo>
                <a:lnTo>
                  <a:pt x="4184" y="2592"/>
                </a:lnTo>
                <a:lnTo>
                  <a:pt x="4184" y="2592"/>
                </a:lnTo>
                <a:lnTo>
                  <a:pt x="4184" y="2592"/>
                </a:lnTo>
                <a:lnTo>
                  <a:pt x="4184" y="2592"/>
                </a:lnTo>
                <a:lnTo>
                  <a:pt x="4184" y="2592"/>
                </a:lnTo>
                <a:lnTo>
                  <a:pt x="4184" y="2592"/>
                </a:lnTo>
                <a:lnTo>
                  <a:pt x="4184" y="2592"/>
                </a:lnTo>
                <a:lnTo>
                  <a:pt x="4184" y="2592"/>
                </a:lnTo>
                <a:lnTo>
                  <a:pt x="4184" y="2592"/>
                </a:lnTo>
                <a:lnTo>
                  <a:pt x="4184" y="2598"/>
                </a:lnTo>
                <a:lnTo>
                  <a:pt x="4184" y="2598"/>
                </a:lnTo>
                <a:lnTo>
                  <a:pt x="4184" y="2598"/>
                </a:lnTo>
                <a:lnTo>
                  <a:pt x="4190" y="2604"/>
                </a:lnTo>
                <a:lnTo>
                  <a:pt x="4190" y="2604"/>
                </a:lnTo>
                <a:lnTo>
                  <a:pt x="4190" y="2604"/>
                </a:lnTo>
                <a:lnTo>
                  <a:pt x="4190" y="2604"/>
                </a:lnTo>
                <a:lnTo>
                  <a:pt x="4190" y="2604"/>
                </a:lnTo>
                <a:lnTo>
                  <a:pt x="4190" y="2604"/>
                </a:lnTo>
                <a:lnTo>
                  <a:pt x="4190" y="2604"/>
                </a:lnTo>
                <a:lnTo>
                  <a:pt x="4195" y="2604"/>
                </a:lnTo>
                <a:lnTo>
                  <a:pt x="4195" y="2610"/>
                </a:lnTo>
                <a:lnTo>
                  <a:pt x="4190" y="2610"/>
                </a:lnTo>
                <a:lnTo>
                  <a:pt x="4190" y="2616"/>
                </a:lnTo>
                <a:lnTo>
                  <a:pt x="4190" y="2616"/>
                </a:lnTo>
                <a:lnTo>
                  <a:pt x="4195" y="2616"/>
                </a:lnTo>
                <a:lnTo>
                  <a:pt x="4195" y="2616"/>
                </a:lnTo>
                <a:lnTo>
                  <a:pt x="4190" y="2616"/>
                </a:lnTo>
                <a:lnTo>
                  <a:pt x="4190" y="2616"/>
                </a:lnTo>
                <a:lnTo>
                  <a:pt x="4190" y="2616"/>
                </a:lnTo>
                <a:lnTo>
                  <a:pt x="4190" y="2616"/>
                </a:lnTo>
                <a:lnTo>
                  <a:pt x="4190" y="2616"/>
                </a:lnTo>
                <a:lnTo>
                  <a:pt x="4190" y="2622"/>
                </a:lnTo>
                <a:lnTo>
                  <a:pt x="4190" y="2622"/>
                </a:lnTo>
                <a:lnTo>
                  <a:pt x="4190" y="2622"/>
                </a:lnTo>
                <a:lnTo>
                  <a:pt x="4190" y="2622"/>
                </a:lnTo>
                <a:lnTo>
                  <a:pt x="4190" y="2622"/>
                </a:lnTo>
                <a:lnTo>
                  <a:pt x="4190" y="2622"/>
                </a:lnTo>
                <a:lnTo>
                  <a:pt x="4190" y="2627"/>
                </a:lnTo>
                <a:lnTo>
                  <a:pt x="4190" y="2627"/>
                </a:lnTo>
                <a:lnTo>
                  <a:pt x="4195" y="2627"/>
                </a:lnTo>
                <a:lnTo>
                  <a:pt x="4195" y="2627"/>
                </a:lnTo>
                <a:lnTo>
                  <a:pt x="4195" y="2627"/>
                </a:lnTo>
                <a:lnTo>
                  <a:pt x="4195" y="2627"/>
                </a:lnTo>
                <a:lnTo>
                  <a:pt x="4195" y="2627"/>
                </a:lnTo>
                <a:lnTo>
                  <a:pt x="4195" y="2627"/>
                </a:lnTo>
                <a:lnTo>
                  <a:pt x="4190" y="2627"/>
                </a:lnTo>
                <a:lnTo>
                  <a:pt x="4190" y="2627"/>
                </a:lnTo>
                <a:lnTo>
                  <a:pt x="4190" y="2627"/>
                </a:lnTo>
                <a:lnTo>
                  <a:pt x="4190" y="2633"/>
                </a:lnTo>
                <a:lnTo>
                  <a:pt x="4190" y="2633"/>
                </a:lnTo>
                <a:lnTo>
                  <a:pt x="4190" y="2633"/>
                </a:lnTo>
                <a:lnTo>
                  <a:pt x="4190" y="2633"/>
                </a:lnTo>
                <a:lnTo>
                  <a:pt x="4190" y="2645"/>
                </a:lnTo>
                <a:lnTo>
                  <a:pt x="4190" y="2645"/>
                </a:lnTo>
                <a:lnTo>
                  <a:pt x="4190" y="2651"/>
                </a:lnTo>
                <a:lnTo>
                  <a:pt x="4190" y="2651"/>
                </a:lnTo>
                <a:lnTo>
                  <a:pt x="4190" y="2651"/>
                </a:lnTo>
                <a:lnTo>
                  <a:pt x="4190" y="2657"/>
                </a:lnTo>
                <a:lnTo>
                  <a:pt x="4190" y="2657"/>
                </a:lnTo>
                <a:lnTo>
                  <a:pt x="4190" y="2657"/>
                </a:lnTo>
                <a:lnTo>
                  <a:pt x="4190" y="2663"/>
                </a:lnTo>
                <a:lnTo>
                  <a:pt x="4190" y="2663"/>
                </a:lnTo>
                <a:lnTo>
                  <a:pt x="4184" y="2663"/>
                </a:lnTo>
                <a:lnTo>
                  <a:pt x="4184" y="2669"/>
                </a:lnTo>
                <a:lnTo>
                  <a:pt x="4184" y="2669"/>
                </a:lnTo>
                <a:lnTo>
                  <a:pt x="4184" y="2669"/>
                </a:lnTo>
                <a:lnTo>
                  <a:pt x="4184" y="2669"/>
                </a:lnTo>
                <a:lnTo>
                  <a:pt x="4184" y="2669"/>
                </a:lnTo>
                <a:lnTo>
                  <a:pt x="4184" y="2669"/>
                </a:lnTo>
                <a:lnTo>
                  <a:pt x="4184" y="2669"/>
                </a:lnTo>
                <a:lnTo>
                  <a:pt x="4184" y="2675"/>
                </a:lnTo>
                <a:lnTo>
                  <a:pt x="4184" y="2675"/>
                </a:lnTo>
                <a:lnTo>
                  <a:pt x="4184" y="2675"/>
                </a:lnTo>
                <a:lnTo>
                  <a:pt x="4184" y="2675"/>
                </a:lnTo>
                <a:lnTo>
                  <a:pt x="4184" y="2681"/>
                </a:lnTo>
                <a:lnTo>
                  <a:pt x="4184" y="2681"/>
                </a:lnTo>
                <a:lnTo>
                  <a:pt x="4178" y="2681"/>
                </a:lnTo>
                <a:lnTo>
                  <a:pt x="4178" y="2681"/>
                </a:lnTo>
                <a:lnTo>
                  <a:pt x="4178" y="2681"/>
                </a:lnTo>
                <a:lnTo>
                  <a:pt x="4178" y="2687"/>
                </a:lnTo>
                <a:lnTo>
                  <a:pt x="4178" y="2687"/>
                </a:lnTo>
                <a:lnTo>
                  <a:pt x="4178" y="2687"/>
                </a:lnTo>
                <a:lnTo>
                  <a:pt x="4178" y="2693"/>
                </a:lnTo>
                <a:lnTo>
                  <a:pt x="4178" y="2693"/>
                </a:lnTo>
                <a:lnTo>
                  <a:pt x="4178" y="2693"/>
                </a:lnTo>
                <a:lnTo>
                  <a:pt x="4178" y="2693"/>
                </a:lnTo>
                <a:lnTo>
                  <a:pt x="4178" y="2693"/>
                </a:lnTo>
                <a:lnTo>
                  <a:pt x="4178" y="2699"/>
                </a:lnTo>
                <a:lnTo>
                  <a:pt x="4178" y="2699"/>
                </a:lnTo>
                <a:lnTo>
                  <a:pt x="4178" y="2699"/>
                </a:lnTo>
                <a:lnTo>
                  <a:pt x="4178" y="2699"/>
                </a:lnTo>
                <a:lnTo>
                  <a:pt x="4178" y="2710"/>
                </a:lnTo>
                <a:lnTo>
                  <a:pt x="4172" y="2716"/>
                </a:lnTo>
                <a:lnTo>
                  <a:pt x="4172" y="2716"/>
                </a:lnTo>
                <a:lnTo>
                  <a:pt x="4172" y="2716"/>
                </a:lnTo>
                <a:lnTo>
                  <a:pt x="4172" y="2716"/>
                </a:lnTo>
                <a:lnTo>
                  <a:pt x="4172" y="2716"/>
                </a:lnTo>
                <a:lnTo>
                  <a:pt x="4172" y="2710"/>
                </a:lnTo>
                <a:lnTo>
                  <a:pt x="4172" y="2710"/>
                </a:lnTo>
                <a:lnTo>
                  <a:pt x="4172" y="2710"/>
                </a:lnTo>
                <a:lnTo>
                  <a:pt x="4172" y="2716"/>
                </a:lnTo>
                <a:lnTo>
                  <a:pt x="4172" y="2716"/>
                </a:lnTo>
                <a:lnTo>
                  <a:pt x="4172" y="2716"/>
                </a:lnTo>
                <a:lnTo>
                  <a:pt x="4172" y="2716"/>
                </a:lnTo>
                <a:lnTo>
                  <a:pt x="4172" y="2722"/>
                </a:lnTo>
                <a:lnTo>
                  <a:pt x="4172" y="2722"/>
                </a:lnTo>
                <a:lnTo>
                  <a:pt x="4172" y="2728"/>
                </a:lnTo>
                <a:lnTo>
                  <a:pt x="4172" y="2728"/>
                </a:lnTo>
                <a:lnTo>
                  <a:pt x="4172" y="2728"/>
                </a:lnTo>
                <a:lnTo>
                  <a:pt x="4178" y="2734"/>
                </a:lnTo>
                <a:lnTo>
                  <a:pt x="4184" y="2740"/>
                </a:lnTo>
                <a:lnTo>
                  <a:pt x="4184" y="2740"/>
                </a:lnTo>
                <a:lnTo>
                  <a:pt x="4184" y="2740"/>
                </a:lnTo>
                <a:lnTo>
                  <a:pt x="4184" y="2740"/>
                </a:lnTo>
                <a:lnTo>
                  <a:pt x="4184" y="2740"/>
                </a:lnTo>
                <a:lnTo>
                  <a:pt x="4184" y="2746"/>
                </a:lnTo>
                <a:lnTo>
                  <a:pt x="4184" y="2746"/>
                </a:lnTo>
                <a:lnTo>
                  <a:pt x="4184" y="2746"/>
                </a:lnTo>
                <a:lnTo>
                  <a:pt x="4184" y="2746"/>
                </a:lnTo>
                <a:lnTo>
                  <a:pt x="4184" y="2740"/>
                </a:lnTo>
                <a:lnTo>
                  <a:pt x="4184" y="2740"/>
                </a:lnTo>
                <a:lnTo>
                  <a:pt x="4184" y="2734"/>
                </a:lnTo>
                <a:lnTo>
                  <a:pt x="4184" y="2734"/>
                </a:lnTo>
                <a:lnTo>
                  <a:pt x="4184" y="2734"/>
                </a:lnTo>
                <a:lnTo>
                  <a:pt x="4178" y="2734"/>
                </a:lnTo>
                <a:lnTo>
                  <a:pt x="4178" y="2728"/>
                </a:lnTo>
                <a:lnTo>
                  <a:pt x="4172" y="2728"/>
                </a:lnTo>
                <a:lnTo>
                  <a:pt x="4172" y="2728"/>
                </a:lnTo>
                <a:lnTo>
                  <a:pt x="4172" y="2722"/>
                </a:lnTo>
                <a:lnTo>
                  <a:pt x="4178" y="2728"/>
                </a:lnTo>
                <a:lnTo>
                  <a:pt x="4178" y="2728"/>
                </a:lnTo>
                <a:lnTo>
                  <a:pt x="4184" y="2734"/>
                </a:lnTo>
                <a:lnTo>
                  <a:pt x="4184" y="2734"/>
                </a:lnTo>
                <a:lnTo>
                  <a:pt x="4184" y="2734"/>
                </a:lnTo>
                <a:lnTo>
                  <a:pt x="4190" y="2734"/>
                </a:lnTo>
                <a:lnTo>
                  <a:pt x="4190" y="2734"/>
                </a:lnTo>
                <a:lnTo>
                  <a:pt x="4190" y="2740"/>
                </a:lnTo>
                <a:lnTo>
                  <a:pt x="4190" y="2740"/>
                </a:lnTo>
                <a:lnTo>
                  <a:pt x="4190" y="2740"/>
                </a:lnTo>
                <a:lnTo>
                  <a:pt x="4190" y="2740"/>
                </a:lnTo>
                <a:lnTo>
                  <a:pt x="4190" y="2740"/>
                </a:lnTo>
                <a:lnTo>
                  <a:pt x="4190" y="2740"/>
                </a:lnTo>
                <a:lnTo>
                  <a:pt x="4190" y="2740"/>
                </a:lnTo>
                <a:lnTo>
                  <a:pt x="4190" y="2740"/>
                </a:lnTo>
                <a:lnTo>
                  <a:pt x="4195" y="2740"/>
                </a:lnTo>
                <a:lnTo>
                  <a:pt x="4195" y="2740"/>
                </a:lnTo>
                <a:lnTo>
                  <a:pt x="4195" y="2734"/>
                </a:lnTo>
                <a:lnTo>
                  <a:pt x="4195" y="2734"/>
                </a:lnTo>
                <a:lnTo>
                  <a:pt x="4195" y="2734"/>
                </a:lnTo>
                <a:lnTo>
                  <a:pt x="4195" y="2728"/>
                </a:lnTo>
                <a:lnTo>
                  <a:pt x="4195" y="2728"/>
                </a:lnTo>
                <a:lnTo>
                  <a:pt x="4195" y="2728"/>
                </a:lnTo>
                <a:lnTo>
                  <a:pt x="4195" y="2728"/>
                </a:lnTo>
                <a:lnTo>
                  <a:pt x="4195" y="2728"/>
                </a:lnTo>
                <a:lnTo>
                  <a:pt x="4195" y="2728"/>
                </a:lnTo>
                <a:lnTo>
                  <a:pt x="4195" y="2728"/>
                </a:lnTo>
                <a:lnTo>
                  <a:pt x="4195" y="2722"/>
                </a:lnTo>
                <a:lnTo>
                  <a:pt x="4195" y="2722"/>
                </a:lnTo>
                <a:lnTo>
                  <a:pt x="4195" y="2722"/>
                </a:lnTo>
                <a:lnTo>
                  <a:pt x="4201" y="2722"/>
                </a:lnTo>
                <a:lnTo>
                  <a:pt x="4201" y="2722"/>
                </a:lnTo>
                <a:lnTo>
                  <a:pt x="4201" y="2716"/>
                </a:lnTo>
                <a:lnTo>
                  <a:pt x="4195" y="2716"/>
                </a:lnTo>
                <a:lnTo>
                  <a:pt x="4195" y="2722"/>
                </a:lnTo>
                <a:lnTo>
                  <a:pt x="4190" y="2716"/>
                </a:lnTo>
                <a:lnTo>
                  <a:pt x="4190" y="2716"/>
                </a:lnTo>
                <a:lnTo>
                  <a:pt x="4184" y="2716"/>
                </a:lnTo>
                <a:lnTo>
                  <a:pt x="4184" y="2710"/>
                </a:lnTo>
                <a:lnTo>
                  <a:pt x="4190" y="2710"/>
                </a:lnTo>
                <a:lnTo>
                  <a:pt x="4190" y="2710"/>
                </a:lnTo>
                <a:lnTo>
                  <a:pt x="4190" y="2710"/>
                </a:lnTo>
                <a:lnTo>
                  <a:pt x="4190" y="2710"/>
                </a:lnTo>
                <a:lnTo>
                  <a:pt x="4190" y="2710"/>
                </a:lnTo>
                <a:lnTo>
                  <a:pt x="4190" y="2710"/>
                </a:lnTo>
                <a:lnTo>
                  <a:pt x="4190" y="2710"/>
                </a:lnTo>
                <a:lnTo>
                  <a:pt x="4190" y="2710"/>
                </a:lnTo>
                <a:lnTo>
                  <a:pt x="4190" y="2705"/>
                </a:lnTo>
                <a:lnTo>
                  <a:pt x="4190" y="2705"/>
                </a:lnTo>
                <a:lnTo>
                  <a:pt x="4190" y="2705"/>
                </a:lnTo>
                <a:lnTo>
                  <a:pt x="4190" y="2705"/>
                </a:lnTo>
                <a:lnTo>
                  <a:pt x="4190" y="2705"/>
                </a:lnTo>
                <a:lnTo>
                  <a:pt x="4190" y="2705"/>
                </a:lnTo>
                <a:lnTo>
                  <a:pt x="4190" y="2705"/>
                </a:lnTo>
                <a:lnTo>
                  <a:pt x="4190" y="2705"/>
                </a:lnTo>
                <a:lnTo>
                  <a:pt x="4190" y="2705"/>
                </a:lnTo>
                <a:lnTo>
                  <a:pt x="4190" y="2705"/>
                </a:lnTo>
                <a:lnTo>
                  <a:pt x="4190" y="2705"/>
                </a:lnTo>
                <a:lnTo>
                  <a:pt x="4190" y="2705"/>
                </a:lnTo>
                <a:lnTo>
                  <a:pt x="4195" y="2705"/>
                </a:lnTo>
                <a:lnTo>
                  <a:pt x="4195" y="2705"/>
                </a:lnTo>
                <a:lnTo>
                  <a:pt x="4195" y="2710"/>
                </a:lnTo>
                <a:lnTo>
                  <a:pt x="4195" y="2710"/>
                </a:lnTo>
                <a:lnTo>
                  <a:pt x="4195" y="2710"/>
                </a:lnTo>
                <a:lnTo>
                  <a:pt x="4195" y="2710"/>
                </a:lnTo>
                <a:lnTo>
                  <a:pt x="4195" y="2710"/>
                </a:lnTo>
                <a:lnTo>
                  <a:pt x="4195" y="2710"/>
                </a:lnTo>
                <a:lnTo>
                  <a:pt x="4201" y="2710"/>
                </a:lnTo>
                <a:lnTo>
                  <a:pt x="4201" y="2710"/>
                </a:lnTo>
                <a:lnTo>
                  <a:pt x="4201" y="2710"/>
                </a:lnTo>
                <a:lnTo>
                  <a:pt x="4201" y="2716"/>
                </a:lnTo>
                <a:lnTo>
                  <a:pt x="4201" y="2716"/>
                </a:lnTo>
                <a:lnTo>
                  <a:pt x="4201" y="2716"/>
                </a:lnTo>
                <a:lnTo>
                  <a:pt x="4201" y="2722"/>
                </a:lnTo>
                <a:lnTo>
                  <a:pt x="4201" y="2722"/>
                </a:lnTo>
                <a:lnTo>
                  <a:pt x="4201" y="2722"/>
                </a:lnTo>
                <a:lnTo>
                  <a:pt x="4201" y="2722"/>
                </a:lnTo>
                <a:lnTo>
                  <a:pt x="4201" y="2728"/>
                </a:lnTo>
                <a:lnTo>
                  <a:pt x="4201" y="2728"/>
                </a:lnTo>
                <a:lnTo>
                  <a:pt x="4201" y="2728"/>
                </a:lnTo>
                <a:lnTo>
                  <a:pt x="4207" y="2728"/>
                </a:lnTo>
                <a:lnTo>
                  <a:pt x="4207" y="2728"/>
                </a:lnTo>
                <a:lnTo>
                  <a:pt x="4207" y="2722"/>
                </a:lnTo>
                <a:lnTo>
                  <a:pt x="4207" y="2722"/>
                </a:lnTo>
                <a:lnTo>
                  <a:pt x="4207" y="2722"/>
                </a:lnTo>
                <a:lnTo>
                  <a:pt x="4207" y="2722"/>
                </a:lnTo>
                <a:lnTo>
                  <a:pt x="4207" y="2722"/>
                </a:lnTo>
                <a:lnTo>
                  <a:pt x="4207" y="2716"/>
                </a:lnTo>
                <a:lnTo>
                  <a:pt x="4207" y="2716"/>
                </a:lnTo>
                <a:lnTo>
                  <a:pt x="4207" y="2716"/>
                </a:lnTo>
                <a:lnTo>
                  <a:pt x="4207" y="2716"/>
                </a:lnTo>
                <a:lnTo>
                  <a:pt x="4207" y="2716"/>
                </a:lnTo>
                <a:lnTo>
                  <a:pt x="4213" y="2716"/>
                </a:lnTo>
                <a:lnTo>
                  <a:pt x="4213" y="2716"/>
                </a:lnTo>
                <a:lnTo>
                  <a:pt x="4213" y="2716"/>
                </a:lnTo>
                <a:lnTo>
                  <a:pt x="4213" y="2716"/>
                </a:lnTo>
                <a:lnTo>
                  <a:pt x="4213" y="2722"/>
                </a:lnTo>
                <a:lnTo>
                  <a:pt x="4213" y="2722"/>
                </a:lnTo>
                <a:lnTo>
                  <a:pt x="4213" y="2722"/>
                </a:lnTo>
                <a:lnTo>
                  <a:pt x="4219" y="2722"/>
                </a:lnTo>
                <a:lnTo>
                  <a:pt x="4219" y="2728"/>
                </a:lnTo>
                <a:lnTo>
                  <a:pt x="4219" y="2728"/>
                </a:lnTo>
                <a:lnTo>
                  <a:pt x="4213" y="2728"/>
                </a:lnTo>
                <a:lnTo>
                  <a:pt x="4213" y="2734"/>
                </a:lnTo>
                <a:lnTo>
                  <a:pt x="4213" y="2734"/>
                </a:lnTo>
                <a:lnTo>
                  <a:pt x="4213" y="2734"/>
                </a:lnTo>
                <a:lnTo>
                  <a:pt x="4213" y="2734"/>
                </a:lnTo>
                <a:lnTo>
                  <a:pt x="4207" y="2734"/>
                </a:lnTo>
                <a:lnTo>
                  <a:pt x="4207" y="2734"/>
                </a:lnTo>
                <a:lnTo>
                  <a:pt x="4207" y="2740"/>
                </a:lnTo>
                <a:lnTo>
                  <a:pt x="4207" y="2740"/>
                </a:lnTo>
                <a:lnTo>
                  <a:pt x="4207" y="2740"/>
                </a:lnTo>
                <a:lnTo>
                  <a:pt x="4207" y="2740"/>
                </a:lnTo>
                <a:lnTo>
                  <a:pt x="4207" y="2740"/>
                </a:lnTo>
                <a:lnTo>
                  <a:pt x="4207" y="2740"/>
                </a:lnTo>
                <a:lnTo>
                  <a:pt x="4207" y="2740"/>
                </a:lnTo>
                <a:lnTo>
                  <a:pt x="4207" y="2740"/>
                </a:lnTo>
                <a:lnTo>
                  <a:pt x="4207" y="2746"/>
                </a:lnTo>
                <a:lnTo>
                  <a:pt x="4201" y="2746"/>
                </a:lnTo>
                <a:lnTo>
                  <a:pt x="4201" y="2746"/>
                </a:lnTo>
                <a:lnTo>
                  <a:pt x="4201" y="2746"/>
                </a:lnTo>
                <a:lnTo>
                  <a:pt x="4201" y="2746"/>
                </a:lnTo>
                <a:lnTo>
                  <a:pt x="4201" y="2752"/>
                </a:lnTo>
                <a:lnTo>
                  <a:pt x="4201" y="2752"/>
                </a:lnTo>
                <a:lnTo>
                  <a:pt x="4201" y="2752"/>
                </a:lnTo>
                <a:lnTo>
                  <a:pt x="4195" y="2752"/>
                </a:lnTo>
                <a:lnTo>
                  <a:pt x="4195" y="2752"/>
                </a:lnTo>
                <a:lnTo>
                  <a:pt x="4195" y="2752"/>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195" y="2758"/>
                </a:lnTo>
                <a:lnTo>
                  <a:pt x="4201" y="2758"/>
                </a:lnTo>
                <a:lnTo>
                  <a:pt x="4201" y="2758"/>
                </a:lnTo>
                <a:lnTo>
                  <a:pt x="4195" y="2758"/>
                </a:lnTo>
                <a:lnTo>
                  <a:pt x="4195" y="2758"/>
                </a:lnTo>
                <a:lnTo>
                  <a:pt x="4195" y="2758"/>
                </a:lnTo>
                <a:lnTo>
                  <a:pt x="4195" y="2758"/>
                </a:lnTo>
                <a:lnTo>
                  <a:pt x="4195" y="2758"/>
                </a:lnTo>
                <a:lnTo>
                  <a:pt x="4190" y="2758"/>
                </a:lnTo>
                <a:lnTo>
                  <a:pt x="4195" y="2758"/>
                </a:lnTo>
                <a:lnTo>
                  <a:pt x="4195" y="2758"/>
                </a:lnTo>
                <a:lnTo>
                  <a:pt x="4195" y="2758"/>
                </a:lnTo>
                <a:lnTo>
                  <a:pt x="4195" y="2758"/>
                </a:lnTo>
                <a:lnTo>
                  <a:pt x="4195" y="2764"/>
                </a:lnTo>
                <a:lnTo>
                  <a:pt x="4195" y="2764"/>
                </a:lnTo>
                <a:lnTo>
                  <a:pt x="4195" y="2764"/>
                </a:lnTo>
                <a:lnTo>
                  <a:pt x="4195" y="2764"/>
                </a:lnTo>
                <a:lnTo>
                  <a:pt x="4190" y="2764"/>
                </a:lnTo>
                <a:lnTo>
                  <a:pt x="4190" y="2758"/>
                </a:lnTo>
                <a:lnTo>
                  <a:pt x="4190" y="2758"/>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90" y="2764"/>
                </a:lnTo>
                <a:lnTo>
                  <a:pt x="4184" y="2764"/>
                </a:lnTo>
                <a:lnTo>
                  <a:pt x="4184" y="2764"/>
                </a:lnTo>
                <a:lnTo>
                  <a:pt x="4184" y="2764"/>
                </a:lnTo>
                <a:lnTo>
                  <a:pt x="4184" y="2764"/>
                </a:lnTo>
                <a:lnTo>
                  <a:pt x="4184" y="2758"/>
                </a:lnTo>
                <a:lnTo>
                  <a:pt x="4184" y="2758"/>
                </a:lnTo>
                <a:lnTo>
                  <a:pt x="4184" y="2758"/>
                </a:lnTo>
                <a:lnTo>
                  <a:pt x="4184" y="2764"/>
                </a:lnTo>
                <a:lnTo>
                  <a:pt x="4184" y="2764"/>
                </a:lnTo>
                <a:lnTo>
                  <a:pt x="4184" y="2770"/>
                </a:lnTo>
                <a:lnTo>
                  <a:pt x="4184" y="2770"/>
                </a:lnTo>
                <a:lnTo>
                  <a:pt x="4190" y="2770"/>
                </a:lnTo>
                <a:lnTo>
                  <a:pt x="4190" y="2770"/>
                </a:lnTo>
                <a:lnTo>
                  <a:pt x="4190" y="2770"/>
                </a:lnTo>
                <a:lnTo>
                  <a:pt x="4190" y="2770"/>
                </a:lnTo>
                <a:lnTo>
                  <a:pt x="4195" y="2770"/>
                </a:lnTo>
                <a:lnTo>
                  <a:pt x="4195" y="2776"/>
                </a:lnTo>
                <a:lnTo>
                  <a:pt x="4201" y="2776"/>
                </a:lnTo>
                <a:lnTo>
                  <a:pt x="4201" y="2782"/>
                </a:lnTo>
                <a:lnTo>
                  <a:pt x="4201" y="2782"/>
                </a:lnTo>
                <a:lnTo>
                  <a:pt x="4201" y="2788"/>
                </a:lnTo>
                <a:lnTo>
                  <a:pt x="4201" y="2788"/>
                </a:lnTo>
                <a:lnTo>
                  <a:pt x="4201" y="2788"/>
                </a:lnTo>
                <a:lnTo>
                  <a:pt x="4201" y="2788"/>
                </a:lnTo>
                <a:lnTo>
                  <a:pt x="4201" y="2788"/>
                </a:lnTo>
                <a:lnTo>
                  <a:pt x="4201" y="2788"/>
                </a:lnTo>
                <a:lnTo>
                  <a:pt x="4201" y="2788"/>
                </a:lnTo>
                <a:lnTo>
                  <a:pt x="4201" y="2788"/>
                </a:lnTo>
                <a:lnTo>
                  <a:pt x="4201" y="2794"/>
                </a:lnTo>
                <a:lnTo>
                  <a:pt x="4201" y="2794"/>
                </a:lnTo>
                <a:lnTo>
                  <a:pt x="4207" y="2794"/>
                </a:lnTo>
                <a:lnTo>
                  <a:pt x="4207" y="2794"/>
                </a:lnTo>
                <a:lnTo>
                  <a:pt x="4207" y="2794"/>
                </a:lnTo>
                <a:lnTo>
                  <a:pt x="4207" y="2794"/>
                </a:lnTo>
                <a:lnTo>
                  <a:pt x="4207" y="2794"/>
                </a:lnTo>
                <a:lnTo>
                  <a:pt x="4207" y="2794"/>
                </a:lnTo>
                <a:lnTo>
                  <a:pt x="4207" y="2794"/>
                </a:lnTo>
                <a:lnTo>
                  <a:pt x="4207" y="2799"/>
                </a:lnTo>
                <a:lnTo>
                  <a:pt x="4207" y="2799"/>
                </a:lnTo>
                <a:lnTo>
                  <a:pt x="4207" y="2799"/>
                </a:lnTo>
                <a:lnTo>
                  <a:pt x="4207" y="2794"/>
                </a:lnTo>
                <a:lnTo>
                  <a:pt x="4207" y="2799"/>
                </a:lnTo>
                <a:lnTo>
                  <a:pt x="4207" y="2799"/>
                </a:lnTo>
                <a:lnTo>
                  <a:pt x="4207" y="2799"/>
                </a:lnTo>
                <a:lnTo>
                  <a:pt x="4207" y="2805"/>
                </a:lnTo>
                <a:lnTo>
                  <a:pt x="4207" y="2805"/>
                </a:lnTo>
                <a:lnTo>
                  <a:pt x="4207" y="2805"/>
                </a:lnTo>
                <a:lnTo>
                  <a:pt x="4213" y="2811"/>
                </a:lnTo>
                <a:lnTo>
                  <a:pt x="4219" y="2823"/>
                </a:lnTo>
                <a:lnTo>
                  <a:pt x="4219" y="2829"/>
                </a:lnTo>
                <a:lnTo>
                  <a:pt x="4219" y="2829"/>
                </a:lnTo>
                <a:lnTo>
                  <a:pt x="4219" y="2829"/>
                </a:lnTo>
                <a:lnTo>
                  <a:pt x="4219" y="2829"/>
                </a:lnTo>
                <a:lnTo>
                  <a:pt x="4219" y="2829"/>
                </a:lnTo>
                <a:lnTo>
                  <a:pt x="4219" y="2829"/>
                </a:lnTo>
                <a:lnTo>
                  <a:pt x="4219" y="2829"/>
                </a:lnTo>
                <a:lnTo>
                  <a:pt x="4219" y="2829"/>
                </a:lnTo>
                <a:lnTo>
                  <a:pt x="4219" y="2823"/>
                </a:lnTo>
                <a:lnTo>
                  <a:pt x="4219" y="2823"/>
                </a:lnTo>
                <a:lnTo>
                  <a:pt x="4219" y="2823"/>
                </a:lnTo>
                <a:lnTo>
                  <a:pt x="4225" y="2829"/>
                </a:lnTo>
                <a:lnTo>
                  <a:pt x="4225" y="2835"/>
                </a:lnTo>
                <a:lnTo>
                  <a:pt x="4225" y="2835"/>
                </a:lnTo>
                <a:lnTo>
                  <a:pt x="4225" y="2835"/>
                </a:lnTo>
                <a:lnTo>
                  <a:pt x="4231" y="2835"/>
                </a:lnTo>
                <a:lnTo>
                  <a:pt x="4231" y="2835"/>
                </a:lnTo>
                <a:lnTo>
                  <a:pt x="4231" y="2841"/>
                </a:lnTo>
                <a:lnTo>
                  <a:pt x="4231" y="2841"/>
                </a:lnTo>
                <a:lnTo>
                  <a:pt x="4231" y="2841"/>
                </a:lnTo>
                <a:lnTo>
                  <a:pt x="4231" y="2841"/>
                </a:lnTo>
                <a:lnTo>
                  <a:pt x="4231" y="2841"/>
                </a:lnTo>
                <a:lnTo>
                  <a:pt x="4231" y="2841"/>
                </a:lnTo>
                <a:lnTo>
                  <a:pt x="4231" y="2841"/>
                </a:lnTo>
                <a:lnTo>
                  <a:pt x="4231" y="2841"/>
                </a:lnTo>
                <a:lnTo>
                  <a:pt x="4237" y="2841"/>
                </a:lnTo>
                <a:lnTo>
                  <a:pt x="4237" y="2841"/>
                </a:lnTo>
                <a:lnTo>
                  <a:pt x="4237" y="2841"/>
                </a:lnTo>
                <a:lnTo>
                  <a:pt x="4237" y="2841"/>
                </a:lnTo>
                <a:lnTo>
                  <a:pt x="4237" y="2841"/>
                </a:lnTo>
                <a:lnTo>
                  <a:pt x="4237" y="2841"/>
                </a:lnTo>
                <a:lnTo>
                  <a:pt x="4237" y="2841"/>
                </a:lnTo>
                <a:lnTo>
                  <a:pt x="4237" y="2841"/>
                </a:lnTo>
                <a:lnTo>
                  <a:pt x="4237" y="2841"/>
                </a:lnTo>
                <a:lnTo>
                  <a:pt x="4237" y="2841"/>
                </a:lnTo>
                <a:lnTo>
                  <a:pt x="4237" y="2841"/>
                </a:lnTo>
                <a:lnTo>
                  <a:pt x="4237" y="2841"/>
                </a:lnTo>
                <a:lnTo>
                  <a:pt x="4237" y="2841"/>
                </a:lnTo>
                <a:lnTo>
                  <a:pt x="4243" y="2841"/>
                </a:lnTo>
                <a:lnTo>
                  <a:pt x="4243" y="2841"/>
                </a:lnTo>
                <a:lnTo>
                  <a:pt x="4243" y="2841"/>
                </a:lnTo>
                <a:lnTo>
                  <a:pt x="4243" y="2841"/>
                </a:lnTo>
                <a:lnTo>
                  <a:pt x="4243" y="2835"/>
                </a:lnTo>
                <a:lnTo>
                  <a:pt x="4237" y="2829"/>
                </a:lnTo>
                <a:lnTo>
                  <a:pt x="4237" y="2829"/>
                </a:lnTo>
                <a:lnTo>
                  <a:pt x="4237" y="2829"/>
                </a:lnTo>
                <a:lnTo>
                  <a:pt x="4237" y="2823"/>
                </a:lnTo>
                <a:lnTo>
                  <a:pt x="4237" y="2823"/>
                </a:lnTo>
                <a:lnTo>
                  <a:pt x="4237" y="2823"/>
                </a:lnTo>
                <a:lnTo>
                  <a:pt x="4231" y="2823"/>
                </a:lnTo>
                <a:lnTo>
                  <a:pt x="4231" y="2823"/>
                </a:lnTo>
                <a:lnTo>
                  <a:pt x="4231" y="2817"/>
                </a:lnTo>
                <a:lnTo>
                  <a:pt x="4231" y="2817"/>
                </a:lnTo>
                <a:lnTo>
                  <a:pt x="4231" y="2817"/>
                </a:lnTo>
                <a:lnTo>
                  <a:pt x="4231" y="2817"/>
                </a:lnTo>
                <a:lnTo>
                  <a:pt x="4231" y="2817"/>
                </a:lnTo>
                <a:lnTo>
                  <a:pt x="4231" y="2823"/>
                </a:lnTo>
                <a:lnTo>
                  <a:pt x="4237" y="2823"/>
                </a:lnTo>
                <a:lnTo>
                  <a:pt x="4237" y="2823"/>
                </a:lnTo>
                <a:lnTo>
                  <a:pt x="4237" y="2823"/>
                </a:lnTo>
                <a:lnTo>
                  <a:pt x="4237" y="2823"/>
                </a:lnTo>
                <a:lnTo>
                  <a:pt x="4237" y="2823"/>
                </a:lnTo>
                <a:lnTo>
                  <a:pt x="4237" y="2823"/>
                </a:lnTo>
                <a:lnTo>
                  <a:pt x="4237" y="2823"/>
                </a:lnTo>
                <a:lnTo>
                  <a:pt x="4237" y="2823"/>
                </a:lnTo>
                <a:lnTo>
                  <a:pt x="4243" y="2829"/>
                </a:lnTo>
                <a:lnTo>
                  <a:pt x="4243" y="2829"/>
                </a:lnTo>
                <a:lnTo>
                  <a:pt x="4243" y="2823"/>
                </a:lnTo>
                <a:lnTo>
                  <a:pt x="4243" y="2823"/>
                </a:lnTo>
                <a:lnTo>
                  <a:pt x="4243" y="2823"/>
                </a:lnTo>
                <a:lnTo>
                  <a:pt x="4243" y="2823"/>
                </a:lnTo>
                <a:lnTo>
                  <a:pt x="4243" y="2823"/>
                </a:lnTo>
                <a:lnTo>
                  <a:pt x="4243" y="2823"/>
                </a:lnTo>
                <a:lnTo>
                  <a:pt x="4249" y="2823"/>
                </a:lnTo>
                <a:lnTo>
                  <a:pt x="4249" y="2823"/>
                </a:lnTo>
                <a:lnTo>
                  <a:pt x="4249" y="2823"/>
                </a:lnTo>
                <a:lnTo>
                  <a:pt x="4255" y="2823"/>
                </a:lnTo>
                <a:lnTo>
                  <a:pt x="4255" y="2817"/>
                </a:lnTo>
                <a:lnTo>
                  <a:pt x="4255" y="2817"/>
                </a:lnTo>
                <a:lnTo>
                  <a:pt x="4261" y="2817"/>
                </a:lnTo>
                <a:lnTo>
                  <a:pt x="4255" y="2823"/>
                </a:lnTo>
                <a:lnTo>
                  <a:pt x="4255" y="2823"/>
                </a:lnTo>
                <a:lnTo>
                  <a:pt x="4255" y="2823"/>
                </a:lnTo>
                <a:lnTo>
                  <a:pt x="4255" y="2823"/>
                </a:lnTo>
                <a:lnTo>
                  <a:pt x="4255" y="2823"/>
                </a:lnTo>
                <a:lnTo>
                  <a:pt x="4255" y="2823"/>
                </a:lnTo>
                <a:lnTo>
                  <a:pt x="4249" y="2829"/>
                </a:lnTo>
                <a:lnTo>
                  <a:pt x="4249" y="2829"/>
                </a:lnTo>
                <a:lnTo>
                  <a:pt x="4249" y="2829"/>
                </a:lnTo>
                <a:lnTo>
                  <a:pt x="4249" y="2829"/>
                </a:lnTo>
                <a:lnTo>
                  <a:pt x="4249" y="2829"/>
                </a:lnTo>
                <a:lnTo>
                  <a:pt x="4249" y="2835"/>
                </a:lnTo>
                <a:lnTo>
                  <a:pt x="4249" y="2835"/>
                </a:lnTo>
                <a:lnTo>
                  <a:pt x="4249" y="2835"/>
                </a:lnTo>
                <a:lnTo>
                  <a:pt x="4249" y="2835"/>
                </a:lnTo>
                <a:lnTo>
                  <a:pt x="4249" y="2835"/>
                </a:lnTo>
                <a:lnTo>
                  <a:pt x="4249" y="2835"/>
                </a:lnTo>
                <a:lnTo>
                  <a:pt x="4249" y="2841"/>
                </a:lnTo>
                <a:lnTo>
                  <a:pt x="4249" y="2847"/>
                </a:lnTo>
                <a:lnTo>
                  <a:pt x="4249" y="2853"/>
                </a:lnTo>
                <a:lnTo>
                  <a:pt x="4249" y="2853"/>
                </a:lnTo>
                <a:lnTo>
                  <a:pt x="4249" y="2859"/>
                </a:lnTo>
                <a:lnTo>
                  <a:pt x="4249" y="2859"/>
                </a:lnTo>
                <a:lnTo>
                  <a:pt x="4249" y="2865"/>
                </a:lnTo>
                <a:lnTo>
                  <a:pt x="4249" y="2865"/>
                </a:lnTo>
                <a:lnTo>
                  <a:pt x="4249" y="2865"/>
                </a:lnTo>
                <a:lnTo>
                  <a:pt x="4249" y="2865"/>
                </a:lnTo>
                <a:lnTo>
                  <a:pt x="4249" y="2871"/>
                </a:lnTo>
                <a:lnTo>
                  <a:pt x="4255" y="2871"/>
                </a:lnTo>
                <a:lnTo>
                  <a:pt x="4255" y="2871"/>
                </a:lnTo>
                <a:lnTo>
                  <a:pt x="4255" y="2871"/>
                </a:lnTo>
                <a:lnTo>
                  <a:pt x="4255" y="2871"/>
                </a:lnTo>
                <a:lnTo>
                  <a:pt x="4255" y="2871"/>
                </a:lnTo>
                <a:lnTo>
                  <a:pt x="4255" y="2871"/>
                </a:lnTo>
                <a:lnTo>
                  <a:pt x="4255" y="2871"/>
                </a:lnTo>
                <a:lnTo>
                  <a:pt x="4261" y="2871"/>
                </a:lnTo>
                <a:lnTo>
                  <a:pt x="4261" y="2871"/>
                </a:lnTo>
                <a:lnTo>
                  <a:pt x="4261" y="2871"/>
                </a:lnTo>
                <a:lnTo>
                  <a:pt x="4267" y="2859"/>
                </a:lnTo>
                <a:lnTo>
                  <a:pt x="4267" y="2859"/>
                </a:lnTo>
                <a:lnTo>
                  <a:pt x="4267" y="2859"/>
                </a:lnTo>
                <a:lnTo>
                  <a:pt x="4267" y="2853"/>
                </a:lnTo>
                <a:lnTo>
                  <a:pt x="4267" y="2853"/>
                </a:lnTo>
                <a:lnTo>
                  <a:pt x="4273" y="2853"/>
                </a:lnTo>
                <a:lnTo>
                  <a:pt x="4273" y="2853"/>
                </a:lnTo>
                <a:lnTo>
                  <a:pt x="4273" y="2853"/>
                </a:lnTo>
                <a:lnTo>
                  <a:pt x="4278" y="2853"/>
                </a:lnTo>
                <a:lnTo>
                  <a:pt x="4278" y="2853"/>
                </a:lnTo>
                <a:lnTo>
                  <a:pt x="4278" y="2853"/>
                </a:lnTo>
                <a:lnTo>
                  <a:pt x="4278" y="2853"/>
                </a:lnTo>
                <a:lnTo>
                  <a:pt x="4278" y="2853"/>
                </a:lnTo>
                <a:lnTo>
                  <a:pt x="4278" y="2853"/>
                </a:lnTo>
                <a:lnTo>
                  <a:pt x="4273" y="2853"/>
                </a:lnTo>
                <a:lnTo>
                  <a:pt x="4273" y="2853"/>
                </a:lnTo>
                <a:lnTo>
                  <a:pt x="4273" y="2853"/>
                </a:lnTo>
                <a:lnTo>
                  <a:pt x="4273" y="2853"/>
                </a:lnTo>
                <a:lnTo>
                  <a:pt x="4273" y="2853"/>
                </a:lnTo>
                <a:lnTo>
                  <a:pt x="4273" y="2853"/>
                </a:lnTo>
                <a:lnTo>
                  <a:pt x="4273" y="2859"/>
                </a:lnTo>
                <a:lnTo>
                  <a:pt x="4267" y="2859"/>
                </a:lnTo>
                <a:lnTo>
                  <a:pt x="4267" y="2865"/>
                </a:lnTo>
                <a:lnTo>
                  <a:pt x="4267" y="2865"/>
                </a:lnTo>
                <a:lnTo>
                  <a:pt x="4267" y="2865"/>
                </a:lnTo>
                <a:lnTo>
                  <a:pt x="4267" y="2871"/>
                </a:lnTo>
                <a:lnTo>
                  <a:pt x="4261" y="2871"/>
                </a:lnTo>
                <a:lnTo>
                  <a:pt x="4261" y="2871"/>
                </a:lnTo>
                <a:lnTo>
                  <a:pt x="4261" y="2871"/>
                </a:lnTo>
                <a:lnTo>
                  <a:pt x="4261" y="2871"/>
                </a:lnTo>
                <a:lnTo>
                  <a:pt x="4261" y="2871"/>
                </a:lnTo>
                <a:lnTo>
                  <a:pt x="4261" y="2871"/>
                </a:lnTo>
                <a:lnTo>
                  <a:pt x="4255" y="2871"/>
                </a:lnTo>
                <a:lnTo>
                  <a:pt x="4255" y="2871"/>
                </a:lnTo>
                <a:lnTo>
                  <a:pt x="4255" y="2871"/>
                </a:lnTo>
                <a:lnTo>
                  <a:pt x="4255" y="2871"/>
                </a:lnTo>
                <a:lnTo>
                  <a:pt x="4255" y="2871"/>
                </a:lnTo>
                <a:lnTo>
                  <a:pt x="4255" y="2871"/>
                </a:lnTo>
                <a:lnTo>
                  <a:pt x="4255" y="2871"/>
                </a:lnTo>
                <a:lnTo>
                  <a:pt x="4255" y="2877"/>
                </a:lnTo>
                <a:lnTo>
                  <a:pt x="4255" y="2877"/>
                </a:lnTo>
                <a:lnTo>
                  <a:pt x="4255" y="2877"/>
                </a:lnTo>
                <a:lnTo>
                  <a:pt x="4255" y="2877"/>
                </a:lnTo>
                <a:lnTo>
                  <a:pt x="4255" y="2877"/>
                </a:lnTo>
                <a:lnTo>
                  <a:pt x="4255" y="2877"/>
                </a:lnTo>
                <a:lnTo>
                  <a:pt x="4255" y="2877"/>
                </a:lnTo>
                <a:lnTo>
                  <a:pt x="4261" y="2877"/>
                </a:lnTo>
                <a:lnTo>
                  <a:pt x="4261" y="2877"/>
                </a:lnTo>
                <a:lnTo>
                  <a:pt x="4261" y="2877"/>
                </a:lnTo>
                <a:lnTo>
                  <a:pt x="4267" y="2877"/>
                </a:lnTo>
                <a:lnTo>
                  <a:pt x="4267" y="2877"/>
                </a:lnTo>
                <a:lnTo>
                  <a:pt x="4267" y="2882"/>
                </a:lnTo>
                <a:lnTo>
                  <a:pt x="4267" y="2882"/>
                </a:lnTo>
                <a:lnTo>
                  <a:pt x="4267" y="2882"/>
                </a:lnTo>
                <a:lnTo>
                  <a:pt x="4267" y="2882"/>
                </a:lnTo>
                <a:lnTo>
                  <a:pt x="4267" y="2877"/>
                </a:lnTo>
                <a:lnTo>
                  <a:pt x="4267" y="2877"/>
                </a:lnTo>
                <a:lnTo>
                  <a:pt x="4267" y="2877"/>
                </a:lnTo>
                <a:lnTo>
                  <a:pt x="4267" y="2877"/>
                </a:lnTo>
                <a:lnTo>
                  <a:pt x="4273" y="2882"/>
                </a:lnTo>
                <a:lnTo>
                  <a:pt x="4273" y="2882"/>
                </a:lnTo>
                <a:lnTo>
                  <a:pt x="4273" y="2882"/>
                </a:lnTo>
                <a:lnTo>
                  <a:pt x="4273" y="2888"/>
                </a:lnTo>
                <a:lnTo>
                  <a:pt x="4273" y="2888"/>
                </a:lnTo>
                <a:lnTo>
                  <a:pt x="4273" y="2888"/>
                </a:lnTo>
                <a:lnTo>
                  <a:pt x="4273" y="2888"/>
                </a:lnTo>
                <a:lnTo>
                  <a:pt x="4273" y="2888"/>
                </a:lnTo>
                <a:lnTo>
                  <a:pt x="4273" y="2894"/>
                </a:lnTo>
                <a:lnTo>
                  <a:pt x="4273" y="2900"/>
                </a:lnTo>
                <a:lnTo>
                  <a:pt x="4273" y="2900"/>
                </a:lnTo>
                <a:lnTo>
                  <a:pt x="4273" y="2900"/>
                </a:lnTo>
                <a:lnTo>
                  <a:pt x="4273" y="2900"/>
                </a:lnTo>
                <a:lnTo>
                  <a:pt x="4273" y="2900"/>
                </a:lnTo>
                <a:lnTo>
                  <a:pt x="4273" y="2900"/>
                </a:lnTo>
                <a:lnTo>
                  <a:pt x="4273" y="2900"/>
                </a:lnTo>
                <a:lnTo>
                  <a:pt x="4273" y="2912"/>
                </a:lnTo>
                <a:lnTo>
                  <a:pt x="4273" y="2912"/>
                </a:lnTo>
                <a:lnTo>
                  <a:pt x="4278" y="2918"/>
                </a:lnTo>
                <a:lnTo>
                  <a:pt x="4278" y="2918"/>
                </a:lnTo>
                <a:lnTo>
                  <a:pt x="4278" y="2918"/>
                </a:lnTo>
                <a:lnTo>
                  <a:pt x="4278" y="2918"/>
                </a:lnTo>
                <a:lnTo>
                  <a:pt x="4278" y="2918"/>
                </a:lnTo>
                <a:lnTo>
                  <a:pt x="4278" y="2918"/>
                </a:lnTo>
                <a:lnTo>
                  <a:pt x="4278" y="2918"/>
                </a:lnTo>
                <a:lnTo>
                  <a:pt x="4278" y="2912"/>
                </a:lnTo>
                <a:lnTo>
                  <a:pt x="4278" y="2912"/>
                </a:lnTo>
                <a:lnTo>
                  <a:pt x="4278" y="2924"/>
                </a:lnTo>
                <a:lnTo>
                  <a:pt x="4278" y="2924"/>
                </a:lnTo>
                <a:lnTo>
                  <a:pt x="4284" y="2930"/>
                </a:lnTo>
                <a:lnTo>
                  <a:pt x="4284" y="2930"/>
                </a:lnTo>
                <a:lnTo>
                  <a:pt x="4284" y="2930"/>
                </a:lnTo>
                <a:lnTo>
                  <a:pt x="4284" y="2930"/>
                </a:lnTo>
                <a:lnTo>
                  <a:pt x="4284" y="2930"/>
                </a:lnTo>
                <a:lnTo>
                  <a:pt x="4284" y="2930"/>
                </a:lnTo>
                <a:lnTo>
                  <a:pt x="4284" y="2930"/>
                </a:lnTo>
                <a:lnTo>
                  <a:pt x="4284" y="2930"/>
                </a:lnTo>
                <a:lnTo>
                  <a:pt x="4290" y="2930"/>
                </a:lnTo>
                <a:lnTo>
                  <a:pt x="4290" y="2930"/>
                </a:lnTo>
                <a:lnTo>
                  <a:pt x="4290" y="2930"/>
                </a:lnTo>
                <a:lnTo>
                  <a:pt x="4290" y="2936"/>
                </a:lnTo>
                <a:lnTo>
                  <a:pt x="4290" y="2936"/>
                </a:lnTo>
                <a:lnTo>
                  <a:pt x="4284" y="2936"/>
                </a:lnTo>
                <a:lnTo>
                  <a:pt x="4284" y="2936"/>
                </a:lnTo>
                <a:lnTo>
                  <a:pt x="4284" y="2936"/>
                </a:lnTo>
                <a:lnTo>
                  <a:pt x="4284" y="2936"/>
                </a:lnTo>
                <a:lnTo>
                  <a:pt x="4284" y="2936"/>
                </a:lnTo>
                <a:lnTo>
                  <a:pt x="4284" y="2936"/>
                </a:lnTo>
                <a:lnTo>
                  <a:pt x="4284" y="2936"/>
                </a:lnTo>
                <a:lnTo>
                  <a:pt x="4284" y="2936"/>
                </a:lnTo>
                <a:lnTo>
                  <a:pt x="4284" y="2936"/>
                </a:lnTo>
                <a:lnTo>
                  <a:pt x="4284" y="2936"/>
                </a:lnTo>
                <a:lnTo>
                  <a:pt x="4284" y="2936"/>
                </a:lnTo>
                <a:lnTo>
                  <a:pt x="4284" y="2942"/>
                </a:lnTo>
                <a:lnTo>
                  <a:pt x="4284" y="2942"/>
                </a:lnTo>
                <a:lnTo>
                  <a:pt x="4284" y="2942"/>
                </a:lnTo>
                <a:lnTo>
                  <a:pt x="4284" y="2942"/>
                </a:lnTo>
                <a:lnTo>
                  <a:pt x="4284" y="2942"/>
                </a:lnTo>
                <a:lnTo>
                  <a:pt x="4284" y="2942"/>
                </a:lnTo>
                <a:lnTo>
                  <a:pt x="4284" y="2942"/>
                </a:lnTo>
                <a:lnTo>
                  <a:pt x="4284" y="2942"/>
                </a:lnTo>
                <a:lnTo>
                  <a:pt x="4284" y="2942"/>
                </a:lnTo>
                <a:lnTo>
                  <a:pt x="4284" y="2942"/>
                </a:lnTo>
                <a:lnTo>
                  <a:pt x="4284" y="2942"/>
                </a:lnTo>
                <a:lnTo>
                  <a:pt x="4284" y="2936"/>
                </a:lnTo>
                <a:lnTo>
                  <a:pt x="4284" y="2936"/>
                </a:lnTo>
                <a:lnTo>
                  <a:pt x="4284" y="2936"/>
                </a:lnTo>
                <a:lnTo>
                  <a:pt x="4284" y="2936"/>
                </a:lnTo>
                <a:lnTo>
                  <a:pt x="4284" y="2936"/>
                </a:lnTo>
                <a:lnTo>
                  <a:pt x="4290" y="2936"/>
                </a:lnTo>
                <a:lnTo>
                  <a:pt x="4290" y="2942"/>
                </a:lnTo>
                <a:lnTo>
                  <a:pt x="4290" y="2936"/>
                </a:lnTo>
                <a:lnTo>
                  <a:pt x="4290" y="2936"/>
                </a:lnTo>
                <a:lnTo>
                  <a:pt x="4290" y="2936"/>
                </a:lnTo>
                <a:lnTo>
                  <a:pt x="4296" y="2936"/>
                </a:lnTo>
                <a:lnTo>
                  <a:pt x="4296" y="2936"/>
                </a:lnTo>
                <a:lnTo>
                  <a:pt x="4296" y="2936"/>
                </a:lnTo>
                <a:lnTo>
                  <a:pt x="4296" y="2936"/>
                </a:lnTo>
                <a:lnTo>
                  <a:pt x="4296" y="2936"/>
                </a:lnTo>
                <a:lnTo>
                  <a:pt x="4296" y="2936"/>
                </a:lnTo>
                <a:lnTo>
                  <a:pt x="4296" y="2936"/>
                </a:lnTo>
                <a:lnTo>
                  <a:pt x="4296" y="2936"/>
                </a:lnTo>
                <a:lnTo>
                  <a:pt x="4296" y="2936"/>
                </a:lnTo>
                <a:lnTo>
                  <a:pt x="4296" y="2936"/>
                </a:lnTo>
                <a:lnTo>
                  <a:pt x="4296" y="2942"/>
                </a:lnTo>
                <a:lnTo>
                  <a:pt x="4296" y="2942"/>
                </a:lnTo>
                <a:lnTo>
                  <a:pt x="4296" y="2942"/>
                </a:lnTo>
                <a:lnTo>
                  <a:pt x="4296" y="2942"/>
                </a:lnTo>
                <a:lnTo>
                  <a:pt x="4296" y="2942"/>
                </a:lnTo>
                <a:lnTo>
                  <a:pt x="4296" y="2942"/>
                </a:lnTo>
                <a:lnTo>
                  <a:pt x="4296" y="2942"/>
                </a:lnTo>
                <a:lnTo>
                  <a:pt x="4296" y="2942"/>
                </a:lnTo>
                <a:lnTo>
                  <a:pt x="4296" y="2942"/>
                </a:lnTo>
                <a:lnTo>
                  <a:pt x="4302" y="2936"/>
                </a:lnTo>
                <a:lnTo>
                  <a:pt x="4302" y="2942"/>
                </a:lnTo>
                <a:lnTo>
                  <a:pt x="4302" y="2942"/>
                </a:lnTo>
                <a:lnTo>
                  <a:pt x="4302" y="2942"/>
                </a:lnTo>
                <a:lnTo>
                  <a:pt x="4302" y="2942"/>
                </a:lnTo>
                <a:lnTo>
                  <a:pt x="4302" y="2942"/>
                </a:lnTo>
                <a:lnTo>
                  <a:pt x="4302" y="2942"/>
                </a:lnTo>
                <a:lnTo>
                  <a:pt x="4308" y="2942"/>
                </a:lnTo>
                <a:lnTo>
                  <a:pt x="4308" y="2942"/>
                </a:lnTo>
                <a:lnTo>
                  <a:pt x="4308" y="2942"/>
                </a:lnTo>
                <a:lnTo>
                  <a:pt x="4308" y="2942"/>
                </a:lnTo>
                <a:lnTo>
                  <a:pt x="4308" y="2942"/>
                </a:lnTo>
                <a:lnTo>
                  <a:pt x="4308" y="2942"/>
                </a:lnTo>
                <a:lnTo>
                  <a:pt x="4314" y="2948"/>
                </a:lnTo>
                <a:lnTo>
                  <a:pt x="4314" y="2948"/>
                </a:lnTo>
                <a:lnTo>
                  <a:pt x="4314" y="2948"/>
                </a:lnTo>
                <a:lnTo>
                  <a:pt x="4320" y="2948"/>
                </a:lnTo>
                <a:lnTo>
                  <a:pt x="4320" y="2948"/>
                </a:lnTo>
                <a:lnTo>
                  <a:pt x="4320" y="2954"/>
                </a:lnTo>
                <a:lnTo>
                  <a:pt x="4320" y="2954"/>
                </a:lnTo>
                <a:lnTo>
                  <a:pt x="4320" y="2954"/>
                </a:lnTo>
                <a:lnTo>
                  <a:pt x="4326" y="2954"/>
                </a:lnTo>
                <a:lnTo>
                  <a:pt x="4320" y="2954"/>
                </a:lnTo>
                <a:lnTo>
                  <a:pt x="4320" y="2960"/>
                </a:lnTo>
                <a:lnTo>
                  <a:pt x="4320" y="2960"/>
                </a:lnTo>
                <a:lnTo>
                  <a:pt x="4320" y="2960"/>
                </a:lnTo>
                <a:lnTo>
                  <a:pt x="4320" y="2960"/>
                </a:lnTo>
                <a:lnTo>
                  <a:pt x="4320" y="2960"/>
                </a:lnTo>
                <a:lnTo>
                  <a:pt x="4326" y="2960"/>
                </a:lnTo>
                <a:lnTo>
                  <a:pt x="4326" y="2960"/>
                </a:lnTo>
                <a:lnTo>
                  <a:pt x="4326" y="2966"/>
                </a:lnTo>
                <a:lnTo>
                  <a:pt x="4326" y="2966"/>
                </a:lnTo>
                <a:lnTo>
                  <a:pt x="4326" y="2966"/>
                </a:lnTo>
                <a:lnTo>
                  <a:pt x="4326" y="2966"/>
                </a:lnTo>
                <a:lnTo>
                  <a:pt x="4332" y="2966"/>
                </a:lnTo>
                <a:lnTo>
                  <a:pt x="4332" y="2966"/>
                </a:lnTo>
                <a:lnTo>
                  <a:pt x="4332" y="2971"/>
                </a:lnTo>
                <a:lnTo>
                  <a:pt x="4332" y="2977"/>
                </a:lnTo>
                <a:lnTo>
                  <a:pt x="4332" y="2977"/>
                </a:lnTo>
                <a:lnTo>
                  <a:pt x="4332" y="2977"/>
                </a:lnTo>
                <a:lnTo>
                  <a:pt x="4332" y="2977"/>
                </a:lnTo>
                <a:lnTo>
                  <a:pt x="4338" y="2977"/>
                </a:lnTo>
                <a:lnTo>
                  <a:pt x="4338" y="2977"/>
                </a:lnTo>
                <a:lnTo>
                  <a:pt x="4338" y="2977"/>
                </a:lnTo>
                <a:lnTo>
                  <a:pt x="4338" y="2977"/>
                </a:lnTo>
                <a:lnTo>
                  <a:pt x="4338" y="2977"/>
                </a:lnTo>
                <a:lnTo>
                  <a:pt x="4338" y="2983"/>
                </a:lnTo>
                <a:lnTo>
                  <a:pt x="4338" y="2983"/>
                </a:lnTo>
                <a:lnTo>
                  <a:pt x="4332" y="2983"/>
                </a:lnTo>
                <a:lnTo>
                  <a:pt x="4338" y="2983"/>
                </a:lnTo>
                <a:lnTo>
                  <a:pt x="4338" y="2989"/>
                </a:lnTo>
                <a:lnTo>
                  <a:pt x="4338" y="2989"/>
                </a:lnTo>
                <a:lnTo>
                  <a:pt x="4338" y="2995"/>
                </a:lnTo>
                <a:lnTo>
                  <a:pt x="4338" y="2995"/>
                </a:lnTo>
                <a:lnTo>
                  <a:pt x="4338" y="2995"/>
                </a:lnTo>
                <a:lnTo>
                  <a:pt x="4338" y="2995"/>
                </a:lnTo>
                <a:lnTo>
                  <a:pt x="4338" y="2995"/>
                </a:lnTo>
                <a:lnTo>
                  <a:pt x="4344" y="2995"/>
                </a:lnTo>
                <a:lnTo>
                  <a:pt x="4344" y="2995"/>
                </a:lnTo>
                <a:lnTo>
                  <a:pt x="4344" y="3001"/>
                </a:lnTo>
                <a:lnTo>
                  <a:pt x="4344" y="3001"/>
                </a:lnTo>
                <a:lnTo>
                  <a:pt x="4350" y="3001"/>
                </a:lnTo>
                <a:lnTo>
                  <a:pt x="4350" y="3001"/>
                </a:lnTo>
                <a:lnTo>
                  <a:pt x="4350" y="3001"/>
                </a:lnTo>
                <a:lnTo>
                  <a:pt x="4355" y="3007"/>
                </a:lnTo>
                <a:lnTo>
                  <a:pt x="4355" y="3007"/>
                </a:lnTo>
                <a:lnTo>
                  <a:pt x="4355" y="3007"/>
                </a:lnTo>
                <a:lnTo>
                  <a:pt x="4355" y="3007"/>
                </a:lnTo>
                <a:lnTo>
                  <a:pt x="4361" y="3013"/>
                </a:lnTo>
                <a:lnTo>
                  <a:pt x="4361" y="3013"/>
                </a:lnTo>
                <a:lnTo>
                  <a:pt x="4361" y="3013"/>
                </a:lnTo>
                <a:lnTo>
                  <a:pt x="4361" y="3013"/>
                </a:lnTo>
                <a:lnTo>
                  <a:pt x="4361" y="3013"/>
                </a:lnTo>
                <a:lnTo>
                  <a:pt x="4361" y="3019"/>
                </a:lnTo>
                <a:lnTo>
                  <a:pt x="4361" y="3019"/>
                </a:lnTo>
                <a:lnTo>
                  <a:pt x="4361" y="3019"/>
                </a:lnTo>
                <a:lnTo>
                  <a:pt x="4361" y="3019"/>
                </a:lnTo>
                <a:lnTo>
                  <a:pt x="4355" y="3019"/>
                </a:lnTo>
                <a:lnTo>
                  <a:pt x="4355" y="3019"/>
                </a:lnTo>
                <a:lnTo>
                  <a:pt x="4355" y="3019"/>
                </a:lnTo>
                <a:lnTo>
                  <a:pt x="4355" y="3013"/>
                </a:lnTo>
                <a:lnTo>
                  <a:pt x="4355" y="3013"/>
                </a:lnTo>
                <a:lnTo>
                  <a:pt x="4355" y="3013"/>
                </a:lnTo>
                <a:lnTo>
                  <a:pt x="4355" y="3013"/>
                </a:lnTo>
                <a:lnTo>
                  <a:pt x="4355" y="3013"/>
                </a:lnTo>
                <a:lnTo>
                  <a:pt x="4355" y="3013"/>
                </a:lnTo>
                <a:lnTo>
                  <a:pt x="4350" y="3013"/>
                </a:lnTo>
                <a:lnTo>
                  <a:pt x="4350" y="3013"/>
                </a:lnTo>
                <a:lnTo>
                  <a:pt x="4350" y="3013"/>
                </a:lnTo>
                <a:lnTo>
                  <a:pt x="4344" y="3007"/>
                </a:lnTo>
                <a:lnTo>
                  <a:pt x="4344" y="3007"/>
                </a:lnTo>
                <a:lnTo>
                  <a:pt x="4344" y="3007"/>
                </a:lnTo>
                <a:lnTo>
                  <a:pt x="4344" y="3007"/>
                </a:lnTo>
                <a:lnTo>
                  <a:pt x="4344" y="3001"/>
                </a:lnTo>
                <a:lnTo>
                  <a:pt x="4344" y="3001"/>
                </a:lnTo>
                <a:lnTo>
                  <a:pt x="4344" y="3001"/>
                </a:lnTo>
                <a:lnTo>
                  <a:pt x="4338" y="3001"/>
                </a:lnTo>
                <a:lnTo>
                  <a:pt x="4338" y="3007"/>
                </a:lnTo>
                <a:lnTo>
                  <a:pt x="4338" y="3013"/>
                </a:lnTo>
                <a:lnTo>
                  <a:pt x="4338" y="3013"/>
                </a:lnTo>
                <a:lnTo>
                  <a:pt x="4338" y="3019"/>
                </a:lnTo>
                <a:lnTo>
                  <a:pt x="4338" y="3019"/>
                </a:lnTo>
                <a:lnTo>
                  <a:pt x="4338" y="3019"/>
                </a:lnTo>
                <a:lnTo>
                  <a:pt x="4338" y="3025"/>
                </a:lnTo>
                <a:lnTo>
                  <a:pt x="4344" y="3025"/>
                </a:lnTo>
                <a:lnTo>
                  <a:pt x="4350" y="3025"/>
                </a:lnTo>
                <a:lnTo>
                  <a:pt x="4350" y="3025"/>
                </a:lnTo>
                <a:lnTo>
                  <a:pt x="4355" y="3025"/>
                </a:lnTo>
                <a:lnTo>
                  <a:pt x="4355" y="3025"/>
                </a:lnTo>
                <a:lnTo>
                  <a:pt x="4355" y="3025"/>
                </a:lnTo>
                <a:lnTo>
                  <a:pt x="4361" y="3025"/>
                </a:lnTo>
                <a:lnTo>
                  <a:pt x="4361" y="3025"/>
                </a:lnTo>
                <a:lnTo>
                  <a:pt x="4361" y="3025"/>
                </a:lnTo>
                <a:lnTo>
                  <a:pt x="4367" y="3025"/>
                </a:lnTo>
                <a:lnTo>
                  <a:pt x="4367" y="3019"/>
                </a:lnTo>
                <a:lnTo>
                  <a:pt x="4367" y="3019"/>
                </a:lnTo>
                <a:lnTo>
                  <a:pt x="4367" y="3019"/>
                </a:lnTo>
                <a:lnTo>
                  <a:pt x="4367" y="3019"/>
                </a:lnTo>
                <a:lnTo>
                  <a:pt x="4367" y="3019"/>
                </a:lnTo>
                <a:lnTo>
                  <a:pt x="4367" y="3019"/>
                </a:lnTo>
                <a:lnTo>
                  <a:pt x="4373" y="3019"/>
                </a:lnTo>
                <a:lnTo>
                  <a:pt x="4373" y="3019"/>
                </a:lnTo>
                <a:lnTo>
                  <a:pt x="4373" y="3019"/>
                </a:lnTo>
                <a:lnTo>
                  <a:pt x="4373" y="3025"/>
                </a:lnTo>
                <a:lnTo>
                  <a:pt x="4373" y="3025"/>
                </a:lnTo>
                <a:lnTo>
                  <a:pt x="4373" y="3025"/>
                </a:lnTo>
                <a:lnTo>
                  <a:pt x="4373" y="3025"/>
                </a:lnTo>
                <a:lnTo>
                  <a:pt x="4373" y="3025"/>
                </a:lnTo>
                <a:lnTo>
                  <a:pt x="4373" y="3025"/>
                </a:lnTo>
                <a:lnTo>
                  <a:pt x="4373"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79" y="3025"/>
                </a:lnTo>
                <a:lnTo>
                  <a:pt x="4385" y="3025"/>
                </a:lnTo>
                <a:lnTo>
                  <a:pt x="4385" y="3025"/>
                </a:lnTo>
                <a:lnTo>
                  <a:pt x="4385" y="3025"/>
                </a:lnTo>
                <a:lnTo>
                  <a:pt x="4385" y="3019"/>
                </a:lnTo>
                <a:lnTo>
                  <a:pt x="4391" y="3025"/>
                </a:lnTo>
                <a:lnTo>
                  <a:pt x="4391" y="3025"/>
                </a:lnTo>
                <a:lnTo>
                  <a:pt x="4391" y="3019"/>
                </a:lnTo>
                <a:lnTo>
                  <a:pt x="4391" y="3019"/>
                </a:lnTo>
                <a:lnTo>
                  <a:pt x="4391" y="3019"/>
                </a:lnTo>
                <a:lnTo>
                  <a:pt x="4391" y="3019"/>
                </a:lnTo>
                <a:lnTo>
                  <a:pt x="4391" y="3019"/>
                </a:lnTo>
                <a:lnTo>
                  <a:pt x="4391" y="3019"/>
                </a:lnTo>
                <a:lnTo>
                  <a:pt x="4391" y="3019"/>
                </a:lnTo>
                <a:lnTo>
                  <a:pt x="4391" y="3019"/>
                </a:lnTo>
                <a:lnTo>
                  <a:pt x="4391" y="3019"/>
                </a:lnTo>
                <a:lnTo>
                  <a:pt x="4391" y="3019"/>
                </a:lnTo>
                <a:lnTo>
                  <a:pt x="4391" y="3019"/>
                </a:lnTo>
                <a:lnTo>
                  <a:pt x="4391" y="3019"/>
                </a:lnTo>
                <a:lnTo>
                  <a:pt x="4397" y="3019"/>
                </a:lnTo>
                <a:lnTo>
                  <a:pt x="4397" y="3019"/>
                </a:lnTo>
                <a:lnTo>
                  <a:pt x="4397" y="3019"/>
                </a:lnTo>
                <a:lnTo>
                  <a:pt x="4397" y="3019"/>
                </a:lnTo>
                <a:lnTo>
                  <a:pt x="4397" y="3013"/>
                </a:lnTo>
                <a:lnTo>
                  <a:pt x="4397" y="3013"/>
                </a:lnTo>
                <a:lnTo>
                  <a:pt x="4397" y="3013"/>
                </a:lnTo>
                <a:lnTo>
                  <a:pt x="4397" y="3013"/>
                </a:lnTo>
                <a:lnTo>
                  <a:pt x="4403" y="3013"/>
                </a:lnTo>
                <a:lnTo>
                  <a:pt x="4403" y="3013"/>
                </a:lnTo>
                <a:lnTo>
                  <a:pt x="4403" y="3013"/>
                </a:lnTo>
                <a:lnTo>
                  <a:pt x="4403" y="3013"/>
                </a:lnTo>
                <a:lnTo>
                  <a:pt x="4403" y="3013"/>
                </a:lnTo>
                <a:lnTo>
                  <a:pt x="4403" y="3013"/>
                </a:lnTo>
                <a:lnTo>
                  <a:pt x="4403" y="3013"/>
                </a:lnTo>
                <a:lnTo>
                  <a:pt x="4403" y="3013"/>
                </a:lnTo>
                <a:lnTo>
                  <a:pt x="4403" y="3013"/>
                </a:lnTo>
                <a:lnTo>
                  <a:pt x="4403" y="3013"/>
                </a:lnTo>
                <a:lnTo>
                  <a:pt x="4403" y="3013"/>
                </a:lnTo>
                <a:lnTo>
                  <a:pt x="4403" y="3013"/>
                </a:lnTo>
                <a:lnTo>
                  <a:pt x="4403" y="3019"/>
                </a:lnTo>
                <a:lnTo>
                  <a:pt x="4403" y="3019"/>
                </a:lnTo>
                <a:lnTo>
                  <a:pt x="4403" y="3019"/>
                </a:lnTo>
                <a:lnTo>
                  <a:pt x="4403" y="3019"/>
                </a:lnTo>
                <a:lnTo>
                  <a:pt x="4403" y="3019"/>
                </a:lnTo>
                <a:lnTo>
                  <a:pt x="4403" y="3019"/>
                </a:lnTo>
                <a:lnTo>
                  <a:pt x="4403" y="3019"/>
                </a:lnTo>
                <a:lnTo>
                  <a:pt x="4403" y="3019"/>
                </a:lnTo>
                <a:lnTo>
                  <a:pt x="4403" y="3019"/>
                </a:lnTo>
                <a:lnTo>
                  <a:pt x="4409" y="3019"/>
                </a:lnTo>
                <a:lnTo>
                  <a:pt x="4409" y="3019"/>
                </a:lnTo>
                <a:lnTo>
                  <a:pt x="4409" y="3019"/>
                </a:lnTo>
                <a:lnTo>
                  <a:pt x="4409" y="3019"/>
                </a:lnTo>
                <a:lnTo>
                  <a:pt x="4409" y="3019"/>
                </a:lnTo>
                <a:lnTo>
                  <a:pt x="4409" y="3019"/>
                </a:lnTo>
                <a:lnTo>
                  <a:pt x="4409" y="3019"/>
                </a:lnTo>
                <a:lnTo>
                  <a:pt x="4409" y="3019"/>
                </a:lnTo>
                <a:lnTo>
                  <a:pt x="4409" y="3019"/>
                </a:lnTo>
                <a:lnTo>
                  <a:pt x="4409" y="3019"/>
                </a:lnTo>
                <a:lnTo>
                  <a:pt x="4403" y="3019"/>
                </a:lnTo>
                <a:lnTo>
                  <a:pt x="4409" y="3013"/>
                </a:lnTo>
                <a:lnTo>
                  <a:pt x="4409" y="3013"/>
                </a:lnTo>
                <a:lnTo>
                  <a:pt x="4409" y="3013"/>
                </a:lnTo>
                <a:lnTo>
                  <a:pt x="4409" y="3013"/>
                </a:lnTo>
                <a:lnTo>
                  <a:pt x="4409" y="3013"/>
                </a:lnTo>
                <a:lnTo>
                  <a:pt x="4409" y="3013"/>
                </a:lnTo>
                <a:lnTo>
                  <a:pt x="4409" y="3013"/>
                </a:lnTo>
                <a:lnTo>
                  <a:pt x="4409" y="3013"/>
                </a:lnTo>
                <a:lnTo>
                  <a:pt x="4415" y="3019"/>
                </a:lnTo>
                <a:lnTo>
                  <a:pt x="4415" y="3019"/>
                </a:lnTo>
                <a:lnTo>
                  <a:pt x="4415" y="3019"/>
                </a:lnTo>
                <a:lnTo>
                  <a:pt x="4415" y="3019"/>
                </a:lnTo>
                <a:lnTo>
                  <a:pt x="4415" y="3019"/>
                </a:lnTo>
                <a:lnTo>
                  <a:pt x="4415" y="3019"/>
                </a:lnTo>
                <a:lnTo>
                  <a:pt x="4415" y="3013"/>
                </a:lnTo>
                <a:lnTo>
                  <a:pt x="4415" y="3013"/>
                </a:lnTo>
                <a:lnTo>
                  <a:pt x="4415" y="3013"/>
                </a:lnTo>
                <a:lnTo>
                  <a:pt x="4415" y="3013"/>
                </a:lnTo>
                <a:lnTo>
                  <a:pt x="4415" y="3013"/>
                </a:lnTo>
                <a:lnTo>
                  <a:pt x="4415" y="3007"/>
                </a:lnTo>
                <a:lnTo>
                  <a:pt x="4415" y="3007"/>
                </a:lnTo>
                <a:lnTo>
                  <a:pt x="4415" y="3007"/>
                </a:lnTo>
                <a:lnTo>
                  <a:pt x="4415" y="3007"/>
                </a:lnTo>
                <a:lnTo>
                  <a:pt x="4421" y="3001"/>
                </a:lnTo>
                <a:lnTo>
                  <a:pt x="4421" y="3001"/>
                </a:lnTo>
                <a:lnTo>
                  <a:pt x="4427" y="3001"/>
                </a:lnTo>
                <a:lnTo>
                  <a:pt x="4427" y="3001"/>
                </a:lnTo>
                <a:lnTo>
                  <a:pt x="4427" y="2995"/>
                </a:lnTo>
                <a:lnTo>
                  <a:pt x="4421" y="2995"/>
                </a:lnTo>
                <a:lnTo>
                  <a:pt x="4421" y="2995"/>
                </a:lnTo>
                <a:lnTo>
                  <a:pt x="4421" y="2995"/>
                </a:lnTo>
                <a:lnTo>
                  <a:pt x="4421" y="2995"/>
                </a:lnTo>
                <a:lnTo>
                  <a:pt x="4421" y="2989"/>
                </a:lnTo>
                <a:lnTo>
                  <a:pt x="4421" y="2989"/>
                </a:lnTo>
                <a:lnTo>
                  <a:pt x="4421" y="2989"/>
                </a:lnTo>
                <a:lnTo>
                  <a:pt x="4421" y="2989"/>
                </a:lnTo>
                <a:lnTo>
                  <a:pt x="4421" y="2989"/>
                </a:lnTo>
                <a:lnTo>
                  <a:pt x="4421" y="2989"/>
                </a:lnTo>
                <a:lnTo>
                  <a:pt x="4421" y="2989"/>
                </a:lnTo>
                <a:lnTo>
                  <a:pt x="4421" y="2983"/>
                </a:lnTo>
                <a:lnTo>
                  <a:pt x="4421" y="2983"/>
                </a:lnTo>
                <a:lnTo>
                  <a:pt x="4421" y="2983"/>
                </a:lnTo>
                <a:lnTo>
                  <a:pt x="4421" y="2983"/>
                </a:lnTo>
                <a:lnTo>
                  <a:pt x="4421" y="2983"/>
                </a:lnTo>
                <a:lnTo>
                  <a:pt x="4427" y="2977"/>
                </a:lnTo>
                <a:lnTo>
                  <a:pt x="4427" y="2977"/>
                </a:lnTo>
                <a:lnTo>
                  <a:pt x="4427" y="2977"/>
                </a:lnTo>
                <a:lnTo>
                  <a:pt x="4427" y="2971"/>
                </a:lnTo>
                <a:lnTo>
                  <a:pt x="4427" y="2971"/>
                </a:lnTo>
                <a:lnTo>
                  <a:pt x="4427" y="2971"/>
                </a:lnTo>
                <a:lnTo>
                  <a:pt x="4427" y="2966"/>
                </a:lnTo>
                <a:lnTo>
                  <a:pt x="4427" y="2966"/>
                </a:lnTo>
                <a:lnTo>
                  <a:pt x="4433" y="2960"/>
                </a:lnTo>
                <a:lnTo>
                  <a:pt x="4433" y="2960"/>
                </a:lnTo>
                <a:lnTo>
                  <a:pt x="4433" y="2960"/>
                </a:lnTo>
                <a:lnTo>
                  <a:pt x="4433" y="2960"/>
                </a:lnTo>
                <a:lnTo>
                  <a:pt x="4433" y="2960"/>
                </a:lnTo>
                <a:lnTo>
                  <a:pt x="4433" y="2960"/>
                </a:lnTo>
                <a:lnTo>
                  <a:pt x="4433" y="2960"/>
                </a:lnTo>
                <a:lnTo>
                  <a:pt x="4433" y="2960"/>
                </a:lnTo>
                <a:lnTo>
                  <a:pt x="4433" y="2960"/>
                </a:lnTo>
                <a:lnTo>
                  <a:pt x="4438" y="2954"/>
                </a:lnTo>
                <a:lnTo>
                  <a:pt x="4438" y="2948"/>
                </a:lnTo>
                <a:lnTo>
                  <a:pt x="4438" y="2948"/>
                </a:lnTo>
                <a:lnTo>
                  <a:pt x="4438" y="2942"/>
                </a:lnTo>
                <a:lnTo>
                  <a:pt x="4438" y="2942"/>
                </a:lnTo>
                <a:lnTo>
                  <a:pt x="4444" y="2942"/>
                </a:lnTo>
                <a:lnTo>
                  <a:pt x="4444" y="2942"/>
                </a:lnTo>
                <a:lnTo>
                  <a:pt x="4444" y="2948"/>
                </a:lnTo>
                <a:lnTo>
                  <a:pt x="4444" y="2948"/>
                </a:lnTo>
                <a:lnTo>
                  <a:pt x="4444" y="2954"/>
                </a:lnTo>
                <a:lnTo>
                  <a:pt x="4444" y="2954"/>
                </a:lnTo>
                <a:lnTo>
                  <a:pt x="4444" y="2924"/>
                </a:lnTo>
                <a:lnTo>
                  <a:pt x="4444" y="2918"/>
                </a:lnTo>
                <a:lnTo>
                  <a:pt x="4444" y="2918"/>
                </a:lnTo>
                <a:lnTo>
                  <a:pt x="4444" y="2918"/>
                </a:lnTo>
                <a:lnTo>
                  <a:pt x="4444" y="2912"/>
                </a:lnTo>
                <a:lnTo>
                  <a:pt x="4444" y="2906"/>
                </a:lnTo>
                <a:lnTo>
                  <a:pt x="4444" y="2900"/>
                </a:lnTo>
                <a:lnTo>
                  <a:pt x="4444" y="2894"/>
                </a:lnTo>
                <a:lnTo>
                  <a:pt x="4444" y="2894"/>
                </a:lnTo>
                <a:lnTo>
                  <a:pt x="4450" y="2894"/>
                </a:lnTo>
                <a:lnTo>
                  <a:pt x="4450" y="2894"/>
                </a:lnTo>
                <a:lnTo>
                  <a:pt x="4450" y="2894"/>
                </a:lnTo>
                <a:lnTo>
                  <a:pt x="4450" y="2888"/>
                </a:lnTo>
                <a:lnTo>
                  <a:pt x="4450" y="2888"/>
                </a:lnTo>
                <a:lnTo>
                  <a:pt x="4450" y="2888"/>
                </a:lnTo>
                <a:lnTo>
                  <a:pt x="4450" y="2882"/>
                </a:lnTo>
                <a:lnTo>
                  <a:pt x="4450" y="2882"/>
                </a:lnTo>
                <a:lnTo>
                  <a:pt x="4450" y="2877"/>
                </a:lnTo>
                <a:lnTo>
                  <a:pt x="4450" y="2871"/>
                </a:lnTo>
                <a:lnTo>
                  <a:pt x="4450" y="2871"/>
                </a:lnTo>
                <a:lnTo>
                  <a:pt x="4450" y="2865"/>
                </a:lnTo>
                <a:lnTo>
                  <a:pt x="4450" y="2865"/>
                </a:lnTo>
                <a:lnTo>
                  <a:pt x="4450" y="2853"/>
                </a:lnTo>
                <a:lnTo>
                  <a:pt x="4450" y="2847"/>
                </a:lnTo>
                <a:lnTo>
                  <a:pt x="4450" y="2847"/>
                </a:lnTo>
                <a:lnTo>
                  <a:pt x="4450" y="2847"/>
                </a:lnTo>
                <a:lnTo>
                  <a:pt x="4450" y="2841"/>
                </a:lnTo>
                <a:lnTo>
                  <a:pt x="4450" y="2841"/>
                </a:lnTo>
                <a:lnTo>
                  <a:pt x="4450" y="2841"/>
                </a:lnTo>
                <a:lnTo>
                  <a:pt x="4450" y="2835"/>
                </a:lnTo>
                <a:lnTo>
                  <a:pt x="4450" y="2829"/>
                </a:lnTo>
                <a:lnTo>
                  <a:pt x="4450" y="2829"/>
                </a:lnTo>
                <a:lnTo>
                  <a:pt x="4450" y="2829"/>
                </a:lnTo>
                <a:lnTo>
                  <a:pt x="4444" y="2829"/>
                </a:lnTo>
                <a:lnTo>
                  <a:pt x="4444" y="2829"/>
                </a:lnTo>
                <a:lnTo>
                  <a:pt x="4444" y="2829"/>
                </a:lnTo>
                <a:lnTo>
                  <a:pt x="4444" y="2823"/>
                </a:lnTo>
                <a:lnTo>
                  <a:pt x="4444" y="2823"/>
                </a:lnTo>
                <a:lnTo>
                  <a:pt x="4444" y="2823"/>
                </a:lnTo>
                <a:lnTo>
                  <a:pt x="4444" y="2823"/>
                </a:lnTo>
                <a:lnTo>
                  <a:pt x="4444" y="2823"/>
                </a:lnTo>
                <a:lnTo>
                  <a:pt x="4450" y="2823"/>
                </a:lnTo>
                <a:lnTo>
                  <a:pt x="4450" y="2823"/>
                </a:lnTo>
                <a:lnTo>
                  <a:pt x="4444" y="2817"/>
                </a:lnTo>
                <a:lnTo>
                  <a:pt x="4444" y="2817"/>
                </a:lnTo>
                <a:lnTo>
                  <a:pt x="4444" y="2817"/>
                </a:lnTo>
                <a:lnTo>
                  <a:pt x="4444" y="2811"/>
                </a:lnTo>
                <a:lnTo>
                  <a:pt x="4438" y="2805"/>
                </a:lnTo>
                <a:lnTo>
                  <a:pt x="4438" y="2805"/>
                </a:lnTo>
                <a:lnTo>
                  <a:pt x="4438" y="2805"/>
                </a:lnTo>
                <a:lnTo>
                  <a:pt x="4438" y="2799"/>
                </a:lnTo>
                <a:lnTo>
                  <a:pt x="4438" y="2799"/>
                </a:lnTo>
                <a:lnTo>
                  <a:pt x="4433" y="2794"/>
                </a:lnTo>
                <a:lnTo>
                  <a:pt x="4433" y="2794"/>
                </a:lnTo>
                <a:lnTo>
                  <a:pt x="4433" y="2794"/>
                </a:lnTo>
                <a:lnTo>
                  <a:pt x="4433" y="2794"/>
                </a:lnTo>
                <a:lnTo>
                  <a:pt x="4433" y="2799"/>
                </a:lnTo>
                <a:lnTo>
                  <a:pt x="4427" y="2794"/>
                </a:lnTo>
                <a:lnTo>
                  <a:pt x="4427" y="2794"/>
                </a:lnTo>
                <a:lnTo>
                  <a:pt x="4427" y="2794"/>
                </a:lnTo>
                <a:lnTo>
                  <a:pt x="4427" y="2794"/>
                </a:lnTo>
                <a:lnTo>
                  <a:pt x="4427" y="2794"/>
                </a:lnTo>
                <a:lnTo>
                  <a:pt x="4427" y="2794"/>
                </a:lnTo>
                <a:lnTo>
                  <a:pt x="4427" y="2794"/>
                </a:lnTo>
                <a:lnTo>
                  <a:pt x="4427" y="2794"/>
                </a:lnTo>
                <a:lnTo>
                  <a:pt x="4427" y="2794"/>
                </a:lnTo>
                <a:lnTo>
                  <a:pt x="4427" y="2794"/>
                </a:lnTo>
                <a:lnTo>
                  <a:pt x="4427" y="2794"/>
                </a:lnTo>
                <a:lnTo>
                  <a:pt x="4427" y="2794"/>
                </a:lnTo>
                <a:lnTo>
                  <a:pt x="4427" y="2794"/>
                </a:lnTo>
                <a:lnTo>
                  <a:pt x="4433" y="2794"/>
                </a:lnTo>
                <a:lnTo>
                  <a:pt x="4433" y="2794"/>
                </a:lnTo>
                <a:lnTo>
                  <a:pt x="4433" y="2799"/>
                </a:lnTo>
                <a:lnTo>
                  <a:pt x="4433" y="2799"/>
                </a:lnTo>
                <a:lnTo>
                  <a:pt x="4421" y="2758"/>
                </a:lnTo>
                <a:lnTo>
                  <a:pt x="4421" y="2752"/>
                </a:lnTo>
                <a:lnTo>
                  <a:pt x="4415" y="2746"/>
                </a:lnTo>
                <a:lnTo>
                  <a:pt x="4403" y="2710"/>
                </a:lnTo>
                <a:lnTo>
                  <a:pt x="4385" y="2675"/>
                </a:lnTo>
                <a:lnTo>
                  <a:pt x="4385" y="2669"/>
                </a:lnTo>
                <a:lnTo>
                  <a:pt x="4385" y="2669"/>
                </a:lnTo>
                <a:lnTo>
                  <a:pt x="4379" y="2663"/>
                </a:lnTo>
                <a:lnTo>
                  <a:pt x="4379" y="2657"/>
                </a:lnTo>
                <a:lnTo>
                  <a:pt x="4379" y="2657"/>
                </a:lnTo>
                <a:lnTo>
                  <a:pt x="4379" y="2657"/>
                </a:lnTo>
                <a:lnTo>
                  <a:pt x="4379" y="2651"/>
                </a:lnTo>
                <a:lnTo>
                  <a:pt x="4379" y="2645"/>
                </a:lnTo>
                <a:lnTo>
                  <a:pt x="4373" y="2639"/>
                </a:lnTo>
                <a:lnTo>
                  <a:pt x="4373" y="2639"/>
                </a:lnTo>
                <a:lnTo>
                  <a:pt x="4373" y="2639"/>
                </a:lnTo>
                <a:lnTo>
                  <a:pt x="4373" y="2633"/>
                </a:lnTo>
                <a:lnTo>
                  <a:pt x="4373" y="2633"/>
                </a:lnTo>
                <a:lnTo>
                  <a:pt x="4373" y="2633"/>
                </a:lnTo>
                <a:lnTo>
                  <a:pt x="4373" y="2627"/>
                </a:lnTo>
                <a:lnTo>
                  <a:pt x="4373" y="2627"/>
                </a:lnTo>
                <a:lnTo>
                  <a:pt x="4373" y="2627"/>
                </a:lnTo>
                <a:lnTo>
                  <a:pt x="4373" y="2622"/>
                </a:lnTo>
                <a:lnTo>
                  <a:pt x="4373" y="2616"/>
                </a:lnTo>
                <a:lnTo>
                  <a:pt x="4373" y="2616"/>
                </a:lnTo>
                <a:lnTo>
                  <a:pt x="4373" y="2622"/>
                </a:lnTo>
                <a:lnTo>
                  <a:pt x="4379" y="2622"/>
                </a:lnTo>
                <a:lnTo>
                  <a:pt x="4379" y="2622"/>
                </a:lnTo>
                <a:lnTo>
                  <a:pt x="4379" y="2622"/>
                </a:lnTo>
                <a:lnTo>
                  <a:pt x="4379" y="2627"/>
                </a:lnTo>
                <a:lnTo>
                  <a:pt x="4379" y="2627"/>
                </a:lnTo>
                <a:lnTo>
                  <a:pt x="4379" y="2627"/>
                </a:lnTo>
                <a:lnTo>
                  <a:pt x="4379" y="2627"/>
                </a:lnTo>
                <a:lnTo>
                  <a:pt x="4379" y="2627"/>
                </a:lnTo>
                <a:lnTo>
                  <a:pt x="4379" y="2627"/>
                </a:lnTo>
                <a:lnTo>
                  <a:pt x="4379" y="2627"/>
                </a:lnTo>
                <a:lnTo>
                  <a:pt x="4379" y="2627"/>
                </a:lnTo>
                <a:lnTo>
                  <a:pt x="4379" y="2633"/>
                </a:lnTo>
                <a:lnTo>
                  <a:pt x="4379" y="2633"/>
                </a:lnTo>
                <a:lnTo>
                  <a:pt x="4379" y="2633"/>
                </a:lnTo>
                <a:lnTo>
                  <a:pt x="4379" y="2639"/>
                </a:lnTo>
                <a:lnTo>
                  <a:pt x="4379" y="2639"/>
                </a:lnTo>
                <a:lnTo>
                  <a:pt x="4379" y="2639"/>
                </a:lnTo>
                <a:lnTo>
                  <a:pt x="4379" y="2639"/>
                </a:lnTo>
                <a:lnTo>
                  <a:pt x="4385" y="2639"/>
                </a:lnTo>
                <a:lnTo>
                  <a:pt x="4385" y="2639"/>
                </a:lnTo>
                <a:lnTo>
                  <a:pt x="4391" y="2639"/>
                </a:lnTo>
                <a:lnTo>
                  <a:pt x="4391" y="2639"/>
                </a:lnTo>
                <a:lnTo>
                  <a:pt x="4391" y="2639"/>
                </a:lnTo>
                <a:lnTo>
                  <a:pt x="4391" y="2639"/>
                </a:lnTo>
                <a:lnTo>
                  <a:pt x="4391" y="2639"/>
                </a:lnTo>
                <a:lnTo>
                  <a:pt x="4391" y="2639"/>
                </a:lnTo>
                <a:lnTo>
                  <a:pt x="4391" y="2633"/>
                </a:lnTo>
                <a:lnTo>
                  <a:pt x="4391" y="2633"/>
                </a:lnTo>
                <a:lnTo>
                  <a:pt x="4391" y="2633"/>
                </a:lnTo>
                <a:lnTo>
                  <a:pt x="4391" y="2633"/>
                </a:lnTo>
                <a:lnTo>
                  <a:pt x="4391" y="2639"/>
                </a:lnTo>
                <a:lnTo>
                  <a:pt x="4391" y="2639"/>
                </a:lnTo>
                <a:lnTo>
                  <a:pt x="4391" y="2639"/>
                </a:lnTo>
                <a:lnTo>
                  <a:pt x="4391" y="2639"/>
                </a:lnTo>
                <a:lnTo>
                  <a:pt x="4397" y="2639"/>
                </a:lnTo>
                <a:lnTo>
                  <a:pt x="4397" y="2639"/>
                </a:lnTo>
                <a:lnTo>
                  <a:pt x="4397" y="2639"/>
                </a:lnTo>
                <a:lnTo>
                  <a:pt x="4397" y="2645"/>
                </a:lnTo>
                <a:lnTo>
                  <a:pt x="4397" y="2645"/>
                </a:lnTo>
                <a:lnTo>
                  <a:pt x="4397" y="2651"/>
                </a:lnTo>
                <a:lnTo>
                  <a:pt x="4391" y="2663"/>
                </a:lnTo>
                <a:lnTo>
                  <a:pt x="4391" y="2675"/>
                </a:lnTo>
                <a:lnTo>
                  <a:pt x="4391" y="2681"/>
                </a:lnTo>
                <a:lnTo>
                  <a:pt x="4391" y="2687"/>
                </a:lnTo>
                <a:lnTo>
                  <a:pt x="4397" y="2687"/>
                </a:lnTo>
                <a:lnTo>
                  <a:pt x="4397" y="2699"/>
                </a:lnTo>
                <a:lnTo>
                  <a:pt x="4403" y="2705"/>
                </a:lnTo>
                <a:lnTo>
                  <a:pt x="4403" y="2710"/>
                </a:lnTo>
                <a:lnTo>
                  <a:pt x="4409" y="2716"/>
                </a:lnTo>
                <a:lnTo>
                  <a:pt x="4409" y="2716"/>
                </a:lnTo>
                <a:lnTo>
                  <a:pt x="4409" y="2716"/>
                </a:lnTo>
                <a:lnTo>
                  <a:pt x="4409" y="2716"/>
                </a:lnTo>
                <a:lnTo>
                  <a:pt x="4409" y="2722"/>
                </a:lnTo>
                <a:lnTo>
                  <a:pt x="4409" y="2716"/>
                </a:lnTo>
                <a:lnTo>
                  <a:pt x="4403" y="2705"/>
                </a:lnTo>
                <a:lnTo>
                  <a:pt x="4397" y="2699"/>
                </a:lnTo>
                <a:lnTo>
                  <a:pt x="4397" y="2699"/>
                </a:lnTo>
                <a:lnTo>
                  <a:pt x="4397" y="2699"/>
                </a:lnTo>
                <a:lnTo>
                  <a:pt x="4397" y="2693"/>
                </a:lnTo>
                <a:lnTo>
                  <a:pt x="4397" y="2687"/>
                </a:lnTo>
                <a:lnTo>
                  <a:pt x="4397" y="2681"/>
                </a:lnTo>
                <a:lnTo>
                  <a:pt x="4397" y="2681"/>
                </a:lnTo>
                <a:lnTo>
                  <a:pt x="4397" y="2675"/>
                </a:lnTo>
                <a:lnTo>
                  <a:pt x="4397" y="2675"/>
                </a:lnTo>
                <a:lnTo>
                  <a:pt x="4397" y="2675"/>
                </a:lnTo>
                <a:lnTo>
                  <a:pt x="4397" y="2675"/>
                </a:lnTo>
                <a:lnTo>
                  <a:pt x="4397" y="2669"/>
                </a:lnTo>
                <a:lnTo>
                  <a:pt x="4397" y="2663"/>
                </a:lnTo>
                <a:lnTo>
                  <a:pt x="4397" y="2663"/>
                </a:lnTo>
                <a:lnTo>
                  <a:pt x="4397" y="2657"/>
                </a:lnTo>
                <a:lnTo>
                  <a:pt x="4397" y="2657"/>
                </a:lnTo>
                <a:lnTo>
                  <a:pt x="4397" y="2657"/>
                </a:lnTo>
                <a:lnTo>
                  <a:pt x="4397" y="2657"/>
                </a:lnTo>
                <a:lnTo>
                  <a:pt x="4397" y="2657"/>
                </a:lnTo>
                <a:lnTo>
                  <a:pt x="4397" y="2657"/>
                </a:lnTo>
                <a:lnTo>
                  <a:pt x="4397" y="2657"/>
                </a:lnTo>
                <a:lnTo>
                  <a:pt x="4397" y="2657"/>
                </a:lnTo>
                <a:lnTo>
                  <a:pt x="4403" y="2657"/>
                </a:lnTo>
                <a:lnTo>
                  <a:pt x="4403" y="2657"/>
                </a:lnTo>
                <a:lnTo>
                  <a:pt x="4403" y="2651"/>
                </a:lnTo>
                <a:lnTo>
                  <a:pt x="4403" y="2651"/>
                </a:lnTo>
                <a:lnTo>
                  <a:pt x="4403" y="2651"/>
                </a:lnTo>
                <a:lnTo>
                  <a:pt x="4397" y="2645"/>
                </a:lnTo>
                <a:lnTo>
                  <a:pt x="4391" y="2633"/>
                </a:lnTo>
                <a:lnTo>
                  <a:pt x="4391" y="2627"/>
                </a:lnTo>
                <a:lnTo>
                  <a:pt x="4385" y="2627"/>
                </a:lnTo>
                <a:lnTo>
                  <a:pt x="4385" y="2622"/>
                </a:lnTo>
                <a:lnTo>
                  <a:pt x="4379" y="2616"/>
                </a:lnTo>
                <a:lnTo>
                  <a:pt x="4367" y="2592"/>
                </a:lnTo>
                <a:lnTo>
                  <a:pt x="4367" y="2592"/>
                </a:lnTo>
                <a:lnTo>
                  <a:pt x="4367" y="2586"/>
                </a:lnTo>
                <a:lnTo>
                  <a:pt x="4367" y="2586"/>
                </a:lnTo>
                <a:lnTo>
                  <a:pt x="4367" y="2586"/>
                </a:lnTo>
                <a:lnTo>
                  <a:pt x="4361" y="2586"/>
                </a:lnTo>
                <a:lnTo>
                  <a:pt x="4361" y="2586"/>
                </a:lnTo>
                <a:lnTo>
                  <a:pt x="4361" y="2580"/>
                </a:lnTo>
                <a:lnTo>
                  <a:pt x="4361" y="2580"/>
                </a:lnTo>
                <a:lnTo>
                  <a:pt x="4361" y="2574"/>
                </a:lnTo>
                <a:lnTo>
                  <a:pt x="4355" y="2568"/>
                </a:lnTo>
                <a:lnTo>
                  <a:pt x="4350" y="2550"/>
                </a:lnTo>
                <a:lnTo>
                  <a:pt x="4344" y="2538"/>
                </a:lnTo>
                <a:lnTo>
                  <a:pt x="4344" y="2533"/>
                </a:lnTo>
                <a:lnTo>
                  <a:pt x="4344" y="2533"/>
                </a:lnTo>
                <a:lnTo>
                  <a:pt x="4338" y="2527"/>
                </a:lnTo>
                <a:lnTo>
                  <a:pt x="4338" y="2527"/>
                </a:lnTo>
                <a:lnTo>
                  <a:pt x="4338" y="2521"/>
                </a:lnTo>
                <a:lnTo>
                  <a:pt x="4332" y="2515"/>
                </a:lnTo>
                <a:lnTo>
                  <a:pt x="4332" y="2509"/>
                </a:lnTo>
                <a:lnTo>
                  <a:pt x="4332" y="2509"/>
                </a:lnTo>
                <a:lnTo>
                  <a:pt x="4332" y="2503"/>
                </a:lnTo>
                <a:lnTo>
                  <a:pt x="4332" y="2503"/>
                </a:lnTo>
                <a:lnTo>
                  <a:pt x="4332" y="2503"/>
                </a:lnTo>
                <a:lnTo>
                  <a:pt x="4332" y="2503"/>
                </a:lnTo>
                <a:lnTo>
                  <a:pt x="4332" y="2497"/>
                </a:lnTo>
                <a:lnTo>
                  <a:pt x="4332" y="2497"/>
                </a:lnTo>
                <a:lnTo>
                  <a:pt x="4332" y="2497"/>
                </a:lnTo>
                <a:lnTo>
                  <a:pt x="4326" y="2491"/>
                </a:lnTo>
                <a:lnTo>
                  <a:pt x="4326" y="2491"/>
                </a:lnTo>
                <a:lnTo>
                  <a:pt x="4326" y="2491"/>
                </a:lnTo>
                <a:lnTo>
                  <a:pt x="4326" y="2491"/>
                </a:lnTo>
                <a:lnTo>
                  <a:pt x="4326" y="2491"/>
                </a:lnTo>
                <a:lnTo>
                  <a:pt x="4326" y="2491"/>
                </a:lnTo>
                <a:lnTo>
                  <a:pt x="4326" y="2491"/>
                </a:lnTo>
                <a:lnTo>
                  <a:pt x="4326" y="2485"/>
                </a:lnTo>
                <a:lnTo>
                  <a:pt x="4320" y="2473"/>
                </a:lnTo>
                <a:lnTo>
                  <a:pt x="4320" y="2461"/>
                </a:lnTo>
                <a:lnTo>
                  <a:pt x="4320" y="2455"/>
                </a:lnTo>
                <a:lnTo>
                  <a:pt x="4320" y="2455"/>
                </a:lnTo>
                <a:lnTo>
                  <a:pt x="4320" y="2450"/>
                </a:lnTo>
                <a:lnTo>
                  <a:pt x="4314" y="2444"/>
                </a:lnTo>
                <a:lnTo>
                  <a:pt x="4314" y="2438"/>
                </a:lnTo>
                <a:lnTo>
                  <a:pt x="4314" y="2432"/>
                </a:lnTo>
                <a:lnTo>
                  <a:pt x="4314" y="2432"/>
                </a:lnTo>
                <a:lnTo>
                  <a:pt x="4314" y="2432"/>
                </a:lnTo>
                <a:lnTo>
                  <a:pt x="4314" y="2432"/>
                </a:lnTo>
                <a:lnTo>
                  <a:pt x="4314" y="2432"/>
                </a:lnTo>
                <a:lnTo>
                  <a:pt x="4314" y="2426"/>
                </a:lnTo>
                <a:lnTo>
                  <a:pt x="4314" y="2426"/>
                </a:lnTo>
                <a:lnTo>
                  <a:pt x="4314" y="2426"/>
                </a:lnTo>
                <a:lnTo>
                  <a:pt x="4314" y="2426"/>
                </a:lnTo>
                <a:lnTo>
                  <a:pt x="4314" y="2426"/>
                </a:lnTo>
                <a:lnTo>
                  <a:pt x="4314" y="2426"/>
                </a:lnTo>
                <a:lnTo>
                  <a:pt x="4314" y="2426"/>
                </a:lnTo>
                <a:lnTo>
                  <a:pt x="4314" y="2420"/>
                </a:lnTo>
                <a:lnTo>
                  <a:pt x="4314" y="2420"/>
                </a:lnTo>
                <a:lnTo>
                  <a:pt x="4314" y="2420"/>
                </a:lnTo>
                <a:lnTo>
                  <a:pt x="4308" y="2420"/>
                </a:lnTo>
                <a:lnTo>
                  <a:pt x="4308" y="2420"/>
                </a:lnTo>
                <a:lnTo>
                  <a:pt x="4308" y="2420"/>
                </a:lnTo>
                <a:lnTo>
                  <a:pt x="4308" y="2420"/>
                </a:lnTo>
                <a:lnTo>
                  <a:pt x="4308" y="2414"/>
                </a:lnTo>
                <a:lnTo>
                  <a:pt x="4308" y="2414"/>
                </a:lnTo>
                <a:lnTo>
                  <a:pt x="4308" y="2414"/>
                </a:lnTo>
                <a:lnTo>
                  <a:pt x="4308" y="2414"/>
                </a:lnTo>
                <a:lnTo>
                  <a:pt x="4308" y="2414"/>
                </a:lnTo>
                <a:lnTo>
                  <a:pt x="4308" y="2408"/>
                </a:lnTo>
                <a:lnTo>
                  <a:pt x="4308" y="2408"/>
                </a:lnTo>
                <a:lnTo>
                  <a:pt x="4308" y="2408"/>
                </a:lnTo>
                <a:lnTo>
                  <a:pt x="4308" y="2408"/>
                </a:lnTo>
                <a:lnTo>
                  <a:pt x="4308" y="2408"/>
                </a:lnTo>
                <a:lnTo>
                  <a:pt x="4308" y="2408"/>
                </a:lnTo>
                <a:lnTo>
                  <a:pt x="4308" y="2408"/>
                </a:lnTo>
                <a:lnTo>
                  <a:pt x="4308" y="2408"/>
                </a:lnTo>
                <a:lnTo>
                  <a:pt x="4308" y="2408"/>
                </a:lnTo>
                <a:lnTo>
                  <a:pt x="4308" y="2414"/>
                </a:lnTo>
                <a:lnTo>
                  <a:pt x="4308" y="2414"/>
                </a:lnTo>
                <a:lnTo>
                  <a:pt x="4308" y="2414"/>
                </a:lnTo>
                <a:lnTo>
                  <a:pt x="4308" y="2420"/>
                </a:lnTo>
                <a:lnTo>
                  <a:pt x="4314" y="2420"/>
                </a:lnTo>
                <a:lnTo>
                  <a:pt x="4314" y="2414"/>
                </a:lnTo>
                <a:lnTo>
                  <a:pt x="4314" y="2414"/>
                </a:lnTo>
                <a:lnTo>
                  <a:pt x="4314" y="2408"/>
                </a:lnTo>
                <a:lnTo>
                  <a:pt x="4314" y="2402"/>
                </a:lnTo>
                <a:lnTo>
                  <a:pt x="4314" y="2402"/>
                </a:lnTo>
                <a:lnTo>
                  <a:pt x="4314" y="2402"/>
                </a:lnTo>
                <a:lnTo>
                  <a:pt x="4314" y="2396"/>
                </a:lnTo>
                <a:lnTo>
                  <a:pt x="4314" y="2396"/>
                </a:lnTo>
                <a:lnTo>
                  <a:pt x="4314" y="2396"/>
                </a:lnTo>
                <a:lnTo>
                  <a:pt x="4314" y="2396"/>
                </a:lnTo>
                <a:lnTo>
                  <a:pt x="4314" y="2396"/>
                </a:lnTo>
                <a:lnTo>
                  <a:pt x="4314" y="2396"/>
                </a:lnTo>
                <a:lnTo>
                  <a:pt x="4314" y="2396"/>
                </a:lnTo>
                <a:lnTo>
                  <a:pt x="4308" y="2396"/>
                </a:lnTo>
                <a:lnTo>
                  <a:pt x="4308" y="2396"/>
                </a:lnTo>
                <a:lnTo>
                  <a:pt x="4308" y="2396"/>
                </a:lnTo>
                <a:lnTo>
                  <a:pt x="4308" y="2396"/>
                </a:lnTo>
                <a:lnTo>
                  <a:pt x="4308" y="2396"/>
                </a:lnTo>
                <a:lnTo>
                  <a:pt x="4308" y="2396"/>
                </a:lnTo>
                <a:lnTo>
                  <a:pt x="4308" y="2396"/>
                </a:lnTo>
                <a:lnTo>
                  <a:pt x="4308" y="2396"/>
                </a:lnTo>
                <a:lnTo>
                  <a:pt x="4308" y="2396"/>
                </a:lnTo>
                <a:lnTo>
                  <a:pt x="4308" y="2390"/>
                </a:lnTo>
                <a:lnTo>
                  <a:pt x="4308" y="2390"/>
                </a:lnTo>
                <a:lnTo>
                  <a:pt x="4308" y="2390"/>
                </a:lnTo>
                <a:lnTo>
                  <a:pt x="4308" y="2390"/>
                </a:lnTo>
                <a:lnTo>
                  <a:pt x="4302" y="2384"/>
                </a:lnTo>
                <a:lnTo>
                  <a:pt x="4302" y="2384"/>
                </a:lnTo>
                <a:lnTo>
                  <a:pt x="4302" y="2384"/>
                </a:lnTo>
                <a:lnTo>
                  <a:pt x="4302" y="2384"/>
                </a:lnTo>
                <a:lnTo>
                  <a:pt x="4302" y="2384"/>
                </a:lnTo>
                <a:lnTo>
                  <a:pt x="4302" y="2384"/>
                </a:lnTo>
                <a:lnTo>
                  <a:pt x="4302" y="2378"/>
                </a:lnTo>
                <a:lnTo>
                  <a:pt x="4302" y="2378"/>
                </a:lnTo>
                <a:lnTo>
                  <a:pt x="4302" y="2378"/>
                </a:lnTo>
                <a:lnTo>
                  <a:pt x="4302" y="2378"/>
                </a:lnTo>
                <a:lnTo>
                  <a:pt x="4302" y="2378"/>
                </a:lnTo>
                <a:lnTo>
                  <a:pt x="4308" y="2378"/>
                </a:lnTo>
                <a:lnTo>
                  <a:pt x="4308" y="2378"/>
                </a:lnTo>
                <a:lnTo>
                  <a:pt x="4308" y="2378"/>
                </a:lnTo>
                <a:lnTo>
                  <a:pt x="4308" y="2378"/>
                </a:lnTo>
                <a:lnTo>
                  <a:pt x="4308" y="2378"/>
                </a:lnTo>
                <a:lnTo>
                  <a:pt x="4308" y="2378"/>
                </a:lnTo>
                <a:lnTo>
                  <a:pt x="4308" y="2378"/>
                </a:lnTo>
                <a:lnTo>
                  <a:pt x="4302" y="2378"/>
                </a:lnTo>
                <a:lnTo>
                  <a:pt x="4308" y="2378"/>
                </a:lnTo>
                <a:lnTo>
                  <a:pt x="4308" y="2378"/>
                </a:lnTo>
                <a:lnTo>
                  <a:pt x="4308" y="2372"/>
                </a:lnTo>
                <a:lnTo>
                  <a:pt x="4308" y="2372"/>
                </a:lnTo>
                <a:lnTo>
                  <a:pt x="4308" y="2372"/>
                </a:lnTo>
                <a:lnTo>
                  <a:pt x="4308" y="2372"/>
                </a:lnTo>
                <a:lnTo>
                  <a:pt x="4308" y="2372"/>
                </a:lnTo>
                <a:lnTo>
                  <a:pt x="4308" y="2366"/>
                </a:lnTo>
                <a:lnTo>
                  <a:pt x="4308" y="2366"/>
                </a:lnTo>
                <a:lnTo>
                  <a:pt x="4308" y="2366"/>
                </a:lnTo>
                <a:lnTo>
                  <a:pt x="4308" y="2366"/>
                </a:lnTo>
                <a:lnTo>
                  <a:pt x="4308" y="2366"/>
                </a:lnTo>
                <a:lnTo>
                  <a:pt x="4302" y="2366"/>
                </a:lnTo>
                <a:lnTo>
                  <a:pt x="4302" y="2366"/>
                </a:lnTo>
                <a:lnTo>
                  <a:pt x="4302" y="2366"/>
                </a:lnTo>
                <a:lnTo>
                  <a:pt x="4308" y="2366"/>
                </a:lnTo>
                <a:lnTo>
                  <a:pt x="4308" y="2361"/>
                </a:lnTo>
                <a:lnTo>
                  <a:pt x="4308" y="2361"/>
                </a:lnTo>
                <a:lnTo>
                  <a:pt x="4308" y="2361"/>
                </a:lnTo>
                <a:lnTo>
                  <a:pt x="4308" y="2355"/>
                </a:lnTo>
                <a:lnTo>
                  <a:pt x="4302" y="2355"/>
                </a:lnTo>
                <a:lnTo>
                  <a:pt x="4308" y="2355"/>
                </a:lnTo>
                <a:lnTo>
                  <a:pt x="4308" y="2355"/>
                </a:lnTo>
                <a:lnTo>
                  <a:pt x="4308" y="2355"/>
                </a:lnTo>
                <a:lnTo>
                  <a:pt x="4314" y="2355"/>
                </a:lnTo>
                <a:lnTo>
                  <a:pt x="4314" y="2361"/>
                </a:lnTo>
                <a:lnTo>
                  <a:pt x="4314" y="2361"/>
                </a:lnTo>
                <a:lnTo>
                  <a:pt x="4314" y="2349"/>
                </a:lnTo>
                <a:lnTo>
                  <a:pt x="4314" y="2349"/>
                </a:lnTo>
                <a:lnTo>
                  <a:pt x="4314" y="2349"/>
                </a:lnTo>
                <a:lnTo>
                  <a:pt x="4314" y="2349"/>
                </a:lnTo>
                <a:lnTo>
                  <a:pt x="4314" y="2349"/>
                </a:lnTo>
                <a:lnTo>
                  <a:pt x="4314" y="2355"/>
                </a:lnTo>
                <a:lnTo>
                  <a:pt x="4314" y="2355"/>
                </a:lnTo>
                <a:lnTo>
                  <a:pt x="4314" y="2355"/>
                </a:lnTo>
                <a:lnTo>
                  <a:pt x="4308" y="2349"/>
                </a:lnTo>
                <a:lnTo>
                  <a:pt x="4308" y="2349"/>
                </a:lnTo>
                <a:lnTo>
                  <a:pt x="4308" y="2349"/>
                </a:lnTo>
                <a:lnTo>
                  <a:pt x="4308" y="2349"/>
                </a:lnTo>
                <a:lnTo>
                  <a:pt x="4308" y="2349"/>
                </a:lnTo>
                <a:lnTo>
                  <a:pt x="4308" y="2349"/>
                </a:lnTo>
                <a:lnTo>
                  <a:pt x="4308" y="2349"/>
                </a:lnTo>
                <a:lnTo>
                  <a:pt x="4308" y="2349"/>
                </a:lnTo>
                <a:lnTo>
                  <a:pt x="4308" y="2349"/>
                </a:lnTo>
                <a:lnTo>
                  <a:pt x="4308" y="2349"/>
                </a:lnTo>
                <a:lnTo>
                  <a:pt x="4308" y="2343"/>
                </a:lnTo>
                <a:lnTo>
                  <a:pt x="4308" y="2343"/>
                </a:lnTo>
                <a:lnTo>
                  <a:pt x="4308" y="2343"/>
                </a:lnTo>
                <a:lnTo>
                  <a:pt x="4308" y="2337"/>
                </a:lnTo>
                <a:lnTo>
                  <a:pt x="4308" y="2337"/>
                </a:lnTo>
                <a:lnTo>
                  <a:pt x="4314" y="2337"/>
                </a:lnTo>
                <a:lnTo>
                  <a:pt x="4314" y="2337"/>
                </a:lnTo>
                <a:lnTo>
                  <a:pt x="4314" y="2337"/>
                </a:lnTo>
                <a:lnTo>
                  <a:pt x="4314" y="2343"/>
                </a:lnTo>
                <a:lnTo>
                  <a:pt x="4314" y="2343"/>
                </a:lnTo>
                <a:lnTo>
                  <a:pt x="4314" y="2343"/>
                </a:lnTo>
                <a:lnTo>
                  <a:pt x="4314" y="2343"/>
                </a:lnTo>
                <a:lnTo>
                  <a:pt x="4314" y="2349"/>
                </a:lnTo>
                <a:lnTo>
                  <a:pt x="4314" y="2349"/>
                </a:lnTo>
                <a:lnTo>
                  <a:pt x="4314" y="2349"/>
                </a:lnTo>
                <a:lnTo>
                  <a:pt x="4320" y="2349"/>
                </a:lnTo>
                <a:lnTo>
                  <a:pt x="4320" y="2343"/>
                </a:lnTo>
                <a:lnTo>
                  <a:pt x="4320" y="2343"/>
                </a:lnTo>
                <a:lnTo>
                  <a:pt x="4320" y="2343"/>
                </a:lnTo>
                <a:lnTo>
                  <a:pt x="4326" y="2337"/>
                </a:lnTo>
                <a:lnTo>
                  <a:pt x="4326" y="2337"/>
                </a:lnTo>
                <a:lnTo>
                  <a:pt x="4326" y="2337"/>
                </a:lnTo>
                <a:lnTo>
                  <a:pt x="4326" y="2337"/>
                </a:lnTo>
                <a:lnTo>
                  <a:pt x="4326" y="2331"/>
                </a:lnTo>
                <a:lnTo>
                  <a:pt x="4326" y="2331"/>
                </a:lnTo>
                <a:lnTo>
                  <a:pt x="4326" y="2331"/>
                </a:lnTo>
                <a:lnTo>
                  <a:pt x="4326" y="2331"/>
                </a:lnTo>
                <a:lnTo>
                  <a:pt x="4320" y="2325"/>
                </a:lnTo>
                <a:lnTo>
                  <a:pt x="4320" y="2325"/>
                </a:lnTo>
                <a:lnTo>
                  <a:pt x="4320" y="2325"/>
                </a:lnTo>
                <a:lnTo>
                  <a:pt x="4314" y="2325"/>
                </a:lnTo>
                <a:lnTo>
                  <a:pt x="4314" y="2325"/>
                </a:lnTo>
                <a:lnTo>
                  <a:pt x="4314" y="2325"/>
                </a:lnTo>
                <a:lnTo>
                  <a:pt x="4308" y="2325"/>
                </a:lnTo>
                <a:lnTo>
                  <a:pt x="4308" y="2319"/>
                </a:lnTo>
                <a:lnTo>
                  <a:pt x="4308" y="2319"/>
                </a:lnTo>
                <a:lnTo>
                  <a:pt x="4308" y="2319"/>
                </a:lnTo>
                <a:lnTo>
                  <a:pt x="4308" y="2319"/>
                </a:lnTo>
                <a:lnTo>
                  <a:pt x="4308" y="2319"/>
                </a:lnTo>
                <a:lnTo>
                  <a:pt x="4314" y="2319"/>
                </a:lnTo>
                <a:lnTo>
                  <a:pt x="4320" y="2325"/>
                </a:lnTo>
                <a:lnTo>
                  <a:pt x="4320" y="2325"/>
                </a:lnTo>
                <a:lnTo>
                  <a:pt x="4320" y="2325"/>
                </a:lnTo>
                <a:lnTo>
                  <a:pt x="4326" y="2319"/>
                </a:lnTo>
                <a:lnTo>
                  <a:pt x="4320" y="2319"/>
                </a:lnTo>
                <a:lnTo>
                  <a:pt x="4320" y="2319"/>
                </a:lnTo>
                <a:lnTo>
                  <a:pt x="4320" y="2313"/>
                </a:lnTo>
                <a:lnTo>
                  <a:pt x="4320" y="2313"/>
                </a:lnTo>
                <a:lnTo>
                  <a:pt x="4320" y="2313"/>
                </a:lnTo>
                <a:lnTo>
                  <a:pt x="4320" y="2307"/>
                </a:lnTo>
                <a:lnTo>
                  <a:pt x="4320" y="2307"/>
                </a:lnTo>
                <a:lnTo>
                  <a:pt x="4320" y="2307"/>
                </a:lnTo>
                <a:lnTo>
                  <a:pt x="4320" y="2307"/>
                </a:lnTo>
                <a:lnTo>
                  <a:pt x="4320" y="2307"/>
                </a:lnTo>
                <a:lnTo>
                  <a:pt x="4320" y="2307"/>
                </a:lnTo>
                <a:lnTo>
                  <a:pt x="4320" y="2301"/>
                </a:lnTo>
                <a:lnTo>
                  <a:pt x="4326" y="2301"/>
                </a:lnTo>
                <a:lnTo>
                  <a:pt x="4326" y="2301"/>
                </a:lnTo>
                <a:lnTo>
                  <a:pt x="4320" y="2301"/>
                </a:lnTo>
                <a:lnTo>
                  <a:pt x="4320" y="2301"/>
                </a:lnTo>
                <a:lnTo>
                  <a:pt x="4320" y="2295"/>
                </a:lnTo>
                <a:lnTo>
                  <a:pt x="4326" y="2295"/>
                </a:lnTo>
                <a:lnTo>
                  <a:pt x="4326" y="2295"/>
                </a:lnTo>
                <a:lnTo>
                  <a:pt x="4326" y="2295"/>
                </a:lnTo>
                <a:lnTo>
                  <a:pt x="4332" y="2289"/>
                </a:lnTo>
                <a:lnTo>
                  <a:pt x="4332" y="2289"/>
                </a:lnTo>
                <a:lnTo>
                  <a:pt x="4332" y="2283"/>
                </a:lnTo>
                <a:lnTo>
                  <a:pt x="4332" y="2283"/>
                </a:lnTo>
                <a:lnTo>
                  <a:pt x="4338" y="2283"/>
                </a:lnTo>
                <a:lnTo>
                  <a:pt x="4338" y="2278"/>
                </a:lnTo>
                <a:lnTo>
                  <a:pt x="4338" y="2278"/>
                </a:lnTo>
                <a:lnTo>
                  <a:pt x="4332" y="2278"/>
                </a:lnTo>
                <a:lnTo>
                  <a:pt x="4332" y="2278"/>
                </a:lnTo>
                <a:lnTo>
                  <a:pt x="4326" y="2278"/>
                </a:lnTo>
                <a:lnTo>
                  <a:pt x="4326" y="2272"/>
                </a:lnTo>
                <a:lnTo>
                  <a:pt x="4326" y="2272"/>
                </a:lnTo>
                <a:lnTo>
                  <a:pt x="4332" y="2272"/>
                </a:lnTo>
                <a:lnTo>
                  <a:pt x="4332" y="2272"/>
                </a:lnTo>
                <a:lnTo>
                  <a:pt x="4332" y="2272"/>
                </a:lnTo>
                <a:lnTo>
                  <a:pt x="4332" y="2272"/>
                </a:lnTo>
                <a:lnTo>
                  <a:pt x="4332" y="2272"/>
                </a:lnTo>
                <a:lnTo>
                  <a:pt x="4332" y="2272"/>
                </a:lnTo>
                <a:lnTo>
                  <a:pt x="4338" y="2278"/>
                </a:lnTo>
                <a:lnTo>
                  <a:pt x="4338" y="2278"/>
                </a:lnTo>
                <a:lnTo>
                  <a:pt x="4344" y="2278"/>
                </a:lnTo>
                <a:lnTo>
                  <a:pt x="4344" y="2278"/>
                </a:lnTo>
                <a:lnTo>
                  <a:pt x="4344" y="2278"/>
                </a:lnTo>
                <a:lnTo>
                  <a:pt x="4344" y="2278"/>
                </a:lnTo>
                <a:lnTo>
                  <a:pt x="4344" y="2278"/>
                </a:lnTo>
                <a:lnTo>
                  <a:pt x="4350" y="2272"/>
                </a:lnTo>
                <a:lnTo>
                  <a:pt x="4350" y="2266"/>
                </a:lnTo>
                <a:lnTo>
                  <a:pt x="4350" y="2266"/>
                </a:lnTo>
                <a:lnTo>
                  <a:pt x="4350" y="2266"/>
                </a:lnTo>
                <a:lnTo>
                  <a:pt x="4350" y="2266"/>
                </a:lnTo>
                <a:lnTo>
                  <a:pt x="4350" y="2266"/>
                </a:lnTo>
                <a:lnTo>
                  <a:pt x="4350" y="2266"/>
                </a:lnTo>
                <a:lnTo>
                  <a:pt x="4350" y="2266"/>
                </a:lnTo>
                <a:lnTo>
                  <a:pt x="4350" y="2266"/>
                </a:lnTo>
                <a:lnTo>
                  <a:pt x="4350" y="2266"/>
                </a:lnTo>
                <a:lnTo>
                  <a:pt x="4350" y="2266"/>
                </a:lnTo>
                <a:lnTo>
                  <a:pt x="4344" y="2266"/>
                </a:lnTo>
                <a:lnTo>
                  <a:pt x="4344" y="2266"/>
                </a:lnTo>
                <a:lnTo>
                  <a:pt x="4344" y="2260"/>
                </a:lnTo>
                <a:lnTo>
                  <a:pt x="4344" y="2260"/>
                </a:lnTo>
                <a:lnTo>
                  <a:pt x="4344" y="2260"/>
                </a:lnTo>
                <a:lnTo>
                  <a:pt x="4344" y="2260"/>
                </a:lnTo>
                <a:lnTo>
                  <a:pt x="4344" y="2260"/>
                </a:lnTo>
                <a:lnTo>
                  <a:pt x="4344" y="2254"/>
                </a:lnTo>
                <a:lnTo>
                  <a:pt x="4344" y="2254"/>
                </a:lnTo>
                <a:lnTo>
                  <a:pt x="4344" y="2254"/>
                </a:lnTo>
                <a:lnTo>
                  <a:pt x="4344" y="2254"/>
                </a:lnTo>
                <a:lnTo>
                  <a:pt x="4344" y="2254"/>
                </a:lnTo>
                <a:lnTo>
                  <a:pt x="4350" y="2254"/>
                </a:lnTo>
                <a:lnTo>
                  <a:pt x="4350" y="2260"/>
                </a:lnTo>
                <a:lnTo>
                  <a:pt x="4350" y="2260"/>
                </a:lnTo>
                <a:lnTo>
                  <a:pt x="4350" y="2260"/>
                </a:lnTo>
                <a:lnTo>
                  <a:pt x="4350" y="2260"/>
                </a:lnTo>
                <a:lnTo>
                  <a:pt x="4350" y="2260"/>
                </a:lnTo>
                <a:lnTo>
                  <a:pt x="4350" y="2260"/>
                </a:lnTo>
                <a:lnTo>
                  <a:pt x="4355" y="2260"/>
                </a:lnTo>
                <a:lnTo>
                  <a:pt x="4355" y="2260"/>
                </a:lnTo>
                <a:lnTo>
                  <a:pt x="4355" y="2260"/>
                </a:lnTo>
                <a:lnTo>
                  <a:pt x="4355" y="2260"/>
                </a:lnTo>
                <a:lnTo>
                  <a:pt x="4361" y="2260"/>
                </a:lnTo>
                <a:lnTo>
                  <a:pt x="4361" y="2254"/>
                </a:lnTo>
                <a:lnTo>
                  <a:pt x="4361" y="2254"/>
                </a:lnTo>
                <a:lnTo>
                  <a:pt x="4361" y="2254"/>
                </a:lnTo>
                <a:lnTo>
                  <a:pt x="4361" y="2254"/>
                </a:lnTo>
                <a:lnTo>
                  <a:pt x="4361" y="2248"/>
                </a:lnTo>
                <a:lnTo>
                  <a:pt x="4361" y="2248"/>
                </a:lnTo>
                <a:lnTo>
                  <a:pt x="4361" y="2248"/>
                </a:lnTo>
                <a:lnTo>
                  <a:pt x="4361" y="2248"/>
                </a:lnTo>
                <a:lnTo>
                  <a:pt x="4361" y="2248"/>
                </a:lnTo>
                <a:lnTo>
                  <a:pt x="4361" y="2248"/>
                </a:lnTo>
                <a:lnTo>
                  <a:pt x="4361" y="2248"/>
                </a:lnTo>
                <a:lnTo>
                  <a:pt x="4361" y="2248"/>
                </a:lnTo>
                <a:lnTo>
                  <a:pt x="4361" y="2248"/>
                </a:lnTo>
                <a:lnTo>
                  <a:pt x="4361" y="2248"/>
                </a:lnTo>
                <a:lnTo>
                  <a:pt x="4361" y="2248"/>
                </a:lnTo>
                <a:lnTo>
                  <a:pt x="4361" y="2254"/>
                </a:lnTo>
                <a:lnTo>
                  <a:pt x="4367" y="2254"/>
                </a:lnTo>
                <a:lnTo>
                  <a:pt x="4367" y="2254"/>
                </a:lnTo>
                <a:lnTo>
                  <a:pt x="4367" y="2248"/>
                </a:lnTo>
                <a:lnTo>
                  <a:pt x="4373" y="2248"/>
                </a:lnTo>
                <a:lnTo>
                  <a:pt x="4373" y="2248"/>
                </a:lnTo>
                <a:lnTo>
                  <a:pt x="4373" y="2242"/>
                </a:lnTo>
                <a:lnTo>
                  <a:pt x="4367" y="2242"/>
                </a:lnTo>
                <a:lnTo>
                  <a:pt x="4367" y="2242"/>
                </a:lnTo>
                <a:lnTo>
                  <a:pt x="4367" y="2242"/>
                </a:lnTo>
                <a:lnTo>
                  <a:pt x="4367" y="2242"/>
                </a:lnTo>
                <a:lnTo>
                  <a:pt x="4367" y="2242"/>
                </a:lnTo>
                <a:lnTo>
                  <a:pt x="4367" y="2242"/>
                </a:lnTo>
                <a:lnTo>
                  <a:pt x="4367" y="2242"/>
                </a:lnTo>
                <a:lnTo>
                  <a:pt x="4367" y="2236"/>
                </a:lnTo>
                <a:lnTo>
                  <a:pt x="4367" y="2236"/>
                </a:lnTo>
                <a:lnTo>
                  <a:pt x="4367" y="2236"/>
                </a:lnTo>
                <a:lnTo>
                  <a:pt x="4373" y="2230"/>
                </a:lnTo>
                <a:lnTo>
                  <a:pt x="4373" y="2230"/>
                </a:lnTo>
                <a:lnTo>
                  <a:pt x="4373" y="2224"/>
                </a:lnTo>
                <a:lnTo>
                  <a:pt x="4373" y="2224"/>
                </a:lnTo>
                <a:lnTo>
                  <a:pt x="4373" y="2224"/>
                </a:lnTo>
                <a:lnTo>
                  <a:pt x="4373" y="2224"/>
                </a:lnTo>
                <a:lnTo>
                  <a:pt x="4373" y="2224"/>
                </a:lnTo>
                <a:lnTo>
                  <a:pt x="4373" y="2224"/>
                </a:lnTo>
                <a:lnTo>
                  <a:pt x="4379" y="2218"/>
                </a:lnTo>
                <a:lnTo>
                  <a:pt x="4379" y="2218"/>
                </a:lnTo>
                <a:lnTo>
                  <a:pt x="4379" y="2218"/>
                </a:lnTo>
                <a:lnTo>
                  <a:pt x="4379" y="2218"/>
                </a:lnTo>
                <a:lnTo>
                  <a:pt x="4379" y="2218"/>
                </a:lnTo>
                <a:lnTo>
                  <a:pt x="4379" y="2218"/>
                </a:lnTo>
                <a:lnTo>
                  <a:pt x="4379" y="2218"/>
                </a:lnTo>
                <a:lnTo>
                  <a:pt x="4379" y="2224"/>
                </a:lnTo>
                <a:lnTo>
                  <a:pt x="4373" y="2224"/>
                </a:lnTo>
                <a:lnTo>
                  <a:pt x="4373" y="2230"/>
                </a:lnTo>
                <a:lnTo>
                  <a:pt x="4373" y="2236"/>
                </a:lnTo>
                <a:lnTo>
                  <a:pt x="4373" y="2230"/>
                </a:lnTo>
                <a:lnTo>
                  <a:pt x="4379" y="2230"/>
                </a:lnTo>
                <a:lnTo>
                  <a:pt x="4385" y="2224"/>
                </a:lnTo>
                <a:lnTo>
                  <a:pt x="4385" y="2224"/>
                </a:lnTo>
                <a:lnTo>
                  <a:pt x="4385" y="2218"/>
                </a:lnTo>
                <a:lnTo>
                  <a:pt x="4385" y="2218"/>
                </a:lnTo>
                <a:lnTo>
                  <a:pt x="4385" y="2218"/>
                </a:lnTo>
                <a:lnTo>
                  <a:pt x="4385" y="2218"/>
                </a:lnTo>
                <a:lnTo>
                  <a:pt x="4385" y="2218"/>
                </a:lnTo>
                <a:lnTo>
                  <a:pt x="4385" y="2212"/>
                </a:lnTo>
                <a:lnTo>
                  <a:pt x="4385" y="2212"/>
                </a:lnTo>
                <a:lnTo>
                  <a:pt x="4379" y="2218"/>
                </a:lnTo>
                <a:lnTo>
                  <a:pt x="4379" y="2212"/>
                </a:lnTo>
                <a:lnTo>
                  <a:pt x="4379" y="2206"/>
                </a:lnTo>
                <a:lnTo>
                  <a:pt x="4379" y="2206"/>
                </a:lnTo>
                <a:lnTo>
                  <a:pt x="4379" y="2206"/>
                </a:lnTo>
                <a:lnTo>
                  <a:pt x="4373" y="2206"/>
                </a:lnTo>
                <a:lnTo>
                  <a:pt x="4373" y="2206"/>
                </a:lnTo>
                <a:lnTo>
                  <a:pt x="4373" y="2206"/>
                </a:lnTo>
                <a:lnTo>
                  <a:pt x="4379" y="2206"/>
                </a:lnTo>
                <a:lnTo>
                  <a:pt x="4379" y="2200"/>
                </a:lnTo>
                <a:lnTo>
                  <a:pt x="4373" y="2200"/>
                </a:lnTo>
                <a:lnTo>
                  <a:pt x="4373" y="2194"/>
                </a:lnTo>
                <a:lnTo>
                  <a:pt x="4373" y="2194"/>
                </a:lnTo>
                <a:lnTo>
                  <a:pt x="4373" y="2189"/>
                </a:lnTo>
                <a:lnTo>
                  <a:pt x="4373" y="2189"/>
                </a:lnTo>
                <a:lnTo>
                  <a:pt x="4373" y="2189"/>
                </a:lnTo>
                <a:lnTo>
                  <a:pt x="4373" y="2183"/>
                </a:lnTo>
                <a:lnTo>
                  <a:pt x="4367" y="2183"/>
                </a:lnTo>
                <a:lnTo>
                  <a:pt x="4367" y="2183"/>
                </a:lnTo>
                <a:lnTo>
                  <a:pt x="4373" y="2183"/>
                </a:lnTo>
                <a:lnTo>
                  <a:pt x="4373" y="2183"/>
                </a:lnTo>
                <a:lnTo>
                  <a:pt x="4373" y="2183"/>
                </a:lnTo>
                <a:lnTo>
                  <a:pt x="4373" y="2183"/>
                </a:lnTo>
                <a:lnTo>
                  <a:pt x="4373" y="2189"/>
                </a:lnTo>
                <a:lnTo>
                  <a:pt x="4373" y="2189"/>
                </a:lnTo>
                <a:lnTo>
                  <a:pt x="4379" y="2189"/>
                </a:lnTo>
                <a:lnTo>
                  <a:pt x="4379" y="2189"/>
                </a:lnTo>
                <a:lnTo>
                  <a:pt x="4379" y="2189"/>
                </a:lnTo>
                <a:lnTo>
                  <a:pt x="4379" y="2189"/>
                </a:lnTo>
                <a:lnTo>
                  <a:pt x="4373" y="2189"/>
                </a:lnTo>
                <a:lnTo>
                  <a:pt x="4373" y="2194"/>
                </a:lnTo>
                <a:lnTo>
                  <a:pt x="4379" y="2194"/>
                </a:lnTo>
                <a:lnTo>
                  <a:pt x="4379" y="2200"/>
                </a:lnTo>
                <a:lnTo>
                  <a:pt x="4379" y="2200"/>
                </a:lnTo>
                <a:lnTo>
                  <a:pt x="4385" y="2206"/>
                </a:lnTo>
                <a:lnTo>
                  <a:pt x="4385" y="2212"/>
                </a:lnTo>
                <a:lnTo>
                  <a:pt x="4385" y="2212"/>
                </a:lnTo>
                <a:lnTo>
                  <a:pt x="4385" y="2212"/>
                </a:lnTo>
                <a:lnTo>
                  <a:pt x="4391" y="2212"/>
                </a:lnTo>
                <a:lnTo>
                  <a:pt x="4391" y="2206"/>
                </a:lnTo>
                <a:lnTo>
                  <a:pt x="4391" y="2206"/>
                </a:lnTo>
                <a:lnTo>
                  <a:pt x="4391" y="2206"/>
                </a:lnTo>
                <a:lnTo>
                  <a:pt x="4391" y="2206"/>
                </a:lnTo>
                <a:lnTo>
                  <a:pt x="4385" y="2206"/>
                </a:lnTo>
                <a:lnTo>
                  <a:pt x="4385" y="2206"/>
                </a:lnTo>
                <a:lnTo>
                  <a:pt x="4385" y="2206"/>
                </a:lnTo>
                <a:lnTo>
                  <a:pt x="4385" y="2194"/>
                </a:lnTo>
                <a:lnTo>
                  <a:pt x="4385" y="2194"/>
                </a:lnTo>
                <a:lnTo>
                  <a:pt x="4385" y="2194"/>
                </a:lnTo>
                <a:lnTo>
                  <a:pt x="4391" y="2194"/>
                </a:lnTo>
                <a:lnTo>
                  <a:pt x="4391" y="2194"/>
                </a:lnTo>
                <a:lnTo>
                  <a:pt x="4391" y="2194"/>
                </a:lnTo>
                <a:lnTo>
                  <a:pt x="4391" y="2194"/>
                </a:lnTo>
                <a:lnTo>
                  <a:pt x="4385" y="2194"/>
                </a:lnTo>
                <a:lnTo>
                  <a:pt x="4385" y="2194"/>
                </a:lnTo>
                <a:lnTo>
                  <a:pt x="4385" y="2194"/>
                </a:lnTo>
                <a:lnTo>
                  <a:pt x="4385" y="2189"/>
                </a:lnTo>
                <a:lnTo>
                  <a:pt x="4391" y="2189"/>
                </a:lnTo>
                <a:lnTo>
                  <a:pt x="4391" y="2194"/>
                </a:lnTo>
                <a:lnTo>
                  <a:pt x="4391" y="2200"/>
                </a:lnTo>
                <a:lnTo>
                  <a:pt x="4391" y="2200"/>
                </a:lnTo>
                <a:lnTo>
                  <a:pt x="4391" y="2200"/>
                </a:lnTo>
                <a:lnTo>
                  <a:pt x="4391" y="2200"/>
                </a:lnTo>
                <a:lnTo>
                  <a:pt x="4391" y="2200"/>
                </a:lnTo>
                <a:lnTo>
                  <a:pt x="4391" y="2206"/>
                </a:lnTo>
                <a:lnTo>
                  <a:pt x="4391" y="2206"/>
                </a:lnTo>
                <a:lnTo>
                  <a:pt x="4391" y="2206"/>
                </a:lnTo>
                <a:lnTo>
                  <a:pt x="4391" y="2212"/>
                </a:lnTo>
                <a:lnTo>
                  <a:pt x="4391" y="2212"/>
                </a:lnTo>
                <a:lnTo>
                  <a:pt x="4391" y="2212"/>
                </a:lnTo>
                <a:lnTo>
                  <a:pt x="4391" y="2212"/>
                </a:lnTo>
                <a:lnTo>
                  <a:pt x="4397" y="2212"/>
                </a:lnTo>
                <a:lnTo>
                  <a:pt x="4397" y="2212"/>
                </a:lnTo>
                <a:lnTo>
                  <a:pt x="4397" y="2212"/>
                </a:lnTo>
                <a:lnTo>
                  <a:pt x="4397" y="2212"/>
                </a:lnTo>
                <a:lnTo>
                  <a:pt x="4397" y="2212"/>
                </a:lnTo>
                <a:lnTo>
                  <a:pt x="4397" y="2212"/>
                </a:lnTo>
                <a:lnTo>
                  <a:pt x="4409" y="2206"/>
                </a:lnTo>
                <a:lnTo>
                  <a:pt x="4409" y="2206"/>
                </a:lnTo>
                <a:lnTo>
                  <a:pt x="4409" y="2206"/>
                </a:lnTo>
                <a:lnTo>
                  <a:pt x="4409" y="2206"/>
                </a:lnTo>
                <a:lnTo>
                  <a:pt x="4409" y="2206"/>
                </a:lnTo>
                <a:lnTo>
                  <a:pt x="4409" y="2206"/>
                </a:lnTo>
                <a:lnTo>
                  <a:pt x="4409" y="2206"/>
                </a:lnTo>
                <a:lnTo>
                  <a:pt x="4409" y="2206"/>
                </a:lnTo>
                <a:lnTo>
                  <a:pt x="4409" y="2206"/>
                </a:lnTo>
                <a:lnTo>
                  <a:pt x="4409" y="2206"/>
                </a:lnTo>
                <a:lnTo>
                  <a:pt x="4409" y="2200"/>
                </a:lnTo>
                <a:lnTo>
                  <a:pt x="4409" y="2200"/>
                </a:lnTo>
                <a:lnTo>
                  <a:pt x="4415" y="2200"/>
                </a:lnTo>
                <a:lnTo>
                  <a:pt x="4415" y="2200"/>
                </a:lnTo>
                <a:lnTo>
                  <a:pt x="4415" y="2200"/>
                </a:lnTo>
                <a:lnTo>
                  <a:pt x="4409" y="2200"/>
                </a:lnTo>
                <a:lnTo>
                  <a:pt x="4409" y="2200"/>
                </a:lnTo>
                <a:lnTo>
                  <a:pt x="4409" y="2200"/>
                </a:lnTo>
                <a:lnTo>
                  <a:pt x="4409" y="2200"/>
                </a:lnTo>
                <a:lnTo>
                  <a:pt x="4409" y="2200"/>
                </a:lnTo>
                <a:lnTo>
                  <a:pt x="4409" y="2200"/>
                </a:lnTo>
                <a:lnTo>
                  <a:pt x="4409" y="2200"/>
                </a:lnTo>
                <a:lnTo>
                  <a:pt x="4409" y="2200"/>
                </a:lnTo>
                <a:lnTo>
                  <a:pt x="4403" y="2206"/>
                </a:lnTo>
                <a:lnTo>
                  <a:pt x="4403" y="2206"/>
                </a:lnTo>
                <a:lnTo>
                  <a:pt x="4403" y="2206"/>
                </a:lnTo>
                <a:lnTo>
                  <a:pt x="4403" y="2206"/>
                </a:lnTo>
                <a:lnTo>
                  <a:pt x="4403" y="2206"/>
                </a:lnTo>
                <a:lnTo>
                  <a:pt x="4403" y="2200"/>
                </a:lnTo>
                <a:lnTo>
                  <a:pt x="4403" y="2200"/>
                </a:lnTo>
                <a:lnTo>
                  <a:pt x="4403" y="2200"/>
                </a:lnTo>
                <a:lnTo>
                  <a:pt x="4403" y="2200"/>
                </a:lnTo>
                <a:lnTo>
                  <a:pt x="4409" y="2200"/>
                </a:lnTo>
                <a:lnTo>
                  <a:pt x="4409" y="2194"/>
                </a:lnTo>
                <a:lnTo>
                  <a:pt x="4409" y="2194"/>
                </a:lnTo>
                <a:lnTo>
                  <a:pt x="4409" y="2194"/>
                </a:lnTo>
                <a:lnTo>
                  <a:pt x="4403" y="2194"/>
                </a:lnTo>
                <a:lnTo>
                  <a:pt x="4397" y="2194"/>
                </a:lnTo>
                <a:lnTo>
                  <a:pt x="4397" y="2189"/>
                </a:lnTo>
                <a:lnTo>
                  <a:pt x="4403" y="2189"/>
                </a:lnTo>
                <a:lnTo>
                  <a:pt x="4403" y="2189"/>
                </a:lnTo>
                <a:lnTo>
                  <a:pt x="4409" y="2189"/>
                </a:lnTo>
                <a:lnTo>
                  <a:pt x="4409" y="2189"/>
                </a:lnTo>
                <a:lnTo>
                  <a:pt x="4409" y="2189"/>
                </a:lnTo>
                <a:lnTo>
                  <a:pt x="4403" y="2189"/>
                </a:lnTo>
                <a:lnTo>
                  <a:pt x="4403" y="2189"/>
                </a:lnTo>
                <a:lnTo>
                  <a:pt x="4403" y="2189"/>
                </a:lnTo>
                <a:lnTo>
                  <a:pt x="4397" y="2189"/>
                </a:lnTo>
                <a:lnTo>
                  <a:pt x="4397" y="2189"/>
                </a:lnTo>
                <a:lnTo>
                  <a:pt x="4391" y="2189"/>
                </a:lnTo>
                <a:lnTo>
                  <a:pt x="4391" y="2189"/>
                </a:lnTo>
                <a:lnTo>
                  <a:pt x="4385" y="2189"/>
                </a:lnTo>
                <a:lnTo>
                  <a:pt x="4385" y="2189"/>
                </a:lnTo>
                <a:lnTo>
                  <a:pt x="4385" y="2183"/>
                </a:lnTo>
                <a:lnTo>
                  <a:pt x="4391" y="2183"/>
                </a:lnTo>
                <a:lnTo>
                  <a:pt x="4391" y="2183"/>
                </a:lnTo>
                <a:lnTo>
                  <a:pt x="4391" y="2183"/>
                </a:lnTo>
                <a:lnTo>
                  <a:pt x="4391" y="2183"/>
                </a:lnTo>
                <a:lnTo>
                  <a:pt x="4397" y="2183"/>
                </a:lnTo>
                <a:lnTo>
                  <a:pt x="4403" y="2183"/>
                </a:lnTo>
                <a:lnTo>
                  <a:pt x="4403" y="2183"/>
                </a:lnTo>
                <a:lnTo>
                  <a:pt x="4403" y="2183"/>
                </a:lnTo>
                <a:lnTo>
                  <a:pt x="4403" y="2183"/>
                </a:lnTo>
                <a:lnTo>
                  <a:pt x="4403" y="2183"/>
                </a:lnTo>
                <a:lnTo>
                  <a:pt x="4403" y="2183"/>
                </a:lnTo>
                <a:lnTo>
                  <a:pt x="4403" y="2183"/>
                </a:lnTo>
                <a:lnTo>
                  <a:pt x="4403" y="2183"/>
                </a:lnTo>
                <a:lnTo>
                  <a:pt x="4403" y="2183"/>
                </a:lnTo>
                <a:lnTo>
                  <a:pt x="4403" y="2183"/>
                </a:lnTo>
                <a:lnTo>
                  <a:pt x="4403" y="2183"/>
                </a:lnTo>
                <a:lnTo>
                  <a:pt x="4403" y="2183"/>
                </a:lnTo>
                <a:lnTo>
                  <a:pt x="4409" y="2183"/>
                </a:lnTo>
                <a:lnTo>
                  <a:pt x="4409" y="2183"/>
                </a:lnTo>
                <a:lnTo>
                  <a:pt x="4409" y="2189"/>
                </a:lnTo>
                <a:lnTo>
                  <a:pt x="4409" y="2189"/>
                </a:lnTo>
                <a:lnTo>
                  <a:pt x="4409" y="2189"/>
                </a:lnTo>
                <a:lnTo>
                  <a:pt x="4409" y="2189"/>
                </a:lnTo>
                <a:lnTo>
                  <a:pt x="4409" y="2189"/>
                </a:lnTo>
                <a:lnTo>
                  <a:pt x="4415" y="2189"/>
                </a:lnTo>
                <a:lnTo>
                  <a:pt x="4415" y="2189"/>
                </a:lnTo>
                <a:lnTo>
                  <a:pt x="4415" y="2189"/>
                </a:lnTo>
                <a:lnTo>
                  <a:pt x="4415" y="2189"/>
                </a:lnTo>
                <a:lnTo>
                  <a:pt x="4415" y="2189"/>
                </a:lnTo>
                <a:lnTo>
                  <a:pt x="4415" y="2189"/>
                </a:lnTo>
                <a:lnTo>
                  <a:pt x="4421" y="2189"/>
                </a:lnTo>
                <a:lnTo>
                  <a:pt x="4421" y="2189"/>
                </a:lnTo>
                <a:lnTo>
                  <a:pt x="4421" y="2183"/>
                </a:lnTo>
                <a:lnTo>
                  <a:pt x="4421" y="2183"/>
                </a:lnTo>
                <a:lnTo>
                  <a:pt x="4421" y="2183"/>
                </a:lnTo>
                <a:lnTo>
                  <a:pt x="4421" y="2183"/>
                </a:lnTo>
                <a:lnTo>
                  <a:pt x="4421" y="2183"/>
                </a:lnTo>
                <a:lnTo>
                  <a:pt x="4421" y="2189"/>
                </a:lnTo>
                <a:lnTo>
                  <a:pt x="4421" y="2189"/>
                </a:lnTo>
                <a:lnTo>
                  <a:pt x="4421" y="2189"/>
                </a:lnTo>
                <a:lnTo>
                  <a:pt x="4421" y="2189"/>
                </a:lnTo>
                <a:lnTo>
                  <a:pt x="4421" y="2189"/>
                </a:lnTo>
                <a:lnTo>
                  <a:pt x="4421" y="2189"/>
                </a:lnTo>
                <a:lnTo>
                  <a:pt x="4421" y="2189"/>
                </a:lnTo>
                <a:lnTo>
                  <a:pt x="4421" y="2189"/>
                </a:lnTo>
                <a:lnTo>
                  <a:pt x="4421" y="2189"/>
                </a:lnTo>
                <a:lnTo>
                  <a:pt x="4427" y="2189"/>
                </a:lnTo>
                <a:lnTo>
                  <a:pt x="4433" y="2183"/>
                </a:lnTo>
                <a:lnTo>
                  <a:pt x="4433" y="2183"/>
                </a:lnTo>
                <a:lnTo>
                  <a:pt x="4433" y="2183"/>
                </a:lnTo>
                <a:lnTo>
                  <a:pt x="4433" y="2183"/>
                </a:lnTo>
                <a:lnTo>
                  <a:pt x="4433" y="2177"/>
                </a:lnTo>
                <a:lnTo>
                  <a:pt x="4433" y="2177"/>
                </a:lnTo>
                <a:lnTo>
                  <a:pt x="4433" y="2177"/>
                </a:lnTo>
                <a:lnTo>
                  <a:pt x="4433" y="2177"/>
                </a:lnTo>
                <a:lnTo>
                  <a:pt x="4433" y="2177"/>
                </a:lnTo>
                <a:lnTo>
                  <a:pt x="4427" y="2171"/>
                </a:lnTo>
                <a:lnTo>
                  <a:pt x="4427" y="2171"/>
                </a:lnTo>
                <a:lnTo>
                  <a:pt x="4433" y="2171"/>
                </a:lnTo>
                <a:lnTo>
                  <a:pt x="4433" y="2171"/>
                </a:lnTo>
                <a:lnTo>
                  <a:pt x="4433" y="2177"/>
                </a:lnTo>
                <a:lnTo>
                  <a:pt x="4438" y="2177"/>
                </a:lnTo>
                <a:lnTo>
                  <a:pt x="4438" y="2177"/>
                </a:lnTo>
                <a:lnTo>
                  <a:pt x="4438" y="2177"/>
                </a:lnTo>
                <a:lnTo>
                  <a:pt x="4438" y="2177"/>
                </a:lnTo>
                <a:lnTo>
                  <a:pt x="4438" y="2177"/>
                </a:lnTo>
                <a:lnTo>
                  <a:pt x="4444" y="2177"/>
                </a:lnTo>
                <a:lnTo>
                  <a:pt x="4444" y="2177"/>
                </a:lnTo>
                <a:lnTo>
                  <a:pt x="4450" y="2177"/>
                </a:lnTo>
                <a:lnTo>
                  <a:pt x="4450" y="2177"/>
                </a:lnTo>
                <a:lnTo>
                  <a:pt x="4456" y="2171"/>
                </a:lnTo>
                <a:lnTo>
                  <a:pt x="4456" y="2171"/>
                </a:lnTo>
                <a:lnTo>
                  <a:pt x="4456" y="2171"/>
                </a:lnTo>
                <a:lnTo>
                  <a:pt x="4456" y="2171"/>
                </a:lnTo>
                <a:lnTo>
                  <a:pt x="4450" y="2171"/>
                </a:lnTo>
                <a:lnTo>
                  <a:pt x="4450" y="2171"/>
                </a:lnTo>
                <a:lnTo>
                  <a:pt x="4450" y="2171"/>
                </a:lnTo>
                <a:lnTo>
                  <a:pt x="4456" y="2171"/>
                </a:lnTo>
                <a:lnTo>
                  <a:pt x="4456" y="2171"/>
                </a:lnTo>
                <a:lnTo>
                  <a:pt x="4456" y="2171"/>
                </a:lnTo>
                <a:lnTo>
                  <a:pt x="4462" y="2171"/>
                </a:lnTo>
                <a:lnTo>
                  <a:pt x="4462" y="2171"/>
                </a:lnTo>
                <a:lnTo>
                  <a:pt x="4462" y="2171"/>
                </a:lnTo>
                <a:lnTo>
                  <a:pt x="4468" y="2165"/>
                </a:lnTo>
                <a:lnTo>
                  <a:pt x="4468" y="2165"/>
                </a:lnTo>
                <a:lnTo>
                  <a:pt x="4468" y="2165"/>
                </a:lnTo>
                <a:lnTo>
                  <a:pt x="4468" y="2159"/>
                </a:lnTo>
                <a:lnTo>
                  <a:pt x="4468" y="2159"/>
                </a:lnTo>
                <a:lnTo>
                  <a:pt x="4468" y="2159"/>
                </a:lnTo>
                <a:lnTo>
                  <a:pt x="4468" y="2159"/>
                </a:lnTo>
                <a:lnTo>
                  <a:pt x="4468" y="2159"/>
                </a:lnTo>
                <a:lnTo>
                  <a:pt x="4468" y="2159"/>
                </a:lnTo>
                <a:lnTo>
                  <a:pt x="4462" y="2159"/>
                </a:lnTo>
                <a:lnTo>
                  <a:pt x="4462" y="2159"/>
                </a:lnTo>
                <a:lnTo>
                  <a:pt x="4462" y="2159"/>
                </a:lnTo>
                <a:lnTo>
                  <a:pt x="4462" y="2159"/>
                </a:lnTo>
                <a:lnTo>
                  <a:pt x="4462" y="2153"/>
                </a:lnTo>
                <a:lnTo>
                  <a:pt x="4462" y="2153"/>
                </a:lnTo>
                <a:lnTo>
                  <a:pt x="4456" y="2153"/>
                </a:lnTo>
                <a:lnTo>
                  <a:pt x="4456" y="2153"/>
                </a:lnTo>
                <a:lnTo>
                  <a:pt x="4456" y="2153"/>
                </a:lnTo>
                <a:lnTo>
                  <a:pt x="4456" y="2153"/>
                </a:lnTo>
                <a:lnTo>
                  <a:pt x="4456" y="2153"/>
                </a:lnTo>
                <a:lnTo>
                  <a:pt x="4462" y="2153"/>
                </a:lnTo>
                <a:lnTo>
                  <a:pt x="4462" y="2153"/>
                </a:lnTo>
                <a:lnTo>
                  <a:pt x="4462" y="2153"/>
                </a:lnTo>
                <a:lnTo>
                  <a:pt x="4462" y="2153"/>
                </a:lnTo>
                <a:lnTo>
                  <a:pt x="4462" y="2153"/>
                </a:lnTo>
                <a:lnTo>
                  <a:pt x="4462" y="2147"/>
                </a:lnTo>
                <a:lnTo>
                  <a:pt x="4462" y="2147"/>
                </a:lnTo>
                <a:lnTo>
                  <a:pt x="4462" y="2147"/>
                </a:lnTo>
                <a:lnTo>
                  <a:pt x="4462" y="2147"/>
                </a:lnTo>
                <a:lnTo>
                  <a:pt x="4462" y="2147"/>
                </a:lnTo>
                <a:lnTo>
                  <a:pt x="4462" y="2147"/>
                </a:lnTo>
                <a:lnTo>
                  <a:pt x="4462" y="2147"/>
                </a:lnTo>
                <a:lnTo>
                  <a:pt x="4462" y="2147"/>
                </a:lnTo>
                <a:lnTo>
                  <a:pt x="4462" y="2147"/>
                </a:lnTo>
                <a:lnTo>
                  <a:pt x="4462" y="2147"/>
                </a:lnTo>
                <a:lnTo>
                  <a:pt x="4462" y="2147"/>
                </a:lnTo>
                <a:lnTo>
                  <a:pt x="4462" y="2147"/>
                </a:lnTo>
                <a:lnTo>
                  <a:pt x="4468" y="2147"/>
                </a:lnTo>
                <a:lnTo>
                  <a:pt x="4468" y="2147"/>
                </a:lnTo>
                <a:lnTo>
                  <a:pt x="4468" y="2147"/>
                </a:lnTo>
                <a:lnTo>
                  <a:pt x="4468" y="2147"/>
                </a:lnTo>
                <a:lnTo>
                  <a:pt x="4468" y="2147"/>
                </a:lnTo>
                <a:lnTo>
                  <a:pt x="4462" y="2153"/>
                </a:lnTo>
                <a:lnTo>
                  <a:pt x="4462" y="2153"/>
                </a:lnTo>
                <a:lnTo>
                  <a:pt x="4462" y="2153"/>
                </a:lnTo>
                <a:lnTo>
                  <a:pt x="4468" y="2153"/>
                </a:lnTo>
                <a:lnTo>
                  <a:pt x="4468" y="2153"/>
                </a:lnTo>
                <a:lnTo>
                  <a:pt x="4468" y="2153"/>
                </a:lnTo>
                <a:lnTo>
                  <a:pt x="4468" y="2153"/>
                </a:lnTo>
                <a:lnTo>
                  <a:pt x="4468" y="2159"/>
                </a:lnTo>
                <a:lnTo>
                  <a:pt x="4474" y="2153"/>
                </a:lnTo>
                <a:lnTo>
                  <a:pt x="4474" y="2153"/>
                </a:lnTo>
                <a:lnTo>
                  <a:pt x="4480" y="2153"/>
                </a:lnTo>
                <a:lnTo>
                  <a:pt x="4480" y="2147"/>
                </a:lnTo>
                <a:lnTo>
                  <a:pt x="4486" y="2147"/>
                </a:lnTo>
                <a:lnTo>
                  <a:pt x="4486" y="2147"/>
                </a:lnTo>
                <a:lnTo>
                  <a:pt x="4486" y="2141"/>
                </a:lnTo>
                <a:lnTo>
                  <a:pt x="4486" y="2141"/>
                </a:lnTo>
                <a:lnTo>
                  <a:pt x="4486" y="2141"/>
                </a:lnTo>
                <a:lnTo>
                  <a:pt x="4492" y="2141"/>
                </a:lnTo>
                <a:lnTo>
                  <a:pt x="4492" y="2141"/>
                </a:lnTo>
                <a:lnTo>
                  <a:pt x="4492" y="2141"/>
                </a:lnTo>
                <a:lnTo>
                  <a:pt x="4492" y="2141"/>
                </a:lnTo>
                <a:lnTo>
                  <a:pt x="4498" y="2135"/>
                </a:lnTo>
                <a:lnTo>
                  <a:pt x="4498" y="2135"/>
                </a:lnTo>
                <a:lnTo>
                  <a:pt x="4498" y="2135"/>
                </a:lnTo>
                <a:lnTo>
                  <a:pt x="4498" y="2135"/>
                </a:lnTo>
                <a:lnTo>
                  <a:pt x="4498" y="2135"/>
                </a:lnTo>
                <a:lnTo>
                  <a:pt x="4498" y="2135"/>
                </a:lnTo>
                <a:lnTo>
                  <a:pt x="4492" y="2135"/>
                </a:lnTo>
                <a:lnTo>
                  <a:pt x="4492" y="2135"/>
                </a:lnTo>
                <a:lnTo>
                  <a:pt x="4492" y="2135"/>
                </a:lnTo>
                <a:lnTo>
                  <a:pt x="4492" y="2135"/>
                </a:lnTo>
                <a:lnTo>
                  <a:pt x="4492" y="2135"/>
                </a:lnTo>
                <a:lnTo>
                  <a:pt x="4492" y="2129"/>
                </a:lnTo>
                <a:lnTo>
                  <a:pt x="4498" y="2129"/>
                </a:lnTo>
                <a:lnTo>
                  <a:pt x="4498" y="2123"/>
                </a:lnTo>
                <a:lnTo>
                  <a:pt x="4498" y="2123"/>
                </a:lnTo>
                <a:lnTo>
                  <a:pt x="4498" y="2123"/>
                </a:lnTo>
                <a:lnTo>
                  <a:pt x="4504" y="2123"/>
                </a:lnTo>
                <a:lnTo>
                  <a:pt x="4504" y="2123"/>
                </a:lnTo>
                <a:lnTo>
                  <a:pt x="4504" y="2123"/>
                </a:lnTo>
                <a:lnTo>
                  <a:pt x="4504" y="2123"/>
                </a:lnTo>
                <a:lnTo>
                  <a:pt x="4504" y="2129"/>
                </a:lnTo>
                <a:lnTo>
                  <a:pt x="4504" y="2129"/>
                </a:lnTo>
                <a:lnTo>
                  <a:pt x="4510" y="2129"/>
                </a:lnTo>
                <a:lnTo>
                  <a:pt x="4510" y="2129"/>
                </a:lnTo>
                <a:lnTo>
                  <a:pt x="4510" y="2129"/>
                </a:lnTo>
                <a:lnTo>
                  <a:pt x="4510" y="2129"/>
                </a:lnTo>
                <a:lnTo>
                  <a:pt x="4510" y="2129"/>
                </a:lnTo>
                <a:lnTo>
                  <a:pt x="4510" y="2129"/>
                </a:lnTo>
                <a:lnTo>
                  <a:pt x="4510" y="2123"/>
                </a:lnTo>
                <a:lnTo>
                  <a:pt x="4515" y="2123"/>
                </a:lnTo>
                <a:lnTo>
                  <a:pt x="4515" y="2123"/>
                </a:lnTo>
                <a:lnTo>
                  <a:pt x="4515" y="2123"/>
                </a:lnTo>
                <a:lnTo>
                  <a:pt x="4515" y="2123"/>
                </a:lnTo>
                <a:lnTo>
                  <a:pt x="4515" y="2123"/>
                </a:lnTo>
                <a:lnTo>
                  <a:pt x="4515" y="2123"/>
                </a:lnTo>
                <a:lnTo>
                  <a:pt x="4515" y="2117"/>
                </a:lnTo>
                <a:lnTo>
                  <a:pt x="4521" y="2117"/>
                </a:lnTo>
                <a:lnTo>
                  <a:pt x="4521" y="2117"/>
                </a:lnTo>
                <a:lnTo>
                  <a:pt x="4527" y="2117"/>
                </a:lnTo>
                <a:lnTo>
                  <a:pt x="4527" y="2117"/>
                </a:lnTo>
                <a:lnTo>
                  <a:pt x="4527" y="2111"/>
                </a:lnTo>
                <a:lnTo>
                  <a:pt x="4521" y="2111"/>
                </a:lnTo>
                <a:lnTo>
                  <a:pt x="4521" y="2111"/>
                </a:lnTo>
                <a:lnTo>
                  <a:pt x="4521" y="2111"/>
                </a:lnTo>
                <a:lnTo>
                  <a:pt x="4521" y="2111"/>
                </a:lnTo>
                <a:lnTo>
                  <a:pt x="4527" y="2111"/>
                </a:lnTo>
                <a:lnTo>
                  <a:pt x="4527" y="2111"/>
                </a:lnTo>
                <a:lnTo>
                  <a:pt x="4527" y="2111"/>
                </a:lnTo>
                <a:lnTo>
                  <a:pt x="4527" y="2111"/>
                </a:lnTo>
                <a:lnTo>
                  <a:pt x="4527" y="2111"/>
                </a:lnTo>
                <a:lnTo>
                  <a:pt x="4527" y="2111"/>
                </a:lnTo>
                <a:lnTo>
                  <a:pt x="4527" y="2111"/>
                </a:lnTo>
                <a:lnTo>
                  <a:pt x="4527" y="2111"/>
                </a:lnTo>
                <a:lnTo>
                  <a:pt x="4527" y="2111"/>
                </a:lnTo>
                <a:lnTo>
                  <a:pt x="4527" y="2111"/>
                </a:lnTo>
                <a:lnTo>
                  <a:pt x="4527" y="2106"/>
                </a:lnTo>
                <a:lnTo>
                  <a:pt x="4527" y="2106"/>
                </a:lnTo>
                <a:lnTo>
                  <a:pt x="4527" y="2106"/>
                </a:lnTo>
                <a:lnTo>
                  <a:pt x="4533" y="2111"/>
                </a:lnTo>
                <a:lnTo>
                  <a:pt x="4533" y="2111"/>
                </a:lnTo>
                <a:lnTo>
                  <a:pt x="4533" y="2111"/>
                </a:lnTo>
                <a:lnTo>
                  <a:pt x="4533" y="2106"/>
                </a:lnTo>
                <a:lnTo>
                  <a:pt x="4533" y="2106"/>
                </a:lnTo>
                <a:lnTo>
                  <a:pt x="4533" y="2106"/>
                </a:lnTo>
                <a:lnTo>
                  <a:pt x="4533" y="2106"/>
                </a:lnTo>
                <a:lnTo>
                  <a:pt x="4539" y="2106"/>
                </a:lnTo>
                <a:lnTo>
                  <a:pt x="4533" y="2106"/>
                </a:lnTo>
                <a:lnTo>
                  <a:pt x="4533" y="2106"/>
                </a:lnTo>
                <a:lnTo>
                  <a:pt x="4533" y="2100"/>
                </a:lnTo>
                <a:lnTo>
                  <a:pt x="4533" y="2100"/>
                </a:lnTo>
                <a:lnTo>
                  <a:pt x="4533" y="2100"/>
                </a:lnTo>
                <a:lnTo>
                  <a:pt x="4533" y="2100"/>
                </a:lnTo>
                <a:lnTo>
                  <a:pt x="4533" y="2100"/>
                </a:lnTo>
                <a:lnTo>
                  <a:pt x="4527" y="2100"/>
                </a:lnTo>
                <a:lnTo>
                  <a:pt x="4527" y="2094"/>
                </a:lnTo>
                <a:lnTo>
                  <a:pt x="4527" y="2094"/>
                </a:lnTo>
                <a:lnTo>
                  <a:pt x="4527" y="2094"/>
                </a:lnTo>
                <a:lnTo>
                  <a:pt x="4527" y="2094"/>
                </a:lnTo>
                <a:lnTo>
                  <a:pt x="4527" y="2088"/>
                </a:lnTo>
                <a:lnTo>
                  <a:pt x="4527" y="2088"/>
                </a:lnTo>
                <a:lnTo>
                  <a:pt x="4527" y="2088"/>
                </a:lnTo>
                <a:lnTo>
                  <a:pt x="4527" y="2088"/>
                </a:lnTo>
                <a:lnTo>
                  <a:pt x="4527" y="2088"/>
                </a:lnTo>
                <a:lnTo>
                  <a:pt x="4533" y="2076"/>
                </a:lnTo>
                <a:lnTo>
                  <a:pt x="4533" y="2076"/>
                </a:lnTo>
                <a:lnTo>
                  <a:pt x="4533" y="2076"/>
                </a:lnTo>
                <a:lnTo>
                  <a:pt x="4533" y="2076"/>
                </a:lnTo>
                <a:lnTo>
                  <a:pt x="4533" y="2076"/>
                </a:lnTo>
                <a:lnTo>
                  <a:pt x="4533" y="2076"/>
                </a:lnTo>
                <a:lnTo>
                  <a:pt x="4533" y="2082"/>
                </a:lnTo>
                <a:lnTo>
                  <a:pt x="4527" y="2082"/>
                </a:lnTo>
                <a:lnTo>
                  <a:pt x="4527" y="2088"/>
                </a:lnTo>
                <a:lnTo>
                  <a:pt x="4527" y="2088"/>
                </a:lnTo>
                <a:lnTo>
                  <a:pt x="4527" y="2088"/>
                </a:lnTo>
                <a:lnTo>
                  <a:pt x="4527" y="2094"/>
                </a:lnTo>
                <a:lnTo>
                  <a:pt x="4533" y="2094"/>
                </a:lnTo>
                <a:lnTo>
                  <a:pt x="4533" y="2094"/>
                </a:lnTo>
                <a:lnTo>
                  <a:pt x="4533" y="2094"/>
                </a:lnTo>
                <a:lnTo>
                  <a:pt x="4533" y="2094"/>
                </a:lnTo>
                <a:lnTo>
                  <a:pt x="4533" y="2094"/>
                </a:lnTo>
                <a:lnTo>
                  <a:pt x="4533" y="2094"/>
                </a:lnTo>
                <a:lnTo>
                  <a:pt x="4533" y="2100"/>
                </a:lnTo>
                <a:lnTo>
                  <a:pt x="4533" y="2100"/>
                </a:lnTo>
                <a:lnTo>
                  <a:pt x="4533" y="2100"/>
                </a:lnTo>
                <a:lnTo>
                  <a:pt x="4533" y="2100"/>
                </a:lnTo>
                <a:lnTo>
                  <a:pt x="4539" y="2100"/>
                </a:lnTo>
                <a:lnTo>
                  <a:pt x="4539" y="2100"/>
                </a:lnTo>
                <a:lnTo>
                  <a:pt x="4539" y="2100"/>
                </a:lnTo>
                <a:lnTo>
                  <a:pt x="4539" y="2088"/>
                </a:lnTo>
                <a:lnTo>
                  <a:pt x="4539" y="2088"/>
                </a:lnTo>
                <a:lnTo>
                  <a:pt x="4539" y="2082"/>
                </a:lnTo>
                <a:lnTo>
                  <a:pt x="4539" y="2082"/>
                </a:lnTo>
                <a:lnTo>
                  <a:pt x="4539" y="2076"/>
                </a:lnTo>
                <a:lnTo>
                  <a:pt x="4551" y="2064"/>
                </a:lnTo>
                <a:lnTo>
                  <a:pt x="4563" y="2052"/>
                </a:lnTo>
                <a:lnTo>
                  <a:pt x="4563" y="2046"/>
                </a:lnTo>
                <a:lnTo>
                  <a:pt x="4569" y="2046"/>
                </a:lnTo>
                <a:lnTo>
                  <a:pt x="4575" y="2040"/>
                </a:lnTo>
                <a:lnTo>
                  <a:pt x="4581" y="2034"/>
                </a:lnTo>
                <a:lnTo>
                  <a:pt x="4587" y="2028"/>
                </a:lnTo>
                <a:lnTo>
                  <a:pt x="4593" y="2028"/>
                </a:lnTo>
                <a:lnTo>
                  <a:pt x="4598" y="2028"/>
                </a:lnTo>
                <a:lnTo>
                  <a:pt x="4598" y="2022"/>
                </a:lnTo>
                <a:lnTo>
                  <a:pt x="4598" y="2022"/>
                </a:lnTo>
                <a:lnTo>
                  <a:pt x="4598" y="2022"/>
                </a:lnTo>
                <a:lnTo>
                  <a:pt x="4593" y="2022"/>
                </a:lnTo>
                <a:lnTo>
                  <a:pt x="4593" y="2022"/>
                </a:lnTo>
                <a:lnTo>
                  <a:pt x="4593" y="2022"/>
                </a:lnTo>
                <a:lnTo>
                  <a:pt x="4598" y="2022"/>
                </a:lnTo>
                <a:lnTo>
                  <a:pt x="4598" y="2022"/>
                </a:lnTo>
                <a:lnTo>
                  <a:pt x="4598" y="2022"/>
                </a:lnTo>
                <a:lnTo>
                  <a:pt x="4598" y="2022"/>
                </a:lnTo>
                <a:lnTo>
                  <a:pt x="4598" y="2022"/>
                </a:lnTo>
                <a:lnTo>
                  <a:pt x="4598" y="2022"/>
                </a:lnTo>
                <a:lnTo>
                  <a:pt x="4598" y="2022"/>
                </a:lnTo>
                <a:lnTo>
                  <a:pt x="4598" y="2022"/>
                </a:lnTo>
                <a:lnTo>
                  <a:pt x="4604" y="2022"/>
                </a:lnTo>
                <a:lnTo>
                  <a:pt x="4604" y="2022"/>
                </a:lnTo>
                <a:lnTo>
                  <a:pt x="4616" y="2017"/>
                </a:lnTo>
                <a:lnTo>
                  <a:pt x="4616" y="2017"/>
                </a:lnTo>
                <a:lnTo>
                  <a:pt x="4616" y="2017"/>
                </a:lnTo>
                <a:lnTo>
                  <a:pt x="4616" y="2017"/>
                </a:lnTo>
                <a:lnTo>
                  <a:pt x="4616" y="2017"/>
                </a:lnTo>
                <a:lnTo>
                  <a:pt x="4616" y="2017"/>
                </a:lnTo>
                <a:lnTo>
                  <a:pt x="4616" y="2017"/>
                </a:lnTo>
                <a:lnTo>
                  <a:pt x="4616" y="2017"/>
                </a:lnTo>
                <a:lnTo>
                  <a:pt x="4616" y="2017"/>
                </a:lnTo>
                <a:lnTo>
                  <a:pt x="4622" y="2017"/>
                </a:lnTo>
                <a:lnTo>
                  <a:pt x="4628" y="2017"/>
                </a:lnTo>
                <a:lnTo>
                  <a:pt x="4634" y="2017"/>
                </a:lnTo>
                <a:lnTo>
                  <a:pt x="4634" y="2017"/>
                </a:lnTo>
                <a:lnTo>
                  <a:pt x="4640" y="2017"/>
                </a:lnTo>
                <a:lnTo>
                  <a:pt x="4640" y="2017"/>
                </a:lnTo>
                <a:lnTo>
                  <a:pt x="4652" y="2022"/>
                </a:lnTo>
                <a:lnTo>
                  <a:pt x="4652" y="2022"/>
                </a:lnTo>
                <a:lnTo>
                  <a:pt x="4652" y="2022"/>
                </a:lnTo>
                <a:lnTo>
                  <a:pt x="4652" y="2022"/>
                </a:lnTo>
                <a:lnTo>
                  <a:pt x="4652" y="2022"/>
                </a:lnTo>
                <a:lnTo>
                  <a:pt x="4652" y="2017"/>
                </a:lnTo>
                <a:lnTo>
                  <a:pt x="4658" y="2017"/>
                </a:lnTo>
                <a:lnTo>
                  <a:pt x="4658" y="2011"/>
                </a:lnTo>
                <a:lnTo>
                  <a:pt x="4658" y="2011"/>
                </a:lnTo>
                <a:lnTo>
                  <a:pt x="4658" y="2011"/>
                </a:lnTo>
                <a:lnTo>
                  <a:pt x="4658" y="2005"/>
                </a:lnTo>
                <a:lnTo>
                  <a:pt x="4658" y="2005"/>
                </a:lnTo>
                <a:lnTo>
                  <a:pt x="4658" y="1999"/>
                </a:lnTo>
                <a:lnTo>
                  <a:pt x="4658" y="1999"/>
                </a:lnTo>
                <a:lnTo>
                  <a:pt x="4658" y="1999"/>
                </a:lnTo>
                <a:lnTo>
                  <a:pt x="4658" y="1999"/>
                </a:lnTo>
                <a:lnTo>
                  <a:pt x="4658" y="1993"/>
                </a:lnTo>
                <a:lnTo>
                  <a:pt x="4658" y="1987"/>
                </a:lnTo>
                <a:lnTo>
                  <a:pt x="4658" y="1987"/>
                </a:lnTo>
                <a:lnTo>
                  <a:pt x="4658" y="1987"/>
                </a:lnTo>
                <a:lnTo>
                  <a:pt x="4658" y="1993"/>
                </a:lnTo>
                <a:lnTo>
                  <a:pt x="4664" y="1993"/>
                </a:lnTo>
                <a:lnTo>
                  <a:pt x="4664" y="1999"/>
                </a:lnTo>
                <a:lnTo>
                  <a:pt x="4664" y="2011"/>
                </a:lnTo>
                <a:lnTo>
                  <a:pt x="4658" y="2011"/>
                </a:lnTo>
                <a:lnTo>
                  <a:pt x="4658" y="2011"/>
                </a:lnTo>
                <a:lnTo>
                  <a:pt x="4658" y="2011"/>
                </a:lnTo>
                <a:lnTo>
                  <a:pt x="4664" y="2011"/>
                </a:lnTo>
                <a:lnTo>
                  <a:pt x="4664" y="2011"/>
                </a:lnTo>
                <a:lnTo>
                  <a:pt x="4664" y="2011"/>
                </a:lnTo>
                <a:lnTo>
                  <a:pt x="4664" y="2017"/>
                </a:lnTo>
                <a:lnTo>
                  <a:pt x="4658" y="2017"/>
                </a:lnTo>
                <a:lnTo>
                  <a:pt x="4664" y="2017"/>
                </a:lnTo>
                <a:lnTo>
                  <a:pt x="4664" y="2011"/>
                </a:lnTo>
                <a:lnTo>
                  <a:pt x="4664" y="2011"/>
                </a:lnTo>
                <a:lnTo>
                  <a:pt x="4664" y="2005"/>
                </a:lnTo>
                <a:lnTo>
                  <a:pt x="4664" y="1999"/>
                </a:lnTo>
                <a:lnTo>
                  <a:pt x="4670" y="1993"/>
                </a:lnTo>
                <a:lnTo>
                  <a:pt x="4670" y="1993"/>
                </a:lnTo>
                <a:lnTo>
                  <a:pt x="4670" y="1987"/>
                </a:lnTo>
                <a:lnTo>
                  <a:pt x="4670" y="1987"/>
                </a:lnTo>
                <a:lnTo>
                  <a:pt x="4670" y="1981"/>
                </a:lnTo>
                <a:lnTo>
                  <a:pt x="4670" y="1981"/>
                </a:lnTo>
                <a:lnTo>
                  <a:pt x="4675" y="1981"/>
                </a:lnTo>
                <a:lnTo>
                  <a:pt x="4681" y="1969"/>
                </a:lnTo>
                <a:lnTo>
                  <a:pt x="4687" y="1963"/>
                </a:lnTo>
                <a:lnTo>
                  <a:pt x="4699" y="1951"/>
                </a:lnTo>
                <a:lnTo>
                  <a:pt x="4711" y="1945"/>
                </a:lnTo>
                <a:lnTo>
                  <a:pt x="4711" y="1945"/>
                </a:lnTo>
                <a:lnTo>
                  <a:pt x="4711" y="1945"/>
                </a:lnTo>
                <a:lnTo>
                  <a:pt x="4711" y="1945"/>
                </a:lnTo>
                <a:lnTo>
                  <a:pt x="4717" y="1945"/>
                </a:lnTo>
                <a:lnTo>
                  <a:pt x="4717" y="1945"/>
                </a:lnTo>
                <a:lnTo>
                  <a:pt x="4717" y="1945"/>
                </a:lnTo>
                <a:lnTo>
                  <a:pt x="4717" y="1945"/>
                </a:lnTo>
                <a:lnTo>
                  <a:pt x="4717" y="1945"/>
                </a:lnTo>
                <a:lnTo>
                  <a:pt x="4717" y="1945"/>
                </a:lnTo>
                <a:lnTo>
                  <a:pt x="4717" y="1939"/>
                </a:lnTo>
                <a:lnTo>
                  <a:pt x="4717" y="1939"/>
                </a:lnTo>
                <a:lnTo>
                  <a:pt x="4711" y="1939"/>
                </a:lnTo>
                <a:lnTo>
                  <a:pt x="4711" y="1939"/>
                </a:lnTo>
                <a:lnTo>
                  <a:pt x="4711" y="1939"/>
                </a:lnTo>
                <a:lnTo>
                  <a:pt x="4711" y="1939"/>
                </a:lnTo>
                <a:lnTo>
                  <a:pt x="4711" y="1939"/>
                </a:lnTo>
                <a:lnTo>
                  <a:pt x="4711" y="1939"/>
                </a:lnTo>
                <a:lnTo>
                  <a:pt x="4711" y="1939"/>
                </a:lnTo>
                <a:lnTo>
                  <a:pt x="4711" y="1939"/>
                </a:lnTo>
                <a:lnTo>
                  <a:pt x="4711" y="1934"/>
                </a:lnTo>
                <a:lnTo>
                  <a:pt x="4711" y="1934"/>
                </a:lnTo>
                <a:lnTo>
                  <a:pt x="4711" y="1934"/>
                </a:lnTo>
                <a:lnTo>
                  <a:pt x="4711" y="1934"/>
                </a:lnTo>
                <a:lnTo>
                  <a:pt x="4711" y="1934"/>
                </a:lnTo>
                <a:lnTo>
                  <a:pt x="4711" y="1934"/>
                </a:lnTo>
                <a:lnTo>
                  <a:pt x="4711" y="1934"/>
                </a:lnTo>
                <a:lnTo>
                  <a:pt x="4711" y="1934"/>
                </a:lnTo>
                <a:lnTo>
                  <a:pt x="4717" y="1934"/>
                </a:lnTo>
                <a:lnTo>
                  <a:pt x="4717" y="1934"/>
                </a:lnTo>
                <a:lnTo>
                  <a:pt x="4717" y="1934"/>
                </a:lnTo>
                <a:lnTo>
                  <a:pt x="4717" y="1928"/>
                </a:lnTo>
                <a:lnTo>
                  <a:pt x="4717" y="1928"/>
                </a:lnTo>
                <a:lnTo>
                  <a:pt x="4717" y="1928"/>
                </a:lnTo>
                <a:lnTo>
                  <a:pt x="4717" y="1928"/>
                </a:lnTo>
                <a:lnTo>
                  <a:pt x="4711" y="1928"/>
                </a:lnTo>
                <a:lnTo>
                  <a:pt x="4711" y="1928"/>
                </a:lnTo>
                <a:lnTo>
                  <a:pt x="4711" y="1928"/>
                </a:lnTo>
                <a:lnTo>
                  <a:pt x="4711" y="1922"/>
                </a:lnTo>
                <a:lnTo>
                  <a:pt x="4711" y="1922"/>
                </a:lnTo>
                <a:lnTo>
                  <a:pt x="4711" y="1916"/>
                </a:lnTo>
                <a:lnTo>
                  <a:pt x="4711" y="1922"/>
                </a:lnTo>
                <a:lnTo>
                  <a:pt x="4711" y="1922"/>
                </a:lnTo>
                <a:lnTo>
                  <a:pt x="4711" y="1922"/>
                </a:lnTo>
                <a:lnTo>
                  <a:pt x="4717" y="1922"/>
                </a:lnTo>
                <a:lnTo>
                  <a:pt x="4717" y="1922"/>
                </a:lnTo>
                <a:lnTo>
                  <a:pt x="4717" y="1922"/>
                </a:lnTo>
                <a:lnTo>
                  <a:pt x="4717" y="1922"/>
                </a:lnTo>
                <a:lnTo>
                  <a:pt x="4717" y="1922"/>
                </a:lnTo>
                <a:lnTo>
                  <a:pt x="4717" y="1922"/>
                </a:lnTo>
                <a:lnTo>
                  <a:pt x="4717" y="1922"/>
                </a:lnTo>
                <a:lnTo>
                  <a:pt x="4717" y="1922"/>
                </a:lnTo>
                <a:lnTo>
                  <a:pt x="4717" y="1928"/>
                </a:lnTo>
                <a:lnTo>
                  <a:pt x="4717" y="1928"/>
                </a:lnTo>
                <a:lnTo>
                  <a:pt x="4723" y="1928"/>
                </a:lnTo>
                <a:lnTo>
                  <a:pt x="4723" y="1928"/>
                </a:lnTo>
                <a:lnTo>
                  <a:pt x="4717" y="1934"/>
                </a:lnTo>
                <a:lnTo>
                  <a:pt x="4717" y="1934"/>
                </a:lnTo>
                <a:lnTo>
                  <a:pt x="4711" y="1939"/>
                </a:lnTo>
                <a:lnTo>
                  <a:pt x="4717" y="1939"/>
                </a:lnTo>
                <a:lnTo>
                  <a:pt x="4717" y="1939"/>
                </a:lnTo>
                <a:lnTo>
                  <a:pt x="4717" y="1939"/>
                </a:lnTo>
                <a:lnTo>
                  <a:pt x="4723" y="1939"/>
                </a:lnTo>
                <a:lnTo>
                  <a:pt x="4723" y="1939"/>
                </a:lnTo>
                <a:lnTo>
                  <a:pt x="4723" y="1939"/>
                </a:lnTo>
                <a:lnTo>
                  <a:pt x="4723" y="1939"/>
                </a:lnTo>
                <a:lnTo>
                  <a:pt x="4729" y="1934"/>
                </a:lnTo>
                <a:lnTo>
                  <a:pt x="4729" y="1934"/>
                </a:lnTo>
                <a:lnTo>
                  <a:pt x="4735" y="1928"/>
                </a:lnTo>
                <a:lnTo>
                  <a:pt x="4735" y="1928"/>
                </a:lnTo>
                <a:lnTo>
                  <a:pt x="4735" y="1928"/>
                </a:lnTo>
                <a:lnTo>
                  <a:pt x="4735" y="1928"/>
                </a:lnTo>
                <a:lnTo>
                  <a:pt x="4735" y="1928"/>
                </a:lnTo>
                <a:lnTo>
                  <a:pt x="4735" y="1928"/>
                </a:lnTo>
                <a:lnTo>
                  <a:pt x="4735" y="1928"/>
                </a:lnTo>
                <a:lnTo>
                  <a:pt x="4735" y="1922"/>
                </a:lnTo>
                <a:lnTo>
                  <a:pt x="4735" y="1922"/>
                </a:lnTo>
                <a:lnTo>
                  <a:pt x="4741" y="1928"/>
                </a:lnTo>
                <a:lnTo>
                  <a:pt x="4741" y="1928"/>
                </a:lnTo>
                <a:lnTo>
                  <a:pt x="4741" y="1928"/>
                </a:lnTo>
                <a:lnTo>
                  <a:pt x="4741" y="1928"/>
                </a:lnTo>
                <a:lnTo>
                  <a:pt x="4741" y="1922"/>
                </a:lnTo>
                <a:lnTo>
                  <a:pt x="4741" y="1922"/>
                </a:lnTo>
                <a:lnTo>
                  <a:pt x="4741" y="1922"/>
                </a:lnTo>
                <a:lnTo>
                  <a:pt x="4741" y="1922"/>
                </a:lnTo>
                <a:lnTo>
                  <a:pt x="4741" y="1922"/>
                </a:lnTo>
                <a:lnTo>
                  <a:pt x="4741" y="1922"/>
                </a:lnTo>
                <a:lnTo>
                  <a:pt x="4741" y="1922"/>
                </a:lnTo>
                <a:lnTo>
                  <a:pt x="4741" y="1916"/>
                </a:lnTo>
                <a:lnTo>
                  <a:pt x="4741" y="1916"/>
                </a:lnTo>
                <a:lnTo>
                  <a:pt x="4741" y="1916"/>
                </a:lnTo>
                <a:lnTo>
                  <a:pt x="4741" y="1916"/>
                </a:lnTo>
                <a:lnTo>
                  <a:pt x="4741" y="1916"/>
                </a:lnTo>
                <a:lnTo>
                  <a:pt x="4741" y="1916"/>
                </a:lnTo>
                <a:lnTo>
                  <a:pt x="4741" y="1916"/>
                </a:lnTo>
                <a:lnTo>
                  <a:pt x="4741" y="1922"/>
                </a:lnTo>
                <a:lnTo>
                  <a:pt x="4741" y="1922"/>
                </a:lnTo>
                <a:lnTo>
                  <a:pt x="4747" y="1922"/>
                </a:lnTo>
                <a:lnTo>
                  <a:pt x="4741" y="1922"/>
                </a:lnTo>
                <a:lnTo>
                  <a:pt x="4741" y="1928"/>
                </a:lnTo>
                <a:lnTo>
                  <a:pt x="4747" y="1928"/>
                </a:lnTo>
                <a:lnTo>
                  <a:pt x="4747" y="1928"/>
                </a:lnTo>
                <a:lnTo>
                  <a:pt x="4747" y="1928"/>
                </a:lnTo>
                <a:lnTo>
                  <a:pt x="4747" y="1928"/>
                </a:lnTo>
                <a:lnTo>
                  <a:pt x="4758" y="1922"/>
                </a:lnTo>
                <a:lnTo>
                  <a:pt x="4764" y="1922"/>
                </a:lnTo>
                <a:lnTo>
                  <a:pt x="4782" y="1922"/>
                </a:lnTo>
                <a:lnTo>
                  <a:pt x="4782" y="1922"/>
                </a:lnTo>
                <a:lnTo>
                  <a:pt x="4782" y="1916"/>
                </a:lnTo>
                <a:lnTo>
                  <a:pt x="4782" y="1916"/>
                </a:lnTo>
                <a:lnTo>
                  <a:pt x="4782" y="1916"/>
                </a:lnTo>
                <a:lnTo>
                  <a:pt x="4782" y="1916"/>
                </a:lnTo>
                <a:lnTo>
                  <a:pt x="4776" y="1916"/>
                </a:lnTo>
                <a:lnTo>
                  <a:pt x="4776" y="1916"/>
                </a:lnTo>
                <a:lnTo>
                  <a:pt x="4776" y="1916"/>
                </a:lnTo>
                <a:lnTo>
                  <a:pt x="4776" y="1916"/>
                </a:lnTo>
                <a:lnTo>
                  <a:pt x="4782" y="1916"/>
                </a:lnTo>
                <a:lnTo>
                  <a:pt x="4782" y="1910"/>
                </a:lnTo>
                <a:lnTo>
                  <a:pt x="4782" y="1910"/>
                </a:lnTo>
                <a:lnTo>
                  <a:pt x="4788" y="1910"/>
                </a:lnTo>
                <a:lnTo>
                  <a:pt x="4788" y="1916"/>
                </a:lnTo>
                <a:lnTo>
                  <a:pt x="4788" y="1916"/>
                </a:lnTo>
                <a:lnTo>
                  <a:pt x="4788" y="1922"/>
                </a:lnTo>
                <a:lnTo>
                  <a:pt x="4788" y="1922"/>
                </a:lnTo>
                <a:lnTo>
                  <a:pt x="4788" y="1922"/>
                </a:lnTo>
                <a:lnTo>
                  <a:pt x="4788" y="1922"/>
                </a:lnTo>
                <a:lnTo>
                  <a:pt x="4794" y="1922"/>
                </a:lnTo>
                <a:lnTo>
                  <a:pt x="4794" y="1916"/>
                </a:lnTo>
                <a:lnTo>
                  <a:pt x="4794" y="1910"/>
                </a:lnTo>
                <a:lnTo>
                  <a:pt x="4794" y="1910"/>
                </a:lnTo>
                <a:lnTo>
                  <a:pt x="4794" y="1910"/>
                </a:lnTo>
                <a:lnTo>
                  <a:pt x="4794" y="1910"/>
                </a:lnTo>
                <a:lnTo>
                  <a:pt x="4794" y="1910"/>
                </a:lnTo>
                <a:lnTo>
                  <a:pt x="4794" y="1916"/>
                </a:lnTo>
                <a:lnTo>
                  <a:pt x="4794" y="1916"/>
                </a:lnTo>
                <a:lnTo>
                  <a:pt x="4794" y="1916"/>
                </a:lnTo>
                <a:lnTo>
                  <a:pt x="4794" y="1916"/>
                </a:lnTo>
                <a:lnTo>
                  <a:pt x="4794" y="1922"/>
                </a:lnTo>
                <a:lnTo>
                  <a:pt x="4800" y="1922"/>
                </a:lnTo>
                <a:lnTo>
                  <a:pt x="4800" y="1922"/>
                </a:lnTo>
                <a:lnTo>
                  <a:pt x="4800" y="1922"/>
                </a:lnTo>
                <a:lnTo>
                  <a:pt x="4800" y="1922"/>
                </a:lnTo>
                <a:lnTo>
                  <a:pt x="4800" y="1922"/>
                </a:lnTo>
                <a:lnTo>
                  <a:pt x="4806" y="1922"/>
                </a:lnTo>
                <a:lnTo>
                  <a:pt x="4806" y="1916"/>
                </a:lnTo>
                <a:lnTo>
                  <a:pt x="4806" y="1916"/>
                </a:lnTo>
                <a:lnTo>
                  <a:pt x="4806" y="1916"/>
                </a:lnTo>
                <a:lnTo>
                  <a:pt x="4806" y="1916"/>
                </a:lnTo>
                <a:lnTo>
                  <a:pt x="4806" y="1916"/>
                </a:lnTo>
                <a:lnTo>
                  <a:pt x="4806" y="1916"/>
                </a:lnTo>
                <a:lnTo>
                  <a:pt x="4806" y="1916"/>
                </a:lnTo>
                <a:lnTo>
                  <a:pt x="4806" y="1916"/>
                </a:lnTo>
                <a:lnTo>
                  <a:pt x="4806" y="1916"/>
                </a:lnTo>
                <a:lnTo>
                  <a:pt x="4806" y="1916"/>
                </a:lnTo>
                <a:lnTo>
                  <a:pt x="4806" y="1916"/>
                </a:lnTo>
                <a:lnTo>
                  <a:pt x="4806" y="1916"/>
                </a:lnTo>
                <a:lnTo>
                  <a:pt x="4812" y="1910"/>
                </a:lnTo>
                <a:lnTo>
                  <a:pt x="4812" y="1910"/>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2" y="1904"/>
                </a:lnTo>
                <a:lnTo>
                  <a:pt x="4818" y="1904"/>
                </a:lnTo>
                <a:lnTo>
                  <a:pt x="4818" y="1904"/>
                </a:lnTo>
                <a:lnTo>
                  <a:pt x="4818" y="1898"/>
                </a:lnTo>
                <a:lnTo>
                  <a:pt x="4818" y="1898"/>
                </a:lnTo>
                <a:lnTo>
                  <a:pt x="4818" y="1898"/>
                </a:lnTo>
                <a:lnTo>
                  <a:pt x="4818" y="1898"/>
                </a:lnTo>
                <a:lnTo>
                  <a:pt x="4818" y="1898"/>
                </a:lnTo>
                <a:lnTo>
                  <a:pt x="4818" y="1898"/>
                </a:lnTo>
                <a:lnTo>
                  <a:pt x="4818" y="1892"/>
                </a:lnTo>
                <a:lnTo>
                  <a:pt x="4818" y="1892"/>
                </a:lnTo>
                <a:lnTo>
                  <a:pt x="4818" y="1892"/>
                </a:lnTo>
                <a:lnTo>
                  <a:pt x="4824" y="1892"/>
                </a:lnTo>
                <a:lnTo>
                  <a:pt x="4824" y="1892"/>
                </a:lnTo>
                <a:lnTo>
                  <a:pt x="4824" y="1892"/>
                </a:lnTo>
                <a:lnTo>
                  <a:pt x="4824" y="1892"/>
                </a:lnTo>
                <a:lnTo>
                  <a:pt x="4824" y="1892"/>
                </a:lnTo>
                <a:lnTo>
                  <a:pt x="4824" y="1892"/>
                </a:lnTo>
                <a:lnTo>
                  <a:pt x="4824" y="1892"/>
                </a:lnTo>
                <a:lnTo>
                  <a:pt x="4824" y="1892"/>
                </a:lnTo>
                <a:lnTo>
                  <a:pt x="4824" y="1892"/>
                </a:lnTo>
                <a:lnTo>
                  <a:pt x="4824" y="1886"/>
                </a:lnTo>
                <a:lnTo>
                  <a:pt x="4824" y="1886"/>
                </a:lnTo>
                <a:lnTo>
                  <a:pt x="4824" y="1886"/>
                </a:lnTo>
                <a:lnTo>
                  <a:pt x="4818" y="1886"/>
                </a:lnTo>
                <a:lnTo>
                  <a:pt x="4818" y="1886"/>
                </a:lnTo>
                <a:lnTo>
                  <a:pt x="4818" y="1886"/>
                </a:lnTo>
                <a:lnTo>
                  <a:pt x="4818" y="1886"/>
                </a:lnTo>
                <a:lnTo>
                  <a:pt x="4818" y="1886"/>
                </a:lnTo>
                <a:lnTo>
                  <a:pt x="4818" y="1886"/>
                </a:lnTo>
                <a:lnTo>
                  <a:pt x="4824" y="1892"/>
                </a:lnTo>
                <a:lnTo>
                  <a:pt x="4818" y="1892"/>
                </a:lnTo>
                <a:lnTo>
                  <a:pt x="4818" y="1892"/>
                </a:lnTo>
                <a:lnTo>
                  <a:pt x="4818" y="1892"/>
                </a:lnTo>
                <a:lnTo>
                  <a:pt x="4818" y="1892"/>
                </a:lnTo>
                <a:lnTo>
                  <a:pt x="4818" y="1892"/>
                </a:lnTo>
                <a:lnTo>
                  <a:pt x="4812" y="1892"/>
                </a:lnTo>
                <a:lnTo>
                  <a:pt x="4812" y="1892"/>
                </a:lnTo>
                <a:lnTo>
                  <a:pt x="4812" y="1892"/>
                </a:lnTo>
                <a:lnTo>
                  <a:pt x="4812" y="1892"/>
                </a:lnTo>
                <a:lnTo>
                  <a:pt x="4806" y="1892"/>
                </a:lnTo>
                <a:lnTo>
                  <a:pt x="4806" y="1892"/>
                </a:lnTo>
                <a:lnTo>
                  <a:pt x="4806" y="1892"/>
                </a:lnTo>
                <a:lnTo>
                  <a:pt x="4806" y="1892"/>
                </a:lnTo>
                <a:lnTo>
                  <a:pt x="4806" y="1892"/>
                </a:lnTo>
                <a:lnTo>
                  <a:pt x="4806" y="1892"/>
                </a:lnTo>
                <a:lnTo>
                  <a:pt x="4806" y="1892"/>
                </a:lnTo>
                <a:lnTo>
                  <a:pt x="4806" y="1892"/>
                </a:lnTo>
                <a:lnTo>
                  <a:pt x="4806" y="1892"/>
                </a:lnTo>
                <a:lnTo>
                  <a:pt x="4806" y="1892"/>
                </a:lnTo>
                <a:lnTo>
                  <a:pt x="4812" y="1892"/>
                </a:lnTo>
                <a:lnTo>
                  <a:pt x="4812" y="1892"/>
                </a:lnTo>
                <a:lnTo>
                  <a:pt x="4812" y="1892"/>
                </a:lnTo>
                <a:lnTo>
                  <a:pt x="4812" y="1886"/>
                </a:lnTo>
                <a:lnTo>
                  <a:pt x="4812" y="1886"/>
                </a:lnTo>
                <a:lnTo>
                  <a:pt x="4812" y="1886"/>
                </a:lnTo>
                <a:lnTo>
                  <a:pt x="4812" y="1886"/>
                </a:lnTo>
                <a:lnTo>
                  <a:pt x="4812" y="1886"/>
                </a:lnTo>
                <a:lnTo>
                  <a:pt x="4812" y="1880"/>
                </a:lnTo>
                <a:lnTo>
                  <a:pt x="4812" y="1880"/>
                </a:lnTo>
                <a:lnTo>
                  <a:pt x="4812" y="1880"/>
                </a:lnTo>
                <a:lnTo>
                  <a:pt x="4806" y="1880"/>
                </a:lnTo>
                <a:lnTo>
                  <a:pt x="4806" y="1880"/>
                </a:lnTo>
                <a:lnTo>
                  <a:pt x="4806" y="1880"/>
                </a:lnTo>
                <a:lnTo>
                  <a:pt x="4806" y="1880"/>
                </a:lnTo>
                <a:lnTo>
                  <a:pt x="4806" y="1880"/>
                </a:lnTo>
                <a:lnTo>
                  <a:pt x="4806" y="1880"/>
                </a:lnTo>
                <a:lnTo>
                  <a:pt x="4806" y="1880"/>
                </a:lnTo>
                <a:lnTo>
                  <a:pt x="4806" y="1886"/>
                </a:lnTo>
                <a:lnTo>
                  <a:pt x="4806" y="1886"/>
                </a:lnTo>
                <a:lnTo>
                  <a:pt x="4806" y="1886"/>
                </a:lnTo>
                <a:lnTo>
                  <a:pt x="4806" y="1886"/>
                </a:lnTo>
                <a:lnTo>
                  <a:pt x="4806" y="1886"/>
                </a:lnTo>
                <a:lnTo>
                  <a:pt x="4806" y="1886"/>
                </a:lnTo>
                <a:lnTo>
                  <a:pt x="4806" y="1886"/>
                </a:lnTo>
                <a:lnTo>
                  <a:pt x="4806" y="1892"/>
                </a:lnTo>
                <a:lnTo>
                  <a:pt x="4806" y="1892"/>
                </a:lnTo>
                <a:lnTo>
                  <a:pt x="4806" y="1892"/>
                </a:lnTo>
                <a:lnTo>
                  <a:pt x="4806" y="1886"/>
                </a:lnTo>
                <a:lnTo>
                  <a:pt x="4800" y="1886"/>
                </a:lnTo>
                <a:lnTo>
                  <a:pt x="4800" y="1886"/>
                </a:lnTo>
                <a:lnTo>
                  <a:pt x="4800" y="1886"/>
                </a:lnTo>
                <a:lnTo>
                  <a:pt x="4794" y="1886"/>
                </a:lnTo>
                <a:lnTo>
                  <a:pt x="4794" y="1886"/>
                </a:lnTo>
                <a:lnTo>
                  <a:pt x="4794" y="1892"/>
                </a:lnTo>
                <a:lnTo>
                  <a:pt x="4800" y="1892"/>
                </a:lnTo>
                <a:lnTo>
                  <a:pt x="4800" y="1898"/>
                </a:lnTo>
                <a:lnTo>
                  <a:pt x="4800" y="1898"/>
                </a:lnTo>
                <a:lnTo>
                  <a:pt x="4800" y="1892"/>
                </a:lnTo>
                <a:lnTo>
                  <a:pt x="4800" y="1892"/>
                </a:lnTo>
                <a:lnTo>
                  <a:pt x="4794" y="1892"/>
                </a:lnTo>
                <a:lnTo>
                  <a:pt x="4794" y="1892"/>
                </a:lnTo>
                <a:lnTo>
                  <a:pt x="4794" y="1892"/>
                </a:lnTo>
                <a:lnTo>
                  <a:pt x="4794" y="1892"/>
                </a:lnTo>
                <a:lnTo>
                  <a:pt x="4794" y="1892"/>
                </a:lnTo>
                <a:lnTo>
                  <a:pt x="4794" y="1892"/>
                </a:lnTo>
                <a:lnTo>
                  <a:pt x="4794" y="1892"/>
                </a:lnTo>
                <a:lnTo>
                  <a:pt x="4794" y="1886"/>
                </a:lnTo>
                <a:lnTo>
                  <a:pt x="4788" y="1886"/>
                </a:lnTo>
                <a:lnTo>
                  <a:pt x="4788" y="1892"/>
                </a:lnTo>
                <a:lnTo>
                  <a:pt x="4788" y="1892"/>
                </a:lnTo>
                <a:lnTo>
                  <a:pt x="4788" y="1892"/>
                </a:lnTo>
                <a:lnTo>
                  <a:pt x="4788" y="1892"/>
                </a:lnTo>
                <a:lnTo>
                  <a:pt x="4788" y="1892"/>
                </a:lnTo>
                <a:lnTo>
                  <a:pt x="4782" y="1892"/>
                </a:lnTo>
                <a:lnTo>
                  <a:pt x="4782" y="1898"/>
                </a:lnTo>
                <a:lnTo>
                  <a:pt x="4782" y="1898"/>
                </a:lnTo>
                <a:lnTo>
                  <a:pt x="4776" y="1898"/>
                </a:lnTo>
                <a:lnTo>
                  <a:pt x="4776" y="1898"/>
                </a:lnTo>
                <a:lnTo>
                  <a:pt x="4776" y="1898"/>
                </a:lnTo>
                <a:lnTo>
                  <a:pt x="4776" y="1898"/>
                </a:lnTo>
                <a:lnTo>
                  <a:pt x="4776" y="1898"/>
                </a:lnTo>
                <a:lnTo>
                  <a:pt x="4776" y="1898"/>
                </a:lnTo>
                <a:lnTo>
                  <a:pt x="4776" y="1898"/>
                </a:lnTo>
                <a:lnTo>
                  <a:pt x="4770" y="1892"/>
                </a:lnTo>
                <a:lnTo>
                  <a:pt x="4770" y="1892"/>
                </a:lnTo>
                <a:lnTo>
                  <a:pt x="4764" y="1892"/>
                </a:lnTo>
                <a:lnTo>
                  <a:pt x="4764" y="1892"/>
                </a:lnTo>
                <a:lnTo>
                  <a:pt x="4764" y="1892"/>
                </a:lnTo>
                <a:lnTo>
                  <a:pt x="4758" y="1892"/>
                </a:lnTo>
                <a:lnTo>
                  <a:pt x="4758" y="1886"/>
                </a:lnTo>
                <a:lnTo>
                  <a:pt x="4758" y="1886"/>
                </a:lnTo>
                <a:lnTo>
                  <a:pt x="4753" y="1880"/>
                </a:lnTo>
                <a:lnTo>
                  <a:pt x="4753" y="1880"/>
                </a:lnTo>
                <a:lnTo>
                  <a:pt x="4753" y="1880"/>
                </a:lnTo>
                <a:lnTo>
                  <a:pt x="4753" y="1880"/>
                </a:lnTo>
                <a:lnTo>
                  <a:pt x="4753" y="1874"/>
                </a:lnTo>
                <a:lnTo>
                  <a:pt x="4753" y="1874"/>
                </a:lnTo>
                <a:lnTo>
                  <a:pt x="4753" y="1874"/>
                </a:lnTo>
                <a:lnTo>
                  <a:pt x="4747" y="1868"/>
                </a:lnTo>
                <a:lnTo>
                  <a:pt x="4747" y="1868"/>
                </a:lnTo>
                <a:lnTo>
                  <a:pt x="4753" y="1874"/>
                </a:lnTo>
                <a:lnTo>
                  <a:pt x="4753" y="1874"/>
                </a:lnTo>
                <a:lnTo>
                  <a:pt x="4758" y="1880"/>
                </a:lnTo>
                <a:lnTo>
                  <a:pt x="4758" y="1880"/>
                </a:lnTo>
                <a:lnTo>
                  <a:pt x="4764" y="1886"/>
                </a:lnTo>
                <a:lnTo>
                  <a:pt x="4764" y="1886"/>
                </a:lnTo>
                <a:lnTo>
                  <a:pt x="4764" y="1886"/>
                </a:lnTo>
                <a:lnTo>
                  <a:pt x="4764" y="1886"/>
                </a:lnTo>
                <a:lnTo>
                  <a:pt x="4770" y="1886"/>
                </a:lnTo>
                <a:lnTo>
                  <a:pt x="4770" y="1886"/>
                </a:lnTo>
                <a:lnTo>
                  <a:pt x="4776" y="1886"/>
                </a:lnTo>
                <a:lnTo>
                  <a:pt x="4776" y="1886"/>
                </a:lnTo>
                <a:lnTo>
                  <a:pt x="4782" y="1886"/>
                </a:lnTo>
                <a:lnTo>
                  <a:pt x="4782" y="1886"/>
                </a:lnTo>
                <a:lnTo>
                  <a:pt x="4782" y="1880"/>
                </a:lnTo>
                <a:lnTo>
                  <a:pt x="4788" y="1880"/>
                </a:lnTo>
                <a:lnTo>
                  <a:pt x="4788" y="1880"/>
                </a:lnTo>
                <a:lnTo>
                  <a:pt x="4794" y="1880"/>
                </a:lnTo>
                <a:lnTo>
                  <a:pt x="4794" y="1880"/>
                </a:lnTo>
                <a:lnTo>
                  <a:pt x="4794" y="1874"/>
                </a:lnTo>
                <a:lnTo>
                  <a:pt x="4794" y="1874"/>
                </a:lnTo>
                <a:lnTo>
                  <a:pt x="4794" y="1874"/>
                </a:lnTo>
                <a:lnTo>
                  <a:pt x="4800" y="1874"/>
                </a:lnTo>
                <a:lnTo>
                  <a:pt x="4800" y="1868"/>
                </a:lnTo>
                <a:lnTo>
                  <a:pt x="4800" y="1868"/>
                </a:lnTo>
                <a:lnTo>
                  <a:pt x="4794" y="1868"/>
                </a:lnTo>
                <a:lnTo>
                  <a:pt x="4794" y="1868"/>
                </a:lnTo>
                <a:lnTo>
                  <a:pt x="4794" y="1868"/>
                </a:lnTo>
                <a:lnTo>
                  <a:pt x="4794" y="1868"/>
                </a:lnTo>
                <a:lnTo>
                  <a:pt x="4794" y="1868"/>
                </a:lnTo>
                <a:lnTo>
                  <a:pt x="4794" y="1868"/>
                </a:lnTo>
                <a:lnTo>
                  <a:pt x="4794" y="1868"/>
                </a:lnTo>
                <a:lnTo>
                  <a:pt x="4794" y="1868"/>
                </a:lnTo>
                <a:lnTo>
                  <a:pt x="4794" y="1868"/>
                </a:lnTo>
                <a:lnTo>
                  <a:pt x="4794" y="1868"/>
                </a:lnTo>
                <a:lnTo>
                  <a:pt x="4794" y="1868"/>
                </a:lnTo>
                <a:lnTo>
                  <a:pt x="4788" y="1868"/>
                </a:lnTo>
                <a:lnTo>
                  <a:pt x="4788" y="1868"/>
                </a:lnTo>
                <a:lnTo>
                  <a:pt x="4788" y="1862"/>
                </a:lnTo>
                <a:lnTo>
                  <a:pt x="4788" y="1862"/>
                </a:lnTo>
                <a:lnTo>
                  <a:pt x="4788" y="1862"/>
                </a:lnTo>
                <a:lnTo>
                  <a:pt x="4788" y="1862"/>
                </a:lnTo>
                <a:lnTo>
                  <a:pt x="4788" y="1862"/>
                </a:lnTo>
                <a:lnTo>
                  <a:pt x="4794" y="1862"/>
                </a:lnTo>
                <a:lnTo>
                  <a:pt x="4794" y="1862"/>
                </a:lnTo>
                <a:lnTo>
                  <a:pt x="4794" y="1862"/>
                </a:lnTo>
                <a:lnTo>
                  <a:pt x="4794" y="1862"/>
                </a:lnTo>
                <a:lnTo>
                  <a:pt x="4794" y="1862"/>
                </a:lnTo>
                <a:lnTo>
                  <a:pt x="4794" y="1862"/>
                </a:lnTo>
                <a:lnTo>
                  <a:pt x="4794" y="1862"/>
                </a:lnTo>
                <a:lnTo>
                  <a:pt x="4800" y="1862"/>
                </a:lnTo>
                <a:lnTo>
                  <a:pt x="4800" y="1862"/>
                </a:lnTo>
                <a:lnTo>
                  <a:pt x="4800" y="1862"/>
                </a:lnTo>
                <a:lnTo>
                  <a:pt x="4800" y="1862"/>
                </a:lnTo>
                <a:lnTo>
                  <a:pt x="4800" y="1862"/>
                </a:lnTo>
                <a:lnTo>
                  <a:pt x="4800" y="1862"/>
                </a:lnTo>
                <a:lnTo>
                  <a:pt x="4800" y="1862"/>
                </a:lnTo>
                <a:lnTo>
                  <a:pt x="4800" y="1856"/>
                </a:lnTo>
                <a:lnTo>
                  <a:pt x="4800" y="1856"/>
                </a:lnTo>
                <a:lnTo>
                  <a:pt x="4800" y="1856"/>
                </a:lnTo>
                <a:lnTo>
                  <a:pt x="4806" y="1856"/>
                </a:lnTo>
                <a:lnTo>
                  <a:pt x="4806" y="1856"/>
                </a:lnTo>
                <a:lnTo>
                  <a:pt x="4806" y="1856"/>
                </a:lnTo>
                <a:lnTo>
                  <a:pt x="4806" y="1856"/>
                </a:lnTo>
                <a:lnTo>
                  <a:pt x="4806" y="1856"/>
                </a:lnTo>
                <a:lnTo>
                  <a:pt x="4806" y="1856"/>
                </a:lnTo>
                <a:lnTo>
                  <a:pt x="4806" y="1856"/>
                </a:lnTo>
                <a:lnTo>
                  <a:pt x="4806" y="1850"/>
                </a:lnTo>
                <a:lnTo>
                  <a:pt x="4806" y="1850"/>
                </a:lnTo>
                <a:lnTo>
                  <a:pt x="4806" y="1850"/>
                </a:lnTo>
                <a:lnTo>
                  <a:pt x="4806" y="1850"/>
                </a:lnTo>
                <a:lnTo>
                  <a:pt x="4800" y="1850"/>
                </a:lnTo>
                <a:lnTo>
                  <a:pt x="4800" y="1850"/>
                </a:lnTo>
                <a:lnTo>
                  <a:pt x="4794" y="1845"/>
                </a:lnTo>
                <a:lnTo>
                  <a:pt x="4794" y="1845"/>
                </a:lnTo>
                <a:lnTo>
                  <a:pt x="4782" y="1845"/>
                </a:lnTo>
                <a:lnTo>
                  <a:pt x="4776" y="1839"/>
                </a:lnTo>
                <a:lnTo>
                  <a:pt x="4770" y="1839"/>
                </a:lnTo>
                <a:lnTo>
                  <a:pt x="4770" y="1839"/>
                </a:lnTo>
                <a:lnTo>
                  <a:pt x="4764" y="1833"/>
                </a:lnTo>
                <a:lnTo>
                  <a:pt x="4764" y="1833"/>
                </a:lnTo>
                <a:lnTo>
                  <a:pt x="4758" y="1833"/>
                </a:lnTo>
                <a:lnTo>
                  <a:pt x="4758" y="1833"/>
                </a:lnTo>
                <a:lnTo>
                  <a:pt x="4753" y="1833"/>
                </a:lnTo>
                <a:lnTo>
                  <a:pt x="4753" y="1827"/>
                </a:lnTo>
                <a:lnTo>
                  <a:pt x="4753" y="1827"/>
                </a:lnTo>
                <a:lnTo>
                  <a:pt x="4753" y="1827"/>
                </a:lnTo>
                <a:lnTo>
                  <a:pt x="4753" y="1827"/>
                </a:lnTo>
                <a:lnTo>
                  <a:pt x="4753" y="1827"/>
                </a:lnTo>
                <a:lnTo>
                  <a:pt x="4753" y="1827"/>
                </a:lnTo>
                <a:lnTo>
                  <a:pt x="4753" y="1827"/>
                </a:lnTo>
                <a:lnTo>
                  <a:pt x="4747" y="1821"/>
                </a:lnTo>
                <a:lnTo>
                  <a:pt x="4753" y="1827"/>
                </a:lnTo>
                <a:lnTo>
                  <a:pt x="4753" y="1827"/>
                </a:lnTo>
                <a:lnTo>
                  <a:pt x="4758" y="1827"/>
                </a:lnTo>
                <a:lnTo>
                  <a:pt x="4764" y="1833"/>
                </a:lnTo>
                <a:lnTo>
                  <a:pt x="4764" y="1833"/>
                </a:lnTo>
                <a:lnTo>
                  <a:pt x="4770" y="1833"/>
                </a:lnTo>
                <a:lnTo>
                  <a:pt x="4776" y="1833"/>
                </a:lnTo>
                <a:lnTo>
                  <a:pt x="4776" y="1833"/>
                </a:lnTo>
                <a:lnTo>
                  <a:pt x="4776" y="1839"/>
                </a:lnTo>
                <a:lnTo>
                  <a:pt x="4776" y="1839"/>
                </a:lnTo>
                <a:lnTo>
                  <a:pt x="4776" y="1839"/>
                </a:lnTo>
                <a:lnTo>
                  <a:pt x="4782" y="1833"/>
                </a:lnTo>
                <a:lnTo>
                  <a:pt x="4788" y="1833"/>
                </a:lnTo>
                <a:lnTo>
                  <a:pt x="4788" y="1833"/>
                </a:lnTo>
                <a:lnTo>
                  <a:pt x="4788" y="1833"/>
                </a:lnTo>
                <a:lnTo>
                  <a:pt x="4788" y="1833"/>
                </a:lnTo>
                <a:lnTo>
                  <a:pt x="4788" y="1833"/>
                </a:lnTo>
                <a:lnTo>
                  <a:pt x="4788" y="1833"/>
                </a:lnTo>
                <a:lnTo>
                  <a:pt x="4788" y="1833"/>
                </a:lnTo>
                <a:lnTo>
                  <a:pt x="4788" y="1833"/>
                </a:lnTo>
                <a:lnTo>
                  <a:pt x="4788" y="1833"/>
                </a:lnTo>
                <a:lnTo>
                  <a:pt x="4788" y="1839"/>
                </a:lnTo>
                <a:lnTo>
                  <a:pt x="4788" y="1839"/>
                </a:lnTo>
                <a:lnTo>
                  <a:pt x="4794" y="1839"/>
                </a:lnTo>
                <a:lnTo>
                  <a:pt x="4794" y="1839"/>
                </a:lnTo>
                <a:lnTo>
                  <a:pt x="4794" y="1839"/>
                </a:lnTo>
                <a:lnTo>
                  <a:pt x="4794" y="1839"/>
                </a:lnTo>
                <a:lnTo>
                  <a:pt x="4794" y="1839"/>
                </a:lnTo>
                <a:lnTo>
                  <a:pt x="4794" y="1839"/>
                </a:lnTo>
                <a:lnTo>
                  <a:pt x="4794" y="1839"/>
                </a:lnTo>
                <a:lnTo>
                  <a:pt x="4794" y="1833"/>
                </a:lnTo>
                <a:lnTo>
                  <a:pt x="4794" y="1833"/>
                </a:lnTo>
                <a:lnTo>
                  <a:pt x="4794" y="1833"/>
                </a:lnTo>
                <a:lnTo>
                  <a:pt x="4794" y="1833"/>
                </a:lnTo>
                <a:lnTo>
                  <a:pt x="4794" y="1833"/>
                </a:lnTo>
                <a:lnTo>
                  <a:pt x="4794" y="1833"/>
                </a:lnTo>
                <a:lnTo>
                  <a:pt x="4794" y="1833"/>
                </a:lnTo>
                <a:lnTo>
                  <a:pt x="4794" y="1833"/>
                </a:lnTo>
                <a:lnTo>
                  <a:pt x="4794" y="1833"/>
                </a:lnTo>
                <a:lnTo>
                  <a:pt x="4794" y="1833"/>
                </a:lnTo>
                <a:lnTo>
                  <a:pt x="4794" y="1833"/>
                </a:lnTo>
                <a:lnTo>
                  <a:pt x="4794" y="1833"/>
                </a:lnTo>
                <a:lnTo>
                  <a:pt x="4794" y="1833"/>
                </a:lnTo>
                <a:lnTo>
                  <a:pt x="4794" y="1833"/>
                </a:lnTo>
                <a:lnTo>
                  <a:pt x="4794" y="1827"/>
                </a:lnTo>
                <a:lnTo>
                  <a:pt x="4794" y="1827"/>
                </a:lnTo>
                <a:lnTo>
                  <a:pt x="4794" y="1827"/>
                </a:lnTo>
                <a:lnTo>
                  <a:pt x="4794" y="1827"/>
                </a:lnTo>
                <a:lnTo>
                  <a:pt x="4794" y="1827"/>
                </a:lnTo>
                <a:lnTo>
                  <a:pt x="4794" y="1827"/>
                </a:lnTo>
                <a:lnTo>
                  <a:pt x="4794" y="1827"/>
                </a:lnTo>
                <a:lnTo>
                  <a:pt x="4788" y="1827"/>
                </a:lnTo>
                <a:lnTo>
                  <a:pt x="4788" y="1821"/>
                </a:lnTo>
                <a:lnTo>
                  <a:pt x="4794" y="1821"/>
                </a:lnTo>
                <a:lnTo>
                  <a:pt x="4794" y="1821"/>
                </a:lnTo>
                <a:lnTo>
                  <a:pt x="4794" y="1821"/>
                </a:lnTo>
                <a:lnTo>
                  <a:pt x="4800" y="1821"/>
                </a:lnTo>
                <a:lnTo>
                  <a:pt x="4800" y="1821"/>
                </a:lnTo>
                <a:lnTo>
                  <a:pt x="4806" y="1821"/>
                </a:lnTo>
                <a:lnTo>
                  <a:pt x="4806" y="1821"/>
                </a:lnTo>
                <a:lnTo>
                  <a:pt x="4806" y="1821"/>
                </a:lnTo>
                <a:lnTo>
                  <a:pt x="4806" y="1821"/>
                </a:lnTo>
                <a:lnTo>
                  <a:pt x="4806" y="1827"/>
                </a:lnTo>
                <a:lnTo>
                  <a:pt x="4806" y="1827"/>
                </a:lnTo>
                <a:lnTo>
                  <a:pt x="4800" y="1827"/>
                </a:lnTo>
                <a:lnTo>
                  <a:pt x="4794" y="1827"/>
                </a:lnTo>
                <a:lnTo>
                  <a:pt x="4794" y="1827"/>
                </a:lnTo>
                <a:lnTo>
                  <a:pt x="4794" y="1827"/>
                </a:lnTo>
                <a:lnTo>
                  <a:pt x="4800" y="1827"/>
                </a:lnTo>
                <a:lnTo>
                  <a:pt x="4800" y="1827"/>
                </a:lnTo>
                <a:lnTo>
                  <a:pt x="4800" y="1827"/>
                </a:lnTo>
                <a:lnTo>
                  <a:pt x="4800" y="1833"/>
                </a:lnTo>
                <a:lnTo>
                  <a:pt x="4800" y="1833"/>
                </a:lnTo>
                <a:lnTo>
                  <a:pt x="4800" y="1833"/>
                </a:lnTo>
                <a:lnTo>
                  <a:pt x="4800" y="1833"/>
                </a:lnTo>
                <a:lnTo>
                  <a:pt x="4800" y="1833"/>
                </a:lnTo>
                <a:lnTo>
                  <a:pt x="4806" y="1833"/>
                </a:lnTo>
                <a:lnTo>
                  <a:pt x="4800" y="1833"/>
                </a:lnTo>
                <a:lnTo>
                  <a:pt x="4800" y="1839"/>
                </a:lnTo>
                <a:lnTo>
                  <a:pt x="4800" y="1839"/>
                </a:lnTo>
                <a:lnTo>
                  <a:pt x="4800" y="1839"/>
                </a:lnTo>
                <a:lnTo>
                  <a:pt x="4800" y="1839"/>
                </a:lnTo>
                <a:lnTo>
                  <a:pt x="4806" y="1839"/>
                </a:lnTo>
                <a:lnTo>
                  <a:pt x="4806" y="1839"/>
                </a:lnTo>
                <a:lnTo>
                  <a:pt x="4806" y="1839"/>
                </a:lnTo>
                <a:lnTo>
                  <a:pt x="4806" y="1839"/>
                </a:lnTo>
                <a:lnTo>
                  <a:pt x="4806" y="1839"/>
                </a:lnTo>
                <a:lnTo>
                  <a:pt x="4806" y="1839"/>
                </a:lnTo>
                <a:lnTo>
                  <a:pt x="4806" y="1839"/>
                </a:lnTo>
                <a:lnTo>
                  <a:pt x="4806" y="1839"/>
                </a:lnTo>
                <a:lnTo>
                  <a:pt x="4806" y="1839"/>
                </a:lnTo>
                <a:lnTo>
                  <a:pt x="4806" y="1839"/>
                </a:lnTo>
                <a:lnTo>
                  <a:pt x="4806" y="1839"/>
                </a:lnTo>
                <a:lnTo>
                  <a:pt x="4806" y="1839"/>
                </a:lnTo>
                <a:lnTo>
                  <a:pt x="4812" y="1839"/>
                </a:lnTo>
                <a:lnTo>
                  <a:pt x="4812" y="1839"/>
                </a:lnTo>
                <a:lnTo>
                  <a:pt x="4812" y="1833"/>
                </a:lnTo>
                <a:lnTo>
                  <a:pt x="4812" y="1833"/>
                </a:lnTo>
                <a:lnTo>
                  <a:pt x="4812" y="1833"/>
                </a:lnTo>
                <a:lnTo>
                  <a:pt x="4812" y="1833"/>
                </a:lnTo>
                <a:lnTo>
                  <a:pt x="4812" y="1833"/>
                </a:lnTo>
                <a:lnTo>
                  <a:pt x="4812" y="1833"/>
                </a:lnTo>
                <a:lnTo>
                  <a:pt x="4812" y="1839"/>
                </a:lnTo>
                <a:lnTo>
                  <a:pt x="4812" y="1839"/>
                </a:lnTo>
                <a:lnTo>
                  <a:pt x="4818" y="1839"/>
                </a:lnTo>
                <a:lnTo>
                  <a:pt x="4818" y="1839"/>
                </a:lnTo>
                <a:lnTo>
                  <a:pt x="4812" y="1839"/>
                </a:lnTo>
                <a:lnTo>
                  <a:pt x="4812" y="1845"/>
                </a:lnTo>
                <a:lnTo>
                  <a:pt x="4812" y="1845"/>
                </a:lnTo>
                <a:lnTo>
                  <a:pt x="4812" y="1845"/>
                </a:lnTo>
                <a:lnTo>
                  <a:pt x="4812" y="1845"/>
                </a:lnTo>
                <a:lnTo>
                  <a:pt x="4812" y="1845"/>
                </a:lnTo>
                <a:lnTo>
                  <a:pt x="4818" y="1845"/>
                </a:lnTo>
                <a:lnTo>
                  <a:pt x="4818" y="1845"/>
                </a:lnTo>
                <a:lnTo>
                  <a:pt x="4818" y="1845"/>
                </a:lnTo>
                <a:lnTo>
                  <a:pt x="4818" y="1845"/>
                </a:lnTo>
                <a:lnTo>
                  <a:pt x="4818" y="1845"/>
                </a:lnTo>
                <a:lnTo>
                  <a:pt x="4818" y="1839"/>
                </a:lnTo>
                <a:lnTo>
                  <a:pt x="4818" y="1839"/>
                </a:lnTo>
                <a:lnTo>
                  <a:pt x="4818" y="1839"/>
                </a:lnTo>
                <a:lnTo>
                  <a:pt x="4818" y="1839"/>
                </a:lnTo>
                <a:lnTo>
                  <a:pt x="4818" y="1839"/>
                </a:lnTo>
                <a:lnTo>
                  <a:pt x="4818" y="1839"/>
                </a:lnTo>
                <a:lnTo>
                  <a:pt x="4818" y="1839"/>
                </a:lnTo>
                <a:lnTo>
                  <a:pt x="4818" y="1839"/>
                </a:lnTo>
                <a:lnTo>
                  <a:pt x="4824" y="1839"/>
                </a:lnTo>
                <a:lnTo>
                  <a:pt x="4824" y="1845"/>
                </a:lnTo>
                <a:lnTo>
                  <a:pt x="4824" y="1845"/>
                </a:lnTo>
                <a:lnTo>
                  <a:pt x="4824" y="1845"/>
                </a:lnTo>
                <a:lnTo>
                  <a:pt x="4830" y="1845"/>
                </a:lnTo>
                <a:lnTo>
                  <a:pt x="4830" y="1845"/>
                </a:lnTo>
                <a:lnTo>
                  <a:pt x="4830" y="1845"/>
                </a:lnTo>
                <a:lnTo>
                  <a:pt x="4830" y="1845"/>
                </a:lnTo>
                <a:lnTo>
                  <a:pt x="4830" y="1845"/>
                </a:lnTo>
                <a:lnTo>
                  <a:pt x="4830" y="1845"/>
                </a:lnTo>
                <a:lnTo>
                  <a:pt x="4830" y="1845"/>
                </a:lnTo>
                <a:lnTo>
                  <a:pt x="4830" y="1845"/>
                </a:lnTo>
                <a:lnTo>
                  <a:pt x="4835" y="1845"/>
                </a:lnTo>
                <a:lnTo>
                  <a:pt x="4841" y="1845"/>
                </a:lnTo>
                <a:lnTo>
                  <a:pt x="4841" y="1845"/>
                </a:lnTo>
                <a:lnTo>
                  <a:pt x="4841" y="1845"/>
                </a:lnTo>
                <a:lnTo>
                  <a:pt x="4841" y="1845"/>
                </a:lnTo>
                <a:lnTo>
                  <a:pt x="4841" y="1845"/>
                </a:lnTo>
                <a:lnTo>
                  <a:pt x="4847" y="1839"/>
                </a:lnTo>
                <a:lnTo>
                  <a:pt x="4847" y="1839"/>
                </a:lnTo>
                <a:lnTo>
                  <a:pt x="4847" y="1839"/>
                </a:lnTo>
                <a:lnTo>
                  <a:pt x="4847" y="1839"/>
                </a:lnTo>
                <a:lnTo>
                  <a:pt x="4847" y="1833"/>
                </a:lnTo>
                <a:lnTo>
                  <a:pt x="4847" y="1833"/>
                </a:lnTo>
                <a:lnTo>
                  <a:pt x="4847" y="1833"/>
                </a:lnTo>
                <a:lnTo>
                  <a:pt x="4847" y="1833"/>
                </a:lnTo>
                <a:lnTo>
                  <a:pt x="4847" y="1833"/>
                </a:lnTo>
                <a:lnTo>
                  <a:pt x="4847" y="1839"/>
                </a:lnTo>
                <a:lnTo>
                  <a:pt x="4853" y="1839"/>
                </a:lnTo>
                <a:lnTo>
                  <a:pt x="4853" y="1833"/>
                </a:lnTo>
                <a:lnTo>
                  <a:pt x="4853" y="1833"/>
                </a:lnTo>
                <a:lnTo>
                  <a:pt x="4853" y="1833"/>
                </a:lnTo>
                <a:lnTo>
                  <a:pt x="4853" y="1833"/>
                </a:lnTo>
                <a:lnTo>
                  <a:pt x="4853" y="1833"/>
                </a:lnTo>
                <a:lnTo>
                  <a:pt x="4853" y="1833"/>
                </a:lnTo>
                <a:lnTo>
                  <a:pt x="4853" y="1827"/>
                </a:lnTo>
                <a:lnTo>
                  <a:pt x="4853" y="1827"/>
                </a:lnTo>
                <a:lnTo>
                  <a:pt x="4853" y="1827"/>
                </a:lnTo>
                <a:lnTo>
                  <a:pt x="4853" y="1827"/>
                </a:lnTo>
                <a:lnTo>
                  <a:pt x="4853" y="1827"/>
                </a:lnTo>
                <a:lnTo>
                  <a:pt x="4853" y="1827"/>
                </a:lnTo>
                <a:lnTo>
                  <a:pt x="4853" y="1827"/>
                </a:lnTo>
                <a:lnTo>
                  <a:pt x="4853" y="1827"/>
                </a:lnTo>
                <a:lnTo>
                  <a:pt x="4853" y="1827"/>
                </a:lnTo>
                <a:lnTo>
                  <a:pt x="4853" y="1827"/>
                </a:lnTo>
                <a:lnTo>
                  <a:pt x="4853" y="1827"/>
                </a:lnTo>
                <a:lnTo>
                  <a:pt x="4853" y="1821"/>
                </a:lnTo>
                <a:lnTo>
                  <a:pt x="4853" y="1821"/>
                </a:lnTo>
                <a:lnTo>
                  <a:pt x="4853" y="1821"/>
                </a:lnTo>
                <a:lnTo>
                  <a:pt x="4859" y="1821"/>
                </a:lnTo>
                <a:lnTo>
                  <a:pt x="4859" y="1821"/>
                </a:lnTo>
                <a:lnTo>
                  <a:pt x="4865" y="1815"/>
                </a:lnTo>
                <a:lnTo>
                  <a:pt x="4865" y="1815"/>
                </a:lnTo>
                <a:lnTo>
                  <a:pt x="4865" y="1815"/>
                </a:lnTo>
                <a:lnTo>
                  <a:pt x="4865" y="1815"/>
                </a:lnTo>
                <a:lnTo>
                  <a:pt x="4865" y="1809"/>
                </a:lnTo>
                <a:lnTo>
                  <a:pt x="4865" y="1809"/>
                </a:lnTo>
                <a:lnTo>
                  <a:pt x="4865" y="1809"/>
                </a:lnTo>
                <a:lnTo>
                  <a:pt x="4865" y="1809"/>
                </a:lnTo>
                <a:lnTo>
                  <a:pt x="4865" y="1815"/>
                </a:lnTo>
                <a:lnTo>
                  <a:pt x="4865" y="1815"/>
                </a:lnTo>
                <a:lnTo>
                  <a:pt x="4871" y="1815"/>
                </a:lnTo>
                <a:lnTo>
                  <a:pt x="4871" y="1815"/>
                </a:lnTo>
                <a:lnTo>
                  <a:pt x="4871" y="1815"/>
                </a:lnTo>
                <a:lnTo>
                  <a:pt x="4871" y="1815"/>
                </a:lnTo>
                <a:lnTo>
                  <a:pt x="4871" y="1815"/>
                </a:lnTo>
                <a:lnTo>
                  <a:pt x="4871" y="1815"/>
                </a:lnTo>
                <a:lnTo>
                  <a:pt x="4871" y="1815"/>
                </a:lnTo>
                <a:lnTo>
                  <a:pt x="4871" y="1815"/>
                </a:lnTo>
                <a:lnTo>
                  <a:pt x="4871" y="1815"/>
                </a:lnTo>
                <a:lnTo>
                  <a:pt x="4871" y="1815"/>
                </a:lnTo>
                <a:lnTo>
                  <a:pt x="4871" y="1815"/>
                </a:lnTo>
                <a:lnTo>
                  <a:pt x="4871" y="1815"/>
                </a:lnTo>
                <a:lnTo>
                  <a:pt x="4871" y="1815"/>
                </a:lnTo>
                <a:lnTo>
                  <a:pt x="4871" y="1815"/>
                </a:lnTo>
                <a:lnTo>
                  <a:pt x="4877" y="1815"/>
                </a:lnTo>
                <a:lnTo>
                  <a:pt x="4877" y="1815"/>
                </a:lnTo>
                <a:lnTo>
                  <a:pt x="4877" y="1815"/>
                </a:lnTo>
                <a:lnTo>
                  <a:pt x="4877" y="1815"/>
                </a:lnTo>
                <a:lnTo>
                  <a:pt x="4877" y="1815"/>
                </a:lnTo>
                <a:lnTo>
                  <a:pt x="4877" y="1815"/>
                </a:lnTo>
                <a:lnTo>
                  <a:pt x="4877" y="1815"/>
                </a:lnTo>
                <a:lnTo>
                  <a:pt x="4877" y="1815"/>
                </a:lnTo>
                <a:lnTo>
                  <a:pt x="4877" y="1815"/>
                </a:lnTo>
                <a:lnTo>
                  <a:pt x="4877" y="1815"/>
                </a:lnTo>
                <a:lnTo>
                  <a:pt x="4877" y="1815"/>
                </a:lnTo>
                <a:lnTo>
                  <a:pt x="4877" y="1815"/>
                </a:lnTo>
                <a:lnTo>
                  <a:pt x="4877" y="1815"/>
                </a:lnTo>
                <a:lnTo>
                  <a:pt x="4877" y="1809"/>
                </a:lnTo>
                <a:lnTo>
                  <a:pt x="4877" y="1809"/>
                </a:lnTo>
                <a:lnTo>
                  <a:pt x="4877" y="1809"/>
                </a:lnTo>
                <a:lnTo>
                  <a:pt x="4877" y="1809"/>
                </a:lnTo>
                <a:lnTo>
                  <a:pt x="4877" y="1803"/>
                </a:lnTo>
                <a:lnTo>
                  <a:pt x="4877" y="1803"/>
                </a:lnTo>
                <a:lnTo>
                  <a:pt x="4877" y="1803"/>
                </a:lnTo>
                <a:lnTo>
                  <a:pt x="4877" y="1803"/>
                </a:lnTo>
                <a:lnTo>
                  <a:pt x="4883" y="1803"/>
                </a:lnTo>
                <a:lnTo>
                  <a:pt x="4883" y="1803"/>
                </a:lnTo>
                <a:lnTo>
                  <a:pt x="4883" y="1803"/>
                </a:lnTo>
                <a:lnTo>
                  <a:pt x="4883" y="1797"/>
                </a:lnTo>
                <a:lnTo>
                  <a:pt x="4883" y="1797"/>
                </a:lnTo>
                <a:lnTo>
                  <a:pt x="4877" y="1797"/>
                </a:lnTo>
                <a:lnTo>
                  <a:pt x="4877" y="1791"/>
                </a:lnTo>
                <a:lnTo>
                  <a:pt x="4877" y="1791"/>
                </a:lnTo>
                <a:lnTo>
                  <a:pt x="4877" y="1791"/>
                </a:lnTo>
                <a:lnTo>
                  <a:pt x="4883" y="1791"/>
                </a:lnTo>
                <a:lnTo>
                  <a:pt x="4883" y="1785"/>
                </a:lnTo>
                <a:lnTo>
                  <a:pt x="4883" y="1785"/>
                </a:lnTo>
                <a:lnTo>
                  <a:pt x="4883" y="1785"/>
                </a:lnTo>
                <a:lnTo>
                  <a:pt x="4877" y="1785"/>
                </a:lnTo>
                <a:lnTo>
                  <a:pt x="4877" y="1779"/>
                </a:lnTo>
                <a:lnTo>
                  <a:pt x="4877" y="1773"/>
                </a:lnTo>
                <a:lnTo>
                  <a:pt x="4871" y="1767"/>
                </a:lnTo>
                <a:lnTo>
                  <a:pt x="4865" y="1767"/>
                </a:lnTo>
                <a:lnTo>
                  <a:pt x="4865" y="1767"/>
                </a:lnTo>
                <a:lnTo>
                  <a:pt x="4865" y="1767"/>
                </a:lnTo>
                <a:lnTo>
                  <a:pt x="4865" y="1767"/>
                </a:lnTo>
                <a:lnTo>
                  <a:pt x="4865" y="1767"/>
                </a:lnTo>
                <a:lnTo>
                  <a:pt x="4865" y="1773"/>
                </a:lnTo>
                <a:lnTo>
                  <a:pt x="4865" y="1773"/>
                </a:lnTo>
                <a:lnTo>
                  <a:pt x="4865" y="1773"/>
                </a:lnTo>
                <a:lnTo>
                  <a:pt x="4871" y="1773"/>
                </a:lnTo>
                <a:lnTo>
                  <a:pt x="4871" y="1773"/>
                </a:lnTo>
                <a:lnTo>
                  <a:pt x="4871" y="1773"/>
                </a:lnTo>
                <a:lnTo>
                  <a:pt x="4871" y="1773"/>
                </a:lnTo>
                <a:lnTo>
                  <a:pt x="4865" y="1773"/>
                </a:lnTo>
                <a:lnTo>
                  <a:pt x="4865" y="1773"/>
                </a:lnTo>
                <a:lnTo>
                  <a:pt x="4865" y="1773"/>
                </a:lnTo>
                <a:lnTo>
                  <a:pt x="4865" y="1773"/>
                </a:lnTo>
                <a:lnTo>
                  <a:pt x="4865" y="1773"/>
                </a:lnTo>
                <a:lnTo>
                  <a:pt x="4865" y="1779"/>
                </a:lnTo>
                <a:lnTo>
                  <a:pt x="4865" y="1779"/>
                </a:lnTo>
                <a:lnTo>
                  <a:pt x="4865" y="1779"/>
                </a:lnTo>
                <a:lnTo>
                  <a:pt x="4865" y="1779"/>
                </a:lnTo>
                <a:lnTo>
                  <a:pt x="4865" y="1779"/>
                </a:lnTo>
                <a:lnTo>
                  <a:pt x="4865" y="1779"/>
                </a:lnTo>
                <a:lnTo>
                  <a:pt x="4865" y="1779"/>
                </a:lnTo>
                <a:lnTo>
                  <a:pt x="4865" y="1779"/>
                </a:lnTo>
                <a:lnTo>
                  <a:pt x="4865" y="1779"/>
                </a:lnTo>
                <a:lnTo>
                  <a:pt x="4859" y="1773"/>
                </a:lnTo>
                <a:lnTo>
                  <a:pt x="4859" y="1773"/>
                </a:lnTo>
                <a:lnTo>
                  <a:pt x="4859" y="1773"/>
                </a:lnTo>
                <a:lnTo>
                  <a:pt x="4859" y="1773"/>
                </a:lnTo>
                <a:lnTo>
                  <a:pt x="4859" y="1779"/>
                </a:lnTo>
                <a:lnTo>
                  <a:pt x="4853" y="1779"/>
                </a:lnTo>
                <a:lnTo>
                  <a:pt x="4853" y="1779"/>
                </a:lnTo>
                <a:lnTo>
                  <a:pt x="4853" y="1779"/>
                </a:lnTo>
                <a:lnTo>
                  <a:pt x="4853" y="1791"/>
                </a:lnTo>
                <a:lnTo>
                  <a:pt x="4853" y="1797"/>
                </a:lnTo>
                <a:lnTo>
                  <a:pt x="4853" y="1797"/>
                </a:lnTo>
                <a:lnTo>
                  <a:pt x="4847" y="1809"/>
                </a:lnTo>
                <a:lnTo>
                  <a:pt x="4847" y="1809"/>
                </a:lnTo>
                <a:lnTo>
                  <a:pt x="4847" y="1809"/>
                </a:lnTo>
                <a:lnTo>
                  <a:pt x="4847" y="1809"/>
                </a:lnTo>
                <a:lnTo>
                  <a:pt x="4847" y="1809"/>
                </a:lnTo>
                <a:lnTo>
                  <a:pt x="4847" y="1809"/>
                </a:lnTo>
                <a:lnTo>
                  <a:pt x="4847" y="1803"/>
                </a:lnTo>
                <a:lnTo>
                  <a:pt x="4847" y="1803"/>
                </a:lnTo>
                <a:lnTo>
                  <a:pt x="4847" y="1803"/>
                </a:lnTo>
                <a:lnTo>
                  <a:pt x="4847" y="1803"/>
                </a:lnTo>
                <a:lnTo>
                  <a:pt x="4847" y="1803"/>
                </a:lnTo>
                <a:lnTo>
                  <a:pt x="4847" y="1803"/>
                </a:lnTo>
                <a:lnTo>
                  <a:pt x="4841" y="1803"/>
                </a:lnTo>
                <a:lnTo>
                  <a:pt x="4841" y="1803"/>
                </a:lnTo>
                <a:lnTo>
                  <a:pt x="4841" y="1803"/>
                </a:lnTo>
                <a:lnTo>
                  <a:pt x="4841" y="1803"/>
                </a:lnTo>
                <a:lnTo>
                  <a:pt x="4841" y="1803"/>
                </a:lnTo>
                <a:lnTo>
                  <a:pt x="4841" y="1803"/>
                </a:lnTo>
                <a:lnTo>
                  <a:pt x="4847" y="1803"/>
                </a:lnTo>
                <a:lnTo>
                  <a:pt x="4847" y="1803"/>
                </a:lnTo>
                <a:lnTo>
                  <a:pt x="4847" y="1803"/>
                </a:lnTo>
                <a:lnTo>
                  <a:pt x="4847" y="1803"/>
                </a:lnTo>
                <a:lnTo>
                  <a:pt x="4847" y="1803"/>
                </a:lnTo>
                <a:lnTo>
                  <a:pt x="4847" y="1797"/>
                </a:lnTo>
                <a:lnTo>
                  <a:pt x="4847" y="1797"/>
                </a:lnTo>
                <a:lnTo>
                  <a:pt x="4847" y="1797"/>
                </a:lnTo>
                <a:lnTo>
                  <a:pt x="4847" y="1797"/>
                </a:lnTo>
                <a:lnTo>
                  <a:pt x="4847" y="1797"/>
                </a:lnTo>
                <a:lnTo>
                  <a:pt x="4847" y="1797"/>
                </a:lnTo>
                <a:lnTo>
                  <a:pt x="4847" y="1797"/>
                </a:lnTo>
                <a:lnTo>
                  <a:pt x="4847" y="1797"/>
                </a:lnTo>
                <a:lnTo>
                  <a:pt x="4847" y="1797"/>
                </a:lnTo>
                <a:lnTo>
                  <a:pt x="4847" y="1791"/>
                </a:lnTo>
                <a:lnTo>
                  <a:pt x="4847" y="1791"/>
                </a:lnTo>
                <a:lnTo>
                  <a:pt x="4847" y="1791"/>
                </a:lnTo>
                <a:lnTo>
                  <a:pt x="4847" y="1791"/>
                </a:lnTo>
                <a:lnTo>
                  <a:pt x="4847" y="1791"/>
                </a:lnTo>
                <a:lnTo>
                  <a:pt x="4841" y="1791"/>
                </a:lnTo>
                <a:lnTo>
                  <a:pt x="4841" y="1791"/>
                </a:lnTo>
                <a:lnTo>
                  <a:pt x="4841" y="1791"/>
                </a:lnTo>
                <a:lnTo>
                  <a:pt x="4841" y="1791"/>
                </a:lnTo>
                <a:lnTo>
                  <a:pt x="4841" y="1791"/>
                </a:lnTo>
                <a:lnTo>
                  <a:pt x="4847" y="1791"/>
                </a:lnTo>
                <a:lnTo>
                  <a:pt x="4847" y="1791"/>
                </a:lnTo>
                <a:lnTo>
                  <a:pt x="4847" y="1791"/>
                </a:lnTo>
                <a:lnTo>
                  <a:pt x="4847" y="1791"/>
                </a:lnTo>
                <a:lnTo>
                  <a:pt x="4847" y="1785"/>
                </a:lnTo>
                <a:lnTo>
                  <a:pt x="4847" y="1785"/>
                </a:lnTo>
                <a:lnTo>
                  <a:pt x="4847" y="1785"/>
                </a:lnTo>
                <a:lnTo>
                  <a:pt x="4847" y="1779"/>
                </a:lnTo>
                <a:lnTo>
                  <a:pt x="4847" y="1779"/>
                </a:lnTo>
                <a:lnTo>
                  <a:pt x="4847" y="1779"/>
                </a:lnTo>
                <a:lnTo>
                  <a:pt x="4847" y="1779"/>
                </a:lnTo>
                <a:lnTo>
                  <a:pt x="4847" y="1773"/>
                </a:lnTo>
                <a:lnTo>
                  <a:pt x="4853" y="1773"/>
                </a:lnTo>
                <a:lnTo>
                  <a:pt x="4853" y="1773"/>
                </a:lnTo>
                <a:lnTo>
                  <a:pt x="4847" y="1773"/>
                </a:lnTo>
                <a:lnTo>
                  <a:pt x="4847" y="1773"/>
                </a:lnTo>
                <a:lnTo>
                  <a:pt x="4847" y="1773"/>
                </a:lnTo>
                <a:lnTo>
                  <a:pt x="4847" y="1773"/>
                </a:lnTo>
                <a:lnTo>
                  <a:pt x="4847" y="1767"/>
                </a:lnTo>
                <a:lnTo>
                  <a:pt x="4847" y="1773"/>
                </a:lnTo>
                <a:lnTo>
                  <a:pt x="4853" y="1767"/>
                </a:lnTo>
                <a:lnTo>
                  <a:pt x="4847" y="1767"/>
                </a:lnTo>
                <a:lnTo>
                  <a:pt x="4847" y="1767"/>
                </a:lnTo>
                <a:lnTo>
                  <a:pt x="4841" y="1767"/>
                </a:lnTo>
                <a:lnTo>
                  <a:pt x="4841" y="1767"/>
                </a:lnTo>
                <a:lnTo>
                  <a:pt x="4835" y="1767"/>
                </a:lnTo>
                <a:lnTo>
                  <a:pt x="4824" y="1767"/>
                </a:lnTo>
                <a:lnTo>
                  <a:pt x="4824" y="1767"/>
                </a:lnTo>
                <a:lnTo>
                  <a:pt x="4824" y="1773"/>
                </a:lnTo>
                <a:lnTo>
                  <a:pt x="4824" y="1773"/>
                </a:lnTo>
                <a:lnTo>
                  <a:pt x="4830" y="1773"/>
                </a:lnTo>
                <a:lnTo>
                  <a:pt x="4830" y="1773"/>
                </a:lnTo>
                <a:lnTo>
                  <a:pt x="4830" y="1773"/>
                </a:lnTo>
                <a:lnTo>
                  <a:pt x="4824" y="1773"/>
                </a:lnTo>
                <a:lnTo>
                  <a:pt x="4818" y="1773"/>
                </a:lnTo>
                <a:lnTo>
                  <a:pt x="4818" y="1773"/>
                </a:lnTo>
                <a:lnTo>
                  <a:pt x="4818" y="1773"/>
                </a:lnTo>
                <a:lnTo>
                  <a:pt x="4818" y="1773"/>
                </a:lnTo>
                <a:lnTo>
                  <a:pt x="4818" y="1773"/>
                </a:lnTo>
                <a:lnTo>
                  <a:pt x="4818" y="1773"/>
                </a:lnTo>
                <a:lnTo>
                  <a:pt x="4812" y="1773"/>
                </a:lnTo>
                <a:lnTo>
                  <a:pt x="4812" y="1773"/>
                </a:lnTo>
                <a:lnTo>
                  <a:pt x="4812" y="1773"/>
                </a:lnTo>
                <a:lnTo>
                  <a:pt x="4818" y="1773"/>
                </a:lnTo>
                <a:lnTo>
                  <a:pt x="4818" y="1767"/>
                </a:lnTo>
                <a:lnTo>
                  <a:pt x="4818" y="1767"/>
                </a:lnTo>
                <a:lnTo>
                  <a:pt x="4818" y="1767"/>
                </a:lnTo>
                <a:lnTo>
                  <a:pt x="4812" y="1767"/>
                </a:lnTo>
                <a:lnTo>
                  <a:pt x="4812" y="1767"/>
                </a:lnTo>
                <a:lnTo>
                  <a:pt x="4806" y="1767"/>
                </a:lnTo>
                <a:lnTo>
                  <a:pt x="4806" y="1767"/>
                </a:lnTo>
                <a:lnTo>
                  <a:pt x="4800" y="1767"/>
                </a:lnTo>
                <a:lnTo>
                  <a:pt x="4800" y="1773"/>
                </a:lnTo>
                <a:lnTo>
                  <a:pt x="4800" y="1773"/>
                </a:lnTo>
                <a:lnTo>
                  <a:pt x="4800" y="1773"/>
                </a:lnTo>
                <a:lnTo>
                  <a:pt x="4794" y="1773"/>
                </a:lnTo>
                <a:lnTo>
                  <a:pt x="4782" y="1773"/>
                </a:lnTo>
                <a:lnTo>
                  <a:pt x="4782" y="1773"/>
                </a:lnTo>
                <a:lnTo>
                  <a:pt x="4782" y="1767"/>
                </a:lnTo>
                <a:lnTo>
                  <a:pt x="4782" y="1767"/>
                </a:lnTo>
                <a:lnTo>
                  <a:pt x="4782" y="1762"/>
                </a:lnTo>
                <a:lnTo>
                  <a:pt x="4782" y="1762"/>
                </a:lnTo>
                <a:lnTo>
                  <a:pt x="4782" y="1762"/>
                </a:lnTo>
                <a:lnTo>
                  <a:pt x="4782" y="1762"/>
                </a:lnTo>
                <a:lnTo>
                  <a:pt x="4782" y="1762"/>
                </a:lnTo>
                <a:lnTo>
                  <a:pt x="4782" y="1762"/>
                </a:lnTo>
                <a:lnTo>
                  <a:pt x="4782" y="1762"/>
                </a:lnTo>
                <a:lnTo>
                  <a:pt x="4782" y="1762"/>
                </a:lnTo>
                <a:lnTo>
                  <a:pt x="4782" y="1756"/>
                </a:lnTo>
                <a:lnTo>
                  <a:pt x="4782" y="1756"/>
                </a:lnTo>
                <a:lnTo>
                  <a:pt x="4782" y="1756"/>
                </a:lnTo>
                <a:lnTo>
                  <a:pt x="4782" y="1756"/>
                </a:lnTo>
                <a:lnTo>
                  <a:pt x="4776" y="1750"/>
                </a:lnTo>
                <a:lnTo>
                  <a:pt x="4776" y="1750"/>
                </a:lnTo>
                <a:lnTo>
                  <a:pt x="4776" y="1750"/>
                </a:lnTo>
                <a:lnTo>
                  <a:pt x="4776" y="1744"/>
                </a:lnTo>
                <a:lnTo>
                  <a:pt x="4776" y="1744"/>
                </a:lnTo>
                <a:lnTo>
                  <a:pt x="4776" y="1738"/>
                </a:lnTo>
                <a:lnTo>
                  <a:pt x="4776" y="1738"/>
                </a:lnTo>
                <a:lnTo>
                  <a:pt x="4776" y="1738"/>
                </a:lnTo>
                <a:lnTo>
                  <a:pt x="4782" y="1738"/>
                </a:lnTo>
                <a:lnTo>
                  <a:pt x="4782" y="1732"/>
                </a:lnTo>
                <a:lnTo>
                  <a:pt x="4782" y="1732"/>
                </a:lnTo>
                <a:lnTo>
                  <a:pt x="4782" y="1732"/>
                </a:lnTo>
                <a:lnTo>
                  <a:pt x="4782" y="1732"/>
                </a:lnTo>
                <a:lnTo>
                  <a:pt x="4782" y="1732"/>
                </a:lnTo>
                <a:lnTo>
                  <a:pt x="4782" y="1726"/>
                </a:lnTo>
                <a:lnTo>
                  <a:pt x="4782" y="1726"/>
                </a:lnTo>
                <a:lnTo>
                  <a:pt x="4782" y="1726"/>
                </a:lnTo>
                <a:lnTo>
                  <a:pt x="4782" y="1726"/>
                </a:lnTo>
                <a:lnTo>
                  <a:pt x="4782" y="1726"/>
                </a:lnTo>
                <a:lnTo>
                  <a:pt x="4782" y="1726"/>
                </a:lnTo>
                <a:lnTo>
                  <a:pt x="4782" y="1726"/>
                </a:lnTo>
                <a:lnTo>
                  <a:pt x="4782" y="1726"/>
                </a:lnTo>
                <a:lnTo>
                  <a:pt x="4782" y="1726"/>
                </a:lnTo>
                <a:lnTo>
                  <a:pt x="4788" y="1732"/>
                </a:lnTo>
                <a:lnTo>
                  <a:pt x="4782" y="1732"/>
                </a:lnTo>
                <a:lnTo>
                  <a:pt x="4782" y="1732"/>
                </a:lnTo>
                <a:lnTo>
                  <a:pt x="4782" y="1732"/>
                </a:lnTo>
                <a:lnTo>
                  <a:pt x="4782" y="1738"/>
                </a:lnTo>
                <a:lnTo>
                  <a:pt x="4782" y="1738"/>
                </a:lnTo>
                <a:lnTo>
                  <a:pt x="4782" y="1738"/>
                </a:lnTo>
                <a:lnTo>
                  <a:pt x="4782" y="1744"/>
                </a:lnTo>
                <a:lnTo>
                  <a:pt x="4782" y="1744"/>
                </a:lnTo>
                <a:lnTo>
                  <a:pt x="4782" y="1744"/>
                </a:lnTo>
                <a:lnTo>
                  <a:pt x="4782" y="1750"/>
                </a:lnTo>
                <a:lnTo>
                  <a:pt x="4782" y="1750"/>
                </a:lnTo>
                <a:lnTo>
                  <a:pt x="4782" y="1756"/>
                </a:lnTo>
                <a:lnTo>
                  <a:pt x="4782" y="1756"/>
                </a:lnTo>
                <a:lnTo>
                  <a:pt x="4788" y="1762"/>
                </a:lnTo>
                <a:lnTo>
                  <a:pt x="4788" y="1762"/>
                </a:lnTo>
                <a:lnTo>
                  <a:pt x="4788" y="1756"/>
                </a:lnTo>
                <a:lnTo>
                  <a:pt x="4794" y="1756"/>
                </a:lnTo>
                <a:lnTo>
                  <a:pt x="4794" y="1762"/>
                </a:lnTo>
                <a:lnTo>
                  <a:pt x="4794" y="1762"/>
                </a:lnTo>
                <a:lnTo>
                  <a:pt x="4794" y="1762"/>
                </a:lnTo>
                <a:lnTo>
                  <a:pt x="4800" y="1762"/>
                </a:lnTo>
                <a:lnTo>
                  <a:pt x="4800" y="1762"/>
                </a:lnTo>
                <a:lnTo>
                  <a:pt x="4800" y="1762"/>
                </a:lnTo>
                <a:lnTo>
                  <a:pt x="4806" y="1762"/>
                </a:lnTo>
                <a:lnTo>
                  <a:pt x="4806" y="1762"/>
                </a:lnTo>
                <a:lnTo>
                  <a:pt x="4812" y="1762"/>
                </a:lnTo>
                <a:lnTo>
                  <a:pt x="4812" y="1756"/>
                </a:lnTo>
                <a:lnTo>
                  <a:pt x="4812" y="1756"/>
                </a:lnTo>
                <a:lnTo>
                  <a:pt x="4812" y="1756"/>
                </a:lnTo>
                <a:lnTo>
                  <a:pt x="4812" y="1756"/>
                </a:lnTo>
                <a:lnTo>
                  <a:pt x="4812" y="1756"/>
                </a:lnTo>
                <a:lnTo>
                  <a:pt x="4812" y="1756"/>
                </a:lnTo>
                <a:lnTo>
                  <a:pt x="4812" y="1756"/>
                </a:lnTo>
                <a:lnTo>
                  <a:pt x="4824" y="1756"/>
                </a:lnTo>
                <a:lnTo>
                  <a:pt x="4824" y="1756"/>
                </a:lnTo>
                <a:lnTo>
                  <a:pt x="4824" y="1750"/>
                </a:lnTo>
                <a:lnTo>
                  <a:pt x="4818" y="1750"/>
                </a:lnTo>
                <a:lnTo>
                  <a:pt x="4818" y="1750"/>
                </a:lnTo>
                <a:lnTo>
                  <a:pt x="4818" y="1750"/>
                </a:lnTo>
                <a:lnTo>
                  <a:pt x="4812" y="1750"/>
                </a:lnTo>
                <a:lnTo>
                  <a:pt x="4812" y="1744"/>
                </a:lnTo>
                <a:lnTo>
                  <a:pt x="4812" y="1744"/>
                </a:lnTo>
                <a:lnTo>
                  <a:pt x="4812" y="1744"/>
                </a:lnTo>
                <a:lnTo>
                  <a:pt x="4806" y="1744"/>
                </a:lnTo>
                <a:lnTo>
                  <a:pt x="4806" y="1744"/>
                </a:lnTo>
                <a:lnTo>
                  <a:pt x="4806" y="1744"/>
                </a:lnTo>
                <a:lnTo>
                  <a:pt x="4806" y="1738"/>
                </a:lnTo>
                <a:lnTo>
                  <a:pt x="4812" y="1738"/>
                </a:lnTo>
                <a:lnTo>
                  <a:pt x="4812" y="1744"/>
                </a:lnTo>
                <a:lnTo>
                  <a:pt x="4812" y="1744"/>
                </a:lnTo>
                <a:lnTo>
                  <a:pt x="4812" y="1744"/>
                </a:lnTo>
                <a:lnTo>
                  <a:pt x="4812" y="1744"/>
                </a:lnTo>
                <a:lnTo>
                  <a:pt x="4818" y="1744"/>
                </a:lnTo>
                <a:lnTo>
                  <a:pt x="4818" y="1750"/>
                </a:lnTo>
                <a:lnTo>
                  <a:pt x="4830" y="1750"/>
                </a:lnTo>
                <a:lnTo>
                  <a:pt x="4830" y="1750"/>
                </a:lnTo>
                <a:lnTo>
                  <a:pt x="4835" y="1750"/>
                </a:lnTo>
                <a:lnTo>
                  <a:pt x="4835" y="1750"/>
                </a:lnTo>
                <a:lnTo>
                  <a:pt x="4830" y="1750"/>
                </a:lnTo>
                <a:lnTo>
                  <a:pt x="4830" y="1744"/>
                </a:lnTo>
                <a:lnTo>
                  <a:pt x="4830" y="1744"/>
                </a:lnTo>
                <a:lnTo>
                  <a:pt x="4824" y="1744"/>
                </a:lnTo>
                <a:lnTo>
                  <a:pt x="4824" y="1744"/>
                </a:lnTo>
                <a:lnTo>
                  <a:pt x="4824" y="1744"/>
                </a:lnTo>
                <a:lnTo>
                  <a:pt x="4824" y="1738"/>
                </a:lnTo>
                <a:lnTo>
                  <a:pt x="4824" y="1738"/>
                </a:lnTo>
                <a:lnTo>
                  <a:pt x="4824" y="1738"/>
                </a:lnTo>
                <a:lnTo>
                  <a:pt x="4824" y="1738"/>
                </a:lnTo>
                <a:lnTo>
                  <a:pt x="4830" y="1744"/>
                </a:lnTo>
                <a:lnTo>
                  <a:pt x="4830" y="1744"/>
                </a:lnTo>
                <a:lnTo>
                  <a:pt x="4830" y="1744"/>
                </a:lnTo>
                <a:lnTo>
                  <a:pt x="4830" y="1744"/>
                </a:lnTo>
                <a:lnTo>
                  <a:pt x="4835" y="1750"/>
                </a:lnTo>
                <a:lnTo>
                  <a:pt x="4835" y="1750"/>
                </a:lnTo>
                <a:lnTo>
                  <a:pt x="4835" y="1750"/>
                </a:lnTo>
                <a:lnTo>
                  <a:pt x="4835" y="1750"/>
                </a:lnTo>
                <a:lnTo>
                  <a:pt x="4841" y="1750"/>
                </a:lnTo>
                <a:lnTo>
                  <a:pt x="4841" y="1750"/>
                </a:lnTo>
                <a:lnTo>
                  <a:pt x="4841" y="1750"/>
                </a:lnTo>
                <a:lnTo>
                  <a:pt x="4841" y="1750"/>
                </a:lnTo>
                <a:lnTo>
                  <a:pt x="4841" y="1750"/>
                </a:lnTo>
                <a:lnTo>
                  <a:pt x="4841" y="1744"/>
                </a:lnTo>
                <a:lnTo>
                  <a:pt x="4841" y="1744"/>
                </a:lnTo>
                <a:lnTo>
                  <a:pt x="4847" y="1744"/>
                </a:lnTo>
                <a:lnTo>
                  <a:pt x="4847" y="1744"/>
                </a:lnTo>
                <a:lnTo>
                  <a:pt x="4847" y="1744"/>
                </a:lnTo>
                <a:lnTo>
                  <a:pt x="4847" y="1744"/>
                </a:lnTo>
                <a:lnTo>
                  <a:pt x="4847" y="1744"/>
                </a:lnTo>
                <a:lnTo>
                  <a:pt x="4841" y="1738"/>
                </a:lnTo>
                <a:lnTo>
                  <a:pt x="4841" y="1738"/>
                </a:lnTo>
                <a:lnTo>
                  <a:pt x="4841" y="1738"/>
                </a:lnTo>
                <a:lnTo>
                  <a:pt x="4841" y="1738"/>
                </a:lnTo>
                <a:lnTo>
                  <a:pt x="4841" y="1738"/>
                </a:lnTo>
                <a:lnTo>
                  <a:pt x="4841" y="1732"/>
                </a:lnTo>
                <a:lnTo>
                  <a:pt x="4835" y="1732"/>
                </a:lnTo>
                <a:lnTo>
                  <a:pt x="4835" y="1732"/>
                </a:lnTo>
                <a:lnTo>
                  <a:pt x="4835" y="1732"/>
                </a:lnTo>
                <a:lnTo>
                  <a:pt x="4830" y="1732"/>
                </a:lnTo>
                <a:lnTo>
                  <a:pt x="4830" y="1726"/>
                </a:lnTo>
                <a:lnTo>
                  <a:pt x="4830" y="1726"/>
                </a:lnTo>
                <a:lnTo>
                  <a:pt x="4830" y="1726"/>
                </a:lnTo>
                <a:lnTo>
                  <a:pt x="4830" y="1726"/>
                </a:lnTo>
                <a:lnTo>
                  <a:pt x="4835" y="1726"/>
                </a:lnTo>
                <a:lnTo>
                  <a:pt x="4835" y="1726"/>
                </a:lnTo>
                <a:lnTo>
                  <a:pt x="4835" y="1726"/>
                </a:lnTo>
                <a:lnTo>
                  <a:pt x="4835" y="1726"/>
                </a:lnTo>
                <a:lnTo>
                  <a:pt x="4835" y="1726"/>
                </a:lnTo>
                <a:lnTo>
                  <a:pt x="4835" y="1732"/>
                </a:lnTo>
                <a:lnTo>
                  <a:pt x="4841" y="1732"/>
                </a:lnTo>
                <a:lnTo>
                  <a:pt x="4841" y="1732"/>
                </a:lnTo>
                <a:lnTo>
                  <a:pt x="4841" y="1732"/>
                </a:lnTo>
                <a:lnTo>
                  <a:pt x="4841" y="1732"/>
                </a:lnTo>
                <a:lnTo>
                  <a:pt x="4847" y="1732"/>
                </a:lnTo>
                <a:lnTo>
                  <a:pt x="4847" y="1732"/>
                </a:lnTo>
                <a:lnTo>
                  <a:pt x="4847" y="1738"/>
                </a:lnTo>
                <a:lnTo>
                  <a:pt x="4847" y="1738"/>
                </a:lnTo>
                <a:lnTo>
                  <a:pt x="4847" y="1738"/>
                </a:lnTo>
                <a:lnTo>
                  <a:pt x="4847" y="1738"/>
                </a:lnTo>
                <a:lnTo>
                  <a:pt x="4847" y="1738"/>
                </a:lnTo>
                <a:lnTo>
                  <a:pt x="4853" y="1744"/>
                </a:lnTo>
                <a:lnTo>
                  <a:pt x="4853" y="1744"/>
                </a:lnTo>
                <a:lnTo>
                  <a:pt x="4853" y="1744"/>
                </a:lnTo>
                <a:lnTo>
                  <a:pt x="4853" y="1744"/>
                </a:lnTo>
                <a:lnTo>
                  <a:pt x="4853" y="1744"/>
                </a:lnTo>
                <a:lnTo>
                  <a:pt x="4853" y="1744"/>
                </a:lnTo>
                <a:lnTo>
                  <a:pt x="4865" y="1744"/>
                </a:lnTo>
                <a:lnTo>
                  <a:pt x="4865" y="1744"/>
                </a:lnTo>
                <a:lnTo>
                  <a:pt x="4859" y="1744"/>
                </a:lnTo>
                <a:lnTo>
                  <a:pt x="4859" y="1744"/>
                </a:lnTo>
                <a:lnTo>
                  <a:pt x="4859" y="1744"/>
                </a:lnTo>
                <a:lnTo>
                  <a:pt x="4859" y="1744"/>
                </a:lnTo>
                <a:lnTo>
                  <a:pt x="4859" y="1738"/>
                </a:lnTo>
                <a:lnTo>
                  <a:pt x="4859" y="1738"/>
                </a:lnTo>
                <a:lnTo>
                  <a:pt x="4859" y="1738"/>
                </a:lnTo>
                <a:lnTo>
                  <a:pt x="4859" y="1732"/>
                </a:lnTo>
                <a:lnTo>
                  <a:pt x="4859" y="1732"/>
                </a:lnTo>
                <a:lnTo>
                  <a:pt x="4853" y="1732"/>
                </a:lnTo>
                <a:lnTo>
                  <a:pt x="4853" y="1726"/>
                </a:lnTo>
                <a:lnTo>
                  <a:pt x="4853" y="1726"/>
                </a:lnTo>
                <a:lnTo>
                  <a:pt x="4853" y="1726"/>
                </a:lnTo>
                <a:lnTo>
                  <a:pt x="4853" y="1726"/>
                </a:lnTo>
                <a:lnTo>
                  <a:pt x="4853" y="1726"/>
                </a:lnTo>
                <a:lnTo>
                  <a:pt x="4853" y="1726"/>
                </a:lnTo>
                <a:lnTo>
                  <a:pt x="4853" y="1726"/>
                </a:lnTo>
                <a:lnTo>
                  <a:pt x="4859" y="1726"/>
                </a:lnTo>
                <a:lnTo>
                  <a:pt x="4859" y="1732"/>
                </a:lnTo>
                <a:lnTo>
                  <a:pt x="4859" y="1732"/>
                </a:lnTo>
                <a:lnTo>
                  <a:pt x="4859" y="1732"/>
                </a:lnTo>
                <a:lnTo>
                  <a:pt x="4859" y="1732"/>
                </a:lnTo>
                <a:lnTo>
                  <a:pt x="4859" y="1732"/>
                </a:lnTo>
                <a:lnTo>
                  <a:pt x="4859" y="1738"/>
                </a:lnTo>
                <a:lnTo>
                  <a:pt x="4865" y="1738"/>
                </a:lnTo>
                <a:lnTo>
                  <a:pt x="4865" y="1738"/>
                </a:lnTo>
                <a:lnTo>
                  <a:pt x="4865" y="1738"/>
                </a:lnTo>
                <a:lnTo>
                  <a:pt x="4865" y="1738"/>
                </a:lnTo>
                <a:lnTo>
                  <a:pt x="4865" y="1738"/>
                </a:lnTo>
                <a:lnTo>
                  <a:pt x="4865" y="1738"/>
                </a:lnTo>
                <a:lnTo>
                  <a:pt x="4865" y="1738"/>
                </a:lnTo>
                <a:lnTo>
                  <a:pt x="4865" y="1738"/>
                </a:lnTo>
                <a:lnTo>
                  <a:pt x="4865" y="1744"/>
                </a:lnTo>
                <a:lnTo>
                  <a:pt x="4865" y="1744"/>
                </a:lnTo>
                <a:lnTo>
                  <a:pt x="4865" y="1744"/>
                </a:lnTo>
                <a:lnTo>
                  <a:pt x="4865" y="1744"/>
                </a:lnTo>
                <a:lnTo>
                  <a:pt x="4865" y="1750"/>
                </a:lnTo>
                <a:lnTo>
                  <a:pt x="4865" y="1750"/>
                </a:lnTo>
                <a:lnTo>
                  <a:pt x="4865" y="1750"/>
                </a:lnTo>
                <a:lnTo>
                  <a:pt x="4871" y="1756"/>
                </a:lnTo>
                <a:lnTo>
                  <a:pt x="4871" y="1756"/>
                </a:lnTo>
                <a:lnTo>
                  <a:pt x="4871" y="1756"/>
                </a:lnTo>
                <a:lnTo>
                  <a:pt x="4877" y="1756"/>
                </a:lnTo>
                <a:lnTo>
                  <a:pt x="4877" y="1756"/>
                </a:lnTo>
                <a:lnTo>
                  <a:pt x="4877" y="1756"/>
                </a:lnTo>
                <a:lnTo>
                  <a:pt x="4877" y="1750"/>
                </a:lnTo>
                <a:lnTo>
                  <a:pt x="4871" y="1750"/>
                </a:lnTo>
                <a:lnTo>
                  <a:pt x="4871" y="1750"/>
                </a:lnTo>
                <a:lnTo>
                  <a:pt x="4871" y="1750"/>
                </a:lnTo>
                <a:lnTo>
                  <a:pt x="4871" y="1744"/>
                </a:lnTo>
                <a:lnTo>
                  <a:pt x="4871" y="1744"/>
                </a:lnTo>
                <a:lnTo>
                  <a:pt x="4871" y="1744"/>
                </a:lnTo>
                <a:lnTo>
                  <a:pt x="4865" y="1732"/>
                </a:lnTo>
                <a:lnTo>
                  <a:pt x="4865" y="1732"/>
                </a:lnTo>
                <a:lnTo>
                  <a:pt x="4865" y="1726"/>
                </a:lnTo>
                <a:lnTo>
                  <a:pt x="4859" y="1720"/>
                </a:lnTo>
                <a:lnTo>
                  <a:pt x="4859" y="1720"/>
                </a:lnTo>
                <a:lnTo>
                  <a:pt x="4859" y="1714"/>
                </a:lnTo>
                <a:lnTo>
                  <a:pt x="4859" y="1714"/>
                </a:lnTo>
                <a:lnTo>
                  <a:pt x="4859" y="1714"/>
                </a:lnTo>
                <a:lnTo>
                  <a:pt x="4859" y="1714"/>
                </a:lnTo>
                <a:lnTo>
                  <a:pt x="4859" y="1714"/>
                </a:lnTo>
                <a:lnTo>
                  <a:pt x="4859" y="1714"/>
                </a:lnTo>
                <a:lnTo>
                  <a:pt x="4859" y="1714"/>
                </a:lnTo>
                <a:lnTo>
                  <a:pt x="4859" y="1714"/>
                </a:lnTo>
                <a:lnTo>
                  <a:pt x="4859" y="1714"/>
                </a:lnTo>
                <a:lnTo>
                  <a:pt x="4859" y="1714"/>
                </a:lnTo>
                <a:lnTo>
                  <a:pt x="4859" y="1720"/>
                </a:lnTo>
                <a:lnTo>
                  <a:pt x="4859" y="1720"/>
                </a:lnTo>
                <a:lnTo>
                  <a:pt x="4859" y="1720"/>
                </a:lnTo>
                <a:lnTo>
                  <a:pt x="4859" y="1720"/>
                </a:lnTo>
                <a:lnTo>
                  <a:pt x="4853" y="1714"/>
                </a:lnTo>
                <a:lnTo>
                  <a:pt x="4853" y="1714"/>
                </a:lnTo>
                <a:lnTo>
                  <a:pt x="4853" y="1714"/>
                </a:lnTo>
                <a:lnTo>
                  <a:pt x="4859" y="1714"/>
                </a:lnTo>
                <a:lnTo>
                  <a:pt x="4853" y="1708"/>
                </a:lnTo>
                <a:lnTo>
                  <a:pt x="4853" y="1708"/>
                </a:lnTo>
                <a:lnTo>
                  <a:pt x="4853" y="1708"/>
                </a:lnTo>
                <a:lnTo>
                  <a:pt x="4847" y="1702"/>
                </a:lnTo>
                <a:lnTo>
                  <a:pt x="4847" y="1702"/>
                </a:lnTo>
                <a:lnTo>
                  <a:pt x="4847" y="1702"/>
                </a:lnTo>
                <a:lnTo>
                  <a:pt x="4847" y="1696"/>
                </a:lnTo>
                <a:lnTo>
                  <a:pt x="4847" y="1696"/>
                </a:lnTo>
                <a:lnTo>
                  <a:pt x="4847" y="1696"/>
                </a:lnTo>
                <a:lnTo>
                  <a:pt x="4847" y="1696"/>
                </a:lnTo>
                <a:lnTo>
                  <a:pt x="4847" y="1696"/>
                </a:lnTo>
                <a:lnTo>
                  <a:pt x="4847" y="1696"/>
                </a:lnTo>
                <a:lnTo>
                  <a:pt x="4847" y="1696"/>
                </a:lnTo>
                <a:lnTo>
                  <a:pt x="4847" y="1696"/>
                </a:lnTo>
                <a:lnTo>
                  <a:pt x="4847" y="1690"/>
                </a:lnTo>
                <a:lnTo>
                  <a:pt x="4847" y="1690"/>
                </a:lnTo>
                <a:lnTo>
                  <a:pt x="4853" y="1696"/>
                </a:lnTo>
                <a:lnTo>
                  <a:pt x="4853" y="1696"/>
                </a:lnTo>
                <a:lnTo>
                  <a:pt x="4853" y="1696"/>
                </a:lnTo>
                <a:lnTo>
                  <a:pt x="4853" y="1702"/>
                </a:lnTo>
                <a:lnTo>
                  <a:pt x="4853" y="1702"/>
                </a:lnTo>
                <a:lnTo>
                  <a:pt x="4853" y="1702"/>
                </a:lnTo>
                <a:lnTo>
                  <a:pt x="4853" y="1702"/>
                </a:lnTo>
                <a:lnTo>
                  <a:pt x="4859" y="1702"/>
                </a:lnTo>
                <a:lnTo>
                  <a:pt x="4859" y="1702"/>
                </a:lnTo>
                <a:lnTo>
                  <a:pt x="4865" y="1702"/>
                </a:lnTo>
                <a:lnTo>
                  <a:pt x="4865" y="1702"/>
                </a:lnTo>
                <a:lnTo>
                  <a:pt x="4865" y="1702"/>
                </a:lnTo>
                <a:lnTo>
                  <a:pt x="4865" y="1702"/>
                </a:lnTo>
                <a:lnTo>
                  <a:pt x="4865" y="1702"/>
                </a:lnTo>
                <a:lnTo>
                  <a:pt x="4865" y="1702"/>
                </a:lnTo>
                <a:lnTo>
                  <a:pt x="4865" y="1696"/>
                </a:lnTo>
                <a:lnTo>
                  <a:pt x="4865" y="1696"/>
                </a:lnTo>
                <a:lnTo>
                  <a:pt x="4859" y="1696"/>
                </a:lnTo>
                <a:lnTo>
                  <a:pt x="4859" y="1696"/>
                </a:lnTo>
                <a:lnTo>
                  <a:pt x="4859" y="1696"/>
                </a:lnTo>
                <a:lnTo>
                  <a:pt x="4859" y="1696"/>
                </a:lnTo>
                <a:lnTo>
                  <a:pt x="4859" y="1696"/>
                </a:lnTo>
                <a:lnTo>
                  <a:pt x="4859" y="1696"/>
                </a:lnTo>
                <a:lnTo>
                  <a:pt x="4859" y="1696"/>
                </a:lnTo>
                <a:lnTo>
                  <a:pt x="4859" y="1696"/>
                </a:lnTo>
                <a:lnTo>
                  <a:pt x="4859" y="1696"/>
                </a:lnTo>
                <a:lnTo>
                  <a:pt x="4859" y="1696"/>
                </a:lnTo>
                <a:lnTo>
                  <a:pt x="4859" y="1696"/>
                </a:lnTo>
                <a:lnTo>
                  <a:pt x="4859" y="1696"/>
                </a:lnTo>
                <a:lnTo>
                  <a:pt x="4859" y="1696"/>
                </a:lnTo>
                <a:lnTo>
                  <a:pt x="4853" y="1690"/>
                </a:lnTo>
                <a:lnTo>
                  <a:pt x="4859" y="1678"/>
                </a:lnTo>
                <a:lnTo>
                  <a:pt x="4859" y="1678"/>
                </a:lnTo>
                <a:lnTo>
                  <a:pt x="4859" y="1678"/>
                </a:lnTo>
                <a:lnTo>
                  <a:pt x="4859" y="1678"/>
                </a:lnTo>
                <a:lnTo>
                  <a:pt x="4859" y="1678"/>
                </a:lnTo>
                <a:lnTo>
                  <a:pt x="4859" y="1678"/>
                </a:lnTo>
                <a:lnTo>
                  <a:pt x="4859" y="1678"/>
                </a:lnTo>
                <a:lnTo>
                  <a:pt x="4859" y="1678"/>
                </a:lnTo>
                <a:lnTo>
                  <a:pt x="4859" y="1678"/>
                </a:lnTo>
                <a:lnTo>
                  <a:pt x="4865" y="1684"/>
                </a:lnTo>
                <a:lnTo>
                  <a:pt x="4865" y="1690"/>
                </a:lnTo>
                <a:lnTo>
                  <a:pt x="4865" y="1690"/>
                </a:lnTo>
                <a:lnTo>
                  <a:pt x="4865" y="1690"/>
                </a:lnTo>
                <a:lnTo>
                  <a:pt x="4865" y="1690"/>
                </a:lnTo>
                <a:lnTo>
                  <a:pt x="4865" y="1690"/>
                </a:lnTo>
                <a:lnTo>
                  <a:pt x="4865" y="1690"/>
                </a:lnTo>
                <a:lnTo>
                  <a:pt x="4865" y="1696"/>
                </a:lnTo>
                <a:lnTo>
                  <a:pt x="4865" y="1696"/>
                </a:lnTo>
                <a:lnTo>
                  <a:pt x="4865" y="1696"/>
                </a:lnTo>
                <a:lnTo>
                  <a:pt x="4865" y="1696"/>
                </a:lnTo>
                <a:lnTo>
                  <a:pt x="4865" y="1696"/>
                </a:lnTo>
                <a:lnTo>
                  <a:pt x="4865" y="1696"/>
                </a:lnTo>
                <a:lnTo>
                  <a:pt x="4865" y="1702"/>
                </a:lnTo>
                <a:lnTo>
                  <a:pt x="4865" y="1702"/>
                </a:lnTo>
                <a:lnTo>
                  <a:pt x="4865" y="1702"/>
                </a:lnTo>
                <a:lnTo>
                  <a:pt x="4865" y="1708"/>
                </a:lnTo>
                <a:lnTo>
                  <a:pt x="4871" y="1708"/>
                </a:lnTo>
                <a:lnTo>
                  <a:pt x="4871" y="1714"/>
                </a:lnTo>
                <a:lnTo>
                  <a:pt x="4871" y="1714"/>
                </a:lnTo>
                <a:lnTo>
                  <a:pt x="4871" y="1714"/>
                </a:lnTo>
                <a:lnTo>
                  <a:pt x="4871" y="1726"/>
                </a:lnTo>
                <a:lnTo>
                  <a:pt x="4871" y="1726"/>
                </a:lnTo>
                <a:lnTo>
                  <a:pt x="4871" y="1726"/>
                </a:lnTo>
                <a:lnTo>
                  <a:pt x="4871" y="1726"/>
                </a:lnTo>
                <a:lnTo>
                  <a:pt x="4871" y="1726"/>
                </a:lnTo>
                <a:lnTo>
                  <a:pt x="4871" y="1726"/>
                </a:lnTo>
                <a:lnTo>
                  <a:pt x="4871" y="1726"/>
                </a:lnTo>
                <a:lnTo>
                  <a:pt x="4871" y="1726"/>
                </a:lnTo>
                <a:lnTo>
                  <a:pt x="4871" y="1732"/>
                </a:lnTo>
                <a:lnTo>
                  <a:pt x="4877" y="1738"/>
                </a:lnTo>
                <a:lnTo>
                  <a:pt x="4877" y="1738"/>
                </a:lnTo>
                <a:lnTo>
                  <a:pt x="4877" y="1744"/>
                </a:lnTo>
                <a:lnTo>
                  <a:pt x="4877" y="1744"/>
                </a:lnTo>
                <a:lnTo>
                  <a:pt x="4877" y="1750"/>
                </a:lnTo>
                <a:lnTo>
                  <a:pt x="4877" y="1750"/>
                </a:lnTo>
                <a:lnTo>
                  <a:pt x="4877" y="1750"/>
                </a:lnTo>
                <a:lnTo>
                  <a:pt x="4877" y="1750"/>
                </a:lnTo>
                <a:lnTo>
                  <a:pt x="4877" y="1756"/>
                </a:lnTo>
                <a:lnTo>
                  <a:pt x="4877" y="1756"/>
                </a:lnTo>
                <a:lnTo>
                  <a:pt x="4883" y="1756"/>
                </a:lnTo>
                <a:lnTo>
                  <a:pt x="4883" y="1756"/>
                </a:lnTo>
                <a:lnTo>
                  <a:pt x="4883" y="1756"/>
                </a:lnTo>
                <a:lnTo>
                  <a:pt x="4883" y="1756"/>
                </a:lnTo>
                <a:lnTo>
                  <a:pt x="4883" y="1762"/>
                </a:lnTo>
                <a:lnTo>
                  <a:pt x="4883" y="1756"/>
                </a:lnTo>
                <a:lnTo>
                  <a:pt x="4883" y="1762"/>
                </a:lnTo>
                <a:lnTo>
                  <a:pt x="4883" y="1762"/>
                </a:lnTo>
                <a:lnTo>
                  <a:pt x="4883" y="1762"/>
                </a:lnTo>
                <a:lnTo>
                  <a:pt x="4883" y="1762"/>
                </a:lnTo>
                <a:lnTo>
                  <a:pt x="4883" y="1762"/>
                </a:lnTo>
                <a:lnTo>
                  <a:pt x="4883" y="1762"/>
                </a:lnTo>
                <a:lnTo>
                  <a:pt x="4883" y="1762"/>
                </a:lnTo>
                <a:lnTo>
                  <a:pt x="4883" y="1762"/>
                </a:lnTo>
                <a:lnTo>
                  <a:pt x="4883" y="1762"/>
                </a:lnTo>
                <a:lnTo>
                  <a:pt x="4883" y="1767"/>
                </a:lnTo>
                <a:lnTo>
                  <a:pt x="4883" y="1767"/>
                </a:lnTo>
                <a:lnTo>
                  <a:pt x="4883" y="1767"/>
                </a:lnTo>
                <a:lnTo>
                  <a:pt x="4883" y="1767"/>
                </a:lnTo>
                <a:lnTo>
                  <a:pt x="4895" y="1773"/>
                </a:lnTo>
                <a:lnTo>
                  <a:pt x="4895" y="1779"/>
                </a:lnTo>
                <a:lnTo>
                  <a:pt x="4895" y="1779"/>
                </a:lnTo>
                <a:lnTo>
                  <a:pt x="4895" y="1779"/>
                </a:lnTo>
                <a:lnTo>
                  <a:pt x="4895" y="1779"/>
                </a:lnTo>
                <a:lnTo>
                  <a:pt x="4895" y="1785"/>
                </a:lnTo>
                <a:lnTo>
                  <a:pt x="4895" y="1785"/>
                </a:lnTo>
                <a:lnTo>
                  <a:pt x="4895" y="1785"/>
                </a:lnTo>
                <a:lnTo>
                  <a:pt x="4895" y="1785"/>
                </a:lnTo>
                <a:lnTo>
                  <a:pt x="4895" y="1785"/>
                </a:lnTo>
                <a:lnTo>
                  <a:pt x="4895" y="1785"/>
                </a:lnTo>
                <a:lnTo>
                  <a:pt x="4895" y="1785"/>
                </a:lnTo>
                <a:lnTo>
                  <a:pt x="4895" y="1791"/>
                </a:lnTo>
                <a:lnTo>
                  <a:pt x="4901" y="1791"/>
                </a:lnTo>
                <a:lnTo>
                  <a:pt x="4901" y="1791"/>
                </a:lnTo>
                <a:lnTo>
                  <a:pt x="4901" y="1791"/>
                </a:lnTo>
                <a:lnTo>
                  <a:pt x="4895" y="1785"/>
                </a:lnTo>
                <a:lnTo>
                  <a:pt x="4895" y="1779"/>
                </a:lnTo>
                <a:lnTo>
                  <a:pt x="4895" y="1779"/>
                </a:lnTo>
                <a:lnTo>
                  <a:pt x="4883" y="1750"/>
                </a:lnTo>
                <a:lnTo>
                  <a:pt x="4877" y="1738"/>
                </a:lnTo>
                <a:lnTo>
                  <a:pt x="4877" y="1732"/>
                </a:lnTo>
                <a:lnTo>
                  <a:pt x="4877" y="1726"/>
                </a:lnTo>
                <a:lnTo>
                  <a:pt x="4877" y="1726"/>
                </a:lnTo>
                <a:lnTo>
                  <a:pt x="4877" y="1726"/>
                </a:lnTo>
                <a:lnTo>
                  <a:pt x="4871" y="1726"/>
                </a:lnTo>
                <a:lnTo>
                  <a:pt x="4871" y="1720"/>
                </a:lnTo>
                <a:lnTo>
                  <a:pt x="4871" y="1720"/>
                </a:lnTo>
                <a:lnTo>
                  <a:pt x="4871" y="1702"/>
                </a:lnTo>
                <a:lnTo>
                  <a:pt x="4865" y="1696"/>
                </a:lnTo>
                <a:lnTo>
                  <a:pt x="4865" y="1696"/>
                </a:lnTo>
                <a:lnTo>
                  <a:pt x="4865" y="1696"/>
                </a:lnTo>
                <a:lnTo>
                  <a:pt x="4865" y="1690"/>
                </a:lnTo>
                <a:lnTo>
                  <a:pt x="4859" y="1667"/>
                </a:lnTo>
                <a:lnTo>
                  <a:pt x="4853" y="1655"/>
                </a:lnTo>
                <a:lnTo>
                  <a:pt x="4853" y="1649"/>
                </a:lnTo>
                <a:lnTo>
                  <a:pt x="4853" y="1649"/>
                </a:lnTo>
                <a:lnTo>
                  <a:pt x="4853" y="1649"/>
                </a:lnTo>
                <a:lnTo>
                  <a:pt x="4847" y="1649"/>
                </a:lnTo>
                <a:lnTo>
                  <a:pt x="4847" y="1649"/>
                </a:lnTo>
                <a:lnTo>
                  <a:pt x="4847" y="1649"/>
                </a:lnTo>
                <a:lnTo>
                  <a:pt x="4847" y="1655"/>
                </a:lnTo>
                <a:lnTo>
                  <a:pt x="4847" y="1655"/>
                </a:lnTo>
                <a:lnTo>
                  <a:pt x="4847" y="1649"/>
                </a:lnTo>
                <a:lnTo>
                  <a:pt x="4841" y="1649"/>
                </a:lnTo>
                <a:lnTo>
                  <a:pt x="4835" y="1649"/>
                </a:lnTo>
                <a:lnTo>
                  <a:pt x="4824" y="1643"/>
                </a:lnTo>
                <a:lnTo>
                  <a:pt x="4824" y="1643"/>
                </a:lnTo>
                <a:lnTo>
                  <a:pt x="4824" y="1649"/>
                </a:lnTo>
                <a:lnTo>
                  <a:pt x="4818" y="1649"/>
                </a:lnTo>
                <a:lnTo>
                  <a:pt x="4818" y="1649"/>
                </a:lnTo>
                <a:lnTo>
                  <a:pt x="4824" y="1649"/>
                </a:lnTo>
                <a:lnTo>
                  <a:pt x="4824" y="1649"/>
                </a:lnTo>
                <a:lnTo>
                  <a:pt x="4824" y="1655"/>
                </a:lnTo>
                <a:lnTo>
                  <a:pt x="4824" y="1655"/>
                </a:lnTo>
                <a:lnTo>
                  <a:pt x="4824" y="1655"/>
                </a:lnTo>
                <a:lnTo>
                  <a:pt x="4824" y="1655"/>
                </a:lnTo>
                <a:lnTo>
                  <a:pt x="4824" y="1655"/>
                </a:lnTo>
                <a:lnTo>
                  <a:pt x="4824" y="1661"/>
                </a:lnTo>
                <a:lnTo>
                  <a:pt x="4824" y="1661"/>
                </a:lnTo>
                <a:lnTo>
                  <a:pt x="4824" y="1661"/>
                </a:lnTo>
                <a:lnTo>
                  <a:pt x="4824" y="1661"/>
                </a:lnTo>
                <a:lnTo>
                  <a:pt x="4818" y="1655"/>
                </a:lnTo>
                <a:lnTo>
                  <a:pt x="4818" y="1655"/>
                </a:lnTo>
                <a:lnTo>
                  <a:pt x="4818" y="1655"/>
                </a:lnTo>
                <a:lnTo>
                  <a:pt x="4818" y="1655"/>
                </a:lnTo>
                <a:lnTo>
                  <a:pt x="4818" y="1655"/>
                </a:lnTo>
                <a:lnTo>
                  <a:pt x="4812" y="1655"/>
                </a:lnTo>
                <a:lnTo>
                  <a:pt x="4812" y="1655"/>
                </a:lnTo>
                <a:lnTo>
                  <a:pt x="4806" y="1655"/>
                </a:lnTo>
                <a:lnTo>
                  <a:pt x="4806" y="1655"/>
                </a:lnTo>
                <a:lnTo>
                  <a:pt x="4806" y="1655"/>
                </a:lnTo>
                <a:lnTo>
                  <a:pt x="4806" y="1655"/>
                </a:lnTo>
                <a:lnTo>
                  <a:pt x="4800" y="1661"/>
                </a:lnTo>
                <a:lnTo>
                  <a:pt x="4800" y="1655"/>
                </a:lnTo>
                <a:lnTo>
                  <a:pt x="4806" y="1655"/>
                </a:lnTo>
                <a:lnTo>
                  <a:pt x="4806" y="1655"/>
                </a:lnTo>
                <a:lnTo>
                  <a:pt x="4806" y="1655"/>
                </a:lnTo>
                <a:lnTo>
                  <a:pt x="4806" y="1649"/>
                </a:lnTo>
                <a:lnTo>
                  <a:pt x="4806" y="1649"/>
                </a:lnTo>
                <a:lnTo>
                  <a:pt x="4806" y="1649"/>
                </a:lnTo>
                <a:lnTo>
                  <a:pt x="4806" y="1649"/>
                </a:lnTo>
                <a:lnTo>
                  <a:pt x="4806" y="1649"/>
                </a:lnTo>
                <a:lnTo>
                  <a:pt x="4806" y="1649"/>
                </a:lnTo>
                <a:lnTo>
                  <a:pt x="4800" y="1643"/>
                </a:lnTo>
                <a:lnTo>
                  <a:pt x="4800" y="1643"/>
                </a:lnTo>
                <a:lnTo>
                  <a:pt x="4800" y="1643"/>
                </a:lnTo>
                <a:lnTo>
                  <a:pt x="4800" y="1643"/>
                </a:lnTo>
                <a:lnTo>
                  <a:pt x="4800" y="1643"/>
                </a:lnTo>
                <a:lnTo>
                  <a:pt x="4794" y="1643"/>
                </a:lnTo>
                <a:lnTo>
                  <a:pt x="4794" y="1643"/>
                </a:lnTo>
                <a:lnTo>
                  <a:pt x="4794" y="1637"/>
                </a:lnTo>
                <a:lnTo>
                  <a:pt x="4794" y="1637"/>
                </a:lnTo>
                <a:lnTo>
                  <a:pt x="4794" y="1637"/>
                </a:lnTo>
                <a:lnTo>
                  <a:pt x="4794" y="1637"/>
                </a:lnTo>
                <a:lnTo>
                  <a:pt x="4794" y="1637"/>
                </a:lnTo>
                <a:lnTo>
                  <a:pt x="4794" y="1637"/>
                </a:lnTo>
                <a:lnTo>
                  <a:pt x="4794" y="1637"/>
                </a:lnTo>
                <a:lnTo>
                  <a:pt x="4794" y="1637"/>
                </a:lnTo>
                <a:lnTo>
                  <a:pt x="4788" y="1637"/>
                </a:lnTo>
                <a:lnTo>
                  <a:pt x="4788" y="1637"/>
                </a:lnTo>
                <a:lnTo>
                  <a:pt x="4788" y="1631"/>
                </a:lnTo>
                <a:lnTo>
                  <a:pt x="4788" y="1631"/>
                </a:lnTo>
                <a:lnTo>
                  <a:pt x="4788" y="1625"/>
                </a:lnTo>
                <a:lnTo>
                  <a:pt x="4788" y="1625"/>
                </a:lnTo>
                <a:lnTo>
                  <a:pt x="4788" y="1619"/>
                </a:lnTo>
                <a:lnTo>
                  <a:pt x="4788" y="1619"/>
                </a:lnTo>
                <a:lnTo>
                  <a:pt x="4782" y="1619"/>
                </a:lnTo>
                <a:lnTo>
                  <a:pt x="4782" y="1619"/>
                </a:lnTo>
                <a:lnTo>
                  <a:pt x="4782" y="1619"/>
                </a:lnTo>
                <a:lnTo>
                  <a:pt x="4776" y="1619"/>
                </a:lnTo>
                <a:lnTo>
                  <a:pt x="4776" y="1613"/>
                </a:lnTo>
                <a:lnTo>
                  <a:pt x="4776" y="1613"/>
                </a:lnTo>
                <a:lnTo>
                  <a:pt x="4764" y="1613"/>
                </a:lnTo>
                <a:lnTo>
                  <a:pt x="4764" y="1613"/>
                </a:lnTo>
                <a:lnTo>
                  <a:pt x="4758" y="1613"/>
                </a:lnTo>
                <a:lnTo>
                  <a:pt x="4758" y="1613"/>
                </a:lnTo>
                <a:lnTo>
                  <a:pt x="4758" y="1607"/>
                </a:lnTo>
                <a:lnTo>
                  <a:pt x="4758" y="1607"/>
                </a:lnTo>
                <a:lnTo>
                  <a:pt x="4753" y="1607"/>
                </a:lnTo>
                <a:lnTo>
                  <a:pt x="4753" y="1607"/>
                </a:lnTo>
                <a:lnTo>
                  <a:pt x="4753" y="1607"/>
                </a:lnTo>
                <a:lnTo>
                  <a:pt x="4753" y="1601"/>
                </a:lnTo>
                <a:lnTo>
                  <a:pt x="4753" y="1601"/>
                </a:lnTo>
                <a:lnTo>
                  <a:pt x="4753" y="1601"/>
                </a:lnTo>
                <a:lnTo>
                  <a:pt x="4747" y="1607"/>
                </a:lnTo>
                <a:lnTo>
                  <a:pt x="4747" y="1607"/>
                </a:lnTo>
                <a:lnTo>
                  <a:pt x="4747" y="1607"/>
                </a:lnTo>
                <a:lnTo>
                  <a:pt x="4747" y="1607"/>
                </a:lnTo>
                <a:lnTo>
                  <a:pt x="4747" y="1607"/>
                </a:lnTo>
                <a:lnTo>
                  <a:pt x="4747" y="1607"/>
                </a:lnTo>
                <a:lnTo>
                  <a:pt x="4735" y="1607"/>
                </a:lnTo>
                <a:lnTo>
                  <a:pt x="4729" y="1601"/>
                </a:lnTo>
                <a:lnTo>
                  <a:pt x="4729" y="1601"/>
                </a:lnTo>
                <a:lnTo>
                  <a:pt x="4729" y="1601"/>
                </a:lnTo>
                <a:lnTo>
                  <a:pt x="4729" y="1601"/>
                </a:lnTo>
                <a:lnTo>
                  <a:pt x="4729" y="1601"/>
                </a:lnTo>
                <a:lnTo>
                  <a:pt x="4729" y="1601"/>
                </a:lnTo>
                <a:lnTo>
                  <a:pt x="4729" y="1601"/>
                </a:lnTo>
                <a:lnTo>
                  <a:pt x="4729" y="1601"/>
                </a:lnTo>
                <a:lnTo>
                  <a:pt x="4729" y="1601"/>
                </a:lnTo>
                <a:lnTo>
                  <a:pt x="4729" y="1601"/>
                </a:lnTo>
                <a:lnTo>
                  <a:pt x="4729" y="1595"/>
                </a:lnTo>
                <a:lnTo>
                  <a:pt x="4729" y="1601"/>
                </a:lnTo>
                <a:lnTo>
                  <a:pt x="4729" y="1601"/>
                </a:lnTo>
                <a:lnTo>
                  <a:pt x="4729" y="1601"/>
                </a:lnTo>
                <a:lnTo>
                  <a:pt x="4735" y="1601"/>
                </a:lnTo>
                <a:lnTo>
                  <a:pt x="4735" y="1601"/>
                </a:lnTo>
                <a:lnTo>
                  <a:pt x="4735" y="1601"/>
                </a:lnTo>
                <a:lnTo>
                  <a:pt x="4741" y="1601"/>
                </a:lnTo>
                <a:lnTo>
                  <a:pt x="4741" y="1601"/>
                </a:lnTo>
                <a:lnTo>
                  <a:pt x="4741" y="1601"/>
                </a:lnTo>
                <a:lnTo>
                  <a:pt x="4741" y="1601"/>
                </a:lnTo>
                <a:lnTo>
                  <a:pt x="4741" y="1601"/>
                </a:lnTo>
                <a:lnTo>
                  <a:pt x="4747" y="1601"/>
                </a:lnTo>
                <a:lnTo>
                  <a:pt x="4747" y="1601"/>
                </a:lnTo>
                <a:lnTo>
                  <a:pt x="4747" y="1601"/>
                </a:lnTo>
                <a:lnTo>
                  <a:pt x="4747" y="1601"/>
                </a:lnTo>
                <a:lnTo>
                  <a:pt x="4747" y="1601"/>
                </a:lnTo>
                <a:lnTo>
                  <a:pt x="4747" y="1601"/>
                </a:lnTo>
                <a:lnTo>
                  <a:pt x="4747" y="1601"/>
                </a:lnTo>
                <a:lnTo>
                  <a:pt x="4747" y="1601"/>
                </a:lnTo>
                <a:lnTo>
                  <a:pt x="4747" y="1601"/>
                </a:lnTo>
                <a:lnTo>
                  <a:pt x="4747" y="1607"/>
                </a:lnTo>
                <a:lnTo>
                  <a:pt x="4747" y="1607"/>
                </a:lnTo>
                <a:lnTo>
                  <a:pt x="4747" y="1601"/>
                </a:lnTo>
                <a:lnTo>
                  <a:pt x="4747" y="1601"/>
                </a:lnTo>
                <a:lnTo>
                  <a:pt x="4747" y="1601"/>
                </a:lnTo>
                <a:lnTo>
                  <a:pt x="4753" y="1601"/>
                </a:lnTo>
                <a:lnTo>
                  <a:pt x="4753" y="1601"/>
                </a:lnTo>
                <a:lnTo>
                  <a:pt x="4753" y="1601"/>
                </a:lnTo>
                <a:lnTo>
                  <a:pt x="4753" y="1601"/>
                </a:lnTo>
                <a:lnTo>
                  <a:pt x="4753" y="1601"/>
                </a:lnTo>
                <a:lnTo>
                  <a:pt x="4758" y="1601"/>
                </a:lnTo>
                <a:lnTo>
                  <a:pt x="4758" y="1607"/>
                </a:lnTo>
                <a:lnTo>
                  <a:pt x="4758" y="1607"/>
                </a:lnTo>
                <a:lnTo>
                  <a:pt x="4758" y="1607"/>
                </a:lnTo>
                <a:lnTo>
                  <a:pt x="4758" y="1607"/>
                </a:lnTo>
                <a:lnTo>
                  <a:pt x="4758" y="1607"/>
                </a:lnTo>
                <a:lnTo>
                  <a:pt x="4764" y="1607"/>
                </a:lnTo>
                <a:lnTo>
                  <a:pt x="4764" y="1607"/>
                </a:lnTo>
                <a:lnTo>
                  <a:pt x="4764" y="1607"/>
                </a:lnTo>
                <a:lnTo>
                  <a:pt x="4764" y="1607"/>
                </a:lnTo>
                <a:lnTo>
                  <a:pt x="4764" y="1607"/>
                </a:lnTo>
                <a:lnTo>
                  <a:pt x="4764" y="1601"/>
                </a:lnTo>
                <a:lnTo>
                  <a:pt x="4764" y="1601"/>
                </a:lnTo>
                <a:lnTo>
                  <a:pt x="4764" y="1601"/>
                </a:lnTo>
                <a:lnTo>
                  <a:pt x="4764" y="1601"/>
                </a:lnTo>
                <a:lnTo>
                  <a:pt x="4770" y="1601"/>
                </a:lnTo>
                <a:lnTo>
                  <a:pt x="4770" y="1601"/>
                </a:lnTo>
                <a:lnTo>
                  <a:pt x="4770" y="1601"/>
                </a:lnTo>
                <a:lnTo>
                  <a:pt x="4770" y="1607"/>
                </a:lnTo>
                <a:lnTo>
                  <a:pt x="4770" y="1607"/>
                </a:lnTo>
                <a:lnTo>
                  <a:pt x="4770" y="1607"/>
                </a:lnTo>
                <a:lnTo>
                  <a:pt x="4770" y="1607"/>
                </a:lnTo>
                <a:lnTo>
                  <a:pt x="4770" y="1607"/>
                </a:lnTo>
                <a:lnTo>
                  <a:pt x="4770" y="1607"/>
                </a:lnTo>
                <a:lnTo>
                  <a:pt x="4770" y="1607"/>
                </a:lnTo>
                <a:lnTo>
                  <a:pt x="4776" y="1613"/>
                </a:lnTo>
                <a:lnTo>
                  <a:pt x="4776" y="1613"/>
                </a:lnTo>
                <a:lnTo>
                  <a:pt x="4776" y="1613"/>
                </a:lnTo>
                <a:lnTo>
                  <a:pt x="4776" y="1613"/>
                </a:lnTo>
                <a:lnTo>
                  <a:pt x="4776" y="1613"/>
                </a:lnTo>
                <a:lnTo>
                  <a:pt x="4776" y="1613"/>
                </a:lnTo>
                <a:lnTo>
                  <a:pt x="4776" y="1613"/>
                </a:lnTo>
                <a:lnTo>
                  <a:pt x="4776" y="1613"/>
                </a:lnTo>
                <a:lnTo>
                  <a:pt x="4776" y="1613"/>
                </a:lnTo>
                <a:lnTo>
                  <a:pt x="4782" y="1613"/>
                </a:lnTo>
                <a:lnTo>
                  <a:pt x="4782" y="1613"/>
                </a:lnTo>
                <a:lnTo>
                  <a:pt x="4782" y="1613"/>
                </a:lnTo>
                <a:lnTo>
                  <a:pt x="4782" y="1613"/>
                </a:lnTo>
                <a:lnTo>
                  <a:pt x="4782" y="1613"/>
                </a:lnTo>
                <a:lnTo>
                  <a:pt x="4788" y="1613"/>
                </a:lnTo>
                <a:lnTo>
                  <a:pt x="4788" y="1613"/>
                </a:lnTo>
                <a:lnTo>
                  <a:pt x="4788" y="1613"/>
                </a:lnTo>
                <a:lnTo>
                  <a:pt x="4788" y="1613"/>
                </a:lnTo>
                <a:lnTo>
                  <a:pt x="4794" y="1613"/>
                </a:lnTo>
                <a:lnTo>
                  <a:pt x="4794" y="1619"/>
                </a:lnTo>
                <a:lnTo>
                  <a:pt x="4794" y="1625"/>
                </a:lnTo>
                <a:lnTo>
                  <a:pt x="4794" y="1625"/>
                </a:lnTo>
                <a:lnTo>
                  <a:pt x="4794" y="1625"/>
                </a:lnTo>
                <a:lnTo>
                  <a:pt x="4794" y="1625"/>
                </a:lnTo>
                <a:lnTo>
                  <a:pt x="4794" y="1625"/>
                </a:lnTo>
                <a:lnTo>
                  <a:pt x="4800" y="1631"/>
                </a:lnTo>
                <a:lnTo>
                  <a:pt x="4800" y="1631"/>
                </a:lnTo>
                <a:lnTo>
                  <a:pt x="4800" y="1631"/>
                </a:lnTo>
                <a:lnTo>
                  <a:pt x="4800" y="1631"/>
                </a:lnTo>
                <a:lnTo>
                  <a:pt x="4806" y="1637"/>
                </a:lnTo>
                <a:lnTo>
                  <a:pt x="4812" y="1637"/>
                </a:lnTo>
                <a:lnTo>
                  <a:pt x="4812" y="1643"/>
                </a:lnTo>
                <a:lnTo>
                  <a:pt x="4812" y="1643"/>
                </a:lnTo>
                <a:lnTo>
                  <a:pt x="4812" y="1643"/>
                </a:lnTo>
                <a:lnTo>
                  <a:pt x="4818" y="1643"/>
                </a:lnTo>
                <a:lnTo>
                  <a:pt x="4818" y="1643"/>
                </a:lnTo>
                <a:lnTo>
                  <a:pt x="4818" y="1643"/>
                </a:lnTo>
                <a:lnTo>
                  <a:pt x="4818" y="1637"/>
                </a:lnTo>
                <a:lnTo>
                  <a:pt x="4818" y="1637"/>
                </a:lnTo>
                <a:lnTo>
                  <a:pt x="4818" y="1637"/>
                </a:lnTo>
                <a:lnTo>
                  <a:pt x="4824" y="1637"/>
                </a:lnTo>
                <a:lnTo>
                  <a:pt x="4824" y="1637"/>
                </a:lnTo>
                <a:lnTo>
                  <a:pt x="4824" y="1637"/>
                </a:lnTo>
                <a:lnTo>
                  <a:pt x="4824" y="1637"/>
                </a:lnTo>
                <a:lnTo>
                  <a:pt x="4824" y="1637"/>
                </a:lnTo>
                <a:lnTo>
                  <a:pt x="4824" y="1631"/>
                </a:lnTo>
                <a:lnTo>
                  <a:pt x="4824" y="1631"/>
                </a:lnTo>
                <a:lnTo>
                  <a:pt x="4824" y="1631"/>
                </a:lnTo>
                <a:lnTo>
                  <a:pt x="4824" y="1631"/>
                </a:lnTo>
                <a:lnTo>
                  <a:pt x="4824" y="1625"/>
                </a:lnTo>
                <a:lnTo>
                  <a:pt x="4824" y="1631"/>
                </a:lnTo>
                <a:lnTo>
                  <a:pt x="4818" y="1631"/>
                </a:lnTo>
                <a:lnTo>
                  <a:pt x="4824" y="1625"/>
                </a:lnTo>
                <a:lnTo>
                  <a:pt x="4824" y="1625"/>
                </a:lnTo>
                <a:lnTo>
                  <a:pt x="4824" y="1625"/>
                </a:lnTo>
                <a:lnTo>
                  <a:pt x="4824" y="1625"/>
                </a:lnTo>
                <a:lnTo>
                  <a:pt x="4824" y="1625"/>
                </a:lnTo>
                <a:lnTo>
                  <a:pt x="4824" y="1625"/>
                </a:lnTo>
                <a:lnTo>
                  <a:pt x="4824" y="1619"/>
                </a:lnTo>
                <a:lnTo>
                  <a:pt x="4818" y="1619"/>
                </a:lnTo>
                <a:lnTo>
                  <a:pt x="4818" y="1619"/>
                </a:lnTo>
                <a:lnTo>
                  <a:pt x="4818" y="1619"/>
                </a:lnTo>
                <a:lnTo>
                  <a:pt x="4818" y="1619"/>
                </a:lnTo>
                <a:lnTo>
                  <a:pt x="4818" y="1619"/>
                </a:lnTo>
                <a:lnTo>
                  <a:pt x="4818" y="1619"/>
                </a:lnTo>
                <a:lnTo>
                  <a:pt x="4818" y="1619"/>
                </a:lnTo>
                <a:lnTo>
                  <a:pt x="4818" y="1613"/>
                </a:lnTo>
                <a:lnTo>
                  <a:pt x="4818" y="1613"/>
                </a:lnTo>
                <a:lnTo>
                  <a:pt x="4818" y="1613"/>
                </a:lnTo>
                <a:lnTo>
                  <a:pt x="4818" y="1613"/>
                </a:lnTo>
                <a:lnTo>
                  <a:pt x="4818" y="1613"/>
                </a:lnTo>
                <a:lnTo>
                  <a:pt x="4812" y="1613"/>
                </a:lnTo>
                <a:lnTo>
                  <a:pt x="4812" y="1613"/>
                </a:lnTo>
                <a:lnTo>
                  <a:pt x="4806" y="1613"/>
                </a:lnTo>
                <a:lnTo>
                  <a:pt x="4806" y="1613"/>
                </a:lnTo>
                <a:lnTo>
                  <a:pt x="4800" y="1607"/>
                </a:lnTo>
                <a:lnTo>
                  <a:pt x="4794" y="1601"/>
                </a:lnTo>
                <a:lnTo>
                  <a:pt x="4788" y="1595"/>
                </a:lnTo>
                <a:lnTo>
                  <a:pt x="4788" y="1590"/>
                </a:lnTo>
                <a:lnTo>
                  <a:pt x="4782" y="1590"/>
                </a:lnTo>
                <a:lnTo>
                  <a:pt x="4782" y="1590"/>
                </a:lnTo>
                <a:lnTo>
                  <a:pt x="4776" y="1578"/>
                </a:lnTo>
                <a:lnTo>
                  <a:pt x="4776" y="1578"/>
                </a:lnTo>
                <a:lnTo>
                  <a:pt x="4776" y="1578"/>
                </a:lnTo>
                <a:lnTo>
                  <a:pt x="4776" y="1578"/>
                </a:lnTo>
                <a:lnTo>
                  <a:pt x="4776" y="1578"/>
                </a:lnTo>
                <a:lnTo>
                  <a:pt x="4776" y="1578"/>
                </a:lnTo>
                <a:lnTo>
                  <a:pt x="4776" y="1578"/>
                </a:lnTo>
                <a:lnTo>
                  <a:pt x="4776" y="1578"/>
                </a:lnTo>
                <a:lnTo>
                  <a:pt x="4776" y="1578"/>
                </a:lnTo>
                <a:lnTo>
                  <a:pt x="4776" y="1578"/>
                </a:lnTo>
                <a:lnTo>
                  <a:pt x="4776" y="1578"/>
                </a:lnTo>
                <a:lnTo>
                  <a:pt x="4776" y="1572"/>
                </a:lnTo>
                <a:lnTo>
                  <a:pt x="4776" y="1572"/>
                </a:lnTo>
                <a:lnTo>
                  <a:pt x="4776" y="1572"/>
                </a:lnTo>
                <a:lnTo>
                  <a:pt x="4782" y="1578"/>
                </a:lnTo>
                <a:lnTo>
                  <a:pt x="4782" y="1584"/>
                </a:lnTo>
                <a:lnTo>
                  <a:pt x="4788" y="1590"/>
                </a:lnTo>
                <a:lnTo>
                  <a:pt x="4788" y="1590"/>
                </a:lnTo>
                <a:lnTo>
                  <a:pt x="4788" y="1590"/>
                </a:lnTo>
                <a:lnTo>
                  <a:pt x="4788" y="1590"/>
                </a:lnTo>
                <a:lnTo>
                  <a:pt x="4794" y="1595"/>
                </a:lnTo>
                <a:lnTo>
                  <a:pt x="4794" y="1601"/>
                </a:lnTo>
                <a:lnTo>
                  <a:pt x="4794" y="1601"/>
                </a:lnTo>
                <a:lnTo>
                  <a:pt x="4794" y="1601"/>
                </a:lnTo>
                <a:lnTo>
                  <a:pt x="4800" y="1601"/>
                </a:lnTo>
                <a:lnTo>
                  <a:pt x="4800" y="1601"/>
                </a:lnTo>
                <a:lnTo>
                  <a:pt x="4800" y="1601"/>
                </a:lnTo>
                <a:lnTo>
                  <a:pt x="4800" y="1601"/>
                </a:lnTo>
                <a:lnTo>
                  <a:pt x="4800" y="1601"/>
                </a:lnTo>
                <a:lnTo>
                  <a:pt x="4800" y="1607"/>
                </a:lnTo>
                <a:lnTo>
                  <a:pt x="4806" y="1607"/>
                </a:lnTo>
                <a:lnTo>
                  <a:pt x="4806" y="1607"/>
                </a:lnTo>
                <a:lnTo>
                  <a:pt x="4806" y="1607"/>
                </a:lnTo>
                <a:lnTo>
                  <a:pt x="4818" y="1607"/>
                </a:lnTo>
                <a:lnTo>
                  <a:pt x="4818" y="1607"/>
                </a:lnTo>
                <a:lnTo>
                  <a:pt x="4818" y="1607"/>
                </a:lnTo>
                <a:lnTo>
                  <a:pt x="4818" y="1601"/>
                </a:lnTo>
                <a:lnTo>
                  <a:pt x="4818" y="1601"/>
                </a:lnTo>
                <a:lnTo>
                  <a:pt x="4818" y="1601"/>
                </a:lnTo>
                <a:lnTo>
                  <a:pt x="4812" y="1601"/>
                </a:lnTo>
                <a:lnTo>
                  <a:pt x="4812" y="1601"/>
                </a:lnTo>
                <a:lnTo>
                  <a:pt x="4812" y="1601"/>
                </a:lnTo>
                <a:lnTo>
                  <a:pt x="4812" y="1601"/>
                </a:lnTo>
                <a:lnTo>
                  <a:pt x="4812" y="1601"/>
                </a:lnTo>
                <a:lnTo>
                  <a:pt x="4812" y="1601"/>
                </a:lnTo>
                <a:lnTo>
                  <a:pt x="4812" y="1601"/>
                </a:lnTo>
                <a:lnTo>
                  <a:pt x="4812" y="1601"/>
                </a:lnTo>
                <a:lnTo>
                  <a:pt x="4812" y="1595"/>
                </a:lnTo>
                <a:lnTo>
                  <a:pt x="4812" y="1595"/>
                </a:lnTo>
                <a:lnTo>
                  <a:pt x="4812" y="1595"/>
                </a:lnTo>
                <a:lnTo>
                  <a:pt x="4812" y="1595"/>
                </a:lnTo>
                <a:lnTo>
                  <a:pt x="4812" y="1595"/>
                </a:lnTo>
                <a:lnTo>
                  <a:pt x="4812" y="1595"/>
                </a:lnTo>
                <a:lnTo>
                  <a:pt x="4812" y="1595"/>
                </a:lnTo>
                <a:lnTo>
                  <a:pt x="4812" y="1595"/>
                </a:lnTo>
                <a:lnTo>
                  <a:pt x="4806" y="1595"/>
                </a:lnTo>
                <a:lnTo>
                  <a:pt x="4812" y="1590"/>
                </a:lnTo>
                <a:lnTo>
                  <a:pt x="4812" y="1590"/>
                </a:lnTo>
                <a:lnTo>
                  <a:pt x="4812" y="1590"/>
                </a:lnTo>
                <a:lnTo>
                  <a:pt x="4812" y="1590"/>
                </a:lnTo>
                <a:lnTo>
                  <a:pt x="4812" y="1590"/>
                </a:lnTo>
                <a:lnTo>
                  <a:pt x="4812" y="1590"/>
                </a:lnTo>
                <a:lnTo>
                  <a:pt x="4812" y="1590"/>
                </a:lnTo>
                <a:lnTo>
                  <a:pt x="4812" y="1590"/>
                </a:lnTo>
                <a:lnTo>
                  <a:pt x="4812" y="1590"/>
                </a:lnTo>
                <a:lnTo>
                  <a:pt x="4812" y="1590"/>
                </a:lnTo>
                <a:lnTo>
                  <a:pt x="4812" y="1590"/>
                </a:lnTo>
                <a:lnTo>
                  <a:pt x="4812" y="1590"/>
                </a:lnTo>
                <a:lnTo>
                  <a:pt x="4812" y="1590"/>
                </a:lnTo>
                <a:lnTo>
                  <a:pt x="4812" y="1590"/>
                </a:lnTo>
                <a:lnTo>
                  <a:pt x="4812" y="1584"/>
                </a:lnTo>
                <a:lnTo>
                  <a:pt x="4812" y="1590"/>
                </a:lnTo>
                <a:lnTo>
                  <a:pt x="4812" y="1590"/>
                </a:lnTo>
                <a:lnTo>
                  <a:pt x="4818" y="1590"/>
                </a:lnTo>
                <a:lnTo>
                  <a:pt x="4818" y="1595"/>
                </a:lnTo>
                <a:lnTo>
                  <a:pt x="4818" y="1595"/>
                </a:lnTo>
                <a:lnTo>
                  <a:pt x="4818" y="1595"/>
                </a:lnTo>
                <a:lnTo>
                  <a:pt x="4824" y="1590"/>
                </a:lnTo>
                <a:lnTo>
                  <a:pt x="4824" y="1595"/>
                </a:lnTo>
                <a:lnTo>
                  <a:pt x="4824" y="1595"/>
                </a:lnTo>
                <a:lnTo>
                  <a:pt x="4824" y="1601"/>
                </a:lnTo>
                <a:lnTo>
                  <a:pt x="4824" y="1601"/>
                </a:lnTo>
                <a:lnTo>
                  <a:pt x="4824" y="1601"/>
                </a:lnTo>
                <a:lnTo>
                  <a:pt x="4824" y="1601"/>
                </a:lnTo>
                <a:lnTo>
                  <a:pt x="4830" y="1601"/>
                </a:lnTo>
                <a:lnTo>
                  <a:pt x="4830" y="1595"/>
                </a:lnTo>
                <a:lnTo>
                  <a:pt x="4830" y="1595"/>
                </a:lnTo>
                <a:lnTo>
                  <a:pt x="4830" y="1590"/>
                </a:lnTo>
                <a:lnTo>
                  <a:pt x="4830" y="1590"/>
                </a:lnTo>
                <a:lnTo>
                  <a:pt x="4830" y="1590"/>
                </a:lnTo>
                <a:lnTo>
                  <a:pt x="4830" y="1584"/>
                </a:lnTo>
                <a:lnTo>
                  <a:pt x="4830" y="1584"/>
                </a:lnTo>
                <a:lnTo>
                  <a:pt x="4830" y="1584"/>
                </a:lnTo>
                <a:lnTo>
                  <a:pt x="4830" y="1584"/>
                </a:lnTo>
                <a:lnTo>
                  <a:pt x="4830" y="1584"/>
                </a:lnTo>
                <a:lnTo>
                  <a:pt x="4830" y="1584"/>
                </a:lnTo>
                <a:lnTo>
                  <a:pt x="4824" y="1584"/>
                </a:lnTo>
                <a:lnTo>
                  <a:pt x="4824" y="1584"/>
                </a:lnTo>
                <a:lnTo>
                  <a:pt x="4824" y="1584"/>
                </a:lnTo>
                <a:lnTo>
                  <a:pt x="4830" y="1578"/>
                </a:lnTo>
                <a:lnTo>
                  <a:pt x="4830" y="1578"/>
                </a:lnTo>
                <a:lnTo>
                  <a:pt x="4830" y="1578"/>
                </a:lnTo>
                <a:lnTo>
                  <a:pt x="4824" y="1578"/>
                </a:lnTo>
                <a:lnTo>
                  <a:pt x="4824" y="1578"/>
                </a:lnTo>
                <a:lnTo>
                  <a:pt x="4824" y="1578"/>
                </a:lnTo>
                <a:lnTo>
                  <a:pt x="4824" y="1578"/>
                </a:lnTo>
                <a:lnTo>
                  <a:pt x="4824" y="1578"/>
                </a:lnTo>
                <a:lnTo>
                  <a:pt x="4824" y="1578"/>
                </a:lnTo>
                <a:lnTo>
                  <a:pt x="4818" y="1578"/>
                </a:lnTo>
                <a:lnTo>
                  <a:pt x="4818" y="1578"/>
                </a:lnTo>
                <a:lnTo>
                  <a:pt x="4812" y="1572"/>
                </a:lnTo>
                <a:lnTo>
                  <a:pt x="4812" y="1572"/>
                </a:lnTo>
                <a:lnTo>
                  <a:pt x="4818" y="1572"/>
                </a:lnTo>
                <a:lnTo>
                  <a:pt x="4818" y="1572"/>
                </a:lnTo>
                <a:lnTo>
                  <a:pt x="4818" y="1572"/>
                </a:lnTo>
                <a:lnTo>
                  <a:pt x="4824" y="1572"/>
                </a:lnTo>
                <a:lnTo>
                  <a:pt x="4824" y="1572"/>
                </a:lnTo>
                <a:lnTo>
                  <a:pt x="4824" y="1572"/>
                </a:lnTo>
                <a:lnTo>
                  <a:pt x="4824" y="1572"/>
                </a:lnTo>
                <a:lnTo>
                  <a:pt x="4824" y="1566"/>
                </a:lnTo>
                <a:lnTo>
                  <a:pt x="4818" y="1566"/>
                </a:lnTo>
                <a:lnTo>
                  <a:pt x="4812" y="1566"/>
                </a:lnTo>
                <a:lnTo>
                  <a:pt x="4812" y="1566"/>
                </a:lnTo>
                <a:lnTo>
                  <a:pt x="4812" y="1560"/>
                </a:lnTo>
                <a:lnTo>
                  <a:pt x="4812" y="1566"/>
                </a:lnTo>
                <a:lnTo>
                  <a:pt x="4812" y="1566"/>
                </a:lnTo>
                <a:lnTo>
                  <a:pt x="4806" y="1566"/>
                </a:lnTo>
                <a:lnTo>
                  <a:pt x="4800" y="1566"/>
                </a:lnTo>
                <a:lnTo>
                  <a:pt x="4800" y="1560"/>
                </a:lnTo>
                <a:lnTo>
                  <a:pt x="4794" y="1560"/>
                </a:lnTo>
                <a:lnTo>
                  <a:pt x="4794" y="1554"/>
                </a:lnTo>
                <a:lnTo>
                  <a:pt x="4794" y="1554"/>
                </a:lnTo>
                <a:lnTo>
                  <a:pt x="4794" y="1554"/>
                </a:lnTo>
                <a:lnTo>
                  <a:pt x="4794" y="1554"/>
                </a:lnTo>
                <a:lnTo>
                  <a:pt x="4794" y="1554"/>
                </a:lnTo>
                <a:lnTo>
                  <a:pt x="4794" y="1548"/>
                </a:lnTo>
                <a:lnTo>
                  <a:pt x="4794" y="1548"/>
                </a:lnTo>
                <a:lnTo>
                  <a:pt x="4794" y="1548"/>
                </a:lnTo>
                <a:lnTo>
                  <a:pt x="4788" y="1548"/>
                </a:lnTo>
                <a:lnTo>
                  <a:pt x="4788" y="1548"/>
                </a:lnTo>
                <a:lnTo>
                  <a:pt x="4788" y="1542"/>
                </a:lnTo>
                <a:lnTo>
                  <a:pt x="4788" y="1542"/>
                </a:lnTo>
                <a:lnTo>
                  <a:pt x="4788" y="1542"/>
                </a:lnTo>
                <a:lnTo>
                  <a:pt x="4788" y="1542"/>
                </a:lnTo>
                <a:lnTo>
                  <a:pt x="4788" y="1542"/>
                </a:lnTo>
                <a:lnTo>
                  <a:pt x="4788" y="1542"/>
                </a:lnTo>
                <a:lnTo>
                  <a:pt x="4782" y="1542"/>
                </a:lnTo>
                <a:lnTo>
                  <a:pt x="4782" y="1542"/>
                </a:lnTo>
                <a:lnTo>
                  <a:pt x="4782" y="1542"/>
                </a:lnTo>
                <a:lnTo>
                  <a:pt x="4782" y="1542"/>
                </a:lnTo>
                <a:lnTo>
                  <a:pt x="4782" y="1542"/>
                </a:lnTo>
                <a:lnTo>
                  <a:pt x="4782" y="1542"/>
                </a:lnTo>
                <a:lnTo>
                  <a:pt x="4776" y="1536"/>
                </a:lnTo>
                <a:lnTo>
                  <a:pt x="4776" y="1536"/>
                </a:lnTo>
                <a:lnTo>
                  <a:pt x="4776" y="1536"/>
                </a:lnTo>
                <a:lnTo>
                  <a:pt x="4776" y="1536"/>
                </a:lnTo>
                <a:lnTo>
                  <a:pt x="4776" y="1530"/>
                </a:lnTo>
                <a:lnTo>
                  <a:pt x="4776" y="1530"/>
                </a:lnTo>
                <a:lnTo>
                  <a:pt x="4776" y="1530"/>
                </a:lnTo>
                <a:lnTo>
                  <a:pt x="4770" y="1530"/>
                </a:lnTo>
                <a:lnTo>
                  <a:pt x="4770" y="1524"/>
                </a:lnTo>
                <a:lnTo>
                  <a:pt x="4770" y="1524"/>
                </a:lnTo>
                <a:lnTo>
                  <a:pt x="4764" y="1524"/>
                </a:lnTo>
                <a:lnTo>
                  <a:pt x="4764" y="1524"/>
                </a:lnTo>
                <a:lnTo>
                  <a:pt x="4764" y="1524"/>
                </a:lnTo>
                <a:lnTo>
                  <a:pt x="4764" y="1518"/>
                </a:lnTo>
                <a:lnTo>
                  <a:pt x="4764" y="1518"/>
                </a:lnTo>
                <a:lnTo>
                  <a:pt x="4764" y="1518"/>
                </a:lnTo>
                <a:lnTo>
                  <a:pt x="4764" y="1518"/>
                </a:lnTo>
                <a:lnTo>
                  <a:pt x="4764" y="1518"/>
                </a:lnTo>
                <a:lnTo>
                  <a:pt x="4758" y="1518"/>
                </a:lnTo>
                <a:lnTo>
                  <a:pt x="4758" y="1518"/>
                </a:lnTo>
                <a:lnTo>
                  <a:pt x="4758" y="1512"/>
                </a:lnTo>
                <a:lnTo>
                  <a:pt x="4764" y="1506"/>
                </a:lnTo>
                <a:lnTo>
                  <a:pt x="4758" y="1506"/>
                </a:lnTo>
                <a:lnTo>
                  <a:pt x="4758" y="1506"/>
                </a:lnTo>
                <a:lnTo>
                  <a:pt x="4758" y="1506"/>
                </a:lnTo>
                <a:lnTo>
                  <a:pt x="4758" y="1506"/>
                </a:lnTo>
                <a:lnTo>
                  <a:pt x="4758" y="1506"/>
                </a:lnTo>
                <a:lnTo>
                  <a:pt x="4758" y="1506"/>
                </a:lnTo>
                <a:lnTo>
                  <a:pt x="4753" y="1501"/>
                </a:lnTo>
                <a:lnTo>
                  <a:pt x="4753" y="1501"/>
                </a:lnTo>
                <a:lnTo>
                  <a:pt x="4753" y="1501"/>
                </a:lnTo>
                <a:lnTo>
                  <a:pt x="4747" y="1501"/>
                </a:lnTo>
                <a:lnTo>
                  <a:pt x="4747" y="1501"/>
                </a:lnTo>
                <a:lnTo>
                  <a:pt x="4747" y="1501"/>
                </a:lnTo>
                <a:lnTo>
                  <a:pt x="4747" y="1495"/>
                </a:lnTo>
                <a:lnTo>
                  <a:pt x="4747" y="1495"/>
                </a:lnTo>
                <a:lnTo>
                  <a:pt x="4747" y="1495"/>
                </a:lnTo>
                <a:lnTo>
                  <a:pt x="4747" y="1495"/>
                </a:lnTo>
                <a:lnTo>
                  <a:pt x="4747" y="1495"/>
                </a:lnTo>
                <a:lnTo>
                  <a:pt x="4741" y="1495"/>
                </a:lnTo>
                <a:lnTo>
                  <a:pt x="4741" y="1495"/>
                </a:lnTo>
                <a:lnTo>
                  <a:pt x="4741" y="1495"/>
                </a:lnTo>
                <a:lnTo>
                  <a:pt x="4741" y="1495"/>
                </a:lnTo>
                <a:lnTo>
                  <a:pt x="4741" y="1495"/>
                </a:lnTo>
                <a:lnTo>
                  <a:pt x="4741" y="1495"/>
                </a:lnTo>
                <a:lnTo>
                  <a:pt x="4741" y="1495"/>
                </a:lnTo>
                <a:lnTo>
                  <a:pt x="4741" y="1495"/>
                </a:lnTo>
                <a:lnTo>
                  <a:pt x="4747" y="1495"/>
                </a:lnTo>
                <a:lnTo>
                  <a:pt x="4747" y="1495"/>
                </a:lnTo>
                <a:lnTo>
                  <a:pt x="4747" y="1495"/>
                </a:lnTo>
                <a:lnTo>
                  <a:pt x="4747" y="1495"/>
                </a:lnTo>
                <a:lnTo>
                  <a:pt x="4753" y="1495"/>
                </a:lnTo>
                <a:lnTo>
                  <a:pt x="4753" y="1501"/>
                </a:lnTo>
                <a:lnTo>
                  <a:pt x="4753" y="1501"/>
                </a:lnTo>
                <a:lnTo>
                  <a:pt x="4753" y="1501"/>
                </a:lnTo>
                <a:lnTo>
                  <a:pt x="4753" y="1501"/>
                </a:lnTo>
                <a:lnTo>
                  <a:pt x="4753" y="1501"/>
                </a:lnTo>
                <a:lnTo>
                  <a:pt x="4758" y="1501"/>
                </a:lnTo>
                <a:lnTo>
                  <a:pt x="4758" y="1501"/>
                </a:lnTo>
                <a:lnTo>
                  <a:pt x="4758" y="1501"/>
                </a:lnTo>
                <a:lnTo>
                  <a:pt x="4764" y="1506"/>
                </a:lnTo>
                <a:lnTo>
                  <a:pt x="4764" y="1512"/>
                </a:lnTo>
                <a:lnTo>
                  <a:pt x="4764" y="1518"/>
                </a:lnTo>
                <a:lnTo>
                  <a:pt x="4770" y="1518"/>
                </a:lnTo>
                <a:lnTo>
                  <a:pt x="4770" y="1518"/>
                </a:lnTo>
                <a:lnTo>
                  <a:pt x="4770" y="1524"/>
                </a:lnTo>
                <a:lnTo>
                  <a:pt x="4776" y="1524"/>
                </a:lnTo>
                <a:lnTo>
                  <a:pt x="4776" y="1530"/>
                </a:lnTo>
                <a:lnTo>
                  <a:pt x="4782" y="1536"/>
                </a:lnTo>
                <a:lnTo>
                  <a:pt x="4782" y="1536"/>
                </a:lnTo>
                <a:lnTo>
                  <a:pt x="4782" y="1536"/>
                </a:lnTo>
                <a:lnTo>
                  <a:pt x="4788" y="1536"/>
                </a:lnTo>
                <a:lnTo>
                  <a:pt x="4788" y="1536"/>
                </a:lnTo>
                <a:lnTo>
                  <a:pt x="4788" y="1536"/>
                </a:lnTo>
                <a:lnTo>
                  <a:pt x="4788" y="1536"/>
                </a:lnTo>
                <a:lnTo>
                  <a:pt x="4788" y="1536"/>
                </a:lnTo>
                <a:lnTo>
                  <a:pt x="4788" y="1536"/>
                </a:lnTo>
                <a:lnTo>
                  <a:pt x="4788" y="1542"/>
                </a:lnTo>
                <a:lnTo>
                  <a:pt x="4788" y="1536"/>
                </a:lnTo>
                <a:lnTo>
                  <a:pt x="4794" y="1536"/>
                </a:lnTo>
                <a:lnTo>
                  <a:pt x="4794" y="1542"/>
                </a:lnTo>
                <a:lnTo>
                  <a:pt x="4794" y="1542"/>
                </a:lnTo>
                <a:lnTo>
                  <a:pt x="4794" y="1542"/>
                </a:lnTo>
                <a:lnTo>
                  <a:pt x="4794" y="1542"/>
                </a:lnTo>
                <a:lnTo>
                  <a:pt x="4794" y="1548"/>
                </a:lnTo>
                <a:lnTo>
                  <a:pt x="4794" y="1548"/>
                </a:lnTo>
                <a:lnTo>
                  <a:pt x="4800" y="1554"/>
                </a:lnTo>
                <a:lnTo>
                  <a:pt x="4800" y="1554"/>
                </a:lnTo>
                <a:lnTo>
                  <a:pt x="4800" y="1554"/>
                </a:lnTo>
                <a:lnTo>
                  <a:pt x="4800" y="1560"/>
                </a:lnTo>
                <a:lnTo>
                  <a:pt x="4806" y="1560"/>
                </a:lnTo>
                <a:lnTo>
                  <a:pt x="4806" y="1560"/>
                </a:lnTo>
                <a:lnTo>
                  <a:pt x="4806" y="1560"/>
                </a:lnTo>
                <a:lnTo>
                  <a:pt x="4806" y="1554"/>
                </a:lnTo>
                <a:lnTo>
                  <a:pt x="4806" y="1554"/>
                </a:lnTo>
                <a:lnTo>
                  <a:pt x="4806" y="1554"/>
                </a:lnTo>
                <a:lnTo>
                  <a:pt x="4806" y="1554"/>
                </a:lnTo>
                <a:lnTo>
                  <a:pt x="4806" y="1554"/>
                </a:lnTo>
                <a:lnTo>
                  <a:pt x="4806" y="1554"/>
                </a:lnTo>
                <a:lnTo>
                  <a:pt x="4806" y="1554"/>
                </a:lnTo>
                <a:lnTo>
                  <a:pt x="4806" y="1554"/>
                </a:lnTo>
                <a:lnTo>
                  <a:pt x="4812" y="1560"/>
                </a:lnTo>
                <a:lnTo>
                  <a:pt x="4812" y="1560"/>
                </a:lnTo>
                <a:lnTo>
                  <a:pt x="4812" y="1560"/>
                </a:lnTo>
                <a:lnTo>
                  <a:pt x="4812" y="1560"/>
                </a:lnTo>
                <a:lnTo>
                  <a:pt x="4812" y="1560"/>
                </a:lnTo>
                <a:lnTo>
                  <a:pt x="4812" y="1560"/>
                </a:lnTo>
                <a:lnTo>
                  <a:pt x="4812" y="1560"/>
                </a:lnTo>
                <a:lnTo>
                  <a:pt x="4818" y="1560"/>
                </a:lnTo>
                <a:lnTo>
                  <a:pt x="4818" y="1560"/>
                </a:lnTo>
                <a:lnTo>
                  <a:pt x="4824" y="1560"/>
                </a:lnTo>
                <a:lnTo>
                  <a:pt x="4824" y="1560"/>
                </a:lnTo>
                <a:lnTo>
                  <a:pt x="4824" y="1560"/>
                </a:lnTo>
                <a:lnTo>
                  <a:pt x="4824" y="1560"/>
                </a:lnTo>
                <a:lnTo>
                  <a:pt x="4824" y="1560"/>
                </a:lnTo>
                <a:lnTo>
                  <a:pt x="4824" y="1560"/>
                </a:lnTo>
                <a:lnTo>
                  <a:pt x="4818" y="1560"/>
                </a:lnTo>
                <a:lnTo>
                  <a:pt x="4818" y="1560"/>
                </a:lnTo>
                <a:lnTo>
                  <a:pt x="4818" y="1554"/>
                </a:lnTo>
                <a:lnTo>
                  <a:pt x="4818" y="1554"/>
                </a:lnTo>
                <a:lnTo>
                  <a:pt x="4824" y="1554"/>
                </a:lnTo>
                <a:lnTo>
                  <a:pt x="4824" y="1554"/>
                </a:lnTo>
                <a:lnTo>
                  <a:pt x="4824" y="1554"/>
                </a:lnTo>
                <a:lnTo>
                  <a:pt x="4824" y="1554"/>
                </a:lnTo>
                <a:lnTo>
                  <a:pt x="4824" y="1554"/>
                </a:lnTo>
                <a:lnTo>
                  <a:pt x="4824" y="1554"/>
                </a:lnTo>
                <a:lnTo>
                  <a:pt x="4824" y="1554"/>
                </a:lnTo>
                <a:lnTo>
                  <a:pt x="4824" y="1554"/>
                </a:lnTo>
                <a:lnTo>
                  <a:pt x="4824" y="1554"/>
                </a:lnTo>
                <a:lnTo>
                  <a:pt x="4824" y="1554"/>
                </a:lnTo>
                <a:lnTo>
                  <a:pt x="4824" y="1554"/>
                </a:lnTo>
                <a:lnTo>
                  <a:pt x="4824" y="1548"/>
                </a:lnTo>
                <a:lnTo>
                  <a:pt x="4824" y="1548"/>
                </a:lnTo>
                <a:lnTo>
                  <a:pt x="4824" y="1548"/>
                </a:lnTo>
                <a:lnTo>
                  <a:pt x="4824" y="1548"/>
                </a:lnTo>
                <a:lnTo>
                  <a:pt x="4824" y="1548"/>
                </a:lnTo>
                <a:lnTo>
                  <a:pt x="4824" y="1548"/>
                </a:lnTo>
                <a:lnTo>
                  <a:pt x="4824" y="1548"/>
                </a:lnTo>
                <a:lnTo>
                  <a:pt x="4824" y="1548"/>
                </a:lnTo>
                <a:lnTo>
                  <a:pt x="4824" y="1548"/>
                </a:lnTo>
                <a:lnTo>
                  <a:pt x="4824" y="1548"/>
                </a:lnTo>
                <a:lnTo>
                  <a:pt x="4824" y="1548"/>
                </a:lnTo>
                <a:lnTo>
                  <a:pt x="4824" y="1542"/>
                </a:lnTo>
                <a:lnTo>
                  <a:pt x="4824" y="1542"/>
                </a:lnTo>
                <a:lnTo>
                  <a:pt x="4824" y="1542"/>
                </a:lnTo>
                <a:lnTo>
                  <a:pt x="4824" y="1542"/>
                </a:lnTo>
                <a:lnTo>
                  <a:pt x="4824" y="1542"/>
                </a:lnTo>
                <a:lnTo>
                  <a:pt x="4824" y="1536"/>
                </a:lnTo>
                <a:lnTo>
                  <a:pt x="4824" y="1536"/>
                </a:lnTo>
                <a:lnTo>
                  <a:pt x="4824" y="1536"/>
                </a:lnTo>
                <a:lnTo>
                  <a:pt x="4824" y="1536"/>
                </a:lnTo>
                <a:lnTo>
                  <a:pt x="4824" y="1536"/>
                </a:lnTo>
                <a:lnTo>
                  <a:pt x="4824" y="1536"/>
                </a:lnTo>
                <a:lnTo>
                  <a:pt x="4830" y="1536"/>
                </a:lnTo>
                <a:lnTo>
                  <a:pt x="4830" y="1536"/>
                </a:lnTo>
                <a:lnTo>
                  <a:pt x="4830" y="1530"/>
                </a:lnTo>
                <a:lnTo>
                  <a:pt x="4830" y="1530"/>
                </a:lnTo>
                <a:lnTo>
                  <a:pt x="4830" y="1530"/>
                </a:lnTo>
                <a:lnTo>
                  <a:pt x="4830" y="1524"/>
                </a:lnTo>
                <a:lnTo>
                  <a:pt x="4824" y="1524"/>
                </a:lnTo>
                <a:lnTo>
                  <a:pt x="4818" y="1518"/>
                </a:lnTo>
                <a:lnTo>
                  <a:pt x="4812" y="1518"/>
                </a:lnTo>
                <a:lnTo>
                  <a:pt x="4806" y="1518"/>
                </a:lnTo>
                <a:lnTo>
                  <a:pt x="4806" y="1512"/>
                </a:lnTo>
                <a:lnTo>
                  <a:pt x="4806" y="1512"/>
                </a:lnTo>
                <a:lnTo>
                  <a:pt x="4806" y="1512"/>
                </a:lnTo>
                <a:lnTo>
                  <a:pt x="4806" y="1512"/>
                </a:lnTo>
                <a:lnTo>
                  <a:pt x="4806" y="1512"/>
                </a:lnTo>
                <a:lnTo>
                  <a:pt x="4806" y="1512"/>
                </a:lnTo>
                <a:lnTo>
                  <a:pt x="4806" y="1512"/>
                </a:lnTo>
                <a:lnTo>
                  <a:pt x="4806" y="1512"/>
                </a:lnTo>
                <a:lnTo>
                  <a:pt x="4806" y="1512"/>
                </a:lnTo>
                <a:lnTo>
                  <a:pt x="4800" y="1512"/>
                </a:lnTo>
                <a:lnTo>
                  <a:pt x="4800" y="1512"/>
                </a:lnTo>
                <a:lnTo>
                  <a:pt x="4800" y="1512"/>
                </a:lnTo>
                <a:lnTo>
                  <a:pt x="4800" y="1512"/>
                </a:lnTo>
                <a:lnTo>
                  <a:pt x="4800" y="1512"/>
                </a:lnTo>
                <a:lnTo>
                  <a:pt x="4800" y="1512"/>
                </a:lnTo>
                <a:lnTo>
                  <a:pt x="4800" y="1506"/>
                </a:lnTo>
                <a:lnTo>
                  <a:pt x="4800" y="1506"/>
                </a:lnTo>
                <a:lnTo>
                  <a:pt x="4800" y="1506"/>
                </a:lnTo>
                <a:lnTo>
                  <a:pt x="4800" y="1506"/>
                </a:lnTo>
                <a:lnTo>
                  <a:pt x="4800" y="1506"/>
                </a:lnTo>
                <a:lnTo>
                  <a:pt x="4800" y="1506"/>
                </a:lnTo>
                <a:lnTo>
                  <a:pt x="4794" y="1501"/>
                </a:lnTo>
                <a:lnTo>
                  <a:pt x="4794" y="1501"/>
                </a:lnTo>
                <a:lnTo>
                  <a:pt x="4794" y="1501"/>
                </a:lnTo>
                <a:lnTo>
                  <a:pt x="4794" y="1501"/>
                </a:lnTo>
                <a:lnTo>
                  <a:pt x="4794" y="1501"/>
                </a:lnTo>
                <a:lnTo>
                  <a:pt x="4794" y="1501"/>
                </a:lnTo>
                <a:lnTo>
                  <a:pt x="4794" y="1501"/>
                </a:lnTo>
                <a:lnTo>
                  <a:pt x="4794" y="1501"/>
                </a:lnTo>
                <a:lnTo>
                  <a:pt x="4794" y="1495"/>
                </a:lnTo>
                <a:lnTo>
                  <a:pt x="4794" y="1495"/>
                </a:lnTo>
                <a:lnTo>
                  <a:pt x="4794" y="1495"/>
                </a:lnTo>
                <a:lnTo>
                  <a:pt x="4788" y="1495"/>
                </a:lnTo>
                <a:lnTo>
                  <a:pt x="4788" y="1495"/>
                </a:lnTo>
                <a:lnTo>
                  <a:pt x="4788" y="1495"/>
                </a:lnTo>
                <a:lnTo>
                  <a:pt x="4788" y="1495"/>
                </a:lnTo>
                <a:lnTo>
                  <a:pt x="4788" y="1495"/>
                </a:lnTo>
                <a:lnTo>
                  <a:pt x="4788" y="1495"/>
                </a:lnTo>
                <a:lnTo>
                  <a:pt x="4788" y="1495"/>
                </a:lnTo>
                <a:lnTo>
                  <a:pt x="4788" y="1495"/>
                </a:lnTo>
                <a:lnTo>
                  <a:pt x="4788" y="1495"/>
                </a:lnTo>
                <a:lnTo>
                  <a:pt x="4788" y="1495"/>
                </a:lnTo>
                <a:lnTo>
                  <a:pt x="4788" y="1495"/>
                </a:lnTo>
                <a:lnTo>
                  <a:pt x="4782" y="1495"/>
                </a:lnTo>
                <a:lnTo>
                  <a:pt x="4782" y="1495"/>
                </a:lnTo>
                <a:lnTo>
                  <a:pt x="4782" y="1495"/>
                </a:lnTo>
                <a:lnTo>
                  <a:pt x="4782" y="1501"/>
                </a:lnTo>
                <a:lnTo>
                  <a:pt x="4776" y="1495"/>
                </a:lnTo>
                <a:lnTo>
                  <a:pt x="4776" y="1495"/>
                </a:lnTo>
                <a:lnTo>
                  <a:pt x="4776" y="1495"/>
                </a:lnTo>
                <a:lnTo>
                  <a:pt x="4776" y="1495"/>
                </a:lnTo>
                <a:lnTo>
                  <a:pt x="4770" y="1495"/>
                </a:lnTo>
                <a:lnTo>
                  <a:pt x="4764" y="1495"/>
                </a:lnTo>
                <a:lnTo>
                  <a:pt x="4764" y="1489"/>
                </a:lnTo>
                <a:lnTo>
                  <a:pt x="4764" y="1489"/>
                </a:lnTo>
                <a:lnTo>
                  <a:pt x="4758" y="1489"/>
                </a:lnTo>
                <a:lnTo>
                  <a:pt x="4758" y="1489"/>
                </a:lnTo>
                <a:lnTo>
                  <a:pt x="4758" y="1489"/>
                </a:lnTo>
                <a:lnTo>
                  <a:pt x="4758" y="1489"/>
                </a:lnTo>
                <a:lnTo>
                  <a:pt x="4758" y="1483"/>
                </a:lnTo>
                <a:lnTo>
                  <a:pt x="4758" y="1483"/>
                </a:lnTo>
                <a:lnTo>
                  <a:pt x="4758" y="1483"/>
                </a:lnTo>
                <a:lnTo>
                  <a:pt x="4758" y="1483"/>
                </a:lnTo>
                <a:lnTo>
                  <a:pt x="4758" y="1483"/>
                </a:lnTo>
                <a:lnTo>
                  <a:pt x="4758" y="1483"/>
                </a:lnTo>
                <a:lnTo>
                  <a:pt x="4753" y="1483"/>
                </a:lnTo>
                <a:lnTo>
                  <a:pt x="4753" y="1483"/>
                </a:lnTo>
                <a:lnTo>
                  <a:pt x="4753" y="1477"/>
                </a:lnTo>
                <a:lnTo>
                  <a:pt x="4753" y="1477"/>
                </a:lnTo>
                <a:lnTo>
                  <a:pt x="4753" y="1477"/>
                </a:lnTo>
                <a:lnTo>
                  <a:pt x="4747" y="1477"/>
                </a:lnTo>
                <a:lnTo>
                  <a:pt x="4747" y="1477"/>
                </a:lnTo>
                <a:lnTo>
                  <a:pt x="4747" y="1477"/>
                </a:lnTo>
                <a:lnTo>
                  <a:pt x="4753" y="1477"/>
                </a:lnTo>
                <a:lnTo>
                  <a:pt x="4753" y="1477"/>
                </a:lnTo>
                <a:lnTo>
                  <a:pt x="4753" y="1471"/>
                </a:lnTo>
                <a:lnTo>
                  <a:pt x="4753" y="1471"/>
                </a:lnTo>
                <a:lnTo>
                  <a:pt x="4753" y="1471"/>
                </a:lnTo>
                <a:lnTo>
                  <a:pt x="4753" y="1471"/>
                </a:lnTo>
                <a:lnTo>
                  <a:pt x="4753" y="1471"/>
                </a:lnTo>
                <a:lnTo>
                  <a:pt x="4753" y="1465"/>
                </a:lnTo>
                <a:lnTo>
                  <a:pt x="4753" y="1465"/>
                </a:lnTo>
                <a:lnTo>
                  <a:pt x="4753" y="1465"/>
                </a:lnTo>
                <a:lnTo>
                  <a:pt x="4747" y="1465"/>
                </a:lnTo>
                <a:lnTo>
                  <a:pt x="4747" y="1465"/>
                </a:lnTo>
                <a:lnTo>
                  <a:pt x="4747" y="1471"/>
                </a:lnTo>
                <a:lnTo>
                  <a:pt x="4741" y="1471"/>
                </a:lnTo>
                <a:lnTo>
                  <a:pt x="4735" y="1471"/>
                </a:lnTo>
                <a:lnTo>
                  <a:pt x="4735" y="1471"/>
                </a:lnTo>
                <a:lnTo>
                  <a:pt x="4735" y="1471"/>
                </a:lnTo>
                <a:lnTo>
                  <a:pt x="4729" y="1471"/>
                </a:lnTo>
                <a:lnTo>
                  <a:pt x="4723" y="1471"/>
                </a:lnTo>
                <a:lnTo>
                  <a:pt x="4723" y="1471"/>
                </a:lnTo>
                <a:lnTo>
                  <a:pt x="4717" y="1471"/>
                </a:lnTo>
                <a:lnTo>
                  <a:pt x="4723" y="1471"/>
                </a:lnTo>
                <a:lnTo>
                  <a:pt x="4723" y="1471"/>
                </a:lnTo>
                <a:lnTo>
                  <a:pt x="4723" y="1471"/>
                </a:lnTo>
                <a:lnTo>
                  <a:pt x="4723" y="1471"/>
                </a:lnTo>
                <a:lnTo>
                  <a:pt x="4723" y="1471"/>
                </a:lnTo>
                <a:lnTo>
                  <a:pt x="4723" y="1471"/>
                </a:lnTo>
                <a:lnTo>
                  <a:pt x="4723" y="1471"/>
                </a:lnTo>
                <a:lnTo>
                  <a:pt x="4723" y="1465"/>
                </a:lnTo>
                <a:lnTo>
                  <a:pt x="4723" y="1465"/>
                </a:lnTo>
                <a:lnTo>
                  <a:pt x="4717" y="1465"/>
                </a:lnTo>
                <a:lnTo>
                  <a:pt x="4717" y="1465"/>
                </a:lnTo>
                <a:lnTo>
                  <a:pt x="4717" y="1459"/>
                </a:lnTo>
                <a:lnTo>
                  <a:pt x="4717" y="1459"/>
                </a:lnTo>
                <a:lnTo>
                  <a:pt x="4717" y="1459"/>
                </a:lnTo>
                <a:lnTo>
                  <a:pt x="4723" y="1465"/>
                </a:lnTo>
                <a:lnTo>
                  <a:pt x="4723" y="1465"/>
                </a:lnTo>
                <a:lnTo>
                  <a:pt x="4723" y="1459"/>
                </a:lnTo>
                <a:lnTo>
                  <a:pt x="4723" y="1453"/>
                </a:lnTo>
                <a:lnTo>
                  <a:pt x="4723" y="1447"/>
                </a:lnTo>
                <a:lnTo>
                  <a:pt x="4723" y="1447"/>
                </a:lnTo>
                <a:lnTo>
                  <a:pt x="4723" y="1447"/>
                </a:lnTo>
                <a:lnTo>
                  <a:pt x="4723" y="1447"/>
                </a:lnTo>
                <a:lnTo>
                  <a:pt x="4729" y="1447"/>
                </a:lnTo>
                <a:lnTo>
                  <a:pt x="4729" y="1441"/>
                </a:lnTo>
                <a:lnTo>
                  <a:pt x="4729" y="1441"/>
                </a:lnTo>
                <a:lnTo>
                  <a:pt x="4729" y="1441"/>
                </a:lnTo>
                <a:lnTo>
                  <a:pt x="4729" y="1441"/>
                </a:lnTo>
                <a:lnTo>
                  <a:pt x="4729" y="1441"/>
                </a:lnTo>
                <a:lnTo>
                  <a:pt x="4729" y="1441"/>
                </a:lnTo>
                <a:lnTo>
                  <a:pt x="4729" y="1441"/>
                </a:lnTo>
                <a:lnTo>
                  <a:pt x="4729" y="1441"/>
                </a:lnTo>
                <a:lnTo>
                  <a:pt x="4729" y="1441"/>
                </a:lnTo>
                <a:lnTo>
                  <a:pt x="4729" y="1435"/>
                </a:lnTo>
                <a:lnTo>
                  <a:pt x="4729" y="1435"/>
                </a:lnTo>
                <a:lnTo>
                  <a:pt x="4729" y="1435"/>
                </a:lnTo>
                <a:lnTo>
                  <a:pt x="4729" y="1435"/>
                </a:lnTo>
                <a:lnTo>
                  <a:pt x="4729" y="1435"/>
                </a:lnTo>
                <a:lnTo>
                  <a:pt x="4729" y="1429"/>
                </a:lnTo>
                <a:lnTo>
                  <a:pt x="4729" y="1429"/>
                </a:lnTo>
                <a:lnTo>
                  <a:pt x="4735" y="1429"/>
                </a:lnTo>
                <a:lnTo>
                  <a:pt x="4735" y="1429"/>
                </a:lnTo>
                <a:lnTo>
                  <a:pt x="4735" y="1429"/>
                </a:lnTo>
                <a:lnTo>
                  <a:pt x="4735" y="1429"/>
                </a:lnTo>
                <a:lnTo>
                  <a:pt x="4735" y="1435"/>
                </a:lnTo>
                <a:lnTo>
                  <a:pt x="4735" y="1435"/>
                </a:lnTo>
                <a:lnTo>
                  <a:pt x="4735" y="1435"/>
                </a:lnTo>
                <a:lnTo>
                  <a:pt x="4735" y="1435"/>
                </a:lnTo>
                <a:lnTo>
                  <a:pt x="4735" y="1435"/>
                </a:lnTo>
                <a:lnTo>
                  <a:pt x="4735" y="1435"/>
                </a:lnTo>
                <a:lnTo>
                  <a:pt x="4741" y="1435"/>
                </a:lnTo>
                <a:lnTo>
                  <a:pt x="4741" y="1435"/>
                </a:lnTo>
                <a:lnTo>
                  <a:pt x="4741" y="1435"/>
                </a:lnTo>
                <a:lnTo>
                  <a:pt x="4741" y="1429"/>
                </a:lnTo>
                <a:lnTo>
                  <a:pt x="4741" y="1429"/>
                </a:lnTo>
                <a:lnTo>
                  <a:pt x="4735" y="1429"/>
                </a:lnTo>
                <a:lnTo>
                  <a:pt x="4735" y="1429"/>
                </a:lnTo>
                <a:lnTo>
                  <a:pt x="4735" y="1429"/>
                </a:lnTo>
                <a:lnTo>
                  <a:pt x="4741" y="1429"/>
                </a:lnTo>
                <a:lnTo>
                  <a:pt x="4741" y="1429"/>
                </a:lnTo>
                <a:lnTo>
                  <a:pt x="4741" y="1429"/>
                </a:lnTo>
                <a:lnTo>
                  <a:pt x="4741" y="1429"/>
                </a:lnTo>
                <a:lnTo>
                  <a:pt x="4741" y="1429"/>
                </a:lnTo>
                <a:lnTo>
                  <a:pt x="4741" y="1429"/>
                </a:lnTo>
                <a:lnTo>
                  <a:pt x="4741" y="1423"/>
                </a:lnTo>
                <a:lnTo>
                  <a:pt x="4741" y="1423"/>
                </a:lnTo>
                <a:lnTo>
                  <a:pt x="4741" y="1423"/>
                </a:lnTo>
                <a:lnTo>
                  <a:pt x="4747" y="1423"/>
                </a:lnTo>
                <a:lnTo>
                  <a:pt x="4747" y="1423"/>
                </a:lnTo>
                <a:lnTo>
                  <a:pt x="4747" y="1423"/>
                </a:lnTo>
                <a:lnTo>
                  <a:pt x="4747" y="1423"/>
                </a:lnTo>
                <a:lnTo>
                  <a:pt x="4747" y="1423"/>
                </a:lnTo>
                <a:lnTo>
                  <a:pt x="4747" y="1423"/>
                </a:lnTo>
                <a:lnTo>
                  <a:pt x="4747" y="1423"/>
                </a:lnTo>
                <a:lnTo>
                  <a:pt x="4747" y="1418"/>
                </a:lnTo>
                <a:lnTo>
                  <a:pt x="4747" y="1418"/>
                </a:lnTo>
                <a:lnTo>
                  <a:pt x="4747" y="1418"/>
                </a:lnTo>
                <a:lnTo>
                  <a:pt x="4747" y="1418"/>
                </a:lnTo>
                <a:lnTo>
                  <a:pt x="4747" y="1418"/>
                </a:lnTo>
                <a:lnTo>
                  <a:pt x="4747" y="1418"/>
                </a:lnTo>
                <a:lnTo>
                  <a:pt x="4747" y="1418"/>
                </a:lnTo>
                <a:lnTo>
                  <a:pt x="4747" y="1418"/>
                </a:lnTo>
                <a:lnTo>
                  <a:pt x="4747" y="1412"/>
                </a:lnTo>
                <a:lnTo>
                  <a:pt x="4753" y="1412"/>
                </a:lnTo>
                <a:lnTo>
                  <a:pt x="4753" y="1412"/>
                </a:lnTo>
                <a:lnTo>
                  <a:pt x="4753" y="1412"/>
                </a:lnTo>
                <a:lnTo>
                  <a:pt x="4753" y="1412"/>
                </a:lnTo>
                <a:lnTo>
                  <a:pt x="4747" y="1412"/>
                </a:lnTo>
                <a:lnTo>
                  <a:pt x="4747" y="1406"/>
                </a:lnTo>
                <a:lnTo>
                  <a:pt x="4747" y="1406"/>
                </a:lnTo>
                <a:lnTo>
                  <a:pt x="4753" y="1406"/>
                </a:lnTo>
                <a:lnTo>
                  <a:pt x="4753" y="1406"/>
                </a:lnTo>
                <a:lnTo>
                  <a:pt x="4753" y="1406"/>
                </a:lnTo>
                <a:lnTo>
                  <a:pt x="4753" y="1406"/>
                </a:lnTo>
                <a:lnTo>
                  <a:pt x="4753" y="1406"/>
                </a:lnTo>
                <a:lnTo>
                  <a:pt x="4753" y="1406"/>
                </a:lnTo>
                <a:lnTo>
                  <a:pt x="4753" y="1406"/>
                </a:lnTo>
                <a:lnTo>
                  <a:pt x="4753" y="1406"/>
                </a:lnTo>
                <a:lnTo>
                  <a:pt x="4747" y="1406"/>
                </a:lnTo>
                <a:lnTo>
                  <a:pt x="4747" y="1406"/>
                </a:lnTo>
                <a:lnTo>
                  <a:pt x="4747" y="1406"/>
                </a:lnTo>
                <a:lnTo>
                  <a:pt x="4747" y="1406"/>
                </a:lnTo>
                <a:lnTo>
                  <a:pt x="4747" y="1400"/>
                </a:lnTo>
                <a:lnTo>
                  <a:pt x="4747" y="1400"/>
                </a:lnTo>
                <a:lnTo>
                  <a:pt x="4747" y="1400"/>
                </a:lnTo>
                <a:lnTo>
                  <a:pt x="4747" y="1400"/>
                </a:lnTo>
                <a:lnTo>
                  <a:pt x="4753" y="1406"/>
                </a:lnTo>
                <a:lnTo>
                  <a:pt x="4753" y="1406"/>
                </a:lnTo>
                <a:lnTo>
                  <a:pt x="4753" y="1406"/>
                </a:lnTo>
                <a:lnTo>
                  <a:pt x="4753" y="1406"/>
                </a:lnTo>
                <a:lnTo>
                  <a:pt x="4753" y="1406"/>
                </a:lnTo>
                <a:lnTo>
                  <a:pt x="4753" y="1406"/>
                </a:lnTo>
                <a:lnTo>
                  <a:pt x="4753" y="1406"/>
                </a:lnTo>
                <a:lnTo>
                  <a:pt x="4753" y="1406"/>
                </a:lnTo>
                <a:lnTo>
                  <a:pt x="4753" y="1406"/>
                </a:lnTo>
                <a:lnTo>
                  <a:pt x="4753" y="1406"/>
                </a:lnTo>
                <a:lnTo>
                  <a:pt x="4753" y="1406"/>
                </a:lnTo>
                <a:lnTo>
                  <a:pt x="4753" y="1412"/>
                </a:lnTo>
                <a:lnTo>
                  <a:pt x="4753" y="1412"/>
                </a:lnTo>
                <a:lnTo>
                  <a:pt x="4753" y="1412"/>
                </a:lnTo>
                <a:lnTo>
                  <a:pt x="4753" y="1412"/>
                </a:lnTo>
                <a:lnTo>
                  <a:pt x="4753" y="1412"/>
                </a:lnTo>
                <a:lnTo>
                  <a:pt x="4753" y="1412"/>
                </a:lnTo>
                <a:lnTo>
                  <a:pt x="4753" y="1412"/>
                </a:lnTo>
                <a:lnTo>
                  <a:pt x="4753" y="1412"/>
                </a:lnTo>
                <a:lnTo>
                  <a:pt x="4753" y="1418"/>
                </a:lnTo>
                <a:lnTo>
                  <a:pt x="4753" y="1418"/>
                </a:lnTo>
                <a:lnTo>
                  <a:pt x="4753" y="1418"/>
                </a:lnTo>
                <a:lnTo>
                  <a:pt x="4753" y="1418"/>
                </a:lnTo>
                <a:lnTo>
                  <a:pt x="4753" y="1418"/>
                </a:lnTo>
                <a:lnTo>
                  <a:pt x="4753" y="1418"/>
                </a:lnTo>
                <a:lnTo>
                  <a:pt x="4753" y="1418"/>
                </a:lnTo>
                <a:lnTo>
                  <a:pt x="4753" y="1418"/>
                </a:lnTo>
                <a:lnTo>
                  <a:pt x="4753" y="1418"/>
                </a:lnTo>
                <a:lnTo>
                  <a:pt x="4753" y="1418"/>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3"/>
                </a:lnTo>
                <a:lnTo>
                  <a:pt x="4753" y="1429"/>
                </a:lnTo>
                <a:lnTo>
                  <a:pt x="4753" y="1429"/>
                </a:lnTo>
                <a:lnTo>
                  <a:pt x="4753" y="1429"/>
                </a:lnTo>
                <a:lnTo>
                  <a:pt x="4753" y="1429"/>
                </a:lnTo>
                <a:lnTo>
                  <a:pt x="4747" y="1423"/>
                </a:lnTo>
                <a:lnTo>
                  <a:pt x="4747" y="1429"/>
                </a:lnTo>
                <a:lnTo>
                  <a:pt x="4747" y="1429"/>
                </a:lnTo>
                <a:lnTo>
                  <a:pt x="4747" y="1429"/>
                </a:lnTo>
                <a:lnTo>
                  <a:pt x="4747" y="1429"/>
                </a:lnTo>
                <a:lnTo>
                  <a:pt x="4747" y="1429"/>
                </a:lnTo>
                <a:lnTo>
                  <a:pt x="4747" y="1429"/>
                </a:lnTo>
                <a:lnTo>
                  <a:pt x="4747" y="1429"/>
                </a:lnTo>
                <a:lnTo>
                  <a:pt x="4741" y="1429"/>
                </a:lnTo>
                <a:lnTo>
                  <a:pt x="4741" y="1429"/>
                </a:lnTo>
                <a:lnTo>
                  <a:pt x="4741" y="1429"/>
                </a:lnTo>
                <a:lnTo>
                  <a:pt x="4741" y="1435"/>
                </a:lnTo>
                <a:lnTo>
                  <a:pt x="4741" y="1435"/>
                </a:lnTo>
                <a:lnTo>
                  <a:pt x="4741" y="1435"/>
                </a:lnTo>
                <a:lnTo>
                  <a:pt x="4741" y="1435"/>
                </a:lnTo>
                <a:lnTo>
                  <a:pt x="4741" y="1435"/>
                </a:lnTo>
                <a:lnTo>
                  <a:pt x="4741" y="1435"/>
                </a:lnTo>
                <a:lnTo>
                  <a:pt x="4741" y="1435"/>
                </a:lnTo>
                <a:lnTo>
                  <a:pt x="4735" y="1435"/>
                </a:lnTo>
                <a:lnTo>
                  <a:pt x="4735" y="1435"/>
                </a:lnTo>
                <a:lnTo>
                  <a:pt x="4735" y="1435"/>
                </a:lnTo>
                <a:lnTo>
                  <a:pt x="4735" y="1441"/>
                </a:lnTo>
                <a:lnTo>
                  <a:pt x="4735" y="1441"/>
                </a:lnTo>
                <a:lnTo>
                  <a:pt x="4735" y="1441"/>
                </a:lnTo>
                <a:lnTo>
                  <a:pt x="4735" y="1441"/>
                </a:lnTo>
                <a:lnTo>
                  <a:pt x="4735" y="1441"/>
                </a:lnTo>
                <a:lnTo>
                  <a:pt x="4735" y="1441"/>
                </a:lnTo>
                <a:lnTo>
                  <a:pt x="4735" y="1441"/>
                </a:lnTo>
                <a:lnTo>
                  <a:pt x="4735" y="1441"/>
                </a:lnTo>
                <a:lnTo>
                  <a:pt x="4735" y="1441"/>
                </a:lnTo>
                <a:lnTo>
                  <a:pt x="4735" y="1447"/>
                </a:lnTo>
                <a:lnTo>
                  <a:pt x="4735" y="1447"/>
                </a:lnTo>
                <a:lnTo>
                  <a:pt x="4735" y="1447"/>
                </a:lnTo>
                <a:lnTo>
                  <a:pt x="4735" y="1447"/>
                </a:lnTo>
                <a:lnTo>
                  <a:pt x="4729" y="1447"/>
                </a:lnTo>
                <a:lnTo>
                  <a:pt x="4729" y="1447"/>
                </a:lnTo>
                <a:lnTo>
                  <a:pt x="4729" y="1447"/>
                </a:lnTo>
                <a:lnTo>
                  <a:pt x="4729" y="1447"/>
                </a:lnTo>
                <a:lnTo>
                  <a:pt x="4729" y="1453"/>
                </a:lnTo>
                <a:lnTo>
                  <a:pt x="4729" y="1453"/>
                </a:lnTo>
                <a:lnTo>
                  <a:pt x="4729" y="1453"/>
                </a:lnTo>
                <a:lnTo>
                  <a:pt x="4729" y="1453"/>
                </a:lnTo>
                <a:lnTo>
                  <a:pt x="4729" y="1453"/>
                </a:lnTo>
                <a:lnTo>
                  <a:pt x="4729" y="1453"/>
                </a:lnTo>
                <a:lnTo>
                  <a:pt x="4729" y="1459"/>
                </a:lnTo>
                <a:lnTo>
                  <a:pt x="4729" y="1459"/>
                </a:lnTo>
                <a:lnTo>
                  <a:pt x="4729" y="1459"/>
                </a:lnTo>
                <a:lnTo>
                  <a:pt x="4729" y="1459"/>
                </a:lnTo>
                <a:lnTo>
                  <a:pt x="4729" y="1465"/>
                </a:lnTo>
                <a:lnTo>
                  <a:pt x="4729" y="1465"/>
                </a:lnTo>
                <a:lnTo>
                  <a:pt x="4735" y="1471"/>
                </a:lnTo>
                <a:lnTo>
                  <a:pt x="4735" y="1471"/>
                </a:lnTo>
                <a:lnTo>
                  <a:pt x="4735" y="1465"/>
                </a:lnTo>
                <a:lnTo>
                  <a:pt x="4735" y="1465"/>
                </a:lnTo>
                <a:lnTo>
                  <a:pt x="4741" y="1465"/>
                </a:lnTo>
                <a:lnTo>
                  <a:pt x="4741" y="1465"/>
                </a:lnTo>
                <a:lnTo>
                  <a:pt x="4741" y="1465"/>
                </a:lnTo>
                <a:lnTo>
                  <a:pt x="4741" y="1459"/>
                </a:lnTo>
                <a:lnTo>
                  <a:pt x="4741" y="1459"/>
                </a:lnTo>
                <a:lnTo>
                  <a:pt x="4741" y="1459"/>
                </a:lnTo>
                <a:lnTo>
                  <a:pt x="4741" y="1459"/>
                </a:lnTo>
                <a:lnTo>
                  <a:pt x="4741" y="1459"/>
                </a:lnTo>
                <a:lnTo>
                  <a:pt x="4741" y="1459"/>
                </a:lnTo>
                <a:lnTo>
                  <a:pt x="4741" y="1459"/>
                </a:lnTo>
                <a:lnTo>
                  <a:pt x="4741" y="1453"/>
                </a:lnTo>
                <a:lnTo>
                  <a:pt x="4741" y="1459"/>
                </a:lnTo>
                <a:lnTo>
                  <a:pt x="4741" y="1459"/>
                </a:lnTo>
                <a:lnTo>
                  <a:pt x="4741" y="1459"/>
                </a:lnTo>
                <a:lnTo>
                  <a:pt x="4747" y="1459"/>
                </a:lnTo>
                <a:lnTo>
                  <a:pt x="4747" y="1459"/>
                </a:lnTo>
                <a:lnTo>
                  <a:pt x="4741" y="1459"/>
                </a:lnTo>
                <a:lnTo>
                  <a:pt x="4741" y="1459"/>
                </a:lnTo>
                <a:lnTo>
                  <a:pt x="4741" y="1459"/>
                </a:lnTo>
                <a:lnTo>
                  <a:pt x="4741" y="1459"/>
                </a:lnTo>
                <a:lnTo>
                  <a:pt x="4741" y="1465"/>
                </a:lnTo>
                <a:lnTo>
                  <a:pt x="4747" y="1465"/>
                </a:lnTo>
                <a:lnTo>
                  <a:pt x="4747" y="1465"/>
                </a:lnTo>
                <a:lnTo>
                  <a:pt x="4747" y="1459"/>
                </a:lnTo>
                <a:lnTo>
                  <a:pt x="4747" y="1459"/>
                </a:lnTo>
                <a:lnTo>
                  <a:pt x="4747" y="1459"/>
                </a:lnTo>
                <a:lnTo>
                  <a:pt x="4747" y="1459"/>
                </a:lnTo>
                <a:lnTo>
                  <a:pt x="4747" y="1459"/>
                </a:lnTo>
                <a:lnTo>
                  <a:pt x="4753" y="1459"/>
                </a:lnTo>
                <a:lnTo>
                  <a:pt x="4753" y="1459"/>
                </a:lnTo>
                <a:lnTo>
                  <a:pt x="4753" y="1459"/>
                </a:lnTo>
                <a:lnTo>
                  <a:pt x="4753" y="1453"/>
                </a:lnTo>
                <a:lnTo>
                  <a:pt x="4753" y="1453"/>
                </a:lnTo>
                <a:lnTo>
                  <a:pt x="4753" y="1459"/>
                </a:lnTo>
                <a:lnTo>
                  <a:pt x="4753" y="1459"/>
                </a:lnTo>
                <a:lnTo>
                  <a:pt x="4753" y="1459"/>
                </a:lnTo>
                <a:lnTo>
                  <a:pt x="4753" y="1471"/>
                </a:lnTo>
                <a:lnTo>
                  <a:pt x="4758" y="1471"/>
                </a:lnTo>
                <a:lnTo>
                  <a:pt x="4758" y="1471"/>
                </a:lnTo>
                <a:lnTo>
                  <a:pt x="4758" y="1471"/>
                </a:lnTo>
                <a:lnTo>
                  <a:pt x="4758" y="1477"/>
                </a:lnTo>
                <a:lnTo>
                  <a:pt x="4764" y="1477"/>
                </a:lnTo>
                <a:lnTo>
                  <a:pt x="4764" y="1477"/>
                </a:lnTo>
                <a:lnTo>
                  <a:pt x="4764" y="1483"/>
                </a:lnTo>
                <a:lnTo>
                  <a:pt x="4770" y="1483"/>
                </a:lnTo>
                <a:lnTo>
                  <a:pt x="4770" y="1477"/>
                </a:lnTo>
                <a:lnTo>
                  <a:pt x="4770" y="1477"/>
                </a:lnTo>
                <a:lnTo>
                  <a:pt x="4770" y="1477"/>
                </a:lnTo>
                <a:lnTo>
                  <a:pt x="4770" y="1471"/>
                </a:lnTo>
                <a:lnTo>
                  <a:pt x="4770" y="1471"/>
                </a:lnTo>
                <a:lnTo>
                  <a:pt x="4770" y="1471"/>
                </a:lnTo>
                <a:lnTo>
                  <a:pt x="4770" y="1471"/>
                </a:lnTo>
                <a:lnTo>
                  <a:pt x="4764" y="1465"/>
                </a:lnTo>
                <a:lnTo>
                  <a:pt x="4770" y="1465"/>
                </a:lnTo>
                <a:lnTo>
                  <a:pt x="4770" y="1471"/>
                </a:lnTo>
                <a:lnTo>
                  <a:pt x="4770" y="1471"/>
                </a:lnTo>
                <a:lnTo>
                  <a:pt x="4770" y="1477"/>
                </a:lnTo>
                <a:lnTo>
                  <a:pt x="4770" y="1477"/>
                </a:lnTo>
                <a:lnTo>
                  <a:pt x="4770" y="1477"/>
                </a:lnTo>
                <a:lnTo>
                  <a:pt x="4776" y="1483"/>
                </a:lnTo>
                <a:lnTo>
                  <a:pt x="4770" y="1483"/>
                </a:lnTo>
                <a:lnTo>
                  <a:pt x="4776" y="1483"/>
                </a:lnTo>
                <a:lnTo>
                  <a:pt x="4776" y="1489"/>
                </a:lnTo>
                <a:lnTo>
                  <a:pt x="4782" y="1483"/>
                </a:lnTo>
                <a:lnTo>
                  <a:pt x="4788" y="1483"/>
                </a:lnTo>
                <a:lnTo>
                  <a:pt x="4788" y="1483"/>
                </a:lnTo>
                <a:lnTo>
                  <a:pt x="4788" y="1489"/>
                </a:lnTo>
                <a:lnTo>
                  <a:pt x="4788" y="1489"/>
                </a:lnTo>
                <a:lnTo>
                  <a:pt x="4794" y="1489"/>
                </a:lnTo>
                <a:lnTo>
                  <a:pt x="4794" y="1489"/>
                </a:lnTo>
                <a:lnTo>
                  <a:pt x="4794" y="1489"/>
                </a:lnTo>
                <a:lnTo>
                  <a:pt x="4794" y="1489"/>
                </a:lnTo>
                <a:lnTo>
                  <a:pt x="4800" y="1489"/>
                </a:lnTo>
                <a:lnTo>
                  <a:pt x="4800" y="1495"/>
                </a:lnTo>
                <a:lnTo>
                  <a:pt x="4800" y="1495"/>
                </a:lnTo>
                <a:lnTo>
                  <a:pt x="4800" y="1495"/>
                </a:lnTo>
                <a:lnTo>
                  <a:pt x="4800" y="1495"/>
                </a:lnTo>
                <a:lnTo>
                  <a:pt x="4800" y="1501"/>
                </a:lnTo>
                <a:lnTo>
                  <a:pt x="4800" y="1501"/>
                </a:lnTo>
                <a:lnTo>
                  <a:pt x="4800" y="1501"/>
                </a:lnTo>
                <a:lnTo>
                  <a:pt x="4800" y="1495"/>
                </a:lnTo>
                <a:lnTo>
                  <a:pt x="4806" y="1495"/>
                </a:lnTo>
                <a:lnTo>
                  <a:pt x="4806" y="1495"/>
                </a:lnTo>
                <a:lnTo>
                  <a:pt x="4806" y="1495"/>
                </a:lnTo>
                <a:lnTo>
                  <a:pt x="4806" y="1501"/>
                </a:lnTo>
                <a:lnTo>
                  <a:pt x="4806" y="1495"/>
                </a:lnTo>
                <a:lnTo>
                  <a:pt x="4806" y="1495"/>
                </a:lnTo>
                <a:lnTo>
                  <a:pt x="4806" y="1495"/>
                </a:lnTo>
                <a:lnTo>
                  <a:pt x="4806" y="1495"/>
                </a:lnTo>
                <a:lnTo>
                  <a:pt x="4806" y="1495"/>
                </a:lnTo>
                <a:lnTo>
                  <a:pt x="4806" y="1495"/>
                </a:lnTo>
                <a:lnTo>
                  <a:pt x="4806" y="1495"/>
                </a:lnTo>
                <a:lnTo>
                  <a:pt x="4806" y="1489"/>
                </a:lnTo>
                <a:lnTo>
                  <a:pt x="4806" y="1489"/>
                </a:lnTo>
                <a:lnTo>
                  <a:pt x="4806" y="1489"/>
                </a:lnTo>
                <a:lnTo>
                  <a:pt x="4806" y="1489"/>
                </a:lnTo>
                <a:lnTo>
                  <a:pt x="4812" y="1489"/>
                </a:lnTo>
                <a:lnTo>
                  <a:pt x="4812" y="1495"/>
                </a:lnTo>
                <a:lnTo>
                  <a:pt x="4812" y="1495"/>
                </a:lnTo>
                <a:lnTo>
                  <a:pt x="4812" y="1501"/>
                </a:lnTo>
                <a:lnTo>
                  <a:pt x="4812" y="1501"/>
                </a:lnTo>
                <a:lnTo>
                  <a:pt x="4812" y="1501"/>
                </a:lnTo>
                <a:lnTo>
                  <a:pt x="4812" y="1501"/>
                </a:lnTo>
                <a:lnTo>
                  <a:pt x="4812" y="1501"/>
                </a:lnTo>
                <a:lnTo>
                  <a:pt x="4818" y="1506"/>
                </a:lnTo>
                <a:lnTo>
                  <a:pt x="4818" y="1506"/>
                </a:lnTo>
                <a:lnTo>
                  <a:pt x="4818" y="1506"/>
                </a:lnTo>
                <a:lnTo>
                  <a:pt x="4824" y="1512"/>
                </a:lnTo>
                <a:lnTo>
                  <a:pt x="4824" y="1506"/>
                </a:lnTo>
                <a:lnTo>
                  <a:pt x="4824" y="1506"/>
                </a:lnTo>
                <a:lnTo>
                  <a:pt x="4818" y="1506"/>
                </a:lnTo>
                <a:lnTo>
                  <a:pt x="4818" y="1506"/>
                </a:lnTo>
                <a:lnTo>
                  <a:pt x="4818" y="1506"/>
                </a:lnTo>
                <a:lnTo>
                  <a:pt x="4818" y="1501"/>
                </a:lnTo>
                <a:lnTo>
                  <a:pt x="4818" y="1501"/>
                </a:lnTo>
                <a:lnTo>
                  <a:pt x="4824" y="1501"/>
                </a:lnTo>
                <a:lnTo>
                  <a:pt x="4824" y="1501"/>
                </a:lnTo>
                <a:lnTo>
                  <a:pt x="4818" y="1495"/>
                </a:lnTo>
                <a:lnTo>
                  <a:pt x="4818" y="1489"/>
                </a:lnTo>
                <a:lnTo>
                  <a:pt x="4818" y="1489"/>
                </a:lnTo>
                <a:lnTo>
                  <a:pt x="4812" y="1489"/>
                </a:lnTo>
                <a:lnTo>
                  <a:pt x="4812" y="1489"/>
                </a:lnTo>
                <a:lnTo>
                  <a:pt x="4812" y="1483"/>
                </a:lnTo>
                <a:lnTo>
                  <a:pt x="4812" y="1483"/>
                </a:lnTo>
                <a:lnTo>
                  <a:pt x="4812" y="1483"/>
                </a:lnTo>
                <a:lnTo>
                  <a:pt x="4812" y="1477"/>
                </a:lnTo>
                <a:lnTo>
                  <a:pt x="4818" y="1477"/>
                </a:lnTo>
                <a:lnTo>
                  <a:pt x="4818" y="1477"/>
                </a:lnTo>
                <a:lnTo>
                  <a:pt x="4812" y="1477"/>
                </a:lnTo>
                <a:lnTo>
                  <a:pt x="4812" y="1477"/>
                </a:lnTo>
                <a:lnTo>
                  <a:pt x="4812" y="1477"/>
                </a:lnTo>
                <a:lnTo>
                  <a:pt x="4812" y="1477"/>
                </a:lnTo>
                <a:lnTo>
                  <a:pt x="4812" y="1477"/>
                </a:lnTo>
                <a:lnTo>
                  <a:pt x="4806" y="1477"/>
                </a:lnTo>
                <a:lnTo>
                  <a:pt x="4806" y="1477"/>
                </a:lnTo>
                <a:lnTo>
                  <a:pt x="4806" y="1477"/>
                </a:lnTo>
                <a:lnTo>
                  <a:pt x="4806" y="1477"/>
                </a:lnTo>
                <a:lnTo>
                  <a:pt x="4806" y="1471"/>
                </a:lnTo>
                <a:lnTo>
                  <a:pt x="4806" y="1471"/>
                </a:lnTo>
                <a:lnTo>
                  <a:pt x="4800" y="1471"/>
                </a:lnTo>
                <a:lnTo>
                  <a:pt x="4800" y="1471"/>
                </a:lnTo>
                <a:lnTo>
                  <a:pt x="4800" y="1471"/>
                </a:lnTo>
                <a:lnTo>
                  <a:pt x="4800" y="1465"/>
                </a:lnTo>
                <a:lnTo>
                  <a:pt x="4794" y="1465"/>
                </a:lnTo>
                <a:lnTo>
                  <a:pt x="4794" y="1465"/>
                </a:lnTo>
                <a:lnTo>
                  <a:pt x="4794" y="1465"/>
                </a:lnTo>
                <a:lnTo>
                  <a:pt x="4794" y="1459"/>
                </a:lnTo>
                <a:lnTo>
                  <a:pt x="4788" y="1459"/>
                </a:lnTo>
                <a:lnTo>
                  <a:pt x="4788" y="1453"/>
                </a:lnTo>
                <a:lnTo>
                  <a:pt x="4788" y="1453"/>
                </a:lnTo>
                <a:lnTo>
                  <a:pt x="4788" y="1453"/>
                </a:lnTo>
                <a:lnTo>
                  <a:pt x="4788" y="1453"/>
                </a:lnTo>
                <a:lnTo>
                  <a:pt x="4788" y="1447"/>
                </a:lnTo>
                <a:lnTo>
                  <a:pt x="4788" y="1447"/>
                </a:lnTo>
                <a:lnTo>
                  <a:pt x="4788" y="1447"/>
                </a:lnTo>
                <a:lnTo>
                  <a:pt x="4788" y="1441"/>
                </a:lnTo>
                <a:lnTo>
                  <a:pt x="4788" y="1435"/>
                </a:lnTo>
                <a:lnTo>
                  <a:pt x="4788" y="1429"/>
                </a:lnTo>
                <a:lnTo>
                  <a:pt x="4788" y="1429"/>
                </a:lnTo>
                <a:lnTo>
                  <a:pt x="4788" y="1429"/>
                </a:lnTo>
                <a:lnTo>
                  <a:pt x="4788" y="1429"/>
                </a:lnTo>
                <a:lnTo>
                  <a:pt x="4788" y="1429"/>
                </a:lnTo>
                <a:lnTo>
                  <a:pt x="4788" y="1429"/>
                </a:lnTo>
                <a:lnTo>
                  <a:pt x="4788" y="1429"/>
                </a:lnTo>
                <a:lnTo>
                  <a:pt x="4788" y="1441"/>
                </a:lnTo>
                <a:lnTo>
                  <a:pt x="4788" y="1453"/>
                </a:lnTo>
                <a:lnTo>
                  <a:pt x="4788" y="1453"/>
                </a:lnTo>
                <a:lnTo>
                  <a:pt x="4788" y="1453"/>
                </a:lnTo>
                <a:lnTo>
                  <a:pt x="4794" y="1459"/>
                </a:lnTo>
                <a:lnTo>
                  <a:pt x="4794" y="1459"/>
                </a:lnTo>
                <a:lnTo>
                  <a:pt x="4800" y="1459"/>
                </a:lnTo>
                <a:lnTo>
                  <a:pt x="4800" y="1465"/>
                </a:lnTo>
                <a:lnTo>
                  <a:pt x="4800" y="1465"/>
                </a:lnTo>
                <a:lnTo>
                  <a:pt x="4806" y="1465"/>
                </a:lnTo>
                <a:lnTo>
                  <a:pt x="4806" y="1465"/>
                </a:lnTo>
                <a:lnTo>
                  <a:pt x="4806" y="1465"/>
                </a:lnTo>
                <a:lnTo>
                  <a:pt x="4806" y="1465"/>
                </a:lnTo>
                <a:lnTo>
                  <a:pt x="4806" y="1465"/>
                </a:lnTo>
                <a:lnTo>
                  <a:pt x="4806" y="1465"/>
                </a:lnTo>
                <a:lnTo>
                  <a:pt x="4806" y="1471"/>
                </a:lnTo>
                <a:lnTo>
                  <a:pt x="4806" y="1471"/>
                </a:lnTo>
                <a:lnTo>
                  <a:pt x="4806" y="1471"/>
                </a:lnTo>
                <a:lnTo>
                  <a:pt x="4806" y="1471"/>
                </a:lnTo>
                <a:lnTo>
                  <a:pt x="4806" y="1477"/>
                </a:lnTo>
                <a:lnTo>
                  <a:pt x="4812" y="1477"/>
                </a:lnTo>
                <a:lnTo>
                  <a:pt x="4812" y="1477"/>
                </a:lnTo>
                <a:lnTo>
                  <a:pt x="4812" y="1471"/>
                </a:lnTo>
                <a:lnTo>
                  <a:pt x="4818" y="1465"/>
                </a:lnTo>
                <a:lnTo>
                  <a:pt x="4818" y="1465"/>
                </a:lnTo>
                <a:lnTo>
                  <a:pt x="4812" y="1465"/>
                </a:lnTo>
                <a:lnTo>
                  <a:pt x="4812" y="1465"/>
                </a:lnTo>
                <a:lnTo>
                  <a:pt x="4812" y="1459"/>
                </a:lnTo>
                <a:lnTo>
                  <a:pt x="4806" y="1453"/>
                </a:lnTo>
                <a:lnTo>
                  <a:pt x="4800" y="1447"/>
                </a:lnTo>
                <a:lnTo>
                  <a:pt x="4800" y="1447"/>
                </a:lnTo>
                <a:lnTo>
                  <a:pt x="4800" y="1441"/>
                </a:lnTo>
                <a:lnTo>
                  <a:pt x="4800" y="1435"/>
                </a:lnTo>
                <a:lnTo>
                  <a:pt x="4800" y="1435"/>
                </a:lnTo>
                <a:lnTo>
                  <a:pt x="4800" y="1429"/>
                </a:lnTo>
                <a:lnTo>
                  <a:pt x="4800" y="1429"/>
                </a:lnTo>
                <a:lnTo>
                  <a:pt x="4800" y="1429"/>
                </a:lnTo>
                <a:lnTo>
                  <a:pt x="4800" y="1423"/>
                </a:lnTo>
                <a:lnTo>
                  <a:pt x="4800" y="1423"/>
                </a:lnTo>
                <a:lnTo>
                  <a:pt x="4800" y="1423"/>
                </a:lnTo>
                <a:lnTo>
                  <a:pt x="4800" y="1418"/>
                </a:lnTo>
                <a:lnTo>
                  <a:pt x="4800" y="1418"/>
                </a:lnTo>
                <a:lnTo>
                  <a:pt x="4800" y="1418"/>
                </a:lnTo>
                <a:lnTo>
                  <a:pt x="4800" y="1418"/>
                </a:lnTo>
                <a:lnTo>
                  <a:pt x="4806" y="1412"/>
                </a:lnTo>
                <a:lnTo>
                  <a:pt x="4806" y="1412"/>
                </a:lnTo>
                <a:lnTo>
                  <a:pt x="4806" y="1412"/>
                </a:lnTo>
                <a:lnTo>
                  <a:pt x="4806" y="1406"/>
                </a:lnTo>
                <a:lnTo>
                  <a:pt x="4800" y="1406"/>
                </a:lnTo>
                <a:lnTo>
                  <a:pt x="4800" y="1406"/>
                </a:lnTo>
                <a:lnTo>
                  <a:pt x="4800" y="1406"/>
                </a:lnTo>
                <a:lnTo>
                  <a:pt x="4800" y="1406"/>
                </a:lnTo>
                <a:lnTo>
                  <a:pt x="4800" y="1406"/>
                </a:lnTo>
                <a:lnTo>
                  <a:pt x="4800" y="1406"/>
                </a:lnTo>
                <a:lnTo>
                  <a:pt x="4800" y="1406"/>
                </a:lnTo>
                <a:lnTo>
                  <a:pt x="4800" y="1400"/>
                </a:lnTo>
                <a:lnTo>
                  <a:pt x="4800" y="1400"/>
                </a:lnTo>
                <a:lnTo>
                  <a:pt x="4800" y="1400"/>
                </a:lnTo>
                <a:lnTo>
                  <a:pt x="4800" y="1400"/>
                </a:lnTo>
                <a:lnTo>
                  <a:pt x="4800" y="1400"/>
                </a:lnTo>
                <a:lnTo>
                  <a:pt x="4800" y="1406"/>
                </a:lnTo>
                <a:lnTo>
                  <a:pt x="4806" y="1406"/>
                </a:lnTo>
                <a:lnTo>
                  <a:pt x="4806" y="1400"/>
                </a:lnTo>
                <a:lnTo>
                  <a:pt x="4806" y="1400"/>
                </a:lnTo>
                <a:lnTo>
                  <a:pt x="4800" y="1400"/>
                </a:lnTo>
                <a:lnTo>
                  <a:pt x="4800" y="1400"/>
                </a:lnTo>
                <a:lnTo>
                  <a:pt x="4800" y="1400"/>
                </a:lnTo>
                <a:lnTo>
                  <a:pt x="4800" y="1400"/>
                </a:lnTo>
                <a:lnTo>
                  <a:pt x="4800" y="1394"/>
                </a:lnTo>
                <a:lnTo>
                  <a:pt x="4794" y="1394"/>
                </a:lnTo>
                <a:lnTo>
                  <a:pt x="4800" y="1394"/>
                </a:lnTo>
                <a:lnTo>
                  <a:pt x="4800" y="1394"/>
                </a:lnTo>
                <a:lnTo>
                  <a:pt x="4800" y="1394"/>
                </a:lnTo>
                <a:lnTo>
                  <a:pt x="4800" y="1394"/>
                </a:lnTo>
                <a:lnTo>
                  <a:pt x="4806" y="1400"/>
                </a:lnTo>
                <a:lnTo>
                  <a:pt x="4806" y="1400"/>
                </a:lnTo>
                <a:lnTo>
                  <a:pt x="4806" y="1394"/>
                </a:lnTo>
                <a:lnTo>
                  <a:pt x="4806" y="1394"/>
                </a:lnTo>
                <a:lnTo>
                  <a:pt x="4806" y="1394"/>
                </a:lnTo>
                <a:lnTo>
                  <a:pt x="4806" y="1394"/>
                </a:lnTo>
                <a:lnTo>
                  <a:pt x="4806" y="1394"/>
                </a:lnTo>
                <a:lnTo>
                  <a:pt x="4806" y="1388"/>
                </a:lnTo>
                <a:lnTo>
                  <a:pt x="4806" y="1388"/>
                </a:lnTo>
                <a:lnTo>
                  <a:pt x="4800" y="1388"/>
                </a:lnTo>
                <a:lnTo>
                  <a:pt x="4800" y="1388"/>
                </a:lnTo>
                <a:lnTo>
                  <a:pt x="4800" y="1388"/>
                </a:lnTo>
                <a:lnTo>
                  <a:pt x="4800" y="1382"/>
                </a:lnTo>
                <a:lnTo>
                  <a:pt x="4800" y="1382"/>
                </a:lnTo>
                <a:lnTo>
                  <a:pt x="4794" y="1382"/>
                </a:lnTo>
                <a:lnTo>
                  <a:pt x="4794" y="1382"/>
                </a:lnTo>
                <a:lnTo>
                  <a:pt x="4794" y="1382"/>
                </a:lnTo>
                <a:lnTo>
                  <a:pt x="4794" y="1382"/>
                </a:lnTo>
                <a:lnTo>
                  <a:pt x="4794" y="1382"/>
                </a:lnTo>
                <a:lnTo>
                  <a:pt x="4794" y="1376"/>
                </a:lnTo>
                <a:lnTo>
                  <a:pt x="4800" y="1376"/>
                </a:lnTo>
                <a:lnTo>
                  <a:pt x="4800" y="1376"/>
                </a:lnTo>
                <a:lnTo>
                  <a:pt x="4800" y="1382"/>
                </a:lnTo>
                <a:lnTo>
                  <a:pt x="4800" y="1382"/>
                </a:lnTo>
                <a:lnTo>
                  <a:pt x="4800" y="1388"/>
                </a:lnTo>
                <a:lnTo>
                  <a:pt x="4806" y="1388"/>
                </a:lnTo>
                <a:lnTo>
                  <a:pt x="4806" y="1388"/>
                </a:lnTo>
                <a:lnTo>
                  <a:pt x="4806" y="1388"/>
                </a:lnTo>
                <a:lnTo>
                  <a:pt x="4812" y="1388"/>
                </a:lnTo>
                <a:lnTo>
                  <a:pt x="4812" y="1388"/>
                </a:lnTo>
                <a:lnTo>
                  <a:pt x="4812" y="1388"/>
                </a:lnTo>
                <a:lnTo>
                  <a:pt x="4812" y="1388"/>
                </a:lnTo>
                <a:lnTo>
                  <a:pt x="4812" y="1382"/>
                </a:lnTo>
                <a:lnTo>
                  <a:pt x="4812" y="1382"/>
                </a:lnTo>
                <a:lnTo>
                  <a:pt x="4812" y="1382"/>
                </a:lnTo>
                <a:lnTo>
                  <a:pt x="4806" y="1382"/>
                </a:lnTo>
                <a:lnTo>
                  <a:pt x="4806" y="1382"/>
                </a:lnTo>
                <a:lnTo>
                  <a:pt x="4806" y="1382"/>
                </a:lnTo>
                <a:lnTo>
                  <a:pt x="4800" y="1376"/>
                </a:lnTo>
                <a:lnTo>
                  <a:pt x="4800" y="1376"/>
                </a:lnTo>
                <a:lnTo>
                  <a:pt x="4800" y="1376"/>
                </a:lnTo>
                <a:lnTo>
                  <a:pt x="4800" y="1376"/>
                </a:lnTo>
                <a:lnTo>
                  <a:pt x="4800" y="1376"/>
                </a:lnTo>
                <a:lnTo>
                  <a:pt x="4800" y="1376"/>
                </a:lnTo>
                <a:lnTo>
                  <a:pt x="4806" y="1376"/>
                </a:lnTo>
                <a:lnTo>
                  <a:pt x="4806" y="1376"/>
                </a:lnTo>
                <a:lnTo>
                  <a:pt x="4806" y="1376"/>
                </a:lnTo>
                <a:lnTo>
                  <a:pt x="4806" y="1376"/>
                </a:lnTo>
                <a:lnTo>
                  <a:pt x="4806" y="1376"/>
                </a:lnTo>
                <a:lnTo>
                  <a:pt x="4812" y="1376"/>
                </a:lnTo>
                <a:lnTo>
                  <a:pt x="4812" y="1376"/>
                </a:lnTo>
                <a:lnTo>
                  <a:pt x="4812" y="1382"/>
                </a:lnTo>
                <a:lnTo>
                  <a:pt x="4812" y="1376"/>
                </a:lnTo>
                <a:lnTo>
                  <a:pt x="4812" y="1376"/>
                </a:lnTo>
                <a:lnTo>
                  <a:pt x="4812" y="1376"/>
                </a:lnTo>
                <a:lnTo>
                  <a:pt x="4812" y="1370"/>
                </a:lnTo>
                <a:lnTo>
                  <a:pt x="4812" y="1370"/>
                </a:lnTo>
                <a:lnTo>
                  <a:pt x="4806" y="1370"/>
                </a:lnTo>
                <a:lnTo>
                  <a:pt x="4806" y="1364"/>
                </a:lnTo>
                <a:lnTo>
                  <a:pt x="4806" y="1364"/>
                </a:lnTo>
                <a:lnTo>
                  <a:pt x="4806" y="1370"/>
                </a:lnTo>
                <a:lnTo>
                  <a:pt x="4806" y="1364"/>
                </a:lnTo>
                <a:lnTo>
                  <a:pt x="4800" y="1364"/>
                </a:lnTo>
                <a:lnTo>
                  <a:pt x="4800" y="1364"/>
                </a:lnTo>
                <a:lnTo>
                  <a:pt x="4800" y="1364"/>
                </a:lnTo>
                <a:lnTo>
                  <a:pt x="4800" y="1364"/>
                </a:lnTo>
                <a:lnTo>
                  <a:pt x="4800" y="1364"/>
                </a:lnTo>
                <a:lnTo>
                  <a:pt x="4800" y="1364"/>
                </a:lnTo>
                <a:lnTo>
                  <a:pt x="4800" y="1358"/>
                </a:lnTo>
                <a:lnTo>
                  <a:pt x="4800" y="1358"/>
                </a:lnTo>
                <a:lnTo>
                  <a:pt x="4800" y="1358"/>
                </a:lnTo>
                <a:lnTo>
                  <a:pt x="4794" y="1358"/>
                </a:lnTo>
                <a:lnTo>
                  <a:pt x="4794" y="1358"/>
                </a:lnTo>
                <a:lnTo>
                  <a:pt x="4794" y="1358"/>
                </a:lnTo>
                <a:lnTo>
                  <a:pt x="4794" y="1358"/>
                </a:lnTo>
                <a:lnTo>
                  <a:pt x="4794" y="1358"/>
                </a:lnTo>
                <a:lnTo>
                  <a:pt x="4794" y="1352"/>
                </a:lnTo>
                <a:lnTo>
                  <a:pt x="4794" y="1352"/>
                </a:lnTo>
                <a:lnTo>
                  <a:pt x="4794" y="1352"/>
                </a:lnTo>
                <a:lnTo>
                  <a:pt x="4794" y="1352"/>
                </a:lnTo>
                <a:lnTo>
                  <a:pt x="4794" y="1352"/>
                </a:lnTo>
                <a:lnTo>
                  <a:pt x="4794" y="1352"/>
                </a:lnTo>
                <a:lnTo>
                  <a:pt x="4794" y="1352"/>
                </a:lnTo>
                <a:lnTo>
                  <a:pt x="4794" y="1352"/>
                </a:lnTo>
                <a:lnTo>
                  <a:pt x="4794" y="1352"/>
                </a:lnTo>
                <a:lnTo>
                  <a:pt x="4794" y="1352"/>
                </a:lnTo>
                <a:lnTo>
                  <a:pt x="4794" y="1352"/>
                </a:lnTo>
                <a:lnTo>
                  <a:pt x="4800" y="1352"/>
                </a:lnTo>
                <a:lnTo>
                  <a:pt x="4800" y="1358"/>
                </a:lnTo>
                <a:lnTo>
                  <a:pt x="4800" y="1358"/>
                </a:lnTo>
                <a:lnTo>
                  <a:pt x="4800" y="1358"/>
                </a:lnTo>
                <a:lnTo>
                  <a:pt x="4806" y="1358"/>
                </a:lnTo>
                <a:lnTo>
                  <a:pt x="4806" y="1358"/>
                </a:lnTo>
                <a:lnTo>
                  <a:pt x="4806" y="1358"/>
                </a:lnTo>
                <a:lnTo>
                  <a:pt x="4806" y="1364"/>
                </a:lnTo>
                <a:lnTo>
                  <a:pt x="4806" y="1364"/>
                </a:lnTo>
                <a:lnTo>
                  <a:pt x="4806" y="1358"/>
                </a:lnTo>
                <a:lnTo>
                  <a:pt x="4806" y="1358"/>
                </a:lnTo>
                <a:lnTo>
                  <a:pt x="4812" y="1358"/>
                </a:lnTo>
                <a:lnTo>
                  <a:pt x="4812" y="1358"/>
                </a:lnTo>
                <a:lnTo>
                  <a:pt x="4806" y="1358"/>
                </a:lnTo>
                <a:lnTo>
                  <a:pt x="4806" y="1358"/>
                </a:lnTo>
                <a:lnTo>
                  <a:pt x="4806" y="1364"/>
                </a:lnTo>
                <a:lnTo>
                  <a:pt x="4806" y="1364"/>
                </a:lnTo>
                <a:lnTo>
                  <a:pt x="4812" y="1364"/>
                </a:lnTo>
                <a:lnTo>
                  <a:pt x="4812" y="1364"/>
                </a:lnTo>
                <a:lnTo>
                  <a:pt x="4812" y="1358"/>
                </a:lnTo>
                <a:lnTo>
                  <a:pt x="4812" y="1358"/>
                </a:lnTo>
                <a:lnTo>
                  <a:pt x="4812" y="1358"/>
                </a:lnTo>
                <a:lnTo>
                  <a:pt x="4806" y="1352"/>
                </a:lnTo>
                <a:lnTo>
                  <a:pt x="4806" y="1352"/>
                </a:lnTo>
                <a:lnTo>
                  <a:pt x="4806" y="1346"/>
                </a:lnTo>
                <a:lnTo>
                  <a:pt x="4806" y="1346"/>
                </a:lnTo>
                <a:lnTo>
                  <a:pt x="4812" y="1352"/>
                </a:lnTo>
                <a:lnTo>
                  <a:pt x="4812" y="1352"/>
                </a:lnTo>
                <a:lnTo>
                  <a:pt x="4812" y="1352"/>
                </a:lnTo>
                <a:lnTo>
                  <a:pt x="4812" y="1352"/>
                </a:lnTo>
                <a:lnTo>
                  <a:pt x="4812" y="1352"/>
                </a:lnTo>
                <a:lnTo>
                  <a:pt x="4812" y="1352"/>
                </a:lnTo>
                <a:lnTo>
                  <a:pt x="4812" y="1352"/>
                </a:lnTo>
                <a:lnTo>
                  <a:pt x="4812" y="1346"/>
                </a:lnTo>
                <a:lnTo>
                  <a:pt x="4812" y="1346"/>
                </a:lnTo>
                <a:lnTo>
                  <a:pt x="4812" y="1346"/>
                </a:lnTo>
                <a:lnTo>
                  <a:pt x="4812" y="1346"/>
                </a:lnTo>
                <a:lnTo>
                  <a:pt x="4818" y="1346"/>
                </a:lnTo>
                <a:lnTo>
                  <a:pt x="4818" y="1346"/>
                </a:lnTo>
                <a:lnTo>
                  <a:pt x="4818" y="1346"/>
                </a:lnTo>
                <a:lnTo>
                  <a:pt x="4818" y="1346"/>
                </a:lnTo>
                <a:lnTo>
                  <a:pt x="4818" y="1346"/>
                </a:lnTo>
                <a:lnTo>
                  <a:pt x="4818" y="1346"/>
                </a:lnTo>
                <a:lnTo>
                  <a:pt x="4818" y="1346"/>
                </a:lnTo>
                <a:lnTo>
                  <a:pt x="4818" y="1346"/>
                </a:lnTo>
                <a:lnTo>
                  <a:pt x="4818" y="1340"/>
                </a:lnTo>
                <a:lnTo>
                  <a:pt x="4818" y="1340"/>
                </a:lnTo>
                <a:lnTo>
                  <a:pt x="4818" y="1340"/>
                </a:lnTo>
                <a:lnTo>
                  <a:pt x="4818" y="1340"/>
                </a:lnTo>
                <a:lnTo>
                  <a:pt x="4818" y="1340"/>
                </a:lnTo>
                <a:lnTo>
                  <a:pt x="4818" y="1340"/>
                </a:lnTo>
                <a:lnTo>
                  <a:pt x="4812" y="1334"/>
                </a:lnTo>
                <a:lnTo>
                  <a:pt x="4824" y="1334"/>
                </a:lnTo>
                <a:lnTo>
                  <a:pt x="4824" y="1334"/>
                </a:lnTo>
                <a:lnTo>
                  <a:pt x="4824" y="1334"/>
                </a:lnTo>
                <a:lnTo>
                  <a:pt x="4824" y="1340"/>
                </a:lnTo>
                <a:lnTo>
                  <a:pt x="4824" y="1340"/>
                </a:lnTo>
                <a:lnTo>
                  <a:pt x="4824" y="1346"/>
                </a:lnTo>
                <a:lnTo>
                  <a:pt x="4824" y="1346"/>
                </a:lnTo>
                <a:lnTo>
                  <a:pt x="4830" y="1346"/>
                </a:lnTo>
                <a:lnTo>
                  <a:pt x="4830" y="1346"/>
                </a:lnTo>
                <a:lnTo>
                  <a:pt x="4830" y="1340"/>
                </a:lnTo>
                <a:lnTo>
                  <a:pt x="4830" y="1340"/>
                </a:lnTo>
                <a:lnTo>
                  <a:pt x="4830" y="1340"/>
                </a:lnTo>
                <a:lnTo>
                  <a:pt x="4830" y="1340"/>
                </a:lnTo>
                <a:lnTo>
                  <a:pt x="4830" y="1329"/>
                </a:lnTo>
                <a:lnTo>
                  <a:pt x="4830" y="1329"/>
                </a:lnTo>
                <a:lnTo>
                  <a:pt x="4830" y="1329"/>
                </a:lnTo>
                <a:lnTo>
                  <a:pt x="4830" y="1329"/>
                </a:lnTo>
                <a:lnTo>
                  <a:pt x="4830" y="1329"/>
                </a:lnTo>
                <a:lnTo>
                  <a:pt x="4830" y="1329"/>
                </a:lnTo>
                <a:lnTo>
                  <a:pt x="4830" y="1329"/>
                </a:lnTo>
                <a:lnTo>
                  <a:pt x="4830" y="1329"/>
                </a:lnTo>
                <a:lnTo>
                  <a:pt x="4830" y="1329"/>
                </a:lnTo>
                <a:lnTo>
                  <a:pt x="4830" y="1329"/>
                </a:lnTo>
                <a:lnTo>
                  <a:pt x="4830" y="1329"/>
                </a:lnTo>
                <a:lnTo>
                  <a:pt x="4830" y="1329"/>
                </a:lnTo>
                <a:lnTo>
                  <a:pt x="4830" y="1334"/>
                </a:lnTo>
                <a:lnTo>
                  <a:pt x="4830" y="1334"/>
                </a:lnTo>
                <a:lnTo>
                  <a:pt x="4830" y="1340"/>
                </a:lnTo>
                <a:lnTo>
                  <a:pt x="4830" y="1340"/>
                </a:lnTo>
                <a:lnTo>
                  <a:pt x="4830" y="1340"/>
                </a:lnTo>
                <a:lnTo>
                  <a:pt x="4830" y="1340"/>
                </a:lnTo>
                <a:lnTo>
                  <a:pt x="4835" y="1340"/>
                </a:lnTo>
                <a:lnTo>
                  <a:pt x="4841" y="1334"/>
                </a:lnTo>
                <a:lnTo>
                  <a:pt x="4847" y="1329"/>
                </a:lnTo>
                <a:lnTo>
                  <a:pt x="4847" y="1329"/>
                </a:lnTo>
                <a:lnTo>
                  <a:pt x="4847" y="1329"/>
                </a:lnTo>
                <a:lnTo>
                  <a:pt x="4847" y="1329"/>
                </a:lnTo>
                <a:lnTo>
                  <a:pt x="4847" y="1329"/>
                </a:lnTo>
                <a:lnTo>
                  <a:pt x="4841" y="1323"/>
                </a:lnTo>
                <a:lnTo>
                  <a:pt x="4841" y="1323"/>
                </a:lnTo>
                <a:lnTo>
                  <a:pt x="4841" y="1317"/>
                </a:lnTo>
                <a:lnTo>
                  <a:pt x="4847" y="1317"/>
                </a:lnTo>
                <a:lnTo>
                  <a:pt x="4847" y="1317"/>
                </a:lnTo>
                <a:lnTo>
                  <a:pt x="4847" y="1317"/>
                </a:lnTo>
                <a:lnTo>
                  <a:pt x="4847" y="1317"/>
                </a:lnTo>
                <a:lnTo>
                  <a:pt x="4853" y="1317"/>
                </a:lnTo>
                <a:lnTo>
                  <a:pt x="4853" y="1317"/>
                </a:lnTo>
                <a:lnTo>
                  <a:pt x="4853" y="1317"/>
                </a:lnTo>
                <a:lnTo>
                  <a:pt x="4859" y="1311"/>
                </a:lnTo>
                <a:lnTo>
                  <a:pt x="4859" y="1311"/>
                </a:lnTo>
                <a:lnTo>
                  <a:pt x="4859" y="1311"/>
                </a:lnTo>
                <a:lnTo>
                  <a:pt x="4859" y="1311"/>
                </a:lnTo>
                <a:lnTo>
                  <a:pt x="4859" y="1311"/>
                </a:lnTo>
                <a:lnTo>
                  <a:pt x="4859" y="1317"/>
                </a:lnTo>
                <a:lnTo>
                  <a:pt x="4859" y="1317"/>
                </a:lnTo>
                <a:lnTo>
                  <a:pt x="4859" y="1317"/>
                </a:lnTo>
                <a:lnTo>
                  <a:pt x="4859" y="1317"/>
                </a:lnTo>
                <a:lnTo>
                  <a:pt x="4859" y="1317"/>
                </a:lnTo>
                <a:lnTo>
                  <a:pt x="4853" y="1323"/>
                </a:lnTo>
                <a:lnTo>
                  <a:pt x="4853" y="1323"/>
                </a:lnTo>
                <a:lnTo>
                  <a:pt x="4853" y="1323"/>
                </a:lnTo>
                <a:lnTo>
                  <a:pt x="4853" y="1329"/>
                </a:lnTo>
                <a:lnTo>
                  <a:pt x="4853" y="1329"/>
                </a:lnTo>
                <a:lnTo>
                  <a:pt x="4859" y="1329"/>
                </a:lnTo>
                <a:lnTo>
                  <a:pt x="4865" y="1323"/>
                </a:lnTo>
                <a:lnTo>
                  <a:pt x="4865" y="1317"/>
                </a:lnTo>
                <a:lnTo>
                  <a:pt x="4865" y="1317"/>
                </a:lnTo>
                <a:lnTo>
                  <a:pt x="4865" y="1317"/>
                </a:lnTo>
                <a:lnTo>
                  <a:pt x="4865" y="1311"/>
                </a:lnTo>
                <a:lnTo>
                  <a:pt x="4871" y="1311"/>
                </a:lnTo>
                <a:lnTo>
                  <a:pt x="4871" y="1317"/>
                </a:lnTo>
                <a:lnTo>
                  <a:pt x="4865" y="1317"/>
                </a:lnTo>
                <a:lnTo>
                  <a:pt x="4865" y="1317"/>
                </a:lnTo>
                <a:lnTo>
                  <a:pt x="4865" y="1323"/>
                </a:lnTo>
                <a:lnTo>
                  <a:pt x="4865" y="1323"/>
                </a:lnTo>
                <a:lnTo>
                  <a:pt x="4865" y="1323"/>
                </a:lnTo>
                <a:lnTo>
                  <a:pt x="4865" y="1329"/>
                </a:lnTo>
                <a:lnTo>
                  <a:pt x="4871" y="1329"/>
                </a:lnTo>
                <a:lnTo>
                  <a:pt x="4871" y="1329"/>
                </a:lnTo>
                <a:lnTo>
                  <a:pt x="4865" y="1329"/>
                </a:lnTo>
                <a:lnTo>
                  <a:pt x="4859" y="1329"/>
                </a:lnTo>
                <a:lnTo>
                  <a:pt x="4859" y="1329"/>
                </a:lnTo>
                <a:lnTo>
                  <a:pt x="4859" y="1329"/>
                </a:lnTo>
                <a:lnTo>
                  <a:pt x="4859" y="1329"/>
                </a:lnTo>
                <a:lnTo>
                  <a:pt x="4859" y="1329"/>
                </a:lnTo>
                <a:lnTo>
                  <a:pt x="4853" y="1329"/>
                </a:lnTo>
                <a:lnTo>
                  <a:pt x="4853" y="1334"/>
                </a:lnTo>
                <a:lnTo>
                  <a:pt x="4847" y="1334"/>
                </a:lnTo>
                <a:lnTo>
                  <a:pt x="4853" y="1340"/>
                </a:lnTo>
                <a:lnTo>
                  <a:pt x="4853" y="1340"/>
                </a:lnTo>
                <a:lnTo>
                  <a:pt x="4865" y="1340"/>
                </a:lnTo>
                <a:lnTo>
                  <a:pt x="4865" y="1340"/>
                </a:lnTo>
                <a:lnTo>
                  <a:pt x="4865" y="1340"/>
                </a:lnTo>
                <a:lnTo>
                  <a:pt x="4871" y="1340"/>
                </a:lnTo>
                <a:lnTo>
                  <a:pt x="4865" y="1340"/>
                </a:lnTo>
                <a:lnTo>
                  <a:pt x="4865" y="1340"/>
                </a:lnTo>
                <a:lnTo>
                  <a:pt x="4859" y="1340"/>
                </a:lnTo>
                <a:lnTo>
                  <a:pt x="4853" y="1340"/>
                </a:lnTo>
                <a:lnTo>
                  <a:pt x="4853" y="1340"/>
                </a:lnTo>
                <a:lnTo>
                  <a:pt x="4847" y="1340"/>
                </a:lnTo>
                <a:lnTo>
                  <a:pt x="4847" y="1340"/>
                </a:lnTo>
                <a:lnTo>
                  <a:pt x="4841" y="1340"/>
                </a:lnTo>
                <a:lnTo>
                  <a:pt x="4841" y="1340"/>
                </a:lnTo>
                <a:lnTo>
                  <a:pt x="4841" y="1340"/>
                </a:lnTo>
                <a:lnTo>
                  <a:pt x="4841" y="1340"/>
                </a:lnTo>
                <a:lnTo>
                  <a:pt x="4841" y="1340"/>
                </a:lnTo>
                <a:lnTo>
                  <a:pt x="4841" y="1346"/>
                </a:lnTo>
                <a:lnTo>
                  <a:pt x="4841" y="1346"/>
                </a:lnTo>
                <a:lnTo>
                  <a:pt x="4841" y="1346"/>
                </a:lnTo>
                <a:lnTo>
                  <a:pt x="4841" y="1346"/>
                </a:lnTo>
                <a:lnTo>
                  <a:pt x="4841" y="1346"/>
                </a:lnTo>
                <a:lnTo>
                  <a:pt x="4841" y="1346"/>
                </a:lnTo>
                <a:lnTo>
                  <a:pt x="4835" y="1346"/>
                </a:lnTo>
                <a:lnTo>
                  <a:pt x="4835" y="1346"/>
                </a:lnTo>
                <a:lnTo>
                  <a:pt x="4835" y="1346"/>
                </a:lnTo>
                <a:lnTo>
                  <a:pt x="4835" y="1346"/>
                </a:lnTo>
                <a:lnTo>
                  <a:pt x="4835" y="1352"/>
                </a:lnTo>
                <a:lnTo>
                  <a:pt x="4830" y="1352"/>
                </a:lnTo>
                <a:lnTo>
                  <a:pt x="4830" y="1352"/>
                </a:lnTo>
                <a:lnTo>
                  <a:pt x="4830" y="1358"/>
                </a:lnTo>
                <a:lnTo>
                  <a:pt x="4830" y="1364"/>
                </a:lnTo>
                <a:lnTo>
                  <a:pt x="4830" y="1364"/>
                </a:lnTo>
                <a:lnTo>
                  <a:pt x="4824" y="1364"/>
                </a:lnTo>
                <a:lnTo>
                  <a:pt x="4824" y="1364"/>
                </a:lnTo>
                <a:lnTo>
                  <a:pt x="4824" y="1370"/>
                </a:lnTo>
                <a:lnTo>
                  <a:pt x="4830" y="1370"/>
                </a:lnTo>
                <a:lnTo>
                  <a:pt x="4830" y="1370"/>
                </a:lnTo>
                <a:lnTo>
                  <a:pt x="4830" y="1370"/>
                </a:lnTo>
                <a:lnTo>
                  <a:pt x="4830" y="1370"/>
                </a:lnTo>
                <a:lnTo>
                  <a:pt x="4830" y="1376"/>
                </a:lnTo>
                <a:lnTo>
                  <a:pt x="4830" y="1382"/>
                </a:lnTo>
                <a:lnTo>
                  <a:pt x="4830" y="1382"/>
                </a:lnTo>
                <a:lnTo>
                  <a:pt x="4830" y="1382"/>
                </a:lnTo>
                <a:lnTo>
                  <a:pt x="4830" y="1382"/>
                </a:lnTo>
                <a:lnTo>
                  <a:pt x="4830" y="1388"/>
                </a:lnTo>
                <a:lnTo>
                  <a:pt x="4830" y="1388"/>
                </a:lnTo>
                <a:lnTo>
                  <a:pt x="4835" y="1388"/>
                </a:lnTo>
                <a:lnTo>
                  <a:pt x="4835" y="1388"/>
                </a:lnTo>
                <a:lnTo>
                  <a:pt x="4835" y="1382"/>
                </a:lnTo>
                <a:lnTo>
                  <a:pt x="4830" y="1382"/>
                </a:lnTo>
                <a:lnTo>
                  <a:pt x="4830" y="1382"/>
                </a:lnTo>
                <a:lnTo>
                  <a:pt x="4830" y="1382"/>
                </a:lnTo>
                <a:lnTo>
                  <a:pt x="4835" y="1376"/>
                </a:lnTo>
                <a:lnTo>
                  <a:pt x="4835" y="1376"/>
                </a:lnTo>
                <a:lnTo>
                  <a:pt x="4835" y="1376"/>
                </a:lnTo>
                <a:lnTo>
                  <a:pt x="4835" y="1370"/>
                </a:lnTo>
                <a:lnTo>
                  <a:pt x="4841" y="1370"/>
                </a:lnTo>
                <a:lnTo>
                  <a:pt x="4841" y="1370"/>
                </a:lnTo>
                <a:lnTo>
                  <a:pt x="4835" y="1370"/>
                </a:lnTo>
                <a:lnTo>
                  <a:pt x="4841" y="1370"/>
                </a:lnTo>
                <a:lnTo>
                  <a:pt x="4841" y="1370"/>
                </a:lnTo>
                <a:lnTo>
                  <a:pt x="4841" y="1370"/>
                </a:lnTo>
                <a:lnTo>
                  <a:pt x="4841" y="1370"/>
                </a:lnTo>
                <a:lnTo>
                  <a:pt x="4847" y="1370"/>
                </a:lnTo>
                <a:lnTo>
                  <a:pt x="4847" y="1370"/>
                </a:lnTo>
                <a:lnTo>
                  <a:pt x="4847" y="1370"/>
                </a:lnTo>
                <a:lnTo>
                  <a:pt x="4847" y="1370"/>
                </a:lnTo>
                <a:lnTo>
                  <a:pt x="4847" y="1370"/>
                </a:lnTo>
                <a:lnTo>
                  <a:pt x="4841" y="1376"/>
                </a:lnTo>
                <a:lnTo>
                  <a:pt x="4841" y="1376"/>
                </a:lnTo>
                <a:lnTo>
                  <a:pt x="4841" y="1376"/>
                </a:lnTo>
                <a:lnTo>
                  <a:pt x="4841" y="1382"/>
                </a:lnTo>
                <a:lnTo>
                  <a:pt x="4841" y="1382"/>
                </a:lnTo>
                <a:lnTo>
                  <a:pt x="4835" y="1382"/>
                </a:lnTo>
                <a:lnTo>
                  <a:pt x="4835" y="1382"/>
                </a:lnTo>
                <a:lnTo>
                  <a:pt x="4835" y="1382"/>
                </a:lnTo>
                <a:lnTo>
                  <a:pt x="4835" y="1382"/>
                </a:lnTo>
                <a:lnTo>
                  <a:pt x="4835" y="1382"/>
                </a:lnTo>
                <a:lnTo>
                  <a:pt x="4841" y="1382"/>
                </a:lnTo>
                <a:lnTo>
                  <a:pt x="4835" y="1388"/>
                </a:lnTo>
                <a:lnTo>
                  <a:pt x="4835" y="1388"/>
                </a:lnTo>
                <a:lnTo>
                  <a:pt x="4835" y="1388"/>
                </a:lnTo>
                <a:lnTo>
                  <a:pt x="4835" y="1388"/>
                </a:lnTo>
                <a:lnTo>
                  <a:pt x="4830" y="1394"/>
                </a:lnTo>
                <a:lnTo>
                  <a:pt x="4830" y="1388"/>
                </a:lnTo>
                <a:lnTo>
                  <a:pt x="4824" y="1388"/>
                </a:lnTo>
                <a:lnTo>
                  <a:pt x="4824" y="1388"/>
                </a:lnTo>
                <a:lnTo>
                  <a:pt x="4824" y="1388"/>
                </a:lnTo>
                <a:lnTo>
                  <a:pt x="4824" y="1382"/>
                </a:lnTo>
                <a:lnTo>
                  <a:pt x="4824" y="1382"/>
                </a:lnTo>
                <a:lnTo>
                  <a:pt x="4824" y="1382"/>
                </a:lnTo>
                <a:lnTo>
                  <a:pt x="4824" y="1382"/>
                </a:lnTo>
                <a:lnTo>
                  <a:pt x="4824" y="1382"/>
                </a:lnTo>
                <a:lnTo>
                  <a:pt x="4824" y="1388"/>
                </a:lnTo>
                <a:lnTo>
                  <a:pt x="4818" y="1388"/>
                </a:lnTo>
                <a:lnTo>
                  <a:pt x="4818" y="1388"/>
                </a:lnTo>
                <a:lnTo>
                  <a:pt x="4818" y="1388"/>
                </a:lnTo>
                <a:lnTo>
                  <a:pt x="4818" y="1394"/>
                </a:lnTo>
                <a:lnTo>
                  <a:pt x="4818" y="1394"/>
                </a:lnTo>
                <a:lnTo>
                  <a:pt x="4818" y="1400"/>
                </a:lnTo>
                <a:lnTo>
                  <a:pt x="4818" y="1400"/>
                </a:lnTo>
                <a:lnTo>
                  <a:pt x="4818" y="1406"/>
                </a:lnTo>
                <a:lnTo>
                  <a:pt x="4818" y="1406"/>
                </a:lnTo>
                <a:lnTo>
                  <a:pt x="4818" y="1406"/>
                </a:lnTo>
                <a:lnTo>
                  <a:pt x="4818" y="1406"/>
                </a:lnTo>
                <a:lnTo>
                  <a:pt x="4824" y="1406"/>
                </a:lnTo>
                <a:lnTo>
                  <a:pt x="4818" y="1400"/>
                </a:lnTo>
                <a:lnTo>
                  <a:pt x="4818" y="1400"/>
                </a:lnTo>
                <a:lnTo>
                  <a:pt x="4818" y="1400"/>
                </a:lnTo>
                <a:lnTo>
                  <a:pt x="4818" y="1400"/>
                </a:lnTo>
                <a:lnTo>
                  <a:pt x="4818" y="1400"/>
                </a:lnTo>
                <a:lnTo>
                  <a:pt x="4818" y="1400"/>
                </a:lnTo>
                <a:lnTo>
                  <a:pt x="4824" y="1400"/>
                </a:lnTo>
                <a:lnTo>
                  <a:pt x="4824" y="1400"/>
                </a:lnTo>
                <a:lnTo>
                  <a:pt x="4824" y="1400"/>
                </a:lnTo>
                <a:lnTo>
                  <a:pt x="4824" y="1400"/>
                </a:lnTo>
                <a:lnTo>
                  <a:pt x="4824" y="1400"/>
                </a:lnTo>
                <a:lnTo>
                  <a:pt x="4824" y="1400"/>
                </a:lnTo>
                <a:lnTo>
                  <a:pt x="4830" y="1394"/>
                </a:lnTo>
                <a:lnTo>
                  <a:pt x="4830" y="1394"/>
                </a:lnTo>
                <a:lnTo>
                  <a:pt x="4830" y="1394"/>
                </a:lnTo>
                <a:lnTo>
                  <a:pt x="4830" y="1394"/>
                </a:lnTo>
                <a:lnTo>
                  <a:pt x="4830" y="1394"/>
                </a:lnTo>
                <a:lnTo>
                  <a:pt x="4830" y="1394"/>
                </a:lnTo>
                <a:lnTo>
                  <a:pt x="4830" y="1394"/>
                </a:lnTo>
                <a:lnTo>
                  <a:pt x="4830" y="1394"/>
                </a:lnTo>
                <a:lnTo>
                  <a:pt x="4830" y="1394"/>
                </a:lnTo>
                <a:lnTo>
                  <a:pt x="4835" y="1394"/>
                </a:lnTo>
                <a:lnTo>
                  <a:pt x="4835" y="1394"/>
                </a:lnTo>
                <a:lnTo>
                  <a:pt x="4835" y="1400"/>
                </a:lnTo>
                <a:lnTo>
                  <a:pt x="4835" y="1400"/>
                </a:lnTo>
                <a:lnTo>
                  <a:pt x="4835" y="1400"/>
                </a:lnTo>
                <a:lnTo>
                  <a:pt x="4835" y="1400"/>
                </a:lnTo>
                <a:lnTo>
                  <a:pt x="4835" y="1406"/>
                </a:lnTo>
                <a:lnTo>
                  <a:pt x="4835" y="1400"/>
                </a:lnTo>
                <a:lnTo>
                  <a:pt x="4835" y="1400"/>
                </a:lnTo>
                <a:lnTo>
                  <a:pt x="4835" y="1400"/>
                </a:lnTo>
                <a:lnTo>
                  <a:pt x="4835" y="1400"/>
                </a:lnTo>
                <a:lnTo>
                  <a:pt x="4835" y="1400"/>
                </a:lnTo>
                <a:lnTo>
                  <a:pt x="4835" y="1400"/>
                </a:lnTo>
                <a:lnTo>
                  <a:pt x="4835" y="1400"/>
                </a:lnTo>
                <a:lnTo>
                  <a:pt x="4835" y="1400"/>
                </a:lnTo>
                <a:lnTo>
                  <a:pt x="4841" y="1400"/>
                </a:lnTo>
                <a:lnTo>
                  <a:pt x="4841" y="1400"/>
                </a:lnTo>
                <a:lnTo>
                  <a:pt x="4835" y="1400"/>
                </a:lnTo>
                <a:lnTo>
                  <a:pt x="4841" y="1400"/>
                </a:lnTo>
                <a:lnTo>
                  <a:pt x="4841" y="1406"/>
                </a:lnTo>
                <a:lnTo>
                  <a:pt x="4841" y="1406"/>
                </a:lnTo>
                <a:lnTo>
                  <a:pt x="4841" y="1406"/>
                </a:lnTo>
                <a:lnTo>
                  <a:pt x="4835" y="1406"/>
                </a:lnTo>
                <a:lnTo>
                  <a:pt x="4835" y="1406"/>
                </a:lnTo>
                <a:lnTo>
                  <a:pt x="4835" y="1406"/>
                </a:lnTo>
                <a:lnTo>
                  <a:pt x="4835" y="1412"/>
                </a:lnTo>
                <a:lnTo>
                  <a:pt x="4835" y="1418"/>
                </a:lnTo>
                <a:lnTo>
                  <a:pt x="4835" y="1418"/>
                </a:lnTo>
                <a:lnTo>
                  <a:pt x="4841" y="1418"/>
                </a:lnTo>
                <a:lnTo>
                  <a:pt x="4841" y="1412"/>
                </a:lnTo>
                <a:lnTo>
                  <a:pt x="4841" y="1412"/>
                </a:lnTo>
                <a:lnTo>
                  <a:pt x="4841" y="1412"/>
                </a:lnTo>
                <a:lnTo>
                  <a:pt x="4841" y="1412"/>
                </a:lnTo>
                <a:lnTo>
                  <a:pt x="4841" y="1412"/>
                </a:lnTo>
                <a:lnTo>
                  <a:pt x="4841" y="1412"/>
                </a:lnTo>
                <a:lnTo>
                  <a:pt x="4841" y="1418"/>
                </a:lnTo>
                <a:lnTo>
                  <a:pt x="4841" y="1418"/>
                </a:lnTo>
                <a:lnTo>
                  <a:pt x="4841" y="1418"/>
                </a:lnTo>
                <a:lnTo>
                  <a:pt x="4835" y="1418"/>
                </a:lnTo>
                <a:lnTo>
                  <a:pt x="4835" y="1418"/>
                </a:lnTo>
                <a:lnTo>
                  <a:pt x="4835" y="1418"/>
                </a:lnTo>
                <a:lnTo>
                  <a:pt x="4835" y="1418"/>
                </a:lnTo>
                <a:lnTo>
                  <a:pt x="4830" y="1418"/>
                </a:lnTo>
                <a:lnTo>
                  <a:pt x="4830" y="1412"/>
                </a:lnTo>
                <a:lnTo>
                  <a:pt x="4830" y="1412"/>
                </a:lnTo>
                <a:lnTo>
                  <a:pt x="4830" y="1412"/>
                </a:lnTo>
                <a:lnTo>
                  <a:pt x="4830" y="1412"/>
                </a:lnTo>
                <a:lnTo>
                  <a:pt x="4830" y="1412"/>
                </a:lnTo>
                <a:lnTo>
                  <a:pt x="4830" y="1406"/>
                </a:lnTo>
                <a:lnTo>
                  <a:pt x="4830" y="1406"/>
                </a:lnTo>
                <a:lnTo>
                  <a:pt x="4830" y="1406"/>
                </a:lnTo>
                <a:lnTo>
                  <a:pt x="4824" y="1406"/>
                </a:lnTo>
                <a:lnTo>
                  <a:pt x="4824" y="1406"/>
                </a:lnTo>
                <a:lnTo>
                  <a:pt x="4824" y="1412"/>
                </a:lnTo>
                <a:lnTo>
                  <a:pt x="4824" y="1412"/>
                </a:lnTo>
                <a:lnTo>
                  <a:pt x="4824" y="1412"/>
                </a:lnTo>
                <a:lnTo>
                  <a:pt x="4824" y="1412"/>
                </a:lnTo>
                <a:lnTo>
                  <a:pt x="4824" y="1418"/>
                </a:lnTo>
                <a:lnTo>
                  <a:pt x="4818" y="1418"/>
                </a:lnTo>
                <a:lnTo>
                  <a:pt x="4818" y="1423"/>
                </a:lnTo>
                <a:lnTo>
                  <a:pt x="4818" y="1423"/>
                </a:lnTo>
                <a:lnTo>
                  <a:pt x="4818" y="1423"/>
                </a:lnTo>
                <a:lnTo>
                  <a:pt x="4818" y="1429"/>
                </a:lnTo>
                <a:lnTo>
                  <a:pt x="4818" y="1429"/>
                </a:lnTo>
                <a:lnTo>
                  <a:pt x="4818" y="1429"/>
                </a:lnTo>
                <a:lnTo>
                  <a:pt x="4818" y="1429"/>
                </a:lnTo>
                <a:lnTo>
                  <a:pt x="4818" y="1429"/>
                </a:lnTo>
                <a:lnTo>
                  <a:pt x="4824" y="1429"/>
                </a:lnTo>
                <a:lnTo>
                  <a:pt x="4824" y="1429"/>
                </a:lnTo>
                <a:lnTo>
                  <a:pt x="4824" y="1429"/>
                </a:lnTo>
                <a:lnTo>
                  <a:pt x="4824" y="1423"/>
                </a:lnTo>
                <a:lnTo>
                  <a:pt x="4824" y="1423"/>
                </a:lnTo>
                <a:lnTo>
                  <a:pt x="4824" y="1423"/>
                </a:lnTo>
                <a:lnTo>
                  <a:pt x="4824" y="1423"/>
                </a:lnTo>
                <a:lnTo>
                  <a:pt x="4824" y="1418"/>
                </a:lnTo>
                <a:lnTo>
                  <a:pt x="4824" y="1418"/>
                </a:lnTo>
                <a:lnTo>
                  <a:pt x="4824" y="1418"/>
                </a:lnTo>
                <a:lnTo>
                  <a:pt x="4824" y="1418"/>
                </a:lnTo>
                <a:lnTo>
                  <a:pt x="4824" y="1418"/>
                </a:lnTo>
                <a:lnTo>
                  <a:pt x="4824" y="1418"/>
                </a:lnTo>
                <a:lnTo>
                  <a:pt x="4824" y="1418"/>
                </a:lnTo>
                <a:lnTo>
                  <a:pt x="4824" y="1423"/>
                </a:lnTo>
                <a:lnTo>
                  <a:pt x="4824" y="1423"/>
                </a:lnTo>
                <a:lnTo>
                  <a:pt x="4830" y="1423"/>
                </a:lnTo>
                <a:lnTo>
                  <a:pt x="4830" y="1418"/>
                </a:lnTo>
                <a:lnTo>
                  <a:pt x="4830" y="1418"/>
                </a:lnTo>
                <a:lnTo>
                  <a:pt x="4830" y="1418"/>
                </a:lnTo>
                <a:lnTo>
                  <a:pt x="4830" y="1423"/>
                </a:lnTo>
                <a:lnTo>
                  <a:pt x="4835" y="1423"/>
                </a:lnTo>
                <a:lnTo>
                  <a:pt x="4835" y="1423"/>
                </a:lnTo>
                <a:lnTo>
                  <a:pt x="4830" y="1423"/>
                </a:lnTo>
                <a:lnTo>
                  <a:pt x="4830" y="1423"/>
                </a:lnTo>
                <a:lnTo>
                  <a:pt x="4830" y="1423"/>
                </a:lnTo>
                <a:lnTo>
                  <a:pt x="4830" y="1423"/>
                </a:lnTo>
                <a:lnTo>
                  <a:pt x="4830" y="1429"/>
                </a:lnTo>
                <a:lnTo>
                  <a:pt x="4835" y="1429"/>
                </a:lnTo>
                <a:lnTo>
                  <a:pt x="4835" y="1429"/>
                </a:lnTo>
                <a:lnTo>
                  <a:pt x="4835" y="1429"/>
                </a:lnTo>
                <a:lnTo>
                  <a:pt x="4835" y="1423"/>
                </a:lnTo>
                <a:lnTo>
                  <a:pt x="4835" y="1423"/>
                </a:lnTo>
                <a:lnTo>
                  <a:pt x="4835" y="1423"/>
                </a:lnTo>
                <a:lnTo>
                  <a:pt x="4835" y="1423"/>
                </a:lnTo>
                <a:lnTo>
                  <a:pt x="4835" y="1423"/>
                </a:lnTo>
                <a:lnTo>
                  <a:pt x="4835" y="1423"/>
                </a:lnTo>
                <a:lnTo>
                  <a:pt x="4835" y="1423"/>
                </a:lnTo>
                <a:lnTo>
                  <a:pt x="4835" y="1423"/>
                </a:lnTo>
                <a:lnTo>
                  <a:pt x="4835" y="1423"/>
                </a:lnTo>
                <a:lnTo>
                  <a:pt x="4835" y="1423"/>
                </a:lnTo>
                <a:lnTo>
                  <a:pt x="4835" y="1429"/>
                </a:lnTo>
                <a:lnTo>
                  <a:pt x="4835" y="1429"/>
                </a:lnTo>
                <a:lnTo>
                  <a:pt x="4835" y="1429"/>
                </a:lnTo>
                <a:lnTo>
                  <a:pt x="4841" y="1429"/>
                </a:lnTo>
                <a:lnTo>
                  <a:pt x="4841" y="1429"/>
                </a:lnTo>
                <a:lnTo>
                  <a:pt x="4841" y="1429"/>
                </a:lnTo>
                <a:lnTo>
                  <a:pt x="4841" y="1429"/>
                </a:lnTo>
                <a:lnTo>
                  <a:pt x="4841" y="1429"/>
                </a:lnTo>
                <a:lnTo>
                  <a:pt x="4841" y="1429"/>
                </a:lnTo>
                <a:lnTo>
                  <a:pt x="4841" y="1429"/>
                </a:lnTo>
                <a:lnTo>
                  <a:pt x="4841" y="1429"/>
                </a:lnTo>
                <a:lnTo>
                  <a:pt x="4841" y="1429"/>
                </a:lnTo>
                <a:lnTo>
                  <a:pt x="4841" y="1429"/>
                </a:lnTo>
                <a:lnTo>
                  <a:pt x="4835" y="1429"/>
                </a:lnTo>
                <a:lnTo>
                  <a:pt x="4835" y="1429"/>
                </a:lnTo>
                <a:lnTo>
                  <a:pt x="4841" y="1435"/>
                </a:lnTo>
                <a:lnTo>
                  <a:pt x="4841" y="1435"/>
                </a:lnTo>
                <a:lnTo>
                  <a:pt x="4841" y="1429"/>
                </a:lnTo>
                <a:lnTo>
                  <a:pt x="4841" y="1429"/>
                </a:lnTo>
                <a:lnTo>
                  <a:pt x="4841" y="1435"/>
                </a:lnTo>
                <a:lnTo>
                  <a:pt x="4847" y="1435"/>
                </a:lnTo>
                <a:lnTo>
                  <a:pt x="4847" y="1435"/>
                </a:lnTo>
                <a:lnTo>
                  <a:pt x="4847" y="1441"/>
                </a:lnTo>
                <a:lnTo>
                  <a:pt x="4853" y="1441"/>
                </a:lnTo>
                <a:lnTo>
                  <a:pt x="4853" y="1441"/>
                </a:lnTo>
                <a:lnTo>
                  <a:pt x="4853" y="1441"/>
                </a:lnTo>
                <a:lnTo>
                  <a:pt x="4853" y="1435"/>
                </a:lnTo>
                <a:lnTo>
                  <a:pt x="4853" y="1435"/>
                </a:lnTo>
                <a:lnTo>
                  <a:pt x="4859" y="1429"/>
                </a:lnTo>
                <a:lnTo>
                  <a:pt x="4859" y="1429"/>
                </a:lnTo>
                <a:lnTo>
                  <a:pt x="4859" y="1429"/>
                </a:lnTo>
                <a:lnTo>
                  <a:pt x="4859" y="1429"/>
                </a:lnTo>
                <a:lnTo>
                  <a:pt x="4859" y="1435"/>
                </a:lnTo>
                <a:lnTo>
                  <a:pt x="4859" y="1435"/>
                </a:lnTo>
                <a:lnTo>
                  <a:pt x="4853" y="1435"/>
                </a:lnTo>
                <a:lnTo>
                  <a:pt x="4853" y="1441"/>
                </a:lnTo>
                <a:lnTo>
                  <a:pt x="4853" y="1441"/>
                </a:lnTo>
                <a:lnTo>
                  <a:pt x="4853" y="1441"/>
                </a:lnTo>
                <a:lnTo>
                  <a:pt x="4853" y="1441"/>
                </a:lnTo>
                <a:lnTo>
                  <a:pt x="4853" y="1441"/>
                </a:lnTo>
                <a:lnTo>
                  <a:pt x="4847" y="1441"/>
                </a:lnTo>
                <a:lnTo>
                  <a:pt x="4847" y="1441"/>
                </a:lnTo>
                <a:lnTo>
                  <a:pt x="4841" y="1441"/>
                </a:lnTo>
                <a:lnTo>
                  <a:pt x="4841" y="1441"/>
                </a:lnTo>
                <a:lnTo>
                  <a:pt x="4841" y="1435"/>
                </a:lnTo>
                <a:lnTo>
                  <a:pt x="4841" y="1435"/>
                </a:lnTo>
                <a:lnTo>
                  <a:pt x="4835" y="1441"/>
                </a:lnTo>
                <a:lnTo>
                  <a:pt x="4835" y="1435"/>
                </a:lnTo>
                <a:lnTo>
                  <a:pt x="4835" y="1435"/>
                </a:lnTo>
                <a:lnTo>
                  <a:pt x="4835" y="1435"/>
                </a:lnTo>
                <a:lnTo>
                  <a:pt x="4835" y="1435"/>
                </a:lnTo>
                <a:lnTo>
                  <a:pt x="4835" y="1435"/>
                </a:lnTo>
                <a:lnTo>
                  <a:pt x="4835" y="1435"/>
                </a:lnTo>
                <a:lnTo>
                  <a:pt x="4830" y="1435"/>
                </a:lnTo>
                <a:lnTo>
                  <a:pt x="4830" y="1435"/>
                </a:lnTo>
                <a:lnTo>
                  <a:pt x="4824" y="1435"/>
                </a:lnTo>
                <a:lnTo>
                  <a:pt x="4824" y="1435"/>
                </a:lnTo>
                <a:lnTo>
                  <a:pt x="4830" y="1435"/>
                </a:lnTo>
                <a:lnTo>
                  <a:pt x="4830" y="1435"/>
                </a:lnTo>
                <a:lnTo>
                  <a:pt x="4830" y="1441"/>
                </a:lnTo>
                <a:lnTo>
                  <a:pt x="4830" y="1441"/>
                </a:lnTo>
                <a:lnTo>
                  <a:pt x="4830" y="1441"/>
                </a:lnTo>
                <a:lnTo>
                  <a:pt x="4824" y="1441"/>
                </a:lnTo>
                <a:lnTo>
                  <a:pt x="4824" y="1441"/>
                </a:lnTo>
                <a:lnTo>
                  <a:pt x="4824" y="1441"/>
                </a:lnTo>
                <a:lnTo>
                  <a:pt x="4824" y="1447"/>
                </a:lnTo>
                <a:lnTo>
                  <a:pt x="4830" y="1447"/>
                </a:lnTo>
                <a:lnTo>
                  <a:pt x="4830" y="1441"/>
                </a:lnTo>
                <a:lnTo>
                  <a:pt x="4830" y="1441"/>
                </a:lnTo>
                <a:lnTo>
                  <a:pt x="4830" y="1441"/>
                </a:lnTo>
                <a:lnTo>
                  <a:pt x="4830" y="1441"/>
                </a:lnTo>
                <a:lnTo>
                  <a:pt x="4830" y="1441"/>
                </a:lnTo>
                <a:lnTo>
                  <a:pt x="4830" y="1441"/>
                </a:lnTo>
                <a:lnTo>
                  <a:pt x="4835" y="1441"/>
                </a:lnTo>
                <a:lnTo>
                  <a:pt x="4835" y="1441"/>
                </a:lnTo>
                <a:lnTo>
                  <a:pt x="4835" y="1441"/>
                </a:lnTo>
                <a:lnTo>
                  <a:pt x="4835" y="1441"/>
                </a:lnTo>
                <a:lnTo>
                  <a:pt x="4835" y="1441"/>
                </a:lnTo>
                <a:lnTo>
                  <a:pt x="4835" y="1441"/>
                </a:lnTo>
                <a:lnTo>
                  <a:pt x="4835" y="1441"/>
                </a:lnTo>
                <a:lnTo>
                  <a:pt x="4835" y="1441"/>
                </a:lnTo>
                <a:lnTo>
                  <a:pt x="4835" y="1441"/>
                </a:lnTo>
                <a:lnTo>
                  <a:pt x="4835" y="1447"/>
                </a:lnTo>
                <a:lnTo>
                  <a:pt x="4835" y="1447"/>
                </a:lnTo>
                <a:lnTo>
                  <a:pt x="4835" y="1447"/>
                </a:lnTo>
                <a:lnTo>
                  <a:pt x="4835" y="1447"/>
                </a:lnTo>
                <a:lnTo>
                  <a:pt x="4835" y="1447"/>
                </a:lnTo>
                <a:lnTo>
                  <a:pt x="4835" y="1447"/>
                </a:lnTo>
                <a:lnTo>
                  <a:pt x="4830" y="1447"/>
                </a:lnTo>
                <a:lnTo>
                  <a:pt x="4830" y="1447"/>
                </a:lnTo>
                <a:lnTo>
                  <a:pt x="4830" y="1453"/>
                </a:lnTo>
                <a:lnTo>
                  <a:pt x="4830" y="1453"/>
                </a:lnTo>
                <a:lnTo>
                  <a:pt x="4830" y="1453"/>
                </a:lnTo>
                <a:lnTo>
                  <a:pt x="4830" y="1453"/>
                </a:lnTo>
                <a:lnTo>
                  <a:pt x="4830" y="1459"/>
                </a:lnTo>
                <a:lnTo>
                  <a:pt x="4824" y="1453"/>
                </a:lnTo>
                <a:lnTo>
                  <a:pt x="4824" y="1453"/>
                </a:lnTo>
                <a:lnTo>
                  <a:pt x="4824" y="1453"/>
                </a:lnTo>
                <a:lnTo>
                  <a:pt x="4824" y="1453"/>
                </a:lnTo>
                <a:lnTo>
                  <a:pt x="4824" y="1453"/>
                </a:lnTo>
                <a:lnTo>
                  <a:pt x="4824" y="1453"/>
                </a:lnTo>
                <a:lnTo>
                  <a:pt x="4824" y="1453"/>
                </a:lnTo>
                <a:lnTo>
                  <a:pt x="4824" y="1453"/>
                </a:lnTo>
                <a:lnTo>
                  <a:pt x="4824" y="1453"/>
                </a:lnTo>
                <a:lnTo>
                  <a:pt x="4824" y="1459"/>
                </a:lnTo>
                <a:lnTo>
                  <a:pt x="4824" y="1459"/>
                </a:lnTo>
                <a:lnTo>
                  <a:pt x="4824" y="1459"/>
                </a:lnTo>
                <a:lnTo>
                  <a:pt x="4824" y="1459"/>
                </a:lnTo>
                <a:lnTo>
                  <a:pt x="4824" y="1459"/>
                </a:lnTo>
                <a:lnTo>
                  <a:pt x="4824" y="1459"/>
                </a:lnTo>
                <a:lnTo>
                  <a:pt x="4824" y="1465"/>
                </a:lnTo>
                <a:lnTo>
                  <a:pt x="4824" y="1465"/>
                </a:lnTo>
                <a:lnTo>
                  <a:pt x="4830" y="1471"/>
                </a:lnTo>
                <a:lnTo>
                  <a:pt x="4830" y="1471"/>
                </a:lnTo>
                <a:lnTo>
                  <a:pt x="4830" y="1471"/>
                </a:lnTo>
                <a:lnTo>
                  <a:pt x="4830" y="1477"/>
                </a:lnTo>
                <a:lnTo>
                  <a:pt x="4830" y="1477"/>
                </a:lnTo>
                <a:lnTo>
                  <a:pt x="4835" y="1471"/>
                </a:lnTo>
                <a:lnTo>
                  <a:pt x="4830" y="1465"/>
                </a:lnTo>
                <a:lnTo>
                  <a:pt x="4830" y="1465"/>
                </a:lnTo>
                <a:lnTo>
                  <a:pt x="4835" y="1465"/>
                </a:lnTo>
                <a:lnTo>
                  <a:pt x="4835" y="1465"/>
                </a:lnTo>
                <a:lnTo>
                  <a:pt x="4841" y="1477"/>
                </a:lnTo>
                <a:lnTo>
                  <a:pt x="4841" y="1477"/>
                </a:lnTo>
                <a:lnTo>
                  <a:pt x="4841" y="1477"/>
                </a:lnTo>
                <a:lnTo>
                  <a:pt x="4841" y="1477"/>
                </a:lnTo>
                <a:lnTo>
                  <a:pt x="4841" y="1477"/>
                </a:lnTo>
                <a:lnTo>
                  <a:pt x="4847" y="1477"/>
                </a:lnTo>
                <a:lnTo>
                  <a:pt x="4847" y="1483"/>
                </a:lnTo>
                <a:lnTo>
                  <a:pt x="4847" y="1483"/>
                </a:lnTo>
                <a:lnTo>
                  <a:pt x="4847" y="1489"/>
                </a:lnTo>
                <a:lnTo>
                  <a:pt x="4853" y="1483"/>
                </a:lnTo>
                <a:lnTo>
                  <a:pt x="4853" y="1483"/>
                </a:lnTo>
                <a:lnTo>
                  <a:pt x="4853" y="1483"/>
                </a:lnTo>
                <a:lnTo>
                  <a:pt x="4853" y="1477"/>
                </a:lnTo>
                <a:lnTo>
                  <a:pt x="4853" y="1477"/>
                </a:lnTo>
                <a:lnTo>
                  <a:pt x="4853" y="1477"/>
                </a:lnTo>
                <a:lnTo>
                  <a:pt x="4853" y="1477"/>
                </a:lnTo>
                <a:lnTo>
                  <a:pt x="4847" y="1477"/>
                </a:lnTo>
                <a:lnTo>
                  <a:pt x="4847" y="1477"/>
                </a:lnTo>
                <a:lnTo>
                  <a:pt x="4853" y="1471"/>
                </a:lnTo>
                <a:lnTo>
                  <a:pt x="4853" y="1471"/>
                </a:lnTo>
                <a:lnTo>
                  <a:pt x="4853" y="1471"/>
                </a:lnTo>
                <a:lnTo>
                  <a:pt x="4859" y="1465"/>
                </a:lnTo>
                <a:lnTo>
                  <a:pt x="4859" y="1471"/>
                </a:lnTo>
                <a:lnTo>
                  <a:pt x="4859" y="1471"/>
                </a:lnTo>
                <a:lnTo>
                  <a:pt x="4859" y="1471"/>
                </a:lnTo>
                <a:lnTo>
                  <a:pt x="4853" y="1477"/>
                </a:lnTo>
                <a:lnTo>
                  <a:pt x="4853" y="1477"/>
                </a:lnTo>
                <a:lnTo>
                  <a:pt x="4853" y="1477"/>
                </a:lnTo>
                <a:lnTo>
                  <a:pt x="4853" y="1477"/>
                </a:lnTo>
                <a:lnTo>
                  <a:pt x="4853" y="1477"/>
                </a:lnTo>
                <a:lnTo>
                  <a:pt x="4853" y="1477"/>
                </a:lnTo>
                <a:lnTo>
                  <a:pt x="4859" y="1477"/>
                </a:lnTo>
                <a:lnTo>
                  <a:pt x="4859" y="1483"/>
                </a:lnTo>
                <a:lnTo>
                  <a:pt x="4859" y="1483"/>
                </a:lnTo>
                <a:lnTo>
                  <a:pt x="4859" y="1483"/>
                </a:lnTo>
                <a:lnTo>
                  <a:pt x="4859" y="1483"/>
                </a:lnTo>
                <a:lnTo>
                  <a:pt x="4859" y="1483"/>
                </a:lnTo>
                <a:lnTo>
                  <a:pt x="4859" y="1483"/>
                </a:lnTo>
                <a:lnTo>
                  <a:pt x="4859" y="1483"/>
                </a:lnTo>
                <a:lnTo>
                  <a:pt x="4859" y="1477"/>
                </a:lnTo>
                <a:lnTo>
                  <a:pt x="4859" y="1477"/>
                </a:lnTo>
                <a:lnTo>
                  <a:pt x="4865" y="1471"/>
                </a:lnTo>
                <a:lnTo>
                  <a:pt x="4865" y="1471"/>
                </a:lnTo>
                <a:lnTo>
                  <a:pt x="4865" y="1465"/>
                </a:lnTo>
                <a:lnTo>
                  <a:pt x="4865" y="1465"/>
                </a:lnTo>
                <a:lnTo>
                  <a:pt x="4865" y="1465"/>
                </a:lnTo>
                <a:lnTo>
                  <a:pt x="4865" y="1465"/>
                </a:lnTo>
                <a:lnTo>
                  <a:pt x="4865" y="1465"/>
                </a:lnTo>
                <a:lnTo>
                  <a:pt x="4871" y="1465"/>
                </a:lnTo>
                <a:lnTo>
                  <a:pt x="4871" y="1465"/>
                </a:lnTo>
                <a:lnTo>
                  <a:pt x="4871" y="1465"/>
                </a:lnTo>
                <a:lnTo>
                  <a:pt x="4871" y="1465"/>
                </a:lnTo>
                <a:lnTo>
                  <a:pt x="4871" y="1465"/>
                </a:lnTo>
                <a:lnTo>
                  <a:pt x="4871" y="1465"/>
                </a:lnTo>
                <a:lnTo>
                  <a:pt x="4865" y="1471"/>
                </a:lnTo>
                <a:lnTo>
                  <a:pt x="4865" y="1471"/>
                </a:lnTo>
                <a:lnTo>
                  <a:pt x="4865" y="1477"/>
                </a:lnTo>
                <a:lnTo>
                  <a:pt x="4865" y="1477"/>
                </a:lnTo>
                <a:lnTo>
                  <a:pt x="4865" y="1477"/>
                </a:lnTo>
                <a:lnTo>
                  <a:pt x="4865" y="1477"/>
                </a:lnTo>
                <a:lnTo>
                  <a:pt x="4865" y="1483"/>
                </a:lnTo>
                <a:lnTo>
                  <a:pt x="4865" y="1483"/>
                </a:lnTo>
                <a:lnTo>
                  <a:pt x="4865" y="1483"/>
                </a:lnTo>
                <a:lnTo>
                  <a:pt x="4865" y="1483"/>
                </a:lnTo>
                <a:lnTo>
                  <a:pt x="4865" y="1483"/>
                </a:lnTo>
                <a:lnTo>
                  <a:pt x="4871" y="1483"/>
                </a:lnTo>
                <a:lnTo>
                  <a:pt x="4871" y="1483"/>
                </a:lnTo>
                <a:lnTo>
                  <a:pt x="4871" y="1483"/>
                </a:lnTo>
                <a:lnTo>
                  <a:pt x="4871" y="1483"/>
                </a:lnTo>
                <a:lnTo>
                  <a:pt x="4865" y="1489"/>
                </a:lnTo>
                <a:lnTo>
                  <a:pt x="4865" y="1489"/>
                </a:lnTo>
                <a:lnTo>
                  <a:pt x="4859" y="1489"/>
                </a:lnTo>
                <a:lnTo>
                  <a:pt x="4859" y="1495"/>
                </a:lnTo>
                <a:lnTo>
                  <a:pt x="4859" y="1501"/>
                </a:lnTo>
                <a:lnTo>
                  <a:pt x="4859" y="1501"/>
                </a:lnTo>
                <a:lnTo>
                  <a:pt x="4859" y="1501"/>
                </a:lnTo>
                <a:lnTo>
                  <a:pt x="4859" y="1501"/>
                </a:lnTo>
                <a:lnTo>
                  <a:pt x="4859" y="1501"/>
                </a:lnTo>
                <a:lnTo>
                  <a:pt x="4859" y="1501"/>
                </a:lnTo>
                <a:lnTo>
                  <a:pt x="4859" y="1501"/>
                </a:lnTo>
                <a:lnTo>
                  <a:pt x="4859" y="1495"/>
                </a:lnTo>
                <a:lnTo>
                  <a:pt x="4859" y="1495"/>
                </a:lnTo>
                <a:lnTo>
                  <a:pt x="4859" y="1495"/>
                </a:lnTo>
                <a:lnTo>
                  <a:pt x="4865" y="1495"/>
                </a:lnTo>
                <a:lnTo>
                  <a:pt x="4865" y="1495"/>
                </a:lnTo>
                <a:lnTo>
                  <a:pt x="4871" y="1495"/>
                </a:lnTo>
                <a:lnTo>
                  <a:pt x="4871" y="1495"/>
                </a:lnTo>
                <a:lnTo>
                  <a:pt x="4871" y="1495"/>
                </a:lnTo>
                <a:lnTo>
                  <a:pt x="4871" y="1495"/>
                </a:lnTo>
                <a:lnTo>
                  <a:pt x="4871" y="1495"/>
                </a:lnTo>
                <a:lnTo>
                  <a:pt x="4871" y="1495"/>
                </a:lnTo>
                <a:lnTo>
                  <a:pt x="4877" y="1495"/>
                </a:lnTo>
                <a:lnTo>
                  <a:pt x="4877" y="1495"/>
                </a:lnTo>
                <a:lnTo>
                  <a:pt x="4877" y="1495"/>
                </a:lnTo>
                <a:lnTo>
                  <a:pt x="4877" y="1495"/>
                </a:lnTo>
                <a:lnTo>
                  <a:pt x="4877" y="1495"/>
                </a:lnTo>
                <a:lnTo>
                  <a:pt x="4871" y="1501"/>
                </a:lnTo>
                <a:lnTo>
                  <a:pt x="4871" y="1501"/>
                </a:lnTo>
                <a:lnTo>
                  <a:pt x="4871" y="1501"/>
                </a:lnTo>
                <a:lnTo>
                  <a:pt x="4871" y="1501"/>
                </a:lnTo>
                <a:lnTo>
                  <a:pt x="4871" y="1501"/>
                </a:lnTo>
                <a:lnTo>
                  <a:pt x="4871" y="1501"/>
                </a:lnTo>
                <a:lnTo>
                  <a:pt x="4871" y="1501"/>
                </a:lnTo>
                <a:lnTo>
                  <a:pt x="4871" y="1501"/>
                </a:lnTo>
                <a:lnTo>
                  <a:pt x="4871" y="1501"/>
                </a:lnTo>
                <a:lnTo>
                  <a:pt x="4865" y="1501"/>
                </a:lnTo>
                <a:lnTo>
                  <a:pt x="4865" y="1506"/>
                </a:lnTo>
                <a:lnTo>
                  <a:pt x="4871" y="1506"/>
                </a:lnTo>
                <a:lnTo>
                  <a:pt x="4871" y="1506"/>
                </a:lnTo>
                <a:lnTo>
                  <a:pt x="4871" y="1506"/>
                </a:lnTo>
                <a:lnTo>
                  <a:pt x="4871" y="1506"/>
                </a:lnTo>
                <a:lnTo>
                  <a:pt x="4871" y="1506"/>
                </a:lnTo>
                <a:lnTo>
                  <a:pt x="4871" y="1506"/>
                </a:lnTo>
                <a:lnTo>
                  <a:pt x="4871" y="1506"/>
                </a:lnTo>
                <a:lnTo>
                  <a:pt x="4871" y="1506"/>
                </a:lnTo>
                <a:lnTo>
                  <a:pt x="4877" y="1501"/>
                </a:lnTo>
                <a:lnTo>
                  <a:pt x="4877" y="1501"/>
                </a:lnTo>
                <a:lnTo>
                  <a:pt x="4877" y="1501"/>
                </a:lnTo>
                <a:lnTo>
                  <a:pt x="4877" y="1501"/>
                </a:lnTo>
                <a:lnTo>
                  <a:pt x="4877" y="1501"/>
                </a:lnTo>
                <a:lnTo>
                  <a:pt x="4877" y="1501"/>
                </a:lnTo>
                <a:lnTo>
                  <a:pt x="4877" y="1501"/>
                </a:lnTo>
                <a:lnTo>
                  <a:pt x="4877" y="1501"/>
                </a:lnTo>
                <a:lnTo>
                  <a:pt x="4877" y="1501"/>
                </a:lnTo>
                <a:lnTo>
                  <a:pt x="4877" y="1501"/>
                </a:lnTo>
                <a:lnTo>
                  <a:pt x="4877" y="1506"/>
                </a:lnTo>
                <a:lnTo>
                  <a:pt x="4871" y="1506"/>
                </a:lnTo>
                <a:lnTo>
                  <a:pt x="4871" y="1506"/>
                </a:lnTo>
                <a:lnTo>
                  <a:pt x="4871" y="1506"/>
                </a:lnTo>
                <a:lnTo>
                  <a:pt x="4871" y="1512"/>
                </a:lnTo>
                <a:lnTo>
                  <a:pt x="4871" y="1512"/>
                </a:lnTo>
                <a:lnTo>
                  <a:pt x="4865" y="1512"/>
                </a:lnTo>
                <a:lnTo>
                  <a:pt x="4865" y="1512"/>
                </a:lnTo>
                <a:lnTo>
                  <a:pt x="4865" y="1518"/>
                </a:lnTo>
                <a:lnTo>
                  <a:pt x="4865" y="1518"/>
                </a:lnTo>
                <a:lnTo>
                  <a:pt x="4865" y="1518"/>
                </a:lnTo>
                <a:lnTo>
                  <a:pt x="4865" y="1518"/>
                </a:lnTo>
                <a:lnTo>
                  <a:pt x="4865" y="1518"/>
                </a:lnTo>
                <a:lnTo>
                  <a:pt x="4865" y="1518"/>
                </a:lnTo>
                <a:lnTo>
                  <a:pt x="4865" y="1518"/>
                </a:lnTo>
                <a:lnTo>
                  <a:pt x="4865" y="1518"/>
                </a:lnTo>
                <a:lnTo>
                  <a:pt x="4865" y="1518"/>
                </a:lnTo>
                <a:lnTo>
                  <a:pt x="4865" y="1518"/>
                </a:lnTo>
                <a:lnTo>
                  <a:pt x="4865" y="1518"/>
                </a:lnTo>
                <a:lnTo>
                  <a:pt x="4865" y="1518"/>
                </a:lnTo>
                <a:lnTo>
                  <a:pt x="4865" y="1518"/>
                </a:lnTo>
                <a:lnTo>
                  <a:pt x="4865" y="1518"/>
                </a:lnTo>
                <a:lnTo>
                  <a:pt x="4871" y="1518"/>
                </a:lnTo>
                <a:lnTo>
                  <a:pt x="4871" y="1518"/>
                </a:lnTo>
                <a:lnTo>
                  <a:pt x="4871" y="1518"/>
                </a:lnTo>
                <a:lnTo>
                  <a:pt x="4871" y="1518"/>
                </a:lnTo>
                <a:lnTo>
                  <a:pt x="4865" y="1518"/>
                </a:lnTo>
                <a:lnTo>
                  <a:pt x="4865" y="1518"/>
                </a:lnTo>
                <a:lnTo>
                  <a:pt x="4865" y="1518"/>
                </a:lnTo>
                <a:lnTo>
                  <a:pt x="4865" y="1524"/>
                </a:lnTo>
                <a:lnTo>
                  <a:pt x="4865" y="1524"/>
                </a:lnTo>
                <a:lnTo>
                  <a:pt x="4865" y="1524"/>
                </a:lnTo>
                <a:lnTo>
                  <a:pt x="4865" y="1524"/>
                </a:lnTo>
                <a:lnTo>
                  <a:pt x="4865" y="1524"/>
                </a:lnTo>
                <a:lnTo>
                  <a:pt x="4865" y="1524"/>
                </a:lnTo>
                <a:lnTo>
                  <a:pt x="4871" y="1524"/>
                </a:lnTo>
                <a:lnTo>
                  <a:pt x="4871" y="1518"/>
                </a:lnTo>
                <a:lnTo>
                  <a:pt x="4877" y="1518"/>
                </a:lnTo>
                <a:lnTo>
                  <a:pt x="4877" y="1518"/>
                </a:lnTo>
                <a:lnTo>
                  <a:pt x="4877" y="1518"/>
                </a:lnTo>
                <a:lnTo>
                  <a:pt x="4877" y="1518"/>
                </a:lnTo>
                <a:lnTo>
                  <a:pt x="4883" y="1518"/>
                </a:lnTo>
                <a:lnTo>
                  <a:pt x="4889" y="1518"/>
                </a:lnTo>
                <a:lnTo>
                  <a:pt x="4889" y="1518"/>
                </a:lnTo>
                <a:lnTo>
                  <a:pt x="4889" y="1524"/>
                </a:lnTo>
                <a:lnTo>
                  <a:pt x="4889" y="1524"/>
                </a:lnTo>
                <a:lnTo>
                  <a:pt x="4883" y="1524"/>
                </a:lnTo>
                <a:lnTo>
                  <a:pt x="4883" y="1524"/>
                </a:lnTo>
                <a:lnTo>
                  <a:pt x="4883" y="1524"/>
                </a:lnTo>
                <a:lnTo>
                  <a:pt x="4883" y="1524"/>
                </a:lnTo>
                <a:lnTo>
                  <a:pt x="4877" y="1524"/>
                </a:lnTo>
                <a:lnTo>
                  <a:pt x="4877" y="1524"/>
                </a:lnTo>
                <a:lnTo>
                  <a:pt x="4877" y="1524"/>
                </a:lnTo>
                <a:lnTo>
                  <a:pt x="4883" y="1524"/>
                </a:lnTo>
                <a:lnTo>
                  <a:pt x="4883" y="1524"/>
                </a:lnTo>
                <a:lnTo>
                  <a:pt x="4883" y="1530"/>
                </a:lnTo>
                <a:lnTo>
                  <a:pt x="4889" y="1530"/>
                </a:lnTo>
                <a:lnTo>
                  <a:pt x="4889" y="1530"/>
                </a:lnTo>
                <a:lnTo>
                  <a:pt x="4883" y="1530"/>
                </a:lnTo>
                <a:lnTo>
                  <a:pt x="4883" y="1530"/>
                </a:lnTo>
                <a:lnTo>
                  <a:pt x="4883" y="1530"/>
                </a:lnTo>
                <a:lnTo>
                  <a:pt x="4889" y="1530"/>
                </a:lnTo>
                <a:lnTo>
                  <a:pt x="4889" y="1536"/>
                </a:lnTo>
                <a:lnTo>
                  <a:pt x="4889" y="1536"/>
                </a:lnTo>
                <a:lnTo>
                  <a:pt x="4889" y="1536"/>
                </a:lnTo>
                <a:lnTo>
                  <a:pt x="4889" y="1536"/>
                </a:lnTo>
                <a:lnTo>
                  <a:pt x="4883" y="1536"/>
                </a:lnTo>
                <a:lnTo>
                  <a:pt x="4883" y="1536"/>
                </a:lnTo>
                <a:lnTo>
                  <a:pt x="4883" y="1536"/>
                </a:lnTo>
                <a:lnTo>
                  <a:pt x="4883" y="1536"/>
                </a:lnTo>
                <a:lnTo>
                  <a:pt x="4883" y="1536"/>
                </a:lnTo>
                <a:lnTo>
                  <a:pt x="4883" y="1536"/>
                </a:lnTo>
                <a:lnTo>
                  <a:pt x="4883" y="1542"/>
                </a:lnTo>
                <a:lnTo>
                  <a:pt x="4883" y="1542"/>
                </a:lnTo>
                <a:lnTo>
                  <a:pt x="4877" y="1542"/>
                </a:lnTo>
                <a:lnTo>
                  <a:pt x="4877" y="1542"/>
                </a:lnTo>
                <a:lnTo>
                  <a:pt x="4877" y="1542"/>
                </a:lnTo>
                <a:lnTo>
                  <a:pt x="4877" y="1542"/>
                </a:lnTo>
                <a:lnTo>
                  <a:pt x="4877" y="1542"/>
                </a:lnTo>
                <a:lnTo>
                  <a:pt x="4871" y="1542"/>
                </a:lnTo>
                <a:lnTo>
                  <a:pt x="4877" y="1542"/>
                </a:lnTo>
                <a:lnTo>
                  <a:pt x="4877" y="1542"/>
                </a:lnTo>
                <a:lnTo>
                  <a:pt x="4877" y="1542"/>
                </a:lnTo>
                <a:lnTo>
                  <a:pt x="4877" y="1542"/>
                </a:lnTo>
                <a:lnTo>
                  <a:pt x="4877" y="1548"/>
                </a:lnTo>
                <a:lnTo>
                  <a:pt x="4877" y="1548"/>
                </a:lnTo>
                <a:lnTo>
                  <a:pt x="4871" y="1548"/>
                </a:lnTo>
                <a:lnTo>
                  <a:pt x="4871" y="1548"/>
                </a:lnTo>
                <a:lnTo>
                  <a:pt x="4871" y="1548"/>
                </a:lnTo>
                <a:lnTo>
                  <a:pt x="4871" y="1548"/>
                </a:lnTo>
                <a:lnTo>
                  <a:pt x="4877" y="1548"/>
                </a:lnTo>
                <a:lnTo>
                  <a:pt x="4877" y="1548"/>
                </a:lnTo>
                <a:lnTo>
                  <a:pt x="4877" y="1548"/>
                </a:lnTo>
                <a:lnTo>
                  <a:pt x="4871" y="1548"/>
                </a:lnTo>
                <a:lnTo>
                  <a:pt x="4871" y="1554"/>
                </a:lnTo>
                <a:lnTo>
                  <a:pt x="4871" y="1554"/>
                </a:lnTo>
                <a:lnTo>
                  <a:pt x="4871" y="1554"/>
                </a:lnTo>
                <a:lnTo>
                  <a:pt x="4871" y="1554"/>
                </a:lnTo>
                <a:lnTo>
                  <a:pt x="4871" y="1554"/>
                </a:lnTo>
                <a:lnTo>
                  <a:pt x="4871" y="1554"/>
                </a:lnTo>
                <a:lnTo>
                  <a:pt x="4871" y="1554"/>
                </a:lnTo>
                <a:lnTo>
                  <a:pt x="4865" y="1560"/>
                </a:lnTo>
                <a:lnTo>
                  <a:pt x="4865" y="1560"/>
                </a:lnTo>
                <a:lnTo>
                  <a:pt x="4865" y="1560"/>
                </a:lnTo>
                <a:lnTo>
                  <a:pt x="4865" y="1560"/>
                </a:lnTo>
                <a:lnTo>
                  <a:pt x="4865" y="1560"/>
                </a:lnTo>
                <a:lnTo>
                  <a:pt x="4865" y="1560"/>
                </a:lnTo>
                <a:lnTo>
                  <a:pt x="4865" y="1560"/>
                </a:lnTo>
                <a:lnTo>
                  <a:pt x="4865" y="1560"/>
                </a:lnTo>
                <a:lnTo>
                  <a:pt x="4865" y="1560"/>
                </a:lnTo>
                <a:lnTo>
                  <a:pt x="4865" y="1566"/>
                </a:lnTo>
                <a:lnTo>
                  <a:pt x="4859" y="1566"/>
                </a:lnTo>
                <a:lnTo>
                  <a:pt x="4865" y="1566"/>
                </a:lnTo>
                <a:lnTo>
                  <a:pt x="4859" y="1566"/>
                </a:lnTo>
                <a:lnTo>
                  <a:pt x="4859" y="1566"/>
                </a:lnTo>
                <a:lnTo>
                  <a:pt x="4859" y="1566"/>
                </a:lnTo>
                <a:lnTo>
                  <a:pt x="4865" y="1572"/>
                </a:lnTo>
                <a:lnTo>
                  <a:pt x="4865" y="1572"/>
                </a:lnTo>
                <a:lnTo>
                  <a:pt x="4865" y="1572"/>
                </a:lnTo>
                <a:lnTo>
                  <a:pt x="4859" y="1572"/>
                </a:lnTo>
                <a:lnTo>
                  <a:pt x="4859" y="1572"/>
                </a:lnTo>
                <a:lnTo>
                  <a:pt x="4859" y="1572"/>
                </a:lnTo>
                <a:lnTo>
                  <a:pt x="4859" y="1572"/>
                </a:lnTo>
                <a:lnTo>
                  <a:pt x="4859" y="1578"/>
                </a:lnTo>
                <a:lnTo>
                  <a:pt x="4859" y="1578"/>
                </a:lnTo>
                <a:lnTo>
                  <a:pt x="4859" y="1578"/>
                </a:lnTo>
                <a:lnTo>
                  <a:pt x="4859" y="1578"/>
                </a:lnTo>
                <a:lnTo>
                  <a:pt x="4859" y="1584"/>
                </a:lnTo>
                <a:lnTo>
                  <a:pt x="4859" y="1584"/>
                </a:lnTo>
                <a:lnTo>
                  <a:pt x="4859" y="1584"/>
                </a:lnTo>
                <a:lnTo>
                  <a:pt x="4853" y="1584"/>
                </a:lnTo>
                <a:lnTo>
                  <a:pt x="4853" y="1584"/>
                </a:lnTo>
                <a:lnTo>
                  <a:pt x="4853" y="1590"/>
                </a:lnTo>
                <a:lnTo>
                  <a:pt x="4859" y="1590"/>
                </a:lnTo>
                <a:lnTo>
                  <a:pt x="4859" y="1590"/>
                </a:lnTo>
                <a:lnTo>
                  <a:pt x="4859" y="1590"/>
                </a:lnTo>
                <a:lnTo>
                  <a:pt x="4859" y="1590"/>
                </a:lnTo>
                <a:lnTo>
                  <a:pt x="4859" y="1590"/>
                </a:lnTo>
                <a:lnTo>
                  <a:pt x="4859" y="1590"/>
                </a:lnTo>
                <a:lnTo>
                  <a:pt x="4859" y="1590"/>
                </a:lnTo>
                <a:lnTo>
                  <a:pt x="4859" y="1590"/>
                </a:lnTo>
                <a:lnTo>
                  <a:pt x="4859" y="1590"/>
                </a:lnTo>
                <a:lnTo>
                  <a:pt x="4859" y="1590"/>
                </a:lnTo>
                <a:lnTo>
                  <a:pt x="4853" y="1590"/>
                </a:lnTo>
                <a:lnTo>
                  <a:pt x="4853" y="1595"/>
                </a:lnTo>
                <a:lnTo>
                  <a:pt x="4853" y="1595"/>
                </a:lnTo>
                <a:lnTo>
                  <a:pt x="4853" y="1595"/>
                </a:lnTo>
                <a:lnTo>
                  <a:pt x="4853" y="1595"/>
                </a:lnTo>
                <a:lnTo>
                  <a:pt x="4853" y="1601"/>
                </a:lnTo>
                <a:lnTo>
                  <a:pt x="4853" y="1601"/>
                </a:lnTo>
                <a:lnTo>
                  <a:pt x="4853" y="1601"/>
                </a:lnTo>
                <a:lnTo>
                  <a:pt x="4853" y="1601"/>
                </a:lnTo>
                <a:lnTo>
                  <a:pt x="4853" y="1601"/>
                </a:lnTo>
                <a:lnTo>
                  <a:pt x="4853" y="1607"/>
                </a:lnTo>
                <a:lnTo>
                  <a:pt x="4853" y="1607"/>
                </a:lnTo>
                <a:lnTo>
                  <a:pt x="4853" y="1613"/>
                </a:lnTo>
                <a:lnTo>
                  <a:pt x="4853" y="1613"/>
                </a:lnTo>
                <a:lnTo>
                  <a:pt x="4853" y="1613"/>
                </a:lnTo>
                <a:lnTo>
                  <a:pt x="4853" y="1619"/>
                </a:lnTo>
                <a:lnTo>
                  <a:pt x="4853" y="1619"/>
                </a:lnTo>
                <a:lnTo>
                  <a:pt x="4853" y="1619"/>
                </a:lnTo>
                <a:lnTo>
                  <a:pt x="4853" y="1619"/>
                </a:lnTo>
                <a:lnTo>
                  <a:pt x="4859" y="1625"/>
                </a:lnTo>
                <a:lnTo>
                  <a:pt x="4859" y="1625"/>
                </a:lnTo>
                <a:lnTo>
                  <a:pt x="4859" y="1625"/>
                </a:lnTo>
                <a:lnTo>
                  <a:pt x="4859" y="1625"/>
                </a:lnTo>
                <a:lnTo>
                  <a:pt x="4859" y="1619"/>
                </a:lnTo>
                <a:lnTo>
                  <a:pt x="4859" y="1619"/>
                </a:lnTo>
                <a:lnTo>
                  <a:pt x="4859" y="1619"/>
                </a:lnTo>
                <a:lnTo>
                  <a:pt x="4859" y="1613"/>
                </a:lnTo>
                <a:lnTo>
                  <a:pt x="4859" y="1607"/>
                </a:lnTo>
                <a:lnTo>
                  <a:pt x="4859" y="1607"/>
                </a:lnTo>
                <a:lnTo>
                  <a:pt x="4865" y="1601"/>
                </a:lnTo>
                <a:lnTo>
                  <a:pt x="4865" y="1601"/>
                </a:lnTo>
                <a:lnTo>
                  <a:pt x="4865" y="1601"/>
                </a:lnTo>
                <a:lnTo>
                  <a:pt x="4865" y="1595"/>
                </a:lnTo>
                <a:lnTo>
                  <a:pt x="4865" y="1595"/>
                </a:lnTo>
                <a:lnTo>
                  <a:pt x="4865" y="1590"/>
                </a:lnTo>
                <a:lnTo>
                  <a:pt x="4871" y="1590"/>
                </a:lnTo>
                <a:lnTo>
                  <a:pt x="4871" y="1590"/>
                </a:lnTo>
                <a:lnTo>
                  <a:pt x="4871" y="1590"/>
                </a:lnTo>
                <a:lnTo>
                  <a:pt x="4871" y="1590"/>
                </a:lnTo>
                <a:lnTo>
                  <a:pt x="4871" y="1590"/>
                </a:lnTo>
                <a:lnTo>
                  <a:pt x="4871" y="1590"/>
                </a:lnTo>
                <a:lnTo>
                  <a:pt x="4871" y="1590"/>
                </a:lnTo>
                <a:lnTo>
                  <a:pt x="4871" y="1590"/>
                </a:lnTo>
                <a:lnTo>
                  <a:pt x="4871" y="1590"/>
                </a:lnTo>
                <a:lnTo>
                  <a:pt x="4871" y="1590"/>
                </a:lnTo>
                <a:lnTo>
                  <a:pt x="4871" y="1590"/>
                </a:lnTo>
                <a:lnTo>
                  <a:pt x="4871" y="1590"/>
                </a:lnTo>
                <a:lnTo>
                  <a:pt x="4871" y="1590"/>
                </a:lnTo>
                <a:lnTo>
                  <a:pt x="4871" y="1584"/>
                </a:lnTo>
                <a:lnTo>
                  <a:pt x="4871" y="1584"/>
                </a:lnTo>
                <a:lnTo>
                  <a:pt x="4871" y="1584"/>
                </a:lnTo>
                <a:lnTo>
                  <a:pt x="4871" y="1584"/>
                </a:lnTo>
                <a:lnTo>
                  <a:pt x="4877" y="1584"/>
                </a:lnTo>
                <a:lnTo>
                  <a:pt x="4877" y="1578"/>
                </a:lnTo>
                <a:lnTo>
                  <a:pt x="4877" y="1578"/>
                </a:lnTo>
                <a:lnTo>
                  <a:pt x="4877" y="1578"/>
                </a:lnTo>
                <a:lnTo>
                  <a:pt x="4877" y="1578"/>
                </a:lnTo>
                <a:lnTo>
                  <a:pt x="4877" y="1578"/>
                </a:lnTo>
                <a:lnTo>
                  <a:pt x="4877" y="1578"/>
                </a:lnTo>
                <a:lnTo>
                  <a:pt x="4877" y="1578"/>
                </a:lnTo>
                <a:lnTo>
                  <a:pt x="4877" y="1572"/>
                </a:lnTo>
                <a:lnTo>
                  <a:pt x="4883" y="1572"/>
                </a:lnTo>
                <a:lnTo>
                  <a:pt x="4883" y="1566"/>
                </a:lnTo>
                <a:lnTo>
                  <a:pt x="4889" y="1560"/>
                </a:lnTo>
                <a:lnTo>
                  <a:pt x="4889" y="1554"/>
                </a:lnTo>
                <a:lnTo>
                  <a:pt x="4895" y="1554"/>
                </a:lnTo>
                <a:lnTo>
                  <a:pt x="4895" y="1548"/>
                </a:lnTo>
                <a:lnTo>
                  <a:pt x="4895" y="1548"/>
                </a:lnTo>
                <a:lnTo>
                  <a:pt x="4901" y="1542"/>
                </a:lnTo>
                <a:lnTo>
                  <a:pt x="4901" y="1542"/>
                </a:lnTo>
                <a:lnTo>
                  <a:pt x="4901" y="1542"/>
                </a:lnTo>
                <a:lnTo>
                  <a:pt x="4907" y="1536"/>
                </a:lnTo>
                <a:lnTo>
                  <a:pt x="4907" y="1536"/>
                </a:lnTo>
                <a:lnTo>
                  <a:pt x="4907" y="1530"/>
                </a:lnTo>
                <a:lnTo>
                  <a:pt x="4907" y="1530"/>
                </a:lnTo>
                <a:lnTo>
                  <a:pt x="4913" y="1530"/>
                </a:lnTo>
                <a:lnTo>
                  <a:pt x="4913" y="1530"/>
                </a:lnTo>
                <a:lnTo>
                  <a:pt x="4913" y="1530"/>
                </a:lnTo>
                <a:lnTo>
                  <a:pt x="4913" y="1530"/>
                </a:lnTo>
                <a:lnTo>
                  <a:pt x="4907" y="1530"/>
                </a:lnTo>
                <a:lnTo>
                  <a:pt x="4907" y="1530"/>
                </a:lnTo>
                <a:lnTo>
                  <a:pt x="4907" y="1530"/>
                </a:lnTo>
                <a:lnTo>
                  <a:pt x="4907" y="1524"/>
                </a:lnTo>
                <a:lnTo>
                  <a:pt x="4913" y="1524"/>
                </a:lnTo>
                <a:lnTo>
                  <a:pt x="4913" y="1524"/>
                </a:lnTo>
                <a:lnTo>
                  <a:pt x="4913" y="1524"/>
                </a:lnTo>
                <a:lnTo>
                  <a:pt x="4907" y="1524"/>
                </a:lnTo>
                <a:lnTo>
                  <a:pt x="4907" y="1524"/>
                </a:lnTo>
                <a:lnTo>
                  <a:pt x="4907" y="1524"/>
                </a:lnTo>
                <a:lnTo>
                  <a:pt x="4913" y="1524"/>
                </a:lnTo>
                <a:lnTo>
                  <a:pt x="4913" y="1524"/>
                </a:lnTo>
                <a:lnTo>
                  <a:pt x="4913" y="1524"/>
                </a:lnTo>
                <a:lnTo>
                  <a:pt x="4913" y="1518"/>
                </a:lnTo>
                <a:lnTo>
                  <a:pt x="4913" y="1518"/>
                </a:lnTo>
                <a:lnTo>
                  <a:pt x="4913" y="1518"/>
                </a:lnTo>
                <a:lnTo>
                  <a:pt x="4913" y="1518"/>
                </a:lnTo>
                <a:lnTo>
                  <a:pt x="4913" y="1518"/>
                </a:lnTo>
                <a:lnTo>
                  <a:pt x="4913" y="1518"/>
                </a:lnTo>
                <a:lnTo>
                  <a:pt x="4913" y="1518"/>
                </a:lnTo>
                <a:lnTo>
                  <a:pt x="4913" y="1512"/>
                </a:lnTo>
                <a:lnTo>
                  <a:pt x="4913" y="1512"/>
                </a:lnTo>
                <a:lnTo>
                  <a:pt x="4913" y="1512"/>
                </a:lnTo>
                <a:lnTo>
                  <a:pt x="4918" y="1512"/>
                </a:lnTo>
                <a:lnTo>
                  <a:pt x="4918" y="1512"/>
                </a:lnTo>
                <a:lnTo>
                  <a:pt x="4918" y="1506"/>
                </a:lnTo>
                <a:lnTo>
                  <a:pt x="4918" y="1506"/>
                </a:lnTo>
                <a:lnTo>
                  <a:pt x="4918" y="1506"/>
                </a:lnTo>
                <a:lnTo>
                  <a:pt x="4918" y="1501"/>
                </a:lnTo>
                <a:lnTo>
                  <a:pt x="4918" y="1501"/>
                </a:lnTo>
                <a:lnTo>
                  <a:pt x="4918" y="1501"/>
                </a:lnTo>
                <a:lnTo>
                  <a:pt x="4918" y="1501"/>
                </a:lnTo>
                <a:lnTo>
                  <a:pt x="4924" y="1501"/>
                </a:lnTo>
                <a:lnTo>
                  <a:pt x="4924" y="1501"/>
                </a:lnTo>
                <a:lnTo>
                  <a:pt x="4924" y="1501"/>
                </a:lnTo>
                <a:lnTo>
                  <a:pt x="4924" y="1501"/>
                </a:lnTo>
                <a:lnTo>
                  <a:pt x="4924" y="1495"/>
                </a:lnTo>
                <a:lnTo>
                  <a:pt x="4924" y="1495"/>
                </a:lnTo>
                <a:lnTo>
                  <a:pt x="4924" y="1495"/>
                </a:lnTo>
                <a:lnTo>
                  <a:pt x="4924" y="1495"/>
                </a:lnTo>
                <a:lnTo>
                  <a:pt x="4930" y="1489"/>
                </a:lnTo>
                <a:lnTo>
                  <a:pt x="4930" y="1483"/>
                </a:lnTo>
                <a:lnTo>
                  <a:pt x="4930" y="1483"/>
                </a:lnTo>
                <a:lnTo>
                  <a:pt x="4936" y="1483"/>
                </a:lnTo>
                <a:lnTo>
                  <a:pt x="4930" y="1483"/>
                </a:lnTo>
                <a:lnTo>
                  <a:pt x="4930" y="1483"/>
                </a:lnTo>
                <a:lnTo>
                  <a:pt x="4930" y="1489"/>
                </a:lnTo>
                <a:lnTo>
                  <a:pt x="4936" y="1483"/>
                </a:lnTo>
                <a:lnTo>
                  <a:pt x="4936" y="1483"/>
                </a:lnTo>
                <a:lnTo>
                  <a:pt x="4942" y="1477"/>
                </a:lnTo>
                <a:lnTo>
                  <a:pt x="4942" y="1477"/>
                </a:lnTo>
                <a:lnTo>
                  <a:pt x="4942" y="1477"/>
                </a:lnTo>
                <a:lnTo>
                  <a:pt x="4942" y="1471"/>
                </a:lnTo>
                <a:lnTo>
                  <a:pt x="4942" y="1471"/>
                </a:lnTo>
                <a:lnTo>
                  <a:pt x="4942" y="1471"/>
                </a:lnTo>
                <a:lnTo>
                  <a:pt x="4942" y="1471"/>
                </a:lnTo>
                <a:lnTo>
                  <a:pt x="4942" y="1471"/>
                </a:lnTo>
                <a:lnTo>
                  <a:pt x="4936" y="1471"/>
                </a:lnTo>
                <a:lnTo>
                  <a:pt x="4942" y="1471"/>
                </a:lnTo>
                <a:lnTo>
                  <a:pt x="4942" y="1471"/>
                </a:lnTo>
                <a:lnTo>
                  <a:pt x="4942" y="1471"/>
                </a:lnTo>
                <a:lnTo>
                  <a:pt x="4942" y="1471"/>
                </a:lnTo>
                <a:lnTo>
                  <a:pt x="4942" y="1471"/>
                </a:lnTo>
                <a:lnTo>
                  <a:pt x="4942" y="1465"/>
                </a:lnTo>
                <a:lnTo>
                  <a:pt x="4942" y="1465"/>
                </a:lnTo>
                <a:lnTo>
                  <a:pt x="4942" y="1465"/>
                </a:lnTo>
                <a:lnTo>
                  <a:pt x="4942" y="1465"/>
                </a:lnTo>
                <a:lnTo>
                  <a:pt x="4936" y="1465"/>
                </a:lnTo>
                <a:lnTo>
                  <a:pt x="4936" y="1465"/>
                </a:lnTo>
                <a:lnTo>
                  <a:pt x="4936" y="1465"/>
                </a:lnTo>
                <a:lnTo>
                  <a:pt x="4936" y="1465"/>
                </a:lnTo>
                <a:lnTo>
                  <a:pt x="4942" y="1465"/>
                </a:lnTo>
                <a:lnTo>
                  <a:pt x="4942" y="1465"/>
                </a:lnTo>
                <a:lnTo>
                  <a:pt x="4942" y="1465"/>
                </a:lnTo>
                <a:lnTo>
                  <a:pt x="4942" y="1465"/>
                </a:lnTo>
                <a:lnTo>
                  <a:pt x="4942" y="1465"/>
                </a:lnTo>
                <a:lnTo>
                  <a:pt x="4942" y="1459"/>
                </a:lnTo>
                <a:lnTo>
                  <a:pt x="4942" y="1459"/>
                </a:lnTo>
                <a:lnTo>
                  <a:pt x="4942" y="1459"/>
                </a:lnTo>
                <a:lnTo>
                  <a:pt x="4942" y="1459"/>
                </a:lnTo>
                <a:lnTo>
                  <a:pt x="4942" y="1459"/>
                </a:lnTo>
                <a:lnTo>
                  <a:pt x="4942" y="1459"/>
                </a:lnTo>
                <a:lnTo>
                  <a:pt x="4942" y="1459"/>
                </a:lnTo>
                <a:lnTo>
                  <a:pt x="4942" y="1459"/>
                </a:lnTo>
                <a:lnTo>
                  <a:pt x="4942" y="1459"/>
                </a:lnTo>
                <a:lnTo>
                  <a:pt x="4948" y="1459"/>
                </a:lnTo>
                <a:lnTo>
                  <a:pt x="4948" y="1459"/>
                </a:lnTo>
                <a:lnTo>
                  <a:pt x="4948" y="1459"/>
                </a:lnTo>
                <a:lnTo>
                  <a:pt x="4948" y="1459"/>
                </a:lnTo>
                <a:lnTo>
                  <a:pt x="4948" y="1459"/>
                </a:lnTo>
                <a:lnTo>
                  <a:pt x="4948" y="1459"/>
                </a:lnTo>
                <a:lnTo>
                  <a:pt x="4948" y="1459"/>
                </a:lnTo>
                <a:lnTo>
                  <a:pt x="4948" y="1459"/>
                </a:lnTo>
                <a:lnTo>
                  <a:pt x="4948" y="1465"/>
                </a:lnTo>
                <a:lnTo>
                  <a:pt x="4948" y="1471"/>
                </a:lnTo>
                <a:lnTo>
                  <a:pt x="4942" y="1471"/>
                </a:lnTo>
                <a:lnTo>
                  <a:pt x="4948" y="1471"/>
                </a:lnTo>
                <a:lnTo>
                  <a:pt x="4948" y="1471"/>
                </a:lnTo>
                <a:lnTo>
                  <a:pt x="4948" y="1465"/>
                </a:lnTo>
                <a:lnTo>
                  <a:pt x="4948" y="1459"/>
                </a:lnTo>
                <a:lnTo>
                  <a:pt x="4948" y="1459"/>
                </a:lnTo>
                <a:lnTo>
                  <a:pt x="4948" y="1459"/>
                </a:lnTo>
                <a:lnTo>
                  <a:pt x="4948" y="1459"/>
                </a:lnTo>
                <a:lnTo>
                  <a:pt x="4948" y="1459"/>
                </a:lnTo>
                <a:lnTo>
                  <a:pt x="4948" y="1453"/>
                </a:lnTo>
                <a:lnTo>
                  <a:pt x="4948" y="1453"/>
                </a:lnTo>
                <a:lnTo>
                  <a:pt x="4948" y="1447"/>
                </a:lnTo>
                <a:lnTo>
                  <a:pt x="4948" y="1447"/>
                </a:lnTo>
                <a:lnTo>
                  <a:pt x="4948" y="1447"/>
                </a:lnTo>
                <a:lnTo>
                  <a:pt x="4948" y="1441"/>
                </a:lnTo>
                <a:lnTo>
                  <a:pt x="4948" y="1441"/>
                </a:lnTo>
                <a:lnTo>
                  <a:pt x="4948" y="1441"/>
                </a:lnTo>
                <a:lnTo>
                  <a:pt x="4948" y="1435"/>
                </a:lnTo>
                <a:lnTo>
                  <a:pt x="4948" y="1435"/>
                </a:lnTo>
                <a:lnTo>
                  <a:pt x="4948" y="1435"/>
                </a:lnTo>
                <a:lnTo>
                  <a:pt x="4948" y="1435"/>
                </a:lnTo>
                <a:lnTo>
                  <a:pt x="4948" y="1441"/>
                </a:lnTo>
                <a:lnTo>
                  <a:pt x="4948" y="1441"/>
                </a:lnTo>
                <a:lnTo>
                  <a:pt x="4948" y="1441"/>
                </a:lnTo>
                <a:lnTo>
                  <a:pt x="4948" y="1441"/>
                </a:lnTo>
                <a:lnTo>
                  <a:pt x="4948" y="1441"/>
                </a:lnTo>
                <a:lnTo>
                  <a:pt x="4942" y="1441"/>
                </a:lnTo>
                <a:lnTo>
                  <a:pt x="4942" y="1441"/>
                </a:lnTo>
                <a:lnTo>
                  <a:pt x="4942" y="1441"/>
                </a:lnTo>
                <a:lnTo>
                  <a:pt x="4942" y="1441"/>
                </a:lnTo>
                <a:lnTo>
                  <a:pt x="4942" y="1441"/>
                </a:lnTo>
                <a:lnTo>
                  <a:pt x="4942" y="1441"/>
                </a:lnTo>
                <a:lnTo>
                  <a:pt x="4942" y="1441"/>
                </a:lnTo>
                <a:lnTo>
                  <a:pt x="4936" y="1441"/>
                </a:lnTo>
                <a:lnTo>
                  <a:pt x="4936" y="1441"/>
                </a:lnTo>
                <a:lnTo>
                  <a:pt x="4936" y="1441"/>
                </a:lnTo>
                <a:lnTo>
                  <a:pt x="4930" y="1441"/>
                </a:lnTo>
                <a:lnTo>
                  <a:pt x="4930" y="1441"/>
                </a:lnTo>
                <a:lnTo>
                  <a:pt x="4930" y="1441"/>
                </a:lnTo>
                <a:lnTo>
                  <a:pt x="4936" y="1441"/>
                </a:lnTo>
                <a:lnTo>
                  <a:pt x="4936" y="1441"/>
                </a:lnTo>
                <a:lnTo>
                  <a:pt x="4936" y="1441"/>
                </a:lnTo>
                <a:lnTo>
                  <a:pt x="4936" y="1441"/>
                </a:lnTo>
                <a:lnTo>
                  <a:pt x="4930" y="1441"/>
                </a:lnTo>
                <a:lnTo>
                  <a:pt x="4936" y="1441"/>
                </a:lnTo>
                <a:lnTo>
                  <a:pt x="4936" y="1435"/>
                </a:lnTo>
                <a:lnTo>
                  <a:pt x="4942" y="1435"/>
                </a:lnTo>
                <a:lnTo>
                  <a:pt x="4942" y="1435"/>
                </a:lnTo>
                <a:lnTo>
                  <a:pt x="4942" y="1435"/>
                </a:lnTo>
                <a:lnTo>
                  <a:pt x="4942" y="1435"/>
                </a:lnTo>
                <a:lnTo>
                  <a:pt x="4942" y="1435"/>
                </a:lnTo>
                <a:lnTo>
                  <a:pt x="4936" y="1435"/>
                </a:lnTo>
                <a:lnTo>
                  <a:pt x="4936" y="1429"/>
                </a:lnTo>
                <a:lnTo>
                  <a:pt x="4936" y="1429"/>
                </a:lnTo>
                <a:lnTo>
                  <a:pt x="4936" y="1429"/>
                </a:lnTo>
                <a:lnTo>
                  <a:pt x="4936" y="1429"/>
                </a:lnTo>
                <a:lnTo>
                  <a:pt x="4936" y="1429"/>
                </a:lnTo>
                <a:lnTo>
                  <a:pt x="4936" y="1429"/>
                </a:lnTo>
                <a:lnTo>
                  <a:pt x="4936" y="1429"/>
                </a:lnTo>
                <a:lnTo>
                  <a:pt x="4936" y="1429"/>
                </a:lnTo>
                <a:lnTo>
                  <a:pt x="4936" y="1429"/>
                </a:lnTo>
                <a:lnTo>
                  <a:pt x="4942" y="1429"/>
                </a:lnTo>
                <a:lnTo>
                  <a:pt x="4942" y="1429"/>
                </a:lnTo>
                <a:lnTo>
                  <a:pt x="4936" y="1429"/>
                </a:lnTo>
                <a:lnTo>
                  <a:pt x="4942" y="1429"/>
                </a:lnTo>
                <a:lnTo>
                  <a:pt x="4942" y="1429"/>
                </a:lnTo>
                <a:lnTo>
                  <a:pt x="4942" y="1429"/>
                </a:lnTo>
                <a:lnTo>
                  <a:pt x="4942" y="1429"/>
                </a:lnTo>
                <a:lnTo>
                  <a:pt x="4942" y="1429"/>
                </a:lnTo>
                <a:lnTo>
                  <a:pt x="4948" y="1429"/>
                </a:lnTo>
                <a:lnTo>
                  <a:pt x="4948" y="1435"/>
                </a:lnTo>
                <a:lnTo>
                  <a:pt x="4948" y="1435"/>
                </a:lnTo>
                <a:lnTo>
                  <a:pt x="4948" y="1429"/>
                </a:lnTo>
                <a:lnTo>
                  <a:pt x="4948" y="1429"/>
                </a:lnTo>
                <a:lnTo>
                  <a:pt x="4948" y="1429"/>
                </a:lnTo>
                <a:lnTo>
                  <a:pt x="4942" y="1412"/>
                </a:lnTo>
                <a:lnTo>
                  <a:pt x="4942" y="1412"/>
                </a:lnTo>
                <a:lnTo>
                  <a:pt x="4942" y="1412"/>
                </a:lnTo>
                <a:lnTo>
                  <a:pt x="4942" y="1412"/>
                </a:lnTo>
                <a:lnTo>
                  <a:pt x="4942" y="1418"/>
                </a:lnTo>
                <a:lnTo>
                  <a:pt x="4942" y="1418"/>
                </a:lnTo>
                <a:lnTo>
                  <a:pt x="4936" y="1412"/>
                </a:lnTo>
                <a:lnTo>
                  <a:pt x="4936" y="1412"/>
                </a:lnTo>
                <a:lnTo>
                  <a:pt x="4936" y="1412"/>
                </a:lnTo>
                <a:lnTo>
                  <a:pt x="4930" y="1406"/>
                </a:lnTo>
                <a:lnTo>
                  <a:pt x="4924" y="1400"/>
                </a:lnTo>
                <a:lnTo>
                  <a:pt x="4924" y="1400"/>
                </a:lnTo>
                <a:lnTo>
                  <a:pt x="4924" y="1394"/>
                </a:lnTo>
                <a:lnTo>
                  <a:pt x="4924" y="1394"/>
                </a:lnTo>
                <a:lnTo>
                  <a:pt x="4924" y="1394"/>
                </a:lnTo>
                <a:lnTo>
                  <a:pt x="4924" y="1394"/>
                </a:lnTo>
                <a:lnTo>
                  <a:pt x="4924" y="1394"/>
                </a:lnTo>
                <a:lnTo>
                  <a:pt x="4924" y="1388"/>
                </a:lnTo>
                <a:lnTo>
                  <a:pt x="4918" y="1388"/>
                </a:lnTo>
                <a:lnTo>
                  <a:pt x="4918" y="1382"/>
                </a:lnTo>
                <a:lnTo>
                  <a:pt x="4918" y="1382"/>
                </a:lnTo>
                <a:lnTo>
                  <a:pt x="4913" y="1382"/>
                </a:lnTo>
                <a:lnTo>
                  <a:pt x="4913" y="1382"/>
                </a:lnTo>
                <a:lnTo>
                  <a:pt x="4913" y="1376"/>
                </a:lnTo>
                <a:lnTo>
                  <a:pt x="4913" y="1376"/>
                </a:lnTo>
                <a:lnTo>
                  <a:pt x="4913" y="1370"/>
                </a:lnTo>
                <a:lnTo>
                  <a:pt x="4913" y="1370"/>
                </a:lnTo>
                <a:lnTo>
                  <a:pt x="4913" y="1370"/>
                </a:lnTo>
                <a:lnTo>
                  <a:pt x="4913" y="1370"/>
                </a:lnTo>
                <a:lnTo>
                  <a:pt x="4913" y="1370"/>
                </a:lnTo>
                <a:lnTo>
                  <a:pt x="4913" y="1364"/>
                </a:lnTo>
                <a:lnTo>
                  <a:pt x="4913" y="1358"/>
                </a:lnTo>
                <a:lnTo>
                  <a:pt x="4913" y="1358"/>
                </a:lnTo>
                <a:lnTo>
                  <a:pt x="4913" y="1358"/>
                </a:lnTo>
                <a:lnTo>
                  <a:pt x="4913" y="1358"/>
                </a:lnTo>
                <a:lnTo>
                  <a:pt x="4913" y="1352"/>
                </a:lnTo>
                <a:lnTo>
                  <a:pt x="4913" y="1352"/>
                </a:lnTo>
                <a:lnTo>
                  <a:pt x="4913" y="1352"/>
                </a:lnTo>
                <a:lnTo>
                  <a:pt x="4913" y="1352"/>
                </a:lnTo>
                <a:lnTo>
                  <a:pt x="4913" y="1346"/>
                </a:lnTo>
                <a:lnTo>
                  <a:pt x="4907" y="1346"/>
                </a:lnTo>
                <a:lnTo>
                  <a:pt x="4907" y="1346"/>
                </a:lnTo>
                <a:lnTo>
                  <a:pt x="4907" y="1340"/>
                </a:lnTo>
                <a:lnTo>
                  <a:pt x="4907" y="1340"/>
                </a:lnTo>
                <a:lnTo>
                  <a:pt x="4901" y="1334"/>
                </a:lnTo>
                <a:lnTo>
                  <a:pt x="4901" y="1334"/>
                </a:lnTo>
                <a:lnTo>
                  <a:pt x="4895" y="1329"/>
                </a:lnTo>
                <a:lnTo>
                  <a:pt x="4895" y="1329"/>
                </a:lnTo>
                <a:lnTo>
                  <a:pt x="4895" y="1329"/>
                </a:lnTo>
                <a:lnTo>
                  <a:pt x="4895" y="1323"/>
                </a:lnTo>
                <a:lnTo>
                  <a:pt x="4895" y="1323"/>
                </a:lnTo>
                <a:lnTo>
                  <a:pt x="4895" y="1323"/>
                </a:lnTo>
                <a:lnTo>
                  <a:pt x="4895" y="1317"/>
                </a:lnTo>
                <a:lnTo>
                  <a:pt x="4895" y="1317"/>
                </a:lnTo>
                <a:lnTo>
                  <a:pt x="4895" y="1311"/>
                </a:lnTo>
                <a:lnTo>
                  <a:pt x="4895" y="1311"/>
                </a:lnTo>
                <a:lnTo>
                  <a:pt x="4895" y="1311"/>
                </a:lnTo>
                <a:lnTo>
                  <a:pt x="4895" y="1311"/>
                </a:lnTo>
                <a:lnTo>
                  <a:pt x="4895" y="1311"/>
                </a:lnTo>
                <a:lnTo>
                  <a:pt x="4895" y="1305"/>
                </a:lnTo>
                <a:lnTo>
                  <a:pt x="4895" y="1305"/>
                </a:lnTo>
                <a:lnTo>
                  <a:pt x="4895" y="1305"/>
                </a:lnTo>
                <a:lnTo>
                  <a:pt x="4895" y="1305"/>
                </a:lnTo>
                <a:lnTo>
                  <a:pt x="4895" y="1305"/>
                </a:lnTo>
                <a:lnTo>
                  <a:pt x="4895" y="1305"/>
                </a:lnTo>
                <a:lnTo>
                  <a:pt x="4901" y="1305"/>
                </a:lnTo>
                <a:lnTo>
                  <a:pt x="4901" y="1299"/>
                </a:lnTo>
                <a:lnTo>
                  <a:pt x="4901" y="1299"/>
                </a:lnTo>
                <a:lnTo>
                  <a:pt x="4901" y="1293"/>
                </a:lnTo>
                <a:lnTo>
                  <a:pt x="4901" y="1293"/>
                </a:lnTo>
                <a:lnTo>
                  <a:pt x="4907" y="1293"/>
                </a:lnTo>
                <a:lnTo>
                  <a:pt x="4907" y="1293"/>
                </a:lnTo>
                <a:lnTo>
                  <a:pt x="4907" y="1287"/>
                </a:lnTo>
                <a:lnTo>
                  <a:pt x="4907" y="1287"/>
                </a:lnTo>
                <a:lnTo>
                  <a:pt x="4907" y="1287"/>
                </a:lnTo>
                <a:lnTo>
                  <a:pt x="4913" y="1287"/>
                </a:lnTo>
                <a:lnTo>
                  <a:pt x="4913" y="1281"/>
                </a:lnTo>
                <a:lnTo>
                  <a:pt x="4913" y="1281"/>
                </a:lnTo>
                <a:lnTo>
                  <a:pt x="4913" y="1281"/>
                </a:lnTo>
                <a:lnTo>
                  <a:pt x="4913" y="1281"/>
                </a:lnTo>
                <a:lnTo>
                  <a:pt x="4918" y="1281"/>
                </a:lnTo>
                <a:lnTo>
                  <a:pt x="4924" y="1275"/>
                </a:lnTo>
                <a:lnTo>
                  <a:pt x="4924" y="1275"/>
                </a:lnTo>
                <a:lnTo>
                  <a:pt x="4924" y="1275"/>
                </a:lnTo>
                <a:lnTo>
                  <a:pt x="4930" y="1275"/>
                </a:lnTo>
                <a:lnTo>
                  <a:pt x="4930" y="1275"/>
                </a:lnTo>
                <a:lnTo>
                  <a:pt x="4936" y="1269"/>
                </a:lnTo>
                <a:lnTo>
                  <a:pt x="4936" y="1269"/>
                </a:lnTo>
                <a:lnTo>
                  <a:pt x="4936" y="1269"/>
                </a:lnTo>
                <a:lnTo>
                  <a:pt x="4936" y="1269"/>
                </a:lnTo>
                <a:lnTo>
                  <a:pt x="4942" y="1269"/>
                </a:lnTo>
                <a:lnTo>
                  <a:pt x="4936" y="1269"/>
                </a:lnTo>
                <a:lnTo>
                  <a:pt x="4936" y="1269"/>
                </a:lnTo>
                <a:lnTo>
                  <a:pt x="4942" y="1263"/>
                </a:lnTo>
                <a:lnTo>
                  <a:pt x="4942" y="1263"/>
                </a:lnTo>
                <a:lnTo>
                  <a:pt x="4942" y="1263"/>
                </a:lnTo>
                <a:lnTo>
                  <a:pt x="4942" y="1263"/>
                </a:lnTo>
                <a:lnTo>
                  <a:pt x="4942" y="1263"/>
                </a:lnTo>
                <a:lnTo>
                  <a:pt x="4948" y="1257"/>
                </a:lnTo>
                <a:lnTo>
                  <a:pt x="4948" y="1257"/>
                </a:lnTo>
                <a:lnTo>
                  <a:pt x="4948" y="1257"/>
                </a:lnTo>
                <a:lnTo>
                  <a:pt x="4948" y="1257"/>
                </a:lnTo>
                <a:lnTo>
                  <a:pt x="4948" y="1257"/>
                </a:lnTo>
                <a:lnTo>
                  <a:pt x="4942" y="1263"/>
                </a:lnTo>
                <a:lnTo>
                  <a:pt x="4942" y="1263"/>
                </a:lnTo>
                <a:lnTo>
                  <a:pt x="4942" y="1263"/>
                </a:lnTo>
                <a:lnTo>
                  <a:pt x="4942" y="1263"/>
                </a:lnTo>
                <a:lnTo>
                  <a:pt x="4942" y="1263"/>
                </a:lnTo>
                <a:lnTo>
                  <a:pt x="4942" y="1263"/>
                </a:lnTo>
                <a:lnTo>
                  <a:pt x="4942" y="1269"/>
                </a:lnTo>
                <a:lnTo>
                  <a:pt x="4942" y="1269"/>
                </a:lnTo>
                <a:lnTo>
                  <a:pt x="4942" y="1269"/>
                </a:lnTo>
                <a:lnTo>
                  <a:pt x="4942" y="1269"/>
                </a:lnTo>
                <a:lnTo>
                  <a:pt x="4942" y="1275"/>
                </a:lnTo>
                <a:lnTo>
                  <a:pt x="4936" y="1275"/>
                </a:lnTo>
                <a:lnTo>
                  <a:pt x="4936" y="1275"/>
                </a:lnTo>
                <a:lnTo>
                  <a:pt x="4936" y="1275"/>
                </a:lnTo>
                <a:lnTo>
                  <a:pt x="4936" y="1275"/>
                </a:lnTo>
                <a:lnTo>
                  <a:pt x="4936" y="1275"/>
                </a:lnTo>
                <a:lnTo>
                  <a:pt x="4936" y="1275"/>
                </a:lnTo>
                <a:lnTo>
                  <a:pt x="4936" y="1275"/>
                </a:lnTo>
                <a:lnTo>
                  <a:pt x="4936" y="1275"/>
                </a:lnTo>
                <a:lnTo>
                  <a:pt x="4936" y="1275"/>
                </a:lnTo>
                <a:lnTo>
                  <a:pt x="4930" y="1275"/>
                </a:lnTo>
                <a:lnTo>
                  <a:pt x="4930" y="1275"/>
                </a:lnTo>
                <a:lnTo>
                  <a:pt x="4924" y="1275"/>
                </a:lnTo>
                <a:lnTo>
                  <a:pt x="4924" y="1275"/>
                </a:lnTo>
                <a:lnTo>
                  <a:pt x="4924" y="1281"/>
                </a:lnTo>
                <a:lnTo>
                  <a:pt x="4924" y="1281"/>
                </a:lnTo>
                <a:lnTo>
                  <a:pt x="4918" y="1281"/>
                </a:lnTo>
                <a:lnTo>
                  <a:pt x="4913" y="1287"/>
                </a:lnTo>
                <a:lnTo>
                  <a:pt x="4907" y="1287"/>
                </a:lnTo>
                <a:lnTo>
                  <a:pt x="4907" y="1293"/>
                </a:lnTo>
                <a:lnTo>
                  <a:pt x="4907" y="1293"/>
                </a:lnTo>
                <a:lnTo>
                  <a:pt x="4907" y="1293"/>
                </a:lnTo>
                <a:lnTo>
                  <a:pt x="4907" y="1293"/>
                </a:lnTo>
                <a:lnTo>
                  <a:pt x="4907" y="1299"/>
                </a:lnTo>
                <a:lnTo>
                  <a:pt x="4907" y="1299"/>
                </a:lnTo>
                <a:lnTo>
                  <a:pt x="4907" y="1299"/>
                </a:lnTo>
                <a:lnTo>
                  <a:pt x="4907" y="1299"/>
                </a:lnTo>
                <a:lnTo>
                  <a:pt x="4907" y="1299"/>
                </a:lnTo>
                <a:lnTo>
                  <a:pt x="4901" y="1299"/>
                </a:lnTo>
                <a:lnTo>
                  <a:pt x="4901" y="1299"/>
                </a:lnTo>
                <a:lnTo>
                  <a:pt x="4901" y="1299"/>
                </a:lnTo>
                <a:lnTo>
                  <a:pt x="4901" y="1299"/>
                </a:lnTo>
                <a:lnTo>
                  <a:pt x="4901" y="1305"/>
                </a:lnTo>
                <a:lnTo>
                  <a:pt x="4901" y="1305"/>
                </a:lnTo>
                <a:lnTo>
                  <a:pt x="4901" y="1305"/>
                </a:lnTo>
                <a:lnTo>
                  <a:pt x="4901" y="1305"/>
                </a:lnTo>
                <a:lnTo>
                  <a:pt x="4901" y="1305"/>
                </a:lnTo>
                <a:lnTo>
                  <a:pt x="4901" y="1305"/>
                </a:lnTo>
                <a:lnTo>
                  <a:pt x="4895" y="1311"/>
                </a:lnTo>
                <a:lnTo>
                  <a:pt x="4895" y="1311"/>
                </a:lnTo>
                <a:lnTo>
                  <a:pt x="4901" y="1311"/>
                </a:lnTo>
                <a:lnTo>
                  <a:pt x="4901" y="1317"/>
                </a:lnTo>
                <a:lnTo>
                  <a:pt x="4901" y="1317"/>
                </a:lnTo>
                <a:lnTo>
                  <a:pt x="4901" y="1317"/>
                </a:lnTo>
                <a:lnTo>
                  <a:pt x="4901" y="1323"/>
                </a:lnTo>
                <a:lnTo>
                  <a:pt x="4901" y="1323"/>
                </a:lnTo>
                <a:lnTo>
                  <a:pt x="4901" y="1323"/>
                </a:lnTo>
                <a:lnTo>
                  <a:pt x="4901" y="1323"/>
                </a:lnTo>
                <a:lnTo>
                  <a:pt x="4901" y="1323"/>
                </a:lnTo>
                <a:lnTo>
                  <a:pt x="4901" y="1323"/>
                </a:lnTo>
                <a:lnTo>
                  <a:pt x="4901" y="1329"/>
                </a:lnTo>
                <a:lnTo>
                  <a:pt x="4901" y="1329"/>
                </a:lnTo>
                <a:lnTo>
                  <a:pt x="4907" y="1329"/>
                </a:lnTo>
                <a:lnTo>
                  <a:pt x="4913" y="1340"/>
                </a:lnTo>
                <a:lnTo>
                  <a:pt x="4918" y="1340"/>
                </a:lnTo>
                <a:lnTo>
                  <a:pt x="4918" y="1346"/>
                </a:lnTo>
                <a:lnTo>
                  <a:pt x="4918" y="1346"/>
                </a:lnTo>
                <a:lnTo>
                  <a:pt x="4918" y="1346"/>
                </a:lnTo>
                <a:lnTo>
                  <a:pt x="4918" y="1346"/>
                </a:lnTo>
                <a:lnTo>
                  <a:pt x="4918" y="1346"/>
                </a:lnTo>
                <a:lnTo>
                  <a:pt x="4918" y="1346"/>
                </a:lnTo>
                <a:lnTo>
                  <a:pt x="4918" y="1346"/>
                </a:lnTo>
                <a:lnTo>
                  <a:pt x="4924" y="1346"/>
                </a:lnTo>
                <a:lnTo>
                  <a:pt x="4924" y="1346"/>
                </a:lnTo>
                <a:lnTo>
                  <a:pt x="4924" y="1352"/>
                </a:lnTo>
                <a:lnTo>
                  <a:pt x="4930" y="1352"/>
                </a:lnTo>
                <a:lnTo>
                  <a:pt x="4930" y="1352"/>
                </a:lnTo>
                <a:lnTo>
                  <a:pt x="4930" y="1352"/>
                </a:lnTo>
                <a:lnTo>
                  <a:pt x="4930" y="1352"/>
                </a:lnTo>
                <a:lnTo>
                  <a:pt x="4930" y="1352"/>
                </a:lnTo>
                <a:lnTo>
                  <a:pt x="4930" y="1352"/>
                </a:lnTo>
                <a:lnTo>
                  <a:pt x="4930" y="1352"/>
                </a:lnTo>
                <a:lnTo>
                  <a:pt x="4930" y="1352"/>
                </a:lnTo>
                <a:lnTo>
                  <a:pt x="4936" y="1358"/>
                </a:lnTo>
                <a:lnTo>
                  <a:pt x="4936" y="1358"/>
                </a:lnTo>
                <a:lnTo>
                  <a:pt x="4936" y="1358"/>
                </a:lnTo>
                <a:lnTo>
                  <a:pt x="4936" y="1358"/>
                </a:lnTo>
                <a:lnTo>
                  <a:pt x="4936" y="1358"/>
                </a:lnTo>
                <a:lnTo>
                  <a:pt x="4936" y="1358"/>
                </a:lnTo>
                <a:lnTo>
                  <a:pt x="4936" y="1364"/>
                </a:lnTo>
                <a:lnTo>
                  <a:pt x="4936" y="1364"/>
                </a:lnTo>
                <a:lnTo>
                  <a:pt x="4936" y="1364"/>
                </a:lnTo>
                <a:lnTo>
                  <a:pt x="4936" y="1364"/>
                </a:lnTo>
                <a:lnTo>
                  <a:pt x="4936" y="1364"/>
                </a:lnTo>
                <a:lnTo>
                  <a:pt x="4936" y="1364"/>
                </a:lnTo>
                <a:lnTo>
                  <a:pt x="4942" y="1364"/>
                </a:lnTo>
                <a:lnTo>
                  <a:pt x="4942" y="1364"/>
                </a:lnTo>
                <a:lnTo>
                  <a:pt x="4942" y="1364"/>
                </a:lnTo>
                <a:lnTo>
                  <a:pt x="4942" y="1364"/>
                </a:lnTo>
                <a:lnTo>
                  <a:pt x="4948" y="1358"/>
                </a:lnTo>
                <a:lnTo>
                  <a:pt x="4948" y="1358"/>
                </a:lnTo>
                <a:lnTo>
                  <a:pt x="4948" y="1358"/>
                </a:lnTo>
                <a:lnTo>
                  <a:pt x="4948" y="1364"/>
                </a:lnTo>
                <a:lnTo>
                  <a:pt x="4948" y="1364"/>
                </a:lnTo>
                <a:lnTo>
                  <a:pt x="4948" y="1364"/>
                </a:lnTo>
                <a:lnTo>
                  <a:pt x="4948" y="1364"/>
                </a:lnTo>
                <a:lnTo>
                  <a:pt x="4954" y="1364"/>
                </a:lnTo>
                <a:lnTo>
                  <a:pt x="4954" y="1364"/>
                </a:lnTo>
                <a:lnTo>
                  <a:pt x="4954" y="1364"/>
                </a:lnTo>
                <a:lnTo>
                  <a:pt x="4954" y="1364"/>
                </a:lnTo>
                <a:lnTo>
                  <a:pt x="4960" y="1364"/>
                </a:lnTo>
                <a:lnTo>
                  <a:pt x="4960" y="1364"/>
                </a:lnTo>
                <a:lnTo>
                  <a:pt x="4960" y="1364"/>
                </a:lnTo>
                <a:lnTo>
                  <a:pt x="4966" y="1370"/>
                </a:lnTo>
                <a:lnTo>
                  <a:pt x="4966" y="1376"/>
                </a:lnTo>
                <a:lnTo>
                  <a:pt x="4960" y="1382"/>
                </a:lnTo>
                <a:lnTo>
                  <a:pt x="4960" y="1382"/>
                </a:lnTo>
                <a:lnTo>
                  <a:pt x="4960" y="1382"/>
                </a:lnTo>
                <a:lnTo>
                  <a:pt x="4960" y="1388"/>
                </a:lnTo>
                <a:lnTo>
                  <a:pt x="4960" y="1388"/>
                </a:lnTo>
                <a:lnTo>
                  <a:pt x="4960" y="1388"/>
                </a:lnTo>
                <a:lnTo>
                  <a:pt x="4954" y="1394"/>
                </a:lnTo>
                <a:lnTo>
                  <a:pt x="4954" y="1394"/>
                </a:lnTo>
                <a:lnTo>
                  <a:pt x="4954" y="1394"/>
                </a:lnTo>
                <a:lnTo>
                  <a:pt x="4954" y="1394"/>
                </a:lnTo>
                <a:lnTo>
                  <a:pt x="4954" y="1394"/>
                </a:lnTo>
                <a:lnTo>
                  <a:pt x="4954" y="1394"/>
                </a:lnTo>
                <a:lnTo>
                  <a:pt x="4954" y="1394"/>
                </a:lnTo>
                <a:lnTo>
                  <a:pt x="4960" y="1400"/>
                </a:lnTo>
                <a:lnTo>
                  <a:pt x="4960" y="1400"/>
                </a:lnTo>
                <a:lnTo>
                  <a:pt x="4960" y="1400"/>
                </a:lnTo>
                <a:lnTo>
                  <a:pt x="4960" y="1400"/>
                </a:lnTo>
                <a:lnTo>
                  <a:pt x="4966" y="1394"/>
                </a:lnTo>
                <a:lnTo>
                  <a:pt x="4972" y="1394"/>
                </a:lnTo>
                <a:lnTo>
                  <a:pt x="4972" y="1394"/>
                </a:lnTo>
                <a:lnTo>
                  <a:pt x="4972" y="1388"/>
                </a:lnTo>
                <a:lnTo>
                  <a:pt x="4972" y="1388"/>
                </a:lnTo>
                <a:lnTo>
                  <a:pt x="4972" y="1388"/>
                </a:lnTo>
                <a:lnTo>
                  <a:pt x="4972" y="1388"/>
                </a:lnTo>
                <a:lnTo>
                  <a:pt x="4972" y="1382"/>
                </a:lnTo>
                <a:lnTo>
                  <a:pt x="4972" y="1382"/>
                </a:lnTo>
                <a:lnTo>
                  <a:pt x="4972" y="1382"/>
                </a:lnTo>
                <a:lnTo>
                  <a:pt x="4972" y="1382"/>
                </a:lnTo>
                <a:lnTo>
                  <a:pt x="4972" y="1382"/>
                </a:lnTo>
                <a:lnTo>
                  <a:pt x="4978" y="1382"/>
                </a:lnTo>
                <a:lnTo>
                  <a:pt x="4978" y="1382"/>
                </a:lnTo>
                <a:lnTo>
                  <a:pt x="4978" y="1382"/>
                </a:lnTo>
                <a:lnTo>
                  <a:pt x="4978" y="1382"/>
                </a:lnTo>
                <a:lnTo>
                  <a:pt x="4978" y="1376"/>
                </a:lnTo>
                <a:lnTo>
                  <a:pt x="4984" y="1376"/>
                </a:lnTo>
                <a:lnTo>
                  <a:pt x="4984" y="1376"/>
                </a:lnTo>
                <a:lnTo>
                  <a:pt x="4984" y="1376"/>
                </a:lnTo>
                <a:lnTo>
                  <a:pt x="4984" y="1376"/>
                </a:lnTo>
                <a:lnTo>
                  <a:pt x="4984" y="1376"/>
                </a:lnTo>
                <a:lnTo>
                  <a:pt x="4984" y="1376"/>
                </a:lnTo>
                <a:lnTo>
                  <a:pt x="4978" y="1370"/>
                </a:lnTo>
                <a:lnTo>
                  <a:pt x="4978" y="1376"/>
                </a:lnTo>
                <a:lnTo>
                  <a:pt x="4978" y="1376"/>
                </a:lnTo>
                <a:lnTo>
                  <a:pt x="4978" y="1370"/>
                </a:lnTo>
                <a:lnTo>
                  <a:pt x="4978" y="1370"/>
                </a:lnTo>
                <a:lnTo>
                  <a:pt x="4978" y="1370"/>
                </a:lnTo>
                <a:lnTo>
                  <a:pt x="4978" y="1370"/>
                </a:lnTo>
                <a:lnTo>
                  <a:pt x="4978" y="1370"/>
                </a:lnTo>
                <a:lnTo>
                  <a:pt x="4984" y="1370"/>
                </a:lnTo>
                <a:lnTo>
                  <a:pt x="4984" y="1370"/>
                </a:lnTo>
                <a:lnTo>
                  <a:pt x="4984" y="1370"/>
                </a:lnTo>
                <a:lnTo>
                  <a:pt x="4990" y="1364"/>
                </a:lnTo>
                <a:lnTo>
                  <a:pt x="4990" y="1358"/>
                </a:lnTo>
                <a:lnTo>
                  <a:pt x="4990" y="1358"/>
                </a:lnTo>
                <a:lnTo>
                  <a:pt x="4995" y="1352"/>
                </a:lnTo>
                <a:lnTo>
                  <a:pt x="4995" y="1352"/>
                </a:lnTo>
                <a:lnTo>
                  <a:pt x="4995" y="1352"/>
                </a:lnTo>
                <a:lnTo>
                  <a:pt x="4990" y="1352"/>
                </a:lnTo>
                <a:lnTo>
                  <a:pt x="4990" y="1352"/>
                </a:lnTo>
                <a:lnTo>
                  <a:pt x="4990" y="1352"/>
                </a:lnTo>
                <a:lnTo>
                  <a:pt x="4990" y="1352"/>
                </a:lnTo>
                <a:lnTo>
                  <a:pt x="4990" y="1352"/>
                </a:lnTo>
                <a:lnTo>
                  <a:pt x="4990" y="1352"/>
                </a:lnTo>
                <a:lnTo>
                  <a:pt x="4990" y="1352"/>
                </a:lnTo>
                <a:lnTo>
                  <a:pt x="4990" y="1346"/>
                </a:lnTo>
                <a:lnTo>
                  <a:pt x="4990" y="1346"/>
                </a:lnTo>
                <a:lnTo>
                  <a:pt x="4995" y="1346"/>
                </a:lnTo>
                <a:lnTo>
                  <a:pt x="4995" y="1346"/>
                </a:lnTo>
                <a:lnTo>
                  <a:pt x="4995" y="1346"/>
                </a:lnTo>
                <a:lnTo>
                  <a:pt x="4995" y="1340"/>
                </a:lnTo>
                <a:lnTo>
                  <a:pt x="5001" y="1340"/>
                </a:lnTo>
                <a:lnTo>
                  <a:pt x="5007" y="1340"/>
                </a:lnTo>
                <a:lnTo>
                  <a:pt x="5001" y="1346"/>
                </a:lnTo>
                <a:lnTo>
                  <a:pt x="5001" y="1346"/>
                </a:lnTo>
                <a:lnTo>
                  <a:pt x="5001" y="1346"/>
                </a:lnTo>
                <a:lnTo>
                  <a:pt x="5001" y="1346"/>
                </a:lnTo>
                <a:lnTo>
                  <a:pt x="5001" y="1346"/>
                </a:lnTo>
                <a:lnTo>
                  <a:pt x="5007" y="1340"/>
                </a:lnTo>
                <a:lnTo>
                  <a:pt x="5013" y="1340"/>
                </a:lnTo>
                <a:lnTo>
                  <a:pt x="5013" y="1340"/>
                </a:lnTo>
                <a:lnTo>
                  <a:pt x="5007" y="1340"/>
                </a:lnTo>
                <a:lnTo>
                  <a:pt x="5007" y="1334"/>
                </a:lnTo>
                <a:lnTo>
                  <a:pt x="5007" y="1334"/>
                </a:lnTo>
                <a:lnTo>
                  <a:pt x="5007" y="1334"/>
                </a:lnTo>
                <a:lnTo>
                  <a:pt x="5007" y="1334"/>
                </a:lnTo>
                <a:lnTo>
                  <a:pt x="5007" y="1334"/>
                </a:lnTo>
                <a:lnTo>
                  <a:pt x="5007" y="1334"/>
                </a:lnTo>
                <a:lnTo>
                  <a:pt x="5007" y="1334"/>
                </a:lnTo>
                <a:lnTo>
                  <a:pt x="5007" y="1334"/>
                </a:lnTo>
                <a:lnTo>
                  <a:pt x="5007" y="1334"/>
                </a:lnTo>
                <a:lnTo>
                  <a:pt x="5007" y="1329"/>
                </a:lnTo>
                <a:lnTo>
                  <a:pt x="5007" y="1329"/>
                </a:lnTo>
                <a:lnTo>
                  <a:pt x="5007" y="1329"/>
                </a:lnTo>
                <a:lnTo>
                  <a:pt x="5007" y="1329"/>
                </a:lnTo>
                <a:lnTo>
                  <a:pt x="5007" y="1329"/>
                </a:lnTo>
                <a:lnTo>
                  <a:pt x="5013" y="1329"/>
                </a:lnTo>
                <a:lnTo>
                  <a:pt x="5013" y="1329"/>
                </a:lnTo>
                <a:lnTo>
                  <a:pt x="5013" y="1329"/>
                </a:lnTo>
                <a:lnTo>
                  <a:pt x="5013" y="1329"/>
                </a:lnTo>
                <a:lnTo>
                  <a:pt x="5013" y="1329"/>
                </a:lnTo>
                <a:lnTo>
                  <a:pt x="5013" y="1329"/>
                </a:lnTo>
                <a:lnTo>
                  <a:pt x="5013" y="1329"/>
                </a:lnTo>
                <a:lnTo>
                  <a:pt x="5013" y="1323"/>
                </a:lnTo>
                <a:lnTo>
                  <a:pt x="5013" y="1323"/>
                </a:lnTo>
                <a:lnTo>
                  <a:pt x="5013" y="1323"/>
                </a:lnTo>
                <a:lnTo>
                  <a:pt x="5013" y="1323"/>
                </a:lnTo>
                <a:lnTo>
                  <a:pt x="5013" y="1323"/>
                </a:lnTo>
                <a:lnTo>
                  <a:pt x="5013" y="1317"/>
                </a:lnTo>
                <a:lnTo>
                  <a:pt x="5013" y="1317"/>
                </a:lnTo>
                <a:lnTo>
                  <a:pt x="5013" y="1317"/>
                </a:lnTo>
                <a:lnTo>
                  <a:pt x="5013" y="1317"/>
                </a:lnTo>
                <a:lnTo>
                  <a:pt x="5013" y="1317"/>
                </a:lnTo>
                <a:lnTo>
                  <a:pt x="5019" y="1317"/>
                </a:lnTo>
                <a:lnTo>
                  <a:pt x="5019" y="1323"/>
                </a:lnTo>
                <a:lnTo>
                  <a:pt x="5019" y="1323"/>
                </a:lnTo>
                <a:lnTo>
                  <a:pt x="5019" y="1323"/>
                </a:lnTo>
                <a:lnTo>
                  <a:pt x="5019" y="1323"/>
                </a:lnTo>
                <a:lnTo>
                  <a:pt x="5019" y="1323"/>
                </a:lnTo>
                <a:lnTo>
                  <a:pt x="5025" y="1323"/>
                </a:lnTo>
                <a:lnTo>
                  <a:pt x="5025" y="1323"/>
                </a:lnTo>
                <a:lnTo>
                  <a:pt x="5025" y="1323"/>
                </a:lnTo>
                <a:lnTo>
                  <a:pt x="5025" y="1317"/>
                </a:lnTo>
                <a:lnTo>
                  <a:pt x="5019" y="1317"/>
                </a:lnTo>
                <a:lnTo>
                  <a:pt x="5019" y="1311"/>
                </a:lnTo>
                <a:lnTo>
                  <a:pt x="5019" y="1311"/>
                </a:lnTo>
                <a:lnTo>
                  <a:pt x="5025" y="1311"/>
                </a:lnTo>
                <a:lnTo>
                  <a:pt x="5025" y="1311"/>
                </a:lnTo>
                <a:lnTo>
                  <a:pt x="5025" y="1311"/>
                </a:lnTo>
                <a:lnTo>
                  <a:pt x="5025" y="1311"/>
                </a:lnTo>
                <a:lnTo>
                  <a:pt x="5025" y="1305"/>
                </a:lnTo>
                <a:lnTo>
                  <a:pt x="5025" y="1305"/>
                </a:lnTo>
                <a:lnTo>
                  <a:pt x="5025" y="1305"/>
                </a:lnTo>
                <a:lnTo>
                  <a:pt x="5031" y="1305"/>
                </a:lnTo>
                <a:lnTo>
                  <a:pt x="5031" y="1305"/>
                </a:lnTo>
                <a:lnTo>
                  <a:pt x="5031" y="1305"/>
                </a:lnTo>
                <a:lnTo>
                  <a:pt x="5031" y="1299"/>
                </a:lnTo>
                <a:lnTo>
                  <a:pt x="5031" y="1299"/>
                </a:lnTo>
                <a:lnTo>
                  <a:pt x="5037" y="1299"/>
                </a:lnTo>
                <a:lnTo>
                  <a:pt x="5037" y="1299"/>
                </a:lnTo>
                <a:lnTo>
                  <a:pt x="5037" y="1299"/>
                </a:lnTo>
                <a:lnTo>
                  <a:pt x="5037" y="1299"/>
                </a:lnTo>
                <a:lnTo>
                  <a:pt x="5037" y="1293"/>
                </a:lnTo>
                <a:lnTo>
                  <a:pt x="5037" y="1293"/>
                </a:lnTo>
                <a:lnTo>
                  <a:pt x="5037" y="1293"/>
                </a:lnTo>
                <a:lnTo>
                  <a:pt x="5037" y="1293"/>
                </a:lnTo>
                <a:lnTo>
                  <a:pt x="5031" y="1293"/>
                </a:lnTo>
                <a:lnTo>
                  <a:pt x="5031" y="1287"/>
                </a:lnTo>
                <a:lnTo>
                  <a:pt x="5037" y="1281"/>
                </a:lnTo>
                <a:lnTo>
                  <a:pt x="5037" y="1281"/>
                </a:lnTo>
                <a:lnTo>
                  <a:pt x="5037" y="1281"/>
                </a:lnTo>
                <a:lnTo>
                  <a:pt x="5037" y="1281"/>
                </a:lnTo>
                <a:lnTo>
                  <a:pt x="5037" y="1275"/>
                </a:lnTo>
                <a:lnTo>
                  <a:pt x="5037" y="1275"/>
                </a:lnTo>
                <a:lnTo>
                  <a:pt x="5037" y="1275"/>
                </a:lnTo>
                <a:lnTo>
                  <a:pt x="5037" y="1269"/>
                </a:lnTo>
                <a:lnTo>
                  <a:pt x="5037" y="1269"/>
                </a:lnTo>
                <a:lnTo>
                  <a:pt x="5043" y="1269"/>
                </a:lnTo>
                <a:lnTo>
                  <a:pt x="5043" y="1269"/>
                </a:lnTo>
                <a:lnTo>
                  <a:pt x="5037" y="1269"/>
                </a:lnTo>
                <a:lnTo>
                  <a:pt x="5043" y="1263"/>
                </a:lnTo>
                <a:lnTo>
                  <a:pt x="5043" y="1263"/>
                </a:lnTo>
                <a:lnTo>
                  <a:pt x="5043" y="1263"/>
                </a:lnTo>
                <a:lnTo>
                  <a:pt x="5037" y="1263"/>
                </a:lnTo>
                <a:lnTo>
                  <a:pt x="5043" y="1257"/>
                </a:lnTo>
                <a:lnTo>
                  <a:pt x="5043" y="1257"/>
                </a:lnTo>
                <a:lnTo>
                  <a:pt x="5043" y="1257"/>
                </a:lnTo>
                <a:lnTo>
                  <a:pt x="5043" y="1257"/>
                </a:lnTo>
                <a:lnTo>
                  <a:pt x="5043" y="1257"/>
                </a:lnTo>
                <a:lnTo>
                  <a:pt x="5043" y="1257"/>
                </a:lnTo>
                <a:lnTo>
                  <a:pt x="5043" y="1257"/>
                </a:lnTo>
                <a:lnTo>
                  <a:pt x="5043" y="1257"/>
                </a:lnTo>
                <a:lnTo>
                  <a:pt x="5043" y="1257"/>
                </a:lnTo>
                <a:lnTo>
                  <a:pt x="5049" y="1257"/>
                </a:lnTo>
                <a:lnTo>
                  <a:pt x="5043" y="1251"/>
                </a:lnTo>
                <a:lnTo>
                  <a:pt x="5043" y="1251"/>
                </a:lnTo>
                <a:lnTo>
                  <a:pt x="5043" y="1251"/>
                </a:lnTo>
                <a:lnTo>
                  <a:pt x="5043" y="1251"/>
                </a:lnTo>
                <a:lnTo>
                  <a:pt x="5049" y="1251"/>
                </a:lnTo>
                <a:lnTo>
                  <a:pt x="5049" y="1251"/>
                </a:lnTo>
                <a:lnTo>
                  <a:pt x="5049" y="1251"/>
                </a:lnTo>
                <a:lnTo>
                  <a:pt x="5049" y="1251"/>
                </a:lnTo>
                <a:lnTo>
                  <a:pt x="5049" y="1257"/>
                </a:lnTo>
                <a:lnTo>
                  <a:pt x="5049" y="1257"/>
                </a:lnTo>
                <a:lnTo>
                  <a:pt x="5049" y="1257"/>
                </a:lnTo>
                <a:lnTo>
                  <a:pt x="5043" y="1257"/>
                </a:lnTo>
                <a:lnTo>
                  <a:pt x="5043" y="1257"/>
                </a:lnTo>
                <a:lnTo>
                  <a:pt x="5043" y="1263"/>
                </a:lnTo>
                <a:lnTo>
                  <a:pt x="5043" y="1263"/>
                </a:lnTo>
                <a:lnTo>
                  <a:pt x="5043" y="1269"/>
                </a:lnTo>
                <a:lnTo>
                  <a:pt x="5043" y="1287"/>
                </a:lnTo>
                <a:lnTo>
                  <a:pt x="5043" y="1287"/>
                </a:lnTo>
                <a:lnTo>
                  <a:pt x="5043" y="1287"/>
                </a:lnTo>
                <a:lnTo>
                  <a:pt x="5043" y="1281"/>
                </a:lnTo>
                <a:lnTo>
                  <a:pt x="5043" y="1275"/>
                </a:lnTo>
                <a:lnTo>
                  <a:pt x="5043" y="1269"/>
                </a:lnTo>
                <a:lnTo>
                  <a:pt x="5049" y="1269"/>
                </a:lnTo>
                <a:lnTo>
                  <a:pt x="5049" y="1263"/>
                </a:lnTo>
                <a:lnTo>
                  <a:pt x="5049" y="1263"/>
                </a:lnTo>
                <a:lnTo>
                  <a:pt x="5049" y="1257"/>
                </a:lnTo>
                <a:lnTo>
                  <a:pt x="5049" y="1257"/>
                </a:lnTo>
                <a:lnTo>
                  <a:pt x="5049" y="1257"/>
                </a:lnTo>
                <a:lnTo>
                  <a:pt x="5049" y="1251"/>
                </a:lnTo>
                <a:lnTo>
                  <a:pt x="5049" y="1246"/>
                </a:lnTo>
                <a:lnTo>
                  <a:pt x="5049" y="1246"/>
                </a:lnTo>
                <a:lnTo>
                  <a:pt x="5049" y="1240"/>
                </a:lnTo>
                <a:lnTo>
                  <a:pt x="5049" y="1240"/>
                </a:lnTo>
                <a:lnTo>
                  <a:pt x="5049" y="1240"/>
                </a:lnTo>
                <a:lnTo>
                  <a:pt x="5049" y="1240"/>
                </a:lnTo>
                <a:lnTo>
                  <a:pt x="5055" y="1228"/>
                </a:lnTo>
                <a:lnTo>
                  <a:pt x="5055" y="1222"/>
                </a:lnTo>
                <a:lnTo>
                  <a:pt x="5055" y="1216"/>
                </a:lnTo>
                <a:lnTo>
                  <a:pt x="5055" y="1210"/>
                </a:lnTo>
                <a:lnTo>
                  <a:pt x="5055" y="1204"/>
                </a:lnTo>
                <a:lnTo>
                  <a:pt x="5055" y="1198"/>
                </a:lnTo>
                <a:lnTo>
                  <a:pt x="5055" y="1198"/>
                </a:lnTo>
                <a:lnTo>
                  <a:pt x="5055" y="1198"/>
                </a:lnTo>
                <a:lnTo>
                  <a:pt x="5055" y="1198"/>
                </a:lnTo>
                <a:lnTo>
                  <a:pt x="5049" y="1198"/>
                </a:lnTo>
                <a:lnTo>
                  <a:pt x="5055" y="1204"/>
                </a:lnTo>
                <a:lnTo>
                  <a:pt x="5055" y="1204"/>
                </a:lnTo>
                <a:lnTo>
                  <a:pt x="5055" y="1204"/>
                </a:lnTo>
                <a:lnTo>
                  <a:pt x="5055" y="1204"/>
                </a:lnTo>
                <a:lnTo>
                  <a:pt x="5049" y="1204"/>
                </a:lnTo>
                <a:lnTo>
                  <a:pt x="5043" y="1198"/>
                </a:lnTo>
                <a:lnTo>
                  <a:pt x="5037" y="1198"/>
                </a:lnTo>
                <a:lnTo>
                  <a:pt x="5031" y="1204"/>
                </a:lnTo>
                <a:lnTo>
                  <a:pt x="5031" y="1198"/>
                </a:lnTo>
                <a:lnTo>
                  <a:pt x="5031" y="1198"/>
                </a:lnTo>
                <a:lnTo>
                  <a:pt x="5025" y="1198"/>
                </a:lnTo>
                <a:lnTo>
                  <a:pt x="5025" y="1198"/>
                </a:lnTo>
                <a:lnTo>
                  <a:pt x="5025" y="1198"/>
                </a:lnTo>
                <a:lnTo>
                  <a:pt x="5025" y="1192"/>
                </a:lnTo>
                <a:lnTo>
                  <a:pt x="5025" y="1192"/>
                </a:lnTo>
                <a:lnTo>
                  <a:pt x="5025" y="1192"/>
                </a:lnTo>
                <a:lnTo>
                  <a:pt x="5025" y="1192"/>
                </a:lnTo>
                <a:lnTo>
                  <a:pt x="5025" y="1186"/>
                </a:lnTo>
                <a:lnTo>
                  <a:pt x="5025" y="1186"/>
                </a:lnTo>
                <a:lnTo>
                  <a:pt x="5025" y="1186"/>
                </a:lnTo>
                <a:lnTo>
                  <a:pt x="5031" y="1186"/>
                </a:lnTo>
                <a:lnTo>
                  <a:pt x="5031" y="1186"/>
                </a:lnTo>
                <a:lnTo>
                  <a:pt x="5031" y="1186"/>
                </a:lnTo>
                <a:lnTo>
                  <a:pt x="5031" y="1180"/>
                </a:lnTo>
                <a:lnTo>
                  <a:pt x="5031" y="1180"/>
                </a:lnTo>
                <a:lnTo>
                  <a:pt x="5031" y="1180"/>
                </a:lnTo>
                <a:lnTo>
                  <a:pt x="5031" y="1174"/>
                </a:lnTo>
                <a:lnTo>
                  <a:pt x="5031" y="1174"/>
                </a:lnTo>
                <a:lnTo>
                  <a:pt x="5031" y="1174"/>
                </a:lnTo>
                <a:lnTo>
                  <a:pt x="5031" y="1174"/>
                </a:lnTo>
                <a:lnTo>
                  <a:pt x="5037" y="1174"/>
                </a:lnTo>
                <a:lnTo>
                  <a:pt x="5037" y="1174"/>
                </a:lnTo>
                <a:lnTo>
                  <a:pt x="5037" y="1174"/>
                </a:lnTo>
                <a:lnTo>
                  <a:pt x="5037" y="1168"/>
                </a:lnTo>
                <a:lnTo>
                  <a:pt x="5037" y="1168"/>
                </a:lnTo>
                <a:lnTo>
                  <a:pt x="5037" y="1168"/>
                </a:lnTo>
                <a:lnTo>
                  <a:pt x="5037" y="1168"/>
                </a:lnTo>
                <a:lnTo>
                  <a:pt x="5037" y="1168"/>
                </a:lnTo>
                <a:lnTo>
                  <a:pt x="5043" y="1162"/>
                </a:lnTo>
                <a:lnTo>
                  <a:pt x="5043" y="1168"/>
                </a:lnTo>
                <a:lnTo>
                  <a:pt x="5043" y="1168"/>
                </a:lnTo>
                <a:lnTo>
                  <a:pt x="5037" y="1174"/>
                </a:lnTo>
                <a:lnTo>
                  <a:pt x="5037" y="1174"/>
                </a:lnTo>
                <a:lnTo>
                  <a:pt x="5037" y="1174"/>
                </a:lnTo>
                <a:lnTo>
                  <a:pt x="5043" y="1174"/>
                </a:lnTo>
                <a:lnTo>
                  <a:pt x="5043" y="1174"/>
                </a:lnTo>
                <a:lnTo>
                  <a:pt x="5043" y="1174"/>
                </a:lnTo>
                <a:lnTo>
                  <a:pt x="5043" y="1168"/>
                </a:lnTo>
                <a:lnTo>
                  <a:pt x="5043" y="1168"/>
                </a:lnTo>
                <a:lnTo>
                  <a:pt x="5043" y="1168"/>
                </a:lnTo>
                <a:lnTo>
                  <a:pt x="5049" y="1168"/>
                </a:lnTo>
                <a:lnTo>
                  <a:pt x="5049" y="1168"/>
                </a:lnTo>
                <a:lnTo>
                  <a:pt x="5049" y="1162"/>
                </a:lnTo>
                <a:lnTo>
                  <a:pt x="5049" y="1162"/>
                </a:lnTo>
                <a:lnTo>
                  <a:pt x="5049" y="1162"/>
                </a:lnTo>
                <a:lnTo>
                  <a:pt x="5049" y="1162"/>
                </a:lnTo>
                <a:lnTo>
                  <a:pt x="5049" y="1162"/>
                </a:lnTo>
                <a:lnTo>
                  <a:pt x="5049" y="1162"/>
                </a:lnTo>
                <a:lnTo>
                  <a:pt x="5049" y="1157"/>
                </a:lnTo>
                <a:lnTo>
                  <a:pt x="5049" y="1157"/>
                </a:lnTo>
                <a:lnTo>
                  <a:pt x="5049" y="1157"/>
                </a:lnTo>
                <a:lnTo>
                  <a:pt x="5055" y="1157"/>
                </a:lnTo>
                <a:lnTo>
                  <a:pt x="5055" y="1145"/>
                </a:lnTo>
                <a:lnTo>
                  <a:pt x="5055" y="1145"/>
                </a:lnTo>
                <a:lnTo>
                  <a:pt x="5061" y="1139"/>
                </a:lnTo>
                <a:lnTo>
                  <a:pt x="5061" y="1133"/>
                </a:lnTo>
                <a:lnTo>
                  <a:pt x="5061" y="1127"/>
                </a:lnTo>
                <a:lnTo>
                  <a:pt x="5061" y="1127"/>
                </a:lnTo>
                <a:lnTo>
                  <a:pt x="5061" y="1127"/>
                </a:lnTo>
                <a:lnTo>
                  <a:pt x="5061" y="1127"/>
                </a:lnTo>
                <a:lnTo>
                  <a:pt x="5061" y="1115"/>
                </a:lnTo>
                <a:lnTo>
                  <a:pt x="5061" y="1109"/>
                </a:lnTo>
                <a:lnTo>
                  <a:pt x="5061" y="1103"/>
                </a:lnTo>
                <a:lnTo>
                  <a:pt x="5061" y="1103"/>
                </a:lnTo>
                <a:lnTo>
                  <a:pt x="5055" y="1103"/>
                </a:lnTo>
                <a:lnTo>
                  <a:pt x="5055" y="1103"/>
                </a:lnTo>
                <a:lnTo>
                  <a:pt x="5055" y="1103"/>
                </a:lnTo>
                <a:lnTo>
                  <a:pt x="5055" y="1097"/>
                </a:lnTo>
                <a:lnTo>
                  <a:pt x="5055" y="1097"/>
                </a:lnTo>
                <a:lnTo>
                  <a:pt x="5055" y="1097"/>
                </a:lnTo>
                <a:lnTo>
                  <a:pt x="5055" y="1091"/>
                </a:lnTo>
                <a:lnTo>
                  <a:pt x="5055" y="1091"/>
                </a:lnTo>
                <a:lnTo>
                  <a:pt x="5055" y="1091"/>
                </a:lnTo>
                <a:lnTo>
                  <a:pt x="5055" y="1091"/>
                </a:lnTo>
                <a:lnTo>
                  <a:pt x="5055" y="1091"/>
                </a:lnTo>
                <a:lnTo>
                  <a:pt x="5055" y="1091"/>
                </a:lnTo>
                <a:lnTo>
                  <a:pt x="5055" y="1091"/>
                </a:lnTo>
                <a:lnTo>
                  <a:pt x="5055" y="1091"/>
                </a:lnTo>
                <a:lnTo>
                  <a:pt x="5055" y="1091"/>
                </a:lnTo>
                <a:lnTo>
                  <a:pt x="5055" y="1085"/>
                </a:lnTo>
                <a:lnTo>
                  <a:pt x="5055" y="1085"/>
                </a:lnTo>
                <a:lnTo>
                  <a:pt x="5055" y="1085"/>
                </a:lnTo>
                <a:lnTo>
                  <a:pt x="5061" y="1091"/>
                </a:lnTo>
                <a:lnTo>
                  <a:pt x="5055" y="1091"/>
                </a:lnTo>
                <a:lnTo>
                  <a:pt x="5055" y="1091"/>
                </a:lnTo>
                <a:lnTo>
                  <a:pt x="5061" y="1097"/>
                </a:lnTo>
                <a:lnTo>
                  <a:pt x="5061" y="1097"/>
                </a:lnTo>
                <a:lnTo>
                  <a:pt x="5061" y="1103"/>
                </a:lnTo>
                <a:lnTo>
                  <a:pt x="5061" y="1103"/>
                </a:lnTo>
                <a:lnTo>
                  <a:pt x="5061" y="1103"/>
                </a:lnTo>
                <a:lnTo>
                  <a:pt x="5067" y="1103"/>
                </a:lnTo>
                <a:lnTo>
                  <a:pt x="5067" y="1109"/>
                </a:lnTo>
                <a:lnTo>
                  <a:pt x="5067" y="1115"/>
                </a:lnTo>
                <a:lnTo>
                  <a:pt x="5067" y="1121"/>
                </a:lnTo>
                <a:lnTo>
                  <a:pt x="5067" y="1121"/>
                </a:lnTo>
                <a:lnTo>
                  <a:pt x="5067" y="1127"/>
                </a:lnTo>
                <a:lnTo>
                  <a:pt x="5067" y="1127"/>
                </a:lnTo>
                <a:lnTo>
                  <a:pt x="5067" y="1127"/>
                </a:lnTo>
                <a:lnTo>
                  <a:pt x="5061" y="1133"/>
                </a:lnTo>
                <a:lnTo>
                  <a:pt x="5061" y="1139"/>
                </a:lnTo>
                <a:lnTo>
                  <a:pt x="5061" y="1145"/>
                </a:lnTo>
                <a:lnTo>
                  <a:pt x="5061" y="1145"/>
                </a:lnTo>
                <a:lnTo>
                  <a:pt x="5061" y="1145"/>
                </a:lnTo>
                <a:lnTo>
                  <a:pt x="5061" y="1145"/>
                </a:lnTo>
                <a:lnTo>
                  <a:pt x="5061" y="1145"/>
                </a:lnTo>
                <a:lnTo>
                  <a:pt x="5061" y="1151"/>
                </a:lnTo>
                <a:lnTo>
                  <a:pt x="5061" y="1151"/>
                </a:lnTo>
                <a:lnTo>
                  <a:pt x="5061" y="1151"/>
                </a:lnTo>
                <a:lnTo>
                  <a:pt x="5061" y="1151"/>
                </a:lnTo>
                <a:lnTo>
                  <a:pt x="5061" y="1151"/>
                </a:lnTo>
                <a:lnTo>
                  <a:pt x="5061" y="1151"/>
                </a:lnTo>
                <a:lnTo>
                  <a:pt x="5067" y="1151"/>
                </a:lnTo>
                <a:lnTo>
                  <a:pt x="5067" y="1151"/>
                </a:lnTo>
                <a:lnTo>
                  <a:pt x="5073" y="1151"/>
                </a:lnTo>
                <a:lnTo>
                  <a:pt x="5073" y="1151"/>
                </a:lnTo>
                <a:lnTo>
                  <a:pt x="5073" y="1151"/>
                </a:lnTo>
                <a:lnTo>
                  <a:pt x="5073" y="1151"/>
                </a:lnTo>
                <a:lnTo>
                  <a:pt x="5073" y="1145"/>
                </a:lnTo>
                <a:lnTo>
                  <a:pt x="5073" y="1145"/>
                </a:lnTo>
                <a:lnTo>
                  <a:pt x="5073" y="1145"/>
                </a:lnTo>
                <a:lnTo>
                  <a:pt x="5073" y="1145"/>
                </a:lnTo>
                <a:lnTo>
                  <a:pt x="5073" y="1145"/>
                </a:lnTo>
                <a:lnTo>
                  <a:pt x="5073" y="1145"/>
                </a:lnTo>
                <a:lnTo>
                  <a:pt x="5073" y="1145"/>
                </a:lnTo>
                <a:lnTo>
                  <a:pt x="5073" y="1139"/>
                </a:lnTo>
                <a:lnTo>
                  <a:pt x="5078" y="1139"/>
                </a:lnTo>
                <a:lnTo>
                  <a:pt x="5078" y="1139"/>
                </a:lnTo>
                <a:lnTo>
                  <a:pt x="5078" y="1133"/>
                </a:lnTo>
                <a:lnTo>
                  <a:pt x="5078" y="1133"/>
                </a:lnTo>
                <a:lnTo>
                  <a:pt x="5084" y="1133"/>
                </a:lnTo>
                <a:lnTo>
                  <a:pt x="5084" y="1133"/>
                </a:lnTo>
                <a:lnTo>
                  <a:pt x="5084" y="1133"/>
                </a:lnTo>
                <a:lnTo>
                  <a:pt x="5084" y="1133"/>
                </a:lnTo>
                <a:lnTo>
                  <a:pt x="5084" y="1133"/>
                </a:lnTo>
                <a:lnTo>
                  <a:pt x="5084" y="1127"/>
                </a:lnTo>
                <a:lnTo>
                  <a:pt x="5090" y="1127"/>
                </a:lnTo>
                <a:lnTo>
                  <a:pt x="5090" y="1127"/>
                </a:lnTo>
                <a:lnTo>
                  <a:pt x="5084" y="1127"/>
                </a:lnTo>
                <a:lnTo>
                  <a:pt x="5090" y="1127"/>
                </a:lnTo>
                <a:lnTo>
                  <a:pt x="5090" y="1127"/>
                </a:lnTo>
                <a:lnTo>
                  <a:pt x="5090" y="1127"/>
                </a:lnTo>
                <a:lnTo>
                  <a:pt x="5090" y="1127"/>
                </a:lnTo>
                <a:lnTo>
                  <a:pt x="5090" y="1127"/>
                </a:lnTo>
                <a:lnTo>
                  <a:pt x="5090" y="1127"/>
                </a:lnTo>
                <a:lnTo>
                  <a:pt x="5090" y="1127"/>
                </a:lnTo>
                <a:lnTo>
                  <a:pt x="5090" y="1127"/>
                </a:lnTo>
                <a:lnTo>
                  <a:pt x="5090" y="1127"/>
                </a:lnTo>
                <a:lnTo>
                  <a:pt x="5096" y="1127"/>
                </a:lnTo>
                <a:lnTo>
                  <a:pt x="5096" y="1127"/>
                </a:lnTo>
                <a:lnTo>
                  <a:pt x="5096" y="1127"/>
                </a:lnTo>
                <a:lnTo>
                  <a:pt x="5096" y="1121"/>
                </a:lnTo>
                <a:lnTo>
                  <a:pt x="5096" y="1121"/>
                </a:lnTo>
                <a:lnTo>
                  <a:pt x="5096" y="1121"/>
                </a:lnTo>
                <a:lnTo>
                  <a:pt x="5102" y="1127"/>
                </a:lnTo>
                <a:lnTo>
                  <a:pt x="5102" y="1121"/>
                </a:lnTo>
                <a:lnTo>
                  <a:pt x="5102" y="1121"/>
                </a:lnTo>
                <a:lnTo>
                  <a:pt x="5102" y="1121"/>
                </a:lnTo>
                <a:lnTo>
                  <a:pt x="5102" y="1121"/>
                </a:lnTo>
                <a:lnTo>
                  <a:pt x="5108" y="1121"/>
                </a:lnTo>
                <a:lnTo>
                  <a:pt x="5108" y="1115"/>
                </a:lnTo>
                <a:lnTo>
                  <a:pt x="5114" y="1115"/>
                </a:lnTo>
                <a:lnTo>
                  <a:pt x="5114" y="1115"/>
                </a:lnTo>
                <a:lnTo>
                  <a:pt x="5114" y="1115"/>
                </a:lnTo>
                <a:lnTo>
                  <a:pt x="5120" y="1115"/>
                </a:lnTo>
                <a:lnTo>
                  <a:pt x="5120" y="1115"/>
                </a:lnTo>
                <a:lnTo>
                  <a:pt x="5120" y="1115"/>
                </a:lnTo>
                <a:lnTo>
                  <a:pt x="5120" y="1115"/>
                </a:lnTo>
                <a:lnTo>
                  <a:pt x="5120" y="1115"/>
                </a:lnTo>
                <a:lnTo>
                  <a:pt x="5120" y="1115"/>
                </a:lnTo>
                <a:lnTo>
                  <a:pt x="5120" y="1109"/>
                </a:lnTo>
                <a:lnTo>
                  <a:pt x="5126" y="1109"/>
                </a:lnTo>
                <a:lnTo>
                  <a:pt x="5126" y="1109"/>
                </a:lnTo>
                <a:lnTo>
                  <a:pt x="5126" y="1109"/>
                </a:lnTo>
                <a:lnTo>
                  <a:pt x="5126" y="1109"/>
                </a:lnTo>
                <a:lnTo>
                  <a:pt x="5126" y="1115"/>
                </a:lnTo>
                <a:lnTo>
                  <a:pt x="5126" y="1109"/>
                </a:lnTo>
                <a:lnTo>
                  <a:pt x="5126" y="1109"/>
                </a:lnTo>
                <a:lnTo>
                  <a:pt x="5126" y="1109"/>
                </a:lnTo>
                <a:lnTo>
                  <a:pt x="5132" y="1109"/>
                </a:lnTo>
                <a:lnTo>
                  <a:pt x="5132" y="1109"/>
                </a:lnTo>
                <a:lnTo>
                  <a:pt x="5132" y="1109"/>
                </a:lnTo>
                <a:lnTo>
                  <a:pt x="5132" y="1109"/>
                </a:lnTo>
                <a:lnTo>
                  <a:pt x="5132" y="1109"/>
                </a:lnTo>
                <a:lnTo>
                  <a:pt x="5132" y="1109"/>
                </a:lnTo>
                <a:lnTo>
                  <a:pt x="5132" y="1103"/>
                </a:lnTo>
                <a:lnTo>
                  <a:pt x="5132" y="1103"/>
                </a:lnTo>
                <a:lnTo>
                  <a:pt x="5132" y="1103"/>
                </a:lnTo>
                <a:lnTo>
                  <a:pt x="5132" y="1103"/>
                </a:lnTo>
                <a:lnTo>
                  <a:pt x="5132" y="1109"/>
                </a:lnTo>
                <a:lnTo>
                  <a:pt x="5132" y="1109"/>
                </a:lnTo>
                <a:lnTo>
                  <a:pt x="5132" y="1109"/>
                </a:lnTo>
                <a:lnTo>
                  <a:pt x="5132" y="1103"/>
                </a:lnTo>
                <a:lnTo>
                  <a:pt x="5132" y="1103"/>
                </a:lnTo>
                <a:lnTo>
                  <a:pt x="5132" y="1103"/>
                </a:lnTo>
                <a:lnTo>
                  <a:pt x="5138" y="1103"/>
                </a:lnTo>
                <a:lnTo>
                  <a:pt x="5138" y="1103"/>
                </a:lnTo>
                <a:lnTo>
                  <a:pt x="5138" y="1109"/>
                </a:lnTo>
                <a:lnTo>
                  <a:pt x="5138" y="1109"/>
                </a:lnTo>
                <a:lnTo>
                  <a:pt x="5138" y="1109"/>
                </a:lnTo>
                <a:lnTo>
                  <a:pt x="5144" y="1109"/>
                </a:lnTo>
                <a:lnTo>
                  <a:pt x="5144" y="1109"/>
                </a:lnTo>
                <a:lnTo>
                  <a:pt x="5144" y="1109"/>
                </a:lnTo>
                <a:lnTo>
                  <a:pt x="5144" y="1109"/>
                </a:lnTo>
                <a:lnTo>
                  <a:pt x="5144" y="1103"/>
                </a:lnTo>
                <a:lnTo>
                  <a:pt x="5144" y="1103"/>
                </a:lnTo>
                <a:lnTo>
                  <a:pt x="5144" y="1103"/>
                </a:lnTo>
                <a:lnTo>
                  <a:pt x="5144" y="1103"/>
                </a:lnTo>
                <a:lnTo>
                  <a:pt x="5144" y="1103"/>
                </a:lnTo>
                <a:lnTo>
                  <a:pt x="5144" y="1103"/>
                </a:lnTo>
                <a:lnTo>
                  <a:pt x="5144" y="1103"/>
                </a:lnTo>
                <a:lnTo>
                  <a:pt x="5144" y="1103"/>
                </a:lnTo>
                <a:lnTo>
                  <a:pt x="5144" y="1097"/>
                </a:lnTo>
                <a:lnTo>
                  <a:pt x="5150" y="1097"/>
                </a:lnTo>
                <a:lnTo>
                  <a:pt x="5150" y="1103"/>
                </a:lnTo>
                <a:lnTo>
                  <a:pt x="5150" y="1103"/>
                </a:lnTo>
                <a:lnTo>
                  <a:pt x="5150" y="1097"/>
                </a:lnTo>
                <a:lnTo>
                  <a:pt x="5150" y="1097"/>
                </a:lnTo>
                <a:lnTo>
                  <a:pt x="5150" y="1097"/>
                </a:lnTo>
                <a:lnTo>
                  <a:pt x="5155" y="1097"/>
                </a:lnTo>
                <a:lnTo>
                  <a:pt x="5155" y="1091"/>
                </a:lnTo>
                <a:lnTo>
                  <a:pt x="5161" y="1091"/>
                </a:lnTo>
                <a:lnTo>
                  <a:pt x="5161" y="1091"/>
                </a:lnTo>
                <a:lnTo>
                  <a:pt x="5161" y="1091"/>
                </a:lnTo>
                <a:lnTo>
                  <a:pt x="5161" y="1091"/>
                </a:lnTo>
                <a:lnTo>
                  <a:pt x="5161" y="1091"/>
                </a:lnTo>
                <a:lnTo>
                  <a:pt x="5161" y="1085"/>
                </a:lnTo>
                <a:lnTo>
                  <a:pt x="5161" y="1085"/>
                </a:lnTo>
                <a:lnTo>
                  <a:pt x="5161" y="1085"/>
                </a:lnTo>
                <a:lnTo>
                  <a:pt x="5161" y="1085"/>
                </a:lnTo>
                <a:lnTo>
                  <a:pt x="5161" y="1085"/>
                </a:lnTo>
                <a:lnTo>
                  <a:pt x="5161" y="1091"/>
                </a:lnTo>
                <a:lnTo>
                  <a:pt x="5161" y="1091"/>
                </a:lnTo>
                <a:lnTo>
                  <a:pt x="5161" y="1091"/>
                </a:lnTo>
                <a:lnTo>
                  <a:pt x="5161" y="1091"/>
                </a:lnTo>
                <a:lnTo>
                  <a:pt x="5161" y="1091"/>
                </a:lnTo>
                <a:lnTo>
                  <a:pt x="5161" y="1091"/>
                </a:lnTo>
                <a:lnTo>
                  <a:pt x="5161" y="1097"/>
                </a:lnTo>
                <a:lnTo>
                  <a:pt x="5167" y="1097"/>
                </a:lnTo>
                <a:lnTo>
                  <a:pt x="5167" y="1097"/>
                </a:lnTo>
                <a:lnTo>
                  <a:pt x="5167" y="1091"/>
                </a:lnTo>
                <a:lnTo>
                  <a:pt x="5167" y="1091"/>
                </a:lnTo>
                <a:lnTo>
                  <a:pt x="5167" y="1091"/>
                </a:lnTo>
                <a:lnTo>
                  <a:pt x="5167" y="1091"/>
                </a:lnTo>
                <a:lnTo>
                  <a:pt x="5173" y="1091"/>
                </a:lnTo>
                <a:lnTo>
                  <a:pt x="5173" y="1091"/>
                </a:lnTo>
                <a:lnTo>
                  <a:pt x="5173" y="1091"/>
                </a:lnTo>
                <a:lnTo>
                  <a:pt x="5173" y="1091"/>
                </a:lnTo>
                <a:lnTo>
                  <a:pt x="5179" y="1091"/>
                </a:lnTo>
                <a:lnTo>
                  <a:pt x="5179" y="1091"/>
                </a:lnTo>
                <a:lnTo>
                  <a:pt x="5179" y="1091"/>
                </a:lnTo>
                <a:lnTo>
                  <a:pt x="5179" y="1091"/>
                </a:lnTo>
                <a:lnTo>
                  <a:pt x="5179" y="1091"/>
                </a:lnTo>
                <a:lnTo>
                  <a:pt x="5179" y="1091"/>
                </a:lnTo>
                <a:lnTo>
                  <a:pt x="5179" y="1091"/>
                </a:lnTo>
                <a:lnTo>
                  <a:pt x="5185" y="1091"/>
                </a:lnTo>
                <a:lnTo>
                  <a:pt x="5185" y="1091"/>
                </a:lnTo>
                <a:lnTo>
                  <a:pt x="5185" y="1091"/>
                </a:lnTo>
                <a:lnTo>
                  <a:pt x="5185" y="1091"/>
                </a:lnTo>
                <a:lnTo>
                  <a:pt x="5191" y="1091"/>
                </a:lnTo>
                <a:lnTo>
                  <a:pt x="5191" y="1091"/>
                </a:lnTo>
                <a:lnTo>
                  <a:pt x="5191" y="1091"/>
                </a:lnTo>
                <a:lnTo>
                  <a:pt x="5197" y="1091"/>
                </a:lnTo>
                <a:lnTo>
                  <a:pt x="5197" y="1091"/>
                </a:lnTo>
                <a:lnTo>
                  <a:pt x="5197" y="1091"/>
                </a:lnTo>
                <a:lnTo>
                  <a:pt x="5197" y="1091"/>
                </a:lnTo>
                <a:lnTo>
                  <a:pt x="5197" y="1091"/>
                </a:lnTo>
                <a:lnTo>
                  <a:pt x="5197" y="1091"/>
                </a:lnTo>
                <a:lnTo>
                  <a:pt x="5203" y="1091"/>
                </a:lnTo>
                <a:lnTo>
                  <a:pt x="5203" y="1091"/>
                </a:lnTo>
                <a:lnTo>
                  <a:pt x="5203" y="1091"/>
                </a:lnTo>
                <a:lnTo>
                  <a:pt x="5203" y="1091"/>
                </a:lnTo>
                <a:lnTo>
                  <a:pt x="5203" y="1091"/>
                </a:lnTo>
                <a:lnTo>
                  <a:pt x="5203" y="1091"/>
                </a:lnTo>
                <a:lnTo>
                  <a:pt x="5203" y="1091"/>
                </a:lnTo>
                <a:lnTo>
                  <a:pt x="5209" y="1091"/>
                </a:lnTo>
                <a:lnTo>
                  <a:pt x="5209" y="1091"/>
                </a:lnTo>
                <a:lnTo>
                  <a:pt x="5215" y="1091"/>
                </a:lnTo>
                <a:lnTo>
                  <a:pt x="5215" y="1091"/>
                </a:lnTo>
                <a:lnTo>
                  <a:pt x="5215" y="1091"/>
                </a:lnTo>
                <a:lnTo>
                  <a:pt x="5215" y="1091"/>
                </a:lnTo>
                <a:lnTo>
                  <a:pt x="5215" y="1085"/>
                </a:lnTo>
                <a:lnTo>
                  <a:pt x="5215" y="1085"/>
                </a:lnTo>
                <a:lnTo>
                  <a:pt x="5215" y="1085"/>
                </a:lnTo>
                <a:lnTo>
                  <a:pt x="5215" y="1079"/>
                </a:lnTo>
                <a:lnTo>
                  <a:pt x="5215" y="1079"/>
                </a:lnTo>
                <a:lnTo>
                  <a:pt x="5215" y="1079"/>
                </a:lnTo>
                <a:lnTo>
                  <a:pt x="5215" y="1079"/>
                </a:lnTo>
                <a:lnTo>
                  <a:pt x="5215" y="1079"/>
                </a:lnTo>
                <a:lnTo>
                  <a:pt x="5215" y="1079"/>
                </a:lnTo>
                <a:lnTo>
                  <a:pt x="5215" y="1079"/>
                </a:lnTo>
                <a:lnTo>
                  <a:pt x="5215" y="1085"/>
                </a:lnTo>
                <a:lnTo>
                  <a:pt x="5215" y="1085"/>
                </a:lnTo>
                <a:lnTo>
                  <a:pt x="5215" y="1085"/>
                </a:lnTo>
                <a:lnTo>
                  <a:pt x="5215" y="1085"/>
                </a:lnTo>
                <a:lnTo>
                  <a:pt x="5215" y="1085"/>
                </a:lnTo>
                <a:lnTo>
                  <a:pt x="5215" y="1085"/>
                </a:lnTo>
                <a:lnTo>
                  <a:pt x="5215" y="1085"/>
                </a:lnTo>
                <a:lnTo>
                  <a:pt x="5215" y="1085"/>
                </a:lnTo>
                <a:lnTo>
                  <a:pt x="5215" y="1085"/>
                </a:lnTo>
                <a:lnTo>
                  <a:pt x="5221" y="1085"/>
                </a:lnTo>
                <a:lnTo>
                  <a:pt x="5221" y="1091"/>
                </a:lnTo>
                <a:lnTo>
                  <a:pt x="5221" y="1091"/>
                </a:lnTo>
                <a:lnTo>
                  <a:pt x="5227" y="1085"/>
                </a:lnTo>
                <a:lnTo>
                  <a:pt x="5227" y="1085"/>
                </a:lnTo>
                <a:lnTo>
                  <a:pt x="5227" y="1085"/>
                </a:lnTo>
                <a:lnTo>
                  <a:pt x="5233" y="1085"/>
                </a:lnTo>
                <a:lnTo>
                  <a:pt x="5233" y="1085"/>
                </a:lnTo>
                <a:lnTo>
                  <a:pt x="5233" y="1085"/>
                </a:lnTo>
                <a:lnTo>
                  <a:pt x="5238" y="1085"/>
                </a:lnTo>
                <a:lnTo>
                  <a:pt x="5238" y="1085"/>
                </a:lnTo>
                <a:lnTo>
                  <a:pt x="5244" y="1085"/>
                </a:lnTo>
                <a:lnTo>
                  <a:pt x="5244" y="1079"/>
                </a:lnTo>
                <a:lnTo>
                  <a:pt x="5244" y="1079"/>
                </a:lnTo>
                <a:lnTo>
                  <a:pt x="5250" y="1085"/>
                </a:lnTo>
                <a:lnTo>
                  <a:pt x="5256" y="1079"/>
                </a:lnTo>
                <a:lnTo>
                  <a:pt x="5256" y="1079"/>
                </a:lnTo>
                <a:lnTo>
                  <a:pt x="5256" y="1079"/>
                </a:lnTo>
                <a:lnTo>
                  <a:pt x="5262" y="1079"/>
                </a:lnTo>
                <a:lnTo>
                  <a:pt x="5262" y="1079"/>
                </a:lnTo>
                <a:lnTo>
                  <a:pt x="5262" y="1085"/>
                </a:lnTo>
                <a:lnTo>
                  <a:pt x="5262" y="1085"/>
                </a:lnTo>
                <a:lnTo>
                  <a:pt x="5268" y="1085"/>
                </a:lnTo>
                <a:lnTo>
                  <a:pt x="5268" y="1085"/>
                </a:lnTo>
                <a:lnTo>
                  <a:pt x="5268" y="1085"/>
                </a:lnTo>
                <a:lnTo>
                  <a:pt x="5262" y="1085"/>
                </a:lnTo>
                <a:lnTo>
                  <a:pt x="5262" y="1085"/>
                </a:lnTo>
                <a:lnTo>
                  <a:pt x="5268" y="1085"/>
                </a:lnTo>
                <a:lnTo>
                  <a:pt x="5268" y="1085"/>
                </a:lnTo>
                <a:lnTo>
                  <a:pt x="5274" y="1085"/>
                </a:lnTo>
                <a:lnTo>
                  <a:pt x="5292" y="1079"/>
                </a:lnTo>
                <a:lnTo>
                  <a:pt x="5298" y="1079"/>
                </a:lnTo>
                <a:lnTo>
                  <a:pt x="5298" y="1079"/>
                </a:lnTo>
                <a:lnTo>
                  <a:pt x="5298" y="1079"/>
                </a:lnTo>
                <a:lnTo>
                  <a:pt x="5304" y="1079"/>
                </a:lnTo>
                <a:lnTo>
                  <a:pt x="5304" y="1079"/>
                </a:lnTo>
                <a:lnTo>
                  <a:pt x="5304" y="1079"/>
                </a:lnTo>
                <a:lnTo>
                  <a:pt x="5304" y="1074"/>
                </a:lnTo>
                <a:lnTo>
                  <a:pt x="5304" y="1074"/>
                </a:lnTo>
                <a:lnTo>
                  <a:pt x="5304" y="1074"/>
                </a:lnTo>
                <a:lnTo>
                  <a:pt x="5304" y="1074"/>
                </a:lnTo>
                <a:lnTo>
                  <a:pt x="5310" y="1068"/>
                </a:lnTo>
                <a:lnTo>
                  <a:pt x="5310" y="1068"/>
                </a:lnTo>
                <a:lnTo>
                  <a:pt x="5310" y="1062"/>
                </a:lnTo>
                <a:lnTo>
                  <a:pt x="5310" y="1062"/>
                </a:lnTo>
                <a:lnTo>
                  <a:pt x="5310" y="1056"/>
                </a:lnTo>
                <a:lnTo>
                  <a:pt x="5310" y="1056"/>
                </a:lnTo>
                <a:lnTo>
                  <a:pt x="5310" y="1056"/>
                </a:lnTo>
                <a:lnTo>
                  <a:pt x="5310" y="1050"/>
                </a:lnTo>
                <a:lnTo>
                  <a:pt x="5310" y="1050"/>
                </a:lnTo>
                <a:lnTo>
                  <a:pt x="5310" y="1050"/>
                </a:lnTo>
                <a:lnTo>
                  <a:pt x="5310" y="1050"/>
                </a:lnTo>
                <a:lnTo>
                  <a:pt x="5310" y="1050"/>
                </a:lnTo>
                <a:lnTo>
                  <a:pt x="5310" y="1044"/>
                </a:lnTo>
                <a:lnTo>
                  <a:pt x="5310" y="1044"/>
                </a:lnTo>
                <a:lnTo>
                  <a:pt x="5310" y="1044"/>
                </a:lnTo>
                <a:lnTo>
                  <a:pt x="5310" y="1038"/>
                </a:lnTo>
                <a:lnTo>
                  <a:pt x="5310" y="1038"/>
                </a:lnTo>
                <a:lnTo>
                  <a:pt x="5310" y="1038"/>
                </a:lnTo>
                <a:lnTo>
                  <a:pt x="5310" y="1038"/>
                </a:lnTo>
                <a:lnTo>
                  <a:pt x="5310" y="1038"/>
                </a:lnTo>
                <a:lnTo>
                  <a:pt x="5310" y="1038"/>
                </a:lnTo>
                <a:lnTo>
                  <a:pt x="5310" y="1038"/>
                </a:lnTo>
                <a:lnTo>
                  <a:pt x="5310" y="1038"/>
                </a:lnTo>
                <a:lnTo>
                  <a:pt x="5310" y="1038"/>
                </a:lnTo>
                <a:lnTo>
                  <a:pt x="5310" y="1038"/>
                </a:lnTo>
                <a:lnTo>
                  <a:pt x="5315" y="1038"/>
                </a:lnTo>
                <a:lnTo>
                  <a:pt x="5315" y="1038"/>
                </a:lnTo>
                <a:lnTo>
                  <a:pt x="5315" y="1032"/>
                </a:lnTo>
                <a:lnTo>
                  <a:pt x="5315" y="1032"/>
                </a:lnTo>
                <a:lnTo>
                  <a:pt x="5315" y="1032"/>
                </a:lnTo>
                <a:lnTo>
                  <a:pt x="5315" y="1032"/>
                </a:lnTo>
                <a:lnTo>
                  <a:pt x="5315" y="1032"/>
                </a:lnTo>
                <a:lnTo>
                  <a:pt x="5315" y="1032"/>
                </a:lnTo>
                <a:lnTo>
                  <a:pt x="5315" y="1032"/>
                </a:lnTo>
                <a:lnTo>
                  <a:pt x="5310" y="1032"/>
                </a:lnTo>
                <a:lnTo>
                  <a:pt x="5310" y="1026"/>
                </a:lnTo>
                <a:lnTo>
                  <a:pt x="5310" y="1026"/>
                </a:lnTo>
                <a:lnTo>
                  <a:pt x="5310" y="1026"/>
                </a:lnTo>
                <a:lnTo>
                  <a:pt x="5310" y="1020"/>
                </a:lnTo>
                <a:lnTo>
                  <a:pt x="5310" y="1020"/>
                </a:lnTo>
                <a:lnTo>
                  <a:pt x="5310" y="1020"/>
                </a:lnTo>
                <a:lnTo>
                  <a:pt x="5315" y="1020"/>
                </a:lnTo>
                <a:lnTo>
                  <a:pt x="5315" y="1020"/>
                </a:lnTo>
                <a:lnTo>
                  <a:pt x="5315" y="1026"/>
                </a:lnTo>
                <a:lnTo>
                  <a:pt x="5315" y="1026"/>
                </a:lnTo>
                <a:lnTo>
                  <a:pt x="5315" y="1026"/>
                </a:lnTo>
                <a:lnTo>
                  <a:pt x="5315" y="1032"/>
                </a:lnTo>
                <a:lnTo>
                  <a:pt x="5321" y="1032"/>
                </a:lnTo>
                <a:lnTo>
                  <a:pt x="5321" y="1032"/>
                </a:lnTo>
                <a:lnTo>
                  <a:pt x="5321" y="1032"/>
                </a:lnTo>
                <a:lnTo>
                  <a:pt x="5321" y="1032"/>
                </a:lnTo>
                <a:lnTo>
                  <a:pt x="5321" y="1032"/>
                </a:lnTo>
                <a:lnTo>
                  <a:pt x="5321" y="1032"/>
                </a:lnTo>
                <a:lnTo>
                  <a:pt x="5321" y="1026"/>
                </a:lnTo>
                <a:lnTo>
                  <a:pt x="5321" y="1026"/>
                </a:lnTo>
                <a:lnTo>
                  <a:pt x="5321" y="1026"/>
                </a:lnTo>
                <a:lnTo>
                  <a:pt x="5321" y="1026"/>
                </a:lnTo>
                <a:lnTo>
                  <a:pt x="5321" y="1026"/>
                </a:lnTo>
                <a:lnTo>
                  <a:pt x="5321" y="1032"/>
                </a:lnTo>
                <a:lnTo>
                  <a:pt x="5321" y="1032"/>
                </a:lnTo>
                <a:lnTo>
                  <a:pt x="5321" y="1032"/>
                </a:lnTo>
                <a:lnTo>
                  <a:pt x="5321" y="1032"/>
                </a:lnTo>
                <a:lnTo>
                  <a:pt x="5321" y="1032"/>
                </a:lnTo>
                <a:lnTo>
                  <a:pt x="5321" y="1038"/>
                </a:lnTo>
                <a:lnTo>
                  <a:pt x="5321" y="1038"/>
                </a:lnTo>
                <a:lnTo>
                  <a:pt x="5321" y="1038"/>
                </a:lnTo>
                <a:lnTo>
                  <a:pt x="5321" y="1038"/>
                </a:lnTo>
                <a:lnTo>
                  <a:pt x="5327" y="1044"/>
                </a:lnTo>
                <a:lnTo>
                  <a:pt x="5327" y="1038"/>
                </a:lnTo>
                <a:lnTo>
                  <a:pt x="5327" y="1038"/>
                </a:lnTo>
                <a:lnTo>
                  <a:pt x="5327" y="1038"/>
                </a:lnTo>
                <a:lnTo>
                  <a:pt x="5327" y="1038"/>
                </a:lnTo>
                <a:lnTo>
                  <a:pt x="5327" y="1038"/>
                </a:lnTo>
                <a:lnTo>
                  <a:pt x="5327" y="1038"/>
                </a:lnTo>
                <a:lnTo>
                  <a:pt x="5327" y="1038"/>
                </a:lnTo>
                <a:lnTo>
                  <a:pt x="5327" y="1032"/>
                </a:lnTo>
                <a:lnTo>
                  <a:pt x="5327" y="1032"/>
                </a:lnTo>
                <a:lnTo>
                  <a:pt x="5327" y="1032"/>
                </a:lnTo>
                <a:lnTo>
                  <a:pt x="5327" y="1032"/>
                </a:lnTo>
                <a:lnTo>
                  <a:pt x="5327" y="1032"/>
                </a:lnTo>
                <a:lnTo>
                  <a:pt x="5327" y="1032"/>
                </a:lnTo>
                <a:lnTo>
                  <a:pt x="5327" y="1032"/>
                </a:lnTo>
                <a:lnTo>
                  <a:pt x="5327" y="1032"/>
                </a:lnTo>
                <a:lnTo>
                  <a:pt x="5327" y="1032"/>
                </a:lnTo>
                <a:lnTo>
                  <a:pt x="5333" y="1032"/>
                </a:lnTo>
                <a:lnTo>
                  <a:pt x="5333" y="1032"/>
                </a:lnTo>
                <a:lnTo>
                  <a:pt x="5333" y="1032"/>
                </a:lnTo>
                <a:lnTo>
                  <a:pt x="5333" y="1032"/>
                </a:lnTo>
                <a:lnTo>
                  <a:pt x="5333" y="1032"/>
                </a:lnTo>
                <a:lnTo>
                  <a:pt x="5333" y="1032"/>
                </a:lnTo>
                <a:lnTo>
                  <a:pt x="5333" y="1026"/>
                </a:lnTo>
                <a:lnTo>
                  <a:pt x="5339" y="1026"/>
                </a:lnTo>
                <a:lnTo>
                  <a:pt x="5339" y="1020"/>
                </a:lnTo>
                <a:lnTo>
                  <a:pt x="5339" y="1020"/>
                </a:lnTo>
                <a:lnTo>
                  <a:pt x="5339" y="1020"/>
                </a:lnTo>
                <a:lnTo>
                  <a:pt x="5339" y="1026"/>
                </a:lnTo>
                <a:lnTo>
                  <a:pt x="5333" y="1032"/>
                </a:lnTo>
                <a:lnTo>
                  <a:pt x="5333" y="1038"/>
                </a:lnTo>
                <a:lnTo>
                  <a:pt x="5333" y="1038"/>
                </a:lnTo>
                <a:lnTo>
                  <a:pt x="5333" y="1038"/>
                </a:lnTo>
                <a:lnTo>
                  <a:pt x="5333" y="1044"/>
                </a:lnTo>
                <a:lnTo>
                  <a:pt x="5327" y="1044"/>
                </a:lnTo>
                <a:lnTo>
                  <a:pt x="5327" y="1050"/>
                </a:lnTo>
                <a:lnTo>
                  <a:pt x="5333" y="1056"/>
                </a:lnTo>
                <a:lnTo>
                  <a:pt x="5333" y="1056"/>
                </a:lnTo>
                <a:lnTo>
                  <a:pt x="5333" y="1062"/>
                </a:lnTo>
                <a:lnTo>
                  <a:pt x="5333" y="1062"/>
                </a:lnTo>
                <a:lnTo>
                  <a:pt x="5333" y="1062"/>
                </a:lnTo>
                <a:lnTo>
                  <a:pt x="5333" y="1062"/>
                </a:lnTo>
                <a:lnTo>
                  <a:pt x="5333" y="1062"/>
                </a:lnTo>
                <a:lnTo>
                  <a:pt x="5333" y="1062"/>
                </a:lnTo>
                <a:lnTo>
                  <a:pt x="5333" y="1068"/>
                </a:lnTo>
                <a:lnTo>
                  <a:pt x="5333" y="1062"/>
                </a:lnTo>
                <a:lnTo>
                  <a:pt x="5339" y="1062"/>
                </a:lnTo>
                <a:lnTo>
                  <a:pt x="5339" y="1056"/>
                </a:lnTo>
                <a:lnTo>
                  <a:pt x="5339" y="1056"/>
                </a:lnTo>
                <a:lnTo>
                  <a:pt x="5339" y="1056"/>
                </a:lnTo>
                <a:lnTo>
                  <a:pt x="5345" y="1056"/>
                </a:lnTo>
                <a:lnTo>
                  <a:pt x="5345" y="1056"/>
                </a:lnTo>
                <a:lnTo>
                  <a:pt x="5345" y="1056"/>
                </a:lnTo>
                <a:lnTo>
                  <a:pt x="5345" y="1056"/>
                </a:lnTo>
                <a:lnTo>
                  <a:pt x="5345" y="1056"/>
                </a:lnTo>
                <a:lnTo>
                  <a:pt x="5345" y="1056"/>
                </a:lnTo>
                <a:lnTo>
                  <a:pt x="5345" y="1056"/>
                </a:lnTo>
                <a:lnTo>
                  <a:pt x="5345" y="1056"/>
                </a:lnTo>
                <a:lnTo>
                  <a:pt x="5345" y="1062"/>
                </a:lnTo>
                <a:lnTo>
                  <a:pt x="5345" y="1062"/>
                </a:lnTo>
                <a:lnTo>
                  <a:pt x="5351" y="1062"/>
                </a:lnTo>
                <a:lnTo>
                  <a:pt x="5351" y="1056"/>
                </a:lnTo>
                <a:lnTo>
                  <a:pt x="5351" y="1056"/>
                </a:lnTo>
                <a:lnTo>
                  <a:pt x="5351" y="1056"/>
                </a:lnTo>
                <a:lnTo>
                  <a:pt x="5351" y="1056"/>
                </a:lnTo>
                <a:lnTo>
                  <a:pt x="5357" y="1056"/>
                </a:lnTo>
                <a:lnTo>
                  <a:pt x="5357" y="1056"/>
                </a:lnTo>
                <a:lnTo>
                  <a:pt x="5357" y="1056"/>
                </a:lnTo>
                <a:lnTo>
                  <a:pt x="5357" y="1050"/>
                </a:lnTo>
                <a:lnTo>
                  <a:pt x="5357" y="1050"/>
                </a:lnTo>
                <a:lnTo>
                  <a:pt x="5357" y="1050"/>
                </a:lnTo>
                <a:lnTo>
                  <a:pt x="5357" y="1050"/>
                </a:lnTo>
                <a:lnTo>
                  <a:pt x="5363" y="1044"/>
                </a:lnTo>
                <a:lnTo>
                  <a:pt x="5363" y="1044"/>
                </a:lnTo>
                <a:lnTo>
                  <a:pt x="5363" y="1044"/>
                </a:lnTo>
                <a:lnTo>
                  <a:pt x="5363" y="1044"/>
                </a:lnTo>
                <a:lnTo>
                  <a:pt x="5363" y="1044"/>
                </a:lnTo>
                <a:lnTo>
                  <a:pt x="5363" y="1044"/>
                </a:lnTo>
                <a:lnTo>
                  <a:pt x="5363" y="1044"/>
                </a:lnTo>
                <a:lnTo>
                  <a:pt x="5363" y="1050"/>
                </a:lnTo>
                <a:lnTo>
                  <a:pt x="5363" y="1050"/>
                </a:lnTo>
                <a:lnTo>
                  <a:pt x="5369" y="1050"/>
                </a:lnTo>
                <a:lnTo>
                  <a:pt x="5369" y="1050"/>
                </a:lnTo>
                <a:lnTo>
                  <a:pt x="5369" y="1050"/>
                </a:lnTo>
                <a:lnTo>
                  <a:pt x="5369" y="1044"/>
                </a:lnTo>
                <a:lnTo>
                  <a:pt x="5369" y="1044"/>
                </a:lnTo>
                <a:lnTo>
                  <a:pt x="5369" y="1044"/>
                </a:lnTo>
                <a:lnTo>
                  <a:pt x="5369" y="1044"/>
                </a:lnTo>
                <a:lnTo>
                  <a:pt x="5369" y="1044"/>
                </a:lnTo>
                <a:lnTo>
                  <a:pt x="5369" y="1044"/>
                </a:lnTo>
                <a:lnTo>
                  <a:pt x="5369" y="1044"/>
                </a:lnTo>
                <a:lnTo>
                  <a:pt x="5369" y="1044"/>
                </a:lnTo>
                <a:lnTo>
                  <a:pt x="5369" y="1038"/>
                </a:lnTo>
                <a:lnTo>
                  <a:pt x="5375" y="1038"/>
                </a:lnTo>
                <a:lnTo>
                  <a:pt x="5375" y="1038"/>
                </a:lnTo>
                <a:lnTo>
                  <a:pt x="5375" y="1044"/>
                </a:lnTo>
                <a:lnTo>
                  <a:pt x="5375" y="1038"/>
                </a:lnTo>
                <a:lnTo>
                  <a:pt x="5375" y="1038"/>
                </a:lnTo>
                <a:lnTo>
                  <a:pt x="5375" y="1038"/>
                </a:lnTo>
                <a:lnTo>
                  <a:pt x="5381" y="1038"/>
                </a:lnTo>
                <a:lnTo>
                  <a:pt x="5381" y="1032"/>
                </a:lnTo>
                <a:lnTo>
                  <a:pt x="5381" y="1032"/>
                </a:lnTo>
                <a:lnTo>
                  <a:pt x="5381" y="1026"/>
                </a:lnTo>
                <a:lnTo>
                  <a:pt x="5381" y="1026"/>
                </a:lnTo>
                <a:lnTo>
                  <a:pt x="5381"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2"/>
                </a:lnTo>
                <a:lnTo>
                  <a:pt x="5387" y="1038"/>
                </a:lnTo>
                <a:lnTo>
                  <a:pt x="5387" y="1038"/>
                </a:lnTo>
                <a:lnTo>
                  <a:pt x="5387" y="1038"/>
                </a:lnTo>
                <a:lnTo>
                  <a:pt x="5387" y="1038"/>
                </a:lnTo>
                <a:lnTo>
                  <a:pt x="5387" y="1038"/>
                </a:lnTo>
                <a:lnTo>
                  <a:pt x="5387" y="1044"/>
                </a:lnTo>
                <a:lnTo>
                  <a:pt x="5387" y="1050"/>
                </a:lnTo>
                <a:lnTo>
                  <a:pt x="5387" y="1056"/>
                </a:lnTo>
                <a:lnTo>
                  <a:pt x="5381" y="1056"/>
                </a:lnTo>
                <a:lnTo>
                  <a:pt x="5381" y="1056"/>
                </a:lnTo>
                <a:lnTo>
                  <a:pt x="5387" y="1056"/>
                </a:lnTo>
                <a:lnTo>
                  <a:pt x="5393" y="1056"/>
                </a:lnTo>
                <a:lnTo>
                  <a:pt x="5393" y="1056"/>
                </a:lnTo>
                <a:lnTo>
                  <a:pt x="5393" y="1056"/>
                </a:lnTo>
                <a:lnTo>
                  <a:pt x="5398" y="1056"/>
                </a:lnTo>
                <a:lnTo>
                  <a:pt x="5398" y="1056"/>
                </a:lnTo>
                <a:lnTo>
                  <a:pt x="5398" y="1056"/>
                </a:lnTo>
                <a:lnTo>
                  <a:pt x="5398" y="1056"/>
                </a:lnTo>
                <a:lnTo>
                  <a:pt x="5404" y="1050"/>
                </a:lnTo>
                <a:lnTo>
                  <a:pt x="5404" y="1050"/>
                </a:lnTo>
                <a:lnTo>
                  <a:pt x="5404" y="1050"/>
                </a:lnTo>
                <a:lnTo>
                  <a:pt x="5410" y="1044"/>
                </a:lnTo>
                <a:lnTo>
                  <a:pt x="5410" y="1044"/>
                </a:lnTo>
                <a:lnTo>
                  <a:pt x="5410" y="1044"/>
                </a:lnTo>
                <a:lnTo>
                  <a:pt x="5410" y="1044"/>
                </a:lnTo>
                <a:lnTo>
                  <a:pt x="5410" y="1044"/>
                </a:lnTo>
                <a:lnTo>
                  <a:pt x="5410" y="1044"/>
                </a:lnTo>
                <a:lnTo>
                  <a:pt x="5410" y="1044"/>
                </a:lnTo>
                <a:lnTo>
                  <a:pt x="5416" y="1044"/>
                </a:lnTo>
                <a:lnTo>
                  <a:pt x="5416" y="1044"/>
                </a:lnTo>
                <a:lnTo>
                  <a:pt x="5416" y="1044"/>
                </a:lnTo>
                <a:lnTo>
                  <a:pt x="5422" y="1044"/>
                </a:lnTo>
                <a:lnTo>
                  <a:pt x="5422" y="1044"/>
                </a:lnTo>
                <a:lnTo>
                  <a:pt x="5422" y="1044"/>
                </a:lnTo>
                <a:lnTo>
                  <a:pt x="5422" y="1044"/>
                </a:lnTo>
                <a:lnTo>
                  <a:pt x="5422" y="1044"/>
                </a:lnTo>
                <a:lnTo>
                  <a:pt x="5422" y="1044"/>
                </a:lnTo>
                <a:lnTo>
                  <a:pt x="5422" y="1044"/>
                </a:lnTo>
                <a:lnTo>
                  <a:pt x="5422" y="1044"/>
                </a:lnTo>
                <a:lnTo>
                  <a:pt x="5422" y="1044"/>
                </a:lnTo>
                <a:lnTo>
                  <a:pt x="5428" y="1044"/>
                </a:lnTo>
                <a:lnTo>
                  <a:pt x="5428" y="1044"/>
                </a:lnTo>
                <a:lnTo>
                  <a:pt x="5428" y="1044"/>
                </a:lnTo>
                <a:lnTo>
                  <a:pt x="5428" y="1044"/>
                </a:lnTo>
                <a:lnTo>
                  <a:pt x="5428" y="1044"/>
                </a:lnTo>
                <a:lnTo>
                  <a:pt x="5428" y="1044"/>
                </a:lnTo>
                <a:lnTo>
                  <a:pt x="5434" y="1038"/>
                </a:lnTo>
                <a:lnTo>
                  <a:pt x="5440" y="1038"/>
                </a:lnTo>
                <a:lnTo>
                  <a:pt x="5452" y="1038"/>
                </a:lnTo>
                <a:lnTo>
                  <a:pt x="5458" y="1038"/>
                </a:lnTo>
                <a:lnTo>
                  <a:pt x="5458" y="1038"/>
                </a:lnTo>
                <a:lnTo>
                  <a:pt x="5458" y="1032"/>
                </a:lnTo>
                <a:lnTo>
                  <a:pt x="5458" y="1020"/>
                </a:lnTo>
                <a:lnTo>
                  <a:pt x="5458" y="1020"/>
                </a:lnTo>
                <a:lnTo>
                  <a:pt x="5458" y="1020"/>
                </a:lnTo>
                <a:lnTo>
                  <a:pt x="5452" y="1020"/>
                </a:lnTo>
                <a:lnTo>
                  <a:pt x="5452" y="1020"/>
                </a:lnTo>
                <a:lnTo>
                  <a:pt x="5452" y="1020"/>
                </a:lnTo>
                <a:lnTo>
                  <a:pt x="5452" y="1020"/>
                </a:lnTo>
                <a:lnTo>
                  <a:pt x="5452" y="1014"/>
                </a:lnTo>
                <a:lnTo>
                  <a:pt x="5452" y="1014"/>
                </a:lnTo>
                <a:lnTo>
                  <a:pt x="5458" y="1014"/>
                </a:lnTo>
                <a:lnTo>
                  <a:pt x="5458" y="1014"/>
                </a:lnTo>
                <a:lnTo>
                  <a:pt x="5458" y="1014"/>
                </a:lnTo>
                <a:lnTo>
                  <a:pt x="5458" y="1014"/>
                </a:lnTo>
                <a:lnTo>
                  <a:pt x="5458" y="1014"/>
                </a:lnTo>
                <a:lnTo>
                  <a:pt x="5458" y="1014"/>
                </a:lnTo>
                <a:lnTo>
                  <a:pt x="5458" y="1014"/>
                </a:lnTo>
                <a:lnTo>
                  <a:pt x="5458" y="1014"/>
                </a:lnTo>
                <a:lnTo>
                  <a:pt x="5458" y="1014"/>
                </a:lnTo>
                <a:lnTo>
                  <a:pt x="5452" y="1002"/>
                </a:lnTo>
                <a:lnTo>
                  <a:pt x="5452" y="996"/>
                </a:lnTo>
                <a:lnTo>
                  <a:pt x="5446" y="990"/>
                </a:lnTo>
                <a:lnTo>
                  <a:pt x="5446" y="990"/>
                </a:lnTo>
                <a:lnTo>
                  <a:pt x="5440" y="985"/>
                </a:lnTo>
                <a:lnTo>
                  <a:pt x="5440" y="985"/>
                </a:lnTo>
                <a:lnTo>
                  <a:pt x="5434" y="985"/>
                </a:lnTo>
                <a:lnTo>
                  <a:pt x="5434" y="985"/>
                </a:lnTo>
                <a:lnTo>
                  <a:pt x="5434" y="985"/>
                </a:lnTo>
                <a:lnTo>
                  <a:pt x="5434" y="985"/>
                </a:lnTo>
                <a:lnTo>
                  <a:pt x="5428" y="985"/>
                </a:lnTo>
                <a:lnTo>
                  <a:pt x="5428" y="985"/>
                </a:lnTo>
                <a:lnTo>
                  <a:pt x="5428" y="985"/>
                </a:lnTo>
                <a:lnTo>
                  <a:pt x="5428" y="985"/>
                </a:lnTo>
                <a:lnTo>
                  <a:pt x="5428" y="985"/>
                </a:lnTo>
                <a:lnTo>
                  <a:pt x="5428" y="985"/>
                </a:lnTo>
                <a:lnTo>
                  <a:pt x="5428" y="985"/>
                </a:lnTo>
                <a:lnTo>
                  <a:pt x="5428" y="985"/>
                </a:lnTo>
                <a:lnTo>
                  <a:pt x="5428" y="990"/>
                </a:lnTo>
                <a:lnTo>
                  <a:pt x="5428" y="990"/>
                </a:lnTo>
                <a:lnTo>
                  <a:pt x="5434" y="990"/>
                </a:lnTo>
                <a:lnTo>
                  <a:pt x="5434" y="990"/>
                </a:lnTo>
                <a:lnTo>
                  <a:pt x="5434" y="990"/>
                </a:lnTo>
                <a:lnTo>
                  <a:pt x="5434" y="990"/>
                </a:lnTo>
                <a:lnTo>
                  <a:pt x="5434" y="990"/>
                </a:lnTo>
                <a:lnTo>
                  <a:pt x="5434" y="990"/>
                </a:lnTo>
                <a:lnTo>
                  <a:pt x="5434" y="990"/>
                </a:lnTo>
                <a:lnTo>
                  <a:pt x="5434" y="990"/>
                </a:lnTo>
                <a:lnTo>
                  <a:pt x="5434" y="985"/>
                </a:lnTo>
                <a:lnTo>
                  <a:pt x="5434" y="985"/>
                </a:lnTo>
                <a:lnTo>
                  <a:pt x="5440" y="990"/>
                </a:lnTo>
                <a:lnTo>
                  <a:pt x="5440" y="990"/>
                </a:lnTo>
                <a:lnTo>
                  <a:pt x="5440" y="990"/>
                </a:lnTo>
                <a:lnTo>
                  <a:pt x="5440" y="990"/>
                </a:lnTo>
                <a:lnTo>
                  <a:pt x="5440" y="996"/>
                </a:lnTo>
                <a:lnTo>
                  <a:pt x="5440" y="996"/>
                </a:lnTo>
                <a:lnTo>
                  <a:pt x="5446" y="1002"/>
                </a:lnTo>
                <a:lnTo>
                  <a:pt x="5446" y="1002"/>
                </a:lnTo>
                <a:lnTo>
                  <a:pt x="5446" y="1002"/>
                </a:lnTo>
                <a:lnTo>
                  <a:pt x="5446" y="1008"/>
                </a:lnTo>
                <a:lnTo>
                  <a:pt x="5446" y="1008"/>
                </a:lnTo>
                <a:lnTo>
                  <a:pt x="5446" y="1002"/>
                </a:lnTo>
                <a:lnTo>
                  <a:pt x="5446" y="1002"/>
                </a:lnTo>
                <a:lnTo>
                  <a:pt x="5446" y="1002"/>
                </a:lnTo>
                <a:lnTo>
                  <a:pt x="5446" y="1002"/>
                </a:lnTo>
                <a:lnTo>
                  <a:pt x="5452" y="1002"/>
                </a:lnTo>
                <a:lnTo>
                  <a:pt x="5452" y="1002"/>
                </a:lnTo>
                <a:lnTo>
                  <a:pt x="5452" y="1008"/>
                </a:lnTo>
                <a:lnTo>
                  <a:pt x="5452" y="1008"/>
                </a:lnTo>
                <a:lnTo>
                  <a:pt x="5452" y="1008"/>
                </a:lnTo>
                <a:lnTo>
                  <a:pt x="5452" y="1008"/>
                </a:lnTo>
                <a:lnTo>
                  <a:pt x="5446" y="1008"/>
                </a:lnTo>
                <a:lnTo>
                  <a:pt x="5452" y="1008"/>
                </a:lnTo>
                <a:lnTo>
                  <a:pt x="5452" y="1014"/>
                </a:lnTo>
                <a:lnTo>
                  <a:pt x="5452" y="1014"/>
                </a:lnTo>
                <a:lnTo>
                  <a:pt x="5452" y="1020"/>
                </a:lnTo>
                <a:lnTo>
                  <a:pt x="5446" y="1020"/>
                </a:lnTo>
                <a:lnTo>
                  <a:pt x="5446" y="1026"/>
                </a:lnTo>
                <a:lnTo>
                  <a:pt x="5446" y="1026"/>
                </a:lnTo>
                <a:lnTo>
                  <a:pt x="5446" y="1026"/>
                </a:lnTo>
                <a:lnTo>
                  <a:pt x="5446" y="1026"/>
                </a:lnTo>
                <a:lnTo>
                  <a:pt x="5440" y="1026"/>
                </a:lnTo>
                <a:lnTo>
                  <a:pt x="5434" y="1026"/>
                </a:lnTo>
                <a:lnTo>
                  <a:pt x="5428" y="1032"/>
                </a:lnTo>
                <a:lnTo>
                  <a:pt x="5422" y="1032"/>
                </a:lnTo>
                <a:lnTo>
                  <a:pt x="5422" y="1032"/>
                </a:lnTo>
                <a:lnTo>
                  <a:pt x="5416" y="1032"/>
                </a:lnTo>
                <a:lnTo>
                  <a:pt x="5416" y="1032"/>
                </a:lnTo>
                <a:lnTo>
                  <a:pt x="5416" y="1032"/>
                </a:lnTo>
                <a:lnTo>
                  <a:pt x="5416" y="1032"/>
                </a:lnTo>
                <a:lnTo>
                  <a:pt x="5416" y="1032"/>
                </a:lnTo>
                <a:lnTo>
                  <a:pt x="5416" y="1032"/>
                </a:lnTo>
                <a:lnTo>
                  <a:pt x="5422" y="1032"/>
                </a:lnTo>
                <a:lnTo>
                  <a:pt x="5422" y="1032"/>
                </a:lnTo>
                <a:lnTo>
                  <a:pt x="5422" y="1032"/>
                </a:lnTo>
                <a:lnTo>
                  <a:pt x="5410" y="1026"/>
                </a:lnTo>
                <a:lnTo>
                  <a:pt x="5410" y="1026"/>
                </a:lnTo>
                <a:lnTo>
                  <a:pt x="5404" y="1026"/>
                </a:lnTo>
                <a:lnTo>
                  <a:pt x="5398" y="1020"/>
                </a:lnTo>
                <a:lnTo>
                  <a:pt x="5398" y="1020"/>
                </a:lnTo>
                <a:lnTo>
                  <a:pt x="5398" y="1020"/>
                </a:lnTo>
                <a:lnTo>
                  <a:pt x="5398" y="1020"/>
                </a:lnTo>
                <a:lnTo>
                  <a:pt x="5398" y="1014"/>
                </a:lnTo>
                <a:lnTo>
                  <a:pt x="5398" y="1014"/>
                </a:lnTo>
                <a:lnTo>
                  <a:pt x="5398" y="1008"/>
                </a:lnTo>
                <a:lnTo>
                  <a:pt x="5398" y="1002"/>
                </a:lnTo>
                <a:lnTo>
                  <a:pt x="5393" y="1002"/>
                </a:lnTo>
                <a:lnTo>
                  <a:pt x="5393" y="1002"/>
                </a:lnTo>
                <a:lnTo>
                  <a:pt x="5393" y="1002"/>
                </a:lnTo>
                <a:lnTo>
                  <a:pt x="5387" y="1002"/>
                </a:lnTo>
                <a:lnTo>
                  <a:pt x="5387" y="1002"/>
                </a:lnTo>
                <a:lnTo>
                  <a:pt x="5381" y="996"/>
                </a:lnTo>
                <a:lnTo>
                  <a:pt x="5381" y="990"/>
                </a:lnTo>
                <a:lnTo>
                  <a:pt x="5381" y="990"/>
                </a:lnTo>
                <a:lnTo>
                  <a:pt x="5381" y="990"/>
                </a:lnTo>
                <a:lnTo>
                  <a:pt x="5381" y="990"/>
                </a:lnTo>
                <a:lnTo>
                  <a:pt x="5381" y="990"/>
                </a:lnTo>
                <a:lnTo>
                  <a:pt x="5387" y="990"/>
                </a:lnTo>
                <a:lnTo>
                  <a:pt x="5387" y="990"/>
                </a:lnTo>
                <a:lnTo>
                  <a:pt x="5387" y="985"/>
                </a:lnTo>
                <a:lnTo>
                  <a:pt x="5387" y="985"/>
                </a:lnTo>
                <a:lnTo>
                  <a:pt x="5387" y="985"/>
                </a:lnTo>
                <a:lnTo>
                  <a:pt x="5387" y="985"/>
                </a:lnTo>
                <a:lnTo>
                  <a:pt x="5387" y="990"/>
                </a:lnTo>
                <a:lnTo>
                  <a:pt x="5387" y="990"/>
                </a:lnTo>
                <a:lnTo>
                  <a:pt x="5387" y="990"/>
                </a:lnTo>
                <a:lnTo>
                  <a:pt x="5387" y="990"/>
                </a:lnTo>
                <a:lnTo>
                  <a:pt x="5387" y="990"/>
                </a:lnTo>
                <a:lnTo>
                  <a:pt x="5387" y="990"/>
                </a:lnTo>
                <a:lnTo>
                  <a:pt x="5387" y="996"/>
                </a:lnTo>
                <a:lnTo>
                  <a:pt x="5387" y="996"/>
                </a:lnTo>
                <a:lnTo>
                  <a:pt x="5387" y="996"/>
                </a:lnTo>
                <a:lnTo>
                  <a:pt x="5393" y="996"/>
                </a:lnTo>
                <a:lnTo>
                  <a:pt x="5393" y="996"/>
                </a:lnTo>
                <a:lnTo>
                  <a:pt x="5393" y="990"/>
                </a:lnTo>
                <a:lnTo>
                  <a:pt x="5393" y="990"/>
                </a:lnTo>
                <a:lnTo>
                  <a:pt x="5393" y="990"/>
                </a:lnTo>
                <a:lnTo>
                  <a:pt x="5393" y="990"/>
                </a:lnTo>
                <a:lnTo>
                  <a:pt x="5393" y="990"/>
                </a:lnTo>
                <a:lnTo>
                  <a:pt x="5387" y="990"/>
                </a:lnTo>
                <a:lnTo>
                  <a:pt x="5387" y="985"/>
                </a:lnTo>
                <a:lnTo>
                  <a:pt x="5387" y="985"/>
                </a:lnTo>
                <a:lnTo>
                  <a:pt x="5387" y="985"/>
                </a:lnTo>
                <a:lnTo>
                  <a:pt x="5387" y="985"/>
                </a:lnTo>
                <a:lnTo>
                  <a:pt x="5387" y="985"/>
                </a:lnTo>
                <a:lnTo>
                  <a:pt x="5387" y="979"/>
                </a:lnTo>
                <a:lnTo>
                  <a:pt x="5381" y="973"/>
                </a:lnTo>
                <a:lnTo>
                  <a:pt x="5381" y="973"/>
                </a:lnTo>
                <a:lnTo>
                  <a:pt x="5381" y="973"/>
                </a:lnTo>
                <a:lnTo>
                  <a:pt x="5381" y="973"/>
                </a:lnTo>
                <a:lnTo>
                  <a:pt x="5381" y="973"/>
                </a:lnTo>
                <a:lnTo>
                  <a:pt x="5381" y="973"/>
                </a:lnTo>
                <a:lnTo>
                  <a:pt x="5381" y="967"/>
                </a:lnTo>
                <a:lnTo>
                  <a:pt x="5381" y="967"/>
                </a:lnTo>
                <a:lnTo>
                  <a:pt x="5375" y="961"/>
                </a:lnTo>
                <a:lnTo>
                  <a:pt x="5375" y="961"/>
                </a:lnTo>
                <a:lnTo>
                  <a:pt x="5375" y="961"/>
                </a:lnTo>
                <a:lnTo>
                  <a:pt x="5375" y="961"/>
                </a:lnTo>
                <a:lnTo>
                  <a:pt x="5375" y="961"/>
                </a:lnTo>
                <a:lnTo>
                  <a:pt x="5375" y="961"/>
                </a:lnTo>
                <a:lnTo>
                  <a:pt x="5369" y="961"/>
                </a:lnTo>
                <a:lnTo>
                  <a:pt x="5369" y="961"/>
                </a:lnTo>
                <a:lnTo>
                  <a:pt x="5363" y="955"/>
                </a:lnTo>
                <a:lnTo>
                  <a:pt x="5363" y="949"/>
                </a:lnTo>
                <a:lnTo>
                  <a:pt x="5363" y="955"/>
                </a:lnTo>
                <a:lnTo>
                  <a:pt x="5363" y="955"/>
                </a:lnTo>
                <a:lnTo>
                  <a:pt x="5363" y="955"/>
                </a:lnTo>
                <a:lnTo>
                  <a:pt x="5363" y="955"/>
                </a:lnTo>
                <a:lnTo>
                  <a:pt x="5363" y="955"/>
                </a:lnTo>
                <a:lnTo>
                  <a:pt x="5363" y="961"/>
                </a:lnTo>
                <a:lnTo>
                  <a:pt x="5363" y="961"/>
                </a:lnTo>
                <a:lnTo>
                  <a:pt x="5363" y="961"/>
                </a:lnTo>
                <a:lnTo>
                  <a:pt x="5363" y="961"/>
                </a:lnTo>
                <a:lnTo>
                  <a:pt x="5363" y="961"/>
                </a:lnTo>
                <a:lnTo>
                  <a:pt x="5363" y="961"/>
                </a:lnTo>
                <a:lnTo>
                  <a:pt x="5363" y="961"/>
                </a:lnTo>
                <a:lnTo>
                  <a:pt x="5363" y="961"/>
                </a:lnTo>
                <a:lnTo>
                  <a:pt x="5357" y="961"/>
                </a:lnTo>
                <a:lnTo>
                  <a:pt x="5357" y="961"/>
                </a:lnTo>
                <a:lnTo>
                  <a:pt x="5357" y="961"/>
                </a:lnTo>
                <a:lnTo>
                  <a:pt x="5357" y="961"/>
                </a:lnTo>
                <a:lnTo>
                  <a:pt x="5357" y="961"/>
                </a:lnTo>
                <a:lnTo>
                  <a:pt x="5357" y="961"/>
                </a:lnTo>
                <a:lnTo>
                  <a:pt x="5357" y="961"/>
                </a:lnTo>
                <a:lnTo>
                  <a:pt x="5357" y="961"/>
                </a:lnTo>
                <a:lnTo>
                  <a:pt x="5357" y="961"/>
                </a:lnTo>
                <a:lnTo>
                  <a:pt x="5357" y="961"/>
                </a:lnTo>
                <a:lnTo>
                  <a:pt x="5357" y="961"/>
                </a:lnTo>
                <a:lnTo>
                  <a:pt x="5357" y="961"/>
                </a:lnTo>
                <a:lnTo>
                  <a:pt x="5357" y="961"/>
                </a:lnTo>
                <a:lnTo>
                  <a:pt x="5357" y="955"/>
                </a:lnTo>
                <a:lnTo>
                  <a:pt x="5357" y="955"/>
                </a:lnTo>
                <a:lnTo>
                  <a:pt x="5351" y="955"/>
                </a:lnTo>
                <a:lnTo>
                  <a:pt x="5351" y="955"/>
                </a:lnTo>
                <a:lnTo>
                  <a:pt x="5351" y="955"/>
                </a:lnTo>
                <a:lnTo>
                  <a:pt x="5351" y="955"/>
                </a:lnTo>
                <a:lnTo>
                  <a:pt x="5351" y="955"/>
                </a:lnTo>
                <a:lnTo>
                  <a:pt x="5351" y="955"/>
                </a:lnTo>
                <a:lnTo>
                  <a:pt x="5345" y="955"/>
                </a:lnTo>
                <a:lnTo>
                  <a:pt x="5345" y="955"/>
                </a:lnTo>
                <a:lnTo>
                  <a:pt x="5345" y="949"/>
                </a:lnTo>
                <a:lnTo>
                  <a:pt x="5345" y="949"/>
                </a:lnTo>
                <a:lnTo>
                  <a:pt x="5351" y="949"/>
                </a:lnTo>
                <a:lnTo>
                  <a:pt x="5351" y="949"/>
                </a:lnTo>
                <a:lnTo>
                  <a:pt x="5351" y="949"/>
                </a:lnTo>
                <a:lnTo>
                  <a:pt x="5351" y="949"/>
                </a:lnTo>
                <a:lnTo>
                  <a:pt x="5345" y="949"/>
                </a:lnTo>
                <a:lnTo>
                  <a:pt x="5345" y="949"/>
                </a:lnTo>
                <a:lnTo>
                  <a:pt x="5345" y="943"/>
                </a:lnTo>
                <a:lnTo>
                  <a:pt x="5351" y="943"/>
                </a:lnTo>
                <a:lnTo>
                  <a:pt x="5351" y="949"/>
                </a:lnTo>
                <a:lnTo>
                  <a:pt x="5351" y="949"/>
                </a:lnTo>
                <a:lnTo>
                  <a:pt x="5351" y="943"/>
                </a:lnTo>
                <a:lnTo>
                  <a:pt x="5351" y="943"/>
                </a:lnTo>
                <a:lnTo>
                  <a:pt x="5351" y="943"/>
                </a:lnTo>
                <a:lnTo>
                  <a:pt x="5351" y="943"/>
                </a:lnTo>
                <a:lnTo>
                  <a:pt x="5351" y="943"/>
                </a:lnTo>
                <a:lnTo>
                  <a:pt x="5357" y="949"/>
                </a:lnTo>
                <a:lnTo>
                  <a:pt x="5357" y="949"/>
                </a:lnTo>
                <a:lnTo>
                  <a:pt x="5357" y="943"/>
                </a:lnTo>
                <a:lnTo>
                  <a:pt x="5357" y="943"/>
                </a:lnTo>
                <a:lnTo>
                  <a:pt x="5357" y="943"/>
                </a:lnTo>
                <a:lnTo>
                  <a:pt x="5357" y="943"/>
                </a:lnTo>
                <a:lnTo>
                  <a:pt x="5351" y="937"/>
                </a:lnTo>
                <a:lnTo>
                  <a:pt x="5351" y="937"/>
                </a:lnTo>
                <a:lnTo>
                  <a:pt x="5357" y="937"/>
                </a:lnTo>
                <a:lnTo>
                  <a:pt x="5357" y="937"/>
                </a:lnTo>
                <a:lnTo>
                  <a:pt x="5357" y="937"/>
                </a:lnTo>
                <a:lnTo>
                  <a:pt x="5357" y="937"/>
                </a:lnTo>
                <a:lnTo>
                  <a:pt x="5363" y="937"/>
                </a:lnTo>
                <a:lnTo>
                  <a:pt x="5363" y="937"/>
                </a:lnTo>
                <a:lnTo>
                  <a:pt x="5363" y="937"/>
                </a:lnTo>
                <a:lnTo>
                  <a:pt x="5363" y="937"/>
                </a:lnTo>
                <a:lnTo>
                  <a:pt x="5357" y="937"/>
                </a:lnTo>
                <a:lnTo>
                  <a:pt x="5357" y="931"/>
                </a:lnTo>
                <a:lnTo>
                  <a:pt x="5357" y="931"/>
                </a:lnTo>
                <a:lnTo>
                  <a:pt x="5357" y="931"/>
                </a:lnTo>
                <a:lnTo>
                  <a:pt x="5357" y="931"/>
                </a:lnTo>
                <a:lnTo>
                  <a:pt x="5363" y="931"/>
                </a:lnTo>
                <a:lnTo>
                  <a:pt x="5363" y="931"/>
                </a:lnTo>
                <a:lnTo>
                  <a:pt x="5363" y="931"/>
                </a:lnTo>
                <a:lnTo>
                  <a:pt x="5363" y="931"/>
                </a:lnTo>
                <a:lnTo>
                  <a:pt x="5363" y="931"/>
                </a:lnTo>
                <a:lnTo>
                  <a:pt x="5363" y="931"/>
                </a:lnTo>
                <a:lnTo>
                  <a:pt x="5363" y="931"/>
                </a:lnTo>
                <a:lnTo>
                  <a:pt x="5363" y="931"/>
                </a:lnTo>
                <a:lnTo>
                  <a:pt x="5363" y="931"/>
                </a:lnTo>
                <a:lnTo>
                  <a:pt x="5363" y="925"/>
                </a:lnTo>
                <a:lnTo>
                  <a:pt x="5363" y="925"/>
                </a:lnTo>
                <a:lnTo>
                  <a:pt x="5363" y="925"/>
                </a:lnTo>
                <a:lnTo>
                  <a:pt x="5369" y="925"/>
                </a:lnTo>
                <a:lnTo>
                  <a:pt x="5369" y="925"/>
                </a:lnTo>
                <a:lnTo>
                  <a:pt x="5369" y="925"/>
                </a:lnTo>
                <a:lnTo>
                  <a:pt x="5369" y="925"/>
                </a:lnTo>
                <a:lnTo>
                  <a:pt x="5369" y="925"/>
                </a:lnTo>
                <a:lnTo>
                  <a:pt x="5369" y="925"/>
                </a:lnTo>
                <a:lnTo>
                  <a:pt x="5363" y="925"/>
                </a:lnTo>
                <a:lnTo>
                  <a:pt x="5363" y="925"/>
                </a:lnTo>
                <a:lnTo>
                  <a:pt x="5363" y="925"/>
                </a:lnTo>
                <a:lnTo>
                  <a:pt x="5363" y="925"/>
                </a:lnTo>
                <a:lnTo>
                  <a:pt x="5363" y="925"/>
                </a:lnTo>
                <a:lnTo>
                  <a:pt x="5363" y="925"/>
                </a:lnTo>
                <a:lnTo>
                  <a:pt x="5363" y="925"/>
                </a:lnTo>
                <a:lnTo>
                  <a:pt x="5363" y="925"/>
                </a:lnTo>
                <a:lnTo>
                  <a:pt x="5363" y="925"/>
                </a:lnTo>
                <a:lnTo>
                  <a:pt x="5363" y="925"/>
                </a:lnTo>
                <a:lnTo>
                  <a:pt x="5363" y="919"/>
                </a:lnTo>
                <a:lnTo>
                  <a:pt x="5363" y="919"/>
                </a:lnTo>
                <a:lnTo>
                  <a:pt x="5369" y="919"/>
                </a:lnTo>
                <a:lnTo>
                  <a:pt x="5381" y="913"/>
                </a:lnTo>
                <a:lnTo>
                  <a:pt x="5381" y="913"/>
                </a:lnTo>
                <a:lnTo>
                  <a:pt x="5381" y="913"/>
                </a:lnTo>
                <a:lnTo>
                  <a:pt x="5381" y="913"/>
                </a:lnTo>
                <a:lnTo>
                  <a:pt x="5381" y="913"/>
                </a:lnTo>
                <a:lnTo>
                  <a:pt x="5381" y="913"/>
                </a:lnTo>
                <a:lnTo>
                  <a:pt x="5387" y="913"/>
                </a:lnTo>
                <a:lnTo>
                  <a:pt x="5387" y="913"/>
                </a:lnTo>
                <a:lnTo>
                  <a:pt x="5387" y="913"/>
                </a:lnTo>
                <a:lnTo>
                  <a:pt x="5387" y="913"/>
                </a:lnTo>
                <a:lnTo>
                  <a:pt x="5387" y="913"/>
                </a:lnTo>
                <a:lnTo>
                  <a:pt x="5387" y="913"/>
                </a:lnTo>
                <a:lnTo>
                  <a:pt x="5387" y="913"/>
                </a:lnTo>
                <a:lnTo>
                  <a:pt x="5387" y="913"/>
                </a:lnTo>
                <a:lnTo>
                  <a:pt x="5387" y="907"/>
                </a:lnTo>
                <a:lnTo>
                  <a:pt x="5393" y="907"/>
                </a:lnTo>
                <a:lnTo>
                  <a:pt x="5393" y="907"/>
                </a:lnTo>
                <a:lnTo>
                  <a:pt x="5393" y="907"/>
                </a:lnTo>
                <a:lnTo>
                  <a:pt x="5393" y="907"/>
                </a:lnTo>
                <a:lnTo>
                  <a:pt x="5393" y="907"/>
                </a:lnTo>
                <a:lnTo>
                  <a:pt x="5393" y="907"/>
                </a:lnTo>
                <a:lnTo>
                  <a:pt x="5393" y="907"/>
                </a:lnTo>
                <a:lnTo>
                  <a:pt x="5393" y="907"/>
                </a:lnTo>
                <a:lnTo>
                  <a:pt x="5393" y="907"/>
                </a:lnTo>
                <a:lnTo>
                  <a:pt x="5393" y="907"/>
                </a:lnTo>
                <a:lnTo>
                  <a:pt x="5387" y="902"/>
                </a:lnTo>
                <a:lnTo>
                  <a:pt x="5387" y="902"/>
                </a:lnTo>
                <a:lnTo>
                  <a:pt x="5387" y="902"/>
                </a:lnTo>
                <a:lnTo>
                  <a:pt x="5387" y="902"/>
                </a:lnTo>
                <a:lnTo>
                  <a:pt x="5387" y="902"/>
                </a:lnTo>
                <a:lnTo>
                  <a:pt x="5387" y="902"/>
                </a:lnTo>
                <a:lnTo>
                  <a:pt x="5387" y="902"/>
                </a:lnTo>
                <a:lnTo>
                  <a:pt x="5387" y="902"/>
                </a:lnTo>
                <a:lnTo>
                  <a:pt x="5387" y="902"/>
                </a:lnTo>
                <a:lnTo>
                  <a:pt x="5381" y="907"/>
                </a:lnTo>
                <a:lnTo>
                  <a:pt x="5381" y="907"/>
                </a:lnTo>
                <a:lnTo>
                  <a:pt x="5381" y="907"/>
                </a:lnTo>
                <a:lnTo>
                  <a:pt x="5381" y="907"/>
                </a:lnTo>
                <a:lnTo>
                  <a:pt x="5381" y="907"/>
                </a:lnTo>
                <a:lnTo>
                  <a:pt x="5381" y="907"/>
                </a:lnTo>
                <a:lnTo>
                  <a:pt x="5381" y="907"/>
                </a:lnTo>
                <a:lnTo>
                  <a:pt x="5375" y="907"/>
                </a:lnTo>
                <a:lnTo>
                  <a:pt x="5375" y="902"/>
                </a:lnTo>
                <a:lnTo>
                  <a:pt x="5375" y="902"/>
                </a:lnTo>
                <a:lnTo>
                  <a:pt x="5375" y="902"/>
                </a:lnTo>
                <a:lnTo>
                  <a:pt x="5375" y="902"/>
                </a:lnTo>
                <a:lnTo>
                  <a:pt x="5369" y="902"/>
                </a:lnTo>
                <a:lnTo>
                  <a:pt x="5369" y="896"/>
                </a:lnTo>
                <a:lnTo>
                  <a:pt x="5369" y="896"/>
                </a:lnTo>
                <a:lnTo>
                  <a:pt x="5369" y="896"/>
                </a:lnTo>
                <a:lnTo>
                  <a:pt x="5375" y="902"/>
                </a:lnTo>
                <a:lnTo>
                  <a:pt x="5375" y="896"/>
                </a:lnTo>
                <a:lnTo>
                  <a:pt x="5375" y="896"/>
                </a:lnTo>
                <a:lnTo>
                  <a:pt x="5369" y="890"/>
                </a:lnTo>
                <a:lnTo>
                  <a:pt x="5369" y="890"/>
                </a:lnTo>
                <a:lnTo>
                  <a:pt x="5369" y="884"/>
                </a:lnTo>
                <a:lnTo>
                  <a:pt x="5369" y="884"/>
                </a:lnTo>
                <a:lnTo>
                  <a:pt x="5369" y="884"/>
                </a:lnTo>
                <a:lnTo>
                  <a:pt x="5369" y="884"/>
                </a:lnTo>
                <a:lnTo>
                  <a:pt x="5369" y="884"/>
                </a:lnTo>
                <a:lnTo>
                  <a:pt x="5369" y="884"/>
                </a:lnTo>
                <a:lnTo>
                  <a:pt x="5369" y="884"/>
                </a:lnTo>
                <a:lnTo>
                  <a:pt x="5369" y="884"/>
                </a:lnTo>
                <a:lnTo>
                  <a:pt x="5363" y="884"/>
                </a:lnTo>
                <a:lnTo>
                  <a:pt x="5363" y="884"/>
                </a:lnTo>
                <a:lnTo>
                  <a:pt x="5369" y="884"/>
                </a:lnTo>
                <a:lnTo>
                  <a:pt x="5369" y="884"/>
                </a:lnTo>
                <a:lnTo>
                  <a:pt x="5369" y="884"/>
                </a:lnTo>
                <a:lnTo>
                  <a:pt x="5369" y="884"/>
                </a:lnTo>
                <a:lnTo>
                  <a:pt x="5369" y="884"/>
                </a:lnTo>
                <a:lnTo>
                  <a:pt x="5369" y="878"/>
                </a:lnTo>
                <a:lnTo>
                  <a:pt x="5369" y="878"/>
                </a:lnTo>
                <a:lnTo>
                  <a:pt x="5369" y="878"/>
                </a:lnTo>
                <a:lnTo>
                  <a:pt x="5369" y="878"/>
                </a:lnTo>
                <a:lnTo>
                  <a:pt x="5369" y="872"/>
                </a:lnTo>
                <a:lnTo>
                  <a:pt x="5369" y="872"/>
                </a:lnTo>
                <a:lnTo>
                  <a:pt x="5369" y="872"/>
                </a:lnTo>
                <a:lnTo>
                  <a:pt x="5369" y="872"/>
                </a:lnTo>
                <a:lnTo>
                  <a:pt x="5375" y="866"/>
                </a:lnTo>
                <a:lnTo>
                  <a:pt x="5375" y="860"/>
                </a:lnTo>
                <a:lnTo>
                  <a:pt x="5381" y="860"/>
                </a:lnTo>
                <a:lnTo>
                  <a:pt x="5381" y="860"/>
                </a:lnTo>
                <a:lnTo>
                  <a:pt x="5381" y="854"/>
                </a:lnTo>
                <a:lnTo>
                  <a:pt x="5381" y="854"/>
                </a:lnTo>
                <a:lnTo>
                  <a:pt x="5381" y="854"/>
                </a:lnTo>
                <a:lnTo>
                  <a:pt x="5381" y="854"/>
                </a:lnTo>
                <a:lnTo>
                  <a:pt x="5381" y="854"/>
                </a:lnTo>
                <a:lnTo>
                  <a:pt x="5381" y="854"/>
                </a:lnTo>
                <a:lnTo>
                  <a:pt x="5381" y="854"/>
                </a:lnTo>
                <a:lnTo>
                  <a:pt x="5381" y="848"/>
                </a:lnTo>
                <a:lnTo>
                  <a:pt x="5381" y="848"/>
                </a:lnTo>
                <a:lnTo>
                  <a:pt x="5375" y="854"/>
                </a:lnTo>
                <a:lnTo>
                  <a:pt x="5375" y="854"/>
                </a:lnTo>
                <a:lnTo>
                  <a:pt x="5375" y="848"/>
                </a:lnTo>
                <a:lnTo>
                  <a:pt x="5375" y="848"/>
                </a:lnTo>
                <a:lnTo>
                  <a:pt x="5375" y="848"/>
                </a:lnTo>
                <a:lnTo>
                  <a:pt x="5375" y="848"/>
                </a:lnTo>
                <a:lnTo>
                  <a:pt x="5381" y="842"/>
                </a:lnTo>
                <a:lnTo>
                  <a:pt x="5381" y="842"/>
                </a:lnTo>
                <a:lnTo>
                  <a:pt x="5375" y="842"/>
                </a:lnTo>
                <a:lnTo>
                  <a:pt x="5381" y="842"/>
                </a:lnTo>
                <a:lnTo>
                  <a:pt x="5381" y="842"/>
                </a:lnTo>
                <a:lnTo>
                  <a:pt x="5381" y="842"/>
                </a:lnTo>
                <a:lnTo>
                  <a:pt x="5381" y="848"/>
                </a:lnTo>
                <a:lnTo>
                  <a:pt x="5381" y="848"/>
                </a:lnTo>
                <a:lnTo>
                  <a:pt x="5387" y="848"/>
                </a:lnTo>
                <a:lnTo>
                  <a:pt x="5387" y="848"/>
                </a:lnTo>
                <a:lnTo>
                  <a:pt x="5387" y="842"/>
                </a:lnTo>
                <a:lnTo>
                  <a:pt x="5387" y="842"/>
                </a:lnTo>
                <a:lnTo>
                  <a:pt x="5393" y="836"/>
                </a:lnTo>
                <a:lnTo>
                  <a:pt x="5393" y="836"/>
                </a:lnTo>
                <a:lnTo>
                  <a:pt x="5393" y="836"/>
                </a:lnTo>
                <a:lnTo>
                  <a:pt x="5393" y="836"/>
                </a:lnTo>
                <a:lnTo>
                  <a:pt x="5393" y="836"/>
                </a:lnTo>
                <a:lnTo>
                  <a:pt x="5393" y="830"/>
                </a:lnTo>
                <a:lnTo>
                  <a:pt x="5393" y="830"/>
                </a:lnTo>
                <a:lnTo>
                  <a:pt x="5393" y="830"/>
                </a:lnTo>
                <a:lnTo>
                  <a:pt x="5393" y="830"/>
                </a:lnTo>
                <a:lnTo>
                  <a:pt x="5393" y="824"/>
                </a:lnTo>
                <a:lnTo>
                  <a:pt x="5393" y="824"/>
                </a:lnTo>
                <a:lnTo>
                  <a:pt x="5393" y="824"/>
                </a:lnTo>
                <a:lnTo>
                  <a:pt x="5393" y="824"/>
                </a:lnTo>
                <a:lnTo>
                  <a:pt x="5393" y="818"/>
                </a:lnTo>
                <a:lnTo>
                  <a:pt x="5393" y="818"/>
                </a:lnTo>
                <a:lnTo>
                  <a:pt x="5393" y="818"/>
                </a:lnTo>
                <a:lnTo>
                  <a:pt x="5398" y="813"/>
                </a:lnTo>
                <a:lnTo>
                  <a:pt x="5398" y="813"/>
                </a:lnTo>
                <a:lnTo>
                  <a:pt x="5398" y="813"/>
                </a:lnTo>
                <a:lnTo>
                  <a:pt x="5398" y="813"/>
                </a:lnTo>
                <a:lnTo>
                  <a:pt x="5404" y="813"/>
                </a:lnTo>
                <a:lnTo>
                  <a:pt x="5404" y="813"/>
                </a:lnTo>
                <a:lnTo>
                  <a:pt x="5404" y="813"/>
                </a:lnTo>
                <a:lnTo>
                  <a:pt x="5410" y="807"/>
                </a:lnTo>
                <a:lnTo>
                  <a:pt x="5410" y="807"/>
                </a:lnTo>
                <a:lnTo>
                  <a:pt x="5410" y="807"/>
                </a:lnTo>
                <a:lnTo>
                  <a:pt x="5410" y="807"/>
                </a:lnTo>
                <a:lnTo>
                  <a:pt x="5410" y="807"/>
                </a:lnTo>
                <a:lnTo>
                  <a:pt x="5416" y="807"/>
                </a:lnTo>
                <a:lnTo>
                  <a:pt x="5416" y="801"/>
                </a:lnTo>
                <a:lnTo>
                  <a:pt x="5416" y="801"/>
                </a:lnTo>
                <a:lnTo>
                  <a:pt x="5416" y="801"/>
                </a:lnTo>
                <a:lnTo>
                  <a:pt x="5416" y="801"/>
                </a:lnTo>
                <a:lnTo>
                  <a:pt x="5416" y="801"/>
                </a:lnTo>
                <a:lnTo>
                  <a:pt x="5416" y="801"/>
                </a:lnTo>
                <a:lnTo>
                  <a:pt x="5416" y="795"/>
                </a:lnTo>
                <a:lnTo>
                  <a:pt x="5416" y="795"/>
                </a:lnTo>
                <a:lnTo>
                  <a:pt x="5416" y="795"/>
                </a:lnTo>
                <a:lnTo>
                  <a:pt x="5416" y="795"/>
                </a:lnTo>
                <a:lnTo>
                  <a:pt x="5416" y="801"/>
                </a:lnTo>
                <a:lnTo>
                  <a:pt x="5416" y="795"/>
                </a:lnTo>
                <a:lnTo>
                  <a:pt x="5416" y="795"/>
                </a:lnTo>
                <a:lnTo>
                  <a:pt x="5416" y="795"/>
                </a:lnTo>
                <a:lnTo>
                  <a:pt x="5416" y="795"/>
                </a:lnTo>
                <a:lnTo>
                  <a:pt x="5416" y="789"/>
                </a:lnTo>
                <a:lnTo>
                  <a:pt x="5416" y="789"/>
                </a:lnTo>
                <a:lnTo>
                  <a:pt x="5416" y="789"/>
                </a:lnTo>
                <a:lnTo>
                  <a:pt x="5416" y="789"/>
                </a:lnTo>
                <a:lnTo>
                  <a:pt x="5416" y="789"/>
                </a:lnTo>
                <a:lnTo>
                  <a:pt x="5416" y="783"/>
                </a:lnTo>
                <a:lnTo>
                  <a:pt x="5416" y="783"/>
                </a:lnTo>
                <a:lnTo>
                  <a:pt x="5416" y="783"/>
                </a:lnTo>
                <a:lnTo>
                  <a:pt x="5416" y="783"/>
                </a:lnTo>
                <a:lnTo>
                  <a:pt x="5422" y="783"/>
                </a:lnTo>
                <a:lnTo>
                  <a:pt x="5422" y="789"/>
                </a:lnTo>
                <a:lnTo>
                  <a:pt x="5422" y="789"/>
                </a:lnTo>
                <a:lnTo>
                  <a:pt x="5422" y="789"/>
                </a:lnTo>
                <a:lnTo>
                  <a:pt x="5422" y="783"/>
                </a:lnTo>
                <a:lnTo>
                  <a:pt x="5422" y="783"/>
                </a:lnTo>
                <a:lnTo>
                  <a:pt x="5428" y="783"/>
                </a:lnTo>
                <a:lnTo>
                  <a:pt x="5428" y="783"/>
                </a:lnTo>
                <a:lnTo>
                  <a:pt x="5422" y="783"/>
                </a:lnTo>
                <a:lnTo>
                  <a:pt x="5422" y="783"/>
                </a:lnTo>
                <a:lnTo>
                  <a:pt x="5428" y="783"/>
                </a:lnTo>
                <a:lnTo>
                  <a:pt x="5428" y="783"/>
                </a:lnTo>
                <a:lnTo>
                  <a:pt x="5428" y="783"/>
                </a:lnTo>
                <a:lnTo>
                  <a:pt x="5428" y="783"/>
                </a:lnTo>
                <a:lnTo>
                  <a:pt x="5428" y="783"/>
                </a:lnTo>
                <a:lnTo>
                  <a:pt x="5428" y="783"/>
                </a:lnTo>
                <a:lnTo>
                  <a:pt x="5428" y="783"/>
                </a:lnTo>
                <a:lnTo>
                  <a:pt x="5428" y="777"/>
                </a:lnTo>
                <a:lnTo>
                  <a:pt x="5428" y="777"/>
                </a:lnTo>
                <a:lnTo>
                  <a:pt x="5428" y="771"/>
                </a:lnTo>
                <a:lnTo>
                  <a:pt x="5428" y="771"/>
                </a:lnTo>
                <a:lnTo>
                  <a:pt x="5428" y="771"/>
                </a:lnTo>
                <a:lnTo>
                  <a:pt x="5428" y="771"/>
                </a:lnTo>
                <a:lnTo>
                  <a:pt x="5422" y="771"/>
                </a:lnTo>
                <a:lnTo>
                  <a:pt x="5422" y="771"/>
                </a:lnTo>
                <a:lnTo>
                  <a:pt x="5422" y="771"/>
                </a:lnTo>
                <a:lnTo>
                  <a:pt x="5422" y="771"/>
                </a:lnTo>
                <a:lnTo>
                  <a:pt x="5422" y="771"/>
                </a:lnTo>
                <a:lnTo>
                  <a:pt x="5428" y="771"/>
                </a:lnTo>
                <a:lnTo>
                  <a:pt x="5428" y="771"/>
                </a:lnTo>
                <a:lnTo>
                  <a:pt x="5428" y="771"/>
                </a:lnTo>
                <a:lnTo>
                  <a:pt x="5428" y="771"/>
                </a:lnTo>
                <a:lnTo>
                  <a:pt x="5428" y="765"/>
                </a:lnTo>
                <a:lnTo>
                  <a:pt x="5428" y="765"/>
                </a:lnTo>
                <a:lnTo>
                  <a:pt x="5428" y="765"/>
                </a:lnTo>
                <a:lnTo>
                  <a:pt x="5428" y="765"/>
                </a:lnTo>
                <a:lnTo>
                  <a:pt x="5428" y="759"/>
                </a:lnTo>
                <a:lnTo>
                  <a:pt x="5434" y="753"/>
                </a:lnTo>
                <a:lnTo>
                  <a:pt x="5434" y="753"/>
                </a:lnTo>
                <a:lnTo>
                  <a:pt x="5434" y="753"/>
                </a:lnTo>
                <a:lnTo>
                  <a:pt x="5434" y="753"/>
                </a:lnTo>
                <a:lnTo>
                  <a:pt x="5434" y="753"/>
                </a:lnTo>
                <a:lnTo>
                  <a:pt x="5440" y="747"/>
                </a:lnTo>
                <a:lnTo>
                  <a:pt x="5440" y="747"/>
                </a:lnTo>
                <a:lnTo>
                  <a:pt x="5440" y="747"/>
                </a:lnTo>
                <a:lnTo>
                  <a:pt x="5446" y="747"/>
                </a:lnTo>
                <a:lnTo>
                  <a:pt x="5446" y="747"/>
                </a:lnTo>
                <a:lnTo>
                  <a:pt x="5446" y="747"/>
                </a:lnTo>
                <a:lnTo>
                  <a:pt x="5446" y="741"/>
                </a:lnTo>
                <a:lnTo>
                  <a:pt x="5452" y="741"/>
                </a:lnTo>
                <a:lnTo>
                  <a:pt x="5452" y="741"/>
                </a:lnTo>
                <a:lnTo>
                  <a:pt x="5452" y="741"/>
                </a:lnTo>
                <a:lnTo>
                  <a:pt x="5452" y="741"/>
                </a:lnTo>
                <a:lnTo>
                  <a:pt x="5452" y="741"/>
                </a:lnTo>
                <a:lnTo>
                  <a:pt x="5452" y="741"/>
                </a:lnTo>
                <a:lnTo>
                  <a:pt x="5452" y="741"/>
                </a:lnTo>
                <a:lnTo>
                  <a:pt x="5452" y="747"/>
                </a:lnTo>
                <a:lnTo>
                  <a:pt x="5446" y="747"/>
                </a:lnTo>
                <a:lnTo>
                  <a:pt x="5452" y="747"/>
                </a:lnTo>
                <a:lnTo>
                  <a:pt x="5452" y="741"/>
                </a:lnTo>
                <a:lnTo>
                  <a:pt x="5458" y="741"/>
                </a:lnTo>
                <a:lnTo>
                  <a:pt x="5458" y="741"/>
                </a:lnTo>
                <a:lnTo>
                  <a:pt x="5452" y="747"/>
                </a:lnTo>
                <a:lnTo>
                  <a:pt x="5452" y="753"/>
                </a:lnTo>
                <a:lnTo>
                  <a:pt x="5446" y="759"/>
                </a:lnTo>
                <a:lnTo>
                  <a:pt x="5446" y="759"/>
                </a:lnTo>
                <a:lnTo>
                  <a:pt x="5452" y="759"/>
                </a:lnTo>
                <a:lnTo>
                  <a:pt x="5452" y="759"/>
                </a:lnTo>
                <a:lnTo>
                  <a:pt x="5452" y="759"/>
                </a:lnTo>
                <a:lnTo>
                  <a:pt x="5452" y="753"/>
                </a:lnTo>
                <a:lnTo>
                  <a:pt x="5452" y="753"/>
                </a:lnTo>
                <a:lnTo>
                  <a:pt x="5452" y="753"/>
                </a:lnTo>
                <a:lnTo>
                  <a:pt x="5452" y="747"/>
                </a:lnTo>
                <a:lnTo>
                  <a:pt x="5452" y="747"/>
                </a:lnTo>
                <a:lnTo>
                  <a:pt x="5458" y="747"/>
                </a:lnTo>
                <a:lnTo>
                  <a:pt x="5458" y="741"/>
                </a:lnTo>
                <a:lnTo>
                  <a:pt x="5458" y="741"/>
                </a:lnTo>
                <a:lnTo>
                  <a:pt x="5458" y="747"/>
                </a:lnTo>
                <a:lnTo>
                  <a:pt x="5458" y="747"/>
                </a:lnTo>
                <a:lnTo>
                  <a:pt x="5458" y="747"/>
                </a:lnTo>
                <a:lnTo>
                  <a:pt x="5452" y="759"/>
                </a:lnTo>
                <a:lnTo>
                  <a:pt x="5452" y="759"/>
                </a:lnTo>
                <a:lnTo>
                  <a:pt x="5452" y="759"/>
                </a:lnTo>
                <a:lnTo>
                  <a:pt x="5452" y="759"/>
                </a:lnTo>
                <a:lnTo>
                  <a:pt x="5452" y="759"/>
                </a:lnTo>
                <a:lnTo>
                  <a:pt x="5452" y="759"/>
                </a:lnTo>
                <a:lnTo>
                  <a:pt x="5452" y="759"/>
                </a:lnTo>
                <a:lnTo>
                  <a:pt x="5452" y="753"/>
                </a:lnTo>
                <a:lnTo>
                  <a:pt x="5452" y="753"/>
                </a:lnTo>
                <a:lnTo>
                  <a:pt x="5452" y="753"/>
                </a:lnTo>
                <a:lnTo>
                  <a:pt x="5458" y="753"/>
                </a:lnTo>
                <a:lnTo>
                  <a:pt x="5458" y="753"/>
                </a:lnTo>
                <a:lnTo>
                  <a:pt x="5458" y="753"/>
                </a:lnTo>
                <a:lnTo>
                  <a:pt x="5458" y="753"/>
                </a:lnTo>
                <a:lnTo>
                  <a:pt x="5458" y="747"/>
                </a:lnTo>
                <a:lnTo>
                  <a:pt x="5458" y="753"/>
                </a:lnTo>
                <a:lnTo>
                  <a:pt x="5458" y="753"/>
                </a:lnTo>
                <a:lnTo>
                  <a:pt x="5464" y="753"/>
                </a:lnTo>
                <a:lnTo>
                  <a:pt x="5464" y="753"/>
                </a:lnTo>
                <a:lnTo>
                  <a:pt x="5464" y="753"/>
                </a:lnTo>
                <a:lnTo>
                  <a:pt x="5464" y="747"/>
                </a:lnTo>
                <a:lnTo>
                  <a:pt x="5464" y="747"/>
                </a:lnTo>
                <a:lnTo>
                  <a:pt x="5464" y="747"/>
                </a:lnTo>
                <a:lnTo>
                  <a:pt x="5464" y="747"/>
                </a:lnTo>
                <a:lnTo>
                  <a:pt x="5464" y="741"/>
                </a:lnTo>
                <a:lnTo>
                  <a:pt x="5464" y="741"/>
                </a:lnTo>
                <a:lnTo>
                  <a:pt x="5458" y="741"/>
                </a:lnTo>
                <a:lnTo>
                  <a:pt x="5458" y="741"/>
                </a:lnTo>
                <a:lnTo>
                  <a:pt x="5464" y="741"/>
                </a:lnTo>
                <a:lnTo>
                  <a:pt x="5464" y="741"/>
                </a:lnTo>
                <a:lnTo>
                  <a:pt x="5464" y="741"/>
                </a:lnTo>
                <a:lnTo>
                  <a:pt x="5464" y="741"/>
                </a:lnTo>
                <a:lnTo>
                  <a:pt x="5464" y="741"/>
                </a:lnTo>
                <a:lnTo>
                  <a:pt x="5464" y="741"/>
                </a:lnTo>
                <a:lnTo>
                  <a:pt x="5464" y="741"/>
                </a:lnTo>
                <a:lnTo>
                  <a:pt x="5464" y="741"/>
                </a:lnTo>
                <a:lnTo>
                  <a:pt x="5464" y="741"/>
                </a:lnTo>
                <a:lnTo>
                  <a:pt x="5464" y="741"/>
                </a:lnTo>
                <a:lnTo>
                  <a:pt x="5464" y="747"/>
                </a:lnTo>
                <a:lnTo>
                  <a:pt x="5464" y="747"/>
                </a:lnTo>
                <a:lnTo>
                  <a:pt x="5464" y="747"/>
                </a:lnTo>
                <a:lnTo>
                  <a:pt x="5464" y="747"/>
                </a:lnTo>
                <a:lnTo>
                  <a:pt x="5464" y="747"/>
                </a:lnTo>
                <a:lnTo>
                  <a:pt x="5464" y="747"/>
                </a:lnTo>
                <a:lnTo>
                  <a:pt x="5464" y="747"/>
                </a:lnTo>
                <a:lnTo>
                  <a:pt x="5464" y="747"/>
                </a:lnTo>
                <a:lnTo>
                  <a:pt x="5464" y="747"/>
                </a:lnTo>
                <a:lnTo>
                  <a:pt x="5464" y="747"/>
                </a:lnTo>
                <a:lnTo>
                  <a:pt x="5464" y="753"/>
                </a:lnTo>
                <a:lnTo>
                  <a:pt x="5464" y="753"/>
                </a:lnTo>
                <a:lnTo>
                  <a:pt x="5464" y="753"/>
                </a:lnTo>
                <a:lnTo>
                  <a:pt x="5464" y="753"/>
                </a:lnTo>
                <a:lnTo>
                  <a:pt x="5464" y="753"/>
                </a:lnTo>
                <a:lnTo>
                  <a:pt x="5464" y="759"/>
                </a:lnTo>
                <a:lnTo>
                  <a:pt x="5464" y="759"/>
                </a:lnTo>
                <a:lnTo>
                  <a:pt x="5464" y="759"/>
                </a:lnTo>
                <a:lnTo>
                  <a:pt x="5464" y="759"/>
                </a:lnTo>
                <a:lnTo>
                  <a:pt x="5470" y="765"/>
                </a:lnTo>
                <a:lnTo>
                  <a:pt x="5470" y="765"/>
                </a:lnTo>
                <a:lnTo>
                  <a:pt x="5470" y="759"/>
                </a:lnTo>
                <a:lnTo>
                  <a:pt x="5470" y="759"/>
                </a:lnTo>
                <a:lnTo>
                  <a:pt x="5470" y="759"/>
                </a:lnTo>
                <a:lnTo>
                  <a:pt x="5470" y="759"/>
                </a:lnTo>
                <a:lnTo>
                  <a:pt x="5470" y="759"/>
                </a:lnTo>
                <a:lnTo>
                  <a:pt x="5470" y="759"/>
                </a:lnTo>
                <a:lnTo>
                  <a:pt x="5470" y="759"/>
                </a:lnTo>
                <a:lnTo>
                  <a:pt x="5470" y="753"/>
                </a:lnTo>
                <a:lnTo>
                  <a:pt x="5470" y="753"/>
                </a:lnTo>
                <a:lnTo>
                  <a:pt x="5470" y="753"/>
                </a:lnTo>
                <a:lnTo>
                  <a:pt x="5470" y="747"/>
                </a:lnTo>
                <a:lnTo>
                  <a:pt x="5470" y="747"/>
                </a:lnTo>
                <a:lnTo>
                  <a:pt x="5470" y="741"/>
                </a:lnTo>
                <a:lnTo>
                  <a:pt x="5470" y="741"/>
                </a:lnTo>
                <a:lnTo>
                  <a:pt x="5470" y="730"/>
                </a:lnTo>
                <a:lnTo>
                  <a:pt x="5470" y="730"/>
                </a:lnTo>
                <a:lnTo>
                  <a:pt x="5470" y="724"/>
                </a:lnTo>
                <a:lnTo>
                  <a:pt x="5470" y="724"/>
                </a:lnTo>
                <a:lnTo>
                  <a:pt x="5470" y="724"/>
                </a:lnTo>
                <a:lnTo>
                  <a:pt x="5470" y="724"/>
                </a:lnTo>
                <a:lnTo>
                  <a:pt x="5464" y="730"/>
                </a:lnTo>
                <a:lnTo>
                  <a:pt x="5464" y="730"/>
                </a:lnTo>
                <a:lnTo>
                  <a:pt x="5464" y="730"/>
                </a:lnTo>
                <a:lnTo>
                  <a:pt x="5464" y="730"/>
                </a:lnTo>
                <a:lnTo>
                  <a:pt x="5464" y="730"/>
                </a:lnTo>
                <a:lnTo>
                  <a:pt x="5464" y="724"/>
                </a:lnTo>
                <a:lnTo>
                  <a:pt x="5464" y="724"/>
                </a:lnTo>
                <a:lnTo>
                  <a:pt x="5464" y="724"/>
                </a:lnTo>
                <a:lnTo>
                  <a:pt x="5464" y="724"/>
                </a:lnTo>
                <a:lnTo>
                  <a:pt x="5464" y="724"/>
                </a:lnTo>
                <a:lnTo>
                  <a:pt x="5464" y="724"/>
                </a:lnTo>
                <a:lnTo>
                  <a:pt x="5464" y="718"/>
                </a:lnTo>
                <a:lnTo>
                  <a:pt x="5470" y="718"/>
                </a:lnTo>
                <a:lnTo>
                  <a:pt x="5470" y="718"/>
                </a:lnTo>
                <a:lnTo>
                  <a:pt x="5470" y="718"/>
                </a:lnTo>
                <a:lnTo>
                  <a:pt x="5470" y="718"/>
                </a:lnTo>
                <a:lnTo>
                  <a:pt x="5470" y="718"/>
                </a:lnTo>
                <a:lnTo>
                  <a:pt x="5470" y="718"/>
                </a:lnTo>
                <a:lnTo>
                  <a:pt x="5470" y="712"/>
                </a:lnTo>
                <a:lnTo>
                  <a:pt x="5475" y="712"/>
                </a:lnTo>
                <a:lnTo>
                  <a:pt x="5475" y="712"/>
                </a:lnTo>
                <a:lnTo>
                  <a:pt x="5475" y="712"/>
                </a:lnTo>
                <a:lnTo>
                  <a:pt x="5475" y="712"/>
                </a:lnTo>
                <a:lnTo>
                  <a:pt x="5475" y="718"/>
                </a:lnTo>
                <a:lnTo>
                  <a:pt x="5470" y="718"/>
                </a:lnTo>
                <a:lnTo>
                  <a:pt x="5470" y="718"/>
                </a:lnTo>
                <a:lnTo>
                  <a:pt x="5470" y="718"/>
                </a:lnTo>
                <a:lnTo>
                  <a:pt x="5470" y="718"/>
                </a:lnTo>
                <a:lnTo>
                  <a:pt x="5470" y="724"/>
                </a:lnTo>
                <a:lnTo>
                  <a:pt x="5470" y="724"/>
                </a:lnTo>
                <a:lnTo>
                  <a:pt x="5470" y="724"/>
                </a:lnTo>
                <a:lnTo>
                  <a:pt x="5470" y="730"/>
                </a:lnTo>
                <a:lnTo>
                  <a:pt x="5470" y="730"/>
                </a:lnTo>
                <a:lnTo>
                  <a:pt x="5470" y="730"/>
                </a:lnTo>
                <a:lnTo>
                  <a:pt x="5470" y="730"/>
                </a:lnTo>
                <a:lnTo>
                  <a:pt x="5470" y="730"/>
                </a:lnTo>
                <a:lnTo>
                  <a:pt x="5470" y="735"/>
                </a:lnTo>
                <a:lnTo>
                  <a:pt x="5470" y="735"/>
                </a:lnTo>
                <a:lnTo>
                  <a:pt x="5470" y="735"/>
                </a:lnTo>
                <a:lnTo>
                  <a:pt x="5470" y="735"/>
                </a:lnTo>
                <a:lnTo>
                  <a:pt x="5470" y="741"/>
                </a:lnTo>
                <a:lnTo>
                  <a:pt x="5470" y="741"/>
                </a:lnTo>
                <a:lnTo>
                  <a:pt x="5470" y="741"/>
                </a:lnTo>
                <a:lnTo>
                  <a:pt x="5475" y="747"/>
                </a:lnTo>
                <a:lnTo>
                  <a:pt x="5475" y="747"/>
                </a:lnTo>
                <a:lnTo>
                  <a:pt x="5475" y="747"/>
                </a:lnTo>
                <a:lnTo>
                  <a:pt x="5475" y="747"/>
                </a:lnTo>
                <a:lnTo>
                  <a:pt x="5475" y="747"/>
                </a:lnTo>
                <a:lnTo>
                  <a:pt x="5475" y="747"/>
                </a:lnTo>
                <a:lnTo>
                  <a:pt x="5475" y="747"/>
                </a:lnTo>
                <a:lnTo>
                  <a:pt x="5475" y="747"/>
                </a:lnTo>
                <a:lnTo>
                  <a:pt x="5475" y="747"/>
                </a:lnTo>
                <a:lnTo>
                  <a:pt x="5475" y="753"/>
                </a:lnTo>
                <a:lnTo>
                  <a:pt x="5475" y="753"/>
                </a:lnTo>
                <a:lnTo>
                  <a:pt x="5475" y="753"/>
                </a:lnTo>
                <a:lnTo>
                  <a:pt x="5475" y="753"/>
                </a:lnTo>
                <a:lnTo>
                  <a:pt x="5475" y="753"/>
                </a:lnTo>
                <a:lnTo>
                  <a:pt x="5475" y="753"/>
                </a:lnTo>
                <a:lnTo>
                  <a:pt x="5481" y="747"/>
                </a:lnTo>
                <a:lnTo>
                  <a:pt x="5481" y="741"/>
                </a:lnTo>
                <a:lnTo>
                  <a:pt x="5481" y="741"/>
                </a:lnTo>
                <a:lnTo>
                  <a:pt x="5481" y="741"/>
                </a:lnTo>
                <a:lnTo>
                  <a:pt x="5475" y="741"/>
                </a:lnTo>
                <a:lnTo>
                  <a:pt x="5475" y="747"/>
                </a:lnTo>
                <a:lnTo>
                  <a:pt x="5475" y="747"/>
                </a:lnTo>
                <a:lnTo>
                  <a:pt x="5475" y="747"/>
                </a:lnTo>
                <a:lnTo>
                  <a:pt x="5475" y="741"/>
                </a:lnTo>
                <a:lnTo>
                  <a:pt x="5475" y="741"/>
                </a:lnTo>
                <a:lnTo>
                  <a:pt x="5475" y="741"/>
                </a:lnTo>
                <a:lnTo>
                  <a:pt x="5475" y="741"/>
                </a:lnTo>
                <a:lnTo>
                  <a:pt x="5475" y="741"/>
                </a:lnTo>
                <a:lnTo>
                  <a:pt x="5475" y="741"/>
                </a:lnTo>
                <a:lnTo>
                  <a:pt x="5475" y="735"/>
                </a:lnTo>
                <a:lnTo>
                  <a:pt x="5475" y="735"/>
                </a:lnTo>
                <a:lnTo>
                  <a:pt x="5475" y="735"/>
                </a:lnTo>
                <a:lnTo>
                  <a:pt x="5475" y="735"/>
                </a:lnTo>
                <a:lnTo>
                  <a:pt x="5487" y="724"/>
                </a:lnTo>
                <a:lnTo>
                  <a:pt x="5487" y="718"/>
                </a:lnTo>
                <a:lnTo>
                  <a:pt x="5487" y="718"/>
                </a:lnTo>
                <a:lnTo>
                  <a:pt x="5487" y="718"/>
                </a:lnTo>
                <a:lnTo>
                  <a:pt x="5487" y="718"/>
                </a:lnTo>
                <a:lnTo>
                  <a:pt x="5487" y="718"/>
                </a:lnTo>
                <a:lnTo>
                  <a:pt x="5487" y="718"/>
                </a:lnTo>
                <a:lnTo>
                  <a:pt x="5487" y="718"/>
                </a:lnTo>
                <a:lnTo>
                  <a:pt x="5487" y="718"/>
                </a:lnTo>
                <a:lnTo>
                  <a:pt x="5487" y="724"/>
                </a:lnTo>
                <a:lnTo>
                  <a:pt x="5487" y="724"/>
                </a:lnTo>
                <a:lnTo>
                  <a:pt x="5487" y="724"/>
                </a:lnTo>
                <a:lnTo>
                  <a:pt x="5487" y="730"/>
                </a:lnTo>
                <a:lnTo>
                  <a:pt x="5487" y="730"/>
                </a:lnTo>
                <a:lnTo>
                  <a:pt x="5487" y="730"/>
                </a:lnTo>
                <a:lnTo>
                  <a:pt x="5487" y="730"/>
                </a:lnTo>
                <a:lnTo>
                  <a:pt x="5487" y="730"/>
                </a:lnTo>
                <a:lnTo>
                  <a:pt x="5487" y="730"/>
                </a:lnTo>
                <a:lnTo>
                  <a:pt x="5487" y="735"/>
                </a:lnTo>
                <a:lnTo>
                  <a:pt x="5487" y="735"/>
                </a:lnTo>
                <a:lnTo>
                  <a:pt x="5487" y="735"/>
                </a:lnTo>
                <a:lnTo>
                  <a:pt x="5487" y="735"/>
                </a:lnTo>
                <a:lnTo>
                  <a:pt x="5487" y="735"/>
                </a:lnTo>
                <a:lnTo>
                  <a:pt x="5487" y="735"/>
                </a:lnTo>
                <a:lnTo>
                  <a:pt x="5487" y="735"/>
                </a:lnTo>
                <a:lnTo>
                  <a:pt x="5487" y="735"/>
                </a:lnTo>
                <a:lnTo>
                  <a:pt x="5487" y="735"/>
                </a:lnTo>
                <a:lnTo>
                  <a:pt x="5487" y="735"/>
                </a:lnTo>
                <a:lnTo>
                  <a:pt x="5487" y="735"/>
                </a:lnTo>
                <a:lnTo>
                  <a:pt x="5487" y="735"/>
                </a:lnTo>
                <a:lnTo>
                  <a:pt x="5487" y="735"/>
                </a:lnTo>
                <a:lnTo>
                  <a:pt x="5481" y="741"/>
                </a:lnTo>
                <a:lnTo>
                  <a:pt x="5481" y="741"/>
                </a:lnTo>
                <a:lnTo>
                  <a:pt x="5481" y="741"/>
                </a:lnTo>
                <a:lnTo>
                  <a:pt x="5481" y="741"/>
                </a:lnTo>
                <a:lnTo>
                  <a:pt x="5487" y="741"/>
                </a:lnTo>
                <a:lnTo>
                  <a:pt x="5487" y="741"/>
                </a:lnTo>
                <a:lnTo>
                  <a:pt x="5487" y="741"/>
                </a:lnTo>
                <a:lnTo>
                  <a:pt x="5487" y="747"/>
                </a:lnTo>
                <a:lnTo>
                  <a:pt x="5487" y="741"/>
                </a:lnTo>
                <a:lnTo>
                  <a:pt x="5493" y="741"/>
                </a:lnTo>
                <a:lnTo>
                  <a:pt x="5493" y="747"/>
                </a:lnTo>
                <a:lnTo>
                  <a:pt x="5493" y="747"/>
                </a:lnTo>
                <a:lnTo>
                  <a:pt x="5493" y="747"/>
                </a:lnTo>
                <a:lnTo>
                  <a:pt x="5493" y="747"/>
                </a:lnTo>
                <a:lnTo>
                  <a:pt x="5493" y="741"/>
                </a:lnTo>
                <a:lnTo>
                  <a:pt x="5493" y="741"/>
                </a:lnTo>
                <a:lnTo>
                  <a:pt x="5493" y="741"/>
                </a:lnTo>
                <a:lnTo>
                  <a:pt x="5493" y="735"/>
                </a:lnTo>
                <a:lnTo>
                  <a:pt x="5493" y="735"/>
                </a:lnTo>
                <a:lnTo>
                  <a:pt x="5493" y="735"/>
                </a:lnTo>
                <a:lnTo>
                  <a:pt x="5493" y="735"/>
                </a:lnTo>
                <a:lnTo>
                  <a:pt x="5493" y="735"/>
                </a:lnTo>
                <a:lnTo>
                  <a:pt x="5493" y="735"/>
                </a:lnTo>
                <a:lnTo>
                  <a:pt x="5493" y="735"/>
                </a:lnTo>
                <a:lnTo>
                  <a:pt x="5493" y="735"/>
                </a:lnTo>
                <a:lnTo>
                  <a:pt x="5493" y="730"/>
                </a:lnTo>
                <a:lnTo>
                  <a:pt x="5493" y="730"/>
                </a:lnTo>
                <a:lnTo>
                  <a:pt x="5493" y="730"/>
                </a:lnTo>
                <a:lnTo>
                  <a:pt x="5493" y="730"/>
                </a:lnTo>
                <a:lnTo>
                  <a:pt x="5493" y="730"/>
                </a:lnTo>
                <a:lnTo>
                  <a:pt x="5493" y="730"/>
                </a:lnTo>
                <a:lnTo>
                  <a:pt x="5493" y="724"/>
                </a:lnTo>
                <a:lnTo>
                  <a:pt x="5493" y="724"/>
                </a:lnTo>
                <a:lnTo>
                  <a:pt x="5493" y="724"/>
                </a:lnTo>
                <a:lnTo>
                  <a:pt x="5493" y="724"/>
                </a:lnTo>
                <a:lnTo>
                  <a:pt x="5493" y="718"/>
                </a:lnTo>
                <a:lnTo>
                  <a:pt x="5499" y="718"/>
                </a:lnTo>
                <a:lnTo>
                  <a:pt x="5499" y="718"/>
                </a:lnTo>
                <a:lnTo>
                  <a:pt x="5499" y="724"/>
                </a:lnTo>
                <a:lnTo>
                  <a:pt x="5493" y="724"/>
                </a:lnTo>
                <a:lnTo>
                  <a:pt x="5493" y="730"/>
                </a:lnTo>
                <a:lnTo>
                  <a:pt x="5493" y="730"/>
                </a:lnTo>
                <a:lnTo>
                  <a:pt x="5493" y="730"/>
                </a:lnTo>
                <a:lnTo>
                  <a:pt x="5493" y="730"/>
                </a:lnTo>
                <a:lnTo>
                  <a:pt x="5493" y="730"/>
                </a:lnTo>
                <a:lnTo>
                  <a:pt x="5493" y="730"/>
                </a:lnTo>
                <a:lnTo>
                  <a:pt x="5493" y="735"/>
                </a:lnTo>
                <a:lnTo>
                  <a:pt x="5493" y="735"/>
                </a:lnTo>
                <a:lnTo>
                  <a:pt x="5493" y="735"/>
                </a:lnTo>
                <a:lnTo>
                  <a:pt x="5493" y="735"/>
                </a:lnTo>
                <a:lnTo>
                  <a:pt x="5493" y="735"/>
                </a:lnTo>
                <a:lnTo>
                  <a:pt x="5493" y="735"/>
                </a:lnTo>
                <a:lnTo>
                  <a:pt x="5493" y="735"/>
                </a:lnTo>
                <a:lnTo>
                  <a:pt x="5493" y="735"/>
                </a:lnTo>
                <a:lnTo>
                  <a:pt x="5493" y="735"/>
                </a:lnTo>
                <a:lnTo>
                  <a:pt x="5493" y="735"/>
                </a:lnTo>
                <a:lnTo>
                  <a:pt x="5493" y="741"/>
                </a:lnTo>
                <a:lnTo>
                  <a:pt x="5493" y="741"/>
                </a:lnTo>
                <a:lnTo>
                  <a:pt x="5493" y="741"/>
                </a:lnTo>
                <a:lnTo>
                  <a:pt x="5493" y="741"/>
                </a:lnTo>
                <a:lnTo>
                  <a:pt x="5493" y="741"/>
                </a:lnTo>
                <a:lnTo>
                  <a:pt x="5493" y="741"/>
                </a:lnTo>
                <a:lnTo>
                  <a:pt x="5493" y="747"/>
                </a:lnTo>
                <a:lnTo>
                  <a:pt x="5493" y="747"/>
                </a:lnTo>
                <a:lnTo>
                  <a:pt x="5493" y="741"/>
                </a:lnTo>
                <a:lnTo>
                  <a:pt x="5493" y="741"/>
                </a:lnTo>
                <a:lnTo>
                  <a:pt x="5493" y="735"/>
                </a:lnTo>
                <a:lnTo>
                  <a:pt x="5499" y="735"/>
                </a:lnTo>
                <a:lnTo>
                  <a:pt x="5499" y="735"/>
                </a:lnTo>
                <a:lnTo>
                  <a:pt x="5499" y="735"/>
                </a:lnTo>
                <a:lnTo>
                  <a:pt x="5499" y="735"/>
                </a:lnTo>
                <a:lnTo>
                  <a:pt x="5499" y="741"/>
                </a:lnTo>
                <a:lnTo>
                  <a:pt x="5499" y="741"/>
                </a:lnTo>
                <a:lnTo>
                  <a:pt x="5499" y="747"/>
                </a:lnTo>
                <a:lnTo>
                  <a:pt x="5499" y="741"/>
                </a:lnTo>
                <a:lnTo>
                  <a:pt x="5499" y="741"/>
                </a:lnTo>
                <a:lnTo>
                  <a:pt x="5505" y="741"/>
                </a:lnTo>
                <a:lnTo>
                  <a:pt x="5505" y="724"/>
                </a:lnTo>
                <a:lnTo>
                  <a:pt x="5505" y="724"/>
                </a:lnTo>
                <a:lnTo>
                  <a:pt x="5505" y="724"/>
                </a:lnTo>
                <a:lnTo>
                  <a:pt x="5505" y="724"/>
                </a:lnTo>
                <a:lnTo>
                  <a:pt x="5505" y="724"/>
                </a:lnTo>
                <a:lnTo>
                  <a:pt x="5511" y="724"/>
                </a:lnTo>
                <a:lnTo>
                  <a:pt x="5511" y="724"/>
                </a:lnTo>
                <a:lnTo>
                  <a:pt x="5511" y="724"/>
                </a:lnTo>
                <a:lnTo>
                  <a:pt x="5511" y="718"/>
                </a:lnTo>
                <a:lnTo>
                  <a:pt x="5511" y="718"/>
                </a:lnTo>
                <a:lnTo>
                  <a:pt x="5511" y="718"/>
                </a:lnTo>
                <a:lnTo>
                  <a:pt x="5511" y="718"/>
                </a:lnTo>
                <a:lnTo>
                  <a:pt x="5511" y="712"/>
                </a:lnTo>
                <a:lnTo>
                  <a:pt x="5517" y="712"/>
                </a:lnTo>
                <a:lnTo>
                  <a:pt x="5517" y="718"/>
                </a:lnTo>
                <a:lnTo>
                  <a:pt x="5517" y="718"/>
                </a:lnTo>
                <a:lnTo>
                  <a:pt x="5511" y="718"/>
                </a:lnTo>
                <a:lnTo>
                  <a:pt x="5511" y="718"/>
                </a:lnTo>
                <a:lnTo>
                  <a:pt x="5511" y="718"/>
                </a:lnTo>
                <a:lnTo>
                  <a:pt x="5517" y="718"/>
                </a:lnTo>
                <a:lnTo>
                  <a:pt x="5517" y="718"/>
                </a:lnTo>
                <a:lnTo>
                  <a:pt x="5517" y="724"/>
                </a:lnTo>
                <a:lnTo>
                  <a:pt x="5517" y="724"/>
                </a:lnTo>
                <a:lnTo>
                  <a:pt x="5517" y="724"/>
                </a:lnTo>
                <a:lnTo>
                  <a:pt x="5511" y="724"/>
                </a:lnTo>
                <a:lnTo>
                  <a:pt x="5511" y="724"/>
                </a:lnTo>
                <a:lnTo>
                  <a:pt x="5517" y="724"/>
                </a:lnTo>
                <a:lnTo>
                  <a:pt x="5517" y="724"/>
                </a:lnTo>
                <a:lnTo>
                  <a:pt x="5517" y="724"/>
                </a:lnTo>
                <a:lnTo>
                  <a:pt x="5517" y="724"/>
                </a:lnTo>
                <a:lnTo>
                  <a:pt x="5523" y="724"/>
                </a:lnTo>
                <a:lnTo>
                  <a:pt x="5517" y="724"/>
                </a:lnTo>
                <a:lnTo>
                  <a:pt x="5517" y="730"/>
                </a:lnTo>
                <a:lnTo>
                  <a:pt x="5517" y="730"/>
                </a:lnTo>
                <a:lnTo>
                  <a:pt x="5523" y="730"/>
                </a:lnTo>
                <a:lnTo>
                  <a:pt x="5523" y="724"/>
                </a:lnTo>
                <a:lnTo>
                  <a:pt x="5529" y="724"/>
                </a:lnTo>
                <a:lnTo>
                  <a:pt x="5529" y="724"/>
                </a:lnTo>
                <a:lnTo>
                  <a:pt x="5529" y="724"/>
                </a:lnTo>
                <a:lnTo>
                  <a:pt x="5529" y="724"/>
                </a:lnTo>
                <a:lnTo>
                  <a:pt x="5523" y="730"/>
                </a:lnTo>
                <a:lnTo>
                  <a:pt x="5523" y="730"/>
                </a:lnTo>
                <a:lnTo>
                  <a:pt x="5523" y="730"/>
                </a:lnTo>
                <a:lnTo>
                  <a:pt x="5529" y="730"/>
                </a:lnTo>
                <a:lnTo>
                  <a:pt x="5529" y="730"/>
                </a:lnTo>
                <a:lnTo>
                  <a:pt x="5529" y="730"/>
                </a:lnTo>
                <a:lnTo>
                  <a:pt x="5529" y="730"/>
                </a:lnTo>
                <a:lnTo>
                  <a:pt x="5529" y="730"/>
                </a:lnTo>
                <a:lnTo>
                  <a:pt x="5529" y="724"/>
                </a:lnTo>
                <a:lnTo>
                  <a:pt x="5529" y="724"/>
                </a:lnTo>
                <a:lnTo>
                  <a:pt x="5529" y="724"/>
                </a:lnTo>
                <a:lnTo>
                  <a:pt x="5529" y="724"/>
                </a:lnTo>
                <a:lnTo>
                  <a:pt x="5529" y="724"/>
                </a:lnTo>
                <a:lnTo>
                  <a:pt x="5535" y="724"/>
                </a:lnTo>
                <a:lnTo>
                  <a:pt x="5535" y="724"/>
                </a:lnTo>
                <a:lnTo>
                  <a:pt x="5535" y="724"/>
                </a:lnTo>
                <a:lnTo>
                  <a:pt x="5535" y="724"/>
                </a:lnTo>
                <a:lnTo>
                  <a:pt x="5535" y="724"/>
                </a:lnTo>
                <a:lnTo>
                  <a:pt x="5535" y="724"/>
                </a:lnTo>
                <a:lnTo>
                  <a:pt x="5535" y="724"/>
                </a:lnTo>
                <a:lnTo>
                  <a:pt x="5535" y="724"/>
                </a:lnTo>
                <a:lnTo>
                  <a:pt x="5535" y="718"/>
                </a:lnTo>
                <a:lnTo>
                  <a:pt x="5535" y="718"/>
                </a:lnTo>
                <a:lnTo>
                  <a:pt x="5535" y="718"/>
                </a:lnTo>
                <a:lnTo>
                  <a:pt x="5541" y="718"/>
                </a:lnTo>
                <a:lnTo>
                  <a:pt x="5541" y="718"/>
                </a:lnTo>
                <a:lnTo>
                  <a:pt x="5541" y="718"/>
                </a:lnTo>
                <a:lnTo>
                  <a:pt x="5541" y="718"/>
                </a:lnTo>
                <a:lnTo>
                  <a:pt x="5547" y="712"/>
                </a:lnTo>
                <a:lnTo>
                  <a:pt x="5547" y="712"/>
                </a:lnTo>
                <a:lnTo>
                  <a:pt x="5541" y="712"/>
                </a:lnTo>
                <a:lnTo>
                  <a:pt x="5541" y="706"/>
                </a:lnTo>
                <a:lnTo>
                  <a:pt x="5541" y="706"/>
                </a:lnTo>
                <a:lnTo>
                  <a:pt x="5541" y="706"/>
                </a:lnTo>
                <a:lnTo>
                  <a:pt x="5541" y="706"/>
                </a:lnTo>
                <a:lnTo>
                  <a:pt x="5541" y="706"/>
                </a:lnTo>
                <a:lnTo>
                  <a:pt x="5541" y="706"/>
                </a:lnTo>
                <a:lnTo>
                  <a:pt x="5541" y="700"/>
                </a:lnTo>
                <a:lnTo>
                  <a:pt x="5541" y="700"/>
                </a:lnTo>
                <a:lnTo>
                  <a:pt x="5547" y="700"/>
                </a:lnTo>
                <a:lnTo>
                  <a:pt x="5547" y="694"/>
                </a:lnTo>
                <a:lnTo>
                  <a:pt x="5547" y="688"/>
                </a:lnTo>
                <a:lnTo>
                  <a:pt x="5547" y="688"/>
                </a:lnTo>
                <a:lnTo>
                  <a:pt x="5547" y="688"/>
                </a:lnTo>
                <a:lnTo>
                  <a:pt x="5547" y="682"/>
                </a:lnTo>
                <a:lnTo>
                  <a:pt x="5553" y="682"/>
                </a:lnTo>
                <a:lnTo>
                  <a:pt x="5553" y="682"/>
                </a:lnTo>
                <a:lnTo>
                  <a:pt x="5553" y="682"/>
                </a:lnTo>
                <a:lnTo>
                  <a:pt x="5553" y="682"/>
                </a:lnTo>
                <a:lnTo>
                  <a:pt x="5558" y="676"/>
                </a:lnTo>
                <a:lnTo>
                  <a:pt x="5558" y="676"/>
                </a:lnTo>
                <a:lnTo>
                  <a:pt x="5558" y="676"/>
                </a:lnTo>
                <a:lnTo>
                  <a:pt x="5558" y="676"/>
                </a:lnTo>
                <a:lnTo>
                  <a:pt x="5553" y="670"/>
                </a:lnTo>
                <a:lnTo>
                  <a:pt x="5553" y="670"/>
                </a:lnTo>
                <a:lnTo>
                  <a:pt x="5553" y="670"/>
                </a:lnTo>
                <a:lnTo>
                  <a:pt x="5553" y="670"/>
                </a:lnTo>
                <a:lnTo>
                  <a:pt x="5553" y="664"/>
                </a:lnTo>
                <a:lnTo>
                  <a:pt x="5553" y="664"/>
                </a:lnTo>
                <a:lnTo>
                  <a:pt x="5553" y="664"/>
                </a:lnTo>
                <a:lnTo>
                  <a:pt x="5553" y="664"/>
                </a:lnTo>
                <a:lnTo>
                  <a:pt x="5553" y="664"/>
                </a:lnTo>
                <a:lnTo>
                  <a:pt x="5553" y="664"/>
                </a:lnTo>
                <a:lnTo>
                  <a:pt x="5558" y="658"/>
                </a:lnTo>
                <a:lnTo>
                  <a:pt x="5558" y="658"/>
                </a:lnTo>
                <a:lnTo>
                  <a:pt x="5558" y="658"/>
                </a:lnTo>
                <a:lnTo>
                  <a:pt x="5564" y="658"/>
                </a:lnTo>
                <a:lnTo>
                  <a:pt x="5564" y="658"/>
                </a:lnTo>
                <a:lnTo>
                  <a:pt x="5564" y="658"/>
                </a:lnTo>
                <a:lnTo>
                  <a:pt x="5564" y="658"/>
                </a:lnTo>
                <a:lnTo>
                  <a:pt x="5564" y="658"/>
                </a:lnTo>
                <a:lnTo>
                  <a:pt x="5564" y="658"/>
                </a:lnTo>
                <a:lnTo>
                  <a:pt x="5564" y="658"/>
                </a:lnTo>
                <a:lnTo>
                  <a:pt x="5570" y="658"/>
                </a:lnTo>
                <a:lnTo>
                  <a:pt x="5570" y="658"/>
                </a:lnTo>
                <a:lnTo>
                  <a:pt x="5570" y="658"/>
                </a:lnTo>
                <a:lnTo>
                  <a:pt x="5570" y="658"/>
                </a:lnTo>
                <a:lnTo>
                  <a:pt x="5570" y="658"/>
                </a:lnTo>
                <a:lnTo>
                  <a:pt x="5570" y="658"/>
                </a:lnTo>
                <a:lnTo>
                  <a:pt x="5570" y="652"/>
                </a:lnTo>
                <a:lnTo>
                  <a:pt x="5570" y="646"/>
                </a:lnTo>
                <a:lnTo>
                  <a:pt x="5570" y="646"/>
                </a:lnTo>
                <a:lnTo>
                  <a:pt x="5570" y="646"/>
                </a:lnTo>
                <a:lnTo>
                  <a:pt x="5570" y="646"/>
                </a:lnTo>
                <a:lnTo>
                  <a:pt x="5570" y="646"/>
                </a:lnTo>
                <a:lnTo>
                  <a:pt x="5570" y="646"/>
                </a:lnTo>
                <a:lnTo>
                  <a:pt x="5576" y="646"/>
                </a:lnTo>
                <a:lnTo>
                  <a:pt x="5576" y="646"/>
                </a:lnTo>
                <a:lnTo>
                  <a:pt x="5576" y="646"/>
                </a:lnTo>
                <a:lnTo>
                  <a:pt x="5570" y="652"/>
                </a:lnTo>
                <a:lnTo>
                  <a:pt x="5570" y="652"/>
                </a:lnTo>
                <a:lnTo>
                  <a:pt x="5570" y="652"/>
                </a:lnTo>
                <a:lnTo>
                  <a:pt x="5570" y="658"/>
                </a:lnTo>
                <a:lnTo>
                  <a:pt x="5570" y="658"/>
                </a:lnTo>
                <a:lnTo>
                  <a:pt x="5570" y="658"/>
                </a:lnTo>
                <a:lnTo>
                  <a:pt x="5570" y="658"/>
                </a:lnTo>
                <a:lnTo>
                  <a:pt x="5570" y="658"/>
                </a:lnTo>
                <a:lnTo>
                  <a:pt x="5570" y="658"/>
                </a:lnTo>
                <a:lnTo>
                  <a:pt x="5570" y="658"/>
                </a:lnTo>
                <a:lnTo>
                  <a:pt x="5570" y="664"/>
                </a:lnTo>
                <a:lnTo>
                  <a:pt x="5570" y="664"/>
                </a:lnTo>
                <a:lnTo>
                  <a:pt x="5570" y="664"/>
                </a:lnTo>
                <a:lnTo>
                  <a:pt x="5570" y="664"/>
                </a:lnTo>
                <a:lnTo>
                  <a:pt x="5570" y="664"/>
                </a:lnTo>
                <a:lnTo>
                  <a:pt x="5570" y="670"/>
                </a:lnTo>
                <a:lnTo>
                  <a:pt x="5570" y="670"/>
                </a:lnTo>
                <a:lnTo>
                  <a:pt x="5570" y="664"/>
                </a:lnTo>
                <a:lnTo>
                  <a:pt x="5570" y="664"/>
                </a:lnTo>
                <a:lnTo>
                  <a:pt x="5570" y="664"/>
                </a:lnTo>
                <a:lnTo>
                  <a:pt x="5576" y="664"/>
                </a:lnTo>
                <a:lnTo>
                  <a:pt x="5576" y="664"/>
                </a:lnTo>
                <a:lnTo>
                  <a:pt x="5576" y="664"/>
                </a:lnTo>
                <a:lnTo>
                  <a:pt x="5576" y="658"/>
                </a:lnTo>
                <a:lnTo>
                  <a:pt x="5576" y="664"/>
                </a:lnTo>
                <a:lnTo>
                  <a:pt x="5582" y="664"/>
                </a:lnTo>
                <a:lnTo>
                  <a:pt x="5582" y="664"/>
                </a:lnTo>
                <a:lnTo>
                  <a:pt x="5582" y="664"/>
                </a:lnTo>
                <a:lnTo>
                  <a:pt x="5576" y="664"/>
                </a:lnTo>
                <a:lnTo>
                  <a:pt x="5576" y="664"/>
                </a:lnTo>
                <a:lnTo>
                  <a:pt x="5576" y="664"/>
                </a:lnTo>
                <a:lnTo>
                  <a:pt x="5576" y="664"/>
                </a:lnTo>
                <a:lnTo>
                  <a:pt x="5576" y="664"/>
                </a:lnTo>
                <a:lnTo>
                  <a:pt x="5576" y="664"/>
                </a:lnTo>
                <a:lnTo>
                  <a:pt x="5576" y="664"/>
                </a:lnTo>
                <a:lnTo>
                  <a:pt x="5576" y="664"/>
                </a:lnTo>
                <a:lnTo>
                  <a:pt x="5576" y="670"/>
                </a:lnTo>
                <a:lnTo>
                  <a:pt x="5576" y="670"/>
                </a:lnTo>
                <a:lnTo>
                  <a:pt x="5576" y="670"/>
                </a:lnTo>
                <a:lnTo>
                  <a:pt x="5576" y="670"/>
                </a:lnTo>
                <a:lnTo>
                  <a:pt x="5576" y="670"/>
                </a:lnTo>
                <a:lnTo>
                  <a:pt x="5570" y="670"/>
                </a:lnTo>
                <a:lnTo>
                  <a:pt x="5570" y="670"/>
                </a:lnTo>
                <a:lnTo>
                  <a:pt x="5570" y="670"/>
                </a:lnTo>
                <a:lnTo>
                  <a:pt x="5570" y="670"/>
                </a:lnTo>
                <a:lnTo>
                  <a:pt x="5570" y="670"/>
                </a:lnTo>
                <a:lnTo>
                  <a:pt x="5570" y="676"/>
                </a:lnTo>
                <a:lnTo>
                  <a:pt x="5570" y="676"/>
                </a:lnTo>
                <a:lnTo>
                  <a:pt x="5570" y="676"/>
                </a:lnTo>
                <a:lnTo>
                  <a:pt x="5570" y="676"/>
                </a:lnTo>
                <a:lnTo>
                  <a:pt x="5576" y="676"/>
                </a:lnTo>
                <a:lnTo>
                  <a:pt x="5576" y="676"/>
                </a:lnTo>
                <a:lnTo>
                  <a:pt x="5582" y="682"/>
                </a:lnTo>
                <a:lnTo>
                  <a:pt x="5582" y="682"/>
                </a:lnTo>
                <a:lnTo>
                  <a:pt x="5582" y="682"/>
                </a:lnTo>
                <a:lnTo>
                  <a:pt x="5582" y="682"/>
                </a:lnTo>
                <a:lnTo>
                  <a:pt x="5588" y="682"/>
                </a:lnTo>
                <a:lnTo>
                  <a:pt x="5594" y="688"/>
                </a:lnTo>
                <a:lnTo>
                  <a:pt x="5600" y="688"/>
                </a:lnTo>
                <a:lnTo>
                  <a:pt x="5600" y="688"/>
                </a:lnTo>
                <a:lnTo>
                  <a:pt x="5594" y="688"/>
                </a:lnTo>
                <a:lnTo>
                  <a:pt x="5594" y="688"/>
                </a:lnTo>
                <a:lnTo>
                  <a:pt x="5594" y="688"/>
                </a:lnTo>
                <a:lnTo>
                  <a:pt x="5594" y="688"/>
                </a:lnTo>
                <a:lnTo>
                  <a:pt x="5594" y="682"/>
                </a:lnTo>
                <a:lnTo>
                  <a:pt x="5594" y="682"/>
                </a:lnTo>
                <a:lnTo>
                  <a:pt x="5600" y="682"/>
                </a:lnTo>
                <a:lnTo>
                  <a:pt x="5600" y="682"/>
                </a:lnTo>
                <a:lnTo>
                  <a:pt x="5600" y="682"/>
                </a:lnTo>
                <a:lnTo>
                  <a:pt x="5594" y="682"/>
                </a:lnTo>
                <a:lnTo>
                  <a:pt x="5594" y="682"/>
                </a:lnTo>
                <a:lnTo>
                  <a:pt x="5594" y="682"/>
                </a:lnTo>
                <a:lnTo>
                  <a:pt x="5594" y="682"/>
                </a:lnTo>
                <a:lnTo>
                  <a:pt x="5594" y="682"/>
                </a:lnTo>
                <a:lnTo>
                  <a:pt x="5594" y="676"/>
                </a:lnTo>
                <a:lnTo>
                  <a:pt x="5594" y="676"/>
                </a:lnTo>
                <a:lnTo>
                  <a:pt x="5594" y="676"/>
                </a:lnTo>
                <a:lnTo>
                  <a:pt x="5594" y="676"/>
                </a:lnTo>
                <a:lnTo>
                  <a:pt x="5594" y="670"/>
                </a:lnTo>
                <a:lnTo>
                  <a:pt x="5594" y="670"/>
                </a:lnTo>
                <a:lnTo>
                  <a:pt x="5594" y="670"/>
                </a:lnTo>
                <a:lnTo>
                  <a:pt x="5594" y="670"/>
                </a:lnTo>
                <a:lnTo>
                  <a:pt x="5594" y="664"/>
                </a:lnTo>
                <a:lnTo>
                  <a:pt x="5594" y="664"/>
                </a:lnTo>
                <a:lnTo>
                  <a:pt x="5594" y="664"/>
                </a:lnTo>
                <a:lnTo>
                  <a:pt x="5594" y="664"/>
                </a:lnTo>
                <a:lnTo>
                  <a:pt x="5594" y="664"/>
                </a:lnTo>
                <a:lnTo>
                  <a:pt x="5594" y="664"/>
                </a:lnTo>
                <a:lnTo>
                  <a:pt x="5594" y="664"/>
                </a:lnTo>
                <a:lnTo>
                  <a:pt x="5600" y="664"/>
                </a:lnTo>
                <a:lnTo>
                  <a:pt x="5600" y="664"/>
                </a:lnTo>
                <a:lnTo>
                  <a:pt x="5600" y="664"/>
                </a:lnTo>
                <a:lnTo>
                  <a:pt x="5600" y="664"/>
                </a:lnTo>
                <a:lnTo>
                  <a:pt x="5600" y="664"/>
                </a:lnTo>
                <a:lnTo>
                  <a:pt x="5600" y="664"/>
                </a:lnTo>
                <a:lnTo>
                  <a:pt x="5600" y="670"/>
                </a:lnTo>
                <a:lnTo>
                  <a:pt x="5600" y="670"/>
                </a:lnTo>
                <a:lnTo>
                  <a:pt x="5600" y="670"/>
                </a:lnTo>
                <a:lnTo>
                  <a:pt x="5606" y="670"/>
                </a:lnTo>
                <a:lnTo>
                  <a:pt x="5606" y="664"/>
                </a:lnTo>
                <a:lnTo>
                  <a:pt x="5606" y="664"/>
                </a:lnTo>
                <a:lnTo>
                  <a:pt x="5606" y="664"/>
                </a:lnTo>
                <a:lnTo>
                  <a:pt x="5606" y="664"/>
                </a:lnTo>
                <a:lnTo>
                  <a:pt x="5606" y="664"/>
                </a:lnTo>
                <a:lnTo>
                  <a:pt x="5606" y="664"/>
                </a:lnTo>
                <a:lnTo>
                  <a:pt x="5606" y="664"/>
                </a:lnTo>
                <a:lnTo>
                  <a:pt x="5606" y="664"/>
                </a:lnTo>
                <a:lnTo>
                  <a:pt x="5606" y="664"/>
                </a:lnTo>
                <a:lnTo>
                  <a:pt x="5606" y="664"/>
                </a:lnTo>
                <a:lnTo>
                  <a:pt x="5606" y="664"/>
                </a:lnTo>
                <a:lnTo>
                  <a:pt x="5606" y="664"/>
                </a:lnTo>
                <a:lnTo>
                  <a:pt x="5606" y="664"/>
                </a:lnTo>
                <a:lnTo>
                  <a:pt x="5606" y="658"/>
                </a:lnTo>
                <a:lnTo>
                  <a:pt x="5606" y="658"/>
                </a:lnTo>
                <a:lnTo>
                  <a:pt x="5606" y="658"/>
                </a:lnTo>
                <a:lnTo>
                  <a:pt x="5606" y="658"/>
                </a:lnTo>
                <a:lnTo>
                  <a:pt x="5606" y="658"/>
                </a:lnTo>
                <a:lnTo>
                  <a:pt x="5606" y="658"/>
                </a:lnTo>
                <a:lnTo>
                  <a:pt x="5606" y="658"/>
                </a:lnTo>
                <a:lnTo>
                  <a:pt x="5606" y="658"/>
                </a:lnTo>
                <a:lnTo>
                  <a:pt x="5600" y="652"/>
                </a:lnTo>
                <a:lnTo>
                  <a:pt x="5600" y="652"/>
                </a:lnTo>
                <a:lnTo>
                  <a:pt x="5606" y="652"/>
                </a:lnTo>
                <a:lnTo>
                  <a:pt x="5606" y="652"/>
                </a:lnTo>
                <a:lnTo>
                  <a:pt x="5606" y="658"/>
                </a:lnTo>
                <a:lnTo>
                  <a:pt x="5606" y="664"/>
                </a:lnTo>
                <a:lnTo>
                  <a:pt x="5606" y="664"/>
                </a:lnTo>
                <a:lnTo>
                  <a:pt x="5606" y="664"/>
                </a:lnTo>
                <a:lnTo>
                  <a:pt x="5612" y="664"/>
                </a:lnTo>
                <a:lnTo>
                  <a:pt x="5612" y="664"/>
                </a:lnTo>
                <a:lnTo>
                  <a:pt x="5612" y="664"/>
                </a:lnTo>
                <a:lnTo>
                  <a:pt x="5612" y="664"/>
                </a:lnTo>
                <a:lnTo>
                  <a:pt x="5612" y="658"/>
                </a:lnTo>
                <a:lnTo>
                  <a:pt x="5612" y="658"/>
                </a:lnTo>
                <a:lnTo>
                  <a:pt x="5612" y="658"/>
                </a:lnTo>
                <a:lnTo>
                  <a:pt x="5618" y="658"/>
                </a:lnTo>
                <a:lnTo>
                  <a:pt x="5618" y="658"/>
                </a:lnTo>
                <a:lnTo>
                  <a:pt x="5624" y="658"/>
                </a:lnTo>
                <a:lnTo>
                  <a:pt x="5624" y="658"/>
                </a:lnTo>
                <a:lnTo>
                  <a:pt x="5624" y="658"/>
                </a:lnTo>
                <a:lnTo>
                  <a:pt x="5624" y="658"/>
                </a:lnTo>
                <a:lnTo>
                  <a:pt x="5624" y="658"/>
                </a:lnTo>
                <a:lnTo>
                  <a:pt x="5624" y="658"/>
                </a:lnTo>
                <a:lnTo>
                  <a:pt x="5624" y="658"/>
                </a:lnTo>
                <a:lnTo>
                  <a:pt x="5624" y="652"/>
                </a:lnTo>
                <a:lnTo>
                  <a:pt x="5624" y="652"/>
                </a:lnTo>
                <a:lnTo>
                  <a:pt x="5624" y="652"/>
                </a:lnTo>
                <a:lnTo>
                  <a:pt x="5618" y="652"/>
                </a:lnTo>
                <a:lnTo>
                  <a:pt x="5618" y="646"/>
                </a:lnTo>
                <a:lnTo>
                  <a:pt x="5618" y="646"/>
                </a:lnTo>
                <a:lnTo>
                  <a:pt x="5624" y="652"/>
                </a:lnTo>
                <a:lnTo>
                  <a:pt x="5624" y="652"/>
                </a:lnTo>
                <a:lnTo>
                  <a:pt x="5624" y="652"/>
                </a:lnTo>
                <a:lnTo>
                  <a:pt x="5624" y="652"/>
                </a:lnTo>
                <a:lnTo>
                  <a:pt x="5630" y="658"/>
                </a:lnTo>
                <a:lnTo>
                  <a:pt x="5630" y="658"/>
                </a:lnTo>
                <a:lnTo>
                  <a:pt x="5630" y="658"/>
                </a:lnTo>
                <a:lnTo>
                  <a:pt x="5630" y="652"/>
                </a:lnTo>
                <a:lnTo>
                  <a:pt x="5630" y="652"/>
                </a:lnTo>
                <a:lnTo>
                  <a:pt x="5630" y="652"/>
                </a:lnTo>
                <a:lnTo>
                  <a:pt x="5630" y="646"/>
                </a:lnTo>
                <a:lnTo>
                  <a:pt x="5630" y="646"/>
                </a:lnTo>
                <a:lnTo>
                  <a:pt x="5630" y="652"/>
                </a:lnTo>
                <a:lnTo>
                  <a:pt x="5630" y="652"/>
                </a:lnTo>
                <a:lnTo>
                  <a:pt x="5630" y="658"/>
                </a:lnTo>
                <a:lnTo>
                  <a:pt x="5630" y="658"/>
                </a:lnTo>
                <a:lnTo>
                  <a:pt x="5630" y="658"/>
                </a:lnTo>
                <a:lnTo>
                  <a:pt x="5630" y="658"/>
                </a:lnTo>
                <a:lnTo>
                  <a:pt x="5630" y="658"/>
                </a:lnTo>
                <a:lnTo>
                  <a:pt x="5635" y="658"/>
                </a:lnTo>
                <a:lnTo>
                  <a:pt x="5635" y="658"/>
                </a:lnTo>
                <a:lnTo>
                  <a:pt x="5635" y="658"/>
                </a:lnTo>
                <a:lnTo>
                  <a:pt x="5635" y="658"/>
                </a:lnTo>
                <a:lnTo>
                  <a:pt x="5635" y="658"/>
                </a:lnTo>
                <a:lnTo>
                  <a:pt x="5635" y="658"/>
                </a:lnTo>
                <a:lnTo>
                  <a:pt x="5635" y="658"/>
                </a:lnTo>
                <a:lnTo>
                  <a:pt x="5635" y="652"/>
                </a:lnTo>
                <a:lnTo>
                  <a:pt x="5635" y="652"/>
                </a:lnTo>
                <a:lnTo>
                  <a:pt x="5635" y="652"/>
                </a:lnTo>
                <a:lnTo>
                  <a:pt x="5635" y="652"/>
                </a:lnTo>
                <a:lnTo>
                  <a:pt x="5635" y="652"/>
                </a:lnTo>
                <a:lnTo>
                  <a:pt x="5635" y="652"/>
                </a:lnTo>
                <a:lnTo>
                  <a:pt x="5635" y="652"/>
                </a:lnTo>
                <a:lnTo>
                  <a:pt x="5635" y="652"/>
                </a:lnTo>
                <a:lnTo>
                  <a:pt x="5635" y="652"/>
                </a:lnTo>
                <a:lnTo>
                  <a:pt x="5635" y="652"/>
                </a:lnTo>
                <a:lnTo>
                  <a:pt x="5641" y="652"/>
                </a:lnTo>
                <a:lnTo>
                  <a:pt x="5641" y="658"/>
                </a:lnTo>
                <a:lnTo>
                  <a:pt x="5641" y="658"/>
                </a:lnTo>
                <a:lnTo>
                  <a:pt x="5641" y="658"/>
                </a:lnTo>
                <a:lnTo>
                  <a:pt x="5641" y="664"/>
                </a:lnTo>
                <a:lnTo>
                  <a:pt x="5641" y="664"/>
                </a:lnTo>
                <a:lnTo>
                  <a:pt x="5641" y="670"/>
                </a:lnTo>
                <a:lnTo>
                  <a:pt x="5641" y="670"/>
                </a:lnTo>
                <a:lnTo>
                  <a:pt x="5641" y="670"/>
                </a:lnTo>
                <a:lnTo>
                  <a:pt x="5641" y="670"/>
                </a:lnTo>
                <a:lnTo>
                  <a:pt x="5641" y="670"/>
                </a:lnTo>
                <a:lnTo>
                  <a:pt x="5641" y="670"/>
                </a:lnTo>
                <a:lnTo>
                  <a:pt x="5641" y="670"/>
                </a:lnTo>
                <a:lnTo>
                  <a:pt x="5641" y="670"/>
                </a:lnTo>
                <a:lnTo>
                  <a:pt x="5641" y="676"/>
                </a:lnTo>
                <a:lnTo>
                  <a:pt x="5641" y="676"/>
                </a:lnTo>
                <a:lnTo>
                  <a:pt x="5641" y="676"/>
                </a:lnTo>
                <a:lnTo>
                  <a:pt x="5641" y="676"/>
                </a:lnTo>
                <a:lnTo>
                  <a:pt x="5641" y="676"/>
                </a:lnTo>
                <a:lnTo>
                  <a:pt x="5647" y="676"/>
                </a:lnTo>
                <a:lnTo>
                  <a:pt x="5647" y="670"/>
                </a:lnTo>
                <a:lnTo>
                  <a:pt x="5647" y="670"/>
                </a:lnTo>
                <a:lnTo>
                  <a:pt x="5647" y="670"/>
                </a:lnTo>
                <a:lnTo>
                  <a:pt x="5647" y="670"/>
                </a:lnTo>
                <a:lnTo>
                  <a:pt x="5647" y="670"/>
                </a:lnTo>
                <a:lnTo>
                  <a:pt x="5647" y="670"/>
                </a:lnTo>
                <a:lnTo>
                  <a:pt x="5647" y="664"/>
                </a:lnTo>
                <a:lnTo>
                  <a:pt x="5647" y="664"/>
                </a:lnTo>
                <a:lnTo>
                  <a:pt x="5647" y="664"/>
                </a:lnTo>
                <a:lnTo>
                  <a:pt x="5647" y="670"/>
                </a:lnTo>
                <a:lnTo>
                  <a:pt x="5647" y="670"/>
                </a:lnTo>
                <a:lnTo>
                  <a:pt x="5653" y="670"/>
                </a:lnTo>
                <a:lnTo>
                  <a:pt x="5653" y="670"/>
                </a:lnTo>
                <a:lnTo>
                  <a:pt x="5653" y="670"/>
                </a:lnTo>
                <a:lnTo>
                  <a:pt x="5653" y="670"/>
                </a:lnTo>
                <a:lnTo>
                  <a:pt x="5653" y="664"/>
                </a:lnTo>
                <a:lnTo>
                  <a:pt x="5653" y="664"/>
                </a:lnTo>
                <a:lnTo>
                  <a:pt x="5653" y="664"/>
                </a:lnTo>
                <a:lnTo>
                  <a:pt x="5653" y="664"/>
                </a:lnTo>
                <a:lnTo>
                  <a:pt x="5653" y="664"/>
                </a:lnTo>
                <a:lnTo>
                  <a:pt x="5653" y="658"/>
                </a:lnTo>
                <a:lnTo>
                  <a:pt x="5653" y="658"/>
                </a:lnTo>
                <a:lnTo>
                  <a:pt x="5647" y="658"/>
                </a:lnTo>
                <a:lnTo>
                  <a:pt x="5647" y="658"/>
                </a:lnTo>
                <a:lnTo>
                  <a:pt x="5647" y="658"/>
                </a:lnTo>
                <a:lnTo>
                  <a:pt x="5647" y="658"/>
                </a:lnTo>
                <a:lnTo>
                  <a:pt x="5653" y="658"/>
                </a:lnTo>
                <a:lnTo>
                  <a:pt x="5653" y="658"/>
                </a:lnTo>
                <a:lnTo>
                  <a:pt x="5653" y="658"/>
                </a:lnTo>
                <a:lnTo>
                  <a:pt x="5653" y="652"/>
                </a:lnTo>
                <a:lnTo>
                  <a:pt x="5653" y="652"/>
                </a:lnTo>
                <a:lnTo>
                  <a:pt x="5653" y="652"/>
                </a:lnTo>
                <a:lnTo>
                  <a:pt x="5653" y="652"/>
                </a:lnTo>
                <a:lnTo>
                  <a:pt x="5653" y="652"/>
                </a:lnTo>
                <a:lnTo>
                  <a:pt x="5653" y="652"/>
                </a:lnTo>
                <a:lnTo>
                  <a:pt x="5653" y="664"/>
                </a:lnTo>
                <a:lnTo>
                  <a:pt x="5653" y="664"/>
                </a:lnTo>
                <a:lnTo>
                  <a:pt x="5653" y="664"/>
                </a:lnTo>
                <a:lnTo>
                  <a:pt x="5653" y="664"/>
                </a:lnTo>
                <a:lnTo>
                  <a:pt x="5653" y="664"/>
                </a:lnTo>
                <a:lnTo>
                  <a:pt x="5653" y="664"/>
                </a:lnTo>
                <a:lnTo>
                  <a:pt x="5653" y="664"/>
                </a:lnTo>
                <a:lnTo>
                  <a:pt x="5653" y="664"/>
                </a:lnTo>
                <a:lnTo>
                  <a:pt x="5659" y="664"/>
                </a:lnTo>
                <a:lnTo>
                  <a:pt x="5653" y="664"/>
                </a:lnTo>
                <a:lnTo>
                  <a:pt x="5659" y="658"/>
                </a:lnTo>
                <a:lnTo>
                  <a:pt x="5659" y="658"/>
                </a:lnTo>
                <a:lnTo>
                  <a:pt x="5659" y="658"/>
                </a:lnTo>
                <a:lnTo>
                  <a:pt x="5659" y="658"/>
                </a:lnTo>
                <a:lnTo>
                  <a:pt x="5659" y="652"/>
                </a:lnTo>
                <a:lnTo>
                  <a:pt x="5659" y="652"/>
                </a:lnTo>
                <a:lnTo>
                  <a:pt x="5659" y="658"/>
                </a:lnTo>
                <a:lnTo>
                  <a:pt x="5659" y="658"/>
                </a:lnTo>
                <a:lnTo>
                  <a:pt x="5659" y="658"/>
                </a:lnTo>
                <a:lnTo>
                  <a:pt x="5659" y="664"/>
                </a:lnTo>
                <a:lnTo>
                  <a:pt x="5659" y="664"/>
                </a:lnTo>
                <a:lnTo>
                  <a:pt x="5659" y="664"/>
                </a:lnTo>
                <a:lnTo>
                  <a:pt x="5659" y="664"/>
                </a:lnTo>
                <a:lnTo>
                  <a:pt x="5659" y="658"/>
                </a:lnTo>
                <a:lnTo>
                  <a:pt x="5659" y="658"/>
                </a:lnTo>
                <a:lnTo>
                  <a:pt x="5659" y="652"/>
                </a:lnTo>
                <a:lnTo>
                  <a:pt x="5659" y="652"/>
                </a:lnTo>
                <a:lnTo>
                  <a:pt x="5665" y="652"/>
                </a:lnTo>
                <a:lnTo>
                  <a:pt x="5665" y="652"/>
                </a:lnTo>
                <a:lnTo>
                  <a:pt x="5665" y="652"/>
                </a:lnTo>
                <a:lnTo>
                  <a:pt x="5665" y="652"/>
                </a:lnTo>
                <a:lnTo>
                  <a:pt x="5665" y="652"/>
                </a:lnTo>
                <a:lnTo>
                  <a:pt x="5665" y="652"/>
                </a:lnTo>
                <a:lnTo>
                  <a:pt x="5665" y="646"/>
                </a:lnTo>
                <a:lnTo>
                  <a:pt x="5665" y="646"/>
                </a:lnTo>
                <a:lnTo>
                  <a:pt x="5665" y="646"/>
                </a:lnTo>
                <a:lnTo>
                  <a:pt x="5665" y="646"/>
                </a:lnTo>
                <a:lnTo>
                  <a:pt x="5665" y="646"/>
                </a:lnTo>
                <a:lnTo>
                  <a:pt x="5665" y="646"/>
                </a:lnTo>
                <a:lnTo>
                  <a:pt x="5665" y="646"/>
                </a:lnTo>
                <a:lnTo>
                  <a:pt x="5665" y="641"/>
                </a:lnTo>
                <a:lnTo>
                  <a:pt x="5665" y="641"/>
                </a:lnTo>
                <a:lnTo>
                  <a:pt x="5665" y="641"/>
                </a:lnTo>
                <a:lnTo>
                  <a:pt x="5665" y="641"/>
                </a:lnTo>
                <a:lnTo>
                  <a:pt x="5671" y="641"/>
                </a:lnTo>
                <a:lnTo>
                  <a:pt x="5671" y="641"/>
                </a:lnTo>
                <a:lnTo>
                  <a:pt x="5671" y="641"/>
                </a:lnTo>
                <a:lnTo>
                  <a:pt x="5671" y="641"/>
                </a:lnTo>
                <a:lnTo>
                  <a:pt x="5671" y="641"/>
                </a:lnTo>
                <a:lnTo>
                  <a:pt x="5671" y="641"/>
                </a:lnTo>
                <a:lnTo>
                  <a:pt x="5671" y="641"/>
                </a:lnTo>
                <a:lnTo>
                  <a:pt x="5671" y="641"/>
                </a:lnTo>
                <a:lnTo>
                  <a:pt x="5671" y="646"/>
                </a:lnTo>
                <a:lnTo>
                  <a:pt x="5671" y="646"/>
                </a:lnTo>
                <a:lnTo>
                  <a:pt x="5671" y="646"/>
                </a:lnTo>
                <a:lnTo>
                  <a:pt x="5671" y="646"/>
                </a:lnTo>
                <a:lnTo>
                  <a:pt x="5671" y="646"/>
                </a:lnTo>
                <a:lnTo>
                  <a:pt x="5671" y="646"/>
                </a:lnTo>
                <a:lnTo>
                  <a:pt x="5671" y="646"/>
                </a:lnTo>
                <a:lnTo>
                  <a:pt x="5671" y="646"/>
                </a:lnTo>
                <a:lnTo>
                  <a:pt x="5671" y="646"/>
                </a:lnTo>
                <a:lnTo>
                  <a:pt x="5671" y="646"/>
                </a:lnTo>
                <a:lnTo>
                  <a:pt x="5677" y="641"/>
                </a:lnTo>
                <a:lnTo>
                  <a:pt x="5677" y="641"/>
                </a:lnTo>
                <a:lnTo>
                  <a:pt x="5677" y="641"/>
                </a:lnTo>
                <a:lnTo>
                  <a:pt x="5677" y="646"/>
                </a:lnTo>
                <a:lnTo>
                  <a:pt x="5677" y="646"/>
                </a:lnTo>
                <a:lnTo>
                  <a:pt x="5677" y="652"/>
                </a:lnTo>
                <a:lnTo>
                  <a:pt x="5677" y="652"/>
                </a:lnTo>
                <a:lnTo>
                  <a:pt x="5677" y="652"/>
                </a:lnTo>
                <a:lnTo>
                  <a:pt x="5683" y="646"/>
                </a:lnTo>
                <a:lnTo>
                  <a:pt x="5683" y="646"/>
                </a:lnTo>
                <a:lnTo>
                  <a:pt x="5683" y="646"/>
                </a:lnTo>
                <a:lnTo>
                  <a:pt x="5683" y="641"/>
                </a:lnTo>
                <a:lnTo>
                  <a:pt x="5683" y="641"/>
                </a:lnTo>
                <a:lnTo>
                  <a:pt x="5683" y="646"/>
                </a:lnTo>
                <a:lnTo>
                  <a:pt x="5683" y="646"/>
                </a:lnTo>
                <a:lnTo>
                  <a:pt x="5683" y="646"/>
                </a:lnTo>
                <a:lnTo>
                  <a:pt x="5683" y="646"/>
                </a:lnTo>
                <a:lnTo>
                  <a:pt x="5683" y="646"/>
                </a:lnTo>
                <a:lnTo>
                  <a:pt x="5683" y="646"/>
                </a:lnTo>
                <a:lnTo>
                  <a:pt x="5683" y="646"/>
                </a:lnTo>
                <a:lnTo>
                  <a:pt x="5683" y="646"/>
                </a:lnTo>
                <a:lnTo>
                  <a:pt x="5683" y="646"/>
                </a:lnTo>
                <a:lnTo>
                  <a:pt x="5689" y="646"/>
                </a:lnTo>
                <a:lnTo>
                  <a:pt x="5689" y="646"/>
                </a:lnTo>
                <a:lnTo>
                  <a:pt x="5689" y="646"/>
                </a:lnTo>
                <a:lnTo>
                  <a:pt x="5689" y="646"/>
                </a:lnTo>
                <a:lnTo>
                  <a:pt x="5689" y="646"/>
                </a:lnTo>
                <a:lnTo>
                  <a:pt x="5689" y="646"/>
                </a:lnTo>
                <a:lnTo>
                  <a:pt x="5689" y="646"/>
                </a:lnTo>
                <a:lnTo>
                  <a:pt x="5689" y="646"/>
                </a:lnTo>
                <a:lnTo>
                  <a:pt x="5689" y="646"/>
                </a:lnTo>
                <a:lnTo>
                  <a:pt x="5695" y="646"/>
                </a:lnTo>
                <a:lnTo>
                  <a:pt x="5695" y="646"/>
                </a:lnTo>
                <a:lnTo>
                  <a:pt x="5695" y="646"/>
                </a:lnTo>
                <a:lnTo>
                  <a:pt x="5695" y="646"/>
                </a:lnTo>
                <a:lnTo>
                  <a:pt x="5695" y="646"/>
                </a:lnTo>
                <a:lnTo>
                  <a:pt x="5695" y="646"/>
                </a:lnTo>
                <a:lnTo>
                  <a:pt x="5695" y="641"/>
                </a:lnTo>
                <a:lnTo>
                  <a:pt x="5695" y="641"/>
                </a:lnTo>
                <a:lnTo>
                  <a:pt x="5695" y="635"/>
                </a:lnTo>
                <a:lnTo>
                  <a:pt x="5695" y="635"/>
                </a:lnTo>
                <a:lnTo>
                  <a:pt x="5695" y="635"/>
                </a:lnTo>
                <a:lnTo>
                  <a:pt x="5689" y="635"/>
                </a:lnTo>
                <a:lnTo>
                  <a:pt x="5689" y="635"/>
                </a:lnTo>
                <a:lnTo>
                  <a:pt x="5695" y="635"/>
                </a:lnTo>
                <a:lnTo>
                  <a:pt x="5695" y="635"/>
                </a:lnTo>
                <a:lnTo>
                  <a:pt x="5695" y="635"/>
                </a:lnTo>
                <a:lnTo>
                  <a:pt x="5695" y="635"/>
                </a:lnTo>
                <a:lnTo>
                  <a:pt x="5695" y="635"/>
                </a:lnTo>
                <a:lnTo>
                  <a:pt x="5695" y="635"/>
                </a:lnTo>
                <a:lnTo>
                  <a:pt x="5701" y="635"/>
                </a:lnTo>
                <a:lnTo>
                  <a:pt x="5701" y="635"/>
                </a:lnTo>
                <a:lnTo>
                  <a:pt x="5701" y="635"/>
                </a:lnTo>
                <a:lnTo>
                  <a:pt x="5701" y="635"/>
                </a:lnTo>
                <a:lnTo>
                  <a:pt x="5701" y="641"/>
                </a:lnTo>
                <a:lnTo>
                  <a:pt x="5701" y="641"/>
                </a:lnTo>
                <a:lnTo>
                  <a:pt x="5707" y="641"/>
                </a:lnTo>
                <a:lnTo>
                  <a:pt x="5707" y="635"/>
                </a:lnTo>
                <a:lnTo>
                  <a:pt x="5707" y="635"/>
                </a:lnTo>
                <a:lnTo>
                  <a:pt x="5707" y="635"/>
                </a:lnTo>
                <a:lnTo>
                  <a:pt x="5707" y="635"/>
                </a:lnTo>
                <a:lnTo>
                  <a:pt x="5707" y="635"/>
                </a:lnTo>
                <a:lnTo>
                  <a:pt x="5707" y="629"/>
                </a:lnTo>
                <a:lnTo>
                  <a:pt x="5707" y="629"/>
                </a:lnTo>
                <a:lnTo>
                  <a:pt x="5707" y="635"/>
                </a:lnTo>
                <a:lnTo>
                  <a:pt x="5707" y="635"/>
                </a:lnTo>
                <a:lnTo>
                  <a:pt x="5707" y="635"/>
                </a:lnTo>
                <a:lnTo>
                  <a:pt x="5707" y="635"/>
                </a:lnTo>
                <a:lnTo>
                  <a:pt x="5707" y="641"/>
                </a:lnTo>
                <a:lnTo>
                  <a:pt x="5707" y="641"/>
                </a:lnTo>
                <a:lnTo>
                  <a:pt x="5707" y="641"/>
                </a:lnTo>
                <a:lnTo>
                  <a:pt x="5713" y="635"/>
                </a:lnTo>
                <a:lnTo>
                  <a:pt x="5713" y="635"/>
                </a:lnTo>
                <a:lnTo>
                  <a:pt x="5713" y="635"/>
                </a:lnTo>
                <a:lnTo>
                  <a:pt x="5713" y="635"/>
                </a:lnTo>
                <a:lnTo>
                  <a:pt x="5713" y="635"/>
                </a:lnTo>
                <a:lnTo>
                  <a:pt x="5713" y="635"/>
                </a:lnTo>
                <a:lnTo>
                  <a:pt x="5713" y="635"/>
                </a:lnTo>
                <a:lnTo>
                  <a:pt x="5713" y="635"/>
                </a:lnTo>
                <a:lnTo>
                  <a:pt x="5713" y="635"/>
                </a:lnTo>
                <a:lnTo>
                  <a:pt x="5713" y="635"/>
                </a:lnTo>
                <a:lnTo>
                  <a:pt x="5713" y="635"/>
                </a:lnTo>
                <a:lnTo>
                  <a:pt x="5713" y="629"/>
                </a:lnTo>
                <a:lnTo>
                  <a:pt x="5713" y="629"/>
                </a:lnTo>
                <a:lnTo>
                  <a:pt x="5713" y="629"/>
                </a:lnTo>
                <a:lnTo>
                  <a:pt x="5713" y="629"/>
                </a:lnTo>
                <a:lnTo>
                  <a:pt x="5713" y="623"/>
                </a:lnTo>
                <a:lnTo>
                  <a:pt x="5713" y="629"/>
                </a:lnTo>
                <a:lnTo>
                  <a:pt x="5713" y="629"/>
                </a:lnTo>
                <a:lnTo>
                  <a:pt x="5713" y="629"/>
                </a:lnTo>
                <a:lnTo>
                  <a:pt x="5713" y="629"/>
                </a:lnTo>
                <a:lnTo>
                  <a:pt x="5713" y="623"/>
                </a:lnTo>
                <a:lnTo>
                  <a:pt x="5713" y="623"/>
                </a:lnTo>
                <a:lnTo>
                  <a:pt x="5713" y="623"/>
                </a:lnTo>
                <a:lnTo>
                  <a:pt x="5713" y="623"/>
                </a:lnTo>
                <a:lnTo>
                  <a:pt x="5718" y="623"/>
                </a:lnTo>
                <a:lnTo>
                  <a:pt x="5718" y="623"/>
                </a:lnTo>
                <a:lnTo>
                  <a:pt x="5718" y="629"/>
                </a:lnTo>
                <a:lnTo>
                  <a:pt x="5718" y="629"/>
                </a:lnTo>
                <a:lnTo>
                  <a:pt x="5718" y="629"/>
                </a:lnTo>
                <a:lnTo>
                  <a:pt x="5718" y="629"/>
                </a:lnTo>
                <a:lnTo>
                  <a:pt x="5718" y="629"/>
                </a:lnTo>
                <a:lnTo>
                  <a:pt x="5718" y="635"/>
                </a:lnTo>
                <a:lnTo>
                  <a:pt x="5718" y="635"/>
                </a:lnTo>
                <a:lnTo>
                  <a:pt x="5724" y="635"/>
                </a:lnTo>
                <a:lnTo>
                  <a:pt x="5724" y="635"/>
                </a:lnTo>
                <a:lnTo>
                  <a:pt x="5724" y="629"/>
                </a:lnTo>
                <a:lnTo>
                  <a:pt x="5724" y="629"/>
                </a:lnTo>
                <a:lnTo>
                  <a:pt x="5724" y="629"/>
                </a:lnTo>
                <a:lnTo>
                  <a:pt x="5724" y="629"/>
                </a:lnTo>
                <a:lnTo>
                  <a:pt x="5724" y="629"/>
                </a:lnTo>
                <a:lnTo>
                  <a:pt x="5724" y="635"/>
                </a:lnTo>
                <a:lnTo>
                  <a:pt x="5724" y="635"/>
                </a:lnTo>
                <a:lnTo>
                  <a:pt x="5730" y="635"/>
                </a:lnTo>
                <a:lnTo>
                  <a:pt x="5730" y="635"/>
                </a:lnTo>
                <a:lnTo>
                  <a:pt x="5730" y="629"/>
                </a:lnTo>
                <a:lnTo>
                  <a:pt x="5730" y="629"/>
                </a:lnTo>
                <a:lnTo>
                  <a:pt x="5730" y="629"/>
                </a:lnTo>
                <a:lnTo>
                  <a:pt x="5730" y="629"/>
                </a:lnTo>
                <a:lnTo>
                  <a:pt x="5730" y="629"/>
                </a:lnTo>
                <a:lnTo>
                  <a:pt x="5730" y="629"/>
                </a:lnTo>
                <a:lnTo>
                  <a:pt x="5736" y="629"/>
                </a:lnTo>
                <a:lnTo>
                  <a:pt x="5736" y="623"/>
                </a:lnTo>
                <a:lnTo>
                  <a:pt x="5736" y="623"/>
                </a:lnTo>
                <a:lnTo>
                  <a:pt x="5736" y="623"/>
                </a:lnTo>
                <a:lnTo>
                  <a:pt x="5742" y="617"/>
                </a:lnTo>
                <a:lnTo>
                  <a:pt x="5742" y="617"/>
                </a:lnTo>
                <a:lnTo>
                  <a:pt x="5742" y="617"/>
                </a:lnTo>
                <a:lnTo>
                  <a:pt x="5742" y="617"/>
                </a:lnTo>
                <a:lnTo>
                  <a:pt x="5742" y="617"/>
                </a:lnTo>
                <a:lnTo>
                  <a:pt x="5742" y="617"/>
                </a:lnTo>
                <a:lnTo>
                  <a:pt x="5742" y="617"/>
                </a:lnTo>
                <a:lnTo>
                  <a:pt x="5742" y="617"/>
                </a:lnTo>
                <a:lnTo>
                  <a:pt x="5742" y="617"/>
                </a:lnTo>
                <a:lnTo>
                  <a:pt x="5748" y="617"/>
                </a:lnTo>
                <a:lnTo>
                  <a:pt x="5748" y="617"/>
                </a:lnTo>
                <a:lnTo>
                  <a:pt x="5748" y="611"/>
                </a:lnTo>
                <a:lnTo>
                  <a:pt x="5748" y="611"/>
                </a:lnTo>
                <a:lnTo>
                  <a:pt x="5754" y="611"/>
                </a:lnTo>
                <a:lnTo>
                  <a:pt x="5754" y="611"/>
                </a:lnTo>
                <a:lnTo>
                  <a:pt x="5754" y="605"/>
                </a:lnTo>
                <a:close/>
                <a:moveTo>
                  <a:pt x="4942" y="1477"/>
                </a:moveTo>
                <a:lnTo>
                  <a:pt x="4942" y="1483"/>
                </a:lnTo>
                <a:lnTo>
                  <a:pt x="4936" y="1489"/>
                </a:lnTo>
                <a:lnTo>
                  <a:pt x="4936" y="1495"/>
                </a:lnTo>
                <a:lnTo>
                  <a:pt x="4936" y="1495"/>
                </a:lnTo>
                <a:lnTo>
                  <a:pt x="4936" y="1495"/>
                </a:lnTo>
                <a:lnTo>
                  <a:pt x="4936" y="1501"/>
                </a:lnTo>
                <a:lnTo>
                  <a:pt x="4930" y="1501"/>
                </a:lnTo>
                <a:lnTo>
                  <a:pt x="4930" y="1506"/>
                </a:lnTo>
                <a:lnTo>
                  <a:pt x="4930" y="1506"/>
                </a:lnTo>
                <a:lnTo>
                  <a:pt x="4930" y="1512"/>
                </a:lnTo>
                <a:lnTo>
                  <a:pt x="4930" y="1512"/>
                </a:lnTo>
                <a:lnTo>
                  <a:pt x="4930" y="1512"/>
                </a:lnTo>
                <a:lnTo>
                  <a:pt x="4924" y="1512"/>
                </a:lnTo>
                <a:lnTo>
                  <a:pt x="4924" y="1512"/>
                </a:lnTo>
                <a:lnTo>
                  <a:pt x="4924" y="1518"/>
                </a:lnTo>
                <a:lnTo>
                  <a:pt x="4924" y="1518"/>
                </a:lnTo>
                <a:lnTo>
                  <a:pt x="4924" y="1518"/>
                </a:lnTo>
                <a:lnTo>
                  <a:pt x="4918" y="1524"/>
                </a:lnTo>
                <a:lnTo>
                  <a:pt x="4918" y="1524"/>
                </a:lnTo>
                <a:lnTo>
                  <a:pt x="4918" y="1524"/>
                </a:lnTo>
                <a:lnTo>
                  <a:pt x="4918" y="1524"/>
                </a:lnTo>
                <a:lnTo>
                  <a:pt x="4918" y="1524"/>
                </a:lnTo>
                <a:lnTo>
                  <a:pt x="4918" y="1524"/>
                </a:lnTo>
                <a:lnTo>
                  <a:pt x="4918" y="1530"/>
                </a:lnTo>
                <a:lnTo>
                  <a:pt x="4918" y="1530"/>
                </a:lnTo>
                <a:lnTo>
                  <a:pt x="4918" y="1530"/>
                </a:lnTo>
                <a:lnTo>
                  <a:pt x="4918" y="1530"/>
                </a:lnTo>
                <a:lnTo>
                  <a:pt x="4918" y="1530"/>
                </a:lnTo>
                <a:lnTo>
                  <a:pt x="4918" y="1530"/>
                </a:lnTo>
                <a:lnTo>
                  <a:pt x="4918" y="1530"/>
                </a:lnTo>
                <a:lnTo>
                  <a:pt x="4913" y="1530"/>
                </a:lnTo>
                <a:lnTo>
                  <a:pt x="4913" y="1530"/>
                </a:lnTo>
                <a:lnTo>
                  <a:pt x="4913" y="1530"/>
                </a:lnTo>
                <a:lnTo>
                  <a:pt x="4913" y="1530"/>
                </a:lnTo>
                <a:lnTo>
                  <a:pt x="4913" y="1536"/>
                </a:lnTo>
                <a:lnTo>
                  <a:pt x="4913" y="1536"/>
                </a:lnTo>
                <a:lnTo>
                  <a:pt x="4918" y="1530"/>
                </a:lnTo>
                <a:lnTo>
                  <a:pt x="4918" y="1530"/>
                </a:lnTo>
                <a:lnTo>
                  <a:pt x="4918" y="1530"/>
                </a:lnTo>
                <a:lnTo>
                  <a:pt x="4918" y="1530"/>
                </a:lnTo>
                <a:lnTo>
                  <a:pt x="4918" y="1524"/>
                </a:lnTo>
                <a:lnTo>
                  <a:pt x="4924" y="1524"/>
                </a:lnTo>
                <a:lnTo>
                  <a:pt x="4930" y="1512"/>
                </a:lnTo>
                <a:lnTo>
                  <a:pt x="4930" y="1512"/>
                </a:lnTo>
                <a:lnTo>
                  <a:pt x="4930" y="1512"/>
                </a:lnTo>
                <a:lnTo>
                  <a:pt x="4930" y="1506"/>
                </a:lnTo>
                <a:lnTo>
                  <a:pt x="4936" y="1506"/>
                </a:lnTo>
                <a:lnTo>
                  <a:pt x="4936" y="1501"/>
                </a:lnTo>
                <a:lnTo>
                  <a:pt x="4936" y="1495"/>
                </a:lnTo>
                <a:lnTo>
                  <a:pt x="4936" y="1489"/>
                </a:lnTo>
                <a:lnTo>
                  <a:pt x="4942" y="1483"/>
                </a:lnTo>
                <a:lnTo>
                  <a:pt x="4942" y="1483"/>
                </a:lnTo>
                <a:lnTo>
                  <a:pt x="4942" y="1477"/>
                </a:lnTo>
                <a:lnTo>
                  <a:pt x="4942" y="1477"/>
                </a:lnTo>
                <a:lnTo>
                  <a:pt x="4942" y="1477"/>
                </a:lnTo>
                <a:lnTo>
                  <a:pt x="4942" y="1477"/>
                </a:lnTo>
                <a:close/>
                <a:moveTo>
                  <a:pt x="4853" y="1495"/>
                </a:moveTo>
                <a:lnTo>
                  <a:pt x="4847" y="1489"/>
                </a:lnTo>
                <a:lnTo>
                  <a:pt x="4847" y="1489"/>
                </a:lnTo>
                <a:lnTo>
                  <a:pt x="4847" y="1489"/>
                </a:lnTo>
                <a:lnTo>
                  <a:pt x="4847" y="1489"/>
                </a:lnTo>
                <a:lnTo>
                  <a:pt x="4847" y="1489"/>
                </a:lnTo>
                <a:lnTo>
                  <a:pt x="4847" y="1489"/>
                </a:lnTo>
                <a:lnTo>
                  <a:pt x="4847" y="1495"/>
                </a:lnTo>
                <a:lnTo>
                  <a:pt x="4847" y="1495"/>
                </a:lnTo>
                <a:lnTo>
                  <a:pt x="4847" y="1495"/>
                </a:lnTo>
                <a:lnTo>
                  <a:pt x="4847" y="1495"/>
                </a:lnTo>
                <a:lnTo>
                  <a:pt x="4847" y="1495"/>
                </a:lnTo>
                <a:lnTo>
                  <a:pt x="4853" y="1495"/>
                </a:lnTo>
                <a:lnTo>
                  <a:pt x="4853" y="1495"/>
                </a:lnTo>
                <a:lnTo>
                  <a:pt x="4847" y="1495"/>
                </a:lnTo>
                <a:lnTo>
                  <a:pt x="4853" y="1495"/>
                </a:lnTo>
                <a:lnTo>
                  <a:pt x="4853" y="1495"/>
                </a:lnTo>
                <a:close/>
                <a:moveTo>
                  <a:pt x="4853" y="1524"/>
                </a:moveTo>
                <a:lnTo>
                  <a:pt x="4853" y="1524"/>
                </a:lnTo>
                <a:lnTo>
                  <a:pt x="4853" y="1518"/>
                </a:lnTo>
                <a:lnTo>
                  <a:pt x="4853" y="1518"/>
                </a:lnTo>
                <a:lnTo>
                  <a:pt x="4853" y="1524"/>
                </a:lnTo>
                <a:lnTo>
                  <a:pt x="4853" y="1524"/>
                </a:lnTo>
                <a:lnTo>
                  <a:pt x="4853" y="1518"/>
                </a:lnTo>
                <a:lnTo>
                  <a:pt x="4853" y="1518"/>
                </a:lnTo>
                <a:lnTo>
                  <a:pt x="4853" y="1512"/>
                </a:lnTo>
                <a:lnTo>
                  <a:pt x="4853" y="1512"/>
                </a:lnTo>
                <a:lnTo>
                  <a:pt x="4853" y="1512"/>
                </a:lnTo>
                <a:lnTo>
                  <a:pt x="4853" y="1512"/>
                </a:lnTo>
                <a:lnTo>
                  <a:pt x="4853" y="1512"/>
                </a:lnTo>
                <a:lnTo>
                  <a:pt x="4853" y="1512"/>
                </a:lnTo>
                <a:lnTo>
                  <a:pt x="4853" y="1512"/>
                </a:lnTo>
                <a:lnTo>
                  <a:pt x="4847" y="1512"/>
                </a:lnTo>
                <a:lnTo>
                  <a:pt x="4847" y="1512"/>
                </a:lnTo>
                <a:lnTo>
                  <a:pt x="4847" y="1512"/>
                </a:lnTo>
                <a:lnTo>
                  <a:pt x="4847" y="1512"/>
                </a:lnTo>
                <a:lnTo>
                  <a:pt x="4853" y="1512"/>
                </a:lnTo>
                <a:lnTo>
                  <a:pt x="4853" y="1512"/>
                </a:lnTo>
                <a:lnTo>
                  <a:pt x="4853" y="1518"/>
                </a:lnTo>
                <a:lnTo>
                  <a:pt x="4853" y="1518"/>
                </a:lnTo>
                <a:lnTo>
                  <a:pt x="4847" y="1512"/>
                </a:lnTo>
                <a:lnTo>
                  <a:pt x="4847" y="1512"/>
                </a:lnTo>
                <a:lnTo>
                  <a:pt x="4847" y="1518"/>
                </a:lnTo>
                <a:lnTo>
                  <a:pt x="4847" y="1518"/>
                </a:lnTo>
                <a:lnTo>
                  <a:pt x="4847" y="1518"/>
                </a:lnTo>
                <a:lnTo>
                  <a:pt x="4847" y="1518"/>
                </a:lnTo>
                <a:lnTo>
                  <a:pt x="4847" y="1524"/>
                </a:lnTo>
                <a:lnTo>
                  <a:pt x="4847" y="1524"/>
                </a:lnTo>
                <a:lnTo>
                  <a:pt x="4847" y="1518"/>
                </a:lnTo>
                <a:lnTo>
                  <a:pt x="4847" y="1518"/>
                </a:lnTo>
                <a:lnTo>
                  <a:pt x="4853" y="1524"/>
                </a:lnTo>
                <a:lnTo>
                  <a:pt x="4853" y="1524"/>
                </a:lnTo>
                <a:lnTo>
                  <a:pt x="4847" y="1524"/>
                </a:lnTo>
                <a:lnTo>
                  <a:pt x="4847" y="1524"/>
                </a:lnTo>
                <a:lnTo>
                  <a:pt x="4847" y="1524"/>
                </a:lnTo>
                <a:lnTo>
                  <a:pt x="4847" y="1524"/>
                </a:lnTo>
                <a:lnTo>
                  <a:pt x="4853" y="1524"/>
                </a:lnTo>
                <a:lnTo>
                  <a:pt x="4853" y="1524"/>
                </a:lnTo>
                <a:lnTo>
                  <a:pt x="4853" y="1524"/>
                </a:lnTo>
                <a:lnTo>
                  <a:pt x="4853" y="1524"/>
                </a:lnTo>
                <a:lnTo>
                  <a:pt x="4853" y="1524"/>
                </a:lnTo>
                <a:lnTo>
                  <a:pt x="4853" y="1524"/>
                </a:lnTo>
                <a:lnTo>
                  <a:pt x="4853" y="1524"/>
                </a:lnTo>
                <a:lnTo>
                  <a:pt x="4853" y="1524"/>
                </a:lnTo>
                <a:lnTo>
                  <a:pt x="4853" y="1524"/>
                </a:lnTo>
                <a:close/>
                <a:moveTo>
                  <a:pt x="5452" y="1079"/>
                </a:moveTo>
                <a:lnTo>
                  <a:pt x="5446" y="1079"/>
                </a:lnTo>
                <a:lnTo>
                  <a:pt x="5446" y="1079"/>
                </a:lnTo>
                <a:lnTo>
                  <a:pt x="5446" y="1079"/>
                </a:lnTo>
                <a:lnTo>
                  <a:pt x="5446" y="1079"/>
                </a:lnTo>
                <a:lnTo>
                  <a:pt x="5446" y="1074"/>
                </a:lnTo>
                <a:lnTo>
                  <a:pt x="5446" y="1074"/>
                </a:lnTo>
                <a:lnTo>
                  <a:pt x="5446" y="1074"/>
                </a:lnTo>
                <a:lnTo>
                  <a:pt x="5446" y="1074"/>
                </a:lnTo>
                <a:lnTo>
                  <a:pt x="5446" y="1079"/>
                </a:lnTo>
                <a:lnTo>
                  <a:pt x="5446" y="1079"/>
                </a:lnTo>
                <a:lnTo>
                  <a:pt x="5446" y="1079"/>
                </a:lnTo>
                <a:lnTo>
                  <a:pt x="5446" y="1085"/>
                </a:lnTo>
                <a:lnTo>
                  <a:pt x="5446" y="1085"/>
                </a:lnTo>
                <a:lnTo>
                  <a:pt x="5446" y="1085"/>
                </a:lnTo>
                <a:lnTo>
                  <a:pt x="5446" y="1085"/>
                </a:lnTo>
                <a:lnTo>
                  <a:pt x="5446" y="1085"/>
                </a:lnTo>
                <a:lnTo>
                  <a:pt x="5452" y="1079"/>
                </a:lnTo>
                <a:lnTo>
                  <a:pt x="5452" y="1079"/>
                </a:lnTo>
                <a:lnTo>
                  <a:pt x="5446" y="1085"/>
                </a:lnTo>
                <a:lnTo>
                  <a:pt x="5446" y="1085"/>
                </a:lnTo>
                <a:lnTo>
                  <a:pt x="5446" y="1085"/>
                </a:lnTo>
                <a:lnTo>
                  <a:pt x="5446" y="1085"/>
                </a:lnTo>
                <a:lnTo>
                  <a:pt x="5440" y="1091"/>
                </a:lnTo>
                <a:lnTo>
                  <a:pt x="5440" y="1091"/>
                </a:lnTo>
                <a:lnTo>
                  <a:pt x="5440" y="1091"/>
                </a:lnTo>
                <a:lnTo>
                  <a:pt x="5440" y="1091"/>
                </a:lnTo>
                <a:lnTo>
                  <a:pt x="5440" y="1091"/>
                </a:lnTo>
                <a:lnTo>
                  <a:pt x="5434" y="1091"/>
                </a:lnTo>
                <a:lnTo>
                  <a:pt x="5434" y="1091"/>
                </a:lnTo>
                <a:lnTo>
                  <a:pt x="5434" y="1091"/>
                </a:lnTo>
                <a:lnTo>
                  <a:pt x="5428" y="1085"/>
                </a:lnTo>
                <a:lnTo>
                  <a:pt x="5428" y="1085"/>
                </a:lnTo>
                <a:lnTo>
                  <a:pt x="5428" y="1085"/>
                </a:lnTo>
                <a:lnTo>
                  <a:pt x="5422" y="1085"/>
                </a:lnTo>
                <a:lnTo>
                  <a:pt x="5422" y="1085"/>
                </a:lnTo>
                <a:lnTo>
                  <a:pt x="5428" y="1091"/>
                </a:lnTo>
                <a:lnTo>
                  <a:pt x="5428" y="1091"/>
                </a:lnTo>
                <a:lnTo>
                  <a:pt x="5434" y="1097"/>
                </a:lnTo>
                <a:lnTo>
                  <a:pt x="5440" y="1097"/>
                </a:lnTo>
                <a:lnTo>
                  <a:pt x="5446" y="1097"/>
                </a:lnTo>
                <a:lnTo>
                  <a:pt x="5452" y="1097"/>
                </a:lnTo>
                <a:lnTo>
                  <a:pt x="5452" y="1097"/>
                </a:lnTo>
                <a:lnTo>
                  <a:pt x="5452" y="1091"/>
                </a:lnTo>
                <a:lnTo>
                  <a:pt x="5458" y="1091"/>
                </a:lnTo>
                <a:lnTo>
                  <a:pt x="5452" y="1085"/>
                </a:lnTo>
                <a:lnTo>
                  <a:pt x="5452" y="1079"/>
                </a:lnTo>
                <a:close/>
                <a:moveTo>
                  <a:pt x="5369" y="1091"/>
                </a:moveTo>
                <a:lnTo>
                  <a:pt x="5369" y="1091"/>
                </a:lnTo>
                <a:lnTo>
                  <a:pt x="5369" y="1091"/>
                </a:lnTo>
                <a:lnTo>
                  <a:pt x="5369" y="1091"/>
                </a:lnTo>
                <a:lnTo>
                  <a:pt x="5369" y="1091"/>
                </a:lnTo>
                <a:lnTo>
                  <a:pt x="5369" y="1091"/>
                </a:lnTo>
                <a:lnTo>
                  <a:pt x="5369" y="1097"/>
                </a:lnTo>
                <a:lnTo>
                  <a:pt x="5369" y="1097"/>
                </a:lnTo>
                <a:lnTo>
                  <a:pt x="5369" y="1097"/>
                </a:lnTo>
                <a:lnTo>
                  <a:pt x="5369" y="1091"/>
                </a:lnTo>
                <a:lnTo>
                  <a:pt x="5369" y="1091"/>
                </a:lnTo>
                <a:lnTo>
                  <a:pt x="5369" y="1091"/>
                </a:lnTo>
                <a:close/>
                <a:moveTo>
                  <a:pt x="5452" y="1050"/>
                </a:moveTo>
                <a:lnTo>
                  <a:pt x="5452" y="1044"/>
                </a:lnTo>
                <a:lnTo>
                  <a:pt x="5452" y="1044"/>
                </a:lnTo>
                <a:lnTo>
                  <a:pt x="5452" y="1044"/>
                </a:lnTo>
                <a:lnTo>
                  <a:pt x="5452" y="1044"/>
                </a:lnTo>
                <a:lnTo>
                  <a:pt x="5452" y="1044"/>
                </a:lnTo>
                <a:lnTo>
                  <a:pt x="5452" y="1044"/>
                </a:lnTo>
                <a:lnTo>
                  <a:pt x="5452" y="1044"/>
                </a:lnTo>
                <a:lnTo>
                  <a:pt x="5452" y="1044"/>
                </a:lnTo>
                <a:lnTo>
                  <a:pt x="5452" y="1044"/>
                </a:lnTo>
                <a:lnTo>
                  <a:pt x="5446" y="1056"/>
                </a:lnTo>
                <a:lnTo>
                  <a:pt x="5452" y="1056"/>
                </a:lnTo>
                <a:lnTo>
                  <a:pt x="5452" y="1050"/>
                </a:lnTo>
                <a:close/>
                <a:moveTo>
                  <a:pt x="5398" y="1074"/>
                </a:moveTo>
                <a:lnTo>
                  <a:pt x="5393" y="1074"/>
                </a:lnTo>
                <a:lnTo>
                  <a:pt x="5393" y="1074"/>
                </a:lnTo>
                <a:lnTo>
                  <a:pt x="5393" y="1068"/>
                </a:lnTo>
                <a:lnTo>
                  <a:pt x="5398" y="1068"/>
                </a:lnTo>
                <a:lnTo>
                  <a:pt x="5398" y="1068"/>
                </a:lnTo>
                <a:lnTo>
                  <a:pt x="5398" y="1068"/>
                </a:lnTo>
                <a:lnTo>
                  <a:pt x="5393" y="1068"/>
                </a:lnTo>
                <a:lnTo>
                  <a:pt x="5393" y="1068"/>
                </a:lnTo>
                <a:lnTo>
                  <a:pt x="5393" y="1068"/>
                </a:lnTo>
                <a:lnTo>
                  <a:pt x="5393" y="1068"/>
                </a:lnTo>
                <a:lnTo>
                  <a:pt x="5393" y="1068"/>
                </a:lnTo>
                <a:lnTo>
                  <a:pt x="5393" y="1068"/>
                </a:lnTo>
                <a:lnTo>
                  <a:pt x="5393" y="1068"/>
                </a:lnTo>
                <a:lnTo>
                  <a:pt x="5393" y="1068"/>
                </a:lnTo>
                <a:lnTo>
                  <a:pt x="5387" y="1068"/>
                </a:lnTo>
                <a:lnTo>
                  <a:pt x="5381" y="1068"/>
                </a:lnTo>
                <a:lnTo>
                  <a:pt x="5381" y="1074"/>
                </a:lnTo>
                <a:lnTo>
                  <a:pt x="5381" y="1074"/>
                </a:lnTo>
                <a:lnTo>
                  <a:pt x="5381" y="1074"/>
                </a:lnTo>
                <a:lnTo>
                  <a:pt x="5375" y="1074"/>
                </a:lnTo>
                <a:lnTo>
                  <a:pt x="5375" y="1079"/>
                </a:lnTo>
                <a:lnTo>
                  <a:pt x="5375" y="1079"/>
                </a:lnTo>
                <a:lnTo>
                  <a:pt x="5375" y="1079"/>
                </a:lnTo>
                <a:lnTo>
                  <a:pt x="5375" y="1079"/>
                </a:lnTo>
                <a:lnTo>
                  <a:pt x="5369" y="1079"/>
                </a:lnTo>
                <a:lnTo>
                  <a:pt x="5369" y="1079"/>
                </a:lnTo>
                <a:lnTo>
                  <a:pt x="5369" y="1085"/>
                </a:lnTo>
                <a:lnTo>
                  <a:pt x="5369" y="1085"/>
                </a:lnTo>
                <a:lnTo>
                  <a:pt x="5369" y="1085"/>
                </a:lnTo>
                <a:lnTo>
                  <a:pt x="5369" y="1085"/>
                </a:lnTo>
                <a:lnTo>
                  <a:pt x="5375" y="1085"/>
                </a:lnTo>
                <a:lnTo>
                  <a:pt x="5375" y="1085"/>
                </a:lnTo>
                <a:lnTo>
                  <a:pt x="5375" y="1085"/>
                </a:lnTo>
                <a:lnTo>
                  <a:pt x="5375" y="1085"/>
                </a:lnTo>
                <a:lnTo>
                  <a:pt x="5375" y="1085"/>
                </a:lnTo>
                <a:lnTo>
                  <a:pt x="5381" y="1079"/>
                </a:lnTo>
                <a:lnTo>
                  <a:pt x="5381" y="1079"/>
                </a:lnTo>
                <a:lnTo>
                  <a:pt x="5381" y="1079"/>
                </a:lnTo>
                <a:lnTo>
                  <a:pt x="5381" y="1079"/>
                </a:lnTo>
                <a:lnTo>
                  <a:pt x="5387" y="1079"/>
                </a:lnTo>
                <a:lnTo>
                  <a:pt x="5393" y="1079"/>
                </a:lnTo>
                <a:lnTo>
                  <a:pt x="5398" y="1079"/>
                </a:lnTo>
                <a:lnTo>
                  <a:pt x="5398" y="1079"/>
                </a:lnTo>
                <a:lnTo>
                  <a:pt x="5398" y="1074"/>
                </a:lnTo>
                <a:lnTo>
                  <a:pt x="5398" y="1074"/>
                </a:lnTo>
                <a:close/>
                <a:moveTo>
                  <a:pt x="5404" y="1074"/>
                </a:moveTo>
                <a:lnTo>
                  <a:pt x="5404" y="1074"/>
                </a:lnTo>
                <a:lnTo>
                  <a:pt x="5404" y="1074"/>
                </a:lnTo>
                <a:lnTo>
                  <a:pt x="5404" y="1074"/>
                </a:lnTo>
                <a:lnTo>
                  <a:pt x="5404" y="1074"/>
                </a:lnTo>
                <a:lnTo>
                  <a:pt x="5404" y="1074"/>
                </a:lnTo>
                <a:lnTo>
                  <a:pt x="5398" y="1074"/>
                </a:lnTo>
                <a:lnTo>
                  <a:pt x="5398" y="1079"/>
                </a:lnTo>
                <a:lnTo>
                  <a:pt x="5404" y="1079"/>
                </a:lnTo>
                <a:lnTo>
                  <a:pt x="5404" y="1079"/>
                </a:lnTo>
                <a:lnTo>
                  <a:pt x="5404" y="1079"/>
                </a:lnTo>
                <a:lnTo>
                  <a:pt x="5404" y="1079"/>
                </a:lnTo>
                <a:lnTo>
                  <a:pt x="5404" y="1079"/>
                </a:lnTo>
                <a:lnTo>
                  <a:pt x="5404" y="1079"/>
                </a:lnTo>
                <a:lnTo>
                  <a:pt x="5404" y="1079"/>
                </a:lnTo>
                <a:lnTo>
                  <a:pt x="5404" y="1074"/>
                </a:lnTo>
                <a:lnTo>
                  <a:pt x="5404" y="1074"/>
                </a:lnTo>
                <a:close/>
                <a:moveTo>
                  <a:pt x="5363" y="1068"/>
                </a:moveTo>
                <a:lnTo>
                  <a:pt x="5363" y="1068"/>
                </a:lnTo>
                <a:lnTo>
                  <a:pt x="5363" y="1068"/>
                </a:lnTo>
                <a:lnTo>
                  <a:pt x="5363" y="1068"/>
                </a:lnTo>
                <a:lnTo>
                  <a:pt x="5363" y="1068"/>
                </a:lnTo>
                <a:lnTo>
                  <a:pt x="5357" y="1074"/>
                </a:lnTo>
                <a:lnTo>
                  <a:pt x="5357" y="1074"/>
                </a:lnTo>
                <a:lnTo>
                  <a:pt x="5357" y="1074"/>
                </a:lnTo>
                <a:lnTo>
                  <a:pt x="5357" y="1074"/>
                </a:lnTo>
                <a:lnTo>
                  <a:pt x="5357" y="1074"/>
                </a:lnTo>
                <a:lnTo>
                  <a:pt x="5357" y="1074"/>
                </a:lnTo>
                <a:lnTo>
                  <a:pt x="5357" y="1074"/>
                </a:lnTo>
                <a:lnTo>
                  <a:pt x="5357" y="1074"/>
                </a:lnTo>
                <a:lnTo>
                  <a:pt x="5363" y="1074"/>
                </a:lnTo>
                <a:lnTo>
                  <a:pt x="5363" y="1074"/>
                </a:lnTo>
                <a:lnTo>
                  <a:pt x="5363" y="1074"/>
                </a:lnTo>
                <a:lnTo>
                  <a:pt x="5363" y="1074"/>
                </a:lnTo>
                <a:lnTo>
                  <a:pt x="5363" y="1074"/>
                </a:lnTo>
                <a:lnTo>
                  <a:pt x="5363" y="1068"/>
                </a:lnTo>
                <a:lnTo>
                  <a:pt x="5369" y="1068"/>
                </a:lnTo>
                <a:lnTo>
                  <a:pt x="5363" y="1068"/>
                </a:lnTo>
                <a:lnTo>
                  <a:pt x="5363" y="1068"/>
                </a:lnTo>
                <a:close/>
                <a:moveTo>
                  <a:pt x="5375" y="1062"/>
                </a:moveTo>
                <a:lnTo>
                  <a:pt x="5381" y="1062"/>
                </a:lnTo>
                <a:lnTo>
                  <a:pt x="5381" y="1062"/>
                </a:lnTo>
                <a:lnTo>
                  <a:pt x="5381" y="1062"/>
                </a:lnTo>
                <a:lnTo>
                  <a:pt x="5381" y="1062"/>
                </a:lnTo>
                <a:lnTo>
                  <a:pt x="5381" y="1062"/>
                </a:lnTo>
                <a:lnTo>
                  <a:pt x="5381" y="1062"/>
                </a:lnTo>
                <a:lnTo>
                  <a:pt x="5381" y="1062"/>
                </a:lnTo>
                <a:lnTo>
                  <a:pt x="5381" y="1062"/>
                </a:lnTo>
                <a:lnTo>
                  <a:pt x="5375" y="1062"/>
                </a:lnTo>
                <a:lnTo>
                  <a:pt x="5375" y="1062"/>
                </a:lnTo>
                <a:lnTo>
                  <a:pt x="5375" y="1062"/>
                </a:lnTo>
                <a:lnTo>
                  <a:pt x="5369" y="1068"/>
                </a:lnTo>
                <a:lnTo>
                  <a:pt x="5369" y="1068"/>
                </a:lnTo>
                <a:lnTo>
                  <a:pt x="5369" y="1068"/>
                </a:lnTo>
                <a:lnTo>
                  <a:pt x="5369" y="1068"/>
                </a:lnTo>
                <a:lnTo>
                  <a:pt x="5369" y="1068"/>
                </a:lnTo>
                <a:lnTo>
                  <a:pt x="5369" y="1068"/>
                </a:lnTo>
                <a:lnTo>
                  <a:pt x="5369" y="1068"/>
                </a:lnTo>
                <a:lnTo>
                  <a:pt x="5369" y="1068"/>
                </a:lnTo>
                <a:lnTo>
                  <a:pt x="5369" y="1068"/>
                </a:lnTo>
                <a:lnTo>
                  <a:pt x="5375" y="1068"/>
                </a:lnTo>
                <a:lnTo>
                  <a:pt x="5375" y="1068"/>
                </a:lnTo>
                <a:lnTo>
                  <a:pt x="5375" y="1068"/>
                </a:lnTo>
                <a:lnTo>
                  <a:pt x="5375" y="1068"/>
                </a:lnTo>
                <a:lnTo>
                  <a:pt x="5375" y="1062"/>
                </a:lnTo>
                <a:lnTo>
                  <a:pt x="5375" y="1062"/>
                </a:lnTo>
                <a:lnTo>
                  <a:pt x="5375" y="1062"/>
                </a:lnTo>
                <a:close/>
                <a:moveTo>
                  <a:pt x="3366" y="2586"/>
                </a:moveTo>
                <a:lnTo>
                  <a:pt x="3366" y="2586"/>
                </a:lnTo>
                <a:lnTo>
                  <a:pt x="3372" y="2586"/>
                </a:lnTo>
                <a:lnTo>
                  <a:pt x="3372" y="2586"/>
                </a:lnTo>
                <a:lnTo>
                  <a:pt x="3366" y="2586"/>
                </a:lnTo>
                <a:close/>
                <a:moveTo>
                  <a:pt x="3395" y="2586"/>
                </a:moveTo>
                <a:lnTo>
                  <a:pt x="3395" y="2586"/>
                </a:lnTo>
                <a:lnTo>
                  <a:pt x="3390" y="2586"/>
                </a:lnTo>
                <a:lnTo>
                  <a:pt x="3390" y="2586"/>
                </a:lnTo>
                <a:lnTo>
                  <a:pt x="3390" y="2586"/>
                </a:lnTo>
                <a:lnTo>
                  <a:pt x="3390" y="2586"/>
                </a:lnTo>
                <a:lnTo>
                  <a:pt x="3390" y="2586"/>
                </a:lnTo>
                <a:lnTo>
                  <a:pt x="3390" y="2586"/>
                </a:lnTo>
                <a:lnTo>
                  <a:pt x="3390" y="2586"/>
                </a:lnTo>
                <a:lnTo>
                  <a:pt x="3384" y="2586"/>
                </a:lnTo>
                <a:lnTo>
                  <a:pt x="3384" y="2586"/>
                </a:lnTo>
                <a:lnTo>
                  <a:pt x="3384" y="2586"/>
                </a:lnTo>
                <a:lnTo>
                  <a:pt x="3384" y="2586"/>
                </a:lnTo>
                <a:lnTo>
                  <a:pt x="3384" y="2586"/>
                </a:lnTo>
                <a:lnTo>
                  <a:pt x="3390" y="2586"/>
                </a:lnTo>
                <a:lnTo>
                  <a:pt x="3395" y="2586"/>
                </a:lnTo>
                <a:lnTo>
                  <a:pt x="3395" y="2586"/>
                </a:lnTo>
                <a:lnTo>
                  <a:pt x="3395" y="2586"/>
                </a:lnTo>
                <a:lnTo>
                  <a:pt x="3395" y="2586"/>
                </a:lnTo>
                <a:lnTo>
                  <a:pt x="3395" y="2586"/>
                </a:lnTo>
                <a:lnTo>
                  <a:pt x="3395" y="2586"/>
                </a:lnTo>
                <a:close/>
                <a:moveTo>
                  <a:pt x="3419" y="2586"/>
                </a:moveTo>
                <a:lnTo>
                  <a:pt x="3419" y="2586"/>
                </a:lnTo>
                <a:lnTo>
                  <a:pt x="3413" y="2586"/>
                </a:lnTo>
                <a:lnTo>
                  <a:pt x="3407" y="2586"/>
                </a:lnTo>
                <a:lnTo>
                  <a:pt x="3407" y="2586"/>
                </a:lnTo>
                <a:lnTo>
                  <a:pt x="3413" y="2586"/>
                </a:lnTo>
                <a:lnTo>
                  <a:pt x="3419" y="2586"/>
                </a:lnTo>
                <a:lnTo>
                  <a:pt x="3419" y="2586"/>
                </a:lnTo>
                <a:lnTo>
                  <a:pt x="3419" y="2586"/>
                </a:lnTo>
                <a:lnTo>
                  <a:pt x="3419" y="2586"/>
                </a:lnTo>
                <a:close/>
                <a:moveTo>
                  <a:pt x="3431" y="2586"/>
                </a:moveTo>
                <a:lnTo>
                  <a:pt x="3431" y="2586"/>
                </a:lnTo>
                <a:lnTo>
                  <a:pt x="3431" y="2586"/>
                </a:lnTo>
                <a:lnTo>
                  <a:pt x="3431" y="2586"/>
                </a:lnTo>
                <a:lnTo>
                  <a:pt x="3425" y="2586"/>
                </a:lnTo>
                <a:lnTo>
                  <a:pt x="3425" y="2586"/>
                </a:lnTo>
                <a:lnTo>
                  <a:pt x="3425" y="2586"/>
                </a:lnTo>
                <a:lnTo>
                  <a:pt x="3425" y="2586"/>
                </a:lnTo>
                <a:lnTo>
                  <a:pt x="3431" y="2586"/>
                </a:lnTo>
                <a:lnTo>
                  <a:pt x="3431" y="2586"/>
                </a:lnTo>
                <a:lnTo>
                  <a:pt x="3431" y="2586"/>
                </a:lnTo>
                <a:lnTo>
                  <a:pt x="3431" y="2586"/>
                </a:lnTo>
                <a:lnTo>
                  <a:pt x="3431" y="2586"/>
                </a:lnTo>
                <a:close/>
                <a:moveTo>
                  <a:pt x="3467" y="2562"/>
                </a:moveTo>
                <a:lnTo>
                  <a:pt x="3461" y="2562"/>
                </a:lnTo>
                <a:lnTo>
                  <a:pt x="3461" y="2562"/>
                </a:lnTo>
                <a:lnTo>
                  <a:pt x="3461" y="2562"/>
                </a:lnTo>
                <a:lnTo>
                  <a:pt x="3461" y="2562"/>
                </a:lnTo>
                <a:lnTo>
                  <a:pt x="3461" y="2562"/>
                </a:lnTo>
                <a:lnTo>
                  <a:pt x="3455" y="2568"/>
                </a:lnTo>
                <a:lnTo>
                  <a:pt x="3455" y="2568"/>
                </a:lnTo>
                <a:lnTo>
                  <a:pt x="3455" y="2568"/>
                </a:lnTo>
                <a:lnTo>
                  <a:pt x="3461" y="2568"/>
                </a:lnTo>
                <a:lnTo>
                  <a:pt x="3461" y="2568"/>
                </a:lnTo>
                <a:lnTo>
                  <a:pt x="3461" y="2562"/>
                </a:lnTo>
                <a:lnTo>
                  <a:pt x="3467" y="2562"/>
                </a:lnTo>
                <a:lnTo>
                  <a:pt x="3461" y="2562"/>
                </a:lnTo>
                <a:lnTo>
                  <a:pt x="3461" y="2562"/>
                </a:lnTo>
                <a:lnTo>
                  <a:pt x="3467" y="2562"/>
                </a:lnTo>
                <a:close/>
                <a:moveTo>
                  <a:pt x="3413" y="2568"/>
                </a:moveTo>
                <a:lnTo>
                  <a:pt x="3413" y="2568"/>
                </a:lnTo>
                <a:lnTo>
                  <a:pt x="3413" y="2568"/>
                </a:lnTo>
                <a:lnTo>
                  <a:pt x="3413" y="2562"/>
                </a:lnTo>
                <a:lnTo>
                  <a:pt x="3413" y="2562"/>
                </a:lnTo>
                <a:lnTo>
                  <a:pt x="3413" y="2562"/>
                </a:lnTo>
                <a:lnTo>
                  <a:pt x="3413" y="2562"/>
                </a:lnTo>
                <a:lnTo>
                  <a:pt x="3413" y="2568"/>
                </a:lnTo>
                <a:lnTo>
                  <a:pt x="3413" y="2568"/>
                </a:lnTo>
                <a:lnTo>
                  <a:pt x="3413" y="2568"/>
                </a:lnTo>
                <a:lnTo>
                  <a:pt x="3413" y="2568"/>
                </a:lnTo>
                <a:close/>
                <a:moveTo>
                  <a:pt x="3467" y="2562"/>
                </a:moveTo>
                <a:lnTo>
                  <a:pt x="3467" y="2562"/>
                </a:lnTo>
                <a:lnTo>
                  <a:pt x="3467" y="2562"/>
                </a:lnTo>
                <a:lnTo>
                  <a:pt x="3467" y="2562"/>
                </a:lnTo>
                <a:lnTo>
                  <a:pt x="3467" y="2562"/>
                </a:lnTo>
                <a:lnTo>
                  <a:pt x="3467" y="2562"/>
                </a:lnTo>
                <a:lnTo>
                  <a:pt x="3467" y="2562"/>
                </a:lnTo>
                <a:lnTo>
                  <a:pt x="3467" y="2562"/>
                </a:lnTo>
                <a:lnTo>
                  <a:pt x="3467" y="2562"/>
                </a:lnTo>
                <a:lnTo>
                  <a:pt x="3467" y="2562"/>
                </a:lnTo>
                <a:close/>
                <a:moveTo>
                  <a:pt x="3561" y="2521"/>
                </a:moveTo>
                <a:lnTo>
                  <a:pt x="3561" y="2521"/>
                </a:lnTo>
                <a:lnTo>
                  <a:pt x="3561" y="2521"/>
                </a:lnTo>
                <a:lnTo>
                  <a:pt x="3561" y="2521"/>
                </a:lnTo>
                <a:lnTo>
                  <a:pt x="3561" y="2521"/>
                </a:lnTo>
                <a:lnTo>
                  <a:pt x="3561" y="2521"/>
                </a:lnTo>
                <a:lnTo>
                  <a:pt x="3561" y="2521"/>
                </a:lnTo>
                <a:lnTo>
                  <a:pt x="3561" y="2521"/>
                </a:lnTo>
                <a:lnTo>
                  <a:pt x="3561" y="2521"/>
                </a:lnTo>
                <a:close/>
                <a:moveTo>
                  <a:pt x="3567" y="2515"/>
                </a:moveTo>
                <a:lnTo>
                  <a:pt x="3567" y="2515"/>
                </a:lnTo>
                <a:lnTo>
                  <a:pt x="3567" y="2515"/>
                </a:lnTo>
                <a:lnTo>
                  <a:pt x="3567" y="2509"/>
                </a:lnTo>
                <a:lnTo>
                  <a:pt x="3573" y="2509"/>
                </a:lnTo>
                <a:lnTo>
                  <a:pt x="3567" y="2509"/>
                </a:lnTo>
                <a:lnTo>
                  <a:pt x="3567" y="2515"/>
                </a:lnTo>
                <a:close/>
                <a:moveTo>
                  <a:pt x="3455" y="2538"/>
                </a:moveTo>
                <a:lnTo>
                  <a:pt x="3455" y="2538"/>
                </a:lnTo>
                <a:lnTo>
                  <a:pt x="3455" y="2538"/>
                </a:lnTo>
                <a:lnTo>
                  <a:pt x="3455" y="2538"/>
                </a:lnTo>
                <a:lnTo>
                  <a:pt x="3455" y="2538"/>
                </a:lnTo>
                <a:lnTo>
                  <a:pt x="3455" y="2538"/>
                </a:lnTo>
                <a:lnTo>
                  <a:pt x="3455" y="2538"/>
                </a:lnTo>
                <a:lnTo>
                  <a:pt x="3455" y="2538"/>
                </a:lnTo>
                <a:lnTo>
                  <a:pt x="3455" y="2538"/>
                </a:lnTo>
                <a:lnTo>
                  <a:pt x="3455" y="2544"/>
                </a:lnTo>
                <a:lnTo>
                  <a:pt x="3461" y="2544"/>
                </a:lnTo>
                <a:lnTo>
                  <a:pt x="3461" y="2544"/>
                </a:lnTo>
                <a:lnTo>
                  <a:pt x="3461" y="2544"/>
                </a:lnTo>
                <a:lnTo>
                  <a:pt x="3461" y="2544"/>
                </a:lnTo>
                <a:lnTo>
                  <a:pt x="3461" y="2544"/>
                </a:lnTo>
                <a:lnTo>
                  <a:pt x="3461" y="2538"/>
                </a:lnTo>
                <a:lnTo>
                  <a:pt x="3461" y="2538"/>
                </a:lnTo>
                <a:lnTo>
                  <a:pt x="3461" y="2538"/>
                </a:lnTo>
                <a:lnTo>
                  <a:pt x="3461" y="2538"/>
                </a:lnTo>
                <a:lnTo>
                  <a:pt x="3461" y="2538"/>
                </a:lnTo>
                <a:lnTo>
                  <a:pt x="3461" y="2538"/>
                </a:lnTo>
                <a:lnTo>
                  <a:pt x="3461" y="2538"/>
                </a:lnTo>
                <a:lnTo>
                  <a:pt x="3461" y="2538"/>
                </a:lnTo>
                <a:lnTo>
                  <a:pt x="3461" y="2538"/>
                </a:lnTo>
                <a:lnTo>
                  <a:pt x="3461" y="2538"/>
                </a:lnTo>
                <a:lnTo>
                  <a:pt x="3455" y="2538"/>
                </a:lnTo>
                <a:lnTo>
                  <a:pt x="3455" y="2538"/>
                </a:lnTo>
                <a:lnTo>
                  <a:pt x="3455" y="2538"/>
                </a:lnTo>
                <a:lnTo>
                  <a:pt x="3455" y="2538"/>
                </a:lnTo>
                <a:lnTo>
                  <a:pt x="3455" y="2538"/>
                </a:lnTo>
                <a:lnTo>
                  <a:pt x="3455" y="2538"/>
                </a:lnTo>
                <a:lnTo>
                  <a:pt x="3455" y="2538"/>
                </a:lnTo>
                <a:lnTo>
                  <a:pt x="3461" y="2538"/>
                </a:lnTo>
                <a:lnTo>
                  <a:pt x="3455" y="2538"/>
                </a:lnTo>
                <a:lnTo>
                  <a:pt x="3455" y="2538"/>
                </a:lnTo>
                <a:lnTo>
                  <a:pt x="3455" y="2538"/>
                </a:lnTo>
                <a:lnTo>
                  <a:pt x="3455" y="2538"/>
                </a:lnTo>
                <a:lnTo>
                  <a:pt x="3455" y="2538"/>
                </a:lnTo>
                <a:lnTo>
                  <a:pt x="3455" y="2538"/>
                </a:lnTo>
                <a:lnTo>
                  <a:pt x="3455" y="2538"/>
                </a:lnTo>
                <a:lnTo>
                  <a:pt x="3455" y="2533"/>
                </a:lnTo>
                <a:lnTo>
                  <a:pt x="3449" y="2533"/>
                </a:lnTo>
                <a:lnTo>
                  <a:pt x="3449" y="2533"/>
                </a:lnTo>
                <a:lnTo>
                  <a:pt x="3449" y="2533"/>
                </a:lnTo>
                <a:lnTo>
                  <a:pt x="3449" y="2533"/>
                </a:lnTo>
                <a:lnTo>
                  <a:pt x="3449" y="2533"/>
                </a:lnTo>
                <a:lnTo>
                  <a:pt x="3449" y="2533"/>
                </a:lnTo>
                <a:lnTo>
                  <a:pt x="3449" y="2533"/>
                </a:lnTo>
                <a:lnTo>
                  <a:pt x="3449" y="2538"/>
                </a:lnTo>
                <a:lnTo>
                  <a:pt x="3449" y="2538"/>
                </a:lnTo>
                <a:lnTo>
                  <a:pt x="3449" y="2538"/>
                </a:lnTo>
                <a:lnTo>
                  <a:pt x="3449" y="2538"/>
                </a:lnTo>
                <a:lnTo>
                  <a:pt x="3455" y="2538"/>
                </a:lnTo>
                <a:lnTo>
                  <a:pt x="3455" y="2538"/>
                </a:lnTo>
                <a:lnTo>
                  <a:pt x="3455" y="2538"/>
                </a:lnTo>
                <a:lnTo>
                  <a:pt x="3455" y="2538"/>
                </a:lnTo>
                <a:close/>
                <a:moveTo>
                  <a:pt x="3544" y="2538"/>
                </a:moveTo>
                <a:lnTo>
                  <a:pt x="3544" y="2538"/>
                </a:lnTo>
                <a:lnTo>
                  <a:pt x="3544" y="2538"/>
                </a:lnTo>
                <a:lnTo>
                  <a:pt x="3544" y="2538"/>
                </a:lnTo>
                <a:lnTo>
                  <a:pt x="3544" y="2538"/>
                </a:lnTo>
                <a:lnTo>
                  <a:pt x="3544" y="2533"/>
                </a:lnTo>
                <a:lnTo>
                  <a:pt x="3544" y="2533"/>
                </a:lnTo>
                <a:lnTo>
                  <a:pt x="3544" y="2533"/>
                </a:lnTo>
                <a:lnTo>
                  <a:pt x="3544" y="2533"/>
                </a:lnTo>
                <a:lnTo>
                  <a:pt x="3544" y="2533"/>
                </a:lnTo>
                <a:lnTo>
                  <a:pt x="3544" y="2538"/>
                </a:lnTo>
                <a:lnTo>
                  <a:pt x="3538" y="2538"/>
                </a:lnTo>
                <a:lnTo>
                  <a:pt x="3538" y="2538"/>
                </a:lnTo>
                <a:lnTo>
                  <a:pt x="3538" y="2538"/>
                </a:lnTo>
                <a:lnTo>
                  <a:pt x="3544" y="2538"/>
                </a:lnTo>
                <a:close/>
                <a:moveTo>
                  <a:pt x="3550" y="2533"/>
                </a:moveTo>
                <a:lnTo>
                  <a:pt x="3555" y="2533"/>
                </a:lnTo>
                <a:lnTo>
                  <a:pt x="3555" y="2527"/>
                </a:lnTo>
                <a:lnTo>
                  <a:pt x="3555" y="2527"/>
                </a:lnTo>
                <a:lnTo>
                  <a:pt x="3555" y="2527"/>
                </a:lnTo>
                <a:lnTo>
                  <a:pt x="3555" y="2527"/>
                </a:lnTo>
                <a:lnTo>
                  <a:pt x="3555" y="2527"/>
                </a:lnTo>
                <a:lnTo>
                  <a:pt x="3550" y="2533"/>
                </a:lnTo>
                <a:lnTo>
                  <a:pt x="3550" y="2533"/>
                </a:lnTo>
                <a:lnTo>
                  <a:pt x="3550" y="2533"/>
                </a:lnTo>
                <a:close/>
                <a:moveTo>
                  <a:pt x="3289" y="2527"/>
                </a:moveTo>
                <a:lnTo>
                  <a:pt x="3289" y="2527"/>
                </a:lnTo>
                <a:lnTo>
                  <a:pt x="3289" y="2527"/>
                </a:lnTo>
                <a:lnTo>
                  <a:pt x="3283" y="2527"/>
                </a:lnTo>
                <a:lnTo>
                  <a:pt x="3283" y="2527"/>
                </a:lnTo>
                <a:lnTo>
                  <a:pt x="3283" y="2527"/>
                </a:lnTo>
                <a:lnTo>
                  <a:pt x="3283" y="2527"/>
                </a:lnTo>
                <a:lnTo>
                  <a:pt x="3277" y="2521"/>
                </a:lnTo>
                <a:lnTo>
                  <a:pt x="3277" y="2521"/>
                </a:lnTo>
                <a:lnTo>
                  <a:pt x="3277" y="2521"/>
                </a:lnTo>
                <a:lnTo>
                  <a:pt x="3277" y="2521"/>
                </a:lnTo>
                <a:lnTo>
                  <a:pt x="3271" y="2521"/>
                </a:lnTo>
                <a:lnTo>
                  <a:pt x="3271" y="2521"/>
                </a:lnTo>
                <a:lnTo>
                  <a:pt x="3265" y="2521"/>
                </a:lnTo>
                <a:lnTo>
                  <a:pt x="3265" y="2521"/>
                </a:lnTo>
                <a:lnTo>
                  <a:pt x="3265" y="2521"/>
                </a:lnTo>
                <a:lnTo>
                  <a:pt x="3265" y="2521"/>
                </a:lnTo>
                <a:lnTo>
                  <a:pt x="3265" y="2521"/>
                </a:lnTo>
                <a:lnTo>
                  <a:pt x="3265" y="2521"/>
                </a:lnTo>
                <a:lnTo>
                  <a:pt x="3265" y="2521"/>
                </a:lnTo>
                <a:lnTo>
                  <a:pt x="3259" y="2521"/>
                </a:lnTo>
                <a:lnTo>
                  <a:pt x="3259" y="2521"/>
                </a:lnTo>
                <a:lnTo>
                  <a:pt x="3259" y="2527"/>
                </a:lnTo>
                <a:lnTo>
                  <a:pt x="3259" y="2527"/>
                </a:lnTo>
                <a:lnTo>
                  <a:pt x="3259" y="2527"/>
                </a:lnTo>
                <a:lnTo>
                  <a:pt x="3259" y="2527"/>
                </a:lnTo>
                <a:lnTo>
                  <a:pt x="3271" y="2533"/>
                </a:lnTo>
                <a:lnTo>
                  <a:pt x="3271" y="2533"/>
                </a:lnTo>
                <a:lnTo>
                  <a:pt x="3271" y="2533"/>
                </a:lnTo>
                <a:lnTo>
                  <a:pt x="3277" y="2538"/>
                </a:lnTo>
                <a:lnTo>
                  <a:pt x="3277" y="2538"/>
                </a:lnTo>
                <a:lnTo>
                  <a:pt x="3283" y="2538"/>
                </a:lnTo>
                <a:lnTo>
                  <a:pt x="3283" y="2538"/>
                </a:lnTo>
                <a:lnTo>
                  <a:pt x="3283" y="2538"/>
                </a:lnTo>
                <a:lnTo>
                  <a:pt x="3283" y="2533"/>
                </a:lnTo>
                <a:lnTo>
                  <a:pt x="3283" y="2533"/>
                </a:lnTo>
                <a:lnTo>
                  <a:pt x="3283" y="2533"/>
                </a:lnTo>
                <a:lnTo>
                  <a:pt x="3289" y="2527"/>
                </a:lnTo>
                <a:lnTo>
                  <a:pt x="3289" y="2527"/>
                </a:lnTo>
                <a:lnTo>
                  <a:pt x="3289" y="2527"/>
                </a:lnTo>
                <a:lnTo>
                  <a:pt x="3289" y="2527"/>
                </a:lnTo>
                <a:lnTo>
                  <a:pt x="3289" y="2527"/>
                </a:lnTo>
                <a:close/>
                <a:moveTo>
                  <a:pt x="3538" y="2485"/>
                </a:moveTo>
                <a:lnTo>
                  <a:pt x="3538" y="2485"/>
                </a:lnTo>
                <a:lnTo>
                  <a:pt x="3538" y="2485"/>
                </a:lnTo>
                <a:lnTo>
                  <a:pt x="3532" y="2485"/>
                </a:lnTo>
                <a:lnTo>
                  <a:pt x="3532" y="2485"/>
                </a:lnTo>
                <a:lnTo>
                  <a:pt x="3532" y="2485"/>
                </a:lnTo>
                <a:lnTo>
                  <a:pt x="3532" y="2485"/>
                </a:lnTo>
                <a:lnTo>
                  <a:pt x="3532" y="2485"/>
                </a:lnTo>
                <a:lnTo>
                  <a:pt x="3532" y="2485"/>
                </a:lnTo>
                <a:lnTo>
                  <a:pt x="3532" y="2485"/>
                </a:lnTo>
                <a:lnTo>
                  <a:pt x="3532" y="2485"/>
                </a:lnTo>
                <a:lnTo>
                  <a:pt x="3532" y="2485"/>
                </a:lnTo>
                <a:lnTo>
                  <a:pt x="3538" y="2485"/>
                </a:lnTo>
                <a:lnTo>
                  <a:pt x="3538" y="2485"/>
                </a:lnTo>
                <a:lnTo>
                  <a:pt x="3538" y="2485"/>
                </a:lnTo>
                <a:lnTo>
                  <a:pt x="3538" y="2485"/>
                </a:lnTo>
                <a:lnTo>
                  <a:pt x="3538" y="2485"/>
                </a:lnTo>
                <a:close/>
                <a:moveTo>
                  <a:pt x="3526" y="2485"/>
                </a:moveTo>
                <a:lnTo>
                  <a:pt x="3532" y="2485"/>
                </a:lnTo>
                <a:lnTo>
                  <a:pt x="3532" y="2485"/>
                </a:lnTo>
                <a:lnTo>
                  <a:pt x="3532" y="2485"/>
                </a:lnTo>
                <a:lnTo>
                  <a:pt x="3532" y="2479"/>
                </a:lnTo>
                <a:lnTo>
                  <a:pt x="3532" y="2479"/>
                </a:lnTo>
                <a:lnTo>
                  <a:pt x="3532" y="2479"/>
                </a:lnTo>
                <a:lnTo>
                  <a:pt x="3532" y="2479"/>
                </a:lnTo>
                <a:lnTo>
                  <a:pt x="3532" y="2485"/>
                </a:lnTo>
                <a:lnTo>
                  <a:pt x="3526" y="2485"/>
                </a:lnTo>
                <a:lnTo>
                  <a:pt x="3526" y="2485"/>
                </a:lnTo>
                <a:lnTo>
                  <a:pt x="3526" y="2485"/>
                </a:lnTo>
                <a:lnTo>
                  <a:pt x="3526" y="2485"/>
                </a:lnTo>
                <a:lnTo>
                  <a:pt x="3526" y="2485"/>
                </a:lnTo>
                <a:lnTo>
                  <a:pt x="3526" y="2485"/>
                </a:lnTo>
                <a:lnTo>
                  <a:pt x="3526" y="2485"/>
                </a:lnTo>
                <a:lnTo>
                  <a:pt x="3526" y="2485"/>
                </a:lnTo>
                <a:close/>
                <a:moveTo>
                  <a:pt x="3514" y="2461"/>
                </a:moveTo>
                <a:lnTo>
                  <a:pt x="3514" y="2461"/>
                </a:lnTo>
                <a:lnTo>
                  <a:pt x="3514" y="2461"/>
                </a:lnTo>
                <a:lnTo>
                  <a:pt x="3514" y="2461"/>
                </a:lnTo>
                <a:lnTo>
                  <a:pt x="3514" y="2461"/>
                </a:lnTo>
                <a:lnTo>
                  <a:pt x="3514" y="2461"/>
                </a:lnTo>
                <a:lnTo>
                  <a:pt x="3514" y="2461"/>
                </a:lnTo>
                <a:close/>
                <a:moveTo>
                  <a:pt x="3538" y="2473"/>
                </a:moveTo>
                <a:lnTo>
                  <a:pt x="3538" y="2473"/>
                </a:lnTo>
                <a:lnTo>
                  <a:pt x="3538" y="2473"/>
                </a:lnTo>
                <a:lnTo>
                  <a:pt x="3538" y="2473"/>
                </a:lnTo>
                <a:lnTo>
                  <a:pt x="3538" y="2473"/>
                </a:lnTo>
                <a:lnTo>
                  <a:pt x="3538" y="2473"/>
                </a:lnTo>
                <a:lnTo>
                  <a:pt x="3538" y="2473"/>
                </a:lnTo>
                <a:lnTo>
                  <a:pt x="3538" y="2467"/>
                </a:lnTo>
                <a:lnTo>
                  <a:pt x="3538" y="2467"/>
                </a:lnTo>
                <a:lnTo>
                  <a:pt x="3538" y="2467"/>
                </a:lnTo>
                <a:lnTo>
                  <a:pt x="3538" y="2473"/>
                </a:lnTo>
                <a:lnTo>
                  <a:pt x="3538" y="2473"/>
                </a:lnTo>
                <a:lnTo>
                  <a:pt x="3538" y="2473"/>
                </a:lnTo>
                <a:lnTo>
                  <a:pt x="3538" y="2473"/>
                </a:lnTo>
                <a:lnTo>
                  <a:pt x="3538" y="2473"/>
                </a:lnTo>
                <a:lnTo>
                  <a:pt x="3538" y="2473"/>
                </a:lnTo>
                <a:lnTo>
                  <a:pt x="3538" y="2473"/>
                </a:lnTo>
                <a:lnTo>
                  <a:pt x="3538" y="2473"/>
                </a:lnTo>
                <a:lnTo>
                  <a:pt x="3538" y="2467"/>
                </a:lnTo>
                <a:lnTo>
                  <a:pt x="3538" y="2467"/>
                </a:lnTo>
                <a:lnTo>
                  <a:pt x="3538" y="2467"/>
                </a:lnTo>
                <a:lnTo>
                  <a:pt x="3532" y="2467"/>
                </a:lnTo>
                <a:lnTo>
                  <a:pt x="3538" y="2467"/>
                </a:lnTo>
                <a:lnTo>
                  <a:pt x="3538" y="2461"/>
                </a:lnTo>
                <a:lnTo>
                  <a:pt x="3538" y="2461"/>
                </a:lnTo>
                <a:lnTo>
                  <a:pt x="3538" y="2461"/>
                </a:lnTo>
                <a:lnTo>
                  <a:pt x="3538" y="2461"/>
                </a:lnTo>
                <a:lnTo>
                  <a:pt x="3544" y="2461"/>
                </a:lnTo>
                <a:lnTo>
                  <a:pt x="3544" y="2461"/>
                </a:lnTo>
                <a:lnTo>
                  <a:pt x="3544" y="2461"/>
                </a:lnTo>
                <a:lnTo>
                  <a:pt x="3538" y="2461"/>
                </a:lnTo>
                <a:lnTo>
                  <a:pt x="3538" y="2461"/>
                </a:lnTo>
                <a:lnTo>
                  <a:pt x="3538" y="2461"/>
                </a:lnTo>
                <a:lnTo>
                  <a:pt x="3538" y="2461"/>
                </a:lnTo>
                <a:lnTo>
                  <a:pt x="3532" y="2467"/>
                </a:lnTo>
                <a:lnTo>
                  <a:pt x="3532" y="2467"/>
                </a:lnTo>
                <a:lnTo>
                  <a:pt x="3532" y="2467"/>
                </a:lnTo>
                <a:lnTo>
                  <a:pt x="3532" y="2467"/>
                </a:lnTo>
                <a:lnTo>
                  <a:pt x="3532" y="2467"/>
                </a:lnTo>
                <a:lnTo>
                  <a:pt x="3532" y="2467"/>
                </a:lnTo>
                <a:lnTo>
                  <a:pt x="3532" y="2467"/>
                </a:lnTo>
                <a:lnTo>
                  <a:pt x="3532" y="2467"/>
                </a:lnTo>
                <a:lnTo>
                  <a:pt x="3532" y="2467"/>
                </a:lnTo>
                <a:lnTo>
                  <a:pt x="3526" y="2467"/>
                </a:lnTo>
                <a:lnTo>
                  <a:pt x="3526" y="2467"/>
                </a:lnTo>
                <a:lnTo>
                  <a:pt x="3526" y="2467"/>
                </a:lnTo>
                <a:lnTo>
                  <a:pt x="3526" y="2467"/>
                </a:lnTo>
                <a:lnTo>
                  <a:pt x="3526" y="2473"/>
                </a:lnTo>
                <a:lnTo>
                  <a:pt x="3526" y="2473"/>
                </a:lnTo>
                <a:lnTo>
                  <a:pt x="3526" y="2473"/>
                </a:lnTo>
                <a:lnTo>
                  <a:pt x="3526" y="2473"/>
                </a:lnTo>
                <a:lnTo>
                  <a:pt x="3526" y="2473"/>
                </a:lnTo>
                <a:lnTo>
                  <a:pt x="3526" y="2473"/>
                </a:lnTo>
                <a:lnTo>
                  <a:pt x="3526" y="2473"/>
                </a:lnTo>
                <a:lnTo>
                  <a:pt x="3526" y="2473"/>
                </a:lnTo>
                <a:lnTo>
                  <a:pt x="3526" y="2473"/>
                </a:lnTo>
                <a:lnTo>
                  <a:pt x="3526" y="2473"/>
                </a:lnTo>
                <a:lnTo>
                  <a:pt x="3532" y="2473"/>
                </a:lnTo>
                <a:lnTo>
                  <a:pt x="3532" y="2473"/>
                </a:lnTo>
                <a:lnTo>
                  <a:pt x="3532" y="2473"/>
                </a:lnTo>
                <a:lnTo>
                  <a:pt x="3532" y="2473"/>
                </a:lnTo>
                <a:lnTo>
                  <a:pt x="3532" y="2473"/>
                </a:lnTo>
                <a:lnTo>
                  <a:pt x="3532" y="2473"/>
                </a:lnTo>
                <a:lnTo>
                  <a:pt x="3532" y="2473"/>
                </a:lnTo>
                <a:lnTo>
                  <a:pt x="3532" y="2473"/>
                </a:lnTo>
                <a:lnTo>
                  <a:pt x="3532" y="2473"/>
                </a:lnTo>
                <a:lnTo>
                  <a:pt x="3532" y="2473"/>
                </a:lnTo>
                <a:lnTo>
                  <a:pt x="3532" y="2473"/>
                </a:lnTo>
                <a:lnTo>
                  <a:pt x="3532" y="2473"/>
                </a:lnTo>
                <a:lnTo>
                  <a:pt x="3532" y="2467"/>
                </a:lnTo>
                <a:lnTo>
                  <a:pt x="3532" y="2467"/>
                </a:lnTo>
                <a:lnTo>
                  <a:pt x="3532" y="2467"/>
                </a:lnTo>
                <a:lnTo>
                  <a:pt x="3532" y="2473"/>
                </a:lnTo>
                <a:lnTo>
                  <a:pt x="3532" y="2473"/>
                </a:lnTo>
                <a:lnTo>
                  <a:pt x="3532" y="2473"/>
                </a:lnTo>
                <a:lnTo>
                  <a:pt x="3532" y="2473"/>
                </a:lnTo>
                <a:lnTo>
                  <a:pt x="3532" y="2473"/>
                </a:lnTo>
                <a:lnTo>
                  <a:pt x="3538" y="2473"/>
                </a:lnTo>
                <a:lnTo>
                  <a:pt x="3538" y="2473"/>
                </a:lnTo>
                <a:close/>
                <a:moveTo>
                  <a:pt x="3526" y="2497"/>
                </a:moveTo>
                <a:lnTo>
                  <a:pt x="3526" y="2503"/>
                </a:lnTo>
                <a:lnTo>
                  <a:pt x="3532" y="2503"/>
                </a:lnTo>
                <a:lnTo>
                  <a:pt x="3532" y="2503"/>
                </a:lnTo>
                <a:lnTo>
                  <a:pt x="3532" y="2503"/>
                </a:lnTo>
                <a:lnTo>
                  <a:pt x="3532" y="2503"/>
                </a:lnTo>
                <a:lnTo>
                  <a:pt x="3532" y="2497"/>
                </a:lnTo>
                <a:lnTo>
                  <a:pt x="3532" y="2503"/>
                </a:lnTo>
                <a:lnTo>
                  <a:pt x="3532" y="2503"/>
                </a:lnTo>
                <a:lnTo>
                  <a:pt x="3526" y="2503"/>
                </a:lnTo>
                <a:lnTo>
                  <a:pt x="3526" y="2497"/>
                </a:lnTo>
                <a:lnTo>
                  <a:pt x="3526" y="2497"/>
                </a:lnTo>
                <a:close/>
                <a:moveTo>
                  <a:pt x="3514" y="2503"/>
                </a:moveTo>
                <a:lnTo>
                  <a:pt x="3514" y="2503"/>
                </a:lnTo>
                <a:lnTo>
                  <a:pt x="3514" y="2503"/>
                </a:lnTo>
                <a:lnTo>
                  <a:pt x="3514" y="2503"/>
                </a:lnTo>
                <a:lnTo>
                  <a:pt x="3514" y="2503"/>
                </a:lnTo>
                <a:lnTo>
                  <a:pt x="3514" y="2503"/>
                </a:lnTo>
                <a:lnTo>
                  <a:pt x="3514" y="2503"/>
                </a:lnTo>
                <a:lnTo>
                  <a:pt x="3514" y="2503"/>
                </a:lnTo>
                <a:lnTo>
                  <a:pt x="3514" y="2503"/>
                </a:lnTo>
                <a:lnTo>
                  <a:pt x="3514" y="2503"/>
                </a:lnTo>
                <a:lnTo>
                  <a:pt x="3508" y="2503"/>
                </a:lnTo>
                <a:lnTo>
                  <a:pt x="3508" y="2503"/>
                </a:lnTo>
                <a:lnTo>
                  <a:pt x="3508" y="2503"/>
                </a:lnTo>
                <a:lnTo>
                  <a:pt x="3508" y="2503"/>
                </a:lnTo>
                <a:lnTo>
                  <a:pt x="3508" y="2509"/>
                </a:lnTo>
                <a:lnTo>
                  <a:pt x="3508" y="2509"/>
                </a:lnTo>
                <a:lnTo>
                  <a:pt x="3514" y="2509"/>
                </a:lnTo>
                <a:lnTo>
                  <a:pt x="3514" y="2503"/>
                </a:lnTo>
                <a:lnTo>
                  <a:pt x="3514" y="2503"/>
                </a:lnTo>
                <a:lnTo>
                  <a:pt x="3514" y="2503"/>
                </a:lnTo>
                <a:lnTo>
                  <a:pt x="3514" y="2503"/>
                </a:lnTo>
                <a:lnTo>
                  <a:pt x="3514" y="2503"/>
                </a:lnTo>
                <a:lnTo>
                  <a:pt x="3514" y="2509"/>
                </a:lnTo>
                <a:lnTo>
                  <a:pt x="3514" y="2509"/>
                </a:lnTo>
                <a:lnTo>
                  <a:pt x="3514" y="2509"/>
                </a:lnTo>
                <a:lnTo>
                  <a:pt x="3514" y="2509"/>
                </a:lnTo>
                <a:lnTo>
                  <a:pt x="3514" y="2509"/>
                </a:lnTo>
                <a:lnTo>
                  <a:pt x="3514" y="2509"/>
                </a:lnTo>
                <a:lnTo>
                  <a:pt x="3514" y="2503"/>
                </a:lnTo>
                <a:close/>
                <a:moveTo>
                  <a:pt x="3573" y="2479"/>
                </a:moveTo>
                <a:lnTo>
                  <a:pt x="3573" y="2473"/>
                </a:lnTo>
                <a:lnTo>
                  <a:pt x="3573" y="2473"/>
                </a:lnTo>
                <a:lnTo>
                  <a:pt x="3573" y="2473"/>
                </a:lnTo>
                <a:lnTo>
                  <a:pt x="3573" y="2473"/>
                </a:lnTo>
                <a:lnTo>
                  <a:pt x="3573" y="2473"/>
                </a:lnTo>
                <a:lnTo>
                  <a:pt x="3573" y="2473"/>
                </a:lnTo>
                <a:lnTo>
                  <a:pt x="3573" y="2473"/>
                </a:lnTo>
                <a:lnTo>
                  <a:pt x="3573" y="2479"/>
                </a:lnTo>
                <a:lnTo>
                  <a:pt x="3573" y="2479"/>
                </a:lnTo>
                <a:lnTo>
                  <a:pt x="3573" y="2479"/>
                </a:lnTo>
                <a:lnTo>
                  <a:pt x="3573" y="2479"/>
                </a:lnTo>
                <a:lnTo>
                  <a:pt x="3573" y="2485"/>
                </a:lnTo>
                <a:lnTo>
                  <a:pt x="3579" y="2485"/>
                </a:lnTo>
                <a:lnTo>
                  <a:pt x="3579" y="2485"/>
                </a:lnTo>
                <a:lnTo>
                  <a:pt x="3579" y="2485"/>
                </a:lnTo>
                <a:lnTo>
                  <a:pt x="3579" y="2491"/>
                </a:lnTo>
                <a:lnTo>
                  <a:pt x="3579" y="2497"/>
                </a:lnTo>
                <a:lnTo>
                  <a:pt x="3573" y="2497"/>
                </a:lnTo>
                <a:lnTo>
                  <a:pt x="3573" y="2497"/>
                </a:lnTo>
                <a:lnTo>
                  <a:pt x="3573" y="2503"/>
                </a:lnTo>
                <a:lnTo>
                  <a:pt x="3573" y="2503"/>
                </a:lnTo>
                <a:lnTo>
                  <a:pt x="3573" y="2503"/>
                </a:lnTo>
                <a:lnTo>
                  <a:pt x="3573" y="2503"/>
                </a:lnTo>
                <a:lnTo>
                  <a:pt x="3573" y="2503"/>
                </a:lnTo>
                <a:lnTo>
                  <a:pt x="3573" y="2503"/>
                </a:lnTo>
                <a:lnTo>
                  <a:pt x="3573" y="2503"/>
                </a:lnTo>
                <a:lnTo>
                  <a:pt x="3579" y="2497"/>
                </a:lnTo>
                <a:lnTo>
                  <a:pt x="3579" y="2485"/>
                </a:lnTo>
                <a:lnTo>
                  <a:pt x="3579" y="2479"/>
                </a:lnTo>
                <a:lnTo>
                  <a:pt x="3573" y="2479"/>
                </a:lnTo>
                <a:close/>
                <a:moveTo>
                  <a:pt x="4314" y="2384"/>
                </a:moveTo>
                <a:lnTo>
                  <a:pt x="4314" y="2378"/>
                </a:lnTo>
                <a:lnTo>
                  <a:pt x="4314" y="2378"/>
                </a:lnTo>
                <a:lnTo>
                  <a:pt x="4314" y="2372"/>
                </a:lnTo>
                <a:lnTo>
                  <a:pt x="4314" y="2372"/>
                </a:lnTo>
                <a:lnTo>
                  <a:pt x="4314" y="2366"/>
                </a:lnTo>
                <a:lnTo>
                  <a:pt x="4314" y="2366"/>
                </a:lnTo>
                <a:lnTo>
                  <a:pt x="4314" y="2366"/>
                </a:lnTo>
                <a:lnTo>
                  <a:pt x="4314" y="2372"/>
                </a:lnTo>
                <a:lnTo>
                  <a:pt x="4308" y="2372"/>
                </a:lnTo>
                <a:lnTo>
                  <a:pt x="4308" y="2372"/>
                </a:lnTo>
                <a:lnTo>
                  <a:pt x="4308" y="2378"/>
                </a:lnTo>
                <a:lnTo>
                  <a:pt x="4308" y="2378"/>
                </a:lnTo>
                <a:lnTo>
                  <a:pt x="4308" y="2378"/>
                </a:lnTo>
                <a:lnTo>
                  <a:pt x="4308" y="2378"/>
                </a:lnTo>
                <a:lnTo>
                  <a:pt x="4308" y="2378"/>
                </a:lnTo>
                <a:lnTo>
                  <a:pt x="4308" y="2384"/>
                </a:lnTo>
                <a:lnTo>
                  <a:pt x="4308" y="2384"/>
                </a:lnTo>
                <a:lnTo>
                  <a:pt x="4308" y="2396"/>
                </a:lnTo>
                <a:lnTo>
                  <a:pt x="4308" y="2396"/>
                </a:lnTo>
                <a:lnTo>
                  <a:pt x="4308" y="2396"/>
                </a:lnTo>
                <a:lnTo>
                  <a:pt x="4308" y="2390"/>
                </a:lnTo>
                <a:lnTo>
                  <a:pt x="4308" y="2390"/>
                </a:lnTo>
                <a:lnTo>
                  <a:pt x="4308" y="2390"/>
                </a:lnTo>
                <a:lnTo>
                  <a:pt x="4308" y="2384"/>
                </a:lnTo>
                <a:lnTo>
                  <a:pt x="4314" y="2384"/>
                </a:lnTo>
                <a:close/>
                <a:moveTo>
                  <a:pt x="4338" y="2301"/>
                </a:moveTo>
                <a:lnTo>
                  <a:pt x="4332" y="2301"/>
                </a:lnTo>
                <a:lnTo>
                  <a:pt x="4332" y="2301"/>
                </a:lnTo>
                <a:lnTo>
                  <a:pt x="4332" y="2301"/>
                </a:lnTo>
                <a:lnTo>
                  <a:pt x="4332" y="2307"/>
                </a:lnTo>
                <a:lnTo>
                  <a:pt x="4332" y="2307"/>
                </a:lnTo>
                <a:lnTo>
                  <a:pt x="4332" y="2307"/>
                </a:lnTo>
                <a:lnTo>
                  <a:pt x="4326" y="2307"/>
                </a:lnTo>
                <a:lnTo>
                  <a:pt x="4326" y="2313"/>
                </a:lnTo>
                <a:lnTo>
                  <a:pt x="4326" y="2313"/>
                </a:lnTo>
                <a:lnTo>
                  <a:pt x="4326" y="2313"/>
                </a:lnTo>
                <a:lnTo>
                  <a:pt x="4326" y="2319"/>
                </a:lnTo>
                <a:lnTo>
                  <a:pt x="4326" y="2319"/>
                </a:lnTo>
                <a:lnTo>
                  <a:pt x="4332" y="2319"/>
                </a:lnTo>
                <a:lnTo>
                  <a:pt x="4332" y="2313"/>
                </a:lnTo>
                <a:lnTo>
                  <a:pt x="4332" y="2313"/>
                </a:lnTo>
                <a:lnTo>
                  <a:pt x="4332" y="2313"/>
                </a:lnTo>
                <a:lnTo>
                  <a:pt x="4332" y="2307"/>
                </a:lnTo>
                <a:lnTo>
                  <a:pt x="4338" y="2307"/>
                </a:lnTo>
                <a:lnTo>
                  <a:pt x="4338" y="2301"/>
                </a:lnTo>
                <a:lnTo>
                  <a:pt x="4338" y="2301"/>
                </a:lnTo>
                <a:lnTo>
                  <a:pt x="4338" y="2301"/>
                </a:lnTo>
                <a:lnTo>
                  <a:pt x="4338" y="2301"/>
                </a:lnTo>
                <a:lnTo>
                  <a:pt x="4338" y="2301"/>
                </a:lnTo>
                <a:close/>
                <a:moveTo>
                  <a:pt x="4338" y="2295"/>
                </a:moveTo>
                <a:lnTo>
                  <a:pt x="4338" y="2295"/>
                </a:lnTo>
                <a:lnTo>
                  <a:pt x="4344" y="2295"/>
                </a:lnTo>
                <a:lnTo>
                  <a:pt x="4344" y="2289"/>
                </a:lnTo>
                <a:lnTo>
                  <a:pt x="4344" y="2289"/>
                </a:lnTo>
                <a:lnTo>
                  <a:pt x="4344" y="2289"/>
                </a:lnTo>
                <a:lnTo>
                  <a:pt x="4344" y="2283"/>
                </a:lnTo>
                <a:lnTo>
                  <a:pt x="4344" y="2283"/>
                </a:lnTo>
                <a:lnTo>
                  <a:pt x="4344" y="2283"/>
                </a:lnTo>
                <a:lnTo>
                  <a:pt x="4344" y="2283"/>
                </a:lnTo>
                <a:lnTo>
                  <a:pt x="4344" y="2283"/>
                </a:lnTo>
                <a:lnTo>
                  <a:pt x="4344" y="2283"/>
                </a:lnTo>
                <a:lnTo>
                  <a:pt x="4344" y="2283"/>
                </a:lnTo>
                <a:lnTo>
                  <a:pt x="4338" y="2283"/>
                </a:lnTo>
                <a:lnTo>
                  <a:pt x="4338" y="2283"/>
                </a:lnTo>
                <a:lnTo>
                  <a:pt x="4338" y="2289"/>
                </a:lnTo>
                <a:lnTo>
                  <a:pt x="4338" y="2289"/>
                </a:lnTo>
                <a:lnTo>
                  <a:pt x="4338" y="2289"/>
                </a:lnTo>
                <a:lnTo>
                  <a:pt x="4338" y="2295"/>
                </a:lnTo>
                <a:lnTo>
                  <a:pt x="4338" y="2295"/>
                </a:lnTo>
                <a:lnTo>
                  <a:pt x="4338" y="2295"/>
                </a:lnTo>
                <a:lnTo>
                  <a:pt x="4338" y="2295"/>
                </a:lnTo>
                <a:lnTo>
                  <a:pt x="4338" y="2295"/>
                </a:lnTo>
                <a:lnTo>
                  <a:pt x="4338" y="2295"/>
                </a:lnTo>
                <a:lnTo>
                  <a:pt x="4338" y="2295"/>
                </a:lnTo>
                <a:close/>
                <a:moveTo>
                  <a:pt x="4243" y="3090"/>
                </a:moveTo>
                <a:lnTo>
                  <a:pt x="4243" y="3090"/>
                </a:lnTo>
                <a:lnTo>
                  <a:pt x="4243" y="3090"/>
                </a:lnTo>
                <a:lnTo>
                  <a:pt x="4243" y="3090"/>
                </a:lnTo>
                <a:lnTo>
                  <a:pt x="4243" y="3090"/>
                </a:lnTo>
                <a:lnTo>
                  <a:pt x="4243" y="3090"/>
                </a:lnTo>
                <a:lnTo>
                  <a:pt x="4243" y="3090"/>
                </a:lnTo>
                <a:close/>
                <a:moveTo>
                  <a:pt x="4332" y="3078"/>
                </a:moveTo>
                <a:lnTo>
                  <a:pt x="4332" y="3078"/>
                </a:lnTo>
                <a:lnTo>
                  <a:pt x="4326" y="3078"/>
                </a:lnTo>
                <a:lnTo>
                  <a:pt x="4326" y="3078"/>
                </a:lnTo>
                <a:lnTo>
                  <a:pt x="4332" y="3078"/>
                </a:lnTo>
                <a:lnTo>
                  <a:pt x="4332" y="3078"/>
                </a:lnTo>
                <a:lnTo>
                  <a:pt x="4332" y="3078"/>
                </a:lnTo>
                <a:lnTo>
                  <a:pt x="4332" y="3078"/>
                </a:lnTo>
                <a:lnTo>
                  <a:pt x="4332" y="3078"/>
                </a:lnTo>
                <a:close/>
                <a:moveTo>
                  <a:pt x="4314" y="3078"/>
                </a:moveTo>
                <a:lnTo>
                  <a:pt x="4314" y="3078"/>
                </a:lnTo>
                <a:lnTo>
                  <a:pt x="4314" y="3078"/>
                </a:lnTo>
                <a:lnTo>
                  <a:pt x="4314" y="3078"/>
                </a:lnTo>
                <a:lnTo>
                  <a:pt x="4314" y="3078"/>
                </a:lnTo>
                <a:lnTo>
                  <a:pt x="4314" y="3078"/>
                </a:lnTo>
                <a:close/>
                <a:moveTo>
                  <a:pt x="4314" y="3078"/>
                </a:moveTo>
                <a:lnTo>
                  <a:pt x="4314" y="3078"/>
                </a:lnTo>
                <a:lnTo>
                  <a:pt x="4308" y="3078"/>
                </a:lnTo>
                <a:lnTo>
                  <a:pt x="4308" y="3078"/>
                </a:lnTo>
                <a:lnTo>
                  <a:pt x="4308" y="3078"/>
                </a:lnTo>
                <a:lnTo>
                  <a:pt x="4308" y="3078"/>
                </a:lnTo>
                <a:lnTo>
                  <a:pt x="4308" y="3078"/>
                </a:lnTo>
                <a:lnTo>
                  <a:pt x="4308" y="3078"/>
                </a:lnTo>
                <a:lnTo>
                  <a:pt x="4308" y="3078"/>
                </a:lnTo>
                <a:lnTo>
                  <a:pt x="4308" y="3078"/>
                </a:lnTo>
                <a:lnTo>
                  <a:pt x="4308" y="3078"/>
                </a:lnTo>
                <a:lnTo>
                  <a:pt x="4308" y="3078"/>
                </a:lnTo>
                <a:lnTo>
                  <a:pt x="4308" y="3078"/>
                </a:lnTo>
                <a:lnTo>
                  <a:pt x="4314" y="3078"/>
                </a:lnTo>
                <a:lnTo>
                  <a:pt x="4314" y="3078"/>
                </a:lnTo>
                <a:lnTo>
                  <a:pt x="4314" y="3078"/>
                </a:lnTo>
                <a:lnTo>
                  <a:pt x="4314" y="3078"/>
                </a:lnTo>
                <a:lnTo>
                  <a:pt x="4314" y="3078"/>
                </a:lnTo>
                <a:close/>
                <a:moveTo>
                  <a:pt x="4344" y="3072"/>
                </a:moveTo>
                <a:lnTo>
                  <a:pt x="4344" y="3072"/>
                </a:lnTo>
                <a:lnTo>
                  <a:pt x="4344" y="3072"/>
                </a:lnTo>
                <a:lnTo>
                  <a:pt x="4344" y="3072"/>
                </a:lnTo>
                <a:lnTo>
                  <a:pt x="4344" y="3072"/>
                </a:lnTo>
                <a:lnTo>
                  <a:pt x="4350" y="3072"/>
                </a:lnTo>
                <a:lnTo>
                  <a:pt x="4350" y="3072"/>
                </a:lnTo>
                <a:lnTo>
                  <a:pt x="4350" y="3072"/>
                </a:lnTo>
                <a:lnTo>
                  <a:pt x="4350" y="3072"/>
                </a:lnTo>
                <a:lnTo>
                  <a:pt x="4350" y="3072"/>
                </a:lnTo>
                <a:lnTo>
                  <a:pt x="4350" y="3072"/>
                </a:lnTo>
                <a:lnTo>
                  <a:pt x="4350" y="3072"/>
                </a:lnTo>
                <a:lnTo>
                  <a:pt x="4350" y="3072"/>
                </a:lnTo>
                <a:lnTo>
                  <a:pt x="4350" y="3072"/>
                </a:lnTo>
                <a:lnTo>
                  <a:pt x="4350" y="3072"/>
                </a:lnTo>
                <a:lnTo>
                  <a:pt x="4350" y="3072"/>
                </a:lnTo>
                <a:lnTo>
                  <a:pt x="4350" y="3072"/>
                </a:lnTo>
                <a:lnTo>
                  <a:pt x="4350" y="3072"/>
                </a:lnTo>
                <a:lnTo>
                  <a:pt x="4350" y="3072"/>
                </a:lnTo>
                <a:lnTo>
                  <a:pt x="4344" y="3072"/>
                </a:lnTo>
                <a:close/>
                <a:moveTo>
                  <a:pt x="4361" y="3066"/>
                </a:moveTo>
                <a:lnTo>
                  <a:pt x="4350" y="3072"/>
                </a:lnTo>
                <a:lnTo>
                  <a:pt x="4361" y="3066"/>
                </a:lnTo>
                <a:lnTo>
                  <a:pt x="4361" y="3066"/>
                </a:lnTo>
                <a:lnTo>
                  <a:pt x="4361" y="3066"/>
                </a:lnTo>
                <a:lnTo>
                  <a:pt x="4361" y="3066"/>
                </a:lnTo>
                <a:lnTo>
                  <a:pt x="4361" y="3066"/>
                </a:lnTo>
                <a:lnTo>
                  <a:pt x="4361" y="3066"/>
                </a:lnTo>
                <a:lnTo>
                  <a:pt x="4361" y="3066"/>
                </a:lnTo>
                <a:lnTo>
                  <a:pt x="4361" y="3066"/>
                </a:lnTo>
                <a:lnTo>
                  <a:pt x="4361" y="3066"/>
                </a:lnTo>
                <a:lnTo>
                  <a:pt x="4361" y="3066"/>
                </a:lnTo>
                <a:close/>
                <a:moveTo>
                  <a:pt x="4379" y="3060"/>
                </a:moveTo>
                <a:lnTo>
                  <a:pt x="4373" y="3060"/>
                </a:lnTo>
                <a:lnTo>
                  <a:pt x="4373" y="3060"/>
                </a:lnTo>
                <a:lnTo>
                  <a:pt x="4373" y="3060"/>
                </a:lnTo>
                <a:lnTo>
                  <a:pt x="4373" y="3060"/>
                </a:lnTo>
                <a:lnTo>
                  <a:pt x="4373" y="3060"/>
                </a:lnTo>
                <a:lnTo>
                  <a:pt x="4373" y="3060"/>
                </a:lnTo>
                <a:lnTo>
                  <a:pt x="4373" y="3060"/>
                </a:lnTo>
                <a:lnTo>
                  <a:pt x="4367" y="3060"/>
                </a:lnTo>
                <a:lnTo>
                  <a:pt x="4373" y="3060"/>
                </a:lnTo>
                <a:lnTo>
                  <a:pt x="4373" y="3060"/>
                </a:lnTo>
                <a:lnTo>
                  <a:pt x="4373" y="3060"/>
                </a:lnTo>
                <a:lnTo>
                  <a:pt x="4373" y="3060"/>
                </a:lnTo>
                <a:lnTo>
                  <a:pt x="4379" y="3060"/>
                </a:lnTo>
                <a:lnTo>
                  <a:pt x="4379" y="3060"/>
                </a:lnTo>
                <a:lnTo>
                  <a:pt x="4379" y="3060"/>
                </a:lnTo>
                <a:lnTo>
                  <a:pt x="4379" y="3060"/>
                </a:lnTo>
                <a:close/>
                <a:moveTo>
                  <a:pt x="4385" y="3054"/>
                </a:moveTo>
                <a:lnTo>
                  <a:pt x="4385" y="3054"/>
                </a:lnTo>
                <a:lnTo>
                  <a:pt x="4379" y="3054"/>
                </a:lnTo>
                <a:lnTo>
                  <a:pt x="4379" y="3054"/>
                </a:lnTo>
                <a:lnTo>
                  <a:pt x="4379" y="3054"/>
                </a:lnTo>
                <a:lnTo>
                  <a:pt x="4379" y="3054"/>
                </a:lnTo>
                <a:lnTo>
                  <a:pt x="4385" y="3054"/>
                </a:lnTo>
                <a:lnTo>
                  <a:pt x="4385" y="3054"/>
                </a:lnTo>
                <a:lnTo>
                  <a:pt x="4385" y="3054"/>
                </a:lnTo>
                <a:lnTo>
                  <a:pt x="4385" y="3054"/>
                </a:lnTo>
                <a:lnTo>
                  <a:pt x="4385" y="3054"/>
                </a:lnTo>
                <a:close/>
                <a:moveTo>
                  <a:pt x="4391" y="3049"/>
                </a:moveTo>
                <a:lnTo>
                  <a:pt x="4391" y="3049"/>
                </a:lnTo>
                <a:lnTo>
                  <a:pt x="4391" y="3049"/>
                </a:lnTo>
                <a:lnTo>
                  <a:pt x="4391" y="3049"/>
                </a:lnTo>
                <a:lnTo>
                  <a:pt x="4391" y="3049"/>
                </a:lnTo>
                <a:lnTo>
                  <a:pt x="4391" y="3049"/>
                </a:lnTo>
                <a:lnTo>
                  <a:pt x="4391" y="3049"/>
                </a:lnTo>
                <a:lnTo>
                  <a:pt x="4391" y="3049"/>
                </a:lnTo>
                <a:lnTo>
                  <a:pt x="4391" y="3049"/>
                </a:lnTo>
                <a:lnTo>
                  <a:pt x="4391" y="3049"/>
                </a:lnTo>
                <a:lnTo>
                  <a:pt x="4391" y="3049"/>
                </a:lnTo>
                <a:close/>
                <a:moveTo>
                  <a:pt x="4308" y="3078"/>
                </a:moveTo>
                <a:lnTo>
                  <a:pt x="4308" y="3078"/>
                </a:lnTo>
                <a:lnTo>
                  <a:pt x="4308" y="3072"/>
                </a:lnTo>
                <a:lnTo>
                  <a:pt x="4308" y="3072"/>
                </a:lnTo>
                <a:lnTo>
                  <a:pt x="4308" y="3072"/>
                </a:lnTo>
                <a:lnTo>
                  <a:pt x="4308" y="3072"/>
                </a:lnTo>
                <a:lnTo>
                  <a:pt x="4302" y="3072"/>
                </a:lnTo>
                <a:lnTo>
                  <a:pt x="4302" y="3072"/>
                </a:lnTo>
                <a:lnTo>
                  <a:pt x="4302" y="3072"/>
                </a:lnTo>
                <a:lnTo>
                  <a:pt x="4302" y="3072"/>
                </a:lnTo>
                <a:lnTo>
                  <a:pt x="4302" y="3078"/>
                </a:lnTo>
                <a:lnTo>
                  <a:pt x="4302" y="3078"/>
                </a:lnTo>
                <a:lnTo>
                  <a:pt x="4302" y="3078"/>
                </a:lnTo>
                <a:lnTo>
                  <a:pt x="4302" y="3078"/>
                </a:lnTo>
                <a:lnTo>
                  <a:pt x="4302" y="3078"/>
                </a:lnTo>
                <a:lnTo>
                  <a:pt x="4302" y="3078"/>
                </a:lnTo>
                <a:lnTo>
                  <a:pt x="4308" y="3078"/>
                </a:lnTo>
                <a:lnTo>
                  <a:pt x="4308" y="3078"/>
                </a:lnTo>
                <a:lnTo>
                  <a:pt x="4308" y="3078"/>
                </a:lnTo>
                <a:lnTo>
                  <a:pt x="4308" y="3078"/>
                </a:lnTo>
                <a:lnTo>
                  <a:pt x="4308" y="3078"/>
                </a:lnTo>
                <a:lnTo>
                  <a:pt x="4308" y="3078"/>
                </a:lnTo>
                <a:lnTo>
                  <a:pt x="4308" y="3078"/>
                </a:lnTo>
                <a:lnTo>
                  <a:pt x="4308" y="3078"/>
                </a:lnTo>
                <a:lnTo>
                  <a:pt x="4308" y="3078"/>
                </a:lnTo>
                <a:lnTo>
                  <a:pt x="4308" y="3078"/>
                </a:lnTo>
                <a:lnTo>
                  <a:pt x="4308" y="3078"/>
                </a:lnTo>
                <a:close/>
                <a:moveTo>
                  <a:pt x="4320" y="3072"/>
                </a:moveTo>
                <a:lnTo>
                  <a:pt x="4320" y="3072"/>
                </a:lnTo>
                <a:lnTo>
                  <a:pt x="4320" y="3072"/>
                </a:lnTo>
                <a:lnTo>
                  <a:pt x="4320" y="3072"/>
                </a:lnTo>
                <a:lnTo>
                  <a:pt x="4320" y="3072"/>
                </a:lnTo>
                <a:lnTo>
                  <a:pt x="4320" y="3072"/>
                </a:lnTo>
                <a:lnTo>
                  <a:pt x="4326" y="3072"/>
                </a:lnTo>
                <a:lnTo>
                  <a:pt x="4326" y="3078"/>
                </a:lnTo>
                <a:lnTo>
                  <a:pt x="4326" y="3078"/>
                </a:lnTo>
                <a:lnTo>
                  <a:pt x="4326" y="3078"/>
                </a:lnTo>
                <a:lnTo>
                  <a:pt x="4326" y="3072"/>
                </a:lnTo>
                <a:lnTo>
                  <a:pt x="4320" y="3072"/>
                </a:lnTo>
                <a:close/>
                <a:moveTo>
                  <a:pt x="4320" y="3072"/>
                </a:moveTo>
                <a:lnTo>
                  <a:pt x="4314" y="3072"/>
                </a:lnTo>
                <a:lnTo>
                  <a:pt x="4314" y="3072"/>
                </a:lnTo>
                <a:lnTo>
                  <a:pt x="4314" y="3066"/>
                </a:lnTo>
                <a:lnTo>
                  <a:pt x="4314" y="3066"/>
                </a:lnTo>
                <a:lnTo>
                  <a:pt x="4314" y="3066"/>
                </a:lnTo>
                <a:lnTo>
                  <a:pt x="4314" y="3066"/>
                </a:lnTo>
                <a:lnTo>
                  <a:pt x="4314" y="3066"/>
                </a:lnTo>
                <a:lnTo>
                  <a:pt x="4320" y="3078"/>
                </a:lnTo>
                <a:lnTo>
                  <a:pt x="4320" y="3078"/>
                </a:lnTo>
                <a:lnTo>
                  <a:pt x="4320" y="3078"/>
                </a:lnTo>
                <a:lnTo>
                  <a:pt x="4320" y="3072"/>
                </a:lnTo>
                <a:lnTo>
                  <a:pt x="4320" y="3072"/>
                </a:lnTo>
                <a:close/>
                <a:moveTo>
                  <a:pt x="4284" y="3090"/>
                </a:moveTo>
                <a:lnTo>
                  <a:pt x="4284" y="3090"/>
                </a:lnTo>
                <a:lnTo>
                  <a:pt x="4284" y="3090"/>
                </a:lnTo>
                <a:lnTo>
                  <a:pt x="4284" y="3084"/>
                </a:lnTo>
                <a:lnTo>
                  <a:pt x="4278" y="3084"/>
                </a:lnTo>
                <a:lnTo>
                  <a:pt x="4278" y="3084"/>
                </a:lnTo>
                <a:lnTo>
                  <a:pt x="4278" y="3090"/>
                </a:lnTo>
                <a:lnTo>
                  <a:pt x="4278" y="3090"/>
                </a:lnTo>
                <a:lnTo>
                  <a:pt x="4278" y="3090"/>
                </a:lnTo>
                <a:lnTo>
                  <a:pt x="4278" y="3090"/>
                </a:lnTo>
                <a:lnTo>
                  <a:pt x="4278" y="3090"/>
                </a:lnTo>
                <a:lnTo>
                  <a:pt x="4273" y="3090"/>
                </a:lnTo>
                <a:lnTo>
                  <a:pt x="4273" y="3090"/>
                </a:lnTo>
                <a:lnTo>
                  <a:pt x="4273" y="3090"/>
                </a:lnTo>
                <a:lnTo>
                  <a:pt x="4278" y="3090"/>
                </a:lnTo>
                <a:lnTo>
                  <a:pt x="4278" y="3090"/>
                </a:lnTo>
                <a:lnTo>
                  <a:pt x="4278" y="3090"/>
                </a:lnTo>
                <a:lnTo>
                  <a:pt x="4278" y="3090"/>
                </a:lnTo>
                <a:lnTo>
                  <a:pt x="4278" y="3090"/>
                </a:lnTo>
                <a:lnTo>
                  <a:pt x="4278" y="3090"/>
                </a:lnTo>
                <a:lnTo>
                  <a:pt x="4278" y="3090"/>
                </a:lnTo>
                <a:lnTo>
                  <a:pt x="4278" y="3090"/>
                </a:lnTo>
                <a:lnTo>
                  <a:pt x="4278" y="3090"/>
                </a:lnTo>
                <a:lnTo>
                  <a:pt x="4278" y="3090"/>
                </a:lnTo>
                <a:lnTo>
                  <a:pt x="4278" y="3090"/>
                </a:lnTo>
                <a:lnTo>
                  <a:pt x="4278" y="3090"/>
                </a:lnTo>
                <a:lnTo>
                  <a:pt x="4278" y="3090"/>
                </a:lnTo>
                <a:lnTo>
                  <a:pt x="4278" y="3090"/>
                </a:lnTo>
                <a:lnTo>
                  <a:pt x="4284" y="3090"/>
                </a:lnTo>
                <a:lnTo>
                  <a:pt x="4284" y="3090"/>
                </a:lnTo>
                <a:lnTo>
                  <a:pt x="4284" y="3090"/>
                </a:lnTo>
                <a:lnTo>
                  <a:pt x="4284" y="3090"/>
                </a:lnTo>
                <a:lnTo>
                  <a:pt x="4284" y="3090"/>
                </a:lnTo>
                <a:close/>
                <a:moveTo>
                  <a:pt x="4290" y="3084"/>
                </a:moveTo>
                <a:lnTo>
                  <a:pt x="4290" y="3084"/>
                </a:lnTo>
                <a:lnTo>
                  <a:pt x="4290" y="3084"/>
                </a:lnTo>
                <a:lnTo>
                  <a:pt x="4284" y="3084"/>
                </a:lnTo>
                <a:lnTo>
                  <a:pt x="4284" y="3084"/>
                </a:lnTo>
                <a:lnTo>
                  <a:pt x="4284" y="3084"/>
                </a:lnTo>
                <a:lnTo>
                  <a:pt x="4284" y="3084"/>
                </a:lnTo>
                <a:lnTo>
                  <a:pt x="4284" y="3084"/>
                </a:lnTo>
                <a:lnTo>
                  <a:pt x="4284" y="3084"/>
                </a:lnTo>
                <a:lnTo>
                  <a:pt x="4284" y="3084"/>
                </a:lnTo>
                <a:lnTo>
                  <a:pt x="4284" y="3084"/>
                </a:lnTo>
                <a:lnTo>
                  <a:pt x="4284" y="3084"/>
                </a:lnTo>
                <a:lnTo>
                  <a:pt x="4284" y="3084"/>
                </a:lnTo>
                <a:lnTo>
                  <a:pt x="4284" y="3090"/>
                </a:lnTo>
                <a:lnTo>
                  <a:pt x="4284" y="3090"/>
                </a:lnTo>
                <a:lnTo>
                  <a:pt x="4284" y="3090"/>
                </a:lnTo>
                <a:lnTo>
                  <a:pt x="4284" y="3090"/>
                </a:lnTo>
                <a:lnTo>
                  <a:pt x="4284" y="3090"/>
                </a:lnTo>
                <a:lnTo>
                  <a:pt x="4290" y="3084"/>
                </a:lnTo>
                <a:lnTo>
                  <a:pt x="4290" y="3084"/>
                </a:lnTo>
                <a:lnTo>
                  <a:pt x="4290" y="3084"/>
                </a:lnTo>
                <a:close/>
                <a:moveTo>
                  <a:pt x="4243" y="3084"/>
                </a:moveTo>
                <a:lnTo>
                  <a:pt x="4243" y="3084"/>
                </a:lnTo>
                <a:lnTo>
                  <a:pt x="4243" y="3084"/>
                </a:lnTo>
                <a:lnTo>
                  <a:pt x="4243" y="3084"/>
                </a:lnTo>
                <a:lnTo>
                  <a:pt x="4243" y="3084"/>
                </a:lnTo>
                <a:lnTo>
                  <a:pt x="4243" y="3084"/>
                </a:lnTo>
                <a:lnTo>
                  <a:pt x="4243" y="3084"/>
                </a:lnTo>
                <a:lnTo>
                  <a:pt x="4243" y="3084"/>
                </a:lnTo>
                <a:lnTo>
                  <a:pt x="4243" y="3084"/>
                </a:lnTo>
                <a:lnTo>
                  <a:pt x="4243" y="3084"/>
                </a:lnTo>
                <a:lnTo>
                  <a:pt x="4243" y="3090"/>
                </a:lnTo>
                <a:lnTo>
                  <a:pt x="4243" y="3090"/>
                </a:lnTo>
                <a:lnTo>
                  <a:pt x="4243" y="3090"/>
                </a:lnTo>
                <a:lnTo>
                  <a:pt x="4243" y="3084"/>
                </a:lnTo>
                <a:lnTo>
                  <a:pt x="4243" y="3084"/>
                </a:lnTo>
                <a:lnTo>
                  <a:pt x="4243" y="3084"/>
                </a:lnTo>
                <a:close/>
                <a:moveTo>
                  <a:pt x="4302" y="3072"/>
                </a:moveTo>
                <a:lnTo>
                  <a:pt x="4302" y="3072"/>
                </a:lnTo>
                <a:lnTo>
                  <a:pt x="4302" y="3072"/>
                </a:lnTo>
                <a:lnTo>
                  <a:pt x="4302" y="3072"/>
                </a:lnTo>
                <a:lnTo>
                  <a:pt x="4302" y="3072"/>
                </a:lnTo>
                <a:lnTo>
                  <a:pt x="4302" y="3072"/>
                </a:lnTo>
                <a:lnTo>
                  <a:pt x="4302" y="3072"/>
                </a:lnTo>
                <a:lnTo>
                  <a:pt x="4296" y="3078"/>
                </a:lnTo>
                <a:lnTo>
                  <a:pt x="4302" y="3078"/>
                </a:lnTo>
                <a:lnTo>
                  <a:pt x="4302" y="3078"/>
                </a:lnTo>
                <a:lnTo>
                  <a:pt x="4302" y="3078"/>
                </a:lnTo>
                <a:lnTo>
                  <a:pt x="4302" y="3078"/>
                </a:lnTo>
                <a:lnTo>
                  <a:pt x="4302" y="3078"/>
                </a:lnTo>
                <a:lnTo>
                  <a:pt x="4302" y="3078"/>
                </a:lnTo>
                <a:lnTo>
                  <a:pt x="4302" y="3078"/>
                </a:lnTo>
                <a:lnTo>
                  <a:pt x="4302" y="3078"/>
                </a:lnTo>
                <a:lnTo>
                  <a:pt x="4302" y="3078"/>
                </a:lnTo>
                <a:lnTo>
                  <a:pt x="4302" y="3078"/>
                </a:lnTo>
                <a:lnTo>
                  <a:pt x="4302" y="3084"/>
                </a:lnTo>
                <a:lnTo>
                  <a:pt x="4302" y="3084"/>
                </a:lnTo>
                <a:lnTo>
                  <a:pt x="4302" y="3078"/>
                </a:lnTo>
                <a:lnTo>
                  <a:pt x="4302" y="3078"/>
                </a:lnTo>
                <a:lnTo>
                  <a:pt x="4296" y="3078"/>
                </a:lnTo>
                <a:lnTo>
                  <a:pt x="4296" y="3078"/>
                </a:lnTo>
                <a:lnTo>
                  <a:pt x="4296" y="3078"/>
                </a:lnTo>
                <a:lnTo>
                  <a:pt x="4302" y="3078"/>
                </a:lnTo>
                <a:lnTo>
                  <a:pt x="4302" y="3078"/>
                </a:lnTo>
                <a:lnTo>
                  <a:pt x="4302" y="3084"/>
                </a:lnTo>
                <a:lnTo>
                  <a:pt x="4302" y="3084"/>
                </a:lnTo>
                <a:lnTo>
                  <a:pt x="4296" y="3084"/>
                </a:lnTo>
                <a:lnTo>
                  <a:pt x="4296" y="3084"/>
                </a:lnTo>
                <a:lnTo>
                  <a:pt x="4296" y="3084"/>
                </a:lnTo>
                <a:lnTo>
                  <a:pt x="4296" y="3084"/>
                </a:lnTo>
                <a:lnTo>
                  <a:pt x="4296" y="3084"/>
                </a:lnTo>
                <a:lnTo>
                  <a:pt x="4296" y="3084"/>
                </a:lnTo>
                <a:lnTo>
                  <a:pt x="4296" y="3084"/>
                </a:lnTo>
                <a:lnTo>
                  <a:pt x="4290" y="3084"/>
                </a:lnTo>
                <a:lnTo>
                  <a:pt x="4290" y="3084"/>
                </a:lnTo>
                <a:lnTo>
                  <a:pt x="4296" y="3084"/>
                </a:lnTo>
                <a:lnTo>
                  <a:pt x="4302" y="3084"/>
                </a:lnTo>
                <a:lnTo>
                  <a:pt x="4302" y="3084"/>
                </a:lnTo>
                <a:lnTo>
                  <a:pt x="4302" y="3078"/>
                </a:lnTo>
                <a:lnTo>
                  <a:pt x="4302" y="3078"/>
                </a:lnTo>
                <a:lnTo>
                  <a:pt x="4302" y="3078"/>
                </a:lnTo>
                <a:lnTo>
                  <a:pt x="4302" y="3072"/>
                </a:lnTo>
                <a:close/>
                <a:moveTo>
                  <a:pt x="4350" y="3007"/>
                </a:moveTo>
                <a:lnTo>
                  <a:pt x="4350" y="3013"/>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lnTo>
                  <a:pt x="4350" y="3007"/>
                </a:lnTo>
                <a:close/>
                <a:moveTo>
                  <a:pt x="4433" y="2983"/>
                </a:moveTo>
                <a:lnTo>
                  <a:pt x="4433" y="2989"/>
                </a:lnTo>
                <a:lnTo>
                  <a:pt x="4433" y="2989"/>
                </a:lnTo>
                <a:lnTo>
                  <a:pt x="4433" y="2995"/>
                </a:lnTo>
                <a:lnTo>
                  <a:pt x="4433" y="2995"/>
                </a:lnTo>
                <a:lnTo>
                  <a:pt x="4433" y="2995"/>
                </a:lnTo>
                <a:lnTo>
                  <a:pt x="4433" y="2995"/>
                </a:lnTo>
                <a:lnTo>
                  <a:pt x="4433" y="2995"/>
                </a:lnTo>
                <a:lnTo>
                  <a:pt x="4433" y="2995"/>
                </a:lnTo>
                <a:lnTo>
                  <a:pt x="4433" y="2995"/>
                </a:lnTo>
                <a:lnTo>
                  <a:pt x="4433" y="2995"/>
                </a:lnTo>
                <a:lnTo>
                  <a:pt x="4433" y="2995"/>
                </a:lnTo>
                <a:lnTo>
                  <a:pt x="4433" y="2989"/>
                </a:lnTo>
                <a:lnTo>
                  <a:pt x="4438" y="2989"/>
                </a:lnTo>
                <a:lnTo>
                  <a:pt x="4438" y="2989"/>
                </a:lnTo>
                <a:lnTo>
                  <a:pt x="4438" y="2989"/>
                </a:lnTo>
                <a:lnTo>
                  <a:pt x="4438" y="2989"/>
                </a:lnTo>
                <a:lnTo>
                  <a:pt x="4438" y="2989"/>
                </a:lnTo>
                <a:lnTo>
                  <a:pt x="4438" y="2983"/>
                </a:lnTo>
                <a:lnTo>
                  <a:pt x="4438" y="2983"/>
                </a:lnTo>
                <a:lnTo>
                  <a:pt x="4433" y="2983"/>
                </a:lnTo>
                <a:close/>
                <a:moveTo>
                  <a:pt x="4438" y="2960"/>
                </a:moveTo>
                <a:lnTo>
                  <a:pt x="4438" y="2960"/>
                </a:lnTo>
                <a:lnTo>
                  <a:pt x="4438" y="2960"/>
                </a:lnTo>
                <a:lnTo>
                  <a:pt x="4438" y="2960"/>
                </a:lnTo>
                <a:lnTo>
                  <a:pt x="4438" y="2960"/>
                </a:lnTo>
                <a:lnTo>
                  <a:pt x="4438" y="2960"/>
                </a:lnTo>
                <a:lnTo>
                  <a:pt x="4438" y="2960"/>
                </a:lnTo>
                <a:lnTo>
                  <a:pt x="4438" y="2960"/>
                </a:lnTo>
                <a:lnTo>
                  <a:pt x="4438" y="2960"/>
                </a:lnTo>
                <a:lnTo>
                  <a:pt x="4438" y="2966"/>
                </a:lnTo>
                <a:lnTo>
                  <a:pt x="4438" y="2966"/>
                </a:lnTo>
                <a:lnTo>
                  <a:pt x="4438" y="2966"/>
                </a:lnTo>
                <a:lnTo>
                  <a:pt x="4438" y="2966"/>
                </a:lnTo>
                <a:lnTo>
                  <a:pt x="4438" y="2966"/>
                </a:lnTo>
                <a:lnTo>
                  <a:pt x="4438" y="2966"/>
                </a:lnTo>
                <a:lnTo>
                  <a:pt x="4438" y="2966"/>
                </a:lnTo>
                <a:lnTo>
                  <a:pt x="4438" y="2966"/>
                </a:lnTo>
                <a:lnTo>
                  <a:pt x="4438" y="2966"/>
                </a:lnTo>
                <a:lnTo>
                  <a:pt x="4438" y="2966"/>
                </a:lnTo>
                <a:lnTo>
                  <a:pt x="4438" y="2966"/>
                </a:lnTo>
                <a:lnTo>
                  <a:pt x="4438" y="2966"/>
                </a:lnTo>
                <a:lnTo>
                  <a:pt x="4438" y="2960"/>
                </a:lnTo>
                <a:lnTo>
                  <a:pt x="4438" y="2960"/>
                </a:lnTo>
                <a:lnTo>
                  <a:pt x="4438" y="2960"/>
                </a:lnTo>
                <a:close/>
                <a:moveTo>
                  <a:pt x="4314" y="2954"/>
                </a:moveTo>
                <a:lnTo>
                  <a:pt x="4314" y="2954"/>
                </a:lnTo>
                <a:lnTo>
                  <a:pt x="4314" y="2954"/>
                </a:lnTo>
                <a:lnTo>
                  <a:pt x="4314" y="2954"/>
                </a:lnTo>
                <a:lnTo>
                  <a:pt x="4314" y="2954"/>
                </a:lnTo>
                <a:lnTo>
                  <a:pt x="4314" y="2954"/>
                </a:lnTo>
                <a:lnTo>
                  <a:pt x="4314" y="2954"/>
                </a:lnTo>
                <a:lnTo>
                  <a:pt x="4314" y="2954"/>
                </a:lnTo>
                <a:lnTo>
                  <a:pt x="4314" y="2954"/>
                </a:lnTo>
                <a:lnTo>
                  <a:pt x="4314" y="2954"/>
                </a:lnTo>
                <a:lnTo>
                  <a:pt x="4320" y="2954"/>
                </a:lnTo>
                <a:lnTo>
                  <a:pt x="4320" y="2954"/>
                </a:lnTo>
                <a:lnTo>
                  <a:pt x="4320" y="2954"/>
                </a:lnTo>
                <a:lnTo>
                  <a:pt x="4320" y="2948"/>
                </a:lnTo>
                <a:lnTo>
                  <a:pt x="4320" y="2948"/>
                </a:lnTo>
                <a:lnTo>
                  <a:pt x="4320" y="2948"/>
                </a:lnTo>
                <a:lnTo>
                  <a:pt x="4320" y="2948"/>
                </a:lnTo>
                <a:lnTo>
                  <a:pt x="4314" y="2948"/>
                </a:lnTo>
                <a:lnTo>
                  <a:pt x="4314" y="2948"/>
                </a:lnTo>
                <a:lnTo>
                  <a:pt x="4314" y="2948"/>
                </a:lnTo>
                <a:lnTo>
                  <a:pt x="4314" y="2948"/>
                </a:lnTo>
                <a:lnTo>
                  <a:pt x="4314" y="2948"/>
                </a:lnTo>
                <a:lnTo>
                  <a:pt x="4314" y="2948"/>
                </a:lnTo>
                <a:lnTo>
                  <a:pt x="4314" y="2948"/>
                </a:lnTo>
                <a:lnTo>
                  <a:pt x="4314" y="2948"/>
                </a:lnTo>
                <a:lnTo>
                  <a:pt x="4314" y="2948"/>
                </a:lnTo>
                <a:lnTo>
                  <a:pt x="4314" y="2948"/>
                </a:lnTo>
                <a:lnTo>
                  <a:pt x="4314" y="2954"/>
                </a:lnTo>
                <a:lnTo>
                  <a:pt x="4314" y="2954"/>
                </a:lnTo>
                <a:lnTo>
                  <a:pt x="4314" y="2954"/>
                </a:lnTo>
                <a:lnTo>
                  <a:pt x="4314" y="2954"/>
                </a:lnTo>
                <a:close/>
                <a:moveTo>
                  <a:pt x="4308" y="2948"/>
                </a:moveTo>
                <a:lnTo>
                  <a:pt x="4308" y="2948"/>
                </a:lnTo>
                <a:lnTo>
                  <a:pt x="4308" y="2948"/>
                </a:lnTo>
                <a:lnTo>
                  <a:pt x="4308" y="2948"/>
                </a:lnTo>
                <a:lnTo>
                  <a:pt x="4308" y="2948"/>
                </a:lnTo>
                <a:lnTo>
                  <a:pt x="4308" y="2948"/>
                </a:lnTo>
                <a:lnTo>
                  <a:pt x="4308" y="2948"/>
                </a:lnTo>
                <a:lnTo>
                  <a:pt x="4308" y="2948"/>
                </a:lnTo>
                <a:lnTo>
                  <a:pt x="4308" y="2948"/>
                </a:lnTo>
                <a:lnTo>
                  <a:pt x="4308" y="2942"/>
                </a:lnTo>
                <a:lnTo>
                  <a:pt x="4308" y="2942"/>
                </a:lnTo>
                <a:lnTo>
                  <a:pt x="4308" y="2942"/>
                </a:lnTo>
                <a:lnTo>
                  <a:pt x="4308" y="2942"/>
                </a:lnTo>
                <a:lnTo>
                  <a:pt x="4308" y="2942"/>
                </a:lnTo>
                <a:lnTo>
                  <a:pt x="4308" y="2942"/>
                </a:lnTo>
                <a:lnTo>
                  <a:pt x="4308" y="2942"/>
                </a:lnTo>
                <a:lnTo>
                  <a:pt x="4302" y="2948"/>
                </a:lnTo>
                <a:lnTo>
                  <a:pt x="4302" y="2948"/>
                </a:lnTo>
                <a:lnTo>
                  <a:pt x="4302" y="2948"/>
                </a:lnTo>
                <a:lnTo>
                  <a:pt x="4302" y="2948"/>
                </a:lnTo>
                <a:lnTo>
                  <a:pt x="4302" y="2948"/>
                </a:lnTo>
                <a:lnTo>
                  <a:pt x="4302" y="2948"/>
                </a:lnTo>
                <a:lnTo>
                  <a:pt x="4302" y="2948"/>
                </a:lnTo>
                <a:lnTo>
                  <a:pt x="4302" y="2948"/>
                </a:lnTo>
                <a:lnTo>
                  <a:pt x="4302" y="2948"/>
                </a:lnTo>
                <a:lnTo>
                  <a:pt x="4302" y="2948"/>
                </a:lnTo>
                <a:lnTo>
                  <a:pt x="4302" y="2948"/>
                </a:lnTo>
                <a:lnTo>
                  <a:pt x="4302" y="2948"/>
                </a:lnTo>
                <a:lnTo>
                  <a:pt x="4302" y="2948"/>
                </a:lnTo>
                <a:lnTo>
                  <a:pt x="4308" y="2948"/>
                </a:lnTo>
                <a:lnTo>
                  <a:pt x="4308" y="2948"/>
                </a:lnTo>
                <a:lnTo>
                  <a:pt x="4308" y="2948"/>
                </a:lnTo>
                <a:lnTo>
                  <a:pt x="4308" y="2948"/>
                </a:lnTo>
                <a:lnTo>
                  <a:pt x="4308" y="2948"/>
                </a:lnTo>
                <a:lnTo>
                  <a:pt x="4308" y="2948"/>
                </a:lnTo>
                <a:lnTo>
                  <a:pt x="4308" y="2948"/>
                </a:lnTo>
                <a:lnTo>
                  <a:pt x="4308" y="2948"/>
                </a:lnTo>
                <a:lnTo>
                  <a:pt x="4308" y="2948"/>
                </a:lnTo>
                <a:close/>
                <a:moveTo>
                  <a:pt x="4302" y="2942"/>
                </a:moveTo>
                <a:lnTo>
                  <a:pt x="4302" y="2942"/>
                </a:lnTo>
                <a:lnTo>
                  <a:pt x="4302" y="2942"/>
                </a:lnTo>
                <a:lnTo>
                  <a:pt x="4302" y="2942"/>
                </a:lnTo>
                <a:lnTo>
                  <a:pt x="4302" y="2942"/>
                </a:lnTo>
                <a:lnTo>
                  <a:pt x="4302" y="2942"/>
                </a:lnTo>
                <a:lnTo>
                  <a:pt x="4302" y="2942"/>
                </a:lnTo>
                <a:lnTo>
                  <a:pt x="4302" y="2942"/>
                </a:lnTo>
                <a:lnTo>
                  <a:pt x="4302" y="2942"/>
                </a:lnTo>
                <a:lnTo>
                  <a:pt x="4302" y="2942"/>
                </a:lnTo>
                <a:lnTo>
                  <a:pt x="4302" y="2942"/>
                </a:lnTo>
                <a:lnTo>
                  <a:pt x="4302" y="2942"/>
                </a:lnTo>
                <a:lnTo>
                  <a:pt x="4302" y="2942"/>
                </a:lnTo>
                <a:lnTo>
                  <a:pt x="4302" y="2948"/>
                </a:lnTo>
                <a:lnTo>
                  <a:pt x="4302" y="2948"/>
                </a:lnTo>
                <a:lnTo>
                  <a:pt x="4302" y="2948"/>
                </a:lnTo>
                <a:lnTo>
                  <a:pt x="4302" y="2948"/>
                </a:lnTo>
                <a:lnTo>
                  <a:pt x="4302" y="2942"/>
                </a:lnTo>
                <a:lnTo>
                  <a:pt x="4302" y="2942"/>
                </a:lnTo>
                <a:lnTo>
                  <a:pt x="4302" y="2942"/>
                </a:lnTo>
                <a:lnTo>
                  <a:pt x="4302" y="2942"/>
                </a:lnTo>
                <a:lnTo>
                  <a:pt x="4302" y="2942"/>
                </a:lnTo>
                <a:lnTo>
                  <a:pt x="4302" y="2942"/>
                </a:lnTo>
                <a:lnTo>
                  <a:pt x="4302" y="2942"/>
                </a:lnTo>
                <a:lnTo>
                  <a:pt x="4302" y="2942"/>
                </a:lnTo>
                <a:lnTo>
                  <a:pt x="4302" y="2942"/>
                </a:lnTo>
                <a:close/>
                <a:moveTo>
                  <a:pt x="4284" y="2942"/>
                </a:moveTo>
                <a:lnTo>
                  <a:pt x="4284" y="2942"/>
                </a:lnTo>
                <a:lnTo>
                  <a:pt x="4284" y="2942"/>
                </a:lnTo>
                <a:lnTo>
                  <a:pt x="4284" y="2948"/>
                </a:lnTo>
                <a:lnTo>
                  <a:pt x="4284" y="2948"/>
                </a:lnTo>
                <a:lnTo>
                  <a:pt x="4290" y="2948"/>
                </a:lnTo>
                <a:lnTo>
                  <a:pt x="4290" y="2942"/>
                </a:lnTo>
                <a:lnTo>
                  <a:pt x="4290" y="2942"/>
                </a:lnTo>
                <a:lnTo>
                  <a:pt x="4290" y="2942"/>
                </a:lnTo>
                <a:lnTo>
                  <a:pt x="4290" y="2942"/>
                </a:lnTo>
                <a:lnTo>
                  <a:pt x="4290" y="2942"/>
                </a:lnTo>
                <a:lnTo>
                  <a:pt x="4284" y="2942"/>
                </a:lnTo>
                <a:lnTo>
                  <a:pt x="4284" y="2942"/>
                </a:lnTo>
                <a:lnTo>
                  <a:pt x="4284" y="2942"/>
                </a:lnTo>
                <a:lnTo>
                  <a:pt x="4284" y="2942"/>
                </a:lnTo>
                <a:lnTo>
                  <a:pt x="4284" y="2942"/>
                </a:lnTo>
                <a:lnTo>
                  <a:pt x="4284" y="2942"/>
                </a:lnTo>
                <a:lnTo>
                  <a:pt x="4284" y="2942"/>
                </a:lnTo>
                <a:close/>
                <a:moveTo>
                  <a:pt x="4249" y="2877"/>
                </a:moveTo>
                <a:lnTo>
                  <a:pt x="4249" y="2877"/>
                </a:lnTo>
                <a:lnTo>
                  <a:pt x="4249" y="2877"/>
                </a:lnTo>
                <a:lnTo>
                  <a:pt x="4249" y="2877"/>
                </a:lnTo>
                <a:lnTo>
                  <a:pt x="4243" y="2877"/>
                </a:lnTo>
                <a:lnTo>
                  <a:pt x="4243" y="2877"/>
                </a:lnTo>
                <a:lnTo>
                  <a:pt x="4243" y="2877"/>
                </a:lnTo>
                <a:lnTo>
                  <a:pt x="4237" y="2877"/>
                </a:lnTo>
                <a:lnTo>
                  <a:pt x="4237" y="2877"/>
                </a:lnTo>
                <a:lnTo>
                  <a:pt x="4237" y="2871"/>
                </a:lnTo>
                <a:lnTo>
                  <a:pt x="4237" y="2871"/>
                </a:lnTo>
                <a:lnTo>
                  <a:pt x="4237" y="2871"/>
                </a:lnTo>
                <a:lnTo>
                  <a:pt x="4237" y="2871"/>
                </a:lnTo>
                <a:lnTo>
                  <a:pt x="4237" y="2871"/>
                </a:lnTo>
                <a:lnTo>
                  <a:pt x="4237" y="2871"/>
                </a:lnTo>
                <a:lnTo>
                  <a:pt x="4237" y="2871"/>
                </a:lnTo>
                <a:lnTo>
                  <a:pt x="4237" y="2871"/>
                </a:lnTo>
                <a:lnTo>
                  <a:pt x="4237" y="2871"/>
                </a:lnTo>
                <a:lnTo>
                  <a:pt x="4237" y="2871"/>
                </a:lnTo>
                <a:lnTo>
                  <a:pt x="4237" y="2877"/>
                </a:lnTo>
                <a:lnTo>
                  <a:pt x="4237" y="2877"/>
                </a:lnTo>
                <a:lnTo>
                  <a:pt x="4237" y="2877"/>
                </a:lnTo>
                <a:lnTo>
                  <a:pt x="4237" y="2877"/>
                </a:lnTo>
                <a:lnTo>
                  <a:pt x="4237" y="2877"/>
                </a:lnTo>
                <a:lnTo>
                  <a:pt x="4237" y="2877"/>
                </a:lnTo>
                <a:lnTo>
                  <a:pt x="4237" y="2877"/>
                </a:lnTo>
                <a:lnTo>
                  <a:pt x="4243" y="2882"/>
                </a:lnTo>
                <a:lnTo>
                  <a:pt x="4249" y="2882"/>
                </a:lnTo>
                <a:lnTo>
                  <a:pt x="4249" y="2882"/>
                </a:lnTo>
                <a:lnTo>
                  <a:pt x="4249" y="2882"/>
                </a:lnTo>
                <a:lnTo>
                  <a:pt x="4255" y="2882"/>
                </a:lnTo>
                <a:lnTo>
                  <a:pt x="4249" y="2877"/>
                </a:lnTo>
                <a:lnTo>
                  <a:pt x="4249" y="2877"/>
                </a:lnTo>
                <a:close/>
                <a:moveTo>
                  <a:pt x="4243" y="2853"/>
                </a:moveTo>
                <a:lnTo>
                  <a:pt x="4243" y="2853"/>
                </a:lnTo>
                <a:lnTo>
                  <a:pt x="4243" y="2853"/>
                </a:lnTo>
                <a:lnTo>
                  <a:pt x="4243" y="2853"/>
                </a:lnTo>
                <a:lnTo>
                  <a:pt x="4237" y="2853"/>
                </a:lnTo>
                <a:lnTo>
                  <a:pt x="4237" y="2853"/>
                </a:lnTo>
                <a:lnTo>
                  <a:pt x="4237" y="2853"/>
                </a:lnTo>
                <a:lnTo>
                  <a:pt x="4243" y="2859"/>
                </a:lnTo>
                <a:lnTo>
                  <a:pt x="4243" y="2865"/>
                </a:lnTo>
                <a:lnTo>
                  <a:pt x="4243" y="2865"/>
                </a:lnTo>
                <a:lnTo>
                  <a:pt x="4243" y="2865"/>
                </a:lnTo>
                <a:lnTo>
                  <a:pt x="4243" y="2865"/>
                </a:lnTo>
                <a:lnTo>
                  <a:pt x="4243" y="2871"/>
                </a:lnTo>
                <a:lnTo>
                  <a:pt x="4243" y="2871"/>
                </a:lnTo>
                <a:lnTo>
                  <a:pt x="4249" y="2877"/>
                </a:lnTo>
                <a:lnTo>
                  <a:pt x="4249" y="2877"/>
                </a:lnTo>
                <a:lnTo>
                  <a:pt x="4249" y="2877"/>
                </a:lnTo>
                <a:lnTo>
                  <a:pt x="4249" y="2871"/>
                </a:lnTo>
                <a:lnTo>
                  <a:pt x="4249" y="2865"/>
                </a:lnTo>
                <a:lnTo>
                  <a:pt x="4249" y="2865"/>
                </a:lnTo>
                <a:lnTo>
                  <a:pt x="4243" y="2865"/>
                </a:lnTo>
                <a:lnTo>
                  <a:pt x="4243" y="2859"/>
                </a:lnTo>
                <a:lnTo>
                  <a:pt x="4243" y="2859"/>
                </a:lnTo>
                <a:lnTo>
                  <a:pt x="4243" y="2853"/>
                </a:lnTo>
                <a:close/>
                <a:moveTo>
                  <a:pt x="4231" y="2853"/>
                </a:moveTo>
                <a:lnTo>
                  <a:pt x="4231" y="2853"/>
                </a:lnTo>
                <a:lnTo>
                  <a:pt x="4231" y="2853"/>
                </a:lnTo>
                <a:lnTo>
                  <a:pt x="4231" y="2853"/>
                </a:lnTo>
                <a:lnTo>
                  <a:pt x="4231" y="2853"/>
                </a:lnTo>
                <a:lnTo>
                  <a:pt x="4231" y="2853"/>
                </a:lnTo>
                <a:lnTo>
                  <a:pt x="4231" y="2853"/>
                </a:lnTo>
                <a:lnTo>
                  <a:pt x="4231" y="2853"/>
                </a:lnTo>
                <a:lnTo>
                  <a:pt x="4231" y="2859"/>
                </a:lnTo>
                <a:lnTo>
                  <a:pt x="4231" y="2859"/>
                </a:lnTo>
                <a:lnTo>
                  <a:pt x="4231" y="2859"/>
                </a:lnTo>
                <a:lnTo>
                  <a:pt x="4231" y="2859"/>
                </a:lnTo>
                <a:lnTo>
                  <a:pt x="4231" y="2865"/>
                </a:lnTo>
                <a:lnTo>
                  <a:pt x="4231" y="2859"/>
                </a:lnTo>
                <a:lnTo>
                  <a:pt x="4231" y="2853"/>
                </a:lnTo>
                <a:close/>
                <a:moveTo>
                  <a:pt x="4231" y="2847"/>
                </a:moveTo>
                <a:lnTo>
                  <a:pt x="4231" y="2847"/>
                </a:lnTo>
                <a:lnTo>
                  <a:pt x="4231" y="2841"/>
                </a:lnTo>
                <a:lnTo>
                  <a:pt x="4231" y="2841"/>
                </a:lnTo>
                <a:lnTo>
                  <a:pt x="4231" y="2841"/>
                </a:lnTo>
                <a:lnTo>
                  <a:pt x="4225" y="2841"/>
                </a:lnTo>
                <a:lnTo>
                  <a:pt x="4225" y="2841"/>
                </a:lnTo>
                <a:lnTo>
                  <a:pt x="4231" y="2841"/>
                </a:lnTo>
                <a:lnTo>
                  <a:pt x="4231" y="2847"/>
                </a:lnTo>
                <a:lnTo>
                  <a:pt x="4231" y="2847"/>
                </a:lnTo>
                <a:lnTo>
                  <a:pt x="4231" y="2853"/>
                </a:lnTo>
                <a:lnTo>
                  <a:pt x="4231" y="2847"/>
                </a:lnTo>
                <a:lnTo>
                  <a:pt x="4231" y="2847"/>
                </a:lnTo>
                <a:close/>
                <a:moveTo>
                  <a:pt x="4391" y="2681"/>
                </a:moveTo>
                <a:lnTo>
                  <a:pt x="4391" y="2687"/>
                </a:lnTo>
                <a:lnTo>
                  <a:pt x="4391" y="2687"/>
                </a:lnTo>
                <a:lnTo>
                  <a:pt x="4391" y="2687"/>
                </a:lnTo>
                <a:lnTo>
                  <a:pt x="4391" y="2687"/>
                </a:lnTo>
                <a:lnTo>
                  <a:pt x="4391" y="2687"/>
                </a:lnTo>
                <a:lnTo>
                  <a:pt x="4391" y="2687"/>
                </a:lnTo>
                <a:lnTo>
                  <a:pt x="4391" y="2681"/>
                </a:lnTo>
                <a:lnTo>
                  <a:pt x="4391" y="2681"/>
                </a:lnTo>
                <a:close/>
                <a:moveTo>
                  <a:pt x="4190" y="2627"/>
                </a:moveTo>
                <a:lnTo>
                  <a:pt x="4190" y="2627"/>
                </a:lnTo>
                <a:lnTo>
                  <a:pt x="4190" y="2627"/>
                </a:lnTo>
                <a:lnTo>
                  <a:pt x="4190" y="2627"/>
                </a:lnTo>
                <a:lnTo>
                  <a:pt x="4190" y="2627"/>
                </a:lnTo>
                <a:lnTo>
                  <a:pt x="4190" y="2622"/>
                </a:lnTo>
                <a:lnTo>
                  <a:pt x="4190" y="2622"/>
                </a:lnTo>
                <a:lnTo>
                  <a:pt x="4190" y="2622"/>
                </a:lnTo>
                <a:lnTo>
                  <a:pt x="4190" y="2622"/>
                </a:lnTo>
                <a:lnTo>
                  <a:pt x="4190" y="2622"/>
                </a:lnTo>
                <a:lnTo>
                  <a:pt x="4190" y="2622"/>
                </a:lnTo>
                <a:lnTo>
                  <a:pt x="4190" y="2622"/>
                </a:lnTo>
                <a:lnTo>
                  <a:pt x="4190" y="2622"/>
                </a:lnTo>
                <a:lnTo>
                  <a:pt x="4190" y="2622"/>
                </a:lnTo>
                <a:lnTo>
                  <a:pt x="4190" y="2622"/>
                </a:lnTo>
                <a:lnTo>
                  <a:pt x="4190" y="2622"/>
                </a:lnTo>
                <a:lnTo>
                  <a:pt x="4190" y="2622"/>
                </a:lnTo>
                <a:lnTo>
                  <a:pt x="4190" y="2622"/>
                </a:lnTo>
                <a:lnTo>
                  <a:pt x="4190" y="2622"/>
                </a:lnTo>
                <a:lnTo>
                  <a:pt x="4184" y="2622"/>
                </a:lnTo>
                <a:lnTo>
                  <a:pt x="4184" y="2622"/>
                </a:lnTo>
                <a:lnTo>
                  <a:pt x="4184" y="2622"/>
                </a:lnTo>
                <a:lnTo>
                  <a:pt x="4190" y="2622"/>
                </a:lnTo>
                <a:lnTo>
                  <a:pt x="4190" y="2627"/>
                </a:lnTo>
                <a:lnTo>
                  <a:pt x="4190" y="2627"/>
                </a:lnTo>
                <a:lnTo>
                  <a:pt x="4190" y="2627"/>
                </a:lnTo>
                <a:close/>
                <a:moveTo>
                  <a:pt x="4190" y="2616"/>
                </a:moveTo>
                <a:lnTo>
                  <a:pt x="4190" y="2616"/>
                </a:lnTo>
                <a:lnTo>
                  <a:pt x="4190" y="2616"/>
                </a:lnTo>
                <a:lnTo>
                  <a:pt x="4190" y="2616"/>
                </a:lnTo>
                <a:lnTo>
                  <a:pt x="4184" y="2616"/>
                </a:lnTo>
                <a:lnTo>
                  <a:pt x="4184" y="2616"/>
                </a:lnTo>
                <a:lnTo>
                  <a:pt x="4184" y="2616"/>
                </a:lnTo>
                <a:lnTo>
                  <a:pt x="4190" y="2616"/>
                </a:lnTo>
                <a:lnTo>
                  <a:pt x="4190" y="2616"/>
                </a:lnTo>
                <a:lnTo>
                  <a:pt x="4190" y="2622"/>
                </a:lnTo>
                <a:lnTo>
                  <a:pt x="4190" y="2622"/>
                </a:lnTo>
                <a:lnTo>
                  <a:pt x="4190" y="2622"/>
                </a:lnTo>
                <a:lnTo>
                  <a:pt x="4190" y="2622"/>
                </a:lnTo>
                <a:lnTo>
                  <a:pt x="4184" y="2622"/>
                </a:lnTo>
                <a:lnTo>
                  <a:pt x="4184" y="2622"/>
                </a:lnTo>
                <a:lnTo>
                  <a:pt x="4184" y="2622"/>
                </a:lnTo>
                <a:lnTo>
                  <a:pt x="4184" y="2622"/>
                </a:lnTo>
                <a:lnTo>
                  <a:pt x="4190" y="2622"/>
                </a:lnTo>
                <a:lnTo>
                  <a:pt x="4190" y="2622"/>
                </a:lnTo>
                <a:lnTo>
                  <a:pt x="4190" y="2622"/>
                </a:lnTo>
                <a:lnTo>
                  <a:pt x="4190" y="2622"/>
                </a:lnTo>
                <a:lnTo>
                  <a:pt x="4190" y="2622"/>
                </a:lnTo>
                <a:lnTo>
                  <a:pt x="4190" y="2616"/>
                </a:lnTo>
                <a:lnTo>
                  <a:pt x="4190" y="2616"/>
                </a:lnTo>
                <a:lnTo>
                  <a:pt x="4190" y="2616"/>
                </a:lnTo>
                <a:close/>
                <a:moveTo>
                  <a:pt x="4397" y="2639"/>
                </a:moveTo>
                <a:lnTo>
                  <a:pt x="4391" y="2639"/>
                </a:lnTo>
                <a:lnTo>
                  <a:pt x="4391" y="2639"/>
                </a:lnTo>
                <a:lnTo>
                  <a:pt x="4391" y="2639"/>
                </a:lnTo>
                <a:lnTo>
                  <a:pt x="4385" y="2639"/>
                </a:lnTo>
                <a:lnTo>
                  <a:pt x="4385" y="2639"/>
                </a:lnTo>
                <a:lnTo>
                  <a:pt x="4385" y="2639"/>
                </a:lnTo>
                <a:lnTo>
                  <a:pt x="4385" y="2645"/>
                </a:lnTo>
                <a:lnTo>
                  <a:pt x="4385" y="2645"/>
                </a:lnTo>
                <a:lnTo>
                  <a:pt x="4385" y="2645"/>
                </a:lnTo>
                <a:lnTo>
                  <a:pt x="4379" y="2645"/>
                </a:lnTo>
                <a:lnTo>
                  <a:pt x="4379" y="2645"/>
                </a:lnTo>
                <a:lnTo>
                  <a:pt x="4379" y="2651"/>
                </a:lnTo>
                <a:lnTo>
                  <a:pt x="4385" y="2651"/>
                </a:lnTo>
                <a:lnTo>
                  <a:pt x="4385" y="2663"/>
                </a:lnTo>
                <a:lnTo>
                  <a:pt x="4385" y="2663"/>
                </a:lnTo>
                <a:lnTo>
                  <a:pt x="4385" y="2669"/>
                </a:lnTo>
                <a:lnTo>
                  <a:pt x="4391" y="2675"/>
                </a:lnTo>
                <a:lnTo>
                  <a:pt x="4391" y="2681"/>
                </a:lnTo>
                <a:lnTo>
                  <a:pt x="4391" y="2681"/>
                </a:lnTo>
                <a:lnTo>
                  <a:pt x="4391" y="2681"/>
                </a:lnTo>
                <a:lnTo>
                  <a:pt x="4391" y="2675"/>
                </a:lnTo>
                <a:lnTo>
                  <a:pt x="4391" y="2675"/>
                </a:lnTo>
                <a:lnTo>
                  <a:pt x="4391" y="2675"/>
                </a:lnTo>
                <a:lnTo>
                  <a:pt x="4391" y="2675"/>
                </a:lnTo>
                <a:lnTo>
                  <a:pt x="4391" y="2675"/>
                </a:lnTo>
                <a:lnTo>
                  <a:pt x="4391" y="2669"/>
                </a:lnTo>
                <a:lnTo>
                  <a:pt x="4391" y="2669"/>
                </a:lnTo>
                <a:lnTo>
                  <a:pt x="4391" y="2657"/>
                </a:lnTo>
                <a:lnTo>
                  <a:pt x="4391" y="2651"/>
                </a:lnTo>
                <a:lnTo>
                  <a:pt x="4391" y="2651"/>
                </a:lnTo>
                <a:lnTo>
                  <a:pt x="4391" y="2651"/>
                </a:lnTo>
                <a:lnTo>
                  <a:pt x="4391" y="2645"/>
                </a:lnTo>
                <a:lnTo>
                  <a:pt x="4397" y="2639"/>
                </a:lnTo>
                <a:close/>
                <a:moveTo>
                  <a:pt x="4195" y="2782"/>
                </a:moveTo>
                <a:lnTo>
                  <a:pt x="4195" y="2776"/>
                </a:lnTo>
                <a:lnTo>
                  <a:pt x="4195" y="2776"/>
                </a:lnTo>
                <a:lnTo>
                  <a:pt x="4190" y="2770"/>
                </a:lnTo>
                <a:lnTo>
                  <a:pt x="4190" y="2770"/>
                </a:lnTo>
                <a:lnTo>
                  <a:pt x="4190" y="2770"/>
                </a:lnTo>
                <a:lnTo>
                  <a:pt x="4190" y="2770"/>
                </a:lnTo>
                <a:lnTo>
                  <a:pt x="4190" y="2770"/>
                </a:lnTo>
                <a:lnTo>
                  <a:pt x="4190" y="2770"/>
                </a:lnTo>
                <a:lnTo>
                  <a:pt x="4190" y="2776"/>
                </a:lnTo>
                <a:lnTo>
                  <a:pt x="4190" y="2776"/>
                </a:lnTo>
                <a:lnTo>
                  <a:pt x="4190" y="2776"/>
                </a:lnTo>
                <a:lnTo>
                  <a:pt x="4195" y="2782"/>
                </a:lnTo>
                <a:lnTo>
                  <a:pt x="4195" y="2782"/>
                </a:lnTo>
                <a:lnTo>
                  <a:pt x="4195" y="2782"/>
                </a:lnTo>
                <a:lnTo>
                  <a:pt x="4195" y="2782"/>
                </a:lnTo>
                <a:close/>
                <a:moveTo>
                  <a:pt x="4409" y="2722"/>
                </a:moveTo>
                <a:lnTo>
                  <a:pt x="4409" y="2722"/>
                </a:lnTo>
                <a:lnTo>
                  <a:pt x="4409" y="2722"/>
                </a:lnTo>
                <a:lnTo>
                  <a:pt x="4409" y="2722"/>
                </a:lnTo>
                <a:lnTo>
                  <a:pt x="4409" y="2722"/>
                </a:lnTo>
                <a:lnTo>
                  <a:pt x="4409" y="2722"/>
                </a:lnTo>
                <a:lnTo>
                  <a:pt x="4409" y="2722"/>
                </a:lnTo>
                <a:lnTo>
                  <a:pt x="4409" y="2722"/>
                </a:lnTo>
                <a:lnTo>
                  <a:pt x="4415" y="2728"/>
                </a:lnTo>
                <a:lnTo>
                  <a:pt x="4415" y="2734"/>
                </a:lnTo>
                <a:lnTo>
                  <a:pt x="4415" y="2734"/>
                </a:lnTo>
                <a:lnTo>
                  <a:pt x="4415" y="2734"/>
                </a:lnTo>
                <a:lnTo>
                  <a:pt x="4415" y="2740"/>
                </a:lnTo>
                <a:lnTo>
                  <a:pt x="4415" y="2740"/>
                </a:lnTo>
                <a:lnTo>
                  <a:pt x="4415" y="2740"/>
                </a:lnTo>
                <a:lnTo>
                  <a:pt x="4415" y="2740"/>
                </a:lnTo>
                <a:lnTo>
                  <a:pt x="4415" y="2746"/>
                </a:lnTo>
                <a:lnTo>
                  <a:pt x="4421" y="2746"/>
                </a:lnTo>
                <a:lnTo>
                  <a:pt x="4421" y="2746"/>
                </a:lnTo>
                <a:lnTo>
                  <a:pt x="4421" y="2746"/>
                </a:lnTo>
                <a:lnTo>
                  <a:pt x="4421" y="2746"/>
                </a:lnTo>
                <a:lnTo>
                  <a:pt x="4421" y="2752"/>
                </a:lnTo>
                <a:lnTo>
                  <a:pt x="4421" y="2758"/>
                </a:lnTo>
                <a:lnTo>
                  <a:pt x="4427" y="2764"/>
                </a:lnTo>
                <a:lnTo>
                  <a:pt x="4427" y="2770"/>
                </a:lnTo>
                <a:lnTo>
                  <a:pt x="4427" y="2770"/>
                </a:lnTo>
                <a:lnTo>
                  <a:pt x="4427" y="2770"/>
                </a:lnTo>
                <a:lnTo>
                  <a:pt x="4427" y="2770"/>
                </a:lnTo>
                <a:lnTo>
                  <a:pt x="4427" y="2770"/>
                </a:lnTo>
                <a:lnTo>
                  <a:pt x="4427" y="2776"/>
                </a:lnTo>
                <a:lnTo>
                  <a:pt x="4427" y="2776"/>
                </a:lnTo>
                <a:lnTo>
                  <a:pt x="4427" y="2776"/>
                </a:lnTo>
                <a:lnTo>
                  <a:pt x="4433" y="2788"/>
                </a:lnTo>
                <a:lnTo>
                  <a:pt x="4433" y="2794"/>
                </a:lnTo>
                <a:lnTo>
                  <a:pt x="4438" y="2794"/>
                </a:lnTo>
                <a:lnTo>
                  <a:pt x="4438" y="2794"/>
                </a:lnTo>
                <a:lnTo>
                  <a:pt x="4438" y="2799"/>
                </a:lnTo>
                <a:lnTo>
                  <a:pt x="4438" y="2799"/>
                </a:lnTo>
                <a:lnTo>
                  <a:pt x="4438" y="2794"/>
                </a:lnTo>
                <a:lnTo>
                  <a:pt x="4421" y="2752"/>
                </a:lnTo>
                <a:lnTo>
                  <a:pt x="4421" y="2746"/>
                </a:lnTo>
                <a:lnTo>
                  <a:pt x="4421" y="2746"/>
                </a:lnTo>
                <a:lnTo>
                  <a:pt x="4421" y="2746"/>
                </a:lnTo>
                <a:lnTo>
                  <a:pt x="4421" y="2746"/>
                </a:lnTo>
                <a:lnTo>
                  <a:pt x="4421" y="2740"/>
                </a:lnTo>
                <a:lnTo>
                  <a:pt x="4421" y="2740"/>
                </a:lnTo>
                <a:lnTo>
                  <a:pt x="4415" y="2734"/>
                </a:lnTo>
                <a:lnTo>
                  <a:pt x="4415" y="2728"/>
                </a:lnTo>
                <a:lnTo>
                  <a:pt x="4415" y="2728"/>
                </a:lnTo>
                <a:lnTo>
                  <a:pt x="4415" y="2722"/>
                </a:lnTo>
                <a:lnTo>
                  <a:pt x="4415" y="2722"/>
                </a:lnTo>
                <a:lnTo>
                  <a:pt x="4415" y="2722"/>
                </a:lnTo>
                <a:lnTo>
                  <a:pt x="4415" y="2722"/>
                </a:lnTo>
                <a:lnTo>
                  <a:pt x="4409" y="2722"/>
                </a:lnTo>
                <a:lnTo>
                  <a:pt x="4409" y="2722"/>
                </a:lnTo>
                <a:lnTo>
                  <a:pt x="4409" y="2722"/>
                </a:lnTo>
                <a:lnTo>
                  <a:pt x="4409" y="2722"/>
                </a:lnTo>
                <a:lnTo>
                  <a:pt x="4409" y="2722"/>
                </a:lnTo>
                <a:close/>
                <a:moveTo>
                  <a:pt x="4154" y="2574"/>
                </a:moveTo>
                <a:lnTo>
                  <a:pt x="4154" y="2574"/>
                </a:lnTo>
                <a:lnTo>
                  <a:pt x="4154" y="2574"/>
                </a:lnTo>
                <a:lnTo>
                  <a:pt x="4154" y="2574"/>
                </a:lnTo>
                <a:lnTo>
                  <a:pt x="4154" y="2574"/>
                </a:lnTo>
                <a:lnTo>
                  <a:pt x="4148" y="2574"/>
                </a:lnTo>
                <a:lnTo>
                  <a:pt x="4148" y="2574"/>
                </a:lnTo>
                <a:lnTo>
                  <a:pt x="4148" y="2580"/>
                </a:lnTo>
                <a:lnTo>
                  <a:pt x="4154" y="2580"/>
                </a:lnTo>
                <a:lnTo>
                  <a:pt x="4154" y="2580"/>
                </a:lnTo>
                <a:lnTo>
                  <a:pt x="4154" y="2574"/>
                </a:lnTo>
                <a:lnTo>
                  <a:pt x="4154" y="2574"/>
                </a:lnTo>
                <a:lnTo>
                  <a:pt x="4154" y="2574"/>
                </a:lnTo>
                <a:close/>
                <a:moveTo>
                  <a:pt x="3947" y="2515"/>
                </a:moveTo>
                <a:lnTo>
                  <a:pt x="3947" y="2515"/>
                </a:lnTo>
                <a:lnTo>
                  <a:pt x="3947" y="2515"/>
                </a:lnTo>
                <a:lnTo>
                  <a:pt x="3947" y="2515"/>
                </a:lnTo>
                <a:lnTo>
                  <a:pt x="3947" y="2515"/>
                </a:lnTo>
                <a:lnTo>
                  <a:pt x="3947" y="2515"/>
                </a:lnTo>
                <a:lnTo>
                  <a:pt x="3947" y="2515"/>
                </a:lnTo>
                <a:lnTo>
                  <a:pt x="3947" y="2515"/>
                </a:lnTo>
                <a:lnTo>
                  <a:pt x="3947" y="2515"/>
                </a:lnTo>
                <a:lnTo>
                  <a:pt x="3941" y="2515"/>
                </a:lnTo>
                <a:lnTo>
                  <a:pt x="3941" y="2515"/>
                </a:lnTo>
                <a:lnTo>
                  <a:pt x="3941" y="2515"/>
                </a:lnTo>
                <a:lnTo>
                  <a:pt x="3941" y="2515"/>
                </a:lnTo>
                <a:lnTo>
                  <a:pt x="3941" y="2515"/>
                </a:lnTo>
                <a:lnTo>
                  <a:pt x="3935" y="2515"/>
                </a:lnTo>
                <a:lnTo>
                  <a:pt x="3935" y="2515"/>
                </a:lnTo>
                <a:lnTo>
                  <a:pt x="3941" y="2515"/>
                </a:lnTo>
                <a:lnTo>
                  <a:pt x="3941" y="2515"/>
                </a:lnTo>
                <a:lnTo>
                  <a:pt x="3941" y="2515"/>
                </a:lnTo>
                <a:lnTo>
                  <a:pt x="3941" y="2521"/>
                </a:lnTo>
                <a:lnTo>
                  <a:pt x="3941" y="2521"/>
                </a:lnTo>
                <a:lnTo>
                  <a:pt x="3941" y="2521"/>
                </a:lnTo>
                <a:lnTo>
                  <a:pt x="3947" y="2521"/>
                </a:lnTo>
                <a:lnTo>
                  <a:pt x="3947" y="2521"/>
                </a:lnTo>
                <a:lnTo>
                  <a:pt x="3947" y="2521"/>
                </a:lnTo>
                <a:lnTo>
                  <a:pt x="3947" y="2521"/>
                </a:lnTo>
                <a:lnTo>
                  <a:pt x="3947" y="2521"/>
                </a:lnTo>
                <a:lnTo>
                  <a:pt x="3947" y="2521"/>
                </a:lnTo>
                <a:lnTo>
                  <a:pt x="3947" y="2515"/>
                </a:lnTo>
                <a:lnTo>
                  <a:pt x="3947" y="2515"/>
                </a:lnTo>
                <a:close/>
                <a:moveTo>
                  <a:pt x="3988" y="2509"/>
                </a:move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82" y="2509"/>
                </a:lnTo>
                <a:lnTo>
                  <a:pt x="3958" y="2521"/>
                </a:lnTo>
                <a:lnTo>
                  <a:pt x="3953" y="2521"/>
                </a:lnTo>
                <a:lnTo>
                  <a:pt x="3953" y="2521"/>
                </a:lnTo>
                <a:lnTo>
                  <a:pt x="3947" y="2521"/>
                </a:lnTo>
                <a:lnTo>
                  <a:pt x="3947" y="2521"/>
                </a:lnTo>
                <a:lnTo>
                  <a:pt x="3947" y="2521"/>
                </a:lnTo>
                <a:lnTo>
                  <a:pt x="3947" y="2521"/>
                </a:lnTo>
                <a:lnTo>
                  <a:pt x="3953" y="2521"/>
                </a:lnTo>
                <a:lnTo>
                  <a:pt x="3953" y="2521"/>
                </a:lnTo>
                <a:lnTo>
                  <a:pt x="3958" y="2521"/>
                </a:lnTo>
                <a:lnTo>
                  <a:pt x="3958" y="2521"/>
                </a:lnTo>
                <a:lnTo>
                  <a:pt x="3964" y="2521"/>
                </a:lnTo>
                <a:lnTo>
                  <a:pt x="3970" y="2515"/>
                </a:lnTo>
                <a:lnTo>
                  <a:pt x="3976" y="2515"/>
                </a:lnTo>
                <a:lnTo>
                  <a:pt x="3982" y="2515"/>
                </a:lnTo>
                <a:lnTo>
                  <a:pt x="3982" y="2509"/>
                </a:lnTo>
                <a:lnTo>
                  <a:pt x="3988" y="2509"/>
                </a:lnTo>
                <a:lnTo>
                  <a:pt x="3988" y="2509"/>
                </a:lnTo>
                <a:lnTo>
                  <a:pt x="3988" y="2509"/>
                </a:lnTo>
                <a:lnTo>
                  <a:pt x="3988" y="2509"/>
                </a:lnTo>
                <a:lnTo>
                  <a:pt x="3988" y="2509"/>
                </a:lnTo>
                <a:lnTo>
                  <a:pt x="3988" y="2509"/>
                </a:lnTo>
                <a:lnTo>
                  <a:pt x="3988" y="2503"/>
                </a:lnTo>
                <a:lnTo>
                  <a:pt x="3988" y="2503"/>
                </a:lnTo>
                <a:lnTo>
                  <a:pt x="3988" y="2509"/>
                </a:lnTo>
                <a:close/>
                <a:moveTo>
                  <a:pt x="3793" y="2432"/>
                </a:moveTo>
                <a:lnTo>
                  <a:pt x="3787" y="2432"/>
                </a:lnTo>
                <a:lnTo>
                  <a:pt x="3787" y="2432"/>
                </a:lnTo>
                <a:lnTo>
                  <a:pt x="3787" y="2432"/>
                </a:lnTo>
                <a:lnTo>
                  <a:pt x="3787" y="2432"/>
                </a:lnTo>
                <a:lnTo>
                  <a:pt x="3775" y="2432"/>
                </a:lnTo>
                <a:lnTo>
                  <a:pt x="3769" y="2432"/>
                </a:lnTo>
                <a:lnTo>
                  <a:pt x="3769" y="2432"/>
                </a:lnTo>
                <a:lnTo>
                  <a:pt x="3769" y="2432"/>
                </a:lnTo>
                <a:lnTo>
                  <a:pt x="3763" y="2432"/>
                </a:lnTo>
                <a:lnTo>
                  <a:pt x="3763" y="2432"/>
                </a:lnTo>
                <a:lnTo>
                  <a:pt x="3763" y="2432"/>
                </a:lnTo>
                <a:lnTo>
                  <a:pt x="3763" y="2438"/>
                </a:lnTo>
                <a:lnTo>
                  <a:pt x="3757" y="2438"/>
                </a:lnTo>
                <a:lnTo>
                  <a:pt x="3751" y="2438"/>
                </a:lnTo>
                <a:lnTo>
                  <a:pt x="3739" y="2438"/>
                </a:lnTo>
                <a:lnTo>
                  <a:pt x="3733" y="2438"/>
                </a:lnTo>
                <a:lnTo>
                  <a:pt x="3727" y="2438"/>
                </a:lnTo>
                <a:lnTo>
                  <a:pt x="3733" y="2444"/>
                </a:lnTo>
                <a:lnTo>
                  <a:pt x="3757" y="2438"/>
                </a:lnTo>
                <a:lnTo>
                  <a:pt x="3769" y="2438"/>
                </a:lnTo>
                <a:lnTo>
                  <a:pt x="3781" y="2438"/>
                </a:lnTo>
                <a:lnTo>
                  <a:pt x="3804" y="2432"/>
                </a:lnTo>
                <a:lnTo>
                  <a:pt x="3804" y="2432"/>
                </a:lnTo>
                <a:lnTo>
                  <a:pt x="3804" y="2432"/>
                </a:lnTo>
                <a:lnTo>
                  <a:pt x="3804" y="2432"/>
                </a:lnTo>
                <a:lnTo>
                  <a:pt x="3804" y="2432"/>
                </a:lnTo>
                <a:lnTo>
                  <a:pt x="3798" y="2432"/>
                </a:lnTo>
                <a:lnTo>
                  <a:pt x="3793" y="2432"/>
                </a:lnTo>
                <a:close/>
                <a:moveTo>
                  <a:pt x="4000" y="2497"/>
                </a:moveTo>
                <a:lnTo>
                  <a:pt x="4000" y="2497"/>
                </a:lnTo>
                <a:lnTo>
                  <a:pt x="3994" y="2503"/>
                </a:lnTo>
                <a:lnTo>
                  <a:pt x="3994" y="2503"/>
                </a:lnTo>
                <a:lnTo>
                  <a:pt x="3988" y="2503"/>
                </a:lnTo>
                <a:lnTo>
                  <a:pt x="3994" y="2503"/>
                </a:lnTo>
                <a:lnTo>
                  <a:pt x="4000" y="2503"/>
                </a:lnTo>
                <a:lnTo>
                  <a:pt x="4000" y="2497"/>
                </a:lnTo>
                <a:lnTo>
                  <a:pt x="4000" y="2497"/>
                </a:lnTo>
                <a:lnTo>
                  <a:pt x="4000" y="2497"/>
                </a:lnTo>
                <a:close/>
                <a:moveTo>
                  <a:pt x="4427" y="3001"/>
                </a:moveTo>
                <a:lnTo>
                  <a:pt x="4427" y="3001"/>
                </a:lnTo>
                <a:lnTo>
                  <a:pt x="4427" y="3007"/>
                </a:lnTo>
                <a:lnTo>
                  <a:pt x="4421" y="3007"/>
                </a:lnTo>
                <a:lnTo>
                  <a:pt x="4421" y="3007"/>
                </a:lnTo>
                <a:lnTo>
                  <a:pt x="4421" y="3007"/>
                </a:lnTo>
                <a:lnTo>
                  <a:pt x="4421" y="3007"/>
                </a:lnTo>
                <a:lnTo>
                  <a:pt x="4421" y="3007"/>
                </a:lnTo>
                <a:lnTo>
                  <a:pt x="4421" y="3013"/>
                </a:lnTo>
                <a:lnTo>
                  <a:pt x="4421" y="3013"/>
                </a:lnTo>
                <a:lnTo>
                  <a:pt x="4421" y="3013"/>
                </a:lnTo>
                <a:lnTo>
                  <a:pt x="4421" y="3013"/>
                </a:lnTo>
                <a:lnTo>
                  <a:pt x="4421" y="3013"/>
                </a:lnTo>
                <a:lnTo>
                  <a:pt x="4421" y="3013"/>
                </a:lnTo>
                <a:lnTo>
                  <a:pt x="4421" y="3013"/>
                </a:lnTo>
                <a:lnTo>
                  <a:pt x="4421" y="3013"/>
                </a:lnTo>
                <a:lnTo>
                  <a:pt x="4415" y="3019"/>
                </a:lnTo>
                <a:lnTo>
                  <a:pt x="4415" y="3025"/>
                </a:lnTo>
                <a:lnTo>
                  <a:pt x="4409" y="3025"/>
                </a:lnTo>
                <a:lnTo>
                  <a:pt x="4409" y="3025"/>
                </a:lnTo>
                <a:lnTo>
                  <a:pt x="4409" y="3025"/>
                </a:lnTo>
                <a:lnTo>
                  <a:pt x="4409" y="3025"/>
                </a:lnTo>
                <a:lnTo>
                  <a:pt x="4415" y="3025"/>
                </a:lnTo>
                <a:lnTo>
                  <a:pt x="4409" y="3025"/>
                </a:lnTo>
                <a:lnTo>
                  <a:pt x="4409" y="3025"/>
                </a:lnTo>
                <a:lnTo>
                  <a:pt x="4409" y="3025"/>
                </a:lnTo>
                <a:lnTo>
                  <a:pt x="4409" y="3025"/>
                </a:lnTo>
                <a:lnTo>
                  <a:pt x="4409" y="3031"/>
                </a:lnTo>
                <a:lnTo>
                  <a:pt x="4409" y="3031"/>
                </a:lnTo>
                <a:lnTo>
                  <a:pt x="4409" y="3031"/>
                </a:lnTo>
                <a:lnTo>
                  <a:pt x="4409" y="3031"/>
                </a:lnTo>
                <a:lnTo>
                  <a:pt x="4409" y="3031"/>
                </a:lnTo>
                <a:lnTo>
                  <a:pt x="4409" y="3031"/>
                </a:lnTo>
                <a:lnTo>
                  <a:pt x="4409" y="3031"/>
                </a:lnTo>
                <a:lnTo>
                  <a:pt x="4403" y="3037"/>
                </a:lnTo>
                <a:lnTo>
                  <a:pt x="4403" y="3037"/>
                </a:lnTo>
                <a:lnTo>
                  <a:pt x="4403" y="3037"/>
                </a:lnTo>
                <a:lnTo>
                  <a:pt x="4403" y="3037"/>
                </a:lnTo>
                <a:lnTo>
                  <a:pt x="4403" y="3037"/>
                </a:lnTo>
                <a:lnTo>
                  <a:pt x="4403" y="3037"/>
                </a:lnTo>
                <a:lnTo>
                  <a:pt x="4403" y="3037"/>
                </a:lnTo>
                <a:lnTo>
                  <a:pt x="4397" y="3037"/>
                </a:lnTo>
                <a:lnTo>
                  <a:pt x="4397" y="3043"/>
                </a:lnTo>
                <a:lnTo>
                  <a:pt x="4397" y="3043"/>
                </a:lnTo>
                <a:lnTo>
                  <a:pt x="4397" y="3043"/>
                </a:lnTo>
                <a:lnTo>
                  <a:pt x="4397" y="3043"/>
                </a:lnTo>
                <a:lnTo>
                  <a:pt x="4397" y="3043"/>
                </a:lnTo>
                <a:lnTo>
                  <a:pt x="4397" y="3043"/>
                </a:lnTo>
                <a:lnTo>
                  <a:pt x="4397" y="3043"/>
                </a:lnTo>
                <a:lnTo>
                  <a:pt x="4397" y="3049"/>
                </a:lnTo>
                <a:lnTo>
                  <a:pt x="4397" y="3049"/>
                </a:lnTo>
                <a:lnTo>
                  <a:pt x="4397" y="3043"/>
                </a:lnTo>
                <a:lnTo>
                  <a:pt x="4403" y="3043"/>
                </a:lnTo>
                <a:lnTo>
                  <a:pt x="4403" y="3037"/>
                </a:lnTo>
                <a:lnTo>
                  <a:pt x="4409" y="3037"/>
                </a:lnTo>
                <a:lnTo>
                  <a:pt x="4409" y="3037"/>
                </a:lnTo>
                <a:lnTo>
                  <a:pt x="4409" y="3037"/>
                </a:lnTo>
                <a:lnTo>
                  <a:pt x="4409" y="3031"/>
                </a:lnTo>
                <a:lnTo>
                  <a:pt x="4409" y="3031"/>
                </a:lnTo>
                <a:lnTo>
                  <a:pt x="4409" y="3031"/>
                </a:lnTo>
                <a:lnTo>
                  <a:pt x="4409" y="3031"/>
                </a:lnTo>
                <a:lnTo>
                  <a:pt x="4409" y="3031"/>
                </a:lnTo>
                <a:lnTo>
                  <a:pt x="4409" y="3031"/>
                </a:lnTo>
                <a:lnTo>
                  <a:pt x="4415" y="3025"/>
                </a:lnTo>
                <a:lnTo>
                  <a:pt x="4421" y="3025"/>
                </a:lnTo>
                <a:lnTo>
                  <a:pt x="4421" y="3025"/>
                </a:lnTo>
                <a:lnTo>
                  <a:pt x="4421" y="3019"/>
                </a:lnTo>
                <a:lnTo>
                  <a:pt x="4421" y="3019"/>
                </a:lnTo>
                <a:lnTo>
                  <a:pt x="4421" y="3013"/>
                </a:lnTo>
                <a:lnTo>
                  <a:pt x="4421" y="3013"/>
                </a:lnTo>
                <a:lnTo>
                  <a:pt x="4427" y="3007"/>
                </a:lnTo>
                <a:lnTo>
                  <a:pt x="4427" y="3007"/>
                </a:lnTo>
                <a:lnTo>
                  <a:pt x="4427" y="3007"/>
                </a:lnTo>
                <a:lnTo>
                  <a:pt x="4427" y="3007"/>
                </a:lnTo>
                <a:lnTo>
                  <a:pt x="4427" y="3007"/>
                </a:lnTo>
                <a:lnTo>
                  <a:pt x="4427" y="3007"/>
                </a:lnTo>
                <a:lnTo>
                  <a:pt x="4427" y="3007"/>
                </a:lnTo>
                <a:lnTo>
                  <a:pt x="4427" y="3007"/>
                </a:lnTo>
                <a:lnTo>
                  <a:pt x="4427" y="3007"/>
                </a:lnTo>
                <a:lnTo>
                  <a:pt x="4427" y="3001"/>
                </a:lnTo>
                <a:lnTo>
                  <a:pt x="4427" y="3001"/>
                </a:lnTo>
                <a:lnTo>
                  <a:pt x="4427" y="3001"/>
                </a:lnTo>
                <a:lnTo>
                  <a:pt x="4427" y="3001"/>
                </a:lnTo>
                <a:lnTo>
                  <a:pt x="4427" y="3001"/>
                </a:lnTo>
                <a:lnTo>
                  <a:pt x="4433" y="3001"/>
                </a:lnTo>
                <a:lnTo>
                  <a:pt x="4433" y="3001"/>
                </a:lnTo>
                <a:lnTo>
                  <a:pt x="4433" y="3001"/>
                </a:lnTo>
                <a:lnTo>
                  <a:pt x="4427" y="3001"/>
                </a:lnTo>
                <a:lnTo>
                  <a:pt x="4427" y="3001"/>
                </a:lnTo>
                <a:close/>
                <a:moveTo>
                  <a:pt x="4344" y="3001"/>
                </a:moveTo>
                <a:lnTo>
                  <a:pt x="4344" y="3001"/>
                </a:lnTo>
                <a:lnTo>
                  <a:pt x="4344" y="3007"/>
                </a:lnTo>
                <a:lnTo>
                  <a:pt x="4344" y="3007"/>
                </a:lnTo>
                <a:lnTo>
                  <a:pt x="4344" y="3007"/>
                </a:lnTo>
                <a:lnTo>
                  <a:pt x="4350" y="3007"/>
                </a:lnTo>
                <a:lnTo>
                  <a:pt x="4350" y="3007"/>
                </a:lnTo>
                <a:lnTo>
                  <a:pt x="4350" y="3007"/>
                </a:lnTo>
                <a:lnTo>
                  <a:pt x="4350" y="3001"/>
                </a:lnTo>
                <a:lnTo>
                  <a:pt x="4344" y="3001"/>
                </a:lnTo>
                <a:lnTo>
                  <a:pt x="4344" y="3001"/>
                </a:lnTo>
                <a:lnTo>
                  <a:pt x="4344" y="3001"/>
                </a:lnTo>
                <a:lnTo>
                  <a:pt x="4344" y="3001"/>
                </a:lnTo>
                <a:lnTo>
                  <a:pt x="4344" y="3001"/>
                </a:lnTo>
                <a:lnTo>
                  <a:pt x="4344" y="3001"/>
                </a:lnTo>
                <a:close/>
                <a:moveTo>
                  <a:pt x="3644" y="2450"/>
                </a:moveTo>
                <a:lnTo>
                  <a:pt x="3644" y="2450"/>
                </a:lnTo>
                <a:lnTo>
                  <a:pt x="3644" y="2450"/>
                </a:lnTo>
                <a:lnTo>
                  <a:pt x="3644" y="2450"/>
                </a:lnTo>
                <a:lnTo>
                  <a:pt x="3644" y="2450"/>
                </a:lnTo>
                <a:lnTo>
                  <a:pt x="3644" y="2450"/>
                </a:lnTo>
                <a:lnTo>
                  <a:pt x="3638" y="2450"/>
                </a:lnTo>
                <a:lnTo>
                  <a:pt x="3633" y="2450"/>
                </a:lnTo>
                <a:lnTo>
                  <a:pt x="3627" y="2450"/>
                </a:lnTo>
                <a:lnTo>
                  <a:pt x="3627" y="2450"/>
                </a:lnTo>
                <a:lnTo>
                  <a:pt x="3627" y="2450"/>
                </a:lnTo>
                <a:lnTo>
                  <a:pt x="3650" y="2450"/>
                </a:lnTo>
                <a:lnTo>
                  <a:pt x="3650" y="2450"/>
                </a:lnTo>
                <a:lnTo>
                  <a:pt x="3650" y="2450"/>
                </a:lnTo>
                <a:lnTo>
                  <a:pt x="3650" y="2450"/>
                </a:lnTo>
                <a:lnTo>
                  <a:pt x="3650" y="2450"/>
                </a:lnTo>
                <a:lnTo>
                  <a:pt x="3650" y="2450"/>
                </a:lnTo>
                <a:lnTo>
                  <a:pt x="3650" y="2444"/>
                </a:lnTo>
                <a:lnTo>
                  <a:pt x="3644" y="2450"/>
                </a:lnTo>
                <a:close/>
              </a:path>
            </a:pathLst>
          </a:custGeom>
          <a:solidFill>
            <a:schemeClr val="bg2">
              <a:lumMod val="40000"/>
              <a:lumOff val="6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57F91A6F-14BF-CB9C-27EA-CE159FDAFFB0}"/>
              </a:ext>
            </a:extLst>
          </p:cNvPr>
          <p:cNvSpPr>
            <a:spLocks noGrp="1"/>
          </p:cNvSpPr>
          <p:nvPr>
            <p:ph type="title"/>
          </p:nvPr>
        </p:nvSpPr>
        <p:spPr>
          <a:xfrm>
            <a:off x="536240" y="414320"/>
            <a:ext cx="10896000" cy="1082209"/>
          </a:xfrm>
        </p:spPr>
        <p:txBody>
          <a:bodyPr>
            <a:normAutofit/>
          </a:bodyPr>
          <a:lstStyle/>
          <a:p>
            <a:r>
              <a:rPr lang="en-US" noProof="0"/>
              <a:t>Prevalence of obesity in United </a:t>
            </a:r>
            <a:r>
              <a:rPr lang="en-US"/>
              <a:t>States</a:t>
            </a:r>
            <a:r>
              <a:rPr lang="en-US" noProof="0"/>
              <a:t> by race in</a:t>
            </a:r>
            <a:br>
              <a:rPr lang="en-US" noProof="0"/>
            </a:br>
            <a:r>
              <a:rPr lang="en-US" noProof="0"/>
              <a:t>children/youth (aged 2–19 years) from 2017 to 2020</a:t>
            </a:r>
          </a:p>
        </p:txBody>
      </p:sp>
      <p:sp>
        <p:nvSpPr>
          <p:cNvPr id="3" name="Text Placeholder 2">
            <a:extLst>
              <a:ext uri="{FF2B5EF4-FFF2-40B4-BE49-F238E27FC236}">
                <a16:creationId xmlns:a16="http://schemas.microsoft.com/office/drawing/2014/main" id="{D23D279D-6A28-1E18-F395-9849670198C1}"/>
              </a:ext>
            </a:extLst>
          </p:cNvPr>
          <p:cNvSpPr>
            <a:spLocks noGrp="1"/>
          </p:cNvSpPr>
          <p:nvPr>
            <p:ph type="body" sz="quarter" idx="13"/>
          </p:nvPr>
        </p:nvSpPr>
        <p:spPr>
          <a:xfrm>
            <a:off x="536240" y="6013923"/>
            <a:ext cx="10896000" cy="324000"/>
          </a:xfrm>
        </p:spPr>
        <p:txBody>
          <a:bodyPr/>
          <a:lstStyle/>
          <a:p>
            <a:r>
              <a:rPr lang="en-US" noProof="0" dirty="0"/>
              <a:t>*Obesity is defined as a BMI of greater than or equal to the age- and sex-specific 95th percentile.</a:t>
            </a:r>
            <a:br>
              <a:rPr lang="en-US" noProof="0" dirty="0"/>
            </a:br>
            <a:r>
              <a:rPr lang="en-US" noProof="0" dirty="0"/>
              <a:t>BMI, body mass index.</a:t>
            </a:r>
            <a:br>
              <a:rPr lang="en-US" noProof="0" dirty="0"/>
            </a:br>
            <a:r>
              <a:rPr lang="en-US" noProof="0" dirty="0"/>
              <a:t>1. Hu K, Staiano A. JAMA </a:t>
            </a:r>
            <a:r>
              <a:rPr lang="en-US" noProof="0" dirty="0" err="1"/>
              <a:t>Pediatr</a:t>
            </a:r>
            <a:r>
              <a:rPr lang="en-US" noProof="0" dirty="0"/>
              <a:t> 2022;176:1037–1039; 2. Stierman B et al. National Health and Nutrition Examination Survey. 2017–March 2020 </a:t>
            </a:r>
            <a:r>
              <a:rPr lang="en-US" noProof="0" dirty="0" err="1"/>
              <a:t>prepandemic</a:t>
            </a:r>
            <a:r>
              <a:rPr lang="en-US" noProof="0" dirty="0"/>
              <a:t> data files: Development of files and prevalence estimates for selected health outcomes (2021). </a:t>
            </a:r>
            <a:r>
              <a:rPr lang="en-US" u="sng" noProof="0" dirty="0"/>
              <a:t>https://</a:t>
            </a:r>
            <a:r>
              <a:rPr lang="en-US" u="sng" noProof="0" dirty="0" err="1"/>
              <a:t>stacks.cdc.gov</a:t>
            </a:r>
            <a:r>
              <a:rPr lang="en-US" u="sng" noProof="0" dirty="0"/>
              <a:t>/view/</a:t>
            </a:r>
            <a:r>
              <a:rPr lang="en-US" u="sng" noProof="0" dirty="0" err="1"/>
              <a:t>cdc</a:t>
            </a:r>
            <a:r>
              <a:rPr lang="en-US" u="sng" noProof="0" dirty="0"/>
              <a:t>/106273</a:t>
            </a:r>
            <a:r>
              <a:rPr lang="en-US" noProof="0" dirty="0"/>
              <a:t>. Accessed </a:t>
            </a:r>
            <a:r>
              <a:rPr lang="en-US" dirty="0"/>
              <a:t>October 2025</a:t>
            </a:r>
            <a:r>
              <a:rPr lang="en-US" noProof="0" dirty="0"/>
              <a:t>; 3. Zare H et al. Am J </a:t>
            </a:r>
            <a:r>
              <a:rPr lang="en-US" noProof="0" dirty="0" err="1"/>
              <a:t>Mens</a:t>
            </a:r>
            <a:r>
              <a:rPr lang="en-US" noProof="0" dirty="0"/>
              <a:t> Health 2022;16:15579883221123852.</a:t>
            </a:r>
          </a:p>
        </p:txBody>
      </p:sp>
      <p:grpSp>
        <p:nvGrpSpPr>
          <p:cNvPr id="7" name="Group 6">
            <a:extLst>
              <a:ext uri="{FF2B5EF4-FFF2-40B4-BE49-F238E27FC236}">
                <a16:creationId xmlns:a16="http://schemas.microsoft.com/office/drawing/2014/main" id="{00804B20-63A4-2277-9950-9CF48817A265}"/>
              </a:ext>
            </a:extLst>
          </p:cNvPr>
          <p:cNvGrpSpPr/>
          <p:nvPr/>
        </p:nvGrpSpPr>
        <p:grpSpPr>
          <a:xfrm>
            <a:off x="438173" y="1795837"/>
            <a:ext cx="6154567" cy="3707717"/>
            <a:chOff x="2864829" y="1825983"/>
            <a:chExt cx="6154567" cy="3707717"/>
          </a:xfrm>
        </p:grpSpPr>
        <p:graphicFrame>
          <p:nvGraphicFramePr>
            <p:cNvPr id="9" name="Chart 8">
              <a:extLst>
                <a:ext uri="{FF2B5EF4-FFF2-40B4-BE49-F238E27FC236}">
                  <a16:creationId xmlns:a16="http://schemas.microsoft.com/office/drawing/2014/main" id="{C7F6A140-63C3-F149-2293-F8BBB72B1A53}"/>
                </a:ext>
              </a:extLst>
            </p:cNvPr>
            <p:cNvGraphicFramePr/>
            <p:nvPr>
              <p:extLst>
                <p:ext uri="{D42A27DB-BD31-4B8C-83A1-F6EECF244321}">
                  <p14:modId xmlns:p14="http://schemas.microsoft.com/office/powerpoint/2010/main" val="2318604253"/>
                </p:ext>
              </p:extLst>
            </p:nvPr>
          </p:nvGraphicFramePr>
          <p:xfrm>
            <a:off x="3172605" y="1825983"/>
            <a:ext cx="5846791" cy="3444378"/>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AD6EE258-3203-2342-3C9B-EA91F4DE8A7B}"/>
                </a:ext>
              </a:extLst>
            </p:cNvPr>
            <p:cNvSpPr txBox="1"/>
            <p:nvPr/>
          </p:nvSpPr>
          <p:spPr>
            <a:xfrm rot="16200000">
              <a:off x="2094114" y="3311537"/>
              <a:ext cx="1849208" cy="307777"/>
            </a:xfrm>
            <a:prstGeom prst="rect">
              <a:avLst/>
            </a:prstGeom>
            <a:noFill/>
          </p:spPr>
          <p:txBody>
            <a:bodyPr wrap="square" rtlCol="0" anchor="ctr">
              <a:spAutoFit/>
            </a:bodyPr>
            <a:lstStyle/>
            <a:p>
              <a:pPr marL="0" marR="0" lvl="0" indent="0" algn="ctr" defTabSz="1219170" rtl="0" eaLnBrk="1" fontAlgn="base" latinLnBrk="0" hangingPunct="1">
                <a:lnSpc>
                  <a:spcPct val="100000"/>
                </a:lnSpc>
                <a:spcBef>
                  <a:spcPct val="50000"/>
                </a:spcBef>
                <a:spcAft>
                  <a:spcPct val="0"/>
                </a:spcAft>
                <a:buClrTx/>
                <a:buSzTx/>
                <a:buFontTx/>
                <a:buNone/>
                <a:tabLst/>
                <a:defRPr/>
              </a:pPr>
              <a:r>
                <a:rPr kumimoji="0" lang="en-US" sz="1400" b="1"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 Prevalence (%)</a:t>
              </a:r>
              <a:r>
                <a:rPr kumimoji="0" lang="en-US" sz="1400" b="1" i="0" u="none" strike="noStrike" kern="0" cap="none" spc="0" normalizeH="0" baseline="30000" noProof="0">
                  <a:ln>
                    <a:noFill/>
                  </a:ln>
                  <a:effectLst/>
                  <a:uLnTx/>
                  <a:uFillTx/>
                  <a:latin typeface="Arial" panose="020B0604020202020204" pitchFamily="34" charset="0"/>
                  <a:ea typeface="Apis For Office" panose="020B0504010101010104" pitchFamily="34" charset="0"/>
                  <a:cs typeface="Arial" panose="020B0604020202020204" pitchFamily="34" charset="0"/>
                </a:rPr>
                <a:t>1</a:t>
              </a:r>
            </a:p>
          </p:txBody>
        </p:sp>
        <p:sp>
          <p:nvSpPr>
            <p:cNvPr id="14" name="TextBox 13">
              <a:extLst>
                <a:ext uri="{FF2B5EF4-FFF2-40B4-BE49-F238E27FC236}">
                  <a16:creationId xmlns:a16="http://schemas.microsoft.com/office/drawing/2014/main" id="{594D73F9-E428-52B9-D4D2-38887BBB7984}"/>
                </a:ext>
              </a:extLst>
            </p:cNvPr>
            <p:cNvSpPr txBox="1"/>
            <p:nvPr/>
          </p:nvSpPr>
          <p:spPr>
            <a:xfrm>
              <a:off x="3523935" y="5225923"/>
              <a:ext cx="5338689" cy="307777"/>
            </a:xfrm>
            <a:prstGeom prst="rect">
              <a:avLst/>
            </a:prstGeom>
            <a:noFill/>
          </p:spPr>
          <p:txBody>
            <a:bodyPr wrap="square" rtlCol="0" anchor="ctr">
              <a:spAutoFit/>
            </a:bodyPr>
            <a:lstStyle/>
            <a:p>
              <a:pPr marL="0" marR="0" lvl="0" indent="0" algn="ctr" defTabSz="1219170" rtl="0" eaLnBrk="1" fontAlgn="base" latinLnBrk="0" hangingPunct="1">
                <a:lnSpc>
                  <a:spcPct val="100000"/>
                </a:lnSpc>
                <a:spcBef>
                  <a:spcPct val="50000"/>
                </a:spcBef>
                <a:spcAft>
                  <a:spcPct val="0"/>
                </a:spcAft>
                <a:buClrTx/>
                <a:buSzTx/>
                <a:buFontTx/>
                <a:buNone/>
                <a:tabLst/>
                <a:defRPr/>
              </a:pPr>
              <a:r>
                <a:rPr kumimoji="0" lang="en-US" sz="1400" b="1" i="0" u="none" strike="noStrike" kern="0" cap="none" spc="0" normalizeH="0" baseline="0" noProof="0">
                  <a:ln>
                    <a:noFill/>
                  </a:ln>
                  <a:effectLst/>
                  <a:uLnTx/>
                  <a:uFillTx/>
                  <a:latin typeface="Arial" panose="020B0604020202020204" pitchFamily="34" charset="0"/>
                  <a:ea typeface="Apis For Office" panose="020B0504010101010104" pitchFamily="34" charset="0"/>
                  <a:cs typeface="Arial" panose="020B0604020202020204" pitchFamily="34" charset="0"/>
                </a:rPr>
                <a:t>Race</a:t>
              </a:r>
              <a:endParaRPr kumimoji="0" lang="en-US" sz="1400" b="1" i="0" u="none" strike="noStrike" kern="0" cap="none" spc="0" normalizeH="0" baseline="30000" noProof="0">
                <a:ln>
                  <a:noFill/>
                </a:ln>
                <a:effectLst/>
                <a:uLnTx/>
                <a:uFillTx/>
                <a:latin typeface="Arial" panose="020B0604020202020204" pitchFamily="34" charset="0"/>
                <a:ea typeface="Apis For Office" panose="020B0504010101010104" pitchFamily="34" charset="0"/>
                <a:cs typeface="Arial" panose="020B0604020202020204" pitchFamily="34" charset="0"/>
              </a:endParaRPr>
            </a:p>
          </p:txBody>
        </p:sp>
      </p:grpSp>
      <p:sp>
        <p:nvSpPr>
          <p:cNvPr id="15" name="Rectangle 14">
            <a:extLst>
              <a:ext uri="{FF2B5EF4-FFF2-40B4-BE49-F238E27FC236}">
                <a16:creationId xmlns:a16="http://schemas.microsoft.com/office/drawing/2014/main" id="{9F115450-AFF8-13AD-0C1F-672330228514}"/>
              </a:ext>
            </a:extLst>
          </p:cNvPr>
          <p:cNvSpPr/>
          <p:nvPr/>
        </p:nvSpPr>
        <p:spPr>
          <a:xfrm>
            <a:off x="6675120" y="1671919"/>
            <a:ext cx="5516880" cy="370018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2000" noProof="0">
              <a:solidFill>
                <a:schemeClr val="accent3"/>
              </a:solidFill>
              <a:latin typeface="Arial" panose="020B0604020202020204" pitchFamily="34" charset="0"/>
              <a:cs typeface="Arial" panose="020B0604020202020204" pitchFamily="34" charset="0"/>
            </a:endParaRPr>
          </a:p>
        </p:txBody>
      </p:sp>
      <p:sp>
        <p:nvSpPr>
          <p:cNvPr id="19" name="Freeform 6">
            <a:extLst>
              <a:ext uri="{FF2B5EF4-FFF2-40B4-BE49-F238E27FC236}">
                <a16:creationId xmlns:a16="http://schemas.microsoft.com/office/drawing/2014/main" id="{0CC93046-3AD9-42C0-85D9-434E231439C3}"/>
              </a:ext>
            </a:extLst>
          </p:cNvPr>
          <p:cNvSpPr>
            <a:spLocks/>
          </p:cNvSpPr>
          <p:nvPr/>
        </p:nvSpPr>
        <p:spPr bwMode="auto">
          <a:xfrm>
            <a:off x="6885276" y="3624829"/>
            <a:ext cx="748390" cy="1569790"/>
          </a:xfrm>
          <a:custGeom>
            <a:avLst/>
            <a:gdLst>
              <a:gd name="T0" fmla="*/ 611 w 626"/>
              <a:gd name="T1" fmla="*/ 483 h 1312"/>
              <a:gd name="T2" fmla="*/ 453 w 626"/>
              <a:gd name="T3" fmla="*/ 261 h 1312"/>
              <a:gd name="T4" fmla="*/ 453 w 626"/>
              <a:gd name="T5" fmla="*/ 261 h 1312"/>
              <a:gd name="T6" fmla="*/ 437 w 626"/>
              <a:gd name="T7" fmla="*/ 258 h 1312"/>
              <a:gd name="T8" fmla="*/ 418 w 626"/>
              <a:gd name="T9" fmla="*/ 255 h 1312"/>
              <a:gd name="T10" fmla="*/ 359 w 626"/>
              <a:gd name="T11" fmla="*/ 219 h 1312"/>
              <a:gd name="T12" fmla="*/ 358 w 626"/>
              <a:gd name="T13" fmla="*/ 215 h 1312"/>
              <a:gd name="T14" fmla="*/ 381 w 626"/>
              <a:gd name="T15" fmla="*/ 188 h 1312"/>
              <a:gd name="T16" fmla="*/ 405 w 626"/>
              <a:gd name="T17" fmla="*/ 119 h 1312"/>
              <a:gd name="T18" fmla="*/ 408 w 626"/>
              <a:gd name="T19" fmla="*/ 66 h 1312"/>
              <a:gd name="T20" fmla="*/ 390 w 626"/>
              <a:gd name="T21" fmla="*/ 24 h 1312"/>
              <a:gd name="T22" fmla="*/ 315 w 626"/>
              <a:gd name="T23" fmla="*/ 0 h 1312"/>
              <a:gd name="T24" fmla="*/ 239 w 626"/>
              <a:gd name="T25" fmla="*/ 24 h 1312"/>
              <a:gd name="T26" fmla="*/ 221 w 626"/>
              <a:gd name="T27" fmla="*/ 66 h 1312"/>
              <a:gd name="T28" fmla="*/ 225 w 626"/>
              <a:gd name="T29" fmla="*/ 119 h 1312"/>
              <a:gd name="T30" fmla="*/ 249 w 626"/>
              <a:gd name="T31" fmla="*/ 188 h 1312"/>
              <a:gd name="T32" fmla="*/ 270 w 626"/>
              <a:gd name="T33" fmla="*/ 210 h 1312"/>
              <a:gd name="T34" fmla="*/ 207 w 626"/>
              <a:gd name="T35" fmla="*/ 255 h 1312"/>
              <a:gd name="T36" fmla="*/ 189 w 626"/>
              <a:gd name="T37" fmla="*/ 258 h 1312"/>
              <a:gd name="T38" fmla="*/ 173 w 626"/>
              <a:gd name="T39" fmla="*/ 261 h 1312"/>
              <a:gd name="T40" fmla="*/ 67 w 626"/>
              <a:gd name="T41" fmla="*/ 356 h 1312"/>
              <a:gd name="T42" fmla="*/ 14 w 626"/>
              <a:gd name="T43" fmla="*/ 486 h 1312"/>
              <a:gd name="T44" fmla="*/ 29 w 626"/>
              <a:gd name="T45" fmla="*/ 711 h 1312"/>
              <a:gd name="T46" fmla="*/ 65 w 626"/>
              <a:gd name="T47" fmla="*/ 689 h 1312"/>
              <a:gd name="T48" fmla="*/ 91 w 626"/>
              <a:gd name="T49" fmla="*/ 695 h 1312"/>
              <a:gd name="T50" fmla="*/ 63 w 626"/>
              <a:gd name="T51" fmla="*/ 640 h 1312"/>
              <a:gd name="T52" fmla="*/ 139 w 626"/>
              <a:gd name="T53" fmla="*/ 422 h 1312"/>
              <a:gd name="T54" fmla="*/ 115 w 626"/>
              <a:gd name="T55" fmla="*/ 633 h 1312"/>
              <a:gd name="T56" fmla="*/ 176 w 626"/>
              <a:gd name="T57" fmla="*/ 1012 h 1312"/>
              <a:gd name="T58" fmla="*/ 222 w 626"/>
              <a:gd name="T59" fmla="*/ 1288 h 1312"/>
              <a:gd name="T60" fmla="*/ 293 w 626"/>
              <a:gd name="T61" fmla="*/ 1253 h 1312"/>
              <a:gd name="T62" fmla="*/ 296 w 626"/>
              <a:gd name="T63" fmla="*/ 930 h 1312"/>
              <a:gd name="T64" fmla="*/ 310 w 626"/>
              <a:gd name="T65" fmla="*/ 801 h 1312"/>
              <a:gd name="T66" fmla="*/ 315 w 626"/>
              <a:gd name="T67" fmla="*/ 801 h 1312"/>
              <a:gd name="T68" fmla="*/ 330 w 626"/>
              <a:gd name="T69" fmla="*/ 930 h 1312"/>
              <a:gd name="T70" fmla="*/ 333 w 626"/>
              <a:gd name="T71" fmla="*/ 1253 h 1312"/>
              <a:gd name="T72" fmla="*/ 404 w 626"/>
              <a:gd name="T73" fmla="*/ 1288 h 1312"/>
              <a:gd name="T74" fmla="*/ 450 w 626"/>
              <a:gd name="T75" fmla="*/ 1012 h 1312"/>
              <a:gd name="T76" fmla="*/ 511 w 626"/>
              <a:gd name="T77" fmla="*/ 633 h 1312"/>
              <a:gd name="T78" fmla="*/ 519 w 626"/>
              <a:gd name="T79" fmla="*/ 611 h 1312"/>
              <a:gd name="T80" fmla="*/ 523 w 626"/>
              <a:gd name="T81" fmla="*/ 575 h 1312"/>
              <a:gd name="T82" fmla="*/ 514 w 626"/>
              <a:gd name="T83" fmla="*/ 509 h 1312"/>
              <a:gd name="T84" fmla="*/ 505 w 626"/>
              <a:gd name="T85" fmla="*/ 476 h 1312"/>
              <a:gd name="T86" fmla="*/ 491 w 626"/>
              <a:gd name="T87" fmla="*/ 434 h 1312"/>
              <a:gd name="T88" fmla="*/ 539 w 626"/>
              <a:gd name="T89" fmla="*/ 495 h 1312"/>
              <a:gd name="T90" fmla="*/ 562 w 626"/>
              <a:gd name="T91" fmla="*/ 653 h 1312"/>
              <a:gd name="T92" fmla="*/ 543 w 626"/>
              <a:gd name="T93" fmla="*/ 716 h 1312"/>
              <a:gd name="T94" fmla="*/ 534 w 626"/>
              <a:gd name="T95" fmla="*/ 757 h 1312"/>
              <a:gd name="T96" fmla="*/ 611 w 626"/>
              <a:gd name="T97" fmla="*/ 640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26" h="1312">
                <a:moveTo>
                  <a:pt x="611" y="486"/>
                </a:moveTo>
                <a:cubicBezTo>
                  <a:pt x="611" y="485"/>
                  <a:pt x="611" y="485"/>
                  <a:pt x="611" y="485"/>
                </a:cubicBezTo>
                <a:cubicBezTo>
                  <a:pt x="611" y="484"/>
                  <a:pt x="611" y="484"/>
                  <a:pt x="611" y="483"/>
                </a:cubicBezTo>
                <a:cubicBezTo>
                  <a:pt x="601" y="443"/>
                  <a:pt x="580" y="401"/>
                  <a:pt x="558" y="356"/>
                </a:cubicBezTo>
                <a:cubicBezTo>
                  <a:pt x="540" y="316"/>
                  <a:pt x="485" y="269"/>
                  <a:pt x="456" y="262"/>
                </a:cubicBezTo>
                <a:cubicBezTo>
                  <a:pt x="455" y="262"/>
                  <a:pt x="454" y="262"/>
                  <a:pt x="453" y="261"/>
                </a:cubicBezTo>
                <a:cubicBezTo>
                  <a:pt x="453" y="261"/>
                  <a:pt x="453" y="261"/>
                  <a:pt x="453" y="261"/>
                </a:cubicBezTo>
                <a:cubicBezTo>
                  <a:pt x="453" y="261"/>
                  <a:pt x="453" y="261"/>
                  <a:pt x="453" y="261"/>
                </a:cubicBezTo>
                <a:cubicBezTo>
                  <a:pt x="453" y="261"/>
                  <a:pt x="453" y="261"/>
                  <a:pt x="453" y="261"/>
                </a:cubicBezTo>
                <a:cubicBezTo>
                  <a:pt x="451" y="260"/>
                  <a:pt x="448" y="260"/>
                  <a:pt x="445" y="259"/>
                </a:cubicBezTo>
                <a:cubicBezTo>
                  <a:pt x="445" y="259"/>
                  <a:pt x="445" y="259"/>
                  <a:pt x="445" y="259"/>
                </a:cubicBezTo>
                <a:cubicBezTo>
                  <a:pt x="442" y="259"/>
                  <a:pt x="439" y="258"/>
                  <a:pt x="437" y="258"/>
                </a:cubicBezTo>
                <a:cubicBezTo>
                  <a:pt x="436" y="258"/>
                  <a:pt x="436" y="258"/>
                  <a:pt x="436" y="258"/>
                </a:cubicBezTo>
                <a:cubicBezTo>
                  <a:pt x="433" y="257"/>
                  <a:pt x="431" y="257"/>
                  <a:pt x="428" y="256"/>
                </a:cubicBezTo>
                <a:cubicBezTo>
                  <a:pt x="425" y="256"/>
                  <a:pt x="422" y="255"/>
                  <a:pt x="418" y="255"/>
                </a:cubicBezTo>
                <a:cubicBezTo>
                  <a:pt x="393" y="250"/>
                  <a:pt x="368" y="243"/>
                  <a:pt x="360" y="221"/>
                </a:cubicBezTo>
                <a:cubicBezTo>
                  <a:pt x="360" y="221"/>
                  <a:pt x="360" y="221"/>
                  <a:pt x="360" y="221"/>
                </a:cubicBezTo>
                <a:cubicBezTo>
                  <a:pt x="359" y="221"/>
                  <a:pt x="359" y="220"/>
                  <a:pt x="359" y="219"/>
                </a:cubicBezTo>
                <a:cubicBezTo>
                  <a:pt x="359" y="219"/>
                  <a:pt x="359" y="218"/>
                  <a:pt x="358" y="217"/>
                </a:cubicBezTo>
                <a:cubicBezTo>
                  <a:pt x="358" y="217"/>
                  <a:pt x="358" y="217"/>
                  <a:pt x="358" y="217"/>
                </a:cubicBezTo>
                <a:cubicBezTo>
                  <a:pt x="358" y="216"/>
                  <a:pt x="358" y="216"/>
                  <a:pt x="358" y="215"/>
                </a:cubicBezTo>
                <a:cubicBezTo>
                  <a:pt x="358" y="215"/>
                  <a:pt x="358" y="215"/>
                  <a:pt x="358" y="215"/>
                </a:cubicBezTo>
                <a:cubicBezTo>
                  <a:pt x="357" y="214"/>
                  <a:pt x="357" y="212"/>
                  <a:pt x="357" y="211"/>
                </a:cubicBezTo>
                <a:cubicBezTo>
                  <a:pt x="366" y="205"/>
                  <a:pt x="376" y="197"/>
                  <a:pt x="381" y="188"/>
                </a:cubicBezTo>
                <a:cubicBezTo>
                  <a:pt x="385" y="180"/>
                  <a:pt x="388" y="171"/>
                  <a:pt x="389" y="161"/>
                </a:cubicBezTo>
                <a:cubicBezTo>
                  <a:pt x="394" y="154"/>
                  <a:pt x="398" y="147"/>
                  <a:pt x="401" y="139"/>
                </a:cubicBezTo>
                <a:cubicBezTo>
                  <a:pt x="404" y="130"/>
                  <a:pt x="400" y="127"/>
                  <a:pt x="405" y="119"/>
                </a:cubicBezTo>
                <a:cubicBezTo>
                  <a:pt x="408" y="113"/>
                  <a:pt x="409" y="106"/>
                  <a:pt x="408" y="100"/>
                </a:cubicBezTo>
                <a:cubicBezTo>
                  <a:pt x="407" y="94"/>
                  <a:pt x="411" y="89"/>
                  <a:pt x="411" y="83"/>
                </a:cubicBezTo>
                <a:cubicBezTo>
                  <a:pt x="412" y="77"/>
                  <a:pt x="409" y="72"/>
                  <a:pt x="408" y="66"/>
                </a:cubicBezTo>
                <a:cubicBezTo>
                  <a:pt x="407" y="60"/>
                  <a:pt x="409" y="55"/>
                  <a:pt x="407" y="49"/>
                </a:cubicBezTo>
                <a:cubicBezTo>
                  <a:pt x="405" y="45"/>
                  <a:pt x="400" y="41"/>
                  <a:pt x="398" y="37"/>
                </a:cubicBezTo>
                <a:cubicBezTo>
                  <a:pt x="394" y="33"/>
                  <a:pt x="393" y="29"/>
                  <a:pt x="390" y="24"/>
                </a:cubicBezTo>
                <a:cubicBezTo>
                  <a:pt x="386" y="19"/>
                  <a:pt x="381" y="18"/>
                  <a:pt x="375" y="15"/>
                </a:cubicBezTo>
                <a:cubicBezTo>
                  <a:pt x="368" y="11"/>
                  <a:pt x="365" y="7"/>
                  <a:pt x="357" y="5"/>
                </a:cubicBezTo>
                <a:cubicBezTo>
                  <a:pt x="342" y="2"/>
                  <a:pt x="329" y="0"/>
                  <a:pt x="315" y="0"/>
                </a:cubicBezTo>
                <a:cubicBezTo>
                  <a:pt x="300" y="0"/>
                  <a:pt x="287" y="2"/>
                  <a:pt x="272" y="5"/>
                </a:cubicBezTo>
                <a:cubicBezTo>
                  <a:pt x="264" y="7"/>
                  <a:pt x="261" y="11"/>
                  <a:pt x="254" y="15"/>
                </a:cubicBezTo>
                <a:cubicBezTo>
                  <a:pt x="248" y="18"/>
                  <a:pt x="243" y="19"/>
                  <a:pt x="239" y="24"/>
                </a:cubicBezTo>
                <a:cubicBezTo>
                  <a:pt x="236" y="29"/>
                  <a:pt x="235" y="33"/>
                  <a:pt x="231" y="37"/>
                </a:cubicBezTo>
                <a:cubicBezTo>
                  <a:pt x="229" y="41"/>
                  <a:pt x="224" y="45"/>
                  <a:pt x="222" y="49"/>
                </a:cubicBezTo>
                <a:cubicBezTo>
                  <a:pt x="220" y="55"/>
                  <a:pt x="222" y="60"/>
                  <a:pt x="221" y="66"/>
                </a:cubicBezTo>
                <a:cubicBezTo>
                  <a:pt x="220" y="72"/>
                  <a:pt x="217" y="77"/>
                  <a:pt x="218" y="83"/>
                </a:cubicBezTo>
                <a:cubicBezTo>
                  <a:pt x="218" y="89"/>
                  <a:pt x="222" y="94"/>
                  <a:pt x="221" y="100"/>
                </a:cubicBezTo>
                <a:cubicBezTo>
                  <a:pt x="220" y="106"/>
                  <a:pt x="221" y="113"/>
                  <a:pt x="225" y="119"/>
                </a:cubicBezTo>
                <a:cubicBezTo>
                  <a:pt x="229" y="127"/>
                  <a:pt x="225" y="130"/>
                  <a:pt x="228" y="139"/>
                </a:cubicBezTo>
                <a:cubicBezTo>
                  <a:pt x="231" y="147"/>
                  <a:pt x="235" y="155"/>
                  <a:pt x="241" y="163"/>
                </a:cubicBezTo>
                <a:cubicBezTo>
                  <a:pt x="243" y="172"/>
                  <a:pt x="245" y="180"/>
                  <a:pt x="249" y="188"/>
                </a:cubicBezTo>
                <a:cubicBezTo>
                  <a:pt x="254" y="196"/>
                  <a:pt x="261" y="203"/>
                  <a:pt x="270" y="209"/>
                </a:cubicBezTo>
                <a:cubicBezTo>
                  <a:pt x="270" y="209"/>
                  <a:pt x="270" y="209"/>
                  <a:pt x="270" y="210"/>
                </a:cubicBezTo>
                <a:cubicBezTo>
                  <a:pt x="270" y="210"/>
                  <a:pt x="270" y="210"/>
                  <a:pt x="270" y="210"/>
                </a:cubicBezTo>
                <a:cubicBezTo>
                  <a:pt x="269" y="213"/>
                  <a:pt x="268" y="216"/>
                  <a:pt x="267" y="218"/>
                </a:cubicBezTo>
                <a:cubicBezTo>
                  <a:pt x="267" y="219"/>
                  <a:pt x="267" y="219"/>
                  <a:pt x="267" y="219"/>
                </a:cubicBezTo>
                <a:cubicBezTo>
                  <a:pt x="259" y="243"/>
                  <a:pt x="233" y="250"/>
                  <a:pt x="207" y="255"/>
                </a:cubicBezTo>
                <a:cubicBezTo>
                  <a:pt x="204" y="255"/>
                  <a:pt x="201" y="256"/>
                  <a:pt x="198" y="256"/>
                </a:cubicBezTo>
                <a:cubicBezTo>
                  <a:pt x="195" y="257"/>
                  <a:pt x="193" y="257"/>
                  <a:pt x="190" y="258"/>
                </a:cubicBezTo>
                <a:cubicBezTo>
                  <a:pt x="190" y="258"/>
                  <a:pt x="190" y="258"/>
                  <a:pt x="189" y="258"/>
                </a:cubicBezTo>
                <a:cubicBezTo>
                  <a:pt x="187" y="258"/>
                  <a:pt x="184" y="259"/>
                  <a:pt x="181" y="259"/>
                </a:cubicBezTo>
                <a:cubicBezTo>
                  <a:pt x="181" y="259"/>
                  <a:pt x="181" y="259"/>
                  <a:pt x="181" y="259"/>
                </a:cubicBezTo>
                <a:cubicBezTo>
                  <a:pt x="178" y="260"/>
                  <a:pt x="175" y="260"/>
                  <a:pt x="173" y="261"/>
                </a:cubicBezTo>
                <a:cubicBezTo>
                  <a:pt x="173" y="261"/>
                  <a:pt x="173" y="261"/>
                  <a:pt x="172" y="261"/>
                </a:cubicBezTo>
                <a:cubicBezTo>
                  <a:pt x="172" y="262"/>
                  <a:pt x="171" y="262"/>
                  <a:pt x="170" y="262"/>
                </a:cubicBezTo>
                <a:cubicBezTo>
                  <a:pt x="141" y="269"/>
                  <a:pt x="86" y="316"/>
                  <a:pt x="67" y="356"/>
                </a:cubicBezTo>
                <a:cubicBezTo>
                  <a:pt x="46" y="401"/>
                  <a:pt x="25" y="443"/>
                  <a:pt x="15" y="483"/>
                </a:cubicBezTo>
                <a:cubicBezTo>
                  <a:pt x="15" y="484"/>
                  <a:pt x="15" y="484"/>
                  <a:pt x="15" y="485"/>
                </a:cubicBezTo>
                <a:cubicBezTo>
                  <a:pt x="15" y="485"/>
                  <a:pt x="15" y="485"/>
                  <a:pt x="14" y="486"/>
                </a:cubicBezTo>
                <a:cubicBezTo>
                  <a:pt x="0" y="524"/>
                  <a:pt x="3" y="541"/>
                  <a:pt x="15" y="640"/>
                </a:cubicBezTo>
                <a:cubicBezTo>
                  <a:pt x="16" y="648"/>
                  <a:pt x="16" y="655"/>
                  <a:pt x="17" y="662"/>
                </a:cubicBezTo>
                <a:cubicBezTo>
                  <a:pt x="23" y="681"/>
                  <a:pt x="21" y="697"/>
                  <a:pt x="29" y="711"/>
                </a:cubicBezTo>
                <a:cubicBezTo>
                  <a:pt x="50" y="746"/>
                  <a:pt x="78" y="762"/>
                  <a:pt x="92" y="757"/>
                </a:cubicBezTo>
                <a:cubicBezTo>
                  <a:pt x="101" y="754"/>
                  <a:pt x="87" y="744"/>
                  <a:pt x="77" y="731"/>
                </a:cubicBezTo>
                <a:cubicBezTo>
                  <a:pt x="62" y="710"/>
                  <a:pt x="67" y="698"/>
                  <a:pt x="65" y="689"/>
                </a:cubicBezTo>
                <a:cubicBezTo>
                  <a:pt x="71" y="696"/>
                  <a:pt x="72" y="696"/>
                  <a:pt x="83" y="716"/>
                </a:cubicBezTo>
                <a:cubicBezTo>
                  <a:pt x="88" y="724"/>
                  <a:pt x="95" y="721"/>
                  <a:pt x="96" y="720"/>
                </a:cubicBezTo>
                <a:cubicBezTo>
                  <a:pt x="99" y="718"/>
                  <a:pt x="94" y="703"/>
                  <a:pt x="91" y="695"/>
                </a:cubicBezTo>
                <a:cubicBezTo>
                  <a:pt x="78" y="662"/>
                  <a:pt x="70" y="665"/>
                  <a:pt x="64" y="653"/>
                </a:cubicBezTo>
                <a:cubicBezTo>
                  <a:pt x="64" y="653"/>
                  <a:pt x="64" y="653"/>
                  <a:pt x="64" y="653"/>
                </a:cubicBezTo>
                <a:cubicBezTo>
                  <a:pt x="63" y="650"/>
                  <a:pt x="63" y="646"/>
                  <a:pt x="63" y="640"/>
                </a:cubicBezTo>
                <a:cubicBezTo>
                  <a:pt x="69" y="575"/>
                  <a:pt x="93" y="541"/>
                  <a:pt x="86" y="495"/>
                </a:cubicBezTo>
                <a:cubicBezTo>
                  <a:pt x="109" y="467"/>
                  <a:pt x="126" y="443"/>
                  <a:pt x="139" y="422"/>
                </a:cubicBezTo>
                <a:cubicBezTo>
                  <a:pt x="139" y="422"/>
                  <a:pt x="139" y="422"/>
                  <a:pt x="139" y="422"/>
                </a:cubicBezTo>
                <a:cubicBezTo>
                  <a:pt x="128" y="448"/>
                  <a:pt x="106" y="521"/>
                  <a:pt x="104" y="553"/>
                </a:cubicBezTo>
                <a:cubicBezTo>
                  <a:pt x="102" y="587"/>
                  <a:pt x="101" y="599"/>
                  <a:pt x="115" y="633"/>
                </a:cubicBezTo>
                <a:cubicBezTo>
                  <a:pt x="115" y="633"/>
                  <a:pt x="115" y="633"/>
                  <a:pt x="115" y="633"/>
                </a:cubicBezTo>
                <a:cubicBezTo>
                  <a:pt x="115" y="758"/>
                  <a:pt x="157" y="825"/>
                  <a:pt x="170" y="858"/>
                </a:cubicBezTo>
                <a:cubicBezTo>
                  <a:pt x="179" y="883"/>
                  <a:pt x="194" y="902"/>
                  <a:pt x="190" y="924"/>
                </a:cubicBezTo>
                <a:cubicBezTo>
                  <a:pt x="187" y="946"/>
                  <a:pt x="175" y="978"/>
                  <a:pt x="176" y="1012"/>
                </a:cubicBezTo>
                <a:cubicBezTo>
                  <a:pt x="177" y="1064"/>
                  <a:pt x="234" y="1174"/>
                  <a:pt x="233" y="1219"/>
                </a:cubicBezTo>
                <a:cubicBezTo>
                  <a:pt x="233" y="1224"/>
                  <a:pt x="233" y="1243"/>
                  <a:pt x="231" y="1252"/>
                </a:cubicBezTo>
                <a:cubicBezTo>
                  <a:pt x="228" y="1268"/>
                  <a:pt x="222" y="1278"/>
                  <a:pt x="222" y="1288"/>
                </a:cubicBezTo>
                <a:cubicBezTo>
                  <a:pt x="222" y="1300"/>
                  <a:pt x="245" y="1305"/>
                  <a:pt x="261" y="1306"/>
                </a:cubicBezTo>
                <a:cubicBezTo>
                  <a:pt x="273" y="1306"/>
                  <a:pt x="308" y="1312"/>
                  <a:pt x="309" y="1293"/>
                </a:cubicBezTo>
                <a:cubicBezTo>
                  <a:pt x="309" y="1287"/>
                  <a:pt x="295" y="1271"/>
                  <a:pt x="293" y="1253"/>
                </a:cubicBezTo>
                <a:cubicBezTo>
                  <a:pt x="290" y="1234"/>
                  <a:pt x="286" y="1216"/>
                  <a:pt x="285" y="1207"/>
                </a:cubicBezTo>
                <a:cubicBezTo>
                  <a:pt x="282" y="1167"/>
                  <a:pt x="305" y="1085"/>
                  <a:pt x="309" y="1027"/>
                </a:cubicBezTo>
                <a:cubicBezTo>
                  <a:pt x="312" y="981"/>
                  <a:pt x="298" y="954"/>
                  <a:pt x="296" y="930"/>
                </a:cubicBezTo>
                <a:cubicBezTo>
                  <a:pt x="294" y="910"/>
                  <a:pt x="299" y="896"/>
                  <a:pt x="304" y="862"/>
                </a:cubicBezTo>
                <a:cubicBezTo>
                  <a:pt x="307" y="842"/>
                  <a:pt x="309" y="821"/>
                  <a:pt x="310" y="801"/>
                </a:cubicBezTo>
                <a:cubicBezTo>
                  <a:pt x="310" y="801"/>
                  <a:pt x="310" y="801"/>
                  <a:pt x="310" y="801"/>
                </a:cubicBezTo>
                <a:cubicBezTo>
                  <a:pt x="311" y="785"/>
                  <a:pt x="312" y="775"/>
                  <a:pt x="312" y="764"/>
                </a:cubicBezTo>
                <a:cubicBezTo>
                  <a:pt x="314" y="764"/>
                  <a:pt x="314" y="764"/>
                  <a:pt x="314" y="764"/>
                </a:cubicBezTo>
                <a:cubicBezTo>
                  <a:pt x="314" y="775"/>
                  <a:pt x="315" y="785"/>
                  <a:pt x="315" y="801"/>
                </a:cubicBezTo>
                <a:cubicBezTo>
                  <a:pt x="316" y="801"/>
                  <a:pt x="316" y="801"/>
                  <a:pt x="316" y="801"/>
                </a:cubicBezTo>
                <a:cubicBezTo>
                  <a:pt x="317" y="821"/>
                  <a:pt x="319" y="842"/>
                  <a:pt x="322" y="862"/>
                </a:cubicBezTo>
                <a:cubicBezTo>
                  <a:pt x="327" y="896"/>
                  <a:pt x="332" y="910"/>
                  <a:pt x="330" y="930"/>
                </a:cubicBezTo>
                <a:cubicBezTo>
                  <a:pt x="327" y="954"/>
                  <a:pt x="314" y="981"/>
                  <a:pt x="317" y="1027"/>
                </a:cubicBezTo>
                <a:cubicBezTo>
                  <a:pt x="321" y="1085"/>
                  <a:pt x="344" y="1167"/>
                  <a:pt x="341" y="1207"/>
                </a:cubicBezTo>
                <a:cubicBezTo>
                  <a:pt x="340" y="1216"/>
                  <a:pt x="336" y="1234"/>
                  <a:pt x="333" y="1253"/>
                </a:cubicBezTo>
                <a:cubicBezTo>
                  <a:pt x="330" y="1271"/>
                  <a:pt x="317" y="1287"/>
                  <a:pt x="317" y="1293"/>
                </a:cubicBezTo>
                <a:cubicBezTo>
                  <a:pt x="318" y="1312"/>
                  <a:pt x="353" y="1306"/>
                  <a:pt x="365" y="1306"/>
                </a:cubicBezTo>
                <a:cubicBezTo>
                  <a:pt x="381" y="1305"/>
                  <a:pt x="408" y="1302"/>
                  <a:pt x="404" y="1288"/>
                </a:cubicBezTo>
                <a:cubicBezTo>
                  <a:pt x="401" y="1278"/>
                  <a:pt x="398" y="1268"/>
                  <a:pt x="395" y="1252"/>
                </a:cubicBezTo>
                <a:cubicBezTo>
                  <a:pt x="393" y="1243"/>
                  <a:pt x="392" y="1224"/>
                  <a:pt x="392" y="1219"/>
                </a:cubicBezTo>
                <a:cubicBezTo>
                  <a:pt x="391" y="1174"/>
                  <a:pt x="449" y="1064"/>
                  <a:pt x="450" y="1012"/>
                </a:cubicBezTo>
                <a:cubicBezTo>
                  <a:pt x="451" y="978"/>
                  <a:pt x="439" y="946"/>
                  <a:pt x="435" y="924"/>
                </a:cubicBezTo>
                <a:cubicBezTo>
                  <a:pt x="432" y="902"/>
                  <a:pt x="447" y="883"/>
                  <a:pt x="456" y="858"/>
                </a:cubicBezTo>
                <a:cubicBezTo>
                  <a:pt x="469" y="825"/>
                  <a:pt x="511" y="758"/>
                  <a:pt x="511" y="633"/>
                </a:cubicBezTo>
                <a:cubicBezTo>
                  <a:pt x="511" y="633"/>
                  <a:pt x="511" y="633"/>
                  <a:pt x="511" y="633"/>
                </a:cubicBezTo>
                <a:cubicBezTo>
                  <a:pt x="513" y="627"/>
                  <a:pt x="515" y="621"/>
                  <a:pt x="517" y="616"/>
                </a:cubicBezTo>
                <a:cubicBezTo>
                  <a:pt x="518" y="614"/>
                  <a:pt x="518" y="612"/>
                  <a:pt x="519" y="611"/>
                </a:cubicBezTo>
                <a:cubicBezTo>
                  <a:pt x="520" y="608"/>
                  <a:pt x="520" y="605"/>
                  <a:pt x="521" y="602"/>
                </a:cubicBezTo>
                <a:cubicBezTo>
                  <a:pt x="522" y="596"/>
                  <a:pt x="523" y="590"/>
                  <a:pt x="523" y="584"/>
                </a:cubicBezTo>
                <a:cubicBezTo>
                  <a:pt x="523" y="581"/>
                  <a:pt x="523" y="578"/>
                  <a:pt x="523" y="575"/>
                </a:cubicBezTo>
                <a:cubicBezTo>
                  <a:pt x="523" y="568"/>
                  <a:pt x="522" y="561"/>
                  <a:pt x="522" y="553"/>
                </a:cubicBezTo>
                <a:cubicBezTo>
                  <a:pt x="521" y="544"/>
                  <a:pt x="519" y="532"/>
                  <a:pt x="516" y="518"/>
                </a:cubicBezTo>
                <a:cubicBezTo>
                  <a:pt x="516" y="515"/>
                  <a:pt x="515" y="512"/>
                  <a:pt x="514" y="509"/>
                </a:cubicBezTo>
                <a:cubicBezTo>
                  <a:pt x="514" y="507"/>
                  <a:pt x="513" y="506"/>
                  <a:pt x="513" y="504"/>
                </a:cubicBezTo>
                <a:cubicBezTo>
                  <a:pt x="511" y="498"/>
                  <a:pt x="510" y="492"/>
                  <a:pt x="508" y="485"/>
                </a:cubicBezTo>
                <a:cubicBezTo>
                  <a:pt x="507" y="482"/>
                  <a:pt x="506" y="479"/>
                  <a:pt x="505" y="476"/>
                </a:cubicBezTo>
                <a:cubicBezTo>
                  <a:pt x="504" y="473"/>
                  <a:pt x="503" y="469"/>
                  <a:pt x="502" y="466"/>
                </a:cubicBezTo>
                <a:cubicBezTo>
                  <a:pt x="502" y="465"/>
                  <a:pt x="501" y="463"/>
                  <a:pt x="501" y="462"/>
                </a:cubicBezTo>
                <a:cubicBezTo>
                  <a:pt x="498" y="451"/>
                  <a:pt x="494" y="442"/>
                  <a:pt x="491" y="434"/>
                </a:cubicBezTo>
                <a:cubicBezTo>
                  <a:pt x="490" y="429"/>
                  <a:pt x="488" y="425"/>
                  <a:pt x="487" y="422"/>
                </a:cubicBezTo>
                <a:cubicBezTo>
                  <a:pt x="487" y="422"/>
                  <a:pt x="487" y="422"/>
                  <a:pt x="487" y="422"/>
                </a:cubicBezTo>
                <a:cubicBezTo>
                  <a:pt x="500" y="443"/>
                  <a:pt x="517" y="467"/>
                  <a:pt x="539" y="495"/>
                </a:cubicBezTo>
                <a:cubicBezTo>
                  <a:pt x="533" y="541"/>
                  <a:pt x="557" y="575"/>
                  <a:pt x="563" y="640"/>
                </a:cubicBezTo>
                <a:cubicBezTo>
                  <a:pt x="563" y="646"/>
                  <a:pt x="563" y="650"/>
                  <a:pt x="562" y="653"/>
                </a:cubicBezTo>
                <a:cubicBezTo>
                  <a:pt x="562" y="653"/>
                  <a:pt x="562" y="653"/>
                  <a:pt x="562" y="653"/>
                </a:cubicBezTo>
                <a:cubicBezTo>
                  <a:pt x="556" y="665"/>
                  <a:pt x="548" y="662"/>
                  <a:pt x="535" y="695"/>
                </a:cubicBezTo>
                <a:cubicBezTo>
                  <a:pt x="532" y="703"/>
                  <a:pt x="527" y="718"/>
                  <a:pt x="530" y="720"/>
                </a:cubicBezTo>
                <a:cubicBezTo>
                  <a:pt x="531" y="721"/>
                  <a:pt x="538" y="724"/>
                  <a:pt x="543" y="716"/>
                </a:cubicBezTo>
                <a:cubicBezTo>
                  <a:pt x="554" y="696"/>
                  <a:pt x="555" y="696"/>
                  <a:pt x="561" y="689"/>
                </a:cubicBezTo>
                <a:cubicBezTo>
                  <a:pt x="559" y="698"/>
                  <a:pt x="563" y="710"/>
                  <a:pt x="548" y="731"/>
                </a:cubicBezTo>
                <a:cubicBezTo>
                  <a:pt x="539" y="744"/>
                  <a:pt x="525" y="754"/>
                  <a:pt x="534" y="757"/>
                </a:cubicBezTo>
                <a:cubicBezTo>
                  <a:pt x="548" y="762"/>
                  <a:pt x="576" y="746"/>
                  <a:pt x="597" y="711"/>
                </a:cubicBezTo>
                <a:cubicBezTo>
                  <a:pt x="605" y="697"/>
                  <a:pt x="603" y="681"/>
                  <a:pt x="608" y="662"/>
                </a:cubicBezTo>
                <a:cubicBezTo>
                  <a:pt x="610" y="655"/>
                  <a:pt x="610" y="648"/>
                  <a:pt x="611" y="640"/>
                </a:cubicBezTo>
                <a:cubicBezTo>
                  <a:pt x="623" y="541"/>
                  <a:pt x="626" y="524"/>
                  <a:pt x="611" y="486"/>
                </a:cubicBezTo>
                <a:close/>
              </a:path>
            </a:pathLst>
          </a:custGeom>
          <a:noFill/>
          <a:ln w="19050">
            <a:solidFill>
              <a:schemeClr val="accent3"/>
            </a:solidFill>
          </a:ln>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endParaRPr>
          </a:p>
        </p:txBody>
      </p:sp>
      <p:sp>
        <p:nvSpPr>
          <p:cNvPr id="22" name="TextBox 21">
            <a:extLst>
              <a:ext uri="{FF2B5EF4-FFF2-40B4-BE49-F238E27FC236}">
                <a16:creationId xmlns:a16="http://schemas.microsoft.com/office/drawing/2014/main" id="{16AB3DBC-663F-5D4F-2002-E80BC6C0EFFA}"/>
              </a:ext>
            </a:extLst>
          </p:cNvPr>
          <p:cNvSpPr txBox="1"/>
          <p:nvPr/>
        </p:nvSpPr>
        <p:spPr>
          <a:xfrm>
            <a:off x="7862266" y="1798056"/>
            <a:ext cx="3861119" cy="923330"/>
          </a:xfrm>
          <a:prstGeom prst="rect">
            <a:avLst/>
          </a:prstGeom>
          <a:noFill/>
        </p:spPr>
        <p:txBody>
          <a:bodyPr wrap="square" lIns="0" tIns="0" rIns="0" bIns="0">
            <a:spAutoFit/>
          </a:bodyPr>
          <a:lstStyle/>
          <a:p>
            <a:r>
              <a:rPr lang="en-US" sz="1800" b="1" noProof="0">
                <a:solidFill>
                  <a:schemeClr val="accent3"/>
                </a:solidFill>
                <a:latin typeface="Arial" panose="020B0604020202020204" pitchFamily="34" charset="0"/>
                <a:cs typeface="Arial" panose="020B0604020202020204" pitchFamily="34" charset="0"/>
              </a:rPr>
              <a:t>General population level</a:t>
            </a:r>
            <a:r>
              <a:rPr lang="en-US" sz="1800" b="1" baseline="30000" noProof="0">
                <a:solidFill>
                  <a:schemeClr val="accent3"/>
                </a:solidFill>
                <a:latin typeface="Arial" panose="020B0604020202020204" pitchFamily="34" charset="0"/>
                <a:cs typeface="Arial" panose="020B0604020202020204" pitchFamily="34" charset="0"/>
              </a:rPr>
              <a:t>2</a:t>
            </a:r>
            <a:endParaRPr lang="en-US" sz="1800" b="1" noProof="0">
              <a:solidFill>
                <a:schemeClr val="accent3"/>
              </a:solidFill>
              <a:latin typeface="Arial" panose="020B0604020202020204" pitchFamily="34" charset="0"/>
              <a:cs typeface="Arial" panose="020B0604020202020204" pitchFamily="34" charset="0"/>
            </a:endParaRPr>
          </a:p>
          <a:p>
            <a: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Obesity</a:t>
            </a:r>
            <a:r>
              <a:rPr lang="en-US" sz="1400" baseline="300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a:t>
            </a:r>
            <a: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 prevalence increased with </a:t>
            </a:r>
            <a:b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br>
            <a: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age and decreased with increasing </a:t>
            </a:r>
            <a:b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br>
            <a: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family income</a:t>
            </a:r>
            <a:r>
              <a:rPr lang="en-US" sz="1400" baseline="300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2</a:t>
            </a:r>
            <a:endParaRPr lang="en-US" sz="1400" noProof="0">
              <a:solidFill>
                <a:schemeClr val="accent3"/>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48795858-E127-DB8F-B977-BE8ECC2CDA38}"/>
              </a:ext>
            </a:extLst>
          </p:cNvPr>
          <p:cNvSpPr txBox="1"/>
          <p:nvPr/>
        </p:nvSpPr>
        <p:spPr>
          <a:xfrm>
            <a:off x="7862266" y="2873434"/>
            <a:ext cx="3861119" cy="1508105"/>
          </a:xfrm>
          <a:prstGeom prst="rect">
            <a:avLst/>
          </a:prstGeom>
          <a:noFill/>
        </p:spPr>
        <p:txBody>
          <a:bodyPr wrap="square" lIns="0" tIns="0" rIns="0" bIns="0">
            <a:spAutoFit/>
          </a:bodyPr>
          <a:lstStyle/>
          <a:p>
            <a:r>
              <a:rPr lang="en-US" sz="1800" b="1" noProof="0">
                <a:solidFill>
                  <a:schemeClr val="accent3"/>
                </a:solidFill>
                <a:latin typeface="Arial" panose="020B0604020202020204" pitchFamily="34" charset="0"/>
                <a:cs typeface="Arial" panose="020B0604020202020204" pitchFamily="34" charset="0"/>
              </a:rPr>
              <a:t>Race/ethnicity level</a:t>
            </a:r>
            <a:r>
              <a:rPr lang="en-US" sz="1800" b="1" baseline="30000" noProof="0">
                <a:solidFill>
                  <a:schemeClr val="accent3"/>
                </a:solidFill>
                <a:latin typeface="Arial" panose="020B0604020202020204" pitchFamily="34" charset="0"/>
                <a:cs typeface="Arial" panose="020B0604020202020204" pitchFamily="34" charset="0"/>
              </a:rPr>
              <a:t>3</a:t>
            </a:r>
          </a:p>
          <a:p>
            <a:pPr>
              <a:spcAft>
                <a:spcPts val="400"/>
              </a:spcAft>
            </a:pPr>
            <a: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Positive and significant association</a:t>
            </a:r>
            <a:b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br>
            <a: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between poverty and obesity:</a:t>
            </a:r>
          </a:p>
          <a:p>
            <a:pPr marL="317500" indent="-6350">
              <a:spcAft>
                <a:spcPts val="400"/>
              </a:spcAft>
            </a:pPr>
            <a: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Non-Hispanic White </a:t>
            </a:r>
          </a:p>
          <a:p>
            <a:pPr marL="317500" indent="-6350">
              <a:spcAft>
                <a:spcPts val="400"/>
              </a:spcAft>
            </a:pPr>
            <a: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Non-Hispanic Black</a:t>
            </a:r>
          </a:p>
          <a:p>
            <a:pPr marL="317500" indent="-6350"/>
            <a: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Mexican American </a:t>
            </a:r>
          </a:p>
        </p:txBody>
      </p:sp>
      <p:sp>
        <p:nvSpPr>
          <p:cNvPr id="31" name="TextBox 30">
            <a:extLst>
              <a:ext uri="{FF2B5EF4-FFF2-40B4-BE49-F238E27FC236}">
                <a16:creationId xmlns:a16="http://schemas.microsoft.com/office/drawing/2014/main" id="{2A805135-B356-98B0-600C-870D371CD6BB}"/>
              </a:ext>
            </a:extLst>
          </p:cNvPr>
          <p:cNvSpPr txBox="1"/>
          <p:nvPr/>
        </p:nvSpPr>
        <p:spPr>
          <a:xfrm>
            <a:off x="7862266" y="4556351"/>
            <a:ext cx="3778872" cy="646331"/>
          </a:xfrm>
          <a:prstGeom prst="rect">
            <a:avLst/>
          </a:prstGeom>
          <a:noFill/>
        </p:spPr>
        <p:txBody>
          <a:bodyPr wrap="square" lIns="0" tIns="0" rIns="0" bIns="0">
            <a:spAutoFit/>
          </a:bodyPr>
          <a:lstStyle/>
          <a:p>
            <a:r>
              <a:rPr lang="en-US" sz="1400" noProof="0">
                <a:solidFill>
                  <a:schemeClr val="accent3"/>
                </a:solidFill>
                <a:latin typeface="Arial" panose="020B0604020202020204" pitchFamily="34" charset="0"/>
                <a:ea typeface="Apis For Office" panose="020B0504010101010104" pitchFamily="34" charset="0"/>
                <a:cs typeface="Arial" panose="020B0604020202020204" pitchFamily="34" charset="0"/>
              </a:rPr>
              <a:t>Non-Hispanic Blacks and Mexican Americans experience higher income-inequality compared with Non-Hispanic Whites</a:t>
            </a:r>
            <a:endParaRPr lang="en-US" sz="1400" noProof="0"/>
          </a:p>
        </p:txBody>
      </p:sp>
      <p:pic>
        <p:nvPicPr>
          <p:cNvPr id="33" name="Graphic 32">
            <a:extLst>
              <a:ext uri="{FF2B5EF4-FFF2-40B4-BE49-F238E27FC236}">
                <a16:creationId xmlns:a16="http://schemas.microsoft.com/office/drawing/2014/main" id="{F26A1096-F38E-4297-3101-A4D3C62A1A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70825" y="3613220"/>
            <a:ext cx="241300" cy="241300"/>
          </a:xfrm>
          <a:prstGeom prst="rect">
            <a:avLst/>
          </a:prstGeom>
        </p:spPr>
      </p:pic>
      <p:pic>
        <p:nvPicPr>
          <p:cNvPr id="36" name="Graphic 35">
            <a:extLst>
              <a:ext uri="{FF2B5EF4-FFF2-40B4-BE49-F238E27FC236}">
                <a16:creationId xmlns:a16="http://schemas.microsoft.com/office/drawing/2014/main" id="{2A57B3A6-3060-3657-143E-948AD6AFDBDE}"/>
              </a:ext>
            </a:extLst>
          </p:cNvPr>
          <p:cNvPicPr>
            <a:picLocks noChangeAspect="1"/>
          </p:cNvPicPr>
          <p:nvPr/>
        </p:nvPicPr>
        <p:blipFill>
          <a:blip r:embed="rId6">
            <a:extLst>
              <a:ext uri="{96DAC541-7B7A-43D3-8B79-37D633B846F1}">
                <asvg:svgBlip xmlns:asvg="http://schemas.microsoft.com/office/drawing/2016/SVG/main" r:embed="rId7"/>
              </a:ext>
            </a:extLst>
          </a:blip>
          <a:srcRect l="16" r="16"/>
          <a:stretch/>
        </p:blipFill>
        <p:spPr>
          <a:xfrm>
            <a:off x="7898744" y="4166644"/>
            <a:ext cx="169412" cy="169464"/>
          </a:xfrm>
          <a:prstGeom prst="rect">
            <a:avLst/>
          </a:prstGeom>
        </p:spPr>
      </p:pic>
      <p:pic>
        <p:nvPicPr>
          <p:cNvPr id="37" name="Graphic 36">
            <a:extLst>
              <a:ext uri="{FF2B5EF4-FFF2-40B4-BE49-F238E27FC236}">
                <a16:creationId xmlns:a16="http://schemas.microsoft.com/office/drawing/2014/main" id="{DA8E73C2-A129-09C1-0A46-22F6A7631C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70825" y="3882302"/>
            <a:ext cx="241300" cy="241300"/>
          </a:xfrm>
          <a:prstGeom prst="rect">
            <a:avLst/>
          </a:prstGeom>
        </p:spPr>
      </p:pic>
    </p:spTree>
    <p:extLst>
      <p:ext uri="{BB962C8B-B14F-4D97-AF65-F5344CB8AC3E}">
        <p14:creationId xmlns:p14="http://schemas.microsoft.com/office/powerpoint/2010/main" val="12467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1BA8CB40-2297-DB5E-4F1E-05D896D0ED15}"/>
              </a:ext>
            </a:extLst>
          </p:cNvPr>
          <p:cNvSpPr/>
          <p:nvPr/>
        </p:nvSpPr>
        <p:spPr>
          <a:xfrm>
            <a:off x="0" y="1877290"/>
            <a:ext cx="12192000" cy="3844059"/>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1BF93D40-734C-C6E3-3DC6-C55D7BC45C62}"/>
              </a:ext>
            </a:extLst>
          </p:cNvPr>
          <p:cNvSpPr>
            <a:spLocks noGrp="1"/>
          </p:cNvSpPr>
          <p:nvPr>
            <p:ph type="title"/>
          </p:nvPr>
        </p:nvSpPr>
        <p:spPr>
          <a:xfrm>
            <a:off x="536240" y="414320"/>
            <a:ext cx="10896000" cy="1082209"/>
          </a:xfrm>
        </p:spPr>
        <p:txBody>
          <a:bodyPr>
            <a:normAutofit/>
          </a:bodyPr>
          <a:lstStyle/>
          <a:p>
            <a:r>
              <a:rPr lang="en-US" sz="3000" noProof="0"/>
              <a:t>Estimated age-standardized prevalence of overweight and obesity in the US in 2021, for adults (≥25 years), by sex</a:t>
            </a:r>
            <a:r>
              <a:rPr lang="en-US" sz="3000" baseline="30000" noProof="0"/>
              <a:t>1</a:t>
            </a:r>
          </a:p>
        </p:txBody>
      </p:sp>
      <p:sp>
        <p:nvSpPr>
          <p:cNvPr id="122" name="Text Placeholder 121">
            <a:extLst>
              <a:ext uri="{FF2B5EF4-FFF2-40B4-BE49-F238E27FC236}">
                <a16:creationId xmlns:a16="http://schemas.microsoft.com/office/drawing/2014/main" id="{421A6C9B-3E52-885A-DDFC-3491BA642A9E}"/>
              </a:ext>
            </a:extLst>
          </p:cNvPr>
          <p:cNvSpPr>
            <a:spLocks noGrp="1"/>
          </p:cNvSpPr>
          <p:nvPr>
            <p:ph type="body" sz="quarter" idx="13"/>
          </p:nvPr>
        </p:nvSpPr>
        <p:spPr>
          <a:xfrm>
            <a:off x="536240" y="6013923"/>
            <a:ext cx="10896000" cy="324000"/>
          </a:xfrm>
        </p:spPr>
        <p:txBody>
          <a:bodyPr/>
          <a:lstStyle/>
          <a:p>
            <a:r>
              <a:rPr lang="en-US" noProof="0"/>
              <a:t>1. GBD 2021 US Obesity Forecasting Collaborators. Lancet 2024;404:2278–2298.</a:t>
            </a:r>
          </a:p>
        </p:txBody>
      </p:sp>
      <p:grpSp>
        <p:nvGrpSpPr>
          <p:cNvPr id="126" name="Group 125">
            <a:extLst>
              <a:ext uri="{FF2B5EF4-FFF2-40B4-BE49-F238E27FC236}">
                <a16:creationId xmlns:a16="http://schemas.microsoft.com/office/drawing/2014/main" id="{7E44AB55-B950-0607-FF4F-B3EC88DA350D}"/>
              </a:ext>
            </a:extLst>
          </p:cNvPr>
          <p:cNvGrpSpPr/>
          <p:nvPr/>
        </p:nvGrpSpPr>
        <p:grpSpPr>
          <a:xfrm>
            <a:off x="3893612" y="5520163"/>
            <a:ext cx="4404775" cy="361950"/>
            <a:chOff x="3305713" y="5520163"/>
            <a:chExt cx="4404775" cy="361950"/>
          </a:xfrm>
        </p:grpSpPr>
        <p:sp>
          <p:nvSpPr>
            <p:cNvPr id="124" name="Rectangle: Rounded Corners 123">
              <a:extLst>
                <a:ext uri="{FF2B5EF4-FFF2-40B4-BE49-F238E27FC236}">
                  <a16:creationId xmlns:a16="http://schemas.microsoft.com/office/drawing/2014/main" id="{60A6F5A0-4340-57B8-7961-134AF545D2D5}"/>
                </a:ext>
              </a:extLst>
            </p:cNvPr>
            <p:cNvSpPr/>
            <p:nvPr/>
          </p:nvSpPr>
          <p:spPr>
            <a:xfrm>
              <a:off x="3305713" y="5520163"/>
              <a:ext cx="4404775" cy="361950"/>
            </a:xfrm>
            <a:prstGeom prst="roundRect">
              <a:avLst>
                <a:gd name="adj" fmla="val 50000"/>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200" noProof="0">
                <a:latin typeface="+mj-lt"/>
              </a:endParaRPr>
            </a:p>
          </p:txBody>
        </p:sp>
        <p:sp>
          <p:nvSpPr>
            <p:cNvPr id="110" name="TextBox 109">
              <a:extLst>
                <a:ext uri="{FF2B5EF4-FFF2-40B4-BE49-F238E27FC236}">
                  <a16:creationId xmlns:a16="http://schemas.microsoft.com/office/drawing/2014/main" id="{83F509BE-A0E0-7BA3-B94B-A692D7CD3ED6}"/>
                </a:ext>
              </a:extLst>
            </p:cNvPr>
            <p:cNvSpPr txBox="1"/>
            <p:nvPr/>
          </p:nvSpPr>
          <p:spPr>
            <a:xfrm>
              <a:off x="6507267" y="5567035"/>
              <a:ext cx="1060346" cy="268207"/>
            </a:xfrm>
            <a:prstGeom prst="roundRect">
              <a:avLst>
                <a:gd name="adj" fmla="val 50000"/>
              </a:avLst>
            </a:prstGeom>
            <a:solidFill>
              <a:schemeClr val="tx1"/>
            </a:solidFill>
          </p:spPr>
          <p:txBody>
            <a:bodyPr wrap="square" lIns="96000" tIns="0" rIns="0" bIns="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noProof="0">
                  <a:solidFill>
                    <a:srgbClr val="FFFFFF"/>
                  </a:solidFill>
                  <a:latin typeface="+mj-lt"/>
                </a:rPr>
                <a:t>75</a:t>
              </a:r>
              <a:r>
                <a:rPr kumimoji="0" lang="en-US" sz="1200" b="1" i="0" u="none" strike="noStrike" kern="1200" cap="none" spc="0" normalizeH="0" baseline="0" noProof="0">
                  <a:ln>
                    <a:noFill/>
                  </a:ln>
                  <a:solidFill>
                    <a:srgbClr val="FFFFFF"/>
                  </a:solidFill>
                  <a:effectLst/>
                  <a:uLnTx/>
                  <a:uFillTx/>
                  <a:latin typeface="+mj-lt"/>
                  <a:ea typeface="+mn-ea"/>
                  <a:cs typeface="+mn-cs"/>
                </a:rPr>
                <a:t>–</a:t>
              </a:r>
              <a:r>
                <a:rPr lang="en-US" sz="1200" b="1" noProof="0">
                  <a:solidFill>
                    <a:srgbClr val="FFFFFF"/>
                  </a:solidFill>
                  <a:latin typeface="+mj-lt"/>
                </a:rPr>
                <a:t>7</a:t>
              </a:r>
              <a:r>
                <a:rPr kumimoji="0" lang="en-US" sz="1200" b="1" i="0" u="none" strike="noStrike" kern="1200" cap="none" spc="0" normalizeH="0" baseline="0" noProof="0">
                  <a:ln>
                    <a:noFill/>
                  </a:ln>
                  <a:solidFill>
                    <a:srgbClr val="FFFFFF"/>
                  </a:solidFill>
                  <a:effectLst/>
                  <a:uLnTx/>
                  <a:uFillTx/>
                  <a:latin typeface="+mj-lt"/>
                  <a:ea typeface="+mn-ea"/>
                  <a:cs typeface="+mn-cs"/>
                </a:rPr>
                <a:t>9.9</a:t>
              </a:r>
              <a:r>
                <a:rPr kumimoji="0" lang="en-US" sz="1200" i="0" u="none" strike="noStrike" kern="1200" cap="none" spc="0" normalizeH="0" baseline="0" noProof="0">
                  <a:ln>
                    <a:noFill/>
                  </a:ln>
                  <a:solidFill>
                    <a:srgbClr val="FFFFFF"/>
                  </a:solidFill>
                  <a:effectLst/>
                  <a:uLnTx/>
                  <a:uFillTx/>
                  <a:latin typeface="+mj-lt"/>
                  <a:ea typeface="+mn-ea"/>
                  <a:cs typeface="+mn-cs"/>
                </a:rPr>
                <a:t>%</a:t>
              </a:r>
            </a:p>
          </p:txBody>
        </p:sp>
        <p:sp>
          <p:nvSpPr>
            <p:cNvPr id="112" name="TextBox 111">
              <a:extLst>
                <a:ext uri="{FF2B5EF4-FFF2-40B4-BE49-F238E27FC236}">
                  <a16:creationId xmlns:a16="http://schemas.microsoft.com/office/drawing/2014/main" id="{B6B5C37C-27B1-20F9-30D0-CB2810355839}"/>
                </a:ext>
              </a:extLst>
            </p:cNvPr>
            <p:cNvSpPr txBox="1"/>
            <p:nvPr/>
          </p:nvSpPr>
          <p:spPr>
            <a:xfrm>
              <a:off x="4275137" y="5567035"/>
              <a:ext cx="1060346" cy="268207"/>
            </a:xfrm>
            <a:prstGeom prst="roundRect">
              <a:avLst>
                <a:gd name="adj" fmla="val 50000"/>
              </a:avLst>
            </a:prstGeom>
            <a:solidFill>
              <a:schemeClr val="accent1">
                <a:lumMod val="60000"/>
                <a:lumOff val="40000"/>
              </a:schemeClr>
            </a:solidFill>
          </p:spPr>
          <p:txBody>
            <a:bodyPr wrap="square" lIns="96000" tIns="0" rIns="0" bIns="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mj-lt"/>
                  <a:ea typeface="+mn-ea"/>
                  <a:cs typeface="+mn-cs"/>
                </a:rPr>
                <a:t>65–</a:t>
              </a:r>
              <a:r>
                <a:rPr lang="en-US" sz="1200" b="1" noProof="0">
                  <a:solidFill>
                    <a:schemeClr val="bg1"/>
                  </a:solidFill>
                  <a:latin typeface="+mj-lt"/>
                </a:rPr>
                <a:t>6</a:t>
              </a:r>
              <a:r>
                <a:rPr kumimoji="0" lang="en-US" sz="1200" b="1" i="0" u="none" strike="noStrike" kern="1200" cap="none" spc="0" normalizeH="0" baseline="0" noProof="0">
                  <a:ln>
                    <a:noFill/>
                  </a:ln>
                  <a:solidFill>
                    <a:schemeClr val="bg1"/>
                  </a:solidFill>
                  <a:effectLst/>
                  <a:uLnTx/>
                  <a:uFillTx/>
                  <a:latin typeface="+mj-lt"/>
                  <a:ea typeface="+mn-ea"/>
                  <a:cs typeface="+mn-cs"/>
                </a:rPr>
                <a:t>9.9</a:t>
              </a:r>
              <a:r>
                <a:rPr kumimoji="0" lang="en-US" sz="1200" i="0" u="none" strike="noStrike" kern="1200" cap="none" spc="0" normalizeH="0" baseline="0" noProof="0">
                  <a:ln>
                    <a:noFill/>
                  </a:ln>
                  <a:solidFill>
                    <a:schemeClr val="bg1"/>
                  </a:solidFill>
                  <a:effectLst/>
                  <a:uLnTx/>
                  <a:uFillTx/>
                  <a:latin typeface="+mj-lt"/>
                  <a:ea typeface="+mn-ea"/>
                  <a:cs typeface="+mn-cs"/>
                </a:rPr>
                <a:t>%</a:t>
              </a:r>
            </a:p>
          </p:txBody>
        </p:sp>
        <p:sp>
          <p:nvSpPr>
            <p:cNvPr id="113" name="TextBox 112">
              <a:extLst>
                <a:ext uri="{FF2B5EF4-FFF2-40B4-BE49-F238E27FC236}">
                  <a16:creationId xmlns:a16="http://schemas.microsoft.com/office/drawing/2014/main" id="{A0D6D410-A477-96F1-E6BD-60D38C4AF585}"/>
                </a:ext>
              </a:extLst>
            </p:cNvPr>
            <p:cNvSpPr txBox="1"/>
            <p:nvPr/>
          </p:nvSpPr>
          <p:spPr>
            <a:xfrm>
              <a:off x="5391202" y="5567035"/>
              <a:ext cx="1060346" cy="268207"/>
            </a:xfrm>
            <a:prstGeom prst="roundRect">
              <a:avLst>
                <a:gd name="adj" fmla="val 50000"/>
              </a:avLst>
            </a:prstGeom>
            <a:solidFill>
              <a:schemeClr val="accent1"/>
            </a:solidFill>
          </p:spPr>
          <p:txBody>
            <a:bodyPr wrap="square" lIns="96000" tIns="0" rIns="0" bIns="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70–</a:t>
              </a:r>
              <a:r>
                <a:rPr lang="en-US" sz="1200" b="1" noProof="0">
                  <a:solidFill>
                    <a:srgbClr val="FFFFFF"/>
                  </a:solidFill>
                  <a:latin typeface="+mj-lt"/>
                </a:rPr>
                <a:t>7</a:t>
              </a:r>
              <a:r>
                <a:rPr kumimoji="0" lang="en-US" sz="1200" b="1" i="0" u="none" strike="noStrike" kern="1200" cap="none" spc="0" normalizeH="0" baseline="0" noProof="0">
                  <a:ln>
                    <a:noFill/>
                  </a:ln>
                  <a:solidFill>
                    <a:srgbClr val="FFFFFF"/>
                  </a:solidFill>
                  <a:effectLst/>
                  <a:uLnTx/>
                  <a:uFillTx/>
                  <a:latin typeface="+mj-lt"/>
                  <a:ea typeface="+mn-ea"/>
                  <a:cs typeface="+mn-cs"/>
                </a:rPr>
                <a:t>4.9</a:t>
              </a:r>
              <a:r>
                <a:rPr kumimoji="0" lang="en-US" sz="1200" i="0" u="none" strike="noStrike" kern="1200" cap="none" spc="0" normalizeH="0" baseline="0" noProof="0">
                  <a:ln>
                    <a:noFill/>
                  </a:ln>
                  <a:solidFill>
                    <a:srgbClr val="FFFFFF"/>
                  </a:solidFill>
                  <a:effectLst/>
                  <a:uLnTx/>
                  <a:uFillTx/>
                  <a:latin typeface="+mj-lt"/>
                  <a:ea typeface="+mn-ea"/>
                  <a:cs typeface="+mn-cs"/>
                </a:rPr>
                <a:t>%</a:t>
              </a:r>
            </a:p>
          </p:txBody>
        </p:sp>
        <p:sp>
          <p:nvSpPr>
            <p:cNvPr id="114" name="TextBox 113">
              <a:extLst>
                <a:ext uri="{FF2B5EF4-FFF2-40B4-BE49-F238E27FC236}">
                  <a16:creationId xmlns:a16="http://schemas.microsoft.com/office/drawing/2014/main" id="{00A42AD5-F688-0880-8652-84932872D1E5}"/>
                </a:ext>
              </a:extLst>
            </p:cNvPr>
            <p:cNvSpPr txBox="1"/>
            <p:nvPr/>
          </p:nvSpPr>
          <p:spPr>
            <a:xfrm>
              <a:off x="3305714" y="5562639"/>
              <a:ext cx="994182" cy="276999"/>
            </a:xfrm>
            <a:prstGeom prst="rect">
              <a:avLst/>
            </a:prstGeom>
            <a:noFill/>
          </p:spPr>
          <p:txBody>
            <a:bodyPr wrap="none" rtlCol="0">
              <a:spAutoFit/>
            </a:bodyPr>
            <a:lstStyle/>
            <a:p>
              <a:pPr algn="ctr"/>
              <a:r>
                <a:rPr lang="en-US" sz="1200" b="1" noProof="0">
                  <a:latin typeface="+mj-lt"/>
                </a:rPr>
                <a:t>Prevalence</a:t>
              </a:r>
            </a:p>
          </p:txBody>
        </p:sp>
      </p:grpSp>
      <p:sp>
        <p:nvSpPr>
          <p:cNvPr id="120" name="Rectangle: Rounded Corners 119">
            <a:extLst>
              <a:ext uri="{FF2B5EF4-FFF2-40B4-BE49-F238E27FC236}">
                <a16:creationId xmlns:a16="http://schemas.microsoft.com/office/drawing/2014/main" id="{8A59C0F4-9CE6-2310-BCEE-310DCBBDE18E}"/>
              </a:ext>
            </a:extLst>
          </p:cNvPr>
          <p:cNvSpPr/>
          <p:nvPr/>
        </p:nvSpPr>
        <p:spPr>
          <a:xfrm>
            <a:off x="2022766" y="1695562"/>
            <a:ext cx="2305076" cy="39647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39">
              <a:defRPr/>
            </a:pPr>
            <a:r>
              <a:rPr lang="en-US" sz="1400" b="1" spc="100" noProof="0">
                <a:solidFill>
                  <a:srgbClr val="FFFFFF"/>
                </a:solidFill>
                <a:cs typeface="Arial"/>
              </a:rPr>
              <a:t>MALES</a:t>
            </a:r>
            <a:endParaRPr lang="en-US" sz="1400" b="1" spc="100" noProof="0">
              <a:solidFill>
                <a:srgbClr val="FFFFFF"/>
              </a:solidFill>
              <a:latin typeface="Arial" panose="020B0604020202020204" pitchFamily="34" charset="0"/>
              <a:cs typeface="Arial" panose="020B0604020202020204" pitchFamily="34" charset="0"/>
            </a:endParaRPr>
          </a:p>
        </p:txBody>
      </p:sp>
      <p:sp>
        <p:nvSpPr>
          <p:cNvPr id="121" name="Rectangle: Rounded Corners 120">
            <a:extLst>
              <a:ext uri="{FF2B5EF4-FFF2-40B4-BE49-F238E27FC236}">
                <a16:creationId xmlns:a16="http://schemas.microsoft.com/office/drawing/2014/main" id="{71CD3EEB-53E2-3795-7B41-6CC3298C9D4E}"/>
              </a:ext>
            </a:extLst>
          </p:cNvPr>
          <p:cNvSpPr/>
          <p:nvPr/>
        </p:nvSpPr>
        <p:spPr>
          <a:xfrm>
            <a:off x="7864160" y="1695562"/>
            <a:ext cx="2305076" cy="39647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39">
              <a:defRPr/>
            </a:pPr>
            <a:r>
              <a:rPr lang="en-US" sz="1400" b="1" spc="100" noProof="0">
                <a:solidFill>
                  <a:srgbClr val="FFFFFF"/>
                </a:solidFill>
                <a:cs typeface="Arial"/>
              </a:rPr>
              <a:t>FEMALES</a:t>
            </a:r>
            <a:endParaRPr lang="en-US" sz="1400" b="1" spc="100" noProof="0">
              <a:solidFill>
                <a:srgbClr val="FFFFFF"/>
              </a:solidFill>
              <a:latin typeface="Arial" panose="020B0604020202020204" pitchFamily="34" charset="0"/>
              <a:cs typeface="Arial" panose="020B0604020202020204" pitchFamily="34" charset="0"/>
            </a:endParaRPr>
          </a:p>
        </p:txBody>
      </p:sp>
      <p:grpSp>
        <p:nvGrpSpPr>
          <p:cNvPr id="242" name="Group 241">
            <a:extLst>
              <a:ext uri="{FF2B5EF4-FFF2-40B4-BE49-F238E27FC236}">
                <a16:creationId xmlns:a16="http://schemas.microsoft.com/office/drawing/2014/main" id="{9C58D81A-7E25-599D-1C7E-821FAD3B3250}"/>
              </a:ext>
            </a:extLst>
          </p:cNvPr>
          <p:cNvGrpSpPr>
            <a:grpSpLocks noChangeAspect="1"/>
          </p:cNvGrpSpPr>
          <p:nvPr/>
        </p:nvGrpSpPr>
        <p:grpSpPr bwMode="auto">
          <a:xfrm>
            <a:off x="5329988" y="2313429"/>
            <a:ext cx="6638614" cy="3239494"/>
            <a:chOff x="-261" y="0"/>
            <a:chExt cx="5570" cy="2922"/>
          </a:xfrm>
        </p:grpSpPr>
        <p:sp>
          <p:nvSpPr>
            <p:cNvPr id="243" name="Freeform 5">
              <a:extLst>
                <a:ext uri="{FF2B5EF4-FFF2-40B4-BE49-F238E27FC236}">
                  <a16:creationId xmlns:a16="http://schemas.microsoft.com/office/drawing/2014/main" id="{AC73816D-7B84-51E8-3545-CF363905DA3A}"/>
                </a:ext>
              </a:extLst>
            </p:cNvPr>
            <p:cNvSpPr>
              <a:spLocks/>
            </p:cNvSpPr>
            <p:nvPr/>
          </p:nvSpPr>
          <p:spPr bwMode="auto">
            <a:xfrm>
              <a:off x="1812" y="549"/>
              <a:ext cx="594" cy="461"/>
            </a:xfrm>
            <a:custGeom>
              <a:avLst/>
              <a:gdLst>
                <a:gd name="T0" fmla="*/ 586 w 594"/>
                <a:gd name="T1" fmla="*/ 287 h 461"/>
                <a:gd name="T2" fmla="*/ 584 w 594"/>
                <a:gd name="T3" fmla="*/ 340 h 461"/>
                <a:gd name="T4" fmla="*/ 584 w 594"/>
                <a:gd name="T5" fmla="*/ 394 h 461"/>
                <a:gd name="T6" fmla="*/ 582 w 594"/>
                <a:gd name="T7" fmla="*/ 447 h 461"/>
                <a:gd name="T8" fmla="*/ 543 w 594"/>
                <a:gd name="T9" fmla="*/ 459 h 461"/>
                <a:gd name="T10" fmla="*/ 489 w 594"/>
                <a:gd name="T11" fmla="*/ 457 h 461"/>
                <a:gd name="T12" fmla="*/ 438 w 594"/>
                <a:gd name="T13" fmla="*/ 453 h 461"/>
                <a:gd name="T14" fmla="*/ 385 w 594"/>
                <a:gd name="T15" fmla="*/ 451 h 461"/>
                <a:gd name="T16" fmla="*/ 334 w 594"/>
                <a:gd name="T17" fmla="*/ 449 h 461"/>
                <a:gd name="T18" fmla="*/ 283 w 594"/>
                <a:gd name="T19" fmla="*/ 445 h 461"/>
                <a:gd name="T20" fmla="*/ 229 w 594"/>
                <a:gd name="T21" fmla="*/ 441 h 461"/>
                <a:gd name="T22" fmla="*/ 178 w 594"/>
                <a:gd name="T23" fmla="*/ 437 h 461"/>
                <a:gd name="T24" fmla="*/ 135 w 594"/>
                <a:gd name="T25" fmla="*/ 433 h 461"/>
                <a:gd name="T26" fmla="*/ 92 w 594"/>
                <a:gd name="T27" fmla="*/ 429 h 461"/>
                <a:gd name="T28" fmla="*/ 51 w 594"/>
                <a:gd name="T29" fmla="*/ 427 h 461"/>
                <a:gd name="T30" fmla="*/ 10 w 594"/>
                <a:gd name="T31" fmla="*/ 422 h 461"/>
                <a:gd name="T32" fmla="*/ 0 w 594"/>
                <a:gd name="T33" fmla="*/ 420 h 461"/>
                <a:gd name="T34" fmla="*/ 0 w 594"/>
                <a:gd name="T35" fmla="*/ 420 h 461"/>
                <a:gd name="T36" fmla="*/ 2 w 594"/>
                <a:gd name="T37" fmla="*/ 394 h 461"/>
                <a:gd name="T38" fmla="*/ 6 w 594"/>
                <a:gd name="T39" fmla="*/ 367 h 461"/>
                <a:gd name="T40" fmla="*/ 8 w 594"/>
                <a:gd name="T41" fmla="*/ 340 h 461"/>
                <a:gd name="T42" fmla="*/ 10 w 594"/>
                <a:gd name="T43" fmla="*/ 316 h 461"/>
                <a:gd name="T44" fmla="*/ 16 w 594"/>
                <a:gd name="T45" fmla="*/ 248 h 461"/>
                <a:gd name="T46" fmla="*/ 23 w 594"/>
                <a:gd name="T47" fmla="*/ 183 h 461"/>
                <a:gd name="T48" fmla="*/ 31 w 594"/>
                <a:gd name="T49" fmla="*/ 117 h 461"/>
                <a:gd name="T50" fmla="*/ 37 w 594"/>
                <a:gd name="T51" fmla="*/ 54 h 461"/>
                <a:gd name="T52" fmla="*/ 37 w 594"/>
                <a:gd name="T53" fmla="*/ 39 h 461"/>
                <a:gd name="T54" fmla="*/ 39 w 594"/>
                <a:gd name="T55" fmla="*/ 27 h 461"/>
                <a:gd name="T56" fmla="*/ 41 w 594"/>
                <a:gd name="T57" fmla="*/ 15 h 461"/>
                <a:gd name="T58" fmla="*/ 41 w 594"/>
                <a:gd name="T59" fmla="*/ 2 h 461"/>
                <a:gd name="T60" fmla="*/ 63 w 594"/>
                <a:gd name="T61" fmla="*/ 2 h 461"/>
                <a:gd name="T62" fmla="*/ 96 w 594"/>
                <a:gd name="T63" fmla="*/ 6 h 461"/>
                <a:gd name="T64" fmla="*/ 131 w 594"/>
                <a:gd name="T65" fmla="*/ 8 h 461"/>
                <a:gd name="T66" fmla="*/ 166 w 594"/>
                <a:gd name="T67" fmla="*/ 13 h 461"/>
                <a:gd name="T68" fmla="*/ 201 w 594"/>
                <a:gd name="T69" fmla="*/ 15 h 461"/>
                <a:gd name="T70" fmla="*/ 233 w 594"/>
                <a:gd name="T71" fmla="*/ 17 h 461"/>
                <a:gd name="T72" fmla="*/ 268 w 594"/>
                <a:gd name="T73" fmla="*/ 21 h 461"/>
                <a:gd name="T74" fmla="*/ 303 w 594"/>
                <a:gd name="T75" fmla="*/ 23 h 461"/>
                <a:gd name="T76" fmla="*/ 338 w 594"/>
                <a:gd name="T77" fmla="*/ 25 h 461"/>
                <a:gd name="T78" fmla="*/ 371 w 594"/>
                <a:gd name="T79" fmla="*/ 27 h 461"/>
                <a:gd name="T80" fmla="*/ 406 w 594"/>
                <a:gd name="T81" fmla="*/ 29 h 461"/>
                <a:gd name="T82" fmla="*/ 440 w 594"/>
                <a:gd name="T83" fmla="*/ 31 h 461"/>
                <a:gd name="T84" fmla="*/ 475 w 594"/>
                <a:gd name="T85" fmla="*/ 33 h 461"/>
                <a:gd name="T86" fmla="*/ 510 w 594"/>
                <a:gd name="T87" fmla="*/ 35 h 461"/>
                <a:gd name="T88" fmla="*/ 543 w 594"/>
                <a:gd name="T89" fmla="*/ 35 h 461"/>
                <a:gd name="T90" fmla="*/ 578 w 594"/>
                <a:gd name="T91" fmla="*/ 37 h 461"/>
                <a:gd name="T92" fmla="*/ 594 w 594"/>
                <a:gd name="T93" fmla="*/ 64 h 461"/>
                <a:gd name="T94" fmla="*/ 592 w 594"/>
                <a:gd name="T95" fmla="*/ 117 h 461"/>
                <a:gd name="T96" fmla="*/ 590 w 594"/>
                <a:gd name="T97" fmla="*/ 168 h 461"/>
                <a:gd name="T98" fmla="*/ 588 w 594"/>
                <a:gd name="T99" fmla="*/ 222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4" h="461">
                  <a:moveTo>
                    <a:pt x="588" y="248"/>
                  </a:moveTo>
                  <a:lnTo>
                    <a:pt x="588" y="261"/>
                  </a:lnTo>
                  <a:lnTo>
                    <a:pt x="588" y="275"/>
                  </a:lnTo>
                  <a:lnTo>
                    <a:pt x="586" y="287"/>
                  </a:lnTo>
                  <a:lnTo>
                    <a:pt x="586" y="302"/>
                  </a:lnTo>
                  <a:lnTo>
                    <a:pt x="586" y="314"/>
                  </a:lnTo>
                  <a:lnTo>
                    <a:pt x="586" y="328"/>
                  </a:lnTo>
                  <a:lnTo>
                    <a:pt x="584" y="340"/>
                  </a:lnTo>
                  <a:lnTo>
                    <a:pt x="584" y="355"/>
                  </a:lnTo>
                  <a:lnTo>
                    <a:pt x="584" y="367"/>
                  </a:lnTo>
                  <a:lnTo>
                    <a:pt x="584" y="381"/>
                  </a:lnTo>
                  <a:lnTo>
                    <a:pt x="584" y="394"/>
                  </a:lnTo>
                  <a:lnTo>
                    <a:pt x="582" y="408"/>
                  </a:lnTo>
                  <a:lnTo>
                    <a:pt x="582" y="420"/>
                  </a:lnTo>
                  <a:lnTo>
                    <a:pt x="582" y="435"/>
                  </a:lnTo>
                  <a:lnTo>
                    <a:pt x="582" y="447"/>
                  </a:lnTo>
                  <a:lnTo>
                    <a:pt x="582" y="461"/>
                  </a:lnTo>
                  <a:lnTo>
                    <a:pt x="567" y="459"/>
                  </a:lnTo>
                  <a:lnTo>
                    <a:pt x="555" y="459"/>
                  </a:lnTo>
                  <a:lnTo>
                    <a:pt x="543" y="459"/>
                  </a:lnTo>
                  <a:lnTo>
                    <a:pt x="528" y="459"/>
                  </a:lnTo>
                  <a:lnTo>
                    <a:pt x="516" y="457"/>
                  </a:lnTo>
                  <a:lnTo>
                    <a:pt x="502" y="457"/>
                  </a:lnTo>
                  <a:lnTo>
                    <a:pt x="489" y="457"/>
                  </a:lnTo>
                  <a:lnTo>
                    <a:pt x="477" y="455"/>
                  </a:lnTo>
                  <a:lnTo>
                    <a:pt x="463" y="455"/>
                  </a:lnTo>
                  <a:lnTo>
                    <a:pt x="451" y="455"/>
                  </a:lnTo>
                  <a:lnTo>
                    <a:pt x="438" y="453"/>
                  </a:lnTo>
                  <a:lnTo>
                    <a:pt x="424" y="453"/>
                  </a:lnTo>
                  <a:lnTo>
                    <a:pt x="412" y="453"/>
                  </a:lnTo>
                  <a:lnTo>
                    <a:pt x="399" y="451"/>
                  </a:lnTo>
                  <a:lnTo>
                    <a:pt x="385" y="451"/>
                  </a:lnTo>
                  <a:lnTo>
                    <a:pt x="373" y="451"/>
                  </a:lnTo>
                  <a:lnTo>
                    <a:pt x="360" y="449"/>
                  </a:lnTo>
                  <a:lnTo>
                    <a:pt x="346" y="449"/>
                  </a:lnTo>
                  <a:lnTo>
                    <a:pt x="334" y="449"/>
                  </a:lnTo>
                  <a:lnTo>
                    <a:pt x="322" y="447"/>
                  </a:lnTo>
                  <a:lnTo>
                    <a:pt x="307" y="447"/>
                  </a:lnTo>
                  <a:lnTo>
                    <a:pt x="295" y="445"/>
                  </a:lnTo>
                  <a:lnTo>
                    <a:pt x="283" y="445"/>
                  </a:lnTo>
                  <a:lnTo>
                    <a:pt x="268" y="443"/>
                  </a:lnTo>
                  <a:lnTo>
                    <a:pt x="256" y="443"/>
                  </a:lnTo>
                  <a:lnTo>
                    <a:pt x="244" y="441"/>
                  </a:lnTo>
                  <a:lnTo>
                    <a:pt x="229" y="441"/>
                  </a:lnTo>
                  <a:lnTo>
                    <a:pt x="217" y="441"/>
                  </a:lnTo>
                  <a:lnTo>
                    <a:pt x="205" y="439"/>
                  </a:lnTo>
                  <a:lnTo>
                    <a:pt x="190" y="439"/>
                  </a:lnTo>
                  <a:lnTo>
                    <a:pt x="178" y="437"/>
                  </a:lnTo>
                  <a:lnTo>
                    <a:pt x="166" y="437"/>
                  </a:lnTo>
                  <a:lnTo>
                    <a:pt x="156" y="435"/>
                  </a:lnTo>
                  <a:lnTo>
                    <a:pt x="145" y="435"/>
                  </a:lnTo>
                  <a:lnTo>
                    <a:pt x="135" y="433"/>
                  </a:lnTo>
                  <a:lnTo>
                    <a:pt x="123" y="433"/>
                  </a:lnTo>
                  <a:lnTo>
                    <a:pt x="113" y="431"/>
                  </a:lnTo>
                  <a:lnTo>
                    <a:pt x="102" y="431"/>
                  </a:lnTo>
                  <a:lnTo>
                    <a:pt x="92" y="429"/>
                  </a:lnTo>
                  <a:lnTo>
                    <a:pt x="82" y="429"/>
                  </a:lnTo>
                  <a:lnTo>
                    <a:pt x="72" y="429"/>
                  </a:lnTo>
                  <a:lnTo>
                    <a:pt x="61" y="427"/>
                  </a:lnTo>
                  <a:lnTo>
                    <a:pt x="51" y="427"/>
                  </a:lnTo>
                  <a:lnTo>
                    <a:pt x="41" y="424"/>
                  </a:lnTo>
                  <a:lnTo>
                    <a:pt x="31" y="424"/>
                  </a:lnTo>
                  <a:lnTo>
                    <a:pt x="20" y="422"/>
                  </a:lnTo>
                  <a:lnTo>
                    <a:pt x="10" y="422"/>
                  </a:lnTo>
                  <a:lnTo>
                    <a:pt x="0" y="420"/>
                  </a:lnTo>
                  <a:lnTo>
                    <a:pt x="0" y="420"/>
                  </a:lnTo>
                  <a:lnTo>
                    <a:pt x="0" y="420"/>
                  </a:lnTo>
                  <a:lnTo>
                    <a:pt x="0" y="420"/>
                  </a:lnTo>
                  <a:lnTo>
                    <a:pt x="0" y="420"/>
                  </a:lnTo>
                  <a:lnTo>
                    <a:pt x="0" y="420"/>
                  </a:lnTo>
                  <a:lnTo>
                    <a:pt x="0" y="420"/>
                  </a:lnTo>
                  <a:lnTo>
                    <a:pt x="0" y="420"/>
                  </a:lnTo>
                  <a:lnTo>
                    <a:pt x="0" y="414"/>
                  </a:lnTo>
                  <a:lnTo>
                    <a:pt x="2" y="408"/>
                  </a:lnTo>
                  <a:lnTo>
                    <a:pt x="2" y="400"/>
                  </a:lnTo>
                  <a:lnTo>
                    <a:pt x="2" y="394"/>
                  </a:lnTo>
                  <a:lnTo>
                    <a:pt x="4" y="388"/>
                  </a:lnTo>
                  <a:lnTo>
                    <a:pt x="4" y="381"/>
                  </a:lnTo>
                  <a:lnTo>
                    <a:pt x="4" y="375"/>
                  </a:lnTo>
                  <a:lnTo>
                    <a:pt x="6" y="367"/>
                  </a:lnTo>
                  <a:lnTo>
                    <a:pt x="6" y="361"/>
                  </a:lnTo>
                  <a:lnTo>
                    <a:pt x="6" y="355"/>
                  </a:lnTo>
                  <a:lnTo>
                    <a:pt x="6" y="349"/>
                  </a:lnTo>
                  <a:lnTo>
                    <a:pt x="8" y="340"/>
                  </a:lnTo>
                  <a:lnTo>
                    <a:pt x="8" y="334"/>
                  </a:lnTo>
                  <a:lnTo>
                    <a:pt x="8" y="328"/>
                  </a:lnTo>
                  <a:lnTo>
                    <a:pt x="10" y="322"/>
                  </a:lnTo>
                  <a:lnTo>
                    <a:pt x="10" y="316"/>
                  </a:lnTo>
                  <a:lnTo>
                    <a:pt x="12" y="299"/>
                  </a:lnTo>
                  <a:lnTo>
                    <a:pt x="14" y="283"/>
                  </a:lnTo>
                  <a:lnTo>
                    <a:pt x="16" y="265"/>
                  </a:lnTo>
                  <a:lnTo>
                    <a:pt x="16" y="248"/>
                  </a:lnTo>
                  <a:lnTo>
                    <a:pt x="18" y="232"/>
                  </a:lnTo>
                  <a:lnTo>
                    <a:pt x="20" y="215"/>
                  </a:lnTo>
                  <a:lnTo>
                    <a:pt x="23" y="199"/>
                  </a:lnTo>
                  <a:lnTo>
                    <a:pt x="23" y="183"/>
                  </a:lnTo>
                  <a:lnTo>
                    <a:pt x="25" y="166"/>
                  </a:lnTo>
                  <a:lnTo>
                    <a:pt x="27" y="150"/>
                  </a:lnTo>
                  <a:lnTo>
                    <a:pt x="29" y="133"/>
                  </a:lnTo>
                  <a:lnTo>
                    <a:pt x="31" y="117"/>
                  </a:lnTo>
                  <a:lnTo>
                    <a:pt x="31" y="101"/>
                  </a:lnTo>
                  <a:lnTo>
                    <a:pt x="33" y="86"/>
                  </a:lnTo>
                  <a:lnTo>
                    <a:pt x="35" y="70"/>
                  </a:lnTo>
                  <a:lnTo>
                    <a:pt x="37" y="54"/>
                  </a:lnTo>
                  <a:lnTo>
                    <a:pt x="37" y="49"/>
                  </a:lnTo>
                  <a:lnTo>
                    <a:pt x="37" y="47"/>
                  </a:lnTo>
                  <a:lnTo>
                    <a:pt x="37" y="43"/>
                  </a:lnTo>
                  <a:lnTo>
                    <a:pt x="37" y="39"/>
                  </a:lnTo>
                  <a:lnTo>
                    <a:pt x="39" y="37"/>
                  </a:lnTo>
                  <a:lnTo>
                    <a:pt x="39" y="33"/>
                  </a:lnTo>
                  <a:lnTo>
                    <a:pt x="39" y="31"/>
                  </a:lnTo>
                  <a:lnTo>
                    <a:pt x="39" y="27"/>
                  </a:lnTo>
                  <a:lnTo>
                    <a:pt x="39" y="25"/>
                  </a:lnTo>
                  <a:lnTo>
                    <a:pt x="39" y="21"/>
                  </a:lnTo>
                  <a:lnTo>
                    <a:pt x="41" y="19"/>
                  </a:lnTo>
                  <a:lnTo>
                    <a:pt x="41" y="15"/>
                  </a:lnTo>
                  <a:lnTo>
                    <a:pt x="41" y="13"/>
                  </a:lnTo>
                  <a:lnTo>
                    <a:pt x="41" y="8"/>
                  </a:lnTo>
                  <a:lnTo>
                    <a:pt x="41" y="4"/>
                  </a:lnTo>
                  <a:lnTo>
                    <a:pt x="41" y="2"/>
                  </a:lnTo>
                  <a:lnTo>
                    <a:pt x="41" y="0"/>
                  </a:lnTo>
                  <a:lnTo>
                    <a:pt x="45" y="0"/>
                  </a:lnTo>
                  <a:lnTo>
                    <a:pt x="55" y="2"/>
                  </a:lnTo>
                  <a:lnTo>
                    <a:pt x="63" y="2"/>
                  </a:lnTo>
                  <a:lnTo>
                    <a:pt x="72" y="2"/>
                  </a:lnTo>
                  <a:lnTo>
                    <a:pt x="80" y="4"/>
                  </a:lnTo>
                  <a:lnTo>
                    <a:pt x="88" y="4"/>
                  </a:lnTo>
                  <a:lnTo>
                    <a:pt x="96" y="6"/>
                  </a:lnTo>
                  <a:lnTo>
                    <a:pt x="106" y="6"/>
                  </a:lnTo>
                  <a:lnTo>
                    <a:pt x="115" y="6"/>
                  </a:lnTo>
                  <a:lnTo>
                    <a:pt x="123" y="8"/>
                  </a:lnTo>
                  <a:lnTo>
                    <a:pt x="131" y="8"/>
                  </a:lnTo>
                  <a:lnTo>
                    <a:pt x="139" y="11"/>
                  </a:lnTo>
                  <a:lnTo>
                    <a:pt x="150" y="11"/>
                  </a:lnTo>
                  <a:lnTo>
                    <a:pt x="158" y="11"/>
                  </a:lnTo>
                  <a:lnTo>
                    <a:pt x="166" y="13"/>
                  </a:lnTo>
                  <a:lnTo>
                    <a:pt x="174" y="13"/>
                  </a:lnTo>
                  <a:lnTo>
                    <a:pt x="182" y="13"/>
                  </a:lnTo>
                  <a:lnTo>
                    <a:pt x="190" y="15"/>
                  </a:lnTo>
                  <a:lnTo>
                    <a:pt x="201" y="15"/>
                  </a:lnTo>
                  <a:lnTo>
                    <a:pt x="209" y="15"/>
                  </a:lnTo>
                  <a:lnTo>
                    <a:pt x="217" y="17"/>
                  </a:lnTo>
                  <a:lnTo>
                    <a:pt x="225" y="17"/>
                  </a:lnTo>
                  <a:lnTo>
                    <a:pt x="233" y="17"/>
                  </a:lnTo>
                  <a:lnTo>
                    <a:pt x="244" y="19"/>
                  </a:lnTo>
                  <a:lnTo>
                    <a:pt x="252" y="19"/>
                  </a:lnTo>
                  <a:lnTo>
                    <a:pt x="260" y="19"/>
                  </a:lnTo>
                  <a:lnTo>
                    <a:pt x="268" y="21"/>
                  </a:lnTo>
                  <a:lnTo>
                    <a:pt x="276" y="21"/>
                  </a:lnTo>
                  <a:lnTo>
                    <a:pt x="287" y="21"/>
                  </a:lnTo>
                  <a:lnTo>
                    <a:pt x="295" y="23"/>
                  </a:lnTo>
                  <a:lnTo>
                    <a:pt x="303" y="23"/>
                  </a:lnTo>
                  <a:lnTo>
                    <a:pt x="311" y="23"/>
                  </a:lnTo>
                  <a:lnTo>
                    <a:pt x="319" y="23"/>
                  </a:lnTo>
                  <a:lnTo>
                    <a:pt x="328" y="25"/>
                  </a:lnTo>
                  <a:lnTo>
                    <a:pt x="338" y="25"/>
                  </a:lnTo>
                  <a:lnTo>
                    <a:pt x="346" y="25"/>
                  </a:lnTo>
                  <a:lnTo>
                    <a:pt x="354" y="27"/>
                  </a:lnTo>
                  <a:lnTo>
                    <a:pt x="363" y="27"/>
                  </a:lnTo>
                  <a:lnTo>
                    <a:pt x="371" y="27"/>
                  </a:lnTo>
                  <a:lnTo>
                    <a:pt x="381" y="27"/>
                  </a:lnTo>
                  <a:lnTo>
                    <a:pt x="389" y="29"/>
                  </a:lnTo>
                  <a:lnTo>
                    <a:pt x="397" y="29"/>
                  </a:lnTo>
                  <a:lnTo>
                    <a:pt x="406" y="29"/>
                  </a:lnTo>
                  <a:lnTo>
                    <a:pt x="414" y="29"/>
                  </a:lnTo>
                  <a:lnTo>
                    <a:pt x="424" y="31"/>
                  </a:lnTo>
                  <a:lnTo>
                    <a:pt x="432" y="31"/>
                  </a:lnTo>
                  <a:lnTo>
                    <a:pt x="440" y="31"/>
                  </a:lnTo>
                  <a:lnTo>
                    <a:pt x="449" y="31"/>
                  </a:lnTo>
                  <a:lnTo>
                    <a:pt x="457" y="33"/>
                  </a:lnTo>
                  <a:lnTo>
                    <a:pt x="467" y="33"/>
                  </a:lnTo>
                  <a:lnTo>
                    <a:pt x="475" y="33"/>
                  </a:lnTo>
                  <a:lnTo>
                    <a:pt x="483" y="33"/>
                  </a:lnTo>
                  <a:lnTo>
                    <a:pt x="492" y="33"/>
                  </a:lnTo>
                  <a:lnTo>
                    <a:pt x="500" y="35"/>
                  </a:lnTo>
                  <a:lnTo>
                    <a:pt x="510" y="35"/>
                  </a:lnTo>
                  <a:lnTo>
                    <a:pt x="518" y="35"/>
                  </a:lnTo>
                  <a:lnTo>
                    <a:pt x="526" y="35"/>
                  </a:lnTo>
                  <a:lnTo>
                    <a:pt x="535" y="35"/>
                  </a:lnTo>
                  <a:lnTo>
                    <a:pt x="543" y="35"/>
                  </a:lnTo>
                  <a:lnTo>
                    <a:pt x="551" y="37"/>
                  </a:lnTo>
                  <a:lnTo>
                    <a:pt x="561" y="37"/>
                  </a:lnTo>
                  <a:lnTo>
                    <a:pt x="569" y="37"/>
                  </a:lnTo>
                  <a:lnTo>
                    <a:pt x="578" y="37"/>
                  </a:lnTo>
                  <a:lnTo>
                    <a:pt x="586" y="37"/>
                  </a:lnTo>
                  <a:lnTo>
                    <a:pt x="594" y="37"/>
                  </a:lnTo>
                  <a:lnTo>
                    <a:pt x="594" y="52"/>
                  </a:lnTo>
                  <a:lnTo>
                    <a:pt x="594" y="64"/>
                  </a:lnTo>
                  <a:lnTo>
                    <a:pt x="594" y="78"/>
                  </a:lnTo>
                  <a:lnTo>
                    <a:pt x="594" y="90"/>
                  </a:lnTo>
                  <a:lnTo>
                    <a:pt x="592" y="103"/>
                  </a:lnTo>
                  <a:lnTo>
                    <a:pt x="592" y="117"/>
                  </a:lnTo>
                  <a:lnTo>
                    <a:pt x="592" y="129"/>
                  </a:lnTo>
                  <a:lnTo>
                    <a:pt x="592" y="144"/>
                  </a:lnTo>
                  <a:lnTo>
                    <a:pt x="592" y="156"/>
                  </a:lnTo>
                  <a:lnTo>
                    <a:pt x="590" y="168"/>
                  </a:lnTo>
                  <a:lnTo>
                    <a:pt x="590" y="183"/>
                  </a:lnTo>
                  <a:lnTo>
                    <a:pt x="590" y="195"/>
                  </a:lnTo>
                  <a:lnTo>
                    <a:pt x="590" y="209"/>
                  </a:lnTo>
                  <a:lnTo>
                    <a:pt x="588" y="222"/>
                  </a:lnTo>
                  <a:lnTo>
                    <a:pt x="588" y="236"/>
                  </a:lnTo>
                  <a:lnTo>
                    <a:pt x="588" y="248"/>
                  </a:lnTo>
                  <a:lnTo>
                    <a:pt x="588" y="248"/>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Y</a:t>
              </a:r>
            </a:p>
          </p:txBody>
        </p:sp>
        <p:sp>
          <p:nvSpPr>
            <p:cNvPr id="244" name="Freeform 6">
              <a:extLst>
                <a:ext uri="{FF2B5EF4-FFF2-40B4-BE49-F238E27FC236}">
                  <a16:creationId xmlns:a16="http://schemas.microsoft.com/office/drawing/2014/main" id="{369A015D-26B5-F68E-DCCA-426E5AFD81A4}"/>
                </a:ext>
              </a:extLst>
            </p:cNvPr>
            <p:cNvSpPr>
              <a:spLocks/>
            </p:cNvSpPr>
            <p:nvPr/>
          </p:nvSpPr>
          <p:spPr bwMode="auto">
            <a:xfrm>
              <a:off x="4212" y="910"/>
              <a:ext cx="387" cy="379"/>
            </a:xfrm>
            <a:custGeom>
              <a:avLst/>
              <a:gdLst>
                <a:gd name="T0" fmla="*/ 262 w 387"/>
                <a:gd name="T1" fmla="*/ 117 h 379"/>
                <a:gd name="T2" fmla="*/ 273 w 387"/>
                <a:gd name="T3" fmla="*/ 102 h 379"/>
                <a:gd name="T4" fmla="*/ 289 w 387"/>
                <a:gd name="T5" fmla="*/ 94 h 379"/>
                <a:gd name="T6" fmla="*/ 293 w 387"/>
                <a:gd name="T7" fmla="*/ 86 h 379"/>
                <a:gd name="T8" fmla="*/ 299 w 387"/>
                <a:gd name="T9" fmla="*/ 82 h 379"/>
                <a:gd name="T10" fmla="*/ 303 w 387"/>
                <a:gd name="T11" fmla="*/ 86 h 379"/>
                <a:gd name="T12" fmla="*/ 324 w 387"/>
                <a:gd name="T13" fmla="*/ 80 h 379"/>
                <a:gd name="T14" fmla="*/ 338 w 387"/>
                <a:gd name="T15" fmla="*/ 68 h 379"/>
                <a:gd name="T16" fmla="*/ 369 w 387"/>
                <a:gd name="T17" fmla="*/ 68 h 379"/>
                <a:gd name="T18" fmla="*/ 375 w 387"/>
                <a:gd name="T19" fmla="*/ 74 h 379"/>
                <a:gd name="T20" fmla="*/ 381 w 387"/>
                <a:gd name="T21" fmla="*/ 82 h 379"/>
                <a:gd name="T22" fmla="*/ 385 w 387"/>
                <a:gd name="T23" fmla="*/ 111 h 379"/>
                <a:gd name="T24" fmla="*/ 336 w 387"/>
                <a:gd name="T25" fmla="*/ 92 h 379"/>
                <a:gd name="T26" fmla="*/ 334 w 387"/>
                <a:gd name="T27" fmla="*/ 113 h 379"/>
                <a:gd name="T28" fmla="*/ 334 w 387"/>
                <a:gd name="T29" fmla="*/ 123 h 379"/>
                <a:gd name="T30" fmla="*/ 324 w 387"/>
                <a:gd name="T31" fmla="*/ 145 h 379"/>
                <a:gd name="T32" fmla="*/ 316 w 387"/>
                <a:gd name="T33" fmla="*/ 156 h 379"/>
                <a:gd name="T34" fmla="*/ 305 w 387"/>
                <a:gd name="T35" fmla="*/ 170 h 379"/>
                <a:gd name="T36" fmla="*/ 289 w 387"/>
                <a:gd name="T37" fmla="*/ 180 h 379"/>
                <a:gd name="T38" fmla="*/ 283 w 387"/>
                <a:gd name="T39" fmla="*/ 199 h 379"/>
                <a:gd name="T40" fmla="*/ 262 w 387"/>
                <a:gd name="T41" fmla="*/ 213 h 379"/>
                <a:gd name="T42" fmla="*/ 244 w 387"/>
                <a:gd name="T43" fmla="*/ 203 h 379"/>
                <a:gd name="T44" fmla="*/ 242 w 387"/>
                <a:gd name="T45" fmla="*/ 219 h 379"/>
                <a:gd name="T46" fmla="*/ 236 w 387"/>
                <a:gd name="T47" fmla="*/ 236 h 379"/>
                <a:gd name="T48" fmla="*/ 230 w 387"/>
                <a:gd name="T49" fmla="*/ 252 h 379"/>
                <a:gd name="T50" fmla="*/ 211 w 387"/>
                <a:gd name="T51" fmla="*/ 297 h 379"/>
                <a:gd name="T52" fmla="*/ 213 w 387"/>
                <a:gd name="T53" fmla="*/ 316 h 379"/>
                <a:gd name="T54" fmla="*/ 211 w 387"/>
                <a:gd name="T55" fmla="*/ 326 h 379"/>
                <a:gd name="T56" fmla="*/ 195 w 387"/>
                <a:gd name="T57" fmla="*/ 338 h 379"/>
                <a:gd name="T58" fmla="*/ 174 w 387"/>
                <a:gd name="T59" fmla="*/ 348 h 379"/>
                <a:gd name="T60" fmla="*/ 168 w 387"/>
                <a:gd name="T61" fmla="*/ 344 h 379"/>
                <a:gd name="T62" fmla="*/ 164 w 387"/>
                <a:gd name="T63" fmla="*/ 352 h 379"/>
                <a:gd name="T64" fmla="*/ 137 w 387"/>
                <a:gd name="T65" fmla="*/ 369 h 379"/>
                <a:gd name="T66" fmla="*/ 125 w 387"/>
                <a:gd name="T67" fmla="*/ 363 h 379"/>
                <a:gd name="T68" fmla="*/ 113 w 387"/>
                <a:gd name="T69" fmla="*/ 371 h 379"/>
                <a:gd name="T70" fmla="*/ 90 w 387"/>
                <a:gd name="T71" fmla="*/ 375 h 379"/>
                <a:gd name="T72" fmla="*/ 80 w 387"/>
                <a:gd name="T73" fmla="*/ 369 h 379"/>
                <a:gd name="T74" fmla="*/ 72 w 387"/>
                <a:gd name="T75" fmla="*/ 359 h 379"/>
                <a:gd name="T76" fmla="*/ 70 w 387"/>
                <a:gd name="T77" fmla="*/ 350 h 379"/>
                <a:gd name="T78" fmla="*/ 51 w 387"/>
                <a:gd name="T79" fmla="*/ 346 h 379"/>
                <a:gd name="T80" fmla="*/ 37 w 387"/>
                <a:gd name="T81" fmla="*/ 338 h 379"/>
                <a:gd name="T82" fmla="*/ 23 w 387"/>
                <a:gd name="T83" fmla="*/ 318 h 379"/>
                <a:gd name="T84" fmla="*/ 10 w 387"/>
                <a:gd name="T85" fmla="*/ 305 h 379"/>
                <a:gd name="T86" fmla="*/ 2 w 387"/>
                <a:gd name="T87" fmla="*/ 287 h 379"/>
                <a:gd name="T88" fmla="*/ 4 w 387"/>
                <a:gd name="T89" fmla="*/ 279 h 379"/>
                <a:gd name="T90" fmla="*/ 6 w 387"/>
                <a:gd name="T91" fmla="*/ 264 h 379"/>
                <a:gd name="T92" fmla="*/ 31 w 387"/>
                <a:gd name="T93" fmla="*/ 236 h 379"/>
                <a:gd name="T94" fmla="*/ 29 w 387"/>
                <a:gd name="T95" fmla="*/ 207 h 379"/>
                <a:gd name="T96" fmla="*/ 49 w 387"/>
                <a:gd name="T97" fmla="*/ 201 h 379"/>
                <a:gd name="T98" fmla="*/ 53 w 387"/>
                <a:gd name="T99" fmla="*/ 199 h 379"/>
                <a:gd name="T100" fmla="*/ 53 w 387"/>
                <a:gd name="T101" fmla="*/ 186 h 379"/>
                <a:gd name="T102" fmla="*/ 64 w 387"/>
                <a:gd name="T103" fmla="*/ 162 h 379"/>
                <a:gd name="T104" fmla="*/ 82 w 387"/>
                <a:gd name="T105" fmla="*/ 148 h 379"/>
                <a:gd name="T106" fmla="*/ 107 w 387"/>
                <a:gd name="T107" fmla="*/ 129 h 379"/>
                <a:gd name="T108" fmla="*/ 121 w 387"/>
                <a:gd name="T109" fmla="*/ 98 h 379"/>
                <a:gd name="T110" fmla="*/ 123 w 387"/>
                <a:gd name="T111" fmla="*/ 80 h 379"/>
                <a:gd name="T112" fmla="*/ 125 w 387"/>
                <a:gd name="T113" fmla="*/ 61 h 379"/>
                <a:gd name="T114" fmla="*/ 129 w 387"/>
                <a:gd name="T115" fmla="*/ 31 h 379"/>
                <a:gd name="T116" fmla="*/ 121 w 387"/>
                <a:gd name="T117" fmla="*/ 6 h 379"/>
                <a:gd name="T118" fmla="*/ 131 w 387"/>
                <a:gd name="T119" fmla="*/ 2 h 379"/>
                <a:gd name="T120" fmla="*/ 170 w 387"/>
                <a:gd name="T121" fmla="*/ 9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7" h="379">
                  <a:moveTo>
                    <a:pt x="236" y="82"/>
                  </a:moveTo>
                  <a:lnTo>
                    <a:pt x="244" y="135"/>
                  </a:lnTo>
                  <a:lnTo>
                    <a:pt x="246" y="137"/>
                  </a:lnTo>
                  <a:lnTo>
                    <a:pt x="246" y="137"/>
                  </a:lnTo>
                  <a:lnTo>
                    <a:pt x="246" y="135"/>
                  </a:lnTo>
                  <a:lnTo>
                    <a:pt x="248" y="135"/>
                  </a:lnTo>
                  <a:lnTo>
                    <a:pt x="254" y="125"/>
                  </a:lnTo>
                  <a:lnTo>
                    <a:pt x="256" y="125"/>
                  </a:lnTo>
                  <a:lnTo>
                    <a:pt x="258" y="123"/>
                  </a:lnTo>
                  <a:lnTo>
                    <a:pt x="260" y="123"/>
                  </a:lnTo>
                  <a:lnTo>
                    <a:pt x="260" y="123"/>
                  </a:lnTo>
                  <a:lnTo>
                    <a:pt x="260" y="121"/>
                  </a:lnTo>
                  <a:lnTo>
                    <a:pt x="260" y="119"/>
                  </a:lnTo>
                  <a:lnTo>
                    <a:pt x="262" y="117"/>
                  </a:lnTo>
                  <a:lnTo>
                    <a:pt x="264" y="115"/>
                  </a:lnTo>
                  <a:lnTo>
                    <a:pt x="266" y="113"/>
                  </a:lnTo>
                  <a:lnTo>
                    <a:pt x="266" y="113"/>
                  </a:lnTo>
                  <a:lnTo>
                    <a:pt x="268" y="113"/>
                  </a:lnTo>
                  <a:lnTo>
                    <a:pt x="268" y="111"/>
                  </a:lnTo>
                  <a:lnTo>
                    <a:pt x="271" y="109"/>
                  </a:lnTo>
                  <a:lnTo>
                    <a:pt x="271" y="109"/>
                  </a:lnTo>
                  <a:lnTo>
                    <a:pt x="271" y="109"/>
                  </a:lnTo>
                  <a:lnTo>
                    <a:pt x="271" y="109"/>
                  </a:lnTo>
                  <a:lnTo>
                    <a:pt x="271" y="107"/>
                  </a:lnTo>
                  <a:lnTo>
                    <a:pt x="271" y="104"/>
                  </a:lnTo>
                  <a:lnTo>
                    <a:pt x="271" y="104"/>
                  </a:lnTo>
                  <a:lnTo>
                    <a:pt x="271" y="102"/>
                  </a:lnTo>
                  <a:lnTo>
                    <a:pt x="273" y="102"/>
                  </a:lnTo>
                  <a:lnTo>
                    <a:pt x="275" y="100"/>
                  </a:lnTo>
                  <a:lnTo>
                    <a:pt x="275" y="100"/>
                  </a:lnTo>
                  <a:lnTo>
                    <a:pt x="277" y="100"/>
                  </a:lnTo>
                  <a:lnTo>
                    <a:pt x="277" y="100"/>
                  </a:lnTo>
                  <a:lnTo>
                    <a:pt x="279" y="100"/>
                  </a:lnTo>
                  <a:lnTo>
                    <a:pt x="281" y="102"/>
                  </a:lnTo>
                  <a:lnTo>
                    <a:pt x="281" y="102"/>
                  </a:lnTo>
                  <a:lnTo>
                    <a:pt x="283" y="102"/>
                  </a:lnTo>
                  <a:lnTo>
                    <a:pt x="283" y="102"/>
                  </a:lnTo>
                  <a:lnTo>
                    <a:pt x="285" y="102"/>
                  </a:lnTo>
                  <a:lnTo>
                    <a:pt x="285" y="102"/>
                  </a:lnTo>
                  <a:lnTo>
                    <a:pt x="285" y="100"/>
                  </a:lnTo>
                  <a:lnTo>
                    <a:pt x="285" y="100"/>
                  </a:lnTo>
                  <a:lnTo>
                    <a:pt x="289" y="94"/>
                  </a:lnTo>
                  <a:lnTo>
                    <a:pt x="289" y="92"/>
                  </a:lnTo>
                  <a:lnTo>
                    <a:pt x="291" y="90"/>
                  </a:lnTo>
                  <a:lnTo>
                    <a:pt x="291" y="90"/>
                  </a:lnTo>
                  <a:lnTo>
                    <a:pt x="291" y="90"/>
                  </a:lnTo>
                  <a:lnTo>
                    <a:pt x="291" y="90"/>
                  </a:lnTo>
                  <a:lnTo>
                    <a:pt x="291" y="88"/>
                  </a:lnTo>
                  <a:lnTo>
                    <a:pt x="291" y="88"/>
                  </a:lnTo>
                  <a:lnTo>
                    <a:pt x="293" y="88"/>
                  </a:lnTo>
                  <a:lnTo>
                    <a:pt x="293" y="88"/>
                  </a:lnTo>
                  <a:lnTo>
                    <a:pt x="293" y="88"/>
                  </a:lnTo>
                  <a:lnTo>
                    <a:pt x="293" y="88"/>
                  </a:lnTo>
                  <a:lnTo>
                    <a:pt x="293" y="86"/>
                  </a:lnTo>
                  <a:lnTo>
                    <a:pt x="293" y="86"/>
                  </a:lnTo>
                  <a:lnTo>
                    <a:pt x="293" y="86"/>
                  </a:lnTo>
                  <a:lnTo>
                    <a:pt x="293" y="86"/>
                  </a:lnTo>
                  <a:lnTo>
                    <a:pt x="293" y="84"/>
                  </a:lnTo>
                  <a:lnTo>
                    <a:pt x="295" y="82"/>
                  </a:lnTo>
                  <a:lnTo>
                    <a:pt x="295" y="82"/>
                  </a:lnTo>
                  <a:lnTo>
                    <a:pt x="295" y="80"/>
                  </a:lnTo>
                  <a:lnTo>
                    <a:pt x="295" y="80"/>
                  </a:lnTo>
                  <a:lnTo>
                    <a:pt x="295" y="80"/>
                  </a:lnTo>
                  <a:lnTo>
                    <a:pt x="295" y="80"/>
                  </a:lnTo>
                  <a:lnTo>
                    <a:pt x="295" y="80"/>
                  </a:lnTo>
                  <a:lnTo>
                    <a:pt x="297" y="80"/>
                  </a:lnTo>
                  <a:lnTo>
                    <a:pt x="297" y="80"/>
                  </a:lnTo>
                  <a:lnTo>
                    <a:pt x="297" y="82"/>
                  </a:lnTo>
                  <a:lnTo>
                    <a:pt x="299" y="82"/>
                  </a:lnTo>
                  <a:lnTo>
                    <a:pt x="299" y="82"/>
                  </a:lnTo>
                  <a:lnTo>
                    <a:pt x="299" y="82"/>
                  </a:lnTo>
                  <a:lnTo>
                    <a:pt x="299" y="82"/>
                  </a:lnTo>
                  <a:lnTo>
                    <a:pt x="297" y="84"/>
                  </a:lnTo>
                  <a:lnTo>
                    <a:pt x="297" y="84"/>
                  </a:lnTo>
                  <a:lnTo>
                    <a:pt x="297" y="84"/>
                  </a:lnTo>
                  <a:lnTo>
                    <a:pt x="297" y="84"/>
                  </a:lnTo>
                  <a:lnTo>
                    <a:pt x="297" y="84"/>
                  </a:lnTo>
                  <a:lnTo>
                    <a:pt x="297" y="84"/>
                  </a:lnTo>
                  <a:lnTo>
                    <a:pt x="297" y="86"/>
                  </a:lnTo>
                  <a:lnTo>
                    <a:pt x="297" y="86"/>
                  </a:lnTo>
                  <a:lnTo>
                    <a:pt x="299" y="86"/>
                  </a:lnTo>
                  <a:lnTo>
                    <a:pt x="299" y="86"/>
                  </a:lnTo>
                  <a:lnTo>
                    <a:pt x="299" y="86"/>
                  </a:lnTo>
                  <a:lnTo>
                    <a:pt x="303" y="86"/>
                  </a:lnTo>
                  <a:lnTo>
                    <a:pt x="303" y="88"/>
                  </a:lnTo>
                  <a:lnTo>
                    <a:pt x="303" y="88"/>
                  </a:lnTo>
                  <a:lnTo>
                    <a:pt x="305" y="88"/>
                  </a:lnTo>
                  <a:lnTo>
                    <a:pt x="307" y="88"/>
                  </a:lnTo>
                  <a:lnTo>
                    <a:pt x="314" y="88"/>
                  </a:lnTo>
                  <a:lnTo>
                    <a:pt x="314" y="88"/>
                  </a:lnTo>
                  <a:lnTo>
                    <a:pt x="318" y="86"/>
                  </a:lnTo>
                  <a:lnTo>
                    <a:pt x="322" y="86"/>
                  </a:lnTo>
                  <a:lnTo>
                    <a:pt x="326" y="84"/>
                  </a:lnTo>
                  <a:lnTo>
                    <a:pt x="326" y="82"/>
                  </a:lnTo>
                  <a:lnTo>
                    <a:pt x="324" y="82"/>
                  </a:lnTo>
                  <a:lnTo>
                    <a:pt x="324" y="82"/>
                  </a:lnTo>
                  <a:lnTo>
                    <a:pt x="324" y="80"/>
                  </a:lnTo>
                  <a:lnTo>
                    <a:pt x="324" y="80"/>
                  </a:lnTo>
                  <a:lnTo>
                    <a:pt x="326" y="80"/>
                  </a:lnTo>
                  <a:lnTo>
                    <a:pt x="326" y="78"/>
                  </a:lnTo>
                  <a:lnTo>
                    <a:pt x="324" y="76"/>
                  </a:lnTo>
                  <a:lnTo>
                    <a:pt x="324" y="76"/>
                  </a:lnTo>
                  <a:lnTo>
                    <a:pt x="326" y="76"/>
                  </a:lnTo>
                  <a:lnTo>
                    <a:pt x="328" y="76"/>
                  </a:lnTo>
                  <a:lnTo>
                    <a:pt x="328" y="74"/>
                  </a:lnTo>
                  <a:lnTo>
                    <a:pt x="330" y="74"/>
                  </a:lnTo>
                  <a:lnTo>
                    <a:pt x="332" y="72"/>
                  </a:lnTo>
                  <a:lnTo>
                    <a:pt x="334" y="72"/>
                  </a:lnTo>
                  <a:lnTo>
                    <a:pt x="336" y="72"/>
                  </a:lnTo>
                  <a:lnTo>
                    <a:pt x="336" y="72"/>
                  </a:lnTo>
                  <a:lnTo>
                    <a:pt x="338" y="70"/>
                  </a:lnTo>
                  <a:lnTo>
                    <a:pt x="338" y="68"/>
                  </a:lnTo>
                  <a:lnTo>
                    <a:pt x="340" y="66"/>
                  </a:lnTo>
                  <a:lnTo>
                    <a:pt x="340" y="63"/>
                  </a:lnTo>
                  <a:lnTo>
                    <a:pt x="342" y="63"/>
                  </a:lnTo>
                  <a:lnTo>
                    <a:pt x="342" y="63"/>
                  </a:lnTo>
                  <a:lnTo>
                    <a:pt x="346" y="63"/>
                  </a:lnTo>
                  <a:lnTo>
                    <a:pt x="350" y="63"/>
                  </a:lnTo>
                  <a:lnTo>
                    <a:pt x="359" y="70"/>
                  </a:lnTo>
                  <a:lnTo>
                    <a:pt x="361" y="70"/>
                  </a:lnTo>
                  <a:lnTo>
                    <a:pt x="363" y="70"/>
                  </a:lnTo>
                  <a:lnTo>
                    <a:pt x="365" y="70"/>
                  </a:lnTo>
                  <a:lnTo>
                    <a:pt x="365" y="70"/>
                  </a:lnTo>
                  <a:lnTo>
                    <a:pt x="367" y="70"/>
                  </a:lnTo>
                  <a:lnTo>
                    <a:pt x="369" y="70"/>
                  </a:lnTo>
                  <a:lnTo>
                    <a:pt x="369" y="68"/>
                  </a:lnTo>
                  <a:lnTo>
                    <a:pt x="369" y="68"/>
                  </a:lnTo>
                  <a:lnTo>
                    <a:pt x="371" y="68"/>
                  </a:lnTo>
                  <a:lnTo>
                    <a:pt x="371" y="68"/>
                  </a:lnTo>
                  <a:lnTo>
                    <a:pt x="373" y="68"/>
                  </a:lnTo>
                  <a:lnTo>
                    <a:pt x="375" y="70"/>
                  </a:lnTo>
                  <a:lnTo>
                    <a:pt x="375" y="70"/>
                  </a:lnTo>
                  <a:lnTo>
                    <a:pt x="373" y="72"/>
                  </a:lnTo>
                  <a:lnTo>
                    <a:pt x="371" y="74"/>
                  </a:lnTo>
                  <a:lnTo>
                    <a:pt x="371" y="74"/>
                  </a:lnTo>
                  <a:lnTo>
                    <a:pt x="373" y="78"/>
                  </a:lnTo>
                  <a:lnTo>
                    <a:pt x="375" y="78"/>
                  </a:lnTo>
                  <a:lnTo>
                    <a:pt x="375" y="76"/>
                  </a:lnTo>
                  <a:lnTo>
                    <a:pt x="375" y="76"/>
                  </a:lnTo>
                  <a:lnTo>
                    <a:pt x="375" y="74"/>
                  </a:lnTo>
                  <a:lnTo>
                    <a:pt x="375" y="74"/>
                  </a:lnTo>
                  <a:lnTo>
                    <a:pt x="377" y="76"/>
                  </a:lnTo>
                  <a:lnTo>
                    <a:pt x="377" y="76"/>
                  </a:lnTo>
                  <a:lnTo>
                    <a:pt x="375" y="78"/>
                  </a:lnTo>
                  <a:lnTo>
                    <a:pt x="375" y="78"/>
                  </a:lnTo>
                  <a:lnTo>
                    <a:pt x="377" y="80"/>
                  </a:lnTo>
                  <a:lnTo>
                    <a:pt x="379" y="78"/>
                  </a:lnTo>
                  <a:lnTo>
                    <a:pt x="379" y="78"/>
                  </a:lnTo>
                  <a:lnTo>
                    <a:pt x="381" y="78"/>
                  </a:lnTo>
                  <a:lnTo>
                    <a:pt x="381" y="78"/>
                  </a:lnTo>
                  <a:lnTo>
                    <a:pt x="381" y="78"/>
                  </a:lnTo>
                  <a:lnTo>
                    <a:pt x="379" y="80"/>
                  </a:lnTo>
                  <a:lnTo>
                    <a:pt x="379" y="82"/>
                  </a:lnTo>
                  <a:lnTo>
                    <a:pt x="381" y="82"/>
                  </a:lnTo>
                  <a:lnTo>
                    <a:pt x="379" y="84"/>
                  </a:lnTo>
                  <a:lnTo>
                    <a:pt x="381" y="84"/>
                  </a:lnTo>
                  <a:lnTo>
                    <a:pt x="385" y="86"/>
                  </a:lnTo>
                  <a:lnTo>
                    <a:pt x="385" y="88"/>
                  </a:lnTo>
                  <a:lnTo>
                    <a:pt x="385" y="88"/>
                  </a:lnTo>
                  <a:lnTo>
                    <a:pt x="385" y="92"/>
                  </a:lnTo>
                  <a:lnTo>
                    <a:pt x="385" y="92"/>
                  </a:lnTo>
                  <a:lnTo>
                    <a:pt x="387" y="94"/>
                  </a:lnTo>
                  <a:lnTo>
                    <a:pt x="387" y="94"/>
                  </a:lnTo>
                  <a:lnTo>
                    <a:pt x="387" y="96"/>
                  </a:lnTo>
                  <a:lnTo>
                    <a:pt x="387" y="96"/>
                  </a:lnTo>
                  <a:lnTo>
                    <a:pt x="387" y="100"/>
                  </a:lnTo>
                  <a:lnTo>
                    <a:pt x="385" y="104"/>
                  </a:lnTo>
                  <a:lnTo>
                    <a:pt x="385" y="111"/>
                  </a:lnTo>
                  <a:lnTo>
                    <a:pt x="383" y="113"/>
                  </a:lnTo>
                  <a:lnTo>
                    <a:pt x="383" y="115"/>
                  </a:lnTo>
                  <a:lnTo>
                    <a:pt x="383" y="117"/>
                  </a:lnTo>
                  <a:lnTo>
                    <a:pt x="383" y="115"/>
                  </a:lnTo>
                  <a:lnTo>
                    <a:pt x="381" y="115"/>
                  </a:lnTo>
                  <a:lnTo>
                    <a:pt x="377" y="113"/>
                  </a:lnTo>
                  <a:lnTo>
                    <a:pt x="371" y="111"/>
                  </a:lnTo>
                  <a:lnTo>
                    <a:pt x="365" y="107"/>
                  </a:lnTo>
                  <a:lnTo>
                    <a:pt x="361" y="104"/>
                  </a:lnTo>
                  <a:lnTo>
                    <a:pt x="354" y="100"/>
                  </a:lnTo>
                  <a:lnTo>
                    <a:pt x="348" y="98"/>
                  </a:lnTo>
                  <a:lnTo>
                    <a:pt x="344" y="96"/>
                  </a:lnTo>
                  <a:lnTo>
                    <a:pt x="338" y="92"/>
                  </a:lnTo>
                  <a:lnTo>
                    <a:pt x="336" y="92"/>
                  </a:lnTo>
                  <a:lnTo>
                    <a:pt x="336" y="92"/>
                  </a:lnTo>
                  <a:lnTo>
                    <a:pt x="334" y="94"/>
                  </a:lnTo>
                  <a:lnTo>
                    <a:pt x="334" y="96"/>
                  </a:lnTo>
                  <a:lnTo>
                    <a:pt x="334" y="96"/>
                  </a:lnTo>
                  <a:lnTo>
                    <a:pt x="334" y="98"/>
                  </a:lnTo>
                  <a:lnTo>
                    <a:pt x="336" y="100"/>
                  </a:lnTo>
                  <a:lnTo>
                    <a:pt x="336" y="102"/>
                  </a:lnTo>
                  <a:lnTo>
                    <a:pt x="336" y="104"/>
                  </a:lnTo>
                  <a:lnTo>
                    <a:pt x="336" y="104"/>
                  </a:lnTo>
                  <a:lnTo>
                    <a:pt x="336" y="104"/>
                  </a:lnTo>
                  <a:lnTo>
                    <a:pt x="336" y="109"/>
                  </a:lnTo>
                  <a:lnTo>
                    <a:pt x="334" y="111"/>
                  </a:lnTo>
                  <a:lnTo>
                    <a:pt x="334" y="113"/>
                  </a:lnTo>
                  <a:lnTo>
                    <a:pt x="334" y="113"/>
                  </a:lnTo>
                  <a:lnTo>
                    <a:pt x="334" y="113"/>
                  </a:lnTo>
                  <a:lnTo>
                    <a:pt x="334" y="113"/>
                  </a:lnTo>
                  <a:lnTo>
                    <a:pt x="334" y="115"/>
                  </a:lnTo>
                  <a:lnTo>
                    <a:pt x="334" y="115"/>
                  </a:lnTo>
                  <a:lnTo>
                    <a:pt x="334" y="115"/>
                  </a:lnTo>
                  <a:lnTo>
                    <a:pt x="334" y="117"/>
                  </a:lnTo>
                  <a:lnTo>
                    <a:pt x="334" y="117"/>
                  </a:lnTo>
                  <a:lnTo>
                    <a:pt x="334" y="119"/>
                  </a:lnTo>
                  <a:lnTo>
                    <a:pt x="334" y="119"/>
                  </a:lnTo>
                  <a:lnTo>
                    <a:pt x="334" y="121"/>
                  </a:lnTo>
                  <a:lnTo>
                    <a:pt x="334" y="121"/>
                  </a:lnTo>
                  <a:lnTo>
                    <a:pt x="334" y="121"/>
                  </a:lnTo>
                  <a:lnTo>
                    <a:pt x="334" y="123"/>
                  </a:lnTo>
                  <a:lnTo>
                    <a:pt x="334" y="123"/>
                  </a:lnTo>
                  <a:lnTo>
                    <a:pt x="334" y="123"/>
                  </a:lnTo>
                  <a:lnTo>
                    <a:pt x="334" y="123"/>
                  </a:lnTo>
                  <a:lnTo>
                    <a:pt x="334" y="125"/>
                  </a:lnTo>
                  <a:lnTo>
                    <a:pt x="332" y="129"/>
                  </a:lnTo>
                  <a:lnTo>
                    <a:pt x="330" y="131"/>
                  </a:lnTo>
                  <a:lnTo>
                    <a:pt x="328" y="135"/>
                  </a:lnTo>
                  <a:lnTo>
                    <a:pt x="326" y="139"/>
                  </a:lnTo>
                  <a:lnTo>
                    <a:pt x="326" y="139"/>
                  </a:lnTo>
                  <a:lnTo>
                    <a:pt x="326" y="139"/>
                  </a:lnTo>
                  <a:lnTo>
                    <a:pt x="326" y="139"/>
                  </a:lnTo>
                  <a:lnTo>
                    <a:pt x="326" y="139"/>
                  </a:lnTo>
                  <a:lnTo>
                    <a:pt x="326" y="141"/>
                  </a:lnTo>
                  <a:lnTo>
                    <a:pt x="326" y="141"/>
                  </a:lnTo>
                  <a:lnTo>
                    <a:pt x="324" y="145"/>
                  </a:lnTo>
                  <a:lnTo>
                    <a:pt x="324" y="145"/>
                  </a:lnTo>
                  <a:lnTo>
                    <a:pt x="324" y="145"/>
                  </a:lnTo>
                  <a:lnTo>
                    <a:pt x="322" y="148"/>
                  </a:lnTo>
                  <a:lnTo>
                    <a:pt x="322" y="148"/>
                  </a:lnTo>
                  <a:lnTo>
                    <a:pt x="322" y="148"/>
                  </a:lnTo>
                  <a:lnTo>
                    <a:pt x="320" y="148"/>
                  </a:lnTo>
                  <a:lnTo>
                    <a:pt x="320" y="150"/>
                  </a:lnTo>
                  <a:lnTo>
                    <a:pt x="320" y="152"/>
                  </a:lnTo>
                  <a:lnTo>
                    <a:pt x="320" y="152"/>
                  </a:lnTo>
                  <a:lnTo>
                    <a:pt x="320" y="152"/>
                  </a:lnTo>
                  <a:lnTo>
                    <a:pt x="318" y="154"/>
                  </a:lnTo>
                  <a:lnTo>
                    <a:pt x="316" y="154"/>
                  </a:lnTo>
                  <a:lnTo>
                    <a:pt x="316" y="154"/>
                  </a:lnTo>
                  <a:lnTo>
                    <a:pt x="316" y="156"/>
                  </a:lnTo>
                  <a:lnTo>
                    <a:pt x="316" y="154"/>
                  </a:lnTo>
                  <a:lnTo>
                    <a:pt x="314" y="154"/>
                  </a:lnTo>
                  <a:lnTo>
                    <a:pt x="314" y="154"/>
                  </a:lnTo>
                  <a:lnTo>
                    <a:pt x="314" y="154"/>
                  </a:lnTo>
                  <a:lnTo>
                    <a:pt x="314" y="154"/>
                  </a:lnTo>
                  <a:lnTo>
                    <a:pt x="314" y="154"/>
                  </a:lnTo>
                  <a:lnTo>
                    <a:pt x="314" y="154"/>
                  </a:lnTo>
                  <a:lnTo>
                    <a:pt x="311" y="154"/>
                  </a:lnTo>
                  <a:lnTo>
                    <a:pt x="311" y="158"/>
                  </a:lnTo>
                  <a:lnTo>
                    <a:pt x="309" y="162"/>
                  </a:lnTo>
                  <a:lnTo>
                    <a:pt x="307" y="166"/>
                  </a:lnTo>
                  <a:lnTo>
                    <a:pt x="305" y="170"/>
                  </a:lnTo>
                  <a:lnTo>
                    <a:pt x="305" y="170"/>
                  </a:lnTo>
                  <a:lnTo>
                    <a:pt x="305" y="170"/>
                  </a:lnTo>
                  <a:lnTo>
                    <a:pt x="303" y="170"/>
                  </a:lnTo>
                  <a:lnTo>
                    <a:pt x="301" y="170"/>
                  </a:lnTo>
                  <a:lnTo>
                    <a:pt x="297" y="168"/>
                  </a:lnTo>
                  <a:lnTo>
                    <a:pt x="293" y="166"/>
                  </a:lnTo>
                  <a:lnTo>
                    <a:pt x="293" y="166"/>
                  </a:lnTo>
                  <a:lnTo>
                    <a:pt x="293" y="168"/>
                  </a:lnTo>
                  <a:lnTo>
                    <a:pt x="291" y="172"/>
                  </a:lnTo>
                  <a:lnTo>
                    <a:pt x="289" y="174"/>
                  </a:lnTo>
                  <a:lnTo>
                    <a:pt x="289" y="174"/>
                  </a:lnTo>
                  <a:lnTo>
                    <a:pt x="289" y="174"/>
                  </a:lnTo>
                  <a:lnTo>
                    <a:pt x="289" y="176"/>
                  </a:lnTo>
                  <a:lnTo>
                    <a:pt x="289" y="176"/>
                  </a:lnTo>
                  <a:lnTo>
                    <a:pt x="289" y="178"/>
                  </a:lnTo>
                  <a:lnTo>
                    <a:pt x="289" y="180"/>
                  </a:lnTo>
                  <a:lnTo>
                    <a:pt x="287" y="180"/>
                  </a:lnTo>
                  <a:lnTo>
                    <a:pt x="289" y="186"/>
                  </a:lnTo>
                  <a:lnTo>
                    <a:pt x="289" y="186"/>
                  </a:lnTo>
                  <a:lnTo>
                    <a:pt x="287" y="186"/>
                  </a:lnTo>
                  <a:lnTo>
                    <a:pt x="287" y="189"/>
                  </a:lnTo>
                  <a:lnTo>
                    <a:pt x="287" y="189"/>
                  </a:lnTo>
                  <a:lnTo>
                    <a:pt x="285" y="191"/>
                  </a:lnTo>
                  <a:lnTo>
                    <a:pt x="285" y="191"/>
                  </a:lnTo>
                  <a:lnTo>
                    <a:pt x="285" y="193"/>
                  </a:lnTo>
                  <a:lnTo>
                    <a:pt x="285" y="193"/>
                  </a:lnTo>
                  <a:lnTo>
                    <a:pt x="285" y="195"/>
                  </a:lnTo>
                  <a:lnTo>
                    <a:pt x="283" y="197"/>
                  </a:lnTo>
                  <a:lnTo>
                    <a:pt x="283" y="199"/>
                  </a:lnTo>
                  <a:lnTo>
                    <a:pt x="283" y="199"/>
                  </a:lnTo>
                  <a:lnTo>
                    <a:pt x="283" y="199"/>
                  </a:lnTo>
                  <a:lnTo>
                    <a:pt x="283" y="199"/>
                  </a:lnTo>
                  <a:lnTo>
                    <a:pt x="283" y="203"/>
                  </a:lnTo>
                  <a:lnTo>
                    <a:pt x="283" y="203"/>
                  </a:lnTo>
                  <a:lnTo>
                    <a:pt x="283" y="205"/>
                  </a:lnTo>
                  <a:lnTo>
                    <a:pt x="281" y="207"/>
                  </a:lnTo>
                  <a:lnTo>
                    <a:pt x="281" y="211"/>
                  </a:lnTo>
                  <a:lnTo>
                    <a:pt x="277" y="215"/>
                  </a:lnTo>
                  <a:lnTo>
                    <a:pt x="277" y="215"/>
                  </a:lnTo>
                  <a:lnTo>
                    <a:pt x="277" y="215"/>
                  </a:lnTo>
                  <a:lnTo>
                    <a:pt x="277" y="215"/>
                  </a:lnTo>
                  <a:lnTo>
                    <a:pt x="271" y="215"/>
                  </a:lnTo>
                  <a:lnTo>
                    <a:pt x="266" y="215"/>
                  </a:lnTo>
                  <a:lnTo>
                    <a:pt x="262" y="213"/>
                  </a:lnTo>
                  <a:lnTo>
                    <a:pt x="258" y="213"/>
                  </a:lnTo>
                  <a:lnTo>
                    <a:pt x="258" y="213"/>
                  </a:lnTo>
                  <a:lnTo>
                    <a:pt x="258" y="213"/>
                  </a:lnTo>
                  <a:lnTo>
                    <a:pt x="258" y="213"/>
                  </a:lnTo>
                  <a:lnTo>
                    <a:pt x="258" y="211"/>
                  </a:lnTo>
                  <a:lnTo>
                    <a:pt x="258" y="211"/>
                  </a:lnTo>
                  <a:lnTo>
                    <a:pt x="258" y="211"/>
                  </a:lnTo>
                  <a:lnTo>
                    <a:pt x="258" y="211"/>
                  </a:lnTo>
                  <a:lnTo>
                    <a:pt x="258" y="211"/>
                  </a:lnTo>
                  <a:lnTo>
                    <a:pt x="252" y="205"/>
                  </a:lnTo>
                  <a:lnTo>
                    <a:pt x="252" y="205"/>
                  </a:lnTo>
                  <a:lnTo>
                    <a:pt x="252" y="205"/>
                  </a:lnTo>
                  <a:lnTo>
                    <a:pt x="252" y="205"/>
                  </a:lnTo>
                  <a:lnTo>
                    <a:pt x="244" y="203"/>
                  </a:lnTo>
                  <a:lnTo>
                    <a:pt x="244" y="203"/>
                  </a:lnTo>
                  <a:lnTo>
                    <a:pt x="244" y="205"/>
                  </a:lnTo>
                  <a:lnTo>
                    <a:pt x="244" y="205"/>
                  </a:lnTo>
                  <a:lnTo>
                    <a:pt x="244" y="207"/>
                  </a:lnTo>
                  <a:lnTo>
                    <a:pt x="244" y="207"/>
                  </a:lnTo>
                  <a:lnTo>
                    <a:pt x="244" y="209"/>
                  </a:lnTo>
                  <a:lnTo>
                    <a:pt x="244" y="209"/>
                  </a:lnTo>
                  <a:lnTo>
                    <a:pt x="244" y="209"/>
                  </a:lnTo>
                  <a:lnTo>
                    <a:pt x="244" y="211"/>
                  </a:lnTo>
                  <a:lnTo>
                    <a:pt x="244" y="211"/>
                  </a:lnTo>
                  <a:lnTo>
                    <a:pt x="242" y="213"/>
                  </a:lnTo>
                  <a:lnTo>
                    <a:pt x="242" y="215"/>
                  </a:lnTo>
                  <a:lnTo>
                    <a:pt x="242" y="215"/>
                  </a:lnTo>
                  <a:lnTo>
                    <a:pt x="242" y="219"/>
                  </a:lnTo>
                  <a:lnTo>
                    <a:pt x="242" y="221"/>
                  </a:lnTo>
                  <a:lnTo>
                    <a:pt x="242" y="221"/>
                  </a:lnTo>
                  <a:lnTo>
                    <a:pt x="242" y="223"/>
                  </a:lnTo>
                  <a:lnTo>
                    <a:pt x="242" y="225"/>
                  </a:lnTo>
                  <a:lnTo>
                    <a:pt x="242" y="227"/>
                  </a:lnTo>
                  <a:lnTo>
                    <a:pt x="240" y="229"/>
                  </a:lnTo>
                  <a:lnTo>
                    <a:pt x="240" y="229"/>
                  </a:lnTo>
                  <a:lnTo>
                    <a:pt x="238" y="229"/>
                  </a:lnTo>
                  <a:lnTo>
                    <a:pt x="238" y="229"/>
                  </a:lnTo>
                  <a:lnTo>
                    <a:pt x="238" y="232"/>
                  </a:lnTo>
                  <a:lnTo>
                    <a:pt x="238" y="232"/>
                  </a:lnTo>
                  <a:lnTo>
                    <a:pt x="238" y="234"/>
                  </a:lnTo>
                  <a:lnTo>
                    <a:pt x="238" y="234"/>
                  </a:lnTo>
                  <a:lnTo>
                    <a:pt x="236" y="236"/>
                  </a:lnTo>
                  <a:lnTo>
                    <a:pt x="236" y="236"/>
                  </a:lnTo>
                  <a:lnTo>
                    <a:pt x="238" y="238"/>
                  </a:lnTo>
                  <a:lnTo>
                    <a:pt x="238" y="238"/>
                  </a:lnTo>
                  <a:lnTo>
                    <a:pt x="238" y="238"/>
                  </a:lnTo>
                  <a:lnTo>
                    <a:pt x="238" y="240"/>
                  </a:lnTo>
                  <a:lnTo>
                    <a:pt x="238" y="240"/>
                  </a:lnTo>
                  <a:lnTo>
                    <a:pt x="238" y="240"/>
                  </a:lnTo>
                  <a:lnTo>
                    <a:pt x="236" y="242"/>
                  </a:lnTo>
                  <a:lnTo>
                    <a:pt x="234" y="244"/>
                  </a:lnTo>
                  <a:lnTo>
                    <a:pt x="234" y="244"/>
                  </a:lnTo>
                  <a:lnTo>
                    <a:pt x="232" y="248"/>
                  </a:lnTo>
                  <a:lnTo>
                    <a:pt x="230" y="252"/>
                  </a:lnTo>
                  <a:lnTo>
                    <a:pt x="230" y="252"/>
                  </a:lnTo>
                  <a:lnTo>
                    <a:pt x="230" y="252"/>
                  </a:lnTo>
                  <a:lnTo>
                    <a:pt x="230" y="254"/>
                  </a:lnTo>
                  <a:lnTo>
                    <a:pt x="230" y="254"/>
                  </a:lnTo>
                  <a:lnTo>
                    <a:pt x="230" y="254"/>
                  </a:lnTo>
                  <a:lnTo>
                    <a:pt x="230" y="262"/>
                  </a:lnTo>
                  <a:lnTo>
                    <a:pt x="228" y="266"/>
                  </a:lnTo>
                  <a:lnTo>
                    <a:pt x="225" y="270"/>
                  </a:lnTo>
                  <a:lnTo>
                    <a:pt x="223" y="275"/>
                  </a:lnTo>
                  <a:lnTo>
                    <a:pt x="219" y="281"/>
                  </a:lnTo>
                  <a:lnTo>
                    <a:pt x="217" y="285"/>
                  </a:lnTo>
                  <a:lnTo>
                    <a:pt x="215" y="289"/>
                  </a:lnTo>
                  <a:lnTo>
                    <a:pt x="211" y="295"/>
                  </a:lnTo>
                  <a:lnTo>
                    <a:pt x="211" y="295"/>
                  </a:lnTo>
                  <a:lnTo>
                    <a:pt x="211" y="297"/>
                  </a:lnTo>
                  <a:lnTo>
                    <a:pt x="211" y="297"/>
                  </a:lnTo>
                  <a:lnTo>
                    <a:pt x="209" y="303"/>
                  </a:lnTo>
                  <a:lnTo>
                    <a:pt x="207" y="309"/>
                  </a:lnTo>
                  <a:lnTo>
                    <a:pt x="207" y="309"/>
                  </a:lnTo>
                  <a:lnTo>
                    <a:pt x="207" y="311"/>
                  </a:lnTo>
                  <a:lnTo>
                    <a:pt x="207" y="311"/>
                  </a:lnTo>
                  <a:lnTo>
                    <a:pt x="207" y="311"/>
                  </a:lnTo>
                  <a:lnTo>
                    <a:pt x="209" y="311"/>
                  </a:lnTo>
                  <a:lnTo>
                    <a:pt x="209" y="311"/>
                  </a:lnTo>
                  <a:lnTo>
                    <a:pt x="213" y="314"/>
                  </a:lnTo>
                  <a:lnTo>
                    <a:pt x="213" y="314"/>
                  </a:lnTo>
                  <a:lnTo>
                    <a:pt x="213" y="314"/>
                  </a:lnTo>
                  <a:lnTo>
                    <a:pt x="213" y="316"/>
                  </a:lnTo>
                  <a:lnTo>
                    <a:pt x="213" y="316"/>
                  </a:lnTo>
                  <a:lnTo>
                    <a:pt x="213" y="316"/>
                  </a:lnTo>
                  <a:lnTo>
                    <a:pt x="213" y="318"/>
                  </a:lnTo>
                  <a:lnTo>
                    <a:pt x="211" y="318"/>
                  </a:lnTo>
                  <a:lnTo>
                    <a:pt x="209" y="320"/>
                  </a:lnTo>
                  <a:lnTo>
                    <a:pt x="209" y="320"/>
                  </a:lnTo>
                  <a:lnTo>
                    <a:pt x="209" y="320"/>
                  </a:lnTo>
                  <a:lnTo>
                    <a:pt x="209" y="322"/>
                  </a:lnTo>
                  <a:lnTo>
                    <a:pt x="207" y="322"/>
                  </a:lnTo>
                  <a:lnTo>
                    <a:pt x="207" y="324"/>
                  </a:lnTo>
                  <a:lnTo>
                    <a:pt x="207" y="324"/>
                  </a:lnTo>
                  <a:lnTo>
                    <a:pt x="209" y="324"/>
                  </a:lnTo>
                  <a:lnTo>
                    <a:pt x="209" y="324"/>
                  </a:lnTo>
                  <a:lnTo>
                    <a:pt x="209" y="324"/>
                  </a:lnTo>
                  <a:lnTo>
                    <a:pt x="209" y="326"/>
                  </a:lnTo>
                  <a:lnTo>
                    <a:pt x="211" y="326"/>
                  </a:lnTo>
                  <a:lnTo>
                    <a:pt x="211" y="326"/>
                  </a:lnTo>
                  <a:lnTo>
                    <a:pt x="211" y="328"/>
                  </a:lnTo>
                  <a:lnTo>
                    <a:pt x="209" y="328"/>
                  </a:lnTo>
                  <a:lnTo>
                    <a:pt x="201" y="336"/>
                  </a:lnTo>
                  <a:lnTo>
                    <a:pt x="199" y="338"/>
                  </a:lnTo>
                  <a:lnTo>
                    <a:pt x="199" y="338"/>
                  </a:lnTo>
                  <a:lnTo>
                    <a:pt x="197" y="338"/>
                  </a:lnTo>
                  <a:lnTo>
                    <a:pt x="197" y="338"/>
                  </a:lnTo>
                  <a:lnTo>
                    <a:pt x="197" y="338"/>
                  </a:lnTo>
                  <a:lnTo>
                    <a:pt x="197" y="338"/>
                  </a:lnTo>
                  <a:lnTo>
                    <a:pt x="197" y="338"/>
                  </a:lnTo>
                  <a:lnTo>
                    <a:pt x="195" y="338"/>
                  </a:lnTo>
                  <a:lnTo>
                    <a:pt x="195" y="338"/>
                  </a:lnTo>
                  <a:lnTo>
                    <a:pt x="195" y="338"/>
                  </a:lnTo>
                  <a:lnTo>
                    <a:pt x="195" y="336"/>
                  </a:lnTo>
                  <a:lnTo>
                    <a:pt x="195" y="336"/>
                  </a:lnTo>
                  <a:lnTo>
                    <a:pt x="195" y="336"/>
                  </a:lnTo>
                  <a:lnTo>
                    <a:pt x="195" y="336"/>
                  </a:lnTo>
                  <a:lnTo>
                    <a:pt x="193" y="336"/>
                  </a:lnTo>
                  <a:lnTo>
                    <a:pt x="193" y="336"/>
                  </a:lnTo>
                  <a:lnTo>
                    <a:pt x="191" y="336"/>
                  </a:lnTo>
                  <a:lnTo>
                    <a:pt x="189" y="336"/>
                  </a:lnTo>
                  <a:lnTo>
                    <a:pt x="187" y="338"/>
                  </a:lnTo>
                  <a:lnTo>
                    <a:pt x="182" y="342"/>
                  </a:lnTo>
                  <a:lnTo>
                    <a:pt x="178" y="344"/>
                  </a:lnTo>
                  <a:lnTo>
                    <a:pt x="174" y="348"/>
                  </a:lnTo>
                  <a:lnTo>
                    <a:pt x="174" y="348"/>
                  </a:lnTo>
                  <a:lnTo>
                    <a:pt x="174" y="348"/>
                  </a:lnTo>
                  <a:lnTo>
                    <a:pt x="174" y="348"/>
                  </a:lnTo>
                  <a:lnTo>
                    <a:pt x="174" y="348"/>
                  </a:lnTo>
                  <a:lnTo>
                    <a:pt x="174" y="348"/>
                  </a:lnTo>
                  <a:lnTo>
                    <a:pt x="172" y="348"/>
                  </a:lnTo>
                  <a:lnTo>
                    <a:pt x="172" y="346"/>
                  </a:lnTo>
                  <a:lnTo>
                    <a:pt x="172" y="346"/>
                  </a:lnTo>
                  <a:lnTo>
                    <a:pt x="172" y="346"/>
                  </a:lnTo>
                  <a:lnTo>
                    <a:pt x="170" y="346"/>
                  </a:lnTo>
                  <a:lnTo>
                    <a:pt x="170" y="346"/>
                  </a:lnTo>
                  <a:lnTo>
                    <a:pt x="170" y="346"/>
                  </a:lnTo>
                  <a:lnTo>
                    <a:pt x="170" y="346"/>
                  </a:lnTo>
                  <a:lnTo>
                    <a:pt x="170" y="344"/>
                  </a:lnTo>
                  <a:lnTo>
                    <a:pt x="168" y="344"/>
                  </a:lnTo>
                  <a:lnTo>
                    <a:pt x="168" y="344"/>
                  </a:lnTo>
                  <a:lnTo>
                    <a:pt x="166" y="344"/>
                  </a:lnTo>
                  <a:lnTo>
                    <a:pt x="166" y="344"/>
                  </a:lnTo>
                  <a:lnTo>
                    <a:pt x="164" y="344"/>
                  </a:lnTo>
                  <a:lnTo>
                    <a:pt x="164" y="346"/>
                  </a:lnTo>
                  <a:lnTo>
                    <a:pt x="164" y="346"/>
                  </a:lnTo>
                  <a:lnTo>
                    <a:pt x="162" y="346"/>
                  </a:lnTo>
                  <a:lnTo>
                    <a:pt x="162" y="348"/>
                  </a:lnTo>
                  <a:lnTo>
                    <a:pt x="162" y="348"/>
                  </a:lnTo>
                  <a:lnTo>
                    <a:pt x="162" y="348"/>
                  </a:lnTo>
                  <a:lnTo>
                    <a:pt x="162" y="348"/>
                  </a:lnTo>
                  <a:lnTo>
                    <a:pt x="162" y="350"/>
                  </a:lnTo>
                  <a:lnTo>
                    <a:pt x="162" y="350"/>
                  </a:lnTo>
                  <a:lnTo>
                    <a:pt x="164" y="352"/>
                  </a:lnTo>
                  <a:lnTo>
                    <a:pt x="164" y="352"/>
                  </a:lnTo>
                  <a:lnTo>
                    <a:pt x="164" y="354"/>
                  </a:lnTo>
                  <a:lnTo>
                    <a:pt x="164" y="354"/>
                  </a:lnTo>
                  <a:lnTo>
                    <a:pt x="164" y="357"/>
                  </a:lnTo>
                  <a:lnTo>
                    <a:pt x="164" y="357"/>
                  </a:lnTo>
                  <a:lnTo>
                    <a:pt x="158" y="361"/>
                  </a:lnTo>
                  <a:lnTo>
                    <a:pt x="158" y="361"/>
                  </a:lnTo>
                  <a:lnTo>
                    <a:pt x="158" y="361"/>
                  </a:lnTo>
                  <a:lnTo>
                    <a:pt x="156" y="361"/>
                  </a:lnTo>
                  <a:lnTo>
                    <a:pt x="156" y="361"/>
                  </a:lnTo>
                  <a:lnTo>
                    <a:pt x="154" y="361"/>
                  </a:lnTo>
                  <a:lnTo>
                    <a:pt x="152" y="363"/>
                  </a:lnTo>
                  <a:lnTo>
                    <a:pt x="152" y="363"/>
                  </a:lnTo>
                  <a:lnTo>
                    <a:pt x="144" y="365"/>
                  </a:lnTo>
                  <a:lnTo>
                    <a:pt x="137" y="369"/>
                  </a:lnTo>
                  <a:lnTo>
                    <a:pt x="135" y="371"/>
                  </a:lnTo>
                  <a:lnTo>
                    <a:pt x="135" y="369"/>
                  </a:lnTo>
                  <a:lnTo>
                    <a:pt x="135" y="369"/>
                  </a:lnTo>
                  <a:lnTo>
                    <a:pt x="135" y="369"/>
                  </a:lnTo>
                  <a:lnTo>
                    <a:pt x="135" y="369"/>
                  </a:lnTo>
                  <a:lnTo>
                    <a:pt x="135" y="369"/>
                  </a:lnTo>
                  <a:lnTo>
                    <a:pt x="133" y="369"/>
                  </a:lnTo>
                  <a:lnTo>
                    <a:pt x="133" y="367"/>
                  </a:lnTo>
                  <a:lnTo>
                    <a:pt x="129" y="365"/>
                  </a:lnTo>
                  <a:lnTo>
                    <a:pt x="127" y="365"/>
                  </a:lnTo>
                  <a:lnTo>
                    <a:pt x="127" y="365"/>
                  </a:lnTo>
                  <a:lnTo>
                    <a:pt x="125" y="363"/>
                  </a:lnTo>
                  <a:lnTo>
                    <a:pt x="125" y="363"/>
                  </a:lnTo>
                  <a:lnTo>
                    <a:pt x="125" y="363"/>
                  </a:lnTo>
                  <a:lnTo>
                    <a:pt x="123" y="363"/>
                  </a:lnTo>
                  <a:lnTo>
                    <a:pt x="123" y="363"/>
                  </a:lnTo>
                  <a:lnTo>
                    <a:pt x="121" y="363"/>
                  </a:lnTo>
                  <a:lnTo>
                    <a:pt x="121" y="363"/>
                  </a:lnTo>
                  <a:lnTo>
                    <a:pt x="121" y="365"/>
                  </a:lnTo>
                  <a:lnTo>
                    <a:pt x="121" y="365"/>
                  </a:lnTo>
                  <a:lnTo>
                    <a:pt x="121" y="367"/>
                  </a:lnTo>
                  <a:lnTo>
                    <a:pt x="121" y="367"/>
                  </a:lnTo>
                  <a:lnTo>
                    <a:pt x="119" y="369"/>
                  </a:lnTo>
                  <a:lnTo>
                    <a:pt x="119" y="369"/>
                  </a:lnTo>
                  <a:lnTo>
                    <a:pt x="119" y="371"/>
                  </a:lnTo>
                  <a:lnTo>
                    <a:pt x="115" y="371"/>
                  </a:lnTo>
                  <a:lnTo>
                    <a:pt x="113" y="371"/>
                  </a:lnTo>
                  <a:lnTo>
                    <a:pt x="113" y="371"/>
                  </a:lnTo>
                  <a:lnTo>
                    <a:pt x="113" y="373"/>
                  </a:lnTo>
                  <a:lnTo>
                    <a:pt x="109" y="377"/>
                  </a:lnTo>
                  <a:lnTo>
                    <a:pt x="109" y="379"/>
                  </a:lnTo>
                  <a:lnTo>
                    <a:pt x="109" y="379"/>
                  </a:lnTo>
                  <a:lnTo>
                    <a:pt x="107" y="379"/>
                  </a:lnTo>
                  <a:lnTo>
                    <a:pt x="101" y="379"/>
                  </a:lnTo>
                  <a:lnTo>
                    <a:pt x="101" y="379"/>
                  </a:lnTo>
                  <a:lnTo>
                    <a:pt x="96" y="379"/>
                  </a:lnTo>
                  <a:lnTo>
                    <a:pt x="94" y="377"/>
                  </a:lnTo>
                  <a:lnTo>
                    <a:pt x="94" y="377"/>
                  </a:lnTo>
                  <a:lnTo>
                    <a:pt x="92" y="377"/>
                  </a:lnTo>
                  <a:lnTo>
                    <a:pt x="90" y="375"/>
                  </a:lnTo>
                  <a:lnTo>
                    <a:pt x="90" y="375"/>
                  </a:lnTo>
                  <a:lnTo>
                    <a:pt x="90" y="375"/>
                  </a:lnTo>
                  <a:lnTo>
                    <a:pt x="90" y="373"/>
                  </a:lnTo>
                  <a:lnTo>
                    <a:pt x="90" y="373"/>
                  </a:lnTo>
                  <a:lnTo>
                    <a:pt x="88" y="373"/>
                  </a:lnTo>
                  <a:lnTo>
                    <a:pt x="86" y="373"/>
                  </a:lnTo>
                  <a:lnTo>
                    <a:pt x="86" y="373"/>
                  </a:lnTo>
                  <a:lnTo>
                    <a:pt x="84" y="375"/>
                  </a:lnTo>
                  <a:lnTo>
                    <a:pt x="84" y="373"/>
                  </a:lnTo>
                  <a:lnTo>
                    <a:pt x="82" y="373"/>
                  </a:lnTo>
                  <a:lnTo>
                    <a:pt x="82" y="373"/>
                  </a:lnTo>
                  <a:lnTo>
                    <a:pt x="82" y="373"/>
                  </a:lnTo>
                  <a:lnTo>
                    <a:pt x="82" y="373"/>
                  </a:lnTo>
                  <a:lnTo>
                    <a:pt x="80" y="371"/>
                  </a:lnTo>
                  <a:lnTo>
                    <a:pt x="80" y="371"/>
                  </a:lnTo>
                  <a:lnTo>
                    <a:pt x="80" y="369"/>
                  </a:lnTo>
                  <a:lnTo>
                    <a:pt x="78" y="369"/>
                  </a:lnTo>
                  <a:lnTo>
                    <a:pt x="74" y="367"/>
                  </a:lnTo>
                  <a:lnTo>
                    <a:pt x="74" y="367"/>
                  </a:lnTo>
                  <a:lnTo>
                    <a:pt x="74" y="367"/>
                  </a:lnTo>
                  <a:lnTo>
                    <a:pt x="74" y="365"/>
                  </a:lnTo>
                  <a:lnTo>
                    <a:pt x="74" y="365"/>
                  </a:lnTo>
                  <a:lnTo>
                    <a:pt x="72" y="365"/>
                  </a:lnTo>
                  <a:lnTo>
                    <a:pt x="72" y="363"/>
                  </a:lnTo>
                  <a:lnTo>
                    <a:pt x="72" y="361"/>
                  </a:lnTo>
                  <a:lnTo>
                    <a:pt x="72" y="361"/>
                  </a:lnTo>
                  <a:lnTo>
                    <a:pt x="72" y="361"/>
                  </a:lnTo>
                  <a:lnTo>
                    <a:pt x="72" y="361"/>
                  </a:lnTo>
                  <a:lnTo>
                    <a:pt x="72" y="359"/>
                  </a:lnTo>
                  <a:lnTo>
                    <a:pt x="72" y="359"/>
                  </a:lnTo>
                  <a:lnTo>
                    <a:pt x="72" y="359"/>
                  </a:lnTo>
                  <a:lnTo>
                    <a:pt x="68" y="357"/>
                  </a:lnTo>
                  <a:lnTo>
                    <a:pt x="68" y="357"/>
                  </a:lnTo>
                  <a:lnTo>
                    <a:pt x="68" y="357"/>
                  </a:lnTo>
                  <a:lnTo>
                    <a:pt x="68" y="357"/>
                  </a:lnTo>
                  <a:lnTo>
                    <a:pt x="68" y="354"/>
                  </a:lnTo>
                  <a:lnTo>
                    <a:pt x="68" y="354"/>
                  </a:lnTo>
                  <a:lnTo>
                    <a:pt x="70" y="352"/>
                  </a:lnTo>
                  <a:lnTo>
                    <a:pt x="70" y="352"/>
                  </a:lnTo>
                  <a:lnTo>
                    <a:pt x="70" y="352"/>
                  </a:lnTo>
                  <a:lnTo>
                    <a:pt x="70" y="352"/>
                  </a:lnTo>
                  <a:lnTo>
                    <a:pt x="70" y="352"/>
                  </a:lnTo>
                  <a:lnTo>
                    <a:pt x="70" y="350"/>
                  </a:lnTo>
                  <a:lnTo>
                    <a:pt x="70" y="350"/>
                  </a:lnTo>
                  <a:lnTo>
                    <a:pt x="68" y="350"/>
                  </a:lnTo>
                  <a:lnTo>
                    <a:pt x="68" y="350"/>
                  </a:lnTo>
                  <a:lnTo>
                    <a:pt x="68" y="348"/>
                  </a:lnTo>
                  <a:lnTo>
                    <a:pt x="66" y="348"/>
                  </a:lnTo>
                  <a:lnTo>
                    <a:pt x="66" y="348"/>
                  </a:lnTo>
                  <a:lnTo>
                    <a:pt x="62" y="350"/>
                  </a:lnTo>
                  <a:lnTo>
                    <a:pt x="62" y="350"/>
                  </a:lnTo>
                  <a:lnTo>
                    <a:pt x="53" y="348"/>
                  </a:lnTo>
                  <a:lnTo>
                    <a:pt x="53" y="348"/>
                  </a:lnTo>
                  <a:lnTo>
                    <a:pt x="51" y="348"/>
                  </a:lnTo>
                  <a:lnTo>
                    <a:pt x="51" y="346"/>
                  </a:lnTo>
                  <a:lnTo>
                    <a:pt x="51" y="346"/>
                  </a:lnTo>
                  <a:lnTo>
                    <a:pt x="51" y="346"/>
                  </a:lnTo>
                  <a:lnTo>
                    <a:pt x="51" y="346"/>
                  </a:lnTo>
                  <a:lnTo>
                    <a:pt x="51" y="344"/>
                  </a:lnTo>
                  <a:lnTo>
                    <a:pt x="51" y="344"/>
                  </a:lnTo>
                  <a:lnTo>
                    <a:pt x="47" y="342"/>
                  </a:lnTo>
                  <a:lnTo>
                    <a:pt x="47" y="342"/>
                  </a:lnTo>
                  <a:lnTo>
                    <a:pt x="47" y="342"/>
                  </a:lnTo>
                  <a:lnTo>
                    <a:pt x="45" y="342"/>
                  </a:lnTo>
                  <a:lnTo>
                    <a:pt x="45" y="342"/>
                  </a:lnTo>
                  <a:lnTo>
                    <a:pt x="43" y="340"/>
                  </a:lnTo>
                  <a:lnTo>
                    <a:pt x="43" y="340"/>
                  </a:lnTo>
                  <a:lnTo>
                    <a:pt x="43" y="340"/>
                  </a:lnTo>
                  <a:lnTo>
                    <a:pt x="41" y="340"/>
                  </a:lnTo>
                  <a:lnTo>
                    <a:pt x="37" y="338"/>
                  </a:lnTo>
                  <a:lnTo>
                    <a:pt x="37" y="338"/>
                  </a:lnTo>
                  <a:lnTo>
                    <a:pt x="37" y="338"/>
                  </a:lnTo>
                  <a:lnTo>
                    <a:pt x="37" y="336"/>
                  </a:lnTo>
                  <a:lnTo>
                    <a:pt x="35" y="334"/>
                  </a:lnTo>
                  <a:lnTo>
                    <a:pt x="35" y="332"/>
                  </a:lnTo>
                  <a:lnTo>
                    <a:pt x="35" y="332"/>
                  </a:lnTo>
                  <a:lnTo>
                    <a:pt x="33" y="332"/>
                  </a:lnTo>
                  <a:lnTo>
                    <a:pt x="33" y="330"/>
                  </a:lnTo>
                  <a:lnTo>
                    <a:pt x="25" y="326"/>
                  </a:lnTo>
                  <a:lnTo>
                    <a:pt x="25" y="324"/>
                  </a:lnTo>
                  <a:lnTo>
                    <a:pt x="25" y="324"/>
                  </a:lnTo>
                  <a:lnTo>
                    <a:pt x="25" y="324"/>
                  </a:lnTo>
                  <a:lnTo>
                    <a:pt x="25" y="320"/>
                  </a:lnTo>
                  <a:lnTo>
                    <a:pt x="23" y="320"/>
                  </a:lnTo>
                  <a:lnTo>
                    <a:pt x="23" y="318"/>
                  </a:lnTo>
                  <a:lnTo>
                    <a:pt x="23" y="318"/>
                  </a:lnTo>
                  <a:lnTo>
                    <a:pt x="23" y="318"/>
                  </a:lnTo>
                  <a:lnTo>
                    <a:pt x="21" y="318"/>
                  </a:lnTo>
                  <a:lnTo>
                    <a:pt x="17" y="316"/>
                  </a:lnTo>
                  <a:lnTo>
                    <a:pt x="17" y="314"/>
                  </a:lnTo>
                  <a:lnTo>
                    <a:pt x="17" y="314"/>
                  </a:lnTo>
                  <a:lnTo>
                    <a:pt x="17" y="314"/>
                  </a:lnTo>
                  <a:lnTo>
                    <a:pt x="17" y="311"/>
                  </a:lnTo>
                  <a:lnTo>
                    <a:pt x="19" y="311"/>
                  </a:lnTo>
                  <a:lnTo>
                    <a:pt x="19" y="311"/>
                  </a:lnTo>
                  <a:lnTo>
                    <a:pt x="17" y="309"/>
                  </a:lnTo>
                  <a:lnTo>
                    <a:pt x="17" y="309"/>
                  </a:lnTo>
                  <a:lnTo>
                    <a:pt x="17" y="309"/>
                  </a:lnTo>
                  <a:lnTo>
                    <a:pt x="17" y="309"/>
                  </a:lnTo>
                  <a:lnTo>
                    <a:pt x="10" y="305"/>
                  </a:lnTo>
                  <a:lnTo>
                    <a:pt x="10" y="305"/>
                  </a:lnTo>
                  <a:lnTo>
                    <a:pt x="10" y="303"/>
                  </a:lnTo>
                  <a:lnTo>
                    <a:pt x="8" y="301"/>
                  </a:lnTo>
                  <a:lnTo>
                    <a:pt x="8" y="301"/>
                  </a:lnTo>
                  <a:lnTo>
                    <a:pt x="0" y="293"/>
                  </a:lnTo>
                  <a:lnTo>
                    <a:pt x="0" y="293"/>
                  </a:lnTo>
                  <a:lnTo>
                    <a:pt x="0" y="291"/>
                  </a:lnTo>
                  <a:lnTo>
                    <a:pt x="0" y="291"/>
                  </a:lnTo>
                  <a:lnTo>
                    <a:pt x="0" y="291"/>
                  </a:lnTo>
                  <a:lnTo>
                    <a:pt x="0" y="291"/>
                  </a:lnTo>
                  <a:lnTo>
                    <a:pt x="0" y="291"/>
                  </a:lnTo>
                  <a:lnTo>
                    <a:pt x="2" y="289"/>
                  </a:lnTo>
                  <a:lnTo>
                    <a:pt x="2" y="289"/>
                  </a:lnTo>
                  <a:lnTo>
                    <a:pt x="2" y="287"/>
                  </a:lnTo>
                  <a:lnTo>
                    <a:pt x="2" y="287"/>
                  </a:lnTo>
                  <a:lnTo>
                    <a:pt x="2" y="287"/>
                  </a:lnTo>
                  <a:lnTo>
                    <a:pt x="2" y="285"/>
                  </a:lnTo>
                  <a:lnTo>
                    <a:pt x="2" y="285"/>
                  </a:lnTo>
                  <a:lnTo>
                    <a:pt x="2" y="285"/>
                  </a:lnTo>
                  <a:lnTo>
                    <a:pt x="2" y="283"/>
                  </a:lnTo>
                  <a:lnTo>
                    <a:pt x="2" y="283"/>
                  </a:lnTo>
                  <a:lnTo>
                    <a:pt x="4" y="283"/>
                  </a:lnTo>
                  <a:lnTo>
                    <a:pt x="4" y="283"/>
                  </a:lnTo>
                  <a:lnTo>
                    <a:pt x="4" y="283"/>
                  </a:lnTo>
                  <a:lnTo>
                    <a:pt x="4" y="283"/>
                  </a:lnTo>
                  <a:lnTo>
                    <a:pt x="4" y="281"/>
                  </a:lnTo>
                  <a:lnTo>
                    <a:pt x="4" y="281"/>
                  </a:lnTo>
                  <a:lnTo>
                    <a:pt x="4" y="279"/>
                  </a:lnTo>
                  <a:lnTo>
                    <a:pt x="4" y="277"/>
                  </a:lnTo>
                  <a:lnTo>
                    <a:pt x="4" y="277"/>
                  </a:lnTo>
                  <a:lnTo>
                    <a:pt x="2" y="275"/>
                  </a:lnTo>
                  <a:lnTo>
                    <a:pt x="2" y="275"/>
                  </a:lnTo>
                  <a:lnTo>
                    <a:pt x="0" y="270"/>
                  </a:lnTo>
                  <a:lnTo>
                    <a:pt x="0" y="270"/>
                  </a:lnTo>
                  <a:lnTo>
                    <a:pt x="0" y="270"/>
                  </a:lnTo>
                  <a:lnTo>
                    <a:pt x="0" y="268"/>
                  </a:lnTo>
                  <a:lnTo>
                    <a:pt x="0" y="266"/>
                  </a:lnTo>
                  <a:lnTo>
                    <a:pt x="0" y="264"/>
                  </a:lnTo>
                  <a:lnTo>
                    <a:pt x="0" y="264"/>
                  </a:lnTo>
                  <a:lnTo>
                    <a:pt x="0" y="264"/>
                  </a:lnTo>
                  <a:lnTo>
                    <a:pt x="2" y="266"/>
                  </a:lnTo>
                  <a:lnTo>
                    <a:pt x="6" y="264"/>
                  </a:lnTo>
                  <a:lnTo>
                    <a:pt x="12" y="260"/>
                  </a:lnTo>
                  <a:lnTo>
                    <a:pt x="19" y="260"/>
                  </a:lnTo>
                  <a:lnTo>
                    <a:pt x="21" y="258"/>
                  </a:lnTo>
                  <a:lnTo>
                    <a:pt x="23" y="256"/>
                  </a:lnTo>
                  <a:lnTo>
                    <a:pt x="23" y="254"/>
                  </a:lnTo>
                  <a:lnTo>
                    <a:pt x="23" y="244"/>
                  </a:lnTo>
                  <a:lnTo>
                    <a:pt x="23" y="242"/>
                  </a:lnTo>
                  <a:lnTo>
                    <a:pt x="25" y="242"/>
                  </a:lnTo>
                  <a:lnTo>
                    <a:pt x="29" y="242"/>
                  </a:lnTo>
                  <a:lnTo>
                    <a:pt x="31" y="240"/>
                  </a:lnTo>
                  <a:lnTo>
                    <a:pt x="31" y="238"/>
                  </a:lnTo>
                  <a:lnTo>
                    <a:pt x="31" y="238"/>
                  </a:lnTo>
                  <a:lnTo>
                    <a:pt x="31" y="236"/>
                  </a:lnTo>
                  <a:lnTo>
                    <a:pt x="31" y="236"/>
                  </a:lnTo>
                  <a:lnTo>
                    <a:pt x="29" y="234"/>
                  </a:lnTo>
                  <a:lnTo>
                    <a:pt x="29" y="232"/>
                  </a:lnTo>
                  <a:lnTo>
                    <a:pt x="29" y="229"/>
                  </a:lnTo>
                  <a:lnTo>
                    <a:pt x="29" y="227"/>
                  </a:lnTo>
                  <a:lnTo>
                    <a:pt x="27" y="225"/>
                  </a:lnTo>
                  <a:lnTo>
                    <a:pt x="27" y="225"/>
                  </a:lnTo>
                  <a:lnTo>
                    <a:pt x="25" y="223"/>
                  </a:lnTo>
                  <a:lnTo>
                    <a:pt x="25" y="221"/>
                  </a:lnTo>
                  <a:lnTo>
                    <a:pt x="27" y="219"/>
                  </a:lnTo>
                  <a:lnTo>
                    <a:pt x="29" y="217"/>
                  </a:lnTo>
                  <a:lnTo>
                    <a:pt x="29" y="215"/>
                  </a:lnTo>
                  <a:lnTo>
                    <a:pt x="29" y="213"/>
                  </a:lnTo>
                  <a:lnTo>
                    <a:pt x="29" y="211"/>
                  </a:lnTo>
                  <a:lnTo>
                    <a:pt x="29" y="207"/>
                  </a:lnTo>
                  <a:lnTo>
                    <a:pt x="31" y="205"/>
                  </a:lnTo>
                  <a:lnTo>
                    <a:pt x="33" y="199"/>
                  </a:lnTo>
                  <a:lnTo>
                    <a:pt x="35" y="195"/>
                  </a:lnTo>
                  <a:lnTo>
                    <a:pt x="37" y="193"/>
                  </a:lnTo>
                  <a:lnTo>
                    <a:pt x="39" y="193"/>
                  </a:lnTo>
                  <a:lnTo>
                    <a:pt x="41" y="193"/>
                  </a:lnTo>
                  <a:lnTo>
                    <a:pt x="41" y="195"/>
                  </a:lnTo>
                  <a:lnTo>
                    <a:pt x="45" y="195"/>
                  </a:lnTo>
                  <a:lnTo>
                    <a:pt x="45" y="197"/>
                  </a:lnTo>
                  <a:lnTo>
                    <a:pt x="47" y="199"/>
                  </a:lnTo>
                  <a:lnTo>
                    <a:pt x="47" y="199"/>
                  </a:lnTo>
                  <a:lnTo>
                    <a:pt x="47" y="201"/>
                  </a:lnTo>
                  <a:lnTo>
                    <a:pt x="49" y="201"/>
                  </a:lnTo>
                  <a:lnTo>
                    <a:pt x="49" y="201"/>
                  </a:lnTo>
                  <a:lnTo>
                    <a:pt x="49" y="201"/>
                  </a:lnTo>
                  <a:lnTo>
                    <a:pt x="47" y="203"/>
                  </a:lnTo>
                  <a:lnTo>
                    <a:pt x="47" y="203"/>
                  </a:lnTo>
                  <a:lnTo>
                    <a:pt x="47" y="203"/>
                  </a:lnTo>
                  <a:lnTo>
                    <a:pt x="47" y="205"/>
                  </a:lnTo>
                  <a:lnTo>
                    <a:pt x="47" y="205"/>
                  </a:lnTo>
                  <a:lnTo>
                    <a:pt x="47" y="205"/>
                  </a:lnTo>
                  <a:lnTo>
                    <a:pt x="47" y="207"/>
                  </a:lnTo>
                  <a:lnTo>
                    <a:pt x="49" y="207"/>
                  </a:lnTo>
                  <a:lnTo>
                    <a:pt x="51" y="205"/>
                  </a:lnTo>
                  <a:lnTo>
                    <a:pt x="53" y="203"/>
                  </a:lnTo>
                  <a:lnTo>
                    <a:pt x="53" y="203"/>
                  </a:lnTo>
                  <a:lnTo>
                    <a:pt x="53" y="199"/>
                  </a:lnTo>
                  <a:lnTo>
                    <a:pt x="53" y="199"/>
                  </a:lnTo>
                  <a:lnTo>
                    <a:pt x="55" y="197"/>
                  </a:lnTo>
                  <a:lnTo>
                    <a:pt x="55" y="197"/>
                  </a:lnTo>
                  <a:lnTo>
                    <a:pt x="58" y="199"/>
                  </a:lnTo>
                  <a:lnTo>
                    <a:pt x="58" y="199"/>
                  </a:lnTo>
                  <a:lnTo>
                    <a:pt x="60" y="199"/>
                  </a:lnTo>
                  <a:lnTo>
                    <a:pt x="60" y="197"/>
                  </a:lnTo>
                  <a:lnTo>
                    <a:pt x="60" y="197"/>
                  </a:lnTo>
                  <a:lnTo>
                    <a:pt x="58" y="195"/>
                  </a:lnTo>
                  <a:lnTo>
                    <a:pt x="58" y="191"/>
                  </a:lnTo>
                  <a:lnTo>
                    <a:pt x="58" y="189"/>
                  </a:lnTo>
                  <a:lnTo>
                    <a:pt x="55" y="189"/>
                  </a:lnTo>
                  <a:lnTo>
                    <a:pt x="55" y="189"/>
                  </a:lnTo>
                  <a:lnTo>
                    <a:pt x="55" y="186"/>
                  </a:lnTo>
                  <a:lnTo>
                    <a:pt x="53" y="186"/>
                  </a:lnTo>
                  <a:lnTo>
                    <a:pt x="53" y="186"/>
                  </a:lnTo>
                  <a:lnTo>
                    <a:pt x="53" y="184"/>
                  </a:lnTo>
                  <a:lnTo>
                    <a:pt x="53" y="184"/>
                  </a:lnTo>
                  <a:lnTo>
                    <a:pt x="53" y="184"/>
                  </a:lnTo>
                  <a:lnTo>
                    <a:pt x="58" y="182"/>
                  </a:lnTo>
                  <a:lnTo>
                    <a:pt x="58" y="180"/>
                  </a:lnTo>
                  <a:lnTo>
                    <a:pt x="58" y="178"/>
                  </a:lnTo>
                  <a:lnTo>
                    <a:pt x="58" y="174"/>
                  </a:lnTo>
                  <a:lnTo>
                    <a:pt x="58" y="172"/>
                  </a:lnTo>
                  <a:lnTo>
                    <a:pt x="58" y="172"/>
                  </a:lnTo>
                  <a:lnTo>
                    <a:pt x="60" y="166"/>
                  </a:lnTo>
                  <a:lnTo>
                    <a:pt x="62" y="162"/>
                  </a:lnTo>
                  <a:lnTo>
                    <a:pt x="62" y="162"/>
                  </a:lnTo>
                  <a:lnTo>
                    <a:pt x="64" y="162"/>
                  </a:lnTo>
                  <a:lnTo>
                    <a:pt x="66" y="160"/>
                  </a:lnTo>
                  <a:lnTo>
                    <a:pt x="68" y="160"/>
                  </a:lnTo>
                  <a:lnTo>
                    <a:pt x="68" y="160"/>
                  </a:lnTo>
                  <a:lnTo>
                    <a:pt x="68" y="160"/>
                  </a:lnTo>
                  <a:lnTo>
                    <a:pt x="68" y="160"/>
                  </a:lnTo>
                  <a:lnTo>
                    <a:pt x="70" y="160"/>
                  </a:lnTo>
                  <a:lnTo>
                    <a:pt x="70" y="158"/>
                  </a:lnTo>
                  <a:lnTo>
                    <a:pt x="70" y="154"/>
                  </a:lnTo>
                  <a:lnTo>
                    <a:pt x="70" y="152"/>
                  </a:lnTo>
                  <a:lnTo>
                    <a:pt x="76" y="145"/>
                  </a:lnTo>
                  <a:lnTo>
                    <a:pt x="76" y="145"/>
                  </a:lnTo>
                  <a:lnTo>
                    <a:pt x="80" y="143"/>
                  </a:lnTo>
                  <a:lnTo>
                    <a:pt x="82" y="145"/>
                  </a:lnTo>
                  <a:lnTo>
                    <a:pt x="82" y="148"/>
                  </a:lnTo>
                  <a:lnTo>
                    <a:pt x="84" y="148"/>
                  </a:lnTo>
                  <a:lnTo>
                    <a:pt x="86" y="150"/>
                  </a:lnTo>
                  <a:lnTo>
                    <a:pt x="88" y="150"/>
                  </a:lnTo>
                  <a:lnTo>
                    <a:pt x="90" y="145"/>
                  </a:lnTo>
                  <a:lnTo>
                    <a:pt x="92" y="145"/>
                  </a:lnTo>
                  <a:lnTo>
                    <a:pt x="94" y="143"/>
                  </a:lnTo>
                  <a:lnTo>
                    <a:pt x="94" y="143"/>
                  </a:lnTo>
                  <a:lnTo>
                    <a:pt x="96" y="141"/>
                  </a:lnTo>
                  <a:lnTo>
                    <a:pt x="98" y="141"/>
                  </a:lnTo>
                  <a:lnTo>
                    <a:pt x="101" y="137"/>
                  </a:lnTo>
                  <a:lnTo>
                    <a:pt x="101" y="137"/>
                  </a:lnTo>
                  <a:lnTo>
                    <a:pt x="105" y="135"/>
                  </a:lnTo>
                  <a:lnTo>
                    <a:pt x="105" y="133"/>
                  </a:lnTo>
                  <a:lnTo>
                    <a:pt x="107" y="129"/>
                  </a:lnTo>
                  <a:lnTo>
                    <a:pt x="109" y="125"/>
                  </a:lnTo>
                  <a:lnTo>
                    <a:pt x="117" y="117"/>
                  </a:lnTo>
                  <a:lnTo>
                    <a:pt x="121" y="113"/>
                  </a:lnTo>
                  <a:lnTo>
                    <a:pt x="121" y="113"/>
                  </a:lnTo>
                  <a:lnTo>
                    <a:pt x="123" y="109"/>
                  </a:lnTo>
                  <a:lnTo>
                    <a:pt x="123" y="109"/>
                  </a:lnTo>
                  <a:lnTo>
                    <a:pt x="121" y="107"/>
                  </a:lnTo>
                  <a:lnTo>
                    <a:pt x="121" y="107"/>
                  </a:lnTo>
                  <a:lnTo>
                    <a:pt x="121" y="107"/>
                  </a:lnTo>
                  <a:lnTo>
                    <a:pt x="123" y="104"/>
                  </a:lnTo>
                  <a:lnTo>
                    <a:pt x="123" y="102"/>
                  </a:lnTo>
                  <a:lnTo>
                    <a:pt x="123" y="100"/>
                  </a:lnTo>
                  <a:lnTo>
                    <a:pt x="121" y="100"/>
                  </a:lnTo>
                  <a:lnTo>
                    <a:pt x="121" y="98"/>
                  </a:lnTo>
                  <a:lnTo>
                    <a:pt x="119" y="98"/>
                  </a:lnTo>
                  <a:lnTo>
                    <a:pt x="119" y="96"/>
                  </a:lnTo>
                  <a:lnTo>
                    <a:pt x="121" y="96"/>
                  </a:lnTo>
                  <a:lnTo>
                    <a:pt x="121" y="94"/>
                  </a:lnTo>
                  <a:lnTo>
                    <a:pt x="121" y="92"/>
                  </a:lnTo>
                  <a:lnTo>
                    <a:pt x="121" y="90"/>
                  </a:lnTo>
                  <a:lnTo>
                    <a:pt x="123" y="90"/>
                  </a:lnTo>
                  <a:lnTo>
                    <a:pt x="123" y="88"/>
                  </a:lnTo>
                  <a:lnTo>
                    <a:pt x="123" y="86"/>
                  </a:lnTo>
                  <a:lnTo>
                    <a:pt x="123" y="86"/>
                  </a:lnTo>
                  <a:lnTo>
                    <a:pt x="123" y="84"/>
                  </a:lnTo>
                  <a:lnTo>
                    <a:pt x="123" y="84"/>
                  </a:lnTo>
                  <a:lnTo>
                    <a:pt x="123" y="82"/>
                  </a:lnTo>
                  <a:lnTo>
                    <a:pt x="123" y="80"/>
                  </a:lnTo>
                  <a:lnTo>
                    <a:pt x="123" y="80"/>
                  </a:lnTo>
                  <a:lnTo>
                    <a:pt x="125" y="82"/>
                  </a:lnTo>
                  <a:lnTo>
                    <a:pt x="125" y="80"/>
                  </a:lnTo>
                  <a:lnTo>
                    <a:pt x="125" y="80"/>
                  </a:lnTo>
                  <a:lnTo>
                    <a:pt x="125" y="78"/>
                  </a:lnTo>
                  <a:lnTo>
                    <a:pt x="125" y="78"/>
                  </a:lnTo>
                  <a:lnTo>
                    <a:pt x="125" y="78"/>
                  </a:lnTo>
                  <a:lnTo>
                    <a:pt x="125" y="76"/>
                  </a:lnTo>
                  <a:lnTo>
                    <a:pt x="125" y="74"/>
                  </a:lnTo>
                  <a:lnTo>
                    <a:pt x="125" y="72"/>
                  </a:lnTo>
                  <a:lnTo>
                    <a:pt x="125" y="70"/>
                  </a:lnTo>
                  <a:lnTo>
                    <a:pt x="125" y="66"/>
                  </a:lnTo>
                  <a:lnTo>
                    <a:pt x="125" y="63"/>
                  </a:lnTo>
                  <a:lnTo>
                    <a:pt x="125" y="61"/>
                  </a:lnTo>
                  <a:lnTo>
                    <a:pt x="127" y="57"/>
                  </a:lnTo>
                  <a:lnTo>
                    <a:pt x="127" y="55"/>
                  </a:lnTo>
                  <a:lnTo>
                    <a:pt x="127" y="51"/>
                  </a:lnTo>
                  <a:lnTo>
                    <a:pt x="127" y="49"/>
                  </a:lnTo>
                  <a:lnTo>
                    <a:pt x="127" y="43"/>
                  </a:lnTo>
                  <a:lnTo>
                    <a:pt x="129" y="43"/>
                  </a:lnTo>
                  <a:lnTo>
                    <a:pt x="131" y="41"/>
                  </a:lnTo>
                  <a:lnTo>
                    <a:pt x="131" y="41"/>
                  </a:lnTo>
                  <a:lnTo>
                    <a:pt x="131" y="37"/>
                  </a:lnTo>
                  <a:lnTo>
                    <a:pt x="131" y="37"/>
                  </a:lnTo>
                  <a:lnTo>
                    <a:pt x="131" y="35"/>
                  </a:lnTo>
                  <a:lnTo>
                    <a:pt x="129" y="33"/>
                  </a:lnTo>
                  <a:lnTo>
                    <a:pt x="129" y="31"/>
                  </a:lnTo>
                  <a:lnTo>
                    <a:pt x="129" y="31"/>
                  </a:lnTo>
                  <a:lnTo>
                    <a:pt x="129" y="31"/>
                  </a:lnTo>
                  <a:lnTo>
                    <a:pt x="129" y="31"/>
                  </a:lnTo>
                  <a:lnTo>
                    <a:pt x="129" y="29"/>
                  </a:lnTo>
                  <a:lnTo>
                    <a:pt x="129" y="29"/>
                  </a:lnTo>
                  <a:lnTo>
                    <a:pt x="127" y="29"/>
                  </a:lnTo>
                  <a:lnTo>
                    <a:pt x="127" y="27"/>
                  </a:lnTo>
                  <a:lnTo>
                    <a:pt x="129" y="23"/>
                  </a:lnTo>
                  <a:lnTo>
                    <a:pt x="129" y="20"/>
                  </a:lnTo>
                  <a:lnTo>
                    <a:pt x="127" y="18"/>
                  </a:lnTo>
                  <a:lnTo>
                    <a:pt x="127" y="16"/>
                  </a:lnTo>
                  <a:lnTo>
                    <a:pt x="125" y="14"/>
                  </a:lnTo>
                  <a:lnTo>
                    <a:pt x="121" y="10"/>
                  </a:lnTo>
                  <a:lnTo>
                    <a:pt x="121" y="8"/>
                  </a:lnTo>
                  <a:lnTo>
                    <a:pt x="121" y="6"/>
                  </a:lnTo>
                  <a:lnTo>
                    <a:pt x="123" y="6"/>
                  </a:lnTo>
                  <a:lnTo>
                    <a:pt x="123" y="4"/>
                  </a:lnTo>
                  <a:lnTo>
                    <a:pt x="127" y="4"/>
                  </a:lnTo>
                  <a:lnTo>
                    <a:pt x="127" y="4"/>
                  </a:lnTo>
                  <a:lnTo>
                    <a:pt x="131" y="2"/>
                  </a:lnTo>
                  <a:lnTo>
                    <a:pt x="131" y="0"/>
                  </a:lnTo>
                  <a:lnTo>
                    <a:pt x="131" y="0"/>
                  </a:lnTo>
                  <a:lnTo>
                    <a:pt x="131" y="0"/>
                  </a:lnTo>
                  <a:lnTo>
                    <a:pt x="131" y="0"/>
                  </a:lnTo>
                  <a:lnTo>
                    <a:pt x="131" y="0"/>
                  </a:lnTo>
                  <a:lnTo>
                    <a:pt x="131" y="2"/>
                  </a:lnTo>
                  <a:lnTo>
                    <a:pt x="131" y="2"/>
                  </a:lnTo>
                  <a:lnTo>
                    <a:pt x="131" y="2"/>
                  </a:lnTo>
                  <a:lnTo>
                    <a:pt x="131" y="2"/>
                  </a:lnTo>
                  <a:lnTo>
                    <a:pt x="133" y="10"/>
                  </a:lnTo>
                  <a:lnTo>
                    <a:pt x="135" y="18"/>
                  </a:lnTo>
                  <a:lnTo>
                    <a:pt x="137" y="27"/>
                  </a:lnTo>
                  <a:lnTo>
                    <a:pt x="137" y="35"/>
                  </a:lnTo>
                  <a:lnTo>
                    <a:pt x="139" y="43"/>
                  </a:lnTo>
                  <a:lnTo>
                    <a:pt x="141" y="51"/>
                  </a:lnTo>
                  <a:lnTo>
                    <a:pt x="144" y="59"/>
                  </a:lnTo>
                  <a:lnTo>
                    <a:pt x="144" y="70"/>
                  </a:lnTo>
                  <a:lnTo>
                    <a:pt x="146" y="76"/>
                  </a:lnTo>
                  <a:lnTo>
                    <a:pt x="148" y="84"/>
                  </a:lnTo>
                  <a:lnTo>
                    <a:pt x="148" y="90"/>
                  </a:lnTo>
                  <a:lnTo>
                    <a:pt x="150" y="98"/>
                  </a:lnTo>
                  <a:lnTo>
                    <a:pt x="160" y="96"/>
                  </a:lnTo>
                  <a:lnTo>
                    <a:pt x="170" y="94"/>
                  </a:lnTo>
                  <a:lnTo>
                    <a:pt x="182" y="92"/>
                  </a:lnTo>
                  <a:lnTo>
                    <a:pt x="193" y="90"/>
                  </a:lnTo>
                  <a:lnTo>
                    <a:pt x="203" y="88"/>
                  </a:lnTo>
                  <a:lnTo>
                    <a:pt x="213" y="86"/>
                  </a:lnTo>
                  <a:lnTo>
                    <a:pt x="225" y="84"/>
                  </a:lnTo>
                  <a:lnTo>
                    <a:pt x="236" y="82"/>
                  </a:lnTo>
                  <a:lnTo>
                    <a:pt x="236" y="82"/>
                  </a:lnTo>
                  <a:close/>
                </a:path>
              </a:pathLst>
            </a:custGeom>
            <a:solidFill>
              <a:schemeClr val="tx1"/>
            </a:solidFill>
            <a:ln w="3175" cap="rnd">
              <a:solidFill>
                <a:schemeClr val="bg1"/>
              </a:solidFill>
              <a:prstDash val="solid"/>
              <a:round/>
              <a:headEnd/>
              <a:tailEnd/>
            </a:ln>
          </p:spPr>
          <p:txBody>
            <a:bodyPr vert="horz" wrap="square" lIns="0" tIns="144000" rIns="144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WV</a:t>
              </a:r>
            </a:p>
          </p:txBody>
        </p:sp>
        <p:sp>
          <p:nvSpPr>
            <p:cNvPr id="245" name="Freeform 7">
              <a:extLst>
                <a:ext uri="{FF2B5EF4-FFF2-40B4-BE49-F238E27FC236}">
                  <a16:creationId xmlns:a16="http://schemas.microsoft.com/office/drawing/2014/main" id="{74AF2FD1-49A3-09D8-30CF-3C9FBE1E0C94}"/>
                </a:ext>
              </a:extLst>
            </p:cNvPr>
            <p:cNvSpPr>
              <a:spLocks noEditPoints="1"/>
            </p:cNvSpPr>
            <p:nvPr/>
          </p:nvSpPr>
          <p:spPr bwMode="auto">
            <a:xfrm>
              <a:off x="3283" y="345"/>
              <a:ext cx="475" cy="478"/>
            </a:xfrm>
            <a:custGeom>
              <a:avLst/>
              <a:gdLst>
                <a:gd name="T0" fmla="*/ 167 w 475"/>
                <a:gd name="T1" fmla="*/ 23 h 478"/>
                <a:gd name="T2" fmla="*/ 172 w 475"/>
                <a:gd name="T3" fmla="*/ 13 h 478"/>
                <a:gd name="T4" fmla="*/ 139 w 475"/>
                <a:gd name="T5" fmla="*/ 17 h 478"/>
                <a:gd name="T6" fmla="*/ 417 w 475"/>
                <a:gd name="T7" fmla="*/ 213 h 478"/>
                <a:gd name="T8" fmla="*/ 395 w 475"/>
                <a:gd name="T9" fmla="*/ 244 h 478"/>
                <a:gd name="T10" fmla="*/ 395 w 475"/>
                <a:gd name="T11" fmla="*/ 226 h 478"/>
                <a:gd name="T12" fmla="*/ 415 w 475"/>
                <a:gd name="T13" fmla="*/ 197 h 478"/>
                <a:gd name="T14" fmla="*/ 409 w 475"/>
                <a:gd name="T15" fmla="*/ 177 h 478"/>
                <a:gd name="T16" fmla="*/ 409 w 475"/>
                <a:gd name="T17" fmla="*/ 154 h 478"/>
                <a:gd name="T18" fmla="*/ 395 w 475"/>
                <a:gd name="T19" fmla="*/ 158 h 478"/>
                <a:gd name="T20" fmla="*/ 399 w 475"/>
                <a:gd name="T21" fmla="*/ 144 h 478"/>
                <a:gd name="T22" fmla="*/ 397 w 475"/>
                <a:gd name="T23" fmla="*/ 127 h 478"/>
                <a:gd name="T24" fmla="*/ 389 w 475"/>
                <a:gd name="T25" fmla="*/ 119 h 478"/>
                <a:gd name="T26" fmla="*/ 376 w 475"/>
                <a:gd name="T27" fmla="*/ 117 h 478"/>
                <a:gd name="T28" fmla="*/ 370 w 475"/>
                <a:gd name="T29" fmla="*/ 103 h 478"/>
                <a:gd name="T30" fmla="*/ 354 w 475"/>
                <a:gd name="T31" fmla="*/ 99 h 478"/>
                <a:gd name="T32" fmla="*/ 339 w 475"/>
                <a:gd name="T33" fmla="*/ 97 h 478"/>
                <a:gd name="T34" fmla="*/ 325 w 475"/>
                <a:gd name="T35" fmla="*/ 97 h 478"/>
                <a:gd name="T36" fmla="*/ 311 w 475"/>
                <a:gd name="T37" fmla="*/ 97 h 478"/>
                <a:gd name="T38" fmla="*/ 243 w 475"/>
                <a:gd name="T39" fmla="*/ 80 h 478"/>
                <a:gd name="T40" fmla="*/ 202 w 475"/>
                <a:gd name="T41" fmla="*/ 60 h 478"/>
                <a:gd name="T42" fmla="*/ 190 w 475"/>
                <a:gd name="T43" fmla="*/ 56 h 478"/>
                <a:gd name="T44" fmla="*/ 157 w 475"/>
                <a:gd name="T45" fmla="*/ 41 h 478"/>
                <a:gd name="T46" fmla="*/ 145 w 475"/>
                <a:gd name="T47" fmla="*/ 50 h 478"/>
                <a:gd name="T48" fmla="*/ 155 w 475"/>
                <a:gd name="T49" fmla="*/ 21 h 478"/>
                <a:gd name="T50" fmla="*/ 145 w 475"/>
                <a:gd name="T51" fmla="*/ 17 h 478"/>
                <a:gd name="T52" fmla="*/ 133 w 475"/>
                <a:gd name="T53" fmla="*/ 23 h 478"/>
                <a:gd name="T54" fmla="*/ 122 w 475"/>
                <a:gd name="T55" fmla="*/ 29 h 478"/>
                <a:gd name="T56" fmla="*/ 57 w 475"/>
                <a:gd name="T57" fmla="*/ 47 h 478"/>
                <a:gd name="T58" fmla="*/ 47 w 475"/>
                <a:gd name="T59" fmla="*/ 52 h 478"/>
                <a:gd name="T60" fmla="*/ 40 w 475"/>
                <a:gd name="T61" fmla="*/ 78 h 478"/>
                <a:gd name="T62" fmla="*/ 34 w 475"/>
                <a:gd name="T63" fmla="*/ 121 h 478"/>
                <a:gd name="T64" fmla="*/ 16 w 475"/>
                <a:gd name="T65" fmla="*/ 134 h 478"/>
                <a:gd name="T66" fmla="*/ 12 w 475"/>
                <a:gd name="T67" fmla="*/ 173 h 478"/>
                <a:gd name="T68" fmla="*/ 12 w 475"/>
                <a:gd name="T69" fmla="*/ 203 h 478"/>
                <a:gd name="T70" fmla="*/ 16 w 475"/>
                <a:gd name="T71" fmla="*/ 238 h 478"/>
                <a:gd name="T72" fmla="*/ 45 w 475"/>
                <a:gd name="T73" fmla="*/ 271 h 478"/>
                <a:gd name="T74" fmla="*/ 108 w 475"/>
                <a:gd name="T75" fmla="*/ 322 h 478"/>
                <a:gd name="T76" fmla="*/ 133 w 475"/>
                <a:gd name="T77" fmla="*/ 332 h 478"/>
                <a:gd name="T78" fmla="*/ 145 w 475"/>
                <a:gd name="T79" fmla="*/ 351 h 478"/>
                <a:gd name="T80" fmla="*/ 147 w 475"/>
                <a:gd name="T81" fmla="*/ 379 h 478"/>
                <a:gd name="T82" fmla="*/ 155 w 475"/>
                <a:gd name="T83" fmla="*/ 414 h 478"/>
                <a:gd name="T84" fmla="*/ 169 w 475"/>
                <a:gd name="T85" fmla="*/ 459 h 478"/>
                <a:gd name="T86" fmla="*/ 204 w 475"/>
                <a:gd name="T87" fmla="*/ 478 h 478"/>
                <a:gd name="T88" fmla="*/ 247 w 475"/>
                <a:gd name="T89" fmla="*/ 476 h 478"/>
                <a:gd name="T90" fmla="*/ 432 w 475"/>
                <a:gd name="T91" fmla="*/ 449 h 478"/>
                <a:gd name="T92" fmla="*/ 426 w 475"/>
                <a:gd name="T93" fmla="*/ 410 h 478"/>
                <a:gd name="T94" fmla="*/ 419 w 475"/>
                <a:gd name="T95" fmla="*/ 384 h 478"/>
                <a:gd name="T96" fmla="*/ 428 w 475"/>
                <a:gd name="T97" fmla="*/ 328 h 478"/>
                <a:gd name="T98" fmla="*/ 426 w 475"/>
                <a:gd name="T99" fmla="*/ 298 h 478"/>
                <a:gd name="T100" fmla="*/ 434 w 475"/>
                <a:gd name="T101" fmla="*/ 259 h 478"/>
                <a:gd name="T102" fmla="*/ 157 w 475"/>
                <a:gd name="T103" fmla="*/ 19 h 478"/>
                <a:gd name="T104" fmla="*/ 182 w 475"/>
                <a:gd name="T105" fmla="*/ 2 h 478"/>
                <a:gd name="T106" fmla="*/ 473 w 475"/>
                <a:gd name="T107" fmla="*/ 144 h 478"/>
                <a:gd name="T108" fmla="*/ 475 w 475"/>
                <a:gd name="T109" fmla="*/ 152 h 478"/>
                <a:gd name="T110" fmla="*/ 458 w 475"/>
                <a:gd name="T111" fmla="*/ 160 h 478"/>
                <a:gd name="T112" fmla="*/ 446 w 475"/>
                <a:gd name="T113" fmla="*/ 175 h 478"/>
                <a:gd name="T114" fmla="*/ 440 w 475"/>
                <a:gd name="T115" fmla="*/ 207 h 478"/>
                <a:gd name="T116" fmla="*/ 458 w 475"/>
                <a:gd name="T117" fmla="*/ 183 h 478"/>
                <a:gd name="T118" fmla="*/ 460 w 475"/>
                <a:gd name="T119" fmla="*/ 173 h 478"/>
                <a:gd name="T120" fmla="*/ 466 w 475"/>
                <a:gd name="T121" fmla="*/ 16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5" h="478">
                  <a:moveTo>
                    <a:pt x="153" y="33"/>
                  </a:moveTo>
                  <a:lnTo>
                    <a:pt x="155" y="35"/>
                  </a:lnTo>
                  <a:lnTo>
                    <a:pt x="155" y="37"/>
                  </a:lnTo>
                  <a:lnTo>
                    <a:pt x="159" y="33"/>
                  </a:lnTo>
                  <a:lnTo>
                    <a:pt x="163" y="33"/>
                  </a:lnTo>
                  <a:lnTo>
                    <a:pt x="163" y="31"/>
                  </a:lnTo>
                  <a:lnTo>
                    <a:pt x="163" y="31"/>
                  </a:lnTo>
                  <a:lnTo>
                    <a:pt x="163" y="29"/>
                  </a:lnTo>
                  <a:lnTo>
                    <a:pt x="165" y="27"/>
                  </a:lnTo>
                  <a:lnTo>
                    <a:pt x="167" y="27"/>
                  </a:lnTo>
                  <a:lnTo>
                    <a:pt x="169" y="27"/>
                  </a:lnTo>
                  <a:lnTo>
                    <a:pt x="169" y="25"/>
                  </a:lnTo>
                  <a:lnTo>
                    <a:pt x="169" y="25"/>
                  </a:lnTo>
                  <a:lnTo>
                    <a:pt x="167" y="23"/>
                  </a:lnTo>
                  <a:lnTo>
                    <a:pt x="167" y="23"/>
                  </a:lnTo>
                  <a:lnTo>
                    <a:pt x="163" y="25"/>
                  </a:lnTo>
                  <a:lnTo>
                    <a:pt x="161" y="27"/>
                  </a:lnTo>
                  <a:lnTo>
                    <a:pt x="161" y="29"/>
                  </a:lnTo>
                  <a:lnTo>
                    <a:pt x="155" y="31"/>
                  </a:lnTo>
                  <a:lnTo>
                    <a:pt x="153" y="33"/>
                  </a:lnTo>
                  <a:close/>
                  <a:moveTo>
                    <a:pt x="167" y="19"/>
                  </a:moveTo>
                  <a:lnTo>
                    <a:pt x="169" y="19"/>
                  </a:lnTo>
                  <a:lnTo>
                    <a:pt x="172" y="19"/>
                  </a:lnTo>
                  <a:lnTo>
                    <a:pt x="172" y="19"/>
                  </a:lnTo>
                  <a:lnTo>
                    <a:pt x="172" y="17"/>
                  </a:lnTo>
                  <a:lnTo>
                    <a:pt x="172" y="17"/>
                  </a:lnTo>
                  <a:lnTo>
                    <a:pt x="172" y="15"/>
                  </a:lnTo>
                  <a:lnTo>
                    <a:pt x="174" y="15"/>
                  </a:lnTo>
                  <a:lnTo>
                    <a:pt x="174" y="13"/>
                  </a:lnTo>
                  <a:lnTo>
                    <a:pt x="172" y="13"/>
                  </a:lnTo>
                  <a:lnTo>
                    <a:pt x="169" y="15"/>
                  </a:lnTo>
                  <a:lnTo>
                    <a:pt x="165" y="15"/>
                  </a:lnTo>
                  <a:lnTo>
                    <a:pt x="163" y="17"/>
                  </a:lnTo>
                  <a:lnTo>
                    <a:pt x="163" y="19"/>
                  </a:lnTo>
                  <a:lnTo>
                    <a:pt x="163" y="19"/>
                  </a:lnTo>
                  <a:lnTo>
                    <a:pt x="167" y="19"/>
                  </a:lnTo>
                  <a:close/>
                  <a:moveTo>
                    <a:pt x="139" y="17"/>
                  </a:moveTo>
                  <a:lnTo>
                    <a:pt x="141" y="15"/>
                  </a:lnTo>
                  <a:lnTo>
                    <a:pt x="141" y="15"/>
                  </a:lnTo>
                  <a:lnTo>
                    <a:pt x="143" y="13"/>
                  </a:lnTo>
                  <a:lnTo>
                    <a:pt x="141" y="11"/>
                  </a:lnTo>
                  <a:lnTo>
                    <a:pt x="141" y="13"/>
                  </a:lnTo>
                  <a:lnTo>
                    <a:pt x="139" y="15"/>
                  </a:lnTo>
                  <a:lnTo>
                    <a:pt x="139" y="15"/>
                  </a:lnTo>
                  <a:lnTo>
                    <a:pt x="139" y="17"/>
                  </a:lnTo>
                  <a:close/>
                  <a:moveTo>
                    <a:pt x="444" y="211"/>
                  </a:moveTo>
                  <a:lnTo>
                    <a:pt x="442" y="211"/>
                  </a:lnTo>
                  <a:lnTo>
                    <a:pt x="440" y="209"/>
                  </a:lnTo>
                  <a:lnTo>
                    <a:pt x="436" y="205"/>
                  </a:lnTo>
                  <a:lnTo>
                    <a:pt x="434" y="205"/>
                  </a:lnTo>
                  <a:lnTo>
                    <a:pt x="432" y="205"/>
                  </a:lnTo>
                  <a:lnTo>
                    <a:pt x="432" y="207"/>
                  </a:lnTo>
                  <a:lnTo>
                    <a:pt x="430" y="207"/>
                  </a:lnTo>
                  <a:lnTo>
                    <a:pt x="426" y="209"/>
                  </a:lnTo>
                  <a:lnTo>
                    <a:pt x="426" y="211"/>
                  </a:lnTo>
                  <a:lnTo>
                    <a:pt x="426" y="209"/>
                  </a:lnTo>
                  <a:lnTo>
                    <a:pt x="423" y="209"/>
                  </a:lnTo>
                  <a:lnTo>
                    <a:pt x="421" y="211"/>
                  </a:lnTo>
                  <a:lnTo>
                    <a:pt x="419" y="211"/>
                  </a:lnTo>
                  <a:lnTo>
                    <a:pt x="417" y="213"/>
                  </a:lnTo>
                  <a:lnTo>
                    <a:pt x="415" y="220"/>
                  </a:lnTo>
                  <a:lnTo>
                    <a:pt x="413" y="224"/>
                  </a:lnTo>
                  <a:lnTo>
                    <a:pt x="415" y="226"/>
                  </a:lnTo>
                  <a:lnTo>
                    <a:pt x="413" y="228"/>
                  </a:lnTo>
                  <a:lnTo>
                    <a:pt x="413" y="230"/>
                  </a:lnTo>
                  <a:lnTo>
                    <a:pt x="413" y="230"/>
                  </a:lnTo>
                  <a:lnTo>
                    <a:pt x="411" y="232"/>
                  </a:lnTo>
                  <a:lnTo>
                    <a:pt x="407" y="234"/>
                  </a:lnTo>
                  <a:lnTo>
                    <a:pt x="403" y="238"/>
                  </a:lnTo>
                  <a:lnTo>
                    <a:pt x="401" y="238"/>
                  </a:lnTo>
                  <a:lnTo>
                    <a:pt x="401" y="240"/>
                  </a:lnTo>
                  <a:lnTo>
                    <a:pt x="401" y="244"/>
                  </a:lnTo>
                  <a:lnTo>
                    <a:pt x="399" y="244"/>
                  </a:lnTo>
                  <a:lnTo>
                    <a:pt x="397" y="244"/>
                  </a:lnTo>
                  <a:lnTo>
                    <a:pt x="395" y="244"/>
                  </a:lnTo>
                  <a:lnTo>
                    <a:pt x="393" y="244"/>
                  </a:lnTo>
                  <a:lnTo>
                    <a:pt x="393" y="242"/>
                  </a:lnTo>
                  <a:lnTo>
                    <a:pt x="391" y="242"/>
                  </a:lnTo>
                  <a:lnTo>
                    <a:pt x="391" y="240"/>
                  </a:lnTo>
                  <a:lnTo>
                    <a:pt x="393" y="238"/>
                  </a:lnTo>
                  <a:lnTo>
                    <a:pt x="393" y="236"/>
                  </a:lnTo>
                  <a:lnTo>
                    <a:pt x="393" y="234"/>
                  </a:lnTo>
                  <a:lnTo>
                    <a:pt x="393" y="234"/>
                  </a:lnTo>
                  <a:lnTo>
                    <a:pt x="393" y="232"/>
                  </a:lnTo>
                  <a:lnTo>
                    <a:pt x="395" y="232"/>
                  </a:lnTo>
                  <a:lnTo>
                    <a:pt x="395" y="232"/>
                  </a:lnTo>
                  <a:lnTo>
                    <a:pt x="393" y="230"/>
                  </a:lnTo>
                  <a:lnTo>
                    <a:pt x="393" y="230"/>
                  </a:lnTo>
                  <a:lnTo>
                    <a:pt x="393" y="226"/>
                  </a:lnTo>
                  <a:lnTo>
                    <a:pt x="395" y="226"/>
                  </a:lnTo>
                  <a:lnTo>
                    <a:pt x="395" y="224"/>
                  </a:lnTo>
                  <a:lnTo>
                    <a:pt x="397" y="222"/>
                  </a:lnTo>
                  <a:lnTo>
                    <a:pt x="397" y="222"/>
                  </a:lnTo>
                  <a:lnTo>
                    <a:pt x="397" y="220"/>
                  </a:lnTo>
                  <a:lnTo>
                    <a:pt x="397" y="220"/>
                  </a:lnTo>
                  <a:lnTo>
                    <a:pt x="397" y="218"/>
                  </a:lnTo>
                  <a:lnTo>
                    <a:pt x="399" y="218"/>
                  </a:lnTo>
                  <a:lnTo>
                    <a:pt x="399" y="216"/>
                  </a:lnTo>
                  <a:lnTo>
                    <a:pt x="403" y="209"/>
                  </a:lnTo>
                  <a:lnTo>
                    <a:pt x="403" y="207"/>
                  </a:lnTo>
                  <a:lnTo>
                    <a:pt x="403" y="205"/>
                  </a:lnTo>
                  <a:lnTo>
                    <a:pt x="403" y="201"/>
                  </a:lnTo>
                  <a:lnTo>
                    <a:pt x="407" y="199"/>
                  </a:lnTo>
                  <a:lnTo>
                    <a:pt x="413" y="197"/>
                  </a:lnTo>
                  <a:lnTo>
                    <a:pt x="415" y="197"/>
                  </a:lnTo>
                  <a:lnTo>
                    <a:pt x="417" y="195"/>
                  </a:lnTo>
                  <a:lnTo>
                    <a:pt x="417" y="193"/>
                  </a:lnTo>
                  <a:lnTo>
                    <a:pt x="417" y="191"/>
                  </a:lnTo>
                  <a:lnTo>
                    <a:pt x="417" y="189"/>
                  </a:lnTo>
                  <a:lnTo>
                    <a:pt x="417" y="189"/>
                  </a:lnTo>
                  <a:lnTo>
                    <a:pt x="417" y="187"/>
                  </a:lnTo>
                  <a:lnTo>
                    <a:pt x="419" y="185"/>
                  </a:lnTo>
                  <a:lnTo>
                    <a:pt x="419" y="183"/>
                  </a:lnTo>
                  <a:lnTo>
                    <a:pt x="415" y="183"/>
                  </a:lnTo>
                  <a:lnTo>
                    <a:pt x="413" y="181"/>
                  </a:lnTo>
                  <a:lnTo>
                    <a:pt x="413" y="181"/>
                  </a:lnTo>
                  <a:lnTo>
                    <a:pt x="413" y="181"/>
                  </a:lnTo>
                  <a:lnTo>
                    <a:pt x="411" y="179"/>
                  </a:lnTo>
                  <a:lnTo>
                    <a:pt x="411" y="177"/>
                  </a:lnTo>
                  <a:lnTo>
                    <a:pt x="409" y="177"/>
                  </a:lnTo>
                  <a:lnTo>
                    <a:pt x="409" y="175"/>
                  </a:lnTo>
                  <a:lnTo>
                    <a:pt x="407" y="175"/>
                  </a:lnTo>
                  <a:lnTo>
                    <a:pt x="407" y="170"/>
                  </a:lnTo>
                  <a:lnTo>
                    <a:pt x="409" y="170"/>
                  </a:lnTo>
                  <a:lnTo>
                    <a:pt x="409" y="166"/>
                  </a:lnTo>
                  <a:lnTo>
                    <a:pt x="411" y="160"/>
                  </a:lnTo>
                  <a:lnTo>
                    <a:pt x="411" y="160"/>
                  </a:lnTo>
                  <a:lnTo>
                    <a:pt x="413" y="158"/>
                  </a:lnTo>
                  <a:lnTo>
                    <a:pt x="413" y="158"/>
                  </a:lnTo>
                  <a:lnTo>
                    <a:pt x="413" y="158"/>
                  </a:lnTo>
                  <a:lnTo>
                    <a:pt x="413" y="156"/>
                  </a:lnTo>
                  <a:lnTo>
                    <a:pt x="411" y="156"/>
                  </a:lnTo>
                  <a:lnTo>
                    <a:pt x="411" y="156"/>
                  </a:lnTo>
                  <a:lnTo>
                    <a:pt x="411" y="154"/>
                  </a:lnTo>
                  <a:lnTo>
                    <a:pt x="409" y="154"/>
                  </a:lnTo>
                  <a:lnTo>
                    <a:pt x="409" y="154"/>
                  </a:lnTo>
                  <a:lnTo>
                    <a:pt x="409" y="154"/>
                  </a:lnTo>
                  <a:lnTo>
                    <a:pt x="403" y="158"/>
                  </a:lnTo>
                  <a:lnTo>
                    <a:pt x="403" y="158"/>
                  </a:lnTo>
                  <a:lnTo>
                    <a:pt x="403" y="158"/>
                  </a:lnTo>
                  <a:lnTo>
                    <a:pt x="401" y="158"/>
                  </a:lnTo>
                  <a:lnTo>
                    <a:pt x="399" y="158"/>
                  </a:lnTo>
                  <a:lnTo>
                    <a:pt x="399" y="158"/>
                  </a:lnTo>
                  <a:lnTo>
                    <a:pt x="399" y="158"/>
                  </a:lnTo>
                  <a:lnTo>
                    <a:pt x="399" y="158"/>
                  </a:lnTo>
                  <a:lnTo>
                    <a:pt x="397" y="160"/>
                  </a:lnTo>
                  <a:lnTo>
                    <a:pt x="397" y="160"/>
                  </a:lnTo>
                  <a:lnTo>
                    <a:pt x="395" y="158"/>
                  </a:lnTo>
                  <a:lnTo>
                    <a:pt x="395" y="158"/>
                  </a:lnTo>
                  <a:lnTo>
                    <a:pt x="395" y="158"/>
                  </a:lnTo>
                  <a:lnTo>
                    <a:pt x="395" y="156"/>
                  </a:lnTo>
                  <a:lnTo>
                    <a:pt x="395" y="154"/>
                  </a:lnTo>
                  <a:lnTo>
                    <a:pt x="395" y="154"/>
                  </a:lnTo>
                  <a:lnTo>
                    <a:pt x="395" y="152"/>
                  </a:lnTo>
                  <a:lnTo>
                    <a:pt x="395" y="152"/>
                  </a:lnTo>
                  <a:lnTo>
                    <a:pt x="395" y="150"/>
                  </a:lnTo>
                  <a:lnTo>
                    <a:pt x="395" y="150"/>
                  </a:lnTo>
                  <a:lnTo>
                    <a:pt x="395" y="150"/>
                  </a:lnTo>
                  <a:lnTo>
                    <a:pt x="397" y="148"/>
                  </a:lnTo>
                  <a:lnTo>
                    <a:pt x="399" y="148"/>
                  </a:lnTo>
                  <a:lnTo>
                    <a:pt x="399" y="146"/>
                  </a:lnTo>
                  <a:lnTo>
                    <a:pt x="399" y="146"/>
                  </a:lnTo>
                  <a:lnTo>
                    <a:pt x="399" y="144"/>
                  </a:lnTo>
                  <a:lnTo>
                    <a:pt x="399" y="144"/>
                  </a:lnTo>
                  <a:lnTo>
                    <a:pt x="399" y="144"/>
                  </a:lnTo>
                  <a:lnTo>
                    <a:pt x="399" y="144"/>
                  </a:lnTo>
                  <a:lnTo>
                    <a:pt x="399" y="140"/>
                  </a:lnTo>
                  <a:lnTo>
                    <a:pt x="397" y="138"/>
                  </a:lnTo>
                  <a:lnTo>
                    <a:pt x="397" y="138"/>
                  </a:lnTo>
                  <a:lnTo>
                    <a:pt x="397" y="136"/>
                  </a:lnTo>
                  <a:lnTo>
                    <a:pt x="399" y="136"/>
                  </a:lnTo>
                  <a:lnTo>
                    <a:pt x="399" y="136"/>
                  </a:lnTo>
                  <a:lnTo>
                    <a:pt x="399" y="136"/>
                  </a:lnTo>
                  <a:lnTo>
                    <a:pt x="399" y="136"/>
                  </a:lnTo>
                  <a:lnTo>
                    <a:pt x="399" y="134"/>
                  </a:lnTo>
                  <a:lnTo>
                    <a:pt x="399" y="134"/>
                  </a:lnTo>
                  <a:lnTo>
                    <a:pt x="399" y="132"/>
                  </a:lnTo>
                  <a:lnTo>
                    <a:pt x="399" y="132"/>
                  </a:lnTo>
                  <a:lnTo>
                    <a:pt x="397" y="129"/>
                  </a:lnTo>
                  <a:lnTo>
                    <a:pt x="397" y="127"/>
                  </a:lnTo>
                  <a:lnTo>
                    <a:pt x="397" y="127"/>
                  </a:lnTo>
                  <a:lnTo>
                    <a:pt x="397" y="127"/>
                  </a:lnTo>
                  <a:lnTo>
                    <a:pt x="397" y="125"/>
                  </a:lnTo>
                  <a:lnTo>
                    <a:pt x="397" y="125"/>
                  </a:lnTo>
                  <a:lnTo>
                    <a:pt x="397" y="125"/>
                  </a:lnTo>
                  <a:lnTo>
                    <a:pt x="397" y="125"/>
                  </a:lnTo>
                  <a:lnTo>
                    <a:pt x="397" y="125"/>
                  </a:lnTo>
                  <a:lnTo>
                    <a:pt x="397" y="123"/>
                  </a:lnTo>
                  <a:lnTo>
                    <a:pt x="395" y="123"/>
                  </a:lnTo>
                  <a:lnTo>
                    <a:pt x="395" y="121"/>
                  </a:lnTo>
                  <a:lnTo>
                    <a:pt x="393" y="121"/>
                  </a:lnTo>
                  <a:lnTo>
                    <a:pt x="391" y="121"/>
                  </a:lnTo>
                  <a:lnTo>
                    <a:pt x="391" y="119"/>
                  </a:lnTo>
                  <a:lnTo>
                    <a:pt x="391" y="119"/>
                  </a:lnTo>
                  <a:lnTo>
                    <a:pt x="389" y="119"/>
                  </a:lnTo>
                  <a:lnTo>
                    <a:pt x="389" y="119"/>
                  </a:lnTo>
                  <a:lnTo>
                    <a:pt x="389" y="117"/>
                  </a:lnTo>
                  <a:lnTo>
                    <a:pt x="389" y="117"/>
                  </a:lnTo>
                  <a:lnTo>
                    <a:pt x="385" y="117"/>
                  </a:lnTo>
                  <a:lnTo>
                    <a:pt x="382" y="117"/>
                  </a:lnTo>
                  <a:lnTo>
                    <a:pt x="382" y="117"/>
                  </a:lnTo>
                  <a:lnTo>
                    <a:pt x="382" y="117"/>
                  </a:lnTo>
                  <a:lnTo>
                    <a:pt x="382" y="117"/>
                  </a:lnTo>
                  <a:lnTo>
                    <a:pt x="380" y="115"/>
                  </a:lnTo>
                  <a:lnTo>
                    <a:pt x="380" y="115"/>
                  </a:lnTo>
                  <a:lnTo>
                    <a:pt x="380" y="115"/>
                  </a:lnTo>
                  <a:lnTo>
                    <a:pt x="380" y="115"/>
                  </a:lnTo>
                  <a:lnTo>
                    <a:pt x="378" y="117"/>
                  </a:lnTo>
                  <a:lnTo>
                    <a:pt x="376" y="117"/>
                  </a:lnTo>
                  <a:lnTo>
                    <a:pt x="376" y="117"/>
                  </a:lnTo>
                  <a:lnTo>
                    <a:pt x="374" y="117"/>
                  </a:lnTo>
                  <a:lnTo>
                    <a:pt x="374" y="115"/>
                  </a:lnTo>
                  <a:lnTo>
                    <a:pt x="372" y="115"/>
                  </a:lnTo>
                  <a:lnTo>
                    <a:pt x="372" y="115"/>
                  </a:lnTo>
                  <a:lnTo>
                    <a:pt x="370" y="115"/>
                  </a:lnTo>
                  <a:lnTo>
                    <a:pt x="370" y="113"/>
                  </a:lnTo>
                  <a:lnTo>
                    <a:pt x="370" y="113"/>
                  </a:lnTo>
                  <a:lnTo>
                    <a:pt x="370" y="113"/>
                  </a:lnTo>
                  <a:lnTo>
                    <a:pt x="370" y="111"/>
                  </a:lnTo>
                  <a:lnTo>
                    <a:pt x="372" y="109"/>
                  </a:lnTo>
                  <a:lnTo>
                    <a:pt x="372" y="109"/>
                  </a:lnTo>
                  <a:lnTo>
                    <a:pt x="372" y="109"/>
                  </a:lnTo>
                  <a:lnTo>
                    <a:pt x="372" y="107"/>
                  </a:lnTo>
                  <a:lnTo>
                    <a:pt x="372" y="107"/>
                  </a:lnTo>
                  <a:lnTo>
                    <a:pt x="370" y="103"/>
                  </a:lnTo>
                  <a:lnTo>
                    <a:pt x="370" y="103"/>
                  </a:lnTo>
                  <a:lnTo>
                    <a:pt x="368" y="101"/>
                  </a:lnTo>
                  <a:lnTo>
                    <a:pt x="368" y="101"/>
                  </a:lnTo>
                  <a:lnTo>
                    <a:pt x="366" y="101"/>
                  </a:lnTo>
                  <a:lnTo>
                    <a:pt x="364" y="101"/>
                  </a:lnTo>
                  <a:lnTo>
                    <a:pt x="364" y="99"/>
                  </a:lnTo>
                  <a:lnTo>
                    <a:pt x="364" y="99"/>
                  </a:lnTo>
                  <a:lnTo>
                    <a:pt x="362" y="101"/>
                  </a:lnTo>
                  <a:lnTo>
                    <a:pt x="362" y="101"/>
                  </a:lnTo>
                  <a:lnTo>
                    <a:pt x="362" y="101"/>
                  </a:lnTo>
                  <a:lnTo>
                    <a:pt x="360" y="101"/>
                  </a:lnTo>
                  <a:lnTo>
                    <a:pt x="358" y="99"/>
                  </a:lnTo>
                  <a:lnTo>
                    <a:pt x="358" y="99"/>
                  </a:lnTo>
                  <a:lnTo>
                    <a:pt x="356" y="99"/>
                  </a:lnTo>
                  <a:lnTo>
                    <a:pt x="354" y="99"/>
                  </a:lnTo>
                  <a:lnTo>
                    <a:pt x="354" y="99"/>
                  </a:lnTo>
                  <a:lnTo>
                    <a:pt x="352" y="99"/>
                  </a:lnTo>
                  <a:lnTo>
                    <a:pt x="350" y="97"/>
                  </a:lnTo>
                  <a:lnTo>
                    <a:pt x="350" y="97"/>
                  </a:lnTo>
                  <a:lnTo>
                    <a:pt x="350" y="97"/>
                  </a:lnTo>
                  <a:lnTo>
                    <a:pt x="348" y="99"/>
                  </a:lnTo>
                  <a:lnTo>
                    <a:pt x="346" y="99"/>
                  </a:lnTo>
                  <a:lnTo>
                    <a:pt x="346" y="99"/>
                  </a:lnTo>
                  <a:lnTo>
                    <a:pt x="344" y="97"/>
                  </a:lnTo>
                  <a:lnTo>
                    <a:pt x="342" y="97"/>
                  </a:lnTo>
                  <a:lnTo>
                    <a:pt x="342" y="97"/>
                  </a:lnTo>
                  <a:lnTo>
                    <a:pt x="342" y="97"/>
                  </a:lnTo>
                  <a:lnTo>
                    <a:pt x="342" y="97"/>
                  </a:lnTo>
                  <a:lnTo>
                    <a:pt x="339" y="97"/>
                  </a:lnTo>
                  <a:lnTo>
                    <a:pt x="339" y="97"/>
                  </a:lnTo>
                  <a:lnTo>
                    <a:pt x="337" y="97"/>
                  </a:lnTo>
                  <a:lnTo>
                    <a:pt x="337" y="95"/>
                  </a:lnTo>
                  <a:lnTo>
                    <a:pt x="335" y="95"/>
                  </a:lnTo>
                  <a:lnTo>
                    <a:pt x="335" y="97"/>
                  </a:lnTo>
                  <a:lnTo>
                    <a:pt x="335" y="97"/>
                  </a:lnTo>
                  <a:lnTo>
                    <a:pt x="333" y="97"/>
                  </a:lnTo>
                  <a:lnTo>
                    <a:pt x="333" y="97"/>
                  </a:lnTo>
                  <a:lnTo>
                    <a:pt x="333" y="97"/>
                  </a:lnTo>
                  <a:lnTo>
                    <a:pt x="333" y="97"/>
                  </a:lnTo>
                  <a:lnTo>
                    <a:pt x="331" y="97"/>
                  </a:lnTo>
                  <a:lnTo>
                    <a:pt x="331" y="97"/>
                  </a:lnTo>
                  <a:lnTo>
                    <a:pt x="329" y="99"/>
                  </a:lnTo>
                  <a:lnTo>
                    <a:pt x="329" y="99"/>
                  </a:lnTo>
                  <a:lnTo>
                    <a:pt x="329" y="99"/>
                  </a:lnTo>
                  <a:lnTo>
                    <a:pt x="325" y="97"/>
                  </a:lnTo>
                  <a:lnTo>
                    <a:pt x="323" y="97"/>
                  </a:lnTo>
                  <a:lnTo>
                    <a:pt x="323" y="97"/>
                  </a:lnTo>
                  <a:lnTo>
                    <a:pt x="321" y="97"/>
                  </a:lnTo>
                  <a:lnTo>
                    <a:pt x="321" y="97"/>
                  </a:lnTo>
                  <a:lnTo>
                    <a:pt x="321" y="97"/>
                  </a:lnTo>
                  <a:lnTo>
                    <a:pt x="319" y="97"/>
                  </a:lnTo>
                  <a:lnTo>
                    <a:pt x="319" y="97"/>
                  </a:lnTo>
                  <a:lnTo>
                    <a:pt x="317" y="97"/>
                  </a:lnTo>
                  <a:lnTo>
                    <a:pt x="317" y="97"/>
                  </a:lnTo>
                  <a:lnTo>
                    <a:pt x="317" y="97"/>
                  </a:lnTo>
                  <a:lnTo>
                    <a:pt x="315" y="97"/>
                  </a:lnTo>
                  <a:lnTo>
                    <a:pt x="315" y="97"/>
                  </a:lnTo>
                  <a:lnTo>
                    <a:pt x="313" y="97"/>
                  </a:lnTo>
                  <a:lnTo>
                    <a:pt x="313" y="97"/>
                  </a:lnTo>
                  <a:lnTo>
                    <a:pt x="311" y="97"/>
                  </a:lnTo>
                  <a:lnTo>
                    <a:pt x="307" y="95"/>
                  </a:lnTo>
                  <a:lnTo>
                    <a:pt x="301" y="93"/>
                  </a:lnTo>
                  <a:lnTo>
                    <a:pt x="296" y="91"/>
                  </a:lnTo>
                  <a:lnTo>
                    <a:pt x="292" y="88"/>
                  </a:lnTo>
                  <a:lnTo>
                    <a:pt x="290" y="88"/>
                  </a:lnTo>
                  <a:lnTo>
                    <a:pt x="286" y="86"/>
                  </a:lnTo>
                  <a:lnTo>
                    <a:pt x="286" y="86"/>
                  </a:lnTo>
                  <a:lnTo>
                    <a:pt x="284" y="86"/>
                  </a:lnTo>
                  <a:lnTo>
                    <a:pt x="280" y="86"/>
                  </a:lnTo>
                  <a:lnTo>
                    <a:pt x="276" y="84"/>
                  </a:lnTo>
                  <a:lnTo>
                    <a:pt x="270" y="84"/>
                  </a:lnTo>
                  <a:lnTo>
                    <a:pt x="264" y="84"/>
                  </a:lnTo>
                  <a:lnTo>
                    <a:pt x="258" y="82"/>
                  </a:lnTo>
                  <a:lnTo>
                    <a:pt x="249" y="82"/>
                  </a:lnTo>
                  <a:lnTo>
                    <a:pt x="243" y="80"/>
                  </a:lnTo>
                  <a:lnTo>
                    <a:pt x="237" y="78"/>
                  </a:lnTo>
                  <a:lnTo>
                    <a:pt x="229" y="78"/>
                  </a:lnTo>
                  <a:lnTo>
                    <a:pt x="225" y="76"/>
                  </a:lnTo>
                  <a:lnTo>
                    <a:pt x="219" y="76"/>
                  </a:lnTo>
                  <a:lnTo>
                    <a:pt x="217" y="76"/>
                  </a:lnTo>
                  <a:lnTo>
                    <a:pt x="213" y="76"/>
                  </a:lnTo>
                  <a:lnTo>
                    <a:pt x="213" y="76"/>
                  </a:lnTo>
                  <a:lnTo>
                    <a:pt x="210" y="74"/>
                  </a:lnTo>
                  <a:lnTo>
                    <a:pt x="210" y="74"/>
                  </a:lnTo>
                  <a:lnTo>
                    <a:pt x="210" y="74"/>
                  </a:lnTo>
                  <a:lnTo>
                    <a:pt x="208" y="72"/>
                  </a:lnTo>
                  <a:lnTo>
                    <a:pt x="206" y="70"/>
                  </a:lnTo>
                  <a:lnTo>
                    <a:pt x="204" y="66"/>
                  </a:lnTo>
                  <a:lnTo>
                    <a:pt x="204" y="62"/>
                  </a:lnTo>
                  <a:lnTo>
                    <a:pt x="202" y="60"/>
                  </a:lnTo>
                  <a:lnTo>
                    <a:pt x="202" y="60"/>
                  </a:lnTo>
                  <a:lnTo>
                    <a:pt x="200" y="58"/>
                  </a:lnTo>
                  <a:lnTo>
                    <a:pt x="200" y="58"/>
                  </a:lnTo>
                  <a:lnTo>
                    <a:pt x="198" y="58"/>
                  </a:lnTo>
                  <a:lnTo>
                    <a:pt x="198" y="58"/>
                  </a:lnTo>
                  <a:lnTo>
                    <a:pt x="196" y="58"/>
                  </a:lnTo>
                  <a:lnTo>
                    <a:pt x="196" y="58"/>
                  </a:lnTo>
                  <a:lnTo>
                    <a:pt x="196" y="56"/>
                  </a:lnTo>
                  <a:lnTo>
                    <a:pt x="194" y="56"/>
                  </a:lnTo>
                  <a:lnTo>
                    <a:pt x="194" y="56"/>
                  </a:lnTo>
                  <a:lnTo>
                    <a:pt x="192" y="56"/>
                  </a:lnTo>
                  <a:lnTo>
                    <a:pt x="192" y="54"/>
                  </a:lnTo>
                  <a:lnTo>
                    <a:pt x="192" y="54"/>
                  </a:lnTo>
                  <a:lnTo>
                    <a:pt x="190" y="54"/>
                  </a:lnTo>
                  <a:lnTo>
                    <a:pt x="190" y="56"/>
                  </a:lnTo>
                  <a:lnTo>
                    <a:pt x="188" y="56"/>
                  </a:lnTo>
                  <a:lnTo>
                    <a:pt x="188" y="56"/>
                  </a:lnTo>
                  <a:lnTo>
                    <a:pt x="188" y="56"/>
                  </a:lnTo>
                  <a:lnTo>
                    <a:pt x="186" y="56"/>
                  </a:lnTo>
                  <a:lnTo>
                    <a:pt x="186" y="56"/>
                  </a:lnTo>
                  <a:lnTo>
                    <a:pt x="186" y="54"/>
                  </a:lnTo>
                  <a:lnTo>
                    <a:pt x="186" y="52"/>
                  </a:lnTo>
                  <a:lnTo>
                    <a:pt x="186" y="52"/>
                  </a:lnTo>
                  <a:lnTo>
                    <a:pt x="184" y="54"/>
                  </a:lnTo>
                  <a:lnTo>
                    <a:pt x="182" y="54"/>
                  </a:lnTo>
                  <a:lnTo>
                    <a:pt x="180" y="52"/>
                  </a:lnTo>
                  <a:lnTo>
                    <a:pt x="174" y="50"/>
                  </a:lnTo>
                  <a:lnTo>
                    <a:pt x="165" y="47"/>
                  </a:lnTo>
                  <a:lnTo>
                    <a:pt x="159" y="43"/>
                  </a:lnTo>
                  <a:lnTo>
                    <a:pt x="157" y="41"/>
                  </a:lnTo>
                  <a:lnTo>
                    <a:pt x="159" y="41"/>
                  </a:lnTo>
                  <a:lnTo>
                    <a:pt x="159" y="43"/>
                  </a:lnTo>
                  <a:lnTo>
                    <a:pt x="159" y="43"/>
                  </a:lnTo>
                  <a:lnTo>
                    <a:pt x="159" y="43"/>
                  </a:lnTo>
                  <a:lnTo>
                    <a:pt x="157" y="43"/>
                  </a:lnTo>
                  <a:lnTo>
                    <a:pt x="157" y="45"/>
                  </a:lnTo>
                  <a:lnTo>
                    <a:pt x="157" y="45"/>
                  </a:lnTo>
                  <a:lnTo>
                    <a:pt x="159" y="45"/>
                  </a:lnTo>
                  <a:lnTo>
                    <a:pt x="159" y="47"/>
                  </a:lnTo>
                  <a:lnTo>
                    <a:pt x="157" y="50"/>
                  </a:lnTo>
                  <a:lnTo>
                    <a:pt x="147" y="54"/>
                  </a:lnTo>
                  <a:lnTo>
                    <a:pt x="145" y="54"/>
                  </a:lnTo>
                  <a:lnTo>
                    <a:pt x="143" y="54"/>
                  </a:lnTo>
                  <a:lnTo>
                    <a:pt x="145" y="52"/>
                  </a:lnTo>
                  <a:lnTo>
                    <a:pt x="145" y="50"/>
                  </a:lnTo>
                  <a:lnTo>
                    <a:pt x="149" y="43"/>
                  </a:lnTo>
                  <a:lnTo>
                    <a:pt x="149" y="41"/>
                  </a:lnTo>
                  <a:lnTo>
                    <a:pt x="149" y="41"/>
                  </a:lnTo>
                  <a:lnTo>
                    <a:pt x="149" y="39"/>
                  </a:lnTo>
                  <a:lnTo>
                    <a:pt x="149" y="39"/>
                  </a:lnTo>
                  <a:lnTo>
                    <a:pt x="149" y="37"/>
                  </a:lnTo>
                  <a:lnTo>
                    <a:pt x="149" y="35"/>
                  </a:lnTo>
                  <a:lnTo>
                    <a:pt x="149" y="33"/>
                  </a:lnTo>
                  <a:lnTo>
                    <a:pt x="151" y="31"/>
                  </a:lnTo>
                  <a:lnTo>
                    <a:pt x="151" y="31"/>
                  </a:lnTo>
                  <a:lnTo>
                    <a:pt x="153" y="25"/>
                  </a:lnTo>
                  <a:lnTo>
                    <a:pt x="155" y="25"/>
                  </a:lnTo>
                  <a:lnTo>
                    <a:pt x="155" y="23"/>
                  </a:lnTo>
                  <a:lnTo>
                    <a:pt x="153" y="23"/>
                  </a:lnTo>
                  <a:lnTo>
                    <a:pt x="155" y="21"/>
                  </a:lnTo>
                  <a:lnTo>
                    <a:pt x="155" y="21"/>
                  </a:lnTo>
                  <a:lnTo>
                    <a:pt x="155" y="21"/>
                  </a:lnTo>
                  <a:lnTo>
                    <a:pt x="153" y="19"/>
                  </a:lnTo>
                  <a:lnTo>
                    <a:pt x="153" y="17"/>
                  </a:lnTo>
                  <a:lnTo>
                    <a:pt x="153" y="17"/>
                  </a:lnTo>
                  <a:lnTo>
                    <a:pt x="151" y="17"/>
                  </a:lnTo>
                  <a:lnTo>
                    <a:pt x="149" y="17"/>
                  </a:lnTo>
                  <a:lnTo>
                    <a:pt x="149" y="17"/>
                  </a:lnTo>
                  <a:lnTo>
                    <a:pt x="149" y="15"/>
                  </a:lnTo>
                  <a:lnTo>
                    <a:pt x="149" y="15"/>
                  </a:lnTo>
                  <a:lnTo>
                    <a:pt x="149" y="15"/>
                  </a:lnTo>
                  <a:lnTo>
                    <a:pt x="147" y="15"/>
                  </a:lnTo>
                  <a:lnTo>
                    <a:pt x="147" y="15"/>
                  </a:lnTo>
                  <a:lnTo>
                    <a:pt x="145" y="15"/>
                  </a:lnTo>
                  <a:lnTo>
                    <a:pt x="145" y="17"/>
                  </a:lnTo>
                  <a:lnTo>
                    <a:pt x="145" y="17"/>
                  </a:lnTo>
                  <a:lnTo>
                    <a:pt x="145" y="17"/>
                  </a:lnTo>
                  <a:lnTo>
                    <a:pt x="145" y="17"/>
                  </a:lnTo>
                  <a:lnTo>
                    <a:pt x="143" y="19"/>
                  </a:lnTo>
                  <a:lnTo>
                    <a:pt x="143" y="19"/>
                  </a:lnTo>
                  <a:lnTo>
                    <a:pt x="141" y="19"/>
                  </a:lnTo>
                  <a:lnTo>
                    <a:pt x="141" y="17"/>
                  </a:lnTo>
                  <a:lnTo>
                    <a:pt x="139" y="17"/>
                  </a:lnTo>
                  <a:lnTo>
                    <a:pt x="139" y="19"/>
                  </a:lnTo>
                  <a:lnTo>
                    <a:pt x="139" y="19"/>
                  </a:lnTo>
                  <a:lnTo>
                    <a:pt x="139" y="19"/>
                  </a:lnTo>
                  <a:lnTo>
                    <a:pt x="139" y="19"/>
                  </a:lnTo>
                  <a:lnTo>
                    <a:pt x="135" y="21"/>
                  </a:lnTo>
                  <a:lnTo>
                    <a:pt x="135" y="21"/>
                  </a:lnTo>
                  <a:lnTo>
                    <a:pt x="133" y="23"/>
                  </a:lnTo>
                  <a:lnTo>
                    <a:pt x="133" y="23"/>
                  </a:lnTo>
                  <a:lnTo>
                    <a:pt x="133" y="23"/>
                  </a:lnTo>
                  <a:lnTo>
                    <a:pt x="133" y="23"/>
                  </a:lnTo>
                  <a:lnTo>
                    <a:pt x="131" y="25"/>
                  </a:lnTo>
                  <a:lnTo>
                    <a:pt x="131" y="25"/>
                  </a:lnTo>
                  <a:lnTo>
                    <a:pt x="131" y="25"/>
                  </a:lnTo>
                  <a:lnTo>
                    <a:pt x="129" y="27"/>
                  </a:lnTo>
                  <a:lnTo>
                    <a:pt x="129" y="27"/>
                  </a:lnTo>
                  <a:lnTo>
                    <a:pt x="126" y="27"/>
                  </a:lnTo>
                  <a:lnTo>
                    <a:pt x="126" y="27"/>
                  </a:lnTo>
                  <a:lnTo>
                    <a:pt x="126" y="27"/>
                  </a:lnTo>
                  <a:lnTo>
                    <a:pt x="126" y="27"/>
                  </a:lnTo>
                  <a:lnTo>
                    <a:pt x="126" y="25"/>
                  </a:lnTo>
                  <a:lnTo>
                    <a:pt x="124" y="27"/>
                  </a:lnTo>
                  <a:lnTo>
                    <a:pt x="122" y="29"/>
                  </a:lnTo>
                  <a:lnTo>
                    <a:pt x="122" y="27"/>
                  </a:lnTo>
                  <a:lnTo>
                    <a:pt x="122" y="25"/>
                  </a:lnTo>
                  <a:lnTo>
                    <a:pt x="120" y="27"/>
                  </a:lnTo>
                  <a:lnTo>
                    <a:pt x="116" y="29"/>
                  </a:lnTo>
                  <a:lnTo>
                    <a:pt x="110" y="33"/>
                  </a:lnTo>
                  <a:lnTo>
                    <a:pt x="108" y="37"/>
                  </a:lnTo>
                  <a:lnTo>
                    <a:pt x="106" y="37"/>
                  </a:lnTo>
                  <a:lnTo>
                    <a:pt x="100" y="39"/>
                  </a:lnTo>
                  <a:lnTo>
                    <a:pt x="94" y="41"/>
                  </a:lnTo>
                  <a:lnTo>
                    <a:pt x="77" y="47"/>
                  </a:lnTo>
                  <a:lnTo>
                    <a:pt x="67" y="50"/>
                  </a:lnTo>
                  <a:lnTo>
                    <a:pt x="65" y="50"/>
                  </a:lnTo>
                  <a:lnTo>
                    <a:pt x="59" y="47"/>
                  </a:lnTo>
                  <a:lnTo>
                    <a:pt x="59" y="47"/>
                  </a:lnTo>
                  <a:lnTo>
                    <a:pt x="57" y="47"/>
                  </a:lnTo>
                  <a:lnTo>
                    <a:pt x="55" y="45"/>
                  </a:lnTo>
                  <a:lnTo>
                    <a:pt x="53" y="43"/>
                  </a:lnTo>
                  <a:lnTo>
                    <a:pt x="53" y="43"/>
                  </a:lnTo>
                  <a:lnTo>
                    <a:pt x="53" y="43"/>
                  </a:lnTo>
                  <a:lnTo>
                    <a:pt x="51" y="45"/>
                  </a:lnTo>
                  <a:lnTo>
                    <a:pt x="51" y="45"/>
                  </a:lnTo>
                  <a:lnTo>
                    <a:pt x="49" y="47"/>
                  </a:lnTo>
                  <a:lnTo>
                    <a:pt x="49" y="47"/>
                  </a:lnTo>
                  <a:lnTo>
                    <a:pt x="49" y="47"/>
                  </a:lnTo>
                  <a:lnTo>
                    <a:pt x="49" y="47"/>
                  </a:lnTo>
                  <a:lnTo>
                    <a:pt x="47" y="50"/>
                  </a:lnTo>
                  <a:lnTo>
                    <a:pt x="47" y="50"/>
                  </a:lnTo>
                  <a:lnTo>
                    <a:pt x="47" y="50"/>
                  </a:lnTo>
                  <a:lnTo>
                    <a:pt x="47" y="50"/>
                  </a:lnTo>
                  <a:lnTo>
                    <a:pt x="47" y="52"/>
                  </a:lnTo>
                  <a:lnTo>
                    <a:pt x="47" y="54"/>
                  </a:lnTo>
                  <a:lnTo>
                    <a:pt x="47" y="54"/>
                  </a:lnTo>
                  <a:lnTo>
                    <a:pt x="47" y="54"/>
                  </a:lnTo>
                  <a:lnTo>
                    <a:pt x="45" y="54"/>
                  </a:lnTo>
                  <a:lnTo>
                    <a:pt x="45" y="56"/>
                  </a:lnTo>
                  <a:lnTo>
                    <a:pt x="45" y="56"/>
                  </a:lnTo>
                  <a:lnTo>
                    <a:pt x="43" y="56"/>
                  </a:lnTo>
                  <a:lnTo>
                    <a:pt x="40" y="56"/>
                  </a:lnTo>
                  <a:lnTo>
                    <a:pt x="40" y="56"/>
                  </a:lnTo>
                  <a:lnTo>
                    <a:pt x="40" y="56"/>
                  </a:lnTo>
                  <a:lnTo>
                    <a:pt x="40" y="56"/>
                  </a:lnTo>
                  <a:lnTo>
                    <a:pt x="40" y="58"/>
                  </a:lnTo>
                  <a:lnTo>
                    <a:pt x="40" y="64"/>
                  </a:lnTo>
                  <a:lnTo>
                    <a:pt x="40" y="70"/>
                  </a:lnTo>
                  <a:lnTo>
                    <a:pt x="40" y="78"/>
                  </a:lnTo>
                  <a:lnTo>
                    <a:pt x="43" y="84"/>
                  </a:lnTo>
                  <a:lnTo>
                    <a:pt x="43" y="91"/>
                  </a:lnTo>
                  <a:lnTo>
                    <a:pt x="43" y="97"/>
                  </a:lnTo>
                  <a:lnTo>
                    <a:pt x="43" y="103"/>
                  </a:lnTo>
                  <a:lnTo>
                    <a:pt x="43" y="111"/>
                  </a:lnTo>
                  <a:lnTo>
                    <a:pt x="43" y="111"/>
                  </a:lnTo>
                  <a:lnTo>
                    <a:pt x="45" y="115"/>
                  </a:lnTo>
                  <a:lnTo>
                    <a:pt x="43" y="115"/>
                  </a:lnTo>
                  <a:lnTo>
                    <a:pt x="40" y="117"/>
                  </a:lnTo>
                  <a:lnTo>
                    <a:pt x="40" y="117"/>
                  </a:lnTo>
                  <a:lnTo>
                    <a:pt x="40" y="119"/>
                  </a:lnTo>
                  <a:lnTo>
                    <a:pt x="38" y="121"/>
                  </a:lnTo>
                  <a:lnTo>
                    <a:pt x="38" y="121"/>
                  </a:lnTo>
                  <a:lnTo>
                    <a:pt x="36" y="121"/>
                  </a:lnTo>
                  <a:lnTo>
                    <a:pt x="34" y="121"/>
                  </a:lnTo>
                  <a:lnTo>
                    <a:pt x="34" y="121"/>
                  </a:lnTo>
                  <a:lnTo>
                    <a:pt x="32" y="121"/>
                  </a:lnTo>
                  <a:lnTo>
                    <a:pt x="30" y="125"/>
                  </a:lnTo>
                  <a:lnTo>
                    <a:pt x="30" y="125"/>
                  </a:lnTo>
                  <a:lnTo>
                    <a:pt x="26" y="125"/>
                  </a:lnTo>
                  <a:lnTo>
                    <a:pt x="26" y="125"/>
                  </a:lnTo>
                  <a:lnTo>
                    <a:pt x="26" y="127"/>
                  </a:lnTo>
                  <a:lnTo>
                    <a:pt x="24" y="127"/>
                  </a:lnTo>
                  <a:lnTo>
                    <a:pt x="24" y="127"/>
                  </a:lnTo>
                  <a:lnTo>
                    <a:pt x="24" y="127"/>
                  </a:lnTo>
                  <a:lnTo>
                    <a:pt x="24" y="129"/>
                  </a:lnTo>
                  <a:lnTo>
                    <a:pt x="24" y="129"/>
                  </a:lnTo>
                  <a:lnTo>
                    <a:pt x="22" y="129"/>
                  </a:lnTo>
                  <a:lnTo>
                    <a:pt x="20" y="129"/>
                  </a:lnTo>
                  <a:lnTo>
                    <a:pt x="16" y="134"/>
                  </a:lnTo>
                  <a:lnTo>
                    <a:pt x="16" y="134"/>
                  </a:lnTo>
                  <a:lnTo>
                    <a:pt x="14" y="136"/>
                  </a:lnTo>
                  <a:lnTo>
                    <a:pt x="12" y="138"/>
                  </a:lnTo>
                  <a:lnTo>
                    <a:pt x="8" y="144"/>
                  </a:lnTo>
                  <a:lnTo>
                    <a:pt x="8" y="146"/>
                  </a:lnTo>
                  <a:lnTo>
                    <a:pt x="6" y="150"/>
                  </a:lnTo>
                  <a:lnTo>
                    <a:pt x="0" y="156"/>
                  </a:lnTo>
                  <a:lnTo>
                    <a:pt x="0" y="158"/>
                  </a:lnTo>
                  <a:lnTo>
                    <a:pt x="0" y="160"/>
                  </a:lnTo>
                  <a:lnTo>
                    <a:pt x="0" y="166"/>
                  </a:lnTo>
                  <a:lnTo>
                    <a:pt x="2" y="170"/>
                  </a:lnTo>
                  <a:lnTo>
                    <a:pt x="4" y="170"/>
                  </a:lnTo>
                  <a:lnTo>
                    <a:pt x="8" y="170"/>
                  </a:lnTo>
                  <a:lnTo>
                    <a:pt x="12" y="173"/>
                  </a:lnTo>
                  <a:lnTo>
                    <a:pt x="12" y="173"/>
                  </a:lnTo>
                  <a:lnTo>
                    <a:pt x="14" y="177"/>
                  </a:lnTo>
                  <a:lnTo>
                    <a:pt x="14" y="179"/>
                  </a:lnTo>
                  <a:lnTo>
                    <a:pt x="16" y="181"/>
                  </a:lnTo>
                  <a:lnTo>
                    <a:pt x="18" y="183"/>
                  </a:lnTo>
                  <a:lnTo>
                    <a:pt x="18" y="183"/>
                  </a:lnTo>
                  <a:lnTo>
                    <a:pt x="20" y="185"/>
                  </a:lnTo>
                  <a:lnTo>
                    <a:pt x="20" y="187"/>
                  </a:lnTo>
                  <a:lnTo>
                    <a:pt x="18" y="191"/>
                  </a:lnTo>
                  <a:lnTo>
                    <a:pt x="16" y="193"/>
                  </a:lnTo>
                  <a:lnTo>
                    <a:pt x="16" y="195"/>
                  </a:lnTo>
                  <a:lnTo>
                    <a:pt x="16" y="197"/>
                  </a:lnTo>
                  <a:lnTo>
                    <a:pt x="14" y="197"/>
                  </a:lnTo>
                  <a:lnTo>
                    <a:pt x="14" y="199"/>
                  </a:lnTo>
                  <a:lnTo>
                    <a:pt x="12" y="201"/>
                  </a:lnTo>
                  <a:lnTo>
                    <a:pt x="12" y="203"/>
                  </a:lnTo>
                  <a:lnTo>
                    <a:pt x="14" y="207"/>
                  </a:lnTo>
                  <a:lnTo>
                    <a:pt x="12" y="209"/>
                  </a:lnTo>
                  <a:lnTo>
                    <a:pt x="12" y="211"/>
                  </a:lnTo>
                  <a:lnTo>
                    <a:pt x="12" y="211"/>
                  </a:lnTo>
                  <a:lnTo>
                    <a:pt x="14" y="216"/>
                  </a:lnTo>
                  <a:lnTo>
                    <a:pt x="14" y="218"/>
                  </a:lnTo>
                  <a:lnTo>
                    <a:pt x="14" y="220"/>
                  </a:lnTo>
                  <a:lnTo>
                    <a:pt x="14" y="220"/>
                  </a:lnTo>
                  <a:lnTo>
                    <a:pt x="12" y="222"/>
                  </a:lnTo>
                  <a:lnTo>
                    <a:pt x="12" y="222"/>
                  </a:lnTo>
                  <a:lnTo>
                    <a:pt x="12" y="224"/>
                  </a:lnTo>
                  <a:lnTo>
                    <a:pt x="14" y="230"/>
                  </a:lnTo>
                  <a:lnTo>
                    <a:pt x="14" y="234"/>
                  </a:lnTo>
                  <a:lnTo>
                    <a:pt x="16" y="238"/>
                  </a:lnTo>
                  <a:lnTo>
                    <a:pt x="16" y="238"/>
                  </a:lnTo>
                  <a:lnTo>
                    <a:pt x="14" y="240"/>
                  </a:lnTo>
                  <a:lnTo>
                    <a:pt x="14" y="242"/>
                  </a:lnTo>
                  <a:lnTo>
                    <a:pt x="14" y="244"/>
                  </a:lnTo>
                  <a:lnTo>
                    <a:pt x="14" y="246"/>
                  </a:lnTo>
                  <a:lnTo>
                    <a:pt x="14" y="248"/>
                  </a:lnTo>
                  <a:lnTo>
                    <a:pt x="12" y="257"/>
                  </a:lnTo>
                  <a:lnTo>
                    <a:pt x="14" y="259"/>
                  </a:lnTo>
                  <a:lnTo>
                    <a:pt x="18" y="261"/>
                  </a:lnTo>
                  <a:lnTo>
                    <a:pt x="24" y="265"/>
                  </a:lnTo>
                  <a:lnTo>
                    <a:pt x="26" y="267"/>
                  </a:lnTo>
                  <a:lnTo>
                    <a:pt x="26" y="267"/>
                  </a:lnTo>
                  <a:lnTo>
                    <a:pt x="28" y="269"/>
                  </a:lnTo>
                  <a:lnTo>
                    <a:pt x="28" y="269"/>
                  </a:lnTo>
                  <a:lnTo>
                    <a:pt x="32" y="271"/>
                  </a:lnTo>
                  <a:lnTo>
                    <a:pt x="45" y="271"/>
                  </a:lnTo>
                  <a:lnTo>
                    <a:pt x="47" y="273"/>
                  </a:lnTo>
                  <a:lnTo>
                    <a:pt x="49" y="275"/>
                  </a:lnTo>
                  <a:lnTo>
                    <a:pt x="53" y="277"/>
                  </a:lnTo>
                  <a:lnTo>
                    <a:pt x="55" y="281"/>
                  </a:lnTo>
                  <a:lnTo>
                    <a:pt x="55" y="283"/>
                  </a:lnTo>
                  <a:lnTo>
                    <a:pt x="57" y="283"/>
                  </a:lnTo>
                  <a:lnTo>
                    <a:pt x="57" y="283"/>
                  </a:lnTo>
                  <a:lnTo>
                    <a:pt x="67" y="285"/>
                  </a:lnTo>
                  <a:lnTo>
                    <a:pt x="71" y="285"/>
                  </a:lnTo>
                  <a:lnTo>
                    <a:pt x="83" y="295"/>
                  </a:lnTo>
                  <a:lnTo>
                    <a:pt x="88" y="300"/>
                  </a:lnTo>
                  <a:lnTo>
                    <a:pt x="94" y="310"/>
                  </a:lnTo>
                  <a:lnTo>
                    <a:pt x="96" y="312"/>
                  </a:lnTo>
                  <a:lnTo>
                    <a:pt x="98" y="314"/>
                  </a:lnTo>
                  <a:lnTo>
                    <a:pt x="108" y="322"/>
                  </a:lnTo>
                  <a:lnTo>
                    <a:pt x="110" y="322"/>
                  </a:lnTo>
                  <a:lnTo>
                    <a:pt x="110" y="322"/>
                  </a:lnTo>
                  <a:lnTo>
                    <a:pt x="118" y="322"/>
                  </a:lnTo>
                  <a:lnTo>
                    <a:pt x="118" y="322"/>
                  </a:lnTo>
                  <a:lnTo>
                    <a:pt x="124" y="324"/>
                  </a:lnTo>
                  <a:lnTo>
                    <a:pt x="124" y="324"/>
                  </a:lnTo>
                  <a:lnTo>
                    <a:pt x="124" y="324"/>
                  </a:lnTo>
                  <a:lnTo>
                    <a:pt x="129" y="324"/>
                  </a:lnTo>
                  <a:lnTo>
                    <a:pt x="129" y="326"/>
                  </a:lnTo>
                  <a:lnTo>
                    <a:pt x="129" y="326"/>
                  </a:lnTo>
                  <a:lnTo>
                    <a:pt x="131" y="326"/>
                  </a:lnTo>
                  <a:lnTo>
                    <a:pt x="131" y="326"/>
                  </a:lnTo>
                  <a:lnTo>
                    <a:pt x="131" y="328"/>
                  </a:lnTo>
                  <a:lnTo>
                    <a:pt x="131" y="330"/>
                  </a:lnTo>
                  <a:lnTo>
                    <a:pt x="133" y="332"/>
                  </a:lnTo>
                  <a:lnTo>
                    <a:pt x="133" y="332"/>
                  </a:lnTo>
                  <a:lnTo>
                    <a:pt x="137" y="334"/>
                  </a:lnTo>
                  <a:lnTo>
                    <a:pt x="139" y="334"/>
                  </a:lnTo>
                  <a:lnTo>
                    <a:pt x="139" y="334"/>
                  </a:lnTo>
                  <a:lnTo>
                    <a:pt x="139" y="336"/>
                  </a:lnTo>
                  <a:lnTo>
                    <a:pt x="141" y="336"/>
                  </a:lnTo>
                  <a:lnTo>
                    <a:pt x="141" y="341"/>
                  </a:lnTo>
                  <a:lnTo>
                    <a:pt x="141" y="343"/>
                  </a:lnTo>
                  <a:lnTo>
                    <a:pt x="141" y="345"/>
                  </a:lnTo>
                  <a:lnTo>
                    <a:pt x="141" y="347"/>
                  </a:lnTo>
                  <a:lnTo>
                    <a:pt x="141" y="347"/>
                  </a:lnTo>
                  <a:lnTo>
                    <a:pt x="141" y="349"/>
                  </a:lnTo>
                  <a:lnTo>
                    <a:pt x="143" y="349"/>
                  </a:lnTo>
                  <a:lnTo>
                    <a:pt x="143" y="349"/>
                  </a:lnTo>
                  <a:lnTo>
                    <a:pt x="145" y="351"/>
                  </a:lnTo>
                  <a:lnTo>
                    <a:pt x="145" y="351"/>
                  </a:lnTo>
                  <a:lnTo>
                    <a:pt x="145" y="353"/>
                  </a:lnTo>
                  <a:lnTo>
                    <a:pt x="145" y="355"/>
                  </a:lnTo>
                  <a:lnTo>
                    <a:pt x="145" y="361"/>
                  </a:lnTo>
                  <a:lnTo>
                    <a:pt x="145" y="363"/>
                  </a:lnTo>
                  <a:lnTo>
                    <a:pt x="145" y="365"/>
                  </a:lnTo>
                  <a:lnTo>
                    <a:pt x="145" y="365"/>
                  </a:lnTo>
                  <a:lnTo>
                    <a:pt x="145" y="369"/>
                  </a:lnTo>
                  <a:lnTo>
                    <a:pt x="145" y="371"/>
                  </a:lnTo>
                  <a:lnTo>
                    <a:pt x="147" y="373"/>
                  </a:lnTo>
                  <a:lnTo>
                    <a:pt x="147" y="375"/>
                  </a:lnTo>
                  <a:lnTo>
                    <a:pt x="147" y="375"/>
                  </a:lnTo>
                  <a:lnTo>
                    <a:pt x="147" y="379"/>
                  </a:lnTo>
                  <a:lnTo>
                    <a:pt x="147" y="379"/>
                  </a:lnTo>
                  <a:lnTo>
                    <a:pt x="147" y="379"/>
                  </a:lnTo>
                  <a:lnTo>
                    <a:pt x="147" y="382"/>
                  </a:lnTo>
                  <a:lnTo>
                    <a:pt x="147" y="384"/>
                  </a:lnTo>
                  <a:lnTo>
                    <a:pt x="147" y="384"/>
                  </a:lnTo>
                  <a:lnTo>
                    <a:pt x="149" y="386"/>
                  </a:lnTo>
                  <a:lnTo>
                    <a:pt x="149" y="388"/>
                  </a:lnTo>
                  <a:lnTo>
                    <a:pt x="149" y="388"/>
                  </a:lnTo>
                  <a:lnTo>
                    <a:pt x="149" y="392"/>
                  </a:lnTo>
                  <a:lnTo>
                    <a:pt x="151" y="392"/>
                  </a:lnTo>
                  <a:lnTo>
                    <a:pt x="151" y="392"/>
                  </a:lnTo>
                  <a:lnTo>
                    <a:pt x="159" y="394"/>
                  </a:lnTo>
                  <a:lnTo>
                    <a:pt x="161" y="396"/>
                  </a:lnTo>
                  <a:lnTo>
                    <a:pt x="161" y="400"/>
                  </a:lnTo>
                  <a:lnTo>
                    <a:pt x="159" y="404"/>
                  </a:lnTo>
                  <a:lnTo>
                    <a:pt x="157" y="410"/>
                  </a:lnTo>
                  <a:lnTo>
                    <a:pt x="155" y="414"/>
                  </a:lnTo>
                  <a:lnTo>
                    <a:pt x="157" y="420"/>
                  </a:lnTo>
                  <a:lnTo>
                    <a:pt x="157" y="425"/>
                  </a:lnTo>
                  <a:lnTo>
                    <a:pt x="157" y="429"/>
                  </a:lnTo>
                  <a:lnTo>
                    <a:pt x="157" y="431"/>
                  </a:lnTo>
                  <a:lnTo>
                    <a:pt x="159" y="431"/>
                  </a:lnTo>
                  <a:lnTo>
                    <a:pt x="159" y="437"/>
                  </a:lnTo>
                  <a:lnTo>
                    <a:pt x="159" y="439"/>
                  </a:lnTo>
                  <a:lnTo>
                    <a:pt x="161" y="439"/>
                  </a:lnTo>
                  <a:lnTo>
                    <a:pt x="163" y="443"/>
                  </a:lnTo>
                  <a:lnTo>
                    <a:pt x="163" y="443"/>
                  </a:lnTo>
                  <a:lnTo>
                    <a:pt x="165" y="445"/>
                  </a:lnTo>
                  <a:lnTo>
                    <a:pt x="165" y="451"/>
                  </a:lnTo>
                  <a:lnTo>
                    <a:pt x="165" y="451"/>
                  </a:lnTo>
                  <a:lnTo>
                    <a:pt x="169" y="457"/>
                  </a:lnTo>
                  <a:lnTo>
                    <a:pt x="169" y="459"/>
                  </a:lnTo>
                  <a:lnTo>
                    <a:pt x="172" y="459"/>
                  </a:lnTo>
                  <a:lnTo>
                    <a:pt x="176" y="461"/>
                  </a:lnTo>
                  <a:lnTo>
                    <a:pt x="190" y="461"/>
                  </a:lnTo>
                  <a:lnTo>
                    <a:pt x="194" y="464"/>
                  </a:lnTo>
                  <a:lnTo>
                    <a:pt x="196" y="464"/>
                  </a:lnTo>
                  <a:lnTo>
                    <a:pt x="198" y="464"/>
                  </a:lnTo>
                  <a:lnTo>
                    <a:pt x="198" y="466"/>
                  </a:lnTo>
                  <a:lnTo>
                    <a:pt x="200" y="470"/>
                  </a:lnTo>
                  <a:lnTo>
                    <a:pt x="202" y="472"/>
                  </a:lnTo>
                  <a:lnTo>
                    <a:pt x="204" y="474"/>
                  </a:lnTo>
                  <a:lnTo>
                    <a:pt x="204" y="476"/>
                  </a:lnTo>
                  <a:lnTo>
                    <a:pt x="204" y="476"/>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19" y="478"/>
                  </a:lnTo>
                  <a:lnTo>
                    <a:pt x="233" y="476"/>
                  </a:lnTo>
                  <a:lnTo>
                    <a:pt x="247" y="476"/>
                  </a:lnTo>
                  <a:lnTo>
                    <a:pt x="262" y="474"/>
                  </a:lnTo>
                  <a:lnTo>
                    <a:pt x="276" y="474"/>
                  </a:lnTo>
                  <a:lnTo>
                    <a:pt x="290" y="472"/>
                  </a:lnTo>
                  <a:lnTo>
                    <a:pt x="305" y="470"/>
                  </a:lnTo>
                  <a:lnTo>
                    <a:pt x="319" y="470"/>
                  </a:lnTo>
                  <a:lnTo>
                    <a:pt x="333" y="468"/>
                  </a:lnTo>
                  <a:lnTo>
                    <a:pt x="348" y="468"/>
                  </a:lnTo>
                  <a:lnTo>
                    <a:pt x="362" y="466"/>
                  </a:lnTo>
                  <a:lnTo>
                    <a:pt x="376" y="464"/>
                  </a:lnTo>
                  <a:lnTo>
                    <a:pt x="391" y="464"/>
                  </a:lnTo>
                  <a:lnTo>
                    <a:pt x="405" y="461"/>
                  </a:lnTo>
                  <a:lnTo>
                    <a:pt x="419" y="459"/>
                  </a:lnTo>
                  <a:lnTo>
                    <a:pt x="434" y="459"/>
                  </a:lnTo>
                  <a:lnTo>
                    <a:pt x="432" y="451"/>
                  </a:lnTo>
                  <a:lnTo>
                    <a:pt x="432" y="449"/>
                  </a:lnTo>
                  <a:lnTo>
                    <a:pt x="434" y="447"/>
                  </a:lnTo>
                  <a:lnTo>
                    <a:pt x="434" y="447"/>
                  </a:lnTo>
                  <a:lnTo>
                    <a:pt x="432" y="445"/>
                  </a:lnTo>
                  <a:lnTo>
                    <a:pt x="432" y="443"/>
                  </a:lnTo>
                  <a:lnTo>
                    <a:pt x="432" y="443"/>
                  </a:lnTo>
                  <a:lnTo>
                    <a:pt x="432" y="441"/>
                  </a:lnTo>
                  <a:lnTo>
                    <a:pt x="432" y="439"/>
                  </a:lnTo>
                  <a:lnTo>
                    <a:pt x="434" y="437"/>
                  </a:lnTo>
                  <a:lnTo>
                    <a:pt x="434" y="429"/>
                  </a:lnTo>
                  <a:lnTo>
                    <a:pt x="434" y="427"/>
                  </a:lnTo>
                  <a:lnTo>
                    <a:pt x="432" y="425"/>
                  </a:lnTo>
                  <a:lnTo>
                    <a:pt x="428" y="420"/>
                  </a:lnTo>
                  <a:lnTo>
                    <a:pt x="428" y="418"/>
                  </a:lnTo>
                  <a:lnTo>
                    <a:pt x="428" y="418"/>
                  </a:lnTo>
                  <a:lnTo>
                    <a:pt x="426" y="410"/>
                  </a:lnTo>
                  <a:lnTo>
                    <a:pt x="426" y="408"/>
                  </a:lnTo>
                  <a:lnTo>
                    <a:pt x="423" y="406"/>
                  </a:lnTo>
                  <a:lnTo>
                    <a:pt x="421" y="404"/>
                  </a:lnTo>
                  <a:lnTo>
                    <a:pt x="419" y="404"/>
                  </a:lnTo>
                  <a:lnTo>
                    <a:pt x="419" y="402"/>
                  </a:lnTo>
                  <a:lnTo>
                    <a:pt x="421" y="398"/>
                  </a:lnTo>
                  <a:lnTo>
                    <a:pt x="421" y="396"/>
                  </a:lnTo>
                  <a:lnTo>
                    <a:pt x="421" y="396"/>
                  </a:lnTo>
                  <a:lnTo>
                    <a:pt x="421" y="396"/>
                  </a:lnTo>
                  <a:lnTo>
                    <a:pt x="419" y="394"/>
                  </a:lnTo>
                  <a:lnTo>
                    <a:pt x="419" y="392"/>
                  </a:lnTo>
                  <a:lnTo>
                    <a:pt x="419" y="390"/>
                  </a:lnTo>
                  <a:lnTo>
                    <a:pt x="419" y="390"/>
                  </a:lnTo>
                  <a:lnTo>
                    <a:pt x="419" y="388"/>
                  </a:lnTo>
                  <a:lnTo>
                    <a:pt x="419" y="384"/>
                  </a:lnTo>
                  <a:lnTo>
                    <a:pt x="417" y="384"/>
                  </a:lnTo>
                  <a:lnTo>
                    <a:pt x="417" y="382"/>
                  </a:lnTo>
                  <a:lnTo>
                    <a:pt x="417" y="377"/>
                  </a:lnTo>
                  <a:lnTo>
                    <a:pt x="417" y="369"/>
                  </a:lnTo>
                  <a:lnTo>
                    <a:pt x="417" y="367"/>
                  </a:lnTo>
                  <a:lnTo>
                    <a:pt x="421" y="357"/>
                  </a:lnTo>
                  <a:lnTo>
                    <a:pt x="423" y="351"/>
                  </a:lnTo>
                  <a:lnTo>
                    <a:pt x="421" y="349"/>
                  </a:lnTo>
                  <a:lnTo>
                    <a:pt x="421" y="347"/>
                  </a:lnTo>
                  <a:lnTo>
                    <a:pt x="423" y="345"/>
                  </a:lnTo>
                  <a:lnTo>
                    <a:pt x="426" y="334"/>
                  </a:lnTo>
                  <a:lnTo>
                    <a:pt x="428" y="330"/>
                  </a:lnTo>
                  <a:lnTo>
                    <a:pt x="428" y="328"/>
                  </a:lnTo>
                  <a:lnTo>
                    <a:pt x="428" y="328"/>
                  </a:lnTo>
                  <a:lnTo>
                    <a:pt x="428" y="328"/>
                  </a:lnTo>
                  <a:lnTo>
                    <a:pt x="428" y="326"/>
                  </a:lnTo>
                  <a:lnTo>
                    <a:pt x="428" y="326"/>
                  </a:lnTo>
                  <a:lnTo>
                    <a:pt x="428" y="324"/>
                  </a:lnTo>
                  <a:lnTo>
                    <a:pt x="428" y="324"/>
                  </a:lnTo>
                  <a:lnTo>
                    <a:pt x="428" y="322"/>
                  </a:lnTo>
                  <a:lnTo>
                    <a:pt x="426" y="320"/>
                  </a:lnTo>
                  <a:lnTo>
                    <a:pt x="426" y="320"/>
                  </a:lnTo>
                  <a:lnTo>
                    <a:pt x="423" y="318"/>
                  </a:lnTo>
                  <a:lnTo>
                    <a:pt x="423" y="316"/>
                  </a:lnTo>
                  <a:lnTo>
                    <a:pt x="423" y="308"/>
                  </a:lnTo>
                  <a:lnTo>
                    <a:pt x="423" y="306"/>
                  </a:lnTo>
                  <a:lnTo>
                    <a:pt x="426" y="304"/>
                  </a:lnTo>
                  <a:lnTo>
                    <a:pt x="426" y="304"/>
                  </a:lnTo>
                  <a:lnTo>
                    <a:pt x="426" y="300"/>
                  </a:lnTo>
                  <a:lnTo>
                    <a:pt x="426" y="298"/>
                  </a:lnTo>
                  <a:lnTo>
                    <a:pt x="428" y="287"/>
                  </a:lnTo>
                  <a:lnTo>
                    <a:pt x="430" y="287"/>
                  </a:lnTo>
                  <a:lnTo>
                    <a:pt x="430" y="285"/>
                  </a:lnTo>
                  <a:lnTo>
                    <a:pt x="436" y="283"/>
                  </a:lnTo>
                  <a:lnTo>
                    <a:pt x="436" y="281"/>
                  </a:lnTo>
                  <a:lnTo>
                    <a:pt x="438" y="279"/>
                  </a:lnTo>
                  <a:lnTo>
                    <a:pt x="438" y="277"/>
                  </a:lnTo>
                  <a:lnTo>
                    <a:pt x="438" y="275"/>
                  </a:lnTo>
                  <a:lnTo>
                    <a:pt x="438" y="273"/>
                  </a:lnTo>
                  <a:lnTo>
                    <a:pt x="434" y="269"/>
                  </a:lnTo>
                  <a:lnTo>
                    <a:pt x="434" y="265"/>
                  </a:lnTo>
                  <a:lnTo>
                    <a:pt x="434" y="265"/>
                  </a:lnTo>
                  <a:lnTo>
                    <a:pt x="434" y="263"/>
                  </a:lnTo>
                  <a:lnTo>
                    <a:pt x="434" y="261"/>
                  </a:lnTo>
                  <a:lnTo>
                    <a:pt x="434" y="259"/>
                  </a:lnTo>
                  <a:lnTo>
                    <a:pt x="434" y="257"/>
                  </a:lnTo>
                  <a:lnTo>
                    <a:pt x="434" y="254"/>
                  </a:lnTo>
                  <a:lnTo>
                    <a:pt x="436" y="242"/>
                  </a:lnTo>
                  <a:lnTo>
                    <a:pt x="436" y="238"/>
                  </a:lnTo>
                  <a:lnTo>
                    <a:pt x="438" y="234"/>
                  </a:lnTo>
                  <a:lnTo>
                    <a:pt x="442" y="228"/>
                  </a:lnTo>
                  <a:lnTo>
                    <a:pt x="442" y="226"/>
                  </a:lnTo>
                  <a:lnTo>
                    <a:pt x="442" y="224"/>
                  </a:lnTo>
                  <a:lnTo>
                    <a:pt x="444" y="224"/>
                  </a:lnTo>
                  <a:lnTo>
                    <a:pt x="444" y="224"/>
                  </a:lnTo>
                  <a:lnTo>
                    <a:pt x="444" y="222"/>
                  </a:lnTo>
                  <a:lnTo>
                    <a:pt x="444" y="213"/>
                  </a:lnTo>
                  <a:lnTo>
                    <a:pt x="444" y="211"/>
                  </a:lnTo>
                  <a:lnTo>
                    <a:pt x="444" y="211"/>
                  </a:lnTo>
                  <a:close/>
                  <a:moveTo>
                    <a:pt x="157" y="19"/>
                  </a:moveTo>
                  <a:lnTo>
                    <a:pt x="159" y="19"/>
                  </a:lnTo>
                  <a:lnTo>
                    <a:pt x="159" y="19"/>
                  </a:lnTo>
                  <a:lnTo>
                    <a:pt x="159" y="17"/>
                  </a:lnTo>
                  <a:lnTo>
                    <a:pt x="159" y="15"/>
                  </a:lnTo>
                  <a:lnTo>
                    <a:pt x="157" y="15"/>
                  </a:lnTo>
                  <a:lnTo>
                    <a:pt x="157" y="15"/>
                  </a:lnTo>
                  <a:lnTo>
                    <a:pt x="155" y="15"/>
                  </a:lnTo>
                  <a:lnTo>
                    <a:pt x="155" y="15"/>
                  </a:lnTo>
                  <a:lnTo>
                    <a:pt x="155" y="15"/>
                  </a:lnTo>
                  <a:lnTo>
                    <a:pt x="155" y="17"/>
                  </a:lnTo>
                  <a:lnTo>
                    <a:pt x="155" y="17"/>
                  </a:lnTo>
                  <a:lnTo>
                    <a:pt x="157" y="19"/>
                  </a:lnTo>
                  <a:lnTo>
                    <a:pt x="157" y="19"/>
                  </a:lnTo>
                  <a:close/>
                  <a:moveTo>
                    <a:pt x="182" y="4"/>
                  </a:moveTo>
                  <a:lnTo>
                    <a:pt x="182" y="2"/>
                  </a:lnTo>
                  <a:lnTo>
                    <a:pt x="182" y="2"/>
                  </a:lnTo>
                  <a:lnTo>
                    <a:pt x="182" y="0"/>
                  </a:lnTo>
                  <a:lnTo>
                    <a:pt x="182" y="0"/>
                  </a:lnTo>
                  <a:lnTo>
                    <a:pt x="182" y="0"/>
                  </a:lnTo>
                  <a:lnTo>
                    <a:pt x="180" y="0"/>
                  </a:lnTo>
                  <a:lnTo>
                    <a:pt x="178" y="2"/>
                  </a:lnTo>
                  <a:lnTo>
                    <a:pt x="178" y="7"/>
                  </a:lnTo>
                  <a:lnTo>
                    <a:pt x="178" y="9"/>
                  </a:lnTo>
                  <a:lnTo>
                    <a:pt x="180" y="7"/>
                  </a:lnTo>
                  <a:lnTo>
                    <a:pt x="182" y="4"/>
                  </a:lnTo>
                  <a:close/>
                  <a:moveTo>
                    <a:pt x="475" y="150"/>
                  </a:moveTo>
                  <a:lnTo>
                    <a:pt x="475" y="150"/>
                  </a:lnTo>
                  <a:lnTo>
                    <a:pt x="475" y="148"/>
                  </a:lnTo>
                  <a:lnTo>
                    <a:pt x="475" y="146"/>
                  </a:lnTo>
                  <a:lnTo>
                    <a:pt x="473" y="144"/>
                  </a:lnTo>
                  <a:lnTo>
                    <a:pt x="473" y="144"/>
                  </a:lnTo>
                  <a:lnTo>
                    <a:pt x="471" y="146"/>
                  </a:lnTo>
                  <a:lnTo>
                    <a:pt x="469" y="146"/>
                  </a:lnTo>
                  <a:lnTo>
                    <a:pt x="469" y="144"/>
                  </a:lnTo>
                  <a:lnTo>
                    <a:pt x="466" y="144"/>
                  </a:lnTo>
                  <a:lnTo>
                    <a:pt x="466" y="144"/>
                  </a:lnTo>
                  <a:lnTo>
                    <a:pt x="466" y="146"/>
                  </a:lnTo>
                  <a:lnTo>
                    <a:pt x="466" y="148"/>
                  </a:lnTo>
                  <a:lnTo>
                    <a:pt x="466" y="150"/>
                  </a:lnTo>
                  <a:lnTo>
                    <a:pt x="466" y="152"/>
                  </a:lnTo>
                  <a:lnTo>
                    <a:pt x="466" y="152"/>
                  </a:lnTo>
                  <a:lnTo>
                    <a:pt x="466" y="152"/>
                  </a:lnTo>
                  <a:lnTo>
                    <a:pt x="469" y="152"/>
                  </a:lnTo>
                  <a:lnTo>
                    <a:pt x="469" y="152"/>
                  </a:lnTo>
                  <a:lnTo>
                    <a:pt x="475" y="152"/>
                  </a:lnTo>
                  <a:lnTo>
                    <a:pt x="475" y="152"/>
                  </a:lnTo>
                  <a:lnTo>
                    <a:pt x="475" y="150"/>
                  </a:lnTo>
                  <a:close/>
                  <a:moveTo>
                    <a:pt x="466" y="162"/>
                  </a:moveTo>
                  <a:lnTo>
                    <a:pt x="464" y="160"/>
                  </a:lnTo>
                  <a:lnTo>
                    <a:pt x="466" y="160"/>
                  </a:lnTo>
                  <a:lnTo>
                    <a:pt x="466" y="158"/>
                  </a:lnTo>
                  <a:lnTo>
                    <a:pt x="464" y="158"/>
                  </a:lnTo>
                  <a:lnTo>
                    <a:pt x="462" y="158"/>
                  </a:lnTo>
                  <a:lnTo>
                    <a:pt x="460" y="158"/>
                  </a:lnTo>
                  <a:lnTo>
                    <a:pt x="460" y="158"/>
                  </a:lnTo>
                  <a:lnTo>
                    <a:pt x="458" y="158"/>
                  </a:lnTo>
                  <a:lnTo>
                    <a:pt x="458" y="158"/>
                  </a:lnTo>
                  <a:lnTo>
                    <a:pt x="458" y="158"/>
                  </a:lnTo>
                  <a:lnTo>
                    <a:pt x="458" y="160"/>
                  </a:lnTo>
                  <a:lnTo>
                    <a:pt x="458" y="160"/>
                  </a:lnTo>
                  <a:lnTo>
                    <a:pt x="458" y="162"/>
                  </a:lnTo>
                  <a:lnTo>
                    <a:pt x="456" y="162"/>
                  </a:lnTo>
                  <a:lnTo>
                    <a:pt x="456" y="162"/>
                  </a:lnTo>
                  <a:lnTo>
                    <a:pt x="456" y="162"/>
                  </a:lnTo>
                  <a:lnTo>
                    <a:pt x="456" y="166"/>
                  </a:lnTo>
                  <a:lnTo>
                    <a:pt x="454" y="168"/>
                  </a:lnTo>
                  <a:lnTo>
                    <a:pt x="454" y="170"/>
                  </a:lnTo>
                  <a:lnTo>
                    <a:pt x="452" y="170"/>
                  </a:lnTo>
                  <a:lnTo>
                    <a:pt x="452" y="173"/>
                  </a:lnTo>
                  <a:lnTo>
                    <a:pt x="452" y="173"/>
                  </a:lnTo>
                  <a:lnTo>
                    <a:pt x="450" y="173"/>
                  </a:lnTo>
                  <a:lnTo>
                    <a:pt x="448" y="173"/>
                  </a:lnTo>
                  <a:lnTo>
                    <a:pt x="448" y="173"/>
                  </a:lnTo>
                  <a:lnTo>
                    <a:pt x="446" y="175"/>
                  </a:lnTo>
                  <a:lnTo>
                    <a:pt x="446" y="175"/>
                  </a:lnTo>
                  <a:lnTo>
                    <a:pt x="446" y="177"/>
                  </a:lnTo>
                  <a:lnTo>
                    <a:pt x="446" y="181"/>
                  </a:lnTo>
                  <a:lnTo>
                    <a:pt x="446" y="183"/>
                  </a:lnTo>
                  <a:lnTo>
                    <a:pt x="444" y="183"/>
                  </a:lnTo>
                  <a:lnTo>
                    <a:pt x="444" y="185"/>
                  </a:lnTo>
                  <a:lnTo>
                    <a:pt x="444" y="185"/>
                  </a:lnTo>
                  <a:lnTo>
                    <a:pt x="444" y="185"/>
                  </a:lnTo>
                  <a:lnTo>
                    <a:pt x="444" y="187"/>
                  </a:lnTo>
                  <a:lnTo>
                    <a:pt x="444" y="187"/>
                  </a:lnTo>
                  <a:lnTo>
                    <a:pt x="444" y="187"/>
                  </a:lnTo>
                  <a:lnTo>
                    <a:pt x="440" y="193"/>
                  </a:lnTo>
                  <a:lnTo>
                    <a:pt x="438" y="195"/>
                  </a:lnTo>
                  <a:lnTo>
                    <a:pt x="438" y="201"/>
                  </a:lnTo>
                  <a:lnTo>
                    <a:pt x="438" y="205"/>
                  </a:lnTo>
                  <a:lnTo>
                    <a:pt x="440" y="207"/>
                  </a:lnTo>
                  <a:lnTo>
                    <a:pt x="444" y="211"/>
                  </a:lnTo>
                  <a:lnTo>
                    <a:pt x="446" y="209"/>
                  </a:lnTo>
                  <a:lnTo>
                    <a:pt x="448" y="209"/>
                  </a:lnTo>
                  <a:lnTo>
                    <a:pt x="452" y="203"/>
                  </a:lnTo>
                  <a:lnTo>
                    <a:pt x="452" y="203"/>
                  </a:lnTo>
                  <a:lnTo>
                    <a:pt x="452" y="201"/>
                  </a:lnTo>
                  <a:lnTo>
                    <a:pt x="452" y="199"/>
                  </a:lnTo>
                  <a:lnTo>
                    <a:pt x="452" y="199"/>
                  </a:lnTo>
                  <a:lnTo>
                    <a:pt x="454" y="197"/>
                  </a:lnTo>
                  <a:lnTo>
                    <a:pt x="454" y="197"/>
                  </a:lnTo>
                  <a:lnTo>
                    <a:pt x="452" y="195"/>
                  </a:lnTo>
                  <a:lnTo>
                    <a:pt x="454" y="191"/>
                  </a:lnTo>
                  <a:lnTo>
                    <a:pt x="456" y="187"/>
                  </a:lnTo>
                  <a:lnTo>
                    <a:pt x="456" y="183"/>
                  </a:lnTo>
                  <a:lnTo>
                    <a:pt x="458" y="183"/>
                  </a:lnTo>
                  <a:lnTo>
                    <a:pt x="458" y="183"/>
                  </a:lnTo>
                  <a:lnTo>
                    <a:pt x="458" y="183"/>
                  </a:lnTo>
                  <a:lnTo>
                    <a:pt x="460" y="183"/>
                  </a:lnTo>
                  <a:lnTo>
                    <a:pt x="460" y="183"/>
                  </a:lnTo>
                  <a:lnTo>
                    <a:pt x="460" y="183"/>
                  </a:lnTo>
                  <a:lnTo>
                    <a:pt x="460" y="181"/>
                  </a:lnTo>
                  <a:lnTo>
                    <a:pt x="460" y="181"/>
                  </a:lnTo>
                  <a:lnTo>
                    <a:pt x="460" y="179"/>
                  </a:lnTo>
                  <a:lnTo>
                    <a:pt x="460" y="179"/>
                  </a:lnTo>
                  <a:lnTo>
                    <a:pt x="462" y="179"/>
                  </a:lnTo>
                  <a:lnTo>
                    <a:pt x="462" y="179"/>
                  </a:lnTo>
                  <a:lnTo>
                    <a:pt x="462" y="177"/>
                  </a:lnTo>
                  <a:lnTo>
                    <a:pt x="460" y="175"/>
                  </a:lnTo>
                  <a:lnTo>
                    <a:pt x="458" y="173"/>
                  </a:lnTo>
                  <a:lnTo>
                    <a:pt x="460" y="173"/>
                  </a:lnTo>
                  <a:lnTo>
                    <a:pt x="460" y="173"/>
                  </a:lnTo>
                  <a:lnTo>
                    <a:pt x="462" y="175"/>
                  </a:lnTo>
                  <a:lnTo>
                    <a:pt x="462" y="173"/>
                  </a:lnTo>
                  <a:lnTo>
                    <a:pt x="462" y="170"/>
                  </a:lnTo>
                  <a:lnTo>
                    <a:pt x="460" y="170"/>
                  </a:lnTo>
                  <a:lnTo>
                    <a:pt x="460" y="168"/>
                  </a:lnTo>
                  <a:lnTo>
                    <a:pt x="462" y="166"/>
                  </a:lnTo>
                  <a:lnTo>
                    <a:pt x="462" y="164"/>
                  </a:lnTo>
                  <a:lnTo>
                    <a:pt x="460" y="164"/>
                  </a:lnTo>
                  <a:lnTo>
                    <a:pt x="460" y="164"/>
                  </a:lnTo>
                  <a:lnTo>
                    <a:pt x="462" y="164"/>
                  </a:lnTo>
                  <a:lnTo>
                    <a:pt x="462" y="164"/>
                  </a:lnTo>
                  <a:lnTo>
                    <a:pt x="466" y="166"/>
                  </a:lnTo>
                  <a:lnTo>
                    <a:pt x="466" y="162"/>
                  </a:lnTo>
                  <a:lnTo>
                    <a:pt x="466" y="162"/>
                  </a:lnTo>
                  <a:lnTo>
                    <a:pt x="466" y="162"/>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I</a:t>
              </a:r>
            </a:p>
          </p:txBody>
        </p:sp>
        <p:sp>
          <p:nvSpPr>
            <p:cNvPr id="246" name="Freeform 8">
              <a:extLst>
                <a:ext uri="{FF2B5EF4-FFF2-40B4-BE49-F238E27FC236}">
                  <a16:creationId xmlns:a16="http://schemas.microsoft.com/office/drawing/2014/main" id="{2ABC242E-AA86-6F62-EE4A-F28579CB7D45}"/>
                </a:ext>
              </a:extLst>
            </p:cNvPr>
            <p:cNvSpPr>
              <a:spLocks noEditPoints="1"/>
            </p:cNvSpPr>
            <p:nvPr/>
          </p:nvSpPr>
          <p:spPr bwMode="auto">
            <a:xfrm>
              <a:off x="860" y="0"/>
              <a:ext cx="587" cy="387"/>
            </a:xfrm>
            <a:custGeom>
              <a:avLst/>
              <a:gdLst>
                <a:gd name="T0" fmla="*/ 147 w 587"/>
                <a:gd name="T1" fmla="*/ 57 h 387"/>
                <a:gd name="T2" fmla="*/ 137 w 587"/>
                <a:gd name="T3" fmla="*/ 37 h 387"/>
                <a:gd name="T4" fmla="*/ 149 w 587"/>
                <a:gd name="T5" fmla="*/ 35 h 387"/>
                <a:gd name="T6" fmla="*/ 149 w 587"/>
                <a:gd name="T7" fmla="*/ 94 h 387"/>
                <a:gd name="T8" fmla="*/ 149 w 587"/>
                <a:gd name="T9" fmla="*/ 27 h 387"/>
                <a:gd name="T10" fmla="*/ 143 w 587"/>
                <a:gd name="T11" fmla="*/ 43 h 387"/>
                <a:gd name="T12" fmla="*/ 149 w 587"/>
                <a:gd name="T13" fmla="*/ 78 h 387"/>
                <a:gd name="T14" fmla="*/ 166 w 587"/>
                <a:gd name="T15" fmla="*/ 111 h 387"/>
                <a:gd name="T16" fmla="*/ 161 w 587"/>
                <a:gd name="T17" fmla="*/ 103 h 387"/>
                <a:gd name="T18" fmla="*/ 163 w 587"/>
                <a:gd name="T19" fmla="*/ 76 h 387"/>
                <a:gd name="T20" fmla="*/ 163 w 587"/>
                <a:gd name="T21" fmla="*/ 35 h 387"/>
                <a:gd name="T22" fmla="*/ 161 w 587"/>
                <a:gd name="T23" fmla="*/ 43 h 387"/>
                <a:gd name="T24" fmla="*/ 159 w 587"/>
                <a:gd name="T25" fmla="*/ 172 h 387"/>
                <a:gd name="T26" fmla="*/ 149 w 587"/>
                <a:gd name="T27" fmla="*/ 174 h 387"/>
                <a:gd name="T28" fmla="*/ 155 w 587"/>
                <a:gd name="T29" fmla="*/ 146 h 387"/>
                <a:gd name="T30" fmla="*/ 127 w 587"/>
                <a:gd name="T31" fmla="*/ 191 h 387"/>
                <a:gd name="T32" fmla="*/ 114 w 587"/>
                <a:gd name="T33" fmla="*/ 180 h 387"/>
                <a:gd name="T34" fmla="*/ 20 w 587"/>
                <a:gd name="T35" fmla="*/ 234 h 387"/>
                <a:gd name="T36" fmla="*/ 139 w 587"/>
                <a:gd name="T37" fmla="*/ 27 h 387"/>
                <a:gd name="T38" fmla="*/ 133 w 587"/>
                <a:gd name="T39" fmla="*/ 55 h 387"/>
                <a:gd name="T40" fmla="*/ 546 w 587"/>
                <a:gd name="T41" fmla="*/ 76 h 387"/>
                <a:gd name="T42" fmla="*/ 166 w 587"/>
                <a:gd name="T43" fmla="*/ 6 h 387"/>
                <a:gd name="T44" fmla="*/ 166 w 587"/>
                <a:gd name="T45" fmla="*/ 33 h 387"/>
                <a:gd name="T46" fmla="*/ 172 w 587"/>
                <a:gd name="T47" fmla="*/ 47 h 387"/>
                <a:gd name="T48" fmla="*/ 157 w 587"/>
                <a:gd name="T49" fmla="*/ 55 h 387"/>
                <a:gd name="T50" fmla="*/ 172 w 587"/>
                <a:gd name="T51" fmla="*/ 72 h 387"/>
                <a:gd name="T52" fmla="*/ 174 w 587"/>
                <a:gd name="T53" fmla="*/ 105 h 387"/>
                <a:gd name="T54" fmla="*/ 182 w 587"/>
                <a:gd name="T55" fmla="*/ 109 h 387"/>
                <a:gd name="T56" fmla="*/ 166 w 587"/>
                <a:gd name="T57" fmla="*/ 129 h 387"/>
                <a:gd name="T58" fmla="*/ 161 w 587"/>
                <a:gd name="T59" fmla="*/ 152 h 387"/>
                <a:gd name="T60" fmla="*/ 147 w 587"/>
                <a:gd name="T61" fmla="*/ 178 h 387"/>
                <a:gd name="T62" fmla="*/ 114 w 587"/>
                <a:gd name="T63" fmla="*/ 189 h 387"/>
                <a:gd name="T64" fmla="*/ 110 w 587"/>
                <a:gd name="T65" fmla="*/ 187 h 387"/>
                <a:gd name="T66" fmla="*/ 127 w 587"/>
                <a:gd name="T67" fmla="*/ 164 h 387"/>
                <a:gd name="T68" fmla="*/ 129 w 587"/>
                <a:gd name="T69" fmla="*/ 178 h 387"/>
                <a:gd name="T70" fmla="*/ 143 w 587"/>
                <a:gd name="T71" fmla="*/ 178 h 387"/>
                <a:gd name="T72" fmla="*/ 143 w 587"/>
                <a:gd name="T73" fmla="*/ 148 h 387"/>
                <a:gd name="T74" fmla="*/ 157 w 587"/>
                <a:gd name="T75" fmla="*/ 135 h 387"/>
                <a:gd name="T76" fmla="*/ 151 w 587"/>
                <a:gd name="T77" fmla="*/ 123 h 387"/>
                <a:gd name="T78" fmla="*/ 125 w 587"/>
                <a:gd name="T79" fmla="*/ 160 h 387"/>
                <a:gd name="T80" fmla="*/ 133 w 587"/>
                <a:gd name="T81" fmla="*/ 119 h 387"/>
                <a:gd name="T82" fmla="*/ 147 w 587"/>
                <a:gd name="T83" fmla="*/ 119 h 387"/>
                <a:gd name="T84" fmla="*/ 137 w 587"/>
                <a:gd name="T85" fmla="*/ 92 h 387"/>
                <a:gd name="T86" fmla="*/ 123 w 587"/>
                <a:gd name="T87" fmla="*/ 88 h 387"/>
                <a:gd name="T88" fmla="*/ 69 w 587"/>
                <a:gd name="T89" fmla="*/ 72 h 387"/>
                <a:gd name="T90" fmla="*/ 6 w 587"/>
                <a:gd name="T91" fmla="*/ 49 h 387"/>
                <a:gd name="T92" fmla="*/ 14 w 587"/>
                <a:gd name="T93" fmla="*/ 103 h 387"/>
                <a:gd name="T94" fmla="*/ 14 w 587"/>
                <a:gd name="T95" fmla="*/ 189 h 387"/>
                <a:gd name="T96" fmla="*/ 32 w 587"/>
                <a:gd name="T97" fmla="*/ 189 h 387"/>
                <a:gd name="T98" fmla="*/ 16 w 587"/>
                <a:gd name="T99" fmla="*/ 195 h 387"/>
                <a:gd name="T100" fmla="*/ 37 w 587"/>
                <a:gd name="T101" fmla="*/ 223 h 387"/>
                <a:gd name="T102" fmla="*/ 22 w 587"/>
                <a:gd name="T103" fmla="*/ 240 h 387"/>
                <a:gd name="T104" fmla="*/ 16 w 587"/>
                <a:gd name="T105" fmla="*/ 221 h 387"/>
                <a:gd name="T106" fmla="*/ 14 w 587"/>
                <a:gd name="T107" fmla="*/ 256 h 387"/>
                <a:gd name="T108" fmla="*/ 63 w 587"/>
                <a:gd name="T109" fmla="*/ 281 h 387"/>
                <a:gd name="T110" fmla="*/ 96 w 587"/>
                <a:gd name="T111" fmla="*/ 322 h 387"/>
                <a:gd name="T112" fmla="*/ 163 w 587"/>
                <a:gd name="T113" fmla="*/ 351 h 387"/>
                <a:gd name="T114" fmla="*/ 245 w 587"/>
                <a:gd name="T115" fmla="*/ 369 h 387"/>
                <a:gd name="T116" fmla="*/ 340 w 587"/>
                <a:gd name="T117" fmla="*/ 363 h 387"/>
                <a:gd name="T118" fmla="*/ 553 w 587"/>
                <a:gd name="T119" fmla="*/ 387 h 387"/>
                <a:gd name="T120" fmla="*/ 573 w 587"/>
                <a:gd name="T121" fmla="*/ 178 h 387"/>
                <a:gd name="T122" fmla="*/ 127 w 587"/>
                <a:gd name="T123" fmla="*/ 2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7" h="387">
                  <a:moveTo>
                    <a:pt x="151" y="51"/>
                  </a:moveTo>
                  <a:lnTo>
                    <a:pt x="149" y="51"/>
                  </a:lnTo>
                  <a:lnTo>
                    <a:pt x="149" y="51"/>
                  </a:lnTo>
                  <a:lnTo>
                    <a:pt x="147" y="51"/>
                  </a:lnTo>
                  <a:lnTo>
                    <a:pt x="147" y="51"/>
                  </a:lnTo>
                  <a:lnTo>
                    <a:pt x="149" y="51"/>
                  </a:lnTo>
                  <a:lnTo>
                    <a:pt x="149" y="53"/>
                  </a:lnTo>
                  <a:lnTo>
                    <a:pt x="149" y="53"/>
                  </a:lnTo>
                  <a:lnTo>
                    <a:pt x="149" y="53"/>
                  </a:lnTo>
                  <a:lnTo>
                    <a:pt x="149" y="55"/>
                  </a:lnTo>
                  <a:lnTo>
                    <a:pt x="149" y="55"/>
                  </a:lnTo>
                  <a:lnTo>
                    <a:pt x="149" y="55"/>
                  </a:lnTo>
                  <a:lnTo>
                    <a:pt x="149" y="53"/>
                  </a:lnTo>
                  <a:lnTo>
                    <a:pt x="151" y="53"/>
                  </a:lnTo>
                  <a:lnTo>
                    <a:pt x="151" y="53"/>
                  </a:lnTo>
                  <a:lnTo>
                    <a:pt x="151" y="51"/>
                  </a:lnTo>
                  <a:lnTo>
                    <a:pt x="151" y="51"/>
                  </a:lnTo>
                  <a:lnTo>
                    <a:pt x="151" y="51"/>
                  </a:lnTo>
                  <a:lnTo>
                    <a:pt x="151" y="51"/>
                  </a:lnTo>
                  <a:lnTo>
                    <a:pt x="151" y="51"/>
                  </a:lnTo>
                  <a:close/>
                  <a:moveTo>
                    <a:pt x="147" y="62"/>
                  </a:moveTo>
                  <a:lnTo>
                    <a:pt x="147" y="60"/>
                  </a:lnTo>
                  <a:lnTo>
                    <a:pt x="149" y="60"/>
                  </a:lnTo>
                  <a:lnTo>
                    <a:pt x="149" y="57"/>
                  </a:lnTo>
                  <a:lnTo>
                    <a:pt x="149" y="55"/>
                  </a:lnTo>
                  <a:lnTo>
                    <a:pt x="147" y="57"/>
                  </a:lnTo>
                  <a:lnTo>
                    <a:pt x="147" y="55"/>
                  </a:lnTo>
                  <a:lnTo>
                    <a:pt x="145" y="55"/>
                  </a:lnTo>
                  <a:lnTo>
                    <a:pt x="145" y="53"/>
                  </a:lnTo>
                  <a:lnTo>
                    <a:pt x="147" y="49"/>
                  </a:lnTo>
                  <a:lnTo>
                    <a:pt x="147" y="47"/>
                  </a:lnTo>
                  <a:lnTo>
                    <a:pt x="147" y="45"/>
                  </a:lnTo>
                  <a:lnTo>
                    <a:pt x="145" y="45"/>
                  </a:lnTo>
                  <a:lnTo>
                    <a:pt x="143" y="47"/>
                  </a:lnTo>
                  <a:lnTo>
                    <a:pt x="143" y="47"/>
                  </a:lnTo>
                  <a:lnTo>
                    <a:pt x="143" y="47"/>
                  </a:lnTo>
                  <a:lnTo>
                    <a:pt x="143" y="49"/>
                  </a:lnTo>
                  <a:lnTo>
                    <a:pt x="143" y="49"/>
                  </a:lnTo>
                  <a:lnTo>
                    <a:pt x="141" y="51"/>
                  </a:lnTo>
                  <a:lnTo>
                    <a:pt x="141" y="51"/>
                  </a:lnTo>
                  <a:lnTo>
                    <a:pt x="139" y="53"/>
                  </a:lnTo>
                  <a:lnTo>
                    <a:pt x="139" y="55"/>
                  </a:lnTo>
                  <a:lnTo>
                    <a:pt x="141" y="55"/>
                  </a:lnTo>
                  <a:lnTo>
                    <a:pt x="143" y="57"/>
                  </a:lnTo>
                  <a:lnTo>
                    <a:pt x="143" y="57"/>
                  </a:lnTo>
                  <a:lnTo>
                    <a:pt x="143" y="60"/>
                  </a:lnTo>
                  <a:lnTo>
                    <a:pt x="147" y="62"/>
                  </a:lnTo>
                  <a:close/>
                  <a:moveTo>
                    <a:pt x="141" y="33"/>
                  </a:moveTo>
                  <a:lnTo>
                    <a:pt x="139" y="35"/>
                  </a:lnTo>
                  <a:lnTo>
                    <a:pt x="137" y="35"/>
                  </a:lnTo>
                  <a:lnTo>
                    <a:pt x="137" y="35"/>
                  </a:lnTo>
                  <a:lnTo>
                    <a:pt x="137" y="37"/>
                  </a:lnTo>
                  <a:lnTo>
                    <a:pt x="137" y="37"/>
                  </a:lnTo>
                  <a:lnTo>
                    <a:pt x="137" y="39"/>
                  </a:lnTo>
                  <a:lnTo>
                    <a:pt x="139" y="41"/>
                  </a:lnTo>
                  <a:lnTo>
                    <a:pt x="139" y="39"/>
                  </a:lnTo>
                  <a:lnTo>
                    <a:pt x="139" y="39"/>
                  </a:lnTo>
                  <a:lnTo>
                    <a:pt x="139" y="37"/>
                  </a:lnTo>
                  <a:lnTo>
                    <a:pt x="141" y="37"/>
                  </a:lnTo>
                  <a:lnTo>
                    <a:pt x="141" y="37"/>
                  </a:lnTo>
                  <a:lnTo>
                    <a:pt x="143" y="39"/>
                  </a:lnTo>
                  <a:lnTo>
                    <a:pt x="143" y="39"/>
                  </a:lnTo>
                  <a:lnTo>
                    <a:pt x="143" y="41"/>
                  </a:lnTo>
                  <a:lnTo>
                    <a:pt x="143" y="41"/>
                  </a:lnTo>
                  <a:lnTo>
                    <a:pt x="143" y="43"/>
                  </a:lnTo>
                  <a:lnTo>
                    <a:pt x="145" y="43"/>
                  </a:lnTo>
                  <a:lnTo>
                    <a:pt x="147" y="43"/>
                  </a:lnTo>
                  <a:lnTo>
                    <a:pt x="149" y="41"/>
                  </a:lnTo>
                  <a:lnTo>
                    <a:pt x="145" y="35"/>
                  </a:lnTo>
                  <a:lnTo>
                    <a:pt x="147" y="35"/>
                  </a:lnTo>
                  <a:lnTo>
                    <a:pt x="147" y="35"/>
                  </a:lnTo>
                  <a:lnTo>
                    <a:pt x="147" y="33"/>
                  </a:lnTo>
                  <a:lnTo>
                    <a:pt x="147" y="33"/>
                  </a:lnTo>
                  <a:lnTo>
                    <a:pt x="147" y="31"/>
                  </a:lnTo>
                  <a:lnTo>
                    <a:pt x="147" y="31"/>
                  </a:lnTo>
                  <a:lnTo>
                    <a:pt x="149" y="33"/>
                  </a:lnTo>
                  <a:lnTo>
                    <a:pt x="149" y="33"/>
                  </a:lnTo>
                  <a:lnTo>
                    <a:pt x="149" y="35"/>
                  </a:lnTo>
                  <a:lnTo>
                    <a:pt x="149" y="37"/>
                  </a:lnTo>
                  <a:lnTo>
                    <a:pt x="149" y="41"/>
                  </a:lnTo>
                  <a:lnTo>
                    <a:pt x="151" y="41"/>
                  </a:lnTo>
                  <a:lnTo>
                    <a:pt x="151" y="41"/>
                  </a:lnTo>
                  <a:lnTo>
                    <a:pt x="153" y="41"/>
                  </a:lnTo>
                  <a:lnTo>
                    <a:pt x="153" y="41"/>
                  </a:lnTo>
                  <a:lnTo>
                    <a:pt x="153" y="41"/>
                  </a:lnTo>
                  <a:lnTo>
                    <a:pt x="153" y="41"/>
                  </a:lnTo>
                  <a:lnTo>
                    <a:pt x="157" y="39"/>
                  </a:lnTo>
                  <a:lnTo>
                    <a:pt x="157" y="39"/>
                  </a:lnTo>
                  <a:lnTo>
                    <a:pt x="157" y="37"/>
                  </a:lnTo>
                  <a:lnTo>
                    <a:pt x="151" y="31"/>
                  </a:lnTo>
                  <a:lnTo>
                    <a:pt x="147" y="31"/>
                  </a:lnTo>
                  <a:lnTo>
                    <a:pt x="147" y="31"/>
                  </a:lnTo>
                  <a:lnTo>
                    <a:pt x="145" y="31"/>
                  </a:lnTo>
                  <a:lnTo>
                    <a:pt x="141" y="33"/>
                  </a:lnTo>
                  <a:lnTo>
                    <a:pt x="141" y="33"/>
                  </a:lnTo>
                  <a:close/>
                  <a:moveTo>
                    <a:pt x="145" y="98"/>
                  </a:moveTo>
                  <a:lnTo>
                    <a:pt x="147" y="100"/>
                  </a:lnTo>
                  <a:lnTo>
                    <a:pt x="147" y="103"/>
                  </a:lnTo>
                  <a:lnTo>
                    <a:pt x="147" y="105"/>
                  </a:lnTo>
                  <a:lnTo>
                    <a:pt x="149" y="105"/>
                  </a:lnTo>
                  <a:lnTo>
                    <a:pt x="149" y="103"/>
                  </a:lnTo>
                  <a:lnTo>
                    <a:pt x="151" y="100"/>
                  </a:lnTo>
                  <a:lnTo>
                    <a:pt x="149" y="98"/>
                  </a:lnTo>
                  <a:lnTo>
                    <a:pt x="149" y="94"/>
                  </a:lnTo>
                  <a:lnTo>
                    <a:pt x="149" y="94"/>
                  </a:lnTo>
                  <a:lnTo>
                    <a:pt x="149" y="94"/>
                  </a:lnTo>
                  <a:lnTo>
                    <a:pt x="147" y="94"/>
                  </a:lnTo>
                  <a:lnTo>
                    <a:pt x="149" y="96"/>
                  </a:lnTo>
                  <a:lnTo>
                    <a:pt x="149" y="98"/>
                  </a:lnTo>
                  <a:lnTo>
                    <a:pt x="149" y="100"/>
                  </a:lnTo>
                  <a:lnTo>
                    <a:pt x="147" y="100"/>
                  </a:lnTo>
                  <a:lnTo>
                    <a:pt x="147" y="98"/>
                  </a:lnTo>
                  <a:lnTo>
                    <a:pt x="147" y="96"/>
                  </a:lnTo>
                  <a:lnTo>
                    <a:pt x="147" y="96"/>
                  </a:lnTo>
                  <a:lnTo>
                    <a:pt x="147" y="96"/>
                  </a:lnTo>
                  <a:lnTo>
                    <a:pt x="147" y="96"/>
                  </a:lnTo>
                  <a:lnTo>
                    <a:pt x="145" y="98"/>
                  </a:lnTo>
                  <a:close/>
                  <a:moveTo>
                    <a:pt x="147" y="25"/>
                  </a:moveTo>
                  <a:lnTo>
                    <a:pt x="147" y="25"/>
                  </a:lnTo>
                  <a:lnTo>
                    <a:pt x="147" y="27"/>
                  </a:lnTo>
                  <a:lnTo>
                    <a:pt x="147" y="27"/>
                  </a:lnTo>
                  <a:lnTo>
                    <a:pt x="147" y="27"/>
                  </a:lnTo>
                  <a:lnTo>
                    <a:pt x="147" y="27"/>
                  </a:lnTo>
                  <a:lnTo>
                    <a:pt x="147" y="27"/>
                  </a:lnTo>
                  <a:lnTo>
                    <a:pt x="149" y="27"/>
                  </a:lnTo>
                  <a:lnTo>
                    <a:pt x="147" y="27"/>
                  </a:lnTo>
                  <a:lnTo>
                    <a:pt x="149" y="27"/>
                  </a:lnTo>
                  <a:lnTo>
                    <a:pt x="149" y="27"/>
                  </a:lnTo>
                  <a:lnTo>
                    <a:pt x="149" y="27"/>
                  </a:lnTo>
                  <a:lnTo>
                    <a:pt x="149" y="27"/>
                  </a:lnTo>
                  <a:lnTo>
                    <a:pt x="149" y="27"/>
                  </a:lnTo>
                  <a:lnTo>
                    <a:pt x="147" y="25"/>
                  </a:lnTo>
                  <a:lnTo>
                    <a:pt x="149" y="25"/>
                  </a:lnTo>
                  <a:lnTo>
                    <a:pt x="149" y="25"/>
                  </a:lnTo>
                  <a:lnTo>
                    <a:pt x="149" y="25"/>
                  </a:lnTo>
                  <a:lnTo>
                    <a:pt x="149" y="25"/>
                  </a:lnTo>
                  <a:lnTo>
                    <a:pt x="149" y="25"/>
                  </a:lnTo>
                  <a:lnTo>
                    <a:pt x="147" y="25"/>
                  </a:lnTo>
                  <a:lnTo>
                    <a:pt x="147" y="25"/>
                  </a:lnTo>
                  <a:lnTo>
                    <a:pt x="147" y="25"/>
                  </a:lnTo>
                  <a:lnTo>
                    <a:pt x="147" y="25"/>
                  </a:lnTo>
                  <a:lnTo>
                    <a:pt x="147" y="25"/>
                  </a:lnTo>
                  <a:close/>
                  <a:moveTo>
                    <a:pt x="139" y="45"/>
                  </a:moveTo>
                  <a:lnTo>
                    <a:pt x="139" y="45"/>
                  </a:lnTo>
                  <a:lnTo>
                    <a:pt x="141" y="45"/>
                  </a:lnTo>
                  <a:lnTo>
                    <a:pt x="141" y="45"/>
                  </a:lnTo>
                  <a:lnTo>
                    <a:pt x="141" y="45"/>
                  </a:lnTo>
                  <a:lnTo>
                    <a:pt x="141" y="45"/>
                  </a:lnTo>
                  <a:lnTo>
                    <a:pt x="141" y="45"/>
                  </a:lnTo>
                  <a:lnTo>
                    <a:pt x="143" y="45"/>
                  </a:lnTo>
                  <a:lnTo>
                    <a:pt x="143" y="45"/>
                  </a:lnTo>
                  <a:lnTo>
                    <a:pt x="143" y="45"/>
                  </a:lnTo>
                  <a:lnTo>
                    <a:pt x="143" y="45"/>
                  </a:lnTo>
                  <a:lnTo>
                    <a:pt x="143" y="45"/>
                  </a:lnTo>
                  <a:lnTo>
                    <a:pt x="143" y="43"/>
                  </a:lnTo>
                  <a:lnTo>
                    <a:pt x="143" y="43"/>
                  </a:lnTo>
                  <a:lnTo>
                    <a:pt x="143" y="43"/>
                  </a:lnTo>
                  <a:lnTo>
                    <a:pt x="143" y="43"/>
                  </a:lnTo>
                  <a:lnTo>
                    <a:pt x="143" y="43"/>
                  </a:lnTo>
                  <a:lnTo>
                    <a:pt x="143" y="43"/>
                  </a:lnTo>
                  <a:lnTo>
                    <a:pt x="143" y="43"/>
                  </a:lnTo>
                  <a:lnTo>
                    <a:pt x="141" y="43"/>
                  </a:lnTo>
                  <a:lnTo>
                    <a:pt x="143" y="43"/>
                  </a:lnTo>
                  <a:lnTo>
                    <a:pt x="143" y="43"/>
                  </a:lnTo>
                  <a:lnTo>
                    <a:pt x="141" y="41"/>
                  </a:lnTo>
                  <a:lnTo>
                    <a:pt x="141" y="41"/>
                  </a:lnTo>
                  <a:lnTo>
                    <a:pt x="137" y="41"/>
                  </a:lnTo>
                  <a:lnTo>
                    <a:pt x="137" y="41"/>
                  </a:lnTo>
                  <a:lnTo>
                    <a:pt x="137" y="41"/>
                  </a:lnTo>
                  <a:lnTo>
                    <a:pt x="137" y="41"/>
                  </a:lnTo>
                  <a:lnTo>
                    <a:pt x="137" y="43"/>
                  </a:lnTo>
                  <a:lnTo>
                    <a:pt x="137" y="43"/>
                  </a:lnTo>
                  <a:lnTo>
                    <a:pt x="139" y="43"/>
                  </a:lnTo>
                  <a:lnTo>
                    <a:pt x="139" y="43"/>
                  </a:lnTo>
                  <a:lnTo>
                    <a:pt x="139" y="45"/>
                  </a:lnTo>
                  <a:close/>
                  <a:moveTo>
                    <a:pt x="163" y="66"/>
                  </a:moveTo>
                  <a:lnTo>
                    <a:pt x="163" y="66"/>
                  </a:lnTo>
                  <a:lnTo>
                    <a:pt x="161" y="68"/>
                  </a:lnTo>
                  <a:lnTo>
                    <a:pt x="161" y="68"/>
                  </a:lnTo>
                  <a:lnTo>
                    <a:pt x="159" y="68"/>
                  </a:lnTo>
                  <a:lnTo>
                    <a:pt x="157" y="70"/>
                  </a:lnTo>
                  <a:lnTo>
                    <a:pt x="149" y="78"/>
                  </a:lnTo>
                  <a:lnTo>
                    <a:pt x="149" y="80"/>
                  </a:lnTo>
                  <a:lnTo>
                    <a:pt x="149" y="84"/>
                  </a:lnTo>
                  <a:lnTo>
                    <a:pt x="149" y="84"/>
                  </a:lnTo>
                  <a:lnTo>
                    <a:pt x="149" y="86"/>
                  </a:lnTo>
                  <a:lnTo>
                    <a:pt x="151" y="86"/>
                  </a:lnTo>
                  <a:lnTo>
                    <a:pt x="151" y="86"/>
                  </a:lnTo>
                  <a:lnTo>
                    <a:pt x="151" y="86"/>
                  </a:lnTo>
                  <a:lnTo>
                    <a:pt x="153" y="90"/>
                  </a:lnTo>
                  <a:lnTo>
                    <a:pt x="155" y="90"/>
                  </a:lnTo>
                  <a:lnTo>
                    <a:pt x="157" y="90"/>
                  </a:lnTo>
                  <a:lnTo>
                    <a:pt x="157" y="90"/>
                  </a:lnTo>
                  <a:lnTo>
                    <a:pt x="157" y="92"/>
                  </a:lnTo>
                  <a:lnTo>
                    <a:pt x="155" y="98"/>
                  </a:lnTo>
                  <a:lnTo>
                    <a:pt x="155" y="100"/>
                  </a:lnTo>
                  <a:lnTo>
                    <a:pt x="157" y="103"/>
                  </a:lnTo>
                  <a:lnTo>
                    <a:pt x="155" y="105"/>
                  </a:lnTo>
                  <a:lnTo>
                    <a:pt x="157" y="107"/>
                  </a:lnTo>
                  <a:lnTo>
                    <a:pt x="157" y="109"/>
                  </a:lnTo>
                  <a:lnTo>
                    <a:pt x="159" y="109"/>
                  </a:lnTo>
                  <a:lnTo>
                    <a:pt x="159" y="111"/>
                  </a:lnTo>
                  <a:lnTo>
                    <a:pt x="159" y="111"/>
                  </a:lnTo>
                  <a:lnTo>
                    <a:pt x="161" y="111"/>
                  </a:lnTo>
                  <a:lnTo>
                    <a:pt x="161" y="111"/>
                  </a:lnTo>
                  <a:lnTo>
                    <a:pt x="163" y="109"/>
                  </a:lnTo>
                  <a:lnTo>
                    <a:pt x="163" y="109"/>
                  </a:lnTo>
                  <a:lnTo>
                    <a:pt x="166" y="111"/>
                  </a:lnTo>
                  <a:lnTo>
                    <a:pt x="166" y="113"/>
                  </a:lnTo>
                  <a:lnTo>
                    <a:pt x="166" y="115"/>
                  </a:lnTo>
                  <a:lnTo>
                    <a:pt x="166" y="117"/>
                  </a:lnTo>
                  <a:lnTo>
                    <a:pt x="166" y="119"/>
                  </a:lnTo>
                  <a:lnTo>
                    <a:pt x="166" y="119"/>
                  </a:lnTo>
                  <a:lnTo>
                    <a:pt x="168" y="117"/>
                  </a:lnTo>
                  <a:lnTo>
                    <a:pt x="170" y="119"/>
                  </a:lnTo>
                  <a:lnTo>
                    <a:pt x="168" y="119"/>
                  </a:lnTo>
                  <a:lnTo>
                    <a:pt x="168" y="119"/>
                  </a:lnTo>
                  <a:lnTo>
                    <a:pt x="170" y="119"/>
                  </a:lnTo>
                  <a:lnTo>
                    <a:pt x="170" y="119"/>
                  </a:lnTo>
                  <a:lnTo>
                    <a:pt x="170" y="119"/>
                  </a:lnTo>
                  <a:lnTo>
                    <a:pt x="170" y="119"/>
                  </a:lnTo>
                  <a:lnTo>
                    <a:pt x="172" y="117"/>
                  </a:lnTo>
                  <a:lnTo>
                    <a:pt x="172" y="115"/>
                  </a:lnTo>
                  <a:lnTo>
                    <a:pt x="174" y="115"/>
                  </a:lnTo>
                  <a:lnTo>
                    <a:pt x="174" y="115"/>
                  </a:lnTo>
                  <a:lnTo>
                    <a:pt x="172" y="113"/>
                  </a:lnTo>
                  <a:lnTo>
                    <a:pt x="172" y="111"/>
                  </a:lnTo>
                  <a:lnTo>
                    <a:pt x="172" y="109"/>
                  </a:lnTo>
                  <a:lnTo>
                    <a:pt x="168" y="103"/>
                  </a:lnTo>
                  <a:lnTo>
                    <a:pt x="166" y="103"/>
                  </a:lnTo>
                  <a:lnTo>
                    <a:pt x="166" y="100"/>
                  </a:lnTo>
                  <a:lnTo>
                    <a:pt x="163" y="98"/>
                  </a:lnTo>
                  <a:lnTo>
                    <a:pt x="161" y="100"/>
                  </a:lnTo>
                  <a:lnTo>
                    <a:pt x="161" y="103"/>
                  </a:lnTo>
                  <a:lnTo>
                    <a:pt x="163" y="105"/>
                  </a:lnTo>
                  <a:lnTo>
                    <a:pt x="161" y="107"/>
                  </a:lnTo>
                  <a:lnTo>
                    <a:pt x="159" y="107"/>
                  </a:lnTo>
                  <a:lnTo>
                    <a:pt x="159" y="105"/>
                  </a:lnTo>
                  <a:lnTo>
                    <a:pt x="159" y="100"/>
                  </a:lnTo>
                  <a:lnTo>
                    <a:pt x="161" y="94"/>
                  </a:lnTo>
                  <a:lnTo>
                    <a:pt x="161" y="90"/>
                  </a:lnTo>
                  <a:lnTo>
                    <a:pt x="161" y="88"/>
                  </a:lnTo>
                  <a:lnTo>
                    <a:pt x="159" y="86"/>
                  </a:lnTo>
                  <a:lnTo>
                    <a:pt x="157" y="84"/>
                  </a:lnTo>
                  <a:lnTo>
                    <a:pt x="157" y="84"/>
                  </a:lnTo>
                  <a:lnTo>
                    <a:pt x="155" y="82"/>
                  </a:lnTo>
                  <a:lnTo>
                    <a:pt x="155" y="82"/>
                  </a:lnTo>
                  <a:lnTo>
                    <a:pt x="153" y="82"/>
                  </a:lnTo>
                  <a:lnTo>
                    <a:pt x="151" y="82"/>
                  </a:lnTo>
                  <a:lnTo>
                    <a:pt x="151" y="80"/>
                  </a:lnTo>
                  <a:lnTo>
                    <a:pt x="155" y="82"/>
                  </a:lnTo>
                  <a:lnTo>
                    <a:pt x="157" y="80"/>
                  </a:lnTo>
                  <a:lnTo>
                    <a:pt x="157" y="80"/>
                  </a:lnTo>
                  <a:lnTo>
                    <a:pt x="157" y="78"/>
                  </a:lnTo>
                  <a:lnTo>
                    <a:pt x="157" y="76"/>
                  </a:lnTo>
                  <a:lnTo>
                    <a:pt x="159" y="80"/>
                  </a:lnTo>
                  <a:lnTo>
                    <a:pt x="159" y="78"/>
                  </a:lnTo>
                  <a:lnTo>
                    <a:pt x="161" y="76"/>
                  </a:lnTo>
                  <a:lnTo>
                    <a:pt x="161" y="76"/>
                  </a:lnTo>
                  <a:lnTo>
                    <a:pt x="163" y="76"/>
                  </a:lnTo>
                  <a:lnTo>
                    <a:pt x="163" y="78"/>
                  </a:lnTo>
                  <a:lnTo>
                    <a:pt x="166" y="78"/>
                  </a:lnTo>
                  <a:lnTo>
                    <a:pt x="166" y="78"/>
                  </a:lnTo>
                  <a:lnTo>
                    <a:pt x="168" y="78"/>
                  </a:lnTo>
                  <a:lnTo>
                    <a:pt x="168" y="76"/>
                  </a:lnTo>
                  <a:lnTo>
                    <a:pt x="163" y="72"/>
                  </a:lnTo>
                  <a:lnTo>
                    <a:pt x="163" y="70"/>
                  </a:lnTo>
                  <a:lnTo>
                    <a:pt x="163" y="68"/>
                  </a:lnTo>
                  <a:lnTo>
                    <a:pt x="163" y="68"/>
                  </a:lnTo>
                  <a:lnTo>
                    <a:pt x="163" y="68"/>
                  </a:lnTo>
                  <a:lnTo>
                    <a:pt x="163" y="66"/>
                  </a:lnTo>
                  <a:close/>
                  <a:moveTo>
                    <a:pt x="168" y="35"/>
                  </a:moveTo>
                  <a:lnTo>
                    <a:pt x="168" y="35"/>
                  </a:lnTo>
                  <a:lnTo>
                    <a:pt x="166" y="35"/>
                  </a:lnTo>
                  <a:lnTo>
                    <a:pt x="166" y="35"/>
                  </a:lnTo>
                  <a:lnTo>
                    <a:pt x="166" y="35"/>
                  </a:lnTo>
                  <a:lnTo>
                    <a:pt x="168" y="37"/>
                  </a:lnTo>
                  <a:lnTo>
                    <a:pt x="170" y="37"/>
                  </a:lnTo>
                  <a:lnTo>
                    <a:pt x="170" y="35"/>
                  </a:lnTo>
                  <a:lnTo>
                    <a:pt x="170" y="35"/>
                  </a:lnTo>
                  <a:lnTo>
                    <a:pt x="168" y="33"/>
                  </a:lnTo>
                  <a:lnTo>
                    <a:pt x="168" y="35"/>
                  </a:lnTo>
                  <a:lnTo>
                    <a:pt x="168" y="35"/>
                  </a:lnTo>
                  <a:lnTo>
                    <a:pt x="168" y="35"/>
                  </a:lnTo>
                  <a:lnTo>
                    <a:pt x="168" y="35"/>
                  </a:lnTo>
                  <a:close/>
                  <a:moveTo>
                    <a:pt x="163" y="35"/>
                  </a:moveTo>
                  <a:lnTo>
                    <a:pt x="163" y="31"/>
                  </a:lnTo>
                  <a:lnTo>
                    <a:pt x="161" y="31"/>
                  </a:lnTo>
                  <a:lnTo>
                    <a:pt x="161" y="31"/>
                  </a:lnTo>
                  <a:lnTo>
                    <a:pt x="161" y="33"/>
                  </a:lnTo>
                  <a:lnTo>
                    <a:pt x="161" y="33"/>
                  </a:lnTo>
                  <a:lnTo>
                    <a:pt x="163" y="37"/>
                  </a:lnTo>
                  <a:lnTo>
                    <a:pt x="163" y="39"/>
                  </a:lnTo>
                  <a:lnTo>
                    <a:pt x="166" y="39"/>
                  </a:lnTo>
                  <a:lnTo>
                    <a:pt x="166" y="41"/>
                  </a:lnTo>
                  <a:lnTo>
                    <a:pt x="168" y="41"/>
                  </a:lnTo>
                  <a:lnTo>
                    <a:pt x="168" y="41"/>
                  </a:lnTo>
                  <a:lnTo>
                    <a:pt x="168" y="41"/>
                  </a:lnTo>
                  <a:lnTo>
                    <a:pt x="168" y="39"/>
                  </a:lnTo>
                  <a:lnTo>
                    <a:pt x="168" y="37"/>
                  </a:lnTo>
                  <a:lnTo>
                    <a:pt x="168" y="37"/>
                  </a:lnTo>
                  <a:lnTo>
                    <a:pt x="166" y="37"/>
                  </a:lnTo>
                  <a:lnTo>
                    <a:pt x="166" y="35"/>
                  </a:lnTo>
                  <a:lnTo>
                    <a:pt x="163" y="35"/>
                  </a:lnTo>
                  <a:close/>
                  <a:moveTo>
                    <a:pt x="161" y="43"/>
                  </a:moveTo>
                  <a:lnTo>
                    <a:pt x="161" y="43"/>
                  </a:lnTo>
                  <a:lnTo>
                    <a:pt x="163" y="45"/>
                  </a:lnTo>
                  <a:lnTo>
                    <a:pt x="163" y="43"/>
                  </a:lnTo>
                  <a:lnTo>
                    <a:pt x="163" y="43"/>
                  </a:lnTo>
                  <a:lnTo>
                    <a:pt x="163" y="43"/>
                  </a:lnTo>
                  <a:lnTo>
                    <a:pt x="161" y="43"/>
                  </a:lnTo>
                  <a:lnTo>
                    <a:pt x="161" y="43"/>
                  </a:lnTo>
                  <a:close/>
                  <a:moveTo>
                    <a:pt x="159" y="45"/>
                  </a:moveTo>
                  <a:lnTo>
                    <a:pt x="159" y="45"/>
                  </a:lnTo>
                  <a:lnTo>
                    <a:pt x="159" y="43"/>
                  </a:lnTo>
                  <a:lnTo>
                    <a:pt x="157" y="43"/>
                  </a:lnTo>
                  <a:lnTo>
                    <a:pt x="157" y="45"/>
                  </a:lnTo>
                  <a:lnTo>
                    <a:pt x="157" y="47"/>
                  </a:lnTo>
                  <a:lnTo>
                    <a:pt x="157" y="49"/>
                  </a:lnTo>
                  <a:lnTo>
                    <a:pt x="157" y="49"/>
                  </a:lnTo>
                  <a:lnTo>
                    <a:pt x="159" y="51"/>
                  </a:lnTo>
                  <a:lnTo>
                    <a:pt x="159" y="51"/>
                  </a:lnTo>
                  <a:lnTo>
                    <a:pt x="159" y="49"/>
                  </a:lnTo>
                  <a:lnTo>
                    <a:pt x="159" y="49"/>
                  </a:lnTo>
                  <a:lnTo>
                    <a:pt x="161" y="49"/>
                  </a:lnTo>
                  <a:lnTo>
                    <a:pt x="161" y="47"/>
                  </a:lnTo>
                  <a:lnTo>
                    <a:pt x="161" y="47"/>
                  </a:lnTo>
                  <a:lnTo>
                    <a:pt x="159" y="45"/>
                  </a:lnTo>
                  <a:lnTo>
                    <a:pt x="159" y="45"/>
                  </a:lnTo>
                  <a:close/>
                  <a:moveTo>
                    <a:pt x="153" y="172"/>
                  </a:moveTo>
                  <a:lnTo>
                    <a:pt x="151" y="172"/>
                  </a:lnTo>
                  <a:lnTo>
                    <a:pt x="151" y="172"/>
                  </a:lnTo>
                  <a:lnTo>
                    <a:pt x="151" y="174"/>
                  </a:lnTo>
                  <a:lnTo>
                    <a:pt x="151" y="176"/>
                  </a:lnTo>
                  <a:lnTo>
                    <a:pt x="153" y="174"/>
                  </a:lnTo>
                  <a:lnTo>
                    <a:pt x="155" y="172"/>
                  </a:lnTo>
                  <a:lnTo>
                    <a:pt x="159" y="172"/>
                  </a:lnTo>
                  <a:lnTo>
                    <a:pt x="159" y="172"/>
                  </a:lnTo>
                  <a:lnTo>
                    <a:pt x="159" y="170"/>
                  </a:lnTo>
                  <a:lnTo>
                    <a:pt x="157" y="170"/>
                  </a:lnTo>
                  <a:lnTo>
                    <a:pt x="155" y="168"/>
                  </a:lnTo>
                  <a:lnTo>
                    <a:pt x="155" y="166"/>
                  </a:lnTo>
                  <a:lnTo>
                    <a:pt x="155" y="166"/>
                  </a:lnTo>
                  <a:lnTo>
                    <a:pt x="155" y="164"/>
                  </a:lnTo>
                  <a:lnTo>
                    <a:pt x="155" y="162"/>
                  </a:lnTo>
                  <a:lnTo>
                    <a:pt x="155" y="162"/>
                  </a:lnTo>
                  <a:lnTo>
                    <a:pt x="155" y="162"/>
                  </a:lnTo>
                  <a:lnTo>
                    <a:pt x="155" y="160"/>
                  </a:lnTo>
                  <a:lnTo>
                    <a:pt x="155" y="160"/>
                  </a:lnTo>
                  <a:lnTo>
                    <a:pt x="155" y="160"/>
                  </a:lnTo>
                  <a:lnTo>
                    <a:pt x="153" y="160"/>
                  </a:lnTo>
                  <a:lnTo>
                    <a:pt x="151" y="162"/>
                  </a:lnTo>
                  <a:lnTo>
                    <a:pt x="151" y="162"/>
                  </a:lnTo>
                  <a:lnTo>
                    <a:pt x="149" y="170"/>
                  </a:lnTo>
                  <a:lnTo>
                    <a:pt x="147" y="170"/>
                  </a:lnTo>
                  <a:lnTo>
                    <a:pt x="147" y="172"/>
                  </a:lnTo>
                  <a:lnTo>
                    <a:pt x="147" y="172"/>
                  </a:lnTo>
                  <a:lnTo>
                    <a:pt x="147" y="174"/>
                  </a:lnTo>
                  <a:lnTo>
                    <a:pt x="147" y="174"/>
                  </a:lnTo>
                  <a:lnTo>
                    <a:pt x="147" y="174"/>
                  </a:lnTo>
                  <a:lnTo>
                    <a:pt x="149" y="176"/>
                  </a:lnTo>
                  <a:lnTo>
                    <a:pt x="149" y="174"/>
                  </a:lnTo>
                  <a:lnTo>
                    <a:pt x="149" y="174"/>
                  </a:lnTo>
                  <a:lnTo>
                    <a:pt x="149" y="174"/>
                  </a:lnTo>
                  <a:lnTo>
                    <a:pt x="151" y="172"/>
                  </a:lnTo>
                  <a:lnTo>
                    <a:pt x="151" y="170"/>
                  </a:lnTo>
                  <a:lnTo>
                    <a:pt x="151" y="170"/>
                  </a:lnTo>
                  <a:lnTo>
                    <a:pt x="153" y="170"/>
                  </a:lnTo>
                  <a:lnTo>
                    <a:pt x="153" y="170"/>
                  </a:lnTo>
                  <a:lnTo>
                    <a:pt x="153" y="170"/>
                  </a:lnTo>
                  <a:lnTo>
                    <a:pt x="155" y="170"/>
                  </a:lnTo>
                  <a:lnTo>
                    <a:pt x="153" y="170"/>
                  </a:lnTo>
                  <a:lnTo>
                    <a:pt x="153" y="172"/>
                  </a:lnTo>
                  <a:close/>
                  <a:moveTo>
                    <a:pt x="149" y="148"/>
                  </a:moveTo>
                  <a:lnTo>
                    <a:pt x="149" y="148"/>
                  </a:lnTo>
                  <a:lnTo>
                    <a:pt x="149" y="148"/>
                  </a:lnTo>
                  <a:lnTo>
                    <a:pt x="151" y="148"/>
                  </a:lnTo>
                  <a:lnTo>
                    <a:pt x="151" y="150"/>
                  </a:lnTo>
                  <a:lnTo>
                    <a:pt x="153" y="152"/>
                  </a:lnTo>
                  <a:lnTo>
                    <a:pt x="155" y="150"/>
                  </a:lnTo>
                  <a:lnTo>
                    <a:pt x="155" y="150"/>
                  </a:lnTo>
                  <a:lnTo>
                    <a:pt x="155" y="150"/>
                  </a:lnTo>
                  <a:lnTo>
                    <a:pt x="155" y="150"/>
                  </a:lnTo>
                  <a:lnTo>
                    <a:pt x="155" y="148"/>
                  </a:lnTo>
                  <a:lnTo>
                    <a:pt x="155" y="148"/>
                  </a:lnTo>
                  <a:lnTo>
                    <a:pt x="155" y="148"/>
                  </a:lnTo>
                  <a:lnTo>
                    <a:pt x="155" y="146"/>
                  </a:lnTo>
                  <a:lnTo>
                    <a:pt x="153" y="146"/>
                  </a:lnTo>
                  <a:lnTo>
                    <a:pt x="155" y="146"/>
                  </a:lnTo>
                  <a:lnTo>
                    <a:pt x="155" y="146"/>
                  </a:lnTo>
                  <a:lnTo>
                    <a:pt x="155" y="144"/>
                  </a:lnTo>
                  <a:lnTo>
                    <a:pt x="155" y="144"/>
                  </a:lnTo>
                  <a:lnTo>
                    <a:pt x="155" y="141"/>
                  </a:lnTo>
                  <a:lnTo>
                    <a:pt x="155" y="137"/>
                  </a:lnTo>
                  <a:lnTo>
                    <a:pt x="155" y="137"/>
                  </a:lnTo>
                  <a:lnTo>
                    <a:pt x="155" y="137"/>
                  </a:lnTo>
                  <a:lnTo>
                    <a:pt x="153" y="135"/>
                  </a:lnTo>
                  <a:lnTo>
                    <a:pt x="153" y="135"/>
                  </a:lnTo>
                  <a:lnTo>
                    <a:pt x="153" y="135"/>
                  </a:lnTo>
                  <a:lnTo>
                    <a:pt x="151" y="137"/>
                  </a:lnTo>
                  <a:lnTo>
                    <a:pt x="151" y="137"/>
                  </a:lnTo>
                  <a:lnTo>
                    <a:pt x="151" y="139"/>
                  </a:lnTo>
                  <a:lnTo>
                    <a:pt x="149" y="139"/>
                  </a:lnTo>
                  <a:lnTo>
                    <a:pt x="149" y="141"/>
                  </a:lnTo>
                  <a:lnTo>
                    <a:pt x="149" y="141"/>
                  </a:lnTo>
                  <a:lnTo>
                    <a:pt x="149" y="144"/>
                  </a:lnTo>
                  <a:lnTo>
                    <a:pt x="149" y="144"/>
                  </a:lnTo>
                  <a:lnTo>
                    <a:pt x="149" y="146"/>
                  </a:lnTo>
                  <a:lnTo>
                    <a:pt x="149" y="148"/>
                  </a:lnTo>
                  <a:close/>
                  <a:moveTo>
                    <a:pt x="131" y="187"/>
                  </a:moveTo>
                  <a:lnTo>
                    <a:pt x="129" y="187"/>
                  </a:lnTo>
                  <a:lnTo>
                    <a:pt x="129" y="189"/>
                  </a:lnTo>
                  <a:lnTo>
                    <a:pt x="129" y="189"/>
                  </a:lnTo>
                  <a:lnTo>
                    <a:pt x="127" y="189"/>
                  </a:lnTo>
                  <a:lnTo>
                    <a:pt x="127" y="189"/>
                  </a:lnTo>
                  <a:lnTo>
                    <a:pt x="127" y="191"/>
                  </a:lnTo>
                  <a:lnTo>
                    <a:pt x="127" y="191"/>
                  </a:lnTo>
                  <a:lnTo>
                    <a:pt x="127" y="193"/>
                  </a:lnTo>
                  <a:lnTo>
                    <a:pt x="129" y="193"/>
                  </a:lnTo>
                  <a:lnTo>
                    <a:pt x="129" y="193"/>
                  </a:lnTo>
                  <a:lnTo>
                    <a:pt x="129" y="193"/>
                  </a:lnTo>
                  <a:lnTo>
                    <a:pt x="131" y="193"/>
                  </a:lnTo>
                  <a:lnTo>
                    <a:pt x="131" y="193"/>
                  </a:lnTo>
                  <a:lnTo>
                    <a:pt x="133" y="191"/>
                  </a:lnTo>
                  <a:lnTo>
                    <a:pt x="133" y="189"/>
                  </a:lnTo>
                  <a:lnTo>
                    <a:pt x="133" y="189"/>
                  </a:lnTo>
                  <a:lnTo>
                    <a:pt x="131" y="189"/>
                  </a:lnTo>
                  <a:lnTo>
                    <a:pt x="131" y="187"/>
                  </a:lnTo>
                  <a:close/>
                  <a:moveTo>
                    <a:pt x="120" y="176"/>
                  </a:moveTo>
                  <a:lnTo>
                    <a:pt x="120" y="174"/>
                  </a:lnTo>
                  <a:lnTo>
                    <a:pt x="120" y="174"/>
                  </a:lnTo>
                  <a:lnTo>
                    <a:pt x="123" y="174"/>
                  </a:lnTo>
                  <a:lnTo>
                    <a:pt x="120" y="174"/>
                  </a:lnTo>
                  <a:lnTo>
                    <a:pt x="120" y="174"/>
                  </a:lnTo>
                  <a:lnTo>
                    <a:pt x="118" y="174"/>
                  </a:lnTo>
                  <a:lnTo>
                    <a:pt x="118" y="174"/>
                  </a:lnTo>
                  <a:lnTo>
                    <a:pt x="116" y="174"/>
                  </a:lnTo>
                  <a:lnTo>
                    <a:pt x="116" y="174"/>
                  </a:lnTo>
                  <a:lnTo>
                    <a:pt x="116" y="176"/>
                  </a:lnTo>
                  <a:lnTo>
                    <a:pt x="114" y="178"/>
                  </a:lnTo>
                  <a:lnTo>
                    <a:pt x="114" y="178"/>
                  </a:lnTo>
                  <a:lnTo>
                    <a:pt x="114" y="180"/>
                  </a:lnTo>
                  <a:lnTo>
                    <a:pt x="116" y="182"/>
                  </a:lnTo>
                  <a:lnTo>
                    <a:pt x="116" y="182"/>
                  </a:lnTo>
                  <a:lnTo>
                    <a:pt x="116" y="182"/>
                  </a:lnTo>
                  <a:lnTo>
                    <a:pt x="116" y="185"/>
                  </a:lnTo>
                  <a:lnTo>
                    <a:pt x="116" y="185"/>
                  </a:lnTo>
                  <a:lnTo>
                    <a:pt x="116" y="187"/>
                  </a:lnTo>
                  <a:lnTo>
                    <a:pt x="118" y="185"/>
                  </a:lnTo>
                  <a:lnTo>
                    <a:pt x="120" y="185"/>
                  </a:lnTo>
                  <a:lnTo>
                    <a:pt x="120" y="182"/>
                  </a:lnTo>
                  <a:lnTo>
                    <a:pt x="120" y="180"/>
                  </a:lnTo>
                  <a:lnTo>
                    <a:pt x="120" y="180"/>
                  </a:lnTo>
                  <a:lnTo>
                    <a:pt x="118" y="178"/>
                  </a:lnTo>
                  <a:lnTo>
                    <a:pt x="118" y="176"/>
                  </a:lnTo>
                  <a:lnTo>
                    <a:pt x="120" y="176"/>
                  </a:lnTo>
                  <a:close/>
                  <a:moveTo>
                    <a:pt x="18" y="238"/>
                  </a:moveTo>
                  <a:lnTo>
                    <a:pt x="18" y="238"/>
                  </a:lnTo>
                  <a:lnTo>
                    <a:pt x="18" y="240"/>
                  </a:lnTo>
                  <a:lnTo>
                    <a:pt x="20" y="244"/>
                  </a:lnTo>
                  <a:lnTo>
                    <a:pt x="20" y="242"/>
                  </a:lnTo>
                  <a:lnTo>
                    <a:pt x="20" y="242"/>
                  </a:lnTo>
                  <a:lnTo>
                    <a:pt x="22" y="240"/>
                  </a:lnTo>
                  <a:lnTo>
                    <a:pt x="22" y="238"/>
                  </a:lnTo>
                  <a:lnTo>
                    <a:pt x="20" y="236"/>
                  </a:lnTo>
                  <a:lnTo>
                    <a:pt x="20" y="236"/>
                  </a:lnTo>
                  <a:lnTo>
                    <a:pt x="20" y="236"/>
                  </a:lnTo>
                  <a:lnTo>
                    <a:pt x="20" y="234"/>
                  </a:lnTo>
                  <a:lnTo>
                    <a:pt x="20" y="234"/>
                  </a:lnTo>
                  <a:lnTo>
                    <a:pt x="18" y="236"/>
                  </a:lnTo>
                  <a:lnTo>
                    <a:pt x="18" y="236"/>
                  </a:lnTo>
                  <a:lnTo>
                    <a:pt x="18" y="238"/>
                  </a:lnTo>
                  <a:lnTo>
                    <a:pt x="18" y="238"/>
                  </a:lnTo>
                  <a:close/>
                  <a:moveTo>
                    <a:pt x="127" y="33"/>
                  </a:moveTo>
                  <a:lnTo>
                    <a:pt x="129" y="33"/>
                  </a:lnTo>
                  <a:lnTo>
                    <a:pt x="129" y="35"/>
                  </a:lnTo>
                  <a:lnTo>
                    <a:pt x="131" y="35"/>
                  </a:lnTo>
                  <a:lnTo>
                    <a:pt x="131" y="35"/>
                  </a:lnTo>
                  <a:lnTo>
                    <a:pt x="131" y="35"/>
                  </a:lnTo>
                  <a:lnTo>
                    <a:pt x="131" y="35"/>
                  </a:lnTo>
                  <a:lnTo>
                    <a:pt x="131" y="35"/>
                  </a:lnTo>
                  <a:lnTo>
                    <a:pt x="129" y="33"/>
                  </a:lnTo>
                  <a:lnTo>
                    <a:pt x="129" y="33"/>
                  </a:lnTo>
                  <a:lnTo>
                    <a:pt x="129" y="33"/>
                  </a:lnTo>
                  <a:lnTo>
                    <a:pt x="127" y="33"/>
                  </a:lnTo>
                  <a:lnTo>
                    <a:pt x="127" y="33"/>
                  </a:lnTo>
                  <a:close/>
                  <a:moveTo>
                    <a:pt x="137" y="31"/>
                  </a:moveTo>
                  <a:lnTo>
                    <a:pt x="137" y="31"/>
                  </a:lnTo>
                  <a:lnTo>
                    <a:pt x="137" y="31"/>
                  </a:lnTo>
                  <a:lnTo>
                    <a:pt x="139" y="31"/>
                  </a:lnTo>
                  <a:lnTo>
                    <a:pt x="139" y="31"/>
                  </a:lnTo>
                  <a:lnTo>
                    <a:pt x="139" y="31"/>
                  </a:lnTo>
                  <a:lnTo>
                    <a:pt x="139" y="29"/>
                  </a:lnTo>
                  <a:lnTo>
                    <a:pt x="139" y="27"/>
                  </a:lnTo>
                  <a:lnTo>
                    <a:pt x="137" y="27"/>
                  </a:lnTo>
                  <a:lnTo>
                    <a:pt x="137" y="29"/>
                  </a:lnTo>
                  <a:lnTo>
                    <a:pt x="135" y="29"/>
                  </a:lnTo>
                  <a:lnTo>
                    <a:pt x="135" y="29"/>
                  </a:lnTo>
                  <a:lnTo>
                    <a:pt x="137" y="31"/>
                  </a:lnTo>
                  <a:lnTo>
                    <a:pt x="137" y="31"/>
                  </a:lnTo>
                  <a:close/>
                  <a:moveTo>
                    <a:pt x="129" y="37"/>
                  </a:moveTo>
                  <a:lnTo>
                    <a:pt x="127" y="37"/>
                  </a:lnTo>
                  <a:lnTo>
                    <a:pt x="125" y="37"/>
                  </a:lnTo>
                  <a:lnTo>
                    <a:pt x="125" y="39"/>
                  </a:lnTo>
                  <a:lnTo>
                    <a:pt x="125" y="39"/>
                  </a:lnTo>
                  <a:lnTo>
                    <a:pt x="125" y="43"/>
                  </a:lnTo>
                  <a:lnTo>
                    <a:pt x="125" y="47"/>
                  </a:lnTo>
                  <a:lnTo>
                    <a:pt x="125" y="47"/>
                  </a:lnTo>
                  <a:lnTo>
                    <a:pt x="125" y="49"/>
                  </a:lnTo>
                  <a:lnTo>
                    <a:pt x="127" y="49"/>
                  </a:lnTo>
                  <a:lnTo>
                    <a:pt x="127" y="49"/>
                  </a:lnTo>
                  <a:lnTo>
                    <a:pt x="129" y="51"/>
                  </a:lnTo>
                  <a:lnTo>
                    <a:pt x="129" y="51"/>
                  </a:lnTo>
                  <a:lnTo>
                    <a:pt x="131" y="51"/>
                  </a:lnTo>
                  <a:lnTo>
                    <a:pt x="131" y="51"/>
                  </a:lnTo>
                  <a:lnTo>
                    <a:pt x="131" y="51"/>
                  </a:lnTo>
                  <a:lnTo>
                    <a:pt x="133" y="53"/>
                  </a:lnTo>
                  <a:lnTo>
                    <a:pt x="133" y="53"/>
                  </a:lnTo>
                  <a:lnTo>
                    <a:pt x="133" y="53"/>
                  </a:lnTo>
                  <a:lnTo>
                    <a:pt x="133" y="55"/>
                  </a:lnTo>
                  <a:lnTo>
                    <a:pt x="135" y="55"/>
                  </a:lnTo>
                  <a:lnTo>
                    <a:pt x="135" y="55"/>
                  </a:lnTo>
                  <a:lnTo>
                    <a:pt x="137" y="55"/>
                  </a:lnTo>
                  <a:lnTo>
                    <a:pt x="137" y="55"/>
                  </a:lnTo>
                  <a:lnTo>
                    <a:pt x="137" y="55"/>
                  </a:lnTo>
                  <a:lnTo>
                    <a:pt x="137" y="53"/>
                  </a:lnTo>
                  <a:lnTo>
                    <a:pt x="135" y="53"/>
                  </a:lnTo>
                  <a:lnTo>
                    <a:pt x="135" y="53"/>
                  </a:lnTo>
                  <a:lnTo>
                    <a:pt x="135" y="49"/>
                  </a:lnTo>
                  <a:lnTo>
                    <a:pt x="135" y="49"/>
                  </a:lnTo>
                  <a:lnTo>
                    <a:pt x="135" y="49"/>
                  </a:lnTo>
                  <a:lnTo>
                    <a:pt x="135" y="49"/>
                  </a:lnTo>
                  <a:lnTo>
                    <a:pt x="137" y="49"/>
                  </a:lnTo>
                  <a:lnTo>
                    <a:pt x="137" y="49"/>
                  </a:lnTo>
                  <a:lnTo>
                    <a:pt x="137" y="47"/>
                  </a:lnTo>
                  <a:lnTo>
                    <a:pt x="139" y="47"/>
                  </a:lnTo>
                  <a:lnTo>
                    <a:pt x="137" y="45"/>
                  </a:lnTo>
                  <a:lnTo>
                    <a:pt x="135" y="43"/>
                  </a:lnTo>
                  <a:lnTo>
                    <a:pt x="133" y="41"/>
                  </a:lnTo>
                  <a:lnTo>
                    <a:pt x="133" y="41"/>
                  </a:lnTo>
                  <a:lnTo>
                    <a:pt x="131" y="39"/>
                  </a:lnTo>
                  <a:lnTo>
                    <a:pt x="131" y="37"/>
                  </a:lnTo>
                  <a:lnTo>
                    <a:pt x="129" y="37"/>
                  </a:lnTo>
                  <a:close/>
                  <a:moveTo>
                    <a:pt x="579" y="80"/>
                  </a:moveTo>
                  <a:lnTo>
                    <a:pt x="563" y="78"/>
                  </a:lnTo>
                  <a:lnTo>
                    <a:pt x="546" y="76"/>
                  </a:lnTo>
                  <a:lnTo>
                    <a:pt x="530" y="72"/>
                  </a:lnTo>
                  <a:lnTo>
                    <a:pt x="514" y="70"/>
                  </a:lnTo>
                  <a:lnTo>
                    <a:pt x="497" y="68"/>
                  </a:lnTo>
                  <a:lnTo>
                    <a:pt x="481" y="64"/>
                  </a:lnTo>
                  <a:lnTo>
                    <a:pt x="465" y="62"/>
                  </a:lnTo>
                  <a:lnTo>
                    <a:pt x="448" y="60"/>
                  </a:lnTo>
                  <a:lnTo>
                    <a:pt x="432" y="55"/>
                  </a:lnTo>
                  <a:lnTo>
                    <a:pt x="415" y="53"/>
                  </a:lnTo>
                  <a:lnTo>
                    <a:pt x="399" y="49"/>
                  </a:lnTo>
                  <a:lnTo>
                    <a:pt x="383" y="47"/>
                  </a:lnTo>
                  <a:lnTo>
                    <a:pt x="366" y="45"/>
                  </a:lnTo>
                  <a:lnTo>
                    <a:pt x="350" y="41"/>
                  </a:lnTo>
                  <a:lnTo>
                    <a:pt x="333" y="39"/>
                  </a:lnTo>
                  <a:lnTo>
                    <a:pt x="317" y="35"/>
                  </a:lnTo>
                  <a:lnTo>
                    <a:pt x="301" y="33"/>
                  </a:lnTo>
                  <a:lnTo>
                    <a:pt x="284" y="29"/>
                  </a:lnTo>
                  <a:lnTo>
                    <a:pt x="270" y="25"/>
                  </a:lnTo>
                  <a:lnTo>
                    <a:pt x="254" y="23"/>
                  </a:lnTo>
                  <a:lnTo>
                    <a:pt x="237" y="19"/>
                  </a:lnTo>
                  <a:lnTo>
                    <a:pt x="221" y="16"/>
                  </a:lnTo>
                  <a:lnTo>
                    <a:pt x="204" y="12"/>
                  </a:lnTo>
                  <a:lnTo>
                    <a:pt x="188" y="10"/>
                  </a:lnTo>
                  <a:lnTo>
                    <a:pt x="172" y="6"/>
                  </a:lnTo>
                  <a:lnTo>
                    <a:pt x="163" y="4"/>
                  </a:lnTo>
                  <a:lnTo>
                    <a:pt x="163" y="4"/>
                  </a:lnTo>
                  <a:lnTo>
                    <a:pt x="166" y="6"/>
                  </a:lnTo>
                  <a:lnTo>
                    <a:pt x="166" y="8"/>
                  </a:lnTo>
                  <a:lnTo>
                    <a:pt x="161" y="6"/>
                  </a:lnTo>
                  <a:lnTo>
                    <a:pt x="159" y="6"/>
                  </a:lnTo>
                  <a:lnTo>
                    <a:pt x="159" y="8"/>
                  </a:lnTo>
                  <a:lnTo>
                    <a:pt x="159" y="10"/>
                  </a:lnTo>
                  <a:lnTo>
                    <a:pt x="163" y="10"/>
                  </a:lnTo>
                  <a:lnTo>
                    <a:pt x="163" y="12"/>
                  </a:lnTo>
                  <a:lnTo>
                    <a:pt x="163" y="12"/>
                  </a:lnTo>
                  <a:lnTo>
                    <a:pt x="161" y="12"/>
                  </a:lnTo>
                  <a:lnTo>
                    <a:pt x="161" y="14"/>
                  </a:lnTo>
                  <a:lnTo>
                    <a:pt x="161" y="14"/>
                  </a:lnTo>
                  <a:lnTo>
                    <a:pt x="161" y="16"/>
                  </a:lnTo>
                  <a:lnTo>
                    <a:pt x="161" y="16"/>
                  </a:lnTo>
                  <a:lnTo>
                    <a:pt x="163" y="21"/>
                  </a:lnTo>
                  <a:lnTo>
                    <a:pt x="166" y="23"/>
                  </a:lnTo>
                  <a:lnTo>
                    <a:pt x="166" y="23"/>
                  </a:lnTo>
                  <a:lnTo>
                    <a:pt x="163" y="27"/>
                  </a:lnTo>
                  <a:lnTo>
                    <a:pt x="166" y="25"/>
                  </a:lnTo>
                  <a:lnTo>
                    <a:pt x="166" y="25"/>
                  </a:lnTo>
                  <a:lnTo>
                    <a:pt x="168" y="27"/>
                  </a:lnTo>
                  <a:lnTo>
                    <a:pt x="168" y="29"/>
                  </a:lnTo>
                  <a:lnTo>
                    <a:pt x="168" y="29"/>
                  </a:lnTo>
                  <a:lnTo>
                    <a:pt x="166" y="31"/>
                  </a:lnTo>
                  <a:lnTo>
                    <a:pt x="166" y="31"/>
                  </a:lnTo>
                  <a:lnTo>
                    <a:pt x="166" y="33"/>
                  </a:lnTo>
                  <a:lnTo>
                    <a:pt x="166" y="33"/>
                  </a:lnTo>
                  <a:lnTo>
                    <a:pt x="166" y="33"/>
                  </a:lnTo>
                  <a:lnTo>
                    <a:pt x="168" y="33"/>
                  </a:lnTo>
                  <a:lnTo>
                    <a:pt x="170" y="31"/>
                  </a:lnTo>
                  <a:lnTo>
                    <a:pt x="172" y="29"/>
                  </a:lnTo>
                  <a:lnTo>
                    <a:pt x="174" y="29"/>
                  </a:lnTo>
                  <a:lnTo>
                    <a:pt x="174" y="29"/>
                  </a:lnTo>
                  <a:lnTo>
                    <a:pt x="176" y="31"/>
                  </a:lnTo>
                  <a:lnTo>
                    <a:pt x="178" y="33"/>
                  </a:lnTo>
                  <a:lnTo>
                    <a:pt x="178" y="33"/>
                  </a:lnTo>
                  <a:lnTo>
                    <a:pt x="176" y="37"/>
                  </a:lnTo>
                  <a:lnTo>
                    <a:pt x="176" y="39"/>
                  </a:lnTo>
                  <a:lnTo>
                    <a:pt x="176" y="39"/>
                  </a:lnTo>
                  <a:lnTo>
                    <a:pt x="176" y="39"/>
                  </a:lnTo>
                  <a:lnTo>
                    <a:pt x="176" y="43"/>
                  </a:lnTo>
                  <a:lnTo>
                    <a:pt x="176" y="43"/>
                  </a:lnTo>
                  <a:lnTo>
                    <a:pt x="178" y="45"/>
                  </a:lnTo>
                  <a:lnTo>
                    <a:pt x="178" y="45"/>
                  </a:lnTo>
                  <a:lnTo>
                    <a:pt x="178" y="45"/>
                  </a:lnTo>
                  <a:lnTo>
                    <a:pt x="178" y="45"/>
                  </a:lnTo>
                  <a:lnTo>
                    <a:pt x="180" y="49"/>
                  </a:lnTo>
                  <a:lnTo>
                    <a:pt x="180" y="51"/>
                  </a:lnTo>
                  <a:lnTo>
                    <a:pt x="178" y="51"/>
                  </a:lnTo>
                  <a:lnTo>
                    <a:pt x="176" y="53"/>
                  </a:lnTo>
                  <a:lnTo>
                    <a:pt x="176" y="51"/>
                  </a:lnTo>
                  <a:lnTo>
                    <a:pt x="174" y="49"/>
                  </a:lnTo>
                  <a:lnTo>
                    <a:pt x="172" y="47"/>
                  </a:lnTo>
                  <a:lnTo>
                    <a:pt x="170" y="47"/>
                  </a:lnTo>
                  <a:lnTo>
                    <a:pt x="170" y="49"/>
                  </a:lnTo>
                  <a:lnTo>
                    <a:pt x="174" y="51"/>
                  </a:lnTo>
                  <a:lnTo>
                    <a:pt x="174" y="53"/>
                  </a:lnTo>
                  <a:lnTo>
                    <a:pt x="174" y="55"/>
                  </a:lnTo>
                  <a:lnTo>
                    <a:pt x="174" y="57"/>
                  </a:lnTo>
                  <a:lnTo>
                    <a:pt x="174" y="60"/>
                  </a:lnTo>
                  <a:lnTo>
                    <a:pt x="174" y="60"/>
                  </a:lnTo>
                  <a:lnTo>
                    <a:pt x="174" y="62"/>
                  </a:lnTo>
                  <a:lnTo>
                    <a:pt x="174" y="62"/>
                  </a:lnTo>
                  <a:lnTo>
                    <a:pt x="174" y="62"/>
                  </a:lnTo>
                  <a:lnTo>
                    <a:pt x="172" y="64"/>
                  </a:lnTo>
                  <a:lnTo>
                    <a:pt x="172" y="62"/>
                  </a:lnTo>
                  <a:lnTo>
                    <a:pt x="170" y="62"/>
                  </a:lnTo>
                  <a:lnTo>
                    <a:pt x="170" y="60"/>
                  </a:lnTo>
                  <a:lnTo>
                    <a:pt x="168" y="57"/>
                  </a:lnTo>
                  <a:lnTo>
                    <a:pt x="166" y="57"/>
                  </a:lnTo>
                  <a:lnTo>
                    <a:pt x="166" y="62"/>
                  </a:lnTo>
                  <a:lnTo>
                    <a:pt x="166" y="60"/>
                  </a:lnTo>
                  <a:lnTo>
                    <a:pt x="163" y="55"/>
                  </a:lnTo>
                  <a:lnTo>
                    <a:pt x="163" y="53"/>
                  </a:lnTo>
                  <a:lnTo>
                    <a:pt x="161" y="55"/>
                  </a:lnTo>
                  <a:lnTo>
                    <a:pt x="159" y="55"/>
                  </a:lnTo>
                  <a:lnTo>
                    <a:pt x="159" y="55"/>
                  </a:lnTo>
                  <a:lnTo>
                    <a:pt x="157" y="55"/>
                  </a:lnTo>
                  <a:lnTo>
                    <a:pt x="157" y="55"/>
                  </a:lnTo>
                  <a:lnTo>
                    <a:pt x="157" y="57"/>
                  </a:lnTo>
                  <a:lnTo>
                    <a:pt x="159" y="57"/>
                  </a:lnTo>
                  <a:lnTo>
                    <a:pt x="159" y="57"/>
                  </a:lnTo>
                  <a:lnTo>
                    <a:pt x="159" y="60"/>
                  </a:lnTo>
                  <a:lnTo>
                    <a:pt x="159" y="62"/>
                  </a:lnTo>
                  <a:lnTo>
                    <a:pt x="157" y="62"/>
                  </a:lnTo>
                  <a:lnTo>
                    <a:pt x="157" y="62"/>
                  </a:lnTo>
                  <a:lnTo>
                    <a:pt x="157" y="64"/>
                  </a:lnTo>
                  <a:lnTo>
                    <a:pt x="159" y="64"/>
                  </a:lnTo>
                  <a:lnTo>
                    <a:pt x="159" y="66"/>
                  </a:lnTo>
                  <a:lnTo>
                    <a:pt x="161" y="66"/>
                  </a:lnTo>
                  <a:lnTo>
                    <a:pt x="161" y="66"/>
                  </a:lnTo>
                  <a:lnTo>
                    <a:pt x="163" y="64"/>
                  </a:lnTo>
                  <a:lnTo>
                    <a:pt x="166" y="64"/>
                  </a:lnTo>
                  <a:lnTo>
                    <a:pt x="166" y="64"/>
                  </a:lnTo>
                  <a:lnTo>
                    <a:pt x="166" y="64"/>
                  </a:lnTo>
                  <a:lnTo>
                    <a:pt x="168" y="64"/>
                  </a:lnTo>
                  <a:lnTo>
                    <a:pt x="168" y="64"/>
                  </a:lnTo>
                  <a:lnTo>
                    <a:pt x="166" y="66"/>
                  </a:lnTo>
                  <a:lnTo>
                    <a:pt x="166" y="66"/>
                  </a:lnTo>
                  <a:lnTo>
                    <a:pt x="168" y="68"/>
                  </a:lnTo>
                  <a:lnTo>
                    <a:pt x="168" y="70"/>
                  </a:lnTo>
                  <a:lnTo>
                    <a:pt x="168" y="70"/>
                  </a:lnTo>
                  <a:lnTo>
                    <a:pt x="170" y="72"/>
                  </a:lnTo>
                  <a:lnTo>
                    <a:pt x="172" y="72"/>
                  </a:lnTo>
                  <a:lnTo>
                    <a:pt x="172" y="72"/>
                  </a:lnTo>
                  <a:lnTo>
                    <a:pt x="174" y="74"/>
                  </a:lnTo>
                  <a:lnTo>
                    <a:pt x="176" y="76"/>
                  </a:lnTo>
                  <a:lnTo>
                    <a:pt x="178" y="78"/>
                  </a:lnTo>
                  <a:lnTo>
                    <a:pt x="178" y="80"/>
                  </a:lnTo>
                  <a:lnTo>
                    <a:pt x="178" y="80"/>
                  </a:lnTo>
                  <a:lnTo>
                    <a:pt x="178" y="82"/>
                  </a:lnTo>
                  <a:lnTo>
                    <a:pt x="178" y="82"/>
                  </a:lnTo>
                  <a:lnTo>
                    <a:pt x="176" y="84"/>
                  </a:lnTo>
                  <a:lnTo>
                    <a:pt x="176" y="84"/>
                  </a:lnTo>
                  <a:lnTo>
                    <a:pt x="176" y="86"/>
                  </a:lnTo>
                  <a:lnTo>
                    <a:pt x="176" y="86"/>
                  </a:lnTo>
                  <a:lnTo>
                    <a:pt x="174" y="84"/>
                  </a:lnTo>
                  <a:lnTo>
                    <a:pt x="174" y="84"/>
                  </a:lnTo>
                  <a:lnTo>
                    <a:pt x="174" y="82"/>
                  </a:lnTo>
                  <a:lnTo>
                    <a:pt x="172" y="82"/>
                  </a:lnTo>
                  <a:lnTo>
                    <a:pt x="170" y="82"/>
                  </a:lnTo>
                  <a:lnTo>
                    <a:pt x="168" y="82"/>
                  </a:lnTo>
                  <a:lnTo>
                    <a:pt x="166" y="84"/>
                  </a:lnTo>
                  <a:lnTo>
                    <a:pt x="166" y="86"/>
                  </a:lnTo>
                  <a:lnTo>
                    <a:pt x="163" y="88"/>
                  </a:lnTo>
                  <a:lnTo>
                    <a:pt x="163" y="90"/>
                  </a:lnTo>
                  <a:lnTo>
                    <a:pt x="166" y="92"/>
                  </a:lnTo>
                  <a:lnTo>
                    <a:pt x="166" y="94"/>
                  </a:lnTo>
                  <a:lnTo>
                    <a:pt x="172" y="100"/>
                  </a:lnTo>
                  <a:lnTo>
                    <a:pt x="172" y="100"/>
                  </a:lnTo>
                  <a:lnTo>
                    <a:pt x="174" y="105"/>
                  </a:lnTo>
                  <a:lnTo>
                    <a:pt x="174" y="105"/>
                  </a:lnTo>
                  <a:lnTo>
                    <a:pt x="176" y="105"/>
                  </a:lnTo>
                  <a:lnTo>
                    <a:pt x="174" y="100"/>
                  </a:lnTo>
                  <a:lnTo>
                    <a:pt x="174" y="100"/>
                  </a:lnTo>
                  <a:lnTo>
                    <a:pt x="172" y="98"/>
                  </a:lnTo>
                  <a:lnTo>
                    <a:pt x="172" y="98"/>
                  </a:lnTo>
                  <a:lnTo>
                    <a:pt x="170" y="96"/>
                  </a:lnTo>
                  <a:lnTo>
                    <a:pt x="170" y="94"/>
                  </a:lnTo>
                  <a:lnTo>
                    <a:pt x="170" y="94"/>
                  </a:lnTo>
                  <a:lnTo>
                    <a:pt x="168" y="92"/>
                  </a:lnTo>
                  <a:lnTo>
                    <a:pt x="168" y="90"/>
                  </a:lnTo>
                  <a:lnTo>
                    <a:pt x="170" y="88"/>
                  </a:lnTo>
                  <a:lnTo>
                    <a:pt x="172" y="88"/>
                  </a:lnTo>
                  <a:lnTo>
                    <a:pt x="172" y="86"/>
                  </a:lnTo>
                  <a:lnTo>
                    <a:pt x="172" y="86"/>
                  </a:lnTo>
                  <a:lnTo>
                    <a:pt x="172" y="86"/>
                  </a:lnTo>
                  <a:lnTo>
                    <a:pt x="174" y="86"/>
                  </a:lnTo>
                  <a:lnTo>
                    <a:pt x="174" y="86"/>
                  </a:lnTo>
                  <a:lnTo>
                    <a:pt x="174" y="86"/>
                  </a:lnTo>
                  <a:lnTo>
                    <a:pt x="176" y="88"/>
                  </a:lnTo>
                  <a:lnTo>
                    <a:pt x="176" y="90"/>
                  </a:lnTo>
                  <a:lnTo>
                    <a:pt x="176" y="94"/>
                  </a:lnTo>
                  <a:lnTo>
                    <a:pt x="176" y="98"/>
                  </a:lnTo>
                  <a:lnTo>
                    <a:pt x="176" y="100"/>
                  </a:lnTo>
                  <a:lnTo>
                    <a:pt x="178" y="105"/>
                  </a:lnTo>
                  <a:lnTo>
                    <a:pt x="182" y="109"/>
                  </a:lnTo>
                  <a:lnTo>
                    <a:pt x="184" y="109"/>
                  </a:lnTo>
                  <a:lnTo>
                    <a:pt x="186" y="109"/>
                  </a:lnTo>
                  <a:lnTo>
                    <a:pt x="186" y="109"/>
                  </a:lnTo>
                  <a:lnTo>
                    <a:pt x="186" y="109"/>
                  </a:lnTo>
                  <a:lnTo>
                    <a:pt x="186" y="111"/>
                  </a:lnTo>
                  <a:lnTo>
                    <a:pt x="186" y="111"/>
                  </a:lnTo>
                  <a:lnTo>
                    <a:pt x="186" y="111"/>
                  </a:lnTo>
                  <a:lnTo>
                    <a:pt x="184" y="111"/>
                  </a:lnTo>
                  <a:lnTo>
                    <a:pt x="184" y="113"/>
                  </a:lnTo>
                  <a:lnTo>
                    <a:pt x="184" y="113"/>
                  </a:lnTo>
                  <a:lnTo>
                    <a:pt x="182" y="115"/>
                  </a:lnTo>
                  <a:lnTo>
                    <a:pt x="182" y="115"/>
                  </a:lnTo>
                  <a:lnTo>
                    <a:pt x="178" y="115"/>
                  </a:lnTo>
                  <a:lnTo>
                    <a:pt x="178" y="115"/>
                  </a:lnTo>
                  <a:lnTo>
                    <a:pt x="178" y="115"/>
                  </a:lnTo>
                  <a:lnTo>
                    <a:pt x="176" y="117"/>
                  </a:lnTo>
                  <a:lnTo>
                    <a:pt x="176" y="117"/>
                  </a:lnTo>
                  <a:lnTo>
                    <a:pt x="174" y="117"/>
                  </a:lnTo>
                  <a:lnTo>
                    <a:pt x="174" y="119"/>
                  </a:lnTo>
                  <a:lnTo>
                    <a:pt x="174" y="119"/>
                  </a:lnTo>
                  <a:lnTo>
                    <a:pt x="172" y="121"/>
                  </a:lnTo>
                  <a:lnTo>
                    <a:pt x="172" y="123"/>
                  </a:lnTo>
                  <a:lnTo>
                    <a:pt x="170" y="125"/>
                  </a:lnTo>
                  <a:lnTo>
                    <a:pt x="168" y="125"/>
                  </a:lnTo>
                  <a:lnTo>
                    <a:pt x="168" y="127"/>
                  </a:lnTo>
                  <a:lnTo>
                    <a:pt x="166" y="129"/>
                  </a:lnTo>
                  <a:lnTo>
                    <a:pt x="166" y="129"/>
                  </a:lnTo>
                  <a:lnTo>
                    <a:pt x="166" y="131"/>
                  </a:lnTo>
                  <a:lnTo>
                    <a:pt x="166" y="133"/>
                  </a:lnTo>
                  <a:lnTo>
                    <a:pt x="166" y="135"/>
                  </a:lnTo>
                  <a:lnTo>
                    <a:pt x="166" y="135"/>
                  </a:lnTo>
                  <a:lnTo>
                    <a:pt x="166" y="137"/>
                  </a:lnTo>
                  <a:lnTo>
                    <a:pt x="166" y="139"/>
                  </a:lnTo>
                  <a:lnTo>
                    <a:pt x="163" y="141"/>
                  </a:lnTo>
                  <a:lnTo>
                    <a:pt x="163" y="141"/>
                  </a:lnTo>
                  <a:lnTo>
                    <a:pt x="163" y="141"/>
                  </a:lnTo>
                  <a:lnTo>
                    <a:pt x="161" y="144"/>
                  </a:lnTo>
                  <a:lnTo>
                    <a:pt x="161" y="144"/>
                  </a:lnTo>
                  <a:lnTo>
                    <a:pt x="161" y="144"/>
                  </a:lnTo>
                  <a:lnTo>
                    <a:pt x="161" y="144"/>
                  </a:lnTo>
                  <a:lnTo>
                    <a:pt x="161" y="146"/>
                  </a:lnTo>
                  <a:lnTo>
                    <a:pt x="161" y="146"/>
                  </a:lnTo>
                  <a:lnTo>
                    <a:pt x="166" y="148"/>
                  </a:lnTo>
                  <a:lnTo>
                    <a:pt x="166" y="150"/>
                  </a:lnTo>
                  <a:lnTo>
                    <a:pt x="166" y="152"/>
                  </a:lnTo>
                  <a:lnTo>
                    <a:pt x="166" y="152"/>
                  </a:lnTo>
                  <a:lnTo>
                    <a:pt x="166" y="154"/>
                  </a:lnTo>
                  <a:lnTo>
                    <a:pt x="163" y="154"/>
                  </a:lnTo>
                  <a:lnTo>
                    <a:pt x="163" y="152"/>
                  </a:lnTo>
                  <a:lnTo>
                    <a:pt x="163" y="150"/>
                  </a:lnTo>
                  <a:lnTo>
                    <a:pt x="161" y="150"/>
                  </a:lnTo>
                  <a:lnTo>
                    <a:pt x="161" y="152"/>
                  </a:lnTo>
                  <a:lnTo>
                    <a:pt x="161" y="152"/>
                  </a:lnTo>
                  <a:lnTo>
                    <a:pt x="161" y="154"/>
                  </a:lnTo>
                  <a:lnTo>
                    <a:pt x="161" y="158"/>
                  </a:lnTo>
                  <a:lnTo>
                    <a:pt x="161" y="160"/>
                  </a:lnTo>
                  <a:lnTo>
                    <a:pt x="161" y="160"/>
                  </a:lnTo>
                  <a:lnTo>
                    <a:pt x="161" y="162"/>
                  </a:lnTo>
                  <a:lnTo>
                    <a:pt x="161" y="166"/>
                  </a:lnTo>
                  <a:lnTo>
                    <a:pt x="161" y="168"/>
                  </a:lnTo>
                  <a:lnTo>
                    <a:pt x="163" y="170"/>
                  </a:lnTo>
                  <a:lnTo>
                    <a:pt x="163" y="172"/>
                  </a:lnTo>
                  <a:lnTo>
                    <a:pt x="163" y="174"/>
                  </a:lnTo>
                  <a:lnTo>
                    <a:pt x="161" y="176"/>
                  </a:lnTo>
                  <a:lnTo>
                    <a:pt x="161" y="176"/>
                  </a:lnTo>
                  <a:lnTo>
                    <a:pt x="159" y="176"/>
                  </a:lnTo>
                  <a:lnTo>
                    <a:pt x="157" y="176"/>
                  </a:lnTo>
                  <a:lnTo>
                    <a:pt x="155" y="178"/>
                  </a:lnTo>
                  <a:lnTo>
                    <a:pt x="153" y="178"/>
                  </a:lnTo>
                  <a:lnTo>
                    <a:pt x="153" y="178"/>
                  </a:lnTo>
                  <a:lnTo>
                    <a:pt x="153" y="180"/>
                  </a:lnTo>
                  <a:lnTo>
                    <a:pt x="153" y="180"/>
                  </a:lnTo>
                  <a:lnTo>
                    <a:pt x="155" y="182"/>
                  </a:lnTo>
                  <a:lnTo>
                    <a:pt x="153" y="182"/>
                  </a:lnTo>
                  <a:lnTo>
                    <a:pt x="153" y="182"/>
                  </a:lnTo>
                  <a:lnTo>
                    <a:pt x="151" y="182"/>
                  </a:lnTo>
                  <a:lnTo>
                    <a:pt x="149" y="180"/>
                  </a:lnTo>
                  <a:lnTo>
                    <a:pt x="147" y="178"/>
                  </a:lnTo>
                  <a:lnTo>
                    <a:pt x="145" y="176"/>
                  </a:lnTo>
                  <a:lnTo>
                    <a:pt x="145" y="180"/>
                  </a:lnTo>
                  <a:lnTo>
                    <a:pt x="143" y="185"/>
                  </a:lnTo>
                  <a:lnTo>
                    <a:pt x="141" y="187"/>
                  </a:lnTo>
                  <a:lnTo>
                    <a:pt x="133" y="193"/>
                  </a:lnTo>
                  <a:lnTo>
                    <a:pt x="131" y="195"/>
                  </a:lnTo>
                  <a:lnTo>
                    <a:pt x="127" y="197"/>
                  </a:lnTo>
                  <a:lnTo>
                    <a:pt x="127" y="195"/>
                  </a:lnTo>
                  <a:lnTo>
                    <a:pt x="127" y="195"/>
                  </a:lnTo>
                  <a:lnTo>
                    <a:pt x="125" y="193"/>
                  </a:lnTo>
                  <a:lnTo>
                    <a:pt x="125" y="193"/>
                  </a:lnTo>
                  <a:lnTo>
                    <a:pt x="123" y="191"/>
                  </a:lnTo>
                  <a:lnTo>
                    <a:pt x="123" y="189"/>
                  </a:lnTo>
                  <a:lnTo>
                    <a:pt x="123" y="189"/>
                  </a:lnTo>
                  <a:lnTo>
                    <a:pt x="120" y="187"/>
                  </a:lnTo>
                  <a:lnTo>
                    <a:pt x="120" y="189"/>
                  </a:lnTo>
                  <a:lnTo>
                    <a:pt x="120" y="189"/>
                  </a:lnTo>
                  <a:lnTo>
                    <a:pt x="120" y="189"/>
                  </a:lnTo>
                  <a:lnTo>
                    <a:pt x="120" y="191"/>
                  </a:lnTo>
                  <a:lnTo>
                    <a:pt x="118" y="191"/>
                  </a:lnTo>
                  <a:lnTo>
                    <a:pt x="116" y="191"/>
                  </a:lnTo>
                  <a:lnTo>
                    <a:pt x="118" y="189"/>
                  </a:lnTo>
                  <a:lnTo>
                    <a:pt x="118" y="189"/>
                  </a:lnTo>
                  <a:lnTo>
                    <a:pt x="118" y="189"/>
                  </a:lnTo>
                  <a:lnTo>
                    <a:pt x="118" y="187"/>
                  </a:lnTo>
                  <a:lnTo>
                    <a:pt x="114" y="189"/>
                  </a:lnTo>
                  <a:lnTo>
                    <a:pt x="114" y="189"/>
                  </a:lnTo>
                  <a:lnTo>
                    <a:pt x="114" y="191"/>
                  </a:lnTo>
                  <a:lnTo>
                    <a:pt x="114" y="193"/>
                  </a:lnTo>
                  <a:lnTo>
                    <a:pt x="114" y="193"/>
                  </a:lnTo>
                  <a:lnTo>
                    <a:pt x="112" y="195"/>
                  </a:lnTo>
                  <a:lnTo>
                    <a:pt x="112" y="195"/>
                  </a:lnTo>
                  <a:lnTo>
                    <a:pt x="112" y="197"/>
                  </a:lnTo>
                  <a:lnTo>
                    <a:pt x="112" y="199"/>
                  </a:lnTo>
                  <a:lnTo>
                    <a:pt x="112" y="197"/>
                  </a:lnTo>
                  <a:lnTo>
                    <a:pt x="112" y="197"/>
                  </a:lnTo>
                  <a:lnTo>
                    <a:pt x="110" y="195"/>
                  </a:lnTo>
                  <a:lnTo>
                    <a:pt x="110" y="193"/>
                  </a:lnTo>
                  <a:lnTo>
                    <a:pt x="112" y="193"/>
                  </a:lnTo>
                  <a:lnTo>
                    <a:pt x="112" y="191"/>
                  </a:lnTo>
                  <a:lnTo>
                    <a:pt x="112" y="191"/>
                  </a:lnTo>
                  <a:lnTo>
                    <a:pt x="112" y="189"/>
                  </a:lnTo>
                  <a:lnTo>
                    <a:pt x="110" y="191"/>
                  </a:lnTo>
                  <a:lnTo>
                    <a:pt x="108" y="193"/>
                  </a:lnTo>
                  <a:lnTo>
                    <a:pt x="106" y="193"/>
                  </a:lnTo>
                  <a:lnTo>
                    <a:pt x="104" y="193"/>
                  </a:lnTo>
                  <a:lnTo>
                    <a:pt x="106" y="193"/>
                  </a:lnTo>
                  <a:lnTo>
                    <a:pt x="108" y="191"/>
                  </a:lnTo>
                  <a:lnTo>
                    <a:pt x="112" y="187"/>
                  </a:lnTo>
                  <a:lnTo>
                    <a:pt x="112" y="185"/>
                  </a:lnTo>
                  <a:lnTo>
                    <a:pt x="112" y="185"/>
                  </a:lnTo>
                  <a:lnTo>
                    <a:pt x="110" y="187"/>
                  </a:lnTo>
                  <a:lnTo>
                    <a:pt x="110" y="187"/>
                  </a:lnTo>
                  <a:lnTo>
                    <a:pt x="108" y="187"/>
                  </a:lnTo>
                  <a:lnTo>
                    <a:pt x="102" y="191"/>
                  </a:lnTo>
                  <a:lnTo>
                    <a:pt x="100" y="191"/>
                  </a:lnTo>
                  <a:lnTo>
                    <a:pt x="102" y="189"/>
                  </a:lnTo>
                  <a:lnTo>
                    <a:pt x="102" y="189"/>
                  </a:lnTo>
                  <a:lnTo>
                    <a:pt x="104" y="189"/>
                  </a:lnTo>
                  <a:lnTo>
                    <a:pt x="106" y="189"/>
                  </a:lnTo>
                  <a:lnTo>
                    <a:pt x="106" y="187"/>
                  </a:lnTo>
                  <a:lnTo>
                    <a:pt x="104" y="187"/>
                  </a:lnTo>
                  <a:lnTo>
                    <a:pt x="102" y="187"/>
                  </a:lnTo>
                  <a:lnTo>
                    <a:pt x="100" y="187"/>
                  </a:lnTo>
                  <a:lnTo>
                    <a:pt x="102" y="185"/>
                  </a:lnTo>
                  <a:lnTo>
                    <a:pt x="104" y="185"/>
                  </a:lnTo>
                  <a:lnTo>
                    <a:pt x="108" y="185"/>
                  </a:lnTo>
                  <a:lnTo>
                    <a:pt x="110" y="182"/>
                  </a:lnTo>
                  <a:lnTo>
                    <a:pt x="112" y="180"/>
                  </a:lnTo>
                  <a:lnTo>
                    <a:pt x="116" y="174"/>
                  </a:lnTo>
                  <a:lnTo>
                    <a:pt x="116" y="174"/>
                  </a:lnTo>
                  <a:lnTo>
                    <a:pt x="118" y="174"/>
                  </a:lnTo>
                  <a:lnTo>
                    <a:pt x="118" y="174"/>
                  </a:lnTo>
                  <a:lnTo>
                    <a:pt x="120" y="172"/>
                  </a:lnTo>
                  <a:lnTo>
                    <a:pt x="123" y="172"/>
                  </a:lnTo>
                  <a:lnTo>
                    <a:pt x="123" y="170"/>
                  </a:lnTo>
                  <a:lnTo>
                    <a:pt x="127" y="166"/>
                  </a:lnTo>
                  <a:lnTo>
                    <a:pt x="127" y="164"/>
                  </a:lnTo>
                  <a:lnTo>
                    <a:pt x="127" y="166"/>
                  </a:lnTo>
                  <a:lnTo>
                    <a:pt x="127" y="166"/>
                  </a:lnTo>
                  <a:lnTo>
                    <a:pt x="127" y="166"/>
                  </a:lnTo>
                  <a:lnTo>
                    <a:pt x="127" y="168"/>
                  </a:lnTo>
                  <a:lnTo>
                    <a:pt x="127" y="168"/>
                  </a:lnTo>
                  <a:lnTo>
                    <a:pt x="127" y="170"/>
                  </a:lnTo>
                  <a:lnTo>
                    <a:pt x="127" y="172"/>
                  </a:lnTo>
                  <a:lnTo>
                    <a:pt x="127" y="174"/>
                  </a:lnTo>
                  <a:lnTo>
                    <a:pt x="125" y="176"/>
                  </a:lnTo>
                  <a:lnTo>
                    <a:pt x="125" y="176"/>
                  </a:lnTo>
                  <a:lnTo>
                    <a:pt x="123" y="178"/>
                  </a:lnTo>
                  <a:lnTo>
                    <a:pt x="123" y="185"/>
                  </a:lnTo>
                  <a:lnTo>
                    <a:pt x="125" y="187"/>
                  </a:lnTo>
                  <a:lnTo>
                    <a:pt x="127" y="187"/>
                  </a:lnTo>
                  <a:lnTo>
                    <a:pt x="127" y="185"/>
                  </a:lnTo>
                  <a:lnTo>
                    <a:pt x="127" y="185"/>
                  </a:lnTo>
                  <a:lnTo>
                    <a:pt x="127" y="185"/>
                  </a:lnTo>
                  <a:lnTo>
                    <a:pt x="127" y="182"/>
                  </a:lnTo>
                  <a:lnTo>
                    <a:pt x="129" y="182"/>
                  </a:lnTo>
                  <a:lnTo>
                    <a:pt x="129" y="182"/>
                  </a:lnTo>
                  <a:lnTo>
                    <a:pt x="129" y="182"/>
                  </a:lnTo>
                  <a:lnTo>
                    <a:pt x="129" y="182"/>
                  </a:lnTo>
                  <a:lnTo>
                    <a:pt x="129" y="182"/>
                  </a:lnTo>
                  <a:lnTo>
                    <a:pt x="129" y="182"/>
                  </a:lnTo>
                  <a:lnTo>
                    <a:pt x="131" y="180"/>
                  </a:lnTo>
                  <a:lnTo>
                    <a:pt x="129" y="178"/>
                  </a:lnTo>
                  <a:lnTo>
                    <a:pt x="129" y="176"/>
                  </a:lnTo>
                  <a:lnTo>
                    <a:pt x="129" y="174"/>
                  </a:lnTo>
                  <a:lnTo>
                    <a:pt x="131" y="174"/>
                  </a:lnTo>
                  <a:lnTo>
                    <a:pt x="131" y="172"/>
                  </a:lnTo>
                  <a:lnTo>
                    <a:pt x="131" y="172"/>
                  </a:lnTo>
                  <a:lnTo>
                    <a:pt x="133" y="170"/>
                  </a:lnTo>
                  <a:lnTo>
                    <a:pt x="133" y="170"/>
                  </a:lnTo>
                  <a:lnTo>
                    <a:pt x="133" y="170"/>
                  </a:lnTo>
                  <a:lnTo>
                    <a:pt x="133" y="170"/>
                  </a:lnTo>
                  <a:lnTo>
                    <a:pt x="135" y="170"/>
                  </a:lnTo>
                  <a:lnTo>
                    <a:pt x="135" y="168"/>
                  </a:lnTo>
                  <a:lnTo>
                    <a:pt x="139" y="168"/>
                  </a:lnTo>
                  <a:lnTo>
                    <a:pt x="139" y="168"/>
                  </a:lnTo>
                  <a:lnTo>
                    <a:pt x="141" y="166"/>
                  </a:lnTo>
                  <a:lnTo>
                    <a:pt x="141" y="168"/>
                  </a:lnTo>
                  <a:lnTo>
                    <a:pt x="139" y="170"/>
                  </a:lnTo>
                  <a:lnTo>
                    <a:pt x="137" y="170"/>
                  </a:lnTo>
                  <a:lnTo>
                    <a:pt x="137" y="172"/>
                  </a:lnTo>
                  <a:lnTo>
                    <a:pt x="135" y="174"/>
                  </a:lnTo>
                  <a:lnTo>
                    <a:pt x="135" y="174"/>
                  </a:lnTo>
                  <a:lnTo>
                    <a:pt x="135" y="176"/>
                  </a:lnTo>
                  <a:lnTo>
                    <a:pt x="135" y="176"/>
                  </a:lnTo>
                  <a:lnTo>
                    <a:pt x="141" y="180"/>
                  </a:lnTo>
                  <a:lnTo>
                    <a:pt x="143" y="180"/>
                  </a:lnTo>
                  <a:lnTo>
                    <a:pt x="143" y="178"/>
                  </a:lnTo>
                  <a:lnTo>
                    <a:pt x="143" y="178"/>
                  </a:lnTo>
                  <a:lnTo>
                    <a:pt x="143" y="174"/>
                  </a:lnTo>
                  <a:lnTo>
                    <a:pt x="143" y="174"/>
                  </a:lnTo>
                  <a:lnTo>
                    <a:pt x="145" y="172"/>
                  </a:lnTo>
                  <a:lnTo>
                    <a:pt x="145" y="172"/>
                  </a:lnTo>
                  <a:lnTo>
                    <a:pt x="147" y="170"/>
                  </a:lnTo>
                  <a:lnTo>
                    <a:pt x="145" y="168"/>
                  </a:lnTo>
                  <a:lnTo>
                    <a:pt x="147" y="166"/>
                  </a:lnTo>
                  <a:lnTo>
                    <a:pt x="147" y="164"/>
                  </a:lnTo>
                  <a:lnTo>
                    <a:pt x="149" y="162"/>
                  </a:lnTo>
                  <a:lnTo>
                    <a:pt x="149" y="160"/>
                  </a:lnTo>
                  <a:lnTo>
                    <a:pt x="151" y="158"/>
                  </a:lnTo>
                  <a:lnTo>
                    <a:pt x="151" y="156"/>
                  </a:lnTo>
                  <a:lnTo>
                    <a:pt x="151" y="156"/>
                  </a:lnTo>
                  <a:lnTo>
                    <a:pt x="149" y="154"/>
                  </a:lnTo>
                  <a:lnTo>
                    <a:pt x="151" y="152"/>
                  </a:lnTo>
                  <a:lnTo>
                    <a:pt x="149" y="150"/>
                  </a:lnTo>
                  <a:lnTo>
                    <a:pt x="147" y="150"/>
                  </a:lnTo>
                  <a:lnTo>
                    <a:pt x="145" y="152"/>
                  </a:lnTo>
                  <a:lnTo>
                    <a:pt x="143" y="152"/>
                  </a:lnTo>
                  <a:lnTo>
                    <a:pt x="139" y="152"/>
                  </a:lnTo>
                  <a:lnTo>
                    <a:pt x="139" y="152"/>
                  </a:lnTo>
                  <a:lnTo>
                    <a:pt x="141" y="152"/>
                  </a:lnTo>
                  <a:lnTo>
                    <a:pt x="143" y="150"/>
                  </a:lnTo>
                  <a:lnTo>
                    <a:pt x="143" y="148"/>
                  </a:lnTo>
                  <a:lnTo>
                    <a:pt x="143" y="148"/>
                  </a:lnTo>
                  <a:lnTo>
                    <a:pt x="143" y="148"/>
                  </a:lnTo>
                  <a:lnTo>
                    <a:pt x="141" y="146"/>
                  </a:lnTo>
                  <a:lnTo>
                    <a:pt x="139" y="146"/>
                  </a:lnTo>
                  <a:lnTo>
                    <a:pt x="139" y="144"/>
                  </a:lnTo>
                  <a:lnTo>
                    <a:pt x="139" y="144"/>
                  </a:lnTo>
                  <a:lnTo>
                    <a:pt x="141" y="141"/>
                  </a:lnTo>
                  <a:lnTo>
                    <a:pt x="141" y="141"/>
                  </a:lnTo>
                  <a:lnTo>
                    <a:pt x="141" y="139"/>
                  </a:lnTo>
                  <a:lnTo>
                    <a:pt x="143" y="146"/>
                  </a:lnTo>
                  <a:lnTo>
                    <a:pt x="145" y="150"/>
                  </a:lnTo>
                  <a:lnTo>
                    <a:pt x="147" y="148"/>
                  </a:lnTo>
                  <a:lnTo>
                    <a:pt x="147" y="148"/>
                  </a:lnTo>
                  <a:lnTo>
                    <a:pt x="147" y="148"/>
                  </a:lnTo>
                  <a:lnTo>
                    <a:pt x="147" y="137"/>
                  </a:lnTo>
                  <a:lnTo>
                    <a:pt x="147" y="135"/>
                  </a:lnTo>
                  <a:lnTo>
                    <a:pt x="145" y="135"/>
                  </a:lnTo>
                  <a:lnTo>
                    <a:pt x="145" y="135"/>
                  </a:lnTo>
                  <a:lnTo>
                    <a:pt x="145" y="133"/>
                  </a:lnTo>
                  <a:lnTo>
                    <a:pt x="145" y="133"/>
                  </a:lnTo>
                  <a:lnTo>
                    <a:pt x="145" y="133"/>
                  </a:lnTo>
                  <a:lnTo>
                    <a:pt x="149" y="137"/>
                  </a:lnTo>
                  <a:lnTo>
                    <a:pt x="151" y="137"/>
                  </a:lnTo>
                  <a:lnTo>
                    <a:pt x="151" y="135"/>
                  </a:lnTo>
                  <a:lnTo>
                    <a:pt x="153" y="135"/>
                  </a:lnTo>
                  <a:lnTo>
                    <a:pt x="153" y="133"/>
                  </a:lnTo>
                  <a:lnTo>
                    <a:pt x="153" y="133"/>
                  </a:lnTo>
                  <a:lnTo>
                    <a:pt x="157" y="135"/>
                  </a:lnTo>
                  <a:lnTo>
                    <a:pt x="157" y="135"/>
                  </a:lnTo>
                  <a:lnTo>
                    <a:pt x="159" y="133"/>
                  </a:lnTo>
                  <a:lnTo>
                    <a:pt x="159" y="133"/>
                  </a:lnTo>
                  <a:lnTo>
                    <a:pt x="159" y="133"/>
                  </a:lnTo>
                  <a:lnTo>
                    <a:pt x="159" y="131"/>
                  </a:lnTo>
                  <a:lnTo>
                    <a:pt x="159" y="131"/>
                  </a:lnTo>
                  <a:lnTo>
                    <a:pt x="159" y="129"/>
                  </a:lnTo>
                  <a:lnTo>
                    <a:pt x="159" y="129"/>
                  </a:lnTo>
                  <a:lnTo>
                    <a:pt x="157" y="129"/>
                  </a:lnTo>
                  <a:lnTo>
                    <a:pt x="159" y="127"/>
                  </a:lnTo>
                  <a:lnTo>
                    <a:pt x="159" y="127"/>
                  </a:lnTo>
                  <a:lnTo>
                    <a:pt x="159" y="125"/>
                  </a:lnTo>
                  <a:lnTo>
                    <a:pt x="157" y="125"/>
                  </a:lnTo>
                  <a:lnTo>
                    <a:pt x="159" y="121"/>
                  </a:lnTo>
                  <a:lnTo>
                    <a:pt x="159" y="119"/>
                  </a:lnTo>
                  <a:lnTo>
                    <a:pt x="159" y="117"/>
                  </a:lnTo>
                  <a:lnTo>
                    <a:pt x="157" y="115"/>
                  </a:lnTo>
                  <a:lnTo>
                    <a:pt x="153" y="111"/>
                  </a:lnTo>
                  <a:lnTo>
                    <a:pt x="153" y="113"/>
                  </a:lnTo>
                  <a:lnTo>
                    <a:pt x="153" y="115"/>
                  </a:lnTo>
                  <a:lnTo>
                    <a:pt x="153" y="117"/>
                  </a:lnTo>
                  <a:lnTo>
                    <a:pt x="153" y="121"/>
                  </a:lnTo>
                  <a:lnTo>
                    <a:pt x="153" y="123"/>
                  </a:lnTo>
                  <a:lnTo>
                    <a:pt x="153" y="125"/>
                  </a:lnTo>
                  <a:lnTo>
                    <a:pt x="151" y="125"/>
                  </a:lnTo>
                  <a:lnTo>
                    <a:pt x="151" y="123"/>
                  </a:lnTo>
                  <a:lnTo>
                    <a:pt x="151" y="123"/>
                  </a:lnTo>
                  <a:lnTo>
                    <a:pt x="151" y="121"/>
                  </a:lnTo>
                  <a:lnTo>
                    <a:pt x="151" y="121"/>
                  </a:lnTo>
                  <a:lnTo>
                    <a:pt x="149" y="121"/>
                  </a:lnTo>
                  <a:lnTo>
                    <a:pt x="149" y="123"/>
                  </a:lnTo>
                  <a:lnTo>
                    <a:pt x="139" y="131"/>
                  </a:lnTo>
                  <a:lnTo>
                    <a:pt x="139" y="131"/>
                  </a:lnTo>
                  <a:lnTo>
                    <a:pt x="137" y="135"/>
                  </a:lnTo>
                  <a:lnTo>
                    <a:pt x="137" y="137"/>
                  </a:lnTo>
                  <a:lnTo>
                    <a:pt x="135" y="137"/>
                  </a:lnTo>
                  <a:lnTo>
                    <a:pt x="133" y="137"/>
                  </a:lnTo>
                  <a:lnTo>
                    <a:pt x="127" y="139"/>
                  </a:lnTo>
                  <a:lnTo>
                    <a:pt x="123" y="141"/>
                  </a:lnTo>
                  <a:lnTo>
                    <a:pt x="120" y="141"/>
                  </a:lnTo>
                  <a:lnTo>
                    <a:pt x="114" y="148"/>
                  </a:lnTo>
                  <a:lnTo>
                    <a:pt x="108" y="154"/>
                  </a:lnTo>
                  <a:lnTo>
                    <a:pt x="108" y="156"/>
                  </a:lnTo>
                  <a:lnTo>
                    <a:pt x="106" y="158"/>
                  </a:lnTo>
                  <a:lnTo>
                    <a:pt x="104" y="158"/>
                  </a:lnTo>
                  <a:lnTo>
                    <a:pt x="104" y="160"/>
                  </a:lnTo>
                  <a:lnTo>
                    <a:pt x="104" y="162"/>
                  </a:lnTo>
                  <a:lnTo>
                    <a:pt x="108" y="164"/>
                  </a:lnTo>
                  <a:lnTo>
                    <a:pt x="114" y="162"/>
                  </a:lnTo>
                  <a:lnTo>
                    <a:pt x="120" y="160"/>
                  </a:lnTo>
                  <a:lnTo>
                    <a:pt x="123" y="160"/>
                  </a:lnTo>
                  <a:lnTo>
                    <a:pt x="125" y="160"/>
                  </a:lnTo>
                  <a:lnTo>
                    <a:pt x="123" y="162"/>
                  </a:lnTo>
                  <a:lnTo>
                    <a:pt x="120" y="162"/>
                  </a:lnTo>
                  <a:lnTo>
                    <a:pt x="106" y="164"/>
                  </a:lnTo>
                  <a:lnTo>
                    <a:pt x="102" y="164"/>
                  </a:lnTo>
                  <a:lnTo>
                    <a:pt x="100" y="162"/>
                  </a:lnTo>
                  <a:lnTo>
                    <a:pt x="100" y="160"/>
                  </a:lnTo>
                  <a:lnTo>
                    <a:pt x="102" y="158"/>
                  </a:lnTo>
                  <a:lnTo>
                    <a:pt x="104" y="154"/>
                  </a:lnTo>
                  <a:lnTo>
                    <a:pt x="106" y="152"/>
                  </a:lnTo>
                  <a:lnTo>
                    <a:pt x="108" y="152"/>
                  </a:lnTo>
                  <a:lnTo>
                    <a:pt x="110" y="150"/>
                  </a:lnTo>
                  <a:lnTo>
                    <a:pt x="112" y="146"/>
                  </a:lnTo>
                  <a:lnTo>
                    <a:pt x="114" y="144"/>
                  </a:lnTo>
                  <a:lnTo>
                    <a:pt x="123" y="137"/>
                  </a:lnTo>
                  <a:lnTo>
                    <a:pt x="123" y="137"/>
                  </a:lnTo>
                  <a:lnTo>
                    <a:pt x="125" y="137"/>
                  </a:lnTo>
                  <a:lnTo>
                    <a:pt x="125" y="137"/>
                  </a:lnTo>
                  <a:lnTo>
                    <a:pt x="125" y="135"/>
                  </a:lnTo>
                  <a:lnTo>
                    <a:pt x="127" y="133"/>
                  </a:lnTo>
                  <a:lnTo>
                    <a:pt x="129" y="131"/>
                  </a:lnTo>
                  <a:lnTo>
                    <a:pt x="131" y="129"/>
                  </a:lnTo>
                  <a:lnTo>
                    <a:pt x="133" y="129"/>
                  </a:lnTo>
                  <a:lnTo>
                    <a:pt x="131" y="125"/>
                  </a:lnTo>
                  <a:lnTo>
                    <a:pt x="131" y="123"/>
                  </a:lnTo>
                  <a:lnTo>
                    <a:pt x="131" y="121"/>
                  </a:lnTo>
                  <a:lnTo>
                    <a:pt x="133" y="119"/>
                  </a:lnTo>
                  <a:lnTo>
                    <a:pt x="133" y="121"/>
                  </a:lnTo>
                  <a:lnTo>
                    <a:pt x="133" y="123"/>
                  </a:lnTo>
                  <a:lnTo>
                    <a:pt x="133" y="125"/>
                  </a:lnTo>
                  <a:lnTo>
                    <a:pt x="135" y="123"/>
                  </a:lnTo>
                  <a:lnTo>
                    <a:pt x="135" y="123"/>
                  </a:lnTo>
                  <a:lnTo>
                    <a:pt x="135" y="121"/>
                  </a:lnTo>
                  <a:lnTo>
                    <a:pt x="137" y="119"/>
                  </a:lnTo>
                  <a:lnTo>
                    <a:pt x="137" y="123"/>
                  </a:lnTo>
                  <a:lnTo>
                    <a:pt x="135" y="125"/>
                  </a:lnTo>
                  <a:lnTo>
                    <a:pt x="133" y="131"/>
                  </a:lnTo>
                  <a:lnTo>
                    <a:pt x="131" y="133"/>
                  </a:lnTo>
                  <a:lnTo>
                    <a:pt x="131" y="135"/>
                  </a:lnTo>
                  <a:lnTo>
                    <a:pt x="133" y="135"/>
                  </a:lnTo>
                  <a:lnTo>
                    <a:pt x="133" y="135"/>
                  </a:lnTo>
                  <a:lnTo>
                    <a:pt x="135" y="135"/>
                  </a:lnTo>
                  <a:lnTo>
                    <a:pt x="135" y="135"/>
                  </a:lnTo>
                  <a:lnTo>
                    <a:pt x="135" y="133"/>
                  </a:lnTo>
                  <a:lnTo>
                    <a:pt x="137" y="131"/>
                  </a:lnTo>
                  <a:lnTo>
                    <a:pt x="137" y="129"/>
                  </a:lnTo>
                  <a:lnTo>
                    <a:pt x="139" y="127"/>
                  </a:lnTo>
                  <a:lnTo>
                    <a:pt x="141" y="125"/>
                  </a:lnTo>
                  <a:lnTo>
                    <a:pt x="145" y="121"/>
                  </a:lnTo>
                  <a:lnTo>
                    <a:pt x="145" y="121"/>
                  </a:lnTo>
                  <a:lnTo>
                    <a:pt x="147" y="119"/>
                  </a:lnTo>
                  <a:lnTo>
                    <a:pt x="147" y="119"/>
                  </a:lnTo>
                  <a:lnTo>
                    <a:pt x="147" y="119"/>
                  </a:lnTo>
                  <a:lnTo>
                    <a:pt x="151" y="119"/>
                  </a:lnTo>
                  <a:lnTo>
                    <a:pt x="151" y="119"/>
                  </a:lnTo>
                  <a:lnTo>
                    <a:pt x="151" y="117"/>
                  </a:lnTo>
                  <a:lnTo>
                    <a:pt x="147" y="111"/>
                  </a:lnTo>
                  <a:lnTo>
                    <a:pt x="147" y="111"/>
                  </a:lnTo>
                  <a:lnTo>
                    <a:pt x="147" y="109"/>
                  </a:lnTo>
                  <a:lnTo>
                    <a:pt x="147" y="109"/>
                  </a:lnTo>
                  <a:lnTo>
                    <a:pt x="147" y="107"/>
                  </a:lnTo>
                  <a:lnTo>
                    <a:pt x="147" y="107"/>
                  </a:lnTo>
                  <a:lnTo>
                    <a:pt x="145" y="105"/>
                  </a:lnTo>
                  <a:lnTo>
                    <a:pt x="143" y="98"/>
                  </a:lnTo>
                  <a:lnTo>
                    <a:pt x="143" y="98"/>
                  </a:lnTo>
                  <a:lnTo>
                    <a:pt x="143" y="96"/>
                  </a:lnTo>
                  <a:lnTo>
                    <a:pt x="143" y="96"/>
                  </a:lnTo>
                  <a:lnTo>
                    <a:pt x="143" y="94"/>
                  </a:lnTo>
                  <a:lnTo>
                    <a:pt x="143" y="94"/>
                  </a:lnTo>
                  <a:lnTo>
                    <a:pt x="143" y="92"/>
                  </a:lnTo>
                  <a:lnTo>
                    <a:pt x="145" y="92"/>
                  </a:lnTo>
                  <a:lnTo>
                    <a:pt x="147" y="92"/>
                  </a:lnTo>
                  <a:lnTo>
                    <a:pt x="145" y="90"/>
                  </a:lnTo>
                  <a:lnTo>
                    <a:pt x="143" y="88"/>
                  </a:lnTo>
                  <a:lnTo>
                    <a:pt x="141" y="90"/>
                  </a:lnTo>
                  <a:lnTo>
                    <a:pt x="139" y="90"/>
                  </a:lnTo>
                  <a:lnTo>
                    <a:pt x="137" y="90"/>
                  </a:lnTo>
                  <a:lnTo>
                    <a:pt x="137" y="92"/>
                  </a:lnTo>
                  <a:lnTo>
                    <a:pt x="137" y="92"/>
                  </a:lnTo>
                  <a:lnTo>
                    <a:pt x="137" y="94"/>
                  </a:lnTo>
                  <a:lnTo>
                    <a:pt x="139" y="98"/>
                  </a:lnTo>
                  <a:lnTo>
                    <a:pt x="139" y="98"/>
                  </a:lnTo>
                  <a:lnTo>
                    <a:pt x="137" y="103"/>
                  </a:lnTo>
                  <a:lnTo>
                    <a:pt x="137" y="103"/>
                  </a:lnTo>
                  <a:lnTo>
                    <a:pt x="135" y="103"/>
                  </a:lnTo>
                  <a:lnTo>
                    <a:pt x="135" y="103"/>
                  </a:lnTo>
                  <a:lnTo>
                    <a:pt x="137" y="100"/>
                  </a:lnTo>
                  <a:lnTo>
                    <a:pt x="137" y="98"/>
                  </a:lnTo>
                  <a:lnTo>
                    <a:pt x="135" y="96"/>
                  </a:lnTo>
                  <a:lnTo>
                    <a:pt x="135" y="96"/>
                  </a:lnTo>
                  <a:lnTo>
                    <a:pt x="135" y="94"/>
                  </a:lnTo>
                  <a:lnTo>
                    <a:pt x="133" y="94"/>
                  </a:lnTo>
                  <a:lnTo>
                    <a:pt x="133" y="94"/>
                  </a:lnTo>
                  <a:lnTo>
                    <a:pt x="133" y="92"/>
                  </a:lnTo>
                  <a:lnTo>
                    <a:pt x="133" y="92"/>
                  </a:lnTo>
                  <a:lnTo>
                    <a:pt x="131" y="90"/>
                  </a:lnTo>
                  <a:lnTo>
                    <a:pt x="131" y="90"/>
                  </a:lnTo>
                  <a:lnTo>
                    <a:pt x="127" y="90"/>
                  </a:lnTo>
                  <a:lnTo>
                    <a:pt x="127" y="92"/>
                  </a:lnTo>
                  <a:lnTo>
                    <a:pt x="127" y="96"/>
                  </a:lnTo>
                  <a:lnTo>
                    <a:pt x="125" y="96"/>
                  </a:lnTo>
                  <a:lnTo>
                    <a:pt x="125" y="94"/>
                  </a:lnTo>
                  <a:lnTo>
                    <a:pt x="123" y="94"/>
                  </a:lnTo>
                  <a:lnTo>
                    <a:pt x="125" y="90"/>
                  </a:lnTo>
                  <a:lnTo>
                    <a:pt x="123" y="88"/>
                  </a:lnTo>
                  <a:lnTo>
                    <a:pt x="120" y="86"/>
                  </a:lnTo>
                  <a:lnTo>
                    <a:pt x="118" y="84"/>
                  </a:lnTo>
                  <a:lnTo>
                    <a:pt x="116" y="84"/>
                  </a:lnTo>
                  <a:lnTo>
                    <a:pt x="116" y="82"/>
                  </a:lnTo>
                  <a:lnTo>
                    <a:pt x="118" y="82"/>
                  </a:lnTo>
                  <a:lnTo>
                    <a:pt x="118" y="82"/>
                  </a:lnTo>
                  <a:lnTo>
                    <a:pt x="120" y="82"/>
                  </a:lnTo>
                  <a:lnTo>
                    <a:pt x="120" y="80"/>
                  </a:lnTo>
                  <a:lnTo>
                    <a:pt x="116" y="82"/>
                  </a:lnTo>
                  <a:lnTo>
                    <a:pt x="110" y="84"/>
                  </a:lnTo>
                  <a:lnTo>
                    <a:pt x="108" y="84"/>
                  </a:lnTo>
                  <a:lnTo>
                    <a:pt x="96" y="82"/>
                  </a:lnTo>
                  <a:lnTo>
                    <a:pt x="96" y="80"/>
                  </a:lnTo>
                  <a:lnTo>
                    <a:pt x="96" y="80"/>
                  </a:lnTo>
                  <a:lnTo>
                    <a:pt x="96" y="80"/>
                  </a:lnTo>
                  <a:lnTo>
                    <a:pt x="96" y="80"/>
                  </a:lnTo>
                  <a:lnTo>
                    <a:pt x="98" y="80"/>
                  </a:lnTo>
                  <a:lnTo>
                    <a:pt x="92" y="80"/>
                  </a:lnTo>
                  <a:lnTo>
                    <a:pt x="90" y="78"/>
                  </a:lnTo>
                  <a:lnTo>
                    <a:pt x="88" y="76"/>
                  </a:lnTo>
                  <a:lnTo>
                    <a:pt x="84" y="76"/>
                  </a:lnTo>
                  <a:lnTo>
                    <a:pt x="82" y="78"/>
                  </a:lnTo>
                  <a:lnTo>
                    <a:pt x="80" y="76"/>
                  </a:lnTo>
                  <a:lnTo>
                    <a:pt x="77" y="74"/>
                  </a:lnTo>
                  <a:lnTo>
                    <a:pt x="75" y="74"/>
                  </a:lnTo>
                  <a:lnTo>
                    <a:pt x="69" y="72"/>
                  </a:lnTo>
                  <a:lnTo>
                    <a:pt x="59" y="70"/>
                  </a:lnTo>
                  <a:lnTo>
                    <a:pt x="49" y="64"/>
                  </a:lnTo>
                  <a:lnTo>
                    <a:pt x="49" y="64"/>
                  </a:lnTo>
                  <a:lnTo>
                    <a:pt x="47" y="60"/>
                  </a:lnTo>
                  <a:lnTo>
                    <a:pt x="45" y="57"/>
                  </a:lnTo>
                  <a:lnTo>
                    <a:pt x="39" y="55"/>
                  </a:lnTo>
                  <a:lnTo>
                    <a:pt x="39" y="53"/>
                  </a:lnTo>
                  <a:lnTo>
                    <a:pt x="34" y="53"/>
                  </a:lnTo>
                  <a:lnTo>
                    <a:pt x="32" y="53"/>
                  </a:lnTo>
                  <a:lnTo>
                    <a:pt x="32" y="51"/>
                  </a:lnTo>
                  <a:lnTo>
                    <a:pt x="30" y="49"/>
                  </a:lnTo>
                  <a:lnTo>
                    <a:pt x="26" y="47"/>
                  </a:lnTo>
                  <a:lnTo>
                    <a:pt x="24" y="45"/>
                  </a:lnTo>
                  <a:lnTo>
                    <a:pt x="14" y="37"/>
                  </a:lnTo>
                  <a:lnTo>
                    <a:pt x="10" y="35"/>
                  </a:lnTo>
                  <a:lnTo>
                    <a:pt x="6" y="33"/>
                  </a:lnTo>
                  <a:lnTo>
                    <a:pt x="6" y="35"/>
                  </a:lnTo>
                  <a:lnTo>
                    <a:pt x="6" y="37"/>
                  </a:lnTo>
                  <a:lnTo>
                    <a:pt x="8" y="39"/>
                  </a:lnTo>
                  <a:lnTo>
                    <a:pt x="8" y="41"/>
                  </a:lnTo>
                  <a:lnTo>
                    <a:pt x="8" y="41"/>
                  </a:lnTo>
                  <a:lnTo>
                    <a:pt x="8" y="41"/>
                  </a:lnTo>
                  <a:lnTo>
                    <a:pt x="8" y="43"/>
                  </a:lnTo>
                  <a:lnTo>
                    <a:pt x="6" y="45"/>
                  </a:lnTo>
                  <a:lnTo>
                    <a:pt x="6" y="47"/>
                  </a:lnTo>
                  <a:lnTo>
                    <a:pt x="6" y="49"/>
                  </a:lnTo>
                  <a:lnTo>
                    <a:pt x="4" y="49"/>
                  </a:lnTo>
                  <a:lnTo>
                    <a:pt x="4" y="49"/>
                  </a:lnTo>
                  <a:lnTo>
                    <a:pt x="4" y="49"/>
                  </a:lnTo>
                  <a:lnTo>
                    <a:pt x="4" y="51"/>
                  </a:lnTo>
                  <a:lnTo>
                    <a:pt x="4" y="51"/>
                  </a:lnTo>
                  <a:lnTo>
                    <a:pt x="4" y="55"/>
                  </a:lnTo>
                  <a:lnTo>
                    <a:pt x="2" y="55"/>
                  </a:lnTo>
                  <a:lnTo>
                    <a:pt x="2" y="55"/>
                  </a:lnTo>
                  <a:lnTo>
                    <a:pt x="0" y="57"/>
                  </a:lnTo>
                  <a:lnTo>
                    <a:pt x="2" y="64"/>
                  </a:lnTo>
                  <a:lnTo>
                    <a:pt x="2" y="66"/>
                  </a:lnTo>
                  <a:lnTo>
                    <a:pt x="0" y="70"/>
                  </a:lnTo>
                  <a:lnTo>
                    <a:pt x="0" y="74"/>
                  </a:lnTo>
                  <a:lnTo>
                    <a:pt x="2" y="78"/>
                  </a:lnTo>
                  <a:lnTo>
                    <a:pt x="2" y="82"/>
                  </a:lnTo>
                  <a:lnTo>
                    <a:pt x="4" y="86"/>
                  </a:lnTo>
                  <a:lnTo>
                    <a:pt x="4" y="86"/>
                  </a:lnTo>
                  <a:lnTo>
                    <a:pt x="6" y="88"/>
                  </a:lnTo>
                  <a:lnTo>
                    <a:pt x="6" y="88"/>
                  </a:lnTo>
                  <a:lnTo>
                    <a:pt x="8" y="88"/>
                  </a:lnTo>
                  <a:lnTo>
                    <a:pt x="10" y="94"/>
                  </a:lnTo>
                  <a:lnTo>
                    <a:pt x="12" y="96"/>
                  </a:lnTo>
                  <a:lnTo>
                    <a:pt x="12" y="100"/>
                  </a:lnTo>
                  <a:lnTo>
                    <a:pt x="12" y="103"/>
                  </a:lnTo>
                  <a:lnTo>
                    <a:pt x="12" y="103"/>
                  </a:lnTo>
                  <a:lnTo>
                    <a:pt x="14" y="103"/>
                  </a:lnTo>
                  <a:lnTo>
                    <a:pt x="14" y="105"/>
                  </a:lnTo>
                  <a:lnTo>
                    <a:pt x="14" y="107"/>
                  </a:lnTo>
                  <a:lnTo>
                    <a:pt x="16" y="113"/>
                  </a:lnTo>
                  <a:lnTo>
                    <a:pt x="16" y="115"/>
                  </a:lnTo>
                  <a:lnTo>
                    <a:pt x="14" y="123"/>
                  </a:lnTo>
                  <a:lnTo>
                    <a:pt x="14" y="127"/>
                  </a:lnTo>
                  <a:lnTo>
                    <a:pt x="14" y="144"/>
                  </a:lnTo>
                  <a:lnTo>
                    <a:pt x="14" y="144"/>
                  </a:lnTo>
                  <a:lnTo>
                    <a:pt x="16" y="146"/>
                  </a:lnTo>
                  <a:lnTo>
                    <a:pt x="16" y="146"/>
                  </a:lnTo>
                  <a:lnTo>
                    <a:pt x="16" y="146"/>
                  </a:lnTo>
                  <a:lnTo>
                    <a:pt x="14" y="148"/>
                  </a:lnTo>
                  <a:lnTo>
                    <a:pt x="14" y="148"/>
                  </a:lnTo>
                  <a:lnTo>
                    <a:pt x="16" y="150"/>
                  </a:lnTo>
                  <a:lnTo>
                    <a:pt x="16" y="150"/>
                  </a:lnTo>
                  <a:lnTo>
                    <a:pt x="16" y="150"/>
                  </a:lnTo>
                  <a:lnTo>
                    <a:pt x="18" y="154"/>
                  </a:lnTo>
                  <a:lnTo>
                    <a:pt x="18" y="158"/>
                  </a:lnTo>
                  <a:lnTo>
                    <a:pt x="18" y="162"/>
                  </a:lnTo>
                  <a:lnTo>
                    <a:pt x="18" y="170"/>
                  </a:lnTo>
                  <a:lnTo>
                    <a:pt x="18" y="176"/>
                  </a:lnTo>
                  <a:lnTo>
                    <a:pt x="18" y="178"/>
                  </a:lnTo>
                  <a:lnTo>
                    <a:pt x="16" y="185"/>
                  </a:lnTo>
                  <a:lnTo>
                    <a:pt x="14" y="187"/>
                  </a:lnTo>
                  <a:lnTo>
                    <a:pt x="14" y="187"/>
                  </a:lnTo>
                  <a:lnTo>
                    <a:pt x="14" y="189"/>
                  </a:lnTo>
                  <a:lnTo>
                    <a:pt x="14" y="189"/>
                  </a:lnTo>
                  <a:lnTo>
                    <a:pt x="14" y="189"/>
                  </a:lnTo>
                  <a:lnTo>
                    <a:pt x="14" y="189"/>
                  </a:lnTo>
                  <a:lnTo>
                    <a:pt x="18" y="187"/>
                  </a:lnTo>
                  <a:lnTo>
                    <a:pt x="18" y="187"/>
                  </a:lnTo>
                  <a:lnTo>
                    <a:pt x="18" y="187"/>
                  </a:lnTo>
                  <a:lnTo>
                    <a:pt x="18" y="187"/>
                  </a:lnTo>
                  <a:lnTo>
                    <a:pt x="18" y="185"/>
                  </a:lnTo>
                  <a:lnTo>
                    <a:pt x="18" y="185"/>
                  </a:lnTo>
                  <a:lnTo>
                    <a:pt x="18" y="182"/>
                  </a:lnTo>
                  <a:lnTo>
                    <a:pt x="18" y="180"/>
                  </a:lnTo>
                  <a:lnTo>
                    <a:pt x="18" y="180"/>
                  </a:lnTo>
                  <a:lnTo>
                    <a:pt x="18" y="178"/>
                  </a:lnTo>
                  <a:lnTo>
                    <a:pt x="20" y="178"/>
                  </a:lnTo>
                  <a:lnTo>
                    <a:pt x="22" y="178"/>
                  </a:lnTo>
                  <a:lnTo>
                    <a:pt x="24" y="178"/>
                  </a:lnTo>
                  <a:lnTo>
                    <a:pt x="26" y="180"/>
                  </a:lnTo>
                  <a:lnTo>
                    <a:pt x="26" y="182"/>
                  </a:lnTo>
                  <a:lnTo>
                    <a:pt x="28" y="182"/>
                  </a:lnTo>
                  <a:lnTo>
                    <a:pt x="28" y="187"/>
                  </a:lnTo>
                  <a:lnTo>
                    <a:pt x="28" y="187"/>
                  </a:lnTo>
                  <a:lnTo>
                    <a:pt x="30" y="189"/>
                  </a:lnTo>
                  <a:lnTo>
                    <a:pt x="34" y="189"/>
                  </a:lnTo>
                  <a:lnTo>
                    <a:pt x="34" y="189"/>
                  </a:lnTo>
                  <a:lnTo>
                    <a:pt x="34" y="189"/>
                  </a:lnTo>
                  <a:lnTo>
                    <a:pt x="32" y="189"/>
                  </a:lnTo>
                  <a:lnTo>
                    <a:pt x="39" y="191"/>
                  </a:lnTo>
                  <a:lnTo>
                    <a:pt x="41" y="191"/>
                  </a:lnTo>
                  <a:lnTo>
                    <a:pt x="43" y="193"/>
                  </a:lnTo>
                  <a:lnTo>
                    <a:pt x="37" y="193"/>
                  </a:lnTo>
                  <a:lnTo>
                    <a:pt x="30" y="193"/>
                  </a:lnTo>
                  <a:lnTo>
                    <a:pt x="26" y="195"/>
                  </a:lnTo>
                  <a:lnTo>
                    <a:pt x="26" y="195"/>
                  </a:lnTo>
                  <a:lnTo>
                    <a:pt x="24" y="195"/>
                  </a:lnTo>
                  <a:lnTo>
                    <a:pt x="22" y="195"/>
                  </a:lnTo>
                  <a:lnTo>
                    <a:pt x="22" y="197"/>
                  </a:lnTo>
                  <a:lnTo>
                    <a:pt x="22" y="197"/>
                  </a:lnTo>
                  <a:lnTo>
                    <a:pt x="24" y="197"/>
                  </a:lnTo>
                  <a:lnTo>
                    <a:pt x="24" y="199"/>
                  </a:lnTo>
                  <a:lnTo>
                    <a:pt x="24" y="199"/>
                  </a:lnTo>
                  <a:lnTo>
                    <a:pt x="24" y="201"/>
                  </a:lnTo>
                  <a:lnTo>
                    <a:pt x="22" y="201"/>
                  </a:lnTo>
                  <a:lnTo>
                    <a:pt x="22" y="201"/>
                  </a:lnTo>
                  <a:lnTo>
                    <a:pt x="22" y="201"/>
                  </a:lnTo>
                  <a:lnTo>
                    <a:pt x="20" y="199"/>
                  </a:lnTo>
                  <a:lnTo>
                    <a:pt x="20" y="199"/>
                  </a:lnTo>
                  <a:lnTo>
                    <a:pt x="20" y="197"/>
                  </a:lnTo>
                  <a:lnTo>
                    <a:pt x="18" y="195"/>
                  </a:lnTo>
                  <a:lnTo>
                    <a:pt x="18" y="195"/>
                  </a:lnTo>
                  <a:lnTo>
                    <a:pt x="18" y="193"/>
                  </a:lnTo>
                  <a:lnTo>
                    <a:pt x="16" y="193"/>
                  </a:lnTo>
                  <a:lnTo>
                    <a:pt x="16" y="195"/>
                  </a:lnTo>
                  <a:lnTo>
                    <a:pt x="16" y="199"/>
                  </a:lnTo>
                  <a:lnTo>
                    <a:pt x="16" y="203"/>
                  </a:lnTo>
                  <a:lnTo>
                    <a:pt x="16" y="209"/>
                  </a:lnTo>
                  <a:lnTo>
                    <a:pt x="16" y="211"/>
                  </a:lnTo>
                  <a:lnTo>
                    <a:pt x="18" y="211"/>
                  </a:lnTo>
                  <a:lnTo>
                    <a:pt x="20" y="213"/>
                  </a:lnTo>
                  <a:lnTo>
                    <a:pt x="22" y="213"/>
                  </a:lnTo>
                  <a:lnTo>
                    <a:pt x="22" y="213"/>
                  </a:lnTo>
                  <a:lnTo>
                    <a:pt x="22" y="213"/>
                  </a:lnTo>
                  <a:lnTo>
                    <a:pt x="24" y="215"/>
                  </a:lnTo>
                  <a:lnTo>
                    <a:pt x="24" y="215"/>
                  </a:lnTo>
                  <a:lnTo>
                    <a:pt x="24" y="215"/>
                  </a:lnTo>
                  <a:lnTo>
                    <a:pt x="24" y="213"/>
                  </a:lnTo>
                  <a:lnTo>
                    <a:pt x="24" y="213"/>
                  </a:lnTo>
                  <a:lnTo>
                    <a:pt x="28" y="215"/>
                  </a:lnTo>
                  <a:lnTo>
                    <a:pt x="28" y="215"/>
                  </a:lnTo>
                  <a:lnTo>
                    <a:pt x="30" y="213"/>
                  </a:lnTo>
                  <a:lnTo>
                    <a:pt x="30" y="213"/>
                  </a:lnTo>
                  <a:lnTo>
                    <a:pt x="32" y="213"/>
                  </a:lnTo>
                  <a:lnTo>
                    <a:pt x="32" y="213"/>
                  </a:lnTo>
                  <a:lnTo>
                    <a:pt x="34" y="215"/>
                  </a:lnTo>
                  <a:lnTo>
                    <a:pt x="37" y="219"/>
                  </a:lnTo>
                  <a:lnTo>
                    <a:pt x="37" y="219"/>
                  </a:lnTo>
                  <a:lnTo>
                    <a:pt x="39" y="221"/>
                  </a:lnTo>
                  <a:lnTo>
                    <a:pt x="39" y="221"/>
                  </a:lnTo>
                  <a:lnTo>
                    <a:pt x="37" y="223"/>
                  </a:lnTo>
                  <a:lnTo>
                    <a:pt x="34" y="221"/>
                  </a:lnTo>
                  <a:lnTo>
                    <a:pt x="34" y="221"/>
                  </a:lnTo>
                  <a:lnTo>
                    <a:pt x="34" y="219"/>
                  </a:lnTo>
                  <a:lnTo>
                    <a:pt x="34" y="217"/>
                  </a:lnTo>
                  <a:lnTo>
                    <a:pt x="30" y="217"/>
                  </a:lnTo>
                  <a:lnTo>
                    <a:pt x="28" y="219"/>
                  </a:lnTo>
                  <a:lnTo>
                    <a:pt x="26" y="221"/>
                  </a:lnTo>
                  <a:lnTo>
                    <a:pt x="26" y="223"/>
                  </a:lnTo>
                  <a:lnTo>
                    <a:pt x="28" y="228"/>
                  </a:lnTo>
                  <a:lnTo>
                    <a:pt x="26" y="225"/>
                  </a:lnTo>
                  <a:lnTo>
                    <a:pt x="24" y="223"/>
                  </a:lnTo>
                  <a:lnTo>
                    <a:pt x="24" y="223"/>
                  </a:lnTo>
                  <a:lnTo>
                    <a:pt x="24" y="225"/>
                  </a:lnTo>
                  <a:lnTo>
                    <a:pt x="26" y="228"/>
                  </a:lnTo>
                  <a:lnTo>
                    <a:pt x="26" y="232"/>
                  </a:lnTo>
                  <a:lnTo>
                    <a:pt x="26" y="232"/>
                  </a:lnTo>
                  <a:lnTo>
                    <a:pt x="26" y="232"/>
                  </a:lnTo>
                  <a:lnTo>
                    <a:pt x="26" y="234"/>
                  </a:lnTo>
                  <a:lnTo>
                    <a:pt x="26" y="236"/>
                  </a:lnTo>
                  <a:lnTo>
                    <a:pt x="26" y="236"/>
                  </a:lnTo>
                  <a:lnTo>
                    <a:pt x="24" y="236"/>
                  </a:lnTo>
                  <a:lnTo>
                    <a:pt x="22" y="236"/>
                  </a:lnTo>
                  <a:lnTo>
                    <a:pt x="22" y="238"/>
                  </a:lnTo>
                  <a:lnTo>
                    <a:pt x="22" y="238"/>
                  </a:lnTo>
                  <a:lnTo>
                    <a:pt x="22" y="240"/>
                  </a:lnTo>
                  <a:lnTo>
                    <a:pt x="22" y="240"/>
                  </a:lnTo>
                  <a:lnTo>
                    <a:pt x="22" y="240"/>
                  </a:lnTo>
                  <a:lnTo>
                    <a:pt x="24" y="242"/>
                  </a:lnTo>
                  <a:lnTo>
                    <a:pt x="24" y="242"/>
                  </a:lnTo>
                  <a:lnTo>
                    <a:pt x="24" y="242"/>
                  </a:lnTo>
                  <a:lnTo>
                    <a:pt x="24" y="242"/>
                  </a:lnTo>
                  <a:lnTo>
                    <a:pt x="24" y="244"/>
                  </a:lnTo>
                  <a:lnTo>
                    <a:pt x="24" y="244"/>
                  </a:lnTo>
                  <a:lnTo>
                    <a:pt x="26" y="246"/>
                  </a:lnTo>
                  <a:lnTo>
                    <a:pt x="28" y="246"/>
                  </a:lnTo>
                  <a:lnTo>
                    <a:pt x="26" y="248"/>
                  </a:lnTo>
                  <a:lnTo>
                    <a:pt x="26" y="246"/>
                  </a:lnTo>
                  <a:lnTo>
                    <a:pt x="22" y="244"/>
                  </a:lnTo>
                  <a:lnTo>
                    <a:pt x="22" y="244"/>
                  </a:lnTo>
                  <a:lnTo>
                    <a:pt x="22" y="244"/>
                  </a:lnTo>
                  <a:lnTo>
                    <a:pt x="22" y="246"/>
                  </a:lnTo>
                  <a:lnTo>
                    <a:pt x="20" y="248"/>
                  </a:lnTo>
                  <a:lnTo>
                    <a:pt x="18" y="248"/>
                  </a:lnTo>
                  <a:lnTo>
                    <a:pt x="16" y="248"/>
                  </a:lnTo>
                  <a:lnTo>
                    <a:pt x="16" y="246"/>
                  </a:lnTo>
                  <a:lnTo>
                    <a:pt x="14" y="244"/>
                  </a:lnTo>
                  <a:lnTo>
                    <a:pt x="14" y="238"/>
                  </a:lnTo>
                  <a:lnTo>
                    <a:pt x="16" y="236"/>
                  </a:lnTo>
                  <a:lnTo>
                    <a:pt x="18" y="228"/>
                  </a:lnTo>
                  <a:lnTo>
                    <a:pt x="18" y="225"/>
                  </a:lnTo>
                  <a:lnTo>
                    <a:pt x="16" y="223"/>
                  </a:lnTo>
                  <a:lnTo>
                    <a:pt x="16" y="221"/>
                  </a:lnTo>
                  <a:lnTo>
                    <a:pt x="18" y="219"/>
                  </a:lnTo>
                  <a:lnTo>
                    <a:pt x="16" y="221"/>
                  </a:lnTo>
                  <a:lnTo>
                    <a:pt x="14" y="225"/>
                  </a:lnTo>
                  <a:lnTo>
                    <a:pt x="12" y="242"/>
                  </a:lnTo>
                  <a:lnTo>
                    <a:pt x="12" y="246"/>
                  </a:lnTo>
                  <a:lnTo>
                    <a:pt x="10" y="248"/>
                  </a:lnTo>
                  <a:lnTo>
                    <a:pt x="10" y="250"/>
                  </a:lnTo>
                  <a:lnTo>
                    <a:pt x="10" y="252"/>
                  </a:lnTo>
                  <a:lnTo>
                    <a:pt x="8" y="252"/>
                  </a:lnTo>
                  <a:lnTo>
                    <a:pt x="8" y="254"/>
                  </a:lnTo>
                  <a:lnTo>
                    <a:pt x="6" y="256"/>
                  </a:lnTo>
                  <a:lnTo>
                    <a:pt x="6" y="256"/>
                  </a:lnTo>
                  <a:lnTo>
                    <a:pt x="6" y="258"/>
                  </a:lnTo>
                  <a:lnTo>
                    <a:pt x="8" y="258"/>
                  </a:lnTo>
                  <a:lnTo>
                    <a:pt x="10" y="258"/>
                  </a:lnTo>
                  <a:lnTo>
                    <a:pt x="10" y="258"/>
                  </a:lnTo>
                  <a:lnTo>
                    <a:pt x="10" y="258"/>
                  </a:lnTo>
                  <a:lnTo>
                    <a:pt x="10" y="258"/>
                  </a:lnTo>
                  <a:lnTo>
                    <a:pt x="10" y="258"/>
                  </a:lnTo>
                  <a:lnTo>
                    <a:pt x="10" y="258"/>
                  </a:lnTo>
                  <a:lnTo>
                    <a:pt x="10" y="256"/>
                  </a:lnTo>
                  <a:lnTo>
                    <a:pt x="10" y="256"/>
                  </a:lnTo>
                  <a:lnTo>
                    <a:pt x="10" y="256"/>
                  </a:lnTo>
                  <a:lnTo>
                    <a:pt x="12" y="254"/>
                  </a:lnTo>
                  <a:lnTo>
                    <a:pt x="14" y="254"/>
                  </a:lnTo>
                  <a:lnTo>
                    <a:pt x="14" y="256"/>
                  </a:lnTo>
                  <a:lnTo>
                    <a:pt x="16" y="256"/>
                  </a:lnTo>
                  <a:lnTo>
                    <a:pt x="18" y="262"/>
                  </a:lnTo>
                  <a:lnTo>
                    <a:pt x="20" y="262"/>
                  </a:lnTo>
                  <a:lnTo>
                    <a:pt x="22" y="262"/>
                  </a:lnTo>
                  <a:lnTo>
                    <a:pt x="24" y="262"/>
                  </a:lnTo>
                  <a:lnTo>
                    <a:pt x="26" y="262"/>
                  </a:lnTo>
                  <a:lnTo>
                    <a:pt x="28" y="260"/>
                  </a:lnTo>
                  <a:lnTo>
                    <a:pt x="28" y="260"/>
                  </a:lnTo>
                  <a:lnTo>
                    <a:pt x="30" y="262"/>
                  </a:lnTo>
                  <a:lnTo>
                    <a:pt x="30" y="262"/>
                  </a:lnTo>
                  <a:lnTo>
                    <a:pt x="32" y="262"/>
                  </a:lnTo>
                  <a:lnTo>
                    <a:pt x="34" y="260"/>
                  </a:lnTo>
                  <a:lnTo>
                    <a:pt x="37" y="260"/>
                  </a:lnTo>
                  <a:lnTo>
                    <a:pt x="37" y="260"/>
                  </a:lnTo>
                  <a:lnTo>
                    <a:pt x="37" y="262"/>
                  </a:lnTo>
                  <a:lnTo>
                    <a:pt x="39" y="262"/>
                  </a:lnTo>
                  <a:lnTo>
                    <a:pt x="39" y="264"/>
                  </a:lnTo>
                  <a:lnTo>
                    <a:pt x="39" y="264"/>
                  </a:lnTo>
                  <a:lnTo>
                    <a:pt x="43" y="266"/>
                  </a:lnTo>
                  <a:lnTo>
                    <a:pt x="53" y="266"/>
                  </a:lnTo>
                  <a:lnTo>
                    <a:pt x="55" y="266"/>
                  </a:lnTo>
                  <a:lnTo>
                    <a:pt x="55" y="269"/>
                  </a:lnTo>
                  <a:lnTo>
                    <a:pt x="57" y="271"/>
                  </a:lnTo>
                  <a:lnTo>
                    <a:pt x="57" y="273"/>
                  </a:lnTo>
                  <a:lnTo>
                    <a:pt x="57" y="275"/>
                  </a:lnTo>
                  <a:lnTo>
                    <a:pt x="63" y="281"/>
                  </a:lnTo>
                  <a:lnTo>
                    <a:pt x="63" y="281"/>
                  </a:lnTo>
                  <a:lnTo>
                    <a:pt x="65" y="283"/>
                  </a:lnTo>
                  <a:lnTo>
                    <a:pt x="67" y="283"/>
                  </a:lnTo>
                  <a:lnTo>
                    <a:pt x="71" y="281"/>
                  </a:lnTo>
                  <a:lnTo>
                    <a:pt x="73" y="281"/>
                  </a:lnTo>
                  <a:lnTo>
                    <a:pt x="77" y="281"/>
                  </a:lnTo>
                  <a:lnTo>
                    <a:pt x="80" y="283"/>
                  </a:lnTo>
                  <a:lnTo>
                    <a:pt x="80" y="283"/>
                  </a:lnTo>
                  <a:lnTo>
                    <a:pt x="82" y="287"/>
                  </a:lnTo>
                  <a:lnTo>
                    <a:pt x="84" y="287"/>
                  </a:lnTo>
                  <a:lnTo>
                    <a:pt x="86" y="287"/>
                  </a:lnTo>
                  <a:lnTo>
                    <a:pt x="88" y="289"/>
                  </a:lnTo>
                  <a:lnTo>
                    <a:pt x="90" y="291"/>
                  </a:lnTo>
                  <a:lnTo>
                    <a:pt x="92" y="293"/>
                  </a:lnTo>
                  <a:lnTo>
                    <a:pt x="92" y="295"/>
                  </a:lnTo>
                  <a:lnTo>
                    <a:pt x="94" y="297"/>
                  </a:lnTo>
                  <a:lnTo>
                    <a:pt x="94" y="299"/>
                  </a:lnTo>
                  <a:lnTo>
                    <a:pt x="94" y="303"/>
                  </a:lnTo>
                  <a:lnTo>
                    <a:pt x="96" y="305"/>
                  </a:lnTo>
                  <a:lnTo>
                    <a:pt x="96" y="305"/>
                  </a:lnTo>
                  <a:lnTo>
                    <a:pt x="96" y="307"/>
                  </a:lnTo>
                  <a:lnTo>
                    <a:pt x="98" y="310"/>
                  </a:lnTo>
                  <a:lnTo>
                    <a:pt x="96" y="314"/>
                  </a:lnTo>
                  <a:lnTo>
                    <a:pt x="98" y="318"/>
                  </a:lnTo>
                  <a:lnTo>
                    <a:pt x="96" y="320"/>
                  </a:lnTo>
                  <a:lnTo>
                    <a:pt x="96" y="322"/>
                  </a:lnTo>
                  <a:lnTo>
                    <a:pt x="96" y="324"/>
                  </a:lnTo>
                  <a:lnTo>
                    <a:pt x="96" y="328"/>
                  </a:lnTo>
                  <a:lnTo>
                    <a:pt x="96" y="328"/>
                  </a:lnTo>
                  <a:lnTo>
                    <a:pt x="96" y="330"/>
                  </a:lnTo>
                  <a:lnTo>
                    <a:pt x="96" y="332"/>
                  </a:lnTo>
                  <a:lnTo>
                    <a:pt x="96" y="332"/>
                  </a:lnTo>
                  <a:lnTo>
                    <a:pt x="96" y="336"/>
                  </a:lnTo>
                  <a:lnTo>
                    <a:pt x="96" y="340"/>
                  </a:lnTo>
                  <a:lnTo>
                    <a:pt x="96" y="340"/>
                  </a:lnTo>
                  <a:lnTo>
                    <a:pt x="96" y="342"/>
                  </a:lnTo>
                  <a:lnTo>
                    <a:pt x="98" y="344"/>
                  </a:lnTo>
                  <a:lnTo>
                    <a:pt x="100" y="346"/>
                  </a:lnTo>
                  <a:lnTo>
                    <a:pt x="106" y="348"/>
                  </a:lnTo>
                  <a:lnTo>
                    <a:pt x="108" y="348"/>
                  </a:lnTo>
                  <a:lnTo>
                    <a:pt x="110" y="348"/>
                  </a:lnTo>
                  <a:lnTo>
                    <a:pt x="112" y="351"/>
                  </a:lnTo>
                  <a:lnTo>
                    <a:pt x="116" y="353"/>
                  </a:lnTo>
                  <a:lnTo>
                    <a:pt x="118" y="355"/>
                  </a:lnTo>
                  <a:lnTo>
                    <a:pt x="125" y="355"/>
                  </a:lnTo>
                  <a:lnTo>
                    <a:pt x="131" y="359"/>
                  </a:lnTo>
                  <a:lnTo>
                    <a:pt x="131" y="359"/>
                  </a:lnTo>
                  <a:lnTo>
                    <a:pt x="133" y="359"/>
                  </a:lnTo>
                  <a:lnTo>
                    <a:pt x="139" y="357"/>
                  </a:lnTo>
                  <a:lnTo>
                    <a:pt x="153" y="355"/>
                  </a:lnTo>
                  <a:lnTo>
                    <a:pt x="157" y="355"/>
                  </a:lnTo>
                  <a:lnTo>
                    <a:pt x="163" y="351"/>
                  </a:lnTo>
                  <a:lnTo>
                    <a:pt x="168" y="351"/>
                  </a:lnTo>
                  <a:lnTo>
                    <a:pt x="170" y="351"/>
                  </a:lnTo>
                  <a:lnTo>
                    <a:pt x="176" y="353"/>
                  </a:lnTo>
                  <a:lnTo>
                    <a:pt x="186" y="353"/>
                  </a:lnTo>
                  <a:lnTo>
                    <a:pt x="209" y="359"/>
                  </a:lnTo>
                  <a:lnTo>
                    <a:pt x="213" y="361"/>
                  </a:lnTo>
                  <a:lnTo>
                    <a:pt x="215" y="363"/>
                  </a:lnTo>
                  <a:lnTo>
                    <a:pt x="215" y="365"/>
                  </a:lnTo>
                  <a:lnTo>
                    <a:pt x="215" y="367"/>
                  </a:lnTo>
                  <a:lnTo>
                    <a:pt x="215" y="369"/>
                  </a:lnTo>
                  <a:lnTo>
                    <a:pt x="217" y="369"/>
                  </a:lnTo>
                  <a:lnTo>
                    <a:pt x="219" y="369"/>
                  </a:lnTo>
                  <a:lnTo>
                    <a:pt x="225" y="369"/>
                  </a:lnTo>
                  <a:lnTo>
                    <a:pt x="225" y="369"/>
                  </a:lnTo>
                  <a:lnTo>
                    <a:pt x="227" y="369"/>
                  </a:lnTo>
                  <a:lnTo>
                    <a:pt x="229" y="369"/>
                  </a:lnTo>
                  <a:lnTo>
                    <a:pt x="229" y="369"/>
                  </a:lnTo>
                  <a:lnTo>
                    <a:pt x="231" y="369"/>
                  </a:lnTo>
                  <a:lnTo>
                    <a:pt x="233" y="369"/>
                  </a:lnTo>
                  <a:lnTo>
                    <a:pt x="233" y="371"/>
                  </a:lnTo>
                  <a:lnTo>
                    <a:pt x="237" y="371"/>
                  </a:lnTo>
                  <a:lnTo>
                    <a:pt x="239" y="371"/>
                  </a:lnTo>
                  <a:lnTo>
                    <a:pt x="241" y="371"/>
                  </a:lnTo>
                  <a:lnTo>
                    <a:pt x="241" y="371"/>
                  </a:lnTo>
                  <a:lnTo>
                    <a:pt x="245" y="369"/>
                  </a:lnTo>
                  <a:lnTo>
                    <a:pt x="245" y="369"/>
                  </a:lnTo>
                  <a:lnTo>
                    <a:pt x="252" y="369"/>
                  </a:lnTo>
                  <a:lnTo>
                    <a:pt x="256" y="369"/>
                  </a:lnTo>
                  <a:lnTo>
                    <a:pt x="256" y="367"/>
                  </a:lnTo>
                  <a:lnTo>
                    <a:pt x="256" y="367"/>
                  </a:lnTo>
                  <a:lnTo>
                    <a:pt x="258" y="367"/>
                  </a:lnTo>
                  <a:lnTo>
                    <a:pt x="260" y="367"/>
                  </a:lnTo>
                  <a:lnTo>
                    <a:pt x="270" y="371"/>
                  </a:lnTo>
                  <a:lnTo>
                    <a:pt x="272" y="371"/>
                  </a:lnTo>
                  <a:lnTo>
                    <a:pt x="274" y="371"/>
                  </a:lnTo>
                  <a:lnTo>
                    <a:pt x="274" y="371"/>
                  </a:lnTo>
                  <a:lnTo>
                    <a:pt x="278" y="371"/>
                  </a:lnTo>
                  <a:lnTo>
                    <a:pt x="278" y="371"/>
                  </a:lnTo>
                  <a:lnTo>
                    <a:pt x="280" y="371"/>
                  </a:lnTo>
                  <a:lnTo>
                    <a:pt x="284" y="371"/>
                  </a:lnTo>
                  <a:lnTo>
                    <a:pt x="284" y="371"/>
                  </a:lnTo>
                  <a:lnTo>
                    <a:pt x="286" y="371"/>
                  </a:lnTo>
                  <a:lnTo>
                    <a:pt x="288" y="371"/>
                  </a:lnTo>
                  <a:lnTo>
                    <a:pt x="290" y="371"/>
                  </a:lnTo>
                  <a:lnTo>
                    <a:pt x="293" y="371"/>
                  </a:lnTo>
                  <a:lnTo>
                    <a:pt x="295" y="371"/>
                  </a:lnTo>
                  <a:lnTo>
                    <a:pt x="297" y="369"/>
                  </a:lnTo>
                  <a:lnTo>
                    <a:pt x="299" y="367"/>
                  </a:lnTo>
                  <a:lnTo>
                    <a:pt x="303" y="367"/>
                  </a:lnTo>
                  <a:lnTo>
                    <a:pt x="315" y="365"/>
                  </a:lnTo>
                  <a:lnTo>
                    <a:pt x="336" y="365"/>
                  </a:lnTo>
                  <a:lnTo>
                    <a:pt x="340" y="363"/>
                  </a:lnTo>
                  <a:lnTo>
                    <a:pt x="342" y="361"/>
                  </a:lnTo>
                  <a:lnTo>
                    <a:pt x="344" y="361"/>
                  </a:lnTo>
                  <a:lnTo>
                    <a:pt x="346" y="361"/>
                  </a:lnTo>
                  <a:lnTo>
                    <a:pt x="352" y="363"/>
                  </a:lnTo>
                  <a:lnTo>
                    <a:pt x="356" y="363"/>
                  </a:lnTo>
                  <a:lnTo>
                    <a:pt x="362" y="363"/>
                  </a:lnTo>
                  <a:lnTo>
                    <a:pt x="381" y="365"/>
                  </a:lnTo>
                  <a:lnTo>
                    <a:pt x="385" y="365"/>
                  </a:lnTo>
                  <a:lnTo>
                    <a:pt x="389" y="361"/>
                  </a:lnTo>
                  <a:lnTo>
                    <a:pt x="391" y="361"/>
                  </a:lnTo>
                  <a:lnTo>
                    <a:pt x="393" y="363"/>
                  </a:lnTo>
                  <a:lnTo>
                    <a:pt x="403" y="365"/>
                  </a:lnTo>
                  <a:lnTo>
                    <a:pt x="413" y="365"/>
                  </a:lnTo>
                  <a:lnTo>
                    <a:pt x="424" y="367"/>
                  </a:lnTo>
                  <a:lnTo>
                    <a:pt x="434" y="369"/>
                  </a:lnTo>
                  <a:lnTo>
                    <a:pt x="442" y="371"/>
                  </a:lnTo>
                  <a:lnTo>
                    <a:pt x="463" y="373"/>
                  </a:lnTo>
                  <a:lnTo>
                    <a:pt x="473" y="375"/>
                  </a:lnTo>
                  <a:lnTo>
                    <a:pt x="483" y="377"/>
                  </a:lnTo>
                  <a:lnTo>
                    <a:pt x="493" y="379"/>
                  </a:lnTo>
                  <a:lnTo>
                    <a:pt x="503" y="381"/>
                  </a:lnTo>
                  <a:lnTo>
                    <a:pt x="512" y="381"/>
                  </a:lnTo>
                  <a:lnTo>
                    <a:pt x="522" y="383"/>
                  </a:lnTo>
                  <a:lnTo>
                    <a:pt x="532" y="385"/>
                  </a:lnTo>
                  <a:lnTo>
                    <a:pt x="542" y="387"/>
                  </a:lnTo>
                  <a:lnTo>
                    <a:pt x="553" y="387"/>
                  </a:lnTo>
                  <a:lnTo>
                    <a:pt x="553" y="383"/>
                  </a:lnTo>
                  <a:lnTo>
                    <a:pt x="549" y="377"/>
                  </a:lnTo>
                  <a:lnTo>
                    <a:pt x="549" y="377"/>
                  </a:lnTo>
                  <a:lnTo>
                    <a:pt x="551" y="375"/>
                  </a:lnTo>
                  <a:lnTo>
                    <a:pt x="553" y="373"/>
                  </a:lnTo>
                  <a:lnTo>
                    <a:pt x="553" y="371"/>
                  </a:lnTo>
                  <a:lnTo>
                    <a:pt x="553" y="369"/>
                  </a:lnTo>
                  <a:lnTo>
                    <a:pt x="553" y="367"/>
                  </a:lnTo>
                  <a:lnTo>
                    <a:pt x="553" y="361"/>
                  </a:lnTo>
                  <a:lnTo>
                    <a:pt x="551" y="359"/>
                  </a:lnTo>
                  <a:lnTo>
                    <a:pt x="549" y="355"/>
                  </a:lnTo>
                  <a:lnTo>
                    <a:pt x="546" y="348"/>
                  </a:lnTo>
                  <a:lnTo>
                    <a:pt x="546" y="348"/>
                  </a:lnTo>
                  <a:lnTo>
                    <a:pt x="546" y="346"/>
                  </a:lnTo>
                  <a:lnTo>
                    <a:pt x="549" y="342"/>
                  </a:lnTo>
                  <a:lnTo>
                    <a:pt x="549" y="340"/>
                  </a:lnTo>
                  <a:lnTo>
                    <a:pt x="551" y="324"/>
                  </a:lnTo>
                  <a:lnTo>
                    <a:pt x="555" y="307"/>
                  </a:lnTo>
                  <a:lnTo>
                    <a:pt x="557" y="291"/>
                  </a:lnTo>
                  <a:lnTo>
                    <a:pt x="559" y="275"/>
                  </a:lnTo>
                  <a:lnTo>
                    <a:pt x="561" y="258"/>
                  </a:lnTo>
                  <a:lnTo>
                    <a:pt x="563" y="242"/>
                  </a:lnTo>
                  <a:lnTo>
                    <a:pt x="565" y="225"/>
                  </a:lnTo>
                  <a:lnTo>
                    <a:pt x="569" y="209"/>
                  </a:lnTo>
                  <a:lnTo>
                    <a:pt x="571" y="195"/>
                  </a:lnTo>
                  <a:lnTo>
                    <a:pt x="573" y="178"/>
                  </a:lnTo>
                  <a:lnTo>
                    <a:pt x="575" y="162"/>
                  </a:lnTo>
                  <a:lnTo>
                    <a:pt x="577" y="146"/>
                  </a:lnTo>
                  <a:lnTo>
                    <a:pt x="581" y="129"/>
                  </a:lnTo>
                  <a:lnTo>
                    <a:pt x="583" y="113"/>
                  </a:lnTo>
                  <a:lnTo>
                    <a:pt x="585" y="98"/>
                  </a:lnTo>
                  <a:lnTo>
                    <a:pt x="587" y="82"/>
                  </a:lnTo>
                  <a:lnTo>
                    <a:pt x="579" y="80"/>
                  </a:lnTo>
                  <a:close/>
                  <a:moveTo>
                    <a:pt x="143" y="0"/>
                  </a:moveTo>
                  <a:lnTo>
                    <a:pt x="139" y="0"/>
                  </a:lnTo>
                  <a:lnTo>
                    <a:pt x="139" y="0"/>
                  </a:lnTo>
                  <a:lnTo>
                    <a:pt x="139" y="2"/>
                  </a:lnTo>
                  <a:lnTo>
                    <a:pt x="143" y="0"/>
                  </a:lnTo>
                  <a:lnTo>
                    <a:pt x="143" y="0"/>
                  </a:lnTo>
                  <a:close/>
                  <a:moveTo>
                    <a:pt x="125" y="31"/>
                  </a:moveTo>
                  <a:lnTo>
                    <a:pt x="127" y="31"/>
                  </a:lnTo>
                  <a:lnTo>
                    <a:pt x="125" y="31"/>
                  </a:lnTo>
                  <a:lnTo>
                    <a:pt x="125" y="31"/>
                  </a:lnTo>
                  <a:lnTo>
                    <a:pt x="125" y="29"/>
                  </a:lnTo>
                  <a:lnTo>
                    <a:pt x="125" y="31"/>
                  </a:lnTo>
                  <a:lnTo>
                    <a:pt x="127" y="31"/>
                  </a:lnTo>
                  <a:lnTo>
                    <a:pt x="127" y="31"/>
                  </a:lnTo>
                  <a:lnTo>
                    <a:pt x="127" y="31"/>
                  </a:lnTo>
                  <a:lnTo>
                    <a:pt x="127" y="29"/>
                  </a:lnTo>
                  <a:lnTo>
                    <a:pt x="127" y="29"/>
                  </a:lnTo>
                  <a:lnTo>
                    <a:pt x="127" y="29"/>
                  </a:lnTo>
                  <a:lnTo>
                    <a:pt x="127" y="29"/>
                  </a:lnTo>
                  <a:lnTo>
                    <a:pt x="125" y="29"/>
                  </a:lnTo>
                  <a:lnTo>
                    <a:pt x="125" y="29"/>
                  </a:lnTo>
                  <a:lnTo>
                    <a:pt x="125" y="29"/>
                  </a:lnTo>
                  <a:lnTo>
                    <a:pt x="125" y="29"/>
                  </a:lnTo>
                  <a:lnTo>
                    <a:pt x="123" y="27"/>
                  </a:lnTo>
                  <a:lnTo>
                    <a:pt x="123" y="27"/>
                  </a:lnTo>
                  <a:lnTo>
                    <a:pt x="123" y="29"/>
                  </a:lnTo>
                  <a:lnTo>
                    <a:pt x="125" y="31"/>
                  </a:lnTo>
                  <a:close/>
                  <a:moveTo>
                    <a:pt x="163" y="53"/>
                  </a:moveTo>
                  <a:lnTo>
                    <a:pt x="163" y="53"/>
                  </a:lnTo>
                  <a:lnTo>
                    <a:pt x="166" y="53"/>
                  </a:lnTo>
                  <a:lnTo>
                    <a:pt x="168" y="53"/>
                  </a:lnTo>
                  <a:lnTo>
                    <a:pt x="168" y="53"/>
                  </a:lnTo>
                  <a:lnTo>
                    <a:pt x="168" y="53"/>
                  </a:lnTo>
                  <a:lnTo>
                    <a:pt x="168" y="53"/>
                  </a:lnTo>
                  <a:lnTo>
                    <a:pt x="168" y="51"/>
                  </a:lnTo>
                  <a:lnTo>
                    <a:pt x="166" y="49"/>
                  </a:lnTo>
                  <a:lnTo>
                    <a:pt x="163" y="47"/>
                  </a:lnTo>
                  <a:lnTo>
                    <a:pt x="163" y="47"/>
                  </a:lnTo>
                  <a:lnTo>
                    <a:pt x="163" y="47"/>
                  </a:lnTo>
                  <a:lnTo>
                    <a:pt x="163" y="49"/>
                  </a:lnTo>
                  <a:lnTo>
                    <a:pt x="163" y="49"/>
                  </a:lnTo>
                  <a:lnTo>
                    <a:pt x="161" y="51"/>
                  </a:lnTo>
                  <a:lnTo>
                    <a:pt x="163" y="53"/>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A</a:t>
              </a:r>
            </a:p>
          </p:txBody>
        </p:sp>
        <p:sp>
          <p:nvSpPr>
            <p:cNvPr id="247" name="Freeform 9">
              <a:extLst>
                <a:ext uri="{FF2B5EF4-FFF2-40B4-BE49-F238E27FC236}">
                  <a16:creationId xmlns:a16="http://schemas.microsoft.com/office/drawing/2014/main" id="{7AB7BCAE-8E64-41BC-0BF5-02551494F556}"/>
                </a:ext>
              </a:extLst>
            </p:cNvPr>
            <p:cNvSpPr>
              <a:spLocks/>
            </p:cNvSpPr>
            <p:nvPr/>
          </p:nvSpPr>
          <p:spPr bwMode="auto">
            <a:xfrm>
              <a:off x="4810" y="303"/>
              <a:ext cx="150" cy="265"/>
            </a:xfrm>
            <a:custGeom>
              <a:avLst/>
              <a:gdLst>
                <a:gd name="T0" fmla="*/ 2 w 150"/>
                <a:gd name="T1" fmla="*/ 37 h 265"/>
                <a:gd name="T2" fmla="*/ 2 w 150"/>
                <a:gd name="T3" fmla="*/ 41 h 265"/>
                <a:gd name="T4" fmla="*/ 0 w 150"/>
                <a:gd name="T5" fmla="*/ 45 h 265"/>
                <a:gd name="T6" fmla="*/ 2 w 150"/>
                <a:gd name="T7" fmla="*/ 56 h 265"/>
                <a:gd name="T8" fmla="*/ 4 w 150"/>
                <a:gd name="T9" fmla="*/ 62 h 265"/>
                <a:gd name="T10" fmla="*/ 2 w 150"/>
                <a:gd name="T11" fmla="*/ 64 h 265"/>
                <a:gd name="T12" fmla="*/ 7 w 150"/>
                <a:gd name="T13" fmla="*/ 68 h 265"/>
                <a:gd name="T14" fmla="*/ 2 w 150"/>
                <a:gd name="T15" fmla="*/ 68 h 265"/>
                <a:gd name="T16" fmla="*/ 2 w 150"/>
                <a:gd name="T17" fmla="*/ 76 h 265"/>
                <a:gd name="T18" fmla="*/ 4 w 150"/>
                <a:gd name="T19" fmla="*/ 78 h 265"/>
                <a:gd name="T20" fmla="*/ 9 w 150"/>
                <a:gd name="T21" fmla="*/ 84 h 265"/>
                <a:gd name="T22" fmla="*/ 13 w 150"/>
                <a:gd name="T23" fmla="*/ 93 h 265"/>
                <a:gd name="T24" fmla="*/ 13 w 150"/>
                <a:gd name="T25" fmla="*/ 101 h 265"/>
                <a:gd name="T26" fmla="*/ 15 w 150"/>
                <a:gd name="T27" fmla="*/ 95 h 265"/>
                <a:gd name="T28" fmla="*/ 19 w 150"/>
                <a:gd name="T29" fmla="*/ 105 h 265"/>
                <a:gd name="T30" fmla="*/ 17 w 150"/>
                <a:gd name="T31" fmla="*/ 119 h 265"/>
                <a:gd name="T32" fmla="*/ 19 w 150"/>
                <a:gd name="T33" fmla="*/ 138 h 265"/>
                <a:gd name="T34" fmla="*/ 21 w 150"/>
                <a:gd name="T35" fmla="*/ 140 h 265"/>
                <a:gd name="T36" fmla="*/ 25 w 150"/>
                <a:gd name="T37" fmla="*/ 152 h 265"/>
                <a:gd name="T38" fmla="*/ 27 w 150"/>
                <a:gd name="T39" fmla="*/ 158 h 265"/>
                <a:gd name="T40" fmla="*/ 31 w 150"/>
                <a:gd name="T41" fmla="*/ 164 h 265"/>
                <a:gd name="T42" fmla="*/ 31 w 150"/>
                <a:gd name="T43" fmla="*/ 179 h 265"/>
                <a:gd name="T44" fmla="*/ 33 w 150"/>
                <a:gd name="T45" fmla="*/ 185 h 265"/>
                <a:gd name="T46" fmla="*/ 35 w 150"/>
                <a:gd name="T47" fmla="*/ 183 h 265"/>
                <a:gd name="T48" fmla="*/ 35 w 150"/>
                <a:gd name="T49" fmla="*/ 179 h 265"/>
                <a:gd name="T50" fmla="*/ 37 w 150"/>
                <a:gd name="T51" fmla="*/ 177 h 265"/>
                <a:gd name="T52" fmla="*/ 43 w 150"/>
                <a:gd name="T53" fmla="*/ 181 h 265"/>
                <a:gd name="T54" fmla="*/ 47 w 150"/>
                <a:gd name="T55" fmla="*/ 185 h 265"/>
                <a:gd name="T56" fmla="*/ 50 w 150"/>
                <a:gd name="T57" fmla="*/ 201 h 265"/>
                <a:gd name="T58" fmla="*/ 58 w 150"/>
                <a:gd name="T59" fmla="*/ 238 h 265"/>
                <a:gd name="T60" fmla="*/ 62 w 150"/>
                <a:gd name="T61" fmla="*/ 252 h 265"/>
                <a:gd name="T62" fmla="*/ 66 w 150"/>
                <a:gd name="T63" fmla="*/ 265 h 265"/>
                <a:gd name="T64" fmla="*/ 93 w 150"/>
                <a:gd name="T65" fmla="*/ 259 h 265"/>
                <a:gd name="T66" fmla="*/ 113 w 150"/>
                <a:gd name="T67" fmla="*/ 257 h 265"/>
                <a:gd name="T68" fmla="*/ 129 w 150"/>
                <a:gd name="T69" fmla="*/ 252 h 265"/>
                <a:gd name="T70" fmla="*/ 119 w 150"/>
                <a:gd name="T71" fmla="*/ 242 h 265"/>
                <a:gd name="T72" fmla="*/ 117 w 150"/>
                <a:gd name="T73" fmla="*/ 236 h 265"/>
                <a:gd name="T74" fmla="*/ 121 w 150"/>
                <a:gd name="T75" fmla="*/ 226 h 265"/>
                <a:gd name="T76" fmla="*/ 119 w 150"/>
                <a:gd name="T77" fmla="*/ 207 h 265"/>
                <a:gd name="T78" fmla="*/ 117 w 150"/>
                <a:gd name="T79" fmla="*/ 201 h 265"/>
                <a:gd name="T80" fmla="*/ 117 w 150"/>
                <a:gd name="T81" fmla="*/ 197 h 265"/>
                <a:gd name="T82" fmla="*/ 117 w 150"/>
                <a:gd name="T83" fmla="*/ 191 h 265"/>
                <a:gd name="T84" fmla="*/ 115 w 150"/>
                <a:gd name="T85" fmla="*/ 160 h 265"/>
                <a:gd name="T86" fmla="*/ 115 w 150"/>
                <a:gd name="T87" fmla="*/ 148 h 265"/>
                <a:gd name="T88" fmla="*/ 121 w 150"/>
                <a:gd name="T89" fmla="*/ 136 h 265"/>
                <a:gd name="T90" fmla="*/ 125 w 150"/>
                <a:gd name="T91" fmla="*/ 117 h 265"/>
                <a:gd name="T92" fmla="*/ 123 w 150"/>
                <a:gd name="T93" fmla="*/ 113 h 265"/>
                <a:gd name="T94" fmla="*/ 121 w 150"/>
                <a:gd name="T95" fmla="*/ 84 h 265"/>
                <a:gd name="T96" fmla="*/ 133 w 150"/>
                <a:gd name="T97" fmla="*/ 74 h 265"/>
                <a:gd name="T98" fmla="*/ 144 w 150"/>
                <a:gd name="T99" fmla="*/ 62 h 265"/>
                <a:gd name="T100" fmla="*/ 148 w 150"/>
                <a:gd name="T101" fmla="*/ 52 h 265"/>
                <a:gd name="T102" fmla="*/ 150 w 150"/>
                <a:gd name="T103" fmla="*/ 45 h 265"/>
                <a:gd name="T104" fmla="*/ 144 w 150"/>
                <a:gd name="T105" fmla="*/ 35 h 265"/>
                <a:gd name="T106" fmla="*/ 140 w 150"/>
                <a:gd name="T107" fmla="*/ 27 h 265"/>
                <a:gd name="T108" fmla="*/ 144 w 150"/>
                <a:gd name="T109" fmla="*/ 9 h 265"/>
                <a:gd name="T110" fmla="*/ 144 w 150"/>
                <a:gd name="T111" fmla="*/ 0 h 265"/>
                <a:gd name="T112" fmla="*/ 105 w 150"/>
                <a:gd name="T113" fmla="*/ 11 h 265"/>
                <a:gd name="T114" fmla="*/ 66 w 150"/>
                <a:gd name="T115" fmla="*/ 21 h 265"/>
                <a:gd name="T116" fmla="*/ 21 w 150"/>
                <a:gd name="T117" fmla="*/ 31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265">
                  <a:moveTo>
                    <a:pt x="17" y="33"/>
                  </a:moveTo>
                  <a:lnTo>
                    <a:pt x="13" y="33"/>
                  </a:lnTo>
                  <a:lnTo>
                    <a:pt x="13" y="35"/>
                  </a:lnTo>
                  <a:lnTo>
                    <a:pt x="7" y="35"/>
                  </a:lnTo>
                  <a:lnTo>
                    <a:pt x="2" y="37"/>
                  </a:lnTo>
                  <a:lnTo>
                    <a:pt x="2" y="37"/>
                  </a:lnTo>
                  <a:lnTo>
                    <a:pt x="0" y="37"/>
                  </a:lnTo>
                  <a:lnTo>
                    <a:pt x="2" y="39"/>
                  </a:lnTo>
                  <a:lnTo>
                    <a:pt x="2" y="41"/>
                  </a:lnTo>
                  <a:lnTo>
                    <a:pt x="2" y="41"/>
                  </a:lnTo>
                  <a:lnTo>
                    <a:pt x="2" y="43"/>
                  </a:lnTo>
                  <a:lnTo>
                    <a:pt x="2" y="43"/>
                  </a:lnTo>
                  <a:lnTo>
                    <a:pt x="0" y="43"/>
                  </a:lnTo>
                  <a:lnTo>
                    <a:pt x="0" y="43"/>
                  </a:lnTo>
                  <a:lnTo>
                    <a:pt x="0" y="45"/>
                  </a:lnTo>
                  <a:lnTo>
                    <a:pt x="2" y="48"/>
                  </a:lnTo>
                  <a:lnTo>
                    <a:pt x="2" y="52"/>
                  </a:lnTo>
                  <a:lnTo>
                    <a:pt x="2" y="54"/>
                  </a:lnTo>
                  <a:lnTo>
                    <a:pt x="2" y="56"/>
                  </a:lnTo>
                  <a:lnTo>
                    <a:pt x="2" y="56"/>
                  </a:lnTo>
                  <a:lnTo>
                    <a:pt x="4" y="58"/>
                  </a:lnTo>
                  <a:lnTo>
                    <a:pt x="4" y="58"/>
                  </a:lnTo>
                  <a:lnTo>
                    <a:pt x="4" y="60"/>
                  </a:lnTo>
                  <a:lnTo>
                    <a:pt x="4" y="62"/>
                  </a:lnTo>
                  <a:lnTo>
                    <a:pt x="4" y="62"/>
                  </a:lnTo>
                  <a:lnTo>
                    <a:pt x="4" y="62"/>
                  </a:lnTo>
                  <a:lnTo>
                    <a:pt x="2" y="62"/>
                  </a:lnTo>
                  <a:lnTo>
                    <a:pt x="2" y="64"/>
                  </a:lnTo>
                  <a:lnTo>
                    <a:pt x="2" y="64"/>
                  </a:lnTo>
                  <a:lnTo>
                    <a:pt x="2" y="64"/>
                  </a:lnTo>
                  <a:lnTo>
                    <a:pt x="4" y="66"/>
                  </a:lnTo>
                  <a:lnTo>
                    <a:pt x="4" y="66"/>
                  </a:lnTo>
                  <a:lnTo>
                    <a:pt x="7" y="66"/>
                  </a:lnTo>
                  <a:lnTo>
                    <a:pt x="7" y="68"/>
                  </a:lnTo>
                  <a:lnTo>
                    <a:pt x="7" y="68"/>
                  </a:lnTo>
                  <a:lnTo>
                    <a:pt x="7" y="70"/>
                  </a:lnTo>
                  <a:lnTo>
                    <a:pt x="7" y="70"/>
                  </a:lnTo>
                  <a:lnTo>
                    <a:pt x="4" y="68"/>
                  </a:lnTo>
                  <a:lnTo>
                    <a:pt x="4" y="68"/>
                  </a:lnTo>
                  <a:lnTo>
                    <a:pt x="2" y="68"/>
                  </a:lnTo>
                  <a:lnTo>
                    <a:pt x="2" y="68"/>
                  </a:lnTo>
                  <a:lnTo>
                    <a:pt x="2" y="70"/>
                  </a:lnTo>
                  <a:lnTo>
                    <a:pt x="4" y="72"/>
                  </a:lnTo>
                  <a:lnTo>
                    <a:pt x="4" y="74"/>
                  </a:lnTo>
                  <a:lnTo>
                    <a:pt x="2" y="76"/>
                  </a:lnTo>
                  <a:lnTo>
                    <a:pt x="4" y="76"/>
                  </a:lnTo>
                  <a:lnTo>
                    <a:pt x="4" y="78"/>
                  </a:lnTo>
                  <a:lnTo>
                    <a:pt x="4" y="78"/>
                  </a:lnTo>
                  <a:lnTo>
                    <a:pt x="4" y="78"/>
                  </a:lnTo>
                  <a:lnTo>
                    <a:pt x="4" y="78"/>
                  </a:lnTo>
                  <a:lnTo>
                    <a:pt x="4" y="80"/>
                  </a:lnTo>
                  <a:lnTo>
                    <a:pt x="7" y="82"/>
                  </a:lnTo>
                  <a:lnTo>
                    <a:pt x="7" y="84"/>
                  </a:lnTo>
                  <a:lnTo>
                    <a:pt x="9" y="84"/>
                  </a:lnTo>
                  <a:lnTo>
                    <a:pt x="9" y="84"/>
                  </a:lnTo>
                  <a:lnTo>
                    <a:pt x="11" y="86"/>
                  </a:lnTo>
                  <a:lnTo>
                    <a:pt x="11" y="88"/>
                  </a:lnTo>
                  <a:lnTo>
                    <a:pt x="9" y="91"/>
                  </a:lnTo>
                  <a:lnTo>
                    <a:pt x="11" y="93"/>
                  </a:lnTo>
                  <a:lnTo>
                    <a:pt x="13" y="93"/>
                  </a:lnTo>
                  <a:lnTo>
                    <a:pt x="13" y="95"/>
                  </a:lnTo>
                  <a:lnTo>
                    <a:pt x="11" y="97"/>
                  </a:lnTo>
                  <a:lnTo>
                    <a:pt x="11" y="97"/>
                  </a:lnTo>
                  <a:lnTo>
                    <a:pt x="13" y="99"/>
                  </a:lnTo>
                  <a:lnTo>
                    <a:pt x="13" y="101"/>
                  </a:lnTo>
                  <a:lnTo>
                    <a:pt x="13" y="99"/>
                  </a:lnTo>
                  <a:lnTo>
                    <a:pt x="13" y="97"/>
                  </a:lnTo>
                  <a:lnTo>
                    <a:pt x="13" y="95"/>
                  </a:lnTo>
                  <a:lnTo>
                    <a:pt x="13" y="95"/>
                  </a:lnTo>
                  <a:lnTo>
                    <a:pt x="15" y="95"/>
                  </a:lnTo>
                  <a:lnTo>
                    <a:pt x="15" y="101"/>
                  </a:lnTo>
                  <a:lnTo>
                    <a:pt x="15" y="101"/>
                  </a:lnTo>
                  <a:lnTo>
                    <a:pt x="17" y="101"/>
                  </a:lnTo>
                  <a:lnTo>
                    <a:pt x="17" y="103"/>
                  </a:lnTo>
                  <a:lnTo>
                    <a:pt x="19" y="105"/>
                  </a:lnTo>
                  <a:lnTo>
                    <a:pt x="19" y="109"/>
                  </a:lnTo>
                  <a:lnTo>
                    <a:pt x="19" y="109"/>
                  </a:lnTo>
                  <a:lnTo>
                    <a:pt x="21" y="111"/>
                  </a:lnTo>
                  <a:lnTo>
                    <a:pt x="21" y="113"/>
                  </a:lnTo>
                  <a:lnTo>
                    <a:pt x="17" y="119"/>
                  </a:lnTo>
                  <a:lnTo>
                    <a:pt x="15" y="121"/>
                  </a:lnTo>
                  <a:lnTo>
                    <a:pt x="17" y="123"/>
                  </a:lnTo>
                  <a:lnTo>
                    <a:pt x="17" y="136"/>
                  </a:lnTo>
                  <a:lnTo>
                    <a:pt x="19" y="140"/>
                  </a:lnTo>
                  <a:lnTo>
                    <a:pt x="19" y="138"/>
                  </a:lnTo>
                  <a:lnTo>
                    <a:pt x="19" y="138"/>
                  </a:lnTo>
                  <a:lnTo>
                    <a:pt x="21" y="138"/>
                  </a:lnTo>
                  <a:lnTo>
                    <a:pt x="21" y="138"/>
                  </a:lnTo>
                  <a:lnTo>
                    <a:pt x="21" y="138"/>
                  </a:lnTo>
                  <a:lnTo>
                    <a:pt x="21" y="140"/>
                  </a:lnTo>
                  <a:lnTo>
                    <a:pt x="21" y="142"/>
                  </a:lnTo>
                  <a:lnTo>
                    <a:pt x="23" y="146"/>
                  </a:lnTo>
                  <a:lnTo>
                    <a:pt x="23" y="148"/>
                  </a:lnTo>
                  <a:lnTo>
                    <a:pt x="25" y="150"/>
                  </a:lnTo>
                  <a:lnTo>
                    <a:pt x="25" y="152"/>
                  </a:lnTo>
                  <a:lnTo>
                    <a:pt x="27" y="152"/>
                  </a:lnTo>
                  <a:lnTo>
                    <a:pt x="27" y="154"/>
                  </a:lnTo>
                  <a:lnTo>
                    <a:pt x="27" y="154"/>
                  </a:lnTo>
                  <a:lnTo>
                    <a:pt x="27" y="156"/>
                  </a:lnTo>
                  <a:lnTo>
                    <a:pt x="27" y="158"/>
                  </a:lnTo>
                  <a:lnTo>
                    <a:pt x="27" y="158"/>
                  </a:lnTo>
                  <a:lnTo>
                    <a:pt x="29" y="160"/>
                  </a:lnTo>
                  <a:lnTo>
                    <a:pt x="31" y="160"/>
                  </a:lnTo>
                  <a:lnTo>
                    <a:pt x="31" y="162"/>
                  </a:lnTo>
                  <a:lnTo>
                    <a:pt x="31" y="164"/>
                  </a:lnTo>
                  <a:lnTo>
                    <a:pt x="31" y="164"/>
                  </a:lnTo>
                  <a:lnTo>
                    <a:pt x="31" y="166"/>
                  </a:lnTo>
                  <a:lnTo>
                    <a:pt x="31" y="177"/>
                  </a:lnTo>
                  <a:lnTo>
                    <a:pt x="31" y="177"/>
                  </a:lnTo>
                  <a:lnTo>
                    <a:pt x="31" y="179"/>
                  </a:lnTo>
                  <a:lnTo>
                    <a:pt x="31" y="181"/>
                  </a:lnTo>
                  <a:lnTo>
                    <a:pt x="31" y="183"/>
                  </a:lnTo>
                  <a:lnTo>
                    <a:pt x="31" y="183"/>
                  </a:lnTo>
                  <a:lnTo>
                    <a:pt x="33" y="185"/>
                  </a:lnTo>
                  <a:lnTo>
                    <a:pt x="33" y="185"/>
                  </a:lnTo>
                  <a:lnTo>
                    <a:pt x="33" y="185"/>
                  </a:lnTo>
                  <a:lnTo>
                    <a:pt x="33" y="185"/>
                  </a:lnTo>
                  <a:lnTo>
                    <a:pt x="35" y="183"/>
                  </a:lnTo>
                  <a:lnTo>
                    <a:pt x="35" y="183"/>
                  </a:lnTo>
                  <a:lnTo>
                    <a:pt x="35" y="183"/>
                  </a:lnTo>
                  <a:lnTo>
                    <a:pt x="35" y="183"/>
                  </a:lnTo>
                  <a:lnTo>
                    <a:pt x="35" y="181"/>
                  </a:lnTo>
                  <a:lnTo>
                    <a:pt x="35" y="179"/>
                  </a:lnTo>
                  <a:lnTo>
                    <a:pt x="35" y="179"/>
                  </a:lnTo>
                  <a:lnTo>
                    <a:pt x="35" y="179"/>
                  </a:lnTo>
                  <a:lnTo>
                    <a:pt x="35" y="179"/>
                  </a:lnTo>
                  <a:lnTo>
                    <a:pt x="37" y="177"/>
                  </a:lnTo>
                  <a:lnTo>
                    <a:pt x="37" y="177"/>
                  </a:lnTo>
                  <a:lnTo>
                    <a:pt x="37" y="177"/>
                  </a:lnTo>
                  <a:lnTo>
                    <a:pt x="37" y="177"/>
                  </a:lnTo>
                  <a:lnTo>
                    <a:pt x="39" y="177"/>
                  </a:lnTo>
                  <a:lnTo>
                    <a:pt x="39" y="177"/>
                  </a:lnTo>
                  <a:lnTo>
                    <a:pt x="41" y="177"/>
                  </a:lnTo>
                  <a:lnTo>
                    <a:pt x="41" y="179"/>
                  </a:lnTo>
                  <a:lnTo>
                    <a:pt x="43" y="181"/>
                  </a:lnTo>
                  <a:lnTo>
                    <a:pt x="43" y="183"/>
                  </a:lnTo>
                  <a:lnTo>
                    <a:pt x="45" y="183"/>
                  </a:lnTo>
                  <a:lnTo>
                    <a:pt x="45" y="183"/>
                  </a:lnTo>
                  <a:lnTo>
                    <a:pt x="45" y="183"/>
                  </a:lnTo>
                  <a:lnTo>
                    <a:pt x="47" y="185"/>
                  </a:lnTo>
                  <a:lnTo>
                    <a:pt x="47" y="187"/>
                  </a:lnTo>
                  <a:lnTo>
                    <a:pt x="47" y="189"/>
                  </a:lnTo>
                  <a:lnTo>
                    <a:pt x="47" y="191"/>
                  </a:lnTo>
                  <a:lnTo>
                    <a:pt x="50" y="195"/>
                  </a:lnTo>
                  <a:lnTo>
                    <a:pt x="50" y="201"/>
                  </a:lnTo>
                  <a:lnTo>
                    <a:pt x="52" y="207"/>
                  </a:lnTo>
                  <a:lnTo>
                    <a:pt x="54" y="214"/>
                  </a:lnTo>
                  <a:lnTo>
                    <a:pt x="56" y="226"/>
                  </a:lnTo>
                  <a:lnTo>
                    <a:pt x="58" y="232"/>
                  </a:lnTo>
                  <a:lnTo>
                    <a:pt x="58" y="238"/>
                  </a:lnTo>
                  <a:lnTo>
                    <a:pt x="60" y="242"/>
                  </a:lnTo>
                  <a:lnTo>
                    <a:pt x="60" y="246"/>
                  </a:lnTo>
                  <a:lnTo>
                    <a:pt x="62" y="250"/>
                  </a:lnTo>
                  <a:lnTo>
                    <a:pt x="62" y="252"/>
                  </a:lnTo>
                  <a:lnTo>
                    <a:pt x="62" y="252"/>
                  </a:lnTo>
                  <a:lnTo>
                    <a:pt x="62" y="254"/>
                  </a:lnTo>
                  <a:lnTo>
                    <a:pt x="62" y="257"/>
                  </a:lnTo>
                  <a:lnTo>
                    <a:pt x="62" y="261"/>
                  </a:lnTo>
                  <a:lnTo>
                    <a:pt x="64" y="263"/>
                  </a:lnTo>
                  <a:lnTo>
                    <a:pt x="66" y="265"/>
                  </a:lnTo>
                  <a:lnTo>
                    <a:pt x="78" y="263"/>
                  </a:lnTo>
                  <a:lnTo>
                    <a:pt x="82" y="263"/>
                  </a:lnTo>
                  <a:lnTo>
                    <a:pt x="86" y="261"/>
                  </a:lnTo>
                  <a:lnTo>
                    <a:pt x="88" y="261"/>
                  </a:lnTo>
                  <a:lnTo>
                    <a:pt x="93" y="259"/>
                  </a:lnTo>
                  <a:lnTo>
                    <a:pt x="97" y="259"/>
                  </a:lnTo>
                  <a:lnTo>
                    <a:pt x="101" y="259"/>
                  </a:lnTo>
                  <a:lnTo>
                    <a:pt x="105" y="257"/>
                  </a:lnTo>
                  <a:lnTo>
                    <a:pt x="109" y="257"/>
                  </a:lnTo>
                  <a:lnTo>
                    <a:pt x="113" y="257"/>
                  </a:lnTo>
                  <a:lnTo>
                    <a:pt x="117" y="254"/>
                  </a:lnTo>
                  <a:lnTo>
                    <a:pt x="121" y="254"/>
                  </a:lnTo>
                  <a:lnTo>
                    <a:pt x="125" y="252"/>
                  </a:lnTo>
                  <a:lnTo>
                    <a:pt x="129" y="252"/>
                  </a:lnTo>
                  <a:lnTo>
                    <a:pt x="129" y="252"/>
                  </a:lnTo>
                  <a:lnTo>
                    <a:pt x="127" y="248"/>
                  </a:lnTo>
                  <a:lnTo>
                    <a:pt x="125" y="248"/>
                  </a:lnTo>
                  <a:lnTo>
                    <a:pt x="121" y="244"/>
                  </a:lnTo>
                  <a:lnTo>
                    <a:pt x="119" y="244"/>
                  </a:lnTo>
                  <a:lnTo>
                    <a:pt x="119" y="242"/>
                  </a:lnTo>
                  <a:lnTo>
                    <a:pt x="119" y="242"/>
                  </a:lnTo>
                  <a:lnTo>
                    <a:pt x="117" y="240"/>
                  </a:lnTo>
                  <a:lnTo>
                    <a:pt x="117" y="238"/>
                  </a:lnTo>
                  <a:lnTo>
                    <a:pt x="117" y="238"/>
                  </a:lnTo>
                  <a:lnTo>
                    <a:pt x="117" y="236"/>
                  </a:lnTo>
                  <a:lnTo>
                    <a:pt x="119" y="234"/>
                  </a:lnTo>
                  <a:lnTo>
                    <a:pt x="117" y="230"/>
                  </a:lnTo>
                  <a:lnTo>
                    <a:pt x="117" y="228"/>
                  </a:lnTo>
                  <a:lnTo>
                    <a:pt x="119" y="228"/>
                  </a:lnTo>
                  <a:lnTo>
                    <a:pt x="121" y="226"/>
                  </a:lnTo>
                  <a:lnTo>
                    <a:pt x="121" y="224"/>
                  </a:lnTo>
                  <a:lnTo>
                    <a:pt x="119" y="220"/>
                  </a:lnTo>
                  <a:lnTo>
                    <a:pt x="119" y="214"/>
                  </a:lnTo>
                  <a:lnTo>
                    <a:pt x="119" y="211"/>
                  </a:lnTo>
                  <a:lnTo>
                    <a:pt x="119" y="207"/>
                  </a:lnTo>
                  <a:lnTo>
                    <a:pt x="117" y="207"/>
                  </a:lnTo>
                  <a:lnTo>
                    <a:pt x="117" y="203"/>
                  </a:lnTo>
                  <a:lnTo>
                    <a:pt x="117" y="201"/>
                  </a:lnTo>
                  <a:lnTo>
                    <a:pt x="117" y="201"/>
                  </a:lnTo>
                  <a:lnTo>
                    <a:pt x="117" y="201"/>
                  </a:lnTo>
                  <a:lnTo>
                    <a:pt x="117" y="199"/>
                  </a:lnTo>
                  <a:lnTo>
                    <a:pt x="117" y="199"/>
                  </a:lnTo>
                  <a:lnTo>
                    <a:pt x="117" y="199"/>
                  </a:lnTo>
                  <a:lnTo>
                    <a:pt x="117" y="199"/>
                  </a:lnTo>
                  <a:lnTo>
                    <a:pt x="117" y="197"/>
                  </a:lnTo>
                  <a:lnTo>
                    <a:pt x="117" y="197"/>
                  </a:lnTo>
                  <a:lnTo>
                    <a:pt x="117" y="195"/>
                  </a:lnTo>
                  <a:lnTo>
                    <a:pt x="117" y="195"/>
                  </a:lnTo>
                  <a:lnTo>
                    <a:pt x="119" y="193"/>
                  </a:lnTo>
                  <a:lnTo>
                    <a:pt x="117" y="191"/>
                  </a:lnTo>
                  <a:lnTo>
                    <a:pt x="117" y="187"/>
                  </a:lnTo>
                  <a:lnTo>
                    <a:pt x="113" y="168"/>
                  </a:lnTo>
                  <a:lnTo>
                    <a:pt x="113" y="166"/>
                  </a:lnTo>
                  <a:lnTo>
                    <a:pt x="113" y="164"/>
                  </a:lnTo>
                  <a:lnTo>
                    <a:pt x="115" y="160"/>
                  </a:lnTo>
                  <a:lnTo>
                    <a:pt x="115" y="158"/>
                  </a:lnTo>
                  <a:lnTo>
                    <a:pt x="115" y="156"/>
                  </a:lnTo>
                  <a:lnTo>
                    <a:pt x="115" y="152"/>
                  </a:lnTo>
                  <a:lnTo>
                    <a:pt x="115" y="148"/>
                  </a:lnTo>
                  <a:lnTo>
                    <a:pt x="115" y="148"/>
                  </a:lnTo>
                  <a:lnTo>
                    <a:pt x="117" y="146"/>
                  </a:lnTo>
                  <a:lnTo>
                    <a:pt x="117" y="144"/>
                  </a:lnTo>
                  <a:lnTo>
                    <a:pt x="121" y="140"/>
                  </a:lnTo>
                  <a:lnTo>
                    <a:pt x="121" y="138"/>
                  </a:lnTo>
                  <a:lnTo>
                    <a:pt x="121" y="136"/>
                  </a:lnTo>
                  <a:lnTo>
                    <a:pt x="121" y="134"/>
                  </a:lnTo>
                  <a:lnTo>
                    <a:pt x="121" y="132"/>
                  </a:lnTo>
                  <a:lnTo>
                    <a:pt x="121" y="127"/>
                  </a:lnTo>
                  <a:lnTo>
                    <a:pt x="121" y="125"/>
                  </a:lnTo>
                  <a:lnTo>
                    <a:pt x="125" y="117"/>
                  </a:lnTo>
                  <a:lnTo>
                    <a:pt x="125" y="117"/>
                  </a:lnTo>
                  <a:lnTo>
                    <a:pt x="123" y="117"/>
                  </a:lnTo>
                  <a:lnTo>
                    <a:pt x="123" y="115"/>
                  </a:lnTo>
                  <a:lnTo>
                    <a:pt x="123" y="115"/>
                  </a:lnTo>
                  <a:lnTo>
                    <a:pt x="123" y="113"/>
                  </a:lnTo>
                  <a:lnTo>
                    <a:pt x="125" y="107"/>
                  </a:lnTo>
                  <a:lnTo>
                    <a:pt x="125" y="103"/>
                  </a:lnTo>
                  <a:lnTo>
                    <a:pt x="123" y="99"/>
                  </a:lnTo>
                  <a:lnTo>
                    <a:pt x="121" y="91"/>
                  </a:lnTo>
                  <a:lnTo>
                    <a:pt x="121" y="84"/>
                  </a:lnTo>
                  <a:lnTo>
                    <a:pt x="121" y="80"/>
                  </a:lnTo>
                  <a:lnTo>
                    <a:pt x="123" y="78"/>
                  </a:lnTo>
                  <a:lnTo>
                    <a:pt x="127" y="76"/>
                  </a:lnTo>
                  <a:lnTo>
                    <a:pt x="131" y="76"/>
                  </a:lnTo>
                  <a:lnTo>
                    <a:pt x="133" y="74"/>
                  </a:lnTo>
                  <a:lnTo>
                    <a:pt x="136" y="74"/>
                  </a:lnTo>
                  <a:lnTo>
                    <a:pt x="136" y="70"/>
                  </a:lnTo>
                  <a:lnTo>
                    <a:pt x="138" y="68"/>
                  </a:lnTo>
                  <a:lnTo>
                    <a:pt x="144" y="62"/>
                  </a:lnTo>
                  <a:lnTo>
                    <a:pt x="144" y="62"/>
                  </a:lnTo>
                  <a:lnTo>
                    <a:pt x="146" y="60"/>
                  </a:lnTo>
                  <a:lnTo>
                    <a:pt x="146" y="58"/>
                  </a:lnTo>
                  <a:lnTo>
                    <a:pt x="148" y="56"/>
                  </a:lnTo>
                  <a:lnTo>
                    <a:pt x="150" y="52"/>
                  </a:lnTo>
                  <a:lnTo>
                    <a:pt x="148" y="52"/>
                  </a:lnTo>
                  <a:lnTo>
                    <a:pt x="148" y="50"/>
                  </a:lnTo>
                  <a:lnTo>
                    <a:pt x="148" y="48"/>
                  </a:lnTo>
                  <a:lnTo>
                    <a:pt x="148" y="45"/>
                  </a:lnTo>
                  <a:lnTo>
                    <a:pt x="150" y="45"/>
                  </a:lnTo>
                  <a:lnTo>
                    <a:pt x="150" y="45"/>
                  </a:lnTo>
                  <a:lnTo>
                    <a:pt x="150" y="43"/>
                  </a:lnTo>
                  <a:lnTo>
                    <a:pt x="150" y="43"/>
                  </a:lnTo>
                  <a:lnTo>
                    <a:pt x="150" y="41"/>
                  </a:lnTo>
                  <a:lnTo>
                    <a:pt x="148" y="41"/>
                  </a:lnTo>
                  <a:lnTo>
                    <a:pt x="144" y="35"/>
                  </a:lnTo>
                  <a:lnTo>
                    <a:pt x="144" y="35"/>
                  </a:lnTo>
                  <a:lnTo>
                    <a:pt x="144" y="33"/>
                  </a:lnTo>
                  <a:lnTo>
                    <a:pt x="142" y="31"/>
                  </a:lnTo>
                  <a:lnTo>
                    <a:pt x="140" y="31"/>
                  </a:lnTo>
                  <a:lnTo>
                    <a:pt x="140" y="27"/>
                  </a:lnTo>
                  <a:lnTo>
                    <a:pt x="142" y="23"/>
                  </a:lnTo>
                  <a:lnTo>
                    <a:pt x="144" y="19"/>
                  </a:lnTo>
                  <a:lnTo>
                    <a:pt x="146" y="13"/>
                  </a:lnTo>
                  <a:lnTo>
                    <a:pt x="146" y="11"/>
                  </a:lnTo>
                  <a:lnTo>
                    <a:pt x="144" y="9"/>
                  </a:lnTo>
                  <a:lnTo>
                    <a:pt x="144" y="7"/>
                  </a:lnTo>
                  <a:lnTo>
                    <a:pt x="142" y="4"/>
                  </a:lnTo>
                  <a:lnTo>
                    <a:pt x="142" y="2"/>
                  </a:lnTo>
                  <a:lnTo>
                    <a:pt x="142" y="0"/>
                  </a:lnTo>
                  <a:lnTo>
                    <a:pt x="144" y="0"/>
                  </a:lnTo>
                  <a:lnTo>
                    <a:pt x="136" y="2"/>
                  </a:lnTo>
                  <a:lnTo>
                    <a:pt x="127" y="4"/>
                  </a:lnTo>
                  <a:lnTo>
                    <a:pt x="119" y="7"/>
                  </a:lnTo>
                  <a:lnTo>
                    <a:pt x="113" y="9"/>
                  </a:lnTo>
                  <a:lnTo>
                    <a:pt x="105" y="11"/>
                  </a:lnTo>
                  <a:lnTo>
                    <a:pt x="97" y="13"/>
                  </a:lnTo>
                  <a:lnTo>
                    <a:pt x="90" y="15"/>
                  </a:lnTo>
                  <a:lnTo>
                    <a:pt x="82" y="17"/>
                  </a:lnTo>
                  <a:lnTo>
                    <a:pt x="74" y="19"/>
                  </a:lnTo>
                  <a:lnTo>
                    <a:pt x="66" y="21"/>
                  </a:lnTo>
                  <a:lnTo>
                    <a:pt x="60" y="23"/>
                  </a:lnTo>
                  <a:lnTo>
                    <a:pt x="52" y="25"/>
                  </a:lnTo>
                  <a:lnTo>
                    <a:pt x="35" y="29"/>
                  </a:lnTo>
                  <a:lnTo>
                    <a:pt x="29" y="31"/>
                  </a:lnTo>
                  <a:lnTo>
                    <a:pt x="21" y="31"/>
                  </a:lnTo>
                  <a:lnTo>
                    <a:pt x="21" y="31"/>
                  </a:lnTo>
                  <a:lnTo>
                    <a:pt x="19" y="33"/>
                  </a:lnTo>
                  <a:lnTo>
                    <a:pt x="17" y="33"/>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VT</a:t>
              </a:r>
            </a:p>
          </p:txBody>
        </p:sp>
        <p:sp>
          <p:nvSpPr>
            <p:cNvPr id="248" name="Freeform 10">
              <a:extLst>
                <a:ext uri="{FF2B5EF4-FFF2-40B4-BE49-F238E27FC236}">
                  <a16:creationId xmlns:a16="http://schemas.microsoft.com/office/drawing/2014/main" id="{6123E4C0-66BC-23B0-AE80-8F27CEC54211}"/>
                </a:ext>
              </a:extLst>
            </p:cNvPr>
            <p:cNvSpPr>
              <a:spLocks noEditPoints="1"/>
            </p:cNvSpPr>
            <p:nvPr/>
          </p:nvSpPr>
          <p:spPr bwMode="auto">
            <a:xfrm>
              <a:off x="4143" y="1002"/>
              <a:ext cx="688" cy="379"/>
            </a:xfrm>
            <a:custGeom>
              <a:avLst/>
              <a:gdLst>
                <a:gd name="T0" fmla="*/ 665 w 688"/>
                <a:gd name="T1" fmla="*/ 166 h 379"/>
                <a:gd name="T2" fmla="*/ 655 w 688"/>
                <a:gd name="T3" fmla="*/ 111 h 379"/>
                <a:gd name="T4" fmla="*/ 651 w 688"/>
                <a:gd name="T5" fmla="*/ 129 h 379"/>
                <a:gd name="T6" fmla="*/ 641 w 688"/>
                <a:gd name="T7" fmla="*/ 150 h 379"/>
                <a:gd name="T8" fmla="*/ 641 w 688"/>
                <a:gd name="T9" fmla="*/ 170 h 379"/>
                <a:gd name="T10" fmla="*/ 649 w 688"/>
                <a:gd name="T11" fmla="*/ 201 h 379"/>
                <a:gd name="T12" fmla="*/ 655 w 688"/>
                <a:gd name="T13" fmla="*/ 170 h 379"/>
                <a:gd name="T14" fmla="*/ 665 w 688"/>
                <a:gd name="T15" fmla="*/ 156 h 379"/>
                <a:gd name="T16" fmla="*/ 676 w 688"/>
                <a:gd name="T17" fmla="*/ 101 h 379"/>
                <a:gd name="T18" fmla="*/ 680 w 688"/>
                <a:gd name="T19" fmla="*/ 113 h 379"/>
                <a:gd name="T20" fmla="*/ 624 w 688"/>
                <a:gd name="T21" fmla="*/ 232 h 379"/>
                <a:gd name="T22" fmla="*/ 608 w 688"/>
                <a:gd name="T23" fmla="*/ 234 h 379"/>
                <a:gd name="T24" fmla="*/ 585 w 688"/>
                <a:gd name="T25" fmla="*/ 209 h 379"/>
                <a:gd name="T26" fmla="*/ 536 w 688"/>
                <a:gd name="T27" fmla="*/ 207 h 379"/>
                <a:gd name="T28" fmla="*/ 553 w 688"/>
                <a:gd name="T29" fmla="*/ 205 h 379"/>
                <a:gd name="T30" fmla="*/ 571 w 688"/>
                <a:gd name="T31" fmla="*/ 205 h 379"/>
                <a:gd name="T32" fmla="*/ 598 w 688"/>
                <a:gd name="T33" fmla="*/ 217 h 379"/>
                <a:gd name="T34" fmla="*/ 620 w 688"/>
                <a:gd name="T35" fmla="*/ 209 h 379"/>
                <a:gd name="T36" fmla="*/ 579 w 688"/>
                <a:gd name="T37" fmla="*/ 187 h 379"/>
                <a:gd name="T38" fmla="*/ 598 w 688"/>
                <a:gd name="T39" fmla="*/ 195 h 379"/>
                <a:gd name="T40" fmla="*/ 604 w 688"/>
                <a:gd name="T41" fmla="*/ 183 h 379"/>
                <a:gd name="T42" fmla="*/ 614 w 688"/>
                <a:gd name="T43" fmla="*/ 174 h 379"/>
                <a:gd name="T44" fmla="*/ 604 w 688"/>
                <a:gd name="T45" fmla="*/ 162 h 379"/>
                <a:gd name="T46" fmla="*/ 573 w 688"/>
                <a:gd name="T47" fmla="*/ 146 h 379"/>
                <a:gd name="T48" fmla="*/ 549 w 688"/>
                <a:gd name="T49" fmla="*/ 129 h 379"/>
                <a:gd name="T50" fmla="*/ 534 w 688"/>
                <a:gd name="T51" fmla="*/ 115 h 379"/>
                <a:gd name="T52" fmla="*/ 575 w 688"/>
                <a:gd name="T53" fmla="*/ 144 h 379"/>
                <a:gd name="T54" fmla="*/ 596 w 688"/>
                <a:gd name="T55" fmla="*/ 156 h 379"/>
                <a:gd name="T56" fmla="*/ 604 w 688"/>
                <a:gd name="T57" fmla="*/ 146 h 379"/>
                <a:gd name="T58" fmla="*/ 602 w 688"/>
                <a:gd name="T59" fmla="*/ 123 h 379"/>
                <a:gd name="T60" fmla="*/ 573 w 688"/>
                <a:gd name="T61" fmla="*/ 111 h 379"/>
                <a:gd name="T62" fmla="*/ 540 w 688"/>
                <a:gd name="T63" fmla="*/ 107 h 379"/>
                <a:gd name="T64" fmla="*/ 530 w 688"/>
                <a:gd name="T65" fmla="*/ 88 h 379"/>
                <a:gd name="T66" fmla="*/ 506 w 688"/>
                <a:gd name="T67" fmla="*/ 88 h 379"/>
                <a:gd name="T68" fmla="*/ 514 w 688"/>
                <a:gd name="T69" fmla="*/ 66 h 379"/>
                <a:gd name="T70" fmla="*/ 518 w 688"/>
                <a:gd name="T71" fmla="*/ 39 h 379"/>
                <a:gd name="T72" fmla="*/ 483 w 688"/>
                <a:gd name="T73" fmla="*/ 25 h 379"/>
                <a:gd name="T74" fmla="*/ 450 w 688"/>
                <a:gd name="T75" fmla="*/ 4 h 379"/>
                <a:gd name="T76" fmla="*/ 397 w 688"/>
                <a:gd name="T77" fmla="*/ 4 h 379"/>
                <a:gd name="T78" fmla="*/ 397 w 688"/>
                <a:gd name="T79" fmla="*/ 29 h 379"/>
                <a:gd name="T80" fmla="*/ 385 w 688"/>
                <a:gd name="T81" fmla="*/ 56 h 379"/>
                <a:gd name="T82" fmla="*/ 372 w 688"/>
                <a:gd name="T83" fmla="*/ 70 h 379"/>
                <a:gd name="T84" fmla="*/ 352 w 688"/>
                <a:gd name="T85" fmla="*/ 94 h 379"/>
                <a:gd name="T86" fmla="*/ 340 w 688"/>
                <a:gd name="T87" fmla="*/ 123 h 379"/>
                <a:gd name="T88" fmla="*/ 307 w 688"/>
                <a:gd name="T89" fmla="*/ 113 h 379"/>
                <a:gd name="T90" fmla="*/ 301 w 688"/>
                <a:gd name="T91" fmla="*/ 140 h 379"/>
                <a:gd name="T92" fmla="*/ 293 w 688"/>
                <a:gd name="T93" fmla="*/ 162 h 379"/>
                <a:gd name="T94" fmla="*/ 276 w 688"/>
                <a:gd name="T95" fmla="*/ 222 h 379"/>
                <a:gd name="T96" fmla="*/ 272 w 688"/>
                <a:gd name="T97" fmla="*/ 236 h 379"/>
                <a:gd name="T98" fmla="*/ 245 w 688"/>
                <a:gd name="T99" fmla="*/ 250 h 379"/>
                <a:gd name="T100" fmla="*/ 227 w 688"/>
                <a:gd name="T101" fmla="*/ 252 h 379"/>
                <a:gd name="T102" fmla="*/ 217 w 688"/>
                <a:gd name="T103" fmla="*/ 269 h 379"/>
                <a:gd name="T104" fmla="*/ 184 w 688"/>
                <a:gd name="T105" fmla="*/ 271 h 379"/>
                <a:gd name="T106" fmla="*/ 157 w 688"/>
                <a:gd name="T107" fmla="*/ 285 h 379"/>
                <a:gd name="T108" fmla="*/ 137 w 688"/>
                <a:gd name="T109" fmla="*/ 275 h 379"/>
                <a:gd name="T110" fmla="*/ 133 w 688"/>
                <a:gd name="T111" fmla="*/ 260 h 379"/>
                <a:gd name="T112" fmla="*/ 75 w 688"/>
                <a:gd name="T113" fmla="*/ 316 h 379"/>
                <a:gd name="T114" fmla="*/ 63 w 688"/>
                <a:gd name="T115" fmla="*/ 338 h 379"/>
                <a:gd name="T116" fmla="*/ 22 w 688"/>
                <a:gd name="T117" fmla="*/ 367 h 379"/>
                <a:gd name="T118" fmla="*/ 143 w 688"/>
                <a:gd name="T119" fmla="*/ 357 h 379"/>
                <a:gd name="T120" fmla="*/ 311 w 688"/>
                <a:gd name="T121" fmla="*/ 330 h 379"/>
                <a:gd name="T122" fmla="*/ 626 w 688"/>
                <a:gd name="T123" fmla="*/ 271 h 379"/>
                <a:gd name="T124" fmla="*/ 667 w 688"/>
                <a:gd name="T125" fmla="*/ 25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8" h="379">
                  <a:moveTo>
                    <a:pt x="663" y="260"/>
                  </a:moveTo>
                  <a:lnTo>
                    <a:pt x="663" y="262"/>
                  </a:lnTo>
                  <a:lnTo>
                    <a:pt x="663" y="262"/>
                  </a:lnTo>
                  <a:lnTo>
                    <a:pt x="663" y="262"/>
                  </a:lnTo>
                  <a:lnTo>
                    <a:pt x="665" y="262"/>
                  </a:lnTo>
                  <a:lnTo>
                    <a:pt x="665" y="262"/>
                  </a:lnTo>
                  <a:lnTo>
                    <a:pt x="665" y="260"/>
                  </a:lnTo>
                  <a:lnTo>
                    <a:pt x="663" y="260"/>
                  </a:lnTo>
                  <a:close/>
                  <a:moveTo>
                    <a:pt x="657" y="189"/>
                  </a:moveTo>
                  <a:lnTo>
                    <a:pt x="655" y="189"/>
                  </a:lnTo>
                  <a:lnTo>
                    <a:pt x="657" y="191"/>
                  </a:lnTo>
                  <a:lnTo>
                    <a:pt x="659" y="189"/>
                  </a:lnTo>
                  <a:lnTo>
                    <a:pt x="659" y="187"/>
                  </a:lnTo>
                  <a:lnTo>
                    <a:pt x="659" y="185"/>
                  </a:lnTo>
                  <a:lnTo>
                    <a:pt x="659" y="181"/>
                  </a:lnTo>
                  <a:lnTo>
                    <a:pt x="659" y="181"/>
                  </a:lnTo>
                  <a:lnTo>
                    <a:pt x="659" y="183"/>
                  </a:lnTo>
                  <a:lnTo>
                    <a:pt x="659" y="185"/>
                  </a:lnTo>
                  <a:lnTo>
                    <a:pt x="657" y="187"/>
                  </a:lnTo>
                  <a:lnTo>
                    <a:pt x="657" y="189"/>
                  </a:lnTo>
                  <a:close/>
                  <a:moveTo>
                    <a:pt x="665" y="166"/>
                  </a:moveTo>
                  <a:lnTo>
                    <a:pt x="665" y="164"/>
                  </a:lnTo>
                  <a:lnTo>
                    <a:pt x="665" y="162"/>
                  </a:lnTo>
                  <a:lnTo>
                    <a:pt x="665" y="162"/>
                  </a:lnTo>
                  <a:lnTo>
                    <a:pt x="663" y="162"/>
                  </a:lnTo>
                  <a:lnTo>
                    <a:pt x="663" y="168"/>
                  </a:lnTo>
                  <a:lnTo>
                    <a:pt x="663" y="170"/>
                  </a:lnTo>
                  <a:lnTo>
                    <a:pt x="663" y="170"/>
                  </a:lnTo>
                  <a:lnTo>
                    <a:pt x="663" y="170"/>
                  </a:lnTo>
                  <a:lnTo>
                    <a:pt x="665" y="166"/>
                  </a:lnTo>
                  <a:close/>
                  <a:moveTo>
                    <a:pt x="676" y="99"/>
                  </a:moveTo>
                  <a:lnTo>
                    <a:pt x="674" y="99"/>
                  </a:lnTo>
                  <a:lnTo>
                    <a:pt x="669" y="101"/>
                  </a:lnTo>
                  <a:lnTo>
                    <a:pt x="665" y="103"/>
                  </a:lnTo>
                  <a:lnTo>
                    <a:pt x="661" y="103"/>
                  </a:lnTo>
                  <a:lnTo>
                    <a:pt x="659" y="105"/>
                  </a:lnTo>
                  <a:lnTo>
                    <a:pt x="657" y="105"/>
                  </a:lnTo>
                  <a:lnTo>
                    <a:pt x="657" y="105"/>
                  </a:lnTo>
                  <a:lnTo>
                    <a:pt x="655" y="107"/>
                  </a:lnTo>
                  <a:lnTo>
                    <a:pt x="655" y="109"/>
                  </a:lnTo>
                  <a:lnTo>
                    <a:pt x="657" y="109"/>
                  </a:lnTo>
                  <a:lnTo>
                    <a:pt x="655" y="111"/>
                  </a:lnTo>
                  <a:lnTo>
                    <a:pt x="655" y="111"/>
                  </a:lnTo>
                  <a:lnTo>
                    <a:pt x="651" y="113"/>
                  </a:lnTo>
                  <a:lnTo>
                    <a:pt x="651" y="115"/>
                  </a:lnTo>
                  <a:lnTo>
                    <a:pt x="649" y="117"/>
                  </a:lnTo>
                  <a:lnTo>
                    <a:pt x="649" y="117"/>
                  </a:lnTo>
                  <a:lnTo>
                    <a:pt x="651" y="117"/>
                  </a:lnTo>
                  <a:lnTo>
                    <a:pt x="653" y="117"/>
                  </a:lnTo>
                  <a:lnTo>
                    <a:pt x="655" y="117"/>
                  </a:lnTo>
                  <a:lnTo>
                    <a:pt x="655" y="119"/>
                  </a:lnTo>
                  <a:lnTo>
                    <a:pt x="655" y="119"/>
                  </a:lnTo>
                  <a:lnTo>
                    <a:pt x="655" y="121"/>
                  </a:lnTo>
                  <a:lnTo>
                    <a:pt x="655" y="121"/>
                  </a:lnTo>
                  <a:lnTo>
                    <a:pt x="657" y="121"/>
                  </a:lnTo>
                  <a:lnTo>
                    <a:pt x="655" y="123"/>
                  </a:lnTo>
                  <a:lnTo>
                    <a:pt x="653" y="123"/>
                  </a:lnTo>
                  <a:lnTo>
                    <a:pt x="653" y="123"/>
                  </a:lnTo>
                  <a:lnTo>
                    <a:pt x="653" y="123"/>
                  </a:lnTo>
                  <a:lnTo>
                    <a:pt x="653" y="125"/>
                  </a:lnTo>
                  <a:lnTo>
                    <a:pt x="653" y="125"/>
                  </a:lnTo>
                  <a:lnTo>
                    <a:pt x="655" y="127"/>
                  </a:lnTo>
                  <a:lnTo>
                    <a:pt x="651" y="129"/>
                  </a:lnTo>
                  <a:lnTo>
                    <a:pt x="649" y="129"/>
                  </a:lnTo>
                  <a:lnTo>
                    <a:pt x="649" y="127"/>
                  </a:lnTo>
                  <a:lnTo>
                    <a:pt x="647" y="127"/>
                  </a:lnTo>
                  <a:lnTo>
                    <a:pt x="647" y="129"/>
                  </a:lnTo>
                  <a:lnTo>
                    <a:pt x="649" y="131"/>
                  </a:lnTo>
                  <a:lnTo>
                    <a:pt x="649" y="131"/>
                  </a:lnTo>
                  <a:lnTo>
                    <a:pt x="649" y="133"/>
                  </a:lnTo>
                  <a:lnTo>
                    <a:pt x="647" y="135"/>
                  </a:lnTo>
                  <a:lnTo>
                    <a:pt x="647" y="135"/>
                  </a:lnTo>
                  <a:lnTo>
                    <a:pt x="649" y="135"/>
                  </a:lnTo>
                  <a:lnTo>
                    <a:pt x="649" y="135"/>
                  </a:lnTo>
                  <a:lnTo>
                    <a:pt x="647" y="140"/>
                  </a:lnTo>
                  <a:lnTo>
                    <a:pt x="647" y="142"/>
                  </a:lnTo>
                  <a:lnTo>
                    <a:pt x="647" y="144"/>
                  </a:lnTo>
                  <a:lnTo>
                    <a:pt x="645" y="144"/>
                  </a:lnTo>
                  <a:lnTo>
                    <a:pt x="645" y="144"/>
                  </a:lnTo>
                  <a:lnTo>
                    <a:pt x="643" y="146"/>
                  </a:lnTo>
                  <a:lnTo>
                    <a:pt x="643" y="148"/>
                  </a:lnTo>
                  <a:lnTo>
                    <a:pt x="645" y="148"/>
                  </a:lnTo>
                  <a:lnTo>
                    <a:pt x="643" y="150"/>
                  </a:lnTo>
                  <a:lnTo>
                    <a:pt x="641" y="150"/>
                  </a:lnTo>
                  <a:lnTo>
                    <a:pt x="641" y="152"/>
                  </a:lnTo>
                  <a:lnTo>
                    <a:pt x="641" y="152"/>
                  </a:lnTo>
                  <a:lnTo>
                    <a:pt x="641" y="152"/>
                  </a:lnTo>
                  <a:lnTo>
                    <a:pt x="641" y="154"/>
                  </a:lnTo>
                  <a:lnTo>
                    <a:pt x="641" y="156"/>
                  </a:lnTo>
                  <a:lnTo>
                    <a:pt x="643" y="156"/>
                  </a:lnTo>
                  <a:lnTo>
                    <a:pt x="643" y="158"/>
                  </a:lnTo>
                  <a:lnTo>
                    <a:pt x="641" y="160"/>
                  </a:lnTo>
                  <a:lnTo>
                    <a:pt x="641" y="162"/>
                  </a:lnTo>
                  <a:lnTo>
                    <a:pt x="641" y="164"/>
                  </a:lnTo>
                  <a:lnTo>
                    <a:pt x="643" y="164"/>
                  </a:lnTo>
                  <a:lnTo>
                    <a:pt x="643" y="164"/>
                  </a:lnTo>
                  <a:lnTo>
                    <a:pt x="643" y="164"/>
                  </a:lnTo>
                  <a:lnTo>
                    <a:pt x="641" y="166"/>
                  </a:lnTo>
                  <a:lnTo>
                    <a:pt x="641" y="168"/>
                  </a:lnTo>
                  <a:lnTo>
                    <a:pt x="641" y="170"/>
                  </a:lnTo>
                  <a:lnTo>
                    <a:pt x="641" y="172"/>
                  </a:lnTo>
                  <a:lnTo>
                    <a:pt x="641" y="172"/>
                  </a:lnTo>
                  <a:lnTo>
                    <a:pt x="641" y="172"/>
                  </a:lnTo>
                  <a:lnTo>
                    <a:pt x="641" y="170"/>
                  </a:lnTo>
                  <a:lnTo>
                    <a:pt x="641" y="170"/>
                  </a:lnTo>
                  <a:lnTo>
                    <a:pt x="643" y="170"/>
                  </a:lnTo>
                  <a:lnTo>
                    <a:pt x="643" y="172"/>
                  </a:lnTo>
                  <a:lnTo>
                    <a:pt x="641" y="174"/>
                  </a:lnTo>
                  <a:lnTo>
                    <a:pt x="641" y="174"/>
                  </a:lnTo>
                  <a:lnTo>
                    <a:pt x="641" y="176"/>
                  </a:lnTo>
                  <a:lnTo>
                    <a:pt x="641" y="176"/>
                  </a:lnTo>
                  <a:lnTo>
                    <a:pt x="641" y="178"/>
                  </a:lnTo>
                  <a:lnTo>
                    <a:pt x="639" y="185"/>
                  </a:lnTo>
                  <a:lnTo>
                    <a:pt x="641" y="183"/>
                  </a:lnTo>
                  <a:lnTo>
                    <a:pt x="641" y="183"/>
                  </a:lnTo>
                  <a:lnTo>
                    <a:pt x="643" y="183"/>
                  </a:lnTo>
                  <a:lnTo>
                    <a:pt x="641" y="185"/>
                  </a:lnTo>
                  <a:lnTo>
                    <a:pt x="641" y="187"/>
                  </a:lnTo>
                  <a:lnTo>
                    <a:pt x="641" y="191"/>
                  </a:lnTo>
                  <a:lnTo>
                    <a:pt x="643" y="191"/>
                  </a:lnTo>
                  <a:lnTo>
                    <a:pt x="643" y="193"/>
                  </a:lnTo>
                  <a:lnTo>
                    <a:pt x="643" y="193"/>
                  </a:lnTo>
                  <a:lnTo>
                    <a:pt x="645" y="197"/>
                  </a:lnTo>
                  <a:lnTo>
                    <a:pt x="647" y="199"/>
                  </a:lnTo>
                  <a:lnTo>
                    <a:pt x="647" y="201"/>
                  </a:lnTo>
                  <a:lnTo>
                    <a:pt x="649" y="201"/>
                  </a:lnTo>
                  <a:lnTo>
                    <a:pt x="651" y="201"/>
                  </a:lnTo>
                  <a:lnTo>
                    <a:pt x="651" y="199"/>
                  </a:lnTo>
                  <a:lnTo>
                    <a:pt x="651" y="197"/>
                  </a:lnTo>
                  <a:lnTo>
                    <a:pt x="651" y="193"/>
                  </a:lnTo>
                  <a:lnTo>
                    <a:pt x="651" y="193"/>
                  </a:lnTo>
                  <a:lnTo>
                    <a:pt x="651" y="191"/>
                  </a:lnTo>
                  <a:lnTo>
                    <a:pt x="651" y="191"/>
                  </a:lnTo>
                  <a:lnTo>
                    <a:pt x="653" y="191"/>
                  </a:lnTo>
                  <a:lnTo>
                    <a:pt x="653" y="195"/>
                  </a:lnTo>
                  <a:lnTo>
                    <a:pt x="653" y="197"/>
                  </a:lnTo>
                  <a:lnTo>
                    <a:pt x="655" y="195"/>
                  </a:lnTo>
                  <a:lnTo>
                    <a:pt x="655" y="195"/>
                  </a:lnTo>
                  <a:lnTo>
                    <a:pt x="653" y="193"/>
                  </a:lnTo>
                  <a:lnTo>
                    <a:pt x="653" y="191"/>
                  </a:lnTo>
                  <a:lnTo>
                    <a:pt x="653" y="189"/>
                  </a:lnTo>
                  <a:lnTo>
                    <a:pt x="653" y="187"/>
                  </a:lnTo>
                  <a:lnTo>
                    <a:pt x="653" y="176"/>
                  </a:lnTo>
                  <a:lnTo>
                    <a:pt x="653" y="176"/>
                  </a:lnTo>
                  <a:lnTo>
                    <a:pt x="653" y="174"/>
                  </a:lnTo>
                  <a:lnTo>
                    <a:pt x="653" y="172"/>
                  </a:lnTo>
                  <a:lnTo>
                    <a:pt x="655" y="170"/>
                  </a:lnTo>
                  <a:lnTo>
                    <a:pt x="655" y="168"/>
                  </a:lnTo>
                  <a:lnTo>
                    <a:pt x="653" y="168"/>
                  </a:lnTo>
                  <a:lnTo>
                    <a:pt x="653" y="166"/>
                  </a:lnTo>
                  <a:lnTo>
                    <a:pt x="653" y="166"/>
                  </a:lnTo>
                  <a:lnTo>
                    <a:pt x="655" y="162"/>
                  </a:lnTo>
                  <a:lnTo>
                    <a:pt x="655" y="162"/>
                  </a:lnTo>
                  <a:lnTo>
                    <a:pt x="655" y="160"/>
                  </a:lnTo>
                  <a:lnTo>
                    <a:pt x="661" y="158"/>
                  </a:lnTo>
                  <a:lnTo>
                    <a:pt x="661" y="158"/>
                  </a:lnTo>
                  <a:lnTo>
                    <a:pt x="659" y="158"/>
                  </a:lnTo>
                  <a:lnTo>
                    <a:pt x="659" y="158"/>
                  </a:lnTo>
                  <a:lnTo>
                    <a:pt x="657" y="158"/>
                  </a:lnTo>
                  <a:lnTo>
                    <a:pt x="657" y="156"/>
                  </a:lnTo>
                  <a:lnTo>
                    <a:pt x="659" y="154"/>
                  </a:lnTo>
                  <a:lnTo>
                    <a:pt x="659" y="152"/>
                  </a:lnTo>
                  <a:lnTo>
                    <a:pt x="661" y="154"/>
                  </a:lnTo>
                  <a:lnTo>
                    <a:pt x="661" y="156"/>
                  </a:lnTo>
                  <a:lnTo>
                    <a:pt x="663" y="156"/>
                  </a:lnTo>
                  <a:lnTo>
                    <a:pt x="663" y="158"/>
                  </a:lnTo>
                  <a:lnTo>
                    <a:pt x="665" y="158"/>
                  </a:lnTo>
                  <a:lnTo>
                    <a:pt x="665" y="156"/>
                  </a:lnTo>
                  <a:lnTo>
                    <a:pt x="667" y="154"/>
                  </a:lnTo>
                  <a:lnTo>
                    <a:pt x="669" y="152"/>
                  </a:lnTo>
                  <a:lnTo>
                    <a:pt x="669" y="148"/>
                  </a:lnTo>
                  <a:lnTo>
                    <a:pt x="667" y="148"/>
                  </a:lnTo>
                  <a:lnTo>
                    <a:pt x="667" y="146"/>
                  </a:lnTo>
                  <a:lnTo>
                    <a:pt x="667" y="142"/>
                  </a:lnTo>
                  <a:lnTo>
                    <a:pt x="669" y="137"/>
                  </a:lnTo>
                  <a:lnTo>
                    <a:pt x="669" y="133"/>
                  </a:lnTo>
                  <a:lnTo>
                    <a:pt x="671" y="119"/>
                  </a:lnTo>
                  <a:lnTo>
                    <a:pt x="676" y="115"/>
                  </a:lnTo>
                  <a:lnTo>
                    <a:pt x="676" y="113"/>
                  </a:lnTo>
                  <a:lnTo>
                    <a:pt x="674" y="111"/>
                  </a:lnTo>
                  <a:lnTo>
                    <a:pt x="676" y="111"/>
                  </a:lnTo>
                  <a:lnTo>
                    <a:pt x="676" y="109"/>
                  </a:lnTo>
                  <a:lnTo>
                    <a:pt x="676" y="109"/>
                  </a:lnTo>
                  <a:lnTo>
                    <a:pt x="674" y="109"/>
                  </a:lnTo>
                  <a:lnTo>
                    <a:pt x="674" y="105"/>
                  </a:lnTo>
                  <a:lnTo>
                    <a:pt x="674" y="103"/>
                  </a:lnTo>
                  <a:lnTo>
                    <a:pt x="674" y="103"/>
                  </a:lnTo>
                  <a:lnTo>
                    <a:pt x="674" y="101"/>
                  </a:lnTo>
                  <a:lnTo>
                    <a:pt x="676" y="101"/>
                  </a:lnTo>
                  <a:lnTo>
                    <a:pt x="676" y="99"/>
                  </a:lnTo>
                  <a:lnTo>
                    <a:pt x="676" y="99"/>
                  </a:lnTo>
                  <a:lnTo>
                    <a:pt x="676" y="99"/>
                  </a:lnTo>
                  <a:close/>
                  <a:moveTo>
                    <a:pt x="688" y="94"/>
                  </a:moveTo>
                  <a:lnTo>
                    <a:pt x="686" y="94"/>
                  </a:lnTo>
                  <a:lnTo>
                    <a:pt x="686" y="94"/>
                  </a:lnTo>
                  <a:lnTo>
                    <a:pt x="686" y="97"/>
                  </a:lnTo>
                  <a:lnTo>
                    <a:pt x="684" y="101"/>
                  </a:lnTo>
                  <a:lnTo>
                    <a:pt x="684" y="101"/>
                  </a:lnTo>
                  <a:lnTo>
                    <a:pt x="684" y="105"/>
                  </a:lnTo>
                  <a:lnTo>
                    <a:pt x="684" y="107"/>
                  </a:lnTo>
                  <a:lnTo>
                    <a:pt x="682" y="107"/>
                  </a:lnTo>
                  <a:lnTo>
                    <a:pt x="682" y="109"/>
                  </a:lnTo>
                  <a:lnTo>
                    <a:pt x="682" y="109"/>
                  </a:lnTo>
                  <a:lnTo>
                    <a:pt x="680" y="109"/>
                  </a:lnTo>
                  <a:lnTo>
                    <a:pt x="680" y="109"/>
                  </a:lnTo>
                  <a:lnTo>
                    <a:pt x="682" y="111"/>
                  </a:lnTo>
                  <a:lnTo>
                    <a:pt x="682" y="111"/>
                  </a:lnTo>
                  <a:lnTo>
                    <a:pt x="682" y="113"/>
                  </a:lnTo>
                  <a:lnTo>
                    <a:pt x="682" y="113"/>
                  </a:lnTo>
                  <a:lnTo>
                    <a:pt x="680" y="113"/>
                  </a:lnTo>
                  <a:lnTo>
                    <a:pt x="680" y="113"/>
                  </a:lnTo>
                  <a:lnTo>
                    <a:pt x="680" y="113"/>
                  </a:lnTo>
                  <a:lnTo>
                    <a:pt x="682" y="113"/>
                  </a:lnTo>
                  <a:lnTo>
                    <a:pt x="684" y="111"/>
                  </a:lnTo>
                  <a:lnTo>
                    <a:pt x="686" y="107"/>
                  </a:lnTo>
                  <a:lnTo>
                    <a:pt x="688" y="92"/>
                  </a:lnTo>
                  <a:lnTo>
                    <a:pt x="688" y="94"/>
                  </a:lnTo>
                  <a:close/>
                  <a:moveTo>
                    <a:pt x="655" y="236"/>
                  </a:moveTo>
                  <a:lnTo>
                    <a:pt x="653" y="228"/>
                  </a:lnTo>
                  <a:lnTo>
                    <a:pt x="651" y="226"/>
                  </a:lnTo>
                  <a:lnTo>
                    <a:pt x="649" y="226"/>
                  </a:lnTo>
                  <a:lnTo>
                    <a:pt x="647" y="228"/>
                  </a:lnTo>
                  <a:lnTo>
                    <a:pt x="643" y="228"/>
                  </a:lnTo>
                  <a:lnTo>
                    <a:pt x="639" y="228"/>
                  </a:lnTo>
                  <a:lnTo>
                    <a:pt x="635" y="228"/>
                  </a:lnTo>
                  <a:lnTo>
                    <a:pt x="626" y="226"/>
                  </a:lnTo>
                  <a:lnTo>
                    <a:pt x="624" y="226"/>
                  </a:lnTo>
                  <a:lnTo>
                    <a:pt x="622" y="230"/>
                  </a:lnTo>
                  <a:lnTo>
                    <a:pt x="622" y="230"/>
                  </a:lnTo>
                  <a:lnTo>
                    <a:pt x="624" y="232"/>
                  </a:lnTo>
                  <a:lnTo>
                    <a:pt x="624" y="232"/>
                  </a:lnTo>
                  <a:lnTo>
                    <a:pt x="624" y="234"/>
                  </a:lnTo>
                  <a:lnTo>
                    <a:pt x="624" y="234"/>
                  </a:lnTo>
                  <a:lnTo>
                    <a:pt x="624" y="236"/>
                  </a:lnTo>
                  <a:lnTo>
                    <a:pt x="626" y="238"/>
                  </a:lnTo>
                  <a:lnTo>
                    <a:pt x="624" y="238"/>
                  </a:lnTo>
                  <a:lnTo>
                    <a:pt x="624" y="238"/>
                  </a:lnTo>
                  <a:lnTo>
                    <a:pt x="622" y="236"/>
                  </a:lnTo>
                  <a:lnTo>
                    <a:pt x="622" y="236"/>
                  </a:lnTo>
                  <a:lnTo>
                    <a:pt x="620" y="234"/>
                  </a:lnTo>
                  <a:lnTo>
                    <a:pt x="618" y="234"/>
                  </a:lnTo>
                  <a:lnTo>
                    <a:pt x="616" y="234"/>
                  </a:lnTo>
                  <a:lnTo>
                    <a:pt x="614" y="236"/>
                  </a:lnTo>
                  <a:lnTo>
                    <a:pt x="612" y="238"/>
                  </a:lnTo>
                  <a:lnTo>
                    <a:pt x="610" y="238"/>
                  </a:lnTo>
                  <a:lnTo>
                    <a:pt x="608" y="240"/>
                  </a:lnTo>
                  <a:lnTo>
                    <a:pt x="606" y="240"/>
                  </a:lnTo>
                  <a:lnTo>
                    <a:pt x="606" y="240"/>
                  </a:lnTo>
                  <a:lnTo>
                    <a:pt x="608" y="238"/>
                  </a:lnTo>
                  <a:lnTo>
                    <a:pt x="610" y="236"/>
                  </a:lnTo>
                  <a:lnTo>
                    <a:pt x="610" y="236"/>
                  </a:lnTo>
                  <a:lnTo>
                    <a:pt x="608" y="234"/>
                  </a:lnTo>
                  <a:lnTo>
                    <a:pt x="608" y="234"/>
                  </a:lnTo>
                  <a:lnTo>
                    <a:pt x="608" y="232"/>
                  </a:lnTo>
                  <a:lnTo>
                    <a:pt x="608" y="230"/>
                  </a:lnTo>
                  <a:lnTo>
                    <a:pt x="608" y="230"/>
                  </a:lnTo>
                  <a:lnTo>
                    <a:pt x="602" y="228"/>
                  </a:lnTo>
                  <a:lnTo>
                    <a:pt x="602" y="228"/>
                  </a:lnTo>
                  <a:lnTo>
                    <a:pt x="600" y="228"/>
                  </a:lnTo>
                  <a:lnTo>
                    <a:pt x="600" y="228"/>
                  </a:lnTo>
                  <a:lnTo>
                    <a:pt x="598" y="228"/>
                  </a:lnTo>
                  <a:lnTo>
                    <a:pt x="598" y="226"/>
                  </a:lnTo>
                  <a:lnTo>
                    <a:pt x="598" y="226"/>
                  </a:lnTo>
                  <a:lnTo>
                    <a:pt x="598" y="226"/>
                  </a:lnTo>
                  <a:lnTo>
                    <a:pt x="600" y="226"/>
                  </a:lnTo>
                  <a:lnTo>
                    <a:pt x="600" y="224"/>
                  </a:lnTo>
                  <a:lnTo>
                    <a:pt x="594" y="224"/>
                  </a:lnTo>
                  <a:lnTo>
                    <a:pt x="592" y="224"/>
                  </a:lnTo>
                  <a:lnTo>
                    <a:pt x="592" y="222"/>
                  </a:lnTo>
                  <a:lnTo>
                    <a:pt x="590" y="215"/>
                  </a:lnTo>
                  <a:lnTo>
                    <a:pt x="587" y="209"/>
                  </a:lnTo>
                  <a:lnTo>
                    <a:pt x="585" y="209"/>
                  </a:lnTo>
                  <a:lnTo>
                    <a:pt x="585" y="209"/>
                  </a:lnTo>
                  <a:lnTo>
                    <a:pt x="583" y="213"/>
                  </a:lnTo>
                  <a:lnTo>
                    <a:pt x="581" y="213"/>
                  </a:lnTo>
                  <a:lnTo>
                    <a:pt x="579" y="213"/>
                  </a:lnTo>
                  <a:lnTo>
                    <a:pt x="577" y="209"/>
                  </a:lnTo>
                  <a:lnTo>
                    <a:pt x="575" y="209"/>
                  </a:lnTo>
                  <a:lnTo>
                    <a:pt x="567" y="211"/>
                  </a:lnTo>
                  <a:lnTo>
                    <a:pt x="565" y="211"/>
                  </a:lnTo>
                  <a:lnTo>
                    <a:pt x="563" y="209"/>
                  </a:lnTo>
                  <a:lnTo>
                    <a:pt x="561" y="209"/>
                  </a:lnTo>
                  <a:lnTo>
                    <a:pt x="559" y="209"/>
                  </a:lnTo>
                  <a:lnTo>
                    <a:pt x="559" y="207"/>
                  </a:lnTo>
                  <a:lnTo>
                    <a:pt x="557" y="205"/>
                  </a:lnTo>
                  <a:lnTo>
                    <a:pt x="555" y="205"/>
                  </a:lnTo>
                  <a:lnTo>
                    <a:pt x="555" y="205"/>
                  </a:lnTo>
                  <a:lnTo>
                    <a:pt x="553" y="207"/>
                  </a:lnTo>
                  <a:lnTo>
                    <a:pt x="551" y="207"/>
                  </a:lnTo>
                  <a:lnTo>
                    <a:pt x="551" y="207"/>
                  </a:lnTo>
                  <a:lnTo>
                    <a:pt x="551" y="207"/>
                  </a:lnTo>
                  <a:lnTo>
                    <a:pt x="549" y="207"/>
                  </a:lnTo>
                  <a:lnTo>
                    <a:pt x="542" y="207"/>
                  </a:lnTo>
                  <a:lnTo>
                    <a:pt x="536" y="207"/>
                  </a:lnTo>
                  <a:lnTo>
                    <a:pt x="534" y="207"/>
                  </a:lnTo>
                  <a:lnTo>
                    <a:pt x="534" y="207"/>
                  </a:lnTo>
                  <a:lnTo>
                    <a:pt x="534" y="207"/>
                  </a:lnTo>
                  <a:lnTo>
                    <a:pt x="532" y="207"/>
                  </a:lnTo>
                  <a:lnTo>
                    <a:pt x="532" y="205"/>
                  </a:lnTo>
                  <a:lnTo>
                    <a:pt x="534" y="203"/>
                  </a:lnTo>
                  <a:lnTo>
                    <a:pt x="536" y="203"/>
                  </a:lnTo>
                  <a:lnTo>
                    <a:pt x="536" y="205"/>
                  </a:lnTo>
                  <a:lnTo>
                    <a:pt x="540" y="203"/>
                  </a:lnTo>
                  <a:lnTo>
                    <a:pt x="540" y="203"/>
                  </a:lnTo>
                  <a:lnTo>
                    <a:pt x="542" y="205"/>
                  </a:lnTo>
                  <a:lnTo>
                    <a:pt x="544" y="205"/>
                  </a:lnTo>
                  <a:lnTo>
                    <a:pt x="544" y="203"/>
                  </a:lnTo>
                  <a:lnTo>
                    <a:pt x="547" y="203"/>
                  </a:lnTo>
                  <a:lnTo>
                    <a:pt x="547" y="203"/>
                  </a:lnTo>
                  <a:lnTo>
                    <a:pt x="549" y="203"/>
                  </a:lnTo>
                  <a:lnTo>
                    <a:pt x="549" y="203"/>
                  </a:lnTo>
                  <a:lnTo>
                    <a:pt x="551" y="203"/>
                  </a:lnTo>
                  <a:lnTo>
                    <a:pt x="551" y="203"/>
                  </a:lnTo>
                  <a:lnTo>
                    <a:pt x="551" y="205"/>
                  </a:lnTo>
                  <a:lnTo>
                    <a:pt x="553" y="205"/>
                  </a:lnTo>
                  <a:lnTo>
                    <a:pt x="553" y="205"/>
                  </a:lnTo>
                  <a:lnTo>
                    <a:pt x="553" y="205"/>
                  </a:lnTo>
                  <a:lnTo>
                    <a:pt x="555" y="201"/>
                  </a:lnTo>
                  <a:lnTo>
                    <a:pt x="555" y="201"/>
                  </a:lnTo>
                  <a:lnTo>
                    <a:pt x="557" y="201"/>
                  </a:lnTo>
                  <a:lnTo>
                    <a:pt x="557" y="201"/>
                  </a:lnTo>
                  <a:lnTo>
                    <a:pt x="561" y="205"/>
                  </a:lnTo>
                  <a:lnTo>
                    <a:pt x="563" y="207"/>
                  </a:lnTo>
                  <a:lnTo>
                    <a:pt x="563" y="207"/>
                  </a:lnTo>
                  <a:lnTo>
                    <a:pt x="565" y="207"/>
                  </a:lnTo>
                  <a:lnTo>
                    <a:pt x="567" y="205"/>
                  </a:lnTo>
                  <a:lnTo>
                    <a:pt x="567" y="205"/>
                  </a:lnTo>
                  <a:lnTo>
                    <a:pt x="567" y="203"/>
                  </a:lnTo>
                  <a:lnTo>
                    <a:pt x="567" y="201"/>
                  </a:lnTo>
                  <a:lnTo>
                    <a:pt x="567" y="199"/>
                  </a:lnTo>
                  <a:lnTo>
                    <a:pt x="567" y="199"/>
                  </a:lnTo>
                  <a:lnTo>
                    <a:pt x="569" y="201"/>
                  </a:lnTo>
                  <a:lnTo>
                    <a:pt x="569" y="203"/>
                  </a:lnTo>
                  <a:lnTo>
                    <a:pt x="569" y="205"/>
                  </a:lnTo>
                  <a:lnTo>
                    <a:pt x="571" y="205"/>
                  </a:lnTo>
                  <a:lnTo>
                    <a:pt x="571" y="205"/>
                  </a:lnTo>
                  <a:lnTo>
                    <a:pt x="575" y="207"/>
                  </a:lnTo>
                  <a:lnTo>
                    <a:pt x="577" y="207"/>
                  </a:lnTo>
                  <a:lnTo>
                    <a:pt x="577" y="207"/>
                  </a:lnTo>
                  <a:lnTo>
                    <a:pt x="579" y="207"/>
                  </a:lnTo>
                  <a:lnTo>
                    <a:pt x="579" y="209"/>
                  </a:lnTo>
                  <a:lnTo>
                    <a:pt x="579" y="209"/>
                  </a:lnTo>
                  <a:lnTo>
                    <a:pt x="581" y="209"/>
                  </a:lnTo>
                  <a:lnTo>
                    <a:pt x="581" y="209"/>
                  </a:lnTo>
                  <a:lnTo>
                    <a:pt x="581" y="207"/>
                  </a:lnTo>
                  <a:lnTo>
                    <a:pt x="581" y="207"/>
                  </a:lnTo>
                  <a:lnTo>
                    <a:pt x="583" y="207"/>
                  </a:lnTo>
                  <a:lnTo>
                    <a:pt x="585" y="205"/>
                  </a:lnTo>
                  <a:lnTo>
                    <a:pt x="587" y="205"/>
                  </a:lnTo>
                  <a:lnTo>
                    <a:pt x="590" y="205"/>
                  </a:lnTo>
                  <a:lnTo>
                    <a:pt x="592" y="207"/>
                  </a:lnTo>
                  <a:lnTo>
                    <a:pt x="592" y="209"/>
                  </a:lnTo>
                  <a:lnTo>
                    <a:pt x="592" y="213"/>
                  </a:lnTo>
                  <a:lnTo>
                    <a:pt x="594" y="213"/>
                  </a:lnTo>
                  <a:lnTo>
                    <a:pt x="594" y="215"/>
                  </a:lnTo>
                  <a:lnTo>
                    <a:pt x="596" y="215"/>
                  </a:lnTo>
                  <a:lnTo>
                    <a:pt x="598" y="217"/>
                  </a:lnTo>
                  <a:lnTo>
                    <a:pt x="600" y="217"/>
                  </a:lnTo>
                  <a:lnTo>
                    <a:pt x="608" y="222"/>
                  </a:lnTo>
                  <a:lnTo>
                    <a:pt x="610" y="224"/>
                  </a:lnTo>
                  <a:lnTo>
                    <a:pt x="612" y="228"/>
                  </a:lnTo>
                  <a:lnTo>
                    <a:pt x="614" y="228"/>
                  </a:lnTo>
                  <a:lnTo>
                    <a:pt x="614" y="226"/>
                  </a:lnTo>
                  <a:lnTo>
                    <a:pt x="616" y="224"/>
                  </a:lnTo>
                  <a:lnTo>
                    <a:pt x="618" y="224"/>
                  </a:lnTo>
                  <a:lnTo>
                    <a:pt x="618" y="222"/>
                  </a:lnTo>
                  <a:lnTo>
                    <a:pt x="620" y="222"/>
                  </a:lnTo>
                  <a:lnTo>
                    <a:pt x="622" y="222"/>
                  </a:lnTo>
                  <a:lnTo>
                    <a:pt x="622" y="219"/>
                  </a:lnTo>
                  <a:lnTo>
                    <a:pt x="624" y="217"/>
                  </a:lnTo>
                  <a:lnTo>
                    <a:pt x="624" y="215"/>
                  </a:lnTo>
                  <a:lnTo>
                    <a:pt x="622" y="211"/>
                  </a:lnTo>
                  <a:lnTo>
                    <a:pt x="622" y="211"/>
                  </a:lnTo>
                  <a:lnTo>
                    <a:pt x="618" y="213"/>
                  </a:lnTo>
                  <a:lnTo>
                    <a:pt x="616" y="211"/>
                  </a:lnTo>
                  <a:lnTo>
                    <a:pt x="618" y="211"/>
                  </a:lnTo>
                  <a:lnTo>
                    <a:pt x="620" y="209"/>
                  </a:lnTo>
                  <a:lnTo>
                    <a:pt x="620" y="209"/>
                  </a:lnTo>
                  <a:lnTo>
                    <a:pt x="620" y="207"/>
                  </a:lnTo>
                  <a:lnTo>
                    <a:pt x="618" y="205"/>
                  </a:lnTo>
                  <a:lnTo>
                    <a:pt x="614" y="205"/>
                  </a:lnTo>
                  <a:lnTo>
                    <a:pt x="614" y="205"/>
                  </a:lnTo>
                  <a:lnTo>
                    <a:pt x="614" y="205"/>
                  </a:lnTo>
                  <a:lnTo>
                    <a:pt x="612" y="205"/>
                  </a:lnTo>
                  <a:lnTo>
                    <a:pt x="612" y="205"/>
                  </a:lnTo>
                  <a:lnTo>
                    <a:pt x="612" y="203"/>
                  </a:lnTo>
                  <a:lnTo>
                    <a:pt x="610" y="201"/>
                  </a:lnTo>
                  <a:lnTo>
                    <a:pt x="610" y="201"/>
                  </a:lnTo>
                  <a:lnTo>
                    <a:pt x="612" y="201"/>
                  </a:lnTo>
                  <a:lnTo>
                    <a:pt x="610" y="199"/>
                  </a:lnTo>
                  <a:lnTo>
                    <a:pt x="608" y="199"/>
                  </a:lnTo>
                  <a:lnTo>
                    <a:pt x="606" y="201"/>
                  </a:lnTo>
                  <a:lnTo>
                    <a:pt x="604" y="201"/>
                  </a:lnTo>
                  <a:lnTo>
                    <a:pt x="602" y="201"/>
                  </a:lnTo>
                  <a:lnTo>
                    <a:pt x="598" y="199"/>
                  </a:lnTo>
                  <a:lnTo>
                    <a:pt x="590" y="195"/>
                  </a:lnTo>
                  <a:lnTo>
                    <a:pt x="583" y="191"/>
                  </a:lnTo>
                  <a:lnTo>
                    <a:pt x="581" y="187"/>
                  </a:lnTo>
                  <a:lnTo>
                    <a:pt x="579" y="187"/>
                  </a:lnTo>
                  <a:lnTo>
                    <a:pt x="577" y="185"/>
                  </a:lnTo>
                  <a:lnTo>
                    <a:pt x="573" y="181"/>
                  </a:lnTo>
                  <a:lnTo>
                    <a:pt x="571" y="178"/>
                  </a:lnTo>
                  <a:lnTo>
                    <a:pt x="571" y="178"/>
                  </a:lnTo>
                  <a:lnTo>
                    <a:pt x="569" y="178"/>
                  </a:lnTo>
                  <a:lnTo>
                    <a:pt x="569" y="178"/>
                  </a:lnTo>
                  <a:lnTo>
                    <a:pt x="569" y="176"/>
                  </a:lnTo>
                  <a:lnTo>
                    <a:pt x="569" y="176"/>
                  </a:lnTo>
                  <a:lnTo>
                    <a:pt x="569" y="174"/>
                  </a:lnTo>
                  <a:lnTo>
                    <a:pt x="569" y="174"/>
                  </a:lnTo>
                  <a:lnTo>
                    <a:pt x="575" y="178"/>
                  </a:lnTo>
                  <a:lnTo>
                    <a:pt x="579" y="183"/>
                  </a:lnTo>
                  <a:lnTo>
                    <a:pt x="581" y="185"/>
                  </a:lnTo>
                  <a:lnTo>
                    <a:pt x="583" y="185"/>
                  </a:lnTo>
                  <a:lnTo>
                    <a:pt x="583" y="185"/>
                  </a:lnTo>
                  <a:lnTo>
                    <a:pt x="592" y="193"/>
                  </a:lnTo>
                  <a:lnTo>
                    <a:pt x="592" y="193"/>
                  </a:lnTo>
                  <a:lnTo>
                    <a:pt x="594" y="193"/>
                  </a:lnTo>
                  <a:lnTo>
                    <a:pt x="594" y="193"/>
                  </a:lnTo>
                  <a:lnTo>
                    <a:pt x="596" y="195"/>
                  </a:lnTo>
                  <a:lnTo>
                    <a:pt x="598" y="195"/>
                  </a:lnTo>
                  <a:lnTo>
                    <a:pt x="602" y="197"/>
                  </a:lnTo>
                  <a:lnTo>
                    <a:pt x="604" y="197"/>
                  </a:lnTo>
                  <a:lnTo>
                    <a:pt x="610" y="195"/>
                  </a:lnTo>
                  <a:lnTo>
                    <a:pt x="610" y="193"/>
                  </a:lnTo>
                  <a:lnTo>
                    <a:pt x="610" y="193"/>
                  </a:lnTo>
                  <a:lnTo>
                    <a:pt x="608" y="191"/>
                  </a:lnTo>
                  <a:lnTo>
                    <a:pt x="608" y="191"/>
                  </a:lnTo>
                  <a:lnTo>
                    <a:pt x="606" y="191"/>
                  </a:lnTo>
                  <a:lnTo>
                    <a:pt x="604" y="191"/>
                  </a:lnTo>
                  <a:lnTo>
                    <a:pt x="604" y="191"/>
                  </a:lnTo>
                  <a:lnTo>
                    <a:pt x="606" y="189"/>
                  </a:lnTo>
                  <a:lnTo>
                    <a:pt x="606" y="189"/>
                  </a:lnTo>
                  <a:lnTo>
                    <a:pt x="606" y="187"/>
                  </a:lnTo>
                  <a:lnTo>
                    <a:pt x="606" y="187"/>
                  </a:lnTo>
                  <a:lnTo>
                    <a:pt x="604" y="187"/>
                  </a:lnTo>
                  <a:lnTo>
                    <a:pt x="602" y="187"/>
                  </a:lnTo>
                  <a:lnTo>
                    <a:pt x="602" y="185"/>
                  </a:lnTo>
                  <a:lnTo>
                    <a:pt x="602" y="185"/>
                  </a:lnTo>
                  <a:lnTo>
                    <a:pt x="602" y="183"/>
                  </a:lnTo>
                  <a:lnTo>
                    <a:pt x="604" y="183"/>
                  </a:lnTo>
                  <a:lnTo>
                    <a:pt x="604" y="183"/>
                  </a:lnTo>
                  <a:lnTo>
                    <a:pt x="606" y="183"/>
                  </a:lnTo>
                  <a:lnTo>
                    <a:pt x="604" y="183"/>
                  </a:lnTo>
                  <a:lnTo>
                    <a:pt x="604" y="181"/>
                  </a:lnTo>
                  <a:lnTo>
                    <a:pt x="604" y="181"/>
                  </a:lnTo>
                  <a:lnTo>
                    <a:pt x="602" y="181"/>
                  </a:lnTo>
                  <a:lnTo>
                    <a:pt x="602" y="178"/>
                  </a:lnTo>
                  <a:lnTo>
                    <a:pt x="604" y="178"/>
                  </a:lnTo>
                  <a:lnTo>
                    <a:pt x="608" y="183"/>
                  </a:lnTo>
                  <a:lnTo>
                    <a:pt x="610" y="183"/>
                  </a:lnTo>
                  <a:lnTo>
                    <a:pt x="610" y="183"/>
                  </a:lnTo>
                  <a:lnTo>
                    <a:pt x="612" y="183"/>
                  </a:lnTo>
                  <a:lnTo>
                    <a:pt x="612" y="185"/>
                  </a:lnTo>
                  <a:lnTo>
                    <a:pt x="616" y="187"/>
                  </a:lnTo>
                  <a:lnTo>
                    <a:pt x="618" y="189"/>
                  </a:lnTo>
                  <a:lnTo>
                    <a:pt x="618" y="189"/>
                  </a:lnTo>
                  <a:lnTo>
                    <a:pt x="618" y="185"/>
                  </a:lnTo>
                  <a:lnTo>
                    <a:pt x="618" y="178"/>
                  </a:lnTo>
                  <a:lnTo>
                    <a:pt x="618" y="176"/>
                  </a:lnTo>
                  <a:lnTo>
                    <a:pt x="616" y="174"/>
                  </a:lnTo>
                  <a:lnTo>
                    <a:pt x="616" y="174"/>
                  </a:lnTo>
                  <a:lnTo>
                    <a:pt x="614" y="174"/>
                  </a:lnTo>
                  <a:lnTo>
                    <a:pt x="614" y="174"/>
                  </a:lnTo>
                  <a:lnTo>
                    <a:pt x="614" y="172"/>
                  </a:lnTo>
                  <a:lnTo>
                    <a:pt x="614" y="170"/>
                  </a:lnTo>
                  <a:lnTo>
                    <a:pt x="614" y="170"/>
                  </a:lnTo>
                  <a:lnTo>
                    <a:pt x="616" y="170"/>
                  </a:lnTo>
                  <a:lnTo>
                    <a:pt x="616" y="168"/>
                  </a:lnTo>
                  <a:lnTo>
                    <a:pt x="612" y="166"/>
                  </a:lnTo>
                  <a:lnTo>
                    <a:pt x="612" y="166"/>
                  </a:lnTo>
                  <a:lnTo>
                    <a:pt x="612" y="168"/>
                  </a:lnTo>
                  <a:lnTo>
                    <a:pt x="610" y="170"/>
                  </a:lnTo>
                  <a:lnTo>
                    <a:pt x="610" y="170"/>
                  </a:lnTo>
                  <a:lnTo>
                    <a:pt x="606" y="168"/>
                  </a:lnTo>
                  <a:lnTo>
                    <a:pt x="604" y="168"/>
                  </a:lnTo>
                  <a:lnTo>
                    <a:pt x="602" y="168"/>
                  </a:lnTo>
                  <a:lnTo>
                    <a:pt x="602" y="166"/>
                  </a:lnTo>
                  <a:lnTo>
                    <a:pt x="604" y="166"/>
                  </a:lnTo>
                  <a:lnTo>
                    <a:pt x="608" y="164"/>
                  </a:lnTo>
                  <a:lnTo>
                    <a:pt x="610" y="164"/>
                  </a:lnTo>
                  <a:lnTo>
                    <a:pt x="610" y="162"/>
                  </a:lnTo>
                  <a:lnTo>
                    <a:pt x="608" y="162"/>
                  </a:lnTo>
                  <a:lnTo>
                    <a:pt x="604" y="162"/>
                  </a:lnTo>
                  <a:lnTo>
                    <a:pt x="600" y="162"/>
                  </a:lnTo>
                  <a:lnTo>
                    <a:pt x="598" y="160"/>
                  </a:lnTo>
                  <a:lnTo>
                    <a:pt x="596" y="160"/>
                  </a:lnTo>
                  <a:lnTo>
                    <a:pt x="594" y="160"/>
                  </a:lnTo>
                  <a:lnTo>
                    <a:pt x="590" y="160"/>
                  </a:lnTo>
                  <a:lnTo>
                    <a:pt x="587" y="160"/>
                  </a:lnTo>
                  <a:lnTo>
                    <a:pt x="585" y="158"/>
                  </a:lnTo>
                  <a:lnTo>
                    <a:pt x="585" y="156"/>
                  </a:lnTo>
                  <a:lnTo>
                    <a:pt x="583" y="156"/>
                  </a:lnTo>
                  <a:lnTo>
                    <a:pt x="583" y="154"/>
                  </a:lnTo>
                  <a:lnTo>
                    <a:pt x="583" y="154"/>
                  </a:lnTo>
                  <a:lnTo>
                    <a:pt x="581" y="152"/>
                  </a:lnTo>
                  <a:lnTo>
                    <a:pt x="581" y="150"/>
                  </a:lnTo>
                  <a:lnTo>
                    <a:pt x="577" y="148"/>
                  </a:lnTo>
                  <a:lnTo>
                    <a:pt x="577" y="148"/>
                  </a:lnTo>
                  <a:lnTo>
                    <a:pt x="573" y="148"/>
                  </a:lnTo>
                  <a:lnTo>
                    <a:pt x="573" y="148"/>
                  </a:lnTo>
                  <a:lnTo>
                    <a:pt x="573" y="146"/>
                  </a:lnTo>
                  <a:lnTo>
                    <a:pt x="573" y="146"/>
                  </a:lnTo>
                  <a:lnTo>
                    <a:pt x="573" y="146"/>
                  </a:lnTo>
                  <a:lnTo>
                    <a:pt x="573" y="146"/>
                  </a:lnTo>
                  <a:lnTo>
                    <a:pt x="571" y="146"/>
                  </a:lnTo>
                  <a:lnTo>
                    <a:pt x="571" y="146"/>
                  </a:lnTo>
                  <a:lnTo>
                    <a:pt x="569" y="146"/>
                  </a:lnTo>
                  <a:lnTo>
                    <a:pt x="569" y="146"/>
                  </a:lnTo>
                  <a:lnTo>
                    <a:pt x="567" y="144"/>
                  </a:lnTo>
                  <a:lnTo>
                    <a:pt x="567" y="144"/>
                  </a:lnTo>
                  <a:lnTo>
                    <a:pt x="565" y="144"/>
                  </a:lnTo>
                  <a:lnTo>
                    <a:pt x="563" y="140"/>
                  </a:lnTo>
                  <a:lnTo>
                    <a:pt x="563" y="140"/>
                  </a:lnTo>
                  <a:lnTo>
                    <a:pt x="561" y="137"/>
                  </a:lnTo>
                  <a:lnTo>
                    <a:pt x="561" y="135"/>
                  </a:lnTo>
                  <a:lnTo>
                    <a:pt x="559" y="135"/>
                  </a:lnTo>
                  <a:lnTo>
                    <a:pt x="557" y="135"/>
                  </a:lnTo>
                  <a:lnTo>
                    <a:pt x="555" y="135"/>
                  </a:lnTo>
                  <a:lnTo>
                    <a:pt x="555" y="133"/>
                  </a:lnTo>
                  <a:lnTo>
                    <a:pt x="553" y="131"/>
                  </a:lnTo>
                  <a:lnTo>
                    <a:pt x="553" y="131"/>
                  </a:lnTo>
                  <a:lnTo>
                    <a:pt x="551" y="131"/>
                  </a:lnTo>
                  <a:lnTo>
                    <a:pt x="551" y="129"/>
                  </a:lnTo>
                  <a:lnTo>
                    <a:pt x="549" y="129"/>
                  </a:lnTo>
                  <a:lnTo>
                    <a:pt x="549" y="129"/>
                  </a:lnTo>
                  <a:lnTo>
                    <a:pt x="547" y="123"/>
                  </a:lnTo>
                  <a:lnTo>
                    <a:pt x="547" y="123"/>
                  </a:lnTo>
                  <a:lnTo>
                    <a:pt x="544" y="121"/>
                  </a:lnTo>
                  <a:lnTo>
                    <a:pt x="542" y="121"/>
                  </a:lnTo>
                  <a:lnTo>
                    <a:pt x="542" y="119"/>
                  </a:lnTo>
                  <a:lnTo>
                    <a:pt x="536" y="119"/>
                  </a:lnTo>
                  <a:lnTo>
                    <a:pt x="534" y="119"/>
                  </a:lnTo>
                  <a:lnTo>
                    <a:pt x="534" y="119"/>
                  </a:lnTo>
                  <a:lnTo>
                    <a:pt x="534" y="117"/>
                  </a:lnTo>
                  <a:lnTo>
                    <a:pt x="534" y="115"/>
                  </a:lnTo>
                  <a:lnTo>
                    <a:pt x="532" y="115"/>
                  </a:lnTo>
                  <a:lnTo>
                    <a:pt x="532" y="115"/>
                  </a:lnTo>
                  <a:lnTo>
                    <a:pt x="532" y="115"/>
                  </a:lnTo>
                  <a:lnTo>
                    <a:pt x="528" y="117"/>
                  </a:lnTo>
                  <a:lnTo>
                    <a:pt x="526" y="115"/>
                  </a:lnTo>
                  <a:lnTo>
                    <a:pt x="526" y="115"/>
                  </a:lnTo>
                  <a:lnTo>
                    <a:pt x="526" y="113"/>
                  </a:lnTo>
                  <a:lnTo>
                    <a:pt x="528" y="113"/>
                  </a:lnTo>
                  <a:lnTo>
                    <a:pt x="532" y="113"/>
                  </a:lnTo>
                  <a:lnTo>
                    <a:pt x="534" y="115"/>
                  </a:lnTo>
                  <a:lnTo>
                    <a:pt x="534" y="115"/>
                  </a:lnTo>
                  <a:lnTo>
                    <a:pt x="536" y="117"/>
                  </a:lnTo>
                  <a:lnTo>
                    <a:pt x="536" y="117"/>
                  </a:lnTo>
                  <a:lnTo>
                    <a:pt x="538" y="117"/>
                  </a:lnTo>
                  <a:lnTo>
                    <a:pt x="542" y="117"/>
                  </a:lnTo>
                  <a:lnTo>
                    <a:pt x="542" y="119"/>
                  </a:lnTo>
                  <a:lnTo>
                    <a:pt x="544" y="119"/>
                  </a:lnTo>
                  <a:lnTo>
                    <a:pt x="547" y="121"/>
                  </a:lnTo>
                  <a:lnTo>
                    <a:pt x="551" y="127"/>
                  </a:lnTo>
                  <a:lnTo>
                    <a:pt x="551" y="127"/>
                  </a:lnTo>
                  <a:lnTo>
                    <a:pt x="555" y="129"/>
                  </a:lnTo>
                  <a:lnTo>
                    <a:pt x="557" y="131"/>
                  </a:lnTo>
                  <a:lnTo>
                    <a:pt x="563" y="133"/>
                  </a:lnTo>
                  <a:lnTo>
                    <a:pt x="565" y="135"/>
                  </a:lnTo>
                  <a:lnTo>
                    <a:pt x="569" y="142"/>
                  </a:lnTo>
                  <a:lnTo>
                    <a:pt x="569" y="142"/>
                  </a:lnTo>
                  <a:lnTo>
                    <a:pt x="571" y="142"/>
                  </a:lnTo>
                  <a:lnTo>
                    <a:pt x="571" y="142"/>
                  </a:lnTo>
                  <a:lnTo>
                    <a:pt x="573" y="140"/>
                  </a:lnTo>
                  <a:lnTo>
                    <a:pt x="573" y="142"/>
                  </a:lnTo>
                  <a:lnTo>
                    <a:pt x="573" y="144"/>
                  </a:lnTo>
                  <a:lnTo>
                    <a:pt x="575" y="144"/>
                  </a:lnTo>
                  <a:lnTo>
                    <a:pt x="575" y="144"/>
                  </a:lnTo>
                  <a:lnTo>
                    <a:pt x="575" y="142"/>
                  </a:lnTo>
                  <a:lnTo>
                    <a:pt x="577" y="144"/>
                  </a:lnTo>
                  <a:lnTo>
                    <a:pt x="577" y="144"/>
                  </a:lnTo>
                  <a:lnTo>
                    <a:pt x="577" y="144"/>
                  </a:lnTo>
                  <a:lnTo>
                    <a:pt x="581" y="146"/>
                  </a:lnTo>
                  <a:lnTo>
                    <a:pt x="581" y="146"/>
                  </a:lnTo>
                  <a:lnTo>
                    <a:pt x="583" y="148"/>
                  </a:lnTo>
                  <a:lnTo>
                    <a:pt x="585" y="152"/>
                  </a:lnTo>
                  <a:lnTo>
                    <a:pt x="587" y="154"/>
                  </a:lnTo>
                  <a:lnTo>
                    <a:pt x="587" y="154"/>
                  </a:lnTo>
                  <a:lnTo>
                    <a:pt x="590" y="156"/>
                  </a:lnTo>
                  <a:lnTo>
                    <a:pt x="590" y="158"/>
                  </a:lnTo>
                  <a:lnTo>
                    <a:pt x="592" y="156"/>
                  </a:lnTo>
                  <a:lnTo>
                    <a:pt x="592" y="152"/>
                  </a:lnTo>
                  <a:lnTo>
                    <a:pt x="592" y="152"/>
                  </a:lnTo>
                  <a:lnTo>
                    <a:pt x="594" y="152"/>
                  </a:lnTo>
                  <a:lnTo>
                    <a:pt x="594" y="154"/>
                  </a:lnTo>
                  <a:lnTo>
                    <a:pt x="596" y="154"/>
                  </a:lnTo>
                  <a:lnTo>
                    <a:pt x="596" y="156"/>
                  </a:lnTo>
                  <a:lnTo>
                    <a:pt x="596" y="156"/>
                  </a:lnTo>
                  <a:lnTo>
                    <a:pt x="596" y="154"/>
                  </a:lnTo>
                  <a:lnTo>
                    <a:pt x="598" y="156"/>
                  </a:lnTo>
                  <a:lnTo>
                    <a:pt x="598" y="156"/>
                  </a:lnTo>
                  <a:lnTo>
                    <a:pt x="600" y="156"/>
                  </a:lnTo>
                  <a:lnTo>
                    <a:pt x="604" y="158"/>
                  </a:lnTo>
                  <a:lnTo>
                    <a:pt x="606" y="158"/>
                  </a:lnTo>
                  <a:lnTo>
                    <a:pt x="608" y="156"/>
                  </a:lnTo>
                  <a:lnTo>
                    <a:pt x="606" y="156"/>
                  </a:lnTo>
                  <a:lnTo>
                    <a:pt x="606" y="156"/>
                  </a:lnTo>
                  <a:lnTo>
                    <a:pt x="604" y="154"/>
                  </a:lnTo>
                  <a:lnTo>
                    <a:pt x="604" y="152"/>
                  </a:lnTo>
                  <a:lnTo>
                    <a:pt x="604" y="152"/>
                  </a:lnTo>
                  <a:lnTo>
                    <a:pt x="604" y="152"/>
                  </a:lnTo>
                  <a:lnTo>
                    <a:pt x="606" y="150"/>
                  </a:lnTo>
                  <a:lnTo>
                    <a:pt x="604" y="150"/>
                  </a:lnTo>
                  <a:lnTo>
                    <a:pt x="606" y="150"/>
                  </a:lnTo>
                  <a:lnTo>
                    <a:pt x="606" y="150"/>
                  </a:lnTo>
                  <a:lnTo>
                    <a:pt x="608" y="150"/>
                  </a:lnTo>
                  <a:lnTo>
                    <a:pt x="608" y="148"/>
                  </a:lnTo>
                  <a:lnTo>
                    <a:pt x="608" y="148"/>
                  </a:lnTo>
                  <a:lnTo>
                    <a:pt x="604" y="146"/>
                  </a:lnTo>
                  <a:lnTo>
                    <a:pt x="604" y="144"/>
                  </a:lnTo>
                  <a:lnTo>
                    <a:pt x="604" y="144"/>
                  </a:lnTo>
                  <a:lnTo>
                    <a:pt x="604" y="144"/>
                  </a:lnTo>
                  <a:lnTo>
                    <a:pt x="604" y="144"/>
                  </a:lnTo>
                  <a:lnTo>
                    <a:pt x="606" y="144"/>
                  </a:lnTo>
                  <a:lnTo>
                    <a:pt x="606" y="142"/>
                  </a:lnTo>
                  <a:lnTo>
                    <a:pt x="606" y="142"/>
                  </a:lnTo>
                  <a:lnTo>
                    <a:pt x="606" y="140"/>
                  </a:lnTo>
                  <a:lnTo>
                    <a:pt x="604" y="140"/>
                  </a:lnTo>
                  <a:lnTo>
                    <a:pt x="602" y="135"/>
                  </a:lnTo>
                  <a:lnTo>
                    <a:pt x="602" y="133"/>
                  </a:lnTo>
                  <a:lnTo>
                    <a:pt x="602" y="133"/>
                  </a:lnTo>
                  <a:lnTo>
                    <a:pt x="604" y="133"/>
                  </a:lnTo>
                  <a:lnTo>
                    <a:pt x="606" y="135"/>
                  </a:lnTo>
                  <a:lnTo>
                    <a:pt x="608" y="135"/>
                  </a:lnTo>
                  <a:lnTo>
                    <a:pt x="608" y="133"/>
                  </a:lnTo>
                  <a:lnTo>
                    <a:pt x="608" y="131"/>
                  </a:lnTo>
                  <a:lnTo>
                    <a:pt x="608" y="127"/>
                  </a:lnTo>
                  <a:lnTo>
                    <a:pt x="606" y="125"/>
                  </a:lnTo>
                  <a:lnTo>
                    <a:pt x="604" y="125"/>
                  </a:lnTo>
                  <a:lnTo>
                    <a:pt x="602" y="123"/>
                  </a:lnTo>
                  <a:lnTo>
                    <a:pt x="594" y="123"/>
                  </a:lnTo>
                  <a:lnTo>
                    <a:pt x="592" y="121"/>
                  </a:lnTo>
                  <a:lnTo>
                    <a:pt x="585" y="121"/>
                  </a:lnTo>
                  <a:lnTo>
                    <a:pt x="585" y="121"/>
                  </a:lnTo>
                  <a:lnTo>
                    <a:pt x="585" y="119"/>
                  </a:lnTo>
                  <a:lnTo>
                    <a:pt x="587" y="119"/>
                  </a:lnTo>
                  <a:lnTo>
                    <a:pt x="587" y="119"/>
                  </a:lnTo>
                  <a:lnTo>
                    <a:pt x="585" y="119"/>
                  </a:lnTo>
                  <a:lnTo>
                    <a:pt x="585" y="119"/>
                  </a:lnTo>
                  <a:lnTo>
                    <a:pt x="583" y="117"/>
                  </a:lnTo>
                  <a:lnTo>
                    <a:pt x="583" y="117"/>
                  </a:lnTo>
                  <a:lnTo>
                    <a:pt x="579" y="119"/>
                  </a:lnTo>
                  <a:lnTo>
                    <a:pt x="579" y="119"/>
                  </a:lnTo>
                  <a:lnTo>
                    <a:pt x="579" y="117"/>
                  </a:lnTo>
                  <a:lnTo>
                    <a:pt x="579" y="117"/>
                  </a:lnTo>
                  <a:lnTo>
                    <a:pt x="579" y="115"/>
                  </a:lnTo>
                  <a:lnTo>
                    <a:pt x="579" y="115"/>
                  </a:lnTo>
                  <a:lnTo>
                    <a:pt x="579" y="113"/>
                  </a:lnTo>
                  <a:lnTo>
                    <a:pt x="575" y="111"/>
                  </a:lnTo>
                  <a:lnTo>
                    <a:pt x="573" y="111"/>
                  </a:lnTo>
                  <a:lnTo>
                    <a:pt x="573" y="111"/>
                  </a:lnTo>
                  <a:lnTo>
                    <a:pt x="571" y="107"/>
                  </a:lnTo>
                  <a:lnTo>
                    <a:pt x="571" y="107"/>
                  </a:lnTo>
                  <a:lnTo>
                    <a:pt x="571" y="107"/>
                  </a:lnTo>
                  <a:lnTo>
                    <a:pt x="569" y="107"/>
                  </a:lnTo>
                  <a:lnTo>
                    <a:pt x="569" y="109"/>
                  </a:lnTo>
                  <a:lnTo>
                    <a:pt x="567" y="109"/>
                  </a:lnTo>
                  <a:lnTo>
                    <a:pt x="567" y="109"/>
                  </a:lnTo>
                  <a:lnTo>
                    <a:pt x="565" y="109"/>
                  </a:lnTo>
                  <a:lnTo>
                    <a:pt x="565" y="107"/>
                  </a:lnTo>
                  <a:lnTo>
                    <a:pt x="565" y="107"/>
                  </a:lnTo>
                  <a:lnTo>
                    <a:pt x="563" y="109"/>
                  </a:lnTo>
                  <a:lnTo>
                    <a:pt x="561" y="111"/>
                  </a:lnTo>
                  <a:lnTo>
                    <a:pt x="559" y="111"/>
                  </a:lnTo>
                  <a:lnTo>
                    <a:pt x="559" y="111"/>
                  </a:lnTo>
                  <a:lnTo>
                    <a:pt x="557" y="109"/>
                  </a:lnTo>
                  <a:lnTo>
                    <a:pt x="557" y="109"/>
                  </a:lnTo>
                  <a:lnTo>
                    <a:pt x="555" y="109"/>
                  </a:lnTo>
                  <a:lnTo>
                    <a:pt x="553" y="109"/>
                  </a:lnTo>
                  <a:lnTo>
                    <a:pt x="549" y="109"/>
                  </a:lnTo>
                  <a:lnTo>
                    <a:pt x="544" y="109"/>
                  </a:lnTo>
                  <a:lnTo>
                    <a:pt x="540" y="107"/>
                  </a:lnTo>
                  <a:lnTo>
                    <a:pt x="540" y="105"/>
                  </a:lnTo>
                  <a:lnTo>
                    <a:pt x="540" y="105"/>
                  </a:lnTo>
                  <a:lnTo>
                    <a:pt x="540" y="103"/>
                  </a:lnTo>
                  <a:lnTo>
                    <a:pt x="540" y="103"/>
                  </a:lnTo>
                  <a:lnTo>
                    <a:pt x="538" y="101"/>
                  </a:lnTo>
                  <a:lnTo>
                    <a:pt x="538" y="101"/>
                  </a:lnTo>
                  <a:lnTo>
                    <a:pt x="536" y="101"/>
                  </a:lnTo>
                  <a:lnTo>
                    <a:pt x="536" y="101"/>
                  </a:lnTo>
                  <a:lnTo>
                    <a:pt x="532" y="97"/>
                  </a:lnTo>
                  <a:lnTo>
                    <a:pt x="532" y="97"/>
                  </a:lnTo>
                  <a:lnTo>
                    <a:pt x="530" y="97"/>
                  </a:lnTo>
                  <a:lnTo>
                    <a:pt x="530" y="97"/>
                  </a:lnTo>
                  <a:lnTo>
                    <a:pt x="530" y="97"/>
                  </a:lnTo>
                  <a:lnTo>
                    <a:pt x="532" y="97"/>
                  </a:lnTo>
                  <a:lnTo>
                    <a:pt x="532" y="94"/>
                  </a:lnTo>
                  <a:lnTo>
                    <a:pt x="532" y="94"/>
                  </a:lnTo>
                  <a:lnTo>
                    <a:pt x="534" y="92"/>
                  </a:lnTo>
                  <a:lnTo>
                    <a:pt x="532" y="92"/>
                  </a:lnTo>
                  <a:lnTo>
                    <a:pt x="532" y="90"/>
                  </a:lnTo>
                  <a:lnTo>
                    <a:pt x="532" y="88"/>
                  </a:lnTo>
                  <a:lnTo>
                    <a:pt x="530" y="88"/>
                  </a:lnTo>
                  <a:lnTo>
                    <a:pt x="528" y="90"/>
                  </a:lnTo>
                  <a:lnTo>
                    <a:pt x="526" y="92"/>
                  </a:lnTo>
                  <a:lnTo>
                    <a:pt x="522" y="94"/>
                  </a:lnTo>
                  <a:lnTo>
                    <a:pt x="520" y="97"/>
                  </a:lnTo>
                  <a:lnTo>
                    <a:pt x="518" y="97"/>
                  </a:lnTo>
                  <a:lnTo>
                    <a:pt x="512" y="99"/>
                  </a:lnTo>
                  <a:lnTo>
                    <a:pt x="510" y="99"/>
                  </a:lnTo>
                  <a:lnTo>
                    <a:pt x="506" y="99"/>
                  </a:lnTo>
                  <a:lnTo>
                    <a:pt x="506" y="99"/>
                  </a:lnTo>
                  <a:lnTo>
                    <a:pt x="506" y="99"/>
                  </a:lnTo>
                  <a:lnTo>
                    <a:pt x="508" y="97"/>
                  </a:lnTo>
                  <a:lnTo>
                    <a:pt x="510" y="97"/>
                  </a:lnTo>
                  <a:lnTo>
                    <a:pt x="510" y="97"/>
                  </a:lnTo>
                  <a:lnTo>
                    <a:pt x="508" y="94"/>
                  </a:lnTo>
                  <a:lnTo>
                    <a:pt x="508" y="94"/>
                  </a:lnTo>
                  <a:lnTo>
                    <a:pt x="504" y="92"/>
                  </a:lnTo>
                  <a:lnTo>
                    <a:pt x="501" y="90"/>
                  </a:lnTo>
                  <a:lnTo>
                    <a:pt x="504" y="90"/>
                  </a:lnTo>
                  <a:lnTo>
                    <a:pt x="504" y="90"/>
                  </a:lnTo>
                  <a:lnTo>
                    <a:pt x="506" y="92"/>
                  </a:lnTo>
                  <a:lnTo>
                    <a:pt x="506" y="88"/>
                  </a:lnTo>
                  <a:lnTo>
                    <a:pt x="506" y="84"/>
                  </a:lnTo>
                  <a:lnTo>
                    <a:pt x="506" y="80"/>
                  </a:lnTo>
                  <a:lnTo>
                    <a:pt x="506" y="78"/>
                  </a:lnTo>
                  <a:lnTo>
                    <a:pt x="506" y="76"/>
                  </a:lnTo>
                  <a:lnTo>
                    <a:pt x="506" y="76"/>
                  </a:lnTo>
                  <a:lnTo>
                    <a:pt x="508" y="74"/>
                  </a:lnTo>
                  <a:lnTo>
                    <a:pt x="506" y="74"/>
                  </a:lnTo>
                  <a:lnTo>
                    <a:pt x="506" y="74"/>
                  </a:lnTo>
                  <a:lnTo>
                    <a:pt x="506" y="74"/>
                  </a:lnTo>
                  <a:lnTo>
                    <a:pt x="506" y="72"/>
                  </a:lnTo>
                  <a:lnTo>
                    <a:pt x="508" y="70"/>
                  </a:lnTo>
                  <a:lnTo>
                    <a:pt x="508" y="68"/>
                  </a:lnTo>
                  <a:lnTo>
                    <a:pt x="508" y="66"/>
                  </a:lnTo>
                  <a:lnTo>
                    <a:pt x="508" y="66"/>
                  </a:lnTo>
                  <a:lnTo>
                    <a:pt x="508" y="64"/>
                  </a:lnTo>
                  <a:lnTo>
                    <a:pt x="510" y="64"/>
                  </a:lnTo>
                  <a:lnTo>
                    <a:pt x="510" y="64"/>
                  </a:lnTo>
                  <a:lnTo>
                    <a:pt x="510" y="66"/>
                  </a:lnTo>
                  <a:lnTo>
                    <a:pt x="512" y="68"/>
                  </a:lnTo>
                  <a:lnTo>
                    <a:pt x="512" y="66"/>
                  </a:lnTo>
                  <a:lnTo>
                    <a:pt x="514" y="66"/>
                  </a:lnTo>
                  <a:lnTo>
                    <a:pt x="514" y="64"/>
                  </a:lnTo>
                  <a:lnTo>
                    <a:pt x="516" y="64"/>
                  </a:lnTo>
                  <a:lnTo>
                    <a:pt x="514" y="62"/>
                  </a:lnTo>
                  <a:lnTo>
                    <a:pt x="514" y="62"/>
                  </a:lnTo>
                  <a:lnTo>
                    <a:pt x="512" y="62"/>
                  </a:lnTo>
                  <a:lnTo>
                    <a:pt x="512" y="60"/>
                  </a:lnTo>
                  <a:lnTo>
                    <a:pt x="514" y="58"/>
                  </a:lnTo>
                  <a:lnTo>
                    <a:pt x="514" y="58"/>
                  </a:lnTo>
                  <a:lnTo>
                    <a:pt x="514" y="60"/>
                  </a:lnTo>
                  <a:lnTo>
                    <a:pt x="514" y="60"/>
                  </a:lnTo>
                  <a:lnTo>
                    <a:pt x="516" y="60"/>
                  </a:lnTo>
                  <a:lnTo>
                    <a:pt x="516" y="58"/>
                  </a:lnTo>
                  <a:lnTo>
                    <a:pt x="516" y="58"/>
                  </a:lnTo>
                  <a:lnTo>
                    <a:pt x="518" y="58"/>
                  </a:lnTo>
                  <a:lnTo>
                    <a:pt x="518" y="58"/>
                  </a:lnTo>
                  <a:lnTo>
                    <a:pt x="520" y="56"/>
                  </a:lnTo>
                  <a:lnTo>
                    <a:pt x="520" y="56"/>
                  </a:lnTo>
                  <a:lnTo>
                    <a:pt x="522" y="53"/>
                  </a:lnTo>
                  <a:lnTo>
                    <a:pt x="522" y="51"/>
                  </a:lnTo>
                  <a:lnTo>
                    <a:pt x="518" y="39"/>
                  </a:lnTo>
                  <a:lnTo>
                    <a:pt x="518" y="39"/>
                  </a:lnTo>
                  <a:lnTo>
                    <a:pt x="518" y="39"/>
                  </a:lnTo>
                  <a:lnTo>
                    <a:pt x="518" y="37"/>
                  </a:lnTo>
                  <a:lnTo>
                    <a:pt x="516" y="35"/>
                  </a:lnTo>
                  <a:lnTo>
                    <a:pt x="516" y="35"/>
                  </a:lnTo>
                  <a:lnTo>
                    <a:pt x="516" y="35"/>
                  </a:lnTo>
                  <a:lnTo>
                    <a:pt x="514" y="35"/>
                  </a:lnTo>
                  <a:lnTo>
                    <a:pt x="512" y="33"/>
                  </a:lnTo>
                  <a:lnTo>
                    <a:pt x="510" y="33"/>
                  </a:lnTo>
                  <a:lnTo>
                    <a:pt x="510" y="31"/>
                  </a:lnTo>
                  <a:lnTo>
                    <a:pt x="508" y="31"/>
                  </a:lnTo>
                  <a:lnTo>
                    <a:pt x="506" y="31"/>
                  </a:lnTo>
                  <a:lnTo>
                    <a:pt x="501" y="31"/>
                  </a:lnTo>
                  <a:lnTo>
                    <a:pt x="501" y="31"/>
                  </a:lnTo>
                  <a:lnTo>
                    <a:pt x="499" y="31"/>
                  </a:lnTo>
                  <a:lnTo>
                    <a:pt x="499" y="29"/>
                  </a:lnTo>
                  <a:lnTo>
                    <a:pt x="497" y="27"/>
                  </a:lnTo>
                  <a:lnTo>
                    <a:pt x="497" y="27"/>
                  </a:lnTo>
                  <a:lnTo>
                    <a:pt x="495" y="25"/>
                  </a:lnTo>
                  <a:lnTo>
                    <a:pt x="493" y="25"/>
                  </a:lnTo>
                  <a:lnTo>
                    <a:pt x="489" y="23"/>
                  </a:lnTo>
                  <a:lnTo>
                    <a:pt x="483" y="25"/>
                  </a:lnTo>
                  <a:lnTo>
                    <a:pt x="481" y="25"/>
                  </a:lnTo>
                  <a:lnTo>
                    <a:pt x="477" y="21"/>
                  </a:lnTo>
                  <a:lnTo>
                    <a:pt x="475" y="21"/>
                  </a:lnTo>
                  <a:lnTo>
                    <a:pt x="473" y="19"/>
                  </a:lnTo>
                  <a:lnTo>
                    <a:pt x="473" y="19"/>
                  </a:lnTo>
                  <a:lnTo>
                    <a:pt x="473" y="17"/>
                  </a:lnTo>
                  <a:lnTo>
                    <a:pt x="475" y="12"/>
                  </a:lnTo>
                  <a:lnTo>
                    <a:pt x="477" y="10"/>
                  </a:lnTo>
                  <a:lnTo>
                    <a:pt x="477" y="8"/>
                  </a:lnTo>
                  <a:lnTo>
                    <a:pt x="475" y="8"/>
                  </a:lnTo>
                  <a:lnTo>
                    <a:pt x="473" y="6"/>
                  </a:lnTo>
                  <a:lnTo>
                    <a:pt x="471" y="6"/>
                  </a:lnTo>
                  <a:lnTo>
                    <a:pt x="469" y="6"/>
                  </a:lnTo>
                  <a:lnTo>
                    <a:pt x="467" y="4"/>
                  </a:lnTo>
                  <a:lnTo>
                    <a:pt x="467" y="4"/>
                  </a:lnTo>
                  <a:lnTo>
                    <a:pt x="463" y="2"/>
                  </a:lnTo>
                  <a:lnTo>
                    <a:pt x="458" y="2"/>
                  </a:lnTo>
                  <a:lnTo>
                    <a:pt x="456" y="2"/>
                  </a:lnTo>
                  <a:lnTo>
                    <a:pt x="452" y="4"/>
                  </a:lnTo>
                  <a:lnTo>
                    <a:pt x="450" y="2"/>
                  </a:lnTo>
                  <a:lnTo>
                    <a:pt x="450" y="4"/>
                  </a:lnTo>
                  <a:lnTo>
                    <a:pt x="450" y="4"/>
                  </a:lnTo>
                  <a:lnTo>
                    <a:pt x="450" y="8"/>
                  </a:lnTo>
                  <a:lnTo>
                    <a:pt x="448" y="12"/>
                  </a:lnTo>
                  <a:lnTo>
                    <a:pt x="448" y="19"/>
                  </a:lnTo>
                  <a:lnTo>
                    <a:pt x="446" y="21"/>
                  </a:lnTo>
                  <a:lnTo>
                    <a:pt x="446" y="23"/>
                  </a:lnTo>
                  <a:lnTo>
                    <a:pt x="446" y="25"/>
                  </a:lnTo>
                  <a:lnTo>
                    <a:pt x="446" y="23"/>
                  </a:lnTo>
                  <a:lnTo>
                    <a:pt x="444" y="23"/>
                  </a:lnTo>
                  <a:lnTo>
                    <a:pt x="440" y="21"/>
                  </a:lnTo>
                  <a:lnTo>
                    <a:pt x="434" y="19"/>
                  </a:lnTo>
                  <a:lnTo>
                    <a:pt x="428" y="15"/>
                  </a:lnTo>
                  <a:lnTo>
                    <a:pt x="424" y="12"/>
                  </a:lnTo>
                  <a:lnTo>
                    <a:pt x="417" y="8"/>
                  </a:lnTo>
                  <a:lnTo>
                    <a:pt x="411" y="6"/>
                  </a:lnTo>
                  <a:lnTo>
                    <a:pt x="407" y="4"/>
                  </a:lnTo>
                  <a:lnTo>
                    <a:pt x="401" y="0"/>
                  </a:lnTo>
                  <a:lnTo>
                    <a:pt x="399" y="0"/>
                  </a:lnTo>
                  <a:lnTo>
                    <a:pt x="399" y="0"/>
                  </a:lnTo>
                  <a:lnTo>
                    <a:pt x="397" y="2"/>
                  </a:lnTo>
                  <a:lnTo>
                    <a:pt x="397" y="4"/>
                  </a:lnTo>
                  <a:lnTo>
                    <a:pt x="397" y="4"/>
                  </a:lnTo>
                  <a:lnTo>
                    <a:pt x="397" y="6"/>
                  </a:lnTo>
                  <a:lnTo>
                    <a:pt x="399" y="8"/>
                  </a:lnTo>
                  <a:lnTo>
                    <a:pt x="399" y="10"/>
                  </a:lnTo>
                  <a:lnTo>
                    <a:pt x="399" y="12"/>
                  </a:lnTo>
                  <a:lnTo>
                    <a:pt x="399" y="12"/>
                  </a:lnTo>
                  <a:lnTo>
                    <a:pt x="399" y="12"/>
                  </a:lnTo>
                  <a:lnTo>
                    <a:pt x="399" y="17"/>
                  </a:lnTo>
                  <a:lnTo>
                    <a:pt x="397" y="19"/>
                  </a:lnTo>
                  <a:lnTo>
                    <a:pt x="397" y="21"/>
                  </a:lnTo>
                  <a:lnTo>
                    <a:pt x="397" y="21"/>
                  </a:lnTo>
                  <a:lnTo>
                    <a:pt x="397" y="21"/>
                  </a:lnTo>
                  <a:lnTo>
                    <a:pt x="397" y="21"/>
                  </a:lnTo>
                  <a:lnTo>
                    <a:pt x="397" y="23"/>
                  </a:lnTo>
                  <a:lnTo>
                    <a:pt x="397" y="23"/>
                  </a:lnTo>
                  <a:lnTo>
                    <a:pt x="397" y="23"/>
                  </a:lnTo>
                  <a:lnTo>
                    <a:pt x="397" y="25"/>
                  </a:lnTo>
                  <a:lnTo>
                    <a:pt x="397" y="25"/>
                  </a:lnTo>
                  <a:lnTo>
                    <a:pt x="397" y="27"/>
                  </a:lnTo>
                  <a:lnTo>
                    <a:pt x="397" y="27"/>
                  </a:lnTo>
                  <a:lnTo>
                    <a:pt x="397" y="29"/>
                  </a:lnTo>
                  <a:lnTo>
                    <a:pt x="397" y="29"/>
                  </a:lnTo>
                  <a:lnTo>
                    <a:pt x="397" y="29"/>
                  </a:lnTo>
                  <a:lnTo>
                    <a:pt x="397" y="31"/>
                  </a:lnTo>
                  <a:lnTo>
                    <a:pt x="397" y="31"/>
                  </a:lnTo>
                  <a:lnTo>
                    <a:pt x="397" y="31"/>
                  </a:lnTo>
                  <a:lnTo>
                    <a:pt x="397" y="31"/>
                  </a:lnTo>
                  <a:lnTo>
                    <a:pt x="397" y="33"/>
                  </a:lnTo>
                  <a:lnTo>
                    <a:pt x="395" y="37"/>
                  </a:lnTo>
                  <a:lnTo>
                    <a:pt x="393" y="39"/>
                  </a:lnTo>
                  <a:lnTo>
                    <a:pt x="391" y="43"/>
                  </a:lnTo>
                  <a:lnTo>
                    <a:pt x="389" y="47"/>
                  </a:lnTo>
                  <a:lnTo>
                    <a:pt x="389" y="47"/>
                  </a:lnTo>
                  <a:lnTo>
                    <a:pt x="389" y="47"/>
                  </a:lnTo>
                  <a:lnTo>
                    <a:pt x="389" y="47"/>
                  </a:lnTo>
                  <a:lnTo>
                    <a:pt x="389" y="47"/>
                  </a:lnTo>
                  <a:lnTo>
                    <a:pt x="389" y="49"/>
                  </a:lnTo>
                  <a:lnTo>
                    <a:pt x="389" y="49"/>
                  </a:lnTo>
                  <a:lnTo>
                    <a:pt x="387" y="53"/>
                  </a:lnTo>
                  <a:lnTo>
                    <a:pt x="387" y="53"/>
                  </a:lnTo>
                  <a:lnTo>
                    <a:pt x="387" y="53"/>
                  </a:lnTo>
                  <a:lnTo>
                    <a:pt x="385" y="56"/>
                  </a:lnTo>
                  <a:lnTo>
                    <a:pt x="385" y="56"/>
                  </a:lnTo>
                  <a:lnTo>
                    <a:pt x="385" y="56"/>
                  </a:lnTo>
                  <a:lnTo>
                    <a:pt x="383" y="56"/>
                  </a:lnTo>
                  <a:lnTo>
                    <a:pt x="383" y="58"/>
                  </a:lnTo>
                  <a:lnTo>
                    <a:pt x="383" y="60"/>
                  </a:lnTo>
                  <a:lnTo>
                    <a:pt x="383" y="60"/>
                  </a:lnTo>
                  <a:lnTo>
                    <a:pt x="383" y="60"/>
                  </a:lnTo>
                  <a:lnTo>
                    <a:pt x="381" y="62"/>
                  </a:lnTo>
                  <a:lnTo>
                    <a:pt x="379" y="62"/>
                  </a:lnTo>
                  <a:lnTo>
                    <a:pt x="379" y="62"/>
                  </a:lnTo>
                  <a:lnTo>
                    <a:pt x="379" y="64"/>
                  </a:lnTo>
                  <a:lnTo>
                    <a:pt x="379" y="62"/>
                  </a:lnTo>
                  <a:lnTo>
                    <a:pt x="377" y="62"/>
                  </a:lnTo>
                  <a:lnTo>
                    <a:pt x="377" y="62"/>
                  </a:lnTo>
                  <a:lnTo>
                    <a:pt x="377" y="62"/>
                  </a:lnTo>
                  <a:lnTo>
                    <a:pt x="377" y="62"/>
                  </a:lnTo>
                  <a:lnTo>
                    <a:pt x="377" y="62"/>
                  </a:lnTo>
                  <a:lnTo>
                    <a:pt x="377" y="62"/>
                  </a:lnTo>
                  <a:lnTo>
                    <a:pt x="374" y="62"/>
                  </a:lnTo>
                  <a:lnTo>
                    <a:pt x="374" y="66"/>
                  </a:lnTo>
                  <a:lnTo>
                    <a:pt x="372" y="70"/>
                  </a:lnTo>
                  <a:lnTo>
                    <a:pt x="370" y="74"/>
                  </a:lnTo>
                  <a:lnTo>
                    <a:pt x="368" y="78"/>
                  </a:lnTo>
                  <a:lnTo>
                    <a:pt x="368" y="78"/>
                  </a:lnTo>
                  <a:lnTo>
                    <a:pt x="368" y="78"/>
                  </a:lnTo>
                  <a:lnTo>
                    <a:pt x="366" y="78"/>
                  </a:lnTo>
                  <a:lnTo>
                    <a:pt x="364" y="78"/>
                  </a:lnTo>
                  <a:lnTo>
                    <a:pt x="360" y="76"/>
                  </a:lnTo>
                  <a:lnTo>
                    <a:pt x="356" y="74"/>
                  </a:lnTo>
                  <a:lnTo>
                    <a:pt x="356" y="74"/>
                  </a:lnTo>
                  <a:lnTo>
                    <a:pt x="356" y="76"/>
                  </a:lnTo>
                  <a:lnTo>
                    <a:pt x="354" y="80"/>
                  </a:lnTo>
                  <a:lnTo>
                    <a:pt x="352" y="82"/>
                  </a:lnTo>
                  <a:lnTo>
                    <a:pt x="352" y="82"/>
                  </a:lnTo>
                  <a:lnTo>
                    <a:pt x="352" y="82"/>
                  </a:lnTo>
                  <a:lnTo>
                    <a:pt x="352" y="84"/>
                  </a:lnTo>
                  <a:lnTo>
                    <a:pt x="352" y="84"/>
                  </a:lnTo>
                  <a:lnTo>
                    <a:pt x="352" y="86"/>
                  </a:lnTo>
                  <a:lnTo>
                    <a:pt x="352" y="88"/>
                  </a:lnTo>
                  <a:lnTo>
                    <a:pt x="350" y="88"/>
                  </a:lnTo>
                  <a:lnTo>
                    <a:pt x="352" y="94"/>
                  </a:lnTo>
                  <a:lnTo>
                    <a:pt x="352" y="94"/>
                  </a:lnTo>
                  <a:lnTo>
                    <a:pt x="350" y="94"/>
                  </a:lnTo>
                  <a:lnTo>
                    <a:pt x="350" y="97"/>
                  </a:lnTo>
                  <a:lnTo>
                    <a:pt x="350" y="97"/>
                  </a:lnTo>
                  <a:lnTo>
                    <a:pt x="348" y="99"/>
                  </a:lnTo>
                  <a:lnTo>
                    <a:pt x="348" y="99"/>
                  </a:lnTo>
                  <a:lnTo>
                    <a:pt x="348" y="101"/>
                  </a:lnTo>
                  <a:lnTo>
                    <a:pt x="348" y="101"/>
                  </a:lnTo>
                  <a:lnTo>
                    <a:pt x="348" y="103"/>
                  </a:lnTo>
                  <a:lnTo>
                    <a:pt x="346" y="105"/>
                  </a:lnTo>
                  <a:lnTo>
                    <a:pt x="346" y="107"/>
                  </a:lnTo>
                  <a:lnTo>
                    <a:pt x="346" y="107"/>
                  </a:lnTo>
                  <a:lnTo>
                    <a:pt x="346" y="107"/>
                  </a:lnTo>
                  <a:lnTo>
                    <a:pt x="346" y="107"/>
                  </a:lnTo>
                  <a:lnTo>
                    <a:pt x="346" y="111"/>
                  </a:lnTo>
                  <a:lnTo>
                    <a:pt x="346" y="111"/>
                  </a:lnTo>
                  <a:lnTo>
                    <a:pt x="346" y="113"/>
                  </a:lnTo>
                  <a:lnTo>
                    <a:pt x="344" y="115"/>
                  </a:lnTo>
                  <a:lnTo>
                    <a:pt x="344" y="119"/>
                  </a:lnTo>
                  <a:lnTo>
                    <a:pt x="340" y="123"/>
                  </a:lnTo>
                  <a:lnTo>
                    <a:pt x="340" y="123"/>
                  </a:lnTo>
                  <a:lnTo>
                    <a:pt x="340" y="123"/>
                  </a:lnTo>
                  <a:lnTo>
                    <a:pt x="340" y="123"/>
                  </a:lnTo>
                  <a:lnTo>
                    <a:pt x="334" y="123"/>
                  </a:lnTo>
                  <a:lnTo>
                    <a:pt x="329" y="123"/>
                  </a:lnTo>
                  <a:lnTo>
                    <a:pt x="325" y="121"/>
                  </a:lnTo>
                  <a:lnTo>
                    <a:pt x="321" y="121"/>
                  </a:lnTo>
                  <a:lnTo>
                    <a:pt x="321" y="121"/>
                  </a:lnTo>
                  <a:lnTo>
                    <a:pt x="321" y="121"/>
                  </a:lnTo>
                  <a:lnTo>
                    <a:pt x="321" y="121"/>
                  </a:lnTo>
                  <a:lnTo>
                    <a:pt x="321" y="119"/>
                  </a:lnTo>
                  <a:lnTo>
                    <a:pt x="321" y="119"/>
                  </a:lnTo>
                  <a:lnTo>
                    <a:pt x="321" y="119"/>
                  </a:lnTo>
                  <a:lnTo>
                    <a:pt x="321" y="119"/>
                  </a:lnTo>
                  <a:lnTo>
                    <a:pt x="321" y="119"/>
                  </a:lnTo>
                  <a:lnTo>
                    <a:pt x="315" y="113"/>
                  </a:lnTo>
                  <a:lnTo>
                    <a:pt x="315" y="113"/>
                  </a:lnTo>
                  <a:lnTo>
                    <a:pt x="315" y="113"/>
                  </a:lnTo>
                  <a:lnTo>
                    <a:pt x="315" y="113"/>
                  </a:lnTo>
                  <a:lnTo>
                    <a:pt x="307" y="111"/>
                  </a:lnTo>
                  <a:lnTo>
                    <a:pt x="307" y="111"/>
                  </a:lnTo>
                  <a:lnTo>
                    <a:pt x="307" y="113"/>
                  </a:lnTo>
                  <a:lnTo>
                    <a:pt x="307" y="113"/>
                  </a:lnTo>
                  <a:lnTo>
                    <a:pt x="307" y="115"/>
                  </a:lnTo>
                  <a:lnTo>
                    <a:pt x="307" y="115"/>
                  </a:lnTo>
                  <a:lnTo>
                    <a:pt x="307" y="117"/>
                  </a:lnTo>
                  <a:lnTo>
                    <a:pt x="307" y="117"/>
                  </a:lnTo>
                  <a:lnTo>
                    <a:pt x="307" y="117"/>
                  </a:lnTo>
                  <a:lnTo>
                    <a:pt x="307" y="119"/>
                  </a:lnTo>
                  <a:lnTo>
                    <a:pt x="307" y="119"/>
                  </a:lnTo>
                  <a:lnTo>
                    <a:pt x="305" y="121"/>
                  </a:lnTo>
                  <a:lnTo>
                    <a:pt x="305" y="123"/>
                  </a:lnTo>
                  <a:lnTo>
                    <a:pt x="305" y="123"/>
                  </a:lnTo>
                  <a:lnTo>
                    <a:pt x="305" y="127"/>
                  </a:lnTo>
                  <a:lnTo>
                    <a:pt x="305" y="129"/>
                  </a:lnTo>
                  <a:lnTo>
                    <a:pt x="305" y="129"/>
                  </a:lnTo>
                  <a:lnTo>
                    <a:pt x="305" y="131"/>
                  </a:lnTo>
                  <a:lnTo>
                    <a:pt x="305" y="133"/>
                  </a:lnTo>
                  <a:lnTo>
                    <a:pt x="305" y="135"/>
                  </a:lnTo>
                  <a:lnTo>
                    <a:pt x="303" y="137"/>
                  </a:lnTo>
                  <a:lnTo>
                    <a:pt x="303" y="137"/>
                  </a:lnTo>
                  <a:lnTo>
                    <a:pt x="301" y="137"/>
                  </a:lnTo>
                  <a:lnTo>
                    <a:pt x="301" y="137"/>
                  </a:lnTo>
                  <a:lnTo>
                    <a:pt x="301" y="140"/>
                  </a:lnTo>
                  <a:lnTo>
                    <a:pt x="301" y="140"/>
                  </a:lnTo>
                  <a:lnTo>
                    <a:pt x="301" y="142"/>
                  </a:lnTo>
                  <a:lnTo>
                    <a:pt x="301" y="142"/>
                  </a:lnTo>
                  <a:lnTo>
                    <a:pt x="299" y="144"/>
                  </a:lnTo>
                  <a:lnTo>
                    <a:pt x="299" y="144"/>
                  </a:lnTo>
                  <a:lnTo>
                    <a:pt x="301" y="146"/>
                  </a:lnTo>
                  <a:lnTo>
                    <a:pt x="301" y="146"/>
                  </a:lnTo>
                  <a:lnTo>
                    <a:pt x="301" y="146"/>
                  </a:lnTo>
                  <a:lnTo>
                    <a:pt x="301" y="148"/>
                  </a:lnTo>
                  <a:lnTo>
                    <a:pt x="301" y="148"/>
                  </a:lnTo>
                  <a:lnTo>
                    <a:pt x="301" y="148"/>
                  </a:lnTo>
                  <a:lnTo>
                    <a:pt x="299" y="150"/>
                  </a:lnTo>
                  <a:lnTo>
                    <a:pt x="297" y="152"/>
                  </a:lnTo>
                  <a:lnTo>
                    <a:pt x="297" y="152"/>
                  </a:lnTo>
                  <a:lnTo>
                    <a:pt x="295" y="156"/>
                  </a:lnTo>
                  <a:lnTo>
                    <a:pt x="293" y="160"/>
                  </a:lnTo>
                  <a:lnTo>
                    <a:pt x="293" y="160"/>
                  </a:lnTo>
                  <a:lnTo>
                    <a:pt x="293" y="160"/>
                  </a:lnTo>
                  <a:lnTo>
                    <a:pt x="293" y="162"/>
                  </a:lnTo>
                  <a:lnTo>
                    <a:pt x="293" y="162"/>
                  </a:lnTo>
                  <a:lnTo>
                    <a:pt x="293" y="162"/>
                  </a:lnTo>
                  <a:lnTo>
                    <a:pt x="293" y="170"/>
                  </a:lnTo>
                  <a:lnTo>
                    <a:pt x="291" y="174"/>
                  </a:lnTo>
                  <a:lnTo>
                    <a:pt x="288" y="178"/>
                  </a:lnTo>
                  <a:lnTo>
                    <a:pt x="286" y="183"/>
                  </a:lnTo>
                  <a:lnTo>
                    <a:pt x="282" y="189"/>
                  </a:lnTo>
                  <a:lnTo>
                    <a:pt x="280" y="193"/>
                  </a:lnTo>
                  <a:lnTo>
                    <a:pt x="278" y="197"/>
                  </a:lnTo>
                  <a:lnTo>
                    <a:pt x="274" y="203"/>
                  </a:lnTo>
                  <a:lnTo>
                    <a:pt x="274" y="203"/>
                  </a:lnTo>
                  <a:lnTo>
                    <a:pt x="274" y="205"/>
                  </a:lnTo>
                  <a:lnTo>
                    <a:pt x="274" y="205"/>
                  </a:lnTo>
                  <a:lnTo>
                    <a:pt x="272" y="211"/>
                  </a:lnTo>
                  <a:lnTo>
                    <a:pt x="270" y="217"/>
                  </a:lnTo>
                  <a:lnTo>
                    <a:pt x="270" y="217"/>
                  </a:lnTo>
                  <a:lnTo>
                    <a:pt x="270" y="219"/>
                  </a:lnTo>
                  <a:lnTo>
                    <a:pt x="270" y="219"/>
                  </a:lnTo>
                  <a:lnTo>
                    <a:pt x="270" y="219"/>
                  </a:lnTo>
                  <a:lnTo>
                    <a:pt x="272" y="219"/>
                  </a:lnTo>
                  <a:lnTo>
                    <a:pt x="272" y="219"/>
                  </a:lnTo>
                  <a:lnTo>
                    <a:pt x="276" y="222"/>
                  </a:lnTo>
                  <a:lnTo>
                    <a:pt x="276" y="222"/>
                  </a:lnTo>
                  <a:lnTo>
                    <a:pt x="276" y="222"/>
                  </a:lnTo>
                  <a:lnTo>
                    <a:pt x="276" y="224"/>
                  </a:lnTo>
                  <a:lnTo>
                    <a:pt x="276" y="224"/>
                  </a:lnTo>
                  <a:lnTo>
                    <a:pt x="276" y="224"/>
                  </a:lnTo>
                  <a:lnTo>
                    <a:pt x="276" y="226"/>
                  </a:lnTo>
                  <a:lnTo>
                    <a:pt x="274" y="226"/>
                  </a:lnTo>
                  <a:lnTo>
                    <a:pt x="272" y="228"/>
                  </a:lnTo>
                  <a:lnTo>
                    <a:pt x="272" y="228"/>
                  </a:lnTo>
                  <a:lnTo>
                    <a:pt x="272" y="228"/>
                  </a:lnTo>
                  <a:lnTo>
                    <a:pt x="272" y="230"/>
                  </a:lnTo>
                  <a:lnTo>
                    <a:pt x="270" y="230"/>
                  </a:lnTo>
                  <a:lnTo>
                    <a:pt x="270" y="232"/>
                  </a:lnTo>
                  <a:lnTo>
                    <a:pt x="270" y="232"/>
                  </a:lnTo>
                  <a:lnTo>
                    <a:pt x="272" y="232"/>
                  </a:lnTo>
                  <a:lnTo>
                    <a:pt x="272" y="232"/>
                  </a:lnTo>
                  <a:lnTo>
                    <a:pt x="272" y="232"/>
                  </a:lnTo>
                  <a:lnTo>
                    <a:pt x="272" y="234"/>
                  </a:lnTo>
                  <a:lnTo>
                    <a:pt x="274" y="234"/>
                  </a:lnTo>
                  <a:lnTo>
                    <a:pt x="274" y="234"/>
                  </a:lnTo>
                  <a:lnTo>
                    <a:pt x="274" y="236"/>
                  </a:lnTo>
                  <a:lnTo>
                    <a:pt x="272" y="236"/>
                  </a:lnTo>
                  <a:lnTo>
                    <a:pt x="264" y="244"/>
                  </a:lnTo>
                  <a:lnTo>
                    <a:pt x="262" y="246"/>
                  </a:lnTo>
                  <a:lnTo>
                    <a:pt x="262" y="246"/>
                  </a:lnTo>
                  <a:lnTo>
                    <a:pt x="260" y="246"/>
                  </a:lnTo>
                  <a:lnTo>
                    <a:pt x="260" y="246"/>
                  </a:lnTo>
                  <a:lnTo>
                    <a:pt x="260" y="246"/>
                  </a:lnTo>
                  <a:lnTo>
                    <a:pt x="260" y="246"/>
                  </a:lnTo>
                  <a:lnTo>
                    <a:pt x="260" y="246"/>
                  </a:lnTo>
                  <a:lnTo>
                    <a:pt x="258" y="246"/>
                  </a:lnTo>
                  <a:lnTo>
                    <a:pt x="258" y="246"/>
                  </a:lnTo>
                  <a:lnTo>
                    <a:pt x="258" y="246"/>
                  </a:lnTo>
                  <a:lnTo>
                    <a:pt x="258" y="244"/>
                  </a:lnTo>
                  <a:lnTo>
                    <a:pt x="258" y="244"/>
                  </a:lnTo>
                  <a:lnTo>
                    <a:pt x="258" y="244"/>
                  </a:lnTo>
                  <a:lnTo>
                    <a:pt x="258" y="244"/>
                  </a:lnTo>
                  <a:lnTo>
                    <a:pt x="256" y="244"/>
                  </a:lnTo>
                  <a:lnTo>
                    <a:pt x="256" y="244"/>
                  </a:lnTo>
                  <a:lnTo>
                    <a:pt x="254" y="244"/>
                  </a:lnTo>
                  <a:lnTo>
                    <a:pt x="252" y="244"/>
                  </a:lnTo>
                  <a:lnTo>
                    <a:pt x="250" y="246"/>
                  </a:lnTo>
                  <a:lnTo>
                    <a:pt x="245" y="250"/>
                  </a:lnTo>
                  <a:lnTo>
                    <a:pt x="241" y="252"/>
                  </a:lnTo>
                  <a:lnTo>
                    <a:pt x="237" y="256"/>
                  </a:lnTo>
                  <a:lnTo>
                    <a:pt x="237" y="256"/>
                  </a:lnTo>
                  <a:lnTo>
                    <a:pt x="237" y="256"/>
                  </a:lnTo>
                  <a:lnTo>
                    <a:pt x="237" y="256"/>
                  </a:lnTo>
                  <a:lnTo>
                    <a:pt x="237" y="256"/>
                  </a:lnTo>
                  <a:lnTo>
                    <a:pt x="237" y="256"/>
                  </a:lnTo>
                  <a:lnTo>
                    <a:pt x="235" y="256"/>
                  </a:lnTo>
                  <a:lnTo>
                    <a:pt x="235" y="254"/>
                  </a:lnTo>
                  <a:lnTo>
                    <a:pt x="235" y="254"/>
                  </a:lnTo>
                  <a:lnTo>
                    <a:pt x="235" y="254"/>
                  </a:lnTo>
                  <a:lnTo>
                    <a:pt x="233" y="254"/>
                  </a:lnTo>
                  <a:lnTo>
                    <a:pt x="233" y="254"/>
                  </a:lnTo>
                  <a:lnTo>
                    <a:pt x="233" y="254"/>
                  </a:lnTo>
                  <a:lnTo>
                    <a:pt x="233" y="254"/>
                  </a:lnTo>
                  <a:lnTo>
                    <a:pt x="233" y="252"/>
                  </a:lnTo>
                  <a:lnTo>
                    <a:pt x="231" y="252"/>
                  </a:lnTo>
                  <a:lnTo>
                    <a:pt x="231" y="252"/>
                  </a:lnTo>
                  <a:lnTo>
                    <a:pt x="229" y="252"/>
                  </a:lnTo>
                  <a:lnTo>
                    <a:pt x="229" y="252"/>
                  </a:lnTo>
                  <a:lnTo>
                    <a:pt x="227" y="252"/>
                  </a:lnTo>
                  <a:lnTo>
                    <a:pt x="227" y="254"/>
                  </a:lnTo>
                  <a:lnTo>
                    <a:pt x="227" y="254"/>
                  </a:lnTo>
                  <a:lnTo>
                    <a:pt x="225" y="254"/>
                  </a:lnTo>
                  <a:lnTo>
                    <a:pt x="225" y="256"/>
                  </a:lnTo>
                  <a:lnTo>
                    <a:pt x="225" y="256"/>
                  </a:lnTo>
                  <a:lnTo>
                    <a:pt x="225" y="256"/>
                  </a:lnTo>
                  <a:lnTo>
                    <a:pt x="225" y="256"/>
                  </a:lnTo>
                  <a:lnTo>
                    <a:pt x="225" y="258"/>
                  </a:lnTo>
                  <a:lnTo>
                    <a:pt x="225" y="258"/>
                  </a:lnTo>
                  <a:lnTo>
                    <a:pt x="227" y="260"/>
                  </a:lnTo>
                  <a:lnTo>
                    <a:pt x="227" y="260"/>
                  </a:lnTo>
                  <a:lnTo>
                    <a:pt x="227" y="262"/>
                  </a:lnTo>
                  <a:lnTo>
                    <a:pt x="227" y="262"/>
                  </a:lnTo>
                  <a:lnTo>
                    <a:pt x="227" y="265"/>
                  </a:lnTo>
                  <a:lnTo>
                    <a:pt x="227" y="265"/>
                  </a:lnTo>
                  <a:lnTo>
                    <a:pt x="221" y="269"/>
                  </a:lnTo>
                  <a:lnTo>
                    <a:pt x="221" y="269"/>
                  </a:lnTo>
                  <a:lnTo>
                    <a:pt x="221" y="269"/>
                  </a:lnTo>
                  <a:lnTo>
                    <a:pt x="219" y="269"/>
                  </a:lnTo>
                  <a:lnTo>
                    <a:pt x="219" y="269"/>
                  </a:lnTo>
                  <a:lnTo>
                    <a:pt x="217" y="269"/>
                  </a:lnTo>
                  <a:lnTo>
                    <a:pt x="215" y="271"/>
                  </a:lnTo>
                  <a:lnTo>
                    <a:pt x="215" y="271"/>
                  </a:lnTo>
                  <a:lnTo>
                    <a:pt x="207" y="273"/>
                  </a:lnTo>
                  <a:lnTo>
                    <a:pt x="200" y="277"/>
                  </a:lnTo>
                  <a:lnTo>
                    <a:pt x="198" y="279"/>
                  </a:lnTo>
                  <a:lnTo>
                    <a:pt x="198" y="277"/>
                  </a:lnTo>
                  <a:lnTo>
                    <a:pt x="198" y="277"/>
                  </a:lnTo>
                  <a:lnTo>
                    <a:pt x="198" y="277"/>
                  </a:lnTo>
                  <a:lnTo>
                    <a:pt x="198" y="277"/>
                  </a:lnTo>
                  <a:lnTo>
                    <a:pt x="198" y="277"/>
                  </a:lnTo>
                  <a:lnTo>
                    <a:pt x="196" y="277"/>
                  </a:lnTo>
                  <a:lnTo>
                    <a:pt x="196" y="275"/>
                  </a:lnTo>
                  <a:lnTo>
                    <a:pt x="192" y="273"/>
                  </a:lnTo>
                  <a:lnTo>
                    <a:pt x="190" y="273"/>
                  </a:lnTo>
                  <a:lnTo>
                    <a:pt x="190" y="273"/>
                  </a:lnTo>
                  <a:lnTo>
                    <a:pt x="188" y="271"/>
                  </a:lnTo>
                  <a:lnTo>
                    <a:pt x="188" y="271"/>
                  </a:lnTo>
                  <a:lnTo>
                    <a:pt x="188" y="271"/>
                  </a:lnTo>
                  <a:lnTo>
                    <a:pt x="186" y="271"/>
                  </a:lnTo>
                  <a:lnTo>
                    <a:pt x="186" y="271"/>
                  </a:lnTo>
                  <a:lnTo>
                    <a:pt x="184" y="271"/>
                  </a:lnTo>
                  <a:lnTo>
                    <a:pt x="184" y="271"/>
                  </a:lnTo>
                  <a:lnTo>
                    <a:pt x="184" y="273"/>
                  </a:lnTo>
                  <a:lnTo>
                    <a:pt x="184" y="273"/>
                  </a:lnTo>
                  <a:lnTo>
                    <a:pt x="184" y="275"/>
                  </a:lnTo>
                  <a:lnTo>
                    <a:pt x="184" y="275"/>
                  </a:lnTo>
                  <a:lnTo>
                    <a:pt x="182" y="277"/>
                  </a:lnTo>
                  <a:lnTo>
                    <a:pt x="182" y="277"/>
                  </a:lnTo>
                  <a:lnTo>
                    <a:pt x="182" y="279"/>
                  </a:lnTo>
                  <a:lnTo>
                    <a:pt x="178" y="279"/>
                  </a:lnTo>
                  <a:lnTo>
                    <a:pt x="176" y="279"/>
                  </a:lnTo>
                  <a:lnTo>
                    <a:pt x="176" y="279"/>
                  </a:lnTo>
                  <a:lnTo>
                    <a:pt x="176" y="281"/>
                  </a:lnTo>
                  <a:lnTo>
                    <a:pt x="172" y="285"/>
                  </a:lnTo>
                  <a:lnTo>
                    <a:pt x="172" y="287"/>
                  </a:lnTo>
                  <a:lnTo>
                    <a:pt x="172" y="287"/>
                  </a:lnTo>
                  <a:lnTo>
                    <a:pt x="170" y="287"/>
                  </a:lnTo>
                  <a:lnTo>
                    <a:pt x="164" y="287"/>
                  </a:lnTo>
                  <a:lnTo>
                    <a:pt x="164" y="287"/>
                  </a:lnTo>
                  <a:lnTo>
                    <a:pt x="159" y="287"/>
                  </a:lnTo>
                  <a:lnTo>
                    <a:pt x="157" y="285"/>
                  </a:lnTo>
                  <a:lnTo>
                    <a:pt x="157" y="285"/>
                  </a:lnTo>
                  <a:lnTo>
                    <a:pt x="155" y="285"/>
                  </a:lnTo>
                  <a:lnTo>
                    <a:pt x="153" y="283"/>
                  </a:lnTo>
                  <a:lnTo>
                    <a:pt x="153" y="283"/>
                  </a:lnTo>
                  <a:lnTo>
                    <a:pt x="153" y="283"/>
                  </a:lnTo>
                  <a:lnTo>
                    <a:pt x="153" y="281"/>
                  </a:lnTo>
                  <a:lnTo>
                    <a:pt x="153" y="281"/>
                  </a:lnTo>
                  <a:lnTo>
                    <a:pt x="151" y="281"/>
                  </a:lnTo>
                  <a:lnTo>
                    <a:pt x="149" y="281"/>
                  </a:lnTo>
                  <a:lnTo>
                    <a:pt x="149" y="281"/>
                  </a:lnTo>
                  <a:lnTo>
                    <a:pt x="147" y="283"/>
                  </a:lnTo>
                  <a:lnTo>
                    <a:pt x="147" y="281"/>
                  </a:lnTo>
                  <a:lnTo>
                    <a:pt x="145" y="281"/>
                  </a:lnTo>
                  <a:lnTo>
                    <a:pt x="145" y="281"/>
                  </a:lnTo>
                  <a:lnTo>
                    <a:pt x="145" y="281"/>
                  </a:lnTo>
                  <a:lnTo>
                    <a:pt x="145" y="281"/>
                  </a:lnTo>
                  <a:lnTo>
                    <a:pt x="143" y="279"/>
                  </a:lnTo>
                  <a:lnTo>
                    <a:pt x="143" y="279"/>
                  </a:lnTo>
                  <a:lnTo>
                    <a:pt x="143" y="277"/>
                  </a:lnTo>
                  <a:lnTo>
                    <a:pt x="141" y="277"/>
                  </a:lnTo>
                  <a:lnTo>
                    <a:pt x="137" y="275"/>
                  </a:lnTo>
                  <a:lnTo>
                    <a:pt x="137" y="275"/>
                  </a:lnTo>
                  <a:lnTo>
                    <a:pt x="137" y="275"/>
                  </a:lnTo>
                  <a:lnTo>
                    <a:pt x="137" y="273"/>
                  </a:lnTo>
                  <a:lnTo>
                    <a:pt x="137" y="273"/>
                  </a:lnTo>
                  <a:lnTo>
                    <a:pt x="135" y="273"/>
                  </a:lnTo>
                  <a:lnTo>
                    <a:pt x="135" y="271"/>
                  </a:lnTo>
                  <a:lnTo>
                    <a:pt x="135" y="269"/>
                  </a:lnTo>
                  <a:lnTo>
                    <a:pt x="135" y="269"/>
                  </a:lnTo>
                  <a:lnTo>
                    <a:pt x="135" y="269"/>
                  </a:lnTo>
                  <a:lnTo>
                    <a:pt x="135" y="269"/>
                  </a:lnTo>
                  <a:lnTo>
                    <a:pt x="135" y="267"/>
                  </a:lnTo>
                  <a:lnTo>
                    <a:pt x="135" y="267"/>
                  </a:lnTo>
                  <a:lnTo>
                    <a:pt x="135" y="267"/>
                  </a:lnTo>
                  <a:lnTo>
                    <a:pt x="131" y="265"/>
                  </a:lnTo>
                  <a:lnTo>
                    <a:pt x="131" y="265"/>
                  </a:lnTo>
                  <a:lnTo>
                    <a:pt x="131" y="265"/>
                  </a:lnTo>
                  <a:lnTo>
                    <a:pt x="131" y="265"/>
                  </a:lnTo>
                  <a:lnTo>
                    <a:pt x="131" y="262"/>
                  </a:lnTo>
                  <a:lnTo>
                    <a:pt x="131" y="262"/>
                  </a:lnTo>
                  <a:lnTo>
                    <a:pt x="133" y="260"/>
                  </a:lnTo>
                  <a:lnTo>
                    <a:pt x="133" y="260"/>
                  </a:lnTo>
                  <a:lnTo>
                    <a:pt x="133" y="260"/>
                  </a:lnTo>
                  <a:lnTo>
                    <a:pt x="133" y="260"/>
                  </a:lnTo>
                  <a:lnTo>
                    <a:pt x="133" y="260"/>
                  </a:lnTo>
                  <a:lnTo>
                    <a:pt x="133" y="258"/>
                  </a:lnTo>
                  <a:lnTo>
                    <a:pt x="133" y="258"/>
                  </a:lnTo>
                  <a:lnTo>
                    <a:pt x="131" y="258"/>
                  </a:lnTo>
                  <a:lnTo>
                    <a:pt x="131" y="258"/>
                  </a:lnTo>
                  <a:lnTo>
                    <a:pt x="131" y="256"/>
                  </a:lnTo>
                  <a:lnTo>
                    <a:pt x="127" y="262"/>
                  </a:lnTo>
                  <a:lnTo>
                    <a:pt x="121" y="269"/>
                  </a:lnTo>
                  <a:lnTo>
                    <a:pt x="116" y="275"/>
                  </a:lnTo>
                  <a:lnTo>
                    <a:pt x="108" y="283"/>
                  </a:lnTo>
                  <a:lnTo>
                    <a:pt x="102" y="291"/>
                  </a:lnTo>
                  <a:lnTo>
                    <a:pt x="100" y="291"/>
                  </a:lnTo>
                  <a:lnTo>
                    <a:pt x="94" y="295"/>
                  </a:lnTo>
                  <a:lnTo>
                    <a:pt x="88" y="299"/>
                  </a:lnTo>
                  <a:lnTo>
                    <a:pt x="80" y="306"/>
                  </a:lnTo>
                  <a:lnTo>
                    <a:pt x="75" y="310"/>
                  </a:lnTo>
                  <a:lnTo>
                    <a:pt x="75" y="312"/>
                  </a:lnTo>
                  <a:lnTo>
                    <a:pt x="73" y="312"/>
                  </a:lnTo>
                  <a:lnTo>
                    <a:pt x="75" y="314"/>
                  </a:lnTo>
                  <a:lnTo>
                    <a:pt x="75" y="316"/>
                  </a:lnTo>
                  <a:lnTo>
                    <a:pt x="75" y="318"/>
                  </a:lnTo>
                  <a:lnTo>
                    <a:pt x="75" y="318"/>
                  </a:lnTo>
                  <a:lnTo>
                    <a:pt x="75" y="318"/>
                  </a:lnTo>
                  <a:lnTo>
                    <a:pt x="75" y="320"/>
                  </a:lnTo>
                  <a:lnTo>
                    <a:pt x="75" y="320"/>
                  </a:lnTo>
                  <a:lnTo>
                    <a:pt x="75" y="320"/>
                  </a:lnTo>
                  <a:lnTo>
                    <a:pt x="73" y="320"/>
                  </a:lnTo>
                  <a:lnTo>
                    <a:pt x="67" y="326"/>
                  </a:lnTo>
                  <a:lnTo>
                    <a:pt x="65" y="328"/>
                  </a:lnTo>
                  <a:lnTo>
                    <a:pt x="65" y="328"/>
                  </a:lnTo>
                  <a:lnTo>
                    <a:pt x="63" y="330"/>
                  </a:lnTo>
                  <a:lnTo>
                    <a:pt x="65" y="332"/>
                  </a:lnTo>
                  <a:lnTo>
                    <a:pt x="65" y="332"/>
                  </a:lnTo>
                  <a:lnTo>
                    <a:pt x="65" y="332"/>
                  </a:lnTo>
                  <a:lnTo>
                    <a:pt x="65" y="334"/>
                  </a:lnTo>
                  <a:lnTo>
                    <a:pt x="65" y="334"/>
                  </a:lnTo>
                  <a:lnTo>
                    <a:pt x="65" y="336"/>
                  </a:lnTo>
                  <a:lnTo>
                    <a:pt x="65" y="336"/>
                  </a:lnTo>
                  <a:lnTo>
                    <a:pt x="65" y="336"/>
                  </a:lnTo>
                  <a:lnTo>
                    <a:pt x="63" y="338"/>
                  </a:lnTo>
                  <a:lnTo>
                    <a:pt x="63" y="338"/>
                  </a:lnTo>
                  <a:lnTo>
                    <a:pt x="57" y="340"/>
                  </a:lnTo>
                  <a:lnTo>
                    <a:pt x="53" y="344"/>
                  </a:lnTo>
                  <a:lnTo>
                    <a:pt x="49" y="344"/>
                  </a:lnTo>
                  <a:lnTo>
                    <a:pt x="49" y="344"/>
                  </a:lnTo>
                  <a:lnTo>
                    <a:pt x="49" y="344"/>
                  </a:lnTo>
                  <a:lnTo>
                    <a:pt x="47" y="347"/>
                  </a:lnTo>
                  <a:lnTo>
                    <a:pt x="47" y="351"/>
                  </a:lnTo>
                  <a:lnTo>
                    <a:pt x="45" y="353"/>
                  </a:lnTo>
                  <a:lnTo>
                    <a:pt x="45" y="353"/>
                  </a:lnTo>
                  <a:lnTo>
                    <a:pt x="45" y="353"/>
                  </a:lnTo>
                  <a:lnTo>
                    <a:pt x="45" y="355"/>
                  </a:lnTo>
                  <a:lnTo>
                    <a:pt x="45" y="355"/>
                  </a:lnTo>
                  <a:lnTo>
                    <a:pt x="45" y="355"/>
                  </a:lnTo>
                  <a:lnTo>
                    <a:pt x="45" y="357"/>
                  </a:lnTo>
                  <a:lnTo>
                    <a:pt x="45" y="357"/>
                  </a:lnTo>
                  <a:lnTo>
                    <a:pt x="43" y="357"/>
                  </a:lnTo>
                  <a:lnTo>
                    <a:pt x="35" y="359"/>
                  </a:lnTo>
                  <a:lnTo>
                    <a:pt x="26" y="363"/>
                  </a:lnTo>
                  <a:lnTo>
                    <a:pt x="24" y="367"/>
                  </a:lnTo>
                  <a:lnTo>
                    <a:pt x="22" y="367"/>
                  </a:lnTo>
                  <a:lnTo>
                    <a:pt x="22" y="367"/>
                  </a:lnTo>
                  <a:lnTo>
                    <a:pt x="20" y="369"/>
                  </a:lnTo>
                  <a:lnTo>
                    <a:pt x="12" y="371"/>
                  </a:lnTo>
                  <a:lnTo>
                    <a:pt x="6" y="375"/>
                  </a:lnTo>
                  <a:lnTo>
                    <a:pt x="6" y="375"/>
                  </a:lnTo>
                  <a:lnTo>
                    <a:pt x="4" y="375"/>
                  </a:lnTo>
                  <a:lnTo>
                    <a:pt x="0" y="379"/>
                  </a:lnTo>
                  <a:lnTo>
                    <a:pt x="10" y="377"/>
                  </a:lnTo>
                  <a:lnTo>
                    <a:pt x="18" y="377"/>
                  </a:lnTo>
                  <a:lnTo>
                    <a:pt x="37" y="373"/>
                  </a:lnTo>
                  <a:lnTo>
                    <a:pt x="45" y="373"/>
                  </a:lnTo>
                  <a:lnTo>
                    <a:pt x="55" y="371"/>
                  </a:lnTo>
                  <a:lnTo>
                    <a:pt x="63" y="371"/>
                  </a:lnTo>
                  <a:lnTo>
                    <a:pt x="71" y="369"/>
                  </a:lnTo>
                  <a:lnTo>
                    <a:pt x="82" y="367"/>
                  </a:lnTo>
                  <a:lnTo>
                    <a:pt x="90" y="367"/>
                  </a:lnTo>
                  <a:lnTo>
                    <a:pt x="100" y="365"/>
                  </a:lnTo>
                  <a:lnTo>
                    <a:pt x="108" y="363"/>
                  </a:lnTo>
                  <a:lnTo>
                    <a:pt x="116" y="361"/>
                  </a:lnTo>
                  <a:lnTo>
                    <a:pt x="127" y="361"/>
                  </a:lnTo>
                  <a:lnTo>
                    <a:pt x="135" y="359"/>
                  </a:lnTo>
                  <a:lnTo>
                    <a:pt x="143" y="357"/>
                  </a:lnTo>
                  <a:lnTo>
                    <a:pt x="147" y="357"/>
                  </a:lnTo>
                  <a:lnTo>
                    <a:pt x="149" y="357"/>
                  </a:lnTo>
                  <a:lnTo>
                    <a:pt x="151" y="355"/>
                  </a:lnTo>
                  <a:lnTo>
                    <a:pt x="151" y="355"/>
                  </a:lnTo>
                  <a:lnTo>
                    <a:pt x="151" y="355"/>
                  </a:lnTo>
                  <a:lnTo>
                    <a:pt x="157" y="353"/>
                  </a:lnTo>
                  <a:lnTo>
                    <a:pt x="166" y="353"/>
                  </a:lnTo>
                  <a:lnTo>
                    <a:pt x="174" y="351"/>
                  </a:lnTo>
                  <a:lnTo>
                    <a:pt x="174" y="353"/>
                  </a:lnTo>
                  <a:lnTo>
                    <a:pt x="174" y="353"/>
                  </a:lnTo>
                  <a:lnTo>
                    <a:pt x="176" y="353"/>
                  </a:lnTo>
                  <a:lnTo>
                    <a:pt x="176" y="353"/>
                  </a:lnTo>
                  <a:lnTo>
                    <a:pt x="192" y="351"/>
                  </a:lnTo>
                  <a:lnTo>
                    <a:pt x="207" y="349"/>
                  </a:lnTo>
                  <a:lnTo>
                    <a:pt x="221" y="344"/>
                  </a:lnTo>
                  <a:lnTo>
                    <a:pt x="237" y="342"/>
                  </a:lnTo>
                  <a:lnTo>
                    <a:pt x="252" y="340"/>
                  </a:lnTo>
                  <a:lnTo>
                    <a:pt x="266" y="338"/>
                  </a:lnTo>
                  <a:lnTo>
                    <a:pt x="282" y="336"/>
                  </a:lnTo>
                  <a:lnTo>
                    <a:pt x="297" y="332"/>
                  </a:lnTo>
                  <a:lnTo>
                    <a:pt x="311" y="330"/>
                  </a:lnTo>
                  <a:lnTo>
                    <a:pt x="327" y="328"/>
                  </a:lnTo>
                  <a:lnTo>
                    <a:pt x="342" y="326"/>
                  </a:lnTo>
                  <a:lnTo>
                    <a:pt x="356" y="322"/>
                  </a:lnTo>
                  <a:lnTo>
                    <a:pt x="372" y="320"/>
                  </a:lnTo>
                  <a:lnTo>
                    <a:pt x="387" y="318"/>
                  </a:lnTo>
                  <a:lnTo>
                    <a:pt x="401" y="314"/>
                  </a:lnTo>
                  <a:lnTo>
                    <a:pt x="417" y="312"/>
                  </a:lnTo>
                  <a:lnTo>
                    <a:pt x="432" y="310"/>
                  </a:lnTo>
                  <a:lnTo>
                    <a:pt x="446" y="306"/>
                  </a:lnTo>
                  <a:lnTo>
                    <a:pt x="461" y="303"/>
                  </a:lnTo>
                  <a:lnTo>
                    <a:pt x="477" y="301"/>
                  </a:lnTo>
                  <a:lnTo>
                    <a:pt x="491" y="297"/>
                  </a:lnTo>
                  <a:lnTo>
                    <a:pt x="506" y="295"/>
                  </a:lnTo>
                  <a:lnTo>
                    <a:pt x="522" y="291"/>
                  </a:lnTo>
                  <a:lnTo>
                    <a:pt x="536" y="289"/>
                  </a:lnTo>
                  <a:lnTo>
                    <a:pt x="551" y="285"/>
                  </a:lnTo>
                  <a:lnTo>
                    <a:pt x="567" y="283"/>
                  </a:lnTo>
                  <a:lnTo>
                    <a:pt x="581" y="279"/>
                  </a:lnTo>
                  <a:lnTo>
                    <a:pt x="596" y="277"/>
                  </a:lnTo>
                  <a:lnTo>
                    <a:pt x="610" y="275"/>
                  </a:lnTo>
                  <a:lnTo>
                    <a:pt x="626" y="271"/>
                  </a:lnTo>
                  <a:lnTo>
                    <a:pt x="641" y="269"/>
                  </a:lnTo>
                  <a:lnTo>
                    <a:pt x="653" y="265"/>
                  </a:lnTo>
                  <a:lnTo>
                    <a:pt x="655" y="265"/>
                  </a:lnTo>
                  <a:lnTo>
                    <a:pt x="655" y="265"/>
                  </a:lnTo>
                  <a:lnTo>
                    <a:pt x="655" y="262"/>
                  </a:lnTo>
                  <a:lnTo>
                    <a:pt x="653" y="262"/>
                  </a:lnTo>
                  <a:lnTo>
                    <a:pt x="653" y="260"/>
                  </a:lnTo>
                  <a:lnTo>
                    <a:pt x="657" y="265"/>
                  </a:lnTo>
                  <a:lnTo>
                    <a:pt x="661" y="262"/>
                  </a:lnTo>
                  <a:lnTo>
                    <a:pt x="661" y="262"/>
                  </a:lnTo>
                  <a:lnTo>
                    <a:pt x="659" y="258"/>
                  </a:lnTo>
                  <a:lnTo>
                    <a:pt x="657" y="246"/>
                  </a:lnTo>
                  <a:lnTo>
                    <a:pt x="657" y="246"/>
                  </a:lnTo>
                  <a:lnTo>
                    <a:pt x="659" y="246"/>
                  </a:lnTo>
                  <a:lnTo>
                    <a:pt x="659" y="246"/>
                  </a:lnTo>
                  <a:lnTo>
                    <a:pt x="661" y="246"/>
                  </a:lnTo>
                  <a:lnTo>
                    <a:pt x="661" y="248"/>
                  </a:lnTo>
                  <a:lnTo>
                    <a:pt x="665" y="254"/>
                  </a:lnTo>
                  <a:lnTo>
                    <a:pt x="665" y="254"/>
                  </a:lnTo>
                  <a:lnTo>
                    <a:pt x="667" y="256"/>
                  </a:lnTo>
                  <a:lnTo>
                    <a:pt x="667" y="256"/>
                  </a:lnTo>
                  <a:lnTo>
                    <a:pt x="667" y="258"/>
                  </a:lnTo>
                  <a:lnTo>
                    <a:pt x="667" y="258"/>
                  </a:lnTo>
                  <a:lnTo>
                    <a:pt x="667" y="260"/>
                  </a:lnTo>
                  <a:lnTo>
                    <a:pt x="669" y="262"/>
                  </a:lnTo>
                  <a:lnTo>
                    <a:pt x="669" y="262"/>
                  </a:lnTo>
                  <a:lnTo>
                    <a:pt x="671" y="260"/>
                  </a:lnTo>
                  <a:lnTo>
                    <a:pt x="669" y="256"/>
                  </a:lnTo>
                  <a:lnTo>
                    <a:pt x="655" y="236"/>
                  </a:lnTo>
                  <a:close/>
                </a:path>
              </a:pathLst>
            </a:custGeom>
            <a:solidFill>
              <a:schemeClr val="accent1"/>
            </a:solidFill>
            <a:ln w="3175" cap="rnd">
              <a:solidFill>
                <a:schemeClr val="bg1"/>
              </a:solidFill>
              <a:prstDash val="solid"/>
              <a:round/>
              <a:headEnd/>
              <a:tailEnd/>
            </a:ln>
          </p:spPr>
          <p:txBody>
            <a:bodyPr vert="horz" wrap="square" lIns="19200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VA</a:t>
              </a:r>
            </a:p>
          </p:txBody>
        </p:sp>
        <p:sp>
          <p:nvSpPr>
            <p:cNvPr id="249" name="Freeform 11">
              <a:extLst>
                <a:ext uri="{FF2B5EF4-FFF2-40B4-BE49-F238E27FC236}">
                  <a16:creationId xmlns:a16="http://schemas.microsoft.com/office/drawing/2014/main" id="{9E0C3B7D-B752-48E8-CBDA-025D3A22B330}"/>
                </a:ext>
              </a:extLst>
            </p:cNvPr>
            <p:cNvSpPr>
              <a:spLocks/>
            </p:cNvSpPr>
            <p:nvPr/>
          </p:nvSpPr>
          <p:spPr bwMode="auto">
            <a:xfrm>
              <a:off x="1511" y="836"/>
              <a:ext cx="467" cy="576"/>
            </a:xfrm>
            <a:custGeom>
              <a:avLst/>
              <a:gdLst>
                <a:gd name="T0" fmla="*/ 309 w 467"/>
                <a:gd name="T1" fmla="*/ 41 h 576"/>
                <a:gd name="T2" fmla="*/ 307 w 467"/>
                <a:gd name="T3" fmla="*/ 62 h 576"/>
                <a:gd name="T4" fmla="*/ 307 w 467"/>
                <a:gd name="T5" fmla="*/ 80 h 576"/>
                <a:gd name="T6" fmla="*/ 305 w 467"/>
                <a:gd name="T7" fmla="*/ 101 h 576"/>
                <a:gd name="T8" fmla="*/ 303 w 467"/>
                <a:gd name="T9" fmla="*/ 121 h 576"/>
                <a:gd name="T10" fmla="*/ 301 w 467"/>
                <a:gd name="T11" fmla="*/ 133 h 576"/>
                <a:gd name="T12" fmla="*/ 301 w 467"/>
                <a:gd name="T13" fmla="*/ 133 h 576"/>
                <a:gd name="T14" fmla="*/ 301 w 467"/>
                <a:gd name="T15" fmla="*/ 133 h 576"/>
                <a:gd name="T16" fmla="*/ 332 w 467"/>
                <a:gd name="T17" fmla="*/ 137 h 576"/>
                <a:gd name="T18" fmla="*/ 362 w 467"/>
                <a:gd name="T19" fmla="*/ 140 h 576"/>
                <a:gd name="T20" fmla="*/ 393 w 467"/>
                <a:gd name="T21" fmla="*/ 142 h 576"/>
                <a:gd name="T22" fmla="*/ 424 w 467"/>
                <a:gd name="T23" fmla="*/ 146 h 576"/>
                <a:gd name="T24" fmla="*/ 457 w 467"/>
                <a:gd name="T25" fmla="*/ 148 h 576"/>
                <a:gd name="T26" fmla="*/ 465 w 467"/>
                <a:gd name="T27" fmla="*/ 174 h 576"/>
                <a:gd name="T28" fmla="*/ 461 w 467"/>
                <a:gd name="T29" fmla="*/ 215 h 576"/>
                <a:gd name="T30" fmla="*/ 457 w 467"/>
                <a:gd name="T31" fmla="*/ 254 h 576"/>
                <a:gd name="T32" fmla="*/ 455 w 467"/>
                <a:gd name="T33" fmla="*/ 295 h 576"/>
                <a:gd name="T34" fmla="*/ 451 w 467"/>
                <a:gd name="T35" fmla="*/ 334 h 576"/>
                <a:gd name="T36" fmla="*/ 448 w 467"/>
                <a:gd name="T37" fmla="*/ 375 h 576"/>
                <a:gd name="T38" fmla="*/ 444 w 467"/>
                <a:gd name="T39" fmla="*/ 414 h 576"/>
                <a:gd name="T40" fmla="*/ 440 w 467"/>
                <a:gd name="T41" fmla="*/ 455 h 576"/>
                <a:gd name="T42" fmla="*/ 438 w 467"/>
                <a:gd name="T43" fmla="*/ 496 h 576"/>
                <a:gd name="T44" fmla="*/ 434 w 467"/>
                <a:gd name="T45" fmla="*/ 535 h 576"/>
                <a:gd name="T46" fmla="*/ 432 w 467"/>
                <a:gd name="T47" fmla="*/ 576 h 576"/>
                <a:gd name="T48" fmla="*/ 391 w 467"/>
                <a:gd name="T49" fmla="*/ 572 h 576"/>
                <a:gd name="T50" fmla="*/ 350 w 467"/>
                <a:gd name="T51" fmla="*/ 568 h 576"/>
                <a:gd name="T52" fmla="*/ 309 w 467"/>
                <a:gd name="T53" fmla="*/ 564 h 576"/>
                <a:gd name="T54" fmla="*/ 270 w 467"/>
                <a:gd name="T55" fmla="*/ 562 h 576"/>
                <a:gd name="T56" fmla="*/ 229 w 467"/>
                <a:gd name="T57" fmla="*/ 558 h 576"/>
                <a:gd name="T58" fmla="*/ 188 w 467"/>
                <a:gd name="T59" fmla="*/ 551 h 576"/>
                <a:gd name="T60" fmla="*/ 149 w 467"/>
                <a:gd name="T61" fmla="*/ 547 h 576"/>
                <a:gd name="T62" fmla="*/ 108 w 467"/>
                <a:gd name="T63" fmla="*/ 543 h 576"/>
                <a:gd name="T64" fmla="*/ 68 w 467"/>
                <a:gd name="T65" fmla="*/ 539 h 576"/>
                <a:gd name="T66" fmla="*/ 27 w 467"/>
                <a:gd name="T67" fmla="*/ 533 h 576"/>
                <a:gd name="T68" fmla="*/ 2 w 467"/>
                <a:gd name="T69" fmla="*/ 513 h 576"/>
                <a:gd name="T70" fmla="*/ 8 w 467"/>
                <a:gd name="T71" fmla="*/ 463 h 576"/>
                <a:gd name="T72" fmla="*/ 16 w 467"/>
                <a:gd name="T73" fmla="*/ 414 h 576"/>
                <a:gd name="T74" fmla="*/ 22 w 467"/>
                <a:gd name="T75" fmla="*/ 363 h 576"/>
                <a:gd name="T76" fmla="*/ 29 w 467"/>
                <a:gd name="T77" fmla="*/ 314 h 576"/>
                <a:gd name="T78" fmla="*/ 35 w 467"/>
                <a:gd name="T79" fmla="*/ 265 h 576"/>
                <a:gd name="T80" fmla="*/ 41 w 467"/>
                <a:gd name="T81" fmla="*/ 215 h 576"/>
                <a:gd name="T82" fmla="*/ 47 w 467"/>
                <a:gd name="T83" fmla="*/ 164 h 576"/>
                <a:gd name="T84" fmla="*/ 53 w 467"/>
                <a:gd name="T85" fmla="*/ 115 h 576"/>
                <a:gd name="T86" fmla="*/ 59 w 467"/>
                <a:gd name="T87" fmla="*/ 66 h 576"/>
                <a:gd name="T88" fmla="*/ 65 w 467"/>
                <a:gd name="T89" fmla="*/ 17 h 576"/>
                <a:gd name="T90" fmla="*/ 98 w 467"/>
                <a:gd name="T91" fmla="*/ 4 h 576"/>
                <a:gd name="T92" fmla="*/ 143 w 467"/>
                <a:gd name="T93" fmla="*/ 10 h 576"/>
                <a:gd name="T94" fmla="*/ 190 w 467"/>
                <a:gd name="T95" fmla="*/ 15 h 576"/>
                <a:gd name="T96" fmla="*/ 235 w 467"/>
                <a:gd name="T97" fmla="*/ 21 h 576"/>
                <a:gd name="T98" fmla="*/ 281 w 467"/>
                <a:gd name="T99" fmla="*/ 25 h 576"/>
                <a:gd name="T100" fmla="*/ 311 w 467"/>
                <a:gd name="T101" fmla="*/ 29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7" h="576">
                  <a:moveTo>
                    <a:pt x="311" y="29"/>
                  </a:moveTo>
                  <a:lnTo>
                    <a:pt x="311" y="35"/>
                  </a:lnTo>
                  <a:lnTo>
                    <a:pt x="309" y="41"/>
                  </a:lnTo>
                  <a:lnTo>
                    <a:pt x="309" y="47"/>
                  </a:lnTo>
                  <a:lnTo>
                    <a:pt x="309" y="53"/>
                  </a:lnTo>
                  <a:lnTo>
                    <a:pt x="307" y="62"/>
                  </a:lnTo>
                  <a:lnTo>
                    <a:pt x="307" y="68"/>
                  </a:lnTo>
                  <a:lnTo>
                    <a:pt x="307" y="74"/>
                  </a:lnTo>
                  <a:lnTo>
                    <a:pt x="307" y="80"/>
                  </a:lnTo>
                  <a:lnTo>
                    <a:pt x="305" y="88"/>
                  </a:lnTo>
                  <a:lnTo>
                    <a:pt x="305" y="94"/>
                  </a:lnTo>
                  <a:lnTo>
                    <a:pt x="305" y="101"/>
                  </a:lnTo>
                  <a:lnTo>
                    <a:pt x="303" y="107"/>
                  </a:lnTo>
                  <a:lnTo>
                    <a:pt x="303" y="113"/>
                  </a:lnTo>
                  <a:lnTo>
                    <a:pt x="303" y="121"/>
                  </a:lnTo>
                  <a:lnTo>
                    <a:pt x="301" y="127"/>
                  </a:lnTo>
                  <a:lnTo>
                    <a:pt x="301" y="133"/>
                  </a:lnTo>
                  <a:lnTo>
                    <a:pt x="301" y="133"/>
                  </a:lnTo>
                  <a:lnTo>
                    <a:pt x="301" y="133"/>
                  </a:lnTo>
                  <a:lnTo>
                    <a:pt x="301" y="133"/>
                  </a:lnTo>
                  <a:lnTo>
                    <a:pt x="301" y="133"/>
                  </a:lnTo>
                  <a:lnTo>
                    <a:pt x="301" y="133"/>
                  </a:lnTo>
                  <a:lnTo>
                    <a:pt x="301" y="133"/>
                  </a:lnTo>
                  <a:lnTo>
                    <a:pt x="301" y="133"/>
                  </a:lnTo>
                  <a:lnTo>
                    <a:pt x="311" y="135"/>
                  </a:lnTo>
                  <a:lnTo>
                    <a:pt x="321" y="135"/>
                  </a:lnTo>
                  <a:lnTo>
                    <a:pt x="332" y="137"/>
                  </a:lnTo>
                  <a:lnTo>
                    <a:pt x="342" y="137"/>
                  </a:lnTo>
                  <a:lnTo>
                    <a:pt x="352" y="140"/>
                  </a:lnTo>
                  <a:lnTo>
                    <a:pt x="362" y="140"/>
                  </a:lnTo>
                  <a:lnTo>
                    <a:pt x="373" y="142"/>
                  </a:lnTo>
                  <a:lnTo>
                    <a:pt x="383" y="142"/>
                  </a:lnTo>
                  <a:lnTo>
                    <a:pt x="393" y="142"/>
                  </a:lnTo>
                  <a:lnTo>
                    <a:pt x="403" y="144"/>
                  </a:lnTo>
                  <a:lnTo>
                    <a:pt x="414" y="144"/>
                  </a:lnTo>
                  <a:lnTo>
                    <a:pt x="424" y="146"/>
                  </a:lnTo>
                  <a:lnTo>
                    <a:pt x="436" y="146"/>
                  </a:lnTo>
                  <a:lnTo>
                    <a:pt x="446" y="148"/>
                  </a:lnTo>
                  <a:lnTo>
                    <a:pt x="457" y="148"/>
                  </a:lnTo>
                  <a:lnTo>
                    <a:pt x="467" y="150"/>
                  </a:lnTo>
                  <a:lnTo>
                    <a:pt x="465" y="162"/>
                  </a:lnTo>
                  <a:lnTo>
                    <a:pt x="465" y="174"/>
                  </a:lnTo>
                  <a:lnTo>
                    <a:pt x="463" y="189"/>
                  </a:lnTo>
                  <a:lnTo>
                    <a:pt x="463" y="201"/>
                  </a:lnTo>
                  <a:lnTo>
                    <a:pt x="461" y="215"/>
                  </a:lnTo>
                  <a:lnTo>
                    <a:pt x="459" y="228"/>
                  </a:lnTo>
                  <a:lnTo>
                    <a:pt x="459" y="242"/>
                  </a:lnTo>
                  <a:lnTo>
                    <a:pt x="457" y="254"/>
                  </a:lnTo>
                  <a:lnTo>
                    <a:pt x="457" y="269"/>
                  </a:lnTo>
                  <a:lnTo>
                    <a:pt x="455" y="281"/>
                  </a:lnTo>
                  <a:lnTo>
                    <a:pt x="455" y="295"/>
                  </a:lnTo>
                  <a:lnTo>
                    <a:pt x="453" y="308"/>
                  </a:lnTo>
                  <a:lnTo>
                    <a:pt x="453" y="322"/>
                  </a:lnTo>
                  <a:lnTo>
                    <a:pt x="451" y="334"/>
                  </a:lnTo>
                  <a:lnTo>
                    <a:pt x="451" y="349"/>
                  </a:lnTo>
                  <a:lnTo>
                    <a:pt x="448" y="361"/>
                  </a:lnTo>
                  <a:lnTo>
                    <a:pt x="448" y="375"/>
                  </a:lnTo>
                  <a:lnTo>
                    <a:pt x="446" y="388"/>
                  </a:lnTo>
                  <a:lnTo>
                    <a:pt x="446" y="402"/>
                  </a:lnTo>
                  <a:lnTo>
                    <a:pt x="444" y="414"/>
                  </a:lnTo>
                  <a:lnTo>
                    <a:pt x="442" y="428"/>
                  </a:lnTo>
                  <a:lnTo>
                    <a:pt x="442" y="441"/>
                  </a:lnTo>
                  <a:lnTo>
                    <a:pt x="440" y="455"/>
                  </a:lnTo>
                  <a:lnTo>
                    <a:pt x="440" y="469"/>
                  </a:lnTo>
                  <a:lnTo>
                    <a:pt x="438" y="482"/>
                  </a:lnTo>
                  <a:lnTo>
                    <a:pt x="438" y="496"/>
                  </a:lnTo>
                  <a:lnTo>
                    <a:pt x="436" y="508"/>
                  </a:lnTo>
                  <a:lnTo>
                    <a:pt x="436" y="523"/>
                  </a:lnTo>
                  <a:lnTo>
                    <a:pt x="434" y="535"/>
                  </a:lnTo>
                  <a:lnTo>
                    <a:pt x="434" y="549"/>
                  </a:lnTo>
                  <a:lnTo>
                    <a:pt x="432" y="562"/>
                  </a:lnTo>
                  <a:lnTo>
                    <a:pt x="432" y="576"/>
                  </a:lnTo>
                  <a:lnTo>
                    <a:pt x="418" y="574"/>
                  </a:lnTo>
                  <a:lnTo>
                    <a:pt x="403" y="574"/>
                  </a:lnTo>
                  <a:lnTo>
                    <a:pt x="391" y="572"/>
                  </a:lnTo>
                  <a:lnTo>
                    <a:pt x="377" y="570"/>
                  </a:lnTo>
                  <a:lnTo>
                    <a:pt x="364" y="570"/>
                  </a:lnTo>
                  <a:lnTo>
                    <a:pt x="350" y="568"/>
                  </a:lnTo>
                  <a:lnTo>
                    <a:pt x="338" y="568"/>
                  </a:lnTo>
                  <a:lnTo>
                    <a:pt x="324" y="566"/>
                  </a:lnTo>
                  <a:lnTo>
                    <a:pt x="309" y="564"/>
                  </a:lnTo>
                  <a:lnTo>
                    <a:pt x="297" y="564"/>
                  </a:lnTo>
                  <a:lnTo>
                    <a:pt x="283" y="562"/>
                  </a:lnTo>
                  <a:lnTo>
                    <a:pt x="270" y="562"/>
                  </a:lnTo>
                  <a:lnTo>
                    <a:pt x="256" y="560"/>
                  </a:lnTo>
                  <a:lnTo>
                    <a:pt x="242" y="558"/>
                  </a:lnTo>
                  <a:lnTo>
                    <a:pt x="229" y="558"/>
                  </a:lnTo>
                  <a:lnTo>
                    <a:pt x="215" y="556"/>
                  </a:lnTo>
                  <a:lnTo>
                    <a:pt x="203" y="554"/>
                  </a:lnTo>
                  <a:lnTo>
                    <a:pt x="188" y="551"/>
                  </a:lnTo>
                  <a:lnTo>
                    <a:pt x="176" y="551"/>
                  </a:lnTo>
                  <a:lnTo>
                    <a:pt x="162" y="549"/>
                  </a:lnTo>
                  <a:lnTo>
                    <a:pt x="149" y="547"/>
                  </a:lnTo>
                  <a:lnTo>
                    <a:pt x="135" y="547"/>
                  </a:lnTo>
                  <a:lnTo>
                    <a:pt x="121" y="545"/>
                  </a:lnTo>
                  <a:lnTo>
                    <a:pt x="108" y="543"/>
                  </a:lnTo>
                  <a:lnTo>
                    <a:pt x="94" y="541"/>
                  </a:lnTo>
                  <a:lnTo>
                    <a:pt x="82" y="539"/>
                  </a:lnTo>
                  <a:lnTo>
                    <a:pt x="68" y="539"/>
                  </a:lnTo>
                  <a:lnTo>
                    <a:pt x="55" y="537"/>
                  </a:lnTo>
                  <a:lnTo>
                    <a:pt x="41" y="535"/>
                  </a:lnTo>
                  <a:lnTo>
                    <a:pt x="27" y="533"/>
                  </a:lnTo>
                  <a:lnTo>
                    <a:pt x="14" y="531"/>
                  </a:lnTo>
                  <a:lnTo>
                    <a:pt x="0" y="531"/>
                  </a:lnTo>
                  <a:lnTo>
                    <a:pt x="2" y="513"/>
                  </a:lnTo>
                  <a:lnTo>
                    <a:pt x="4" y="496"/>
                  </a:lnTo>
                  <a:lnTo>
                    <a:pt x="6" y="480"/>
                  </a:lnTo>
                  <a:lnTo>
                    <a:pt x="8" y="463"/>
                  </a:lnTo>
                  <a:lnTo>
                    <a:pt x="12" y="447"/>
                  </a:lnTo>
                  <a:lnTo>
                    <a:pt x="14" y="431"/>
                  </a:lnTo>
                  <a:lnTo>
                    <a:pt x="16" y="414"/>
                  </a:lnTo>
                  <a:lnTo>
                    <a:pt x="18" y="398"/>
                  </a:lnTo>
                  <a:lnTo>
                    <a:pt x="20" y="381"/>
                  </a:lnTo>
                  <a:lnTo>
                    <a:pt x="22" y="363"/>
                  </a:lnTo>
                  <a:lnTo>
                    <a:pt x="25" y="347"/>
                  </a:lnTo>
                  <a:lnTo>
                    <a:pt x="27" y="330"/>
                  </a:lnTo>
                  <a:lnTo>
                    <a:pt x="29" y="314"/>
                  </a:lnTo>
                  <a:lnTo>
                    <a:pt x="31" y="297"/>
                  </a:lnTo>
                  <a:lnTo>
                    <a:pt x="33" y="281"/>
                  </a:lnTo>
                  <a:lnTo>
                    <a:pt x="35" y="265"/>
                  </a:lnTo>
                  <a:lnTo>
                    <a:pt x="37" y="248"/>
                  </a:lnTo>
                  <a:lnTo>
                    <a:pt x="39" y="232"/>
                  </a:lnTo>
                  <a:lnTo>
                    <a:pt x="41" y="215"/>
                  </a:lnTo>
                  <a:lnTo>
                    <a:pt x="43" y="199"/>
                  </a:lnTo>
                  <a:lnTo>
                    <a:pt x="45" y="183"/>
                  </a:lnTo>
                  <a:lnTo>
                    <a:pt x="47" y="164"/>
                  </a:lnTo>
                  <a:lnTo>
                    <a:pt x="49" y="148"/>
                  </a:lnTo>
                  <a:lnTo>
                    <a:pt x="51" y="131"/>
                  </a:lnTo>
                  <a:lnTo>
                    <a:pt x="53" y="115"/>
                  </a:lnTo>
                  <a:lnTo>
                    <a:pt x="55" y="99"/>
                  </a:lnTo>
                  <a:lnTo>
                    <a:pt x="57" y="82"/>
                  </a:lnTo>
                  <a:lnTo>
                    <a:pt x="59" y="66"/>
                  </a:lnTo>
                  <a:lnTo>
                    <a:pt x="61" y="49"/>
                  </a:lnTo>
                  <a:lnTo>
                    <a:pt x="63" y="33"/>
                  </a:lnTo>
                  <a:lnTo>
                    <a:pt x="65" y="17"/>
                  </a:lnTo>
                  <a:lnTo>
                    <a:pt x="68" y="0"/>
                  </a:lnTo>
                  <a:lnTo>
                    <a:pt x="84" y="2"/>
                  </a:lnTo>
                  <a:lnTo>
                    <a:pt x="98" y="4"/>
                  </a:lnTo>
                  <a:lnTo>
                    <a:pt x="113" y="6"/>
                  </a:lnTo>
                  <a:lnTo>
                    <a:pt x="129" y="8"/>
                  </a:lnTo>
                  <a:lnTo>
                    <a:pt x="143" y="10"/>
                  </a:lnTo>
                  <a:lnTo>
                    <a:pt x="160" y="12"/>
                  </a:lnTo>
                  <a:lnTo>
                    <a:pt x="174" y="12"/>
                  </a:lnTo>
                  <a:lnTo>
                    <a:pt x="190" y="15"/>
                  </a:lnTo>
                  <a:lnTo>
                    <a:pt x="205" y="17"/>
                  </a:lnTo>
                  <a:lnTo>
                    <a:pt x="219" y="19"/>
                  </a:lnTo>
                  <a:lnTo>
                    <a:pt x="235" y="21"/>
                  </a:lnTo>
                  <a:lnTo>
                    <a:pt x="250" y="23"/>
                  </a:lnTo>
                  <a:lnTo>
                    <a:pt x="266" y="23"/>
                  </a:lnTo>
                  <a:lnTo>
                    <a:pt x="281" y="25"/>
                  </a:lnTo>
                  <a:lnTo>
                    <a:pt x="297" y="27"/>
                  </a:lnTo>
                  <a:lnTo>
                    <a:pt x="311" y="29"/>
                  </a:lnTo>
                  <a:lnTo>
                    <a:pt x="311" y="29"/>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UT</a:t>
              </a:r>
            </a:p>
          </p:txBody>
        </p:sp>
        <p:sp>
          <p:nvSpPr>
            <p:cNvPr id="250" name="Freeform 12">
              <a:extLst>
                <a:ext uri="{FF2B5EF4-FFF2-40B4-BE49-F238E27FC236}">
                  <a16:creationId xmlns:a16="http://schemas.microsoft.com/office/drawing/2014/main" id="{3D00593B-FBAE-39C3-899E-5F09498E85AB}"/>
                </a:ext>
              </a:extLst>
            </p:cNvPr>
            <p:cNvSpPr>
              <a:spLocks noEditPoints="1"/>
            </p:cNvSpPr>
            <p:nvPr/>
          </p:nvSpPr>
          <p:spPr bwMode="auto">
            <a:xfrm>
              <a:off x="2121" y="1494"/>
              <a:ext cx="1211" cy="1150"/>
            </a:xfrm>
            <a:custGeom>
              <a:avLst/>
              <a:gdLst>
                <a:gd name="T0" fmla="*/ 862 w 1211"/>
                <a:gd name="T1" fmla="*/ 1016 h 1150"/>
                <a:gd name="T2" fmla="*/ 871 w 1211"/>
                <a:gd name="T3" fmla="*/ 967 h 1150"/>
                <a:gd name="T4" fmla="*/ 895 w 1211"/>
                <a:gd name="T5" fmla="*/ 930 h 1150"/>
                <a:gd name="T6" fmla="*/ 916 w 1211"/>
                <a:gd name="T7" fmla="*/ 902 h 1150"/>
                <a:gd name="T8" fmla="*/ 969 w 1211"/>
                <a:gd name="T9" fmla="*/ 863 h 1150"/>
                <a:gd name="T10" fmla="*/ 1104 w 1211"/>
                <a:gd name="T11" fmla="*/ 764 h 1150"/>
                <a:gd name="T12" fmla="*/ 1194 w 1211"/>
                <a:gd name="T13" fmla="*/ 541 h 1150"/>
                <a:gd name="T14" fmla="*/ 1178 w 1211"/>
                <a:gd name="T15" fmla="*/ 516 h 1150"/>
                <a:gd name="T16" fmla="*/ 1157 w 1211"/>
                <a:gd name="T17" fmla="*/ 475 h 1150"/>
                <a:gd name="T18" fmla="*/ 1116 w 1211"/>
                <a:gd name="T19" fmla="*/ 305 h 1150"/>
                <a:gd name="T20" fmla="*/ 1065 w 1211"/>
                <a:gd name="T21" fmla="*/ 281 h 1150"/>
                <a:gd name="T22" fmla="*/ 1020 w 1211"/>
                <a:gd name="T23" fmla="*/ 279 h 1150"/>
                <a:gd name="T24" fmla="*/ 987 w 1211"/>
                <a:gd name="T25" fmla="*/ 281 h 1150"/>
                <a:gd name="T26" fmla="*/ 926 w 1211"/>
                <a:gd name="T27" fmla="*/ 291 h 1150"/>
                <a:gd name="T28" fmla="*/ 895 w 1211"/>
                <a:gd name="T29" fmla="*/ 283 h 1150"/>
                <a:gd name="T30" fmla="*/ 862 w 1211"/>
                <a:gd name="T31" fmla="*/ 293 h 1150"/>
                <a:gd name="T32" fmla="*/ 828 w 1211"/>
                <a:gd name="T33" fmla="*/ 275 h 1150"/>
                <a:gd name="T34" fmla="*/ 752 w 1211"/>
                <a:gd name="T35" fmla="*/ 262 h 1150"/>
                <a:gd name="T36" fmla="*/ 674 w 1211"/>
                <a:gd name="T37" fmla="*/ 227 h 1150"/>
                <a:gd name="T38" fmla="*/ 610 w 1211"/>
                <a:gd name="T39" fmla="*/ 156 h 1150"/>
                <a:gd name="T40" fmla="*/ 342 w 1211"/>
                <a:gd name="T41" fmla="*/ 80 h 1150"/>
                <a:gd name="T42" fmla="*/ 127 w 1211"/>
                <a:gd name="T43" fmla="*/ 478 h 1150"/>
                <a:gd name="T44" fmla="*/ 43 w 1211"/>
                <a:gd name="T45" fmla="*/ 533 h 1150"/>
                <a:gd name="T46" fmla="*/ 123 w 1211"/>
                <a:gd name="T47" fmla="*/ 605 h 1150"/>
                <a:gd name="T48" fmla="*/ 156 w 1211"/>
                <a:gd name="T49" fmla="*/ 635 h 1150"/>
                <a:gd name="T50" fmla="*/ 172 w 1211"/>
                <a:gd name="T51" fmla="*/ 693 h 1150"/>
                <a:gd name="T52" fmla="*/ 215 w 1211"/>
                <a:gd name="T53" fmla="*/ 752 h 1150"/>
                <a:gd name="T54" fmla="*/ 299 w 1211"/>
                <a:gd name="T55" fmla="*/ 805 h 1150"/>
                <a:gd name="T56" fmla="*/ 340 w 1211"/>
                <a:gd name="T57" fmla="*/ 771 h 1150"/>
                <a:gd name="T58" fmla="*/ 359 w 1211"/>
                <a:gd name="T59" fmla="*/ 730 h 1150"/>
                <a:gd name="T60" fmla="*/ 410 w 1211"/>
                <a:gd name="T61" fmla="*/ 723 h 1150"/>
                <a:gd name="T62" fmla="*/ 473 w 1211"/>
                <a:gd name="T63" fmla="*/ 725 h 1150"/>
                <a:gd name="T64" fmla="*/ 514 w 1211"/>
                <a:gd name="T65" fmla="*/ 762 h 1150"/>
                <a:gd name="T66" fmla="*/ 555 w 1211"/>
                <a:gd name="T67" fmla="*/ 826 h 1150"/>
                <a:gd name="T68" fmla="*/ 584 w 1211"/>
                <a:gd name="T69" fmla="*/ 887 h 1150"/>
                <a:gd name="T70" fmla="*/ 621 w 1211"/>
                <a:gd name="T71" fmla="*/ 935 h 1150"/>
                <a:gd name="T72" fmla="*/ 658 w 1211"/>
                <a:gd name="T73" fmla="*/ 965 h 1150"/>
                <a:gd name="T74" fmla="*/ 664 w 1211"/>
                <a:gd name="T75" fmla="*/ 1016 h 1150"/>
                <a:gd name="T76" fmla="*/ 701 w 1211"/>
                <a:gd name="T77" fmla="*/ 1092 h 1150"/>
                <a:gd name="T78" fmla="*/ 742 w 1211"/>
                <a:gd name="T79" fmla="*/ 1109 h 1150"/>
                <a:gd name="T80" fmla="*/ 840 w 1211"/>
                <a:gd name="T81" fmla="*/ 1131 h 1150"/>
                <a:gd name="T82" fmla="*/ 877 w 1211"/>
                <a:gd name="T83" fmla="*/ 1137 h 1150"/>
                <a:gd name="T84" fmla="*/ 875 w 1211"/>
                <a:gd name="T85" fmla="*/ 1121 h 1150"/>
                <a:gd name="T86" fmla="*/ 860 w 1211"/>
                <a:gd name="T87" fmla="*/ 1088 h 1150"/>
                <a:gd name="T88" fmla="*/ 846 w 1211"/>
                <a:gd name="T89" fmla="*/ 1031 h 1150"/>
                <a:gd name="T90" fmla="*/ 828 w 1211"/>
                <a:gd name="T91" fmla="*/ 996 h 1150"/>
                <a:gd name="T92" fmla="*/ 848 w 1211"/>
                <a:gd name="T93" fmla="*/ 988 h 1150"/>
                <a:gd name="T94" fmla="*/ 871 w 1211"/>
                <a:gd name="T95" fmla="*/ 957 h 1150"/>
                <a:gd name="T96" fmla="*/ 864 w 1211"/>
                <a:gd name="T97" fmla="*/ 930 h 1150"/>
                <a:gd name="T98" fmla="*/ 887 w 1211"/>
                <a:gd name="T99" fmla="*/ 910 h 1150"/>
                <a:gd name="T100" fmla="*/ 899 w 1211"/>
                <a:gd name="T101" fmla="*/ 902 h 1150"/>
                <a:gd name="T102" fmla="*/ 916 w 1211"/>
                <a:gd name="T103" fmla="*/ 867 h 1150"/>
                <a:gd name="T104" fmla="*/ 944 w 1211"/>
                <a:gd name="T105" fmla="*/ 861 h 1150"/>
                <a:gd name="T106" fmla="*/ 940 w 1211"/>
                <a:gd name="T107" fmla="*/ 846 h 1150"/>
                <a:gd name="T108" fmla="*/ 950 w 1211"/>
                <a:gd name="T109" fmla="*/ 836 h 1150"/>
                <a:gd name="T110" fmla="*/ 971 w 1211"/>
                <a:gd name="T111" fmla="*/ 850 h 1150"/>
                <a:gd name="T112" fmla="*/ 1010 w 1211"/>
                <a:gd name="T113" fmla="*/ 834 h 1150"/>
                <a:gd name="T114" fmla="*/ 1086 w 1211"/>
                <a:gd name="T115" fmla="*/ 766 h 1150"/>
                <a:gd name="T116" fmla="*/ 1079 w 1211"/>
                <a:gd name="T117" fmla="*/ 740 h 1150"/>
                <a:gd name="T118" fmla="*/ 1104 w 1211"/>
                <a:gd name="T119" fmla="*/ 736 h 1150"/>
                <a:gd name="T120" fmla="*/ 1114 w 1211"/>
                <a:gd name="T121" fmla="*/ 752 h 1150"/>
                <a:gd name="T122" fmla="*/ 1196 w 1211"/>
                <a:gd name="T123" fmla="*/ 658 h 1150"/>
                <a:gd name="T124" fmla="*/ 1208 w 1211"/>
                <a:gd name="T125" fmla="*/ 586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1" h="1150">
                  <a:moveTo>
                    <a:pt x="866" y="1057"/>
                  </a:moveTo>
                  <a:lnTo>
                    <a:pt x="868" y="1062"/>
                  </a:lnTo>
                  <a:lnTo>
                    <a:pt x="868" y="1064"/>
                  </a:lnTo>
                  <a:lnTo>
                    <a:pt x="871" y="1066"/>
                  </a:lnTo>
                  <a:lnTo>
                    <a:pt x="871" y="1068"/>
                  </a:lnTo>
                  <a:lnTo>
                    <a:pt x="873" y="1074"/>
                  </a:lnTo>
                  <a:lnTo>
                    <a:pt x="873" y="1076"/>
                  </a:lnTo>
                  <a:lnTo>
                    <a:pt x="877" y="1080"/>
                  </a:lnTo>
                  <a:lnTo>
                    <a:pt x="877" y="1082"/>
                  </a:lnTo>
                  <a:lnTo>
                    <a:pt x="879" y="1090"/>
                  </a:lnTo>
                  <a:lnTo>
                    <a:pt x="879" y="1092"/>
                  </a:lnTo>
                  <a:lnTo>
                    <a:pt x="881" y="1096"/>
                  </a:lnTo>
                  <a:lnTo>
                    <a:pt x="881" y="1098"/>
                  </a:lnTo>
                  <a:lnTo>
                    <a:pt x="883" y="1119"/>
                  </a:lnTo>
                  <a:lnTo>
                    <a:pt x="885" y="1121"/>
                  </a:lnTo>
                  <a:lnTo>
                    <a:pt x="885" y="1121"/>
                  </a:lnTo>
                  <a:lnTo>
                    <a:pt x="887" y="1121"/>
                  </a:lnTo>
                  <a:lnTo>
                    <a:pt x="887" y="1119"/>
                  </a:lnTo>
                  <a:lnTo>
                    <a:pt x="885" y="1113"/>
                  </a:lnTo>
                  <a:lnTo>
                    <a:pt x="883" y="1109"/>
                  </a:lnTo>
                  <a:lnTo>
                    <a:pt x="883" y="1107"/>
                  </a:lnTo>
                  <a:lnTo>
                    <a:pt x="883" y="1103"/>
                  </a:lnTo>
                  <a:lnTo>
                    <a:pt x="883" y="1100"/>
                  </a:lnTo>
                  <a:lnTo>
                    <a:pt x="881" y="1096"/>
                  </a:lnTo>
                  <a:lnTo>
                    <a:pt x="881" y="1090"/>
                  </a:lnTo>
                  <a:lnTo>
                    <a:pt x="879" y="1086"/>
                  </a:lnTo>
                  <a:lnTo>
                    <a:pt x="879" y="1086"/>
                  </a:lnTo>
                  <a:lnTo>
                    <a:pt x="879" y="1084"/>
                  </a:lnTo>
                  <a:lnTo>
                    <a:pt x="868" y="1051"/>
                  </a:lnTo>
                  <a:lnTo>
                    <a:pt x="864" y="1033"/>
                  </a:lnTo>
                  <a:lnTo>
                    <a:pt x="862" y="1004"/>
                  </a:lnTo>
                  <a:lnTo>
                    <a:pt x="862" y="1002"/>
                  </a:lnTo>
                  <a:lnTo>
                    <a:pt x="862" y="1004"/>
                  </a:lnTo>
                  <a:lnTo>
                    <a:pt x="862" y="1010"/>
                  </a:lnTo>
                  <a:lnTo>
                    <a:pt x="860" y="1012"/>
                  </a:lnTo>
                  <a:lnTo>
                    <a:pt x="862" y="1014"/>
                  </a:lnTo>
                  <a:lnTo>
                    <a:pt x="862" y="1016"/>
                  </a:lnTo>
                  <a:lnTo>
                    <a:pt x="860" y="1021"/>
                  </a:lnTo>
                  <a:lnTo>
                    <a:pt x="860" y="1023"/>
                  </a:lnTo>
                  <a:lnTo>
                    <a:pt x="862" y="1025"/>
                  </a:lnTo>
                  <a:lnTo>
                    <a:pt x="862" y="1035"/>
                  </a:lnTo>
                  <a:lnTo>
                    <a:pt x="862" y="1039"/>
                  </a:lnTo>
                  <a:lnTo>
                    <a:pt x="862" y="1043"/>
                  </a:lnTo>
                  <a:lnTo>
                    <a:pt x="864" y="1047"/>
                  </a:lnTo>
                  <a:lnTo>
                    <a:pt x="866" y="1049"/>
                  </a:lnTo>
                  <a:lnTo>
                    <a:pt x="866" y="1049"/>
                  </a:lnTo>
                  <a:lnTo>
                    <a:pt x="866" y="1049"/>
                  </a:lnTo>
                  <a:lnTo>
                    <a:pt x="866" y="1049"/>
                  </a:lnTo>
                  <a:lnTo>
                    <a:pt x="866" y="1051"/>
                  </a:lnTo>
                  <a:lnTo>
                    <a:pt x="864" y="1051"/>
                  </a:lnTo>
                  <a:lnTo>
                    <a:pt x="864" y="1051"/>
                  </a:lnTo>
                  <a:lnTo>
                    <a:pt x="864" y="1051"/>
                  </a:lnTo>
                  <a:lnTo>
                    <a:pt x="866" y="1053"/>
                  </a:lnTo>
                  <a:lnTo>
                    <a:pt x="866" y="1053"/>
                  </a:lnTo>
                  <a:lnTo>
                    <a:pt x="866" y="1053"/>
                  </a:lnTo>
                  <a:lnTo>
                    <a:pt x="866" y="1055"/>
                  </a:lnTo>
                  <a:lnTo>
                    <a:pt x="866" y="1057"/>
                  </a:lnTo>
                  <a:close/>
                  <a:moveTo>
                    <a:pt x="891" y="935"/>
                  </a:moveTo>
                  <a:lnTo>
                    <a:pt x="891" y="937"/>
                  </a:lnTo>
                  <a:lnTo>
                    <a:pt x="891" y="939"/>
                  </a:lnTo>
                  <a:lnTo>
                    <a:pt x="887" y="941"/>
                  </a:lnTo>
                  <a:lnTo>
                    <a:pt x="883" y="945"/>
                  </a:lnTo>
                  <a:lnTo>
                    <a:pt x="879" y="957"/>
                  </a:lnTo>
                  <a:lnTo>
                    <a:pt x="879" y="957"/>
                  </a:lnTo>
                  <a:lnTo>
                    <a:pt x="877" y="955"/>
                  </a:lnTo>
                  <a:lnTo>
                    <a:pt x="877" y="955"/>
                  </a:lnTo>
                  <a:lnTo>
                    <a:pt x="875" y="953"/>
                  </a:lnTo>
                  <a:lnTo>
                    <a:pt x="875" y="955"/>
                  </a:lnTo>
                  <a:lnTo>
                    <a:pt x="875" y="957"/>
                  </a:lnTo>
                  <a:lnTo>
                    <a:pt x="875" y="957"/>
                  </a:lnTo>
                  <a:lnTo>
                    <a:pt x="873" y="959"/>
                  </a:lnTo>
                  <a:lnTo>
                    <a:pt x="875" y="961"/>
                  </a:lnTo>
                  <a:lnTo>
                    <a:pt x="873" y="963"/>
                  </a:lnTo>
                  <a:lnTo>
                    <a:pt x="871" y="967"/>
                  </a:lnTo>
                  <a:lnTo>
                    <a:pt x="868" y="969"/>
                  </a:lnTo>
                  <a:lnTo>
                    <a:pt x="868" y="969"/>
                  </a:lnTo>
                  <a:lnTo>
                    <a:pt x="866" y="973"/>
                  </a:lnTo>
                  <a:lnTo>
                    <a:pt x="866" y="975"/>
                  </a:lnTo>
                  <a:lnTo>
                    <a:pt x="866" y="980"/>
                  </a:lnTo>
                  <a:lnTo>
                    <a:pt x="862" y="988"/>
                  </a:lnTo>
                  <a:lnTo>
                    <a:pt x="862" y="998"/>
                  </a:lnTo>
                  <a:lnTo>
                    <a:pt x="862" y="1000"/>
                  </a:lnTo>
                  <a:lnTo>
                    <a:pt x="862" y="1000"/>
                  </a:lnTo>
                  <a:lnTo>
                    <a:pt x="862" y="1000"/>
                  </a:lnTo>
                  <a:lnTo>
                    <a:pt x="864" y="998"/>
                  </a:lnTo>
                  <a:lnTo>
                    <a:pt x="864" y="996"/>
                  </a:lnTo>
                  <a:lnTo>
                    <a:pt x="866" y="986"/>
                  </a:lnTo>
                  <a:lnTo>
                    <a:pt x="873" y="971"/>
                  </a:lnTo>
                  <a:lnTo>
                    <a:pt x="881" y="953"/>
                  </a:lnTo>
                  <a:lnTo>
                    <a:pt x="893" y="935"/>
                  </a:lnTo>
                  <a:lnTo>
                    <a:pt x="893" y="935"/>
                  </a:lnTo>
                  <a:lnTo>
                    <a:pt x="893" y="932"/>
                  </a:lnTo>
                  <a:lnTo>
                    <a:pt x="891" y="935"/>
                  </a:lnTo>
                  <a:close/>
                  <a:moveTo>
                    <a:pt x="911" y="902"/>
                  </a:moveTo>
                  <a:lnTo>
                    <a:pt x="909" y="902"/>
                  </a:lnTo>
                  <a:lnTo>
                    <a:pt x="907" y="902"/>
                  </a:lnTo>
                  <a:lnTo>
                    <a:pt x="907" y="904"/>
                  </a:lnTo>
                  <a:lnTo>
                    <a:pt x="907" y="904"/>
                  </a:lnTo>
                  <a:lnTo>
                    <a:pt x="907" y="906"/>
                  </a:lnTo>
                  <a:lnTo>
                    <a:pt x="905" y="906"/>
                  </a:lnTo>
                  <a:lnTo>
                    <a:pt x="899" y="916"/>
                  </a:lnTo>
                  <a:lnTo>
                    <a:pt x="899" y="916"/>
                  </a:lnTo>
                  <a:lnTo>
                    <a:pt x="901" y="916"/>
                  </a:lnTo>
                  <a:lnTo>
                    <a:pt x="901" y="916"/>
                  </a:lnTo>
                  <a:lnTo>
                    <a:pt x="901" y="918"/>
                  </a:lnTo>
                  <a:lnTo>
                    <a:pt x="901" y="918"/>
                  </a:lnTo>
                  <a:lnTo>
                    <a:pt x="897" y="922"/>
                  </a:lnTo>
                  <a:lnTo>
                    <a:pt x="895" y="926"/>
                  </a:lnTo>
                  <a:lnTo>
                    <a:pt x="893" y="930"/>
                  </a:lnTo>
                  <a:lnTo>
                    <a:pt x="895" y="932"/>
                  </a:lnTo>
                  <a:lnTo>
                    <a:pt x="895" y="930"/>
                  </a:lnTo>
                  <a:lnTo>
                    <a:pt x="897" y="928"/>
                  </a:lnTo>
                  <a:lnTo>
                    <a:pt x="899" y="924"/>
                  </a:lnTo>
                  <a:lnTo>
                    <a:pt x="903" y="918"/>
                  </a:lnTo>
                  <a:lnTo>
                    <a:pt x="911" y="908"/>
                  </a:lnTo>
                  <a:lnTo>
                    <a:pt x="911" y="908"/>
                  </a:lnTo>
                  <a:lnTo>
                    <a:pt x="911" y="906"/>
                  </a:lnTo>
                  <a:lnTo>
                    <a:pt x="911" y="904"/>
                  </a:lnTo>
                  <a:lnTo>
                    <a:pt x="911" y="904"/>
                  </a:lnTo>
                  <a:lnTo>
                    <a:pt x="911" y="902"/>
                  </a:lnTo>
                  <a:close/>
                  <a:moveTo>
                    <a:pt x="952" y="873"/>
                  </a:moveTo>
                  <a:lnTo>
                    <a:pt x="952" y="873"/>
                  </a:lnTo>
                  <a:lnTo>
                    <a:pt x="950" y="873"/>
                  </a:lnTo>
                  <a:lnTo>
                    <a:pt x="950" y="873"/>
                  </a:lnTo>
                  <a:lnTo>
                    <a:pt x="950" y="873"/>
                  </a:lnTo>
                  <a:lnTo>
                    <a:pt x="950" y="875"/>
                  </a:lnTo>
                  <a:lnTo>
                    <a:pt x="950" y="877"/>
                  </a:lnTo>
                  <a:lnTo>
                    <a:pt x="948" y="877"/>
                  </a:lnTo>
                  <a:lnTo>
                    <a:pt x="948" y="879"/>
                  </a:lnTo>
                  <a:lnTo>
                    <a:pt x="944" y="879"/>
                  </a:lnTo>
                  <a:lnTo>
                    <a:pt x="942" y="879"/>
                  </a:lnTo>
                  <a:lnTo>
                    <a:pt x="942" y="879"/>
                  </a:lnTo>
                  <a:lnTo>
                    <a:pt x="940" y="881"/>
                  </a:lnTo>
                  <a:lnTo>
                    <a:pt x="934" y="883"/>
                  </a:lnTo>
                  <a:lnTo>
                    <a:pt x="934" y="885"/>
                  </a:lnTo>
                  <a:lnTo>
                    <a:pt x="934" y="885"/>
                  </a:lnTo>
                  <a:lnTo>
                    <a:pt x="930" y="887"/>
                  </a:lnTo>
                  <a:lnTo>
                    <a:pt x="928" y="889"/>
                  </a:lnTo>
                  <a:lnTo>
                    <a:pt x="928" y="889"/>
                  </a:lnTo>
                  <a:lnTo>
                    <a:pt x="924" y="894"/>
                  </a:lnTo>
                  <a:lnTo>
                    <a:pt x="924" y="894"/>
                  </a:lnTo>
                  <a:lnTo>
                    <a:pt x="922" y="894"/>
                  </a:lnTo>
                  <a:lnTo>
                    <a:pt x="918" y="896"/>
                  </a:lnTo>
                  <a:lnTo>
                    <a:pt x="918" y="896"/>
                  </a:lnTo>
                  <a:lnTo>
                    <a:pt x="916" y="896"/>
                  </a:lnTo>
                  <a:lnTo>
                    <a:pt x="916" y="898"/>
                  </a:lnTo>
                  <a:lnTo>
                    <a:pt x="916" y="900"/>
                  </a:lnTo>
                  <a:lnTo>
                    <a:pt x="916" y="902"/>
                  </a:lnTo>
                  <a:lnTo>
                    <a:pt x="916" y="902"/>
                  </a:lnTo>
                  <a:lnTo>
                    <a:pt x="916" y="902"/>
                  </a:lnTo>
                  <a:lnTo>
                    <a:pt x="914" y="904"/>
                  </a:lnTo>
                  <a:lnTo>
                    <a:pt x="914" y="906"/>
                  </a:lnTo>
                  <a:lnTo>
                    <a:pt x="914" y="908"/>
                  </a:lnTo>
                  <a:lnTo>
                    <a:pt x="914" y="908"/>
                  </a:lnTo>
                  <a:lnTo>
                    <a:pt x="914" y="906"/>
                  </a:lnTo>
                  <a:lnTo>
                    <a:pt x="916" y="906"/>
                  </a:lnTo>
                  <a:lnTo>
                    <a:pt x="918" y="902"/>
                  </a:lnTo>
                  <a:lnTo>
                    <a:pt x="924" y="898"/>
                  </a:lnTo>
                  <a:lnTo>
                    <a:pt x="926" y="896"/>
                  </a:lnTo>
                  <a:lnTo>
                    <a:pt x="934" y="891"/>
                  </a:lnTo>
                  <a:lnTo>
                    <a:pt x="938" y="885"/>
                  </a:lnTo>
                  <a:lnTo>
                    <a:pt x="942" y="883"/>
                  </a:lnTo>
                  <a:lnTo>
                    <a:pt x="944" y="883"/>
                  </a:lnTo>
                  <a:lnTo>
                    <a:pt x="952" y="879"/>
                  </a:lnTo>
                  <a:lnTo>
                    <a:pt x="952" y="879"/>
                  </a:lnTo>
                  <a:lnTo>
                    <a:pt x="952" y="877"/>
                  </a:lnTo>
                  <a:lnTo>
                    <a:pt x="952" y="877"/>
                  </a:lnTo>
                  <a:lnTo>
                    <a:pt x="952" y="875"/>
                  </a:lnTo>
                  <a:lnTo>
                    <a:pt x="952" y="873"/>
                  </a:lnTo>
                  <a:lnTo>
                    <a:pt x="952" y="873"/>
                  </a:lnTo>
                  <a:close/>
                  <a:moveTo>
                    <a:pt x="965" y="863"/>
                  </a:moveTo>
                  <a:lnTo>
                    <a:pt x="961" y="865"/>
                  </a:lnTo>
                  <a:lnTo>
                    <a:pt x="957" y="871"/>
                  </a:lnTo>
                  <a:lnTo>
                    <a:pt x="957" y="871"/>
                  </a:lnTo>
                  <a:lnTo>
                    <a:pt x="959" y="871"/>
                  </a:lnTo>
                  <a:lnTo>
                    <a:pt x="959" y="869"/>
                  </a:lnTo>
                  <a:lnTo>
                    <a:pt x="963" y="867"/>
                  </a:lnTo>
                  <a:lnTo>
                    <a:pt x="965" y="867"/>
                  </a:lnTo>
                  <a:lnTo>
                    <a:pt x="965" y="865"/>
                  </a:lnTo>
                  <a:lnTo>
                    <a:pt x="967" y="863"/>
                  </a:lnTo>
                  <a:lnTo>
                    <a:pt x="967" y="863"/>
                  </a:lnTo>
                  <a:lnTo>
                    <a:pt x="967" y="863"/>
                  </a:lnTo>
                  <a:lnTo>
                    <a:pt x="967" y="863"/>
                  </a:lnTo>
                  <a:lnTo>
                    <a:pt x="969" y="863"/>
                  </a:lnTo>
                  <a:lnTo>
                    <a:pt x="969" y="863"/>
                  </a:lnTo>
                  <a:lnTo>
                    <a:pt x="969" y="861"/>
                  </a:lnTo>
                  <a:lnTo>
                    <a:pt x="965" y="863"/>
                  </a:lnTo>
                  <a:close/>
                  <a:moveTo>
                    <a:pt x="1098" y="762"/>
                  </a:moveTo>
                  <a:lnTo>
                    <a:pt x="1098" y="762"/>
                  </a:lnTo>
                  <a:lnTo>
                    <a:pt x="1098" y="762"/>
                  </a:lnTo>
                  <a:lnTo>
                    <a:pt x="1098" y="762"/>
                  </a:lnTo>
                  <a:lnTo>
                    <a:pt x="1098" y="762"/>
                  </a:lnTo>
                  <a:lnTo>
                    <a:pt x="1098" y="762"/>
                  </a:lnTo>
                  <a:lnTo>
                    <a:pt x="1098" y="762"/>
                  </a:lnTo>
                  <a:lnTo>
                    <a:pt x="1098" y="762"/>
                  </a:lnTo>
                  <a:lnTo>
                    <a:pt x="1098" y="762"/>
                  </a:lnTo>
                  <a:lnTo>
                    <a:pt x="1096" y="762"/>
                  </a:lnTo>
                  <a:lnTo>
                    <a:pt x="1096" y="764"/>
                  </a:lnTo>
                  <a:lnTo>
                    <a:pt x="1098" y="764"/>
                  </a:lnTo>
                  <a:lnTo>
                    <a:pt x="1098" y="766"/>
                  </a:lnTo>
                  <a:lnTo>
                    <a:pt x="1098" y="766"/>
                  </a:lnTo>
                  <a:lnTo>
                    <a:pt x="1098" y="769"/>
                  </a:lnTo>
                  <a:lnTo>
                    <a:pt x="1096" y="769"/>
                  </a:lnTo>
                  <a:lnTo>
                    <a:pt x="1094" y="769"/>
                  </a:lnTo>
                  <a:lnTo>
                    <a:pt x="1094" y="769"/>
                  </a:lnTo>
                  <a:lnTo>
                    <a:pt x="1094" y="771"/>
                  </a:lnTo>
                  <a:lnTo>
                    <a:pt x="1090" y="775"/>
                  </a:lnTo>
                  <a:lnTo>
                    <a:pt x="1090" y="775"/>
                  </a:lnTo>
                  <a:lnTo>
                    <a:pt x="1088" y="775"/>
                  </a:lnTo>
                  <a:lnTo>
                    <a:pt x="1088" y="775"/>
                  </a:lnTo>
                  <a:lnTo>
                    <a:pt x="1086" y="777"/>
                  </a:lnTo>
                  <a:lnTo>
                    <a:pt x="1086" y="777"/>
                  </a:lnTo>
                  <a:lnTo>
                    <a:pt x="1086" y="779"/>
                  </a:lnTo>
                  <a:lnTo>
                    <a:pt x="1077" y="783"/>
                  </a:lnTo>
                  <a:lnTo>
                    <a:pt x="1075" y="787"/>
                  </a:lnTo>
                  <a:lnTo>
                    <a:pt x="1073" y="789"/>
                  </a:lnTo>
                  <a:lnTo>
                    <a:pt x="1071" y="791"/>
                  </a:lnTo>
                  <a:lnTo>
                    <a:pt x="1073" y="791"/>
                  </a:lnTo>
                  <a:lnTo>
                    <a:pt x="1073" y="789"/>
                  </a:lnTo>
                  <a:lnTo>
                    <a:pt x="1088" y="779"/>
                  </a:lnTo>
                  <a:lnTo>
                    <a:pt x="1092" y="777"/>
                  </a:lnTo>
                  <a:lnTo>
                    <a:pt x="1104" y="764"/>
                  </a:lnTo>
                  <a:lnTo>
                    <a:pt x="1100" y="762"/>
                  </a:lnTo>
                  <a:lnTo>
                    <a:pt x="1098" y="762"/>
                  </a:lnTo>
                  <a:close/>
                  <a:moveTo>
                    <a:pt x="1211" y="574"/>
                  </a:moveTo>
                  <a:lnTo>
                    <a:pt x="1208" y="572"/>
                  </a:lnTo>
                  <a:lnTo>
                    <a:pt x="1206" y="570"/>
                  </a:lnTo>
                  <a:lnTo>
                    <a:pt x="1206" y="568"/>
                  </a:lnTo>
                  <a:lnTo>
                    <a:pt x="1206" y="566"/>
                  </a:lnTo>
                  <a:lnTo>
                    <a:pt x="1206" y="566"/>
                  </a:lnTo>
                  <a:lnTo>
                    <a:pt x="1206" y="559"/>
                  </a:lnTo>
                  <a:lnTo>
                    <a:pt x="1206" y="559"/>
                  </a:lnTo>
                  <a:lnTo>
                    <a:pt x="1204" y="557"/>
                  </a:lnTo>
                  <a:lnTo>
                    <a:pt x="1202" y="559"/>
                  </a:lnTo>
                  <a:lnTo>
                    <a:pt x="1202" y="559"/>
                  </a:lnTo>
                  <a:lnTo>
                    <a:pt x="1202" y="559"/>
                  </a:lnTo>
                  <a:lnTo>
                    <a:pt x="1202" y="559"/>
                  </a:lnTo>
                  <a:lnTo>
                    <a:pt x="1202" y="559"/>
                  </a:lnTo>
                  <a:lnTo>
                    <a:pt x="1202" y="557"/>
                  </a:lnTo>
                  <a:lnTo>
                    <a:pt x="1202" y="557"/>
                  </a:lnTo>
                  <a:lnTo>
                    <a:pt x="1200" y="557"/>
                  </a:lnTo>
                  <a:lnTo>
                    <a:pt x="1200" y="555"/>
                  </a:lnTo>
                  <a:lnTo>
                    <a:pt x="1200" y="553"/>
                  </a:lnTo>
                  <a:lnTo>
                    <a:pt x="1200" y="553"/>
                  </a:lnTo>
                  <a:lnTo>
                    <a:pt x="1200" y="553"/>
                  </a:lnTo>
                  <a:lnTo>
                    <a:pt x="1200" y="551"/>
                  </a:lnTo>
                  <a:lnTo>
                    <a:pt x="1198" y="551"/>
                  </a:lnTo>
                  <a:lnTo>
                    <a:pt x="1198" y="551"/>
                  </a:lnTo>
                  <a:lnTo>
                    <a:pt x="1198" y="549"/>
                  </a:lnTo>
                  <a:lnTo>
                    <a:pt x="1198" y="549"/>
                  </a:lnTo>
                  <a:lnTo>
                    <a:pt x="1198" y="549"/>
                  </a:lnTo>
                  <a:lnTo>
                    <a:pt x="1194" y="547"/>
                  </a:lnTo>
                  <a:lnTo>
                    <a:pt x="1194" y="545"/>
                  </a:lnTo>
                  <a:lnTo>
                    <a:pt x="1194" y="545"/>
                  </a:lnTo>
                  <a:lnTo>
                    <a:pt x="1194" y="545"/>
                  </a:lnTo>
                  <a:lnTo>
                    <a:pt x="1194" y="543"/>
                  </a:lnTo>
                  <a:lnTo>
                    <a:pt x="1194" y="543"/>
                  </a:lnTo>
                  <a:lnTo>
                    <a:pt x="1194" y="541"/>
                  </a:lnTo>
                  <a:lnTo>
                    <a:pt x="1194" y="541"/>
                  </a:lnTo>
                  <a:lnTo>
                    <a:pt x="1196" y="539"/>
                  </a:lnTo>
                  <a:lnTo>
                    <a:pt x="1196" y="539"/>
                  </a:lnTo>
                  <a:lnTo>
                    <a:pt x="1196" y="539"/>
                  </a:lnTo>
                  <a:lnTo>
                    <a:pt x="1194" y="539"/>
                  </a:lnTo>
                  <a:lnTo>
                    <a:pt x="1192" y="537"/>
                  </a:lnTo>
                  <a:lnTo>
                    <a:pt x="1192" y="535"/>
                  </a:lnTo>
                  <a:lnTo>
                    <a:pt x="1192" y="535"/>
                  </a:lnTo>
                  <a:lnTo>
                    <a:pt x="1190" y="535"/>
                  </a:lnTo>
                  <a:lnTo>
                    <a:pt x="1190" y="533"/>
                  </a:lnTo>
                  <a:lnTo>
                    <a:pt x="1190" y="531"/>
                  </a:lnTo>
                  <a:lnTo>
                    <a:pt x="1190" y="531"/>
                  </a:lnTo>
                  <a:lnTo>
                    <a:pt x="1190" y="531"/>
                  </a:lnTo>
                  <a:lnTo>
                    <a:pt x="1190" y="531"/>
                  </a:lnTo>
                  <a:lnTo>
                    <a:pt x="1188" y="531"/>
                  </a:lnTo>
                  <a:lnTo>
                    <a:pt x="1188" y="531"/>
                  </a:lnTo>
                  <a:lnTo>
                    <a:pt x="1188" y="531"/>
                  </a:lnTo>
                  <a:lnTo>
                    <a:pt x="1186" y="529"/>
                  </a:lnTo>
                  <a:lnTo>
                    <a:pt x="1186" y="529"/>
                  </a:lnTo>
                  <a:lnTo>
                    <a:pt x="1186" y="529"/>
                  </a:lnTo>
                  <a:lnTo>
                    <a:pt x="1186" y="527"/>
                  </a:lnTo>
                  <a:lnTo>
                    <a:pt x="1186" y="527"/>
                  </a:lnTo>
                  <a:lnTo>
                    <a:pt x="1188" y="527"/>
                  </a:lnTo>
                  <a:lnTo>
                    <a:pt x="1188" y="527"/>
                  </a:lnTo>
                  <a:lnTo>
                    <a:pt x="1188" y="527"/>
                  </a:lnTo>
                  <a:lnTo>
                    <a:pt x="1188" y="527"/>
                  </a:lnTo>
                  <a:lnTo>
                    <a:pt x="1188" y="525"/>
                  </a:lnTo>
                  <a:lnTo>
                    <a:pt x="1188" y="525"/>
                  </a:lnTo>
                  <a:lnTo>
                    <a:pt x="1188" y="525"/>
                  </a:lnTo>
                  <a:lnTo>
                    <a:pt x="1188" y="525"/>
                  </a:lnTo>
                  <a:lnTo>
                    <a:pt x="1186" y="525"/>
                  </a:lnTo>
                  <a:lnTo>
                    <a:pt x="1184" y="523"/>
                  </a:lnTo>
                  <a:lnTo>
                    <a:pt x="1184" y="523"/>
                  </a:lnTo>
                  <a:lnTo>
                    <a:pt x="1184" y="523"/>
                  </a:lnTo>
                  <a:lnTo>
                    <a:pt x="1182" y="523"/>
                  </a:lnTo>
                  <a:lnTo>
                    <a:pt x="1180" y="521"/>
                  </a:lnTo>
                  <a:lnTo>
                    <a:pt x="1180" y="518"/>
                  </a:lnTo>
                  <a:lnTo>
                    <a:pt x="1178" y="516"/>
                  </a:lnTo>
                  <a:lnTo>
                    <a:pt x="1178" y="516"/>
                  </a:lnTo>
                  <a:lnTo>
                    <a:pt x="1178" y="516"/>
                  </a:lnTo>
                  <a:lnTo>
                    <a:pt x="1178" y="514"/>
                  </a:lnTo>
                  <a:lnTo>
                    <a:pt x="1178" y="514"/>
                  </a:lnTo>
                  <a:lnTo>
                    <a:pt x="1178" y="512"/>
                  </a:lnTo>
                  <a:lnTo>
                    <a:pt x="1178" y="512"/>
                  </a:lnTo>
                  <a:lnTo>
                    <a:pt x="1178" y="512"/>
                  </a:lnTo>
                  <a:lnTo>
                    <a:pt x="1178" y="510"/>
                  </a:lnTo>
                  <a:lnTo>
                    <a:pt x="1178" y="508"/>
                  </a:lnTo>
                  <a:lnTo>
                    <a:pt x="1178" y="506"/>
                  </a:lnTo>
                  <a:lnTo>
                    <a:pt x="1180" y="504"/>
                  </a:lnTo>
                  <a:lnTo>
                    <a:pt x="1180" y="504"/>
                  </a:lnTo>
                  <a:lnTo>
                    <a:pt x="1180" y="504"/>
                  </a:lnTo>
                  <a:lnTo>
                    <a:pt x="1178" y="504"/>
                  </a:lnTo>
                  <a:lnTo>
                    <a:pt x="1178" y="502"/>
                  </a:lnTo>
                  <a:lnTo>
                    <a:pt x="1178" y="502"/>
                  </a:lnTo>
                  <a:lnTo>
                    <a:pt x="1178" y="502"/>
                  </a:lnTo>
                  <a:lnTo>
                    <a:pt x="1178" y="500"/>
                  </a:lnTo>
                  <a:lnTo>
                    <a:pt x="1176" y="496"/>
                  </a:lnTo>
                  <a:lnTo>
                    <a:pt x="1176" y="496"/>
                  </a:lnTo>
                  <a:lnTo>
                    <a:pt x="1174" y="492"/>
                  </a:lnTo>
                  <a:lnTo>
                    <a:pt x="1174" y="492"/>
                  </a:lnTo>
                  <a:lnTo>
                    <a:pt x="1172" y="490"/>
                  </a:lnTo>
                  <a:lnTo>
                    <a:pt x="1172" y="490"/>
                  </a:lnTo>
                  <a:lnTo>
                    <a:pt x="1172" y="488"/>
                  </a:lnTo>
                  <a:lnTo>
                    <a:pt x="1170" y="486"/>
                  </a:lnTo>
                  <a:lnTo>
                    <a:pt x="1168" y="484"/>
                  </a:lnTo>
                  <a:lnTo>
                    <a:pt x="1168" y="484"/>
                  </a:lnTo>
                  <a:lnTo>
                    <a:pt x="1163" y="482"/>
                  </a:lnTo>
                  <a:lnTo>
                    <a:pt x="1163" y="482"/>
                  </a:lnTo>
                  <a:lnTo>
                    <a:pt x="1163" y="482"/>
                  </a:lnTo>
                  <a:lnTo>
                    <a:pt x="1163" y="482"/>
                  </a:lnTo>
                  <a:lnTo>
                    <a:pt x="1161" y="478"/>
                  </a:lnTo>
                  <a:lnTo>
                    <a:pt x="1159" y="478"/>
                  </a:lnTo>
                  <a:lnTo>
                    <a:pt x="1159" y="478"/>
                  </a:lnTo>
                  <a:lnTo>
                    <a:pt x="1157" y="475"/>
                  </a:lnTo>
                  <a:lnTo>
                    <a:pt x="1157" y="475"/>
                  </a:lnTo>
                  <a:lnTo>
                    <a:pt x="1157" y="475"/>
                  </a:lnTo>
                  <a:lnTo>
                    <a:pt x="1157" y="475"/>
                  </a:lnTo>
                  <a:lnTo>
                    <a:pt x="1155" y="473"/>
                  </a:lnTo>
                  <a:lnTo>
                    <a:pt x="1155" y="467"/>
                  </a:lnTo>
                  <a:lnTo>
                    <a:pt x="1155" y="453"/>
                  </a:lnTo>
                  <a:lnTo>
                    <a:pt x="1155" y="441"/>
                  </a:lnTo>
                  <a:lnTo>
                    <a:pt x="1153" y="428"/>
                  </a:lnTo>
                  <a:lnTo>
                    <a:pt x="1153" y="416"/>
                  </a:lnTo>
                  <a:lnTo>
                    <a:pt x="1153" y="404"/>
                  </a:lnTo>
                  <a:lnTo>
                    <a:pt x="1151" y="377"/>
                  </a:lnTo>
                  <a:lnTo>
                    <a:pt x="1151" y="365"/>
                  </a:lnTo>
                  <a:lnTo>
                    <a:pt x="1149" y="353"/>
                  </a:lnTo>
                  <a:lnTo>
                    <a:pt x="1149" y="340"/>
                  </a:lnTo>
                  <a:lnTo>
                    <a:pt x="1147" y="326"/>
                  </a:lnTo>
                  <a:lnTo>
                    <a:pt x="1147" y="314"/>
                  </a:lnTo>
                  <a:lnTo>
                    <a:pt x="1147" y="307"/>
                  </a:lnTo>
                  <a:lnTo>
                    <a:pt x="1147" y="307"/>
                  </a:lnTo>
                  <a:lnTo>
                    <a:pt x="1145" y="305"/>
                  </a:lnTo>
                  <a:lnTo>
                    <a:pt x="1145" y="305"/>
                  </a:lnTo>
                  <a:lnTo>
                    <a:pt x="1141" y="303"/>
                  </a:lnTo>
                  <a:lnTo>
                    <a:pt x="1141" y="305"/>
                  </a:lnTo>
                  <a:lnTo>
                    <a:pt x="1139" y="305"/>
                  </a:lnTo>
                  <a:lnTo>
                    <a:pt x="1137" y="305"/>
                  </a:lnTo>
                  <a:lnTo>
                    <a:pt x="1133" y="303"/>
                  </a:lnTo>
                  <a:lnTo>
                    <a:pt x="1133" y="303"/>
                  </a:lnTo>
                  <a:lnTo>
                    <a:pt x="1131" y="305"/>
                  </a:lnTo>
                  <a:lnTo>
                    <a:pt x="1131" y="305"/>
                  </a:lnTo>
                  <a:lnTo>
                    <a:pt x="1124" y="303"/>
                  </a:lnTo>
                  <a:lnTo>
                    <a:pt x="1124" y="303"/>
                  </a:lnTo>
                  <a:lnTo>
                    <a:pt x="1122" y="305"/>
                  </a:lnTo>
                  <a:lnTo>
                    <a:pt x="1122" y="307"/>
                  </a:lnTo>
                  <a:lnTo>
                    <a:pt x="1122" y="307"/>
                  </a:lnTo>
                  <a:lnTo>
                    <a:pt x="1120" y="307"/>
                  </a:lnTo>
                  <a:lnTo>
                    <a:pt x="1118" y="307"/>
                  </a:lnTo>
                  <a:lnTo>
                    <a:pt x="1116" y="307"/>
                  </a:lnTo>
                  <a:lnTo>
                    <a:pt x="1116" y="305"/>
                  </a:lnTo>
                  <a:lnTo>
                    <a:pt x="1116" y="305"/>
                  </a:lnTo>
                  <a:lnTo>
                    <a:pt x="1116" y="305"/>
                  </a:lnTo>
                  <a:lnTo>
                    <a:pt x="1114" y="305"/>
                  </a:lnTo>
                  <a:lnTo>
                    <a:pt x="1112" y="303"/>
                  </a:lnTo>
                  <a:lnTo>
                    <a:pt x="1110" y="303"/>
                  </a:lnTo>
                  <a:lnTo>
                    <a:pt x="1110" y="301"/>
                  </a:lnTo>
                  <a:lnTo>
                    <a:pt x="1108" y="299"/>
                  </a:lnTo>
                  <a:lnTo>
                    <a:pt x="1106" y="299"/>
                  </a:lnTo>
                  <a:lnTo>
                    <a:pt x="1106" y="299"/>
                  </a:lnTo>
                  <a:lnTo>
                    <a:pt x="1104" y="299"/>
                  </a:lnTo>
                  <a:lnTo>
                    <a:pt x="1102" y="297"/>
                  </a:lnTo>
                  <a:lnTo>
                    <a:pt x="1102" y="299"/>
                  </a:lnTo>
                  <a:lnTo>
                    <a:pt x="1098" y="297"/>
                  </a:lnTo>
                  <a:lnTo>
                    <a:pt x="1098" y="297"/>
                  </a:lnTo>
                  <a:lnTo>
                    <a:pt x="1098" y="295"/>
                  </a:lnTo>
                  <a:lnTo>
                    <a:pt x="1098" y="295"/>
                  </a:lnTo>
                  <a:lnTo>
                    <a:pt x="1096" y="295"/>
                  </a:lnTo>
                  <a:lnTo>
                    <a:pt x="1094" y="295"/>
                  </a:lnTo>
                  <a:lnTo>
                    <a:pt x="1092" y="295"/>
                  </a:lnTo>
                  <a:lnTo>
                    <a:pt x="1092" y="295"/>
                  </a:lnTo>
                  <a:lnTo>
                    <a:pt x="1090" y="295"/>
                  </a:lnTo>
                  <a:lnTo>
                    <a:pt x="1090" y="293"/>
                  </a:lnTo>
                  <a:lnTo>
                    <a:pt x="1088" y="293"/>
                  </a:lnTo>
                  <a:lnTo>
                    <a:pt x="1088" y="295"/>
                  </a:lnTo>
                  <a:lnTo>
                    <a:pt x="1088" y="295"/>
                  </a:lnTo>
                  <a:lnTo>
                    <a:pt x="1086" y="295"/>
                  </a:lnTo>
                  <a:lnTo>
                    <a:pt x="1086" y="293"/>
                  </a:lnTo>
                  <a:lnTo>
                    <a:pt x="1084" y="293"/>
                  </a:lnTo>
                  <a:lnTo>
                    <a:pt x="1081" y="291"/>
                  </a:lnTo>
                  <a:lnTo>
                    <a:pt x="1081" y="289"/>
                  </a:lnTo>
                  <a:lnTo>
                    <a:pt x="1079" y="289"/>
                  </a:lnTo>
                  <a:lnTo>
                    <a:pt x="1077" y="289"/>
                  </a:lnTo>
                  <a:lnTo>
                    <a:pt x="1071" y="289"/>
                  </a:lnTo>
                  <a:lnTo>
                    <a:pt x="1067" y="285"/>
                  </a:lnTo>
                  <a:lnTo>
                    <a:pt x="1067" y="283"/>
                  </a:lnTo>
                  <a:lnTo>
                    <a:pt x="1065" y="283"/>
                  </a:lnTo>
                  <a:lnTo>
                    <a:pt x="1065" y="281"/>
                  </a:lnTo>
                  <a:lnTo>
                    <a:pt x="1065" y="281"/>
                  </a:lnTo>
                  <a:lnTo>
                    <a:pt x="1063" y="281"/>
                  </a:lnTo>
                  <a:lnTo>
                    <a:pt x="1063" y="279"/>
                  </a:lnTo>
                  <a:lnTo>
                    <a:pt x="1063" y="279"/>
                  </a:lnTo>
                  <a:lnTo>
                    <a:pt x="1063" y="279"/>
                  </a:lnTo>
                  <a:lnTo>
                    <a:pt x="1061" y="279"/>
                  </a:lnTo>
                  <a:lnTo>
                    <a:pt x="1061" y="277"/>
                  </a:lnTo>
                  <a:lnTo>
                    <a:pt x="1059" y="277"/>
                  </a:lnTo>
                  <a:lnTo>
                    <a:pt x="1057" y="277"/>
                  </a:lnTo>
                  <a:lnTo>
                    <a:pt x="1055" y="277"/>
                  </a:lnTo>
                  <a:lnTo>
                    <a:pt x="1053" y="273"/>
                  </a:lnTo>
                  <a:lnTo>
                    <a:pt x="1051" y="273"/>
                  </a:lnTo>
                  <a:lnTo>
                    <a:pt x="1049" y="273"/>
                  </a:lnTo>
                  <a:lnTo>
                    <a:pt x="1047" y="271"/>
                  </a:lnTo>
                  <a:lnTo>
                    <a:pt x="1047" y="271"/>
                  </a:lnTo>
                  <a:lnTo>
                    <a:pt x="1047" y="271"/>
                  </a:lnTo>
                  <a:lnTo>
                    <a:pt x="1045" y="268"/>
                  </a:lnTo>
                  <a:lnTo>
                    <a:pt x="1038" y="268"/>
                  </a:lnTo>
                  <a:lnTo>
                    <a:pt x="1038" y="268"/>
                  </a:lnTo>
                  <a:lnTo>
                    <a:pt x="1036" y="268"/>
                  </a:lnTo>
                  <a:lnTo>
                    <a:pt x="1036" y="271"/>
                  </a:lnTo>
                  <a:lnTo>
                    <a:pt x="1036" y="273"/>
                  </a:lnTo>
                  <a:lnTo>
                    <a:pt x="1034" y="275"/>
                  </a:lnTo>
                  <a:lnTo>
                    <a:pt x="1034" y="273"/>
                  </a:lnTo>
                  <a:lnTo>
                    <a:pt x="1034" y="275"/>
                  </a:lnTo>
                  <a:lnTo>
                    <a:pt x="1032" y="275"/>
                  </a:lnTo>
                  <a:lnTo>
                    <a:pt x="1032" y="275"/>
                  </a:lnTo>
                  <a:lnTo>
                    <a:pt x="1032" y="277"/>
                  </a:lnTo>
                  <a:lnTo>
                    <a:pt x="1030" y="275"/>
                  </a:lnTo>
                  <a:lnTo>
                    <a:pt x="1030" y="275"/>
                  </a:lnTo>
                  <a:lnTo>
                    <a:pt x="1030" y="277"/>
                  </a:lnTo>
                  <a:lnTo>
                    <a:pt x="1030" y="277"/>
                  </a:lnTo>
                  <a:lnTo>
                    <a:pt x="1028" y="277"/>
                  </a:lnTo>
                  <a:lnTo>
                    <a:pt x="1028" y="279"/>
                  </a:lnTo>
                  <a:lnTo>
                    <a:pt x="1028" y="279"/>
                  </a:lnTo>
                  <a:lnTo>
                    <a:pt x="1028" y="279"/>
                  </a:lnTo>
                  <a:lnTo>
                    <a:pt x="1020" y="279"/>
                  </a:lnTo>
                  <a:lnTo>
                    <a:pt x="1020" y="279"/>
                  </a:lnTo>
                  <a:lnTo>
                    <a:pt x="1018" y="279"/>
                  </a:lnTo>
                  <a:lnTo>
                    <a:pt x="1018" y="277"/>
                  </a:lnTo>
                  <a:lnTo>
                    <a:pt x="1018" y="277"/>
                  </a:lnTo>
                  <a:lnTo>
                    <a:pt x="1016" y="277"/>
                  </a:lnTo>
                  <a:lnTo>
                    <a:pt x="1016" y="277"/>
                  </a:lnTo>
                  <a:lnTo>
                    <a:pt x="1016" y="279"/>
                  </a:lnTo>
                  <a:lnTo>
                    <a:pt x="1016" y="279"/>
                  </a:lnTo>
                  <a:lnTo>
                    <a:pt x="1014" y="277"/>
                  </a:lnTo>
                  <a:lnTo>
                    <a:pt x="1014" y="277"/>
                  </a:lnTo>
                  <a:lnTo>
                    <a:pt x="1014" y="277"/>
                  </a:lnTo>
                  <a:lnTo>
                    <a:pt x="1014" y="277"/>
                  </a:lnTo>
                  <a:lnTo>
                    <a:pt x="1012" y="277"/>
                  </a:lnTo>
                  <a:lnTo>
                    <a:pt x="1010" y="277"/>
                  </a:lnTo>
                  <a:lnTo>
                    <a:pt x="1012" y="275"/>
                  </a:lnTo>
                  <a:lnTo>
                    <a:pt x="1010" y="273"/>
                  </a:lnTo>
                  <a:lnTo>
                    <a:pt x="1010" y="273"/>
                  </a:lnTo>
                  <a:lnTo>
                    <a:pt x="1008" y="271"/>
                  </a:lnTo>
                  <a:lnTo>
                    <a:pt x="1006" y="271"/>
                  </a:lnTo>
                  <a:lnTo>
                    <a:pt x="1006" y="271"/>
                  </a:lnTo>
                  <a:lnTo>
                    <a:pt x="1004" y="271"/>
                  </a:lnTo>
                  <a:lnTo>
                    <a:pt x="1004" y="273"/>
                  </a:lnTo>
                  <a:lnTo>
                    <a:pt x="1004" y="273"/>
                  </a:lnTo>
                  <a:lnTo>
                    <a:pt x="1002" y="273"/>
                  </a:lnTo>
                  <a:lnTo>
                    <a:pt x="1002" y="273"/>
                  </a:lnTo>
                  <a:lnTo>
                    <a:pt x="1000" y="275"/>
                  </a:lnTo>
                  <a:lnTo>
                    <a:pt x="998" y="275"/>
                  </a:lnTo>
                  <a:lnTo>
                    <a:pt x="998" y="275"/>
                  </a:lnTo>
                  <a:lnTo>
                    <a:pt x="995" y="277"/>
                  </a:lnTo>
                  <a:lnTo>
                    <a:pt x="995" y="277"/>
                  </a:lnTo>
                  <a:lnTo>
                    <a:pt x="995" y="277"/>
                  </a:lnTo>
                  <a:lnTo>
                    <a:pt x="993" y="277"/>
                  </a:lnTo>
                  <a:lnTo>
                    <a:pt x="991" y="277"/>
                  </a:lnTo>
                  <a:lnTo>
                    <a:pt x="989" y="277"/>
                  </a:lnTo>
                  <a:lnTo>
                    <a:pt x="989" y="281"/>
                  </a:lnTo>
                  <a:lnTo>
                    <a:pt x="989" y="281"/>
                  </a:lnTo>
                  <a:lnTo>
                    <a:pt x="989" y="281"/>
                  </a:lnTo>
                  <a:lnTo>
                    <a:pt x="987" y="281"/>
                  </a:lnTo>
                  <a:lnTo>
                    <a:pt x="987" y="281"/>
                  </a:lnTo>
                  <a:lnTo>
                    <a:pt x="987" y="281"/>
                  </a:lnTo>
                  <a:lnTo>
                    <a:pt x="987" y="281"/>
                  </a:lnTo>
                  <a:lnTo>
                    <a:pt x="985" y="281"/>
                  </a:lnTo>
                  <a:lnTo>
                    <a:pt x="983" y="283"/>
                  </a:lnTo>
                  <a:lnTo>
                    <a:pt x="983" y="281"/>
                  </a:lnTo>
                  <a:lnTo>
                    <a:pt x="977" y="279"/>
                  </a:lnTo>
                  <a:lnTo>
                    <a:pt x="977" y="277"/>
                  </a:lnTo>
                  <a:lnTo>
                    <a:pt x="975" y="277"/>
                  </a:lnTo>
                  <a:lnTo>
                    <a:pt x="975" y="279"/>
                  </a:lnTo>
                  <a:lnTo>
                    <a:pt x="973" y="279"/>
                  </a:lnTo>
                  <a:lnTo>
                    <a:pt x="973" y="281"/>
                  </a:lnTo>
                  <a:lnTo>
                    <a:pt x="973" y="281"/>
                  </a:lnTo>
                  <a:lnTo>
                    <a:pt x="971" y="281"/>
                  </a:lnTo>
                  <a:lnTo>
                    <a:pt x="969" y="283"/>
                  </a:lnTo>
                  <a:lnTo>
                    <a:pt x="967" y="283"/>
                  </a:lnTo>
                  <a:lnTo>
                    <a:pt x="965" y="283"/>
                  </a:lnTo>
                  <a:lnTo>
                    <a:pt x="961" y="283"/>
                  </a:lnTo>
                  <a:lnTo>
                    <a:pt x="959" y="285"/>
                  </a:lnTo>
                  <a:lnTo>
                    <a:pt x="959" y="285"/>
                  </a:lnTo>
                  <a:lnTo>
                    <a:pt x="957" y="285"/>
                  </a:lnTo>
                  <a:lnTo>
                    <a:pt x="957" y="287"/>
                  </a:lnTo>
                  <a:lnTo>
                    <a:pt x="955" y="289"/>
                  </a:lnTo>
                  <a:lnTo>
                    <a:pt x="955" y="291"/>
                  </a:lnTo>
                  <a:lnTo>
                    <a:pt x="952" y="293"/>
                  </a:lnTo>
                  <a:lnTo>
                    <a:pt x="950" y="293"/>
                  </a:lnTo>
                  <a:lnTo>
                    <a:pt x="946" y="293"/>
                  </a:lnTo>
                  <a:lnTo>
                    <a:pt x="944" y="293"/>
                  </a:lnTo>
                  <a:lnTo>
                    <a:pt x="944" y="293"/>
                  </a:lnTo>
                  <a:lnTo>
                    <a:pt x="944" y="295"/>
                  </a:lnTo>
                  <a:lnTo>
                    <a:pt x="944" y="297"/>
                  </a:lnTo>
                  <a:lnTo>
                    <a:pt x="940" y="299"/>
                  </a:lnTo>
                  <a:lnTo>
                    <a:pt x="938" y="297"/>
                  </a:lnTo>
                  <a:lnTo>
                    <a:pt x="936" y="293"/>
                  </a:lnTo>
                  <a:lnTo>
                    <a:pt x="934" y="291"/>
                  </a:lnTo>
                  <a:lnTo>
                    <a:pt x="932" y="291"/>
                  </a:lnTo>
                  <a:lnTo>
                    <a:pt x="926" y="291"/>
                  </a:lnTo>
                  <a:lnTo>
                    <a:pt x="926" y="291"/>
                  </a:lnTo>
                  <a:lnTo>
                    <a:pt x="924" y="289"/>
                  </a:lnTo>
                  <a:lnTo>
                    <a:pt x="924" y="289"/>
                  </a:lnTo>
                  <a:lnTo>
                    <a:pt x="924" y="287"/>
                  </a:lnTo>
                  <a:lnTo>
                    <a:pt x="924" y="287"/>
                  </a:lnTo>
                  <a:lnTo>
                    <a:pt x="922" y="287"/>
                  </a:lnTo>
                  <a:lnTo>
                    <a:pt x="918" y="285"/>
                  </a:lnTo>
                  <a:lnTo>
                    <a:pt x="918" y="285"/>
                  </a:lnTo>
                  <a:lnTo>
                    <a:pt x="916" y="285"/>
                  </a:lnTo>
                  <a:lnTo>
                    <a:pt x="916" y="283"/>
                  </a:lnTo>
                  <a:lnTo>
                    <a:pt x="916" y="283"/>
                  </a:lnTo>
                  <a:lnTo>
                    <a:pt x="916" y="283"/>
                  </a:lnTo>
                  <a:lnTo>
                    <a:pt x="916" y="281"/>
                  </a:lnTo>
                  <a:lnTo>
                    <a:pt x="918" y="281"/>
                  </a:lnTo>
                  <a:lnTo>
                    <a:pt x="918" y="279"/>
                  </a:lnTo>
                  <a:lnTo>
                    <a:pt x="916" y="279"/>
                  </a:lnTo>
                  <a:lnTo>
                    <a:pt x="914" y="277"/>
                  </a:lnTo>
                  <a:lnTo>
                    <a:pt x="911" y="277"/>
                  </a:lnTo>
                  <a:lnTo>
                    <a:pt x="911" y="277"/>
                  </a:lnTo>
                  <a:lnTo>
                    <a:pt x="911" y="277"/>
                  </a:lnTo>
                  <a:lnTo>
                    <a:pt x="911" y="279"/>
                  </a:lnTo>
                  <a:lnTo>
                    <a:pt x="909" y="279"/>
                  </a:lnTo>
                  <a:lnTo>
                    <a:pt x="909" y="283"/>
                  </a:lnTo>
                  <a:lnTo>
                    <a:pt x="909" y="283"/>
                  </a:lnTo>
                  <a:lnTo>
                    <a:pt x="909" y="283"/>
                  </a:lnTo>
                  <a:lnTo>
                    <a:pt x="907" y="283"/>
                  </a:lnTo>
                  <a:lnTo>
                    <a:pt x="907" y="285"/>
                  </a:lnTo>
                  <a:lnTo>
                    <a:pt x="907" y="285"/>
                  </a:lnTo>
                  <a:lnTo>
                    <a:pt x="905" y="285"/>
                  </a:lnTo>
                  <a:lnTo>
                    <a:pt x="905" y="285"/>
                  </a:lnTo>
                  <a:lnTo>
                    <a:pt x="903" y="285"/>
                  </a:lnTo>
                  <a:lnTo>
                    <a:pt x="903" y="285"/>
                  </a:lnTo>
                  <a:lnTo>
                    <a:pt x="903" y="285"/>
                  </a:lnTo>
                  <a:lnTo>
                    <a:pt x="899" y="283"/>
                  </a:lnTo>
                  <a:lnTo>
                    <a:pt x="899" y="283"/>
                  </a:lnTo>
                  <a:lnTo>
                    <a:pt x="899" y="283"/>
                  </a:lnTo>
                  <a:lnTo>
                    <a:pt x="895" y="283"/>
                  </a:lnTo>
                  <a:lnTo>
                    <a:pt x="895" y="283"/>
                  </a:lnTo>
                  <a:lnTo>
                    <a:pt x="893" y="283"/>
                  </a:lnTo>
                  <a:lnTo>
                    <a:pt x="893" y="283"/>
                  </a:lnTo>
                  <a:lnTo>
                    <a:pt x="891" y="281"/>
                  </a:lnTo>
                  <a:lnTo>
                    <a:pt x="891" y="281"/>
                  </a:lnTo>
                  <a:lnTo>
                    <a:pt x="891" y="279"/>
                  </a:lnTo>
                  <a:lnTo>
                    <a:pt x="891" y="277"/>
                  </a:lnTo>
                  <a:lnTo>
                    <a:pt x="889" y="275"/>
                  </a:lnTo>
                  <a:lnTo>
                    <a:pt x="889" y="275"/>
                  </a:lnTo>
                  <a:lnTo>
                    <a:pt x="889" y="275"/>
                  </a:lnTo>
                  <a:lnTo>
                    <a:pt x="887" y="275"/>
                  </a:lnTo>
                  <a:lnTo>
                    <a:pt x="887" y="275"/>
                  </a:lnTo>
                  <a:lnTo>
                    <a:pt x="887" y="275"/>
                  </a:lnTo>
                  <a:lnTo>
                    <a:pt x="883" y="275"/>
                  </a:lnTo>
                  <a:lnTo>
                    <a:pt x="883" y="275"/>
                  </a:lnTo>
                  <a:lnTo>
                    <a:pt x="883" y="275"/>
                  </a:lnTo>
                  <a:lnTo>
                    <a:pt x="881" y="275"/>
                  </a:lnTo>
                  <a:lnTo>
                    <a:pt x="881" y="277"/>
                  </a:lnTo>
                  <a:lnTo>
                    <a:pt x="881" y="279"/>
                  </a:lnTo>
                  <a:lnTo>
                    <a:pt x="881" y="283"/>
                  </a:lnTo>
                  <a:lnTo>
                    <a:pt x="879" y="285"/>
                  </a:lnTo>
                  <a:lnTo>
                    <a:pt x="877" y="285"/>
                  </a:lnTo>
                  <a:lnTo>
                    <a:pt x="873" y="285"/>
                  </a:lnTo>
                  <a:lnTo>
                    <a:pt x="873" y="287"/>
                  </a:lnTo>
                  <a:lnTo>
                    <a:pt x="875" y="287"/>
                  </a:lnTo>
                  <a:lnTo>
                    <a:pt x="875" y="287"/>
                  </a:lnTo>
                  <a:lnTo>
                    <a:pt x="875" y="289"/>
                  </a:lnTo>
                  <a:lnTo>
                    <a:pt x="875" y="289"/>
                  </a:lnTo>
                  <a:lnTo>
                    <a:pt x="873" y="291"/>
                  </a:lnTo>
                  <a:lnTo>
                    <a:pt x="873" y="291"/>
                  </a:lnTo>
                  <a:lnTo>
                    <a:pt x="873" y="295"/>
                  </a:lnTo>
                  <a:lnTo>
                    <a:pt x="873" y="297"/>
                  </a:lnTo>
                  <a:lnTo>
                    <a:pt x="871" y="299"/>
                  </a:lnTo>
                  <a:lnTo>
                    <a:pt x="868" y="299"/>
                  </a:lnTo>
                  <a:lnTo>
                    <a:pt x="864" y="297"/>
                  </a:lnTo>
                  <a:lnTo>
                    <a:pt x="864" y="295"/>
                  </a:lnTo>
                  <a:lnTo>
                    <a:pt x="862" y="293"/>
                  </a:lnTo>
                  <a:lnTo>
                    <a:pt x="862" y="291"/>
                  </a:lnTo>
                  <a:lnTo>
                    <a:pt x="862" y="289"/>
                  </a:lnTo>
                  <a:lnTo>
                    <a:pt x="864" y="285"/>
                  </a:lnTo>
                  <a:lnTo>
                    <a:pt x="864" y="283"/>
                  </a:lnTo>
                  <a:lnTo>
                    <a:pt x="864" y="283"/>
                  </a:lnTo>
                  <a:lnTo>
                    <a:pt x="862" y="281"/>
                  </a:lnTo>
                  <a:lnTo>
                    <a:pt x="862" y="281"/>
                  </a:lnTo>
                  <a:lnTo>
                    <a:pt x="860" y="279"/>
                  </a:lnTo>
                  <a:lnTo>
                    <a:pt x="860" y="279"/>
                  </a:lnTo>
                  <a:lnTo>
                    <a:pt x="860" y="281"/>
                  </a:lnTo>
                  <a:lnTo>
                    <a:pt x="858" y="281"/>
                  </a:lnTo>
                  <a:lnTo>
                    <a:pt x="858" y="281"/>
                  </a:lnTo>
                  <a:lnTo>
                    <a:pt x="858" y="283"/>
                  </a:lnTo>
                  <a:lnTo>
                    <a:pt x="856" y="285"/>
                  </a:lnTo>
                  <a:lnTo>
                    <a:pt x="856" y="285"/>
                  </a:lnTo>
                  <a:lnTo>
                    <a:pt x="854" y="283"/>
                  </a:lnTo>
                  <a:lnTo>
                    <a:pt x="852" y="283"/>
                  </a:lnTo>
                  <a:lnTo>
                    <a:pt x="852" y="285"/>
                  </a:lnTo>
                  <a:lnTo>
                    <a:pt x="850" y="285"/>
                  </a:lnTo>
                  <a:lnTo>
                    <a:pt x="850" y="285"/>
                  </a:lnTo>
                  <a:lnTo>
                    <a:pt x="850" y="285"/>
                  </a:lnTo>
                  <a:lnTo>
                    <a:pt x="850" y="287"/>
                  </a:lnTo>
                  <a:lnTo>
                    <a:pt x="848" y="287"/>
                  </a:lnTo>
                  <a:lnTo>
                    <a:pt x="848" y="287"/>
                  </a:lnTo>
                  <a:lnTo>
                    <a:pt x="848" y="289"/>
                  </a:lnTo>
                  <a:lnTo>
                    <a:pt x="846" y="289"/>
                  </a:lnTo>
                  <a:lnTo>
                    <a:pt x="842" y="289"/>
                  </a:lnTo>
                  <a:lnTo>
                    <a:pt x="840" y="289"/>
                  </a:lnTo>
                  <a:lnTo>
                    <a:pt x="840" y="285"/>
                  </a:lnTo>
                  <a:lnTo>
                    <a:pt x="838" y="283"/>
                  </a:lnTo>
                  <a:lnTo>
                    <a:pt x="838" y="283"/>
                  </a:lnTo>
                  <a:lnTo>
                    <a:pt x="836" y="281"/>
                  </a:lnTo>
                  <a:lnTo>
                    <a:pt x="834" y="281"/>
                  </a:lnTo>
                  <a:lnTo>
                    <a:pt x="830" y="281"/>
                  </a:lnTo>
                  <a:lnTo>
                    <a:pt x="828" y="281"/>
                  </a:lnTo>
                  <a:lnTo>
                    <a:pt x="828" y="279"/>
                  </a:lnTo>
                  <a:lnTo>
                    <a:pt x="828" y="275"/>
                  </a:lnTo>
                  <a:lnTo>
                    <a:pt x="825" y="273"/>
                  </a:lnTo>
                  <a:lnTo>
                    <a:pt x="821" y="271"/>
                  </a:lnTo>
                  <a:lnTo>
                    <a:pt x="819" y="273"/>
                  </a:lnTo>
                  <a:lnTo>
                    <a:pt x="815" y="275"/>
                  </a:lnTo>
                  <a:lnTo>
                    <a:pt x="809" y="283"/>
                  </a:lnTo>
                  <a:lnTo>
                    <a:pt x="805" y="285"/>
                  </a:lnTo>
                  <a:lnTo>
                    <a:pt x="801" y="285"/>
                  </a:lnTo>
                  <a:lnTo>
                    <a:pt x="797" y="285"/>
                  </a:lnTo>
                  <a:lnTo>
                    <a:pt x="795" y="283"/>
                  </a:lnTo>
                  <a:lnTo>
                    <a:pt x="795" y="283"/>
                  </a:lnTo>
                  <a:lnTo>
                    <a:pt x="795" y="281"/>
                  </a:lnTo>
                  <a:lnTo>
                    <a:pt x="795" y="281"/>
                  </a:lnTo>
                  <a:lnTo>
                    <a:pt x="795" y="279"/>
                  </a:lnTo>
                  <a:lnTo>
                    <a:pt x="795" y="277"/>
                  </a:lnTo>
                  <a:lnTo>
                    <a:pt x="795" y="277"/>
                  </a:lnTo>
                  <a:lnTo>
                    <a:pt x="795" y="275"/>
                  </a:lnTo>
                  <a:lnTo>
                    <a:pt x="795" y="275"/>
                  </a:lnTo>
                  <a:lnTo>
                    <a:pt x="795" y="273"/>
                  </a:lnTo>
                  <a:lnTo>
                    <a:pt x="795" y="273"/>
                  </a:lnTo>
                  <a:lnTo>
                    <a:pt x="793" y="273"/>
                  </a:lnTo>
                  <a:lnTo>
                    <a:pt x="791" y="271"/>
                  </a:lnTo>
                  <a:lnTo>
                    <a:pt x="787" y="271"/>
                  </a:lnTo>
                  <a:lnTo>
                    <a:pt x="782" y="268"/>
                  </a:lnTo>
                  <a:lnTo>
                    <a:pt x="782" y="264"/>
                  </a:lnTo>
                  <a:lnTo>
                    <a:pt x="780" y="262"/>
                  </a:lnTo>
                  <a:lnTo>
                    <a:pt x="782" y="260"/>
                  </a:lnTo>
                  <a:lnTo>
                    <a:pt x="782" y="256"/>
                  </a:lnTo>
                  <a:lnTo>
                    <a:pt x="780" y="256"/>
                  </a:lnTo>
                  <a:lnTo>
                    <a:pt x="778" y="256"/>
                  </a:lnTo>
                  <a:lnTo>
                    <a:pt x="774" y="256"/>
                  </a:lnTo>
                  <a:lnTo>
                    <a:pt x="770" y="258"/>
                  </a:lnTo>
                  <a:lnTo>
                    <a:pt x="760" y="256"/>
                  </a:lnTo>
                  <a:lnTo>
                    <a:pt x="758" y="256"/>
                  </a:lnTo>
                  <a:lnTo>
                    <a:pt x="756" y="258"/>
                  </a:lnTo>
                  <a:lnTo>
                    <a:pt x="754" y="260"/>
                  </a:lnTo>
                  <a:lnTo>
                    <a:pt x="754" y="262"/>
                  </a:lnTo>
                  <a:lnTo>
                    <a:pt x="752" y="262"/>
                  </a:lnTo>
                  <a:lnTo>
                    <a:pt x="750" y="264"/>
                  </a:lnTo>
                  <a:lnTo>
                    <a:pt x="746" y="264"/>
                  </a:lnTo>
                  <a:lnTo>
                    <a:pt x="746" y="262"/>
                  </a:lnTo>
                  <a:lnTo>
                    <a:pt x="742" y="260"/>
                  </a:lnTo>
                  <a:lnTo>
                    <a:pt x="739" y="258"/>
                  </a:lnTo>
                  <a:lnTo>
                    <a:pt x="739" y="258"/>
                  </a:lnTo>
                  <a:lnTo>
                    <a:pt x="737" y="256"/>
                  </a:lnTo>
                  <a:lnTo>
                    <a:pt x="737" y="254"/>
                  </a:lnTo>
                  <a:lnTo>
                    <a:pt x="735" y="254"/>
                  </a:lnTo>
                  <a:lnTo>
                    <a:pt x="733" y="254"/>
                  </a:lnTo>
                  <a:lnTo>
                    <a:pt x="731" y="254"/>
                  </a:lnTo>
                  <a:lnTo>
                    <a:pt x="725" y="258"/>
                  </a:lnTo>
                  <a:lnTo>
                    <a:pt x="725" y="256"/>
                  </a:lnTo>
                  <a:lnTo>
                    <a:pt x="713" y="254"/>
                  </a:lnTo>
                  <a:lnTo>
                    <a:pt x="711" y="254"/>
                  </a:lnTo>
                  <a:lnTo>
                    <a:pt x="705" y="250"/>
                  </a:lnTo>
                  <a:lnTo>
                    <a:pt x="703" y="250"/>
                  </a:lnTo>
                  <a:lnTo>
                    <a:pt x="701" y="250"/>
                  </a:lnTo>
                  <a:lnTo>
                    <a:pt x="701" y="250"/>
                  </a:lnTo>
                  <a:lnTo>
                    <a:pt x="699" y="250"/>
                  </a:lnTo>
                  <a:lnTo>
                    <a:pt x="696" y="250"/>
                  </a:lnTo>
                  <a:lnTo>
                    <a:pt x="692" y="250"/>
                  </a:lnTo>
                  <a:lnTo>
                    <a:pt x="690" y="248"/>
                  </a:lnTo>
                  <a:lnTo>
                    <a:pt x="686" y="250"/>
                  </a:lnTo>
                  <a:lnTo>
                    <a:pt x="684" y="248"/>
                  </a:lnTo>
                  <a:lnTo>
                    <a:pt x="682" y="248"/>
                  </a:lnTo>
                  <a:lnTo>
                    <a:pt x="682" y="246"/>
                  </a:lnTo>
                  <a:lnTo>
                    <a:pt x="682" y="240"/>
                  </a:lnTo>
                  <a:lnTo>
                    <a:pt x="682" y="238"/>
                  </a:lnTo>
                  <a:lnTo>
                    <a:pt x="682" y="238"/>
                  </a:lnTo>
                  <a:lnTo>
                    <a:pt x="682" y="236"/>
                  </a:lnTo>
                  <a:lnTo>
                    <a:pt x="678" y="234"/>
                  </a:lnTo>
                  <a:lnTo>
                    <a:pt x="678" y="232"/>
                  </a:lnTo>
                  <a:lnTo>
                    <a:pt x="678" y="230"/>
                  </a:lnTo>
                  <a:lnTo>
                    <a:pt x="676" y="227"/>
                  </a:lnTo>
                  <a:lnTo>
                    <a:pt x="674" y="227"/>
                  </a:lnTo>
                  <a:lnTo>
                    <a:pt x="674" y="227"/>
                  </a:lnTo>
                  <a:lnTo>
                    <a:pt x="672" y="227"/>
                  </a:lnTo>
                  <a:lnTo>
                    <a:pt x="672" y="227"/>
                  </a:lnTo>
                  <a:lnTo>
                    <a:pt x="670" y="225"/>
                  </a:lnTo>
                  <a:lnTo>
                    <a:pt x="670" y="225"/>
                  </a:lnTo>
                  <a:lnTo>
                    <a:pt x="670" y="225"/>
                  </a:lnTo>
                  <a:lnTo>
                    <a:pt x="670" y="223"/>
                  </a:lnTo>
                  <a:lnTo>
                    <a:pt x="668" y="223"/>
                  </a:lnTo>
                  <a:lnTo>
                    <a:pt x="666" y="223"/>
                  </a:lnTo>
                  <a:lnTo>
                    <a:pt x="666" y="223"/>
                  </a:lnTo>
                  <a:lnTo>
                    <a:pt x="666" y="230"/>
                  </a:lnTo>
                  <a:lnTo>
                    <a:pt x="664" y="232"/>
                  </a:lnTo>
                  <a:lnTo>
                    <a:pt x="664" y="232"/>
                  </a:lnTo>
                  <a:lnTo>
                    <a:pt x="662" y="232"/>
                  </a:lnTo>
                  <a:lnTo>
                    <a:pt x="660" y="232"/>
                  </a:lnTo>
                  <a:lnTo>
                    <a:pt x="655" y="230"/>
                  </a:lnTo>
                  <a:lnTo>
                    <a:pt x="651" y="227"/>
                  </a:lnTo>
                  <a:lnTo>
                    <a:pt x="651" y="227"/>
                  </a:lnTo>
                  <a:lnTo>
                    <a:pt x="649" y="230"/>
                  </a:lnTo>
                  <a:lnTo>
                    <a:pt x="649" y="230"/>
                  </a:lnTo>
                  <a:lnTo>
                    <a:pt x="647" y="232"/>
                  </a:lnTo>
                  <a:lnTo>
                    <a:pt x="647" y="232"/>
                  </a:lnTo>
                  <a:lnTo>
                    <a:pt x="641" y="232"/>
                  </a:lnTo>
                  <a:lnTo>
                    <a:pt x="639" y="230"/>
                  </a:lnTo>
                  <a:lnTo>
                    <a:pt x="639" y="230"/>
                  </a:lnTo>
                  <a:lnTo>
                    <a:pt x="637" y="225"/>
                  </a:lnTo>
                  <a:lnTo>
                    <a:pt x="621" y="211"/>
                  </a:lnTo>
                  <a:lnTo>
                    <a:pt x="621" y="211"/>
                  </a:lnTo>
                  <a:lnTo>
                    <a:pt x="619" y="211"/>
                  </a:lnTo>
                  <a:lnTo>
                    <a:pt x="619" y="211"/>
                  </a:lnTo>
                  <a:lnTo>
                    <a:pt x="617" y="209"/>
                  </a:lnTo>
                  <a:lnTo>
                    <a:pt x="612" y="211"/>
                  </a:lnTo>
                  <a:lnTo>
                    <a:pt x="610" y="211"/>
                  </a:lnTo>
                  <a:lnTo>
                    <a:pt x="610" y="205"/>
                  </a:lnTo>
                  <a:lnTo>
                    <a:pt x="610" y="193"/>
                  </a:lnTo>
                  <a:lnTo>
                    <a:pt x="610" y="180"/>
                  </a:lnTo>
                  <a:lnTo>
                    <a:pt x="610" y="168"/>
                  </a:lnTo>
                  <a:lnTo>
                    <a:pt x="610" y="156"/>
                  </a:lnTo>
                  <a:lnTo>
                    <a:pt x="610" y="143"/>
                  </a:lnTo>
                  <a:lnTo>
                    <a:pt x="610" y="131"/>
                  </a:lnTo>
                  <a:lnTo>
                    <a:pt x="610" y="119"/>
                  </a:lnTo>
                  <a:lnTo>
                    <a:pt x="610" y="107"/>
                  </a:lnTo>
                  <a:lnTo>
                    <a:pt x="610" y="94"/>
                  </a:lnTo>
                  <a:lnTo>
                    <a:pt x="610" y="82"/>
                  </a:lnTo>
                  <a:lnTo>
                    <a:pt x="610" y="70"/>
                  </a:lnTo>
                  <a:lnTo>
                    <a:pt x="610" y="57"/>
                  </a:lnTo>
                  <a:lnTo>
                    <a:pt x="610" y="45"/>
                  </a:lnTo>
                  <a:lnTo>
                    <a:pt x="610" y="33"/>
                  </a:lnTo>
                  <a:lnTo>
                    <a:pt x="610" y="21"/>
                  </a:lnTo>
                  <a:lnTo>
                    <a:pt x="610" y="8"/>
                  </a:lnTo>
                  <a:lnTo>
                    <a:pt x="610" y="4"/>
                  </a:lnTo>
                  <a:lnTo>
                    <a:pt x="610" y="4"/>
                  </a:lnTo>
                  <a:lnTo>
                    <a:pt x="594" y="4"/>
                  </a:lnTo>
                  <a:lnTo>
                    <a:pt x="582" y="4"/>
                  </a:lnTo>
                  <a:lnTo>
                    <a:pt x="565" y="4"/>
                  </a:lnTo>
                  <a:lnTo>
                    <a:pt x="545" y="4"/>
                  </a:lnTo>
                  <a:lnTo>
                    <a:pt x="524" y="2"/>
                  </a:lnTo>
                  <a:lnTo>
                    <a:pt x="502" y="2"/>
                  </a:lnTo>
                  <a:lnTo>
                    <a:pt x="477" y="2"/>
                  </a:lnTo>
                  <a:lnTo>
                    <a:pt x="453" y="2"/>
                  </a:lnTo>
                  <a:lnTo>
                    <a:pt x="430" y="2"/>
                  </a:lnTo>
                  <a:lnTo>
                    <a:pt x="408" y="2"/>
                  </a:lnTo>
                  <a:lnTo>
                    <a:pt x="389" y="0"/>
                  </a:lnTo>
                  <a:lnTo>
                    <a:pt x="373" y="0"/>
                  </a:lnTo>
                  <a:lnTo>
                    <a:pt x="361" y="0"/>
                  </a:lnTo>
                  <a:lnTo>
                    <a:pt x="352" y="0"/>
                  </a:lnTo>
                  <a:lnTo>
                    <a:pt x="348" y="0"/>
                  </a:lnTo>
                  <a:lnTo>
                    <a:pt x="346" y="0"/>
                  </a:lnTo>
                  <a:lnTo>
                    <a:pt x="346" y="2"/>
                  </a:lnTo>
                  <a:lnTo>
                    <a:pt x="346" y="4"/>
                  </a:lnTo>
                  <a:lnTo>
                    <a:pt x="344" y="21"/>
                  </a:lnTo>
                  <a:lnTo>
                    <a:pt x="344" y="35"/>
                  </a:lnTo>
                  <a:lnTo>
                    <a:pt x="344" y="49"/>
                  </a:lnTo>
                  <a:lnTo>
                    <a:pt x="344" y="66"/>
                  </a:lnTo>
                  <a:lnTo>
                    <a:pt x="342" y="80"/>
                  </a:lnTo>
                  <a:lnTo>
                    <a:pt x="342" y="94"/>
                  </a:lnTo>
                  <a:lnTo>
                    <a:pt x="342" y="111"/>
                  </a:lnTo>
                  <a:lnTo>
                    <a:pt x="342" y="125"/>
                  </a:lnTo>
                  <a:lnTo>
                    <a:pt x="342" y="139"/>
                  </a:lnTo>
                  <a:lnTo>
                    <a:pt x="340" y="156"/>
                  </a:lnTo>
                  <a:lnTo>
                    <a:pt x="340" y="170"/>
                  </a:lnTo>
                  <a:lnTo>
                    <a:pt x="340" y="184"/>
                  </a:lnTo>
                  <a:lnTo>
                    <a:pt x="340" y="199"/>
                  </a:lnTo>
                  <a:lnTo>
                    <a:pt x="338" y="215"/>
                  </a:lnTo>
                  <a:lnTo>
                    <a:pt x="338" y="230"/>
                  </a:lnTo>
                  <a:lnTo>
                    <a:pt x="338" y="244"/>
                  </a:lnTo>
                  <a:lnTo>
                    <a:pt x="338" y="260"/>
                  </a:lnTo>
                  <a:lnTo>
                    <a:pt x="336" y="275"/>
                  </a:lnTo>
                  <a:lnTo>
                    <a:pt x="336" y="289"/>
                  </a:lnTo>
                  <a:lnTo>
                    <a:pt x="336" y="305"/>
                  </a:lnTo>
                  <a:lnTo>
                    <a:pt x="336" y="320"/>
                  </a:lnTo>
                  <a:lnTo>
                    <a:pt x="334" y="334"/>
                  </a:lnTo>
                  <a:lnTo>
                    <a:pt x="334" y="350"/>
                  </a:lnTo>
                  <a:lnTo>
                    <a:pt x="334" y="365"/>
                  </a:lnTo>
                  <a:lnTo>
                    <a:pt x="334" y="379"/>
                  </a:lnTo>
                  <a:lnTo>
                    <a:pt x="334" y="396"/>
                  </a:lnTo>
                  <a:lnTo>
                    <a:pt x="332" y="410"/>
                  </a:lnTo>
                  <a:lnTo>
                    <a:pt x="332" y="424"/>
                  </a:lnTo>
                  <a:lnTo>
                    <a:pt x="332" y="441"/>
                  </a:lnTo>
                  <a:lnTo>
                    <a:pt x="332" y="455"/>
                  </a:lnTo>
                  <a:lnTo>
                    <a:pt x="330" y="469"/>
                  </a:lnTo>
                  <a:lnTo>
                    <a:pt x="330" y="486"/>
                  </a:lnTo>
                  <a:lnTo>
                    <a:pt x="309" y="484"/>
                  </a:lnTo>
                  <a:lnTo>
                    <a:pt x="289" y="484"/>
                  </a:lnTo>
                  <a:lnTo>
                    <a:pt x="268" y="484"/>
                  </a:lnTo>
                  <a:lnTo>
                    <a:pt x="248" y="482"/>
                  </a:lnTo>
                  <a:lnTo>
                    <a:pt x="229" y="482"/>
                  </a:lnTo>
                  <a:lnTo>
                    <a:pt x="209" y="482"/>
                  </a:lnTo>
                  <a:lnTo>
                    <a:pt x="189" y="480"/>
                  </a:lnTo>
                  <a:lnTo>
                    <a:pt x="168" y="480"/>
                  </a:lnTo>
                  <a:lnTo>
                    <a:pt x="148" y="478"/>
                  </a:lnTo>
                  <a:lnTo>
                    <a:pt x="127" y="478"/>
                  </a:lnTo>
                  <a:lnTo>
                    <a:pt x="107" y="475"/>
                  </a:lnTo>
                  <a:lnTo>
                    <a:pt x="86" y="475"/>
                  </a:lnTo>
                  <a:lnTo>
                    <a:pt x="66" y="473"/>
                  </a:lnTo>
                  <a:lnTo>
                    <a:pt x="45" y="473"/>
                  </a:lnTo>
                  <a:lnTo>
                    <a:pt x="25" y="471"/>
                  </a:lnTo>
                  <a:lnTo>
                    <a:pt x="4" y="471"/>
                  </a:lnTo>
                  <a:lnTo>
                    <a:pt x="2" y="471"/>
                  </a:lnTo>
                  <a:lnTo>
                    <a:pt x="0" y="471"/>
                  </a:lnTo>
                  <a:lnTo>
                    <a:pt x="0" y="471"/>
                  </a:lnTo>
                  <a:lnTo>
                    <a:pt x="2" y="475"/>
                  </a:lnTo>
                  <a:lnTo>
                    <a:pt x="2" y="478"/>
                  </a:lnTo>
                  <a:lnTo>
                    <a:pt x="4" y="482"/>
                  </a:lnTo>
                  <a:lnTo>
                    <a:pt x="4" y="484"/>
                  </a:lnTo>
                  <a:lnTo>
                    <a:pt x="6" y="486"/>
                  </a:lnTo>
                  <a:lnTo>
                    <a:pt x="4" y="488"/>
                  </a:lnTo>
                  <a:lnTo>
                    <a:pt x="6" y="488"/>
                  </a:lnTo>
                  <a:lnTo>
                    <a:pt x="6" y="490"/>
                  </a:lnTo>
                  <a:lnTo>
                    <a:pt x="8" y="490"/>
                  </a:lnTo>
                  <a:lnTo>
                    <a:pt x="8" y="490"/>
                  </a:lnTo>
                  <a:lnTo>
                    <a:pt x="10" y="492"/>
                  </a:lnTo>
                  <a:lnTo>
                    <a:pt x="14" y="498"/>
                  </a:lnTo>
                  <a:lnTo>
                    <a:pt x="16" y="498"/>
                  </a:lnTo>
                  <a:lnTo>
                    <a:pt x="21" y="498"/>
                  </a:lnTo>
                  <a:lnTo>
                    <a:pt x="25" y="500"/>
                  </a:lnTo>
                  <a:lnTo>
                    <a:pt x="27" y="502"/>
                  </a:lnTo>
                  <a:lnTo>
                    <a:pt x="29" y="506"/>
                  </a:lnTo>
                  <a:lnTo>
                    <a:pt x="31" y="510"/>
                  </a:lnTo>
                  <a:lnTo>
                    <a:pt x="33" y="518"/>
                  </a:lnTo>
                  <a:lnTo>
                    <a:pt x="33" y="521"/>
                  </a:lnTo>
                  <a:lnTo>
                    <a:pt x="37" y="525"/>
                  </a:lnTo>
                  <a:lnTo>
                    <a:pt x="39" y="527"/>
                  </a:lnTo>
                  <a:lnTo>
                    <a:pt x="39" y="527"/>
                  </a:lnTo>
                  <a:lnTo>
                    <a:pt x="39" y="529"/>
                  </a:lnTo>
                  <a:lnTo>
                    <a:pt x="39" y="529"/>
                  </a:lnTo>
                  <a:lnTo>
                    <a:pt x="39" y="529"/>
                  </a:lnTo>
                  <a:lnTo>
                    <a:pt x="43" y="531"/>
                  </a:lnTo>
                  <a:lnTo>
                    <a:pt x="43" y="533"/>
                  </a:lnTo>
                  <a:lnTo>
                    <a:pt x="45" y="533"/>
                  </a:lnTo>
                  <a:lnTo>
                    <a:pt x="49" y="535"/>
                  </a:lnTo>
                  <a:lnTo>
                    <a:pt x="51" y="537"/>
                  </a:lnTo>
                  <a:lnTo>
                    <a:pt x="53" y="537"/>
                  </a:lnTo>
                  <a:lnTo>
                    <a:pt x="55" y="539"/>
                  </a:lnTo>
                  <a:lnTo>
                    <a:pt x="57" y="539"/>
                  </a:lnTo>
                  <a:lnTo>
                    <a:pt x="62" y="541"/>
                  </a:lnTo>
                  <a:lnTo>
                    <a:pt x="62" y="543"/>
                  </a:lnTo>
                  <a:lnTo>
                    <a:pt x="64" y="543"/>
                  </a:lnTo>
                  <a:lnTo>
                    <a:pt x="64" y="545"/>
                  </a:lnTo>
                  <a:lnTo>
                    <a:pt x="64" y="547"/>
                  </a:lnTo>
                  <a:lnTo>
                    <a:pt x="66" y="547"/>
                  </a:lnTo>
                  <a:lnTo>
                    <a:pt x="68" y="549"/>
                  </a:lnTo>
                  <a:lnTo>
                    <a:pt x="68" y="549"/>
                  </a:lnTo>
                  <a:lnTo>
                    <a:pt x="68" y="549"/>
                  </a:lnTo>
                  <a:lnTo>
                    <a:pt x="70" y="551"/>
                  </a:lnTo>
                  <a:lnTo>
                    <a:pt x="76" y="559"/>
                  </a:lnTo>
                  <a:lnTo>
                    <a:pt x="78" y="562"/>
                  </a:lnTo>
                  <a:lnTo>
                    <a:pt x="78" y="564"/>
                  </a:lnTo>
                  <a:lnTo>
                    <a:pt x="84" y="568"/>
                  </a:lnTo>
                  <a:lnTo>
                    <a:pt x="86" y="570"/>
                  </a:lnTo>
                  <a:lnTo>
                    <a:pt x="86" y="570"/>
                  </a:lnTo>
                  <a:lnTo>
                    <a:pt x="90" y="572"/>
                  </a:lnTo>
                  <a:lnTo>
                    <a:pt x="90" y="574"/>
                  </a:lnTo>
                  <a:lnTo>
                    <a:pt x="92" y="574"/>
                  </a:lnTo>
                  <a:lnTo>
                    <a:pt x="94" y="576"/>
                  </a:lnTo>
                  <a:lnTo>
                    <a:pt x="94" y="578"/>
                  </a:lnTo>
                  <a:lnTo>
                    <a:pt x="96" y="582"/>
                  </a:lnTo>
                  <a:lnTo>
                    <a:pt x="96" y="584"/>
                  </a:lnTo>
                  <a:lnTo>
                    <a:pt x="98" y="584"/>
                  </a:lnTo>
                  <a:lnTo>
                    <a:pt x="103" y="588"/>
                  </a:lnTo>
                  <a:lnTo>
                    <a:pt x="109" y="594"/>
                  </a:lnTo>
                  <a:lnTo>
                    <a:pt x="113" y="600"/>
                  </a:lnTo>
                  <a:lnTo>
                    <a:pt x="113" y="600"/>
                  </a:lnTo>
                  <a:lnTo>
                    <a:pt x="117" y="603"/>
                  </a:lnTo>
                  <a:lnTo>
                    <a:pt x="121" y="605"/>
                  </a:lnTo>
                  <a:lnTo>
                    <a:pt x="123" y="605"/>
                  </a:lnTo>
                  <a:lnTo>
                    <a:pt x="123" y="607"/>
                  </a:lnTo>
                  <a:lnTo>
                    <a:pt x="123" y="607"/>
                  </a:lnTo>
                  <a:lnTo>
                    <a:pt x="125" y="607"/>
                  </a:lnTo>
                  <a:lnTo>
                    <a:pt x="125" y="607"/>
                  </a:lnTo>
                  <a:lnTo>
                    <a:pt x="125" y="607"/>
                  </a:lnTo>
                  <a:lnTo>
                    <a:pt x="125" y="607"/>
                  </a:lnTo>
                  <a:lnTo>
                    <a:pt x="125" y="607"/>
                  </a:lnTo>
                  <a:lnTo>
                    <a:pt x="127" y="607"/>
                  </a:lnTo>
                  <a:lnTo>
                    <a:pt x="127" y="607"/>
                  </a:lnTo>
                  <a:lnTo>
                    <a:pt x="129" y="607"/>
                  </a:lnTo>
                  <a:lnTo>
                    <a:pt x="129" y="609"/>
                  </a:lnTo>
                  <a:lnTo>
                    <a:pt x="129" y="609"/>
                  </a:lnTo>
                  <a:lnTo>
                    <a:pt x="131" y="609"/>
                  </a:lnTo>
                  <a:lnTo>
                    <a:pt x="131" y="609"/>
                  </a:lnTo>
                  <a:lnTo>
                    <a:pt x="131" y="611"/>
                  </a:lnTo>
                  <a:lnTo>
                    <a:pt x="131" y="611"/>
                  </a:lnTo>
                  <a:lnTo>
                    <a:pt x="133" y="611"/>
                  </a:lnTo>
                  <a:lnTo>
                    <a:pt x="133" y="611"/>
                  </a:lnTo>
                  <a:lnTo>
                    <a:pt x="133" y="613"/>
                  </a:lnTo>
                  <a:lnTo>
                    <a:pt x="135" y="613"/>
                  </a:lnTo>
                  <a:lnTo>
                    <a:pt x="135" y="613"/>
                  </a:lnTo>
                  <a:lnTo>
                    <a:pt x="139" y="617"/>
                  </a:lnTo>
                  <a:lnTo>
                    <a:pt x="141" y="619"/>
                  </a:lnTo>
                  <a:lnTo>
                    <a:pt x="141" y="619"/>
                  </a:lnTo>
                  <a:lnTo>
                    <a:pt x="143" y="619"/>
                  </a:lnTo>
                  <a:lnTo>
                    <a:pt x="146" y="621"/>
                  </a:lnTo>
                  <a:lnTo>
                    <a:pt x="148" y="623"/>
                  </a:lnTo>
                  <a:lnTo>
                    <a:pt x="148" y="623"/>
                  </a:lnTo>
                  <a:lnTo>
                    <a:pt x="148" y="625"/>
                  </a:lnTo>
                  <a:lnTo>
                    <a:pt x="148" y="627"/>
                  </a:lnTo>
                  <a:lnTo>
                    <a:pt x="148" y="627"/>
                  </a:lnTo>
                  <a:lnTo>
                    <a:pt x="150" y="627"/>
                  </a:lnTo>
                  <a:lnTo>
                    <a:pt x="152" y="627"/>
                  </a:lnTo>
                  <a:lnTo>
                    <a:pt x="152" y="629"/>
                  </a:lnTo>
                  <a:lnTo>
                    <a:pt x="154" y="629"/>
                  </a:lnTo>
                  <a:lnTo>
                    <a:pt x="156" y="633"/>
                  </a:lnTo>
                  <a:lnTo>
                    <a:pt x="156" y="635"/>
                  </a:lnTo>
                  <a:lnTo>
                    <a:pt x="156" y="635"/>
                  </a:lnTo>
                  <a:lnTo>
                    <a:pt x="156" y="639"/>
                  </a:lnTo>
                  <a:lnTo>
                    <a:pt x="158" y="639"/>
                  </a:lnTo>
                  <a:lnTo>
                    <a:pt x="158" y="641"/>
                  </a:lnTo>
                  <a:lnTo>
                    <a:pt x="158" y="641"/>
                  </a:lnTo>
                  <a:lnTo>
                    <a:pt x="158" y="641"/>
                  </a:lnTo>
                  <a:lnTo>
                    <a:pt x="158" y="644"/>
                  </a:lnTo>
                  <a:lnTo>
                    <a:pt x="158" y="644"/>
                  </a:lnTo>
                  <a:lnTo>
                    <a:pt x="158" y="646"/>
                  </a:lnTo>
                  <a:lnTo>
                    <a:pt x="160" y="646"/>
                  </a:lnTo>
                  <a:lnTo>
                    <a:pt x="160" y="648"/>
                  </a:lnTo>
                  <a:lnTo>
                    <a:pt x="160" y="650"/>
                  </a:lnTo>
                  <a:lnTo>
                    <a:pt x="158" y="650"/>
                  </a:lnTo>
                  <a:lnTo>
                    <a:pt x="160" y="650"/>
                  </a:lnTo>
                  <a:lnTo>
                    <a:pt x="160" y="652"/>
                  </a:lnTo>
                  <a:lnTo>
                    <a:pt x="160" y="652"/>
                  </a:lnTo>
                  <a:lnTo>
                    <a:pt x="162" y="654"/>
                  </a:lnTo>
                  <a:lnTo>
                    <a:pt x="162" y="654"/>
                  </a:lnTo>
                  <a:lnTo>
                    <a:pt x="162" y="654"/>
                  </a:lnTo>
                  <a:lnTo>
                    <a:pt x="162" y="656"/>
                  </a:lnTo>
                  <a:lnTo>
                    <a:pt x="162" y="658"/>
                  </a:lnTo>
                  <a:lnTo>
                    <a:pt x="162" y="658"/>
                  </a:lnTo>
                  <a:lnTo>
                    <a:pt x="164" y="658"/>
                  </a:lnTo>
                  <a:lnTo>
                    <a:pt x="166" y="662"/>
                  </a:lnTo>
                  <a:lnTo>
                    <a:pt x="166" y="664"/>
                  </a:lnTo>
                  <a:lnTo>
                    <a:pt x="168" y="666"/>
                  </a:lnTo>
                  <a:lnTo>
                    <a:pt x="168" y="668"/>
                  </a:lnTo>
                  <a:lnTo>
                    <a:pt x="170" y="668"/>
                  </a:lnTo>
                  <a:lnTo>
                    <a:pt x="170" y="668"/>
                  </a:lnTo>
                  <a:lnTo>
                    <a:pt x="172" y="672"/>
                  </a:lnTo>
                  <a:lnTo>
                    <a:pt x="174" y="674"/>
                  </a:lnTo>
                  <a:lnTo>
                    <a:pt x="174" y="676"/>
                  </a:lnTo>
                  <a:lnTo>
                    <a:pt x="174" y="680"/>
                  </a:lnTo>
                  <a:lnTo>
                    <a:pt x="174" y="682"/>
                  </a:lnTo>
                  <a:lnTo>
                    <a:pt x="172" y="687"/>
                  </a:lnTo>
                  <a:lnTo>
                    <a:pt x="172" y="689"/>
                  </a:lnTo>
                  <a:lnTo>
                    <a:pt x="172" y="693"/>
                  </a:lnTo>
                  <a:lnTo>
                    <a:pt x="172" y="699"/>
                  </a:lnTo>
                  <a:lnTo>
                    <a:pt x="172" y="699"/>
                  </a:lnTo>
                  <a:lnTo>
                    <a:pt x="172" y="701"/>
                  </a:lnTo>
                  <a:lnTo>
                    <a:pt x="172" y="701"/>
                  </a:lnTo>
                  <a:lnTo>
                    <a:pt x="174" y="703"/>
                  </a:lnTo>
                  <a:lnTo>
                    <a:pt x="174" y="703"/>
                  </a:lnTo>
                  <a:lnTo>
                    <a:pt x="174" y="705"/>
                  </a:lnTo>
                  <a:lnTo>
                    <a:pt x="174" y="705"/>
                  </a:lnTo>
                  <a:lnTo>
                    <a:pt x="176" y="707"/>
                  </a:lnTo>
                  <a:lnTo>
                    <a:pt x="178" y="713"/>
                  </a:lnTo>
                  <a:lnTo>
                    <a:pt x="178" y="713"/>
                  </a:lnTo>
                  <a:lnTo>
                    <a:pt x="180" y="715"/>
                  </a:lnTo>
                  <a:lnTo>
                    <a:pt x="180" y="717"/>
                  </a:lnTo>
                  <a:lnTo>
                    <a:pt x="182" y="719"/>
                  </a:lnTo>
                  <a:lnTo>
                    <a:pt x="182" y="723"/>
                  </a:lnTo>
                  <a:lnTo>
                    <a:pt x="184" y="725"/>
                  </a:lnTo>
                  <a:lnTo>
                    <a:pt x="184" y="728"/>
                  </a:lnTo>
                  <a:lnTo>
                    <a:pt x="184" y="730"/>
                  </a:lnTo>
                  <a:lnTo>
                    <a:pt x="184" y="732"/>
                  </a:lnTo>
                  <a:lnTo>
                    <a:pt x="186" y="732"/>
                  </a:lnTo>
                  <a:lnTo>
                    <a:pt x="186" y="734"/>
                  </a:lnTo>
                  <a:lnTo>
                    <a:pt x="191" y="736"/>
                  </a:lnTo>
                  <a:lnTo>
                    <a:pt x="193" y="738"/>
                  </a:lnTo>
                  <a:lnTo>
                    <a:pt x="193" y="738"/>
                  </a:lnTo>
                  <a:lnTo>
                    <a:pt x="193" y="740"/>
                  </a:lnTo>
                  <a:lnTo>
                    <a:pt x="193" y="740"/>
                  </a:lnTo>
                  <a:lnTo>
                    <a:pt x="195" y="742"/>
                  </a:lnTo>
                  <a:lnTo>
                    <a:pt x="195" y="742"/>
                  </a:lnTo>
                  <a:lnTo>
                    <a:pt x="203" y="746"/>
                  </a:lnTo>
                  <a:lnTo>
                    <a:pt x="203" y="748"/>
                  </a:lnTo>
                  <a:lnTo>
                    <a:pt x="205" y="748"/>
                  </a:lnTo>
                  <a:lnTo>
                    <a:pt x="207" y="748"/>
                  </a:lnTo>
                  <a:lnTo>
                    <a:pt x="209" y="748"/>
                  </a:lnTo>
                  <a:lnTo>
                    <a:pt x="211" y="750"/>
                  </a:lnTo>
                  <a:lnTo>
                    <a:pt x="213" y="752"/>
                  </a:lnTo>
                  <a:lnTo>
                    <a:pt x="215" y="752"/>
                  </a:lnTo>
                  <a:lnTo>
                    <a:pt x="215" y="752"/>
                  </a:lnTo>
                  <a:lnTo>
                    <a:pt x="217" y="756"/>
                  </a:lnTo>
                  <a:lnTo>
                    <a:pt x="219" y="760"/>
                  </a:lnTo>
                  <a:lnTo>
                    <a:pt x="221" y="762"/>
                  </a:lnTo>
                  <a:lnTo>
                    <a:pt x="225" y="764"/>
                  </a:lnTo>
                  <a:lnTo>
                    <a:pt x="229" y="769"/>
                  </a:lnTo>
                  <a:lnTo>
                    <a:pt x="232" y="771"/>
                  </a:lnTo>
                  <a:lnTo>
                    <a:pt x="242" y="775"/>
                  </a:lnTo>
                  <a:lnTo>
                    <a:pt x="246" y="777"/>
                  </a:lnTo>
                  <a:lnTo>
                    <a:pt x="254" y="777"/>
                  </a:lnTo>
                  <a:lnTo>
                    <a:pt x="254" y="777"/>
                  </a:lnTo>
                  <a:lnTo>
                    <a:pt x="256" y="777"/>
                  </a:lnTo>
                  <a:lnTo>
                    <a:pt x="256" y="779"/>
                  </a:lnTo>
                  <a:lnTo>
                    <a:pt x="254" y="781"/>
                  </a:lnTo>
                  <a:lnTo>
                    <a:pt x="256" y="781"/>
                  </a:lnTo>
                  <a:lnTo>
                    <a:pt x="256" y="783"/>
                  </a:lnTo>
                  <a:lnTo>
                    <a:pt x="258" y="783"/>
                  </a:lnTo>
                  <a:lnTo>
                    <a:pt x="262" y="787"/>
                  </a:lnTo>
                  <a:lnTo>
                    <a:pt x="264" y="789"/>
                  </a:lnTo>
                  <a:lnTo>
                    <a:pt x="273" y="791"/>
                  </a:lnTo>
                  <a:lnTo>
                    <a:pt x="275" y="791"/>
                  </a:lnTo>
                  <a:lnTo>
                    <a:pt x="277" y="791"/>
                  </a:lnTo>
                  <a:lnTo>
                    <a:pt x="277" y="791"/>
                  </a:lnTo>
                  <a:lnTo>
                    <a:pt x="277" y="791"/>
                  </a:lnTo>
                  <a:lnTo>
                    <a:pt x="277" y="793"/>
                  </a:lnTo>
                  <a:lnTo>
                    <a:pt x="279" y="793"/>
                  </a:lnTo>
                  <a:lnTo>
                    <a:pt x="283" y="799"/>
                  </a:lnTo>
                  <a:lnTo>
                    <a:pt x="287" y="801"/>
                  </a:lnTo>
                  <a:lnTo>
                    <a:pt x="287" y="801"/>
                  </a:lnTo>
                  <a:lnTo>
                    <a:pt x="289" y="801"/>
                  </a:lnTo>
                  <a:lnTo>
                    <a:pt x="291" y="805"/>
                  </a:lnTo>
                  <a:lnTo>
                    <a:pt x="293" y="805"/>
                  </a:lnTo>
                  <a:lnTo>
                    <a:pt x="293" y="805"/>
                  </a:lnTo>
                  <a:lnTo>
                    <a:pt x="295" y="803"/>
                  </a:lnTo>
                  <a:lnTo>
                    <a:pt x="295" y="803"/>
                  </a:lnTo>
                  <a:lnTo>
                    <a:pt x="297" y="805"/>
                  </a:lnTo>
                  <a:lnTo>
                    <a:pt x="297" y="805"/>
                  </a:lnTo>
                  <a:lnTo>
                    <a:pt x="299" y="805"/>
                  </a:lnTo>
                  <a:lnTo>
                    <a:pt x="297" y="807"/>
                  </a:lnTo>
                  <a:lnTo>
                    <a:pt x="299" y="807"/>
                  </a:lnTo>
                  <a:lnTo>
                    <a:pt x="305" y="807"/>
                  </a:lnTo>
                  <a:lnTo>
                    <a:pt x="309" y="809"/>
                  </a:lnTo>
                  <a:lnTo>
                    <a:pt x="313" y="809"/>
                  </a:lnTo>
                  <a:lnTo>
                    <a:pt x="316" y="809"/>
                  </a:lnTo>
                  <a:lnTo>
                    <a:pt x="318" y="805"/>
                  </a:lnTo>
                  <a:lnTo>
                    <a:pt x="318" y="801"/>
                  </a:lnTo>
                  <a:lnTo>
                    <a:pt x="318" y="801"/>
                  </a:lnTo>
                  <a:lnTo>
                    <a:pt x="318" y="801"/>
                  </a:lnTo>
                  <a:lnTo>
                    <a:pt x="320" y="801"/>
                  </a:lnTo>
                  <a:lnTo>
                    <a:pt x="320" y="801"/>
                  </a:lnTo>
                  <a:lnTo>
                    <a:pt x="320" y="799"/>
                  </a:lnTo>
                  <a:lnTo>
                    <a:pt x="322" y="799"/>
                  </a:lnTo>
                  <a:lnTo>
                    <a:pt x="324" y="797"/>
                  </a:lnTo>
                  <a:lnTo>
                    <a:pt x="326" y="795"/>
                  </a:lnTo>
                  <a:lnTo>
                    <a:pt x="326" y="795"/>
                  </a:lnTo>
                  <a:lnTo>
                    <a:pt x="326" y="795"/>
                  </a:lnTo>
                  <a:lnTo>
                    <a:pt x="330" y="789"/>
                  </a:lnTo>
                  <a:lnTo>
                    <a:pt x="330" y="789"/>
                  </a:lnTo>
                  <a:lnTo>
                    <a:pt x="330" y="789"/>
                  </a:lnTo>
                  <a:lnTo>
                    <a:pt x="330" y="789"/>
                  </a:lnTo>
                  <a:lnTo>
                    <a:pt x="332" y="789"/>
                  </a:lnTo>
                  <a:lnTo>
                    <a:pt x="334" y="789"/>
                  </a:lnTo>
                  <a:lnTo>
                    <a:pt x="338" y="785"/>
                  </a:lnTo>
                  <a:lnTo>
                    <a:pt x="340" y="785"/>
                  </a:lnTo>
                  <a:lnTo>
                    <a:pt x="342" y="785"/>
                  </a:lnTo>
                  <a:lnTo>
                    <a:pt x="342" y="785"/>
                  </a:lnTo>
                  <a:lnTo>
                    <a:pt x="340" y="783"/>
                  </a:lnTo>
                  <a:lnTo>
                    <a:pt x="338" y="781"/>
                  </a:lnTo>
                  <a:lnTo>
                    <a:pt x="338" y="781"/>
                  </a:lnTo>
                  <a:lnTo>
                    <a:pt x="338" y="779"/>
                  </a:lnTo>
                  <a:lnTo>
                    <a:pt x="338" y="775"/>
                  </a:lnTo>
                  <a:lnTo>
                    <a:pt x="340" y="773"/>
                  </a:lnTo>
                  <a:lnTo>
                    <a:pt x="340" y="773"/>
                  </a:lnTo>
                  <a:lnTo>
                    <a:pt x="340" y="771"/>
                  </a:lnTo>
                  <a:lnTo>
                    <a:pt x="340" y="771"/>
                  </a:lnTo>
                  <a:lnTo>
                    <a:pt x="342" y="771"/>
                  </a:lnTo>
                  <a:lnTo>
                    <a:pt x="342" y="771"/>
                  </a:lnTo>
                  <a:lnTo>
                    <a:pt x="342" y="771"/>
                  </a:lnTo>
                  <a:lnTo>
                    <a:pt x="344" y="771"/>
                  </a:lnTo>
                  <a:lnTo>
                    <a:pt x="344" y="771"/>
                  </a:lnTo>
                  <a:lnTo>
                    <a:pt x="344" y="769"/>
                  </a:lnTo>
                  <a:lnTo>
                    <a:pt x="342" y="769"/>
                  </a:lnTo>
                  <a:lnTo>
                    <a:pt x="342" y="766"/>
                  </a:lnTo>
                  <a:lnTo>
                    <a:pt x="344" y="766"/>
                  </a:lnTo>
                  <a:lnTo>
                    <a:pt x="344" y="764"/>
                  </a:lnTo>
                  <a:lnTo>
                    <a:pt x="344" y="762"/>
                  </a:lnTo>
                  <a:lnTo>
                    <a:pt x="344" y="762"/>
                  </a:lnTo>
                  <a:lnTo>
                    <a:pt x="344" y="760"/>
                  </a:lnTo>
                  <a:lnTo>
                    <a:pt x="344" y="760"/>
                  </a:lnTo>
                  <a:lnTo>
                    <a:pt x="344" y="758"/>
                  </a:lnTo>
                  <a:lnTo>
                    <a:pt x="348" y="750"/>
                  </a:lnTo>
                  <a:lnTo>
                    <a:pt x="348" y="750"/>
                  </a:lnTo>
                  <a:lnTo>
                    <a:pt x="348" y="750"/>
                  </a:lnTo>
                  <a:lnTo>
                    <a:pt x="348" y="750"/>
                  </a:lnTo>
                  <a:lnTo>
                    <a:pt x="350" y="748"/>
                  </a:lnTo>
                  <a:lnTo>
                    <a:pt x="348" y="748"/>
                  </a:lnTo>
                  <a:lnTo>
                    <a:pt x="350" y="748"/>
                  </a:lnTo>
                  <a:lnTo>
                    <a:pt x="350" y="746"/>
                  </a:lnTo>
                  <a:lnTo>
                    <a:pt x="350" y="746"/>
                  </a:lnTo>
                  <a:lnTo>
                    <a:pt x="350" y="744"/>
                  </a:lnTo>
                  <a:lnTo>
                    <a:pt x="352" y="744"/>
                  </a:lnTo>
                  <a:lnTo>
                    <a:pt x="352" y="744"/>
                  </a:lnTo>
                  <a:lnTo>
                    <a:pt x="352" y="742"/>
                  </a:lnTo>
                  <a:lnTo>
                    <a:pt x="352" y="742"/>
                  </a:lnTo>
                  <a:lnTo>
                    <a:pt x="354" y="740"/>
                  </a:lnTo>
                  <a:lnTo>
                    <a:pt x="354" y="740"/>
                  </a:lnTo>
                  <a:lnTo>
                    <a:pt x="354" y="738"/>
                  </a:lnTo>
                  <a:lnTo>
                    <a:pt x="359" y="734"/>
                  </a:lnTo>
                  <a:lnTo>
                    <a:pt x="359" y="732"/>
                  </a:lnTo>
                  <a:lnTo>
                    <a:pt x="359" y="732"/>
                  </a:lnTo>
                  <a:lnTo>
                    <a:pt x="359" y="730"/>
                  </a:lnTo>
                  <a:lnTo>
                    <a:pt x="359" y="730"/>
                  </a:lnTo>
                  <a:lnTo>
                    <a:pt x="361" y="730"/>
                  </a:lnTo>
                  <a:lnTo>
                    <a:pt x="363" y="730"/>
                  </a:lnTo>
                  <a:lnTo>
                    <a:pt x="365" y="730"/>
                  </a:lnTo>
                  <a:lnTo>
                    <a:pt x="369" y="728"/>
                  </a:lnTo>
                  <a:lnTo>
                    <a:pt x="371" y="728"/>
                  </a:lnTo>
                  <a:lnTo>
                    <a:pt x="371" y="728"/>
                  </a:lnTo>
                  <a:lnTo>
                    <a:pt x="371" y="728"/>
                  </a:lnTo>
                  <a:lnTo>
                    <a:pt x="371" y="728"/>
                  </a:lnTo>
                  <a:lnTo>
                    <a:pt x="373" y="728"/>
                  </a:lnTo>
                  <a:lnTo>
                    <a:pt x="373" y="728"/>
                  </a:lnTo>
                  <a:lnTo>
                    <a:pt x="373" y="728"/>
                  </a:lnTo>
                  <a:lnTo>
                    <a:pt x="373" y="728"/>
                  </a:lnTo>
                  <a:lnTo>
                    <a:pt x="373" y="728"/>
                  </a:lnTo>
                  <a:lnTo>
                    <a:pt x="373" y="728"/>
                  </a:lnTo>
                  <a:lnTo>
                    <a:pt x="375" y="725"/>
                  </a:lnTo>
                  <a:lnTo>
                    <a:pt x="375" y="725"/>
                  </a:lnTo>
                  <a:lnTo>
                    <a:pt x="385" y="725"/>
                  </a:lnTo>
                  <a:lnTo>
                    <a:pt x="385" y="725"/>
                  </a:lnTo>
                  <a:lnTo>
                    <a:pt x="385" y="725"/>
                  </a:lnTo>
                  <a:lnTo>
                    <a:pt x="387" y="723"/>
                  </a:lnTo>
                  <a:lnTo>
                    <a:pt x="387" y="721"/>
                  </a:lnTo>
                  <a:lnTo>
                    <a:pt x="389" y="719"/>
                  </a:lnTo>
                  <a:lnTo>
                    <a:pt x="389" y="717"/>
                  </a:lnTo>
                  <a:lnTo>
                    <a:pt x="389" y="717"/>
                  </a:lnTo>
                  <a:lnTo>
                    <a:pt x="391" y="717"/>
                  </a:lnTo>
                  <a:lnTo>
                    <a:pt x="391" y="717"/>
                  </a:lnTo>
                  <a:lnTo>
                    <a:pt x="393" y="715"/>
                  </a:lnTo>
                  <a:lnTo>
                    <a:pt x="393" y="713"/>
                  </a:lnTo>
                  <a:lnTo>
                    <a:pt x="395" y="715"/>
                  </a:lnTo>
                  <a:lnTo>
                    <a:pt x="395" y="715"/>
                  </a:lnTo>
                  <a:lnTo>
                    <a:pt x="397" y="717"/>
                  </a:lnTo>
                  <a:lnTo>
                    <a:pt x="399" y="715"/>
                  </a:lnTo>
                  <a:lnTo>
                    <a:pt x="399" y="717"/>
                  </a:lnTo>
                  <a:lnTo>
                    <a:pt x="402" y="719"/>
                  </a:lnTo>
                  <a:lnTo>
                    <a:pt x="404" y="719"/>
                  </a:lnTo>
                  <a:lnTo>
                    <a:pt x="408" y="721"/>
                  </a:lnTo>
                  <a:lnTo>
                    <a:pt x="410" y="723"/>
                  </a:lnTo>
                  <a:lnTo>
                    <a:pt x="414" y="723"/>
                  </a:lnTo>
                  <a:lnTo>
                    <a:pt x="422" y="723"/>
                  </a:lnTo>
                  <a:lnTo>
                    <a:pt x="424" y="723"/>
                  </a:lnTo>
                  <a:lnTo>
                    <a:pt x="426" y="723"/>
                  </a:lnTo>
                  <a:lnTo>
                    <a:pt x="428" y="723"/>
                  </a:lnTo>
                  <a:lnTo>
                    <a:pt x="428" y="723"/>
                  </a:lnTo>
                  <a:lnTo>
                    <a:pt x="430" y="725"/>
                  </a:lnTo>
                  <a:lnTo>
                    <a:pt x="430" y="725"/>
                  </a:lnTo>
                  <a:lnTo>
                    <a:pt x="432" y="725"/>
                  </a:lnTo>
                  <a:lnTo>
                    <a:pt x="432" y="723"/>
                  </a:lnTo>
                  <a:lnTo>
                    <a:pt x="432" y="723"/>
                  </a:lnTo>
                  <a:lnTo>
                    <a:pt x="434" y="723"/>
                  </a:lnTo>
                  <a:lnTo>
                    <a:pt x="434" y="723"/>
                  </a:lnTo>
                  <a:lnTo>
                    <a:pt x="436" y="723"/>
                  </a:lnTo>
                  <a:lnTo>
                    <a:pt x="440" y="723"/>
                  </a:lnTo>
                  <a:lnTo>
                    <a:pt x="440" y="723"/>
                  </a:lnTo>
                  <a:lnTo>
                    <a:pt x="442" y="723"/>
                  </a:lnTo>
                  <a:lnTo>
                    <a:pt x="442" y="725"/>
                  </a:lnTo>
                  <a:lnTo>
                    <a:pt x="442" y="725"/>
                  </a:lnTo>
                  <a:lnTo>
                    <a:pt x="457" y="728"/>
                  </a:lnTo>
                  <a:lnTo>
                    <a:pt x="463" y="728"/>
                  </a:lnTo>
                  <a:lnTo>
                    <a:pt x="465" y="728"/>
                  </a:lnTo>
                  <a:lnTo>
                    <a:pt x="465" y="725"/>
                  </a:lnTo>
                  <a:lnTo>
                    <a:pt x="465" y="725"/>
                  </a:lnTo>
                  <a:lnTo>
                    <a:pt x="465" y="723"/>
                  </a:lnTo>
                  <a:lnTo>
                    <a:pt x="465" y="723"/>
                  </a:lnTo>
                  <a:lnTo>
                    <a:pt x="465" y="723"/>
                  </a:lnTo>
                  <a:lnTo>
                    <a:pt x="467" y="723"/>
                  </a:lnTo>
                  <a:lnTo>
                    <a:pt x="467" y="723"/>
                  </a:lnTo>
                  <a:lnTo>
                    <a:pt x="467" y="725"/>
                  </a:lnTo>
                  <a:lnTo>
                    <a:pt x="467" y="725"/>
                  </a:lnTo>
                  <a:lnTo>
                    <a:pt x="467" y="728"/>
                  </a:lnTo>
                  <a:lnTo>
                    <a:pt x="467" y="728"/>
                  </a:lnTo>
                  <a:lnTo>
                    <a:pt x="469" y="730"/>
                  </a:lnTo>
                  <a:lnTo>
                    <a:pt x="469" y="728"/>
                  </a:lnTo>
                  <a:lnTo>
                    <a:pt x="471" y="728"/>
                  </a:lnTo>
                  <a:lnTo>
                    <a:pt x="473" y="725"/>
                  </a:lnTo>
                  <a:lnTo>
                    <a:pt x="473" y="728"/>
                  </a:lnTo>
                  <a:lnTo>
                    <a:pt x="475" y="728"/>
                  </a:lnTo>
                  <a:lnTo>
                    <a:pt x="475" y="728"/>
                  </a:lnTo>
                  <a:lnTo>
                    <a:pt x="475" y="730"/>
                  </a:lnTo>
                  <a:lnTo>
                    <a:pt x="477" y="728"/>
                  </a:lnTo>
                  <a:lnTo>
                    <a:pt x="477" y="728"/>
                  </a:lnTo>
                  <a:lnTo>
                    <a:pt x="479" y="728"/>
                  </a:lnTo>
                  <a:lnTo>
                    <a:pt x="479" y="730"/>
                  </a:lnTo>
                  <a:lnTo>
                    <a:pt x="479" y="730"/>
                  </a:lnTo>
                  <a:lnTo>
                    <a:pt x="479" y="732"/>
                  </a:lnTo>
                  <a:lnTo>
                    <a:pt x="481" y="734"/>
                  </a:lnTo>
                  <a:lnTo>
                    <a:pt x="481" y="736"/>
                  </a:lnTo>
                  <a:lnTo>
                    <a:pt x="483" y="738"/>
                  </a:lnTo>
                  <a:lnTo>
                    <a:pt x="483" y="740"/>
                  </a:lnTo>
                  <a:lnTo>
                    <a:pt x="483" y="740"/>
                  </a:lnTo>
                  <a:lnTo>
                    <a:pt x="486" y="742"/>
                  </a:lnTo>
                  <a:lnTo>
                    <a:pt x="488" y="742"/>
                  </a:lnTo>
                  <a:lnTo>
                    <a:pt x="490" y="742"/>
                  </a:lnTo>
                  <a:lnTo>
                    <a:pt x="488" y="744"/>
                  </a:lnTo>
                  <a:lnTo>
                    <a:pt x="488" y="746"/>
                  </a:lnTo>
                  <a:lnTo>
                    <a:pt x="488" y="748"/>
                  </a:lnTo>
                  <a:lnTo>
                    <a:pt x="488" y="748"/>
                  </a:lnTo>
                  <a:lnTo>
                    <a:pt x="490" y="746"/>
                  </a:lnTo>
                  <a:lnTo>
                    <a:pt x="492" y="744"/>
                  </a:lnTo>
                  <a:lnTo>
                    <a:pt x="496" y="744"/>
                  </a:lnTo>
                  <a:lnTo>
                    <a:pt x="496" y="746"/>
                  </a:lnTo>
                  <a:lnTo>
                    <a:pt x="496" y="748"/>
                  </a:lnTo>
                  <a:lnTo>
                    <a:pt x="496" y="752"/>
                  </a:lnTo>
                  <a:lnTo>
                    <a:pt x="496" y="754"/>
                  </a:lnTo>
                  <a:lnTo>
                    <a:pt x="498" y="754"/>
                  </a:lnTo>
                  <a:lnTo>
                    <a:pt x="498" y="754"/>
                  </a:lnTo>
                  <a:lnTo>
                    <a:pt x="500" y="754"/>
                  </a:lnTo>
                  <a:lnTo>
                    <a:pt x="500" y="756"/>
                  </a:lnTo>
                  <a:lnTo>
                    <a:pt x="502" y="758"/>
                  </a:lnTo>
                  <a:lnTo>
                    <a:pt x="504" y="760"/>
                  </a:lnTo>
                  <a:lnTo>
                    <a:pt x="510" y="762"/>
                  </a:lnTo>
                  <a:lnTo>
                    <a:pt x="514" y="762"/>
                  </a:lnTo>
                  <a:lnTo>
                    <a:pt x="514" y="764"/>
                  </a:lnTo>
                  <a:lnTo>
                    <a:pt x="514" y="766"/>
                  </a:lnTo>
                  <a:lnTo>
                    <a:pt x="514" y="769"/>
                  </a:lnTo>
                  <a:lnTo>
                    <a:pt x="514" y="771"/>
                  </a:lnTo>
                  <a:lnTo>
                    <a:pt x="516" y="771"/>
                  </a:lnTo>
                  <a:lnTo>
                    <a:pt x="516" y="773"/>
                  </a:lnTo>
                  <a:lnTo>
                    <a:pt x="518" y="773"/>
                  </a:lnTo>
                  <a:lnTo>
                    <a:pt x="524" y="777"/>
                  </a:lnTo>
                  <a:lnTo>
                    <a:pt x="526" y="779"/>
                  </a:lnTo>
                  <a:lnTo>
                    <a:pt x="529" y="781"/>
                  </a:lnTo>
                  <a:lnTo>
                    <a:pt x="529" y="781"/>
                  </a:lnTo>
                  <a:lnTo>
                    <a:pt x="535" y="783"/>
                  </a:lnTo>
                  <a:lnTo>
                    <a:pt x="537" y="785"/>
                  </a:lnTo>
                  <a:lnTo>
                    <a:pt x="537" y="787"/>
                  </a:lnTo>
                  <a:lnTo>
                    <a:pt x="539" y="789"/>
                  </a:lnTo>
                  <a:lnTo>
                    <a:pt x="539" y="793"/>
                  </a:lnTo>
                  <a:lnTo>
                    <a:pt x="539" y="793"/>
                  </a:lnTo>
                  <a:lnTo>
                    <a:pt x="543" y="797"/>
                  </a:lnTo>
                  <a:lnTo>
                    <a:pt x="545" y="799"/>
                  </a:lnTo>
                  <a:lnTo>
                    <a:pt x="545" y="799"/>
                  </a:lnTo>
                  <a:lnTo>
                    <a:pt x="545" y="799"/>
                  </a:lnTo>
                  <a:lnTo>
                    <a:pt x="547" y="799"/>
                  </a:lnTo>
                  <a:lnTo>
                    <a:pt x="547" y="799"/>
                  </a:lnTo>
                  <a:lnTo>
                    <a:pt x="549" y="801"/>
                  </a:lnTo>
                  <a:lnTo>
                    <a:pt x="549" y="807"/>
                  </a:lnTo>
                  <a:lnTo>
                    <a:pt x="551" y="812"/>
                  </a:lnTo>
                  <a:lnTo>
                    <a:pt x="551" y="814"/>
                  </a:lnTo>
                  <a:lnTo>
                    <a:pt x="551" y="816"/>
                  </a:lnTo>
                  <a:lnTo>
                    <a:pt x="551" y="818"/>
                  </a:lnTo>
                  <a:lnTo>
                    <a:pt x="551" y="818"/>
                  </a:lnTo>
                  <a:lnTo>
                    <a:pt x="551" y="820"/>
                  </a:lnTo>
                  <a:lnTo>
                    <a:pt x="551" y="820"/>
                  </a:lnTo>
                  <a:lnTo>
                    <a:pt x="553" y="822"/>
                  </a:lnTo>
                  <a:lnTo>
                    <a:pt x="553" y="822"/>
                  </a:lnTo>
                  <a:lnTo>
                    <a:pt x="555" y="824"/>
                  </a:lnTo>
                  <a:lnTo>
                    <a:pt x="555" y="826"/>
                  </a:lnTo>
                  <a:lnTo>
                    <a:pt x="555" y="826"/>
                  </a:lnTo>
                  <a:lnTo>
                    <a:pt x="557" y="826"/>
                  </a:lnTo>
                  <a:lnTo>
                    <a:pt x="557" y="826"/>
                  </a:lnTo>
                  <a:lnTo>
                    <a:pt x="557" y="828"/>
                  </a:lnTo>
                  <a:lnTo>
                    <a:pt x="557" y="828"/>
                  </a:lnTo>
                  <a:lnTo>
                    <a:pt x="557" y="830"/>
                  </a:lnTo>
                  <a:lnTo>
                    <a:pt x="557" y="830"/>
                  </a:lnTo>
                  <a:lnTo>
                    <a:pt x="559" y="830"/>
                  </a:lnTo>
                  <a:lnTo>
                    <a:pt x="559" y="830"/>
                  </a:lnTo>
                  <a:lnTo>
                    <a:pt x="559" y="830"/>
                  </a:lnTo>
                  <a:lnTo>
                    <a:pt x="561" y="832"/>
                  </a:lnTo>
                  <a:lnTo>
                    <a:pt x="561" y="832"/>
                  </a:lnTo>
                  <a:lnTo>
                    <a:pt x="561" y="834"/>
                  </a:lnTo>
                  <a:lnTo>
                    <a:pt x="563" y="844"/>
                  </a:lnTo>
                  <a:lnTo>
                    <a:pt x="565" y="846"/>
                  </a:lnTo>
                  <a:lnTo>
                    <a:pt x="569" y="850"/>
                  </a:lnTo>
                  <a:lnTo>
                    <a:pt x="569" y="853"/>
                  </a:lnTo>
                  <a:lnTo>
                    <a:pt x="569" y="853"/>
                  </a:lnTo>
                  <a:lnTo>
                    <a:pt x="572" y="855"/>
                  </a:lnTo>
                  <a:lnTo>
                    <a:pt x="574" y="855"/>
                  </a:lnTo>
                  <a:lnTo>
                    <a:pt x="574" y="857"/>
                  </a:lnTo>
                  <a:lnTo>
                    <a:pt x="574" y="859"/>
                  </a:lnTo>
                  <a:lnTo>
                    <a:pt x="574" y="861"/>
                  </a:lnTo>
                  <a:lnTo>
                    <a:pt x="574" y="863"/>
                  </a:lnTo>
                  <a:lnTo>
                    <a:pt x="576" y="863"/>
                  </a:lnTo>
                  <a:lnTo>
                    <a:pt x="580" y="865"/>
                  </a:lnTo>
                  <a:lnTo>
                    <a:pt x="580" y="865"/>
                  </a:lnTo>
                  <a:lnTo>
                    <a:pt x="578" y="867"/>
                  </a:lnTo>
                  <a:lnTo>
                    <a:pt x="578" y="867"/>
                  </a:lnTo>
                  <a:lnTo>
                    <a:pt x="578" y="869"/>
                  </a:lnTo>
                  <a:lnTo>
                    <a:pt x="578" y="869"/>
                  </a:lnTo>
                  <a:lnTo>
                    <a:pt x="578" y="871"/>
                  </a:lnTo>
                  <a:lnTo>
                    <a:pt x="580" y="871"/>
                  </a:lnTo>
                  <a:lnTo>
                    <a:pt x="580" y="875"/>
                  </a:lnTo>
                  <a:lnTo>
                    <a:pt x="580" y="879"/>
                  </a:lnTo>
                  <a:lnTo>
                    <a:pt x="584" y="881"/>
                  </a:lnTo>
                  <a:lnTo>
                    <a:pt x="584" y="885"/>
                  </a:lnTo>
                  <a:lnTo>
                    <a:pt x="584" y="887"/>
                  </a:lnTo>
                  <a:lnTo>
                    <a:pt x="584" y="889"/>
                  </a:lnTo>
                  <a:lnTo>
                    <a:pt x="584" y="891"/>
                  </a:lnTo>
                  <a:lnTo>
                    <a:pt x="586" y="891"/>
                  </a:lnTo>
                  <a:lnTo>
                    <a:pt x="588" y="894"/>
                  </a:lnTo>
                  <a:lnTo>
                    <a:pt x="590" y="894"/>
                  </a:lnTo>
                  <a:lnTo>
                    <a:pt x="592" y="894"/>
                  </a:lnTo>
                  <a:lnTo>
                    <a:pt x="592" y="896"/>
                  </a:lnTo>
                  <a:lnTo>
                    <a:pt x="592" y="896"/>
                  </a:lnTo>
                  <a:lnTo>
                    <a:pt x="592" y="898"/>
                  </a:lnTo>
                  <a:lnTo>
                    <a:pt x="592" y="900"/>
                  </a:lnTo>
                  <a:lnTo>
                    <a:pt x="594" y="900"/>
                  </a:lnTo>
                  <a:lnTo>
                    <a:pt x="604" y="904"/>
                  </a:lnTo>
                  <a:lnTo>
                    <a:pt x="606" y="906"/>
                  </a:lnTo>
                  <a:lnTo>
                    <a:pt x="606" y="908"/>
                  </a:lnTo>
                  <a:lnTo>
                    <a:pt x="606" y="910"/>
                  </a:lnTo>
                  <a:lnTo>
                    <a:pt x="606" y="910"/>
                  </a:lnTo>
                  <a:lnTo>
                    <a:pt x="608" y="912"/>
                  </a:lnTo>
                  <a:lnTo>
                    <a:pt x="608" y="912"/>
                  </a:lnTo>
                  <a:lnTo>
                    <a:pt x="610" y="912"/>
                  </a:lnTo>
                  <a:lnTo>
                    <a:pt x="610" y="914"/>
                  </a:lnTo>
                  <a:lnTo>
                    <a:pt x="610" y="914"/>
                  </a:lnTo>
                  <a:lnTo>
                    <a:pt x="610" y="914"/>
                  </a:lnTo>
                  <a:lnTo>
                    <a:pt x="610" y="916"/>
                  </a:lnTo>
                  <a:lnTo>
                    <a:pt x="610" y="918"/>
                  </a:lnTo>
                  <a:lnTo>
                    <a:pt x="612" y="920"/>
                  </a:lnTo>
                  <a:lnTo>
                    <a:pt x="612" y="922"/>
                  </a:lnTo>
                  <a:lnTo>
                    <a:pt x="615" y="922"/>
                  </a:lnTo>
                  <a:lnTo>
                    <a:pt x="617" y="922"/>
                  </a:lnTo>
                  <a:lnTo>
                    <a:pt x="619" y="922"/>
                  </a:lnTo>
                  <a:lnTo>
                    <a:pt x="617" y="924"/>
                  </a:lnTo>
                  <a:lnTo>
                    <a:pt x="617" y="926"/>
                  </a:lnTo>
                  <a:lnTo>
                    <a:pt x="619" y="928"/>
                  </a:lnTo>
                  <a:lnTo>
                    <a:pt x="621" y="930"/>
                  </a:lnTo>
                  <a:lnTo>
                    <a:pt x="623" y="930"/>
                  </a:lnTo>
                  <a:lnTo>
                    <a:pt x="623" y="930"/>
                  </a:lnTo>
                  <a:lnTo>
                    <a:pt x="623" y="932"/>
                  </a:lnTo>
                  <a:lnTo>
                    <a:pt x="621" y="935"/>
                  </a:lnTo>
                  <a:lnTo>
                    <a:pt x="621" y="935"/>
                  </a:lnTo>
                  <a:lnTo>
                    <a:pt x="623" y="937"/>
                  </a:lnTo>
                  <a:lnTo>
                    <a:pt x="623" y="937"/>
                  </a:lnTo>
                  <a:lnTo>
                    <a:pt x="625" y="937"/>
                  </a:lnTo>
                  <a:lnTo>
                    <a:pt x="625" y="939"/>
                  </a:lnTo>
                  <a:lnTo>
                    <a:pt x="625" y="941"/>
                  </a:lnTo>
                  <a:lnTo>
                    <a:pt x="625" y="941"/>
                  </a:lnTo>
                  <a:lnTo>
                    <a:pt x="625" y="941"/>
                  </a:lnTo>
                  <a:lnTo>
                    <a:pt x="625" y="943"/>
                  </a:lnTo>
                  <a:lnTo>
                    <a:pt x="627" y="945"/>
                  </a:lnTo>
                  <a:lnTo>
                    <a:pt x="627" y="945"/>
                  </a:lnTo>
                  <a:lnTo>
                    <a:pt x="629" y="945"/>
                  </a:lnTo>
                  <a:lnTo>
                    <a:pt x="631" y="947"/>
                  </a:lnTo>
                  <a:lnTo>
                    <a:pt x="631" y="947"/>
                  </a:lnTo>
                  <a:lnTo>
                    <a:pt x="633" y="949"/>
                  </a:lnTo>
                  <a:lnTo>
                    <a:pt x="633" y="949"/>
                  </a:lnTo>
                  <a:lnTo>
                    <a:pt x="635" y="949"/>
                  </a:lnTo>
                  <a:lnTo>
                    <a:pt x="635" y="951"/>
                  </a:lnTo>
                  <a:lnTo>
                    <a:pt x="637" y="951"/>
                  </a:lnTo>
                  <a:lnTo>
                    <a:pt x="637" y="953"/>
                  </a:lnTo>
                  <a:lnTo>
                    <a:pt x="637" y="953"/>
                  </a:lnTo>
                  <a:lnTo>
                    <a:pt x="637" y="955"/>
                  </a:lnTo>
                  <a:lnTo>
                    <a:pt x="639" y="957"/>
                  </a:lnTo>
                  <a:lnTo>
                    <a:pt x="639" y="957"/>
                  </a:lnTo>
                  <a:lnTo>
                    <a:pt x="643" y="957"/>
                  </a:lnTo>
                  <a:lnTo>
                    <a:pt x="643" y="957"/>
                  </a:lnTo>
                  <a:lnTo>
                    <a:pt x="645" y="959"/>
                  </a:lnTo>
                  <a:lnTo>
                    <a:pt x="645" y="959"/>
                  </a:lnTo>
                  <a:lnTo>
                    <a:pt x="645" y="959"/>
                  </a:lnTo>
                  <a:lnTo>
                    <a:pt x="647" y="959"/>
                  </a:lnTo>
                  <a:lnTo>
                    <a:pt x="649" y="959"/>
                  </a:lnTo>
                  <a:lnTo>
                    <a:pt x="649" y="959"/>
                  </a:lnTo>
                  <a:lnTo>
                    <a:pt x="651" y="961"/>
                  </a:lnTo>
                  <a:lnTo>
                    <a:pt x="651" y="961"/>
                  </a:lnTo>
                  <a:lnTo>
                    <a:pt x="653" y="961"/>
                  </a:lnTo>
                  <a:lnTo>
                    <a:pt x="655" y="963"/>
                  </a:lnTo>
                  <a:lnTo>
                    <a:pt x="658" y="965"/>
                  </a:lnTo>
                  <a:lnTo>
                    <a:pt x="658" y="965"/>
                  </a:lnTo>
                  <a:lnTo>
                    <a:pt x="658" y="971"/>
                  </a:lnTo>
                  <a:lnTo>
                    <a:pt x="658" y="973"/>
                  </a:lnTo>
                  <a:lnTo>
                    <a:pt x="658" y="973"/>
                  </a:lnTo>
                  <a:lnTo>
                    <a:pt x="658" y="975"/>
                  </a:lnTo>
                  <a:lnTo>
                    <a:pt x="660" y="975"/>
                  </a:lnTo>
                  <a:lnTo>
                    <a:pt x="662" y="975"/>
                  </a:lnTo>
                  <a:lnTo>
                    <a:pt x="662" y="975"/>
                  </a:lnTo>
                  <a:lnTo>
                    <a:pt x="662" y="978"/>
                  </a:lnTo>
                  <a:lnTo>
                    <a:pt x="662" y="978"/>
                  </a:lnTo>
                  <a:lnTo>
                    <a:pt x="662" y="982"/>
                  </a:lnTo>
                  <a:lnTo>
                    <a:pt x="662" y="984"/>
                  </a:lnTo>
                  <a:lnTo>
                    <a:pt x="660" y="986"/>
                  </a:lnTo>
                  <a:lnTo>
                    <a:pt x="660" y="988"/>
                  </a:lnTo>
                  <a:lnTo>
                    <a:pt x="660" y="990"/>
                  </a:lnTo>
                  <a:lnTo>
                    <a:pt x="660" y="990"/>
                  </a:lnTo>
                  <a:lnTo>
                    <a:pt x="660" y="992"/>
                  </a:lnTo>
                  <a:lnTo>
                    <a:pt x="658" y="994"/>
                  </a:lnTo>
                  <a:lnTo>
                    <a:pt x="658" y="994"/>
                  </a:lnTo>
                  <a:lnTo>
                    <a:pt x="658" y="994"/>
                  </a:lnTo>
                  <a:lnTo>
                    <a:pt x="660" y="996"/>
                  </a:lnTo>
                  <a:lnTo>
                    <a:pt x="660" y="996"/>
                  </a:lnTo>
                  <a:lnTo>
                    <a:pt x="660" y="996"/>
                  </a:lnTo>
                  <a:lnTo>
                    <a:pt x="660" y="998"/>
                  </a:lnTo>
                  <a:lnTo>
                    <a:pt x="662" y="998"/>
                  </a:lnTo>
                  <a:lnTo>
                    <a:pt x="662" y="998"/>
                  </a:lnTo>
                  <a:lnTo>
                    <a:pt x="662" y="998"/>
                  </a:lnTo>
                  <a:lnTo>
                    <a:pt x="664" y="1000"/>
                  </a:lnTo>
                  <a:lnTo>
                    <a:pt x="664" y="1002"/>
                  </a:lnTo>
                  <a:lnTo>
                    <a:pt x="666" y="1004"/>
                  </a:lnTo>
                  <a:lnTo>
                    <a:pt x="666" y="1006"/>
                  </a:lnTo>
                  <a:lnTo>
                    <a:pt x="666" y="1008"/>
                  </a:lnTo>
                  <a:lnTo>
                    <a:pt x="664" y="1012"/>
                  </a:lnTo>
                  <a:lnTo>
                    <a:pt x="664" y="1014"/>
                  </a:lnTo>
                  <a:lnTo>
                    <a:pt x="664" y="1014"/>
                  </a:lnTo>
                  <a:lnTo>
                    <a:pt x="664" y="1016"/>
                  </a:lnTo>
                  <a:lnTo>
                    <a:pt x="664" y="1016"/>
                  </a:lnTo>
                  <a:lnTo>
                    <a:pt x="666" y="1016"/>
                  </a:lnTo>
                  <a:lnTo>
                    <a:pt x="664" y="1019"/>
                  </a:lnTo>
                  <a:lnTo>
                    <a:pt x="662" y="1023"/>
                  </a:lnTo>
                  <a:lnTo>
                    <a:pt x="664" y="1025"/>
                  </a:lnTo>
                  <a:lnTo>
                    <a:pt x="666" y="1025"/>
                  </a:lnTo>
                  <a:lnTo>
                    <a:pt x="666" y="1027"/>
                  </a:lnTo>
                  <a:lnTo>
                    <a:pt x="668" y="1027"/>
                  </a:lnTo>
                  <a:lnTo>
                    <a:pt x="668" y="1027"/>
                  </a:lnTo>
                  <a:lnTo>
                    <a:pt x="668" y="1027"/>
                  </a:lnTo>
                  <a:lnTo>
                    <a:pt x="670" y="1027"/>
                  </a:lnTo>
                  <a:lnTo>
                    <a:pt x="670" y="1029"/>
                  </a:lnTo>
                  <a:lnTo>
                    <a:pt x="670" y="1031"/>
                  </a:lnTo>
                  <a:lnTo>
                    <a:pt x="670" y="1033"/>
                  </a:lnTo>
                  <a:lnTo>
                    <a:pt x="672" y="1033"/>
                  </a:lnTo>
                  <a:lnTo>
                    <a:pt x="674" y="1037"/>
                  </a:lnTo>
                  <a:lnTo>
                    <a:pt x="676" y="1037"/>
                  </a:lnTo>
                  <a:lnTo>
                    <a:pt x="678" y="1041"/>
                  </a:lnTo>
                  <a:lnTo>
                    <a:pt x="680" y="1043"/>
                  </a:lnTo>
                  <a:lnTo>
                    <a:pt x="682" y="1045"/>
                  </a:lnTo>
                  <a:lnTo>
                    <a:pt x="684" y="1047"/>
                  </a:lnTo>
                  <a:lnTo>
                    <a:pt x="684" y="1051"/>
                  </a:lnTo>
                  <a:lnTo>
                    <a:pt x="686" y="1055"/>
                  </a:lnTo>
                  <a:lnTo>
                    <a:pt x="690" y="1068"/>
                  </a:lnTo>
                  <a:lnTo>
                    <a:pt x="690" y="1070"/>
                  </a:lnTo>
                  <a:lnTo>
                    <a:pt x="690" y="1074"/>
                  </a:lnTo>
                  <a:lnTo>
                    <a:pt x="692" y="1078"/>
                  </a:lnTo>
                  <a:lnTo>
                    <a:pt x="694" y="1078"/>
                  </a:lnTo>
                  <a:lnTo>
                    <a:pt x="696" y="1078"/>
                  </a:lnTo>
                  <a:lnTo>
                    <a:pt x="699" y="1080"/>
                  </a:lnTo>
                  <a:lnTo>
                    <a:pt x="699" y="1084"/>
                  </a:lnTo>
                  <a:lnTo>
                    <a:pt x="699" y="1084"/>
                  </a:lnTo>
                  <a:lnTo>
                    <a:pt x="699" y="1086"/>
                  </a:lnTo>
                  <a:lnTo>
                    <a:pt x="699" y="1088"/>
                  </a:lnTo>
                  <a:lnTo>
                    <a:pt x="696" y="1088"/>
                  </a:lnTo>
                  <a:lnTo>
                    <a:pt x="699" y="1090"/>
                  </a:lnTo>
                  <a:lnTo>
                    <a:pt x="699" y="1092"/>
                  </a:lnTo>
                  <a:lnTo>
                    <a:pt x="701" y="1092"/>
                  </a:lnTo>
                  <a:lnTo>
                    <a:pt x="703" y="1092"/>
                  </a:lnTo>
                  <a:lnTo>
                    <a:pt x="705" y="1092"/>
                  </a:lnTo>
                  <a:lnTo>
                    <a:pt x="705" y="1092"/>
                  </a:lnTo>
                  <a:lnTo>
                    <a:pt x="707" y="1092"/>
                  </a:lnTo>
                  <a:lnTo>
                    <a:pt x="707" y="1092"/>
                  </a:lnTo>
                  <a:lnTo>
                    <a:pt x="707" y="1092"/>
                  </a:lnTo>
                  <a:lnTo>
                    <a:pt x="709" y="1092"/>
                  </a:lnTo>
                  <a:lnTo>
                    <a:pt x="711" y="1092"/>
                  </a:lnTo>
                  <a:lnTo>
                    <a:pt x="713" y="1092"/>
                  </a:lnTo>
                  <a:lnTo>
                    <a:pt x="713" y="1094"/>
                  </a:lnTo>
                  <a:lnTo>
                    <a:pt x="715" y="1092"/>
                  </a:lnTo>
                  <a:lnTo>
                    <a:pt x="719" y="1096"/>
                  </a:lnTo>
                  <a:lnTo>
                    <a:pt x="721" y="1094"/>
                  </a:lnTo>
                  <a:lnTo>
                    <a:pt x="721" y="1096"/>
                  </a:lnTo>
                  <a:lnTo>
                    <a:pt x="723" y="1096"/>
                  </a:lnTo>
                  <a:lnTo>
                    <a:pt x="723" y="1096"/>
                  </a:lnTo>
                  <a:lnTo>
                    <a:pt x="723" y="1094"/>
                  </a:lnTo>
                  <a:lnTo>
                    <a:pt x="723" y="1094"/>
                  </a:lnTo>
                  <a:lnTo>
                    <a:pt x="725" y="1096"/>
                  </a:lnTo>
                  <a:lnTo>
                    <a:pt x="725" y="1096"/>
                  </a:lnTo>
                  <a:lnTo>
                    <a:pt x="727" y="1094"/>
                  </a:lnTo>
                  <a:lnTo>
                    <a:pt x="727" y="1094"/>
                  </a:lnTo>
                  <a:lnTo>
                    <a:pt x="727" y="1096"/>
                  </a:lnTo>
                  <a:lnTo>
                    <a:pt x="729" y="1096"/>
                  </a:lnTo>
                  <a:lnTo>
                    <a:pt x="733" y="1098"/>
                  </a:lnTo>
                  <a:lnTo>
                    <a:pt x="733" y="1100"/>
                  </a:lnTo>
                  <a:lnTo>
                    <a:pt x="733" y="1103"/>
                  </a:lnTo>
                  <a:lnTo>
                    <a:pt x="735" y="1103"/>
                  </a:lnTo>
                  <a:lnTo>
                    <a:pt x="735" y="1103"/>
                  </a:lnTo>
                  <a:lnTo>
                    <a:pt x="737" y="1103"/>
                  </a:lnTo>
                  <a:lnTo>
                    <a:pt x="737" y="1105"/>
                  </a:lnTo>
                  <a:lnTo>
                    <a:pt x="737" y="1105"/>
                  </a:lnTo>
                  <a:lnTo>
                    <a:pt x="737" y="1107"/>
                  </a:lnTo>
                  <a:lnTo>
                    <a:pt x="737" y="1107"/>
                  </a:lnTo>
                  <a:lnTo>
                    <a:pt x="739" y="1107"/>
                  </a:lnTo>
                  <a:lnTo>
                    <a:pt x="742" y="1109"/>
                  </a:lnTo>
                  <a:lnTo>
                    <a:pt x="742" y="1109"/>
                  </a:lnTo>
                  <a:lnTo>
                    <a:pt x="744" y="1109"/>
                  </a:lnTo>
                  <a:lnTo>
                    <a:pt x="748" y="1107"/>
                  </a:lnTo>
                  <a:lnTo>
                    <a:pt x="752" y="1109"/>
                  </a:lnTo>
                  <a:lnTo>
                    <a:pt x="754" y="1109"/>
                  </a:lnTo>
                  <a:lnTo>
                    <a:pt x="758" y="1111"/>
                  </a:lnTo>
                  <a:lnTo>
                    <a:pt x="760" y="1113"/>
                  </a:lnTo>
                  <a:lnTo>
                    <a:pt x="760" y="1111"/>
                  </a:lnTo>
                  <a:lnTo>
                    <a:pt x="760" y="1111"/>
                  </a:lnTo>
                  <a:lnTo>
                    <a:pt x="764" y="1111"/>
                  </a:lnTo>
                  <a:lnTo>
                    <a:pt x="766" y="1113"/>
                  </a:lnTo>
                  <a:lnTo>
                    <a:pt x="770" y="1113"/>
                  </a:lnTo>
                  <a:lnTo>
                    <a:pt x="768" y="1115"/>
                  </a:lnTo>
                  <a:lnTo>
                    <a:pt x="768" y="1117"/>
                  </a:lnTo>
                  <a:lnTo>
                    <a:pt x="770" y="1117"/>
                  </a:lnTo>
                  <a:lnTo>
                    <a:pt x="772" y="1117"/>
                  </a:lnTo>
                  <a:lnTo>
                    <a:pt x="772" y="1119"/>
                  </a:lnTo>
                  <a:lnTo>
                    <a:pt x="774" y="1121"/>
                  </a:lnTo>
                  <a:lnTo>
                    <a:pt x="776" y="1123"/>
                  </a:lnTo>
                  <a:lnTo>
                    <a:pt x="785" y="1125"/>
                  </a:lnTo>
                  <a:lnTo>
                    <a:pt x="787" y="1127"/>
                  </a:lnTo>
                  <a:lnTo>
                    <a:pt x="791" y="1127"/>
                  </a:lnTo>
                  <a:lnTo>
                    <a:pt x="795" y="1125"/>
                  </a:lnTo>
                  <a:lnTo>
                    <a:pt x="797" y="1127"/>
                  </a:lnTo>
                  <a:lnTo>
                    <a:pt x="799" y="1129"/>
                  </a:lnTo>
                  <a:lnTo>
                    <a:pt x="799" y="1129"/>
                  </a:lnTo>
                  <a:lnTo>
                    <a:pt x="801" y="1129"/>
                  </a:lnTo>
                  <a:lnTo>
                    <a:pt x="805" y="1127"/>
                  </a:lnTo>
                  <a:lnTo>
                    <a:pt x="805" y="1127"/>
                  </a:lnTo>
                  <a:lnTo>
                    <a:pt x="811" y="1127"/>
                  </a:lnTo>
                  <a:lnTo>
                    <a:pt x="817" y="1127"/>
                  </a:lnTo>
                  <a:lnTo>
                    <a:pt x="825" y="1127"/>
                  </a:lnTo>
                  <a:lnTo>
                    <a:pt x="828" y="1127"/>
                  </a:lnTo>
                  <a:lnTo>
                    <a:pt x="828" y="1129"/>
                  </a:lnTo>
                  <a:lnTo>
                    <a:pt x="828" y="1129"/>
                  </a:lnTo>
                  <a:lnTo>
                    <a:pt x="838" y="1129"/>
                  </a:lnTo>
                  <a:lnTo>
                    <a:pt x="838" y="1129"/>
                  </a:lnTo>
                  <a:lnTo>
                    <a:pt x="840" y="1131"/>
                  </a:lnTo>
                  <a:lnTo>
                    <a:pt x="842" y="1131"/>
                  </a:lnTo>
                  <a:lnTo>
                    <a:pt x="844" y="1133"/>
                  </a:lnTo>
                  <a:lnTo>
                    <a:pt x="844" y="1135"/>
                  </a:lnTo>
                  <a:lnTo>
                    <a:pt x="846" y="1137"/>
                  </a:lnTo>
                  <a:lnTo>
                    <a:pt x="848" y="1137"/>
                  </a:lnTo>
                  <a:lnTo>
                    <a:pt x="852" y="1141"/>
                  </a:lnTo>
                  <a:lnTo>
                    <a:pt x="854" y="1144"/>
                  </a:lnTo>
                  <a:lnTo>
                    <a:pt x="856" y="1144"/>
                  </a:lnTo>
                  <a:lnTo>
                    <a:pt x="858" y="1144"/>
                  </a:lnTo>
                  <a:lnTo>
                    <a:pt x="860" y="1144"/>
                  </a:lnTo>
                  <a:lnTo>
                    <a:pt x="860" y="1146"/>
                  </a:lnTo>
                  <a:lnTo>
                    <a:pt x="860" y="1148"/>
                  </a:lnTo>
                  <a:lnTo>
                    <a:pt x="862" y="1148"/>
                  </a:lnTo>
                  <a:lnTo>
                    <a:pt x="864" y="1148"/>
                  </a:lnTo>
                  <a:lnTo>
                    <a:pt x="864" y="1148"/>
                  </a:lnTo>
                  <a:lnTo>
                    <a:pt x="864" y="1148"/>
                  </a:lnTo>
                  <a:lnTo>
                    <a:pt x="864" y="1148"/>
                  </a:lnTo>
                  <a:lnTo>
                    <a:pt x="864" y="1148"/>
                  </a:lnTo>
                  <a:lnTo>
                    <a:pt x="864" y="1148"/>
                  </a:lnTo>
                  <a:lnTo>
                    <a:pt x="864" y="1148"/>
                  </a:lnTo>
                  <a:lnTo>
                    <a:pt x="866" y="1148"/>
                  </a:lnTo>
                  <a:lnTo>
                    <a:pt x="866" y="1148"/>
                  </a:lnTo>
                  <a:lnTo>
                    <a:pt x="866" y="1150"/>
                  </a:lnTo>
                  <a:lnTo>
                    <a:pt x="868" y="1150"/>
                  </a:lnTo>
                  <a:lnTo>
                    <a:pt x="871" y="1148"/>
                  </a:lnTo>
                  <a:lnTo>
                    <a:pt x="871" y="1146"/>
                  </a:lnTo>
                  <a:lnTo>
                    <a:pt x="868" y="1144"/>
                  </a:lnTo>
                  <a:lnTo>
                    <a:pt x="868" y="1141"/>
                  </a:lnTo>
                  <a:lnTo>
                    <a:pt x="868" y="1141"/>
                  </a:lnTo>
                  <a:lnTo>
                    <a:pt x="868" y="1141"/>
                  </a:lnTo>
                  <a:lnTo>
                    <a:pt x="871" y="1139"/>
                  </a:lnTo>
                  <a:lnTo>
                    <a:pt x="873" y="1141"/>
                  </a:lnTo>
                  <a:lnTo>
                    <a:pt x="875" y="1139"/>
                  </a:lnTo>
                  <a:lnTo>
                    <a:pt x="877" y="1139"/>
                  </a:lnTo>
                  <a:lnTo>
                    <a:pt x="877" y="1137"/>
                  </a:lnTo>
                  <a:lnTo>
                    <a:pt x="877" y="1137"/>
                  </a:lnTo>
                  <a:lnTo>
                    <a:pt x="877" y="1137"/>
                  </a:lnTo>
                  <a:lnTo>
                    <a:pt x="877" y="1137"/>
                  </a:lnTo>
                  <a:lnTo>
                    <a:pt x="879" y="1135"/>
                  </a:lnTo>
                  <a:lnTo>
                    <a:pt x="883" y="1137"/>
                  </a:lnTo>
                  <a:lnTo>
                    <a:pt x="889" y="1135"/>
                  </a:lnTo>
                  <a:lnTo>
                    <a:pt x="889" y="1135"/>
                  </a:lnTo>
                  <a:lnTo>
                    <a:pt x="889" y="1129"/>
                  </a:lnTo>
                  <a:lnTo>
                    <a:pt x="889" y="1127"/>
                  </a:lnTo>
                  <a:lnTo>
                    <a:pt x="889" y="1123"/>
                  </a:lnTo>
                  <a:lnTo>
                    <a:pt x="887" y="1123"/>
                  </a:lnTo>
                  <a:lnTo>
                    <a:pt x="885" y="1125"/>
                  </a:lnTo>
                  <a:lnTo>
                    <a:pt x="885" y="1125"/>
                  </a:lnTo>
                  <a:lnTo>
                    <a:pt x="885" y="1127"/>
                  </a:lnTo>
                  <a:lnTo>
                    <a:pt x="885" y="1129"/>
                  </a:lnTo>
                  <a:lnTo>
                    <a:pt x="885" y="1131"/>
                  </a:lnTo>
                  <a:lnTo>
                    <a:pt x="883" y="1131"/>
                  </a:lnTo>
                  <a:lnTo>
                    <a:pt x="881" y="1133"/>
                  </a:lnTo>
                  <a:lnTo>
                    <a:pt x="881" y="1133"/>
                  </a:lnTo>
                  <a:lnTo>
                    <a:pt x="881" y="1133"/>
                  </a:lnTo>
                  <a:lnTo>
                    <a:pt x="881" y="1133"/>
                  </a:lnTo>
                  <a:lnTo>
                    <a:pt x="879" y="1133"/>
                  </a:lnTo>
                  <a:lnTo>
                    <a:pt x="879" y="1133"/>
                  </a:lnTo>
                  <a:lnTo>
                    <a:pt x="879" y="1133"/>
                  </a:lnTo>
                  <a:lnTo>
                    <a:pt x="879" y="1131"/>
                  </a:lnTo>
                  <a:lnTo>
                    <a:pt x="879" y="1129"/>
                  </a:lnTo>
                  <a:lnTo>
                    <a:pt x="879" y="1127"/>
                  </a:lnTo>
                  <a:lnTo>
                    <a:pt x="879" y="1125"/>
                  </a:lnTo>
                  <a:lnTo>
                    <a:pt x="881" y="1125"/>
                  </a:lnTo>
                  <a:lnTo>
                    <a:pt x="881" y="1125"/>
                  </a:lnTo>
                  <a:lnTo>
                    <a:pt x="883" y="1123"/>
                  </a:lnTo>
                  <a:lnTo>
                    <a:pt x="883" y="1123"/>
                  </a:lnTo>
                  <a:lnTo>
                    <a:pt x="881" y="1121"/>
                  </a:lnTo>
                  <a:lnTo>
                    <a:pt x="881" y="1121"/>
                  </a:lnTo>
                  <a:lnTo>
                    <a:pt x="877" y="1121"/>
                  </a:lnTo>
                  <a:lnTo>
                    <a:pt x="877" y="1121"/>
                  </a:lnTo>
                  <a:lnTo>
                    <a:pt x="875" y="1121"/>
                  </a:lnTo>
                  <a:lnTo>
                    <a:pt x="875" y="1121"/>
                  </a:lnTo>
                  <a:lnTo>
                    <a:pt x="875" y="1121"/>
                  </a:lnTo>
                  <a:lnTo>
                    <a:pt x="873" y="1119"/>
                  </a:lnTo>
                  <a:lnTo>
                    <a:pt x="873" y="1117"/>
                  </a:lnTo>
                  <a:lnTo>
                    <a:pt x="873" y="1113"/>
                  </a:lnTo>
                  <a:lnTo>
                    <a:pt x="873" y="1111"/>
                  </a:lnTo>
                  <a:lnTo>
                    <a:pt x="871" y="1109"/>
                  </a:lnTo>
                  <a:lnTo>
                    <a:pt x="871" y="1109"/>
                  </a:lnTo>
                  <a:lnTo>
                    <a:pt x="871" y="1107"/>
                  </a:lnTo>
                  <a:lnTo>
                    <a:pt x="871" y="1105"/>
                  </a:lnTo>
                  <a:lnTo>
                    <a:pt x="871" y="1105"/>
                  </a:lnTo>
                  <a:lnTo>
                    <a:pt x="873" y="1105"/>
                  </a:lnTo>
                  <a:lnTo>
                    <a:pt x="871" y="1103"/>
                  </a:lnTo>
                  <a:lnTo>
                    <a:pt x="871" y="1103"/>
                  </a:lnTo>
                  <a:lnTo>
                    <a:pt x="871" y="1103"/>
                  </a:lnTo>
                  <a:lnTo>
                    <a:pt x="868" y="1103"/>
                  </a:lnTo>
                  <a:lnTo>
                    <a:pt x="868" y="1103"/>
                  </a:lnTo>
                  <a:lnTo>
                    <a:pt x="866" y="1103"/>
                  </a:lnTo>
                  <a:lnTo>
                    <a:pt x="866" y="1100"/>
                  </a:lnTo>
                  <a:lnTo>
                    <a:pt x="868" y="1096"/>
                  </a:lnTo>
                  <a:lnTo>
                    <a:pt x="868" y="1096"/>
                  </a:lnTo>
                  <a:lnTo>
                    <a:pt x="868" y="1096"/>
                  </a:lnTo>
                  <a:lnTo>
                    <a:pt x="868" y="1094"/>
                  </a:lnTo>
                  <a:lnTo>
                    <a:pt x="868" y="1094"/>
                  </a:lnTo>
                  <a:lnTo>
                    <a:pt x="868" y="1094"/>
                  </a:lnTo>
                  <a:lnTo>
                    <a:pt x="866" y="1096"/>
                  </a:lnTo>
                  <a:lnTo>
                    <a:pt x="866" y="1096"/>
                  </a:lnTo>
                  <a:lnTo>
                    <a:pt x="866" y="1096"/>
                  </a:lnTo>
                  <a:lnTo>
                    <a:pt x="866" y="1096"/>
                  </a:lnTo>
                  <a:lnTo>
                    <a:pt x="864" y="1096"/>
                  </a:lnTo>
                  <a:lnTo>
                    <a:pt x="866" y="1094"/>
                  </a:lnTo>
                  <a:lnTo>
                    <a:pt x="866" y="1092"/>
                  </a:lnTo>
                  <a:lnTo>
                    <a:pt x="866" y="1092"/>
                  </a:lnTo>
                  <a:lnTo>
                    <a:pt x="864" y="1092"/>
                  </a:lnTo>
                  <a:lnTo>
                    <a:pt x="862" y="1092"/>
                  </a:lnTo>
                  <a:lnTo>
                    <a:pt x="862" y="1090"/>
                  </a:lnTo>
                  <a:lnTo>
                    <a:pt x="862" y="1088"/>
                  </a:lnTo>
                  <a:lnTo>
                    <a:pt x="862" y="1088"/>
                  </a:lnTo>
                  <a:lnTo>
                    <a:pt x="860" y="1088"/>
                  </a:lnTo>
                  <a:lnTo>
                    <a:pt x="858" y="1088"/>
                  </a:lnTo>
                  <a:lnTo>
                    <a:pt x="858" y="1088"/>
                  </a:lnTo>
                  <a:lnTo>
                    <a:pt x="858" y="1086"/>
                  </a:lnTo>
                  <a:lnTo>
                    <a:pt x="858" y="1084"/>
                  </a:lnTo>
                  <a:lnTo>
                    <a:pt x="858" y="1082"/>
                  </a:lnTo>
                  <a:lnTo>
                    <a:pt x="858" y="1080"/>
                  </a:lnTo>
                  <a:lnTo>
                    <a:pt x="856" y="1080"/>
                  </a:lnTo>
                  <a:lnTo>
                    <a:pt x="858" y="1078"/>
                  </a:lnTo>
                  <a:lnTo>
                    <a:pt x="860" y="1078"/>
                  </a:lnTo>
                  <a:lnTo>
                    <a:pt x="860" y="1076"/>
                  </a:lnTo>
                  <a:lnTo>
                    <a:pt x="860" y="1078"/>
                  </a:lnTo>
                  <a:lnTo>
                    <a:pt x="860" y="1078"/>
                  </a:lnTo>
                  <a:lnTo>
                    <a:pt x="860" y="1078"/>
                  </a:lnTo>
                  <a:lnTo>
                    <a:pt x="860" y="1076"/>
                  </a:lnTo>
                  <a:lnTo>
                    <a:pt x="858" y="1068"/>
                  </a:lnTo>
                  <a:lnTo>
                    <a:pt x="856" y="1062"/>
                  </a:lnTo>
                  <a:lnTo>
                    <a:pt x="854" y="1053"/>
                  </a:lnTo>
                  <a:lnTo>
                    <a:pt x="854" y="1049"/>
                  </a:lnTo>
                  <a:lnTo>
                    <a:pt x="854" y="1047"/>
                  </a:lnTo>
                  <a:lnTo>
                    <a:pt x="852" y="1045"/>
                  </a:lnTo>
                  <a:lnTo>
                    <a:pt x="852" y="1045"/>
                  </a:lnTo>
                  <a:lnTo>
                    <a:pt x="850" y="1045"/>
                  </a:lnTo>
                  <a:lnTo>
                    <a:pt x="848" y="1045"/>
                  </a:lnTo>
                  <a:lnTo>
                    <a:pt x="848" y="1045"/>
                  </a:lnTo>
                  <a:lnTo>
                    <a:pt x="846" y="1043"/>
                  </a:lnTo>
                  <a:lnTo>
                    <a:pt x="846" y="1041"/>
                  </a:lnTo>
                  <a:lnTo>
                    <a:pt x="846" y="1039"/>
                  </a:lnTo>
                  <a:lnTo>
                    <a:pt x="846" y="1037"/>
                  </a:lnTo>
                  <a:lnTo>
                    <a:pt x="848" y="1037"/>
                  </a:lnTo>
                  <a:lnTo>
                    <a:pt x="848" y="1037"/>
                  </a:lnTo>
                  <a:lnTo>
                    <a:pt x="852" y="1041"/>
                  </a:lnTo>
                  <a:lnTo>
                    <a:pt x="854" y="1039"/>
                  </a:lnTo>
                  <a:lnTo>
                    <a:pt x="852" y="1037"/>
                  </a:lnTo>
                  <a:lnTo>
                    <a:pt x="848" y="1035"/>
                  </a:lnTo>
                  <a:lnTo>
                    <a:pt x="848" y="1035"/>
                  </a:lnTo>
                  <a:lnTo>
                    <a:pt x="846" y="1033"/>
                  </a:lnTo>
                  <a:lnTo>
                    <a:pt x="846" y="1031"/>
                  </a:lnTo>
                  <a:lnTo>
                    <a:pt x="846" y="1027"/>
                  </a:lnTo>
                  <a:lnTo>
                    <a:pt x="846" y="1025"/>
                  </a:lnTo>
                  <a:lnTo>
                    <a:pt x="848" y="1025"/>
                  </a:lnTo>
                  <a:lnTo>
                    <a:pt x="852" y="1025"/>
                  </a:lnTo>
                  <a:lnTo>
                    <a:pt x="854" y="1023"/>
                  </a:lnTo>
                  <a:lnTo>
                    <a:pt x="854" y="1021"/>
                  </a:lnTo>
                  <a:lnTo>
                    <a:pt x="852" y="1019"/>
                  </a:lnTo>
                  <a:lnTo>
                    <a:pt x="854" y="1016"/>
                  </a:lnTo>
                  <a:lnTo>
                    <a:pt x="852" y="1016"/>
                  </a:lnTo>
                  <a:lnTo>
                    <a:pt x="852" y="1014"/>
                  </a:lnTo>
                  <a:lnTo>
                    <a:pt x="852" y="1014"/>
                  </a:lnTo>
                  <a:lnTo>
                    <a:pt x="854" y="1014"/>
                  </a:lnTo>
                  <a:lnTo>
                    <a:pt x="854" y="1012"/>
                  </a:lnTo>
                  <a:lnTo>
                    <a:pt x="856" y="1012"/>
                  </a:lnTo>
                  <a:lnTo>
                    <a:pt x="856" y="1010"/>
                  </a:lnTo>
                  <a:lnTo>
                    <a:pt x="856" y="1010"/>
                  </a:lnTo>
                  <a:lnTo>
                    <a:pt x="856" y="1008"/>
                  </a:lnTo>
                  <a:lnTo>
                    <a:pt x="856" y="1006"/>
                  </a:lnTo>
                  <a:lnTo>
                    <a:pt x="856" y="1006"/>
                  </a:lnTo>
                  <a:lnTo>
                    <a:pt x="856" y="1004"/>
                  </a:lnTo>
                  <a:lnTo>
                    <a:pt x="856" y="1002"/>
                  </a:lnTo>
                  <a:lnTo>
                    <a:pt x="856" y="1000"/>
                  </a:lnTo>
                  <a:lnTo>
                    <a:pt x="856" y="1000"/>
                  </a:lnTo>
                  <a:lnTo>
                    <a:pt x="858" y="1000"/>
                  </a:lnTo>
                  <a:lnTo>
                    <a:pt x="858" y="998"/>
                  </a:lnTo>
                  <a:lnTo>
                    <a:pt x="858" y="996"/>
                  </a:lnTo>
                  <a:lnTo>
                    <a:pt x="858" y="996"/>
                  </a:lnTo>
                  <a:lnTo>
                    <a:pt x="852" y="998"/>
                  </a:lnTo>
                  <a:lnTo>
                    <a:pt x="850" y="998"/>
                  </a:lnTo>
                  <a:lnTo>
                    <a:pt x="848" y="1000"/>
                  </a:lnTo>
                  <a:lnTo>
                    <a:pt x="846" y="1000"/>
                  </a:lnTo>
                  <a:lnTo>
                    <a:pt x="840" y="998"/>
                  </a:lnTo>
                  <a:lnTo>
                    <a:pt x="838" y="998"/>
                  </a:lnTo>
                  <a:lnTo>
                    <a:pt x="838" y="996"/>
                  </a:lnTo>
                  <a:lnTo>
                    <a:pt x="836" y="996"/>
                  </a:lnTo>
                  <a:lnTo>
                    <a:pt x="834" y="996"/>
                  </a:lnTo>
                  <a:lnTo>
                    <a:pt x="828" y="996"/>
                  </a:lnTo>
                  <a:lnTo>
                    <a:pt x="825" y="996"/>
                  </a:lnTo>
                  <a:lnTo>
                    <a:pt x="825" y="994"/>
                  </a:lnTo>
                  <a:lnTo>
                    <a:pt x="828" y="994"/>
                  </a:lnTo>
                  <a:lnTo>
                    <a:pt x="830" y="994"/>
                  </a:lnTo>
                  <a:lnTo>
                    <a:pt x="832" y="994"/>
                  </a:lnTo>
                  <a:lnTo>
                    <a:pt x="834" y="994"/>
                  </a:lnTo>
                  <a:lnTo>
                    <a:pt x="836" y="992"/>
                  </a:lnTo>
                  <a:lnTo>
                    <a:pt x="834" y="992"/>
                  </a:lnTo>
                  <a:lnTo>
                    <a:pt x="834" y="990"/>
                  </a:lnTo>
                  <a:lnTo>
                    <a:pt x="832" y="992"/>
                  </a:lnTo>
                  <a:lnTo>
                    <a:pt x="832" y="992"/>
                  </a:lnTo>
                  <a:lnTo>
                    <a:pt x="832" y="992"/>
                  </a:lnTo>
                  <a:lnTo>
                    <a:pt x="832" y="990"/>
                  </a:lnTo>
                  <a:lnTo>
                    <a:pt x="834" y="990"/>
                  </a:lnTo>
                  <a:lnTo>
                    <a:pt x="832" y="988"/>
                  </a:lnTo>
                  <a:lnTo>
                    <a:pt x="828" y="984"/>
                  </a:lnTo>
                  <a:lnTo>
                    <a:pt x="830" y="984"/>
                  </a:lnTo>
                  <a:lnTo>
                    <a:pt x="828" y="982"/>
                  </a:lnTo>
                  <a:lnTo>
                    <a:pt x="825" y="978"/>
                  </a:lnTo>
                  <a:lnTo>
                    <a:pt x="825" y="975"/>
                  </a:lnTo>
                  <a:lnTo>
                    <a:pt x="828" y="978"/>
                  </a:lnTo>
                  <a:lnTo>
                    <a:pt x="830" y="980"/>
                  </a:lnTo>
                  <a:lnTo>
                    <a:pt x="838" y="990"/>
                  </a:lnTo>
                  <a:lnTo>
                    <a:pt x="838" y="992"/>
                  </a:lnTo>
                  <a:lnTo>
                    <a:pt x="838" y="992"/>
                  </a:lnTo>
                  <a:lnTo>
                    <a:pt x="838" y="994"/>
                  </a:lnTo>
                  <a:lnTo>
                    <a:pt x="840" y="994"/>
                  </a:lnTo>
                  <a:lnTo>
                    <a:pt x="842" y="994"/>
                  </a:lnTo>
                  <a:lnTo>
                    <a:pt x="842" y="992"/>
                  </a:lnTo>
                  <a:lnTo>
                    <a:pt x="842" y="992"/>
                  </a:lnTo>
                  <a:lnTo>
                    <a:pt x="842" y="992"/>
                  </a:lnTo>
                  <a:lnTo>
                    <a:pt x="844" y="988"/>
                  </a:lnTo>
                  <a:lnTo>
                    <a:pt x="844" y="988"/>
                  </a:lnTo>
                  <a:lnTo>
                    <a:pt x="844" y="990"/>
                  </a:lnTo>
                  <a:lnTo>
                    <a:pt x="846" y="988"/>
                  </a:lnTo>
                  <a:lnTo>
                    <a:pt x="846" y="988"/>
                  </a:lnTo>
                  <a:lnTo>
                    <a:pt x="848" y="988"/>
                  </a:lnTo>
                  <a:lnTo>
                    <a:pt x="848" y="986"/>
                  </a:lnTo>
                  <a:lnTo>
                    <a:pt x="848" y="986"/>
                  </a:lnTo>
                  <a:lnTo>
                    <a:pt x="850" y="984"/>
                  </a:lnTo>
                  <a:lnTo>
                    <a:pt x="852" y="982"/>
                  </a:lnTo>
                  <a:lnTo>
                    <a:pt x="852" y="984"/>
                  </a:lnTo>
                  <a:lnTo>
                    <a:pt x="852" y="986"/>
                  </a:lnTo>
                  <a:lnTo>
                    <a:pt x="852" y="988"/>
                  </a:lnTo>
                  <a:lnTo>
                    <a:pt x="852" y="988"/>
                  </a:lnTo>
                  <a:lnTo>
                    <a:pt x="854" y="988"/>
                  </a:lnTo>
                  <a:lnTo>
                    <a:pt x="854" y="988"/>
                  </a:lnTo>
                  <a:lnTo>
                    <a:pt x="854" y="988"/>
                  </a:lnTo>
                  <a:lnTo>
                    <a:pt x="854" y="988"/>
                  </a:lnTo>
                  <a:lnTo>
                    <a:pt x="854" y="988"/>
                  </a:lnTo>
                  <a:lnTo>
                    <a:pt x="854" y="990"/>
                  </a:lnTo>
                  <a:lnTo>
                    <a:pt x="854" y="990"/>
                  </a:lnTo>
                  <a:lnTo>
                    <a:pt x="852" y="990"/>
                  </a:lnTo>
                  <a:lnTo>
                    <a:pt x="850" y="990"/>
                  </a:lnTo>
                  <a:lnTo>
                    <a:pt x="850" y="990"/>
                  </a:lnTo>
                  <a:lnTo>
                    <a:pt x="850" y="990"/>
                  </a:lnTo>
                  <a:lnTo>
                    <a:pt x="852" y="990"/>
                  </a:lnTo>
                  <a:lnTo>
                    <a:pt x="852" y="992"/>
                  </a:lnTo>
                  <a:lnTo>
                    <a:pt x="850" y="992"/>
                  </a:lnTo>
                  <a:lnTo>
                    <a:pt x="848" y="994"/>
                  </a:lnTo>
                  <a:lnTo>
                    <a:pt x="850" y="996"/>
                  </a:lnTo>
                  <a:lnTo>
                    <a:pt x="850" y="996"/>
                  </a:lnTo>
                  <a:lnTo>
                    <a:pt x="852" y="992"/>
                  </a:lnTo>
                  <a:lnTo>
                    <a:pt x="858" y="990"/>
                  </a:lnTo>
                  <a:lnTo>
                    <a:pt x="860" y="990"/>
                  </a:lnTo>
                  <a:lnTo>
                    <a:pt x="860" y="986"/>
                  </a:lnTo>
                  <a:lnTo>
                    <a:pt x="864" y="975"/>
                  </a:lnTo>
                  <a:lnTo>
                    <a:pt x="864" y="973"/>
                  </a:lnTo>
                  <a:lnTo>
                    <a:pt x="864" y="973"/>
                  </a:lnTo>
                  <a:lnTo>
                    <a:pt x="866" y="971"/>
                  </a:lnTo>
                  <a:lnTo>
                    <a:pt x="866" y="965"/>
                  </a:lnTo>
                  <a:lnTo>
                    <a:pt x="871" y="961"/>
                  </a:lnTo>
                  <a:lnTo>
                    <a:pt x="871" y="959"/>
                  </a:lnTo>
                  <a:lnTo>
                    <a:pt x="871" y="957"/>
                  </a:lnTo>
                  <a:lnTo>
                    <a:pt x="871" y="955"/>
                  </a:lnTo>
                  <a:lnTo>
                    <a:pt x="871" y="955"/>
                  </a:lnTo>
                  <a:lnTo>
                    <a:pt x="873" y="953"/>
                  </a:lnTo>
                  <a:lnTo>
                    <a:pt x="873" y="951"/>
                  </a:lnTo>
                  <a:lnTo>
                    <a:pt x="873" y="951"/>
                  </a:lnTo>
                  <a:lnTo>
                    <a:pt x="873" y="949"/>
                  </a:lnTo>
                  <a:lnTo>
                    <a:pt x="864" y="945"/>
                  </a:lnTo>
                  <a:lnTo>
                    <a:pt x="862" y="945"/>
                  </a:lnTo>
                  <a:lnTo>
                    <a:pt x="860" y="941"/>
                  </a:lnTo>
                  <a:lnTo>
                    <a:pt x="860" y="941"/>
                  </a:lnTo>
                  <a:lnTo>
                    <a:pt x="860" y="939"/>
                  </a:lnTo>
                  <a:lnTo>
                    <a:pt x="860" y="937"/>
                  </a:lnTo>
                  <a:lnTo>
                    <a:pt x="860" y="935"/>
                  </a:lnTo>
                  <a:lnTo>
                    <a:pt x="860" y="935"/>
                  </a:lnTo>
                  <a:lnTo>
                    <a:pt x="858" y="937"/>
                  </a:lnTo>
                  <a:lnTo>
                    <a:pt x="858" y="937"/>
                  </a:lnTo>
                  <a:lnTo>
                    <a:pt x="856" y="935"/>
                  </a:lnTo>
                  <a:lnTo>
                    <a:pt x="854" y="937"/>
                  </a:lnTo>
                  <a:lnTo>
                    <a:pt x="852" y="935"/>
                  </a:lnTo>
                  <a:lnTo>
                    <a:pt x="850" y="935"/>
                  </a:lnTo>
                  <a:lnTo>
                    <a:pt x="848" y="930"/>
                  </a:lnTo>
                  <a:lnTo>
                    <a:pt x="850" y="930"/>
                  </a:lnTo>
                  <a:lnTo>
                    <a:pt x="850" y="930"/>
                  </a:lnTo>
                  <a:lnTo>
                    <a:pt x="850" y="930"/>
                  </a:lnTo>
                  <a:lnTo>
                    <a:pt x="850" y="930"/>
                  </a:lnTo>
                  <a:lnTo>
                    <a:pt x="850" y="932"/>
                  </a:lnTo>
                  <a:lnTo>
                    <a:pt x="852" y="932"/>
                  </a:lnTo>
                  <a:lnTo>
                    <a:pt x="852" y="932"/>
                  </a:lnTo>
                  <a:lnTo>
                    <a:pt x="852" y="932"/>
                  </a:lnTo>
                  <a:lnTo>
                    <a:pt x="854" y="932"/>
                  </a:lnTo>
                  <a:lnTo>
                    <a:pt x="854" y="932"/>
                  </a:lnTo>
                  <a:lnTo>
                    <a:pt x="854" y="932"/>
                  </a:lnTo>
                  <a:lnTo>
                    <a:pt x="854" y="930"/>
                  </a:lnTo>
                  <a:lnTo>
                    <a:pt x="856" y="930"/>
                  </a:lnTo>
                  <a:lnTo>
                    <a:pt x="862" y="930"/>
                  </a:lnTo>
                  <a:lnTo>
                    <a:pt x="864" y="930"/>
                  </a:lnTo>
                  <a:lnTo>
                    <a:pt x="864" y="930"/>
                  </a:lnTo>
                  <a:lnTo>
                    <a:pt x="864" y="932"/>
                  </a:lnTo>
                  <a:lnTo>
                    <a:pt x="864" y="932"/>
                  </a:lnTo>
                  <a:lnTo>
                    <a:pt x="864" y="932"/>
                  </a:lnTo>
                  <a:lnTo>
                    <a:pt x="866" y="932"/>
                  </a:lnTo>
                  <a:lnTo>
                    <a:pt x="871" y="930"/>
                  </a:lnTo>
                  <a:lnTo>
                    <a:pt x="873" y="930"/>
                  </a:lnTo>
                  <a:lnTo>
                    <a:pt x="875" y="930"/>
                  </a:lnTo>
                  <a:lnTo>
                    <a:pt x="875" y="932"/>
                  </a:lnTo>
                  <a:lnTo>
                    <a:pt x="877" y="932"/>
                  </a:lnTo>
                  <a:lnTo>
                    <a:pt x="877" y="935"/>
                  </a:lnTo>
                  <a:lnTo>
                    <a:pt x="875" y="935"/>
                  </a:lnTo>
                  <a:lnTo>
                    <a:pt x="875" y="937"/>
                  </a:lnTo>
                  <a:lnTo>
                    <a:pt x="879" y="937"/>
                  </a:lnTo>
                  <a:lnTo>
                    <a:pt x="881" y="935"/>
                  </a:lnTo>
                  <a:lnTo>
                    <a:pt x="887" y="924"/>
                  </a:lnTo>
                  <a:lnTo>
                    <a:pt x="891" y="918"/>
                  </a:lnTo>
                  <a:lnTo>
                    <a:pt x="891" y="918"/>
                  </a:lnTo>
                  <a:lnTo>
                    <a:pt x="891" y="918"/>
                  </a:lnTo>
                  <a:lnTo>
                    <a:pt x="891" y="918"/>
                  </a:lnTo>
                  <a:lnTo>
                    <a:pt x="891" y="918"/>
                  </a:lnTo>
                  <a:lnTo>
                    <a:pt x="893" y="914"/>
                  </a:lnTo>
                  <a:lnTo>
                    <a:pt x="893" y="914"/>
                  </a:lnTo>
                  <a:lnTo>
                    <a:pt x="895" y="912"/>
                  </a:lnTo>
                  <a:lnTo>
                    <a:pt x="895" y="912"/>
                  </a:lnTo>
                  <a:lnTo>
                    <a:pt x="895" y="912"/>
                  </a:lnTo>
                  <a:lnTo>
                    <a:pt x="895" y="910"/>
                  </a:lnTo>
                  <a:lnTo>
                    <a:pt x="895" y="906"/>
                  </a:lnTo>
                  <a:lnTo>
                    <a:pt x="895" y="904"/>
                  </a:lnTo>
                  <a:lnTo>
                    <a:pt x="893" y="904"/>
                  </a:lnTo>
                  <a:lnTo>
                    <a:pt x="893" y="904"/>
                  </a:lnTo>
                  <a:lnTo>
                    <a:pt x="893" y="904"/>
                  </a:lnTo>
                  <a:lnTo>
                    <a:pt x="893" y="904"/>
                  </a:lnTo>
                  <a:lnTo>
                    <a:pt x="893" y="904"/>
                  </a:lnTo>
                  <a:lnTo>
                    <a:pt x="893" y="906"/>
                  </a:lnTo>
                  <a:lnTo>
                    <a:pt x="891" y="908"/>
                  </a:lnTo>
                  <a:lnTo>
                    <a:pt x="887" y="910"/>
                  </a:lnTo>
                  <a:lnTo>
                    <a:pt x="887" y="910"/>
                  </a:lnTo>
                  <a:lnTo>
                    <a:pt x="887" y="912"/>
                  </a:lnTo>
                  <a:lnTo>
                    <a:pt x="885" y="914"/>
                  </a:lnTo>
                  <a:lnTo>
                    <a:pt x="885" y="914"/>
                  </a:lnTo>
                  <a:lnTo>
                    <a:pt x="885" y="916"/>
                  </a:lnTo>
                  <a:lnTo>
                    <a:pt x="883" y="916"/>
                  </a:lnTo>
                  <a:lnTo>
                    <a:pt x="883" y="916"/>
                  </a:lnTo>
                  <a:lnTo>
                    <a:pt x="883" y="914"/>
                  </a:lnTo>
                  <a:lnTo>
                    <a:pt x="883" y="914"/>
                  </a:lnTo>
                  <a:lnTo>
                    <a:pt x="883" y="912"/>
                  </a:lnTo>
                  <a:lnTo>
                    <a:pt x="881" y="910"/>
                  </a:lnTo>
                  <a:lnTo>
                    <a:pt x="879" y="910"/>
                  </a:lnTo>
                  <a:lnTo>
                    <a:pt x="877" y="910"/>
                  </a:lnTo>
                  <a:lnTo>
                    <a:pt x="877" y="910"/>
                  </a:lnTo>
                  <a:lnTo>
                    <a:pt x="879" y="906"/>
                  </a:lnTo>
                  <a:lnTo>
                    <a:pt x="883" y="902"/>
                  </a:lnTo>
                  <a:lnTo>
                    <a:pt x="881" y="902"/>
                  </a:lnTo>
                  <a:lnTo>
                    <a:pt x="881" y="902"/>
                  </a:lnTo>
                  <a:lnTo>
                    <a:pt x="881" y="900"/>
                  </a:lnTo>
                  <a:lnTo>
                    <a:pt x="881" y="900"/>
                  </a:lnTo>
                  <a:lnTo>
                    <a:pt x="883" y="900"/>
                  </a:lnTo>
                  <a:lnTo>
                    <a:pt x="883" y="900"/>
                  </a:lnTo>
                  <a:lnTo>
                    <a:pt x="885" y="900"/>
                  </a:lnTo>
                  <a:lnTo>
                    <a:pt x="883" y="902"/>
                  </a:lnTo>
                  <a:lnTo>
                    <a:pt x="887" y="900"/>
                  </a:lnTo>
                  <a:lnTo>
                    <a:pt x="891" y="898"/>
                  </a:lnTo>
                  <a:lnTo>
                    <a:pt x="893" y="896"/>
                  </a:lnTo>
                  <a:lnTo>
                    <a:pt x="895" y="894"/>
                  </a:lnTo>
                  <a:lnTo>
                    <a:pt x="895" y="894"/>
                  </a:lnTo>
                  <a:lnTo>
                    <a:pt x="895" y="896"/>
                  </a:lnTo>
                  <a:lnTo>
                    <a:pt x="895" y="900"/>
                  </a:lnTo>
                  <a:lnTo>
                    <a:pt x="897" y="900"/>
                  </a:lnTo>
                  <a:lnTo>
                    <a:pt x="895" y="900"/>
                  </a:lnTo>
                  <a:lnTo>
                    <a:pt x="895" y="902"/>
                  </a:lnTo>
                  <a:lnTo>
                    <a:pt x="895" y="902"/>
                  </a:lnTo>
                  <a:lnTo>
                    <a:pt x="895" y="902"/>
                  </a:lnTo>
                  <a:lnTo>
                    <a:pt x="899" y="902"/>
                  </a:lnTo>
                  <a:lnTo>
                    <a:pt x="899" y="902"/>
                  </a:lnTo>
                  <a:lnTo>
                    <a:pt x="901" y="900"/>
                  </a:lnTo>
                  <a:lnTo>
                    <a:pt x="901" y="898"/>
                  </a:lnTo>
                  <a:lnTo>
                    <a:pt x="901" y="896"/>
                  </a:lnTo>
                  <a:lnTo>
                    <a:pt x="901" y="894"/>
                  </a:lnTo>
                  <a:lnTo>
                    <a:pt x="901" y="894"/>
                  </a:lnTo>
                  <a:lnTo>
                    <a:pt x="903" y="889"/>
                  </a:lnTo>
                  <a:lnTo>
                    <a:pt x="903" y="887"/>
                  </a:lnTo>
                  <a:lnTo>
                    <a:pt x="905" y="887"/>
                  </a:lnTo>
                  <a:lnTo>
                    <a:pt x="905" y="889"/>
                  </a:lnTo>
                  <a:lnTo>
                    <a:pt x="905" y="891"/>
                  </a:lnTo>
                  <a:lnTo>
                    <a:pt x="903" y="894"/>
                  </a:lnTo>
                  <a:lnTo>
                    <a:pt x="905" y="896"/>
                  </a:lnTo>
                  <a:lnTo>
                    <a:pt x="903" y="898"/>
                  </a:lnTo>
                  <a:lnTo>
                    <a:pt x="903" y="900"/>
                  </a:lnTo>
                  <a:lnTo>
                    <a:pt x="901" y="904"/>
                  </a:lnTo>
                  <a:lnTo>
                    <a:pt x="903" y="902"/>
                  </a:lnTo>
                  <a:lnTo>
                    <a:pt x="907" y="902"/>
                  </a:lnTo>
                  <a:lnTo>
                    <a:pt x="907" y="900"/>
                  </a:lnTo>
                  <a:lnTo>
                    <a:pt x="911" y="896"/>
                  </a:lnTo>
                  <a:lnTo>
                    <a:pt x="914" y="894"/>
                  </a:lnTo>
                  <a:lnTo>
                    <a:pt x="916" y="891"/>
                  </a:lnTo>
                  <a:lnTo>
                    <a:pt x="918" y="889"/>
                  </a:lnTo>
                  <a:lnTo>
                    <a:pt x="916" y="885"/>
                  </a:lnTo>
                  <a:lnTo>
                    <a:pt x="916" y="883"/>
                  </a:lnTo>
                  <a:lnTo>
                    <a:pt x="918" y="881"/>
                  </a:lnTo>
                  <a:lnTo>
                    <a:pt x="918" y="879"/>
                  </a:lnTo>
                  <a:lnTo>
                    <a:pt x="916" y="877"/>
                  </a:lnTo>
                  <a:lnTo>
                    <a:pt x="914" y="875"/>
                  </a:lnTo>
                  <a:lnTo>
                    <a:pt x="911" y="871"/>
                  </a:lnTo>
                  <a:lnTo>
                    <a:pt x="911" y="869"/>
                  </a:lnTo>
                  <a:lnTo>
                    <a:pt x="914" y="871"/>
                  </a:lnTo>
                  <a:lnTo>
                    <a:pt x="916" y="871"/>
                  </a:lnTo>
                  <a:lnTo>
                    <a:pt x="918" y="873"/>
                  </a:lnTo>
                  <a:lnTo>
                    <a:pt x="918" y="871"/>
                  </a:lnTo>
                  <a:lnTo>
                    <a:pt x="918" y="871"/>
                  </a:lnTo>
                  <a:lnTo>
                    <a:pt x="918" y="869"/>
                  </a:lnTo>
                  <a:lnTo>
                    <a:pt x="916" y="867"/>
                  </a:lnTo>
                  <a:lnTo>
                    <a:pt x="914" y="867"/>
                  </a:lnTo>
                  <a:lnTo>
                    <a:pt x="914" y="867"/>
                  </a:lnTo>
                  <a:lnTo>
                    <a:pt x="914" y="865"/>
                  </a:lnTo>
                  <a:lnTo>
                    <a:pt x="916" y="865"/>
                  </a:lnTo>
                  <a:lnTo>
                    <a:pt x="916" y="865"/>
                  </a:lnTo>
                  <a:lnTo>
                    <a:pt x="916" y="865"/>
                  </a:lnTo>
                  <a:lnTo>
                    <a:pt x="918" y="867"/>
                  </a:lnTo>
                  <a:lnTo>
                    <a:pt x="918" y="869"/>
                  </a:lnTo>
                  <a:lnTo>
                    <a:pt x="920" y="869"/>
                  </a:lnTo>
                  <a:lnTo>
                    <a:pt x="920" y="869"/>
                  </a:lnTo>
                  <a:lnTo>
                    <a:pt x="920" y="869"/>
                  </a:lnTo>
                  <a:lnTo>
                    <a:pt x="920" y="871"/>
                  </a:lnTo>
                  <a:lnTo>
                    <a:pt x="920" y="871"/>
                  </a:lnTo>
                  <a:lnTo>
                    <a:pt x="922" y="871"/>
                  </a:lnTo>
                  <a:lnTo>
                    <a:pt x="924" y="873"/>
                  </a:lnTo>
                  <a:lnTo>
                    <a:pt x="924" y="873"/>
                  </a:lnTo>
                  <a:lnTo>
                    <a:pt x="924" y="873"/>
                  </a:lnTo>
                  <a:lnTo>
                    <a:pt x="924" y="877"/>
                  </a:lnTo>
                  <a:lnTo>
                    <a:pt x="926" y="879"/>
                  </a:lnTo>
                  <a:lnTo>
                    <a:pt x="926" y="881"/>
                  </a:lnTo>
                  <a:lnTo>
                    <a:pt x="928" y="879"/>
                  </a:lnTo>
                  <a:lnTo>
                    <a:pt x="930" y="881"/>
                  </a:lnTo>
                  <a:lnTo>
                    <a:pt x="940" y="875"/>
                  </a:lnTo>
                  <a:lnTo>
                    <a:pt x="940" y="875"/>
                  </a:lnTo>
                  <a:lnTo>
                    <a:pt x="944" y="873"/>
                  </a:lnTo>
                  <a:lnTo>
                    <a:pt x="946" y="871"/>
                  </a:lnTo>
                  <a:lnTo>
                    <a:pt x="952" y="869"/>
                  </a:lnTo>
                  <a:lnTo>
                    <a:pt x="952" y="865"/>
                  </a:lnTo>
                  <a:lnTo>
                    <a:pt x="950" y="863"/>
                  </a:lnTo>
                  <a:lnTo>
                    <a:pt x="946" y="863"/>
                  </a:lnTo>
                  <a:lnTo>
                    <a:pt x="942" y="863"/>
                  </a:lnTo>
                  <a:lnTo>
                    <a:pt x="942" y="863"/>
                  </a:lnTo>
                  <a:lnTo>
                    <a:pt x="940" y="865"/>
                  </a:lnTo>
                  <a:lnTo>
                    <a:pt x="938" y="865"/>
                  </a:lnTo>
                  <a:lnTo>
                    <a:pt x="938" y="863"/>
                  </a:lnTo>
                  <a:lnTo>
                    <a:pt x="938" y="863"/>
                  </a:lnTo>
                  <a:lnTo>
                    <a:pt x="944" y="861"/>
                  </a:lnTo>
                  <a:lnTo>
                    <a:pt x="942" y="859"/>
                  </a:lnTo>
                  <a:lnTo>
                    <a:pt x="942" y="857"/>
                  </a:lnTo>
                  <a:lnTo>
                    <a:pt x="942" y="857"/>
                  </a:lnTo>
                  <a:lnTo>
                    <a:pt x="942" y="857"/>
                  </a:lnTo>
                  <a:lnTo>
                    <a:pt x="940" y="855"/>
                  </a:lnTo>
                  <a:lnTo>
                    <a:pt x="936" y="853"/>
                  </a:lnTo>
                  <a:lnTo>
                    <a:pt x="936" y="853"/>
                  </a:lnTo>
                  <a:lnTo>
                    <a:pt x="934" y="855"/>
                  </a:lnTo>
                  <a:lnTo>
                    <a:pt x="934" y="855"/>
                  </a:lnTo>
                  <a:lnTo>
                    <a:pt x="932" y="853"/>
                  </a:lnTo>
                  <a:lnTo>
                    <a:pt x="932" y="853"/>
                  </a:lnTo>
                  <a:lnTo>
                    <a:pt x="934" y="850"/>
                  </a:lnTo>
                  <a:lnTo>
                    <a:pt x="934" y="848"/>
                  </a:lnTo>
                  <a:lnTo>
                    <a:pt x="932" y="848"/>
                  </a:lnTo>
                  <a:lnTo>
                    <a:pt x="932" y="846"/>
                  </a:lnTo>
                  <a:lnTo>
                    <a:pt x="930" y="842"/>
                  </a:lnTo>
                  <a:lnTo>
                    <a:pt x="928" y="842"/>
                  </a:lnTo>
                  <a:lnTo>
                    <a:pt x="928" y="840"/>
                  </a:lnTo>
                  <a:lnTo>
                    <a:pt x="928" y="836"/>
                  </a:lnTo>
                  <a:lnTo>
                    <a:pt x="930" y="838"/>
                  </a:lnTo>
                  <a:lnTo>
                    <a:pt x="930" y="838"/>
                  </a:lnTo>
                  <a:lnTo>
                    <a:pt x="930" y="838"/>
                  </a:lnTo>
                  <a:lnTo>
                    <a:pt x="932" y="838"/>
                  </a:lnTo>
                  <a:lnTo>
                    <a:pt x="932" y="838"/>
                  </a:lnTo>
                  <a:lnTo>
                    <a:pt x="934" y="838"/>
                  </a:lnTo>
                  <a:lnTo>
                    <a:pt x="936" y="838"/>
                  </a:lnTo>
                  <a:lnTo>
                    <a:pt x="936" y="840"/>
                  </a:lnTo>
                  <a:lnTo>
                    <a:pt x="936" y="840"/>
                  </a:lnTo>
                  <a:lnTo>
                    <a:pt x="936" y="840"/>
                  </a:lnTo>
                  <a:lnTo>
                    <a:pt x="936" y="842"/>
                  </a:lnTo>
                  <a:lnTo>
                    <a:pt x="936" y="844"/>
                  </a:lnTo>
                  <a:lnTo>
                    <a:pt x="936" y="844"/>
                  </a:lnTo>
                  <a:lnTo>
                    <a:pt x="938" y="844"/>
                  </a:lnTo>
                  <a:lnTo>
                    <a:pt x="938" y="846"/>
                  </a:lnTo>
                  <a:lnTo>
                    <a:pt x="938" y="846"/>
                  </a:lnTo>
                  <a:lnTo>
                    <a:pt x="940" y="846"/>
                  </a:lnTo>
                  <a:lnTo>
                    <a:pt x="940" y="846"/>
                  </a:lnTo>
                  <a:lnTo>
                    <a:pt x="940" y="846"/>
                  </a:lnTo>
                  <a:lnTo>
                    <a:pt x="942" y="846"/>
                  </a:lnTo>
                  <a:lnTo>
                    <a:pt x="942" y="846"/>
                  </a:lnTo>
                  <a:lnTo>
                    <a:pt x="944" y="846"/>
                  </a:lnTo>
                  <a:lnTo>
                    <a:pt x="944" y="848"/>
                  </a:lnTo>
                  <a:lnTo>
                    <a:pt x="948" y="846"/>
                  </a:lnTo>
                  <a:lnTo>
                    <a:pt x="948" y="848"/>
                  </a:lnTo>
                  <a:lnTo>
                    <a:pt x="948" y="850"/>
                  </a:lnTo>
                  <a:lnTo>
                    <a:pt x="946" y="850"/>
                  </a:lnTo>
                  <a:lnTo>
                    <a:pt x="944" y="850"/>
                  </a:lnTo>
                  <a:lnTo>
                    <a:pt x="944" y="853"/>
                  </a:lnTo>
                  <a:lnTo>
                    <a:pt x="946" y="853"/>
                  </a:lnTo>
                  <a:lnTo>
                    <a:pt x="950" y="850"/>
                  </a:lnTo>
                  <a:lnTo>
                    <a:pt x="955" y="846"/>
                  </a:lnTo>
                  <a:lnTo>
                    <a:pt x="952" y="846"/>
                  </a:lnTo>
                  <a:lnTo>
                    <a:pt x="950" y="846"/>
                  </a:lnTo>
                  <a:lnTo>
                    <a:pt x="950" y="844"/>
                  </a:lnTo>
                  <a:lnTo>
                    <a:pt x="950" y="842"/>
                  </a:lnTo>
                  <a:lnTo>
                    <a:pt x="950" y="842"/>
                  </a:lnTo>
                  <a:lnTo>
                    <a:pt x="950" y="842"/>
                  </a:lnTo>
                  <a:lnTo>
                    <a:pt x="950" y="840"/>
                  </a:lnTo>
                  <a:lnTo>
                    <a:pt x="950" y="840"/>
                  </a:lnTo>
                  <a:lnTo>
                    <a:pt x="952" y="840"/>
                  </a:lnTo>
                  <a:lnTo>
                    <a:pt x="952" y="838"/>
                  </a:lnTo>
                  <a:lnTo>
                    <a:pt x="952" y="838"/>
                  </a:lnTo>
                  <a:lnTo>
                    <a:pt x="952" y="838"/>
                  </a:lnTo>
                  <a:lnTo>
                    <a:pt x="950" y="838"/>
                  </a:lnTo>
                  <a:lnTo>
                    <a:pt x="950" y="838"/>
                  </a:lnTo>
                  <a:lnTo>
                    <a:pt x="950" y="838"/>
                  </a:lnTo>
                  <a:lnTo>
                    <a:pt x="948" y="838"/>
                  </a:lnTo>
                  <a:lnTo>
                    <a:pt x="948" y="836"/>
                  </a:lnTo>
                  <a:lnTo>
                    <a:pt x="948" y="834"/>
                  </a:lnTo>
                  <a:lnTo>
                    <a:pt x="948" y="832"/>
                  </a:lnTo>
                  <a:lnTo>
                    <a:pt x="948" y="832"/>
                  </a:lnTo>
                  <a:lnTo>
                    <a:pt x="948" y="834"/>
                  </a:lnTo>
                  <a:lnTo>
                    <a:pt x="950" y="836"/>
                  </a:lnTo>
                  <a:lnTo>
                    <a:pt x="950" y="836"/>
                  </a:lnTo>
                  <a:lnTo>
                    <a:pt x="952" y="836"/>
                  </a:lnTo>
                  <a:lnTo>
                    <a:pt x="952" y="834"/>
                  </a:lnTo>
                  <a:lnTo>
                    <a:pt x="955" y="836"/>
                  </a:lnTo>
                  <a:lnTo>
                    <a:pt x="955" y="838"/>
                  </a:lnTo>
                  <a:lnTo>
                    <a:pt x="955" y="840"/>
                  </a:lnTo>
                  <a:lnTo>
                    <a:pt x="952" y="840"/>
                  </a:lnTo>
                  <a:lnTo>
                    <a:pt x="955" y="842"/>
                  </a:lnTo>
                  <a:lnTo>
                    <a:pt x="957" y="844"/>
                  </a:lnTo>
                  <a:lnTo>
                    <a:pt x="957" y="844"/>
                  </a:lnTo>
                  <a:lnTo>
                    <a:pt x="957" y="846"/>
                  </a:lnTo>
                  <a:lnTo>
                    <a:pt x="957" y="846"/>
                  </a:lnTo>
                  <a:lnTo>
                    <a:pt x="959" y="846"/>
                  </a:lnTo>
                  <a:lnTo>
                    <a:pt x="961" y="844"/>
                  </a:lnTo>
                  <a:lnTo>
                    <a:pt x="963" y="840"/>
                  </a:lnTo>
                  <a:lnTo>
                    <a:pt x="965" y="840"/>
                  </a:lnTo>
                  <a:lnTo>
                    <a:pt x="965" y="842"/>
                  </a:lnTo>
                  <a:lnTo>
                    <a:pt x="967" y="840"/>
                  </a:lnTo>
                  <a:lnTo>
                    <a:pt x="969" y="840"/>
                  </a:lnTo>
                  <a:lnTo>
                    <a:pt x="969" y="840"/>
                  </a:lnTo>
                  <a:lnTo>
                    <a:pt x="971" y="840"/>
                  </a:lnTo>
                  <a:lnTo>
                    <a:pt x="973" y="840"/>
                  </a:lnTo>
                  <a:lnTo>
                    <a:pt x="971" y="840"/>
                  </a:lnTo>
                  <a:lnTo>
                    <a:pt x="969" y="844"/>
                  </a:lnTo>
                  <a:lnTo>
                    <a:pt x="969" y="846"/>
                  </a:lnTo>
                  <a:lnTo>
                    <a:pt x="969" y="846"/>
                  </a:lnTo>
                  <a:lnTo>
                    <a:pt x="971" y="846"/>
                  </a:lnTo>
                  <a:lnTo>
                    <a:pt x="973" y="846"/>
                  </a:lnTo>
                  <a:lnTo>
                    <a:pt x="975" y="846"/>
                  </a:lnTo>
                  <a:lnTo>
                    <a:pt x="975" y="846"/>
                  </a:lnTo>
                  <a:lnTo>
                    <a:pt x="977" y="846"/>
                  </a:lnTo>
                  <a:lnTo>
                    <a:pt x="977" y="846"/>
                  </a:lnTo>
                  <a:lnTo>
                    <a:pt x="977" y="846"/>
                  </a:lnTo>
                  <a:lnTo>
                    <a:pt x="975" y="848"/>
                  </a:lnTo>
                  <a:lnTo>
                    <a:pt x="971" y="848"/>
                  </a:lnTo>
                  <a:lnTo>
                    <a:pt x="969" y="848"/>
                  </a:lnTo>
                  <a:lnTo>
                    <a:pt x="969" y="850"/>
                  </a:lnTo>
                  <a:lnTo>
                    <a:pt x="971" y="850"/>
                  </a:lnTo>
                  <a:lnTo>
                    <a:pt x="975" y="850"/>
                  </a:lnTo>
                  <a:lnTo>
                    <a:pt x="981" y="846"/>
                  </a:lnTo>
                  <a:lnTo>
                    <a:pt x="983" y="846"/>
                  </a:lnTo>
                  <a:lnTo>
                    <a:pt x="983" y="846"/>
                  </a:lnTo>
                  <a:lnTo>
                    <a:pt x="987" y="844"/>
                  </a:lnTo>
                  <a:lnTo>
                    <a:pt x="989" y="842"/>
                  </a:lnTo>
                  <a:lnTo>
                    <a:pt x="991" y="844"/>
                  </a:lnTo>
                  <a:lnTo>
                    <a:pt x="991" y="846"/>
                  </a:lnTo>
                  <a:lnTo>
                    <a:pt x="991" y="846"/>
                  </a:lnTo>
                  <a:lnTo>
                    <a:pt x="991" y="848"/>
                  </a:lnTo>
                  <a:lnTo>
                    <a:pt x="989" y="848"/>
                  </a:lnTo>
                  <a:lnTo>
                    <a:pt x="975" y="857"/>
                  </a:lnTo>
                  <a:lnTo>
                    <a:pt x="973" y="859"/>
                  </a:lnTo>
                  <a:lnTo>
                    <a:pt x="971" y="861"/>
                  </a:lnTo>
                  <a:lnTo>
                    <a:pt x="973" y="861"/>
                  </a:lnTo>
                  <a:lnTo>
                    <a:pt x="979" y="857"/>
                  </a:lnTo>
                  <a:lnTo>
                    <a:pt x="985" y="855"/>
                  </a:lnTo>
                  <a:lnTo>
                    <a:pt x="989" y="848"/>
                  </a:lnTo>
                  <a:lnTo>
                    <a:pt x="1000" y="846"/>
                  </a:lnTo>
                  <a:lnTo>
                    <a:pt x="1006" y="842"/>
                  </a:lnTo>
                  <a:lnTo>
                    <a:pt x="1016" y="836"/>
                  </a:lnTo>
                  <a:lnTo>
                    <a:pt x="1014" y="836"/>
                  </a:lnTo>
                  <a:lnTo>
                    <a:pt x="1010" y="838"/>
                  </a:lnTo>
                  <a:lnTo>
                    <a:pt x="998" y="844"/>
                  </a:lnTo>
                  <a:lnTo>
                    <a:pt x="998" y="846"/>
                  </a:lnTo>
                  <a:lnTo>
                    <a:pt x="995" y="846"/>
                  </a:lnTo>
                  <a:lnTo>
                    <a:pt x="995" y="846"/>
                  </a:lnTo>
                  <a:lnTo>
                    <a:pt x="995" y="846"/>
                  </a:lnTo>
                  <a:lnTo>
                    <a:pt x="995" y="844"/>
                  </a:lnTo>
                  <a:lnTo>
                    <a:pt x="995" y="844"/>
                  </a:lnTo>
                  <a:lnTo>
                    <a:pt x="995" y="844"/>
                  </a:lnTo>
                  <a:lnTo>
                    <a:pt x="995" y="842"/>
                  </a:lnTo>
                  <a:lnTo>
                    <a:pt x="995" y="842"/>
                  </a:lnTo>
                  <a:lnTo>
                    <a:pt x="995" y="840"/>
                  </a:lnTo>
                  <a:lnTo>
                    <a:pt x="995" y="838"/>
                  </a:lnTo>
                  <a:lnTo>
                    <a:pt x="1008" y="834"/>
                  </a:lnTo>
                  <a:lnTo>
                    <a:pt x="1010" y="834"/>
                  </a:lnTo>
                  <a:lnTo>
                    <a:pt x="1016" y="834"/>
                  </a:lnTo>
                  <a:lnTo>
                    <a:pt x="1020" y="834"/>
                  </a:lnTo>
                  <a:lnTo>
                    <a:pt x="1024" y="832"/>
                  </a:lnTo>
                  <a:lnTo>
                    <a:pt x="1028" y="830"/>
                  </a:lnTo>
                  <a:lnTo>
                    <a:pt x="1038" y="822"/>
                  </a:lnTo>
                  <a:lnTo>
                    <a:pt x="1045" y="818"/>
                  </a:lnTo>
                  <a:lnTo>
                    <a:pt x="1047" y="816"/>
                  </a:lnTo>
                  <a:lnTo>
                    <a:pt x="1049" y="816"/>
                  </a:lnTo>
                  <a:lnTo>
                    <a:pt x="1049" y="816"/>
                  </a:lnTo>
                  <a:lnTo>
                    <a:pt x="1055" y="812"/>
                  </a:lnTo>
                  <a:lnTo>
                    <a:pt x="1059" y="805"/>
                  </a:lnTo>
                  <a:lnTo>
                    <a:pt x="1061" y="803"/>
                  </a:lnTo>
                  <a:lnTo>
                    <a:pt x="1067" y="797"/>
                  </a:lnTo>
                  <a:lnTo>
                    <a:pt x="1069" y="797"/>
                  </a:lnTo>
                  <a:lnTo>
                    <a:pt x="1069" y="795"/>
                  </a:lnTo>
                  <a:lnTo>
                    <a:pt x="1069" y="793"/>
                  </a:lnTo>
                  <a:lnTo>
                    <a:pt x="1067" y="789"/>
                  </a:lnTo>
                  <a:lnTo>
                    <a:pt x="1067" y="787"/>
                  </a:lnTo>
                  <a:lnTo>
                    <a:pt x="1069" y="783"/>
                  </a:lnTo>
                  <a:lnTo>
                    <a:pt x="1067" y="781"/>
                  </a:lnTo>
                  <a:lnTo>
                    <a:pt x="1067" y="781"/>
                  </a:lnTo>
                  <a:lnTo>
                    <a:pt x="1067" y="781"/>
                  </a:lnTo>
                  <a:lnTo>
                    <a:pt x="1069" y="781"/>
                  </a:lnTo>
                  <a:lnTo>
                    <a:pt x="1071" y="781"/>
                  </a:lnTo>
                  <a:lnTo>
                    <a:pt x="1071" y="783"/>
                  </a:lnTo>
                  <a:lnTo>
                    <a:pt x="1073" y="783"/>
                  </a:lnTo>
                  <a:lnTo>
                    <a:pt x="1075" y="781"/>
                  </a:lnTo>
                  <a:lnTo>
                    <a:pt x="1081" y="773"/>
                  </a:lnTo>
                  <a:lnTo>
                    <a:pt x="1081" y="773"/>
                  </a:lnTo>
                  <a:lnTo>
                    <a:pt x="1081" y="771"/>
                  </a:lnTo>
                  <a:lnTo>
                    <a:pt x="1081" y="771"/>
                  </a:lnTo>
                  <a:lnTo>
                    <a:pt x="1081" y="771"/>
                  </a:lnTo>
                  <a:lnTo>
                    <a:pt x="1084" y="771"/>
                  </a:lnTo>
                  <a:lnTo>
                    <a:pt x="1084" y="771"/>
                  </a:lnTo>
                  <a:lnTo>
                    <a:pt x="1086" y="771"/>
                  </a:lnTo>
                  <a:lnTo>
                    <a:pt x="1086" y="769"/>
                  </a:lnTo>
                  <a:lnTo>
                    <a:pt x="1086" y="766"/>
                  </a:lnTo>
                  <a:lnTo>
                    <a:pt x="1088" y="766"/>
                  </a:lnTo>
                  <a:lnTo>
                    <a:pt x="1088" y="769"/>
                  </a:lnTo>
                  <a:lnTo>
                    <a:pt x="1090" y="769"/>
                  </a:lnTo>
                  <a:lnTo>
                    <a:pt x="1092" y="764"/>
                  </a:lnTo>
                  <a:lnTo>
                    <a:pt x="1092" y="762"/>
                  </a:lnTo>
                  <a:lnTo>
                    <a:pt x="1092" y="760"/>
                  </a:lnTo>
                  <a:lnTo>
                    <a:pt x="1094" y="760"/>
                  </a:lnTo>
                  <a:lnTo>
                    <a:pt x="1096" y="760"/>
                  </a:lnTo>
                  <a:lnTo>
                    <a:pt x="1098" y="762"/>
                  </a:lnTo>
                  <a:lnTo>
                    <a:pt x="1098" y="760"/>
                  </a:lnTo>
                  <a:lnTo>
                    <a:pt x="1098" y="760"/>
                  </a:lnTo>
                  <a:lnTo>
                    <a:pt x="1098" y="760"/>
                  </a:lnTo>
                  <a:lnTo>
                    <a:pt x="1098" y="760"/>
                  </a:lnTo>
                  <a:lnTo>
                    <a:pt x="1094" y="758"/>
                  </a:lnTo>
                  <a:lnTo>
                    <a:pt x="1092" y="758"/>
                  </a:lnTo>
                  <a:lnTo>
                    <a:pt x="1092" y="758"/>
                  </a:lnTo>
                  <a:lnTo>
                    <a:pt x="1090" y="754"/>
                  </a:lnTo>
                  <a:lnTo>
                    <a:pt x="1090" y="754"/>
                  </a:lnTo>
                  <a:lnTo>
                    <a:pt x="1090" y="754"/>
                  </a:lnTo>
                  <a:lnTo>
                    <a:pt x="1090" y="754"/>
                  </a:lnTo>
                  <a:lnTo>
                    <a:pt x="1088" y="754"/>
                  </a:lnTo>
                  <a:lnTo>
                    <a:pt x="1088" y="754"/>
                  </a:lnTo>
                  <a:lnTo>
                    <a:pt x="1088" y="754"/>
                  </a:lnTo>
                  <a:lnTo>
                    <a:pt x="1090" y="756"/>
                  </a:lnTo>
                  <a:lnTo>
                    <a:pt x="1090" y="756"/>
                  </a:lnTo>
                  <a:lnTo>
                    <a:pt x="1088" y="756"/>
                  </a:lnTo>
                  <a:lnTo>
                    <a:pt x="1086" y="754"/>
                  </a:lnTo>
                  <a:lnTo>
                    <a:pt x="1086" y="752"/>
                  </a:lnTo>
                  <a:lnTo>
                    <a:pt x="1084" y="752"/>
                  </a:lnTo>
                  <a:lnTo>
                    <a:pt x="1084" y="752"/>
                  </a:lnTo>
                  <a:lnTo>
                    <a:pt x="1086" y="750"/>
                  </a:lnTo>
                  <a:lnTo>
                    <a:pt x="1088" y="750"/>
                  </a:lnTo>
                  <a:lnTo>
                    <a:pt x="1088" y="748"/>
                  </a:lnTo>
                  <a:lnTo>
                    <a:pt x="1088" y="748"/>
                  </a:lnTo>
                  <a:lnTo>
                    <a:pt x="1081" y="746"/>
                  </a:lnTo>
                  <a:lnTo>
                    <a:pt x="1077" y="744"/>
                  </a:lnTo>
                  <a:lnTo>
                    <a:pt x="1079" y="740"/>
                  </a:lnTo>
                  <a:lnTo>
                    <a:pt x="1079" y="740"/>
                  </a:lnTo>
                  <a:lnTo>
                    <a:pt x="1081" y="738"/>
                  </a:lnTo>
                  <a:lnTo>
                    <a:pt x="1081" y="736"/>
                  </a:lnTo>
                  <a:lnTo>
                    <a:pt x="1079" y="734"/>
                  </a:lnTo>
                  <a:lnTo>
                    <a:pt x="1077" y="732"/>
                  </a:lnTo>
                  <a:lnTo>
                    <a:pt x="1077" y="730"/>
                  </a:lnTo>
                  <a:lnTo>
                    <a:pt x="1079" y="730"/>
                  </a:lnTo>
                  <a:lnTo>
                    <a:pt x="1079" y="728"/>
                  </a:lnTo>
                  <a:lnTo>
                    <a:pt x="1079" y="728"/>
                  </a:lnTo>
                  <a:lnTo>
                    <a:pt x="1077" y="728"/>
                  </a:lnTo>
                  <a:lnTo>
                    <a:pt x="1077" y="728"/>
                  </a:lnTo>
                  <a:lnTo>
                    <a:pt x="1075" y="728"/>
                  </a:lnTo>
                  <a:lnTo>
                    <a:pt x="1075" y="728"/>
                  </a:lnTo>
                  <a:lnTo>
                    <a:pt x="1073" y="725"/>
                  </a:lnTo>
                  <a:lnTo>
                    <a:pt x="1073" y="725"/>
                  </a:lnTo>
                  <a:lnTo>
                    <a:pt x="1079" y="725"/>
                  </a:lnTo>
                  <a:lnTo>
                    <a:pt x="1084" y="725"/>
                  </a:lnTo>
                  <a:lnTo>
                    <a:pt x="1086" y="730"/>
                  </a:lnTo>
                  <a:lnTo>
                    <a:pt x="1090" y="730"/>
                  </a:lnTo>
                  <a:lnTo>
                    <a:pt x="1092" y="728"/>
                  </a:lnTo>
                  <a:lnTo>
                    <a:pt x="1094" y="723"/>
                  </a:lnTo>
                  <a:lnTo>
                    <a:pt x="1094" y="721"/>
                  </a:lnTo>
                  <a:lnTo>
                    <a:pt x="1094" y="719"/>
                  </a:lnTo>
                  <a:lnTo>
                    <a:pt x="1096" y="719"/>
                  </a:lnTo>
                  <a:lnTo>
                    <a:pt x="1100" y="717"/>
                  </a:lnTo>
                  <a:lnTo>
                    <a:pt x="1102" y="715"/>
                  </a:lnTo>
                  <a:lnTo>
                    <a:pt x="1102" y="715"/>
                  </a:lnTo>
                  <a:lnTo>
                    <a:pt x="1104" y="715"/>
                  </a:lnTo>
                  <a:lnTo>
                    <a:pt x="1104" y="717"/>
                  </a:lnTo>
                  <a:lnTo>
                    <a:pt x="1104" y="719"/>
                  </a:lnTo>
                  <a:lnTo>
                    <a:pt x="1106" y="719"/>
                  </a:lnTo>
                  <a:lnTo>
                    <a:pt x="1106" y="719"/>
                  </a:lnTo>
                  <a:lnTo>
                    <a:pt x="1106" y="721"/>
                  </a:lnTo>
                  <a:lnTo>
                    <a:pt x="1108" y="723"/>
                  </a:lnTo>
                  <a:lnTo>
                    <a:pt x="1106" y="725"/>
                  </a:lnTo>
                  <a:lnTo>
                    <a:pt x="1106" y="732"/>
                  </a:lnTo>
                  <a:lnTo>
                    <a:pt x="1104" y="736"/>
                  </a:lnTo>
                  <a:lnTo>
                    <a:pt x="1104" y="738"/>
                  </a:lnTo>
                  <a:lnTo>
                    <a:pt x="1102" y="740"/>
                  </a:lnTo>
                  <a:lnTo>
                    <a:pt x="1102" y="740"/>
                  </a:lnTo>
                  <a:lnTo>
                    <a:pt x="1100" y="742"/>
                  </a:lnTo>
                  <a:lnTo>
                    <a:pt x="1098" y="742"/>
                  </a:lnTo>
                  <a:lnTo>
                    <a:pt x="1098" y="742"/>
                  </a:lnTo>
                  <a:lnTo>
                    <a:pt x="1100" y="744"/>
                  </a:lnTo>
                  <a:lnTo>
                    <a:pt x="1100" y="744"/>
                  </a:lnTo>
                  <a:lnTo>
                    <a:pt x="1102" y="744"/>
                  </a:lnTo>
                  <a:lnTo>
                    <a:pt x="1106" y="742"/>
                  </a:lnTo>
                  <a:lnTo>
                    <a:pt x="1120" y="738"/>
                  </a:lnTo>
                  <a:lnTo>
                    <a:pt x="1122" y="738"/>
                  </a:lnTo>
                  <a:lnTo>
                    <a:pt x="1122" y="738"/>
                  </a:lnTo>
                  <a:lnTo>
                    <a:pt x="1124" y="740"/>
                  </a:lnTo>
                  <a:lnTo>
                    <a:pt x="1127" y="740"/>
                  </a:lnTo>
                  <a:lnTo>
                    <a:pt x="1129" y="740"/>
                  </a:lnTo>
                  <a:lnTo>
                    <a:pt x="1129" y="738"/>
                  </a:lnTo>
                  <a:lnTo>
                    <a:pt x="1129" y="740"/>
                  </a:lnTo>
                  <a:lnTo>
                    <a:pt x="1129" y="742"/>
                  </a:lnTo>
                  <a:lnTo>
                    <a:pt x="1127" y="744"/>
                  </a:lnTo>
                  <a:lnTo>
                    <a:pt x="1127" y="744"/>
                  </a:lnTo>
                  <a:lnTo>
                    <a:pt x="1120" y="744"/>
                  </a:lnTo>
                  <a:lnTo>
                    <a:pt x="1120" y="744"/>
                  </a:lnTo>
                  <a:lnTo>
                    <a:pt x="1118" y="744"/>
                  </a:lnTo>
                  <a:lnTo>
                    <a:pt x="1116" y="748"/>
                  </a:lnTo>
                  <a:lnTo>
                    <a:pt x="1116" y="748"/>
                  </a:lnTo>
                  <a:lnTo>
                    <a:pt x="1114" y="748"/>
                  </a:lnTo>
                  <a:lnTo>
                    <a:pt x="1114" y="748"/>
                  </a:lnTo>
                  <a:lnTo>
                    <a:pt x="1112" y="750"/>
                  </a:lnTo>
                  <a:lnTo>
                    <a:pt x="1110" y="750"/>
                  </a:lnTo>
                  <a:lnTo>
                    <a:pt x="1102" y="758"/>
                  </a:lnTo>
                  <a:lnTo>
                    <a:pt x="1102" y="760"/>
                  </a:lnTo>
                  <a:lnTo>
                    <a:pt x="1102" y="760"/>
                  </a:lnTo>
                  <a:lnTo>
                    <a:pt x="1104" y="762"/>
                  </a:lnTo>
                  <a:lnTo>
                    <a:pt x="1106" y="760"/>
                  </a:lnTo>
                  <a:lnTo>
                    <a:pt x="1110" y="754"/>
                  </a:lnTo>
                  <a:lnTo>
                    <a:pt x="1114" y="752"/>
                  </a:lnTo>
                  <a:lnTo>
                    <a:pt x="1143" y="736"/>
                  </a:lnTo>
                  <a:lnTo>
                    <a:pt x="1153" y="732"/>
                  </a:lnTo>
                  <a:lnTo>
                    <a:pt x="1161" y="728"/>
                  </a:lnTo>
                  <a:lnTo>
                    <a:pt x="1163" y="725"/>
                  </a:lnTo>
                  <a:lnTo>
                    <a:pt x="1168" y="723"/>
                  </a:lnTo>
                  <a:lnTo>
                    <a:pt x="1170" y="723"/>
                  </a:lnTo>
                  <a:lnTo>
                    <a:pt x="1182" y="723"/>
                  </a:lnTo>
                  <a:lnTo>
                    <a:pt x="1184" y="723"/>
                  </a:lnTo>
                  <a:lnTo>
                    <a:pt x="1186" y="723"/>
                  </a:lnTo>
                  <a:lnTo>
                    <a:pt x="1186" y="721"/>
                  </a:lnTo>
                  <a:lnTo>
                    <a:pt x="1186" y="719"/>
                  </a:lnTo>
                  <a:lnTo>
                    <a:pt x="1180" y="713"/>
                  </a:lnTo>
                  <a:lnTo>
                    <a:pt x="1178" y="709"/>
                  </a:lnTo>
                  <a:lnTo>
                    <a:pt x="1178" y="705"/>
                  </a:lnTo>
                  <a:lnTo>
                    <a:pt x="1184" y="695"/>
                  </a:lnTo>
                  <a:lnTo>
                    <a:pt x="1186" y="693"/>
                  </a:lnTo>
                  <a:lnTo>
                    <a:pt x="1186" y="691"/>
                  </a:lnTo>
                  <a:lnTo>
                    <a:pt x="1186" y="689"/>
                  </a:lnTo>
                  <a:lnTo>
                    <a:pt x="1190" y="689"/>
                  </a:lnTo>
                  <a:lnTo>
                    <a:pt x="1190" y="689"/>
                  </a:lnTo>
                  <a:lnTo>
                    <a:pt x="1190" y="689"/>
                  </a:lnTo>
                  <a:lnTo>
                    <a:pt x="1192" y="687"/>
                  </a:lnTo>
                  <a:lnTo>
                    <a:pt x="1198" y="680"/>
                  </a:lnTo>
                  <a:lnTo>
                    <a:pt x="1196" y="678"/>
                  </a:lnTo>
                  <a:lnTo>
                    <a:pt x="1196" y="676"/>
                  </a:lnTo>
                  <a:lnTo>
                    <a:pt x="1198" y="674"/>
                  </a:lnTo>
                  <a:lnTo>
                    <a:pt x="1198" y="672"/>
                  </a:lnTo>
                  <a:lnTo>
                    <a:pt x="1198" y="670"/>
                  </a:lnTo>
                  <a:lnTo>
                    <a:pt x="1198" y="670"/>
                  </a:lnTo>
                  <a:lnTo>
                    <a:pt x="1198" y="668"/>
                  </a:lnTo>
                  <a:lnTo>
                    <a:pt x="1198" y="666"/>
                  </a:lnTo>
                  <a:lnTo>
                    <a:pt x="1196" y="664"/>
                  </a:lnTo>
                  <a:lnTo>
                    <a:pt x="1196" y="664"/>
                  </a:lnTo>
                  <a:lnTo>
                    <a:pt x="1196" y="662"/>
                  </a:lnTo>
                  <a:lnTo>
                    <a:pt x="1196" y="660"/>
                  </a:lnTo>
                  <a:lnTo>
                    <a:pt x="1198" y="660"/>
                  </a:lnTo>
                  <a:lnTo>
                    <a:pt x="1196" y="658"/>
                  </a:lnTo>
                  <a:lnTo>
                    <a:pt x="1196" y="656"/>
                  </a:lnTo>
                  <a:lnTo>
                    <a:pt x="1194" y="654"/>
                  </a:lnTo>
                  <a:lnTo>
                    <a:pt x="1192" y="652"/>
                  </a:lnTo>
                  <a:lnTo>
                    <a:pt x="1192" y="648"/>
                  </a:lnTo>
                  <a:lnTo>
                    <a:pt x="1192" y="646"/>
                  </a:lnTo>
                  <a:lnTo>
                    <a:pt x="1194" y="644"/>
                  </a:lnTo>
                  <a:lnTo>
                    <a:pt x="1196" y="641"/>
                  </a:lnTo>
                  <a:lnTo>
                    <a:pt x="1196" y="639"/>
                  </a:lnTo>
                  <a:lnTo>
                    <a:pt x="1196" y="637"/>
                  </a:lnTo>
                  <a:lnTo>
                    <a:pt x="1196" y="635"/>
                  </a:lnTo>
                  <a:lnTo>
                    <a:pt x="1194" y="633"/>
                  </a:lnTo>
                  <a:lnTo>
                    <a:pt x="1194" y="633"/>
                  </a:lnTo>
                  <a:lnTo>
                    <a:pt x="1194" y="631"/>
                  </a:lnTo>
                  <a:lnTo>
                    <a:pt x="1194" y="629"/>
                  </a:lnTo>
                  <a:lnTo>
                    <a:pt x="1194" y="629"/>
                  </a:lnTo>
                  <a:lnTo>
                    <a:pt x="1194" y="629"/>
                  </a:lnTo>
                  <a:lnTo>
                    <a:pt x="1194" y="627"/>
                  </a:lnTo>
                  <a:lnTo>
                    <a:pt x="1194" y="625"/>
                  </a:lnTo>
                  <a:lnTo>
                    <a:pt x="1196" y="623"/>
                  </a:lnTo>
                  <a:lnTo>
                    <a:pt x="1198" y="623"/>
                  </a:lnTo>
                  <a:lnTo>
                    <a:pt x="1198" y="621"/>
                  </a:lnTo>
                  <a:lnTo>
                    <a:pt x="1198" y="617"/>
                  </a:lnTo>
                  <a:lnTo>
                    <a:pt x="1198" y="615"/>
                  </a:lnTo>
                  <a:lnTo>
                    <a:pt x="1202" y="613"/>
                  </a:lnTo>
                  <a:lnTo>
                    <a:pt x="1202" y="611"/>
                  </a:lnTo>
                  <a:lnTo>
                    <a:pt x="1204" y="605"/>
                  </a:lnTo>
                  <a:lnTo>
                    <a:pt x="1206" y="598"/>
                  </a:lnTo>
                  <a:lnTo>
                    <a:pt x="1206" y="596"/>
                  </a:lnTo>
                  <a:lnTo>
                    <a:pt x="1206" y="596"/>
                  </a:lnTo>
                  <a:lnTo>
                    <a:pt x="1206" y="594"/>
                  </a:lnTo>
                  <a:lnTo>
                    <a:pt x="1206" y="594"/>
                  </a:lnTo>
                  <a:lnTo>
                    <a:pt x="1206" y="592"/>
                  </a:lnTo>
                  <a:lnTo>
                    <a:pt x="1206" y="590"/>
                  </a:lnTo>
                  <a:lnTo>
                    <a:pt x="1206" y="590"/>
                  </a:lnTo>
                  <a:lnTo>
                    <a:pt x="1206" y="588"/>
                  </a:lnTo>
                  <a:lnTo>
                    <a:pt x="1208" y="586"/>
                  </a:lnTo>
                  <a:lnTo>
                    <a:pt x="1208" y="586"/>
                  </a:lnTo>
                  <a:lnTo>
                    <a:pt x="1208" y="586"/>
                  </a:lnTo>
                  <a:lnTo>
                    <a:pt x="1208" y="584"/>
                  </a:lnTo>
                  <a:lnTo>
                    <a:pt x="1208" y="584"/>
                  </a:lnTo>
                  <a:lnTo>
                    <a:pt x="1206" y="582"/>
                  </a:lnTo>
                  <a:lnTo>
                    <a:pt x="1204" y="578"/>
                  </a:lnTo>
                  <a:lnTo>
                    <a:pt x="1206" y="578"/>
                  </a:lnTo>
                  <a:lnTo>
                    <a:pt x="1206" y="578"/>
                  </a:lnTo>
                  <a:lnTo>
                    <a:pt x="1211" y="576"/>
                  </a:lnTo>
                  <a:lnTo>
                    <a:pt x="1211" y="576"/>
                  </a:lnTo>
                  <a:lnTo>
                    <a:pt x="1211" y="574"/>
                  </a:lnTo>
                  <a:lnTo>
                    <a:pt x="1211" y="574"/>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TX</a:t>
              </a:r>
            </a:p>
          </p:txBody>
        </p:sp>
        <p:sp>
          <p:nvSpPr>
            <p:cNvPr id="251" name="Freeform 13">
              <a:extLst>
                <a:ext uri="{FF2B5EF4-FFF2-40B4-BE49-F238E27FC236}">
                  <a16:creationId xmlns:a16="http://schemas.microsoft.com/office/drawing/2014/main" id="{98E9F309-CF47-E30A-10AB-3BDD7F21474B}"/>
                </a:ext>
              </a:extLst>
            </p:cNvPr>
            <p:cNvSpPr>
              <a:spLocks/>
            </p:cNvSpPr>
            <p:nvPr/>
          </p:nvSpPr>
          <p:spPr bwMode="auto">
            <a:xfrm>
              <a:off x="3590" y="1353"/>
              <a:ext cx="733" cy="268"/>
            </a:xfrm>
            <a:custGeom>
              <a:avLst/>
              <a:gdLst>
                <a:gd name="T0" fmla="*/ 622 w 733"/>
                <a:gd name="T1" fmla="*/ 20 h 268"/>
                <a:gd name="T2" fmla="*/ 694 w 733"/>
                <a:gd name="T3" fmla="*/ 8 h 268"/>
                <a:gd name="T4" fmla="*/ 725 w 733"/>
                <a:gd name="T5" fmla="*/ 2 h 268"/>
                <a:gd name="T6" fmla="*/ 729 w 733"/>
                <a:gd name="T7" fmla="*/ 22 h 268"/>
                <a:gd name="T8" fmla="*/ 733 w 733"/>
                <a:gd name="T9" fmla="*/ 30 h 268"/>
                <a:gd name="T10" fmla="*/ 714 w 733"/>
                <a:gd name="T11" fmla="*/ 39 h 268"/>
                <a:gd name="T12" fmla="*/ 704 w 733"/>
                <a:gd name="T13" fmla="*/ 61 h 268"/>
                <a:gd name="T14" fmla="*/ 700 w 733"/>
                <a:gd name="T15" fmla="*/ 59 h 268"/>
                <a:gd name="T16" fmla="*/ 696 w 733"/>
                <a:gd name="T17" fmla="*/ 57 h 268"/>
                <a:gd name="T18" fmla="*/ 690 w 733"/>
                <a:gd name="T19" fmla="*/ 59 h 268"/>
                <a:gd name="T20" fmla="*/ 677 w 733"/>
                <a:gd name="T21" fmla="*/ 65 h 268"/>
                <a:gd name="T22" fmla="*/ 671 w 733"/>
                <a:gd name="T23" fmla="*/ 77 h 268"/>
                <a:gd name="T24" fmla="*/ 663 w 733"/>
                <a:gd name="T25" fmla="*/ 82 h 268"/>
                <a:gd name="T26" fmla="*/ 661 w 733"/>
                <a:gd name="T27" fmla="*/ 75 h 268"/>
                <a:gd name="T28" fmla="*/ 655 w 733"/>
                <a:gd name="T29" fmla="*/ 75 h 268"/>
                <a:gd name="T30" fmla="*/ 647 w 733"/>
                <a:gd name="T31" fmla="*/ 84 h 268"/>
                <a:gd name="T32" fmla="*/ 643 w 733"/>
                <a:gd name="T33" fmla="*/ 88 h 268"/>
                <a:gd name="T34" fmla="*/ 634 w 733"/>
                <a:gd name="T35" fmla="*/ 90 h 268"/>
                <a:gd name="T36" fmla="*/ 637 w 733"/>
                <a:gd name="T37" fmla="*/ 94 h 268"/>
                <a:gd name="T38" fmla="*/ 632 w 733"/>
                <a:gd name="T39" fmla="*/ 106 h 268"/>
                <a:gd name="T40" fmla="*/ 620 w 733"/>
                <a:gd name="T41" fmla="*/ 110 h 268"/>
                <a:gd name="T42" fmla="*/ 610 w 733"/>
                <a:gd name="T43" fmla="*/ 118 h 268"/>
                <a:gd name="T44" fmla="*/ 604 w 733"/>
                <a:gd name="T45" fmla="*/ 125 h 268"/>
                <a:gd name="T46" fmla="*/ 594 w 733"/>
                <a:gd name="T47" fmla="*/ 133 h 268"/>
                <a:gd name="T48" fmla="*/ 583 w 733"/>
                <a:gd name="T49" fmla="*/ 137 h 268"/>
                <a:gd name="T50" fmla="*/ 577 w 733"/>
                <a:gd name="T51" fmla="*/ 139 h 268"/>
                <a:gd name="T52" fmla="*/ 569 w 733"/>
                <a:gd name="T53" fmla="*/ 141 h 268"/>
                <a:gd name="T54" fmla="*/ 557 w 733"/>
                <a:gd name="T55" fmla="*/ 147 h 268"/>
                <a:gd name="T56" fmla="*/ 551 w 733"/>
                <a:gd name="T57" fmla="*/ 155 h 268"/>
                <a:gd name="T58" fmla="*/ 548 w 733"/>
                <a:gd name="T59" fmla="*/ 164 h 268"/>
                <a:gd name="T60" fmla="*/ 546 w 733"/>
                <a:gd name="T61" fmla="*/ 174 h 268"/>
                <a:gd name="T62" fmla="*/ 534 w 733"/>
                <a:gd name="T63" fmla="*/ 180 h 268"/>
                <a:gd name="T64" fmla="*/ 530 w 733"/>
                <a:gd name="T65" fmla="*/ 180 h 268"/>
                <a:gd name="T66" fmla="*/ 526 w 733"/>
                <a:gd name="T67" fmla="*/ 192 h 268"/>
                <a:gd name="T68" fmla="*/ 501 w 733"/>
                <a:gd name="T69" fmla="*/ 211 h 268"/>
                <a:gd name="T70" fmla="*/ 413 w 733"/>
                <a:gd name="T71" fmla="*/ 223 h 268"/>
                <a:gd name="T72" fmla="*/ 303 w 733"/>
                <a:gd name="T73" fmla="*/ 235 h 268"/>
                <a:gd name="T74" fmla="*/ 190 w 733"/>
                <a:gd name="T75" fmla="*/ 248 h 268"/>
                <a:gd name="T76" fmla="*/ 149 w 733"/>
                <a:gd name="T77" fmla="*/ 254 h 268"/>
                <a:gd name="T78" fmla="*/ 57 w 733"/>
                <a:gd name="T79" fmla="*/ 264 h 268"/>
                <a:gd name="T80" fmla="*/ 2 w 733"/>
                <a:gd name="T81" fmla="*/ 266 h 268"/>
                <a:gd name="T82" fmla="*/ 12 w 733"/>
                <a:gd name="T83" fmla="*/ 254 h 268"/>
                <a:gd name="T84" fmla="*/ 14 w 733"/>
                <a:gd name="T85" fmla="*/ 229 h 268"/>
                <a:gd name="T86" fmla="*/ 22 w 733"/>
                <a:gd name="T87" fmla="*/ 211 h 268"/>
                <a:gd name="T88" fmla="*/ 26 w 733"/>
                <a:gd name="T89" fmla="*/ 200 h 268"/>
                <a:gd name="T90" fmla="*/ 26 w 733"/>
                <a:gd name="T91" fmla="*/ 186 h 268"/>
                <a:gd name="T92" fmla="*/ 41 w 733"/>
                <a:gd name="T93" fmla="*/ 166 h 268"/>
                <a:gd name="T94" fmla="*/ 43 w 733"/>
                <a:gd name="T95" fmla="*/ 155 h 268"/>
                <a:gd name="T96" fmla="*/ 51 w 733"/>
                <a:gd name="T97" fmla="*/ 141 h 268"/>
                <a:gd name="T98" fmla="*/ 53 w 733"/>
                <a:gd name="T99" fmla="*/ 125 h 268"/>
                <a:gd name="T100" fmla="*/ 55 w 733"/>
                <a:gd name="T101" fmla="*/ 116 h 268"/>
                <a:gd name="T102" fmla="*/ 57 w 733"/>
                <a:gd name="T103" fmla="*/ 100 h 268"/>
                <a:gd name="T104" fmla="*/ 63 w 733"/>
                <a:gd name="T105" fmla="*/ 100 h 268"/>
                <a:gd name="T106" fmla="*/ 182 w 733"/>
                <a:gd name="T107" fmla="*/ 88 h 268"/>
                <a:gd name="T108" fmla="*/ 178 w 733"/>
                <a:gd name="T109" fmla="*/ 67 h 268"/>
                <a:gd name="T110" fmla="*/ 198 w 733"/>
                <a:gd name="T111" fmla="*/ 71 h 268"/>
                <a:gd name="T112" fmla="*/ 227 w 733"/>
                <a:gd name="T113" fmla="*/ 67 h 268"/>
                <a:gd name="T114" fmla="*/ 297 w 733"/>
                <a:gd name="T115" fmla="*/ 59 h 268"/>
                <a:gd name="T116" fmla="*/ 319 w 733"/>
                <a:gd name="T117" fmla="*/ 55 h 268"/>
                <a:gd name="T118" fmla="*/ 456 w 733"/>
                <a:gd name="T119" fmla="*/ 43 h 268"/>
                <a:gd name="T120" fmla="*/ 555 w 733"/>
                <a:gd name="T121" fmla="*/ 3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3" h="268">
                  <a:moveTo>
                    <a:pt x="559" y="28"/>
                  </a:moveTo>
                  <a:lnTo>
                    <a:pt x="569" y="26"/>
                  </a:lnTo>
                  <a:lnTo>
                    <a:pt x="577" y="26"/>
                  </a:lnTo>
                  <a:lnTo>
                    <a:pt x="585" y="24"/>
                  </a:lnTo>
                  <a:lnTo>
                    <a:pt x="596" y="22"/>
                  </a:lnTo>
                  <a:lnTo>
                    <a:pt x="604" y="22"/>
                  </a:lnTo>
                  <a:lnTo>
                    <a:pt x="614" y="20"/>
                  </a:lnTo>
                  <a:lnTo>
                    <a:pt x="622" y="20"/>
                  </a:lnTo>
                  <a:lnTo>
                    <a:pt x="630" y="18"/>
                  </a:lnTo>
                  <a:lnTo>
                    <a:pt x="641" y="16"/>
                  </a:lnTo>
                  <a:lnTo>
                    <a:pt x="649" y="16"/>
                  </a:lnTo>
                  <a:lnTo>
                    <a:pt x="659" y="14"/>
                  </a:lnTo>
                  <a:lnTo>
                    <a:pt x="667" y="12"/>
                  </a:lnTo>
                  <a:lnTo>
                    <a:pt x="675" y="10"/>
                  </a:lnTo>
                  <a:lnTo>
                    <a:pt x="686" y="10"/>
                  </a:lnTo>
                  <a:lnTo>
                    <a:pt x="694" y="8"/>
                  </a:lnTo>
                  <a:lnTo>
                    <a:pt x="702" y="6"/>
                  </a:lnTo>
                  <a:lnTo>
                    <a:pt x="706" y="6"/>
                  </a:lnTo>
                  <a:lnTo>
                    <a:pt x="708" y="6"/>
                  </a:lnTo>
                  <a:lnTo>
                    <a:pt x="710" y="4"/>
                  </a:lnTo>
                  <a:lnTo>
                    <a:pt x="710" y="4"/>
                  </a:lnTo>
                  <a:lnTo>
                    <a:pt x="710" y="4"/>
                  </a:lnTo>
                  <a:lnTo>
                    <a:pt x="716" y="2"/>
                  </a:lnTo>
                  <a:lnTo>
                    <a:pt x="725" y="2"/>
                  </a:lnTo>
                  <a:lnTo>
                    <a:pt x="733" y="0"/>
                  </a:lnTo>
                  <a:lnTo>
                    <a:pt x="729" y="8"/>
                  </a:lnTo>
                  <a:lnTo>
                    <a:pt x="729" y="10"/>
                  </a:lnTo>
                  <a:lnTo>
                    <a:pt x="729" y="10"/>
                  </a:lnTo>
                  <a:lnTo>
                    <a:pt x="731" y="12"/>
                  </a:lnTo>
                  <a:lnTo>
                    <a:pt x="731" y="14"/>
                  </a:lnTo>
                  <a:lnTo>
                    <a:pt x="731" y="18"/>
                  </a:lnTo>
                  <a:lnTo>
                    <a:pt x="729" y="22"/>
                  </a:lnTo>
                  <a:lnTo>
                    <a:pt x="729" y="24"/>
                  </a:lnTo>
                  <a:lnTo>
                    <a:pt x="729" y="24"/>
                  </a:lnTo>
                  <a:lnTo>
                    <a:pt x="729" y="24"/>
                  </a:lnTo>
                  <a:lnTo>
                    <a:pt x="731" y="26"/>
                  </a:lnTo>
                  <a:lnTo>
                    <a:pt x="731" y="28"/>
                  </a:lnTo>
                  <a:lnTo>
                    <a:pt x="731" y="28"/>
                  </a:lnTo>
                  <a:lnTo>
                    <a:pt x="733" y="28"/>
                  </a:lnTo>
                  <a:lnTo>
                    <a:pt x="733" y="30"/>
                  </a:lnTo>
                  <a:lnTo>
                    <a:pt x="731" y="30"/>
                  </a:lnTo>
                  <a:lnTo>
                    <a:pt x="729" y="30"/>
                  </a:lnTo>
                  <a:lnTo>
                    <a:pt x="725" y="28"/>
                  </a:lnTo>
                  <a:lnTo>
                    <a:pt x="723" y="28"/>
                  </a:lnTo>
                  <a:lnTo>
                    <a:pt x="723" y="28"/>
                  </a:lnTo>
                  <a:lnTo>
                    <a:pt x="716" y="34"/>
                  </a:lnTo>
                  <a:lnTo>
                    <a:pt x="714" y="37"/>
                  </a:lnTo>
                  <a:lnTo>
                    <a:pt x="714" y="39"/>
                  </a:lnTo>
                  <a:lnTo>
                    <a:pt x="708" y="55"/>
                  </a:lnTo>
                  <a:lnTo>
                    <a:pt x="708" y="57"/>
                  </a:lnTo>
                  <a:lnTo>
                    <a:pt x="708" y="57"/>
                  </a:lnTo>
                  <a:lnTo>
                    <a:pt x="706" y="57"/>
                  </a:lnTo>
                  <a:lnTo>
                    <a:pt x="706" y="59"/>
                  </a:lnTo>
                  <a:lnTo>
                    <a:pt x="704" y="61"/>
                  </a:lnTo>
                  <a:lnTo>
                    <a:pt x="704" y="61"/>
                  </a:lnTo>
                  <a:lnTo>
                    <a:pt x="704" y="61"/>
                  </a:lnTo>
                  <a:lnTo>
                    <a:pt x="702" y="61"/>
                  </a:lnTo>
                  <a:lnTo>
                    <a:pt x="702" y="61"/>
                  </a:lnTo>
                  <a:lnTo>
                    <a:pt x="700" y="61"/>
                  </a:lnTo>
                  <a:lnTo>
                    <a:pt x="700" y="61"/>
                  </a:lnTo>
                  <a:lnTo>
                    <a:pt x="700" y="59"/>
                  </a:lnTo>
                  <a:lnTo>
                    <a:pt x="700" y="59"/>
                  </a:lnTo>
                  <a:lnTo>
                    <a:pt x="700" y="59"/>
                  </a:lnTo>
                  <a:lnTo>
                    <a:pt x="700" y="59"/>
                  </a:lnTo>
                  <a:lnTo>
                    <a:pt x="698" y="59"/>
                  </a:lnTo>
                  <a:lnTo>
                    <a:pt x="698" y="57"/>
                  </a:lnTo>
                  <a:lnTo>
                    <a:pt x="698" y="57"/>
                  </a:lnTo>
                  <a:lnTo>
                    <a:pt x="698" y="57"/>
                  </a:lnTo>
                  <a:lnTo>
                    <a:pt x="698" y="57"/>
                  </a:lnTo>
                  <a:lnTo>
                    <a:pt x="698" y="57"/>
                  </a:lnTo>
                  <a:lnTo>
                    <a:pt x="696" y="57"/>
                  </a:lnTo>
                  <a:lnTo>
                    <a:pt x="696" y="57"/>
                  </a:lnTo>
                  <a:lnTo>
                    <a:pt x="694" y="57"/>
                  </a:lnTo>
                  <a:lnTo>
                    <a:pt x="694" y="57"/>
                  </a:lnTo>
                  <a:lnTo>
                    <a:pt x="694" y="57"/>
                  </a:lnTo>
                  <a:lnTo>
                    <a:pt x="694" y="55"/>
                  </a:lnTo>
                  <a:lnTo>
                    <a:pt x="692" y="57"/>
                  </a:lnTo>
                  <a:lnTo>
                    <a:pt x="692" y="57"/>
                  </a:lnTo>
                  <a:lnTo>
                    <a:pt x="692" y="57"/>
                  </a:lnTo>
                  <a:lnTo>
                    <a:pt x="690" y="59"/>
                  </a:lnTo>
                  <a:lnTo>
                    <a:pt x="688" y="59"/>
                  </a:lnTo>
                  <a:lnTo>
                    <a:pt x="686" y="59"/>
                  </a:lnTo>
                  <a:lnTo>
                    <a:pt x="686" y="59"/>
                  </a:lnTo>
                  <a:lnTo>
                    <a:pt x="684" y="61"/>
                  </a:lnTo>
                  <a:lnTo>
                    <a:pt x="682" y="63"/>
                  </a:lnTo>
                  <a:lnTo>
                    <a:pt x="680" y="63"/>
                  </a:lnTo>
                  <a:lnTo>
                    <a:pt x="680" y="63"/>
                  </a:lnTo>
                  <a:lnTo>
                    <a:pt x="677" y="65"/>
                  </a:lnTo>
                  <a:lnTo>
                    <a:pt x="675" y="69"/>
                  </a:lnTo>
                  <a:lnTo>
                    <a:pt x="673" y="71"/>
                  </a:lnTo>
                  <a:lnTo>
                    <a:pt x="673" y="73"/>
                  </a:lnTo>
                  <a:lnTo>
                    <a:pt x="673" y="73"/>
                  </a:lnTo>
                  <a:lnTo>
                    <a:pt x="671" y="75"/>
                  </a:lnTo>
                  <a:lnTo>
                    <a:pt x="671" y="77"/>
                  </a:lnTo>
                  <a:lnTo>
                    <a:pt x="671" y="77"/>
                  </a:lnTo>
                  <a:lnTo>
                    <a:pt x="671" y="77"/>
                  </a:lnTo>
                  <a:lnTo>
                    <a:pt x="671" y="77"/>
                  </a:lnTo>
                  <a:lnTo>
                    <a:pt x="667" y="82"/>
                  </a:lnTo>
                  <a:lnTo>
                    <a:pt x="665" y="82"/>
                  </a:lnTo>
                  <a:lnTo>
                    <a:pt x="665" y="82"/>
                  </a:lnTo>
                  <a:lnTo>
                    <a:pt x="665" y="82"/>
                  </a:lnTo>
                  <a:lnTo>
                    <a:pt x="665" y="82"/>
                  </a:lnTo>
                  <a:lnTo>
                    <a:pt x="663" y="82"/>
                  </a:lnTo>
                  <a:lnTo>
                    <a:pt x="663" y="82"/>
                  </a:lnTo>
                  <a:lnTo>
                    <a:pt x="663" y="82"/>
                  </a:lnTo>
                  <a:lnTo>
                    <a:pt x="663" y="82"/>
                  </a:lnTo>
                  <a:lnTo>
                    <a:pt x="663" y="80"/>
                  </a:lnTo>
                  <a:lnTo>
                    <a:pt x="661" y="80"/>
                  </a:lnTo>
                  <a:lnTo>
                    <a:pt x="661" y="80"/>
                  </a:lnTo>
                  <a:lnTo>
                    <a:pt x="661" y="77"/>
                  </a:lnTo>
                  <a:lnTo>
                    <a:pt x="661" y="77"/>
                  </a:lnTo>
                  <a:lnTo>
                    <a:pt x="661" y="75"/>
                  </a:lnTo>
                  <a:lnTo>
                    <a:pt x="661" y="75"/>
                  </a:lnTo>
                  <a:lnTo>
                    <a:pt x="661" y="75"/>
                  </a:lnTo>
                  <a:lnTo>
                    <a:pt x="661" y="75"/>
                  </a:lnTo>
                  <a:lnTo>
                    <a:pt x="659" y="73"/>
                  </a:lnTo>
                  <a:lnTo>
                    <a:pt x="659" y="73"/>
                  </a:lnTo>
                  <a:lnTo>
                    <a:pt x="659" y="73"/>
                  </a:lnTo>
                  <a:lnTo>
                    <a:pt x="657" y="73"/>
                  </a:lnTo>
                  <a:lnTo>
                    <a:pt x="655" y="75"/>
                  </a:lnTo>
                  <a:lnTo>
                    <a:pt x="653" y="77"/>
                  </a:lnTo>
                  <a:lnTo>
                    <a:pt x="647" y="82"/>
                  </a:lnTo>
                  <a:lnTo>
                    <a:pt x="647" y="82"/>
                  </a:lnTo>
                  <a:lnTo>
                    <a:pt x="647" y="82"/>
                  </a:lnTo>
                  <a:lnTo>
                    <a:pt x="647" y="82"/>
                  </a:lnTo>
                  <a:lnTo>
                    <a:pt x="647" y="84"/>
                  </a:lnTo>
                  <a:lnTo>
                    <a:pt x="647" y="84"/>
                  </a:lnTo>
                  <a:lnTo>
                    <a:pt x="647" y="84"/>
                  </a:lnTo>
                  <a:lnTo>
                    <a:pt x="645" y="86"/>
                  </a:lnTo>
                  <a:lnTo>
                    <a:pt x="645" y="86"/>
                  </a:lnTo>
                  <a:lnTo>
                    <a:pt x="645" y="88"/>
                  </a:lnTo>
                  <a:lnTo>
                    <a:pt x="645" y="88"/>
                  </a:lnTo>
                  <a:lnTo>
                    <a:pt x="645" y="88"/>
                  </a:lnTo>
                  <a:lnTo>
                    <a:pt x="645" y="88"/>
                  </a:lnTo>
                  <a:lnTo>
                    <a:pt x="643" y="88"/>
                  </a:lnTo>
                  <a:lnTo>
                    <a:pt x="643" y="88"/>
                  </a:lnTo>
                  <a:lnTo>
                    <a:pt x="641" y="88"/>
                  </a:lnTo>
                  <a:lnTo>
                    <a:pt x="641" y="88"/>
                  </a:lnTo>
                  <a:lnTo>
                    <a:pt x="639" y="88"/>
                  </a:lnTo>
                  <a:lnTo>
                    <a:pt x="639" y="88"/>
                  </a:lnTo>
                  <a:lnTo>
                    <a:pt x="637" y="88"/>
                  </a:lnTo>
                  <a:lnTo>
                    <a:pt x="637" y="88"/>
                  </a:lnTo>
                  <a:lnTo>
                    <a:pt x="637" y="88"/>
                  </a:lnTo>
                  <a:lnTo>
                    <a:pt x="634" y="90"/>
                  </a:lnTo>
                  <a:lnTo>
                    <a:pt x="634" y="90"/>
                  </a:lnTo>
                  <a:lnTo>
                    <a:pt x="634" y="90"/>
                  </a:lnTo>
                  <a:lnTo>
                    <a:pt x="634" y="90"/>
                  </a:lnTo>
                  <a:lnTo>
                    <a:pt x="634" y="92"/>
                  </a:lnTo>
                  <a:lnTo>
                    <a:pt x="634" y="92"/>
                  </a:lnTo>
                  <a:lnTo>
                    <a:pt x="637" y="92"/>
                  </a:lnTo>
                  <a:lnTo>
                    <a:pt x="637" y="94"/>
                  </a:lnTo>
                  <a:lnTo>
                    <a:pt x="637" y="94"/>
                  </a:lnTo>
                  <a:lnTo>
                    <a:pt x="637" y="96"/>
                  </a:lnTo>
                  <a:lnTo>
                    <a:pt x="637" y="96"/>
                  </a:lnTo>
                  <a:lnTo>
                    <a:pt x="637" y="98"/>
                  </a:lnTo>
                  <a:lnTo>
                    <a:pt x="637" y="98"/>
                  </a:lnTo>
                  <a:lnTo>
                    <a:pt x="637" y="98"/>
                  </a:lnTo>
                  <a:lnTo>
                    <a:pt x="634" y="100"/>
                  </a:lnTo>
                  <a:lnTo>
                    <a:pt x="634" y="104"/>
                  </a:lnTo>
                  <a:lnTo>
                    <a:pt x="632" y="106"/>
                  </a:lnTo>
                  <a:lnTo>
                    <a:pt x="630" y="106"/>
                  </a:lnTo>
                  <a:lnTo>
                    <a:pt x="630" y="106"/>
                  </a:lnTo>
                  <a:lnTo>
                    <a:pt x="628" y="106"/>
                  </a:lnTo>
                  <a:lnTo>
                    <a:pt x="626" y="106"/>
                  </a:lnTo>
                  <a:lnTo>
                    <a:pt x="624" y="106"/>
                  </a:lnTo>
                  <a:lnTo>
                    <a:pt x="624" y="106"/>
                  </a:lnTo>
                  <a:lnTo>
                    <a:pt x="624" y="108"/>
                  </a:lnTo>
                  <a:lnTo>
                    <a:pt x="620" y="110"/>
                  </a:lnTo>
                  <a:lnTo>
                    <a:pt x="616" y="112"/>
                  </a:lnTo>
                  <a:lnTo>
                    <a:pt x="616" y="112"/>
                  </a:lnTo>
                  <a:lnTo>
                    <a:pt x="616" y="112"/>
                  </a:lnTo>
                  <a:lnTo>
                    <a:pt x="614" y="114"/>
                  </a:lnTo>
                  <a:lnTo>
                    <a:pt x="612" y="116"/>
                  </a:lnTo>
                  <a:lnTo>
                    <a:pt x="610" y="116"/>
                  </a:lnTo>
                  <a:lnTo>
                    <a:pt x="610" y="116"/>
                  </a:lnTo>
                  <a:lnTo>
                    <a:pt x="610" y="118"/>
                  </a:lnTo>
                  <a:lnTo>
                    <a:pt x="610" y="118"/>
                  </a:lnTo>
                  <a:lnTo>
                    <a:pt x="608" y="121"/>
                  </a:lnTo>
                  <a:lnTo>
                    <a:pt x="606" y="123"/>
                  </a:lnTo>
                  <a:lnTo>
                    <a:pt x="606" y="123"/>
                  </a:lnTo>
                  <a:lnTo>
                    <a:pt x="606" y="123"/>
                  </a:lnTo>
                  <a:lnTo>
                    <a:pt x="604" y="123"/>
                  </a:lnTo>
                  <a:lnTo>
                    <a:pt x="604" y="123"/>
                  </a:lnTo>
                  <a:lnTo>
                    <a:pt x="604" y="125"/>
                  </a:lnTo>
                  <a:lnTo>
                    <a:pt x="602" y="125"/>
                  </a:lnTo>
                  <a:lnTo>
                    <a:pt x="602" y="127"/>
                  </a:lnTo>
                  <a:lnTo>
                    <a:pt x="600" y="127"/>
                  </a:lnTo>
                  <a:lnTo>
                    <a:pt x="600" y="129"/>
                  </a:lnTo>
                  <a:lnTo>
                    <a:pt x="596" y="131"/>
                  </a:lnTo>
                  <a:lnTo>
                    <a:pt x="594" y="131"/>
                  </a:lnTo>
                  <a:lnTo>
                    <a:pt x="594" y="133"/>
                  </a:lnTo>
                  <a:lnTo>
                    <a:pt x="594" y="133"/>
                  </a:lnTo>
                  <a:lnTo>
                    <a:pt x="591" y="135"/>
                  </a:lnTo>
                  <a:lnTo>
                    <a:pt x="591" y="137"/>
                  </a:lnTo>
                  <a:lnTo>
                    <a:pt x="589" y="137"/>
                  </a:lnTo>
                  <a:lnTo>
                    <a:pt x="585" y="139"/>
                  </a:lnTo>
                  <a:lnTo>
                    <a:pt x="583" y="139"/>
                  </a:lnTo>
                  <a:lnTo>
                    <a:pt x="583" y="139"/>
                  </a:lnTo>
                  <a:lnTo>
                    <a:pt x="583" y="139"/>
                  </a:lnTo>
                  <a:lnTo>
                    <a:pt x="583" y="137"/>
                  </a:lnTo>
                  <a:lnTo>
                    <a:pt x="581" y="137"/>
                  </a:lnTo>
                  <a:lnTo>
                    <a:pt x="581" y="137"/>
                  </a:lnTo>
                  <a:lnTo>
                    <a:pt x="581" y="137"/>
                  </a:lnTo>
                  <a:lnTo>
                    <a:pt x="579" y="139"/>
                  </a:lnTo>
                  <a:lnTo>
                    <a:pt x="577" y="139"/>
                  </a:lnTo>
                  <a:lnTo>
                    <a:pt x="577" y="139"/>
                  </a:lnTo>
                  <a:lnTo>
                    <a:pt x="577" y="139"/>
                  </a:lnTo>
                  <a:lnTo>
                    <a:pt x="577" y="139"/>
                  </a:lnTo>
                  <a:lnTo>
                    <a:pt x="575" y="139"/>
                  </a:lnTo>
                  <a:lnTo>
                    <a:pt x="575" y="139"/>
                  </a:lnTo>
                  <a:lnTo>
                    <a:pt x="575" y="139"/>
                  </a:lnTo>
                  <a:lnTo>
                    <a:pt x="573" y="139"/>
                  </a:lnTo>
                  <a:lnTo>
                    <a:pt x="573" y="139"/>
                  </a:lnTo>
                  <a:lnTo>
                    <a:pt x="571" y="139"/>
                  </a:lnTo>
                  <a:lnTo>
                    <a:pt x="569" y="139"/>
                  </a:lnTo>
                  <a:lnTo>
                    <a:pt x="569" y="141"/>
                  </a:lnTo>
                  <a:lnTo>
                    <a:pt x="567" y="141"/>
                  </a:lnTo>
                  <a:lnTo>
                    <a:pt x="565" y="143"/>
                  </a:lnTo>
                  <a:lnTo>
                    <a:pt x="563" y="145"/>
                  </a:lnTo>
                  <a:lnTo>
                    <a:pt x="563" y="145"/>
                  </a:lnTo>
                  <a:lnTo>
                    <a:pt x="563" y="145"/>
                  </a:lnTo>
                  <a:lnTo>
                    <a:pt x="559" y="147"/>
                  </a:lnTo>
                  <a:lnTo>
                    <a:pt x="559" y="147"/>
                  </a:lnTo>
                  <a:lnTo>
                    <a:pt x="557" y="147"/>
                  </a:lnTo>
                  <a:lnTo>
                    <a:pt x="557" y="147"/>
                  </a:lnTo>
                  <a:lnTo>
                    <a:pt x="557" y="151"/>
                  </a:lnTo>
                  <a:lnTo>
                    <a:pt x="555" y="151"/>
                  </a:lnTo>
                  <a:lnTo>
                    <a:pt x="555" y="153"/>
                  </a:lnTo>
                  <a:lnTo>
                    <a:pt x="555" y="153"/>
                  </a:lnTo>
                  <a:lnTo>
                    <a:pt x="551" y="155"/>
                  </a:lnTo>
                  <a:lnTo>
                    <a:pt x="551" y="155"/>
                  </a:lnTo>
                  <a:lnTo>
                    <a:pt x="551" y="155"/>
                  </a:lnTo>
                  <a:lnTo>
                    <a:pt x="548" y="157"/>
                  </a:lnTo>
                  <a:lnTo>
                    <a:pt x="548" y="159"/>
                  </a:lnTo>
                  <a:lnTo>
                    <a:pt x="548" y="159"/>
                  </a:lnTo>
                  <a:lnTo>
                    <a:pt x="548" y="159"/>
                  </a:lnTo>
                  <a:lnTo>
                    <a:pt x="548" y="159"/>
                  </a:lnTo>
                  <a:lnTo>
                    <a:pt x="548" y="162"/>
                  </a:lnTo>
                  <a:lnTo>
                    <a:pt x="548" y="162"/>
                  </a:lnTo>
                  <a:lnTo>
                    <a:pt x="548" y="164"/>
                  </a:lnTo>
                  <a:lnTo>
                    <a:pt x="548" y="164"/>
                  </a:lnTo>
                  <a:lnTo>
                    <a:pt x="548" y="164"/>
                  </a:lnTo>
                  <a:lnTo>
                    <a:pt x="546" y="166"/>
                  </a:lnTo>
                  <a:lnTo>
                    <a:pt x="546" y="168"/>
                  </a:lnTo>
                  <a:lnTo>
                    <a:pt x="546" y="168"/>
                  </a:lnTo>
                  <a:lnTo>
                    <a:pt x="546" y="168"/>
                  </a:lnTo>
                  <a:lnTo>
                    <a:pt x="546" y="172"/>
                  </a:lnTo>
                  <a:lnTo>
                    <a:pt x="546" y="174"/>
                  </a:lnTo>
                  <a:lnTo>
                    <a:pt x="546" y="174"/>
                  </a:lnTo>
                  <a:lnTo>
                    <a:pt x="544" y="176"/>
                  </a:lnTo>
                  <a:lnTo>
                    <a:pt x="544" y="176"/>
                  </a:lnTo>
                  <a:lnTo>
                    <a:pt x="542" y="178"/>
                  </a:lnTo>
                  <a:lnTo>
                    <a:pt x="542" y="178"/>
                  </a:lnTo>
                  <a:lnTo>
                    <a:pt x="540" y="178"/>
                  </a:lnTo>
                  <a:lnTo>
                    <a:pt x="536" y="178"/>
                  </a:lnTo>
                  <a:lnTo>
                    <a:pt x="534" y="180"/>
                  </a:lnTo>
                  <a:lnTo>
                    <a:pt x="534" y="180"/>
                  </a:lnTo>
                  <a:lnTo>
                    <a:pt x="534" y="178"/>
                  </a:lnTo>
                  <a:lnTo>
                    <a:pt x="534" y="178"/>
                  </a:lnTo>
                  <a:lnTo>
                    <a:pt x="532" y="178"/>
                  </a:lnTo>
                  <a:lnTo>
                    <a:pt x="532" y="178"/>
                  </a:lnTo>
                  <a:lnTo>
                    <a:pt x="532" y="178"/>
                  </a:lnTo>
                  <a:lnTo>
                    <a:pt x="530" y="178"/>
                  </a:lnTo>
                  <a:lnTo>
                    <a:pt x="530" y="180"/>
                  </a:lnTo>
                  <a:lnTo>
                    <a:pt x="528" y="180"/>
                  </a:lnTo>
                  <a:lnTo>
                    <a:pt x="528" y="182"/>
                  </a:lnTo>
                  <a:lnTo>
                    <a:pt x="526" y="182"/>
                  </a:lnTo>
                  <a:lnTo>
                    <a:pt x="526" y="184"/>
                  </a:lnTo>
                  <a:lnTo>
                    <a:pt x="526" y="184"/>
                  </a:lnTo>
                  <a:lnTo>
                    <a:pt x="526" y="186"/>
                  </a:lnTo>
                  <a:lnTo>
                    <a:pt x="526" y="188"/>
                  </a:lnTo>
                  <a:lnTo>
                    <a:pt x="526" y="192"/>
                  </a:lnTo>
                  <a:lnTo>
                    <a:pt x="526" y="198"/>
                  </a:lnTo>
                  <a:lnTo>
                    <a:pt x="526" y="205"/>
                  </a:lnTo>
                  <a:lnTo>
                    <a:pt x="528" y="209"/>
                  </a:lnTo>
                  <a:lnTo>
                    <a:pt x="520" y="211"/>
                  </a:lnTo>
                  <a:lnTo>
                    <a:pt x="512" y="211"/>
                  </a:lnTo>
                  <a:lnTo>
                    <a:pt x="505" y="211"/>
                  </a:lnTo>
                  <a:lnTo>
                    <a:pt x="503" y="211"/>
                  </a:lnTo>
                  <a:lnTo>
                    <a:pt x="501" y="211"/>
                  </a:lnTo>
                  <a:lnTo>
                    <a:pt x="491" y="213"/>
                  </a:lnTo>
                  <a:lnTo>
                    <a:pt x="479" y="215"/>
                  </a:lnTo>
                  <a:lnTo>
                    <a:pt x="469" y="217"/>
                  </a:lnTo>
                  <a:lnTo>
                    <a:pt x="456" y="217"/>
                  </a:lnTo>
                  <a:lnTo>
                    <a:pt x="446" y="219"/>
                  </a:lnTo>
                  <a:lnTo>
                    <a:pt x="436" y="221"/>
                  </a:lnTo>
                  <a:lnTo>
                    <a:pt x="424" y="221"/>
                  </a:lnTo>
                  <a:lnTo>
                    <a:pt x="413" y="223"/>
                  </a:lnTo>
                  <a:lnTo>
                    <a:pt x="399" y="225"/>
                  </a:lnTo>
                  <a:lnTo>
                    <a:pt x="385" y="227"/>
                  </a:lnTo>
                  <a:lnTo>
                    <a:pt x="372" y="227"/>
                  </a:lnTo>
                  <a:lnTo>
                    <a:pt x="358" y="229"/>
                  </a:lnTo>
                  <a:lnTo>
                    <a:pt x="344" y="231"/>
                  </a:lnTo>
                  <a:lnTo>
                    <a:pt x="329" y="233"/>
                  </a:lnTo>
                  <a:lnTo>
                    <a:pt x="315" y="235"/>
                  </a:lnTo>
                  <a:lnTo>
                    <a:pt x="303" y="235"/>
                  </a:lnTo>
                  <a:lnTo>
                    <a:pt x="288" y="237"/>
                  </a:lnTo>
                  <a:lnTo>
                    <a:pt x="274" y="239"/>
                  </a:lnTo>
                  <a:lnTo>
                    <a:pt x="260" y="239"/>
                  </a:lnTo>
                  <a:lnTo>
                    <a:pt x="245" y="241"/>
                  </a:lnTo>
                  <a:lnTo>
                    <a:pt x="233" y="243"/>
                  </a:lnTo>
                  <a:lnTo>
                    <a:pt x="219" y="243"/>
                  </a:lnTo>
                  <a:lnTo>
                    <a:pt x="204" y="246"/>
                  </a:lnTo>
                  <a:lnTo>
                    <a:pt x="190" y="248"/>
                  </a:lnTo>
                  <a:lnTo>
                    <a:pt x="188" y="248"/>
                  </a:lnTo>
                  <a:lnTo>
                    <a:pt x="186" y="248"/>
                  </a:lnTo>
                  <a:lnTo>
                    <a:pt x="188" y="250"/>
                  </a:lnTo>
                  <a:lnTo>
                    <a:pt x="188" y="250"/>
                  </a:lnTo>
                  <a:lnTo>
                    <a:pt x="184" y="250"/>
                  </a:lnTo>
                  <a:lnTo>
                    <a:pt x="172" y="252"/>
                  </a:lnTo>
                  <a:lnTo>
                    <a:pt x="161" y="254"/>
                  </a:lnTo>
                  <a:lnTo>
                    <a:pt x="149" y="254"/>
                  </a:lnTo>
                  <a:lnTo>
                    <a:pt x="139" y="256"/>
                  </a:lnTo>
                  <a:lnTo>
                    <a:pt x="127" y="256"/>
                  </a:lnTo>
                  <a:lnTo>
                    <a:pt x="114" y="258"/>
                  </a:lnTo>
                  <a:lnTo>
                    <a:pt x="104" y="258"/>
                  </a:lnTo>
                  <a:lnTo>
                    <a:pt x="92" y="260"/>
                  </a:lnTo>
                  <a:lnTo>
                    <a:pt x="81" y="262"/>
                  </a:lnTo>
                  <a:lnTo>
                    <a:pt x="69" y="262"/>
                  </a:lnTo>
                  <a:lnTo>
                    <a:pt x="57" y="264"/>
                  </a:lnTo>
                  <a:lnTo>
                    <a:pt x="47" y="264"/>
                  </a:lnTo>
                  <a:lnTo>
                    <a:pt x="34" y="266"/>
                  </a:lnTo>
                  <a:lnTo>
                    <a:pt x="24" y="266"/>
                  </a:lnTo>
                  <a:lnTo>
                    <a:pt x="12" y="268"/>
                  </a:lnTo>
                  <a:lnTo>
                    <a:pt x="0" y="268"/>
                  </a:lnTo>
                  <a:lnTo>
                    <a:pt x="0" y="268"/>
                  </a:lnTo>
                  <a:lnTo>
                    <a:pt x="0" y="266"/>
                  </a:lnTo>
                  <a:lnTo>
                    <a:pt x="2" y="266"/>
                  </a:lnTo>
                  <a:lnTo>
                    <a:pt x="4" y="264"/>
                  </a:lnTo>
                  <a:lnTo>
                    <a:pt x="8" y="262"/>
                  </a:lnTo>
                  <a:lnTo>
                    <a:pt x="8" y="262"/>
                  </a:lnTo>
                  <a:lnTo>
                    <a:pt x="10" y="260"/>
                  </a:lnTo>
                  <a:lnTo>
                    <a:pt x="10" y="258"/>
                  </a:lnTo>
                  <a:lnTo>
                    <a:pt x="10" y="256"/>
                  </a:lnTo>
                  <a:lnTo>
                    <a:pt x="10" y="254"/>
                  </a:lnTo>
                  <a:lnTo>
                    <a:pt x="12" y="254"/>
                  </a:lnTo>
                  <a:lnTo>
                    <a:pt x="14" y="254"/>
                  </a:lnTo>
                  <a:lnTo>
                    <a:pt x="16" y="254"/>
                  </a:lnTo>
                  <a:lnTo>
                    <a:pt x="18" y="250"/>
                  </a:lnTo>
                  <a:lnTo>
                    <a:pt x="18" y="246"/>
                  </a:lnTo>
                  <a:lnTo>
                    <a:pt x="16" y="241"/>
                  </a:lnTo>
                  <a:lnTo>
                    <a:pt x="14" y="237"/>
                  </a:lnTo>
                  <a:lnTo>
                    <a:pt x="14" y="235"/>
                  </a:lnTo>
                  <a:lnTo>
                    <a:pt x="14" y="229"/>
                  </a:lnTo>
                  <a:lnTo>
                    <a:pt x="14" y="227"/>
                  </a:lnTo>
                  <a:lnTo>
                    <a:pt x="14" y="225"/>
                  </a:lnTo>
                  <a:lnTo>
                    <a:pt x="18" y="221"/>
                  </a:lnTo>
                  <a:lnTo>
                    <a:pt x="20" y="219"/>
                  </a:lnTo>
                  <a:lnTo>
                    <a:pt x="20" y="217"/>
                  </a:lnTo>
                  <a:lnTo>
                    <a:pt x="22" y="215"/>
                  </a:lnTo>
                  <a:lnTo>
                    <a:pt x="20" y="213"/>
                  </a:lnTo>
                  <a:lnTo>
                    <a:pt x="22" y="211"/>
                  </a:lnTo>
                  <a:lnTo>
                    <a:pt x="22" y="211"/>
                  </a:lnTo>
                  <a:lnTo>
                    <a:pt x="24" y="209"/>
                  </a:lnTo>
                  <a:lnTo>
                    <a:pt x="26" y="209"/>
                  </a:lnTo>
                  <a:lnTo>
                    <a:pt x="28" y="209"/>
                  </a:lnTo>
                  <a:lnTo>
                    <a:pt x="28" y="207"/>
                  </a:lnTo>
                  <a:lnTo>
                    <a:pt x="28" y="205"/>
                  </a:lnTo>
                  <a:lnTo>
                    <a:pt x="26" y="202"/>
                  </a:lnTo>
                  <a:lnTo>
                    <a:pt x="26" y="200"/>
                  </a:lnTo>
                  <a:lnTo>
                    <a:pt x="26" y="200"/>
                  </a:lnTo>
                  <a:lnTo>
                    <a:pt x="28" y="198"/>
                  </a:lnTo>
                  <a:lnTo>
                    <a:pt x="28" y="196"/>
                  </a:lnTo>
                  <a:lnTo>
                    <a:pt x="28" y="194"/>
                  </a:lnTo>
                  <a:lnTo>
                    <a:pt x="26" y="192"/>
                  </a:lnTo>
                  <a:lnTo>
                    <a:pt x="24" y="190"/>
                  </a:lnTo>
                  <a:lnTo>
                    <a:pt x="24" y="188"/>
                  </a:lnTo>
                  <a:lnTo>
                    <a:pt x="26" y="186"/>
                  </a:lnTo>
                  <a:lnTo>
                    <a:pt x="38" y="180"/>
                  </a:lnTo>
                  <a:lnTo>
                    <a:pt x="43" y="174"/>
                  </a:lnTo>
                  <a:lnTo>
                    <a:pt x="43" y="172"/>
                  </a:lnTo>
                  <a:lnTo>
                    <a:pt x="41" y="172"/>
                  </a:lnTo>
                  <a:lnTo>
                    <a:pt x="38" y="170"/>
                  </a:lnTo>
                  <a:lnTo>
                    <a:pt x="38" y="168"/>
                  </a:lnTo>
                  <a:lnTo>
                    <a:pt x="38" y="166"/>
                  </a:lnTo>
                  <a:lnTo>
                    <a:pt x="41" y="166"/>
                  </a:lnTo>
                  <a:lnTo>
                    <a:pt x="43" y="166"/>
                  </a:lnTo>
                  <a:lnTo>
                    <a:pt x="47" y="168"/>
                  </a:lnTo>
                  <a:lnTo>
                    <a:pt x="47" y="168"/>
                  </a:lnTo>
                  <a:lnTo>
                    <a:pt x="47" y="166"/>
                  </a:lnTo>
                  <a:lnTo>
                    <a:pt x="47" y="162"/>
                  </a:lnTo>
                  <a:lnTo>
                    <a:pt x="43" y="159"/>
                  </a:lnTo>
                  <a:lnTo>
                    <a:pt x="43" y="157"/>
                  </a:lnTo>
                  <a:lnTo>
                    <a:pt x="43" y="155"/>
                  </a:lnTo>
                  <a:lnTo>
                    <a:pt x="43" y="153"/>
                  </a:lnTo>
                  <a:lnTo>
                    <a:pt x="45" y="147"/>
                  </a:lnTo>
                  <a:lnTo>
                    <a:pt x="45" y="145"/>
                  </a:lnTo>
                  <a:lnTo>
                    <a:pt x="45" y="145"/>
                  </a:lnTo>
                  <a:lnTo>
                    <a:pt x="47" y="143"/>
                  </a:lnTo>
                  <a:lnTo>
                    <a:pt x="49" y="143"/>
                  </a:lnTo>
                  <a:lnTo>
                    <a:pt x="49" y="143"/>
                  </a:lnTo>
                  <a:lnTo>
                    <a:pt x="51" y="141"/>
                  </a:lnTo>
                  <a:lnTo>
                    <a:pt x="47" y="137"/>
                  </a:lnTo>
                  <a:lnTo>
                    <a:pt x="43" y="129"/>
                  </a:lnTo>
                  <a:lnTo>
                    <a:pt x="43" y="129"/>
                  </a:lnTo>
                  <a:lnTo>
                    <a:pt x="51" y="129"/>
                  </a:lnTo>
                  <a:lnTo>
                    <a:pt x="53" y="127"/>
                  </a:lnTo>
                  <a:lnTo>
                    <a:pt x="53" y="127"/>
                  </a:lnTo>
                  <a:lnTo>
                    <a:pt x="53" y="125"/>
                  </a:lnTo>
                  <a:lnTo>
                    <a:pt x="53" y="125"/>
                  </a:lnTo>
                  <a:lnTo>
                    <a:pt x="51" y="125"/>
                  </a:lnTo>
                  <a:lnTo>
                    <a:pt x="49" y="123"/>
                  </a:lnTo>
                  <a:lnTo>
                    <a:pt x="47" y="121"/>
                  </a:lnTo>
                  <a:lnTo>
                    <a:pt x="47" y="118"/>
                  </a:lnTo>
                  <a:lnTo>
                    <a:pt x="49" y="118"/>
                  </a:lnTo>
                  <a:lnTo>
                    <a:pt x="51" y="118"/>
                  </a:lnTo>
                  <a:lnTo>
                    <a:pt x="53" y="116"/>
                  </a:lnTo>
                  <a:lnTo>
                    <a:pt x="55" y="116"/>
                  </a:lnTo>
                  <a:lnTo>
                    <a:pt x="55" y="114"/>
                  </a:lnTo>
                  <a:lnTo>
                    <a:pt x="55" y="112"/>
                  </a:lnTo>
                  <a:lnTo>
                    <a:pt x="53" y="106"/>
                  </a:lnTo>
                  <a:lnTo>
                    <a:pt x="51" y="106"/>
                  </a:lnTo>
                  <a:lnTo>
                    <a:pt x="53" y="104"/>
                  </a:lnTo>
                  <a:lnTo>
                    <a:pt x="51" y="102"/>
                  </a:lnTo>
                  <a:lnTo>
                    <a:pt x="51" y="102"/>
                  </a:lnTo>
                  <a:lnTo>
                    <a:pt x="57" y="100"/>
                  </a:lnTo>
                  <a:lnTo>
                    <a:pt x="57" y="102"/>
                  </a:lnTo>
                  <a:lnTo>
                    <a:pt x="55" y="104"/>
                  </a:lnTo>
                  <a:lnTo>
                    <a:pt x="57" y="106"/>
                  </a:lnTo>
                  <a:lnTo>
                    <a:pt x="59" y="106"/>
                  </a:lnTo>
                  <a:lnTo>
                    <a:pt x="59" y="104"/>
                  </a:lnTo>
                  <a:lnTo>
                    <a:pt x="61" y="104"/>
                  </a:lnTo>
                  <a:lnTo>
                    <a:pt x="63" y="102"/>
                  </a:lnTo>
                  <a:lnTo>
                    <a:pt x="63" y="100"/>
                  </a:lnTo>
                  <a:lnTo>
                    <a:pt x="77" y="98"/>
                  </a:lnTo>
                  <a:lnTo>
                    <a:pt x="92" y="98"/>
                  </a:lnTo>
                  <a:lnTo>
                    <a:pt x="108" y="96"/>
                  </a:lnTo>
                  <a:lnTo>
                    <a:pt x="122" y="94"/>
                  </a:lnTo>
                  <a:lnTo>
                    <a:pt x="137" y="94"/>
                  </a:lnTo>
                  <a:lnTo>
                    <a:pt x="153" y="92"/>
                  </a:lnTo>
                  <a:lnTo>
                    <a:pt x="168" y="90"/>
                  </a:lnTo>
                  <a:lnTo>
                    <a:pt x="182" y="88"/>
                  </a:lnTo>
                  <a:lnTo>
                    <a:pt x="182" y="86"/>
                  </a:lnTo>
                  <a:lnTo>
                    <a:pt x="182" y="82"/>
                  </a:lnTo>
                  <a:lnTo>
                    <a:pt x="182" y="80"/>
                  </a:lnTo>
                  <a:lnTo>
                    <a:pt x="180" y="75"/>
                  </a:lnTo>
                  <a:lnTo>
                    <a:pt x="178" y="69"/>
                  </a:lnTo>
                  <a:lnTo>
                    <a:pt x="178" y="69"/>
                  </a:lnTo>
                  <a:lnTo>
                    <a:pt x="178" y="67"/>
                  </a:lnTo>
                  <a:lnTo>
                    <a:pt x="178" y="67"/>
                  </a:lnTo>
                  <a:lnTo>
                    <a:pt x="178" y="67"/>
                  </a:lnTo>
                  <a:lnTo>
                    <a:pt x="184" y="67"/>
                  </a:lnTo>
                  <a:lnTo>
                    <a:pt x="190" y="67"/>
                  </a:lnTo>
                  <a:lnTo>
                    <a:pt x="196" y="67"/>
                  </a:lnTo>
                  <a:lnTo>
                    <a:pt x="196" y="67"/>
                  </a:lnTo>
                  <a:lnTo>
                    <a:pt x="196" y="69"/>
                  </a:lnTo>
                  <a:lnTo>
                    <a:pt x="198" y="69"/>
                  </a:lnTo>
                  <a:lnTo>
                    <a:pt x="198" y="71"/>
                  </a:lnTo>
                  <a:lnTo>
                    <a:pt x="198" y="71"/>
                  </a:lnTo>
                  <a:lnTo>
                    <a:pt x="198" y="71"/>
                  </a:lnTo>
                  <a:lnTo>
                    <a:pt x="202" y="69"/>
                  </a:lnTo>
                  <a:lnTo>
                    <a:pt x="204" y="69"/>
                  </a:lnTo>
                  <a:lnTo>
                    <a:pt x="206" y="69"/>
                  </a:lnTo>
                  <a:lnTo>
                    <a:pt x="213" y="69"/>
                  </a:lnTo>
                  <a:lnTo>
                    <a:pt x="219" y="67"/>
                  </a:lnTo>
                  <a:lnTo>
                    <a:pt x="227" y="67"/>
                  </a:lnTo>
                  <a:lnTo>
                    <a:pt x="235" y="65"/>
                  </a:lnTo>
                  <a:lnTo>
                    <a:pt x="245" y="65"/>
                  </a:lnTo>
                  <a:lnTo>
                    <a:pt x="254" y="63"/>
                  </a:lnTo>
                  <a:lnTo>
                    <a:pt x="264" y="63"/>
                  </a:lnTo>
                  <a:lnTo>
                    <a:pt x="274" y="61"/>
                  </a:lnTo>
                  <a:lnTo>
                    <a:pt x="282" y="61"/>
                  </a:lnTo>
                  <a:lnTo>
                    <a:pt x="290" y="59"/>
                  </a:lnTo>
                  <a:lnTo>
                    <a:pt x="297" y="59"/>
                  </a:lnTo>
                  <a:lnTo>
                    <a:pt x="301" y="57"/>
                  </a:lnTo>
                  <a:lnTo>
                    <a:pt x="305" y="57"/>
                  </a:lnTo>
                  <a:lnTo>
                    <a:pt x="307" y="57"/>
                  </a:lnTo>
                  <a:lnTo>
                    <a:pt x="309" y="57"/>
                  </a:lnTo>
                  <a:lnTo>
                    <a:pt x="313" y="55"/>
                  </a:lnTo>
                  <a:lnTo>
                    <a:pt x="313" y="55"/>
                  </a:lnTo>
                  <a:lnTo>
                    <a:pt x="317" y="55"/>
                  </a:lnTo>
                  <a:lnTo>
                    <a:pt x="319" y="55"/>
                  </a:lnTo>
                  <a:lnTo>
                    <a:pt x="327" y="55"/>
                  </a:lnTo>
                  <a:lnTo>
                    <a:pt x="340" y="53"/>
                  </a:lnTo>
                  <a:lnTo>
                    <a:pt x="354" y="51"/>
                  </a:lnTo>
                  <a:lnTo>
                    <a:pt x="370" y="51"/>
                  </a:lnTo>
                  <a:lnTo>
                    <a:pt x="391" y="49"/>
                  </a:lnTo>
                  <a:lnTo>
                    <a:pt x="411" y="47"/>
                  </a:lnTo>
                  <a:lnTo>
                    <a:pt x="434" y="45"/>
                  </a:lnTo>
                  <a:lnTo>
                    <a:pt x="456" y="43"/>
                  </a:lnTo>
                  <a:lnTo>
                    <a:pt x="477" y="39"/>
                  </a:lnTo>
                  <a:lnTo>
                    <a:pt x="495" y="37"/>
                  </a:lnTo>
                  <a:lnTo>
                    <a:pt x="514" y="37"/>
                  </a:lnTo>
                  <a:lnTo>
                    <a:pt x="528" y="34"/>
                  </a:lnTo>
                  <a:lnTo>
                    <a:pt x="540" y="32"/>
                  </a:lnTo>
                  <a:lnTo>
                    <a:pt x="546" y="32"/>
                  </a:lnTo>
                  <a:lnTo>
                    <a:pt x="551" y="32"/>
                  </a:lnTo>
                  <a:lnTo>
                    <a:pt x="555" y="30"/>
                  </a:lnTo>
                  <a:lnTo>
                    <a:pt x="557" y="30"/>
                  </a:lnTo>
                  <a:lnTo>
                    <a:pt x="559" y="28"/>
                  </a:lnTo>
                  <a:lnTo>
                    <a:pt x="559" y="2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TN</a:t>
              </a:r>
            </a:p>
          </p:txBody>
        </p:sp>
        <p:sp>
          <p:nvSpPr>
            <p:cNvPr id="252" name="Freeform 14">
              <a:extLst>
                <a:ext uri="{FF2B5EF4-FFF2-40B4-BE49-F238E27FC236}">
                  <a16:creationId xmlns:a16="http://schemas.microsoft.com/office/drawing/2014/main" id="{453706CD-F27B-58C1-1E74-36696D838D6E}"/>
                </a:ext>
              </a:extLst>
            </p:cNvPr>
            <p:cNvSpPr>
              <a:spLocks/>
            </p:cNvSpPr>
            <p:nvPr/>
          </p:nvSpPr>
          <p:spPr bwMode="auto">
            <a:xfrm>
              <a:off x="2403" y="490"/>
              <a:ext cx="612" cy="361"/>
            </a:xfrm>
            <a:custGeom>
              <a:avLst/>
              <a:gdLst>
                <a:gd name="T0" fmla="*/ 594 w 612"/>
                <a:gd name="T1" fmla="*/ 10 h 361"/>
                <a:gd name="T2" fmla="*/ 588 w 612"/>
                <a:gd name="T3" fmla="*/ 20 h 361"/>
                <a:gd name="T4" fmla="*/ 573 w 612"/>
                <a:gd name="T5" fmla="*/ 33 h 361"/>
                <a:gd name="T6" fmla="*/ 579 w 612"/>
                <a:gd name="T7" fmla="*/ 45 h 361"/>
                <a:gd name="T8" fmla="*/ 598 w 612"/>
                <a:gd name="T9" fmla="*/ 59 h 361"/>
                <a:gd name="T10" fmla="*/ 606 w 612"/>
                <a:gd name="T11" fmla="*/ 67 h 361"/>
                <a:gd name="T12" fmla="*/ 608 w 612"/>
                <a:gd name="T13" fmla="*/ 164 h 361"/>
                <a:gd name="T14" fmla="*/ 600 w 612"/>
                <a:gd name="T15" fmla="*/ 256 h 361"/>
                <a:gd name="T16" fmla="*/ 600 w 612"/>
                <a:gd name="T17" fmla="*/ 262 h 361"/>
                <a:gd name="T18" fmla="*/ 604 w 612"/>
                <a:gd name="T19" fmla="*/ 268 h 361"/>
                <a:gd name="T20" fmla="*/ 604 w 612"/>
                <a:gd name="T21" fmla="*/ 279 h 361"/>
                <a:gd name="T22" fmla="*/ 602 w 612"/>
                <a:gd name="T23" fmla="*/ 281 h 361"/>
                <a:gd name="T24" fmla="*/ 602 w 612"/>
                <a:gd name="T25" fmla="*/ 283 h 361"/>
                <a:gd name="T26" fmla="*/ 604 w 612"/>
                <a:gd name="T27" fmla="*/ 285 h 361"/>
                <a:gd name="T28" fmla="*/ 610 w 612"/>
                <a:gd name="T29" fmla="*/ 287 h 361"/>
                <a:gd name="T30" fmla="*/ 612 w 612"/>
                <a:gd name="T31" fmla="*/ 295 h 361"/>
                <a:gd name="T32" fmla="*/ 608 w 612"/>
                <a:gd name="T33" fmla="*/ 303 h 361"/>
                <a:gd name="T34" fmla="*/ 610 w 612"/>
                <a:gd name="T35" fmla="*/ 307 h 361"/>
                <a:gd name="T36" fmla="*/ 608 w 612"/>
                <a:gd name="T37" fmla="*/ 311 h 361"/>
                <a:gd name="T38" fmla="*/ 606 w 612"/>
                <a:gd name="T39" fmla="*/ 318 h 361"/>
                <a:gd name="T40" fmla="*/ 604 w 612"/>
                <a:gd name="T41" fmla="*/ 322 h 361"/>
                <a:gd name="T42" fmla="*/ 602 w 612"/>
                <a:gd name="T43" fmla="*/ 326 h 361"/>
                <a:gd name="T44" fmla="*/ 602 w 612"/>
                <a:gd name="T45" fmla="*/ 328 h 361"/>
                <a:gd name="T46" fmla="*/ 598 w 612"/>
                <a:gd name="T47" fmla="*/ 336 h 361"/>
                <a:gd name="T48" fmla="*/ 606 w 612"/>
                <a:gd name="T49" fmla="*/ 344 h 361"/>
                <a:gd name="T50" fmla="*/ 608 w 612"/>
                <a:gd name="T51" fmla="*/ 346 h 361"/>
                <a:gd name="T52" fmla="*/ 608 w 612"/>
                <a:gd name="T53" fmla="*/ 350 h 361"/>
                <a:gd name="T54" fmla="*/ 610 w 612"/>
                <a:gd name="T55" fmla="*/ 352 h 361"/>
                <a:gd name="T56" fmla="*/ 602 w 612"/>
                <a:gd name="T57" fmla="*/ 358 h 361"/>
                <a:gd name="T58" fmla="*/ 594 w 612"/>
                <a:gd name="T59" fmla="*/ 348 h 361"/>
                <a:gd name="T60" fmla="*/ 594 w 612"/>
                <a:gd name="T61" fmla="*/ 344 h 361"/>
                <a:gd name="T62" fmla="*/ 586 w 612"/>
                <a:gd name="T63" fmla="*/ 342 h 361"/>
                <a:gd name="T64" fmla="*/ 573 w 612"/>
                <a:gd name="T65" fmla="*/ 336 h 361"/>
                <a:gd name="T66" fmla="*/ 565 w 612"/>
                <a:gd name="T67" fmla="*/ 334 h 361"/>
                <a:gd name="T68" fmla="*/ 553 w 612"/>
                <a:gd name="T69" fmla="*/ 328 h 361"/>
                <a:gd name="T70" fmla="*/ 526 w 612"/>
                <a:gd name="T71" fmla="*/ 326 h 361"/>
                <a:gd name="T72" fmla="*/ 512 w 612"/>
                <a:gd name="T73" fmla="*/ 326 h 361"/>
                <a:gd name="T74" fmla="*/ 497 w 612"/>
                <a:gd name="T75" fmla="*/ 328 h 361"/>
                <a:gd name="T76" fmla="*/ 493 w 612"/>
                <a:gd name="T77" fmla="*/ 334 h 361"/>
                <a:gd name="T78" fmla="*/ 481 w 612"/>
                <a:gd name="T79" fmla="*/ 332 h 361"/>
                <a:gd name="T80" fmla="*/ 461 w 612"/>
                <a:gd name="T81" fmla="*/ 320 h 361"/>
                <a:gd name="T82" fmla="*/ 448 w 612"/>
                <a:gd name="T83" fmla="*/ 313 h 361"/>
                <a:gd name="T84" fmla="*/ 373 w 612"/>
                <a:gd name="T85" fmla="*/ 313 h 361"/>
                <a:gd name="T86" fmla="*/ 289 w 612"/>
                <a:gd name="T87" fmla="*/ 313 h 361"/>
                <a:gd name="T88" fmla="*/ 207 w 612"/>
                <a:gd name="T89" fmla="*/ 313 h 361"/>
                <a:gd name="T90" fmla="*/ 125 w 612"/>
                <a:gd name="T91" fmla="*/ 311 h 361"/>
                <a:gd name="T92" fmla="*/ 41 w 612"/>
                <a:gd name="T93" fmla="*/ 309 h 361"/>
                <a:gd name="T94" fmla="*/ 2 w 612"/>
                <a:gd name="T95" fmla="*/ 268 h 361"/>
                <a:gd name="T96" fmla="*/ 4 w 612"/>
                <a:gd name="T97" fmla="*/ 188 h 361"/>
                <a:gd name="T98" fmla="*/ 6 w 612"/>
                <a:gd name="T99" fmla="*/ 111 h 361"/>
                <a:gd name="T100" fmla="*/ 10 w 612"/>
                <a:gd name="T101" fmla="*/ 67 h 361"/>
                <a:gd name="T102" fmla="*/ 12 w 612"/>
                <a:gd name="T103" fmla="*/ 0 h 361"/>
                <a:gd name="T104" fmla="*/ 123 w 612"/>
                <a:gd name="T105" fmla="*/ 2 h 361"/>
                <a:gd name="T106" fmla="*/ 231 w 612"/>
                <a:gd name="T107" fmla="*/ 4 h 361"/>
                <a:gd name="T108" fmla="*/ 340 w 612"/>
                <a:gd name="T109" fmla="*/ 4 h 361"/>
                <a:gd name="T110" fmla="*/ 448 w 612"/>
                <a:gd name="T111" fmla="*/ 4 h 361"/>
                <a:gd name="T112" fmla="*/ 559 w 612"/>
                <a:gd name="T113" fmla="*/ 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2" h="361">
                  <a:moveTo>
                    <a:pt x="596" y="0"/>
                  </a:moveTo>
                  <a:lnTo>
                    <a:pt x="594" y="2"/>
                  </a:lnTo>
                  <a:lnTo>
                    <a:pt x="594" y="2"/>
                  </a:lnTo>
                  <a:lnTo>
                    <a:pt x="594" y="2"/>
                  </a:lnTo>
                  <a:lnTo>
                    <a:pt x="594" y="4"/>
                  </a:lnTo>
                  <a:lnTo>
                    <a:pt x="594" y="10"/>
                  </a:lnTo>
                  <a:lnTo>
                    <a:pt x="594" y="12"/>
                  </a:lnTo>
                  <a:lnTo>
                    <a:pt x="592" y="14"/>
                  </a:lnTo>
                  <a:lnTo>
                    <a:pt x="590" y="18"/>
                  </a:lnTo>
                  <a:lnTo>
                    <a:pt x="590" y="20"/>
                  </a:lnTo>
                  <a:lnTo>
                    <a:pt x="588" y="20"/>
                  </a:lnTo>
                  <a:lnTo>
                    <a:pt x="588" y="20"/>
                  </a:lnTo>
                  <a:lnTo>
                    <a:pt x="586" y="22"/>
                  </a:lnTo>
                  <a:lnTo>
                    <a:pt x="579" y="27"/>
                  </a:lnTo>
                  <a:lnTo>
                    <a:pt x="579" y="27"/>
                  </a:lnTo>
                  <a:lnTo>
                    <a:pt x="577" y="29"/>
                  </a:lnTo>
                  <a:lnTo>
                    <a:pt x="575" y="31"/>
                  </a:lnTo>
                  <a:lnTo>
                    <a:pt x="573" y="33"/>
                  </a:lnTo>
                  <a:lnTo>
                    <a:pt x="573" y="33"/>
                  </a:lnTo>
                  <a:lnTo>
                    <a:pt x="573" y="35"/>
                  </a:lnTo>
                  <a:lnTo>
                    <a:pt x="571" y="37"/>
                  </a:lnTo>
                  <a:lnTo>
                    <a:pt x="573" y="39"/>
                  </a:lnTo>
                  <a:lnTo>
                    <a:pt x="577" y="43"/>
                  </a:lnTo>
                  <a:lnTo>
                    <a:pt x="579" y="45"/>
                  </a:lnTo>
                  <a:lnTo>
                    <a:pt x="583" y="51"/>
                  </a:lnTo>
                  <a:lnTo>
                    <a:pt x="586" y="55"/>
                  </a:lnTo>
                  <a:lnTo>
                    <a:pt x="586" y="57"/>
                  </a:lnTo>
                  <a:lnTo>
                    <a:pt x="592" y="57"/>
                  </a:lnTo>
                  <a:lnTo>
                    <a:pt x="596" y="57"/>
                  </a:lnTo>
                  <a:lnTo>
                    <a:pt x="598" y="59"/>
                  </a:lnTo>
                  <a:lnTo>
                    <a:pt x="600" y="59"/>
                  </a:lnTo>
                  <a:lnTo>
                    <a:pt x="602" y="61"/>
                  </a:lnTo>
                  <a:lnTo>
                    <a:pt x="602" y="61"/>
                  </a:lnTo>
                  <a:lnTo>
                    <a:pt x="604" y="65"/>
                  </a:lnTo>
                  <a:lnTo>
                    <a:pt x="604" y="67"/>
                  </a:lnTo>
                  <a:lnTo>
                    <a:pt x="606" y="67"/>
                  </a:lnTo>
                  <a:lnTo>
                    <a:pt x="606" y="67"/>
                  </a:lnTo>
                  <a:lnTo>
                    <a:pt x="606" y="72"/>
                  </a:lnTo>
                  <a:lnTo>
                    <a:pt x="606" y="94"/>
                  </a:lnTo>
                  <a:lnTo>
                    <a:pt x="606" y="117"/>
                  </a:lnTo>
                  <a:lnTo>
                    <a:pt x="608" y="141"/>
                  </a:lnTo>
                  <a:lnTo>
                    <a:pt x="608" y="164"/>
                  </a:lnTo>
                  <a:lnTo>
                    <a:pt x="608" y="186"/>
                  </a:lnTo>
                  <a:lnTo>
                    <a:pt x="610" y="209"/>
                  </a:lnTo>
                  <a:lnTo>
                    <a:pt x="610" y="233"/>
                  </a:lnTo>
                  <a:lnTo>
                    <a:pt x="612" y="256"/>
                  </a:lnTo>
                  <a:lnTo>
                    <a:pt x="600" y="256"/>
                  </a:lnTo>
                  <a:lnTo>
                    <a:pt x="600" y="256"/>
                  </a:lnTo>
                  <a:lnTo>
                    <a:pt x="600" y="258"/>
                  </a:lnTo>
                  <a:lnTo>
                    <a:pt x="600" y="258"/>
                  </a:lnTo>
                  <a:lnTo>
                    <a:pt x="600" y="258"/>
                  </a:lnTo>
                  <a:lnTo>
                    <a:pt x="600" y="260"/>
                  </a:lnTo>
                  <a:lnTo>
                    <a:pt x="600" y="260"/>
                  </a:lnTo>
                  <a:lnTo>
                    <a:pt x="600" y="262"/>
                  </a:lnTo>
                  <a:lnTo>
                    <a:pt x="600" y="262"/>
                  </a:lnTo>
                  <a:lnTo>
                    <a:pt x="600" y="264"/>
                  </a:lnTo>
                  <a:lnTo>
                    <a:pt x="602" y="264"/>
                  </a:lnTo>
                  <a:lnTo>
                    <a:pt x="602" y="266"/>
                  </a:lnTo>
                  <a:lnTo>
                    <a:pt x="604" y="266"/>
                  </a:lnTo>
                  <a:lnTo>
                    <a:pt x="604" y="268"/>
                  </a:lnTo>
                  <a:lnTo>
                    <a:pt x="604" y="268"/>
                  </a:lnTo>
                  <a:lnTo>
                    <a:pt x="606" y="268"/>
                  </a:lnTo>
                  <a:lnTo>
                    <a:pt x="606" y="274"/>
                  </a:lnTo>
                  <a:lnTo>
                    <a:pt x="606" y="277"/>
                  </a:lnTo>
                  <a:lnTo>
                    <a:pt x="604" y="279"/>
                  </a:lnTo>
                  <a:lnTo>
                    <a:pt x="604" y="279"/>
                  </a:lnTo>
                  <a:lnTo>
                    <a:pt x="604" y="279"/>
                  </a:lnTo>
                  <a:lnTo>
                    <a:pt x="604" y="279"/>
                  </a:lnTo>
                  <a:lnTo>
                    <a:pt x="602" y="279"/>
                  </a:lnTo>
                  <a:lnTo>
                    <a:pt x="602" y="279"/>
                  </a:lnTo>
                  <a:lnTo>
                    <a:pt x="602" y="279"/>
                  </a:lnTo>
                  <a:lnTo>
                    <a:pt x="602" y="281"/>
                  </a:lnTo>
                  <a:lnTo>
                    <a:pt x="602" y="281"/>
                  </a:lnTo>
                  <a:lnTo>
                    <a:pt x="604" y="281"/>
                  </a:lnTo>
                  <a:lnTo>
                    <a:pt x="604" y="283"/>
                  </a:lnTo>
                  <a:lnTo>
                    <a:pt x="604" y="283"/>
                  </a:lnTo>
                  <a:lnTo>
                    <a:pt x="604" y="283"/>
                  </a:lnTo>
                  <a:lnTo>
                    <a:pt x="602" y="283"/>
                  </a:lnTo>
                  <a:lnTo>
                    <a:pt x="602" y="285"/>
                  </a:lnTo>
                  <a:lnTo>
                    <a:pt x="602" y="285"/>
                  </a:lnTo>
                  <a:lnTo>
                    <a:pt x="602" y="285"/>
                  </a:lnTo>
                  <a:lnTo>
                    <a:pt x="604" y="285"/>
                  </a:lnTo>
                  <a:lnTo>
                    <a:pt x="604" y="285"/>
                  </a:lnTo>
                  <a:lnTo>
                    <a:pt x="604" y="285"/>
                  </a:lnTo>
                  <a:lnTo>
                    <a:pt x="606" y="285"/>
                  </a:lnTo>
                  <a:lnTo>
                    <a:pt x="608" y="287"/>
                  </a:lnTo>
                  <a:lnTo>
                    <a:pt x="608" y="287"/>
                  </a:lnTo>
                  <a:lnTo>
                    <a:pt x="608" y="285"/>
                  </a:lnTo>
                  <a:lnTo>
                    <a:pt x="610" y="285"/>
                  </a:lnTo>
                  <a:lnTo>
                    <a:pt x="610" y="287"/>
                  </a:lnTo>
                  <a:lnTo>
                    <a:pt x="610" y="287"/>
                  </a:lnTo>
                  <a:lnTo>
                    <a:pt x="610" y="287"/>
                  </a:lnTo>
                  <a:lnTo>
                    <a:pt x="610" y="289"/>
                  </a:lnTo>
                  <a:lnTo>
                    <a:pt x="612" y="293"/>
                  </a:lnTo>
                  <a:lnTo>
                    <a:pt x="612" y="293"/>
                  </a:lnTo>
                  <a:lnTo>
                    <a:pt x="612" y="295"/>
                  </a:lnTo>
                  <a:lnTo>
                    <a:pt x="612" y="295"/>
                  </a:lnTo>
                  <a:lnTo>
                    <a:pt x="612" y="295"/>
                  </a:lnTo>
                  <a:lnTo>
                    <a:pt x="612" y="301"/>
                  </a:lnTo>
                  <a:lnTo>
                    <a:pt x="612" y="301"/>
                  </a:lnTo>
                  <a:lnTo>
                    <a:pt x="610" y="301"/>
                  </a:lnTo>
                  <a:lnTo>
                    <a:pt x="608" y="303"/>
                  </a:lnTo>
                  <a:lnTo>
                    <a:pt x="608" y="305"/>
                  </a:lnTo>
                  <a:lnTo>
                    <a:pt x="608" y="305"/>
                  </a:lnTo>
                  <a:lnTo>
                    <a:pt x="608" y="305"/>
                  </a:lnTo>
                  <a:lnTo>
                    <a:pt x="608" y="305"/>
                  </a:lnTo>
                  <a:lnTo>
                    <a:pt x="608" y="307"/>
                  </a:lnTo>
                  <a:lnTo>
                    <a:pt x="610" y="307"/>
                  </a:lnTo>
                  <a:lnTo>
                    <a:pt x="608" y="307"/>
                  </a:lnTo>
                  <a:lnTo>
                    <a:pt x="608" y="309"/>
                  </a:lnTo>
                  <a:lnTo>
                    <a:pt x="608" y="309"/>
                  </a:lnTo>
                  <a:lnTo>
                    <a:pt x="608" y="309"/>
                  </a:lnTo>
                  <a:lnTo>
                    <a:pt x="608" y="309"/>
                  </a:lnTo>
                  <a:lnTo>
                    <a:pt x="608" y="311"/>
                  </a:lnTo>
                  <a:lnTo>
                    <a:pt x="608" y="313"/>
                  </a:lnTo>
                  <a:lnTo>
                    <a:pt x="608" y="313"/>
                  </a:lnTo>
                  <a:lnTo>
                    <a:pt x="608" y="313"/>
                  </a:lnTo>
                  <a:lnTo>
                    <a:pt x="606" y="315"/>
                  </a:lnTo>
                  <a:lnTo>
                    <a:pt x="606" y="315"/>
                  </a:lnTo>
                  <a:lnTo>
                    <a:pt x="606" y="318"/>
                  </a:lnTo>
                  <a:lnTo>
                    <a:pt x="606" y="320"/>
                  </a:lnTo>
                  <a:lnTo>
                    <a:pt x="606" y="322"/>
                  </a:lnTo>
                  <a:lnTo>
                    <a:pt x="606" y="322"/>
                  </a:lnTo>
                  <a:lnTo>
                    <a:pt x="606" y="322"/>
                  </a:lnTo>
                  <a:lnTo>
                    <a:pt x="606" y="322"/>
                  </a:lnTo>
                  <a:lnTo>
                    <a:pt x="604" y="322"/>
                  </a:lnTo>
                  <a:lnTo>
                    <a:pt x="604" y="324"/>
                  </a:lnTo>
                  <a:lnTo>
                    <a:pt x="604" y="324"/>
                  </a:lnTo>
                  <a:lnTo>
                    <a:pt x="604" y="326"/>
                  </a:lnTo>
                  <a:lnTo>
                    <a:pt x="604" y="326"/>
                  </a:lnTo>
                  <a:lnTo>
                    <a:pt x="604" y="326"/>
                  </a:lnTo>
                  <a:lnTo>
                    <a:pt x="602" y="326"/>
                  </a:lnTo>
                  <a:lnTo>
                    <a:pt x="602" y="326"/>
                  </a:lnTo>
                  <a:lnTo>
                    <a:pt x="602" y="326"/>
                  </a:lnTo>
                  <a:lnTo>
                    <a:pt x="602" y="328"/>
                  </a:lnTo>
                  <a:lnTo>
                    <a:pt x="602" y="328"/>
                  </a:lnTo>
                  <a:lnTo>
                    <a:pt x="602" y="328"/>
                  </a:lnTo>
                  <a:lnTo>
                    <a:pt x="602" y="328"/>
                  </a:lnTo>
                  <a:lnTo>
                    <a:pt x="602" y="330"/>
                  </a:lnTo>
                  <a:lnTo>
                    <a:pt x="602" y="330"/>
                  </a:lnTo>
                  <a:lnTo>
                    <a:pt x="600" y="332"/>
                  </a:lnTo>
                  <a:lnTo>
                    <a:pt x="600" y="334"/>
                  </a:lnTo>
                  <a:lnTo>
                    <a:pt x="600" y="334"/>
                  </a:lnTo>
                  <a:lnTo>
                    <a:pt x="598" y="336"/>
                  </a:lnTo>
                  <a:lnTo>
                    <a:pt x="600" y="336"/>
                  </a:lnTo>
                  <a:lnTo>
                    <a:pt x="600" y="338"/>
                  </a:lnTo>
                  <a:lnTo>
                    <a:pt x="600" y="340"/>
                  </a:lnTo>
                  <a:lnTo>
                    <a:pt x="602" y="340"/>
                  </a:lnTo>
                  <a:lnTo>
                    <a:pt x="602" y="340"/>
                  </a:lnTo>
                  <a:lnTo>
                    <a:pt x="606" y="344"/>
                  </a:lnTo>
                  <a:lnTo>
                    <a:pt x="608" y="344"/>
                  </a:lnTo>
                  <a:lnTo>
                    <a:pt x="608" y="344"/>
                  </a:lnTo>
                  <a:lnTo>
                    <a:pt x="608" y="346"/>
                  </a:lnTo>
                  <a:lnTo>
                    <a:pt x="608" y="346"/>
                  </a:lnTo>
                  <a:lnTo>
                    <a:pt x="608" y="346"/>
                  </a:lnTo>
                  <a:lnTo>
                    <a:pt x="608" y="346"/>
                  </a:lnTo>
                  <a:lnTo>
                    <a:pt x="608" y="348"/>
                  </a:lnTo>
                  <a:lnTo>
                    <a:pt x="606" y="348"/>
                  </a:lnTo>
                  <a:lnTo>
                    <a:pt x="606" y="348"/>
                  </a:lnTo>
                  <a:lnTo>
                    <a:pt x="608" y="348"/>
                  </a:lnTo>
                  <a:lnTo>
                    <a:pt x="608" y="348"/>
                  </a:lnTo>
                  <a:lnTo>
                    <a:pt x="608" y="350"/>
                  </a:lnTo>
                  <a:lnTo>
                    <a:pt x="610" y="350"/>
                  </a:lnTo>
                  <a:lnTo>
                    <a:pt x="610" y="350"/>
                  </a:lnTo>
                  <a:lnTo>
                    <a:pt x="610" y="350"/>
                  </a:lnTo>
                  <a:lnTo>
                    <a:pt x="610" y="352"/>
                  </a:lnTo>
                  <a:lnTo>
                    <a:pt x="610" y="352"/>
                  </a:lnTo>
                  <a:lnTo>
                    <a:pt x="610" y="352"/>
                  </a:lnTo>
                  <a:lnTo>
                    <a:pt x="610" y="354"/>
                  </a:lnTo>
                  <a:lnTo>
                    <a:pt x="610" y="354"/>
                  </a:lnTo>
                  <a:lnTo>
                    <a:pt x="612" y="354"/>
                  </a:lnTo>
                  <a:lnTo>
                    <a:pt x="612" y="356"/>
                  </a:lnTo>
                  <a:lnTo>
                    <a:pt x="612" y="361"/>
                  </a:lnTo>
                  <a:lnTo>
                    <a:pt x="602" y="358"/>
                  </a:lnTo>
                  <a:lnTo>
                    <a:pt x="600" y="358"/>
                  </a:lnTo>
                  <a:lnTo>
                    <a:pt x="600" y="356"/>
                  </a:lnTo>
                  <a:lnTo>
                    <a:pt x="600" y="354"/>
                  </a:lnTo>
                  <a:lnTo>
                    <a:pt x="598" y="352"/>
                  </a:lnTo>
                  <a:lnTo>
                    <a:pt x="594" y="350"/>
                  </a:lnTo>
                  <a:lnTo>
                    <a:pt x="594" y="348"/>
                  </a:lnTo>
                  <a:lnTo>
                    <a:pt x="594" y="348"/>
                  </a:lnTo>
                  <a:lnTo>
                    <a:pt x="594" y="346"/>
                  </a:lnTo>
                  <a:lnTo>
                    <a:pt x="594" y="346"/>
                  </a:lnTo>
                  <a:lnTo>
                    <a:pt x="594" y="344"/>
                  </a:lnTo>
                  <a:lnTo>
                    <a:pt x="594" y="344"/>
                  </a:lnTo>
                  <a:lnTo>
                    <a:pt x="594" y="344"/>
                  </a:lnTo>
                  <a:lnTo>
                    <a:pt x="592" y="342"/>
                  </a:lnTo>
                  <a:lnTo>
                    <a:pt x="592" y="342"/>
                  </a:lnTo>
                  <a:lnTo>
                    <a:pt x="588" y="344"/>
                  </a:lnTo>
                  <a:lnTo>
                    <a:pt x="588" y="344"/>
                  </a:lnTo>
                  <a:lnTo>
                    <a:pt x="586" y="342"/>
                  </a:lnTo>
                  <a:lnTo>
                    <a:pt x="586" y="342"/>
                  </a:lnTo>
                  <a:lnTo>
                    <a:pt x="586" y="342"/>
                  </a:lnTo>
                  <a:lnTo>
                    <a:pt x="583" y="340"/>
                  </a:lnTo>
                  <a:lnTo>
                    <a:pt x="583" y="340"/>
                  </a:lnTo>
                  <a:lnTo>
                    <a:pt x="583" y="338"/>
                  </a:lnTo>
                  <a:lnTo>
                    <a:pt x="581" y="338"/>
                  </a:lnTo>
                  <a:lnTo>
                    <a:pt x="573" y="336"/>
                  </a:lnTo>
                  <a:lnTo>
                    <a:pt x="571" y="336"/>
                  </a:lnTo>
                  <a:lnTo>
                    <a:pt x="571" y="336"/>
                  </a:lnTo>
                  <a:lnTo>
                    <a:pt x="571" y="336"/>
                  </a:lnTo>
                  <a:lnTo>
                    <a:pt x="569" y="334"/>
                  </a:lnTo>
                  <a:lnTo>
                    <a:pt x="567" y="334"/>
                  </a:lnTo>
                  <a:lnTo>
                    <a:pt x="565" y="334"/>
                  </a:lnTo>
                  <a:lnTo>
                    <a:pt x="565" y="334"/>
                  </a:lnTo>
                  <a:lnTo>
                    <a:pt x="561" y="334"/>
                  </a:lnTo>
                  <a:lnTo>
                    <a:pt x="559" y="332"/>
                  </a:lnTo>
                  <a:lnTo>
                    <a:pt x="557" y="332"/>
                  </a:lnTo>
                  <a:lnTo>
                    <a:pt x="555" y="330"/>
                  </a:lnTo>
                  <a:lnTo>
                    <a:pt x="553" y="328"/>
                  </a:lnTo>
                  <a:lnTo>
                    <a:pt x="551" y="326"/>
                  </a:lnTo>
                  <a:lnTo>
                    <a:pt x="549" y="324"/>
                  </a:lnTo>
                  <a:lnTo>
                    <a:pt x="547" y="324"/>
                  </a:lnTo>
                  <a:lnTo>
                    <a:pt x="545" y="322"/>
                  </a:lnTo>
                  <a:lnTo>
                    <a:pt x="528" y="326"/>
                  </a:lnTo>
                  <a:lnTo>
                    <a:pt x="526" y="326"/>
                  </a:lnTo>
                  <a:lnTo>
                    <a:pt x="520" y="324"/>
                  </a:lnTo>
                  <a:lnTo>
                    <a:pt x="518" y="326"/>
                  </a:lnTo>
                  <a:lnTo>
                    <a:pt x="516" y="328"/>
                  </a:lnTo>
                  <a:lnTo>
                    <a:pt x="514" y="328"/>
                  </a:lnTo>
                  <a:lnTo>
                    <a:pt x="512" y="326"/>
                  </a:lnTo>
                  <a:lnTo>
                    <a:pt x="512" y="326"/>
                  </a:lnTo>
                  <a:lnTo>
                    <a:pt x="510" y="326"/>
                  </a:lnTo>
                  <a:lnTo>
                    <a:pt x="506" y="326"/>
                  </a:lnTo>
                  <a:lnTo>
                    <a:pt x="502" y="326"/>
                  </a:lnTo>
                  <a:lnTo>
                    <a:pt x="500" y="326"/>
                  </a:lnTo>
                  <a:lnTo>
                    <a:pt x="497" y="326"/>
                  </a:lnTo>
                  <a:lnTo>
                    <a:pt x="497" y="328"/>
                  </a:lnTo>
                  <a:lnTo>
                    <a:pt x="497" y="328"/>
                  </a:lnTo>
                  <a:lnTo>
                    <a:pt x="495" y="330"/>
                  </a:lnTo>
                  <a:lnTo>
                    <a:pt x="495" y="332"/>
                  </a:lnTo>
                  <a:lnTo>
                    <a:pt x="495" y="332"/>
                  </a:lnTo>
                  <a:lnTo>
                    <a:pt x="495" y="332"/>
                  </a:lnTo>
                  <a:lnTo>
                    <a:pt x="493" y="334"/>
                  </a:lnTo>
                  <a:lnTo>
                    <a:pt x="491" y="334"/>
                  </a:lnTo>
                  <a:lnTo>
                    <a:pt x="489" y="334"/>
                  </a:lnTo>
                  <a:lnTo>
                    <a:pt x="487" y="334"/>
                  </a:lnTo>
                  <a:lnTo>
                    <a:pt x="481" y="332"/>
                  </a:lnTo>
                  <a:lnTo>
                    <a:pt x="481" y="332"/>
                  </a:lnTo>
                  <a:lnTo>
                    <a:pt x="481" y="332"/>
                  </a:lnTo>
                  <a:lnTo>
                    <a:pt x="479" y="330"/>
                  </a:lnTo>
                  <a:lnTo>
                    <a:pt x="469" y="326"/>
                  </a:lnTo>
                  <a:lnTo>
                    <a:pt x="465" y="324"/>
                  </a:lnTo>
                  <a:lnTo>
                    <a:pt x="461" y="322"/>
                  </a:lnTo>
                  <a:lnTo>
                    <a:pt x="461" y="320"/>
                  </a:lnTo>
                  <a:lnTo>
                    <a:pt x="461" y="320"/>
                  </a:lnTo>
                  <a:lnTo>
                    <a:pt x="459" y="320"/>
                  </a:lnTo>
                  <a:lnTo>
                    <a:pt x="450" y="315"/>
                  </a:lnTo>
                  <a:lnTo>
                    <a:pt x="450" y="315"/>
                  </a:lnTo>
                  <a:lnTo>
                    <a:pt x="448" y="313"/>
                  </a:lnTo>
                  <a:lnTo>
                    <a:pt x="448" y="313"/>
                  </a:lnTo>
                  <a:lnTo>
                    <a:pt x="448" y="313"/>
                  </a:lnTo>
                  <a:lnTo>
                    <a:pt x="440" y="313"/>
                  </a:lnTo>
                  <a:lnTo>
                    <a:pt x="428" y="313"/>
                  </a:lnTo>
                  <a:lnTo>
                    <a:pt x="414" y="313"/>
                  </a:lnTo>
                  <a:lnTo>
                    <a:pt x="399" y="313"/>
                  </a:lnTo>
                  <a:lnTo>
                    <a:pt x="387" y="313"/>
                  </a:lnTo>
                  <a:lnTo>
                    <a:pt x="373" y="313"/>
                  </a:lnTo>
                  <a:lnTo>
                    <a:pt x="358" y="313"/>
                  </a:lnTo>
                  <a:lnTo>
                    <a:pt x="344" y="313"/>
                  </a:lnTo>
                  <a:lnTo>
                    <a:pt x="332" y="313"/>
                  </a:lnTo>
                  <a:lnTo>
                    <a:pt x="317" y="313"/>
                  </a:lnTo>
                  <a:lnTo>
                    <a:pt x="303" y="313"/>
                  </a:lnTo>
                  <a:lnTo>
                    <a:pt x="289" y="313"/>
                  </a:lnTo>
                  <a:lnTo>
                    <a:pt x="276" y="313"/>
                  </a:lnTo>
                  <a:lnTo>
                    <a:pt x="262" y="313"/>
                  </a:lnTo>
                  <a:lnTo>
                    <a:pt x="248" y="313"/>
                  </a:lnTo>
                  <a:lnTo>
                    <a:pt x="233" y="313"/>
                  </a:lnTo>
                  <a:lnTo>
                    <a:pt x="221" y="313"/>
                  </a:lnTo>
                  <a:lnTo>
                    <a:pt x="207" y="313"/>
                  </a:lnTo>
                  <a:lnTo>
                    <a:pt x="192" y="311"/>
                  </a:lnTo>
                  <a:lnTo>
                    <a:pt x="180" y="311"/>
                  </a:lnTo>
                  <a:lnTo>
                    <a:pt x="166" y="311"/>
                  </a:lnTo>
                  <a:lnTo>
                    <a:pt x="151" y="311"/>
                  </a:lnTo>
                  <a:lnTo>
                    <a:pt x="137" y="311"/>
                  </a:lnTo>
                  <a:lnTo>
                    <a:pt x="125" y="311"/>
                  </a:lnTo>
                  <a:lnTo>
                    <a:pt x="110" y="311"/>
                  </a:lnTo>
                  <a:lnTo>
                    <a:pt x="96" y="309"/>
                  </a:lnTo>
                  <a:lnTo>
                    <a:pt x="82" y="309"/>
                  </a:lnTo>
                  <a:lnTo>
                    <a:pt x="69" y="309"/>
                  </a:lnTo>
                  <a:lnTo>
                    <a:pt x="55" y="309"/>
                  </a:lnTo>
                  <a:lnTo>
                    <a:pt x="41" y="309"/>
                  </a:lnTo>
                  <a:lnTo>
                    <a:pt x="26" y="309"/>
                  </a:lnTo>
                  <a:lnTo>
                    <a:pt x="14" y="307"/>
                  </a:lnTo>
                  <a:lnTo>
                    <a:pt x="0" y="307"/>
                  </a:lnTo>
                  <a:lnTo>
                    <a:pt x="0" y="295"/>
                  </a:lnTo>
                  <a:lnTo>
                    <a:pt x="0" y="281"/>
                  </a:lnTo>
                  <a:lnTo>
                    <a:pt x="2" y="268"/>
                  </a:lnTo>
                  <a:lnTo>
                    <a:pt x="2" y="254"/>
                  </a:lnTo>
                  <a:lnTo>
                    <a:pt x="2" y="242"/>
                  </a:lnTo>
                  <a:lnTo>
                    <a:pt x="2" y="227"/>
                  </a:lnTo>
                  <a:lnTo>
                    <a:pt x="4" y="215"/>
                  </a:lnTo>
                  <a:lnTo>
                    <a:pt x="4" y="203"/>
                  </a:lnTo>
                  <a:lnTo>
                    <a:pt x="4" y="188"/>
                  </a:lnTo>
                  <a:lnTo>
                    <a:pt x="4" y="176"/>
                  </a:lnTo>
                  <a:lnTo>
                    <a:pt x="4" y="162"/>
                  </a:lnTo>
                  <a:lnTo>
                    <a:pt x="6" y="149"/>
                  </a:lnTo>
                  <a:lnTo>
                    <a:pt x="6" y="137"/>
                  </a:lnTo>
                  <a:lnTo>
                    <a:pt x="6" y="123"/>
                  </a:lnTo>
                  <a:lnTo>
                    <a:pt x="6" y="111"/>
                  </a:lnTo>
                  <a:lnTo>
                    <a:pt x="6" y="96"/>
                  </a:lnTo>
                  <a:lnTo>
                    <a:pt x="10" y="98"/>
                  </a:lnTo>
                  <a:lnTo>
                    <a:pt x="10" y="96"/>
                  </a:lnTo>
                  <a:lnTo>
                    <a:pt x="10" y="90"/>
                  </a:lnTo>
                  <a:lnTo>
                    <a:pt x="10" y="78"/>
                  </a:lnTo>
                  <a:lnTo>
                    <a:pt x="10" y="67"/>
                  </a:lnTo>
                  <a:lnTo>
                    <a:pt x="10" y="55"/>
                  </a:lnTo>
                  <a:lnTo>
                    <a:pt x="12" y="45"/>
                  </a:lnTo>
                  <a:lnTo>
                    <a:pt x="12" y="33"/>
                  </a:lnTo>
                  <a:lnTo>
                    <a:pt x="12" y="22"/>
                  </a:lnTo>
                  <a:lnTo>
                    <a:pt x="12" y="10"/>
                  </a:lnTo>
                  <a:lnTo>
                    <a:pt x="12" y="0"/>
                  </a:lnTo>
                  <a:lnTo>
                    <a:pt x="31" y="0"/>
                  </a:lnTo>
                  <a:lnTo>
                    <a:pt x="49" y="0"/>
                  </a:lnTo>
                  <a:lnTo>
                    <a:pt x="67" y="0"/>
                  </a:lnTo>
                  <a:lnTo>
                    <a:pt x="86" y="2"/>
                  </a:lnTo>
                  <a:lnTo>
                    <a:pt x="104" y="2"/>
                  </a:lnTo>
                  <a:lnTo>
                    <a:pt x="123" y="2"/>
                  </a:lnTo>
                  <a:lnTo>
                    <a:pt x="139" y="2"/>
                  </a:lnTo>
                  <a:lnTo>
                    <a:pt x="157" y="4"/>
                  </a:lnTo>
                  <a:lnTo>
                    <a:pt x="176" y="4"/>
                  </a:lnTo>
                  <a:lnTo>
                    <a:pt x="194" y="4"/>
                  </a:lnTo>
                  <a:lnTo>
                    <a:pt x="213" y="4"/>
                  </a:lnTo>
                  <a:lnTo>
                    <a:pt x="231" y="4"/>
                  </a:lnTo>
                  <a:lnTo>
                    <a:pt x="250" y="4"/>
                  </a:lnTo>
                  <a:lnTo>
                    <a:pt x="268" y="4"/>
                  </a:lnTo>
                  <a:lnTo>
                    <a:pt x="284" y="4"/>
                  </a:lnTo>
                  <a:lnTo>
                    <a:pt x="303" y="4"/>
                  </a:lnTo>
                  <a:lnTo>
                    <a:pt x="321" y="4"/>
                  </a:lnTo>
                  <a:lnTo>
                    <a:pt x="340" y="4"/>
                  </a:lnTo>
                  <a:lnTo>
                    <a:pt x="358" y="4"/>
                  </a:lnTo>
                  <a:lnTo>
                    <a:pt x="377" y="4"/>
                  </a:lnTo>
                  <a:lnTo>
                    <a:pt x="395" y="4"/>
                  </a:lnTo>
                  <a:lnTo>
                    <a:pt x="414" y="4"/>
                  </a:lnTo>
                  <a:lnTo>
                    <a:pt x="432" y="4"/>
                  </a:lnTo>
                  <a:lnTo>
                    <a:pt x="448" y="4"/>
                  </a:lnTo>
                  <a:lnTo>
                    <a:pt x="467" y="4"/>
                  </a:lnTo>
                  <a:lnTo>
                    <a:pt x="485" y="4"/>
                  </a:lnTo>
                  <a:lnTo>
                    <a:pt x="504" y="2"/>
                  </a:lnTo>
                  <a:lnTo>
                    <a:pt x="522" y="2"/>
                  </a:lnTo>
                  <a:lnTo>
                    <a:pt x="540" y="2"/>
                  </a:lnTo>
                  <a:lnTo>
                    <a:pt x="559" y="2"/>
                  </a:lnTo>
                  <a:lnTo>
                    <a:pt x="577" y="2"/>
                  </a:lnTo>
                  <a:lnTo>
                    <a:pt x="596" y="0"/>
                  </a:lnTo>
                  <a:lnTo>
                    <a:pt x="596" y="0"/>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SD</a:t>
              </a:r>
            </a:p>
          </p:txBody>
        </p:sp>
        <p:sp>
          <p:nvSpPr>
            <p:cNvPr id="253" name="Freeform 15">
              <a:extLst>
                <a:ext uri="{FF2B5EF4-FFF2-40B4-BE49-F238E27FC236}">
                  <a16:creationId xmlns:a16="http://schemas.microsoft.com/office/drawing/2014/main" id="{03E83005-4D92-8656-858E-465C04811E1F}"/>
                </a:ext>
              </a:extLst>
            </p:cNvPr>
            <p:cNvSpPr>
              <a:spLocks noEditPoints="1"/>
            </p:cNvSpPr>
            <p:nvPr/>
          </p:nvSpPr>
          <p:spPr bwMode="auto">
            <a:xfrm>
              <a:off x="4206" y="1500"/>
              <a:ext cx="438" cy="328"/>
            </a:xfrm>
            <a:custGeom>
              <a:avLst/>
              <a:gdLst>
                <a:gd name="T0" fmla="*/ 387 w 438"/>
                <a:gd name="T1" fmla="*/ 193 h 328"/>
                <a:gd name="T2" fmla="*/ 410 w 438"/>
                <a:gd name="T3" fmla="*/ 74 h 328"/>
                <a:gd name="T4" fmla="*/ 324 w 438"/>
                <a:gd name="T5" fmla="*/ 15 h 328"/>
                <a:gd name="T6" fmla="*/ 272 w 438"/>
                <a:gd name="T7" fmla="*/ 23 h 328"/>
                <a:gd name="T8" fmla="*/ 223 w 438"/>
                <a:gd name="T9" fmla="*/ 29 h 328"/>
                <a:gd name="T10" fmla="*/ 205 w 438"/>
                <a:gd name="T11" fmla="*/ 2 h 328"/>
                <a:gd name="T12" fmla="*/ 197 w 438"/>
                <a:gd name="T13" fmla="*/ 6 h 328"/>
                <a:gd name="T14" fmla="*/ 195 w 438"/>
                <a:gd name="T15" fmla="*/ 0 h 328"/>
                <a:gd name="T16" fmla="*/ 125 w 438"/>
                <a:gd name="T17" fmla="*/ 6 h 328"/>
                <a:gd name="T18" fmla="*/ 78 w 438"/>
                <a:gd name="T19" fmla="*/ 12 h 328"/>
                <a:gd name="T20" fmla="*/ 74 w 438"/>
                <a:gd name="T21" fmla="*/ 17 h 328"/>
                <a:gd name="T22" fmla="*/ 57 w 438"/>
                <a:gd name="T23" fmla="*/ 25 h 328"/>
                <a:gd name="T24" fmla="*/ 49 w 438"/>
                <a:gd name="T25" fmla="*/ 31 h 328"/>
                <a:gd name="T26" fmla="*/ 16 w 438"/>
                <a:gd name="T27" fmla="*/ 47 h 328"/>
                <a:gd name="T28" fmla="*/ 4 w 438"/>
                <a:gd name="T29" fmla="*/ 66 h 328"/>
                <a:gd name="T30" fmla="*/ 12 w 438"/>
                <a:gd name="T31" fmla="*/ 86 h 328"/>
                <a:gd name="T32" fmla="*/ 35 w 438"/>
                <a:gd name="T33" fmla="*/ 99 h 328"/>
                <a:gd name="T34" fmla="*/ 66 w 438"/>
                <a:gd name="T35" fmla="*/ 127 h 328"/>
                <a:gd name="T36" fmla="*/ 80 w 438"/>
                <a:gd name="T37" fmla="*/ 142 h 328"/>
                <a:gd name="T38" fmla="*/ 102 w 438"/>
                <a:gd name="T39" fmla="*/ 158 h 328"/>
                <a:gd name="T40" fmla="*/ 133 w 438"/>
                <a:gd name="T41" fmla="*/ 181 h 328"/>
                <a:gd name="T42" fmla="*/ 147 w 438"/>
                <a:gd name="T43" fmla="*/ 199 h 328"/>
                <a:gd name="T44" fmla="*/ 158 w 438"/>
                <a:gd name="T45" fmla="*/ 207 h 328"/>
                <a:gd name="T46" fmla="*/ 168 w 438"/>
                <a:gd name="T47" fmla="*/ 221 h 328"/>
                <a:gd name="T48" fmla="*/ 195 w 438"/>
                <a:gd name="T49" fmla="*/ 236 h 328"/>
                <a:gd name="T50" fmla="*/ 207 w 438"/>
                <a:gd name="T51" fmla="*/ 262 h 328"/>
                <a:gd name="T52" fmla="*/ 209 w 438"/>
                <a:gd name="T53" fmla="*/ 273 h 328"/>
                <a:gd name="T54" fmla="*/ 223 w 438"/>
                <a:gd name="T55" fmla="*/ 281 h 328"/>
                <a:gd name="T56" fmla="*/ 238 w 438"/>
                <a:gd name="T57" fmla="*/ 299 h 328"/>
                <a:gd name="T58" fmla="*/ 240 w 438"/>
                <a:gd name="T59" fmla="*/ 316 h 328"/>
                <a:gd name="T60" fmla="*/ 248 w 438"/>
                <a:gd name="T61" fmla="*/ 326 h 328"/>
                <a:gd name="T62" fmla="*/ 266 w 438"/>
                <a:gd name="T63" fmla="*/ 326 h 328"/>
                <a:gd name="T64" fmla="*/ 272 w 438"/>
                <a:gd name="T65" fmla="*/ 303 h 328"/>
                <a:gd name="T66" fmla="*/ 277 w 438"/>
                <a:gd name="T67" fmla="*/ 301 h 328"/>
                <a:gd name="T68" fmla="*/ 264 w 438"/>
                <a:gd name="T69" fmla="*/ 279 h 328"/>
                <a:gd name="T70" fmla="*/ 268 w 438"/>
                <a:gd name="T71" fmla="*/ 279 h 328"/>
                <a:gd name="T72" fmla="*/ 281 w 438"/>
                <a:gd name="T73" fmla="*/ 291 h 328"/>
                <a:gd name="T74" fmla="*/ 281 w 438"/>
                <a:gd name="T75" fmla="*/ 281 h 328"/>
                <a:gd name="T76" fmla="*/ 293 w 438"/>
                <a:gd name="T77" fmla="*/ 297 h 328"/>
                <a:gd name="T78" fmla="*/ 301 w 438"/>
                <a:gd name="T79" fmla="*/ 283 h 328"/>
                <a:gd name="T80" fmla="*/ 293 w 438"/>
                <a:gd name="T81" fmla="*/ 287 h 328"/>
                <a:gd name="T82" fmla="*/ 295 w 438"/>
                <a:gd name="T83" fmla="*/ 275 h 328"/>
                <a:gd name="T84" fmla="*/ 277 w 438"/>
                <a:gd name="T85" fmla="*/ 273 h 328"/>
                <a:gd name="T86" fmla="*/ 291 w 438"/>
                <a:gd name="T87" fmla="*/ 269 h 328"/>
                <a:gd name="T88" fmla="*/ 305 w 438"/>
                <a:gd name="T89" fmla="*/ 269 h 328"/>
                <a:gd name="T90" fmla="*/ 317 w 438"/>
                <a:gd name="T91" fmla="*/ 262 h 328"/>
                <a:gd name="T92" fmla="*/ 322 w 438"/>
                <a:gd name="T93" fmla="*/ 260 h 328"/>
                <a:gd name="T94" fmla="*/ 334 w 438"/>
                <a:gd name="T95" fmla="*/ 248 h 328"/>
                <a:gd name="T96" fmla="*/ 342 w 438"/>
                <a:gd name="T97" fmla="*/ 238 h 328"/>
                <a:gd name="T98" fmla="*/ 338 w 438"/>
                <a:gd name="T99" fmla="*/ 230 h 328"/>
                <a:gd name="T100" fmla="*/ 340 w 438"/>
                <a:gd name="T101" fmla="*/ 232 h 328"/>
                <a:gd name="T102" fmla="*/ 358 w 438"/>
                <a:gd name="T103" fmla="*/ 221 h 328"/>
                <a:gd name="T104" fmla="*/ 367 w 438"/>
                <a:gd name="T105" fmla="*/ 211 h 328"/>
                <a:gd name="T106" fmla="*/ 371 w 438"/>
                <a:gd name="T107" fmla="*/ 201 h 328"/>
                <a:gd name="T108" fmla="*/ 383 w 438"/>
                <a:gd name="T109" fmla="*/ 195 h 328"/>
                <a:gd name="T110" fmla="*/ 391 w 438"/>
                <a:gd name="T111" fmla="*/ 187 h 328"/>
                <a:gd name="T112" fmla="*/ 393 w 438"/>
                <a:gd name="T113" fmla="*/ 183 h 328"/>
                <a:gd name="T114" fmla="*/ 391 w 438"/>
                <a:gd name="T115" fmla="*/ 172 h 328"/>
                <a:gd name="T116" fmla="*/ 391 w 438"/>
                <a:gd name="T117" fmla="*/ 154 h 328"/>
                <a:gd name="T118" fmla="*/ 397 w 438"/>
                <a:gd name="T119" fmla="*/ 174 h 328"/>
                <a:gd name="T120" fmla="*/ 434 w 438"/>
                <a:gd name="T121" fmla="*/ 99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 h="328">
                  <a:moveTo>
                    <a:pt x="385" y="193"/>
                  </a:moveTo>
                  <a:lnTo>
                    <a:pt x="385" y="195"/>
                  </a:lnTo>
                  <a:lnTo>
                    <a:pt x="385" y="197"/>
                  </a:lnTo>
                  <a:lnTo>
                    <a:pt x="383" y="199"/>
                  </a:lnTo>
                  <a:lnTo>
                    <a:pt x="385" y="201"/>
                  </a:lnTo>
                  <a:lnTo>
                    <a:pt x="385" y="201"/>
                  </a:lnTo>
                  <a:lnTo>
                    <a:pt x="385" y="195"/>
                  </a:lnTo>
                  <a:lnTo>
                    <a:pt x="385" y="195"/>
                  </a:lnTo>
                  <a:lnTo>
                    <a:pt x="387" y="195"/>
                  </a:lnTo>
                  <a:lnTo>
                    <a:pt x="387" y="193"/>
                  </a:lnTo>
                  <a:lnTo>
                    <a:pt x="387" y="193"/>
                  </a:lnTo>
                  <a:lnTo>
                    <a:pt x="385" y="193"/>
                  </a:lnTo>
                  <a:close/>
                  <a:moveTo>
                    <a:pt x="436" y="96"/>
                  </a:moveTo>
                  <a:lnTo>
                    <a:pt x="436" y="96"/>
                  </a:lnTo>
                  <a:lnTo>
                    <a:pt x="436" y="96"/>
                  </a:lnTo>
                  <a:lnTo>
                    <a:pt x="434" y="96"/>
                  </a:lnTo>
                  <a:lnTo>
                    <a:pt x="434" y="94"/>
                  </a:lnTo>
                  <a:lnTo>
                    <a:pt x="436" y="94"/>
                  </a:lnTo>
                  <a:lnTo>
                    <a:pt x="430" y="88"/>
                  </a:lnTo>
                  <a:lnTo>
                    <a:pt x="424" y="84"/>
                  </a:lnTo>
                  <a:lnTo>
                    <a:pt x="416" y="80"/>
                  </a:lnTo>
                  <a:lnTo>
                    <a:pt x="410" y="74"/>
                  </a:lnTo>
                  <a:lnTo>
                    <a:pt x="401" y="70"/>
                  </a:lnTo>
                  <a:lnTo>
                    <a:pt x="395" y="66"/>
                  </a:lnTo>
                  <a:lnTo>
                    <a:pt x="389" y="60"/>
                  </a:lnTo>
                  <a:lnTo>
                    <a:pt x="381" y="55"/>
                  </a:lnTo>
                  <a:lnTo>
                    <a:pt x="375" y="51"/>
                  </a:lnTo>
                  <a:lnTo>
                    <a:pt x="360" y="41"/>
                  </a:lnTo>
                  <a:lnTo>
                    <a:pt x="348" y="31"/>
                  </a:lnTo>
                  <a:lnTo>
                    <a:pt x="340" y="27"/>
                  </a:lnTo>
                  <a:lnTo>
                    <a:pt x="334" y="23"/>
                  </a:lnTo>
                  <a:lnTo>
                    <a:pt x="328" y="17"/>
                  </a:lnTo>
                  <a:lnTo>
                    <a:pt x="324" y="15"/>
                  </a:lnTo>
                  <a:lnTo>
                    <a:pt x="322" y="15"/>
                  </a:lnTo>
                  <a:lnTo>
                    <a:pt x="320" y="15"/>
                  </a:lnTo>
                  <a:lnTo>
                    <a:pt x="315" y="15"/>
                  </a:lnTo>
                  <a:lnTo>
                    <a:pt x="315" y="17"/>
                  </a:lnTo>
                  <a:lnTo>
                    <a:pt x="311" y="17"/>
                  </a:lnTo>
                  <a:lnTo>
                    <a:pt x="307" y="17"/>
                  </a:lnTo>
                  <a:lnTo>
                    <a:pt x="303" y="19"/>
                  </a:lnTo>
                  <a:lnTo>
                    <a:pt x="295" y="19"/>
                  </a:lnTo>
                  <a:lnTo>
                    <a:pt x="289" y="21"/>
                  </a:lnTo>
                  <a:lnTo>
                    <a:pt x="281" y="21"/>
                  </a:lnTo>
                  <a:lnTo>
                    <a:pt x="272" y="23"/>
                  </a:lnTo>
                  <a:lnTo>
                    <a:pt x="264" y="23"/>
                  </a:lnTo>
                  <a:lnTo>
                    <a:pt x="256" y="25"/>
                  </a:lnTo>
                  <a:lnTo>
                    <a:pt x="248" y="27"/>
                  </a:lnTo>
                  <a:lnTo>
                    <a:pt x="242" y="27"/>
                  </a:lnTo>
                  <a:lnTo>
                    <a:pt x="236" y="29"/>
                  </a:lnTo>
                  <a:lnTo>
                    <a:pt x="231" y="29"/>
                  </a:lnTo>
                  <a:lnTo>
                    <a:pt x="229" y="29"/>
                  </a:lnTo>
                  <a:lnTo>
                    <a:pt x="229" y="29"/>
                  </a:lnTo>
                  <a:lnTo>
                    <a:pt x="225" y="29"/>
                  </a:lnTo>
                  <a:lnTo>
                    <a:pt x="223" y="29"/>
                  </a:lnTo>
                  <a:lnTo>
                    <a:pt x="223" y="29"/>
                  </a:lnTo>
                  <a:lnTo>
                    <a:pt x="223" y="29"/>
                  </a:lnTo>
                  <a:lnTo>
                    <a:pt x="223" y="29"/>
                  </a:lnTo>
                  <a:lnTo>
                    <a:pt x="221" y="17"/>
                  </a:lnTo>
                  <a:lnTo>
                    <a:pt x="221" y="17"/>
                  </a:lnTo>
                  <a:lnTo>
                    <a:pt x="221" y="17"/>
                  </a:lnTo>
                  <a:lnTo>
                    <a:pt x="217" y="10"/>
                  </a:lnTo>
                  <a:lnTo>
                    <a:pt x="211" y="6"/>
                  </a:lnTo>
                  <a:lnTo>
                    <a:pt x="207" y="2"/>
                  </a:lnTo>
                  <a:lnTo>
                    <a:pt x="207" y="2"/>
                  </a:lnTo>
                  <a:lnTo>
                    <a:pt x="207" y="2"/>
                  </a:lnTo>
                  <a:lnTo>
                    <a:pt x="205" y="2"/>
                  </a:lnTo>
                  <a:lnTo>
                    <a:pt x="205" y="2"/>
                  </a:lnTo>
                  <a:lnTo>
                    <a:pt x="199" y="8"/>
                  </a:lnTo>
                  <a:lnTo>
                    <a:pt x="199" y="8"/>
                  </a:lnTo>
                  <a:lnTo>
                    <a:pt x="199" y="8"/>
                  </a:lnTo>
                  <a:lnTo>
                    <a:pt x="197" y="8"/>
                  </a:lnTo>
                  <a:lnTo>
                    <a:pt x="197" y="8"/>
                  </a:lnTo>
                  <a:lnTo>
                    <a:pt x="197" y="8"/>
                  </a:lnTo>
                  <a:lnTo>
                    <a:pt x="197" y="6"/>
                  </a:lnTo>
                  <a:lnTo>
                    <a:pt x="197" y="6"/>
                  </a:lnTo>
                  <a:lnTo>
                    <a:pt x="197" y="6"/>
                  </a:lnTo>
                  <a:lnTo>
                    <a:pt x="197" y="6"/>
                  </a:lnTo>
                  <a:lnTo>
                    <a:pt x="197" y="6"/>
                  </a:lnTo>
                  <a:lnTo>
                    <a:pt x="197" y="2"/>
                  </a:lnTo>
                  <a:lnTo>
                    <a:pt x="197" y="2"/>
                  </a:lnTo>
                  <a:lnTo>
                    <a:pt x="197" y="2"/>
                  </a:lnTo>
                  <a:lnTo>
                    <a:pt x="197" y="2"/>
                  </a:lnTo>
                  <a:lnTo>
                    <a:pt x="197" y="0"/>
                  </a:lnTo>
                  <a:lnTo>
                    <a:pt x="197" y="0"/>
                  </a:lnTo>
                  <a:lnTo>
                    <a:pt x="197" y="0"/>
                  </a:lnTo>
                  <a:lnTo>
                    <a:pt x="195" y="0"/>
                  </a:lnTo>
                  <a:lnTo>
                    <a:pt x="195" y="0"/>
                  </a:lnTo>
                  <a:lnTo>
                    <a:pt x="195" y="0"/>
                  </a:lnTo>
                  <a:lnTo>
                    <a:pt x="193" y="0"/>
                  </a:lnTo>
                  <a:lnTo>
                    <a:pt x="188" y="0"/>
                  </a:lnTo>
                  <a:lnTo>
                    <a:pt x="182" y="0"/>
                  </a:lnTo>
                  <a:lnTo>
                    <a:pt x="178" y="2"/>
                  </a:lnTo>
                  <a:lnTo>
                    <a:pt x="170" y="2"/>
                  </a:lnTo>
                  <a:lnTo>
                    <a:pt x="164" y="2"/>
                  </a:lnTo>
                  <a:lnTo>
                    <a:pt x="156" y="4"/>
                  </a:lnTo>
                  <a:lnTo>
                    <a:pt x="147" y="4"/>
                  </a:lnTo>
                  <a:lnTo>
                    <a:pt x="139" y="6"/>
                  </a:lnTo>
                  <a:lnTo>
                    <a:pt x="133" y="6"/>
                  </a:lnTo>
                  <a:lnTo>
                    <a:pt x="125" y="6"/>
                  </a:lnTo>
                  <a:lnTo>
                    <a:pt x="117" y="8"/>
                  </a:lnTo>
                  <a:lnTo>
                    <a:pt x="111" y="8"/>
                  </a:lnTo>
                  <a:lnTo>
                    <a:pt x="104" y="10"/>
                  </a:lnTo>
                  <a:lnTo>
                    <a:pt x="100" y="10"/>
                  </a:lnTo>
                  <a:lnTo>
                    <a:pt x="96" y="10"/>
                  </a:lnTo>
                  <a:lnTo>
                    <a:pt x="92" y="10"/>
                  </a:lnTo>
                  <a:lnTo>
                    <a:pt x="92" y="10"/>
                  </a:lnTo>
                  <a:lnTo>
                    <a:pt x="86" y="12"/>
                  </a:lnTo>
                  <a:lnTo>
                    <a:pt x="80" y="12"/>
                  </a:lnTo>
                  <a:lnTo>
                    <a:pt x="80" y="12"/>
                  </a:lnTo>
                  <a:lnTo>
                    <a:pt x="78" y="12"/>
                  </a:lnTo>
                  <a:lnTo>
                    <a:pt x="78" y="12"/>
                  </a:lnTo>
                  <a:lnTo>
                    <a:pt x="78" y="12"/>
                  </a:lnTo>
                  <a:lnTo>
                    <a:pt x="78" y="12"/>
                  </a:lnTo>
                  <a:lnTo>
                    <a:pt x="78" y="12"/>
                  </a:lnTo>
                  <a:lnTo>
                    <a:pt x="78" y="12"/>
                  </a:lnTo>
                  <a:lnTo>
                    <a:pt x="76" y="12"/>
                  </a:lnTo>
                  <a:lnTo>
                    <a:pt x="76" y="12"/>
                  </a:lnTo>
                  <a:lnTo>
                    <a:pt x="74" y="15"/>
                  </a:lnTo>
                  <a:lnTo>
                    <a:pt x="74" y="15"/>
                  </a:lnTo>
                  <a:lnTo>
                    <a:pt x="74" y="17"/>
                  </a:lnTo>
                  <a:lnTo>
                    <a:pt x="74" y="17"/>
                  </a:lnTo>
                  <a:lnTo>
                    <a:pt x="74" y="17"/>
                  </a:lnTo>
                  <a:lnTo>
                    <a:pt x="70" y="17"/>
                  </a:lnTo>
                  <a:lnTo>
                    <a:pt x="70" y="19"/>
                  </a:lnTo>
                  <a:lnTo>
                    <a:pt x="70" y="19"/>
                  </a:lnTo>
                  <a:lnTo>
                    <a:pt x="68" y="19"/>
                  </a:lnTo>
                  <a:lnTo>
                    <a:pt x="68" y="19"/>
                  </a:lnTo>
                  <a:lnTo>
                    <a:pt x="68" y="19"/>
                  </a:lnTo>
                  <a:lnTo>
                    <a:pt x="64" y="21"/>
                  </a:lnTo>
                  <a:lnTo>
                    <a:pt x="64" y="21"/>
                  </a:lnTo>
                  <a:lnTo>
                    <a:pt x="59" y="23"/>
                  </a:lnTo>
                  <a:lnTo>
                    <a:pt x="57" y="25"/>
                  </a:lnTo>
                  <a:lnTo>
                    <a:pt x="55" y="25"/>
                  </a:lnTo>
                  <a:lnTo>
                    <a:pt x="55" y="25"/>
                  </a:lnTo>
                  <a:lnTo>
                    <a:pt x="53" y="25"/>
                  </a:lnTo>
                  <a:lnTo>
                    <a:pt x="53" y="25"/>
                  </a:lnTo>
                  <a:lnTo>
                    <a:pt x="53" y="27"/>
                  </a:lnTo>
                  <a:lnTo>
                    <a:pt x="53" y="27"/>
                  </a:lnTo>
                  <a:lnTo>
                    <a:pt x="53" y="27"/>
                  </a:lnTo>
                  <a:lnTo>
                    <a:pt x="51" y="29"/>
                  </a:lnTo>
                  <a:lnTo>
                    <a:pt x="51" y="29"/>
                  </a:lnTo>
                  <a:lnTo>
                    <a:pt x="49" y="31"/>
                  </a:lnTo>
                  <a:lnTo>
                    <a:pt x="49" y="31"/>
                  </a:lnTo>
                  <a:lnTo>
                    <a:pt x="47" y="33"/>
                  </a:lnTo>
                  <a:lnTo>
                    <a:pt x="47" y="33"/>
                  </a:lnTo>
                  <a:lnTo>
                    <a:pt x="47" y="33"/>
                  </a:lnTo>
                  <a:lnTo>
                    <a:pt x="47" y="31"/>
                  </a:lnTo>
                  <a:lnTo>
                    <a:pt x="45" y="31"/>
                  </a:lnTo>
                  <a:lnTo>
                    <a:pt x="43" y="33"/>
                  </a:lnTo>
                  <a:lnTo>
                    <a:pt x="18" y="45"/>
                  </a:lnTo>
                  <a:lnTo>
                    <a:pt x="16" y="45"/>
                  </a:lnTo>
                  <a:lnTo>
                    <a:pt x="16" y="45"/>
                  </a:lnTo>
                  <a:lnTo>
                    <a:pt x="16" y="47"/>
                  </a:lnTo>
                  <a:lnTo>
                    <a:pt x="16" y="47"/>
                  </a:lnTo>
                  <a:lnTo>
                    <a:pt x="16" y="49"/>
                  </a:lnTo>
                  <a:lnTo>
                    <a:pt x="16" y="49"/>
                  </a:lnTo>
                  <a:lnTo>
                    <a:pt x="12" y="51"/>
                  </a:lnTo>
                  <a:lnTo>
                    <a:pt x="12" y="51"/>
                  </a:lnTo>
                  <a:lnTo>
                    <a:pt x="8" y="55"/>
                  </a:lnTo>
                  <a:lnTo>
                    <a:pt x="8" y="55"/>
                  </a:lnTo>
                  <a:lnTo>
                    <a:pt x="8" y="58"/>
                  </a:lnTo>
                  <a:lnTo>
                    <a:pt x="6" y="62"/>
                  </a:lnTo>
                  <a:lnTo>
                    <a:pt x="6" y="64"/>
                  </a:lnTo>
                  <a:lnTo>
                    <a:pt x="6" y="64"/>
                  </a:lnTo>
                  <a:lnTo>
                    <a:pt x="4" y="66"/>
                  </a:lnTo>
                  <a:lnTo>
                    <a:pt x="4" y="66"/>
                  </a:lnTo>
                  <a:lnTo>
                    <a:pt x="2" y="68"/>
                  </a:lnTo>
                  <a:lnTo>
                    <a:pt x="2" y="70"/>
                  </a:lnTo>
                  <a:lnTo>
                    <a:pt x="2" y="70"/>
                  </a:lnTo>
                  <a:lnTo>
                    <a:pt x="2" y="70"/>
                  </a:lnTo>
                  <a:lnTo>
                    <a:pt x="2" y="72"/>
                  </a:lnTo>
                  <a:lnTo>
                    <a:pt x="2" y="72"/>
                  </a:lnTo>
                  <a:lnTo>
                    <a:pt x="0" y="74"/>
                  </a:lnTo>
                  <a:lnTo>
                    <a:pt x="0" y="80"/>
                  </a:lnTo>
                  <a:lnTo>
                    <a:pt x="4" y="82"/>
                  </a:lnTo>
                  <a:lnTo>
                    <a:pt x="12" y="86"/>
                  </a:lnTo>
                  <a:lnTo>
                    <a:pt x="16" y="88"/>
                  </a:lnTo>
                  <a:lnTo>
                    <a:pt x="18" y="86"/>
                  </a:lnTo>
                  <a:lnTo>
                    <a:pt x="18" y="86"/>
                  </a:lnTo>
                  <a:lnTo>
                    <a:pt x="18" y="88"/>
                  </a:lnTo>
                  <a:lnTo>
                    <a:pt x="21" y="90"/>
                  </a:lnTo>
                  <a:lnTo>
                    <a:pt x="23" y="90"/>
                  </a:lnTo>
                  <a:lnTo>
                    <a:pt x="27" y="92"/>
                  </a:lnTo>
                  <a:lnTo>
                    <a:pt x="29" y="94"/>
                  </a:lnTo>
                  <a:lnTo>
                    <a:pt x="29" y="96"/>
                  </a:lnTo>
                  <a:lnTo>
                    <a:pt x="31" y="99"/>
                  </a:lnTo>
                  <a:lnTo>
                    <a:pt x="35" y="99"/>
                  </a:lnTo>
                  <a:lnTo>
                    <a:pt x="39" y="99"/>
                  </a:lnTo>
                  <a:lnTo>
                    <a:pt x="45" y="96"/>
                  </a:lnTo>
                  <a:lnTo>
                    <a:pt x="49" y="99"/>
                  </a:lnTo>
                  <a:lnTo>
                    <a:pt x="49" y="101"/>
                  </a:lnTo>
                  <a:lnTo>
                    <a:pt x="51" y="105"/>
                  </a:lnTo>
                  <a:lnTo>
                    <a:pt x="53" y="107"/>
                  </a:lnTo>
                  <a:lnTo>
                    <a:pt x="53" y="109"/>
                  </a:lnTo>
                  <a:lnTo>
                    <a:pt x="59" y="115"/>
                  </a:lnTo>
                  <a:lnTo>
                    <a:pt x="61" y="117"/>
                  </a:lnTo>
                  <a:lnTo>
                    <a:pt x="64" y="127"/>
                  </a:lnTo>
                  <a:lnTo>
                    <a:pt x="66" y="127"/>
                  </a:lnTo>
                  <a:lnTo>
                    <a:pt x="66" y="129"/>
                  </a:lnTo>
                  <a:lnTo>
                    <a:pt x="68" y="129"/>
                  </a:lnTo>
                  <a:lnTo>
                    <a:pt x="70" y="131"/>
                  </a:lnTo>
                  <a:lnTo>
                    <a:pt x="72" y="131"/>
                  </a:lnTo>
                  <a:lnTo>
                    <a:pt x="72" y="133"/>
                  </a:lnTo>
                  <a:lnTo>
                    <a:pt x="74" y="133"/>
                  </a:lnTo>
                  <a:lnTo>
                    <a:pt x="74" y="135"/>
                  </a:lnTo>
                  <a:lnTo>
                    <a:pt x="76" y="137"/>
                  </a:lnTo>
                  <a:lnTo>
                    <a:pt x="78" y="140"/>
                  </a:lnTo>
                  <a:lnTo>
                    <a:pt x="78" y="140"/>
                  </a:lnTo>
                  <a:lnTo>
                    <a:pt x="80" y="142"/>
                  </a:lnTo>
                  <a:lnTo>
                    <a:pt x="82" y="146"/>
                  </a:lnTo>
                  <a:lnTo>
                    <a:pt x="82" y="148"/>
                  </a:lnTo>
                  <a:lnTo>
                    <a:pt x="84" y="148"/>
                  </a:lnTo>
                  <a:lnTo>
                    <a:pt x="86" y="148"/>
                  </a:lnTo>
                  <a:lnTo>
                    <a:pt x="86" y="148"/>
                  </a:lnTo>
                  <a:lnTo>
                    <a:pt x="88" y="150"/>
                  </a:lnTo>
                  <a:lnTo>
                    <a:pt x="90" y="152"/>
                  </a:lnTo>
                  <a:lnTo>
                    <a:pt x="92" y="154"/>
                  </a:lnTo>
                  <a:lnTo>
                    <a:pt x="96" y="156"/>
                  </a:lnTo>
                  <a:lnTo>
                    <a:pt x="98" y="156"/>
                  </a:lnTo>
                  <a:lnTo>
                    <a:pt x="102" y="158"/>
                  </a:lnTo>
                  <a:lnTo>
                    <a:pt x="107" y="160"/>
                  </a:lnTo>
                  <a:lnTo>
                    <a:pt x="113" y="164"/>
                  </a:lnTo>
                  <a:lnTo>
                    <a:pt x="115" y="166"/>
                  </a:lnTo>
                  <a:lnTo>
                    <a:pt x="117" y="170"/>
                  </a:lnTo>
                  <a:lnTo>
                    <a:pt x="119" y="172"/>
                  </a:lnTo>
                  <a:lnTo>
                    <a:pt x="119" y="174"/>
                  </a:lnTo>
                  <a:lnTo>
                    <a:pt x="121" y="178"/>
                  </a:lnTo>
                  <a:lnTo>
                    <a:pt x="123" y="178"/>
                  </a:lnTo>
                  <a:lnTo>
                    <a:pt x="125" y="181"/>
                  </a:lnTo>
                  <a:lnTo>
                    <a:pt x="127" y="181"/>
                  </a:lnTo>
                  <a:lnTo>
                    <a:pt x="133" y="181"/>
                  </a:lnTo>
                  <a:lnTo>
                    <a:pt x="133" y="183"/>
                  </a:lnTo>
                  <a:lnTo>
                    <a:pt x="137" y="183"/>
                  </a:lnTo>
                  <a:lnTo>
                    <a:pt x="141" y="187"/>
                  </a:lnTo>
                  <a:lnTo>
                    <a:pt x="143" y="189"/>
                  </a:lnTo>
                  <a:lnTo>
                    <a:pt x="147" y="191"/>
                  </a:lnTo>
                  <a:lnTo>
                    <a:pt x="147" y="193"/>
                  </a:lnTo>
                  <a:lnTo>
                    <a:pt x="147" y="195"/>
                  </a:lnTo>
                  <a:lnTo>
                    <a:pt x="150" y="195"/>
                  </a:lnTo>
                  <a:lnTo>
                    <a:pt x="150" y="197"/>
                  </a:lnTo>
                  <a:lnTo>
                    <a:pt x="147" y="197"/>
                  </a:lnTo>
                  <a:lnTo>
                    <a:pt x="147" y="199"/>
                  </a:lnTo>
                  <a:lnTo>
                    <a:pt x="150" y="201"/>
                  </a:lnTo>
                  <a:lnTo>
                    <a:pt x="150" y="201"/>
                  </a:lnTo>
                  <a:lnTo>
                    <a:pt x="150" y="203"/>
                  </a:lnTo>
                  <a:lnTo>
                    <a:pt x="154" y="207"/>
                  </a:lnTo>
                  <a:lnTo>
                    <a:pt x="156" y="207"/>
                  </a:lnTo>
                  <a:lnTo>
                    <a:pt x="156" y="207"/>
                  </a:lnTo>
                  <a:lnTo>
                    <a:pt x="156" y="207"/>
                  </a:lnTo>
                  <a:lnTo>
                    <a:pt x="156" y="205"/>
                  </a:lnTo>
                  <a:lnTo>
                    <a:pt x="158" y="207"/>
                  </a:lnTo>
                  <a:lnTo>
                    <a:pt x="158" y="207"/>
                  </a:lnTo>
                  <a:lnTo>
                    <a:pt x="158" y="207"/>
                  </a:lnTo>
                  <a:lnTo>
                    <a:pt x="158" y="209"/>
                  </a:lnTo>
                  <a:lnTo>
                    <a:pt x="160" y="209"/>
                  </a:lnTo>
                  <a:lnTo>
                    <a:pt x="160" y="211"/>
                  </a:lnTo>
                  <a:lnTo>
                    <a:pt x="160" y="211"/>
                  </a:lnTo>
                  <a:lnTo>
                    <a:pt x="158" y="213"/>
                  </a:lnTo>
                  <a:lnTo>
                    <a:pt x="160" y="215"/>
                  </a:lnTo>
                  <a:lnTo>
                    <a:pt x="162" y="215"/>
                  </a:lnTo>
                  <a:lnTo>
                    <a:pt x="164" y="215"/>
                  </a:lnTo>
                  <a:lnTo>
                    <a:pt x="166" y="215"/>
                  </a:lnTo>
                  <a:lnTo>
                    <a:pt x="166" y="217"/>
                  </a:lnTo>
                  <a:lnTo>
                    <a:pt x="168" y="221"/>
                  </a:lnTo>
                  <a:lnTo>
                    <a:pt x="168" y="221"/>
                  </a:lnTo>
                  <a:lnTo>
                    <a:pt x="172" y="224"/>
                  </a:lnTo>
                  <a:lnTo>
                    <a:pt x="180" y="226"/>
                  </a:lnTo>
                  <a:lnTo>
                    <a:pt x="184" y="228"/>
                  </a:lnTo>
                  <a:lnTo>
                    <a:pt x="186" y="230"/>
                  </a:lnTo>
                  <a:lnTo>
                    <a:pt x="188" y="230"/>
                  </a:lnTo>
                  <a:lnTo>
                    <a:pt x="191" y="230"/>
                  </a:lnTo>
                  <a:lnTo>
                    <a:pt x="193" y="232"/>
                  </a:lnTo>
                  <a:lnTo>
                    <a:pt x="193" y="232"/>
                  </a:lnTo>
                  <a:lnTo>
                    <a:pt x="195" y="234"/>
                  </a:lnTo>
                  <a:lnTo>
                    <a:pt x="195" y="236"/>
                  </a:lnTo>
                  <a:lnTo>
                    <a:pt x="195" y="240"/>
                  </a:lnTo>
                  <a:lnTo>
                    <a:pt x="195" y="242"/>
                  </a:lnTo>
                  <a:lnTo>
                    <a:pt x="197" y="242"/>
                  </a:lnTo>
                  <a:lnTo>
                    <a:pt x="203" y="250"/>
                  </a:lnTo>
                  <a:lnTo>
                    <a:pt x="205" y="252"/>
                  </a:lnTo>
                  <a:lnTo>
                    <a:pt x="205" y="254"/>
                  </a:lnTo>
                  <a:lnTo>
                    <a:pt x="205" y="256"/>
                  </a:lnTo>
                  <a:lnTo>
                    <a:pt x="205" y="258"/>
                  </a:lnTo>
                  <a:lnTo>
                    <a:pt x="207" y="258"/>
                  </a:lnTo>
                  <a:lnTo>
                    <a:pt x="207" y="260"/>
                  </a:lnTo>
                  <a:lnTo>
                    <a:pt x="207" y="262"/>
                  </a:lnTo>
                  <a:lnTo>
                    <a:pt x="207" y="262"/>
                  </a:lnTo>
                  <a:lnTo>
                    <a:pt x="207" y="265"/>
                  </a:lnTo>
                  <a:lnTo>
                    <a:pt x="207" y="265"/>
                  </a:lnTo>
                  <a:lnTo>
                    <a:pt x="207" y="267"/>
                  </a:lnTo>
                  <a:lnTo>
                    <a:pt x="209" y="267"/>
                  </a:lnTo>
                  <a:lnTo>
                    <a:pt x="209" y="267"/>
                  </a:lnTo>
                  <a:lnTo>
                    <a:pt x="209" y="267"/>
                  </a:lnTo>
                  <a:lnTo>
                    <a:pt x="209" y="269"/>
                  </a:lnTo>
                  <a:lnTo>
                    <a:pt x="209" y="271"/>
                  </a:lnTo>
                  <a:lnTo>
                    <a:pt x="209" y="273"/>
                  </a:lnTo>
                  <a:lnTo>
                    <a:pt x="209" y="273"/>
                  </a:lnTo>
                  <a:lnTo>
                    <a:pt x="211" y="275"/>
                  </a:lnTo>
                  <a:lnTo>
                    <a:pt x="213" y="277"/>
                  </a:lnTo>
                  <a:lnTo>
                    <a:pt x="213" y="277"/>
                  </a:lnTo>
                  <a:lnTo>
                    <a:pt x="215" y="277"/>
                  </a:lnTo>
                  <a:lnTo>
                    <a:pt x="219" y="277"/>
                  </a:lnTo>
                  <a:lnTo>
                    <a:pt x="219" y="277"/>
                  </a:lnTo>
                  <a:lnTo>
                    <a:pt x="221" y="279"/>
                  </a:lnTo>
                  <a:lnTo>
                    <a:pt x="221" y="279"/>
                  </a:lnTo>
                  <a:lnTo>
                    <a:pt x="223" y="281"/>
                  </a:lnTo>
                  <a:lnTo>
                    <a:pt x="223" y="281"/>
                  </a:lnTo>
                  <a:lnTo>
                    <a:pt x="223" y="281"/>
                  </a:lnTo>
                  <a:lnTo>
                    <a:pt x="225" y="281"/>
                  </a:lnTo>
                  <a:lnTo>
                    <a:pt x="225" y="281"/>
                  </a:lnTo>
                  <a:lnTo>
                    <a:pt x="227" y="283"/>
                  </a:lnTo>
                  <a:lnTo>
                    <a:pt x="227" y="283"/>
                  </a:lnTo>
                  <a:lnTo>
                    <a:pt x="227" y="285"/>
                  </a:lnTo>
                  <a:lnTo>
                    <a:pt x="229" y="285"/>
                  </a:lnTo>
                  <a:lnTo>
                    <a:pt x="231" y="285"/>
                  </a:lnTo>
                  <a:lnTo>
                    <a:pt x="231" y="287"/>
                  </a:lnTo>
                  <a:lnTo>
                    <a:pt x="231" y="291"/>
                  </a:lnTo>
                  <a:lnTo>
                    <a:pt x="236" y="299"/>
                  </a:lnTo>
                  <a:lnTo>
                    <a:pt x="238" y="299"/>
                  </a:lnTo>
                  <a:lnTo>
                    <a:pt x="240" y="299"/>
                  </a:lnTo>
                  <a:lnTo>
                    <a:pt x="240" y="301"/>
                  </a:lnTo>
                  <a:lnTo>
                    <a:pt x="240" y="303"/>
                  </a:lnTo>
                  <a:lnTo>
                    <a:pt x="240" y="306"/>
                  </a:lnTo>
                  <a:lnTo>
                    <a:pt x="240" y="308"/>
                  </a:lnTo>
                  <a:lnTo>
                    <a:pt x="240" y="308"/>
                  </a:lnTo>
                  <a:lnTo>
                    <a:pt x="240" y="310"/>
                  </a:lnTo>
                  <a:lnTo>
                    <a:pt x="240" y="312"/>
                  </a:lnTo>
                  <a:lnTo>
                    <a:pt x="240" y="312"/>
                  </a:lnTo>
                  <a:lnTo>
                    <a:pt x="240" y="314"/>
                  </a:lnTo>
                  <a:lnTo>
                    <a:pt x="240" y="316"/>
                  </a:lnTo>
                  <a:lnTo>
                    <a:pt x="240" y="316"/>
                  </a:lnTo>
                  <a:lnTo>
                    <a:pt x="242" y="320"/>
                  </a:lnTo>
                  <a:lnTo>
                    <a:pt x="242" y="320"/>
                  </a:lnTo>
                  <a:lnTo>
                    <a:pt x="242" y="320"/>
                  </a:lnTo>
                  <a:lnTo>
                    <a:pt x="242" y="320"/>
                  </a:lnTo>
                  <a:lnTo>
                    <a:pt x="244" y="322"/>
                  </a:lnTo>
                  <a:lnTo>
                    <a:pt x="244" y="322"/>
                  </a:lnTo>
                  <a:lnTo>
                    <a:pt x="244" y="322"/>
                  </a:lnTo>
                  <a:lnTo>
                    <a:pt x="246" y="322"/>
                  </a:lnTo>
                  <a:lnTo>
                    <a:pt x="248" y="326"/>
                  </a:lnTo>
                  <a:lnTo>
                    <a:pt x="248" y="326"/>
                  </a:lnTo>
                  <a:lnTo>
                    <a:pt x="254" y="324"/>
                  </a:lnTo>
                  <a:lnTo>
                    <a:pt x="256" y="324"/>
                  </a:lnTo>
                  <a:lnTo>
                    <a:pt x="260" y="326"/>
                  </a:lnTo>
                  <a:lnTo>
                    <a:pt x="260" y="326"/>
                  </a:lnTo>
                  <a:lnTo>
                    <a:pt x="262" y="328"/>
                  </a:lnTo>
                  <a:lnTo>
                    <a:pt x="262" y="328"/>
                  </a:lnTo>
                  <a:lnTo>
                    <a:pt x="264" y="328"/>
                  </a:lnTo>
                  <a:lnTo>
                    <a:pt x="266" y="328"/>
                  </a:lnTo>
                  <a:lnTo>
                    <a:pt x="266" y="328"/>
                  </a:lnTo>
                  <a:lnTo>
                    <a:pt x="266" y="328"/>
                  </a:lnTo>
                  <a:lnTo>
                    <a:pt x="266" y="326"/>
                  </a:lnTo>
                  <a:lnTo>
                    <a:pt x="266" y="324"/>
                  </a:lnTo>
                  <a:lnTo>
                    <a:pt x="270" y="320"/>
                  </a:lnTo>
                  <a:lnTo>
                    <a:pt x="270" y="316"/>
                  </a:lnTo>
                  <a:lnTo>
                    <a:pt x="270" y="314"/>
                  </a:lnTo>
                  <a:lnTo>
                    <a:pt x="270" y="314"/>
                  </a:lnTo>
                  <a:lnTo>
                    <a:pt x="272" y="312"/>
                  </a:lnTo>
                  <a:lnTo>
                    <a:pt x="272" y="310"/>
                  </a:lnTo>
                  <a:lnTo>
                    <a:pt x="272" y="308"/>
                  </a:lnTo>
                  <a:lnTo>
                    <a:pt x="272" y="306"/>
                  </a:lnTo>
                  <a:lnTo>
                    <a:pt x="272" y="306"/>
                  </a:lnTo>
                  <a:lnTo>
                    <a:pt x="272" y="303"/>
                  </a:lnTo>
                  <a:lnTo>
                    <a:pt x="274" y="308"/>
                  </a:lnTo>
                  <a:lnTo>
                    <a:pt x="272" y="316"/>
                  </a:lnTo>
                  <a:lnTo>
                    <a:pt x="272" y="320"/>
                  </a:lnTo>
                  <a:lnTo>
                    <a:pt x="279" y="314"/>
                  </a:lnTo>
                  <a:lnTo>
                    <a:pt x="281" y="310"/>
                  </a:lnTo>
                  <a:lnTo>
                    <a:pt x="283" y="306"/>
                  </a:lnTo>
                  <a:lnTo>
                    <a:pt x="283" y="306"/>
                  </a:lnTo>
                  <a:lnTo>
                    <a:pt x="281" y="303"/>
                  </a:lnTo>
                  <a:lnTo>
                    <a:pt x="281" y="301"/>
                  </a:lnTo>
                  <a:lnTo>
                    <a:pt x="279" y="301"/>
                  </a:lnTo>
                  <a:lnTo>
                    <a:pt x="277" y="301"/>
                  </a:lnTo>
                  <a:lnTo>
                    <a:pt x="277" y="301"/>
                  </a:lnTo>
                  <a:lnTo>
                    <a:pt x="272" y="297"/>
                  </a:lnTo>
                  <a:lnTo>
                    <a:pt x="270" y="297"/>
                  </a:lnTo>
                  <a:lnTo>
                    <a:pt x="270" y="297"/>
                  </a:lnTo>
                  <a:lnTo>
                    <a:pt x="270" y="295"/>
                  </a:lnTo>
                  <a:lnTo>
                    <a:pt x="270" y="293"/>
                  </a:lnTo>
                  <a:lnTo>
                    <a:pt x="268" y="289"/>
                  </a:lnTo>
                  <a:lnTo>
                    <a:pt x="266" y="287"/>
                  </a:lnTo>
                  <a:lnTo>
                    <a:pt x="264" y="283"/>
                  </a:lnTo>
                  <a:lnTo>
                    <a:pt x="264" y="281"/>
                  </a:lnTo>
                  <a:lnTo>
                    <a:pt x="264" y="279"/>
                  </a:lnTo>
                  <a:lnTo>
                    <a:pt x="264" y="279"/>
                  </a:lnTo>
                  <a:lnTo>
                    <a:pt x="262" y="275"/>
                  </a:lnTo>
                  <a:lnTo>
                    <a:pt x="260" y="275"/>
                  </a:lnTo>
                  <a:lnTo>
                    <a:pt x="260" y="275"/>
                  </a:lnTo>
                  <a:lnTo>
                    <a:pt x="262" y="273"/>
                  </a:lnTo>
                  <a:lnTo>
                    <a:pt x="262" y="275"/>
                  </a:lnTo>
                  <a:lnTo>
                    <a:pt x="264" y="275"/>
                  </a:lnTo>
                  <a:lnTo>
                    <a:pt x="264" y="277"/>
                  </a:lnTo>
                  <a:lnTo>
                    <a:pt x="266" y="277"/>
                  </a:lnTo>
                  <a:lnTo>
                    <a:pt x="268" y="277"/>
                  </a:lnTo>
                  <a:lnTo>
                    <a:pt x="268" y="279"/>
                  </a:lnTo>
                  <a:lnTo>
                    <a:pt x="266" y="281"/>
                  </a:lnTo>
                  <a:lnTo>
                    <a:pt x="268" y="283"/>
                  </a:lnTo>
                  <a:lnTo>
                    <a:pt x="268" y="285"/>
                  </a:lnTo>
                  <a:lnTo>
                    <a:pt x="272" y="291"/>
                  </a:lnTo>
                  <a:lnTo>
                    <a:pt x="279" y="295"/>
                  </a:lnTo>
                  <a:lnTo>
                    <a:pt x="281" y="297"/>
                  </a:lnTo>
                  <a:lnTo>
                    <a:pt x="283" y="295"/>
                  </a:lnTo>
                  <a:lnTo>
                    <a:pt x="283" y="293"/>
                  </a:lnTo>
                  <a:lnTo>
                    <a:pt x="281" y="293"/>
                  </a:lnTo>
                  <a:lnTo>
                    <a:pt x="281" y="291"/>
                  </a:lnTo>
                  <a:lnTo>
                    <a:pt x="281" y="291"/>
                  </a:lnTo>
                  <a:lnTo>
                    <a:pt x="279" y="283"/>
                  </a:lnTo>
                  <a:lnTo>
                    <a:pt x="279" y="281"/>
                  </a:lnTo>
                  <a:lnTo>
                    <a:pt x="279" y="281"/>
                  </a:lnTo>
                  <a:lnTo>
                    <a:pt x="279" y="281"/>
                  </a:lnTo>
                  <a:lnTo>
                    <a:pt x="279" y="279"/>
                  </a:lnTo>
                  <a:lnTo>
                    <a:pt x="279" y="281"/>
                  </a:lnTo>
                  <a:lnTo>
                    <a:pt x="279" y="281"/>
                  </a:lnTo>
                  <a:lnTo>
                    <a:pt x="279" y="281"/>
                  </a:lnTo>
                  <a:lnTo>
                    <a:pt x="277" y="279"/>
                  </a:lnTo>
                  <a:lnTo>
                    <a:pt x="281" y="279"/>
                  </a:lnTo>
                  <a:lnTo>
                    <a:pt x="281" y="281"/>
                  </a:lnTo>
                  <a:lnTo>
                    <a:pt x="281" y="289"/>
                  </a:lnTo>
                  <a:lnTo>
                    <a:pt x="281" y="289"/>
                  </a:lnTo>
                  <a:lnTo>
                    <a:pt x="285" y="287"/>
                  </a:lnTo>
                  <a:lnTo>
                    <a:pt x="285" y="293"/>
                  </a:lnTo>
                  <a:lnTo>
                    <a:pt x="285" y="297"/>
                  </a:lnTo>
                  <a:lnTo>
                    <a:pt x="285" y="299"/>
                  </a:lnTo>
                  <a:lnTo>
                    <a:pt x="287" y="299"/>
                  </a:lnTo>
                  <a:lnTo>
                    <a:pt x="289" y="297"/>
                  </a:lnTo>
                  <a:lnTo>
                    <a:pt x="291" y="297"/>
                  </a:lnTo>
                  <a:lnTo>
                    <a:pt x="291" y="297"/>
                  </a:lnTo>
                  <a:lnTo>
                    <a:pt x="293" y="297"/>
                  </a:lnTo>
                  <a:lnTo>
                    <a:pt x="299" y="291"/>
                  </a:lnTo>
                  <a:lnTo>
                    <a:pt x="299" y="289"/>
                  </a:lnTo>
                  <a:lnTo>
                    <a:pt x="297" y="289"/>
                  </a:lnTo>
                  <a:lnTo>
                    <a:pt x="299" y="289"/>
                  </a:lnTo>
                  <a:lnTo>
                    <a:pt x="299" y="289"/>
                  </a:lnTo>
                  <a:lnTo>
                    <a:pt x="299" y="287"/>
                  </a:lnTo>
                  <a:lnTo>
                    <a:pt x="299" y="287"/>
                  </a:lnTo>
                  <a:lnTo>
                    <a:pt x="299" y="287"/>
                  </a:lnTo>
                  <a:lnTo>
                    <a:pt x="301" y="287"/>
                  </a:lnTo>
                  <a:lnTo>
                    <a:pt x="301" y="285"/>
                  </a:lnTo>
                  <a:lnTo>
                    <a:pt x="301" y="283"/>
                  </a:lnTo>
                  <a:lnTo>
                    <a:pt x="301" y="281"/>
                  </a:lnTo>
                  <a:lnTo>
                    <a:pt x="301" y="281"/>
                  </a:lnTo>
                  <a:lnTo>
                    <a:pt x="301" y="283"/>
                  </a:lnTo>
                  <a:lnTo>
                    <a:pt x="299" y="283"/>
                  </a:lnTo>
                  <a:lnTo>
                    <a:pt x="299" y="285"/>
                  </a:lnTo>
                  <a:lnTo>
                    <a:pt x="297" y="285"/>
                  </a:lnTo>
                  <a:lnTo>
                    <a:pt x="295" y="287"/>
                  </a:lnTo>
                  <a:lnTo>
                    <a:pt x="293" y="289"/>
                  </a:lnTo>
                  <a:lnTo>
                    <a:pt x="291" y="289"/>
                  </a:lnTo>
                  <a:lnTo>
                    <a:pt x="291" y="289"/>
                  </a:lnTo>
                  <a:lnTo>
                    <a:pt x="293" y="287"/>
                  </a:lnTo>
                  <a:lnTo>
                    <a:pt x="295" y="285"/>
                  </a:lnTo>
                  <a:lnTo>
                    <a:pt x="299" y="283"/>
                  </a:lnTo>
                  <a:lnTo>
                    <a:pt x="299" y="281"/>
                  </a:lnTo>
                  <a:lnTo>
                    <a:pt x="297" y="279"/>
                  </a:lnTo>
                  <a:lnTo>
                    <a:pt x="295" y="277"/>
                  </a:lnTo>
                  <a:lnTo>
                    <a:pt x="287" y="279"/>
                  </a:lnTo>
                  <a:lnTo>
                    <a:pt x="289" y="277"/>
                  </a:lnTo>
                  <a:lnTo>
                    <a:pt x="291" y="277"/>
                  </a:lnTo>
                  <a:lnTo>
                    <a:pt x="293" y="275"/>
                  </a:lnTo>
                  <a:lnTo>
                    <a:pt x="295" y="275"/>
                  </a:lnTo>
                  <a:lnTo>
                    <a:pt x="295" y="275"/>
                  </a:lnTo>
                  <a:lnTo>
                    <a:pt x="295" y="275"/>
                  </a:lnTo>
                  <a:lnTo>
                    <a:pt x="291" y="273"/>
                  </a:lnTo>
                  <a:lnTo>
                    <a:pt x="291" y="273"/>
                  </a:lnTo>
                  <a:lnTo>
                    <a:pt x="289" y="273"/>
                  </a:lnTo>
                  <a:lnTo>
                    <a:pt x="289" y="275"/>
                  </a:lnTo>
                  <a:lnTo>
                    <a:pt x="287" y="275"/>
                  </a:lnTo>
                  <a:lnTo>
                    <a:pt x="279" y="275"/>
                  </a:lnTo>
                  <a:lnTo>
                    <a:pt x="277" y="275"/>
                  </a:lnTo>
                  <a:lnTo>
                    <a:pt x="277" y="275"/>
                  </a:lnTo>
                  <a:lnTo>
                    <a:pt x="277" y="275"/>
                  </a:lnTo>
                  <a:lnTo>
                    <a:pt x="277" y="273"/>
                  </a:lnTo>
                  <a:lnTo>
                    <a:pt x="279" y="273"/>
                  </a:lnTo>
                  <a:lnTo>
                    <a:pt x="281" y="273"/>
                  </a:lnTo>
                  <a:lnTo>
                    <a:pt x="287" y="273"/>
                  </a:lnTo>
                  <a:lnTo>
                    <a:pt x="289" y="271"/>
                  </a:lnTo>
                  <a:lnTo>
                    <a:pt x="289" y="271"/>
                  </a:lnTo>
                  <a:lnTo>
                    <a:pt x="289" y="269"/>
                  </a:lnTo>
                  <a:lnTo>
                    <a:pt x="289" y="269"/>
                  </a:lnTo>
                  <a:lnTo>
                    <a:pt x="289" y="267"/>
                  </a:lnTo>
                  <a:lnTo>
                    <a:pt x="289" y="267"/>
                  </a:lnTo>
                  <a:lnTo>
                    <a:pt x="289" y="269"/>
                  </a:lnTo>
                  <a:lnTo>
                    <a:pt x="291" y="269"/>
                  </a:lnTo>
                  <a:lnTo>
                    <a:pt x="295" y="271"/>
                  </a:lnTo>
                  <a:lnTo>
                    <a:pt x="295" y="271"/>
                  </a:lnTo>
                  <a:lnTo>
                    <a:pt x="297" y="271"/>
                  </a:lnTo>
                  <a:lnTo>
                    <a:pt x="299" y="271"/>
                  </a:lnTo>
                  <a:lnTo>
                    <a:pt x="299" y="273"/>
                  </a:lnTo>
                  <a:lnTo>
                    <a:pt x="301" y="273"/>
                  </a:lnTo>
                  <a:lnTo>
                    <a:pt x="301" y="273"/>
                  </a:lnTo>
                  <a:lnTo>
                    <a:pt x="303" y="273"/>
                  </a:lnTo>
                  <a:lnTo>
                    <a:pt x="305" y="273"/>
                  </a:lnTo>
                  <a:lnTo>
                    <a:pt x="305" y="271"/>
                  </a:lnTo>
                  <a:lnTo>
                    <a:pt x="305" y="269"/>
                  </a:lnTo>
                  <a:lnTo>
                    <a:pt x="305" y="267"/>
                  </a:lnTo>
                  <a:lnTo>
                    <a:pt x="305" y="267"/>
                  </a:lnTo>
                  <a:lnTo>
                    <a:pt x="305" y="269"/>
                  </a:lnTo>
                  <a:lnTo>
                    <a:pt x="307" y="269"/>
                  </a:lnTo>
                  <a:lnTo>
                    <a:pt x="307" y="271"/>
                  </a:lnTo>
                  <a:lnTo>
                    <a:pt x="309" y="271"/>
                  </a:lnTo>
                  <a:lnTo>
                    <a:pt x="309" y="271"/>
                  </a:lnTo>
                  <a:lnTo>
                    <a:pt x="309" y="271"/>
                  </a:lnTo>
                  <a:lnTo>
                    <a:pt x="311" y="269"/>
                  </a:lnTo>
                  <a:lnTo>
                    <a:pt x="315" y="265"/>
                  </a:lnTo>
                  <a:lnTo>
                    <a:pt x="317" y="262"/>
                  </a:lnTo>
                  <a:lnTo>
                    <a:pt x="317" y="262"/>
                  </a:lnTo>
                  <a:lnTo>
                    <a:pt x="317" y="260"/>
                  </a:lnTo>
                  <a:lnTo>
                    <a:pt x="320" y="260"/>
                  </a:lnTo>
                  <a:lnTo>
                    <a:pt x="317" y="260"/>
                  </a:lnTo>
                  <a:lnTo>
                    <a:pt x="317" y="260"/>
                  </a:lnTo>
                  <a:lnTo>
                    <a:pt x="313" y="256"/>
                  </a:lnTo>
                  <a:lnTo>
                    <a:pt x="311" y="256"/>
                  </a:lnTo>
                  <a:lnTo>
                    <a:pt x="313" y="256"/>
                  </a:lnTo>
                  <a:lnTo>
                    <a:pt x="315" y="256"/>
                  </a:lnTo>
                  <a:lnTo>
                    <a:pt x="317" y="258"/>
                  </a:lnTo>
                  <a:lnTo>
                    <a:pt x="322" y="260"/>
                  </a:lnTo>
                  <a:lnTo>
                    <a:pt x="322" y="260"/>
                  </a:lnTo>
                  <a:lnTo>
                    <a:pt x="324" y="258"/>
                  </a:lnTo>
                  <a:lnTo>
                    <a:pt x="326" y="256"/>
                  </a:lnTo>
                  <a:lnTo>
                    <a:pt x="328" y="256"/>
                  </a:lnTo>
                  <a:lnTo>
                    <a:pt x="330" y="254"/>
                  </a:lnTo>
                  <a:lnTo>
                    <a:pt x="336" y="252"/>
                  </a:lnTo>
                  <a:lnTo>
                    <a:pt x="336" y="252"/>
                  </a:lnTo>
                  <a:lnTo>
                    <a:pt x="336" y="250"/>
                  </a:lnTo>
                  <a:lnTo>
                    <a:pt x="334" y="250"/>
                  </a:lnTo>
                  <a:lnTo>
                    <a:pt x="332" y="248"/>
                  </a:lnTo>
                  <a:lnTo>
                    <a:pt x="334" y="248"/>
                  </a:lnTo>
                  <a:lnTo>
                    <a:pt x="334" y="248"/>
                  </a:lnTo>
                  <a:lnTo>
                    <a:pt x="336" y="248"/>
                  </a:lnTo>
                  <a:lnTo>
                    <a:pt x="340" y="248"/>
                  </a:lnTo>
                  <a:lnTo>
                    <a:pt x="340" y="248"/>
                  </a:lnTo>
                  <a:lnTo>
                    <a:pt x="344" y="242"/>
                  </a:lnTo>
                  <a:lnTo>
                    <a:pt x="346" y="240"/>
                  </a:lnTo>
                  <a:lnTo>
                    <a:pt x="344" y="238"/>
                  </a:lnTo>
                  <a:lnTo>
                    <a:pt x="344" y="238"/>
                  </a:lnTo>
                  <a:lnTo>
                    <a:pt x="344" y="238"/>
                  </a:lnTo>
                  <a:lnTo>
                    <a:pt x="344" y="238"/>
                  </a:lnTo>
                  <a:lnTo>
                    <a:pt x="342" y="238"/>
                  </a:lnTo>
                  <a:lnTo>
                    <a:pt x="342" y="236"/>
                  </a:lnTo>
                  <a:lnTo>
                    <a:pt x="342" y="236"/>
                  </a:lnTo>
                  <a:lnTo>
                    <a:pt x="338" y="236"/>
                  </a:lnTo>
                  <a:lnTo>
                    <a:pt x="336" y="236"/>
                  </a:lnTo>
                  <a:lnTo>
                    <a:pt x="336" y="234"/>
                  </a:lnTo>
                  <a:lnTo>
                    <a:pt x="334" y="232"/>
                  </a:lnTo>
                  <a:lnTo>
                    <a:pt x="336" y="234"/>
                  </a:lnTo>
                  <a:lnTo>
                    <a:pt x="338" y="234"/>
                  </a:lnTo>
                  <a:lnTo>
                    <a:pt x="338" y="234"/>
                  </a:lnTo>
                  <a:lnTo>
                    <a:pt x="338" y="232"/>
                  </a:lnTo>
                  <a:lnTo>
                    <a:pt x="338" y="230"/>
                  </a:lnTo>
                  <a:lnTo>
                    <a:pt x="336" y="228"/>
                  </a:lnTo>
                  <a:lnTo>
                    <a:pt x="336" y="226"/>
                  </a:lnTo>
                  <a:lnTo>
                    <a:pt x="336" y="226"/>
                  </a:lnTo>
                  <a:lnTo>
                    <a:pt x="340" y="228"/>
                  </a:lnTo>
                  <a:lnTo>
                    <a:pt x="340" y="228"/>
                  </a:lnTo>
                  <a:lnTo>
                    <a:pt x="340" y="226"/>
                  </a:lnTo>
                  <a:lnTo>
                    <a:pt x="340" y="226"/>
                  </a:lnTo>
                  <a:lnTo>
                    <a:pt x="340" y="226"/>
                  </a:lnTo>
                  <a:lnTo>
                    <a:pt x="342" y="226"/>
                  </a:lnTo>
                  <a:lnTo>
                    <a:pt x="340" y="230"/>
                  </a:lnTo>
                  <a:lnTo>
                    <a:pt x="340" y="232"/>
                  </a:lnTo>
                  <a:lnTo>
                    <a:pt x="342" y="232"/>
                  </a:lnTo>
                  <a:lnTo>
                    <a:pt x="342" y="232"/>
                  </a:lnTo>
                  <a:lnTo>
                    <a:pt x="344" y="234"/>
                  </a:lnTo>
                  <a:lnTo>
                    <a:pt x="346" y="234"/>
                  </a:lnTo>
                  <a:lnTo>
                    <a:pt x="346" y="234"/>
                  </a:lnTo>
                  <a:lnTo>
                    <a:pt x="348" y="234"/>
                  </a:lnTo>
                  <a:lnTo>
                    <a:pt x="350" y="232"/>
                  </a:lnTo>
                  <a:lnTo>
                    <a:pt x="354" y="228"/>
                  </a:lnTo>
                  <a:lnTo>
                    <a:pt x="356" y="226"/>
                  </a:lnTo>
                  <a:lnTo>
                    <a:pt x="356" y="224"/>
                  </a:lnTo>
                  <a:lnTo>
                    <a:pt x="358" y="221"/>
                  </a:lnTo>
                  <a:lnTo>
                    <a:pt x="360" y="219"/>
                  </a:lnTo>
                  <a:lnTo>
                    <a:pt x="360" y="219"/>
                  </a:lnTo>
                  <a:lnTo>
                    <a:pt x="360" y="219"/>
                  </a:lnTo>
                  <a:lnTo>
                    <a:pt x="360" y="217"/>
                  </a:lnTo>
                  <a:lnTo>
                    <a:pt x="363" y="217"/>
                  </a:lnTo>
                  <a:lnTo>
                    <a:pt x="363" y="217"/>
                  </a:lnTo>
                  <a:lnTo>
                    <a:pt x="367" y="213"/>
                  </a:lnTo>
                  <a:lnTo>
                    <a:pt x="367" y="213"/>
                  </a:lnTo>
                  <a:lnTo>
                    <a:pt x="367" y="211"/>
                  </a:lnTo>
                  <a:lnTo>
                    <a:pt x="367" y="211"/>
                  </a:lnTo>
                  <a:lnTo>
                    <a:pt x="367" y="211"/>
                  </a:lnTo>
                  <a:lnTo>
                    <a:pt x="365" y="213"/>
                  </a:lnTo>
                  <a:lnTo>
                    <a:pt x="365" y="213"/>
                  </a:lnTo>
                  <a:lnTo>
                    <a:pt x="363" y="213"/>
                  </a:lnTo>
                  <a:lnTo>
                    <a:pt x="363" y="211"/>
                  </a:lnTo>
                  <a:lnTo>
                    <a:pt x="363" y="209"/>
                  </a:lnTo>
                  <a:lnTo>
                    <a:pt x="365" y="205"/>
                  </a:lnTo>
                  <a:lnTo>
                    <a:pt x="365" y="203"/>
                  </a:lnTo>
                  <a:lnTo>
                    <a:pt x="367" y="203"/>
                  </a:lnTo>
                  <a:lnTo>
                    <a:pt x="369" y="199"/>
                  </a:lnTo>
                  <a:lnTo>
                    <a:pt x="371" y="199"/>
                  </a:lnTo>
                  <a:lnTo>
                    <a:pt x="371" y="201"/>
                  </a:lnTo>
                  <a:lnTo>
                    <a:pt x="371" y="201"/>
                  </a:lnTo>
                  <a:lnTo>
                    <a:pt x="373" y="203"/>
                  </a:lnTo>
                  <a:lnTo>
                    <a:pt x="373" y="203"/>
                  </a:lnTo>
                  <a:lnTo>
                    <a:pt x="375" y="203"/>
                  </a:lnTo>
                  <a:lnTo>
                    <a:pt x="377" y="201"/>
                  </a:lnTo>
                  <a:lnTo>
                    <a:pt x="379" y="201"/>
                  </a:lnTo>
                  <a:lnTo>
                    <a:pt x="381" y="201"/>
                  </a:lnTo>
                  <a:lnTo>
                    <a:pt x="383" y="199"/>
                  </a:lnTo>
                  <a:lnTo>
                    <a:pt x="383" y="199"/>
                  </a:lnTo>
                  <a:lnTo>
                    <a:pt x="383" y="197"/>
                  </a:lnTo>
                  <a:lnTo>
                    <a:pt x="383" y="195"/>
                  </a:lnTo>
                  <a:lnTo>
                    <a:pt x="385" y="193"/>
                  </a:lnTo>
                  <a:lnTo>
                    <a:pt x="387" y="191"/>
                  </a:lnTo>
                  <a:lnTo>
                    <a:pt x="389" y="189"/>
                  </a:lnTo>
                  <a:lnTo>
                    <a:pt x="389" y="187"/>
                  </a:lnTo>
                  <a:lnTo>
                    <a:pt x="387" y="185"/>
                  </a:lnTo>
                  <a:lnTo>
                    <a:pt x="385" y="185"/>
                  </a:lnTo>
                  <a:lnTo>
                    <a:pt x="383" y="185"/>
                  </a:lnTo>
                  <a:lnTo>
                    <a:pt x="385" y="185"/>
                  </a:lnTo>
                  <a:lnTo>
                    <a:pt x="387" y="185"/>
                  </a:lnTo>
                  <a:lnTo>
                    <a:pt x="389" y="185"/>
                  </a:lnTo>
                  <a:lnTo>
                    <a:pt x="391" y="187"/>
                  </a:lnTo>
                  <a:lnTo>
                    <a:pt x="391" y="187"/>
                  </a:lnTo>
                  <a:lnTo>
                    <a:pt x="391" y="187"/>
                  </a:lnTo>
                  <a:lnTo>
                    <a:pt x="391" y="185"/>
                  </a:lnTo>
                  <a:lnTo>
                    <a:pt x="391" y="185"/>
                  </a:lnTo>
                  <a:lnTo>
                    <a:pt x="391" y="185"/>
                  </a:lnTo>
                  <a:lnTo>
                    <a:pt x="389" y="183"/>
                  </a:lnTo>
                  <a:lnTo>
                    <a:pt x="389" y="183"/>
                  </a:lnTo>
                  <a:lnTo>
                    <a:pt x="391" y="181"/>
                  </a:lnTo>
                  <a:lnTo>
                    <a:pt x="391" y="181"/>
                  </a:lnTo>
                  <a:lnTo>
                    <a:pt x="393" y="183"/>
                  </a:lnTo>
                  <a:lnTo>
                    <a:pt x="393" y="183"/>
                  </a:lnTo>
                  <a:lnTo>
                    <a:pt x="395" y="183"/>
                  </a:lnTo>
                  <a:lnTo>
                    <a:pt x="395" y="181"/>
                  </a:lnTo>
                  <a:lnTo>
                    <a:pt x="395" y="178"/>
                  </a:lnTo>
                  <a:lnTo>
                    <a:pt x="397" y="178"/>
                  </a:lnTo>
                  <a:lnTo>
                    <a:pt x="395" y="178"/>
                  </a:lnTo>
                  <a:lnTo>
                    <a:pt x="395" y="178"/>
                  </a:lnTo>
                  <a:lnTo>
                    <a:pt x="395" y="176"/>
                  </a:lnTo>
                  <a:lnTo>
                    <a:pt x="393" y="174"/>
                  </a:lnTo>
                  <a:lnTo>
                    <a:pt x="393" y="174"/>
                  </a:lnTo>
                  <a:lnTo>
                    <a:pt x="393" y="172"/>
                  </a:lnTo>
                  <a:lnTo>
                    <a:pt x="391" y="172"/>
                  </a:lnTo>
                  <a:lnTo>
                    <a:pt x="387" y="172"/>
                  </a:lnTo>
                  <a:lnTo>
                    <a:pt x="385" y="170"/>
                  </a:lnTo>
                  <a:lnTo>
                    <a:pt x="385" y="168"/>
                  </a:lnTo>
                  <a:lnTo>
                    <a:pt x="385" y="166"/>
                  </a:lnTo>
                  <a:lnTo>
                    <a:pt x="385" y="164"/>
                  </a:lnTo>
                  <a:lnTo>
                    <a:pt x="385" y="162"/>
                  </a:lnTo>
                  <a:lnTo>
                    <a:pt x="389" y="154"/>
                  </a:lnTo>
                  <a:lnTo>
                    <a:pt x="389" y="154"/>
                  </a:lnTo>
                  <a:lnTo>
                    <a:pt x="391" y="152"/>
                  </a:lnTo>
                  <a:lnTo>
                    <a:pt x="391" y="152"/>
                  </a:lnTo>
                  <a:lnTo>
                    <a:pt x="391" y="154"/>
                  </a:lnTo>
                  <a:lnTo>
                    <a:pt x="389" y="158"/>
                  </a:lnTo>
                  <a:lnTo>
                    <a:pt x="387" y="162"/>
                  </a:lnTo>
                  <a:lnTo>
                    <a:pt x="387" y="166"/>
                  </a:lnTo>
                  <a:lnTo>
                    <a:pt x="387" y="166"/>
                  </a:lnTo>
                  <a:lnTo>
                    <a:pt x="391" y="166"/>
                  </a:lnTo>
                  <a:lnTo>
                    <a:pt x="391" y="166"/>
                  </a:lnTo>
                  <a:lnTo>
                    <a:pt x="393" y="168"/>
                  </a:lnTo>
                  <a:lnTo>
                    <a:pt x="393" y="170"/>
                  </a:lnTo>
                  <a:lnTo>
                    <a:pt x="395" y="174"/>
                  </a:lnTo>
                  <a:lnTo>
                    <a:pt x="395" y="174"/>
                  </a:lnTo>
                  <a:lnTo>
                    <a:pt x="397" y="174"/>
                  </a:lnTo>
                  <a:lnTo>
                    <a:pt x="395" y="172"/>
                  </a:lnTo>
                  <a:lnTo>
                    <a:pt x="395" y="160"/>
                  </a:lnTo>
                  <a:lnTo>
                    <a:pt x="397" y="158"/>
                  </a:lnTo>
                  <a:lnTo>
                    <a:pt x="395" y="158"/>
                  </a:lnTo>
                  <a:lnTo>
                    <a:pt x="397" y="152"/>
                  </a:lnTo>
                  <a:lnTo>
                    <a:pt x="404" y="140"/>
                  </a:lnTo>
                  <a:lnTo>
                    <a:pt x="410" y="125"/>
                  </a:lnTo>
                  <a:lnTo>
                    <a:pt x="414" y="117"/>
                  </a:lnTo>
                  <a:lnTo>
                    <a:pt x="422" y="109"/>
                  </a:lnTo>
                  <a:lnTo>
                    <a:pt x="430" y="101"/>
                  </a:lnTo>
                  <a:lnTo>
                    <a:pt x="434" y="99"/>
                  </a:lnTo>
                  <a:lnTo>
                    <a:pt x="438" y="96"/>
                  </a:lnTo>
                  <a:lnTo>
                    <a:pt x="436" y="96"/>
                  </a:lnTo>
                  <a:close/>
                </a:path>
              </a:pathLst>
            </a:custGeom>
            <a:solidFill>
              <a:schemeClr val="tx1"/>
            </a:solidFill>
            <a:ln w="3175" cap="rnd">
              <a:solidFill>
                <a:schemeClr val="bg1"/>
              </a:solidFill>
              <a:prstDash val="solid"/>
              <a:round/>
              <a:headEnd/>
              <a:tailEnd/>
            </a:ln>
          </p:spPr>
          <p:txBody>
            <a:bodyPr vert="horz" wrap="square" lIns="0" tIns="0" rIns="0" bIns="96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SC</a:t>
              </a:r>
            </a:p>
          </p:txBody>
        </p:sp>
        <p:sp>
          <p:nvSpPr>
            <p:cNvPr id="254" name="Freeform 16">
              <a:extLst>
                <a:ext uri="{FF2B5EF4-FFF2-40B4-BE49-F238E27FC236}">
                  <a16:creationId xmlns:a16="http://schemas.microsoft.com/office/drawing/2014/main" id="{0A6F1D6A-18C9-AEE9-842C-39E0C6939735}"/>
                </a:ext>
              </a:extLst>
            </p:cNvPr>
            <p:cNvSpPr>
              <a:spLocks noEditPoints="1"/>
            </p:cNvSpPr>
            <p:nvPr/>
          </p:nvSpPr>
          <p:spPr bwMode="auto">
            <a:xfrm>
              <a:off x="5014" y="607"/>
              <a:ext cx="59" cy="92"/>
            </a:xfrm>
            <a:custGeom>
              <a:avLst/>
              <a:gdLst>
                <a:gd name="T0" fmla="*/ 41 w 59"/>
                <a:gd name="T1" fmla="*/ 86 h 92"/>
                <a:gd name="T2" fmla="*/ 39 w 59"/>
                <a:gd name="T3" fmla="*/ 86 h 92"/>
                <a:gd name="T4" fmla="*/ 37 w 59"/>
                <a:gd name="T5" fmla="*/ 90 h 92"/>
                <a:gd name="T6" fmla="*/ 43 w 59"/>
                <a:gd name="T7" fmla="*/ 92 h 92"/>
                <a:gd name="T8" fmla="*/ 43 w 59"/>
                <a:gd name="T9" fmla="*/ 88 h 92"/>
                <a:gd name="T10" fmla="*/ 47 w 59"/>
                <a:gd name="T11" fmla="*/ 45 h 92"/>
                <a:gd name="T12" fmla="*/ 47 w 59"/>
                <a:gd name="T13" fmla="*/ 49 h 92"/>
                <a:gd name="T14" fmla="*/ 47 w 59"/>
                <a:gd name="T15" fmla="*/ 51 h 92"/>
                <a:gd name="T16" fmla="*/ 47 w 59"/>
                <a:gd name="T17" fmla="*/ 57 h 92"/>
                <a:gd name="T18" fmla="*/ 49 w 59"/>
                <a:gd name="T19" fmla="*/ 53 h 92"/>
                <a:gd name="T20" fmla="*/ 59 w 59"/>
                <a:gd name="T21" fmla="*/ 49 h 92"/>
                <a:gd name="T22" fmla="*/ 57 w 59"/>
                <a:gd name="T23" fmla="*/ 39 h 92"/>
                <a:gd name="T24" fmla="*/ 53 w 59"/>
                <a:gd name="T25" fmla="*/ 35 h 92"/>
                <a:gd name="T26" fmla="*/ 53 w 59"/>
                <a:gd name="T27" fmla="*/ 41 h 92"/>
                <a:gd name="T28" fmla="*/ 53 w 59"/>
                <a:gd name="T29" fmla="*/ 45 h 92"/>
                <a:gd name="T30" fmla="*/ 51 w 59"/>
                <a:gd name="T31" fmla="*/ 49 h 92"/>
                <a:gd name="T32" fmla="*/ 51 w 59"/>
                <a:gd name="T33" fmla="*/ 53 h 92"/>
                <a:gd name="T34" fmla="*/ 53 w 59"/>
                <a:gd name="T35" fmla="*/ 55 h 92"/>
                <a:gd name="T36" fmla="*/ 57 w 59"/>
                <a:gd name="T37" fmla="*/ 51 h 92"/>
                <a:gd name="T38" fmla="*/ 53 w 59"/>
                <a:gd name="T39" fmla="*/ 30 h 92"/>
                <a:gd name="T40" fmla="*/ 53 w 59"/>
                <a:gd name="T41" fmla="*/ 28 h 92"/>
                <a:gd name="T42" fmla="*/ 47 w 59"/>
                <a:gd name="T43" fmla="*/ 22 h 92"/>
                <a:gd name="T44" fmla="*/ 43 w 59"/>
                <a:gd name="T45" fmla="*/ 20 h 92"/>
                <a:gd name="T46" fmla="*/ 41 w 59"/>
                <a:gd name="T47" fmla="*/ 14 h 92"/>
                <a:gd name="T48" fmla="*/ 41 w 59"/>
                <a:gd name="T49" fmla="*/ 12 h 92"/>
                <a:gd name="T50" fmla="*/ 39 w 59"/>
                <a:gd name="T51" fmla="*/ 12 h 92"/>
                <a:gd name="T52" fmla="*/ 35 w 59"/>
                <a:gd name="T53" fmla="*/ 4 h 92"/>
                <a:gd name="T54" fmla="*/ 23 w 59"/>
                <a:gd name="T55" fmla="*/ 2 h 92"/>
                <a:gd name="T56" fmla="*/ 2 w 59"/>
                <a:gd name="T57" fmla="*/ 14 h 92"/>
                <a:gd name="T58" fmla="*/ 8 w 59"/>
                <a:gd name="T59" fmla="*/ 39 h 92"/>
                <a:gd name="T60" fmla="*/ 14 w 59"/>
                <a:gd name="T61" fmla="*/ 59 h 92"/>
                <a:gd name="T62" fmla="*/ 14 w 59"/>
                <a:gd name="T63" fmla="*/ 71 h 92"/>
                <a:gd name="T64" fmla="*/ 23 w 59"/>
                <a:gd name="T65" fmla="*/ 78 h 92"/>
                <a:gd name="T66" fmla="*/ 41 w 59"/>
                <a:gd name="T67" fmla="*/ 67 h 92"/>
                <a:gd name="T68" fmla="*/ 43 w 59"/>
                <a:gd name="T69" fmla="*/ 65 h 92"/>
                <a:gd name="T70" fmla="*/ 43 w 59"/>
                <a:gd name="T71" fmla="*/ 49 h 92"/>
                <a:gd name="T72" fmla="*/ 43 w 59"/>
                <a:gd name="T73" fmla="*/ 43 h 92"/>
                <a:gd name="T74" fmla="*/ 41 w 59"/>
                <a:gd name="T75" fmla="*/ 37 h 92"/>
                <a:gd name="T76" fmla="*/ 39 w 59"/>
                <a:gd name="T77" fmla="*/ 32 h 92"/>
                <a:gd name="T78" fmla="*/ 43 w 59"/>
                <a:gd name="T79" fmla="*/ 35 h 92"/>
                <a:gd name="T80" fmla="*/ 43 w 59"/>
                <a:gd name="T81" fmla="*/ 28 h 92"/>
                <a:gd name="T82" fmla="*/ 41 w 59"/>
                <a:gd name="T83" fmla="*/ 26 h 92"/>
                <a:gd name="T84" fmla="*/ 41 w 59"/>
                <a:gd name="T85" fmla="*/ 20 h 92"/>
                <a:gd name="T86" fmla="*/ 43 w 59"/>
                <a:gd name="T87" fmla="*/ 26 h 92"/>
                <a:gd name="T88" fmla="*/ 47 w 59"/>
                <a:gd name="T89" fmla="*/ 26 h 92"/>
                <a:gd name="T90" fmla="*/ 49 w 59"/>
                <a:gd name="T91" fmla="*/ 24 h 92"/>
                <a:gd name="T92" fmla="*/ 49 w 59"/>
                <a:gd name="T93" fmla="*/ 32 h 92"/>
                <a:gd name="T94" fmla="*/ 53 w 59"/>
                <a:gd name="T9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92">
                  <a:moveTo>
                    <a:pt x="43" y="88"/>
                  </a:moveTo>
                  <a:lnTo>
                    <a:pt x="41" y="88"/>
                  </a:lnTo>
                  <a:lnTo>
                    <a:pt x="41" y="86"/>
                  </a:lnTo>
                  <a:lnTo>
                    <a:pt x="41" y="86"/>
                  </a:lnTo>
                  <a:lnTo>
                    <a:pt x="41" y="84"/>
                  </a:lnTo>
                  <a:lnTo>
                    <a:pt x="41" y="84"/>
                  </a:lnTo>
                  <a:lnTo>
                    <a:pt x="39" y="84"/>
                  </a:lnTo>
                  <a:lnTo>
                    <a:pt x="39" y="86"/>
                  </a:lnTo>
                  <a:lnTo>
                    <a:pt x="41" y="86"/>
                  </a:lnTo>
                  <a:lnTo>
                    <a:pt x="39" y="88"/>
                  </a:lnTo>
                  <a:lnTo>
                    <a:pt x="39" y="88"/>
                  </a:lnTo>
                  <a:lnTo>
                    <a:pt x="37" y="90"/>
                  </a:lnTo>
                  <a:lnTo>
                    <a:pt x="39" y="90"/>
                  </a:lnTo>
                  <a:lnTo>
                    <a:pt x="39" y="92"/>
                  </a:lnTo>
                  <a:lnTo>
                    <a:pt x="41" y="92"/>
                  </a:lnTo>
                  <a:lnTo>
                    <a:pt x="43" y="92"/>
                  </a:lnTo>
                  <a:lnTo>
                    <a:pt x="43" y="90"/>
                  </a:lnTo>
                  <a:lnTo>
                    <a:pt x="43" y="90"/>
                  </a:lnTo>
                  <a:lnTo>
                    <a:pt x="43" y="90"/>
                  </a:lnTo>
                  <a:lnTo>
                    <a:pt x="43" y="88"/>
                  </a:lnTo>
                  <a:close/>
                  <a:moveTo>
                    <a:pt x="49" y="47"/>
                  </a:moveTo>
                  <a:lnTo>
                    <a:pt x="49" y="45"/>
                  </a:lnTo>
                  <a:lnTo>
                    <a:pt x="47" y="45"/>
                  </a:lnTo>
                  <a:lnTo>
                    <a:pt x="47" y="45"/>
                  </a:lnTo>
                  <a:lnTo>
                    <a:pt x="47" y="45"/>
                  </a:lnTo>
                  <a:lnTo>
                    <a:pt x="47" y="45"/>
                  </a:lnTo>
                  <a:lnTo>
                    <a:pt x="45" y="49"/>
                  </a:lnTo>
                  <a:lnTo>
                    <a:pt x="47" y="49"/>
                  </a:lnTo>
                  <a:lnTo>
                    <a:pt x="47" y="51"/>
                  </a:lnTo>
                  <a:lnTo>
                    <a:pt x="47" y="51"/>
                  </a:lnTo>
                  <a:lnTo>
                    <a:pt x="47" y="51"/>
                  </a:lnTo>
                  <a:lnTo>
                    <a:pt x="47" y="51"/>
                  </a:lnTo>
                  <a:lnTo>
                    <a:pt x="47" y="53"/>
                  </a:lnTo>
                  <a:lnTo>
                    <a:pt x="47" y="53"/>
                  </a:lnTo>
                  <a:lnTo>
                    <a:pt x="47" y="55"/>
                  </a:lnTo>
                  <a:lnTo>
                    <a:pt x="47" y="57"/>
                  </a:lnTo>
                  <a:lnTo>
                    <a:pt x="47" y="55"/>
                  </a:lnTo>
                  <a:lnTo>
                    <a:pt x="49" y="55"/>
                  </a:lnTo>
                  <a:lnTo>
                    <a:pt x="49" y="55"/>
                  </a:lnTo>
                  <a:lnTo>
                    <a:pt x="49" y="53"/>
                  </a:lnTo>
                  <a:lnTo>
                    <a:pt x="49" y="53"/>
                  </a:lnTo>
                  <a:lnTo>
                    <a:pt x="49" y="51"/>
                  </a:lnTo>
                  <a:lnTo>
                    <a:pt x="49" y="47"/>
                  </a:lnTo>
                  <a:close/>
                  <a:moveTo>
                    <a:pt x="59" y="49"/>
                  </a:moveTo>
                  <a:lnTo>
                    <a:pt x="59" y="49"/>
                  </a:lnTo>
                  <a:lnTo>
                    <a:pt x="59" y="47"/>
                  </a:lnTo>
                  <a:lnTo>
                    <a:pt x="59" y="45"/>
                  </a:lnTo>
                  <a:lnTo>
                    <a:pt x="57" y="39"/>
                  </a:lnTo>
                  <a:lnTo>
                    <a:pt x="57" y="35"/>
                  </a:lnTo>
                  <a:lnTo>
                    <a:pt x="57" y="32"/>
                  </a:lnTo>
                  <a:lnTo>
                    <a:pt x="55" y="32"/>
                  </a:lnTo>
                  <a:lnTo>
                    <a:pt x="53" y="35"/>
                  </a:lnTo>
                  <a:lnTo>
                    <a:pt x="53" y="37"/>
                  </a:lnTo>
                  <a:lnTo>
                    <a:pt x="53" y="37"/>
                  </a:lnTo>
                  <a:lnTo>
                    <a:pt x="53" y="41"/>
                  </a:lnTo>
                  <a:lnTo>
                    <a:pt x="53" y="41"/>
                  </a:lnTo>
                  <a:lnTo>
                    <a:pt x="53" y="43"/>
                  </a:lnTo>
                  <a:lnTo>
                    <a:pt x="51" y="43"/>
                  </a:lnTo>
                  <a:lnTo>
                    <a:pt x="51" y="43"/>
                  </a:lnTo>
                  <a:lnTo>
                    <a:pt x="53" y="45"/>
                  </a:lnTo>
                  <a:lnTo>
                    <a:pt x="53" y="45"/>
                  </a:lnTo>
                  <a:lnTo>
                    <a:pt x="53" y="47"/>
                  </a:lnTo>
                  <a:lnTo>
                    <a:pt x="51" y="47"/>
                  </a:lnTo>
                  <a:lnTo>
                    <a:pt x="51" y="49"/>
                  </a:lnTo>
                  <a:lnTo>
                    <a:pt x="53" y="49"/>
                  </a:lnTo>
                  <a:lnTo>
                    <a:pt x="53" y="51"/>
                  </a:lnTo>
                  <a:lnTo>
                    <a:pt x="53" y="51"/>
                  </a:lnTo>
                  <a:lnTo>
                    <a:pt x="51" y="53"/>
                  </a:lnTo>
                  <a:lnTo>
                    <a:pt x="51" y="55"/>
                  </a:lnTo>
                  <a:lnTo>
                    <a:pt x="51" y="55"/>
                  </a:lnTo>
                  <a:lnTo>
                    <a:pt x="51" y="55"/>
                  </a:lnTo>
                  <a:lnTo>
                    <a:pt x="53" y="55"/>
                  </a:lnTo>
                  <a:lnTo>
                    <a:pt x="53" y="53"/>
                  </a:lnTo>
                  <a:lnTo>
                    <a:pt x="55" y="53"/>
                  </a:lnTo>
                  <a:lnTo>
                    <a:pt x="55" y="51"/>
                  </a:lnTo>
                  <a:lnTo>
                    <a:pt x="57" y="51"/>
                  </a:lnTo>
                  <a:lnTo>
                    <a:pt x="59" y="51"/>
                  </a:lnTo>
                  <a:lnTo>
                    <a:pt x="59" y="49"/>
                  </a:lnTo>
                  <a:close/>
                  <a:moveTo>
                    <a:pt x="53" y="32"/>
                  </a:moveTo>
                  <a:lnTo>
                    <a:pt x="53" y="30"/>
                  </a:lnTo>
                  <a:lnTo>
                    <a:pt x="55" y="30"/>
                  </a:lnTo>
                  <a:lnTo>
                    <a:pt x="53" y="30"/>
                  </a:lnTo>
                  <a:lnTo>
                    <a:pt x="53" y="28"/>
                  </a:lnTo>
                  <a:lnTo>
                    <a:pt x="53" y="28"/>
                  </a:lnTo>
                  <a:lnTo>
                    <a:pt x="53" y="28"/>
                  </a:lnTo>
                  <a:lnTo>
                    <a:pt x="51" y="24"/>
                  </a:lnTo>
                  <a:lnTo>
                    <a:pt x="49" y="22"/>
                  </a:lnTo>
                  <a:lnTo>
                    <a:pt x="47" y="22"/>
                  </a:lnTo>
                  <a:lnTo>
                    <a:pt x="47" y="22"/>
                  </a:lnTo>
                  <a:lnTo>
                    <a:pt x="45" y="22"/>
                  </a:lnTo>
                  <a:lnTo>
                    <a:pt x="43" y="22"/>
                  </a:lnTo>
                  <a:lnTo>
                    <a:pt x="43" y="20"/>
                  </a:lnTo>
                  <a:lnTo>
                    <a:pt x="43" y="20"/>
                  </a:lnTo>
                  <a:lnTo>
                    <a:pt x="43" y="20"/>
                  </a:lnTo>
                  <a:lnTo>
                    <a:pt x="43" y="16"/>
                  </a:lnTo>
                  <a:lnTo>
                    <a:pt x="41" y="14"/>
                  </a:lnTo>
                  <a:lnTo>
                    <a:pt x="41" y="14"/>
                  </a:lnTo>
                  <a:lnTo>
                    <a:pt x="41" y="14"/>
                  </a:lnTo>
                  <a:lnTo>
                    <a:pt x="41" y="12"/>
                  </a:lnTo>
                  <a:lnTo>
                    <a:pt x="41" y="12"/>
                  </a:lnTo>
                  <a:lnTo>
                    <a:pt x="41" y="12"/>
                  </a:lnTo>
                  <a:lnTo>
                    <a:pt x="41" y="10"/>
                  </a:lnTo>
                  <a:lnTo>
                    <a:pt x="39" y="10"/>
                  </a:lnTo>
                  <a:lnTo>
                    <a:pt x="39" y="12"/>
                  </a:lnTo>
                  <a:lnTo>
                    <a:pt x="37" y="12"/>
                  </a:lnTo>
                  <a:lnTo>
                    <a:pt x="37" y="10"/>
                  </a:lnTo>
                  <a:lnTo>
                    <a:pt x="37" y="10"/>
                  </a:lnTo>
                  <a:lnTo>
                    <a:pt x="35" y="4"/>
                  </a:lnTo>
                  <a:lnTo>
                    <a:pt x="35" y="0"/>
                  </a:lnTo>
                  <a:lnTo>
                    <a:pt x="33" y="0"/>
                  </a:lnTo>
                  <a:lnTo>
                    <a:pt x="29" y="0"/>
                  </a:lnTo>
                  <a:lnTo>
                    <a:pt x="23" y="2"/>
                  </a:lnTo>
                  <a:lnTo>
                    <a:pt x="14" y="4"/>
                  </a:lnTo>
                  <a:lnTo>
                    <a:pt x="8" y="6"/>
                  </a:lnTo>
                  <a:lnTo>
                    <a:pt x="0" y="8"/>
                  </a:lnTo>
                  <a:lnTo>
                    <a:pt x="2" y="14"/>
                  </a:lnTo>
                  <a:lnTo>
                    <a:pt x="4" y="20"/>
                  </a:lnTo>
                  <a:lnTo>
                    <a:pt x="6" y="26"/>
                  </a:lnTo>
                  <a:lnTo>
                    <a:pt x="8" y="32"/>
                  </a:lnTo>
                  <a:lnTo>
                    <a:pt x="8" y="39"/>
                  </a:lnTo>
                  <a:lnTo>
                    <a:pt x="10" y="45"/>
                  </a:lnTo>
                  <a:lnTo>
                    <a:pt x="12" y="49"/>
                  </a:lnTo>
                  <a:lnTo>
                    <a:pt x="14" y="55"/>
                  </a:lnTo>
                  <a:lnTo>
                    <a:pt x="14" y="59"/>
                  </a:lnTo>
                  <a:lnTo>
                    <a:pt x="14" y="63"/>
                  </a:lnTo>
                  <a:lnTo>
                    <a:pt x="16" y="69"/>
                  </a:lnTo>
                  <a:lnTo>
                    <a:pt x="16" y="69"/>
                  </a:lnTo>
                  <a:lnTo>
                    <a:pt x="14" y="71"/>
                  </a:lnTo>
                  <a:lnTo>
                    <a:pt x="14" y="73"/>
                  </a:lnTo>
                  <a:lnTo>
                    <a:pt x="16" y="78"/>
                  </a:lnTo>
                  <a:lnTo>
                    <a:pt x="16" y="80"/>
                  </a:lnTo>
                  <a:lnTo>
                    <a:pt x="23" y="78"/>
                  </a:lnTo>
                  <a:lnTo>
                    <a:pt x="35" y="69"/>
                  </a:lnTo>
                  <a:lnTo>
                    <a:pt x="39" y="67"/>
                  </a:lnTo>
                  <a:lnTo>
                    <a:pt x="39" y="67"/>
                  </a:lnTo>
                  <a:lnTo>
                    <a:pt x="41" y="67"/>
                  </a:lnTo>
                  <a:lnTo>
                    <a:pt x="43" y="67"/>
                  </a:lnTo>
                  <a:lnTo>
                    <a:pt x="43" y="67"/>
                  </a:lnTo>
                  <a:lnTo>
                    <a:pt x="43" y="67"/>
                  </a:lnTo>
                  <a:lnTo>
                    <a:pt x="43" y="65"/>
                  </a:lnTo>
                  <a:lnTo>
                    <a:pt x="43" y="65"/>
                  </a:lnTo>
                  <a:lnTo>
                    <a:pt x="45" y="57"/>
                  </a:lnTo>
                  <a:lnTo>
                    <a:pt x="45" y="55"/>
                  </a:lnTo>
                  <a:lnTo>
                    <a:pt x="43" y="49"/>
                  </a:lnTo>
                  <a:lnTo>
                    <a:pt x="43" y="47"/>
                  </a:lnTo>
                  <a:lnTo>
                    <a:pt x="41" y="45"/>
                  </a:lnTo>
                  <a:lnTo>
                    <a:pt x="41" y="45"/>
                  </a:lnTo>
                  <a:lnTo>
                    <a:pt x="43" y="43"/>
                  </a:lnTo>
                  <a:lnTo>
                    <a:pt x="43" y="41"/>
                  </a:lnTo>
                  <a:lnTo>
                    <a:pt x="43" y="39"/>
                  </a:lnTo>
                  <a:lnTo>
                    <a:pt x="41" y="37"/>
                  </a:lnTo>
                  <a:lnTo>
                    <a:pt x="41" y="37"/>
                  </a:lnTo>
                  <a:lnTo>
                    <a:pt x="39" y="35"/>
                  </a:lnTo>
                  <a:lnTo>
                    <a:pt x="39" y="35"/>
                  </a:lnTo>
                  <a:lnTo>
                    <a:pt x="39" y="32"/>
                  </a:lnTo>
                  <a:lnTo>
                    <a:pt x="39" y="32"/>
                  </a:lnTo>
                  <a:lnTo>
                    <a:pt x="41" y="32"/>
                  </a:lnTo>
                  <a:lnTo>
                    <a:pt x="41" y="32"/>
                  </a:lnTo>
                  <a:lnTo>
                    <a:pt x="43" y="32"/>
                  </a:lnTo>
                  <a:lnTo>
                    <a:pt x="43" y="35"/>
                  </a:lnTo>
                  <a:lnTo>
                    <a:pt x="43" y="32"/>
                  </a:lnTo>
                  <a:lnTo>
                    <a:pt x="43" y="30"/>
                  </a:lnTo>
                  <a:lnTo>
                    <a:pt x="43" y="30"/>
                  </a:lnTo>
                  <a:lnTo>
                    <a:pt x="43" y="28"/>
                  </a:lnTo>
                  <a:lnTo>
                    <a:pt x="43" y="28"/>
                  </a:lnTo>
                  <a:lnTo>
                    <a:pt x="41" y="28"/>
                  </a:lnTo>
                  <a:lnTo>
                    <a:pt x="41" y="26"/>
                  </a:lnTo>
                  <a:lnTo>
                    <a:pt x="41" y="26"/>
                  </a:lnTo>
                  <a:lnTo>
                    <a:pt x="39" y="22"/>
                  </a:lnTo>
                  <a:lnTo>
                    <a:pt x="39" y="20"/>
                  </a:lnTo>
                  <a:lnTo>
                    <a:pt x="39" y="20"/>
                  </a:lnTo>
                  <a:lnTo>
                    <a:pt x="41" y="20"/>
                  </a:lnTo>
                  <a:lnTo>
                    <a:pt x="41" y="22"/>
                  </a:lnTo>
                  <a:lnTo>
                    <a:pt x="41" y="22"/>
                  </a:lnTo>
                  <a:lnTo>
                    <a:pt x="43" y="24"/>
                  </a:lnTo>
                  <a:lnTo>
                    <a:pt x="43" y="26"/>
                  </a:lnTo>
                  <a:lnTo>
                    <a:pt x="45" y="26"/>
                  </a:lnTo>
                  <a:lnTo>
                    <a:pt x="47" y="28"/>
                  </a:lnTo>
                  <a:lnTo>
                    <a:pt x="47" y="28"/>
                  </a:lnTo>
                  <a:lnTo>
                    <a:pt x="47" y="26"/>
                  </a:lnTo>
                  <a:lnTo>
                    <a:pt x="47" y="24"/>
                  </a:lnTo>
                  <a:lnTo>
                    <a:pt x="47" y="24"/>
                  </a:lnTo>
                  <a:lnTo>
                    <a:pt x="49" y="24"/>
                  </a:lnTo>
                  <a:lnTo>
                    <a:pt x="49" y="24"/>
                  </a:lnTo>
                  <a:lnTo>
                    <a:pt x="49" y="24"/>
                  </a:lnTo>
                  <a:lnTo>
                    <a:pt x="49" y="28"/>
                  </a:lnTo>
                  <a:lnTo>
                    <a:pt x="49" y="30"/>
                  </a:lnTo>
                  <a:lnTo>
                    <a:pt x="49" y="32"/>
                  </a:lnTo>
                  <a:lnTo>
                    <a:pt x="49" y="32"/>
                  </a:lnTo>
                  <a:lnTo>
                    <a:pt x="49" y="35"/>
                  </a:lnTo>
                  <a:lnTo>
                    <a:pt x="51" y="35"/>
                  </a:lnTo>
                  <a:lnTo>
                    <a:pt x="53" y="32"/>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255" name="Freeform 17">
              <a:extLst>
                <a:ext uri="{FF2B5EF4-FFF2-40B4-BE49-F238E27FC236}">
                  <a16:creationId xmlns:a16="http://schemas.microsoft.com/office/drawing/2014/main" id="{5CD49392-FA82-9B69-5103-657E770D0861}"/>
                </a:ext>
              </a:extLst>
            </p:cNvPr>
            <p:cNvSpPr>
              <a:spLocks/>
            </p:cNvSpPr>
            <p:nvPr/>
          </p:nvSpPr>
          <p:spPr bwMode="auto">
            <a:xfrm>
              <a:off x="4317" y="685"/>
              <a:ext cx="510" cy="323"/>
            </a:xfrm>
            <a:custGeom>
              <a:avLst/>
              <a:gdLst>
                <a:gd name="T0" fmla="*/ 491 w 510"/>
                <a:gd name="T1" fmla="*/ 166 h 323"/>
                <a:gd name="T2" fmla="*/ 475 w 510"/>
                <a:gd name="T3" fmla="*/ 157 h 323"/>
                <a:gd name="T4" fmla="*/ 463 w 510"/>
                <a:gd name="T5" fmla="*/ 145 h 323"/>
                <a:gd name="T6" fmla="*/ 458 w 510"/>
                <a:gd name="T7" fmla="*/ 135 h 323"/>
                <a:gd name="T8" fmla="*/ 458 w 510"/>
                <a:gd name="T9" fmla="*/ 127 h 323"/>
                <a:gd name="T10" fmla="*/ 458 w 510"/>
                <a:gd name="T11" fmla="*/ 123 h 323"/>
                <a:gd name="T12" fmla="*/ 465 w 510"/>
                <a:gd name="T13" fmla="*/ 114 h 323"/>
                <a:gd name="T14" fmla="*/ 460 w 510"/>
                <a:gd name="T15" fmla="*/ 106 h 323"/>
                <a:gd name="T16" fmla="*/ 458 w 510"/>
                <a:gd name="T17" fmla="*/ 106 h 323"/>
                <a:gd name="T18" fmla="*/ 456 w 510"/>
                <a:gd name="T19" fmla="*/ 100 h 323"/>
                <a:gd name="T20" fmla="*/ 467 w 510"/>
                <a:gd name="T21" fmla="*/ 88 h 323"/>
                <a:gd name="T22" fmla="*/ 467 w 510"/>
                <a:gd name="T23" fmla="*/ 84 h 323"/>
                <a:gd name="T24" fmla="*/ 473 w 510"/>
                <a:gd name="T25" fmla="*/ 67 h 323"/>
                <a:gd name="T26" fmla="*/ 477 w 510"/>
                <a:gd name="T27" fmla="*/ 59 h 323"/>
                <a:gd name="T28" fmla="*/ 483 w 510"/>
                <a:gd name="T29" fmla="*/ 55 h 323"/>
                <a:gd name="T30" fmla="*/ 477 w 510"/>
                <a:gd name="T31" fmla="*/ 47 h 323"/>
                <a:gd name="T32" fmla="*/ 467 w 510"/>
                <a:gd name="T33" fmla="*/ 49 h 323"/>
                <a:gd name="T34" fmla="*/ 456 w 510"/>
                <a:gd name="T35" fmla="*/ 45 h 323"/>
                <a:gd name="T36" fmla="*/ 446 w 510"/>
                <a:gd name="T37" fmla="*/ 26 h 323"/>
                <a:gd name="T38" fmla="*/ 442 w 510"/>
                <a:gd name="T39" fmla="*/ 18 h 323"/>
                <a:gd name="T40" fmla="*/ 438 w 510"/>
                <a:gd name="T41" fmla="*/ 12 h 323"/>
                <a:gd name="T42" fmla="*/ 426 w 510"/>
                <a:gd name="T43" fmla="*/ 10 h 323"/>
                <a:gd name="T44" fmla="*/ 415 w 510"/>
                <a:gd name="T45" fmla="*/ 2 h 323"/>
                <a:gd name="T46" fmla="*/ 381 w 510"/>
                <a:gd name="T47" fmla="*/ 8 h 323"/>
                <a:gd name="T48" fmla="*/ 315 w 510"/>
                <a:gd name="T49" fmla="*/ 22 h 323"/>
                <a:gd name="T50" fmla="*/ 250 w 510"/>
                <a:gd name="T51" fmla="*/ 36 h 323"/>
                <a:gd name="T52" fmla="*/ 184 w 510"/>
                <a:gd name="T53" fmla="*/ 49 h 323"/>
                <a:gd name="T54" fmla="*/ 118 w 510"/>
                <a:gd name="T55" fmla="*/ 63 h 323"/>
                <a:gd name="T56" fmla="*/ 61 w 510"/>
                <a:gd name="T57" fmla="*/ 73 h 323"/>
                <a:gd name="T58" fmla="*/ 57 w 510"/>
                <a:gd name="T59" fmla="*/ 55 h 323"/>
                <a:gd name="T60" fmla="*/ 43 w 510"/>
                <a:gd name="T61" fmla="*/ 55 h 323"/>
                <a:gd name="T62" fmla="*/ 28 w 510"/>
                <a:gd name="T63" fmla="*/ 65 h 323"/>
                <a:gd name="T64" fmla="*/ 32 w 510"/>
                <a:gd name="T65" fmla="*/ 61 h 323"/>
                <a:gd name="T66" fmla="*/ 26 w 510"/>
                <a:gd name="T67" fmla="*/ 67 h 323"/>
                <a:gd name="T68" fmla="*/ 4 w 510"/>
                <a:gd name="T69" fmla="*/ 84 h 323"/>
                <a:gd name="T70" fmla="*/ 14 w 510"/>
                <a:gd name="T71" fmla="*/ 159 h 323"/>
                <a:gd name="T72" fmla="*/ 24 w 510"/>
                <a:gd name="T73" fmla="*/ 225 h 323"/>
                <a:gd name="T74" fmla="*/ 24 w 510"/>
                <a:gd name="T75" fmla="*/ 227 h 323"/>
                <a:gd name="T76" fmla="*/ 32 w 510"/>
                <a:gd name="T77" fmla="*/ 268 h 323"/>
                <a:gd name="T78" fmla="*/ 41 w 510"/>
                <a:gd name="T79" fmla="*/ 315 h 323"/>
                <a:gd name="T80" fmla="*/ 96 w 510"/>
                <a:gd name="T81" fmla="*/ 313 h 323"/>
                <a:gd name="T82" fmla="*/ 157 w 510"/>
                <a:gd name="T83" fmla="*/ 301 h 323"/>
                <a:gd name="T84" fmla="*/ 215 w 510"/>
                <a:gd name="T85" fmla="*/ 291 h 323"/>
                <a:gd name="T86" fmla="*/ 272 w 510"/>
                <a:gd name="T87" fmla="*/ 278 h 323"/>
                <a:gd name="T88" fmla="*/ 329 w 510"/>
                <a:gd name="T89" fmla="*/ 268 h 323"/>
                <a:gd name="T90" fmla="*/ 385 w 510"/>
                <a:gd name="T91" fmla="*/ 256 h 323"/>
                <a:gd name="T92" fmla="*/ 434 w 510"/>
                <a:gd name="T93" fmla="*/ 245 h 323"/>
                <a:gd name="T94" fmla="*/ 440 w 510"/>
                <a:gd name="T95" fmla="*/ 231 h 323"/>
                <a:gd name="T96" fmla="*/ 456 w 510"/>
                <a:gd name="T97" fmla="*/ 227 h 323"/>
                <a:gd name="T98" fmla="*/ 465 w 510"/>
                <a:gd name="T99" fmla="*/ 223 h 323"/>
                <a:gd name="T100" fmla="*/ 481 w 510"/>
                <a:gd name="T101" fmla="*/ 213 h 323"/>
                <a:gd name="T102" fmla="*/ 487 w 510"/>
                <a:gd name="T103" fmla="*/ 200 h 323"/>
                <a:gd name="T104" fmla="*/ 497 w 510"/>
                <a:gd name="T105" fmla="*/ 190 h 323"/>
                <a:gd name="T106" fmla="*/ 508 w 510"/>
                <a:gd name="T107" fmla="*/ 18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0" h="323">
                  <a:moveTo>
                    <a:pt x="506" y="176"/>
                  </a:moveTo>
                  <a:lnTo>
                    <a:pt x="499" y="174"/>
                  </a:lnTo>
                  <a:lnTo>
                    <a:pt x="495" y="170"/>
                  </a:lnTo>
                  <a:lnTo>
                    <a:pt x="493" y="168"/>
                  </a:lnTo>
                  <a:lnTo>
                    <a:pt x="493" y="166"/>
                  </a:lnTo>
                  <a:lnTo>
                    <a:pt x="491" y="166"/>
                  </a:lnTo>
                  <a:lnTo>
                    <a:pt x="487" y="163"/>
                  </a:lnTo>
                  <a:lnTo>
                    <a:pt x="485" y="159"/>
                  </a:lnTo>
                  <a:lnTo>
                    <a:pt x="483" y="157"/>
                  </a:lnTo>
                  <a:lnTo>
                    <a:pt x="479" y="159"/>
                  </a:lnTo>
                  <a:lnTo>
                    <a:pt x="477" y="159"/>
                  </a:lnTo>
                  <a:lnTo>
                    <a:pt x="475" y="157"/>
                  </a:lnTo>
                  <a:lnTo>
                    <a:pt x="475" y="155"/>
                  </a:lnTo>
                  <a:lnTo>
                    <a:pt x="473" y="147"/>
                  </a:lnTo>
                  <a:lnTo>
                    <a:pt x="471" y="145"/>
                  </a:lnTo>
                  <a:lnTo>
                    <a:pt x="465" y="145"/>
                  </a:lnTo>
                  <a:lnTo>
                    <a:pt x="463" y="145"/>
                  </a:lnTo>
                  <a:lnTo>
                    <a:pt x="463" y="145"/>
                  </a:lnTo>
                  <a:lnTo>
                    <a:pt x="460" y="143"/>
                  </a:lnTo>
                  <a:lnTo>
                    <a:pt x="460" y="141"/>
                  </a:lnTo>
                  <a:lnTo>
                    <a:pt x="460" y="141"/>
                  </a:lnTo>
                  <a:lnTo>
                    <a:pt x="460" y="139"/>
                  </a:lnTo>
                  <a:lnTo>
                    <a:pt x="458" y="137"/>
                  </a:lnTo>
                  <a:lnTo>
                    <a:pt x="458" y="135"/>
                  </a:lnTo>
                  <a:lnTo>
                    <a:pt x="458" y="135"/>
                  </a:lnTo>
                  <a:lnTo>
                    <a:pt x="458" y="133"/>
                  </a:lnTo>
                  <a:lnTo>
                    <a:pt x="458" y="133"/>
                  </a:lnTo>
                  <a:lnTo>
                    <a:pt x="458" y="131"/>
                  </a:lnTo>
                  <a:lnTo>
                    <a:pt x="458" y="127"/>
                  </a:lnTo>
                  <a:lnTo>
                    <a:pt x="458" y="127"/>
                  </a:lnTo>
                  <a:lnTo>
                    <a:pt x="456" y="127"/>
                  </a:lnTo>
                  <a:lnTo>
                    <a:pt x="456" y="127"/>
                  </a:lnTo>
                  <a:lnTo>
                    <a:pt x="456" y="125"/>
                  </a:lnTo>
                  <a:lnTo>
                    <a:pt x="458" y="125"/>
                  </a:lnTo>
                  <a:lnTo>
                    <a:pt x="458" y="125"/>
                  </a:lnTo>
                  <a:lnTo>
                    <a:pt x="458" y="123"/>
                  </a:lnTo>
                  <a:lnTo>
                    <a:pt x="460" y="123"/>
                  </a:lnTo>
                  <a:lnTo>
                    <a:pt x="463" y="123"/>
                  </a:lnTo>
                  <a:lnTo>
                    <a:pt x="463" y="120"/>
                  </a:lnTo>
                  <a:lnTo>
                    <a:pt x="463" y="118"/>
                  </a:lnTo>
                  <a:lnTo>
                    <a:pt x="463" y="116"/>
                  </a:lnTo>
                  <a:lnTo>
                    <a:pt x="465" y="114"/>
                  </a:lnTo>
                  <a:lnTo>
                    <a:pt x="465" y="114"/>
                  </a:lnTo>
                  <a:lnTo>
                    <a:pt x="465" y="112"/>
                  </a:lnTo>
                  <a:lnTo>
                    <a:pt x="465" y="110"/>
                  </a:lnTo>
                  <a:lnTo>
                    <a:pt x="463" y="108"/>
                  </a:lnTo>
                  <a:lnTo>
                    <a:pt x="460" y="106"/>
                  </a:lnTo>
                  <a:lnTo>
                    <a:pt x="460" y="106"/>
                  </a:lnTo>
                  <a:lnTo>
                    <a:pt x="460" y="106"/>
                  </a:lnTo>
                  <a:lnTo>
                    <a:pt x="460" y="106"/>
                  </a:lnTo>
                  <a:lnTo>
                    <a:pt x="458" y="106"/>
                  </a:lnTo>
                  <a:lnTo>
                    <a:pt x="458" y="106"/>
                  </a:lnTo>
                  <a:lnTo>
                    <a:pt x="458" y="106"/>
                  </a:lnTo>
                  <a:lnTo>
                    <a:pt x="458" y="106"/>
                  </a:lnTo>
                  <a:lnTo>
                    <a:pt x="458" y="104"/>
                  </a:lnTo>
                  <a:lnTo>
                    <a:pt x="458" y="104"/>
                  </a:lnTo>
                  <a:lnTo>
                    <a:pt x="456" y="104"/>
                  </a:lnTo>
                  <a:lnTo>
                    <a:pt x="456" y="102"/>
                  </a:lnTo>
                  <a:lnTo>
                    <a:pt x="456" y="102"/>
                  </a:lnTo>
                  <a:lnTo>
                    <a:pt x="456" y="100"/>
                  </a:lnTo>
                  <a:lnTo>
                    <a:pt x="458" y="98"/>
                  </a:lnTo>
                  <a:lnTo>
                    <a:pt x="458" y="96"/>
                  </a:lnTo>
                  <a:lnTo>
                    <a:pt x="460" y="96"/>
                  </a:lnTo>
                  <a:lnTo>
                    <a:pt x="463" y="94"/>
                  </a:lnTo>
                  <a:lnTo>
                    <a:pt x="463" y="94"/>
                  </a:lnTo>
                  <a:lnTo>
                    <a:pt x="467" y="88"/>
                  </a:lnTo>
                  <a:lnTo>
                    <a:pt x="467" y="88"/>
                  </a:lnTo>
                  <a:lnTo>
                    <a:pt x="467" y="88"/>
                  </a:lnTo>
                  <a:lnTo>
                    <a:pt x="465" y="86"/>
                  </a:lnTo>
                  <a:lnTo>
                    <a:pt x="467" y="86"/>
                  </a:lnTo>
                  <a:lnTo>
                    <a:pt x="467" y="86"/>
                  </a:lnTo>
                  <a:lnTo>
                    <a:pt x="467" y="84"/>
                  </a:lnTo>
                  <a:lnTo>
                    <a:pt x="467" y="84"/>
                  </a:lnTo>
                  <a:lnTo>
                    <a:pt x="469" y="84"/>
                  </a:lnTo>
                  <a:lnTo>
                    <a:pt x="471" y="77"/>
                  </a:lnTo>
                  <a:lnTo>
                    <a:pt x="473" y="71"/>
                  </a:lnTo>
                  <a:lnTo>
                    <a:pt x="473" y="69"/>
                  </a:lnTo>
                  <a:lnTo>
                    <a:pt x="473" y="67"/>
                  </a:lnTo>
                  <a:lnTo>
                    <a:pt x="473" y="67"/>
                  </a:lnTo>
                  <a:lnTo>
                    <a:pt x="477" y="61"/>
                  </a:lnTo>
                  <a:lnTo>
                    <a:pt x="477" y="61"/>
                  </a:lnTo>
                  <a:lnTo>
                    <a:pt x="477" y="59"/>
                  </a:lnTo>
                  <a:lnTo>
                    <a:pt x="477" y="59"/>
                  </a:lnTo>
                  <a:lnTo>
                    <a:pt x="477" y="59"/>
                  </a:lnTo>
                  <a:lnTo>
                    <a:pt x="477" y="59"/>
                  </a:lnTo>
                  <a:lnTo>
                    <a:pt x="479" y="57"/>
                  </a:lnTo>
                  <a:lnTo>
                    <a:pt x="479" y="57"/>
                  </a:lnTo>
                  <a:lnTo>
                    <a:pt x="481" y="57"/>
                  </a:lnTo>
                  <a:lnTo>
                    <a:pt x="483" y="55"/>
                  </a:lnTo>
                  <a:lnTo>
                    <a:pt x="483" y="55"/>
                  </a:lnTo>
                  <a:lnTo>
                    <a:pt x="481" y="53"/>
                  </a:lnTo>
                  <a:lnTo>
                    <a:pt x="479" y="51"/>
                  </a:lnTo>
                  <a:lnTo>
                    <a:pt x="479" y="51"/>
                  </a:lnTo>
                  <a:lnTo>
                    <a:pt x="477" y="49"/>
                  </a:lnTo>
                  <a:lnTo>
                    <a:pt x="477" y="49"/>
                  </a:lnTo>
                  <a:lnTo>
                    <a:pt x="477" y="47"/>
                  </a:lnTo>
                  <a:lnTo>
                    <a:pt x="475" y="49"/>
                  </a:lnTo>
                  <a:lnTo>
                    <a:pt x="475" y="49"/>
                  </a:lnTo>
                  <a:lnTo>
                    <a:pt x="475" y="49"/>
                  </a:lnTo>
                  <a:lnTo>
                    <a:pt x="473" y="49"/>
                  </a:lnTo>
                  <a:lnTo>
                    <a:pt x="471" y="47"/>
                  </a:lnTo>
                  <a:lnTo>
                    <a:pt x="467" y="49"/>
                  </a:lnTo>
                  <a:lnTo>
                    <a:pt x="465" y="49"/>
                  </a:lnTo>
                  <a:lnTo>
                    <a:pt x="465" y="49"/>
                  </a:lnTo>
                  <a:lnTo>
                    <a:pt x="463" y="47"/>
                  </a:lnTo>
                  <a:lnTo>
                    <a:pt x="460" y="47"/>
                  </a:lnTo>
                  <a:lnTo>
                    <a:pt x="458" y="47"/>
                  </a:lnTo>
                  <a:lnTo>
                    <a:pt x="456" y="45"/>
                  </a:lnTo>
                  <a:lnTo>
                    <a:pt x="454" y="45"/>
                  </a:lnTo>
                  <a:lnTo>
                    <a:pt x="448" y="36"/>
                  </a:lnTo>
                  <a:lnTo>
                    <a:pt x="448" y="36"/>
                  </a:lnTo>
                  <a:lnTo>
                    <a:pt x="446" y="34"/>
                  </a:lnTo>
                  <a:lnTo>
                    <a:pt x="446" y="30"/>
                  </a:lnTo>
                  <a:lnTo>
                    <a:pt x="446" y="26"/>
                  </a:lnTo>
                  <a:lnTo>
                    <a:pt x="444" y="24"/>
                  </a:lnTo>
                  <a:lnTo>
                    <a:pt x="444" y="22"/>
                  </a:lnTo>
                  <a:lnTo>
                    <a:pt x="444" y="22"/>
                  </a:lnTo>
                  <a:lnTo>
                    <a:pt x="444" y="20"/>
                  </a:lnTo>
                  <a:lnTo>
                    <a:pt x="444" y="18"/>
                  </a:lnTo>
                  <a:lnTo>
                    <a:pt x="442" y="18"/>
                  </a:lnTo>
                  <a:lnTo>
                    <a:pt x="440" y="18"/>
                  </a:lnTo>
                  <a:lnTo>
                    <a:pt x="440" y="16"/>
                  </a:lnTo>
                  <a:lnTo>
                    <a:pt x="440" y="14"/>
                  </a:lnTo>
                  <a:lnTo>
                    <a:pt x="440" y="14"/>
                  </a:lnTo>
                  <a:lnTo>
                    <a:pt x="440" y="12"/>
                  </a:lnTo>
                  <a:lnTo>
                    <a:pt x="438" y="12"/>
                  </a:lnTo>
                  <a:lnTo>
                    <a:pt x="438" y="12"/>
                  </a:lnTo>
                  <a:lnTo>
                    <a:pt x="434" y="10"/>
                  </a:lnTo>
                  <a:lnTo>
                    <a:pt x="432" y="10"/>
                  </a:lnTo>
                  <a:lnTo>
                    <a:pt x="432" y="10"/>
                  </a:lnTo>
                  <a:lnTo>
                    <a:pt x="428" y="12"/>
                  </a:lnTo>
                  <a:lnTo>
                    <a:pt x="426" y="10"/>
                  </a:lnTo>
                  <a:lnTo>
                    <a:pt x="426" y="8"/>
                  </a:lnTo>
                  <a:lnTo>
                    <a:pt x="424" y="6"/>
                  </a:lnTo>
                  <a:lnTo>
                    <a:pt x="424" y="4"/>
                  </a:lnTo>
                  <a:lnTo>
                    <a:pt x="422" y="4"/>
                  </a:lnTo>
                  <a:lnTo>
                    <a:pt x="417" y="4"/>
                  </a:lnTo>
                  <a:lnTo>
                    <a:pt x="415" y="2"/>
                  </a:lnTo>
                  <a:lnTo>
                    <a:pt x="415" y="0"/>
                  </a:lnTo>
                  <a:lnTo>
                    <a:pt x="415" y="0"/>
                  </a:lnTo>
                  <a:lnTo>
                    <a:pt x="413" y="2"/>
                  </a:lnTo>
                  <a:lnTo>
                    <a:pt x="403" y="4"/>
                  </a:lnTo>
                  <a:lnTo>
                    <a:pt x="391" y="6"/>
                  </a:lnTo>
                  <a:lnTo>
                    <a:pt x="381" y="8"/>
                  </a:lnTo>
                  <a:lnTo>
                    <a:pt x="370" y="10"/>
                  </a:lnTo>
                  <a:lnTo>
                    <a:pt x="358" y="14"/>
                  </a:lnTo>
                  <a:lnTo>
                    <a:pt x="348" y="16"/>
                  </a:lnTo>
                  <a:lnTo>
                    <a:pt x="338" y="18"/>
                  </a:lnTo>
                  <a:lnTo>
                    <a:pt x="325" y="20"/>
                  </a:lnTo>
                  <a:lnTo>
                    <a:pt x="315" y="22"/>
                  </a:lnTo>
                  <a:lnTo>
                    <a:pt x="305" y="24"/>
                  </a:lnTo>
                  <a:lnTo>
                    <a:pt x="293" y="26"/>
                  </a:lnTo>
                  <a:lnTo>
                    <a:pt x="282" y="30"/>
                  </a:lnTo>
                  <a:lnTo>
                    <a:pt x="272" y="32"/>
                  </a:lnTo>
                  <a:lnTo>
                    <a:pt x="260" y="34"/>
                  </a:lnTo>
                  <a:lnTo>
                    <a:pt x="250" y="36"/>
                  </a:lnTo>
                  <a:lnTo>
                    <a:pt x="239" y="38"/>
                  </a:lnTo>
                  <a:lnTo>
                    <a:pt x="227" y="41"/>
                  </a:lnTo>
                  <a:lnTo>
                    <a:pt x="217" y="43"/>
                  </a:lnTo>
                  <a:lnTo>
                    <a:pt x="207" y="45"/>
                  </a:lnTo>
                  <a:lnTo>
                    <a:pt x="194" y="47"/>
                  </a:lnTo>
                  <a:lnTo>
                    <a:pt x="184" y="49"/>
                  </a:lnTo>
                  <a:lnTo>
                    <a:pt x="174" y="51"/>
                  </a:lnTo>
                  <a:lnTo>
                    <a:pt x="161" y="53"/>
                  </a:lnTo>
                  <a:lnTo>
                    <a:pt x="151" y="55"/>
                  </a:lnTo>
                  <a:lnTo>
                    <a:pt x="141" y="59"/>
                  </a:lnTo>
                  <a:lnTo>
                    <a:pt x="129" y="61"/>
                  </a:lnTo>
                  <a:lnTo>
                    <a:pt x="118" y="63"/>
                  </a:lnTo>
                  <a:lnTo>
                    <a:pt x="108" y="65"/>
                  </a:lnTo>
                  <a:lnTo>
                    <a:pt x="96" y="67"/>
                  </a:lnTo>
                  <a:lnTo>
                    <a:pt x="86" y="69"/>
                  </a:lnTo>
                  <a:lnTo>
                    <a:pt x="75" y="71"/>
                  </a:lnTo>
                  <a:lnTo>
                    <a:pt x="63" y="73"/>
                  </a:lnTo>
                  <a:lnTo>
                    <a:pt x="61" y="73"/>
                  </a:lnTo>
                  <a:lnTo>
                    <a:pt x="61" y="69"/>
                  </a:lnTo>
                  <a:lnTo>
                    <a:pt x="59" y="67"/>
                  </a:lnTo>
                  <a:lnTo>
                    <a:pt x="59" y="63"/>
                  </a:lnTo>
                  <a:lnTo>
                    <a:pt x="59" y="61"/>
                  </a:lnTo>
                  <a:lnTo>
                    <a:pt x="57" y="57"/>
                  </a:lnTo>
                  <a:lnTo>
                    <a:pt x="57" y="55"/>
                  </a:lnTo>
                  <a:lnTo>
                    <a:pt x="57" y="51"/>
                  </a:lnTo>
                  <a:lnTo>
                    <a:pt x="57" y="49"/>
                  </a:lnTo>
                  <a:lnTo>
                    <a:pt x="55" y="45"/>
                  </a:lnTo>
                  <a:lnTo>
                    <a:pt x="55" y="45"/>
                  </a:lnTo>
                  <a:lnTo>
                    <a:pt x="47" y="51"/>
                  </a:lnTo>
                  <a:lnTo>
                    <a:pt x="43" y="55"/>
                  </a:lnTo>
                  <a:lnTo>
                    <a:pt x="41" y="55"/>
                  </a:lnTo>
                  <a:lnTo>
                    <a:pt x="37" y="59"/>
                  </a:lnTo>
                  <a:lnTo>
                    <a:pt x="34" y="61"/>
                  </a:lnTo>
                  <a:lnTo>
                    <a:pt x="30" y="65"/>
                  </a:lnTo>
                  <a:lnTo>
                    <a:pt x="28" y="65"/>
                  </a:lnTo>
                  <a:lnTo>
                    <a:pt x="28" y="65"/>
                  </a:lnTo>
                  <a:lnTo>
                    <a:pt x="28" y="63"/>
                  </a:lnTo>
                  <a:lnTo>
                    <a:pt x="30" y="63"/>
                  </a:lnTo>
                  <a:lnTo>
                    <a:pt x="30" y="63"/>
                  </a:lnTo>
                  <a:lnTo>
                    <a:pt x="32" y="61"/>
                  </a:lnTo>
                  <a:lnTo>
                    <a:pt x="32" y="61"/>
                  </a:lnTo>
                  <a:lnTo>
                    <a:pt x="32" y="61"/>
                  </a:lnTo>
                  <a:lnTo>
                    <a:pt x="30" y="59"/>
                  </a:lnTo>
                  <a:lnTo>
                    <a:pt x="30" y="61"/>
                  </a:lnTo>
                  <a:lnTo>
                    <a:pt x="28" y="63"/>
                  </a:lnTo>
                  <a:lnTo>
                    <a:pt x="26" y="63"/>
                  </a:lnTo>
                  <a:lnTo>
                    <a:pt x="26" y="67"/>
                  </a:lnTo>
                  <a:lnTo>
                    <a:pt x="26" y="67"/>
                  </a:lnTo>
                  <a:lnTo>
                    <a:pt x="24" y="67"/>
                  </a:lnTo>
                  <a:lnTo>
                    <a:pt x="22" y="69"/>
                  </a:lnTo>
                  <a:lnTo>
                    <a:pt x="12" y="79"/>
                  </a:lnTo>
                  <a:lnTo>
                    <a:pt x="6" y="82"/>
                  </a:lnTo>
                  <a:lnTo>
                    <a:pt x="6" y="82"/>
                  </a:lnTo>
                  <a:lnTo>
                    <a:pt x="4" y="84"/>
                  </a:lnTo>
                  <a:lnTo>
                    <a:pt x="0" y="86"/>
                  </a:lnTo>
                  <a:lnTo>
                    <a:pt x="2" y="94"/>
                  </a:lnTo>
                  <a:lnTo>
                    <a:pt x="6" y="116"/>
                  </a:lnTo>
                  <a:lnTo>
                    <a:pt x="10" y="137"/>
                  </a:lnTo>
                  <a:lnTo>
                    <a:pt x="12" y="149"/>
                  </a:lnTo>
                  <a:lnTo>
                    <a:pt x="14" y="159"/>
                  </a:lnTo>
                  <a:lnTo>
                    <a:pt x="16" y="172"/>
                  </a:lnTo>
                  <a:lnTo>
                    <a:pt x="18" y="182"/>
                  </a:lnTo>
                  <a:lnTo>
                    <a:pt x="20" y="192"/>
                  </a:lnTo>
                  <a:lnTo>
                    <a:pt x="20" y="204"/>
                  </a:lnTo>
                  <a:lnTo>
                    <a:pt x="22" y="215"/>
                  </a:lnTo>
                  <a:lnTo>
                    <a:pt x="24" y="225"/>
                  </a:lnTo>
                  <a:lnTo>
                    <a:pt x="24" y="225"/>
                  </a:lnTo>
                  <a:lnTo>
                    <a:pt x="24" y="225"/>
                  </a:lnTo>
                  <a:lnTo>
                    <a:pt x="24" y="225"/>
                  </a:lnTo>
                  <a:lnTo>
                    <a:pt x="24" y="225"/>
                  </a:lnTo>
                  <a:lnTo>
                    <a:pt x="24" y="227"/>
                  </a:lnTo>
                  <a:lnTo>
                    <a:pt x="24" y="227"/>
                  </a:lnTo>
                  <a:lnTo>
                    <a:pt x="24" y="227"/>
                  </a:lnTo>
                  <a:lnTo>
                    <a:pt x="24" y="227"/>
                  </a:lnTo>
                  <a:lnTo>
                    <a:pt x="28" y="243"/>
                  </a:lnTo>
                  <a:lnTo>
                    <a:pt x="30" y="252"/>
                  </a:lnTo>
                  <a:lnTo>
                    <a:pt x="30" y="260"/>
                  </a:lnTo>
                  <a:lnTo>
                    <a:pt x="32" y="268"/>
                  </a:lnTo>
                  <a:lnTo>
                    <a:pt x="34" y="276"/>
                  </a:lnTo>
                  <a:lnTo>
                    <a:pt x="37" y="284"/>
                  </a:lnTo>
                  <a:lnTo>
                    <a:pt x="37" y="295"/>
                  </a:lnTo>
                  <a:lnTo>
                    <a:pt x="39" y="301"/>
                  </a:lnTo>
                  <a:lnTo>
                    <a:pt x="41" y="309"/>
                  </a:lnTo>
                  <a:lnTo>
                    <a:pt x="41" y="315"/>
                  </a:lnTo>
                  <a:lnTo>
                    <a:pt x="43" y="323"/>
                  </a:lnTo>
                  <a:lnTo>
                    <a:pt x="53" y="321"/>
                  </a:lnTo>
                  <a:lnTo>
                    <a:pt x="63" y="319"/>
                  </a:lnTo>
                  <a:lnTo>
                    <a:pt x="75" y="317"/>
                  </a:lnTo>
                  <a:lnTo>
                    <a:pt x="86" y="315"/>
                  </a:lnTo>
                  <a:lnTo>
                    <a:pt x="96" y="313"/>
                  </a:lnTo>
                  <a:lnTo>
                    <a:pt x="106" y="311"/>
                  </a:lnTo>
                  <a:lnTo>
                    <a:pt x="118" y="309"/>
                  </a:lnTo>
                  <a:lnTo>
                    <a:pt x="129" y="307"/>
                  </a:lnTo>
                  <a:lnTo>
                    <a:pt x="139" y="305"/>
                  </a:lnTo>
                  <a:lnTo>
                    <a:pt x="147" y="303"/>
                  </a:lnTo>
                  <a:lnTo>
                    <a:pt x="157" y="301"/>
                  </a:lnTo>
                  <a:lnTo>
                    <a:pt x="168" y="301"/>
                  </a:lnTo>
                  <a:lnTo>
                    <a:pt x="176" y="299"/>
                  </a:lnTo>
                  <a:lnTo>
                    <a:pt x="186" y="297"/>
                  </a:lnTo>
                  <a:lnTo>
                    <a:pt x="196" y="295"/>
                  </a:lnTo>
                  <a:lnTo>
                    <a:pt x="204" y="293"/>
                  </a:lnTo>
                  <a:lnTo>
                    <a:pt x="215" y="291"/>
                  </a:lnTo>
                  <a:lnTo>
                    <a:pt x="223" y="288"/>
                  </a:lnTo>
                  <a:lnTo>
                    <a:pt x="233" y="286"/>
                  </a:lnTo>
                  <a:lnTo>
                    <a:pt x="243" y="284"/>
                  </a:lnTo>
                  <a:lnTo>
                    <a:pt x="252" y="282"/>
                  </a:lnTo>
                  <a:lnTo>
                    <a:pt x="262" y="280"/>
                  </a:lnTo>
                  <a:lnTo>
                    <a:pt x="272" y="278"/>
                  </a:lnTo>
                  <a:lnTo>
                    <a:pt x="280" y="278"/>
                  </a:lnTo>
                  <a:lnTo>
                    <a:pt x="291" y="276"/>
                  </a:lnTo>
                  <a:lnTo>
                    <a:pt x="301" y="274"/>
                  </a:lnTo>
                  <a:lnTo>
                    <a:pt x="309" y="272"/>
                  </a:lnTo>
                  <a:lnTo>
                    <a:pt x="319" y="270"/>
                  </a:lnTo>
                  <a:lnTo>
                    <a:pt x="329" y="268"/>
                  </a:lnTo>
                  <a:lnTo>
                    <a:pt x="338" y="266"/>
                  </a:lnTo>
                  <a:lnTo>
                    <a:pt x="348" y="264"/>
                  </a:lnTo>
                  <a:lnTo>
                    <a:pt x="356" y="262"/>
                  </a:lnTo>
                  <a:lnTo>
                    <a:pt x="366" y="260"/>
                  </a:lnTo>
                  <a:lnTo>
                    <a:pt x="377" y="258"/>
                  </a:lnTo>
                  <a:lnTo>
                    <a:pt x="385" y="256"/>
                  </a:lnTo>
                  <a:lnTo>
                    <a:pt x="395" y="254"/>
                  </a:lnTo>
                  <a:lnTo>
                    <a:pt x="405" y="252"/>
                  </a:lnTo>
                  <a:lnTo>
                    <a:pt x="413" y="250"/>
                  </a:lnTo>
                  <a:lnTo>
                    <a:pt x="424" y="248"/>
                  </a:lnTo>
                  <a:lnTo>
                    <a:pt x="432" y="245"/>
                  </a:lnTo>
                  <a:lnTo>
                    <a:pt x="434" y="245"/>
                  </a:lnTo>
                  <a:lnTo>
                    <a:pt x="434" y="245"/>
                  </a:lnTo>
                  <a:lnTo>
                    <a:pt x="434" y="241"/>
                  </a:lnTo>
                  <a:lnTo>
                    <a:pt x="436" y="237"/>
                  </a:lnTo>
                  <a:lnTo>
                    <a:pt x="438" y="233"/>
                  </a:lnTo>
                  <a:lnTo>
                    <a:pt x="438" y="233"/>
                  </a:lnTo>
                  <a:lnTo>
                    <a:pt x="440" y="231"/>
                  </a:lnTo>
                  <a:lnTo>
                    <a:pt x="442" y="229"/>
                  </a:lnTo>
                  <a:lnTo>
                    <a:pt x="444" y="229"/>
                  </a:lnTo>
                  <a:lnTo>
                    <a:pt x="446" y="227"/>
                  </a:lnTo>
                  <a:lnTo>
                    <a:pt x="448" y="227"/>
                  </a:lnTo>
                  <a:lnTo>
                    <a:pt x="452" y="227"/>
                  </a:lnTo>
                  <a:lnTo>
                    <a:pt x="456" y="227"/>
                  </a:lnTo>
                  <a:lnTo>
                    <a:pt x="458" y="227"/>
                  </a:lnTo>
                  <a:lnTo>
                    <a:pt x="460" y="229"/>
                  </a:lnTo>
                  <a:lnTo>
                    <a:pt x="460" y="229"/>
                  </a:lnTo>
                  <a:lnTo>
                    <a:pt x="463" y="225"/>
                  </a:lnTo>
                  <a:lnTo>
                    <a:pt x="463" y="225"/>
                  </a:lnTo>
                  <a:lnTo>
                    <a:pt x="465" y="223"/>
                  </a:lnTo>
                  <a:lnTo>
                    <a:pt x="469" y="221"/>
                  </a:lnTo>
                  <a:lnTo>
                    <a:pt x="471" y="221"/>
                  </a:lnTo>
                  <a:lnTo>
                    <a:pt x="473" y="219"/>
                  </a:lnTo>
                  <a:lnTo>
                    <a:pt x="477" y="217"/>
                  </a:lnTo>
                  <a:lnTo>
                    <a:pt x="481" y="215"/>
                  </a:lnTo>
                  <a:lnTo>
                    <a:pt x="481" y="213"/>
                  </a:lnTo>
                  <a:lnTo>
                    <a:pt x="481" y="211"/>
                  </a:lnTo>
                  <a:lnTo>
                    <a:pt x="481" y="209"/>
                  </a:lnTo>
                  <a:lnTo>
                    <a:pt x="481" y="207"/>
                  </a:lnTo>
                  <a:lnTo>
                    <a:pt x="483" y="204"/>
                  </a:lnTo>
                  <a:lnTo>
                    <a:pt x="485" y="204"/>
                  </a:lnTo>
                  <a:lnTo>
                    <a:pt x="487" y="200"/>
                  </a:lnTo>
                  <a:lnTo>
                    <a:pt x="489" y="200"/>
                  </a:lnTo>
                  <a:lnTo>
                    <a:pt x="491" y="198"/>
                  </a:lnTo>
                  <a:lnTo>
                    <a:pt x="491" y="196"/>
                  </a:lnTo>
                  <a:lnTo>
                    <a:pt x="493" y="192"/>
                  </a:lnTo>
                  <a:lnTo>
                    <a:pt x="495" y="192"/>
                  </a:lnTo>
                  <a:lnTo>
                    <a:pt x="497" y="190"/>
                  </a:lnTo>
                  <a:lnTo>
                    <a:pt x="499" y="190"/>
                  </a:lnTo>
                  <a:lnTo>
                    <a:pt x="501" y="186"/>
                  </a:lnTo>
                  <a:lnTo>
                    <a:pt x="501" y="186"/>
                  </a:lnTo>
                  <a:lnTo>
                    <a:pt x="504" y="184"/>
                  </a:lnTo>
                  <a:lnTo>
                    <a:pt x="506" y="184"/>
                  </a:lnTo>
                  <a:lnTo>
                    <a:pt x="508" y="182"/>
                  </a:lnTo>
                  <a:lnTo>
                    <a:pt x="510" y="180"/>
                  </a:lnTo>
                  <a:lnTo>
                    <a:pt x="508" y="178"/>
                  </a:lnTo>
                  <a:lnTo>
                    <a:pt x="506" y="176"/>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PA</a:t>
              </a:r>
            </a:p>
          </p:txBody>
        </p:sp>
        <p:sp>
          <p:nvSpPr>
            <p:cNvPr id="256" name="Freeform 18">
              <a:extLst>
                <a:ext uri="{FF2B5EF4-FFF2-40B4-BE49-F238E27FC236}">
                  <a16:creationId xmlns:a16="http://schemas.microsoft.com/office/drawing/2014/main" id="{DFA9C564-8980-E89A-4F43-3F1554222EF6}"/>
                </a:ext>
              </a:extLst>
            </p:cNvPr>
            <p:cNvSpPr>
              <a:spLocks/>
            </p:cNvSpPr>
            <p:nvPr/>
          </p:nvSpPr>
          <p:spPr bwMode="auto">
            <a:xfrm>
              <a:off x="747" y="264"/>
              <a:ext cx="692" cy="537"/>
            </a:xfrm>
            <a:custGeom>
              <a:avLst/>
              <a:gdLst>
                <a:gd name="T0" fmla="*/ 205 w 692"/>
                <a:gd name="T1" fmla="*/ 31 h 537"/>
                <a:gd name="T2" fmla="*/ 209 w 692"/>
                <a:gd name="T3" fmla="*/ 58 h 537"/>
                <a:gd name="T4" fmla="*/ 211 w 692"/>
                <a:gd name="T5" fmla="*/ 80 h 537"/>
                <a:gd name="T6" fmla="*/ 246 w 692"/>
                <a:gd name="T7" fmla="*/ 95 h 537"/>
                <a:gd name="T8" fmla="*/ 328 w 692"/>
                <a:gd name="T9" fmla="*/ 99 h 537"/>
                <a:gd name="T10" fmla="*/ 344 w 692"/>
                <a:gd name="T11" fmla="*/ 105 h 537"/>
                <a:gd name="T12" fmla="*/ 369 w 692"/>
                <a:gd name="T13" fmla="*/ 103 h 537"/>
                <a:gd name="T14" fmla="*/ 397 w 692"/>
                <a:gd name="T15" fmla="*/ 107 h 537"/>
                <a:gd name="T16" fmla="*/ 449 w 692"/>
                <a:gd name="T17" fmla="*/ 101 h 537"/>
                <a:gd name="T18" fmla="*/ 504 w 692"/>
                <a:gd name="T19" fmla="*/ 97 h 537"/>
                <a:gd name="T20" fmla="*/ 606 w 692"/>
                <a:gd name="T21" fmla="*/ 115 h 537"/>
                <a:gd name="T22" fmla="*/ 672 w 692"/>
                <a:gd name="T23" fmla="*/ 142 h 537"/>
                <a:gd name="T24" fmla="*/ 692 w 692"/>
                <a:gd name="T25" fmla="*/ 166 h 537"/>
                <a:gd name="T26" fmla="*/ 678 w 692"/>
                <a:gd name="T27" fmla="*/ 189 h 537"/>
                <a:gd name="T28" fmla="*/ 653 w 692"/>
                <a:gd name="T29" fmla="*/ 226 h 537"/>
                <a:gd name="T30" fmla="*/ 641 w 692"/>
                <a:gd name="T31" fmla="*/ 250 h 537"/>
                <a:gd name="T32" fmla="*/ 621 w 692"/>
                <a:gd name="T33" fmla="*/ 273 h 537"/>
                <a:gd name="T34" fmla="*/ 614 w 692"/>
                <a:gd name="T35" fmla="*/ 287 h 537"/>
                <a:gd name="T36" fmla="*/ 621 w 692"/>
                <a:gd name="T37" fmla="*/ 298 h 537"/>
                <a:gd name="T38" fmla="*/ 631 w 692"/>
                <a:gd name="T39" fmla="*/ 304 h 537"/>
                <a:gd name="T40" fmla="*/ 635 w 692"/>
                <a:gd name="T41" fmla="*/ 314 h 537"/>
                <a:gd name="T42" fmla="*/ 631 w 692"/>
                <a:gd name="T43" fmla="*/ 328 h 537"/>
                <a:gd name="T44" fmla="*/ 619 w 692"/>
                <a:gd name="T45" fmla="*/ 347 h 537"/>
                <a:gd name="T46" fmla="*/ 608 w 692"/>
                <a:gd name="T47" fmla="*/ 421 h 537"/>
                <a:gd name="T48" fmla="*/ 590 w 692"/>
                <a:gd name="T49" fmla="*/ 537 h 537"/>
                <a:gd name="T50" fmla="*/ 426 w 692"/>
                <a:gd name="T51" fmla="*/ 511 h 537"/>
                <a:gd name="T52" fmla="*/ 223 w 692"/>
                <a:gd name="T53" fmla="*/ 474 h 537"/>
                <a:gd name="T54" fmla="*/ 14 w 692"/>
                <a:gd name="T55" fmla="*/ 429 h 537"/>
                <a:gd name="T56" fmla="*/ 2 w 692"/>
                <a:gd name="T57" fmla="*/ 396 h 537"/>
                <a:gd name="T58" fmla="*/ 4 w 692"/>
                <a:gd name="T59" fmla="*/ 378 h 537"/>
                <a:gd name="T60" fmla="*/ 8 w 692"/>
                <a:gd name="T61" fmla="*/ 353 h 537"/>
                <a:gd name="T62" fmla="*/ 10 w 692"/>
                <a:gd name="T63" fmla="*/ 326 h 537"/>
                <a:gd name="T64" fmla="*/ 29 w 692"/>
                <a:gd name="T65" fmla="*/ 289 h 537"/>
                <a:gd name="T66" fmla="*/ 35 w 692"/>
                <a:gd name="T67" fmla="*/ 289 h 537"/>
                <a:gd name="T68" fmla="*/ 43 w 692"/>
                <a:gd name="T69" fmla="*/ 283 h 537"/>
                <a:gd name="T70" fmla="*/ 47 w 692"/>
                <a:gd name="T71" fmla="*/ 279 h 537"/>
                <a:gd name="T72" fmla="*/ 49 w 692"/>
                <a:gd name="T73" fmla="*/ 261 h 537"/>
                <a:gd name="T74" fmla="*/ 57 w 692"/>
                <a:gd name="T75" fmla="*/ 255 h 537"/>
                <a:gd name="T76" fmla="*/ 53 w 692"/>
                <a:gd name="T77" fmla="*/ 255 h 537"/>
                <a:gd name="T78" fmla="*/ 66 w 692"/>
                <a:gd name="T79" fmla="*/ 220 h 537"/>
                <a:gd name="T80" fmla="*/ 72 w 692"/>
                <a:gd name="T81" fmla="*/ 193 h 537"/>
                <a:gd name="T82" fmla="*/ 78 w 692"/>
                <a:gd name="T83" fmla="*/ 181 h 537"/>
                <a:gd name="T84" fmla="*/ 84 w 692"/>
                <a:gd name="T85" fmla="*/ 162 h 537"/>
                <a:gd name="T86" fmla="*/ 90 w 692"/>
                <a:gd name="T87" fmla="*/ 138 h 537"/>
                <a:gd name="T88" fmla="*/ 98 w 692"/>
                <a:gd name="T89" fmla="*/ 119 h 537"/>
                <a:gd name="T90" fmla="*/ 104 w 692"/>
                <a:gd name="T91" fmla="*/ 99 h 537"/>
                <a:gd name="T92" fmla="*/ 104 w 692"/>
                <a:gd name="T93" fmla="*/ 89 h 537"/>
                <a:gd name="T94" fmla="*/ 111 w 692"/>
                <a:gd name="T95" fmla="*/ 84 h 537"/>
                <a:gd name="T96" fmla="*/ 113 w 692"/>
                <a:gd name="T97" fmla="*/ 76 h 537"/>
                <a:gd name="T98" fmla="*/ 115 w 692"/>
                <a:gd name="T99" fmla="*/ 68 h 537"/>
                <a:gd name="T100" fmla="*/ 123 w 692"/>
                <a:gd name="T101" fmla="*/ 56 h 537"/>
                <a:gd name="T102" fmla="*/ 117 w 692"/>
                <a:gd name="T103" fmla="*/ 52 h 537"/>
                <a:gd name="T104" fmla="*/ 121 w 692"/>
                <a:gd name="T105" fmla="*/ 27 h 537"/>
                <a:gd name="T106" fmla="*/ 127 w 692"/>
                <a:gd name="T107" fmla="*/ 0 h 537"/>
                <a:gd name="T108" fmla="*/ 137 w 692"/>
                <a:gd name="T109" fmla="*/ 11 h 537"/>
                <a:gd name="T110" fmla="*/ 137 w 692"/>
                <a:gd name="T111" fmla="*/ 9 h 537"/>
                <a:gd name="T112" fmla="*/ 145 w 692"/>
                <a:gd name="T113" fmla="*/ 9 h 537"/>
                <a:gd name="T114" fmla="*/ 162 w 692"/>
                <a:gd name="T115" fmla="*/ 7 h 537"/>
                <a:gd name="T116" fmla="*/ 186 w 692"/>
                <a:gd name="T117" fmla="*/ 1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2" h="537">
                  <a:moveTo>
                    <a:pt x="186" y="17"/>
                  </a:moveTo>
                  <a:lnTo>
                    <a:pt x="190" y="17"/>
                  </a:lnTo>
                  <a:lnTo>
                    <a:pt x="193" y="19"/>
                  </a:lnTo>
                  <a:lnTo>
                    <a:pt x="193" y="19"/>
                  </a:lnTo>
                  <a:lnTo>
                    <a:pt x="195" y="23"/>
                  </a:lnTo>
                  <a:lnTo>
                    <a:pt x="197" y="23"/>
                  </a:lnTo>
                  <a:lnTo>
                    <a:pt x="199" y="23"/>
                  </a:lnTo>
                  <a:lnTo>
                    <a:pt x="201" y="25"/>
                  </a:lnTo>
                  <a:lnTo>
                    <a:pt x="203" y="27"/>
                  </a:lnTo>
                  <a:lnTo>
                    <a:pt x="205" y="29"/>
                  </a:lnTo>
                  <a:lnTo>
                    <a:pt x="205" y="31"/>
                  </a:lnTo>
                  <a:lnTo>
                    <a:pt x="207" y="33"/>
                  </a:lnTo>
                  <a:lnTo>
                    <a:pt x="207" y="35"/>
                  </a:lnTo>
                  <a:lnTo>
                    <a:pt x="207" y="39"/>
                  </a:lnTo>
                  <a:lnTo>
                    <a:pt x="209" y="41"/>
                  </a:lnTo>
                  <a:lnTo>
                    <a:pt x="209" y="41"/>
                  </a:lnTo>
                  <a:lnTo>
                    <a:pt x="209" y="43"/>
                  </a:lnTo>
                  <a:lnTo>
                    <a:pt x="211" y="46"/>
                  </a:lnTo>
                  <a:lnTo>
                    <a:pt x="209" y="50"/>
                  </a:lnTo>
                  <a:lnTo>
                    <a:pt x="211" y="54"/>
                  </a:lnTo>
                  <a:lnTo>
                    <a:pt x="209" y="56"/>
                  </a:lnTo>
                  <a:lnTo>
                    <a:pt x="209" y="58"/>
                  </a:lnTo>
                  <a:lnTo>
                    <a:pt x="209" y="60"/>
                  </a:lnTo>
                  <a:lnTo>
                    <a:pt x="209" y="64"/>
                  </a:lnTo>
                  <a:lnTo>
                    <a:pt x="209" y="64"/>
                  </a:lnTo>
                  <a:lnTo>
                    <a:pt x="209" y="66"/>
                  </a:lnTo>
                  <a:lnTo>
                    <a:pt x="209" y="68"/>
                  </a:lnTo>
                  <a:lnTo>
                    <a:pt x="209" y="68"/>
                  </a:lnTo>
                  <a:lnTo>
                    <a:pt x="209" y="72"/>
                  </a:lnTo>
                  <a:lnTo>
                    <a:pt x="209" y="76"/>
                  </a:lnTo>
                  <a:lnTo>
                    <a:pt x="209" y="76"/>
                  </a:lnTo>
                  <a:lnTo>
                    <a:pt x="209" y="78"/>
                  </a:lnTo>
                  <a:lnTo>
                    <a:pt x="211" y="80"/>
                  </a:lnTo>
                  <a:lnTo>
                    <a:pt x="213" y="82"/>
                  </a:lnTo>
                  <a:lnTo>
                    <a:pt x="219" y="84"/>
                  </a:lnTo>
                  <a:lnTo>
                    <a:pt x="221" y="84"/>
                  </a:lnTo>
                  <a:lnTo>
                    <a:pt x="223" y="84"/>
                  </a:lnTo>
                  <a:lnTo>
                    <a:pt x="225" y="87"/>
                  </a:lnTo>
                  <a:lnTo>
                    <a:pt x="229" y="89"/>
                  </a:lnTo>
                  <a:lnTo>
                    <a:pt x="231" y="91"/>
                  </a:lnTo>
                  <a:lnTo>
                    <a:pt x="238" y="91"/>
                  </a:lnTo>
                  <a:lnTo>
                    <a:pt x="244" y="95"/>
                  </a:lnTo>
                  <a:lnTo>
                    <a:pt x="244" y="95"/>
                  </a:lnTo>
                  <a:lnTo>
                    <a:pt x="246" y="95"/>
                  </a:lnTo>
                  <a:lnTo>
                    <a:pt x="252" y="93"/>
                  </a:lnTo>
                  <a:lnTo>
                    <a:pt x="266" y="91"/>
                  </a:lnTo>
                  <a:lnTo>
                    <a:pt x="270" y="91"/>
                  </a:lnTo>
                  <a:lnTo>
                    <a:pt x="276" y="87"/>
                  </a:lnTo>
                  <a:lnTo>
                    <a:pt x="281" y="87"/>
                  </a:lnTo>
                  <a:lnTo>
                    <a:pt x="283" y="87"/>
                  </a:lnTo>
                  <a:lnTo>
                    <a:pt x="289" y="89"/>
                  </a:lnTo>
                  <a:lnTo>
                    <a:pt x="299" y="89"/>
                  </a:lnTo>
                  <a:lnTo>
                    <a:pt x="322" y="95"/>
                  </a:lnTo>
                  <a:lnTo>
                    <a:pt x="326" y="97"/>
                  </a:lnTo>
                  <a:lnTo>
                    <a:pt x="328" y="99"/>
                  </a:lnTo>
                  <a:lnTo>
                    <a:pt x="328" y="101"/>
                  </a:lnTo>
                  <a:lnTo>
                    <a:pt x="328" y="103"/>
                  </a:lnTo>
                  <a:lnTo>
                    <a:pt x="328" y="105"/>
                  </a:lnTo>
                  <a:lnTo>
                    <a:pt x="330" y="105"/>
                  </a:lnTo>
                  <a:lnTo>
                    <a:pt x="332" y="105"/>
                  </a:lnTo>
                  <a:lnTo>
                    <a:pt x="338" y="105"/>
                  </a:lnTo>
                  <a:lnTo>
                    <a:pt x="338" y="105"/>
                  </a:lnTo>
                  <a:lnTo>
                    <a:pt x="340" y="105"/>
                  </a:lnTo>
                  <a:lnTo>
                    <a:pt x="342" y="105"/>
                  </a:lnTo>
                  <a:lnTo>
                    <a:pt x="342" y="105"/>
                  </a:lnTo>
                  <a:lnTo>
                    <a:pt x="344" y="105"/>
                  </a:lnTo>
                  <a:lnTo>
                    <a:pt x="346" y="105"/>
                  </a:lnTo>
                  <a:lnTo>
                    <a:pt x="346" y="107"/>
                  </a:lnTo>
                  <a:lnTo>
                    <a:pt x="350" y="107"/>
                  </a:lnTo>
                  <a:lnTo>
                    <a:pt x="352" y="107"/>
                  </a:lnTo>
                  <a:lnTo>
                    <a:pt x="354" y="107"/>
                  </a:lnTo>
                  <a:lnTo>
                    <a:pt x="354" y="107"/>
                  </a:lnTo>
                  <a:lnTo>
                    <a:pt x="358" y="105"/>
                  </a:lnTo>
                  <a:lnTo>
                    <a:pt x="358" y="105"/>
                  </a:lnTo>
                  <a:lnTo>
                    <a:pt x="365" y="105"/>
                  </a:lnTo>
                  <a:lnTo>
                    <a:pt x="369" y="105"/>
                  </a:lnTo>
                  <a:lnTo>
                    <a:pt x="369" y="103"/>
                  </a:lnTo>
                  <a:lnTo>
                    <a:pt x="369" y="103"/>
                  </a:lnTo>
                  <a:lnTo>
                    <a:pt x="371" y="103"/>
                  </a:lnTo>
                  <a:lnTo>
                    <a:pt x="373" y="103"/>
                  </a:lnTo>
                  <a:lnTo>
                    <a:pt x="383" y="107"/>
                  </a:lnTo>
                  <a:lnTo>
                    <a:pt x="385" y="107"/>
                  </a:lnTo>
                  <a:lnTo>
                    <a:pt x="387" y="107"/>
                  </a:lnTo>
                  <a:lnTo>
                    <a:pt x="387" y="107"/>
                  </a:lnTo>
                  <a:lnTo>
                    <a:pt x="391" y="107"/>
                  </a:lnTo>
                  <a:lnTo>
                    <a:pt x="391" y="107"/>
                  </a:lnTo>
                  <a:lnTo>
                    <a:pt x="393" y="107"/>
                  </a:lnTo>
                  <a:lnTo>
                    <a:pt x="397" y="107"/>
                  </a:lnTo>
                  <a:lnTo>
                    <a:pt x="397" y="107"/>
                  </a:lnTo>
                  <a:lnTo>
                    <a:pt x="399" y="107"/>
                  </a:lnTo>
                  <a:lnTo>
                    <a:pt x="401" y="107"/>
                  </a:lnTo>
                  <a:lnTo>
                    <a:pt x="403" y="107"/>
                  </a:lnTo>
                  <a:lnTo>
                    <a:pt x="406" y="107"/>
                  </a:lnTo>
                  <a:lnTo>
                    <a:pt x="408" y="107"/>
                  </a:lnTo>
                  <a:lnTo>
                    <a:pt x="410" y="105"/>
                  </a:lnTo>
                  <a:lnTo>
                    <a:pt x="412" y="103"/>
                  </a:lnTo>
                  <a:lnTo>
                    <a:pt x="416" y="103"/>
                  </a:lnTo>
                  <a:lnTo>
                    <a:pt x="428" y="101"/>
                  </a:lnTo>
                  <a:lnTo>
                    <a:pt x="449" y="101"/>
                  </a:lnTo>
                  <a:lnTo>
                    <a:pt x="453" y="99"/>
                  </a:lnTo>
                  <a:lnTo>
                    <a:pt x="455" y="97"/>
                  </a:lnTo>
                  <a:lnTo>
                    <a:pt x="457" y="97"/>
                  </a:lnTo>
                  <a:lnTo>
                    <a:pt x="459" y="97"/>
                  </a:lnTo>
                  <a:lnTo>
                    <a:pt x="465" y="99"/>
                  </a:lnTo>
                  <a:lnTo>
                    <a:pt x="469" y="99"/>
                  </a:lnTo>
                  <a:lnTo>
                    <a:pt x="475" y="99"/>
                  </a:lnTo>
                  <a:lnTo>
                    <a:pt x="494" y="101"/>
                  </a:lnTo>
                  <a:lnTo>
                    <a:pt x="498" y="101"/>
                  </a:lnTo>
                  <a:lnTo>
                    <a:pt x="502" y="97"/>
                  </a:lnTo>
                  <a:lnTo>
                    <a:pt x="504" y="97"/>
                  </a:lnTo>
                  <a:lnTo>
                    <a:pt x="506" y="99"/>
                  </a:lnTo>
                  <a:lnTo>
                    <a:pt x="516" y="101"/>
                  </a:lnTo>
                  <a:lnTo>
                    <a:pt x="526" y="101"/>
                  </a:lnTo>
                  <a:lnTo>
                    <a:pt x="537" y="103"/>
                  </a:lnTo>
                  <a:lnTo>
                    <a:pt x="547" y="105"/>
                  </a:lnTo>
                  <a:lnTo>
                    <a:pt x="555" y="107"/>
                  </a:lnTo>
                  <a:lnTo>
                    <a:pt x="565" y="109"/>
                  </a:lnTo>
                  <a:lnTo>
                    <a:pt x="576" y="109"/>
                  </a:lnTo>
                  <a:lnTo>
                    <a:pt x="586" y="111"/>
                  </a:lnTo>
                  <a:lnTo>
                    <a:pt x="596" y="113"/>
                  </a:lnTo>
                  <a:lnTo>
                    <a:pt x="606" y="115"/>
                  </a:lnTo>
                  <a:lnTo>
                    <a:pt x="616" y="117"/>
                  </a:lnTo>
                  <a:lnTo>
                    <a:pt x="625" y="117"/>
                  </a:lnTo>
                  <a:lnTo>
                    <a:pt x="635" y="119"/>
                  </a:lnTo>
                  <a:lnTo>
                    <a:pt x="645" y="121"/>
                  </a:lnTo>
                  <a:lnTo>
                    <a:pt x="655" y="123"/>
                  </a:lnTo>
                  <a:lnTo>
                    <a:pt x="666" y="123"/>
                  </a:lnTo>
                  <a:lnTo>
                    <a:pt x="666" y="125"/>
                  </a:lnTo>
                  <a:lnTo>
                    <a:pt x="666" y="127"/>
                  </a:lnTo>
                  <a:lnTo>
                    <a:pt x="668" y="134"/>
                  </a:lnTo>
                  <a:lnTo>
                    <a:pt x="672" y="140"/>
                  </a:lnTo>
                  <a:lnTo>
                    <a:pt x="672" y="142"/>
                  </a:lnTo>
                  <a:lnTo>
                    <a:pt x="672" y="142"/>
                  </a:lnTo>
                  <a:lnTo>
                    <a:pt x="678" y="144"/>
                  </a:lnTo>
                  <a:lnTo>
                    <a:pt x="678" y="146"/>
                  </a:lnTo>
                  <a:lnTo>
                    <a:pt x="680" y="148"/>
                  </a:lnTo>
                  <a:lnTo>
                    <a:pt x="684" y="150"/>
                  </a:lnTo>
                  <a:lnTo>
                    <a:pt x="686" y="152"/>
                  </a:lnTo>
                  <a:lnTo>
                    <a:pt x="688" y="152"/>
                  </a:lnTo>
                  <a:lnTo>
                    <a:pt x="688" y="154"/>
                  </a:lnTo>
                  <a:lnTo>
                    <a:pt x="690" y="156"/>
                  </a:lnTo>
                  <a:lnTo>
                    <a:pt x="690" y="160"/>
                  </a:lnTo>
                  <a:lnTo>
                    <a:pt x="692" y="166"/>
                  </a:lnTo>
                  <a:lnTo>
                    <a:pt x="692" y="168"/>
                  </a:lnTo>
                  <a:lnTo>
                    <a:pt x="692" y="171"/>
                  </a:lnTo>
                  <a:lnTo>
                    <a:pt x="692" y="173"/>
                  </a:lnTo>
                  <a:lnTo>
                    <a:pt x="690" y="175"/>
                  </a:lnTo>
                  <a:lnTo>
                    <a:pt x="688" y="177"/>
                  </a:lnTo>
                  <a:lnTo>
                    <a:pt x="686" y="177"/>
                  </a:lnTo>
                  <a:lnTo>
                    <a:pt x="684" y="179"/>
                  </a:lnTo>
                  <a:lnTo>
                    <a:pt x="684" y="181"/>
                  </a:lnTo>
                  <a:lnTo>
                    <a:pt x="684" y="183"/>
                  </a:lnTo>
                  <a:lnTo>
                    <a:pt x="680" y="187"/>
                  </a:lnTo>
                  <a:lnTo>
                    <a:pt x="678" y="189"/>
                  </a:lnTo>
                  <a:lnTo>
                    <a:pt x="674" y="193"/>
                  </a:lnTo>
                  <a:lnTo>
                    <a:pt x="674" y="195"/>
                  </a:lnTo>
                  <a:lnTo>
                    <a:pt x="672" y="197"/>
                  </a:lnTo>
                  <a:lnTo>
                    <a:pt x="672" y="201"/>
                  </a:lnTo>
                  <a:lnTo>
                    <a:pt x="672" y="201"/>
                  </a:lnTo>
                  <a:lnTo>
                    <a:pt x="670" y="203"/>
                  </a:lnTo>
                  <a:lnTo>
                    <a:pt x="668" y="209"/>
                  </a:lnTo>
                  <a:lnTo>
                    <a:pt x="666" y="214"/>
                  </a:lnTo>
                  <a:lnTo>
                    <a:pt x="655" y="224"/>
                  </a:lnTo>
                  <a:lnTo>
                    <a:pt x="653" y="226"/>
                  </a:lnTo>
                  <a:lnTo>
                    <a:pt x="653" y="226"/>
                  </a:lnTo>
                  <a:lnTo>
                    <a:pt x="653" y="228"/>
                  </a:lnTo>
                  <a:lnTo>
                    <a:pt x="653" y="228"/>
                  </a:lnTo>
                  <a:lnTo>
                    <a:pt x="653" y="230"/>
                  </a:lnTo>
                  <a:lnTo>
                    <a:pt x="653" y="230"/>
                  </a:lnTo>
                  <a:lnTo>
                    <a:pt x="653" y="232"/>
                  </a:lnTo>
                  <a:lnTo>
                    <a:pt x="651" y="236"/>
                  </a:lnTo>
                  <a:lnTo>
                    <a:pt x="651" y="238"/>
                  </a:lnTo>
                  <a:lnTo>
                    <a:pt x="649" y="242"/>
                  </a:lnTo>
                  <a:lnTo>
                    <a:pt x="643" y="246"/>
                  </a:lnTo>
                  <a:lnTo>
                    <a:pt x="643" y="248"/>
                  </a:lnTo>
                  <a:lnTo>
                    <a:pt x="641" y="250"/>
                  </a:lnTo>
                  <a:lnTo>
                    <a:pt x="635" y="253"/>
                  </a:lnTo>
                  <a:lnTo>
                    <a:pt x="635" y="253"/>
                  </a:lnTo>
                  <a:lnTo>
                    <a:pt x="633" y="255"/>
                  </a:lnTo>
                  <a:lnTo>
                    <a:pt x="631" y="259"/>
                  </a:lnTo>
                  <a:lnTo>
                    <a:pt x="627" y="263"/>
                  </a:lnTo>
                  <a:lnTo>
                    <a:pt x="627" y="265"/>
                  </a:lnTo>
                  <a:lnTo>
                    <a:pt x="625" y="269"/>
                  </a:lnTo>
                  <a:lnTo>
                    <a:pt x="625" y="271"/>
                  </a:lnTo>
                  <a:lnTo>
                    <a:pt x="623" y="273"/>
                  </a:lnTo>
                  <a:lnTo>
                    <a:pt x="621" y="273"/>
                  </a:lnTo>
                  <a:lnTo>
                    <a:pt x="621" y="273"/>
                  </a:lnTo>
                  <a:lnTo>
                    <a:pt x="619" y="273"/>
                  </a:lnTo>
                  <a:lnTo>
                    <a:pt x="619" y="275"/>
                  </a:lnTo>
                  <a:lnTo>
                    <a:pt x="619" y="275"/>
                  </a:lnTo>
                  <a:lnTo>
                    <a:pt x="619" y="275"/>
                  </a:lnTo>
                  <a:lnTo>
                    <a:pt x="616" y="277"/>
                  </a:lnTo>
                  <a:lnTo>
                    <a:pt x="616" y="277"/>
                  </a:lnTo>
                  <a:lnTo>
                    <a:pt x="616" y="279"/>
                  </a:lnTo>
                  <a:lnTo>
                    <a:pt x="616" y="281"/>
                  </a:lnTo>
                  <a:lnTo>
                    <a:pt x="614" y="283"/>
                  </a:lnTo>
                  <a:lnTo>
                    <a:pt x="614" y="285"/>
                  </a:lnTo>
                  <a:lnTo>
                    <a:pt x="614" y="287"/>
                  </a:lnTo>
                  <a:lnTo>
                    <a:pt x="614" y="289"/>
                  </a:lnTo>
                  <a:lnTo>
                    <a:pt x="614" y="291"/>
                  </a:lnTo>
                  <a:lnTo>
                    <a:pt x="614" y="291"/>
                  </a:lnTo>
                  <a:lnTo>
                    <a:pt x="614" y="293"/>
                  </a:lnTo>
                  <a:lnTo>
                    <a:pt x="614" y="293"/>
                  </a:lnTo>
                  <a:lnTo>
                    <a:pt x="614" y="296"/>
                  </a:lnTo>
                  <a:lnTo>
                    <a:pt x="614" y="298"/>
                  </a:lnTo>
                  <a:lnTo>
                    <a:pt x="619" y="300"/>
                  </a:lnTo>
                  <a:lnTo>
                    <a:pt x="619" y="300"/>
                  </a:lnTo>
                  <a:lnTo>
                    <a:pt x="619" y="300"/>
                  </a:lnTo>
                  <a:lnTo>
                    <a:pt x="621" y="298"/>
                  </a:lnTo>
                  <a:lnTo>
                    <a:pt x="621" y="298"/>
                  </a:lnTo>
                  <a:lnTo>
                    <a:pt x="623" y="298"/>
                  </a:lnTo>
                  <a:lnTo>
                    <a:pt x="623" y="300"/>
                  </a:lnTo>
                  <a:lnTo>
                    <a:pt x="623" y="300"/>
                  </a:lnTo>
                  <a:lnTo>
                    <a:pt x="623" y="302"/>
                  </a:lnTo>
                  <a:lnTo>
                    <a:pt x="625" y="302"/>
                  </a:lnTo>
                  <a:lnTo>
                    <a:pt x="627" y="302"/>
                  </a:lnTo>
                  <a:lnTo>
                    <a:pt x="629" y="302"/>
                  </a:lnTo>
                  <a:lnTo>
                    <a:pt x="631" y="302"/>
                  </a:lnTo>
                  <a:lnTo>
                    <a:pt x="631" y="302"/>
                  </a:lnTo>
                  <a:lnTo>
                    <a:pt x="631" y="304"/>
                  </a:lnTo>
                  <a:lnTo>
                    <a:pt x="631" y="304"/>
                  </a:lnTo>
                  <a:lnTo>
                    <a:pt x="631" y="306"/>
                  </a:lnTo>
                  <a:lnTo>
                    <a:pt x="631" y="308"/>
                  </a:lnTo>
                  <a:lnTo>
                    <a:pt x="631" y="308"/>
                  </a:lnTo>
                  <a:lnTo>
                    <a:pt x="633" y="308"/>
                  </a:lnTo>
                  <a:lnTo>
                    <a:pt x="635" y="310"/>
                  </a:lnTo>
                  <a:lnTo>
                    <a:pt x="635" y="312"/>
                  </a:lnTo>
                  <a:lnTo>
                    <a:pt x="635" y="312"/>
                  </a:lnTo>
                  <a:lnTo>
                    <a:pt x="635" y="314"/>
                  </a:lnTo>
                  <a:lnTo>
                    <a:pt x="635" y="314"/>
                  </a:lnTo>
                  <a:lnTo>
                    <a:pt x="635" y="314"/>
                  </a:lnTo>
                  <a:lnTo>
                    <a:pt x="635" y="316"/>
                  </a:lnTo>
                  <a:lnTo>
                    <a:pt x="633" y="316"/>
                  </a:lnTo>
                  <a:lnTo>
                    <a:pt x="633" y="318"/>
                  </a:lnTo>
                  <a:lnTo>
                    <a:pt x="633" y="318"/>
                  </a:lnTo>
                  <a:lnTo>
                    <a:pt x="631" y="318"/>
                  </a:lnTo>
                  <a:lnTo>
                    <a:pt x="631" y="318"/>
                  </a:lnTo>
                  <a:lnTo>
                    <a:pt x="629" y="318"/>
                  </a:lnTo>
                  <a:lnTo>
                    <a:pt x="629" y="320"/>
                  </a:lnTo>
                  <a:lnTo>
                    <a:pt x="629" y="322"/>
                  </a:lnTo>
                  <a:lnTo>
                    <a:pt x="631" y="324"/>
                  </a:lnTo>
                  <a:lnTo>
                    <a:pt x="631" y="328"/>
                  </a:lnTo>
                  <a:lnTo>
                    <a:pt x="631" y="328"/>
                  </a:lnTo>
                  <a:lnTo>
                    <a:pt x="629" y="330"/>
                  </a:lnTo>
                  <a:lnTo>
                    <a:pt x="629" y="330"/>
                  </a:lnTo>
                  <a:lnTo>
                    <a:pt x="629" y="330"/>
                  </a:lnTo>
                  <a:lnTo>
                    <a:pt x="627" y="334"/>
                  </a:lnTo>
                  <a:lnTo>
                    <a:pt x="627" y="339"/>
                  </a:lnTo>
                  <a:lnTo>
                    <a:pt x="625" y="341"/>
                  </a:lnTo>
                  <a:lnTo>
                    <a:pt x="625" y="343"/>
                  </a:lnTo>
                  <a:lnTo>
                    <a:pt x="623" y="345"/>
                  </a:lnTo>
                  <a:lnTo>
                    <a:pt x="621" y="345"/>
                  </a:lnTo>
                  <a:lnTo>
                    <a:pt x="619" y="347"/>
                  </a:lnTo>
                  <a:lnTo>
                    <a:pt x="619" y="349"/>
                  </a:lnTo>
                  <a:lnTo>
                    <a:pt x="619" y="351"/>
                  </a:lnTo>
                  <a:lnTo>
                    <a:pt x="619" y="351"/>
                  </a:lnTo>
                  <a:lnTo>
                    <a:pt x="619" y="351"/>
                  </a:lnTo>
                  <a:lnTo>
                    <a:pt x="619" y="361"/>
                  </a:lnTo>
                  <a:lnTo>
                    <a:pt x="616" y="365"/>
                  </a:lnTo>
                  <a:lnTo>
                    <a:pt x="616" y="375"/>
                  </a:lnTo>
                  <a:lnTo>
                    <a:pt x="614" y="388"/>
                  </a:lnTo>
                  <a:lnTo>
                    <a:pt x="612" y="398"/>
                  </a:lnTo>
                  <a:lnTo>
                    <a:pt x="610" y="408"/>
                  </a:lnTo>
                  <a:lnTo>
                    <a:pt x="608" y="421"/>
                  </a:lnTo>
                  <a:lnTo>
                    <a:pt x="608" y="431"/>
                  </a:lnTo>
                  <a:lnTo>
                    <a:pt x="606" y="441"/>
                  </a:lnTo>
                  <a:lnTo>
                    <a:pt x="604" y="451"/>
                  </a:lnTo>
                  <a:lnTo>
                    <a:pt x="602" y="464"/>
                  </a:lnTo>
                  <a:lnTo>
                    <a:pt x="600" y="474"/>
                  </a:lnTo>
                  <a:lnTo>
                    <a:pt x="600" y="484"/>
                  </a:lnTo>
                  <a:lnTo>
                    <a:pt x="598" y="494"/>
                  </a:lnTo>
                  <a:lnTo>
                    <a:pt x="596" y="507"/>
                  </a:lnTo>
                  <a:lnTo>
                    <a:pt x="594" y="517"/>
                  </a:lnTo>
                  <a:lnTo>
                    <a:pt x="592" y="527"/>
                  </a:lnTo>
                  <a:lnTo>
                    <a:pt x="590" y="537"/>
                  </a:lnTo>
                  <a:lnTo>
                    <a:pt x="576" y="535"/>
                  </a:lnTo>
                  <a:lnTo>
                    <a:pt x="561" y="533"/>
                  </a:lnTo>
                  <a:lnTo>
                    <a:pt x="545" y="531"/>
                  </a:lnTo>
                  <a:lnTo>
                    <a:pt x="530" y="529"/>
                  </a:lnTo>
                  <a:lnTo>
                    <a:pt x="516" y="527"/>
                  </a:lnTo>
                  <a:lnTo>
                    <a:pt x="500" y="523"/>
                  </a:lnTo>
                  <a:lnTo>
                    <a:pt x="485" y="521"/>
                  </a:lnTo>
                  <a:lnTo>
                    <a:pt x="471" y="519"/>
                  </a:lnTo>
                  <a:lnTo>
                    <a:pt x="455" y="517"/>
                  </a:lnTo>
                  <a:lnTo>
                    <a:pt x="440" y="513"/>
                  </a:lnTo>
                  <a:lnTo>
                    <a:pt x="426" y="511"/>
                  </a:lnTo>
                  <a:lnTo>
                    <a:pt x="410" y="509"/>
                  </a:lnTo>
                  <a:lnTo>
                    <a:pt x="395" y="507"/>
                  </a:lnTo>
                  <a:lnTo>
                    <a:pt x="381" y="503"/>
                  </a:lnTo>
                  <a:lnTo>
                    <a:pt x="365" y="500"/>
                  </a:lnTo>
                  <a:lnTo>
                    <a:pt x="350" y="498"/>
                  </a:lnTo>
                  <a:lnTo>
                    <a:pt x="330" y="494"/>
                  </a:lnTo>
                  <a:lnTo>
                    <a:pt x="307" y="490"/>
                  </a:lnTo>
                  <a:lnTo>
                    <a:pt x="287" y="486"/>
                  </a:lnTo>
                  <a:lnTo>
                    <a:pt x="266" y="482"/>
                  </a:lnTo>
                  <a:lnTo>
                    <a:pt x="244" y="478"/>
                  </a:lnTo>
                  <a:lnTo>
                    <a:pt x="223" y="474"/>
                  </a:lnTo>
                  <a:lnTo>
                    <a:pt x="203" y="470"/>
                  </a:lnTo>
                  <a:lnTo>
                    <a:pt x="182" y="466"/>
                  </a:lnTo>
                  <a:lnTo>
                    <a:pt x="160" y="462"/>
                  </a:lnTo>
                  <a:lnTo>
                    <a:pt x="139" y="457"/>
                  </a:lnTo>
                  <a:lnTo>
                    <a:pt x="119" y="451"/>
                  </a:lnTo>
                  <a:lnTo>
                    <a:pt x="98" y="447"/>
                  </a:lnTo>
                  <a:lnTo>
                    <a:pt x="76" y="443"/>
                  </a:lnTo>
                  <a:lnTo>
                    <a:pt x="55" y="439"/>
                  </a:lnTo>
                  <a:lnTo>
                    <a:pt x="35" y="435"/>
                  </a:lnTo>
                  <a:lnTo>
                    <a:pt x="14" y="429"/>
                  </a:lnTo>
                  <a:lnTo>
                    <a:pt x="14" y="429"/>
                  </a:lnTo>
                  <a:lnTo>
                    <a:pt x="12" y="429"/>
                  </a:lnTo>
                  <a:lnTo>
                    <a:pt x="10" y="427"/>
                  </a:lnTo>
                  <a:lnTo>
                    <a:pt x="6" y="423"/>
                  </a:lnTo>
                  <a:lnTo>
                    <a:pt x="4" y="416"/>
                  </a:lnTo>
                  <a:lnTo>
                    <a:pt x="2" y="416"/>
                  </a:lnTo>
                  <a:lnTo>
                    <a:pt x="2" y="414"/>
                  </a:lnTo>
                  <a:lnTo>
                    <a:pt x="4" y="404"/>
                  </a:lnTo>
                  <a:lnTo>
                    <a:pt x="2" y="400"/>
                  </a:lnTo>
                  <a:lnTo>
                    <a:pt x="2" y="400"/>
                  </a:lnTo>
                  <a:lnTo>
                    <a:pt x="2" y="398"/>
                  </a:lnTo>
                  <a:lnTo>
                    <a:pt x="2" y="396"/>
                  </a:lnTo>
                  <a:lnTo>
                    <a:pt x="2" y="392"/>
                  </a:lnTo>
                  <a:lnTo>
                    <a:pt x="2" y="392"/>
                  </a:lnTo>
                  <a:lnTo>
                    <a:pt x="2" y="392"/>
                  </a:lnTo>
                  <a:lnTo>
                    <a:pt x="0" y="390"/>
                  </a:lnTo>
                  <a:lnTo>
                    <a:pt x="2" y="390"/>
                  </a:lnTo>
                  <a:lnTo>
                    <a:pt x="2" y="390"/>
                  </a:lnTo>
                  <a:lnTo>
                    <a:pt x="4" y="388"/>
                  </a:lnTo>
                  <a:lnTo>
                    <a:pt x="4" y="386"/>
                  </a:lnTo>
                  <a:lnTo>
                    <a:pt x="4" y="384"/>
                  </a:lnTo>
                  <a:lnTo>
                    <a:pt x="4" y="382"/>
                  </a:lnTo>
                  <a:lnTo>
                    <a:pt x="4" y="378"/>
                  </a:lnTo>
                  <a:lnTo>
                    <a:pt x="4" y="378"/>
                  </a:lnTo>
                  <a:lnTo>
                    <a:pt x="6" y="375"/>
                  </a:lnTo>
                  <a:lnTo>
                    <a:pt x="8" y="371"/>
                  </a:lnTo>
                  <a:lnTo>
                    <a:pt x="8" y="371"/>
                  </a:lnTo>
                  <a:lnTo>
                    <a:pt x="10" y="367"/>
                  </a:lnTo>
                  <a:lnTo>
                    <a:pt x="10" y="361"/>
                  </a:lnTo>
                  <a:lnTo>
                    <a:pt x="10" y="359"/>
                  </a:lnTo>
                  <a:lnTo>
                    <a:pt x="10" y="357"/>
                  </a:lnTo>
                  <a:lnTo>
                    <a:pt x="10" y="355"/>
                  </a:lnTo>
                  <a:lnTo>
                    <a:pt x="10" y="355"/>
                  </a:lnTo>
                  <a:lnTo>
                    <a:pt x="8" y="353"/>
                  </a:lnTo>
                  <a:lnTo>
                    <a:pt x="8" y="351"/>
                  </a:lnTo>
                  <a:lnTo>
                    <a:pt x="8" y="349"/>
                  </a:lnTo>
                  <a:lnTo>
                    <a:pt x="6" y="347"/>
                  </a:lnTo>
                  <a:lnTo>
                    <a:pt x="6" y="347"/>
                  </a:lnTo>
                  <a:lnTo>
                    <a:pt x="4" y="347"/>
                  </a:lnTo>
                  <a:lnTo>
                    <a:pt x="4" y="341"/>
                  </a:lnTo>
                  <a:lnTo>
                    <a:pt x="4" y="339"/>
                  </a:lnTo>
                  <a:lnTo>
                    <a:pt x="4" y="339"/>
                  </a:lnTo>
                  <a:lnTo>
                    <a:pt x="2" y="337"/>
                  </a:lnTo>
                  <a:lnTo>
                    <a:pt x="4" y="337"/>
                  </a:lnTo>
                  <a:lnTo>
                    <a:pt x="10" y="326"/>
                  </a:lnTo>
                  <a:lnTo>
                    <a:pt x="14" y="322"/>
                  </a:lnTo>
                  <a:lnTo>
                    <a:pt x="16" y="320"/>
                  </a:lnTo>
                  <a:lnTo>
                    <a:pt x="16" y="318"/>
                  </a:lnTo>
                  <a:lnTo>
                    <a:pt x="18" y="318"/>
                  </a:lnTo>
                  <a:lnTo>
                    <a:pt x="20" y="316"/>
                  </a:lnTo>
                  <a:lnTo>
                    <a:pt x="20" y="314"/>
                  </a:lnTo>
                  <a:lnTo>
                    <a:pt x="23" y="310"/>
                  </a:lnTo>
                  <a:lnTo>
                    <a:pt x="29" y="296"/>
                  </a:lnTo>
                  <a:lnTo>
                    <a:pt x="29" y="291"/>
                  </a:lnTo>
                  <a:lnTo>
                    <a:pt x="29" y="289"/>
                  </a:lnTo>
                  <a:lnTo>
                    <a:pt x="29" y="289"/>
                  </a:lnTo>
                  <a:lnTo>
                    <a:pt x="31" y="287"/>
                  </a:lnTo>
                  <a:lnTo>
                    <a:pt x="31" y="287"/>
                  </a:lnTo>
                  <a:lnTo>
                    <a:pt x="33" y="287"/>
                  </a:lnTo>
                  <a:lnTo>
                    <a:pt x="33" y="285"/>
                  </a:lnTo>
                  <a:lnTo>
                    <a:pt x="35" y="285"/>
                  </a:lnTo>
                  <a:lnTo>
                    <a:pt x="33" y="291"/>
                  </a:lnTo>
                  <a:lnTo>
                    <a:pt x="35" y="293"/>
                  </a:lnTo>
                  <a:lnTo>
                    <a:pt x="35" y="293"/>
                  </a:lnTo>
                  <a:lnTo>
                    <a:pt x="35" y="291"/>
                  </a:lnTo>
                  <a:lnTo>
                    <a:pt x="37" y="289"/>
                  </a:lnTo>
                  <a:lnTo>
                    <a:pt x="35" y="289"/>
                  </a:lnTo>
                  <a:lnTo>
                    <a:pt x="37" y="289"/>
                  </a:lnTo>
                  <a:lnTo>
                    <a:pt x="37" y="289"/>
                  </a:lnTo>
                  <a:lnTo>
                    <a:pt x="37" y="287"/>
                  </a:lnTo>
                  <a:lnTo>
                    <a:pt x="39" y="287"/>
                  </a:lnTo>
                  <a:lnTo>
                    <a:pt x="37" y="285"/>
                  </a:lnTo>
                  <a:lnTo>
                    <a:pt x="39" y="283"/>
                  </a:lnTo>
                  <a:lnTo>
                    <a:pt x="41" y="281"/>
                  </a:lnTo>
                  <a:lnTo>
                    <a:pt x="43" y="281"/>
                  </a:lnTo>
                  <a:lnTo>
                    <a:pt x="45" y="281"/>
                  </a:lnTo>
                  <a:lnTo>
                    <a:pt x="45" y="283"/>
                  </a:lnTo>
                  <a:lnTo>
                    <a:pt x="43" y="283"/>
                  </a:lnTo>
                  <a:lnTo>
                    <a:pt x="45" y="285"/>
                  </a:lnTo>
                  <a:lnTo>
                    <a:pt x="45" y="287"/>
                  </a:lnTo>
                  <a:lnTo>
                    <a:pt x="47" y="287"/>
                  </a:lnTo>
                  <a:lnTo>
                    <a:pt x="47" y="289"/>
                  </a:lnTo>
                  <a:lnTo>
                    <a:pt x="49" y="289"/>
                  </a:lnTo>
                  <a:lnTo>
                    <a:pt x="47" y="283"/>
                  </a:lnTo>
                  <a:lnTo>
                    <a:pt x="47" y="281"/>
                  </a:lnTo>
                  <a:lnTo>
                    <a:pt x="47" y="281"/>
                  </a:lnTo>
                  <a:lnTo>
                    <a:pt x="47" y="279"/>
                  </a:lnTo>
                  <a:lnTo>
                    <a:pt x="47" y="279"/>
                  </a:lnTo>
                  <a:lnTo>
                    <a:pt x="47" y="279"/>
                  </a:lnTo>
                  <a:lnTo>
                    <a:pt x="47" y="277"/>
                  </a:lnTo>
                  <a:lnTo>
                    <a:pt x="45" y="277"/>
                  </a:lnTo>
                  <a:lnTo>
                    <a:pt x="41" y="279"/>
                  </a:lnTo>
                  <a:lnTo>
                    <a:pt x="39" y="283"/>
                  </a:lnTo>
                  <a:lnTo>
                    <a:pt x="37" y="285"/>
                  </a:lnTo>
                  <a:lnTo>
                    <a:pt x="35" y="283"/>
                  </a:lnTo>
                  <a:lnTo>
                    <a:pt x="37" y="281"/>
                  </a:lnTo>
                  <a:lnTo>
                    <a:pt x="45" y="269"/>
                  </a:lnTo>
                  <a:lnTo>
                    <a:pt x="45" y="267"/>
                  </a:lnTo>
                  <a:lnTo>
                    <a:pt x="47" y="265"/>
                  </a:lnTo>
                  <a:lnTo>
                    <a:pt x="49" y="261"/>
                  </a:lnTo>
                  <a:lnTo>
                    <a:pt x="49" y="259"/>
                  </a:lnTo>
                  <a:lnTo>
                    <a:pt x="51" y="259"/>
                  </a:lnTo>
                  <a:lnTo>
                    <a:pt x="53" y="257"/>
                  </a:lnTo>
                  <a:lnTo>
                    <a:pt x="55" y="257"/>
                  </a:lnTo>
                  <a:lnTo>
                    <a:pt x="55" y="255"/>
                  </a:lnTo>
                  <a:lnTo>
                    <a:pt x="55" y="253"/>
                  </a:lnTo>
                  <a:lnTo>
                    <a:pt x="57" y="253"/>
                  </a:lnTo>
                  <a:lnTo>
                    <a:pt x="57" y="253"/>
                  </a:lnTo>
                  <a:lnTo>
                    <a:pt x="57" y="253"/>
                  </a:lnTo>
                  <a:lnTo>
                    <a:pt x="57" y="255"/>
                  </a:lnTo>
                  <a:lnTo>
                    <a:pt x="57" y="255"/>
                  </a:lnTo>
                  <a:lnTo>
                    <a:pt x="57" y="255"/>
                  </a:lnTo>
                  <a:lnTo>
                    <a:pt x="61" y="255"/>
                  </a:lnTo>
                  <a:lnTo>
                    <a:pt x="61" y="255"/>
                  </a:lnTo>
                  <a:lnTo>
                    <a:pt x="61" y="255"/>
                  </a:lnTo>
                  <a:lnTo>
                    <a:pt x="59" y="253"/>
                  </a:lnTo>
                  <a:lnTo>
                    <a:pt x="57" y="250"/>
                  </a:lnTo>
                  <a:lnTo>
                    <a:pt x="57" y="250"/>
                  </a:lnTo>
                  <a:lnTo>
                    <a:pt x="55" y="253"/>
                  </a:lnTo>
                  <a:lnTo>
                    <a:pt x="53" y="255"/>
                  </a:lnTo>
                  <a:lnTo>
                    <a:pt x="53" y="257"/>
                  </a:lnTo>
                  <a:lnTo>
                    <a:pt x="53" y="255"/>
                  </a:lnTo>
                  <a:lnTo>
                    <a:pt x="53" y="253"/>
                  </a:lnTo>
                  <a:lnTo>
                    <a:pt x="55" y="248"/>
                  </a:lnTo>
                  <a:lnTo>
                    <a:pt x="59" y="236"/>
                  </a:lnTo>
                  <a:lnTo>
                    <a:pt x="61" y="232"/>
                  </a:lnTo>
                  <a:lnTo>
                    <a:pt x="61" y="230"/>
                  </a:lnTo>
                  <a:lnTo>
                    <a:pt x="63" y="226"/>
                  </a:lnTo>
                  <a:lnTo>
                    <a:pt x="63" y="226"/>
                  </a:lnTo>
                  <a:lnTo>
                    <a:pt x="63" y="224"/>
                  </a:lnTo>
                  <a:lnTo>
                    <a:pt x="66" y="224"/>
                  </a:lnTo>
                  <a:lnTo>
                    <a:pt x="66" y="224"/>
                  </a:lnTo>
                  <a:lnTo>
                    <a:pt x="66" y="220"/>
                  </a:lnTo>
                  <a:lnTo>
                    <a:pt x="66" y="220"/>
                  </a:lnTo>
                  <a:lnTo>
                    <a:pt x="66" y="218"/>
                  </a:lnTo>
                  <a:lnTo>
                    <a:pt x="66" y="218"/>
                  </a:lnTo>
                  <a:lnTo>
                    <a:pt x="68" y="214"/>
                  </a:lnTo>
                  <a:lnTo>
                    <a:pt x="70" y="205"/>
                  </a:lnTo>
                  <a:lnTo>
                    <a:pt x="72" y="199"/>
                  </a:lnTo>
                  <a:lnTo>
                    <a:pt x="72" y="195"/>
                  </a:lnTo>
                  <a:lnTo>
                    <a:pt x="72" y="195"/>
                  </a:lnTo>
                  <a:lnTo>
                    <a:pt x="72" y="193"/>
                  </a:lnTo>
                  <a:lnTo>
                    <a:pt x="72" y="193"/>
                  </a:lnTo>
                  <a:lnTo>
                    <a:pt x="72" y="193"/>
                  </a:lnTo>
                  <a:lnTo>
                    <a:pt x="74" y="191"/>
                  </a:lnTo>
                  <a:lnTo>
                    <a:pt x="74" y="191"/>
                  </a:lnTo>
                  <a:lnTo>
                    <a:pt x="76" y="185"/>
                  </a:lnTo>
                  <a:lnTo>
                    <a:pt x="78" y="183"/>
                  </a:lnTo>
                  <a:lnTo>
                    <a:pt x="78" y="183"/>
                  </a:lnTo>
                  <a:lnTo>
                    <a:pt x="80" y="183"/>
                  </a:lnTo>
                  <a:lnTo>
                    <a:pt x="82" y="185"/>
                  </a:lnTo>
                  <a:lnTo>
                    <a:pt x="82" y="181"/>
                  </a:lnTo>
                  <a:lnTo>
                    <a:pt x="80" y="181"/>
                  </a:lnTo>
                  <a:lnTo>
                    <a:pt x="80" y="181"/>
                  </a:lnTo>
                  <a:lnTo>
                    <a:pt x="78" y="181"/>
                  </a:lnTo>
                  <a:lnTo>
                    <a:pt x="78" y="179"/>
                  </a:lnTo>
                  <a:lnTo>
                    <a:pt x="78" y="175"/>
                  </a:lnTo>
                  <a:lnTo>
                    <a:pt x="84" y="162"/>
                  </a:lnTo>
                  <a:lnTo>
                    <a:pt x="84" y="162"/>
                  </a:lnTo>
                  <a:lnTo>
                    <a:pt x="86" y="164"/>
                  </a:lnTo>
                  <a:lnTo>
                    <a:pt x="88" y="164"/>
                  </a:lnTo>
                  <a:lnTo>
                    <a:pt x="88" y="162"/>
                  </a:lnTo>
                  <a:lnTo>
                    <a:pt x="88" y="162"/>
                  </a:lnTo>
                  <a:lnTo>
                    <a:pt x="86" y="162"/>
                  </a:lnTo>
                  <a:lnTo>
                    <a:pt x="86" y="162"/>
                  </a:lnTo>
                  <a:lnTo>
                    <a:pt x="84" y="162"/>
                  </a:lnTo>
                  <a:lnTo>
                    <a:pt x="84" y="160"/>
                  </a:lnTo>
                  <a:lnTo>
                    <a:pt x="84" y="160"/>
                  </a:lnTo>
                  <a:lnTo>
                    <a:pt x="84" y="158"/>
                  </a:lnTo>
                  <a:lnTo>
                    <a:pt x="84" y="156"/>
                  </a:lnTo>
                  <a:lnTo>
                    <a:pt x="84" y="156"/>
                  </a:lnTo>
                  <a:lnTo>
                    <a:pt x="86" y="150"/>
                  </a:lnTo>
                  <a:lnTo>
                    <a:pt x="86" y="148"/>
                  </a:lnTo>
                  <a:lnTo>
                    <a:pt x="86" y="148"/>
                  </a:lnTo>
                  <a:lnTo>
                    <a:pt x="88" y="140"/>
                  </a:lnTo>
                  <a:lnTo>
                    <a:pt x="88" y="140"/>
                  </a:lnTo>
                  <a:lnTo>
                    <a:pt x="90" y="138"/>
                  </a:lnTo>
                  <a:lnTo>
                    <a:pt x="92" y="136"/>
                  </a:lnTo>
                  <a:lnTo>
                    <a:pt x="92" y="134"/>
                  </a:lnTo>
                  <a:lnTo>
                    <a:pt x="92" y="134"/>
                  </a:lnTo>
                  <a:lnTo>
                    <a:pt x="92" y="134"/>
                  </a:lnTo>
                  <a:lnTo>
                    <a:pt x="94" y="132"/>
                  </a:lnTo>
                  <a:lnTo>
                    <a:pt x="94" y="130"/>
                  </a:lnTo>
                  <a:lnTo>
                    <a:pt x="94" y="130"/>
                  </a:lnTo>
                  <a:lnTo>
                    <a:pt x="94" y="130"/>
                  </a:lnTo>
                  <a:lnTo>
                    <a:pt x="94" y="127"/>
                  </a:lnTo>
                  <a:lnTo>
                    <a:pt x="96" y="123"/>
                  </a:lnTo>
                  <a:lnTo>
                    <a:pt x="98" y="119"/>
                  </a:lnTo>
                  <a:lnTo>
                    <a:pt x="96" y="117"/>
                  </a:lnTo>
                  <a:lnTo>
                    <a:pt x="96" y="117"/>
                  </a:lnTo>
                  <a:lnTo>
                    <a:pt x="98" y="115"/>
                  </a:lnTo>
                  <a:lnTo>
                    <a:pt x="100" y="113"/>
                  </a:lnTo>
                  <a:lnTo>
                    <a:pt x="102" y="111"/>
                  </a:lnTo>
                  <a:lnTo>
                    <a:pt x="102" y="109"/>
                  </a:lnTo>
                  <a:lnTo>
                    <a:pt x="102" y="107"/>
                  </a:lnTo>
                  <a:lnTo>
                    <a:pt x="102" y="105"/>
                  </a:lnTo>
                  <a:lnTo>
                    <a:pt x="102" y="103"/>
                  </a:lnTo>
                  <a:lnTo>
                    <a:pt x="104" y="103"/>
                  </a:lnTo>
                  <a:lnTo>
                    <a:pt x="104" y="99"/>
                  </a:lnTo>
                  <a:lnTo>
                    <a:pt x="104" y="99"/>
                  </a:lnTo>
                  <a:lnTo>
                    <a:pt x="104" y="99"/>
                  </a:lnTo>
                  <a:lnTo>
                    <a:pt x="107" y="99"/>
                  </a:lnTo>
                  <a:lnTo>
                    <a:pt x="107" y="97"/>
                  </a:lnTo>
                  <a:lnTo>
                    <a:pt x="107" y="97"/>
                  </a:lnTo>
                  <a:lnTo>
                    <a:pt x="107" y="95"/>
                  </a:lnTo>
                  <a:lnTo>
                    <a:pt x="107" y="91"/>
                  </a:lnTo>
                  <a:lnTo>
                    <a:pt x="107" y="91"/>
                  </a:lnTo>
                  <a:lnTo>
                    <a:pt x="104" y="91"/>
                  </a:lnTo>
                  <a:lnTo>
                    <a:pt x="104" y="89"/>
                  </a:lnTo>
                  <a:lnTo>
                    <a:pt x="104" y="89"/>
                  </a:lnTo>
                  <a:lnTo>
                    <a:pt x="107" y="89"/>
                  </a:lnTo>
                  <a:lnTo>
                    <a:pt x="107" y="89"/>
                  </a:lnTo>
                  <a:lnTo>
                    <a:pt x="109" y="87"/>
                  </a:lnTo>
                  <a:lnTo>
                    <a:pt x="109" y="84"/>
                  </a:lnTo>
                  <a:lnTo>
                    <a:pt x="109" y="84"/>
                  </a:lnTo>
                  <a:lnTo>
                    <a:pt x="109" y="82"/>
                  </a:lnTo>
                  <a:lnTo>
                    <a:pt x="109" y="82"/>
                  </a:lnTo>
                  <a:lnTo>
                    <a:pt x="111" y="82"/>
                  </a:lnTo>
                  <a:lnTo>
                    <a:pt x="109" y="82"/>
                  </a:lnTo>
                  <a:lnTo>
                    <a:pt x="109" y="87"/>
                  </a:lnTo>
                  <a:lnTo>
                    <a:pt x="111" y="84"/>
                  </a:lnTo>
                  <a:lnTo>
                    <a:pt x="111" y="84"/>
                  </a:lnTo>
                  <a:lnTo>
                    <a:pt x="113" y="82"/>
                  </a:lnTo>
                  <a:lnTo>
                    <a:pt x="111" y="80"/>
                  </a:lnTo>
                  <a:lnTo>
                    <a:pt x="109" y="78"/>
                  </a:lnTo>
                  <a:lnTo>
                    <a:pt x="111" y="74"/>
                  </a:lnTo>
                  <a:lnTo>
                    <a:pt x="111" y="72"/>
                  </a:lnTo>
                  <a:lnTo>
                    <a:pt x="113" y="68"/>
                  </a:lnTo>
                  <a:lnTo>
                    <a:pt x="113" y="68"/>
                  </a:lnTo>
                  <a:lnTo>
                    <a:pt x="113" y="72"/>
                  </a:lnTo>
                  <a:lnTo>
                    <a:pt x="113" y="74"/>
                  </a:lnTo>
                  <a:lnTo>
                    <a:pt x="113" y="76"/>
                  </a:lnTo>
                  <a:lnTo>
                    <a:pt x="115" y="76"/>
                  </a:lnTo>
                  <a:lnTo>
                    <a:pt x="117" y="78"/>
                  </a:lnTo>
                  <a:lnTo>
                    <a:pt x="117" y="76"/>
                  </a:lnTo>
                  <a:lnTo>
                    <a:pt x="117" y="76"/>
                  </a:lnTo>
                  <a:lnTo>
                    <a:pt x="119" y="76"/>
                  </a:lnTo>
                  <a:lnTo>
                    <a:pt x="119" y="74"/>
                  </a:lnTo>
                  <a:lnTo>
                    <a:pt x="117" y="74"/>
                  </a:lnTo>
                  <a:lnTo>
                    <a:pt x="117" y="72"/>
                  </a:lnTo>
                  <a:lnTo>
                    <a:pt x="117" y="70"/>
                  </a:lnTo>
                  <a:lnTo>
                    <a:pt x="117" y="68"/>
                  </a:lnTo>
                  <a:lnTo>
                    <a:pt x="115" y="68"/>
                  </a:lnTo>
                  <a:lnTo>
                    <a:pt x="113" y="66"/>
                  </a:lnTo>
                  <a:lnTo>
                    <a:pt x="113" y="66"/>
                  </a:lnTo>
                  <a:lnTo>
                    <a:pt x="113" y="64"/>
                  </a:lnTo>
                  <a:lnTo>
                    <a:pt x="115" y="62"/>
                  </a:lnTo>
                  <a:lnTo>
                    <a:pt x="117" y="60"/>
                  </a:lnTo>
                  <a:lnTo>
                    <a:pt x="119" y="58"/>
                  </a:lnTo>
                  <a:lnTo>
                    <a:pt x="119" y="58"/>
                  </a:lnTo>
                  <a:lnTo>
                    <a:pt x="119" y="56"/>
                  </a:lnTo>
                  <a:lnTo>
                    <a:pt x="121" y="56"/>
                  </a:lnTo>
                  <a:lnTo>
                    <a:pt x="121" y="56"/>
                  </a:lnTo>
                  <a:lnTo>
                    <a:pt x="123" y="56"/>
                  </a:lnTo>
                  <a:lnTo>
                    <a:pt x="121" y="56"/>
                  </a:lnTo>
                  <a:lnTo>
                    <a:pt x="121" y="56"/>
                  </a:lnTo>
                  <a:lnTo>
                    <a:pt x="121" y="56"/>
                  </a:lnTo>
                  <a:lnTo>
                    <a:pt x="121" y="56"/>
                  </a:lnTo>
                  <a:lnTo>
                    <a:pt x="119" y="54"/>
                  </a:lnTo>
                  <a:lnTo>
                    <a:pt x="119" y="54"/>
                  </a:lnTo>
                  <a:lnTo>
                    <a:pt x="119" y="56"/>
                  </a:lnTo>
                  <a:lnTo>
                    <a:pt x="117" y="56"/>
                  </a:lnTo>
                  <a:lnTo>
                    <a:pt x="117" y="58"/>
                  </a:lnTo>
                  <a:lnTo>
                    <a:pt x="117" y="54"/>
                  </a:lnTo>
                  <a:lnTo>
                    <a:pt x="117" y="52"/>
                  </a:lnTo>
                  <a:lnTo>
                    <a:pt x="117" y="48"/>
                  </a:lnTo>
                  <a:lnTo>
                    <a:pt x="115" y="48"/>
                  </a:lnTo>
                  <a:lnTo>
                    <a:pt x="117" y="43"/>
                  </a:lnTo>
                  <a:lnTo>
                    <a:pt x="119" y="41"/>
                  </a:lnTo>
                  <a:lnTo>
                    <a:pt x="119" y="35"/>
                  </a:lnTo>
                  <a:lnTo>
                    <a:pt x="121" y="33"/>
                  </a:lnTo>
                  <a:lnTo>
                    <a:pt x="119" y="31"/>
                  </a:lnTo>
                  <a:lnTo>
                    <a:pt x="119" y="29"/>
                  </a:lnTo>
                  <a:lnTo>
                    <a:pt x="119" y="27"/>
                  </a:lnTo>
                  <a:lnTo>
                    <a:pt x="121" y="27"/>
                  </a:lnTo>
                  <a:lnTo>
                    <a:pt x="121" y="27"/>
                  </a:lnTo>
                  <a:lnTo>
                    <a:pt x="123" y="25"/>
                  </a:lnTo>
                  <a:lnTo>
                    <a:pt x="123" y="25"/>
                  </a:lnTo>
                  <a:lnTo>
                    <a:pt x="125" y="25"/>
                  </a:lnTo>
                  <a:lnTo>
                    <a:pt x="125" y="21"/>
                  </a:lnTo>
                  <a:lnTo>
                    <a:pt x="127" y="19"/>
                  </a:lnTo>
                  <a:lnTo>
                    <a:pt x="127" y="17"/>
                  </a:lnTo>
                  <a:lnTo>
                    <a:pt x="127" y="15"/>
                  </a:lnTo>
                  <a:lnTo>
                    <a:pt x="127" y="11"/>
                  </a:lnTo>
                  <a:lnTo>
                    <a:pt x="125" y="2"/>
                  </a:lnTo>
                  <a:lnTo>
                    <a:pt x="125" y="0"/>
                  </a:lnTo>
                  <a:lnTo>
                    <a:pt x="127" y="0"/>
                  </a:lnTo>
                  <a:lnTo>
                    <a:pt x="125" y="0"/>
                  </a:lnTo>
                  <a:lnTo>
                    <a:pt x="125" y="0"/>
                  </a:lnTo>
                  <a:lnTo>
                    <a:pt x="125" y="0"/>
                  </a:lnTo>
                  <a:lnTo>
                    <a:pt x="127" y="2"/>
                  </a:lnTo>
                  <a:lnTo>
                    <a:pt x="129" y="2"/>
                  </a:lnTo>
                  <a:lnTo>
                    <a:pt x="131" y="5"/>
                  </a:lnTo>
                  <a:lnTo>
                    <a:pt x="131" y="7"/>
                  </a:lnTo>
                  <a:lnTo>
                    <a:pt x="133" y="9"/>
                  </a:lnTo>
                  <a:lnTo>
                    <a:pt x="135" y="9"/>
                  </a:lnTo>
                  <a:lnTo>
                    <a:pt x="137" y="9"/>
                  </a:lnTo>
                  <a:lnTo>
                    <a:pt x="137" y="11"/>
                  </a:lnTo>
                  <a:lnTo>
                    <a:pt x="137" y="13"/>
                  </a:lnTo>
                  <a:lnTo>
                    <a:pt x="135" y="13"/>
                  </a:lnTo>
                  <a:lnTo>
                    <a:pt x="137" y="15"/>
                  </a:lnTo>
                  <a:lnTo>
                    <a:pt x="137" y="13"/>
                  </a:lnTo>
                  <a:lnTo>
                    <a:pt x="137" y="13"/>
                  </a:lnTo>
                  <a:lnTo>
                    <a:pt x="137" y="13"/>
                  </a:lnTo>
                  <a:lnTo>
                    <a:pt x="139" y="13"/>
                  </a:lnTo>
                  <a:lnTo>
                    <a:pt x="139" y="11"/>
                  </a:lnTo>
                  <a:lnTo>
                    <a:pt x="139" y="11"/>
                  </a:lnTo>
                  <a:lnTo>
                    <a:pt x="137" y="9"/>
                  </a:lnTo>
                  <a:lnTo>
                    <a:pt x="137" y="9"/>
                  </a:lnTo>
                  <a:lnTo>
                    <a:pt x="137" y="7"/>
                  </a:lnTo>
                  <a:lnTo>
                    <a:pt x="135" y="7"/>
                  </a:lnTo>
                  <a:lnTo>
                    <a:pt x="135" y="7"/>
                  </a:lnTo>
                  <a:lnTo>
                    <a:pt x="135" y="7"/>
                  </a:lnTo>
                  <a:lnTo>
                    <a:pt x="135" y="5"/>
                  </a:lnTo>
                  <a:lnTo>
                    <a:pt x="139" y="7"/>
                  </a:lnTo>
                  <a:lnTo>
                    <a:pt x="141" y="5"/>
                  </a:lnTo>
                  <a:lnTo>
                    <a:pt x="141" y="5"/>
                  </a:lnTo>
                  <a:lnTo>
                    <a:pt x="141" y="7"/>
                  </a:lnTo>
                  <a:lnTo>
                    <a:pt x="143" y="9"/>
                  </a:lnTo>
                  <a:lnTo>
                    <a:pt x="145" y="9"/>
                  </a:lnTo>
                  <a:lnTo>
                    <a:pt x="145" y="9"/>
                  </a:lnTo>
                  <a:lnTo>
                    <a:pt x="154" y="9"/>
                  </a:lnTo>
                  <a:lnTo>
                    <a:pt x="154" y="9"/>
                  </a:lnTo>
                  <a:lnTo>
                    <a:pt x="154" y="9"/>
                  </a:lnTo>
                  <a:lnTo>
                    <a:pt x="154" y="7"/>
                  </a:lnTo>
                  <a:lnTo>
                    <a:pt x="154" y="7"/>
                  </a:lnTo>
                  <a:lnTo>
                    <a:pt x="156" y="9"/>
                  </a:lnTo>
                  <a:lnTo>
                    <a:pt x="158" y="9"/>
                  </a:lnTo>
                  <a:lnTo>
                    <a:pt x="160" y="7"/>
                  </a:lnTo>
                  <a:lnTo>
                    <a:pt x="162" y="7"/>
                  </a:lnTo>
                  <a:lnTo>
                    <a:pt x="162" y="7"/>
                  </a:lnTo>
                  <a:lnTo>
                    <a:pt x="164" y="7"/>
                  </a:lnTo>
                  <a:lnTo>
                    <a:pt x="164" y="9"/>
                  </a:lnTo>
                  <a:lnTo>
                    <a:pt x="168" y="15"/>
                  </a:lnTo>
                  <a:lnTo>
                    <a:pt x="168" y="15"/>
                  </a:lnTo>
                  <a:lnTo>
                    <a:pt x="168" y="17"/>
                  </a:lnTo>
                  <a:lnTo>
                    <a:pt x="176" y="19"/>
                  </a:lnTo>
                  <a:lnTo>
                    <a:pt x="180" y="21"/>
                  </a:lnTo>
                  <a:lnTo>
                    <a:pt x="182" y="21"/>
                  </a:lnTo>
                  <a:lnTo>
                    <a:pt x="184" y="19"/>
                  </a:lnTo>
                  <a:lnTo>
                    <a:pt x="186" y="17"/>
                  </a:lnTo>
                  <a:lnTo>
                    <a:pt x="186" y="17"/>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R</a:t>
              </a:r>
            </a:p>
          </p:txBody>
        </p:sp>
        <p:sp>
          <p:nvSpPr>
            <p:cNvPr id="257" name="Freeform 19">
              <a:extLst>
                <a:ext uri="{FF2B5EF4-FFF2-40B4-BE49-F238E27FC236}">
                  <a16:creationId xmlns:a16="http://schemas.microsoft.com/office/drawing/2014/main" id="{57545FE8-F3AD-E777-23E7-6B7D702FAB41}"/>
                </a:ext>
              </a:extLst>
            </p:cNvPr>
            <p:cNvSpPr>
              <a:spLocks/>
            </p:cNvSpPr>
            <p:nvPr/>
          </p:nvSpPr>
          <p:spPr bwMode="auto">
            <a:xfrm>
              <a:off x="2466" y="1433"/>
              <a:ext cx="758" cy="360"/>
            </a:xfrm>
            <a:custGeom>
              <a:avLst/>
              <a:gdLst>
                <a:gd name="T0" fmla="*/ 750 w 758"/>
                <a:gd name="T1" fmla="*/ 157 h 360"/>
                <a:gd name="T2" fmla="*/ 758 w 758"/>
                <a:gd name="T3" fmla="*/ 336 h 360"/>
                <a:gd name="T4" fmla="*/ 750 w 758"/>
                <a:gd name="T5" fmla="*/ 356 h 360"/>
                <a:gd name="T6" fmla="*/ 740 w 758"/>
                <a:gd name="T7" fmla="*/ 354 h 360"/>
                <a:gd name="T8" fmla="*/ 731 w 758"/>
                <a:gd name="T9" fmla="*/ 350 h 360"/>
                <a:gd name="T10" fmla="*/ 715 w 758"/>
                <a:gd name="T11" fmla="*/ 342 h 360"/>
                <a:gd name="T12" fmla="*/ 707 w 758"/>
                <a:gd name="T13" fmla="*/ 338 h 360"/>
                <a:gd name="T14" fmla="*/ 690 w 758"/>
                <a:gd name="T15" fmla="*/ 329 h 360"/>
                <a:gd name="T16" fmla="*/ 684 w 758"/>
                <a:gd name="T17" fmla="*/ 336 h 360"/>
                <a:gd name="T18" fmla="*/ 680 w 758"/>
                <a:gd name="T19" fmla="*/ 340 h 360"/>
                <a:gd name="T20" fmla="*/ 668 w 758"/>
                <a:gd name="T21" fmla="*/ 338 h 360"/>
                <a:gd name="T22" fmla="*/ 664 w 758"/>
                <a:gd name="T23" fmla="*/ 338 h 360"/>
                <a:gd name="T24" fmla="*/ 656 w 758"/>
                <a:gd name="T25" fmla="*/ 332 h 360"/>
                <a:gd name="T26" fmla="*/ 647 w 758"/>
                <a:gd name="T27" fmla="*/ 338 h 360"/>
                <a:gd name="T28" fmla="*/ 641 w 758"/>
                <a:gd name="T29" fmla="*/ 342 h 360"/>
                <a:gd name="T30" fmla="*/ 629 w 758"/>
                <a:gd name="T31" fmla="*/ 340 h 360"/>
                <a:gd name="T32" fmla="*/ 621 w 758"/>
                <a:gd name="T33" fmla="*/ 344 h 360"/>
                <a:gd name="T34" fmla="*/ 607 w 758"/>
                <a:gd name="T35" fmla="*/ 350 h 360"/>
                <a:gd name="T36" fmla="*/ 596 w 758"/>
                <a:gd name="T37" fmla="*/ 358 h 360"/>
                <a:gd name="T38" fmla="*/ 576 w 758"/>
                <a:gd name="T39" fmla="*/ 350 h 360"/>
                <a:gd name="T40" fmla="*/ 568 w 758"/>
                <a:gd name="T41" fmla="*/ 346 h 360"/>
                <a:gd name="T42" fmla="*/ 566 w 758"/>
                <a:gd name="T43" fmla="*/ 338 h 360"/>
                <a:gd name="T44" fmla="*/ 561 w 758"/>
                <a:gd name="T45" fmla="*/ 344 h 360"/>
                <a:gd name="T46" fmla="*/ 555 w 758"/>
                <a:gd name="T47" fmla="*/ 346 h 360"/>
                <a:gd name="T48" fmla="*/ 543 w 758"/>
                <a:gd name="T49" fmla="*/ 342 h 360"/>
                <a:gd name="T50" fmla="*/ 539 w 758"/>
                <a:gd name="T51" fmla="*/ 336 h 360"/>
                <a:gd name="T52" fmla="*/ 533 w 758"/>
                <a:gd name="T53" fmla="*/ 344 h 360"/>
                <a:gd name="T54" fmla="*/ 527 w 758"/>
                <a:gd name="T55" fmla="*/ 350 h 360"/>
                <a:gd name="T56" fmla="*/ 516 w 758"/>
                <a:gd name="T57" fmla="*/ 356 h 360"/>
                <a:gd name="T58" fmla="*/ 514 w 758"/>
                <a:gd name="T59" fmla="*/ 342 h 360"/>
                <a:gd name="T60" fmla="*/ 508 w 758"/>
                <a:gd name="T61" fmla="*/ 346 h 360"/>
                <a:gd name="T62" fmla="*/ 500 w 758"/>
                <a:gd name="T63" fmla="*/ 348 h 360"/>
                <a:gd name="T64" fmla="*/ 490 w 758"/>
                <a:gd name="T65" fmla="*/ 344 h 360"/>
                <a:gd name="T66" fmla="*/ 473 w 758"/>
                <a:gd name="T67" fmla="*/ 332 h 360"/>
                <a:gd name="T68" fmla="*/ 447 w 758"/>
                <a:gd name="T69" fmla="*/ 344 h 360"/>
                <a:gd name="T70" fmla="*/ 447 w 758"/>
                <a:gd name="T71" fmla="*/ 334 h 360"/>
                <a:gd name="T72" fmla="*/ 434 w 758"/>
                <a:gd name="T73" fmla="*/ 321 h 360"/>
                <a:gd name="T74" fmla="*/ 408 w 758"/>
                <a:gd name="T75" fmla="*/ 319 h 360"/>
                <a:gd name="T76" fmla="*/ 391 w 758"/>
                <a:gd name="T77" fmla="*/ 319 h 360"/>
                <a:gd name="T78" fmla="*/ 377 w 758"/>
                <a:gd name="T79" fmla="*/ 317 h 360"/>
                <a:gd name="T80" fmla="*/ 348 w 758"/>
                <a:gd name="T81" fmla="*/ 311 h 360"/>
                <a:gd name="T82" fmla="*/ 334 w 758"/>
                <a:gd name="T83" fmla="*/ 299 h 360"/>
                <a:gd name="T84" fmla="*/ 326 w 758"/>
                <a:gd name="T85" fmla="*/ 288 h 360"/>
                <a:gd name="T86" fmla="*/ 318 w 758"/>
                <a:gd name="T87" fmla="*/ 284 h 360"/>
                <a:gd name="T88" fmla="*/ 303 w 758"/>
                <a:gd name="T89" fmla="*/ 288 h 360"/>
                <a:gd name="T90" fmla="*/ 291 w 758"/>
                <a:gd name="T91" fmla="*/ 291 h 360"/>
                <a:gd name="T92" fmla="*/ 262 w 758"/>
                <a:gd name="T93" fmla="*/ 272 h 360"/>
                <a:gd name="T94" fmla="*/ 262 w 758"/>
                <a:gd name="T95" fmla="*/ 192 h 360"/>
                <a:gd name="T96" fmla="*/ 262 w 758"/>
                <a:gd name="T97" fmla="*/ 94 h 360"/>
                <a:gd name="T98" fmla="*/ 234 w 758"/>
                <a:gd name="T99" fmla="*/ 65 h 360"/>
                <a:gd name="T100" fmla="*/ 60 w 758"/>
                <a:gd name="T101" fmla="*/ 63 h 360"/>
                <a:gd name="T102" fmla="*/ 2 w 758"/>
                <a:gd name="T103" fmla="*/ 20 h 360"/>
                <a:gd name="T104" fmla="*/ 78 w 758"/>
                <a:gd name="T105" fmla="*/ 10 h 360"/>
                <a:gd name="T106" fmla="*/ 228 w 758"/>
                <a:gd name="T107" fmla="*/ 10 h 360"/>
                <a:gd name="T108" fmla="*/ 389 w 758"/>
                <a:gd name="T109" fmla="*/ 10 h 360"/>
                <a:gd name="T110" fmla="*/ 549 w 758"/>
                <a:gd name="T111" fmla="*/ 6 h 360"/>
                <a:gd name="T112" fmla="*/ 709 w 758"/>
                <a:gd name="T113"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8" h="360">
                  <a:moveTo>
                    <a:pt x="731" y="53"/>
                  </a:moveTo>
                  <a:lnTo>
                    <a:pt x="736" y="67"/>
                  </a:lnTo>
                  <a:lnTo>
                    <a:pt x="738" y="84"/>
                  </a:lnTo>
                  <a:lnTo>
                    <a:pt x="740" y="98"/>
                  </a:lnTo>
                  <a:lnTo>
                    <a:pt x="744" y="112"/>
                  </a:lnTo>
                  <a:lnTo>
                    <a:pt x="746" y="127"/>
                  </a:lnTo>
                  <a:lnTo>
                    <a:pt x="748" y="143"/>
                  </a:lnTo>
                  <a:lnTo>
                    <a:pt x="750" y="157"/>
                  </a:lnTo>
                  <a:lnTo>
                    <a:pt x="754" y="172"/>
                  </a:lnTo>
                  <a:lnTo>
                    <a:pt x="754" y="196"/>
                  </a:lnTo>
                  <a:lnTo>
                    <a:pt x="754" y="219"/>
                  </a:lnTo>
                  <a:lnTo>
                    <a:pt x="756" y="241"/>
                  </a:lnTo>
                  <a:lnTo>
                    <a:pt x="756" y="266"/>
                  </a:lnTo>
                  <a:lnTo>
                    <a:pt x="756" y="288"/>
                  </a:lnTo>
                  <a:lnTo>
                    <a:pt x="758" y="313"/>
                  </a:lnTo>
                  <a:lnTo>
                    <a:pt x="758" y="336"/>
                  </a:lnTo>
                  <a:lnTo>
                    <a:pt x="758" y="360"/>
                  </a:lnTo>
                  <a:lnTo>
                    <a:pt x="758" y="360"/>
                  </a:lnTo>
                  <a:lnTo>
                    <a:pt x="756" y="360"/>
                  </a:lnTo>
                  <a:lnTo>
                    <a:pt x="754" y="358"/>
                  </a:lnTo>
                  <a:lnTo>
                    <a:pt x="754" y="360"/>
                  </a:lnTo>
                  <a:lnTo>
                    <a:pt x="750" y="358"/>
                  </a:lnTo>
                  <a:lnTo>
                    <a:pt x="750" y="358"/>
                  </a:lnTo>
                  <a:lnTo>
                    <a:pt x="750" y="356"/>
                  </a:lnTo>
                  <a:lnTo>
                    <a:pt x="750" y="356"/>
                  </a:lnTo>
                  <a:lnTo>
                    <a:pt x="748" y="356"/>
                  </a:lnTo>
                  <a:lnTo>
                    <a:pt x="746" y="356"/>
                  </a:lnTo>
                  <a:lnTo>
                    <a:pt x="744" y="356"/>
                  </a:lnTo>
                  <a:lnTo>
                    <a:pt x="744" y="356"/>
                  </a:lnTo>
                  <a:lnTo>
                    <a:pt x="742" y="356"/>
                  </a:lnTo>
                  <a:lnTo>
                    <a:pt x="742" y="354"/>
                  </a:lnTo>
                  <a:lnTo>
                    <a:pt x="740" y="354"/>
                  </a:lnTo>
                  <a:lnTo>
                    <a:pt x="740" y="356"/>
                  </a:lnTo>
                  <a:lnTo>
                    <a:pt x="740" y="356"/>
                  </a:lnTo>
                  <a:lnTo>
                    <a:pt x="738" y="356"/>
                  </a:lnTo>
                  <a:lnTo>
                    <a:pt x="738" y="354"/>
                  </a:lnTo>
                  <a:lnTo>
                    <a:pt x="736" y="354"/>
                  </a:lnTo>
                  <a:lnTo>
                    <a:pt x="733" y="352"/>
                  </a:lnTo>
                  <a:lnTo>
                    <a:pt x="733" y="350"/>
                  </a:lnTo>
                  <a:lnTo>
                    <a:pt x="731" y="350"/>
                  </a:lnTo>
                  <a:lnTo>
                    <a:pt x="729" y="350"/>
                  </a:lnTo>
                  <a:lnTo>
                    <a:pt x="723" y="350"/>
                  </a:lnTo>
                  <a:lnTo>
                    <a:pt x="719" y="346"/>
                  </a:lnTo>
                  <a:lnTo>
                    <a:pt x="719" y="344"/>
                  </a:lnTo>
                  <a:lnTo>
                    <a:pt x="717" y="344"/>
                  </a:lnTo>
                  <a:lnTo>
                    <a:pt x="717" y="342"/>
                  </a:lnTo>
                  <a:lnTo>
                    <a:pt x="717" y="342"/>
                  </a:lnTo>
                  <a:lnTo>
                    <a:pt x="715" y="342"/>
                  </a:lnTo>
                  <a:lnTo>
                    <a:pt x="715" y="340"/>
                  </a:lnTo>
                  <a:lnTo>
                    <a:pt x="715" y="340"/>
                  </a:lnTo>
                  <a:lnTo>
                    <a:pt x="715" y="340"/>
                  </a:lnTo>
                  <a:lnTo>
                    <a:pt x="713" y="340"/>
                  </a:lnTo>
                  <a:lnTo>
                    <a:pt x="713" y="338"/>
                  </a:lnTo>
                  <a:lnTo>
                    <a:pt x="711" y="338"/>
                  </a:lnTo>
                  <a:lnTo>
                    <a:pt x="709" y="338"/>
                  </a:lnTo>
                  <a:lnTo>
                    <a:pt x="707" y="338"/>
                  </a:lnTo>
                  <a:lnTo>
                    <a:pt x="705" y="334"/>
                  </a:lnTo>
                  <a:lnTo>
                    <a:pt x="703" y="334"/>
                  </a:lnTo>
                  <a:lnTo>
                    <a:pt x="701" y="334"/>
                  </a:lnTo>
                  <a:lnTo>
                    <a:pt x="699" y="332"/>
                  </a:lnTo>
                  <a:lnTo>
                    <a:pt x="699" y="332"/>
                  </a:lnTo>
                  <a:lnTo>
                    <a:pt x="699" y="332"/>
                  </a:lnTo>
                  <a:lnTo>
                    <a:pt x="697" y="329"/>
                  </a:lnTo>
                  <a:lnTo>
                    <a:pt x="690" y="329"/>
                  </a:lnTo>
                  <a:lnTo>
                    <a:pt x="690" y="329"/>
                  </a:lnTo>
                  <a:lnTo>
                    <a:pt x="688" y="329"/>
                  </a:lnTo>
                  <a:lnTo>
                    <a:pt x="688" y="332"/>
                  </a:lnTo>
                  <a:lnTo>
                    <a:pt x="688" y="334"/>
                  </a:lnTo>
                  <a:lnTo>
                    <a:pt x="686" y="336"/>
                  </a:lnTo>
                  <a:lnTo>
                    <a:pt x="686" y="334"/>
                  </a:lnTo>
                  <a:lnTo>
                    <a:pt x="686" y="336"/>
                  </a:lnTo>
                  <a:lnTo>
                    <a:pt x="684" y="336"/>
                  </a:lnTo>
                  <a:lnTo>
                    <a:pt x="684" y="336"/>
                  </a:lnTo>
                  <a:lnTo>
                    <a:pt x="684" y="338"/>
                  </a:lnTo>
                  <a:lnTo>
                    <a:pt x="682" y="336"/>
                  </a:lnTo>
                  <a:lnTo>
                    <a:pt x="682" y="336"/>
                  </a:lnTo>
                  <a:lnTo>
                    <a:pt x="682" y="338"/>
                  </a:lnTo>
                  <a:lnTo>
                    <a:pt x="682" y="338"/>
                  </a:lnTo>
                  <a:lnTo>
                    <a:pt x="680" y="338"/>
                  </a:lnTo>
                  <a:lnTo>
                    <a:pt x="680" y="340"/>
                  </a:lnTo>
                  <a:lnTo>
                    <a:pt x="680" y="340"/>
                  </a:lnTo>
                  <a:lnTo>
                    <a:pt x="680" y="340"/>
                  </a:lnTo>
                  <a:lnTo>
                    <a:pt x="672" y="340"/>
                  </a:lnTo>
                  <a:lnTo>
                    <a:pt x="672" y="340"/>
                  </a:lnTo>
                  <a:lnTo>
                    <a:pt x="670" y="340"/>
                  </a:lnTo>
                  <a:lnTo>
                    <a:pt x="670" y="338"/>
                  </a:lnTo>
                  <a:lnTo>
                    <a:pt x="670" y="338"/>
                  </a:lnTo>
                  <a:lnTo>
                    <a:pt x="668" y="338"/>
                  </a:lnTo>
                  <a:lnTo>
                    <a:pt x="668" y="338"/>
                  </a:lnTo>
                  <a:lnTo>
                    <a:pt x="668" y="340"/>
                  </a:lnTo>
                  <a:lnTo>
                    <a:pt x="668" y="340"/>
                  </a:lnTo>
                  <a:lnTo>
                    <a:pt x="666" y="338"/>
                  </a:lnTo>
                  <a:lnTo>
                    <a:pt x="666" y="338"/>
                  </a:lnTo>
                  <a:lnTo>
                    <a:pt x="666" y="338"/>
                  </a:lnTo>
                  <a:lnTo>
                    <a:pt x="666" y="338"/>
                  </a:lnTo>
                  <a:lnTo>
                    <a:pt x="664" y="338"/>
                  </a:lnTo>
                  <a:lnTo>
                    <a:pt x="662" y="338"/>
                  </a:lnTo>
                  <a:lnTo>
                    <a:pt x="664" y="336"/>
                  </a:lnTo>
                  <a:lnTo>
                    <a:pt x="662" y="334"/>
                  </a:lnTo>
                  <a:lnTo>
                    <a:pt x="662" y="334"/>
                  </a:lnTo>
                  <a:lnTo>
                    <a:pt x="660" y="332"/>
                  </a:lnTo>
                  <a:lnTo>
                    <a:pt x="658" y="332"/>
                  </a:lnTo>
                  <a:lnTo>
                    <a:pt x="658" y="332"/>
                  </a:lnTo>
                  <a:lnTo>
                    <a:pt x="656" y="332"/>
                  </a:lnTo>
                  <a:lnTo>
                    <a:pt x="656" y="334"/>
                  </a:lnTo>
                  <a:lnTo>
                    <a:pt x="656" y="334"/>
                  </a:lnTo>
                  <a:lnTo>
                    <a:pt x="654" y="334"/>
                  </a:lnTo>
                  <a:lnTo>
                    <a:pt x="654" y="334"/>
                  </a:lnTo>
                  <a:lnTo>
                    <a:pt x="652" y="336"/>
                  </a:lnTo>
                  <a:lnTo>
                    <a:pt x="650" y="336"/>
                  </a:lnTo>
                  <a:lnTo>
                    <a:pt x="650" y="336"/>
                  </a:lnTo>
                  <a:lnTo>
                    <a:pt x="647" y="338"/>
                  </a:lnTo>
                  <a:lnTo>
                    <a:pt x="647" y="338"/>
                  </a:lnTo>
                  <a:lnTo>
                    <a:pt x="647" y="338"/>
                  </a:lnTo>
                  <a:lnTo>
                    <a:pt x="645" y="338"/>
                  </a:lnTo>
                  <a:lnTo>
                    <a:pt x="643" y="338"/>
                  </a:lnTo>
                  <a:lnTo>
                    <a:pt x="641" y="338"/>
                  </a:lnTo>
                  <a:lnTo>
                    <a:pt x="641" y="342"/>
                  </a:lnTo>
                  <a:lnTo>
                    <a:pt x="641" y="342"/>
                  </a:lnTo>
                  <a:lnTo>
                    <a:pt x="641" y="342"/>
                  </a:lnTo>
                  <a:lnTo>
                    <a:pt x="639" y="342"/>
                  </a:lnTo>
                  <a:lnTo>
                    <a:pt x="639" y="342"/>
                  </a:lnTo>
                  <a:lnTo>
                    <a:pt x="639" y="342"/>
                  </a:lnTo>
                  <a:lnTo>
                    <a:pt x="639" y="342"/>
                  </a:lnTo>
                  <a:lnTo>
                    <a:pt x="637" y="342"/>
                  </a:lnTo>
                  <a:lnTo>
                    <a:pt x="635" y="344"/>
                  </a:lnTo>
                  <a:lnTo>
                    <a:pt x="635" y="342"/>
                  </a:lnTo>
                  <a:lnTo>
                    <a:pt x="629" y="340"/>
                  </a:lnTo>
                  <a:lnTo>
                    <a:pt x="629" y="338"/>
                  </a:lnTo>
                  <a:lnTo>
                    <a:pt x="627" y="338"/>
                  </a:lnTo>
                  <a:lnTo>
                    <a:pt x="627" y="340"/>
                  </a:lnTo>
                  <a:lnTo>
                    <a:pt x="625" y="340"/>
                  </a:lnTo>
                  <a:lnTo>
                    <a:pt x="625" y="342"/>
                  </a:lnTo>
                  <a:lnTo>
                    <a:pt x="625" y="342"/>
                  </a:lnTo>
                  <a:lnTo>
                    <a:pt x="623" y="342"/>
                  </a:lnTo>
                  <a:lnTo>
                    <a:pt x="621" y="344"/>
                  </a:lnTo>
                  <a:lnTo>
                    <a:pt x="619" y="344"/>
                  </a:lnTo>
                  <a:lnTo>
                    <a:pt x="617" y="344"/>
                  </a:lnTo>
                  <a:lnTo>
                    <a:pt x="613" y="344"/>
                  </a:lnTo>
                  <a:lnTo>
                    <a:pt x="611" y="346"/>
                  </a:lnTo>
                  <a:lnTo>
                    <a:pt x="611" y="346"/>
                  </a:lnTo>
                  <a:lnTo>
                    <a:pt x="609" y="346"/>
                  </a:lnTo>
                  <a:lnTo>
                    <a:pt x="609" y="348"/>
                  </a:lnTo>
                  <a:lnTo>
                    <a:pt x="607" y="350"/>
                  </a:lnTo>
                  <a:lnTo>
                    <a:pt x="607" y="352"/>
                  </a:lnTo>
                  <a:lnTo>
                    <a:pt x="604" y="354"/>
                  </a:lnTo>
                  <a:lnTo>
                    <a:pt x="602" y="354"/>
                  </a:lnTo>
                  <a:lnTo>
                    <a:pt x="598" y="354"/>
                  </a:lnTo>
                  <a:lnTo>
                    <a:pt x="596" y="354"/>
                  </a:lnTo>
                  <a:lnTo>
                    <a:pt x="596" y="354"/>
                  </a:lnTo>
                  <a:lnTo>
                    <a:pt x="596" y="356"/>
                  </a:lnTo>
                  <a:lnTo>
                    <a:pt x="596" y="358"/>
                  </a:lnTo>
                  <a:lnTo>
                    <a:pt x="592" y="360"/>
                  </a:lnTo>
                  <a:lnTo>
                    <a:pt x="590" y="358"/>
                  </a:lnTo>
                  <a:lnTo>
                    <a:pt x="588" y="354"/>
                  </a:lnTo>
                  <a:lnTo>
                    <a:pt x="586" y="352"/>
                  </a:lnTo>
                  <a:lnTo>
                    <a:pt x="584" y="352"/>
                  </a:lnTo>
                  <a:lnTo>
                    <a:pt x="578" y="352"/>
                  </a:lnTo>
                  <a:lnTo>
                    <a:pt x="578" y="352"/>
                  </a:lnTo>
                  <a:lnTo>
                    <a:pt x="576" y="350"/>
                  </a:lnTo>
                  <a:lnTo>
                    <a:pt x="576" y="350"/>
                  </a:lnTo>
                  <a:lnTo>
                    <a:pt x="576" y="348"/>
                  </a:lnTo>
                  <a:lnTo>
                    <a:pt x="576" y="348"/>
                  </a:lnTo>
                  <a:lnTo>
                    <a:pt x="574" y="348"/>
                  </a:lnTo>
                  <a:lnTo>
                    <a:pt x="574" y="348"/>
                  </a:lnTo>
                  <a:lnTo>
                    <a:pt x="570" y="346"/>
                  </a:lnTo>
                  <a:lnTo>
                    <a:pt x="570" y="346"/>
                  </a:lnTo>
                  <a:lnTo>
                    <a:pt x="568" y="346"/>
                  </a:lnTo>
                  <a:lnTo>
                    <a:pt x="568" y="344"/>
                  </a:lnTo>
                  <a:lnTo>
                    <a:pt x="568" y="344"/>
                  </a:lnTo>
                  <a:lnTo>
                    <a:pt x="568" y="344"/>
                  </a:lnTo>
                  <a:lnTo>
                    <a:pt x="568" y="342"/>
                  </a:lnTo>
                  <a:lnTo>
                    <a:pt x="570" y="342"/>
                  </a:lnTo>
                  <a:lnTo>
                    <a:pt x="570" y="340"/>
                  </a:lnTo>
                  <a:lnTo>
                    <a:pt x="568" y="340"/>
                  </a:lnTo>
                  <a:lnTo>
                    <a:pt x="566" y="338"/>
                  </a:lnTo>
                  <a:lnTo>
                    <a:pt x="563" y="338"/>
                  </a:lnTo>
                  <a:lnTo>
                    <a:pt x="563" y="338"/>
                  </a:lnTo>
                  <a:lnTo>
                    <a:pt x="563" y="338"/>
                  </a:lnTo>
                  <a:lnTo>
                    <a:pt x="563" y="340"/>
                  </a:lnTo>
                  <a:lnTo>
                    <a:pt x="561" y="340"/>
                  </a:lnTo>
                  <a:lnTo>
                    <a:pt x="561" y="344"/>
                  </a:lnTo>
                  <a:lnTo>
                    <a:pt x="561" y="344"/>
                  </a:lnTo>
                  <a:lnTo>
                    <a:pt x="561" y="344"/>
                  </a:lnTo>
                  <a:lnTo>
                    <a:pt x="559" y="344"/>
                  </a:lnTo>
                  <a:lnTo>
                    <a:pt x="559" y="346"/>
                  </a:lnTo>
                  <a:lnTo>
                    <a:pt x="559" y="346"/>
                  </a:lnTo>
                  <a:lnTo>
                    <a:pt x="557" y="346"/>
                  </a:lnTo>
                  <a:lnTo>
                    <a:pt x="557" y="346"/>
                  </a:lnTo>
                  <a:lnTo>
                    <a:pt x="555" y="346"/>
                  </a:lnTo>
                  <a:lnTo>
                    <a:pt x="555" y="346"/>
                  </a:lnTo>
                  <a:lnTo>
                    <a:pt x="555" y="346"/>
                  </a:lnTo>
                  <a:lnTo>
                    <a:pt x="551" y="344"/>
                  </a:lnTo>
                  <a:lnTo>
                    <a:pt x="551" y="344"/>
                  </a:lnTo>
                  <a:lnTo>
                    <a:pt x="551" y="344"/>
                  </a:lnTo>
                  <a:lnTo>
                    <a:pt x="547" y="344"/>
                  </a:lnTo>
                  <a:lnTo>
                    <a:pt x="547" y="344"/>
                  </a:lnTo>
                  <a:lnTo>
                    <a:pt x="545" y="344"/>
                  </a:lnTo>
                  <a:lnTo>
                    <a:pt x="545" y="344"/>
                  </a:lnTo>
                  <a:lnTo>
                    <a:pt x="543" y="342"/>
                  </a:lnTo>
                  <a:lnTo>
                    <a:pt x="543" y="342"/>
                  </a:lnTo>
                  <a:lnTo>
                    <a:pt x="543" y="340"/>
                  </a:lnTo>
                  <a:lnTo>
                    <a:pt x="543" y="338"/>
                  </a:lnTo>
                  <a:lnTo>
                    <a:pt x="541" y="336"/>
                  </a:lnTo>
                  <a:lnTo>
                    <a:pt x="541" y="336"/>
                  </a:lnTo>
                  <a:lnTo>
                    <a:pt x="541" y="336"/>
                  </a:lnTo>
                  <a:lnTo>
                    <a:pt x="539" y="336"/>
                  </a:lnTo>
                  <a:lnTo>
                    <a:pt x="539" y="336"/>
                  </a:lnTo>
                  <a:lnTo>
                    <a:pt x="539" y="336"/>
                  </a:lnTo>
                  <a:lnTo>
                    <a:pt x="535" y="336"/>
                  </a:lnTo>
                  <a:lnTo>
                    <a:pt x="535" y="336"/>
                  </a:lnTo>
                  <a:lnTo>
                    <a:pt x="535" y="336"/>
                  </a:lnTo>
                  <a:lnTo>
                    <a:pt x="533" y="336"/>
                  </a:lnTo>
                  <a:lnTo>
                    <a:pt x="533" y="338"/>
                  </a:lnTo>
                  <a:lnTo>
                    <a:pt x="533" y="340"/>
                  </a:lnTo>
                  <a:lnTo>
                    <a:pt x="533" y="344"/>
                  </a:lnTo>
                  <a:lnTo>
                    <a:pt x="531" y="346"/>
                  </a:lnTo>
                  <a:lnTo>
                    <a:pt x="529" y="346"/>
                  </a:lnTo>
                  <a:lnTo>
                    <a:pt x="525" y="346"/>
                  </a:lnTo>
                  <a:lnTo>
                    <a:pt x="525" y="348"/>
                  </a:lnTo>
                  <a:lnTo>
                    <a:pt x="527" y="348"/>
                  </a:lnTo>
                  <a:lnTo>
                    <a:pt x="527" y="348"/>
                  </a:lnTo>
                  <a:lnTo>
                    <a:pt x="527" y="350"/>
                  </a:lnTo>
                  <a:lnTo>
                    <a:pt x="527" y="350"/>
                  </a:lnTo>
                  <a:lnTo>
                    <a:pt x="525" y="352"/>
                  </a:lnTo>
                  <a:lnTo>
                    <a:pt x="525" y="352"/>
                  </a:lnTo>
                  <a:lnTo>
                    <a:pt x="525" y="356"/>
                  </a:lnTo>
                  <a:lnTo>
                    <a:pt x="525" y="358"/>
                  </a:lnTo>
                  <a:lnTo>
                    <a:pt x="523" y="360"/>
                  </a:lnTo>
                  <a:lnTo>
                    <a:pt x="520" y="360"/>
                  </a:lnTo>
                  <a:lnTo>
                    <a:pt x="516" y="358"/>
                  </a:lnTo>
                  <a:lnTo>
                    <a:pt x="516" y="356"/>
                  </a:lnTo>
                  <a:lnTo>
                    <a:pt x="514" y="354"/>
                  </a:lnTo>
                  <a:lnTo>
                    <a:pt x="514" y="352"/>
                  </a:lnTo>
                  <a:lnTo>
                    <a:pt x="514" y="350"/>
                  </a:lnTo>
                  <a:lnTo>
                    <a:pt x="516" y="346"/>
                  </a:lnTo>
                  <a:lnTo>
                    <a:pt x="516" y="344"/>
                  </a:lnTo>
                  <a:lnTo>
                    <a:pt x="516" y="344"/>
                  </a:lnTo>
                  <a:lnTo>
                    <a:pt x="514" y="342"/>
                  </a:lnTo>
                  <a:lnTo>
                    <a:pt x="514" y="342"/>
                  </a:lnTo>
                  <a:lnTo>
                    <a:pt x="512" y="340"/>
                  </a:lnTo>
                  <a:lnTo>
                    <a:pt x="512" y="340"/>
                  </a:lnTo>
                  <a:lnTo>
                    <a:pt x="512" y="342"/>
                  </a:lnTo>
                  <a:lnTo>
                    <a:pt x="510" y="342"/>
                  </a:lnTo>
                  <a:lnTo>
                    <a:pt x="510" y="342"/>
                  </a:lnTo>
                  <a:lnTo>
                    <a:pt x="510" y="344"/>
                  </a:lnTo>
                  <a:lnTo>
                    <a:pt x="508" y="346"/>
                  </a:lnTo>
                  <a:lnTo>
                    <a:pt x="508" y="346"/>
                  </a:lnTo>
                  <a:lnTo>
                    <a:pt x="506" y="344"/>
                  </a:lnTo>
                  <a:lnTo>
                    <a:pt x="504" y="344"/>
                  </a:lnTo>
                  <a:lnTo>
                    <a:pt x="504" y="346"/>
                  </a:lnTo>
                  <a:lnTo>
                    <a:pt x="502" y="346"/>
                  </a:lnTo>
                  <a:lnTo>
                    <a:pt x="502" y="346"/>
                  </a:lnTo>
                  <a:lnTo>
                    <a:pt x="502" y="346"/>
                  </a:lnTo>
                  <a:lnTo>
                    <a:pt x="502" y="348"/>
                  </a:lnTo>
                  <a:lnTo>
                    <a:pt x="500" y="348"/>
                  </a:lnTo>
                  <a:lnTo>
                    <a:pt x="500" y="348"/>
                  </a:lnTo>
                  <a:lnTo>
                    <a:pt x="500" y="350"/>
                  </a:lnTo>
                  <a:lnTo>
                    <a:pt x="498" y="350"/>
                  </a:lnTo>
                  <a:lnTo>
                    <a:pt x="494" y="350"/>
                  </a:lnTo>
                  <a:lnTo>
                    <a:pt x="492" y="350"/>
                  </a:lnTo>
                  <a:lnTo>
                    <a:pt x="492" y="346"/>
                  </a:lnTo>
                  <a:lnTo>
                    <a:pt x="490" y="344"/>
                  </a:lnTo>
                  <a:lnTo>
                    <a:pt x="490" y="344"/>
                  </a:lnTo>
                  <a:lnTo>
                    <a:pt x="488" y="342"/>
                  </a:lnTo>
                  <a:lnTo>
                    <a:pt x="486" y="342"/>
                  </a:lnTo>
                  <a:lnTo>
                    <a:pt x="482" y="342"/>
                  </a:lnTo>
                  <a:lnTo>
                    <a:pt x="480" y="342"/>
                  </a:lnTo>
                  <a:lnTo>
                    <a:pt x="480" y="340"/>
                  </a:lnTo>
                  <a:lnTo>
                    <a:pt x="480" y="336"/>
                  </a:lnTo>
                  <a:lnTo>
                    <a:pt x="477" y="334"/>
                  </a:lnTo>
                  <a:lnTo>
                    <a:pt x="473" y="332"/>
                  </a:lnTo>
                  <a:lnTo>
                    <a:pt x="471" y="334"/>
                  </a:lnTo>
                  <a:lnTo>
                    <a:pt x="467" y="336"/>
                  </a:lnTo>
                  <a:lnTo>
                    <a:pt x="461" y="344"/>
                  </a:lnTo>
                  <a:lnTo>
                    <a:pt x="457" y="346"/>
                  </a:lnTo>
                  <a:lnTo>
                    <a:pt x="453" y="346"/>
                  </a:lnTo>
                  <a:lnTo>
                    <a:pt x="449" y="346"/>
                  </a:lnTo>
                  <a:lnTo>
                    <a:pt x="447" y="344"/>
                  </a:lnTo>
                  <a:lnTo>
                    <a:pt x="447" y="344"/>
                  </a:lnTo>
                  <a:lnTo>
                    <a:pt x="447" y="342"/>
                  </a:lnTo>
                  <a:lnTo>
                    <a:pt x="447" y="342"/>
                  </a:lnTo>
                  <a:lnTo>
                    <a:pt x="447" y="340"/>
                  </a:lnTo>
                  <a:lnTo>
                    <a:pt x="447" y="338"/>
                  </a:lnTo>
                  <a:lnTo>
                    <a:pt x="447" y="338"/>
                  </a:lnTo>
                  <a:lnTo>
                    <a:pt x="447" y="336"/>
                  </a:lnTo>
                  <a:lnTo>
                    <a:pt x="447" y="336"/>
                  </a:lnTo>
                  <a:lnTo>
                    <a:pt x="447" y="334"/>
                  </a:lnTo>
                  <a:lnTo>
                    <a:pt x="447" y="334"/>
                  </a:lnTo>
                  <a:lnTo>
                    <a:pt x="445" y="334"/>
                  </a:lnTo>
                  <a:lnTo>
                    <a:pt x="443" y="332"/>
                  </a:lnTo>
                  <a:lnTo>
                    <a:pt x="439" y="332"/>
                  </a:lnTo>
                  <a:lnTo>
                    <a:pt x="434" y="329"/>
                  </a:lnTo>
                  <a:lnTo>
                    <a:pt x="434" y="325"/>
                  </a:lnTo>
                  <a:lnTo>
                    <a:pt x="432" y="323"/>
                  </a:lnTo>
                  <a:lnTo>
                    <a:pt x="434" y="321"/>
                  </a:lnTo>
                  <a:lnTo>
                    <a:pt x="434" y="317"/>
                  </a:lnTo>
                  <a:lnTo>
                    <a:pt x="432" y="317"/>
                  </a:lnTo>
                  <a:lnTo>
                    <a:pt x="430" y="317"/>
                  </a:lnTo>
                  <a:lnTo>
                    <a:pt x="426" y="317"/>
                  </a:lnTo>
                  <a:lnTo>
                    <a:pt x="422" y="319"/>
                  </a:lnTo>
                  <a:lnTo>
                    <a:pt x="412" y="317"/>
                  </a:lnTo>
                  <a:lnTo>
                    <a:pt x="410" y="317"/>
                  </a:lnTo>
                  <a:lnTo>
                    <a:pt x="408" y="319"/>
                  </a:lnTo>
                  <a:lnTo>
                    <a:pt x="406" y="321"/>
                  </a:lnTo>
                  <a:lnTo>
                    <a:pt x="406" y="323"/>
                  </a:lnTo>
                  <a:lnTo>
                    <a:pt x="404" y="323"/>
                  </a:lnTo>
                  <a:lnTo>
                    <a:pt x="402" y="325"/>
                  </a:lnTo>
                  <a:lnTo>
                    <a:pt x="398" y="325"/>
                  </a:lnTo>
                  <a:lnTo>
                    <a:pt x="398" y="323"/>
                  </a:lnTo>
                  <a:lnTo>
                    <a:pt x="394" y="321"/>
                  </a:lnTo>
                  <a:lnTo>
                    <a:pt x="391" y="319"/>
                  </a:lnTo>
                  <a:lnTo>
                    <a:pt x="391" y="319"/>
                  </a:lnTo>
                  <a:lnTo>
                    <a:pt x="389" y="317"/>
                  </a:lnTo>
                  <a:lnTo>
                    <a:pt x="389" y="315"/>
                  </a:lnTo>
                  <a:lnTo>
                    <a:pt x="387" y="315"/>
                  </a:lnTo>
                  <a:lnTo>
                    <a:pt x="385" y="315"/>
                  </a:lnTo>
                  <a:lnTo>
                    <a:pt x="383" y="315"/>
                  </a:lnTo>
                  <a:lnTo>
                    <a:pt x="377" y="319"/>
                  </a:lnTo>
                  <a:lnTo>
                    <a:pt x="377" y="317"/>
                  </a:lnTo>
                  <a:lnTo>
                    <a:pt x="365" y="315"/>
                  </a:lnTo>
                  <a:lnTo>
                    <a:pt x="363" y="315"/>
                  </a:lnTo>
                  <a:lnTo>
                    <a:pt x="357" y="311"/>
                  </a:lnTo>
                  <a:lnTo>
                    <a:pt x="355" y="311"/>
                  </a:lnTo>
                  <a:lnTo>
                    <a:pt x="353" y="311"/>
                  </a:lnTo>
                  <a:lnTo>
                    <a:pt x="353" y="311"/>
                  </a:lnTo>
                  <a:lnTo>
                    <a:pt x="351" y="311"/>
                  </a:lnTo>
                  <a:lnTo>
                    <a:pt x="348" y="311"/>
                  </a:lnTo>
                  <a:lnTo>
                    <a:pt x="344" y="311"/>
                  </a:lnTo>
                  <a:lnTo>
                    <a:pt x="342" y="309"/>
                  </a:lnTo>
                  <a:lnTo>
                    <a:pt x="338" y="311"/>
                  </a:lnTo>
                  <a:lnTo>
                    <a:pt x="336" y="309"/>
                  </a:lnTo>
                  <a:lnTo>
                    <a:pt x="334" y="309"/>
                  </a:lnTo>
                  <a:lnTo>
                    <a:pt x="334" y="307"/>
                  </a:lnTo>
                  <a:lnTo>
                    <a:pt x="334" y="301"/>
                  </a:lnTo>
                  <a:lnTo>
                    <a:pt x="334" y="299"/>
                  </a:lnTo>
                  <a:lnTo>
                    <a:pt x="334" y="299"/>
                  </a:lnTo>
                  <a:lnTo>
                    <a:pt x="334" y="297"/>
                  </a:lnTo>
                  <a:lnTo>
                    <a:pt x="330" y="295"/>
                  </a:lnTo>
                  <a:lnTo>
                    <a:pt x="330" y="293"/>
                  </a:lnTo>
                  <a:lnTo>
                    <a:pt x="330" y="291"/>
                  </a:lnTo>
                  <a:lnTo>
                    <a:pt x="328" y="288"/>
                  </a:lnTo>
                  <a:lnTo>
                    <a:pt x="326" y="288"/>
                  </a:lnTo>
                  <a:lnTo>
                    <a:pt x="326" y="288"/>
                  </a:lnTo>
                  <a:lnTo>
                    <a:pt x="324" y="288"/>
                  </a:lnTo>
                  <a:lnTo>
                    <a:pt x="324" y="288"/>
                  </a:lnTo>
                  <a:lnTo>
                    <a:pt x="322" y="286"/>
                  </a:lnTo>
                  <a:lnTo>
                    <a:pt x="322" y="286"/>
                  </a:lnTo>
                  <a:lnTo>
                    <a:pt x="322" y="286"/>
                  </a:lnTo>
                  <a:lnTo>
                    <a:pt x="322" y="284"/>
                  </a:lnTo>
                  <a:lnTo>
                    <a:pt x="320" y="284"/>
                  </a:lnTo>
                  <a:lnTo>
                    <a:pt x="318" y="284"/>
                  </a:lnTo>
                  <a:lnTo>
                    <a:pt x="318" y="284"/>
                  </a:lnTo>
                  <a:lnTo>
                    <a:pt x="318" y="291"/>
                  </a:lnTo>
                  <a:lnTo>
                    <a:pt x="316" y="293"/>
                  </a:lnTo>
                  <a:lnTo>
                    <a:pt x="316" y="293"/>
                  </a:lnTo>
                  <a:lnTo>
                    <a:pt x="314" y="293"/>
                  </a:lnTo>
                  <a:lnTo>
                    <a:pt x="312" y="293"/>
                  </a:lnTo>
                  <a:lnTo>
                    <a:pt x="307" y="291"/>
                  </a:lnTo>
                  <a:lnTo>
                    <a:pt x="303" y="288"/>
                  </a:lnTo>
                  <a:lnTo>
                    <a:pt x="303" y="288"/>
                  </a:lnTo>
                  <a:lnTo>
                    <a:pt x="301" y="291"/>
                  </a:lnTo>
                  <a:lnTo>
                    <a:pt x="301" y="291"/>
                  </a:lnTo>
                  <a:lnTo>
                    <a:pt x="299" y="293"/>
                  </a:lnTo>
                  <a:lnTo>
                    <a:pt x="299" y="293"/>
                  </a:lnTo>
                  <a:lnTo>
                    <a:pt x="293" y="293"/>
                  </a:lnTo>
                  <a:lnTo>
                    <a:pt x="291" y="291"/>
                  </a:lnTo>
                  <a:lnTo>
                    <a:pt x="291" y="291"/>
                  </a:lnTo>
                  <a:lnTo>
                    <a:pt x="289" y="286"/>
                  </a:lnTo>
                  <a:lnTo>
                    <a:pt x="273" y="272"/>
                  </a:lnTo>
                  <a:lnTo>
                    <a:pt x="273" y="272"/>
                  </a:lnTo>
                  <a:lnTo>
                    <a:pt x="271" y="272"/>
                  </a:lnTo>
                  <a:lnTo>
                    <a:pt x="271" y="272"/>
                  </a:lnTo>
                  <a:lnTo>
                    <a:pt x="269" y="270"/>
                  </a:lnTo>
                  <a:lnTo>
                    <a:pt x="264" y="272"/>
                  </a:lnTo>
                  <a:lnTo>
                    <a:pt x="262" y="272"/>
                  </a:lnTo>
                  <a:lnTo>
                    <a:pt x="262" y="270"/>
                  </a:lnTo>
                  <a:lnTo>
                    <a:pt x="262" y="266"/>
                  </a:lnTo>
                  <a:lnTo>
                    <a:pt x="262" y="254"/>
                  </a:lnTo>
                  <a:lnTo>
                    <a:pt x="262" y="241"/>
                  </a:lnTo>
                  <a:lnTo>
                    <a:pt x="262" y="229"/>
                  </a:lnTo>
                  <a:lnTo>
                    <a:pt x="262" y="217"/>
                  </a:lnTo>
                  <a:lnTo>
                    <a:pt x="262" y="204"/>
                  </a:lnTo>
                  <a:lnTo>
                    <a:pt x="262" y="192"/>
                  </a:lnTo>
                  <a:lnTo>
                    <a:pt x="262" y="180"/>
                  </a:lnTo>
                  <a:lnTo>
                    <a:pt x="262" y="168"/>
                  </a:lnTo>
                  <a:lnTo>
                    <a:pt x="262" y="155"/>
                  </a:lnTo>
                  <a:lnTo>
                    <a:pt x="262" y="143"/>
                  </a:lnTo>
                  <a:lnTo>
                    <a:pt x="262" y="131"/>
                  </a:lnTo>
                  <a:lnTo>
                    <a:pt x="262" y="118"/>
                  </a:lnTo>
                  <a:lnTo>
                    <a:pt x="262" y="106"/>
                  </a:lnTo>
                  <a:lnTo>
                    <a:pt x="262" y="94"/>
                  </a:lnTo>
                  <a:lnTo>
                    <a:pt x="262" y="82"/>
                  </a:lnTo>
                  <a:lnTo>
                    <a:pt x="262" y="69"/>
                  </a:lnTo>
                  <a:lnTo>
                    <a:pt x="262" y="65"/>
                  </a:lnTo>
                  <a:lnTo>
                    <a:pt x="262" y="65"/>
                  </a:lnTo>
                  <a:lnTo>
                    <a:pt x="256" y="65"/>
                  </a:lnTo>
                  <a:lnTo>
                    <a:pt x="254" y="65"/>
                  </a:lnTo>
                  <a:lnTo>
                    <a:pt x="246" y="65"/>
                  </a:lnTo>
                  <a:lnTo>
                    <a:pt x="234" y="65"/>
                  </a:lnTo>
                  <a:lnTo>
                    <a:pt x="217" y="65"/>
                  </a:lnTo>
                  <a:lnTo>
                    <a:pt x="197" y="65"/>
                  </a:lnTo>
                  <a:lnTo>
                    <a:pt x="176" y="63"/>
                  </a:lnTo>
                  <a:lnTo>
                    <a:pt x="154" y="63"/>
                  </a:lnTo>
                  <a:lnTo>
                    <a:pt x="129" y="63"/>
                  </a:lnTo>
                  <a:lnTo>
                    <a:pt x="105" y="63"/>
                  </a:lnTo>
                  <a:lnTo>
                    <a:pt x="82" y="63"/>
                  </a:lnTo>
                  <a:lnTo>
                    <a:pt x="60" y="63"/>
                  </a:lnTo>
                  <a:lnTo>
                    <a:pt x="41" y="61"/>
                  </a:lnTo>
                  <a:lnTo>
                    <a:pt x="25" y="61"/>
                  </a:lnTo>
                  <a:lnTo>
                    <a:pt x="13" y="61"/>
                  </a:lnTo>
                  <a:lnTo>
                    <a:pt x="4" y="61"/>
                  </a:lnTo>
                  <a:lnTo>
                    <a:pt x="0" y="61"/>
                  </a:lnTo>
                  <a:lnTo>
                    <a:pt x="2" y="47"/>
                  </a:lnTo>
                  <a:lnTo>
                    <a:pt x="2" y="34"/>
                  </a:lnTo>
                  <a:lnTo>
                    <a:pt x="2" y="20"/>
                  </a:lnTo>
                  <a:lnTo>
                    <a:pt x="2" y="8"/>
                  </a:lnTo>
                  <a:lnTo>
                    <a:pt x="13" y="8"/>
                  </a:lnTo>
                  <a:lnTo>
                    <a:pt x="25" y="8"/>
                  </a:lnTo>
                  <a:lnTo>
                    <a:pt x="35" y="8"/>
                  </a:lnTo>
                  <a:lnTo>
                    <a:pt x="45" y="8"/>
                  </a:lnTo>
                  <a:lnTo>
                    <a:pt x="56" y="8"/>
                  </a:lnTo>
                  <a:lnTo>
                    <a:pt x="68" y="8"/>
                  </a:lnTo>
                  <a:lnTo>
                    <a:pt x="78" y="10"/>
                  </a:lnTo>
                  <a:lnTo>
                    <a:pt x="88" y="10"/>
                  </a:lnTo>
                  <a:lnTo>
                    <a:pt x="109" y="10"/>
                  </a:lnTo>
                  <a:lnTo>
                    <a:pt x="129" y="10"/>
                  </a:lnTo>
                  <a:lnTo>
                    <a:pt x="148" y="10"/>
                  </a:lnTo>
                  <a:lnTo>
                    <a:pt x="168" y="10"/>
                  </a:lnTo>
                  <a:lnTo>
                    <a:pt x="189" y="10"/>
                  </a:lnTo>
                  <a:lnTo>
                    <a:pt x="209" y="10"/>
                  </a:lnTo>
                  <a:lnTo>
                    <a:pt x="228" y="10"/>
                  </a:lnTo>
                  <a:lnTo>
                    <a:pt x="248" y="10"/>
                  </a:lnTo>
                  <a:lnTo>
                    <a:pt x="269" y="10"/>
                  </a:lnTo>
                  <a:lnTo>
                    <a:pt x="289" y="10"/>
                  </a:lnTo>
                  <a:lnTo>
                    <a:pt x="310" y="10"/>
                  </a:lnTo>
                  <a:lnTo>
                    <a:pt x="328" y="10"/>
                  </a:lnTo>
                  <a:lnTo>
                    <a:pt x="348" y="10"/>
                  </a:lnTo>
                  <a:lnTo>
                    <a:pt x="369" y="10"/>
                  </a:lnTo>
                  <a:lnTo>
                    <a:pt x="389" y="10"/>
                  </a:lnTo>
                  <a:lnTo>
                    <a:pt x="410" y="10"/>
                  </a:lnTo>
                  <a:lnTo>
                    <a:pt x="428" y="10"/>
                  </a:lnTo>
                  <a:lnTo>
                    <a:pt x="449" y="10"/>
                  </a:lnTo>
                  <a:lnTo>
                    <a:pt x="469" y="8"/>
                  </a:lnTo>
                  <a:lnTo>
                    <a:pt x="490" y="8"/>
                  </a:lnTo>
                  <a:lnTo>
                    <a:pt x="508" y="8"/>
                  </a:lnTo>
                  <a:lnTo>
                    <a:pt x="529" y="8"/>
                  </a:lnTo>
                  <a:lnTo>
                    <a:pt x="549" y="6"/>
                  </a:lnTo>
                  <a:lnTo>
                    <a:pt x="570" y="6"/>
                  </a:lnTo>
                  <a:lnTo>
                    <a:pt x="590" y="6"/>
                  </a:lnTo>
                  <a:lnTo>
                    <a:pt x="609" y="4"/>
                  </a:lnTo>
                  <a:lnTo>
                    <a:pt x="629" y="4"/>
                  </a:lnTo>
                  <a:lnTo>
                    <a:pt x="650" y="4"/>
                  </a:lnTo>
                  <a:lnTo>
                    <a:pt x="670" y="2"/>
                  </a:lnTo>
                  <a:lnTo>
                    <a:pt x="688" y="2"/>
                  </a:lnTo>
                  <a:lnTo>
                    <a:pt x="709" y="0"/>
                  </a:lnTo>
                  <a:lnTo>
                    <a:pt x="729" y="0"/>
                  </a:lnTo>
                  <a:lnTo>
                    <a:pt x="729" y="12"/>
                  </a:lnTo>
                  <a:lnTo>
                    <a:pt x="731" y="26"/>
                  </a:lnTo>
                  <a:lnTo>
                    <a:pt x="731" y="41"/>
                  </a:lnTo>
                  <a:lnTo>
                    <a:pt x="731" y="53"/>
                  </a:lnTo>
                  <a:lnTo>
                    <a:pt x="731" y="53"/>
                  </a:lnTo>
                  <a:close/>
                </a:path>
              </a:pathLst>
            </a:custGeom>
            <a:solidFill>
              <a:schemeClr val="tx1"/>
            </a:solidFill>
            <a:ln w="3175" cap="rnd">
              <a:solidFill>
                <a:schemeClr val="bg1"/>
              </a:solidFill>
              <a:prstDash val="solid"/>
              <a:round/>
              <a:headEnd/>
              <a:tailEnd/>
            </a:ln>
          </p:spPr>
          <p:txBody>
            <a:bodyPr vert="horz" wrap="square" lIns="38400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OK</a:t>
              </a:r>
            </a:p>
          </p:txBody>
        </p:sp>
        <p:sp>
          <p:nvSpPr>
            <p:cNvPr id="258" name="Freeform 20">
              <a:extLst>
                <a:ext uri="{FF2B5EF4-FFF2-40B4-BE49-F238E27FC236}">
                  <a16:creationId xmlns:a16="http://schemas.microsoft.com/office/drawing/2014/main" id="{305B7CA7-B85B-BF78-244B-3427754E92D7}"/>
                </a:ext>
              </a:extLst>
            </p:cNvPr>
            <p:cNvSpPr>
              <a:spLocks/>
            </p:cNvSpPr>
            <p:nvPr/>
          </p:nvSpPr>
          <p:spPr bwMode="auto">
            <a:xfrm>
              <a:off x="3975" y="771"/>
              <a:ext cx="366" cy="405"/>
            </a:xfrm>
            <a:custGeom>
              <a:avLst/>
              <a:gdLst>
                <a:gd name="T0" fmla="*/ 362 w 366"/>
                <a:gd name="T1" fmla="*/ 118 h 405"/>
                <a:gd name="T2" fmla="*/ 344 w 366"/>
                <a:gd name="T3" fmla="*/ 8 h 405"/>
                <a:gd name="T4" fmla="*/ 313 w 366"/>
                <a:gd name="T5" fmla="*/ 16 h 405"/>
                <a:gd name="T6" fmla="*/ 250 w 366"/>
                <a:gd name="T7" fmla="*/ 67 h 405"/>
                <a:gd name="T8" fmla="*/ 227 w 366"/>
                <a:gd name="T9" fmla="*/ 69 h 405"/>
                <a:gd name="T10" fmla="*/ 196 w 366"/>
                <a:gd name="T11" fmla="*/ 88 h 405"/>
                <a:gd name="T12" fmla="*/ 178 w 366"/>
                <a:gd name="T13" fmla="*/ 82 h 405"/>
                <a:gd name="T14" fmla="*/ 174 w 366"/>
                <a:gd name="T15" fmla="*/ 84 h 405"/>
                <a:gd name="T16" fmla="*/ 161 w 366"/>
                <a:gd name="T17" fmla="*/ 88 h 405"/>
                <a:gd name="T18" fmla="*/ 145 w 366"/>
                <a:gd name="T19" fmla="*/ 88 h 405"/>
                <a:gd name="T20" fmla="*/ 153 w 366"/>
                <a:gd name="T21" fmla="*/ 84 h 405"/>
                <a:gd name="T22" fmla="*/ 174 w 366"/>
                <a:gd name="T23" fmla="*/ 77 h 405"/>
                <a:gd name="T24" fmla="*/ 166 w 366"/>
                <a:gd name="T25" fmla="*/ 75 h 405"/>
                <a:gd name="T26" fmla="*/ 161 w 366"/>
                <a:gd name="T27" fmla="*/ 77 h 405"/>
                <a:gd name="T28" fmla="*/ 143 w 366"/>
                <a:gd name="T29" fmla="*/ 73 h 405"/>
                <a:gd name="T30" fmla="*/ 120 w 366"/>
                <a:gd name="T31" fmla="*/ 65 h 405"/>
                <a:gd name="T32" fmla="*/ 94 w 366"/>
                <a:gd name="T33" fmla="*/ 67 h 405"/>
                <a:gd name="T34" fmla="*/ 41 w 366"/>
                <a:gd name="T35" fmla="*/ 77 h 405"/>
                <a:gd name="T36" fmla="*/ 2 w 366"/>
                <a:gd name="T37" fmla="*/ 102 h 405"/>
                <a:gd name="T38" fmla="*/ 12 w 366"/>
                <a:gd name="T39" fmla="*/ 178 h 405"/>
                <a:gd name="T40" fmla="*/ 22 w 366"/>
                <a:gd name="T41" fmla="*/ 248 h 405"/>
                <a:gd name="T42" fmla="*/ 30 w 366"/>
                <a:gd name="T43" fmla="*/ 317 h 405"/>
                <a:gd name="T44" fmla="*/ 43 w 366"/>
                <a:gd name="T45" fmla="*/ 354 h 405"/>
                <a:gd name="T46" fmla="*/ 63 w 366"/>
                <a:gd name="T47" fmla="*/ 354 h 405"/>
                <a:gd name="T48" fmla="*/ 80 w 366"/>
                <a:gd name="T49" fmla="*/ 360 h 405"/>
                <a:gd name="T50" fmla="*/ 88 w 366"/>
                <a:gd name="T51" fmla="*/ 373 h 405"/>
                <a:gd name="T52" fmla="*/ 104 w 366"/>
                <a:gd name="T53" fmla="*/ 385 h 405"/>
                <a:gd name="T54" fmla="*/ 133 w 366"/>
                <a:gd name="T55" fmla="*/ 393 h 405"/>
                <a:gd name="T56" fmla="*/ 151 w 366"/>
                <a:gd name="T57" fmla="*/ 385 h 405"/>
                <a:gd name="T58" fmla="*/ 166 w 366"/>
                <a:gd name="T59" fmla="*/ 389 h 405"/>
                <a:gd name="T60" fmla="*/ 176 w 366"/>
                <a:gd name="T61" fmla="*/ 391 h 405"/>
                <a:gd name="T62" fmla="*/ 188 w 366"/>
                <a:gd name="T63" fmla="*/ 383 h 405"/>
                <a:gd name="T64" fmla="*/ 202 w 366"/>
                <a:gd name="T65" fmla="*/ 373 h 405"/>
                <a:gd name="T66" fmla="*/ 221 w 366"/>
                <a:gd name="T67" fmla="*/ 391 h 405"/>
                <a:gd name="T68" fmla="*/ 241 w 366"/>
                <a:gd name="T69" fmla="*/ 403 h 405"/>
                <a:gd name="T70" fmla="*/ 260 w 366"/>
                <a:gd name="T71" fmla="*/ 381 h 405"/>
                <a:gd name="T72" fmla="*/ 264 w 366"/>
                <a:gd name="T73" fmla="*/ 371 h 405"/>
                <a:gd name="T74" fmla="*/ 264 w 366"/>
                <a:gd name="T75" fmla="*/ 356 h 405"/>
                <a:gd name="T76" fmla="*/ 272 w 366"/>
                <a:gd name="T77" fmla="*/ 332 h 405"/>
                <a:gd name="T78" fmla="*/ 282 w 366"/>
                <a:gd name="T79" fmla="*/ 340 h 405"/>
                <a:gd name="T80" fmla="*/ 282 w 366"/>
                <a:gd name="T81" fmla="*/ 344 h 405"/>
                <a:gd name="T82" fmla="*/ 288 w 366"/>
                <a:gd name="T83" fmla="*/ 338 h 405"/>
                <a:gd name="T84" fmla="*/ 293 w 366"/>
                <a:gd name="T85" fmla="*/ 334 h 405"/>
                <a:gd name="T86" fmla="*/ 288 w 366"/>
                <a:gd name="T87" fmla="*/ 323 h 405"/>
                <a:gd name="T88" fmla="*/ 293 w 366"/>
                <a:gd name="T89" fmla="*/ 311 h 405"/>
                <a:gd name="T90" fmla="*/ 303 w 366"/>
                <a:gd name="T91" fmla="*/ 299 h 405"/>
                <a:gd name="T92" fmla="*/ 315 w 366"/>
                <a:gd name="T93" fmla="*/ 282 h 405"/>
                <a:gd name="T94" fmla="*/ 329 w 366"/>
                <a:gd name="T95" fmla="*/ 282 h 405"/>
                <a:gd name="T96" fmla="*/ 342 w 366"/>
                <a:gd name="T97" fmla="*/ 268 h 405"/>
                <a:gd name="T98" fmla="*/ 356 w 366"/>
                <a:gd name="T99" fmla="*/ 246 h 405"/>
                <a:gd name="T100" fmla="*/ 354 w 366"/>
                <a:gd name="T101" fmla="*/ 235 h 405"/>
                <a:gd name="T102" fmla="*/ 358 w 366"/>
                <a:gd name="T103" fmla="*/ 225 h 405"/>
                <a:gd name="T104" fmla="*/ 360 w 366"/>
                <a:gd name="T105" fmla="*/ 219 h 405"/>
                <a:gd name="T106" fmla="*/ 360 w 366"/>
                <a:gd name="T107" fmla="*/ 205 h 405"/>
                <a:gd name="T108" fmla="*/ 364 w 366"/>
                <a:gd name="T109" fmla="*/ 182 h 405"/>
                <a:gd name="T110" fmla="*/ 364 w 366"/>
                <a:gd name="T111" fmla="*/ 170 h 405"/>
                <a:gd name="T112" fmla="*/ 364 w 366"/>
                <a:gd name="T113" fmla="*/ 159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6" h="405">
                  <a:moveTo>
                    <a:pt x="358" y="145"/>
                  </a:moveTo>
                  <a:lnTo>
                    <a:pt x="358" y="143"/>
                  </a:lnTo>
                  <a:lnTo>
                    <a:pt x="362" y="143"/>
                  </a:lnTo>
                  <a:lnTo>
                    <a:pt x="362" y="143"/>
                  </a:lnTo>
                  <a:lnTo>
                    <a:pt x="366" y="141"/>
                  </a:lnTo>
                  <a:lnTo>
                    <a:pt x="366" y="139"/>
                  </a:lnTo>
                  <a:lnTo>
                    <a:pt x="364" y="129"/>
                  </a:lnTo>
                  <a:lnTo>
                    <a:pt x="362" y="118"/>
                  </a:lnTo>
                  <a:lnTo>
                    <a:pt x="362" y="106"/>
                  </a:lnTo>
                  <a:lnTo>
                    <a:pt x="360" y="96"/>
                  </a:lnTo>
                  <a:lnTo>
                    <a:pt x="358" y="86"/>
                  </a:lnTo>
                  <a:lnTo>
                    <a:pt x="356" y="73"/>
                  </a:lnTo>
                  <a:lnTo>
                    <a:pt x="354" y="63"/>
                  </a:lnTo>
                  <a:lnTo>
                    <a:pt x="352" y="51"/>
                  </a:lnTo>
                  <a:lnTo>
                    <a:pt x="348" y="30"/>
                  </a:lnTo>
                  <a:lnTo>
                    <a:pt x="344" y="8"/>
                  </a:lnTo>
                  <a:lnTo>
                    <a:pt x="342" y="0"/>
                  </a:lnTo>
                  <a:lnTo>
                    <a:pt x="323" y="10"/>
                  </a:lnTo>
                  <a:lnTo>
                    <a:pt x="319" y="12"/>
                  </a:lnTo>
                  <a:lnTo>
                    <a:pt x="317" y="14"/>
                  </a:lnTo>
                  <a:lnTo>
                    <a:pt x="315" y="14"/>
                  </a:lnTo>
                  <a:lnTo>
                    <a:pt x="315" y="14"/>
                  </a:lnTo>
                  <a:lnTo>
                    <a:pt x="315" y="16"/>
                  </a:lnTo>
                  <a:lnTo>
                    <a:pt x="313" y="16"/>
                  </a:lnTo>
                  <a:lnTo>
                    <a:pt x="311" y="18"/>
                  </a:lnTo>
                  <a:lnTo>
                    <a:pt x="309" y="20"/>
                  </a:lnTo>
                  <a:lnTo>
                    <a:pt x="305" y="22"/>
                  </a:lnTo>
                  <a:lnTo>
                    <a:pt x="280" y="39"/>
                  </a:lnTo>
                  <a:lnTo>
                    <a:pt x="258" y="63"/>
                  </a:lnTo>
                  <a:lnTo>
                    <a:pt x="254" y="65"/>
                  </a:lnTo>
                  <a:lnTo>
                    <a:pt x="252" y="67"/>
                  </a:lnTo>
                  <a:lnTo>
                    <a:pt x="250" y="67"/>
                  </a:lnTo>
                  <a:lnTo>
                    <a:pt x="247" y="67"/>
                  </a:lnTo>
                  <a:lnTo>
                    <a:pt x="247" y="67"/>
                  </a:lnTo>
                  <a:lnTo>
                    <a:pt x="245" y="67"/>
                  </a:lnTo>
                  <a:lnTo>
                    <a:pt x="243" y="69"/>
                  </a:lnTo>
                  <a:lnTo>
                    <a:pt x="243" y="69"/>
                  </a:lnTo>
                  <a:lnTo>
                    <a:pt x="241" y="69"/>
                  </a:lnTo>
                  <a:lnTo>
                    <a:pt x="231" y="69"/>
                  </a:lnTo>
                  <a:lnTo>
                    <a:pt x="227" y="69"/>
                  </a:lnTo>
                  <a:lnTo>
                    <a:pt x="217" y="75"/>
                  </a:lnTo>
                  <a:lnTo>
                    <a:pt x="211" y="80"/>
                  </a:lnTo>
                  <a:lnTo>
                    <a:pt x="209" y="82"/>
                  </a:lnTo>
                  <a:lnTo>
                    <a:pt x="202" y="82"/>
                  </a:lnTo>
                  <a:lnTo>
                    <a:pt x="200" y="84"/>
                  </a:lnTo>
                  <a:lnTo>
                    <a:pt x="200" y="84"/>
                  </a:lnTo>
                  <a:lnTo>
                    <a:pt x="196" y="88"/>
                  </a:lnTo>
                  <a:lnTo>
                    <a:pt x="196" y="88"/>
                  </a:lnTo>
                  <a:lnTo>
                    <a:pt x="192" y="88"/>
                  </a:lnTo>
                  <a:lnTo>
                    <a:pt x="188" y="88"/>
                  </a:lnTo>
                  <a:lnTo>
                    <a:pt x="182" y="84"/>
                  </a:lnTo>
                  <a:lnTo>
                    <a:pt x="180" y="84"/>
                  </a:lnTo>
                  <a:lnTo>
                    <a:pt x="180" y="84"/>
                  </a:lnTo>
                  <a:lnTo>
                    <a:pt x="178" y="84"/>
                  </a:lnTo>
                  <a:lnTo>
                    <a:pt x="178" y="82"/>
                  </a:lnTo>
                  <a:lnTo>
                    <a:pt x="178" y="82"/>
                  </a:lnTo>
                  <a:lnTo>
                    <a:pt x="176" y="80"/>
                  </a:lnTo>
                  <a:lnTo>
                    <a:pt x="176" y="80"/>
                  </a:lnTo>
                  <a:lnTo>
                    <a:pt x="178" y="82"/>
                  </a:lnTo>
                  <a:lnTo>
                    <a:pt x="180" y="86"/>
                  </a:lnTo>
                  <a:lnTo>
                    <a:pt x="182" y="86"/>
                  </a:lnTo>
                  <a:lnTo>
                    <a:pt x="178" y="84"/>
                  </a:lnTo>
                  <a:lnTo>
                    <a:pt x="176" y="84"/>
                  </a:lnTo>
                  <a:lnTo>
                    <a:pt x="174" y="84"/>
                  </a:lnTo>
                  <a:lnTo>
                    <a:pt x="174" y="84"/>
                  </a:lnTo>
                  <a:lnTo>
                    <a:pt x="172" y="84"/>
                  </a:lnTo>
                  <a:lnTo>
                    <a:pt x="172" y="84"/>
                  </a:lnTo>
                  <a:lnTo>
                    <a:pt x="170" y="86"/>
                  </a:lnTo>
                  <a:lnTo>
                    <a:pt x="170" y="84"/>
                  </a:lnTo>
                  <a:lnTo>
                    <a:pt x="168" y="84"/>
                  </a:lnTo>
                  <a:lnTo>
                    <a:pt x="164" y="86"/>
                  </a:lnTo>
                  <a:lnTo>
                    <a:pt x="161" y="88"/>
                  </a:lnTo>
                  <a:lnTo>
                    <a:pt x="157" y="90"/>
                  </a:lnTo>
                  <a:lnTo>
                    <a:pt x="153" y="88"/>
                  </a:lnTo>
                  <a:lnTo>
                    <a:pt x="153" y="90"/>
                  </a:lnTo>
                  <a:lnTo>
                    <a:pt x="153" y="90"/>
                  </a:lnTo>
                  <a:lnTo>
                    <a:pt x="151" y="90"/>
                  </a:lnTo>
                  <a:lnTo>
                    <a:pt x="151" y="88"/>
                  </a:lnTo>
                  <a:lnTo>
                    <a:pt x="151" y="88"/>
                  </a:lnTo>
                  <a:lnTo>
                    <a:pt x="145" y="88"/>
                  </a:lnTo>
                  <a:lnTo>
                    <a:pt x="147" y="88"/>
                  </a:lnTo>
                  <a:lnTo>
                    <a:pt x="149" y="88"/>
                  </a:lnTo>
                  <a:lnTo>
                    <a:pt x="151" y="86"/>
                  </a:lnTo>
                  <a:lnTo>
                    <a:pt x="151" y="88"/>
                  </a:lnTo>
                  <a:lnTo>
                    <a:pt x="153" y="86"/>
                  </a:lnTo>
                  <a:lnTo>
                    <a:pt x="153" y="86"/>
                  </a:lnTo>
                  <a:lnTo>
                    <a:pt x="153" y="84"/>
                  </a:lnTo>
                  <a:lnTo>
                    <a:pt x="153" y="84"/>
                  </a:lnTo>
                  <a:lnTo>
                    <a:pt x="155" y="84"/>
                  </a:lnTo>
                  <a:lnTo>
                    <a:pt x="157" y="84"/>
                  </a:lnTo>
                  <a:lnTo>
                    <a:pt x="159" y="82"/>
                  </a:lnTo>
                  <a:lnTo>
                    <a:pt x="161" y="82"/>
                  </a:lnTo>
                  <a:lnTo>
                    <a:pt x="164" y="82"/>
                  </a:lnTo>
                  <a:lnTo>
                    <a:pt x="166" y="80"/>
                  </a:lnTo>
                  <a:lnTo>
                    <a:pt x="168" y="80"/>
                  </a:lnTo>
                  <a:lnTo>
                    <a:pt x="174" y="77"/>
                  </a:lnTo>
                  <a:lnTo>
                    <a:pt x="174" y="77"/>
                  </a:lnTo>
                  <a:lnTo>
                    <a:pt x="172" y="75"/>
                  </a:lnTo>
                  <a:lnTo>
                    <a:pt x="172" y="75"/>
                  </a:lnTo>
                  <a:lnTo>
                    <a:pt x="168" y="75"/>
                  </a:lnTo>
                  <a:lnTo>
                    <a:pt x="168" y="75"/>
                  </a:lnTo>
                  <a:lnTo>
                    <a:pt x="166" y="77"/>
                  </a:lnTo>
                  <a:lnTo>
                    <a:pt x="166" y="75"/>
                  </a:lnTo>
                  <a:lnTo>
                    <a:pt x="166" y="75"/>
                  </a:lnTo>
                  <a:lnTo>
                    <a:pt x="166" y="75"/>
                  </a:lnTo>
                  <a:lnTo>
                    <a:pt x="164" y="73"/>
                  </a:lnTo>
                  <a:lnTo>
                    <a:pt x="161" y="73"/>
                  </a:lnTo>
                  <a:lnTo>
                    <a:pt x="161" y="71"/>
                  </a:lnTo>
                  <a:lnTo>
                    <a:pt x="161" y="73"/>
                  </a:lnTo>
                  <a:lnTo>
                    <a:pt x="161" y="73"/>
                  </a:lnTo>
                  <a:lnTo>
                    <a:pt x="161" y="75"/>
                  </a:lnTo>
                  <a:lnTo>
                    <a:pt x="161" y="77"/>
                  </a:lnTo>
                  <a:lnTo>
                    <a:pt x="159" y="77"/>
                  </a:lnTo>
                  <a:lnTo>
                    <a:pt x="159" y="80"/>
                  </a:lnTo>
                  <a:lnTo>
                    <a:pt x="155" y="80"/>
                  </a:lnTo>
                  <a:lnTo>
                    <a:pt x="153" y="80"/>
                  </a:lnTo>
                  <a:lnTo>
                    <a:pt x="151" y="80"/>
                  </a:lnTo>
                  <a:lnTo>
                    <a:pt x="149" y="80"/>
                  </a:lnTo>
                  <a:lnTo>
                    <a:pt x="147" y="77"/>
                  </a:lnTo>
                  <a:lnTo>
                    <a:pt x="143" y="73"/>
                  </a:lnTo>
                  <a:lnTo>
                    <a:pt x="139" y="73"/>
                  </a:lnTo>
                  <a:lnTo>
                    <a:pt x="137" y="73"/>
                  </a:lnTo>
                  <a:lnTo>
                    <a:pt x="135" y="73"/>
                  </a:lnTo>
                  <a:lnTo>
                    <a:pt x="129" y="71"/>
                  </a:lnTo>
                  <a:lnTo>
                    <a:pt x="127" y="69"/>
                  </a:lnTo>
                  <a:lnTo>
                    <a:pt x="123" y="67"/>
                  </a:lnTo>
                  <a:lnTo>
                    <a:pt x="120" y="65"/>
                  </a:lnTo>
                  <a:lnTo>
                    <a:pt x="120" y="65"/>
                  </a:lnTo>
                  <a:lnTo>
                    <a:pt x="118" y="67"/>
                  </a:lnTo>
                  <a:lnTo>
                    <a:pt x="116" y="67"/>
                  </a:lnTo>
                  <a:lnTo>
                    <a:pt x="114" y="67"/>
                  </a:lnTo>
                  <a:lnTo>
                    <a:pt x="108" y="67"/>
                  </a:lnTo>
                  <a:lnTo>
                    <a:pt x="108" y="65"/>
                  </a:lnTo>
                  <a:lnTo>
                    <a:pt x="108" y="65"/>
                  </a:lnTo>
                  <a:lnTo>
                    <a:pt x="102" y="65"/>
                  </a:lnTo>
                  <a:lnTo>
                    <a:pt x="94" y="67"/>
                  </a:lnTo>
                  <a:lnTo>
                    <a:pt x="88" y="69"/>
                  </a:lnTo>
                  <a:lnTo>
                    <a:pt x="82" y="69"/>
                  </a:lnTo>
                  <a:lnTo>
                    <a:pt x="75" y="71"/>
                  </a:lnTo>
                  <a:lnTo>
                    <a:pt x="67" y="71"/>
                  </a:lnTo>
                  <a:lnTo>
                    <a:pt x="61" y="73"/>
                  </a:lnTo>
                  <a:lnTo>
                    <a:pt x="55" y="75"/>
                  </a:lnTo>
                  <a:lnTo>
                    <a:pt x="47" y="75"/>
                  </a:lnTo>
                  <a:lnTo>
                    <a:pt x="41" y="77"/>
                  </a:lnTo>
                  <a:lnTo>
                    <a:pt x="34" y="77"/>
                  </a:lnTo>
                  <a:lnTo>
                    <a:pt x="28" y="80"/>
                  </a:lnTo>
                  <a:lnTo>
                    <a:pt x="20" y="82"/>
                  </a:lnTo>
                  <a:lnTo>
                    <a:pt x="14" y="82"/>
                  </a:lnTo>
                  <a:lnTo>
                    <a:pt x="8" y="84"/>
                  </a:lnTo>
                  <a:lnTo>
                    <a:pt x="0" y="84"/>
                  </a:lnTo>
                  <a:lnTo>
                    <a:pt x="2" y="92"/>
                  </a:lnTo>
                  <a:lnTo>
                    <a:pt x="2" y="102"/>
                  </a:lnTo>
                  <a:lnTo>
                    <a:pt x="6" y="118"/>
                  </a:lnTo>
                  <a:lnTo>
                    <a:pt x="6" y="127"/>
                  </a:lnTo>
                  <a:lnTo>
                    <a:pt x="8" y="135"/>
                  </a:lnTo>
                  <a:lnTo>
                    <a:pt x="8" y="145"/>
                  </a:lnTo>
                  <a:lnTo>
                    <a:pt x="10" y="153"/>
                  </a:lnTo>
                  <a:lnTo>
                    <a:pt x="10" y="162"/>
                  </a:lnTo>
                  <a:lnTo>
                    <a:pt x="12" y="170"/>
                  </a:lnTo>
                  <a:lnTo>
                    <a:pt x="12" y="178"/>
                  </a:lnTo>
                  <a:lnTo>
                    <a:pt x="14" y="188"/>
                  </a:lnTo>
                  <a:lnTo>
                    <a:pt x="14" y="196"/>
                  </a:lnTo>
                  <a:lnTo>
                    <a:pt x="16" y="205"/>
                  </a:lnTo>
                  <a:lnTo>
                    <a:pt x="18" y="213"/>
                  </a:lnTo>
                  <a:lnTo>
                    <a:pt x="18" y="221"/>
                  </a:lnTo>
                  <a:lnTo>
                    <a:pt x="20" y="231"/>
                  </a:lnTo>
                  <a:lnTo>
                    <a:pt x="20" y="239"/>
                  </a:lnTo>
                  <a:lnTo>
                    <a:pt x="22" y="248"/>
                  </a:lnTo>
                  <a:lnTo>
                    <a:pt x="22" y="256"/>
                  </a:lnTo>
                  <a:lnTo>
                    <a:pt x="24" y="264"/>
                  </a:lnTo>
                  <a:lnTo>
                    <a:pt x="24" y="274"/>
                  </a:lnTo>
                  <a:lnTo>
                    <a:pt x="26" y="282"/>
                  </a:lnTo>
                  <a:lnTo>
                    <a:pt x="26" y="291"/>
                  </a:lnTo>
                  <a:lnTo>
                    <a:pt x="28" y="299"/>
                  </a:lnTo>
                  <a:lnTo>
                    <a:pt x="28" y="307"/>
                  </a:lnTo>
                  <a:lnTo>
                    <a:pt x="30" y="317"/>
                  </a:lnTo>
                  <a:lnTo>
                    <a:pt x="32" y="325"/>
                  </a:lnTo>
                  <a:lnTo>
                    <a:pt x="32" y="334"/>
                  </a:lnTo>
                  <a:lnTo>
                    <a:pt x="34" y="342"/>
                  </a:lnTo>
                  <a:lnTo>
                    <a:pt x="34" y="350"/>
                  </a:lnTo>
                  <a:lnTo>
                    <a:pt x="37" y="360"/>
                  </a:lnTo>
                  <a:lnTo>
                    <a:pt x="41" y="356"/>
                  </a:lnTo>
                  <a:lnTo>
                    <a:pt x="41" y="354"/>
                  </a:lnTo>
                  <a:lnTo>
                    <a:pt x="43" y="354"/>
                  </a:lnTo>
                  <a:lnTo>
                    <a:pt x="43" y="354"/>
                  </a:lnTo>
                  <a:lnTo>
                    <a:pt x="45" y="354"/>
                  </a:lnTo>
                  <a:lnTo>
                    <a:pt x="45" y="354"/>
                  </a:lnTo>
                  <a:lnTo>
                    <a:pt x="47" y="356"/>
                  </a:lnTo>
                  <a:lnTo>
                    <a:pt x="47" y="356"/>
                  </a:lnTo>
                  <a:lnTo>
                    <a:pt x="53" y="360"/>
                  </a:lnTo>
                  <a:lnTo>
                    <a:pt x="55" y="360"/>
                  </a:lnTo>
                  <a:lnTo>
                    <a:pt x="63" y="354"/>
                  </a:lnTo>
                  <a:lnTo>
                    <a:pt x="65" y="354"/>
                  </a:lnTo>
                  <a:lnTo>
                    <a:pt x="67" y="354"/>
                  </a:lnTo>
                  <a:lnTo>
                    <a:pt x="69" y="356"/>
                  </a:lnTo>
                  <a:lnTo>
                    <a:pt x="71" y="358"/>
                  </a:lnTo>
                  <a:lnTo>
                    <a:pt x="71" y="358"/>
                  </a:lnTo>
                  <a:lnTo>
                    <a:pt x="73" y="358"/>
                  </a:lnTo>
                  <a:lnTo>
                    <a:pt x="75" y="360"/>
                  </a:lnTo>
                  <a:lnTo>
                    <a:pt x="80" y="360"/>
                  </a:lnTo>
                  <a:lnTo>
                    <a:pt x="82" y="362"/>
                  </a:lnTo>
                  <a:lnTo>
                    <a:pt x="82" y="364"/>
                  </a:lnTo>
                  <a:lnTo>
                    <a:pt x="82" y="366"/>
                  </a:lnTo>
                  <a:lnTo>
                    <a:pt x="84" y="366"/>
                  </a:lnTo>
                  <a:lnTo>
                    <a:pt x="84" y="368"/>
                  </a:lnTo>
                  <a:lnTo>
                    <a:pt x="86" y="371"/>
                  </a:lnTo>
                  <a:lnTo>
                    <a:pt x="86" y="371"/>
                  </a:lnTo>
                  <a:lnTo>
                    <a:pt x="88" y="373"/>
                  </a:lnTo>
                  <a:lnTo>
                    <a:pt x="88" y="373"/>
                  </a:lnTo>
                  <a:lnTo>
                    <a:pt x="90" y="375"/>
                  </a:lnTo>
                  <a:lnTo>
                    <a:pt x="90" y="377"/>
                  </a:lnTo>
                  <a:lnTo>
                    <a:pt x="90" y="379"/>
                  </a:lnTo>
                  <a:lnTo>
                    <a:pt x="92" y="381"/>
                  </a:lnTo>
                  <a:lnTo>
                    <a:pt x="94" y="383"/>
                  </a:lnTo>
                  <a:lnTo>
                    <a:pt x="102" y="385"/>
                  </a:lnTo>
                  <a:lnTo>
                    <a:pt x="104" y="385"/>
                  </a:lnTo>
                  <a:lnTo>
                    <a:pt x="112" y="383"/>
                  </a:lnTo>
                  <a:lnTo>
                    <a:pt x="114" y="383"/>
                  </a:lnTo>
                  <a:lnTo>
                    <a:pt x="118" y="383"/>
                  </a:lnTo>
                  <a:lnTo>
                    <a:pt x="123" y="383"/>
                  </a:lnTo>
                  <a:lnTo>
                    <a:pt x="123" y="385"/>
                  </a:lnTo>
                  <a:lnTo>
                    <a:pt x="125" y="387"/>
                  </a:lnTo>
                  <a:lnTo>
                    <a:pt x="127" y="389"/>
                  </a:lnTo>
                  <a:lnTo>
                    <a:pt x="133" y="393"/>
                  </a:lnTo>
                  <a:lnTo>
                    <a:pt x="137" y="395"/>
                  </a:lnTo>
                  <a:lnTo>
                    <a:pt x="141" y="395"/>
                  </a:lnTo>
                  <a:lnTo>
                    <a:pt x="141" y="395"/>
                  </a:lnTo>
                  <a:lnTo>
                    <a:pt x="143" y="393"/>
                  </a:lnTo>
                  <a:lnTo>
                    <a:pt x="143" y="391"/>
                  </a:lnTo>
                  <a:lnTo>
                    <a:pt x="143" y="389"/>
                  </a:lnTo>
                  <a:lnTo>
                    <a:pt x="145" y="389"/>
                  </a:lnTo>
                  <a:lnTo>
                    <a:pt x="151" y="385"/>
                  </a:lnTo>
                  <a:lnTo>
                    <a:pt x="151" y="385"/>
                  </a:lnTo>
                  <a:lnTo>
                    <a:pt x="153" y="385"/>
                  </a:lnTo>
                  <a:lnTo>
                    <a:pt x="155" y="387"/>
                  </a:lnTo>
                  <a:lnTo>
                    <a:pt x="157" y="387"/>
                  </a:lnTo>
                  <a:lnTo>
                    <a:pt x="157" y="387"/>
                  </a:lnTo>
                  <a:lnTo>
                    <a:pt x="161" y="387"/>
                  </a:lnTo>
                  <a:lnTo>
                    <a:pt x="161" y="387"/>
                  </a:lnTo>
                  <a:lnTo>
                    <a:pt x="166" y="389"/>
                  </a:lnTo>
                  <a:lnTo>
                    <a:pt x="166" y="389"/>
                  </a:lnTo>
                  <a:lnTo>
                    <a:pt x="168" y="389"/>
                  </a:lnTo>
                  <a:lnTo>
                    <a:pt x="170" y="393"/>
                  </a:lnTo>
                  <a:lnTo>
                    <a:pt x="170" y="393"/>
                  </a:lnTo>
                  <a:lnTo>
                    <a:pt x="172" y="393"/>
                  </a:lnTo>
                  <a:lnTo>
                    <a:pt x="174" y="393"/>
                  </a:lnTo>
                  <a:lnTo>
                    <a:pt x="176" y="391"/>
                  </a:lnTo>
                  <a:lnTo>
                    <a:pt x="176" y="391"/>
                  </a:lnTo>
                  <a:lnTo>
                    <a:pt x="178" y="389"/>
                  </a:lnTo>
                  <a:lnTo>
                    <a:pt x="182" y="391"/>
                  </a:lnTo>
                  <a:lnTo>
                    <a:pt x="184" y="389"/>
                  </a:lnTo>
                  <a:lnTo>
                    <a:pt x="186" y="389"/>
                  </a:lnTo>
                  <a:lnTo>
                    <a:pt x="186" y="387"/>
                  </a:lnTo>
                  <a:lnTo>
                    <a:pt x="186" y="385"/>
                  </a:lnTo>
                  <a:lnTo>
                    <a:pt x="186" y="385"/>
                  </a:lnTo>
                  <a:lnTo>
                    <a:pt x="188" y="383"/>
                  </a:lnTo>
                  <a:lnTo>
                    <a:pt x="190" y="383"/>
                  </a:lnTo>
                  <a:lnTo>
                    <a:pt x="190" y="381"/>
                  </a:lnTo>
                  <a:lnTo>
                    <a:pt x="192" y="379"/>
                  </a:lnTo>
                  <a:lnTo>
                    <a:pt x="192" y="379"/>
                  </a:lnTo>
                  <a:lnTo>
                    <a:pt x="194" y="377"/>
                  </a:lnTo>
                  <a:lnTo>
                    <a:pt x="196" y="377"/>
                  </a:lnTo>
                  <a:lnTo>
                    <a:pt x="200" y="373"/>
                  </a:lnTo>
                  <a:lnTo>
                    <a:pt x="202" y="373"/>
                  </a:lnTo>
                  <a:lnTo>
                    <a:pt x="204" y="373"/>
                  </a:lnTo>
                  <a:lnTo>
                    <a:pt x="204" y="375"/>
                  </a:lnTo>
                  <a:lnTo>
                    <a:pt x="204" y="377"/>
                  </a:lnTo>
                  <a:lnTo>
                    <a:pt x="207" y="379"/>
                  </a:lnTo>
                  <a:lnTo>
                    <a:pt x="209" y="385"/>
                  </a:lnTo>
                  <a:lnTo>
                    <a:pt x="213" y="389"/>
                  </a:lnTo>
                  <a:lnTo>
                    <a:pt x="217" y="391"/>
                  </a:lnTo>
                  <a:lnTo>
                    <a:pt x="221" y="391"/>
                  </a:lnTo>
                  <a:lnTo>
                    <a:pt x="223" y="393"/>
                  </a:lnTo>
                  <a:lnTo>
                    <a:pt x="231" y="397"/>
                  </a:lnTo>
                  <a:lnTo>
                    <a:pt x="231" y="399"/>
                  </a:lnTo>
                  <a:lnTo>
                    <a:pt x="233" y="403"/>
                  </a:lnTo>
                  <a:lnTo>
                    <a:pt x="235" y="403"/>
                  </a:lnTo>
                  <a:lnTo>
                    <a:pt x="235" y="403"/>
                  </a:lnTo>
                  <a:lnTo>
                    <a:pt x="237" y="405"/>
                  </a:lnTo>
                  <a:lnTo>
                    <a:pt x="241" y="403"/>
                  </a:lnTo>
                  <a:lnTo>
                    <a:pt x="247" y="399"/>
                  </a:lnTo>
                  <a:lnTo>
                    <a:pt x="254" y="399"/>
                  </a:lnTo>
                  <a:lnTo>
                    <a:pt x="256" y="397"/>
                  </a:lnTo>
                  <a:lnTo>
                    <a:pt x="258" y="395"/>
                  </a:lnTo>
                  <a:lnTo>
                    <a:pt x="258" y="393"/>
                  </a:lnTo>
                  <a:lnTo>
                    <a:pt x="258" y="383"/>
                  </a:lnTo>
                  <a:lnTo>
                    <a:pt x="258" y="381"/>
                  </a:lnTo>
                  <a:lnTo>
                    <a:pt x="260" y="381"/>
                  </a:lnTo>
                  <a:lnTo>
                    <a:pt x="264" y="381"/>
                  </a:lnTo>
                  <a:lnTo>
                    <a:pt x="266" y="379"/>
                  </a:lnTo>
                  <a:lnTo>
                    <a:pt x="266" y="377"/>
                  </a:lnTo>
                  <a:lnTo>
                    <a:pt x="266" y="377"/>
                  </a:lnTo>
                  <a:lnTo>
                    <a:pt x="266" y="375"/>
                  </a:lnTo>
                  <a:lnTo>
                    <a:pt x="266" y="375"/>
                  </a:lnTo>
                  <a:lnTo>
                    <a:pt x="264" y="373"/>
                  </a:lnTo>
                  <a:lnTo>
                    <a:pt x="264" y="371"/>
                  </a:lnTo>
                  <a:lnTo>
                    <a:pt x="264" y="368"/>
                  </a:lnTo>
                  <a:lnTo>
                    <a:pt x="264" y="366"/>
                  </a:lnTo>
                  <a:lnTo>
                    <a:pt x="262" y="364"/>
                  </a:lnTo>
                  <a:lnTo>
                    <a:pt x="262" y="364"/>
                  </a:lnTo>
                  <a:lnTo>
                    <a:pt x="260" y="362"/>
                  </a:lnTo>
                  <a:lnTo>
                    <a:pt x="260" y="360"/>
                  </a:lnTo>
                  <a:lnTo>
                    <a:pt x="262" y="358"/>
                  </a:lnTo>
                  <a:lnTo>
                    <a:pt x="264" y="356"/>
                  </a:lnTo>
                  <a:lnTo>
                    <a:pt x="264" y="354"/>
                  </a:lnTo>
                  <a:lnTo>
                    <a:pt x="264" y="352"/>
                  </a:lnTo>
                  <a:lnTo>
                    <a:pt x="264" y="350"/>
                  </a:lnTo>
                  <a:lnTo>
                    <a:pt x="264" y="346"/>
                  </a:lnTo>
                  <a:lnTo>
                    <a:pt x="266" y="344"/>
                  </a:lnTo>
                  <a:lnTo>
                    <a:pt x="268" y="338"/>
                  </a:lnTo>
                  <a:lnTo>
                    <a:pt x="270" y="334"/>
                  </a:lnTo>
                  <a:lnTo>
                    <a:pt x="272" y="332"/>
                  </a:lnTo>
                  <a:lnTo>
                    <a:pt x="274" y="332"/>
                  </a:lnTo>
                  <a:lnTo>
                    <a:pt x="276" y="332"/>
                  </a:lnTo>
                  <a:lnTo>
                    <a:pt x="276" y="334"/>
                  </a:lnTo>
                  <a:lnTo>
                    <a:pt x="280" y="334"/>
                  </a:lnTo>
                  <a:lnTo>
                    <a:pt x="280" y="336"/>
                  </a:lnTo>
                  <a:lnTo>
                    <a:pt x="282" y="338"/>
                  </a:lnTo>
                  <a:lnTo>
                    <a:pt x="282" y="338"/>
                  </a:lnTo>
                  <a:lnTo>
                    <a:pt x="282" y="340"/>
                  </a:lnTo>
                  <a:lnTo>
                    <a:pt x="284" y="340"/>
                  </a:lnTo>
                  <a:lnTo>
                    <a:pt x="284" y="340"/>
                  </a:lnTo>
                  <a:lnTo>
                    <a:pt x="284" y="340"/>
                  </a:lnTo>
                  <a:lnTo>
                    <a:pt x="282" y="342"/>
                  </a:lnTo>
                  <a:lnTo>
                    <a:pt x="282" y="342"/>
                  </a:lnTo>
                  <a:lnTo>
                    <a:pt x="282" y="342"/>
                  </a:lnTo>
                  <a:lnTo>
                    <a:pt x="282" y="344"/>
                  </a:lnTo>
                  <a:lnTo>
                    <a:pt x="282" y="344"/>
                  </a:lnTo>
                  <a:lnTo>
                    <a:pt x="282" y="344"/>
                  </a:lnTo>
                  <a:lnTo>
                    <a:pt x="282" y="346"/>
                  </a:lnTo>
                  <a:lnTo>
                    <a:pt x="284" y="346"/>
                  </a:lnTo>
                  <a:lnTo>
                    <a:pt x="286" y="344"/>
                  </a:lnTo>
                  <a:lnTo>
                    <a:pt x="288" y="342"/>
                  </a:lnTo>
                  <a:lnTo>
                    <a:pt x="288" y="342"/>
                  </a:lnTo>
                  <a:lnTo>
                    <a:pt x="288" y="338"/>
                  </a:lnTo>
                  <a:lnTo>
                    <a:pt x="288" y="338"/>
                  </a:lnTo>
                  <a:lnTo>
                    <a:pt x="290" y="336"/>
                  </a:lnTo>
                  <a:lnTo>
                    <a:pt x="290" y="336"/>
                  </a:lnTo>
                  <a:lnTo>
                    <a:pt x="293" y="338"/>
                  </a:lnTo>
                  <a:lnTo>
                    <a:pt x="293" y="338"/>
                  </a:lnTo>
                  <a:lnTo>
                    <a:pt x="295" y="338"/>
                  </a:lnTo>
                  <a:lnTo>
                    <a:pt x="295" y="336"/>
                  </a:lnTo>
                  <a:lnTo>
                    <a:pt x="295" y="336"/>
                  </a:lnTo>
                  <a:lnTo>
                    <a:pt x="293" y="334"/>
                  </a:lnTo>
                  <a:lnTo>
                    <a:pt x="293" y="330"/>
                  </a:lnTo>
                  <a:lnTo>
                    <a:pt x="293" y="328"/>
                  </a:lnTo>
                  <a:lnTo>
                    <a:pt x="290" y="328"/>
                  </a:lnTo>
                  <a:lnTo>
                    <a:pt x="290" y="328"/>
                  </a:lnTo>
                  <a:lnTo>
                    <a:pt x="290" y="325"/>
                  </a:lnTo>
                  <a:lnTo>
                    <a:pt x="288" y="325"/>
                  </a:lnTo>
                  <a:lnTo>
                    <a:pt x="288" y="325"/>
                  </a:lnTo>
                  <a:lnTo>
                    <a:pt x="288" y="323"/>
                  </a:lnTo>
                  <a:lnTo>
                    <a:pt x="288" y="323"/>
                  </a:lnTo>
                  <a:lnTo>
                    <a:pt x="288" y="323"/>
                  </a:lnTo>
                  <a:lnTo>
                    <a:pt x="293" y="321"/>
                  </a:lnTo>
                  <a:lnTo>
                    <a:pt x="293" y="319"/>
                  </a:lnTo>
                  <a:lnTo>
                    <a:pt x="293" y="317"/>
                  </a:lnTo>
                  <a:lnTo>
                    <a:pt x="293" y="313"/>
                  </a:lnTo>
                  <a:lnTo>
                    <a:pt x="293" y="311"/>
                  </a:lnTo>
                  <a:lnTo>
                    <a:pt x="293" y="311"/>
                  </a:lnTo>
                  <a:lnTo>
                    <a:pt x="295" y="305"/>
                  </a:lnTo>
                  <a:lnTo>
                    <a:pt x="297" y="301"/>
                  </a:lnTo>
                  <a:lnTo>
                    <a:pt x="297" y="301"/>
                  </a:lnTo>
                  <a:lnTo>
                    <a:pt x="299" y="301"/>
                  </a:lnTo>
                  <a:lnTo>
                    <a:pt x="301" y="299"/>
                  </a:lnTo>
                  <a:lnTo>
                    <a:pt x="303" y="299"/>
                  </a:lnTo>
                  <a:lnTo>
                    <a:pt x="303" y="299"/>
                  </a:lnTo>
                  <a:lnTo>
                    <a:pt x="303" y="299"/>
                  </a:lnTo>
                  <a:lnTo>
                    <a:pt x="303" y="299"/>
                  </a:lnTo>
                  <a:lnTo>
                    <a:pt x="305" y="299"/>
                  </a:lnTo>
                  <a:lnTo>
                    <a:pt x="305" y="297"/>
                  </a:lnTo>
                  <a:lnTo>
                    <a:pt x="305" y="293"/>
                  </a:lnTo>
                  <a:lnTo>
                    <a:pt x="305" y="291"/>
                  </a:lnTo>
                  <a:lnTo>
                    <a:pt x="311" y="284"/>
                  </a:lnTo>
                  <a:lnTo>
                    <a:pt x="311" y="284"/>
                  </a:lnTo>
                  <a:lnTo>
                    <a:pt x="315" y="282"/>
                  </a:lnTo>
                  <a:lnTo>
                    <a:pt x="317" y="284"/>
                  </a:lnTo>
                  <a:lnTo>
                    <a:pt x="317" y="287"/>
                  </a:lnTo>
                  <a:lnTo>
                    <a:pt x="319" y="287"/>
                  </a:lnTo>
                  <a:lnTo>
                    <a:pt x="321" y="289"/>
                  </a:lnTo>
                  <a:lnTo>
                    <a:pt x="323" y="289"/>
                  </a:lnTo>
                  <a:lnTo>
                    <a:pt x="325" y="284"/>
                  </a:lnTo>
                  <a:lnTo>
                    <a:pt x="327" y="284"/>
                  </a:lnTo>
                  <a:lnTo>
                    <a:pt x="329" y="282"/>
                  </a:lnTo>
                  <a:lnTo>
                    <a:pt x="329" y="282"/>
                  </a:lnTo>
                  <a:lnTo>
                    <a:pt x="331" y="280"/>
                  </a:lnTo>
                  <a:lnTo>
                    <a:pt x="333" y="280"/>
                  </a:lnTo>
                  <a:lnTo>
                    <a:pt x="336" y="276"/>
                  </a:lnTo>
                  <a:lnTo>
                    <a:pt x="336" y="276"/>
                  </a:lnTo>
                  <a:lnTo>
                    <a:pt x="340" y="274"/>
                  </a:lnTo>
                  <a:lnTo>
                    <a:pt x="340" y="272"/>
                  </a:lnTo>
                  <a:lnTo>
                    <a:pt x="342" y="268"/>
                  </a:lnTo>
                  <a:lnTo>
                    <a:pt x="344" y="264"/>
                  </a:lnTo>
                  <a:lnTo>
                    <a:pt x="352" y="256"/>
                  </a:lnTo>
                  <a:lnTo>
                    <a:pt x="356" y="252"/>
                  </a:lnTo>
                  <a:lnTo>
                    <a:pt x="356" y="252"/>
                  </a:lnTo>
                  <a:lnTo>
                    <a:pt x="358" y="248"/>
                  </a:lnTo>
                  <a:lnTo>
                    <a:pt x="358" y="248"/>
                  </a:lnTo>
                  <a:lnTo>
                    <a:pt x="356" y="246"/>
                  </a:lnTo>
                  <a:lnTo>
                    <a:pt x="356" y="246"/>
                  </a:lnTo>
                  <a:lnTo>
                    <a:pt x="356" y="246"/>
                  </a:lnTo>
                  <a:lnTo>
                    <a:pt x="358" y="243"/>
                  </a:lnTo>
                  <a:lnTo>
                    <a:pt x="358" y="241"/>
                  </a:lnTo>
                  <a:lnTo>
                    <a:pt x="358" y="239"/>
                  </a:lnTo>
                  <a:lnTo>
                    <a:pt x="356" y="239"/>
                  </a:lnTo>
                  <a:lnTo>
                    <a:pt x="356" y="237"/>
                  </a:lnTo>
                  <a:lnTo>
                    <a:pt x="354" y="237"/>
                  </a:lnTo>
                  <a:lnTo>
                    <a:pt x="354" y="235"/>
                  </a:lnTo>
                  <a:lnTo>
                    <a:pt x="356" y="235"/>
                  </a:lnTo>
                  <a:lnTo>
                    <a:pt x="356" y="233"/>
                  </a:lnTo>
                  <a:lnTo>
                    <a:pt x="356" y="231"/>
                  </a:lnTo>
                  <a:lnTo>
                    <a:pt x="356" y="229"/>
                  </a:lnTo>
                  <a:lnTo>
                    <a:pt x="358" y="229"/>
                  </a:lnTo>
                  <a:lnTo>
                    <a:pt x="358" y="227"/>
                  </a:lnTo>
                  <a:lnTo>
                    <a:pt x="358" y="225"/>
                  </a:lnTo>
                  <a:lnTo>
                    <a:pt x="358" y="225"/>
                  </a:lnTo>
                  <a:lnTo>
                    <a:pt x="358" y="223"/>
                  </a:lnTo>
                  <a:lnTo>
                    <a:pt x="358" y="223"/>
                  </a:lnTo>
                  <a:lnTo>
                    <a:pt x="358" y="221"/>
                  </a:lnTo>
                  <a:lnTo>
                    <a:pt x="358" y="219"/>
                  </a:lnTo>
                  <a:lnTo>
                    <a:pt x="358" y="219"/>
                  </a:lnTo>
                  <a:lnTo>
                    <a:pt x="360" y="221"/>
                  </a:lnTo>
                  <a:lnTo>
                    <a:pt x="360" y="219"/>
                  </a:lnTo>
                  <a:lnTo>
                    <a:pt x="360" y="219"/>
                  </a:lnTo>
                  <a:lnTo>
                    <a:pt x="360" y="217"/>
                  </a:lnTo>
                  <a:lnTo>
                    <a:pt x="360" y="217"/>
                  </a:lnTo>
                  <a:lnTo>
                    <a:pt x="360" y="217"/>
                  </a:lnTo>
                  <a:lnTo>
                    <a:pt x="360" y="215"/>
                  </a:lnTo>
                  <a:lnTo>
                    <a:pt x="360" y="213"/>
                  </a:lnTo>
                  <a:lnTo>
                    <a:pt x="360" y="211"/>
                  </a:lnTo>
                  <a:lnTo>
                    <a:pt x="360" y="209"/>
                  </a:lnTo>
                  <a:lnTo>
                    <a:pt x="360" y="205"/>
                  </a:lnTo>
                  <a:lnTo>
                    <a:pt x="360" y="202"/>
                  </a:lnTo>
                  <a:lnTo>
                    <a:pt x="360" y="200"/>
                  </a:lnTo>
                  <a:lnTo>
                    <a:pt x="362" y="196"/>
                  </a:lnTo>
                  <a:lnTo>
                    <a:pt x="362" y="194"/>
                  </a:lnTo>
                  <a:lnTo>
                    <a:pt x="362" y="190"/>
                  </a:lnTo>
                  <a:lnTo>
                    <a:pt x="362" y="188"/>
                  </a:lnTo>
                  <a:lnTo>
                    <a:pt x="362" y="182"/>
                  </a:lnTo>
                  <a:lnTo>
                    <a:pt x="364" y="182"/>
                  </a:lnTo>
                  <a:lnTo>
                    <a:pt x="366" y="180"/>
                  </a:lnTo>
                  <a:lnTo>
                    <a:pt x="366" y="180"/>
                  </a:lnTo>
                  <a:lnTo>
                    <a:pt x="366" y="176"/>
                  </a:lnTo>
                  <a:lnTo>
                    <a:pt x="366" y="176"/>
                  </a:lnTo>
                  <a:lnTo>
                    <a:pt x="366" y="174"/>
                  </a:lnTo>
                  <a:lnTo>
                    <a:pt x="364" y="172"/>
                  </a:lnTo>
                  <a:lnTo>
                    <a:pt x="364" y="170"/>
                  </a:lnTo>
                  <a:lnTo>
                    <a:pt x="364" y="170"/>
                  </a:lnTo>
                  <a:lnTo>
                    <a:pt x="364" y="170"/>
                  </a:lnTo>
                  <a:lnTo>
                    <a:pt x="364" y="170"/>
                  </a:lnTo>
                  <a:lnTo>
                    <a:pt x="364" y="168"/>
                  </a:lnTo>
                  <a:lnTo>
                    <a:pt x="364" y="168"/>
                  </a:lnTo>
                  <a:lnTo>
                    <a:pt x="362" y="168"/>
                  </a:lnTo>
                  <a:lnTo>
                    <a:pt x="362" y="166"/>
                  </a:lnTo>
                  <a:lnTo>
                    <a:pt x="364" y="162"/>
                  </a:lnTo>
                  <a:lnTo>
                    <a:pt x="364" y="159"/>
                  </a:lnTo>
                  <a:lnTo>
                    <a:pt x="362" y="157"/>
                  </a:lnTo>
                  <a:lnTo>
                    <a:pt x="362" y="155"/>
                  </a:lnTo>
                  <a:lnTo>
                    <a:pt x="360" y="153"/>
                  </a:lnTo>
                  <a:lnTo>
                    <a:pt x="356" y="149"/>
                  </a:lnTo>
                  <a:lnTo>
                    <a:pt x="356" y="147"/>
                  </a:lnTo>
                  <a:lnTo>
                    <a:pt x="356" y="145"/>
                  </a:lnTo>
                  <a:lnTo>
                    <a:pt x="358" y="145"/>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OH</a:t>
              </a:r>
            </a:p>
          </p:txBody>
        </p:sp>
        <p:sp>
          <p:nvSpPr>
            <p:cNvPr id="259" name="Freeform 21">
              <a:extLst>
                <a:ext uri="{FF2B5EF4-FFF2-40B4-BE49-F238E27FC236}">
                  <a16:creationId xmlns:a16="http://schemas.microsoft.com/office/drawing/2014/main" id="{996E361E-EB9A-81EB-F274-D79C881907BD}"/>
                </a:ext>
              </a:extLst>
            </p:cNvPr>
            <p:cNvSpPr>
              <a:spLocks/>
            </p:cNvSpPr>
            <p:nvPr/>
          </p:nvSpPr>
          <p:spPr bwMode="auto">
            <a:xfrm>
              <a:off x="1043" y="762"/>
              <a:ext cx="539" cy="810"/>
            </a:xfrm>
            <a:custGeom>
              <a:avLst/>
              <a:gdLst>
                <a:gd name="T0" fmla="*/ 453 w 539"/>
                <a:gd name="T1" fmla="*/ 701 h 810"/>
                <a:gd name="T2" fmla="*/ 442 w 539"/>
                <a:gd name="T3" fmla="*/ 707 h 810"/>
                <a:gd name="T4" fmla="*/ 436 w 539"/>
                <a:gd name="T5" fmla="*/ 701 h 810"/>
                <a:gd name="T6" fmla="*/ 434 w 539"/>
                <a:gd name="T7" fmla="*/ 693 h 810"/>
                <a:gd name="T8" fmla="*/ 430 w 539"/>
                <a:gd name="T9" fmla="*/ 691 h 810"/>
                <a:gd name="T10" fmla="*/ 426 w 539"/>
                <a:gd name="T11" fmla="*/ 693 h 810"/>
                <a:gd name="T12" fmla="*/ 424 w 539"/>
                <a:gd name="T13" fmla="*/ 693 h 810"/>
                <a:gd name="T14" fmla="*/ 422 w 539"/>
                <a:gd name="T15" fmla="*/ 691 h 810"/>
                <a:gd name="T16" fmla="*/ 416 w 539"/>
                <a:gd name="T17" fmla="*/ 689 h 810"/>
                <a:gd name="T18" fmla="*/ 401 w 539"/>
                <a:gd name="T19" fmla="*/ 691 h 810"/>
                <a:gd name="T20" fmla="*/ 399 w 539"/>
                <a:gd name="T21" fmla="*/ 693 h 810"/>
                <a:gd name="T22" fmla="*/ 399 w 539"/>
                <a:gd name="T23" fmla="*/ 699 h 810"/>
                <a:gd name="T24" fmla="*/ 397 w 539"/>
                <a:gd name="T25" fmla="*/ 707 h 810"/>
                <a:gd name="T26" fmla="*/ 401 w 539"/>
                <a:gd name="T27" fmla="*/ 718 h 810"/>
                <a:gd name="T28" fmla="*/ 397 w 539"/>
                <a:gd name="T29" fmla="*/ 728 h 810"/>
                <a:gd name="T30" fmla="*/ 399 w 539"/>
                <a:gd name="T31" fmla="*/ 744 h 810"/>
                <a:gd name="T32" fmla="*/ 397 w 539"/>
                <a:gd name="T33" fmla="*/ 761 h 810"/>
                <a:gd name="T34" fmla="*/ 401 w 539"/>
                <a:gd name="T35" fmla="*/ 777 h 810"/>
                <a:gd name="T36" fmla="*/ 399 w 539"/>
                <a:gd name="T37" fmla="*/ 791 h 810"/>
                <a:gd name="T38" fmla="*/ 395 w 539"/>
                <a:gd name="T39" fmla="*/ 796 h 810"/>
                <a:gd name="T40" fmla="*/ 393 w 539"/>
                <a:gd name="T41" fmla="*/ 800 h 810"/>
                <a:gd name="T42" fmla="*/ 393 w 539"/>
                <a:gd name="T43" fmla="*/ 806 h 810"/>
                <a:gd name="T44" fmla="*/ 379 w 539"/>
                <a:gd name="T45" fmla="*/ 793 h 810"/>
                <a:gd name="T46" fmla="*/ 323 w 539"/>
                <a:gd name="T47" fmla="*/ 726 h 810"/>
                <a:gd name="T48" fmla="*/ 276 w 539"/>
                <a:gd name="T49" fmla="*/ 662 h 810"/>
                <a:gd name="T50" fmla="*/ 227 w 539"/>
                <a:gd name="T51" fmla="*/ 599 h 810"/>
                <a:gd name="T52" fmla="*/ 172 w 539"/>
                <a:gd name="T53" fmla="*/ 531 h 810"/>
                <a:gd name="T54" fmla="*/ 117 w 539"/>
                <a:gd name="T55" fmla="*/ 459 h 810"/>
                <a:gd name="T56" fmla="*/ 49 w 539"/>
                <a:gd name="T57" fmla="*/ 377 h 810"/>
                <a:gd name="T58" fmla="*/ 0 w 539"/>
                <a:gd name="T59" fmla="*/ 312 h 810"/>
                <a:gd name="T60" fmla="*/ 12 w 539"/>
                <a:gd name="T61" fmla="*/ 248 h 810"/>
                <a:gd name="T62" fmla="*/ 24 w 539"/>
                <a:gd name="T63" fmla="*/ 173 h 810"/>
                <a:gd name="T64" fmla="*/ 39 w 539"/>
                <a:gd name="T65" fmla="*/ 95 h 810"/>
                <a:gd name="T66" fmla="*/ 53 w 539"/>
                <a:gd name="T67" fmla="*/ 19 h 810"/>
                <a:gd name="T68" fmla="*/ 102 w 539"/>
                <a:gd name="T69" fmla="*/ 9 h 810"/>
                <a:gd name="T70" fmla="*/ 162 w 539"/>
                <a:gd name="T71" fmla="*/ 19 h 810"/>
                <a:gd name="T72" fmla="*/ 223 w 539"/>
                <a:gd name="T73" fmla="*/ 29 h 810"/>
                <a:gd name="T74" fmla="*/ 283 w 539"/>
                <a:gd name="T75" fmla="*/ 37 h 810"/>
                <a:gd name="T76" fmla="*/ 344 w 539"/>
                <a:gd name="T77" fmla="*/ 48 h 810"/>
                <a:gd name="T78" fmla="*/ 403 w 539"/>
                <a:gd name="T79" fmla="*/ 56 h 810"/>
                <a:gd name="T80" fmla="*/ 463 w 539"/>
                <a:gd name="T81" fmla="*/ 64 h 810"/>
                <a:gd name="T82" fmla="*/ 524 w 539"/>
                <a:gd name="T83" fmla="*/ 72 h 810"/>
                <a:gd name="T84" fmla="*/ 532 w 539"/>
                <a:gd name="T85" fmla="*/ 123 h 810"/>
                <a:gd name="T86" fmla="*/ 524 w 539"/>
                <a:gd name="T87" fmla="*/ 189 h 810"/>
                <a:gd name="T88" fmla="*/ 516 w 539"/>
                <a:gd name="T89" fmla="*/ 257 h 810"/>
                <a:gd name="T90" fmla="*/ 508 w 539"/>
                <a:gd name="T91" fmla="*/ 322 h 810"/>
                <a:gd name="T92" fmla="*/ 500 w 539"/>
                <a:gd name="T93" fmla="*/ 388 h 810"/>
                <a:gd name="T94" fmla="*/ 491 w 539"/>
                <a:gd name="T95" fmla="*/ 455 h 810"/>
                <a:gd name="T96" fmla="*/ 483 w 539"/>
                <a:gd name="T97" fmla="*/ 521 h 810"/>
                <a:gd name="T98" fmla="*/ 473 w 539"/>
                <a:gd name="T99" fmla="*/ 587 h 810"/>
                <a:gd name="T100" fmla="*/ 471 w 539"/>
                <a:gd name="T101" fmla="*/ 611 h 810"/>
                <a:gd name="T102" fmla="*/ 467 w 539"/>
                <a:gd name="T103" fmla="*/ 636 h 810"/>
                <a:gd name="T104" fmla="*/ 465 w 539"/>
                <a:gd name="T105" fmla="*/ 664 h 810"/>
                <a:gd name="T106" fmla="*/ 461 w 539"/>
                <a:gd name="T107" fmla="*/ 683 h 810"/>
                <a:gd name="T108" fmla="*/ 461 w 539"/>
                <a:gd name="T109" fmla="*/ 689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10">
                  <a:moveTo>
                    <a:pt x="459" y="691"/>
                  </a:moveTo>
                  <a:lnTo>
                    <a:pt x="457" y="693"/>
                  </a:lnTo>
                  <a:lnTo>
                    <a:pt x="455" y="697"/>
                  </a:lnTo>
                  <a:lnTo>
                    <a:pt x="453" y="701"/>
                  </a:lnTo>
                  <a:lnTo>
                    <a:pt x="450" y="705"/>
                  </a:lnTo>
                  <a:lnTo>
                    <a:pt x="448" y="707"/>
                  </a:lnTo>
                  <a:lnTo>
                    <a:pt x="444" y="707"/>
                  </a:lnTo>
                  <a:lnTo>
                    <a:pt x="442" y="707"/>
                  </a:lnTo>
                  <a:lnTo>
                    <a:pt x="440" y="705"/>
                  </a:lnTo>
                  <a:lnTo>
                    <a:pt x="438" y="703"/>
                  </a:lnTo>
                  <a:lnTo>
                    <a:pt x="438" y="701"/>
                  </a:lnTo>
                  <a:lnTo>
                    <a:pt x="436" y="701"/>
                  </a:lnTo>
                  <a:lnTo>
                    <a:pt x="436" y="695"/>
                  </a:lnTo>
                  <a:lnTo>
                    <a:pt x="434" y="695"/>
                  </a:lnTo>
                  <a:lnTo>
                    <a:pt x="434" y="693"/>
                  </a:lnTo>
                  <a:lnTo>
                    <a:pt x="434" y="693"/>
                  </a:lnTo>
                  <a:lnTo>
                    <a:pt x="432" y="693"/>
                  </a:lnTo>
                  <a:lnTo>
                    <a:pt x="432" y="691"/>
                  </a:lnTo>
                  <a:lnTo>
                    <a:pt x="432" y="691"/>
                  </a:lnTo>
                  <a:lnTo>
                    <a:pt x="430" y="691"/>
                  </a:lnTo>
                  <a:lnTo>
                    <a:pt x="430" y="691"/>
                  </a:lnTo>
                  <a:lnTo>
                    <a:pt x="430" y="691"/>
                  </a:lnTo>
                  <a:lnTo>
                    <a:pt x="430" y="691"/>
                  </a:lnTo>
                  <a:lnTo>
                    <a:pt x="426" y="693"/>
                  </a:lnTo>
                  <a:lnTo>
                    <a:pt x="426" y="693"/>
                  </a:lnTo>
                  <a:lnTo>
                    <a:pt x="426" y="693"/>
                  </a:lnTo>
                  <a:lnTo>
                    <a:pt x="424" y="693"/>
                  </a:lnTo>
                  <a:lnTo>
                    <a:pt x="424" y="693"/>
                  </a:lnTo>
                  <a:lnTo>
                    <a:pt x="424" y="693"/>
                  </a:lnTo>
                  <a:lnTo>
                    <a:pt x="422" y="691"/>
                  </a:lnTo>
                  <a:lnTo>
                    <a:pt x="422" y="691"/>
                  </a:lnTo>
                  <a:lnTo>
                    <a:pt x="422" y="691"/>
                  </a:lnTo>
                  <a:lnTo>
                    <a:pt x="422" y="691"/>
                  </a:lnTo>
                  <a:lnTo>
                    <a:pt x="416" y="689"/>
                  </a:lnTo>
                  <a:lnTo>
                    <a:pt x="416" y="689"/>
                  </a:lnTo>
                  <a:lnTo>
                    <a:pt x="416" y="689"/>
                  </a:lnTo>
                  <a:lnTo>
                    <a:pt x="414" y="689"/>
                  </a:lnTo>
                  <a:lnTo>
                    <a:pt x="407" y="689"/>
                  </a:lnTo>
                  <a:lnTo>
                    <a:pt x="405" y="691"/>
                  </a:lnTo>
                  <a:lnTo>
                    <a:pt x="401" y="691"/>
                  </a:lnTo>
                  <a:lnTo>
                    <a:pt x="401" y="691"/>
                  </a:lnTo>
                  <a:lnTo>
                    <a:pt x="401" y="693"/>
                  </a:lnTo>
                  <a:lnTo>
                    <a:pt x="401" y="693"/>
                  </a:lnTo>
                  <a:lnTo>
                    <a:pt x="399" y="693"/>
                  </a:lnTo>
                  <a:lnTo>
                    <a:pt x="399" y="695"/>
                  </a:lnTo>
                  <a:lnTo>
                    <a:pt x="399" y="695"/>
                  </a:lnTo>
                  <a:lnTo>
                    <a:pt x="399" y="697"/>
                  </a:lnTo>
                  <a:lnTo>
                    <a:pt x="399" y="699"/>
                  </a:lnTo>
                  <a:lnTo>
                    <a:pt x="399" y="701"/>
                  </a:lnTo>
                  <a:lnTo>
                    <a:pt x="397" y="701"/>
                  </a:lnTo>
                  <a:lnTo>
                    <a:pt x="397" y="705"/>
                  </a:lnTo>
                  <a:lnTo>
                    <a:pt x="397" y="707"/>
                  </a:lnTo>
                  <a:lnTo>
                    <a:pt x="399" y="709"/>
                  </a:lnTo>
                  <a:lnTo>
                    <a:pt x="401" y="716"/>
                  </a:lnTo>
                  <a:lnTo>
                    <a:pt x="401" y="716"/>
                  </a:lnTo>
                  <a:lnTo>
                    <a:pt x="401" y="718"/>
                  </a:lnTo>
                  <a:lnTo>
                    <a:pt x="401" y="718"/>
                  </a:lnTo>
                  <a:lnTo>
                    <a:pt x="399" y="722"/>
                  </a:lnTo>
                  <a:lnTo>
                    <a:pt x="399" y="722"/>
                  </a:lnTo>
                  <a:lnTo>
                    <a:pt x="397" y="728"/>
                  </a:lnTo>
                  <a:lnTo>
                    <a:pt x="397" y="732"/>
                  </a:lnTo>
                  <a:lnTo>
                    <a:pt x="397" y="734"/>
                  </a:lnTo>
                  <a:lnTo>
                    <a:pt x="399" y="742"/>
                  </a:lnTo>
                  <a:lnTo>
                    <a:pt x="399" y="744"/>
                  </a:lnTo>
                  <a:lnTo>
                    <a:pt x="399" y="746"/>
                  </a:lnTo>
                  <a:lnTo>
                    <a:pt x="399" y="750"/>
                  </a:lnTo>
                  <a:lnTo>
                    <a:pt x="397" y="757"/>
                  </a:lnTo>
                  <a:lnTo>
                    <a:pt x="397" y="761"/>
                  </a:lnTo>
                  <a:lnTo>
                    <a:pt x="399" y="765"/>
                  </a:lnTo>
                  <a:lnTo>
                    <a:pt x="401" y="771"/>
                  </a:lnTo>
                  <a:lnTo>
                    <a:pt x="401" y="773"/>
                  </a:lnTo>
                  <a:lnTo>
                    <a:pt x="401" y="777"/>
                  </a:lnTo>
                  <a:lnTo>
                    <a:pt x="399" y="779"/>
                  </a:lnTo>
                  <a:lnTo>
                    <a:pt x="401" y="785"/>
                  </a:lnTo>
                  <a:lnTo>
                    <a:pt x="401" y="789"/>
                  </a:lnTo>
                  <a:lnTo>
                    <a:pt x="399" y="791"/>
                  </a:lnTo>
                  <a:lnTo>
                    <a:pt x="399" y="796"/>
                  </a:lnTo>
                  <a:lnTo>
                    <a:pt x="399" y="796"/>
                  </a:lnTo>
                  <a:lnTo>
                    <a:pt x="397" y="796"/>
                  </a:lnTo>
                  <a:lnTo>
                    <a:pt x="395" y="796"/>
                  </a:lnTo>
                  <a:lnTo>
                    <a:pt x="395" y="796"/>
                  </a:lnTo>
                  <a:lnTo>
                    <a:pt x="393" y="796"/>
                  </a:lnTo>
                  <a:lnTo>
                    <a:pt x="393" y="798"/>
                  </a:lnTo>
                  <a:lnTo>
                    <a:pt x="393" y="800"/>
                  </a:lnTo>
                  <a:lnTo>
                    <a:pt x="395" y="802"/>
                  </a:lnTo>
                  <a:lnTo>
                    <a:pt x="395" y="802"/>
                  </a:lnTo>
                  <a:lnTo>
                    <a:pt x="395" y="804"/>
                  </a:lnTo>
                  <a:lnTo>
                    <a:pt x="393" y="806"/>
                  </a:lnTo>
                  <a:lnTo>
                    <a:pt x="393" y="810"/>
                  </a:lnTo>
                  <a:lnTo>
                    <a:pt x="393" y="810"/>
                  </a:lnTo>
                  <a:lnTo>
                    <a:pt x="393" y="810"/>
                  </a:lnTo>
                  <a:lnTo>
                    <a:pt x="379" y="793"/>
                  </a:lnTo>
                  <a:lnTo>
                    <a:pt x="364" y="775"/>
                  </a:lnTo>
                  <a:lnTo>
                    <a:pt x="350" y="759"/>
                  </a:lnTo>
                  <a:lnTo>
                    <a:pt x="336" y="740"/>
                  </a:lnTo>
                  <a:lnTo>
                    <a:pt x="323" y="726"/>
                  </a:lnTo>
                  <a:lnTo>
                    <a:pt x="311" y="709"/>
                  </a:lnTo>
                  <a:lnTo>
                    <a:pt x="299" y="695"/>
                  </a:lnTo>
                  <a:lnTo>
                    <a:pt x="287" y="679"/>
                  </a:lnTo>
                  <a:lnTo>
                    <a:pt x="276" y="662"/>
                  </a:lnTo>
                  <a:lnTo>
                    <a:pt x="264" y="648"/>
                  </a:lnTo>
                  <a:lnTo>
                    <a:pt x="252" y="632"/>
                  </a:lnTo>
                  <a:lnTo>
                    <a:pt x="240" y="617"/>
                  </a:lnTo>
                  <a:lnTo>
                    <a:pt x="227" y="599"/>
                  </a:lnTo>
                  <a:lnTo>
                    <a:pt x="213" y="582"/>
                  </a:lnTo>
                  <a:lnTo>
                    <a:pt x="199" y="566"/>
                  </a:lnTo>
                  <a:lnTo>
                    <a:pt x="186" y="548"/>
                  </a:lnTo>
                  <a:lnTo>
                    <a:pt x="172" y="531"/>
                  </a:lnTo>
                  <a:lnTo>
                    <a:pt x="160" y="515"/>
                  </a:lnTo>
                  <a:lnTo>
                    <a:pt x="145" y="496"/>
                  </a:lnTo>
                  <a:lnTo>
                    <a:pt x="133" y="480"/>
                  </a:lnTo>
                  <a:lnTo>
                    <a:pt x="117" y="459"/>
                  </a:lnTo>
                  <a:lnTo>
                    <a:pt x="100" y="439"/>
                  </a:lnTo>
                  <a:lnTo>
                    <a:pt x="82" y="418"/>
                  </a:lnTo>
                  <a:lnTo>
                    <a:pt x="65" y="398"/>
                  </a:lnTo>
                  <a:lnTo>
                    <a:pt x="49" y="377"/>
                  </a:lnTo>
                  <a:lnTo>
                    <a:pt x="33" y="355"/>
                  </a:lnTo>
                  <a:lnTo>
                    <a:pt x="16" y="334"/>
                  </a:lnTo>
                  <a:lnTo>
                    <a:pt x="0" y="314"/>
                  </a:lnTo>
                  <a:lnTo>
                    <a:pt x="0" y="312"/>
                  </a:lnTo>
                  <a:lnTo>
                    <a:pt x="0" y="308"/>
                  </a:lnTo>
                  <a:lnTo>
                    <a:pt x="4" y="287"/>
                  </a:lnTo>
                  <a:lnTo>
                    <a:pt x="8" y="269"/>
                  </a:lnTo>
                  <a:lnTo>
                    <a:pt x="12" y="248"/>
                  </a:lnTo>
                  <a:lnTo>
                    <a:pt x="14" y="230"/>
                  </a:lnTo>
                  <a:lnTo>
                    <a:pt x="18" y="211"/>
                  </a:lnTo>
                  <a:lnTo>
                    <a:pt x="22" y="191"/>
                  </a:lnTo>
                  <a:lnTo>
                    <a:pt x="24" y="173"/>
                  </a:lnTo>
                  <a:lnTo>
                    <a:pt x="29" y="152"/>
                  </a:lnTo>
                  <a:lnTo>
                    <a:pt x="33" y="134"/>
                  </a:lnTo>
                  <a:lnTo>
                    <a:pt x="37" y="115"/>
                  </a:lnTo>
                  <a:lnTo>
                    <a:pt x="39" y="95"/>
                  </a:lnTo>
                  <a:lnTo>
                    <a:pt x="43" y="76"/>
                  </a:lnTo>
                  <a:lnTo>
                    <a:pt x="47" y="58"/>
                  </a:lnTo>
                  <a:lnTo>
                    <a:pt x="49" y="37"/>
                  </a:lnTo>
                  <a:lnTo>
                    <a:pt x="53" y="19"/>
                  </a:lnTo>
                  <a:lnTo>
                    <a:pt x="57" y="0"/>
                  </a:lnTo>
                  <a:lnTo>
                    <a:pt x="72" y="2"/>
                  </a:lnTo>
                  <a:lnTo>
                    <a:pt x="88" y="5"/>
                  </a:lnTo>
                  <a:lnTo>
                    <a:pt x="102" y="9"/>
                  </a:lnTo>
                  <a:lnTo>
                    <a:pt x="117" y="11"/>
                  </a:lnTo>
                  <a:lnTo>
                    <a:pt x="133" y="13"/>
                  </a:lnTo>
                  <a:lnTo>
                    <a:pt x="147" y="15"/>
                  </a:lnTo>
                  <a:lnTo>
                    <a:pt x="162" y="19"/>
                  </a:lnTo>
                  <a:lnTo>
                    <a:pt x="178" y="21"/>
                  </a:lnTo>
                  <a:lnTo>
                    <a:pt x="192" y="23"/>
                  </a:lnTo>
                  <a:lnTo>
                    <a:pt x="207" y="25"/>
                  </a:lnTo>
                  <a:lnTo>
                    <a:pt x="223" y="29"/>
                  </a:lnTo>
                  <a:lnTo>
                    <a:pt x="237" y="31"/>
                  </a:lnTo>
                  <a:lnTo>
                    <a:pt x="252" y="33"/>
                  </a:lnTo>
                  <a:lnTo>
                    <a:pt x="268" y="35"/>
                  </a:lnTo>
                  <a:lnTo>
                    <a:pt x="283" y="37"/>
                  </a:lnTo>
                  <a:lnTo>
                    <a:pt x="297" y="39"/>
                  </a:lnTo>
                  <a:lnTo>
                    <a:pt x="313" y="43"/>
                  </a:lnTo>
                  <a:lnTo>
                    <a:pt x="328" y="46"/>
                  </a:lnTo>
                  <a:lnTo>
                    <a:pt x="344" y="48"/>
                  </a:lnTo>
                  <a:lnTo>
                    <a:pt x="358" y="50"/>
                  </a:lnTo>
                  <a:lnTo>
                    <a:pt x="373" y="52"/>
                  </a:lnTo>
                  <a:lnTo>
                    <a:pt x="389" y="54"/>
                  </a:lnTo>
                  <a:lnTo>
                    <a:pt x="403" y="56"/>
                  </a:lnTo>
                  <a:lnTo>
                    <a:pt x="418" y="58"/>
                  </a:lnTo>
                  <a:lnTo>
                    <a:pt x="434" y="60"/>
                  </a:lnTo>
                  <a:lnTo>
                    <a:pt x="448" y="62"/>
                  </a:lnTo>
                  <a:lnTo>
                    <a:pt x="463" y="64"/>
                  </a:lnTo>
                  <a:lnTo>
                    <a:pt x="479" y="66"/>
                  </a:lnTo>
                  <a:lnTo>
                    <a:pt x="493" y="68"/>
                  </a:lnTo>
                  <a:lnTo>
                    <a:pt x="508" y="70"/>
                  </a:lnTo>
                  <a:lnTo>
                    <a:pt x="524" y="72"/>
                  </a:lnTo>
                  <a:lnTo>
                    <a:pt x="539" y="74"/>
                  </a:lnTo>
                  <a:lnTo>
                    <a:pt x="536" y="91"/>
                  </a:lnTo>
                  <a:lnTo>
                    <a:pt x="534" y="107"/>
                  </a:lnTo>
                  <a:lnTo>
                    <a:pt x="532" y="123"/>
                  </a:lnTo>
                  <a:lnTo>
                    <a:pt x="530" y="140"/>
                  </a:lnTo>
                  <a:lnTo>
                    <a:pt x="528" y="156"/>
                  </a:lnTo>
                  <a:lnTo>
                    <a:pt x="526" y="173"/>
                  </a:lnTo>
                  <a:lnTo>
                    <a:pt x="524" y="189"/>
                  </a:lnTo>
                  <a:lnTo>
                    <a:pt x="522" y="205"/>
                  </a:lnTo>
                  <a:lnTo>
                    <a:pt x="520" y="222"/>
                  </a:lnTo>
                  <a:lnTo>
                    <a:pt x="518" y="238"/>
                  </a:lnTo>
                  <a:lnTo>
                    <a:pt x="516" y="257"/>
                  </a:lnTo>
                  <a:lnTo>
                    <a:pt x="514" y="273"/>
                  </a:lnTo>
                  <a:lnTo>
                    <a:pt x="512" y="289"/>
                  </a:lnTo>
                  <a:lnTo>
                    <a:pt x="510" y="306"/>
                  </a:lnTo>
                  <a:lnTo>
                    <a:pt x="508" y="322"/>
                  </a:lnTo>
                  <a:lnTo>
                    <a:pt x="506" y="339"/>
                  </a:lnTo>
                  <a:lnTo>
                    <a:pt x="504" y="355"/>
                  </a:lnTo>
                  <a:lnTo>
                    <a:pt x="502" y="371"/>
                  </a:lnTo>
                  <a:lnTo>
                    <a:pt x="500" y="388"/>
                  </a:lnTo>
                  <a:lnTo>
                    <a:pt x="498" y="404"/>
                  </a:lnTo>
                  <a:lnTo>
                    <a:pt x="496" y="421"/>
                  </a:lnTo>
                  <a:lnTo>
                    <a:pt x="493" y="437"/>
                  </a:lnTo>
                  <a:lnTo>
                    <a:pt x="491" y="455"/>
                  </a:lnTo>
                  <a:lnTo>
                    <a:pt x="489" y="472"/>
                  </a:lnTo>
                  <a:lnTo>
                    <a:pt x="487" y="488"/>
                  </a:lnTo>
                  <a:lnTo>
                    <a:pt x="485" y="505"/>
                  </a:lnTo>
                  <a:lnTo>
                    <a:pt x="483" y="521"/>
                  </a:lnTo>
                  <a:lnTo>
                    <a:pt x="479" y="537"/>
                  </a:lnTo>
                  <a:lnTo>
                    <a:pt x="477" y="554"/>
                  </a:lnTo>
                  <a:lnTo>
                    <a:pt x="475" y="570"/>
                  </a:lnTo>
                  <a:lnTo>
                    <a:pt x="473" y="587"/>
                  </a:lnTo>
                  <a:lnTo>
                    <a:pt x="471" y="605"/>
                  </a:lnTo>
                  <a:lnTo>
                    <a:pt x="471" y="605"/>
                  </a:lnTo>
                  <a:lnTo>
                    <a:pt x="471" y="607"/>
                  </a:lnTo>
                  <a:lnTo>
                    <a:pt x="471" y="611"/>
                  </a:lnTo>
                  <a:lnTo>
                    <a:pt x="471" y="617"/>
                  </a:lnTo>
                  <a:lnTo>
                    <a:pt x="469" y="623"/>
                  </a:lnTo>
                  <a:lnTo>
                    <a:pt x="469" y="630"/>
                  </a:lnTo>
                  <a:lnTo>
                    <a:pt x="467" y="636"/>
                  </a:lnTo>
                  <a:lnTo>
                    <a:pt x="467" y="644"/>
                  </a:lnTo>
                  <a:lnTo>
                    <a:pt x="465" y="650"/>
                  </a:lnTo>
                  <a:lnTo>
                    <a:pt x="465" y="658"/>
                  </a:lnTo>
                  <a:lnTo>
                    <a:pt x="465" y="664"/>
                  </a:lnTo>
                  <a:lnTo>
                    <a:pt x="463" y="671"/>
                  </a:lnTo>
                  <a:lnTo>
                    <a:pt x="463" y="677"/>
                  </a:lnTo>
                  <a:lnTo>
                    <a:pt x="463" y="681"/>
                  </a:lnTo>
                  <a:lnTo>
                    <a:pt x="461" y="683"/>
                  </a:lnTo>
                  <a:lnTo>
                    <a:pt x="461" y="683"/>
                  </a:lnTo>
                  <a:lnTo>
                    <a:pt x="461" y="687"/>
                  </a:lnTo>
                  <a:lnTo>
                    <a:pt x="461" y="689"/>
                  </a:lnTo>
                  <a:lnTo>
                    <a:pt x="461" y="689"/>
                  </a:lnTo>
                  <a:lnTo>
                    <a:pt x="459" y="691"/>
                  </a:lnTo>
                  <a:lnTo>
                    <a:pt x="459" y="691"/>
                  </a:lnTo>
                  <a:close/>
                </a:path>
              </a:pathLst>
            </a:custGeom>
            <a:solidFill>
              <a:schemeClr val="accent1"/>
            </a:solidFill>
            <a:ln w="3175" cap="rnd">
              <a:solidFill>
                <a:schemeClr val="bg1"/>
              </a:solidFill>
              <a:prstDash val="solid"/>
              <a:round/>
              <a:headEnd/>
              <a:tailEnd/>
            </a:ln>
          </p:spPr>
          <p:txBody>
            <a:bodyPr vert="horz" wrap="square" lIns="0" tIns="0" rIns="0" bIns="240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V</a:t>
              </a:r>
            </a:p>
          </p:txBody>
        </p:sp>
        <p:sp>
          <p:nvSpPr>
            <p:cNvPr id="260" name="Freeform 22">
              <a:extLst>
                <a:ext uri="{FF2B5EF4-FFF2-40B4-BE49-F238E27FC236}">
                  <a16:creationId xmlns:a16="http://schemas.microsoft.com/office/drawing/2014/main" id="{2194ABB2-80F2-6D2C-1E8C-931E76A1B4F9}"/>
                </a:ext>
              </a:extLst>
            </p:cNvPr>
            <p:cNvSpPr>
              <a:spLocks/>
            </p:cNvSpPr>
            <p:nvPr/>
          </p:nvSpPr>
          <p:spPr bwMode="auto">
            <a:xfrm>
              <a:off x="1895" y="1412"/>
              <a:ext cx="573" cy="615"/>
            </a:xfrm>
            <a:custGeom>
              <a:avLst/>
              <a:gdLst>
                <a:gd name="T0" fmla="*/ 229 w 573"/>
                <a:gd name="T1" fmla="*/ 578 h 615"/>
                <a:gd name="T2" fmla="*/ 215 w 573"/>
                <a:gd name="T3" fmla="*/ 576 h 615"/>
                <a:gd name="T4" fmla="*/ 201 w 573"/>
                <a:gd name="T5" fmla="*/ 576 h 615"/>
                <a:gd name="T6" fmla="*/ 186 w 573"/>
                <a:gd name="T7" fmla="*/ 574 h 615"/>
                <a:gd name="T8" fmla="*/ 172 w 573"/>
                <a:gd name="T9" fmla="*/ 574 h 615"/>
                <a:gd name="T10" fmla="*/ 158 w 573"/>
                <a:gd name="T11" fmla="*/ 572 h 615"/>
                <a:gd name="T12" fmla="*/ 145 w 573"/>
                <a:gd name="T13" fmla="*/ 572 h 615"/>
                <a:gd name="T14" fmla="*/ 131 w 573"/>
                <a:gd name="T15" fmla="*/ 570 h 615"/>
                <a:gd name="T16" fmla="*/ 117 w 573"/>
                <a:gd name="T17" fmla="*/ 570 h 615"/>
                <a:gd name="T18" fmla="*/ 102 w 573"/>
                <a:gd name="T19" fmla="*/ 568 h 615"/>
                <a:gd name="T20" fmla="*/ 88 w 573"/>
                <a:gd name="T21" fmla="*/ 568 h 615"/>
                <a:gd name="T22" fmla="*/ 80 w 573"/>
                <a:gd name="T23" fmla="*/ 568 h 615"/>
                <a:gd name="T24" fmla="*/ 80 w 573"/>
                <a:gd name="T25" fmla="*/ 572 h 615"/>
                <a:gd name="T26" fmla="*/ 80 w 573"/>
                <a:gd name="T27" fmla="*/ 578 h 615"/>
                <a:gd name="T28" fmla="*/ 80 w 573"/>
                <a:gd name="T29" fmla="*/ 582 h 615"/>
                <a:gd name="T30" fmla="*/ 80 w 573"/>
                <a:gd name="T31" fmla="*/ 586 h 615"/>
                <a:gd name="T32" fmla="*/ 78 w 573"/>
                <a:gd name="T33" fmla="*/ 590 h 615"/>
                <a:gd name="T34" fmla="*/ 78 w 573"/>
                <a:gd name="T35" fmla="*/ 596 h 615"/>
                <a:gd name="T36" fmla="*/ 78 w 573"/>
                <a:gd name="T37" fmla="*/ 600 h 615"/>
                <a:gd name="T38" fmla="*/ 78 w 573"/>
                <a:gd name="T39" fmla="*/ 605 h 615"/>
                <a:gd name="T40" fmla="*/ 78 w 573"/>
                <a:gd name="T41" fmla="*/ 609 h 615"/>
                <a:gd name="T42" fmla="*/ 78 w 573"/>
                <a:gd name="T43" fmla="*/ 613 h 615"/>
                <a:gd name="T44" fmla="*/ 65 w 573"/>
                <a:gd name="T45" fmla="*/ 615 h 615"/>
                <a:gd name="T46" fmla="*/ 41 w 573"/>
                <a:gd name="T47" fmla="*/ 613 h 615"/>
                <a:gd name="T48" fmla="*/ 18 w 573"/>
                <a:gd name="T49" fmla="*/ 611 h 615"/>
                <a:gd name="T50" fmla="*/ 0 w 573"/>
                <a:gd name="T51" fmla="*/ 609 h 615"/>
                <a:gd name="T52" fmla="*/ 0 w 573"/>
                <a:gd name="T53" fmla="*/ 609 h 615"/>
                <a:gd name="T54" fmla="*/ 0 w 573"/>
                <a:gd name="T55" fmla="*/ 609 h 615"/>
                <a:gd name="T56" fmla="*/ 0 w 573"/>
                <a:gd name="T57" fmla="*/ 609 h 615"/>
                <a:gd name="T58" fmla="*/ 0 w 573"/>
                <a:gd name="T59" fmla="*/ 609 h 615"/>
                <a:gd name="T60" fmla="*/ 0 w 573"/>
                <a:gd name="T61" fmla="*/ 609 h 615"/>
                <a:gd name="T62" fmla="*/ 8 w 573"/>
                <a:gd name="T63" fmla="*/ 512 h 615"/>
                <a:gd name="T64" fmla="*/ 18 w 573"/>
                <a:gd name="T65" fmla="*/ 400 h 615"/>
                <a:gd name="T66" fmla="*/ 26 w 573"/>
                <a:gd name="T67" fmla="*/ 285 h 615"/>
                <a:gd name="T68" fmla="*/ 37 w 573"/>
                <a:gd name="T69" fmla="*/ 170 h 615"/>
                <a:gd name="T70" fmla="*/ 45 w 573"/>
                <a:gd name="T71" fmla="*/ 57 h 615"/>
                <a:gd name="T72" fmla="*/ 100 w 573"/>
                <a:gd name="T73" fmla="*/ 4 h 615"/>
                <a:gd name="T74" fmla="*/ 196 w 573"/>
                <a:gd name="T75" fmla="*/ 10 h 615"/>
                <a:gd name="T76" fmla="*/ 295 w 573"/>
                <a:gd name="T77" fmla="*/ 16 h 615"/>
                <a:gd name="T78" fmla="*/ 393 w 573"/>
                <a:gd name="T79" fmla="*/ 21 h 615"/>
                <a:gd name="T80" fmla="*/ 491 w 573"/>
                <a:gd name="T81" fmla="*/ 25 h 615"/>
                <a:gd name="T82" fmla="*/ 573 w 573"/>
                <a:gd name="T83" fmla="*/ 41 h 615"/>
                <a:gd name="T84" fmla="*/ 569 w 573"/>
                <a:gd name="T85" fmla="*/ 86 h 615"/>
                <a:gd name="T86" fmla="*/ 565 w 573"/>
                <a:gd name="T87" fmla="*/ 176 h 615"/>
                <a:gd name="T88" fmla="*/ 563 w 573"/>
                <a:gd name="T89" fmla="*/ 266 h 615"/>
                <a:gd name="T90" fmla="*/ 559 w 573"/>
                <a:gd name="T91" fmla="*/ 357 h 615"/>
                <a:gd name="T92" fmla="*/ 557 w 573"/>
                <a:gd name="T93" fmla="*/ 447 h 615"/>
                <a:gd name="T94" fmla="*/ 555 w 573"/>
                <a:gd name="T95" fmla="*/ 537 h 615"/>
                <a:gd name="T96" fmla="*/ 471 w 573"/>
                <a:gd name="T97" fmla="*/ 564 h 615"/>
                <a:gd name="T98" fmla="*/ 350 w 573"/>
                <a:gd name="T99" fmla="*/ 560 h 615"/>
                <a:gd name="T100" fmla="*/ 227 w 573"/>
                <a:gd name="T101" fmla="*/ 553 h 615"/>
                <a:gd name="T102" fmla="*/ 227 w 573"/>
                <a:gd name="T103" fmla="*/ 564 h 615"/>
                <a:gd name="T104" fmla="*/ 231 w 573"/>
                <a:gd name="T105" fmla="*/ 57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3" h="615">
                  <a:moveTo>
                    <a:pt x="233" y="574"/>
                  </a:moveTo>
                  <a:lnTo>
                    <a:pt x="237" y="580"/>
                  </a:lnTo>
                  <a:lnTo>
                    <a:pt x="237" y="578"/>
                  </a:lnTo>
                  <a:lnTo>
                    <a:pt x="235" y="578"/>
                  </a:lnTo>
                  <a:lnTo>
                    <a:pt x="231" y="578"/>
                  </a:lnTo>
                  <a:lnTo>
                    <a:pt x="229" y="578"/>
                  </a:lnTo>
                  <a:lnTo>
                    <a:pt x="227" y="578"/>
                  </a:lnTo>
                  <a:lnTo>
                    <a:pt x="225" y="576"/>
                  </a:lnTo>
                  <a:lnTo>
                    <a:pt x="223" y="576"/>
                  </a:lnTo>
                  <a:lnTo>
                    <a:pt x="221" y="576"/>
                  </a:lnTo>
                  <a:lnTo>
                    <a:pt x="217" y="576"/>
                  </a:lnTo>
                  <a:lnTo>
                    <a:pt x="215" y="576"/>
                  </a:lnTo>
                  <a:lnTo>
                    <a:pt x="213" y="576"/>
                  </a:lnTo>
                  <a:lnTo>
                    <a:pt x="211" y="576"/>
                  </a:lnTo>
                  <a:lnTo>
                    <a:pt x="209" y="576"/>
                  </a:lnTo>
                  <a:lnTo>
                    <a:pt x="207" y="576"/>
                  </a:lnTo>
                  <a:lnTo>
                    <a:pt x="203" y="576"/>
                  </a:lnTo>
                  <a:lnTo>
                    <a:pt x="201" y="576"/>
                  </a:lnTo>
                  <a:lnTo>
                    <a:pt x="199" y="576"/>
                  </a:lnTo>
                  <a:lnTo>
                    <a:pt x="196" y="576"/>
                  </a:lnTo>
                  <a:lnTo>
                    <a:pt x="194" y="574"/>
                  </a:lnTo>
                  <a:lnTo>
                    <a:pt x="192" y="574"/>
                  </a:lnTo>
                  <a:lnTo>
                    <a:pt x="190" y="574"/>
                  </a:lnTo>
                  <a:lnTo>
                    <a:pt x="186" y="574"/>
                  </a:lnTo>
                  <a:lnTo>
                    <a:pt x="184" y="574"/>
                  </a:lnTo>
                  <a:lnTo>
                    <a:pt x="182" y="574"/>
                  </a:lnTo>
                  <a:lnTo>
                    <a:pt x="180" y="574"/>
                  </a:lnTo>
                  <a:lnTo>
                    <a:pt x="178" y="574"/>
                  </a:lnTo>
                  <a:lnTo>
                    <a:pt x="176" y="574"/>
                  </a:lnTo>
                  <a:lnTo>
                    <a:pt x="172" y="574"/>
                  </a:lnTo>
                  <a:lnTo>
                    <a:pt x="170" y="574"/>
                  </a:lnTo>
                  <a:lnTo>
                    <a:pt x="168" y="574"/>
                  </a:lnTo>
                  <a:lnTo>
                    <a:pt x="166" y="574"/>
                  </a:lnTo>
                  <a:lnTo>
                    <a:pt x="164" y="572"/>
                  </a:lnTo>
                  <a:lnTo>
                    <a:pt x="162" y="572"/>
                  </a:lnTo>
                  <a:lnTo>
                    <a:pt x="158" y="572"/>
                  </a:lnTo>
                  <a:lnTo>
                    <a:pt x="156" y="572"/>
                  </a:lnTo>
                  <a:lnTo>
                    <a:pt x="153" y="572"/>
                  </a:lnTo>
                  <a:lnTo>
                    <a:pt x="151" y="572"/>
                  </a:lnTo>
                  <a:lnTo>
                    <a:pt x="149" y="572"/>
                  </a:lnTo>
                  <a:lnTo>
                    <a:pt x="147" y="572"/>
                  </a:lnTo>
                  <a:lnTo>
                    <a:pt x="145" y="572"/>
                  </a:lnTo>
                  <a:lnTo>
                    <a:pt x="141" y="572"/>
                  </a:lnTo>
                  <a:lnTo>
                    <a:pt x="139" y="572"/>
                  </a:lnTo>
                  <a:lnTo>
                    <a:pt x="137" y="572"/>
                  </a:lnTo>
                  <a:lnTo>
                    <a:pt x="135" y="572"/>
                  </a:lnTo>
                  <a:lnTo>
                    <a:pt x="133" y="570"/>
                  </a:lnTo>
                  <a:lnTo>
                    <a:pt x="131" y="570"/>
                  </a:lnTo>
                  <a:lnTo>
                    <a:pt x="127" y="570"/>
                  </a:lnTo>
                  <a:lnTo>
                    <a:pt x="125" y="570"/>
                  </a:lnTo>
                  <a:lnTo>
                    <a:pt x="123" y="570"/>
                  </a:lnTo>
                  <a:lnTo>
                    <a:pt x="121" y="570"/>
                  </a:lnTo>
                  <a:lnTo>
                    <a:pt x="119" y="570"/>
                  </a:lnTo>
                  <a:lnTo>
                    <a:pt x="117" y="570"/>
                  </a:lnTo>
                  <a:lnTo>
                    <a:pt x="113" y="570"/>
                  </a:lnTo>
                  <a:lnTo>
                    <a:pt x="110" y="570"/>
                  </a:lnTo>
                  <a:lnTo>
                    <a:pt x="108" y="570"/>
                  </a:lnTo>
                  <a:lnTo>
                    <a:pt x="106" y="568"/>
                  </a:lnTo>
                  <a:lnTo>
                    <a:pt x="104" y="568"/>
                  </a:lnTo>
                  <a:lnTo>
                    <a:pt x="102" y="568"/>
                  </a:lnTo>
                  <a:lnTo>
                    <a:pt x="100" y="568"/>
                  </a:lnTo>
                  <a:lnTo>
                    <a:pt x="96" y="568"/>
                  </a:lnTo>
                  <a:lnTo>
                    <a:pt x="94" y="568"/>
                  </a:lnTo>
                  <a:lnTo>
                    <a:pt x="92" y="568"/>
                  </a:lnTo>
                  <a:lnTo>
                    <a:pt x="90" y="568"/>
                  </a:lnTo>
                  <a:lnTo>
                    <a:pt x="88" y="568"/>
                  </a:lnTo>
                  <a:lnTo>
                    <a:pt x="86" y="568"/>
                  </a:lnTo>
                  <a:lnTo>
                    <a:pt x="82" y="568"/>
                  </a:lnTo>
                  <a:lnTo>
                    <a:pt x="80" y="568"/>
                  </a:lnTo>
                  <a:lnTo>
                    <a:pt x="80" y="568"/>
                  </a:lnTo>
                  <a:lnTo>
                    <a:pt x="80" y="568"/>
                  </a:lnTo>
                  <a:lnTo>
                    <a:pt x="80" y="568"/>
                  </a:lnTo>
                  <a:lnTo>
                    <a:pt x="80" y="570"/>
                  </a:lnTo>
                  <a:lnTo>
                    <a:pt x="80" y="570"/>
                  </a:lnTo>
                  <a:lnTo>
                    <a:pt x="80" y="570"/>
                  </a:lnTo>
                  <a:lnTo>
                    <a:pt x="80" y="572"/>
                  </a:lnTo>
                  <a:lnTo>
                    <a:pt x="80" y="572"/>
                  </a:lnTo>
                  <a:lnTo>
                    <a:pt x="80" y="572"/>
                  </a:lnTo>
                  <a:lnTo>
                    <a:pt x="80" y="574"/>
                  </a:lnTo>
                  <a:lnTo>
                    <a:pt x="80" y="574"/>
                  </a:lnTo>
                  <a:lnTo>
                    <a:pt x="80" y="576"/>
                  </a:lnTo>
                  <a:lnTo>
                    <a:pt x="80" y="576"/>
                  </a:lnTo>
                  <a:lnTo>
                    <a:pt x="80" y="576"/>
                  </a:lnTo>
                  <a:lnTo>
                    <a:pt x="80" y="578"/>
                  </a:lnTo>
                  <a:lnTo>
                    <a:pt x="80" y="578"/>
                  </a:lnTo>
                  <a:lnTo>
                    <a:pt x="80" y="578"/>
                  </a:lnTo>
                  <a:lnTo>
                    <a:pt x="80" y="580"/>
                  </a:lnTo>
                  <a:lnTo>
                    <a:pt x="80" y="580"/>
                  </a:lnTo>
                  <a:lnTo>
                    <a:pt x="80" y="582"/>
                  </a:lnTo>
                  <a:lnTo>
                    <a:pt x="80" y="582"/>
                  </a:lnTo>
                  <a:lnTo>
                    <a:pt x="80" y="582"/>
                  </a:lnTo>
                  <a:lnTo>
                    <a:pt x="80" y="584"/>
                  </a:lnTo>
                  <a:lnTo>
                    <a:pt x="80" y="584"/>
                  </a:lnTo>
                  <a:lnTo>
                    <a:pt x="80" y="584"/>
                  </a:lnTo>
                  <a:lnTo>
                    <a:pt x="80" y="586"/>
                  </a:lnTo>
                  <a:lnTo>
                    <a:pt x="80" y="586"/>
                  </a:lnTo>
                  <a:lnTo>
                    <a:pt x="80" y="586"/>
                  </a:lnTo>
                  <a:lnTo>
                    <a:pt x="80" y="588"/>
                  </a:lnTo>
                  <a:lnTo>
                    <a:pt x="78" y="588"/>
                  </a:lnTo>
                  <a:lnTo>
                    <a:pt x="78" y="590"/>
                  </a:lnTo>
                  <a:lnTo>
                    <a:pt x="78" y="590"/>
                  </a:lnTo>
                  <a:lnTo>
                    <a:pt x="78" y="590"/>
                  </a:lnTo>
                  <a:lnTo>
                    <a:pt x="78" y="592"/>
                  </a:lnTo>
                  <a:lnTo>
                    <a:pt x="78" y="592"/>
                  </a:lnTo>
                  <a:lnTo>
                    <a:pt x="78" y="592"/>
                  </a:lnTo>
                  <a:lnTo>
                    <a:pt x="78" y="594"/>
                  </a:lnTo>
                  <a:lnTo>
                    <a:pt x="78" y="594"/>
                  </a:lnTo>
                  <a:lnTo>
                    <a:pt x="78" y="596"/>
                  </a:lnTo>
                  <a:lnTo>
                    <a:pt x="78" y="596"/>
                  </a:lnTo>
                  <a:lnTo>
                    <a:pt x="78" y="596"/>
                  </a:lnTo>
                  <a:lnTo>
                    <a:pt x="78" y="598"/>
                  </a:lnTo>
                  <a:lnTo>
                    <a:pt x="78" y="598"/>
                  </a:lnTo>
                  <a:lnTo>
                    <a:pt x="78" y="598"/>
                  </a:lnTo>
                  <a:lnTo>
                    <a:pt x="78" y="600"/>
                  </a:lnTo>
                  <a:lnTo>
                    <a:pt x="78" y="600"/>
                  </a:lnTo>
                  <a:lnTo>
                    <a:pt x="78" y="603"/>
                  </a:lnTo>
                  <a:lnTo>
                    <a:pt x="78" y="603"/>
                  </a:lnTo>
                  <a:lnTo>
                    <a:pt x="78" y="603"/>
                  </a:lnTo>
                  <a:lnTo>
                    <a:pt x="78" y="605"/>
                  </a:lnTo>
                  <a:lnTo>
                    <a:pt x="78" y="605"/>
                  </a:lnTo>
                  <a:lnTo>
                    <a:pt x="78" y="605"/>
                  </a:lnTo>
                  <a:lnTo>
                    <a:pt x="78" y="607"/>
                  </a:lnTo>
                  <a:lnTo>
                    <a:pt x="78" y="607"/>
                  </a:lnTo>
                  <a:lnTo>
                    <a:pt x="78" y="607"/>
                  </a:lnTo>
                  <a:lnTo>
                    <a:pt x="78" y="609"/>
                  </a:lnTo>
                  <a:lnTo>
                    <a:pt x="78" y="609"/>
                  </a:lnTo>
                  <a:lnTo>
                    <a:pt x="78" y="611"/>
                  </a:lnTo>
                  <a:lnTo>
                    <a:pt x="78" y="611"/>
                  </a:lnTo>
                  <a:lnTo>
                    <a:pt x="78" y="611"/>
                  </a:lnTo>
                  <a:lnTo>
                    <a:pt x="78" y="613"/>
                  </a:lnTo>
                  <a:lnTo>
                    <a:pt x="78" y="613"/>
                  </a:lnTo>
                  <a:lnTo>
                    <a:pt x="78" y="613"/>
                  </a:lnTo>
                  <a:lnTo>
                    <a:pt x="78" y="615"/>
                  </a:lnTo>
                  <a:lnTo>
                    <a:pt x="78" y="615"/>
                  </a:lnTo>
                  <a:lnTo>
                    <a:pt x="78" y="615"/>
                  </a:lnTo>
                  <a:lnTo>
                    <a:pt x="74" y="615"/>
                  </a:lnTo>
                  <a:lnTo>
                    <a:pt x="70" y="615"/>
                  </a:lnTo>
                  <a:lnTo>
                    <a:pt x="65" y="615"/>
                  </a:lnTo>
                  <a:lnTo>
                    <a:pt x="61" y="615"/>
                  </a:lnTo>
                  <a:lnTo>
                    <a:pt x="57" y="613"/>
                  </a:lnTo>
                  <a:lnTo>
                    <a:pt x="53" y="613"/>
                  </a:lnTo>
                  <a:lnTo>
                    <a:pt x="49" y="613"/>
                  </a:lnTo>
                  <a:lnTo>
                    <a:pt x="45" y="613"/>
                  </a:lnTo>
                  <a:lnTo>
                    <a:pt x="41" y="613"/>
                  </a:lnTo>
                  <a:lnTo>
                    <a:pt x="37" y="613"/>
                  </a:lnTo>
                  <a:lnTo>
                    <a:pt x="33" y="613"/>
                  </a:lnTo>
                  <a:lnTo>
                    <a:pt x="31" y="611"/>
                  </a:lnTo>
                  <a:lnTo>
                    <a:pt x="26" y="611"/>
                  </a:lnTo>
                  <a:lnTo>
                    <a:pt x="22" y="611"/>
                  </a:lnTo>
                  <a:lnTo>
                    <a:pt x="18" y="611"/>
                  </a:lnTo>
                  <a:lnTo>
                    <a:pt x="14" y="611"/>
                  </a:lnTo>
                  <a:lnTo>
                    <a:pt x="10" y="611"/>
                  </a:lnTo>
                  <a:lnTo>
                    <a:pt x="6" y="609"/>
                  </a:lnTo>
                  <a:lnTo>
                    <a:pt x="2"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2" y="590"/>
                  </a:lnTo>
                  <a:lnTo>
                    <a:pt x="4" y="570"/>
                  </a:lnTo>
                  <a:lnTo>
                    <a:pt x="6" y="551"/>
                  </a:lnTo>
                  <a:lnTo>
                    <a:pt x="6" y="533"/>
                  </a:lnTo>
                  <a:lnTo>
                    <a:pt x="8" y="512"/>
                  </a:lnTo>
                  <a:lnTo>
                    <a:pt x="10" y="494"/>
                  </a:lnTo>
                  <a:lnTo>
                    <a:pt x="12" y="475"/>
                  </a:lnTo>
                  <a:lnTo>
                    <a:pt x="12" y="457"/>
                  </a:lnTo>
                  <a:lnTo>
                    <a:pt x="14" y="437"/>
                  </a:lnTo>
                  <a:lnTo>
                    <a:pt x="16" y="418"/>
                  </a:lnTo>
                  <a:lnTo>
                    <a:pt x="18" y="400"/>
                  </a:lnTo>
                  <a:lnTo>
                    <a:pt x="18" y="379"/>
                  </a:lnTo>
                  <a:lnTo>
                    <a:pt x="20" y="361"/>
                  </a:lnTo>
                  <a:lnTo>
                    <a:pt x="22" y="342"/>
                  </a:lnTo>
                  <a:lnTo>
                    <a:pt x="24" y="324"/>
                  </a:lnTo>
                  <a:lnTo>
                    <a:pt x="24" y="303"/>
                  </a:lnTo>
                  <a:lnTo>
                    <a:pt x="26" y="285"/>
                  </a:lnTo>
                  <a:lnTo>
                    <a:pt x="29" y="266"/>
                  </a:lnTo>
                  <a:lnTo>
                    <a:pt x="31" y="246"/>
                  </a:lnTo>
                  <a:lnTo>
                    <a:pt x="31" y="228"/>
                  </a:lnTo>
                  <a:lnTo>
                    <a:pt x="33" y="209"/>
                  </a:lnTo>
                  <a:lnTo>
                    <a:pt x="35" y="191"/>
                  </a:lnTo>
                  <a:lnTo>
                    <a:pt x="37" y="170"/>
                  </a:lnTo>
                  <a:lnTo>
                    <a:pt x="39" y="152"/>
                  </a:lnTo>
                  <a:lnTo>
                    <a:pt x="39" y="133"/>
                  </a:lnTo>
                  <a:lnTo>
                    <a:pt x="41" y="113"/>
                  </a:lnTo>
                  <a:lnTo>
                    <a:pt x="43" y="94"/>
                  </a:lnTo>
                  <a:lnTo>
                    <a:pt x="45" y="76"/>
                  </a:lnTo>
                  <a:lnTo>
                    <a:pt x="45" y="57"/>
                  </a:lnTo>
                  <a:lnTo>
                    <a:pt x="47" y="37"/>
                  </a:lnTo>
                  <a:lnTo>
                    <a:pt x="49" y="18"/>
                  </a:lnTo>
                  <a:lnTo>
                    <a:pt x="51" y="0"/>
                  </a:lnTo>
                  <a:lnTo>
                    <a:pt x="67" y="0"/>
                  </a:lnTo>
                  <a:lnTo>
                    <a:pt x="84" y="2"/>
                  </a:lnTo>
                  <a:lnTo>
                    <a:pt x="100" y="4"/>
                  </a:lnTo>
                  <a:lnTo>
                    <a:pt x="117" y="4"/>
                  </a:lnTo>
                  <a:lnTo>
                    <a:pt x="131" y="6"/>
                  </a:lnTo>
                  <a:lnTo>
                    <a:pt x="147" y="6"/>
                  </a:lnTo>
                  <a:lnTo>
                    <a:pt x="164" y="8"/>
                  </a:lnTo>
                  <a:lnTo>
                    <a:pt x="180" y="10"/>
                  </a:lnTo>
                  <a:lnTo>
                    <a:pt x="196" y="10"/>
                  </a:lnTo>
                  <a:lnTo>
                    <a:pt x="213" y="12"/>
                  </a:lnTo>
                  <a:lnTo>
                    <a:pt x="229" y="12"/>
                  </a:lnTo>
                  <a:lnTo>
                    <a:pt x="246" y="14"/>
                  </a:lnTo>
                  <a:lnTo>
                    <a:pt x="262" y="14"/>
                  </a:lnTo>
                  <a:lnTo>
                    <a:pt x="278" y="16"/>
                  </a:lnTo>
                  <a:lnTo>
                    <a:pt x="295" y="16"/>
                  </a:lnTo>
                  <a:lnTo>
                    <a:pt x="311" y="16"/>
                  </a:lnTo>
                  <a:lnTo>
                    <a:pt x="328" y="18"/>
                  </a:lnTo>
                  <a:lnTo>
                    <a:pt x="344" y="18"/>
                  </a:lnTo>
                  <a:lnTo>
                    <a:pt x="360" y="21"/>
                  </a:lnTo>
                  <a:lnTo>
                    <a:pt x="377" y="21"/>
                  </a:lnTo>
                  <a:lnTo>
                    <a:pt x="393" y="21"/>
                  </a:lnTo>
                  <a:lnTo>
                    <a:pt x="409" y="23"/>
                  </a:lnTo>
                  <a:lnTo>
                    <a:pt x="426" y="23"/>
                  </a:lnTo>
                  <a:lnTo>
                    <a:pt x="442" y="23"/>
                  </a:lnTo>
                  <a:lnTo>
                    <a:pt x="459" y="25"/>
                  </a:lnTo>
                  <a:lnTo>
                    <a:pt x="475" y="25"/>
                  </a:lnTo>
                  <a:lnTo>
                    <a:pt x="491" y="25"/>
                  </a:lnTo>
                  <a:lnTo>
                    <a:pt x="508" y="27"/>
                  </a:lnTo>
                  <a:lnTo>
                    <a:pt x="524" y="27"/>
                  </a:lnTo>
                  <a:lnTo>
                    <a:pt x="541" y="27"/>
                  </a:lnTo>
                  <a:lnTo>
                    <a:pt x="557" y="27"/>
                  </a:lnTo>
                  <a:lnTo>
                    <a:pt x="573" y="29"/>
                  </a:lnTo>
                  <a:lnTo>
                    <a:pt x="573" y="41"/>
                  </a:lnTo>
                  <a:lnTo>
                    <a:pt x="573" y="55"/>
                  </a:lnTo>
                  <a:lnTo>
                    <a:pt x="573" y="68"/>
                  </a:lnTo>
                  <a:lnTo>
                    <a:pt x="571" y="82"/>
                  </a:lnTo>
                  <a:lnTo>
                    <a:pt x="569" y="82"/>
                  </a:lnTo>
                  <a:lnTo>
                    <a:pt x="569" y="84"/>
                  </a:lnTo>
                  <a:lnTo>
                    <a:pt x="569" y="86"/>
                  </a:lnTo>
                  <a:lnTo>
                    <a:pt x="567" y="103"/>
                  </a:lnTo>
                  <a:lnTo>
                    <a:pt x="567" y="117"/>
                  </a:lnTo>
                  <a:lnTo>
                    <a:pt x="567" y="131"/>
                  </a:lnTo>
                  <a:lnTo>
                    <a:pt x="567" y="148"/>
                  </a:lnTo>
                  <a:lnTo>
                    <a:pt x="565" y="162"/>
                  </a:lnTo>
                  <a:lnTo>
                    <a:pt x="565" y="176"/>
                  </a:lnTo>
                  <a:lnTo>
                    <a:pt x="565" y="193"/>
                  </a:lnTo>
                  <a:lnTo>
                    <a:pt x="565" y="207"/>
                  </a:lnTo>
                  <a:lnTo>
                    <a:pt x="565" y="221"/>
                  </a:lnTo>
                  <a:lnTo>
                    <a:pt x="563" y="238"/>
                  </a:lnTo>
                  <a:lnTo>
                    <a:pt x="563" y="252"/>
                  </a:lnTo>
                  <a:lnTo>
                    <a:pt x="563" y="266"/>
                  </a:lnTo>
                  <a:lnTo>
                    <a:pt x="563" y="281"/>
                  </a:lnTo>
                  <a:lnTo>
                    <a:pt x="561" y="297"/>
                  </a:lnTo>
                  <a:lnTo>
                    <a:pt x="561" y="312"/>
                  </a:lnTo>
                  <a:lnTo>
                    <a:pt x="561" y="326"/>
                  </a:lnTo>
                  <a:lnTo>
                    <a:pt x="561" y="342"/>
                  </a:lnTo>
                  <a:lnTo>
                    <a:pt x="559" y="357"/>
                  </a:lnTo>
                  <a:lnTo>
                    <a:pt x="559" y="371"/>
                  </a:lnTo>
                  <a:lnTo>
                    <a:pt x="559" y="387"/>
                  </a:lnTo>
                  <a:lnTo>
                    <a:pt x="559" y="402"/>
                  </a:lnTo>
                  <a:lnTo>
                    <a:pt x="557" y="416"/>
                  </a:lnTo>
                  <a:lnTo>
                    <a:pt x="557" y="432"/>
                  </a:lnTo>
                  <a:lnTo>
                    <a:pt x="557" y="447"/>
                  </a:lnTo>
                  <a:lnTo>
                    <a:pt x="557" y="461"/>
                  </a:lnTo>
                  <a:lnTo>
                    <a:pt x="557" y="478"/>
                  </a:lnTo>
                  <a:lnTo>
                    <a:pt x="555" y="492"/>
                  </a:lnTo>
                  <a:lnTo>
                    <a:pt x="555" y="506"/>
                  </a:lnTo>
                  <a:lnTo>
                    <a:pt x="555" y="523"/>
                  </a:lnTo>
                  <a:lnTo>
                    <a:pt x="555" y="537"/>
                  </a:lnTo>
                  <a:lnTo>
                    <a:pt x="553" y="551"/>
                  </a:lnTo>
                  <a:lnTo>
                    <a:pt x="553" y="568"/>
                  </a:lnTo>
                  <a:lnTo>
                    <a:pt x="532" y="566"/>
                  </a:lnTo>
                  <a:lnTo>
                    <a:pt x="512" y="566"/>
                  </a:lnTo>
                  <a:lnTo>
                    <a:pt x="491" y="566"/>
                  </a:lnTo>
                  <a:lnTo>
                    <a:pt x="471" y="564"/>
                  </a:lnTo>
                  <a:lnTo>
                    <a:pt x="452" y="564"/>
                  </a:lnTo>
                  <a:lnTo>
                    <a:pt x="432" y="564"/>
                  </a:lnTo>
                  <a:lnTo>
                    <a:pt x="412" y="562"/>
                  </a:lnTo>
                  <a:lnTo>
                    <a:pt x="391" y="562"/>
                  </a:lnTo>
                  <a:lnTo>
                    <a:pt x="371" y="560"/>
                  </a:lnTo>
                  <a:lnTo>
                    <a:pt x="350" y="560"/>
                  </a:lnTo>
                  <a:lnTo>
                    <a:pt x="330" y="557"/>
                  </a:lnTo>
                  <a:lnTo>
                    <a:pt x="309" y="557"/>
                  </a:lnTo>
                  <a:lnTo>
                    <a:pt x="289" y="555"/>
                  </a:lnTo>
                  <a:lnTo>
                    <a:pt x="268" y="555"/>
                  </a:lnTo>
                  <a:lnTo>
                    <a:pt x="248" y="553"/>
                  </a:lnTo>
                  <a:lnTo>
                    <a:pt x="227" y="553"/>
                  </a:lnTo>
                  <a:lnTo>
                    <a:pt x="225" y="553"/>
                  </a:lnTo>
                  <a:lnTo>
                    <a:pt x="223" y="553"/>
                  </a:lnTo>
                  <a:lnTo>
                    <a:pt x="223" y="553"/>
                  </a:lnTo>
                  <a:lnTo>
                    <a:pt x="225" y="557"/>
                  </a:lnTo>
                  <a:lnTo>
                    <a:pt x="225" y="560"/>
                  </a:lnTo>
                  <a:lnTo>
                    <a:pt x="227" y="564"/>
                  </a:lnTo>
                  <a:lnTo>
                    <a:pt x="227" y="566"/>
                  </a:lnTo>
                  <a:lnTo>
                    <a:pt x="229" y="568"/>
                  </a:lnTo>
                  <a:lnTo>
                    <a:pt x="227" y="570"/>
                  </a:lnTo>
                  <a:lnTo>
                    <a:pt x="229" y="570"/>
                  </a:lnTo>
                  <a:lnTo>
                    <a:pt x="229" y="572"/>
                  </a:lnTo>
                  <a:lnTo>
                    <a:pt x="231" y="572"/>
                  </a:lnTo>
                  <a:lnTo>
                    <a:pt x="231" y="572"/>
                  </a:lnTo>
                  <a:lnTo>
                    <a:pt x="231" y="572"/>
                  </a:lnTo>
                  <a:lnTo>
                    <a:pt x="233" y="574"/>
                  </a:lnTo>
                  <a:lnTo>
                    <a:pt x="233" y="574"/>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M</a:t>
              </a:r>
            </a:p>
          </p:txBody>
        </p:sp>
        <p:sp>
          <p:nvSpPr>
            <p:cNvPr id="261" name="Freeform 23">
              <a:extLst>
                <a:ext uri="{FF2B5EF4-FFF2-40B4-BE49-F238E27FC236}">
                  <a16:creationId xmlns:a16="http://schemas.microsoft.com/office/drawing/2014/main" id="{9FBB4950-92D2-C830-FD45-7C9A2FE2E395}"/>
                </a:ext>
              </a:extLst>
            </p:cNvPr>
            <p:cNvSpPr>
              <a:spLocks noEditPoints="1"/>
            </p:cNvSpPr>
            <p:nvPr/>
          </p:nvSpPr>
          <p:spPr bwMode="auto">
            <a:xfrm>
              <a:off x="4368" y="340"/>
              <a:ext cx="662" cy="480"/>
            </a:xfrm>
            <a:custGeom>
              <a:avLst/>
              <a:gdLst>
                <a:gd name="T0" fmla="*/ 485 w 662"/>
                <a:gd name="T1" fmla="*/ 480 h 480"/>
                <a:gd name="T2" fmla="*/ 549 w 662"/>
                <a:gd name="T3" fmla="*/ 449 h 480"/>
                <a:gd name="T4" fmla="*/ 573 w 662"/>
                <a:gd name="T5" fmla="*/ 441 h 480"/>
                <a:gd name="T6" fmla="*/ 596 w 662"/>
                <a:gd name="T7" fmla="*/ 422 h 480"/>
                <a:gd name="T8" fmla="*/ 639 w 662"/>
                <a:gd name="T9" fmla="*/ 379 h 480"/>
                <a:gd name="T10" fmla="*/ 627 w 662"/>
                <a:gd name="T11" fmla="*/ 388 h 480"/>
                <a:gd name="T12" fmla="*/ 604 w 662"/>
                <a:gd name="T13" fmla="*/ 406 h 480"/>
                <a:gd name="T14" fmla="*/ 618 w 662"/>
                <a:gd name="T15" fmla="*/ 394 h 480"/>
                <a:gd name="T16" fmla="*/ 629 w 662"/>
                <a:gd name="T17" fmla="*/ 375 h 480"/>
                <a:gd name="T18" fmla="*/ 594 w 662"/>
                <a:gd name="T19" fmla="*/ 402 h 480"/>
                <a:gd name="T20" fmla="*/ 553 w 662"/>
                <a:gd name="T21" fmla="*/ 416 h 480"/>
                <a:gd name="T22" fmla="*/ 539 w 662"/>
                <a:gd name="T23" fmla="*/ 418 h 480"/>
                <a:gd name="T24" fmla="*/ 522 w 662"/>
                <a:gd name="T25" fmla="*/ 433 h 480"/>
                <a:gd name="T26" fmla="*/ 514 w 662"/>
                <a:gd name="T27" fmla="*/ 439 h 480"/>
                <a:gd name="T28" fmla="*/ 502 w 662"/>
                <a:gd name="T29" fmla="*/ 468 h 480"/>
                <a:gd name="T30" fmla="*/ 516 w 662"/>
                <a:gd name="T31" fmla="*/ 455 h 480"/>
                <a:gd name="T32" fmla="*/ 526 w 662"/>
                <a:gd name="T33" fmla="*/ 455 h 480"/>
                <a:gd name="T34" fmla="*/ 567 w 662"/>
                <a:gd name="T35" fmla="*/ 433 h 480"/>
                <a:gd name="T36" fmla="*/ 594 w 662"/>
                <a:gd name="T37" fmla="*/ 422 h 480"/>
                <a:gd name="T38" fmla="*/ 614 w 662"/>
                <a:gd name="T39" fmla="*/ 412 h 480"/>
                <a:gd name="T40" fmla="*/ 641 w 662"/>
                <a:gd name="T41" fmla="*/ 392 h 480"/>
                <a:gd name="T42" fmla="*/ 643 w 662"/>
                <a:gd name="T43" fmla="*/ 355 h 480"/>
                <a:gd name="T44" fmla="*/ 250 w 662"/>
                <a:gd name="T45" fmla="*/ 119 h 480"/>
                <a:gd name="T46" fmla="*/ 260 w 662"/>
                <a:gd name="T47" fmla="*/ 113 h 480"/>
                <a:gd name="T48" fmla="*/ 254 w 662"/>
                <a:gd name="T49" fmla="*/ 115 h 480"/>
                <a:gd name="T50" fmla="*/ 242 w 662"/>
                <a:gd name="T51" fmla="*/ 158 h 480"/>
                <a:gd name="T52" fmla="*/ 487 w 662"/>
                <a:gd name="T53" fmla="*/ 392 h 480"/>
                <a:gd name="T54" fmla="*/ 502 w 662"/>
                <a:gd name="T55" fmla="*/ 437 h 480"/>
                <a:gd name="T56" fmla="*/ 512 w 662"/>
                <a:gd name="T57" fmla="*/ 433 h 480"/>
                <a:gd name="T58" fmla="*/ 518 w 662"/>
                <a:gd name="T59" fmla="*/ 414 h 480"/>
                <a:gd name="T60" fmla="*/ 520 w 662"/>
                <a:gd name="T61" fmla="*/ 381 h 480"/>
                <a:gd name="T62" fmla="*/ 504 w 662"/>
                <a:gd name="T63" fmla="*/ 302 h 480"/>
                <a:gd name="T64" fmla="*/ 504 w 662"/>
                <a:gd name="T65" fmla="*/ 215 h 480"/>
                <a:gd name="T66" fmla="*/ 487 w 662"/>
                <a:gd name="T67" fmla="*/ 146 h 480"/>
                <a:gd name="T68" fmla="*/ 477 w 662"/>
                <a:gd name="T69" fmla="*/ 146 h 480"/>
                <a:gd name="T70" fmla="*/ 473 w 662"/>
                <a:gd name="T71" fmla="*/ 123 h 480"/>
                <a:gd name="T72" fmla="*/ 461 w 662"/>
                <a:gd name="T73" fmla="*/ 101 h 480"/>
                <a:gd name="T74" fmla="*/ 455 w 662"/>
                <a:gd name="T75" fmla="*/ 58 h 480"/>
                <a:gd name="T76" fmla="*/ 449 w 662"/>
                <a:gd name="T77" fmla="*/ 45 h 480"/>
                <a:gd name="T78" fmla="*/ 449 w 662"/>
                <a:gd name="T79" fmla="*/ 31 h 480"/>
                <a:gd name="T80" fmla="*/ 444 w 662"/>
                <a:gd name="T81" fmla="*/ 17 h 480"/>
                <a:gd name="T82" fmla="*/ 410 w 662"/>
                <a:gd name="T83" fmla="*/ 8 h 480"/>
                <a:gd name="T84" fmla="*/ 317 w 662"/>
                <a:gd name="T85" fmla="*/ 35 h 480"/>
                <a:gd name="T86" fmla="*/ 266 w 662"/>
                <a:gd name="T87" fmla="*/ 107 h 480"/>
                <a:gd name="T88" fmla="*/ 238 w 662"/>
                <a:gd name="T89" fmla="*/ 150 h 480"/>
                <a:gd name="T90" fmla="*/ 250 w 662"/>
                <a:gd name="T91" fmla="*/ 148 h 480"/>
                <a:gd name="T92" fmla="*/ 258 w 662"/>
                <a:gd name="T93" fmla="*/ 154 h 480"/>
                <a:gd name="T94" fmla="*/ 244 w 662"/>
                <a:gd name="T95" fmla="*/ 170 h 480"/>
                <a:gd name="T96" fmla="*/ 256 w 662"/>
                <a:gd name="T97" fmla="*/ 187 h 480"/>
                <a:gd name="T98" fmla="*/ 221 w 662"/>
                <a:gd name="T99" fmla="*/ 230 h 480"/>
                <a:gd name="T100" fmla="*/ 203 w 662"/>
                <a:gd name="T101" fmla="*/ 244 h 480"/>
                <a:gd name="T102" fmla="*/ 88 w 662"/>
                <a:gd name="T103" fmla="*/ 252 h 480"/>
                <a:gd name="T104" fmla="*/ 55 w 662"/>
                <a:gd name="T105" fmla="*/ 295 h 480"/>
                <a:gd name="T106" fmla="*/ 53 w 662"/>
                <a:gd name="T107" fmla="*/ 330 h 480"/>
                <a:gd name="T108" fmla="*/ 27 w 662"/>
                <a:gd name="T109" fmla="*/ 363 h 480"/>
                <a:gd name="T110" fmla="*/ 4 w 662"/>
                <a:gd name="T111" fmla="*/ 406 h 480"/>
                <a:gd name="T112" fmla="*/ 139 w 662"/>
                <a:gd name="T113" fmla="*/ 392 h 480"/>
                <a:gd name="T114" fmla="*/ 326 w 662"/>
                <a:gd name="T115" fmla="*/ 353 h 480"/>
                <a:gd name="T116" fmla="*/ 383 w 662"/>
                <a:gd name="T117" fmla="*/ 357 h 480"/>
                <a:gd name="T118" fmla="*/ 393 w 662"/>
                <a:gd name="T119" fmla="*/ 381 h 480"/>
                <a:gd name="T120" fmla="*/ 424 w 662"/>
                <a:gd name="T121" fmla="*/ 396 h 480"/>
                <a:gd name="T122" fmla="*/ 53 w 662"/>
                <a:gd name="T123" fmla="*/ 29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2" h="480">
                  <a:moveTo>
                    <a:pt x="494" y="461"/>
                  </a:moveTo>
                  <a:lnTo>
                    <a:pt x="494" y="461"/>
                  </a:lnTo>
                  <a:lnTo>
                    <a:pt x="492" y="463"/>
                  </a:lnTo>
                  <a:lnTo>
                    <a:pt x="492" y="463"/>
                  </a:lnTo>
                  <a:lnTo>
                    <a:pt x="489" y="463"/>
                  </a:lnTo>
                  <a:lnTo>
                    <a:pt x="487" y="463"/>
                  </a:lnTo>
                  <a:lnTo>
                    <a:pt x="487" y="463"/>
                  </a:lnTo>
                  <a:lnTo>
                    <a:pt x="485" y="465"/>
                  </a:lnTo>
                  <a:lnTo>
                    <a:pt x="487" y="468"/>
                  </a:lnTo>
                  <a:lnTo>
                    <a:pt x="487" y="472"/>
                  </a:lnTo>
                  <a:lnTo>
                    <a:pt x="487" y="472"/>
                  </a:lnTo>
                  <a:lnTo>
                    <a:pt x="485" y="474"/>
                  </a:lnTo>
                  <a:lnTo>
                    <a:pt x="485" y="474"/>
                  </a:lnTo>
                  <a:lnTo>
                    <a:pt x="485" y="474"/>
                  </a:lnTo>
                  <a:lnTo>
                    <a:pt x="485" y="476"/>
                  </a:lnTo>
                  <a:lnTo>
                    <a:pt x="485" y="476"/>
                  </a:lnTo>
                  <a:lnTo>
                    <a:pt x="485" y="480"/>
                  </a:lnTo>
                  <a:lnTo>
                    <a:pt x="494" y="472"/>
                  </a:lnTo>
                  <a:lnTo>
                    <a:pt x="498" y="468"/>
                  </a:lnTo>
                  <a:lnTo>
                    <a:pt x="496" y="461"/>
                  </a:lnTo>
                  <a:lnTo>
                    <a:pt x="494" y="461"/>
                  </a:lnTo>
                  <a:close/>
                  <a:moveTo>
                    <a:pt x="561" y="445"/>
                  </a:moveTo>
                  <a:lnTo>
                    <a:pt x="561" y="445"/>
                  </a:lnTo>
                  <a:lnTo>
                    <a:pt x="561" y="443"/>
                  </a:lnTo>
                  <a:lnTo>
                    <a:pt x="561" y="443"/>
                  </a:lnTo>
                  <a:lnTo>
                    <a:pt x="561" y="443"/>
                  </a:lnTo>
                  <a:lnTo>
                    <a:pt x="559" y="445"/>
                  </a:lnTo>
                  <a:lnTo>
                    <a:pt x="555" y="445"/>
                  </a:lnTo>
                  <a:lnTo>
                    <a:pt x="553" y="445"/>
                  </a:lnTo>
                  <a:lnTo>
                    <a:pt x="553" y="447"/>
                  </a:lnTo>
                  <a:lnTo>
                    <a:pt x="553" y="447"/>
                  </a:lnTo>
                  <a:lnTo>
                    <a:pt x="551" y="449"/>
                  </a:lnTo>
                  <a:lnTo>
                    <a:pt x="551" y="449"/>
                  </a:lnTo>
                  <a:lnTo>
                    <a:pt x="549" y="449"/>
                  </a:lnTo>
                  <a:lnTo>
                    <a:pt x="539" y="455"/>
                  </a:lnTo>
                  <a:lnTo>
                    <a:pt x="541" y="455"/>
                  </a:lnTo>
                  <a:lnTo>
                    <a:pt x="551" y="451"/>
                  </a:lnTo>
                  <a:lnTo>
                    <a:pt x="555" y="447"/>
                  </a:lnTo>
                  <a:lnTo>
                    <a:pt x="561" y="445"/>
                  </a:lnTo>
                  <a:lnTo>
                    <a:pt x="561" y="445"/>
                  </a:lnTo>
                  <a:close/>
                  <a:moveTo>
                    <a:pt x="596" y="422"/>
                  </a:moveTo>
                  <a:lnTo>
                    <a:pt x="592" y="427"/>
                  </a:lnTo>
                  <a:lnTo>
                    <a:pt x="588" y="429"/>
                  </a:lnTo>
                  <a:lnTo>
                    <a:pt x="588" y="429"/>
                  </a:lnTo>
                  <a:lnTo>
                    <a:pt x="586" y="431"/>
                  </a:lnTo>
                  <a:lnTo>
                    <a:pt x="584" y="431"/>
                  </a:lnTo>
                  <a:lnTo>
                    <a:pt x="582" y="433"/>
                  </a:lnTo>
                  <a:lnTo>
                    <a:pt x="582" y="433"/>
                  </a:lnTo>
                  <a:lnTo>
                    <a:pt x="580" y="435"/>
                  </a:lnTo>
                  <a:lnTo>
                    <a:pt x="578" y="437"/>
                  </a:lnTo>
                  <a:lnTo>
                    <a:pt x="573" y="441"/>
                  </a:lnTo>
                  <a:lnTo>
                    <a:pt x="565" y="443"/>
                  </a:lnTo>
                  <a:lnTo>
                    <a:pt x="563" y="445"/>
                  </a:lnTo>
                  <a:lnTo>
                    <a:pt x="561" y="447"/>
                  </a:lnTo>
                  <a:lnTo>
                    <a:pt x="559" y="447"/>
                  </a:lnTo>
                  <a:lnTo>
                    <a:pt x="559" y="447"/>
                  </a:lnTo>
                  <a:lnTo>
                    <a:pt x="563" y="447"/>
                  </a:lnTo>
                  <a:lnTo>
                    <a:pt x="569" y="443"/>
                  </a:lnTo>
                  <a:lnTo>
                    <a:pt x="578" y="437"/>
                  </a:lnTo>
                  <a:lnTo>
                    <a:pt x="580" y="437"/>
                  </a:lnTo>
                  <a:lnTo>
                    <a:pt x="582" y="435"/>
                  </a:lnTo>
                  <a:lnTo>
                    <a:pt x="586" y="431"/>
                  </a:lnTo>
                  <a:lnTo>
                    <a:pt x="592" y="427"/>
                  </a:lnTo>
                  <a:lnTo>
                    <a:pt x="594" y="427"/>
                  </a:lnTo>
                  <a:lnTo>
                    <a:pt x="594" y="424"/>
                  </a:lnTo>
                  <a:lnTo>
                    <a:pt x="598" y="422"/>
                  </a:lnTo>
                  <a:lnTo>
                    <a:pt x="598" y="422"/>
                  </a:lnTo>
                  <a:lnTo>
                    <a:pt x="596" y="422"/>
                  </a:lnTo>
                  <a:close/>
                  <a:moveTo>
                    <a:pt x="662" y="373"/>
                  </a:moveTo>
                  <a:lnTo>
                    <a:pt x="659" y="373"/>
                  </a:lnTo>
                  <a:lnTo>
                    <a:pt x="657" y="373"/>
                  </a:lnTo>
                  <a:lnTo>
                    <a:pt x="657" y="375"/>
                  </a:lnTo>
                  <a:lnTo>
                    <a:pt x="657" y="375"/>
                  </a:lnTo>
                  <a:lnTo>
                    <a:pt x="655" y="375"/>
                  </a:lnTo>
                  <a:lnTo>
                    <a:pt x="655" y="375"/>
                  </a:lnTo>
                  <a:lnTo>
                    <a:pt x="653" y="375"/>
                  </a:lnTo>
                  <a:lnTo>
                    <a:pt x="653" y="377"/>
                  </a:lnTo>
                  <a:lnTo>
                    <a:pt x="651" y="377"/>
                  </a:lnTo>
                  <a:lnTo>
                    <a:pt x="651" y="379"/>
                  </a:lnTo>
                  <a:lnTo>
                    <a:pt x="649" y="381"/>
                  </a:lnTo>
                  <a:lnTo>
                    <a:pt x="645" y="383"/>
                  </a:lnTo>
                  <a:lnTo>
                    <a:pt x="645" y="386"/>
                  </a:lnTo>
                  <a:lnTo>
                    <a:pt x="643" y="383"/>
                  </a:lnTo>
                  <a:lnTo>
                    <a:pt x="643" y="383"/>
                  </a:lnTo>
                  <a:lnTo>
                    <a:pt x="639" y="379"/>
                  </a:lnTo>
                  <a:lnTo>
                    <a:pt x="637" y="379"/>
                  </a:lnTo>
                  <a:lnTo>
                    <a:pt x="637" y="381"/>
                  </a:lnTo>
                  <a:lnTo>
                    <a:pt x="637" y="383"/>
                  </a:lnTo>
                  <a:lnTo>
                    <a:pt x="637" y="386"/>
                  </a:lnTo>
                  <a:lnTo>
                    <a:pt x="633" y="383"/>
                  </a:lnTo>
                  <a:lnTo>
                    <a:pt x="633" y="383"/>
                  </a:lnTo>
                  <a:lnTo>
                    <a:pt x="633" y="383"/>
                  </a:lnTo>
                  <a:lnTo>
                    <a:pt x="633" y="386"/>
                  </a:lnTo>
                  <a:lnTo>
                    <a:pt x="633" y="386"/>
                  </a:lnTo>
                  <a:lnTo>
                    <a:pt x="631" y="386"/>
                  </a:lnTo>
                  <a:lnTo>
                    <a:pt x="629" y="388"/>
                  </a:lnTo>
                  <a:lnTo>
                    <a:pt x="629" y="388"/>
                  </a:lnTo>
                  <a:lnTo>
                    <a:pt x="627" y="388"/>
                  </a:lnTo>
                  <a:lnTo>
                    <a:pt x="627" y="386"/>
                  </a:lnTo>
                  <a:lnTo>
                    <a:pt x="627" y="386"/>
                  </a:lnTo>
                  <a:lnTo>
                    <a:pt x="625" y="386"/>
                  </a:lnTo>
                  <a:lnTo>
                    <a:pt x="627" y="388"/>
                  </a:lnTo>
                  <a:lnTo>
                    <a:pt x="625" y="390"/>
                  </a:lnTo>
                  <a:lnTo>
                    <a:pt x="623" y="392"/>
                  </a:lnTo>
                  <a:lnTo>
                    <a:pt x="621" y="396"/>
                  </a:lnTo>
                  <a:lnTo>
                    <a:pt x="618" y="398"/>
                  </a:lnTo>
                  <a:lnTo>
                    <a:pt x="618" y="400"/>
                  </a:lnTo>
                  <a:lnTo>
                    <a:pt x="621" y="400"/>
                  </a:lnTo>
                  <a:lnTo>
                    <a:pt x="618" y="402"/>
                  </a:lnTo>
                  <a:lnTo>
                    <a:pt x="616" y="402"/>
                  </a:lnTo>
                  <a:lnTo>
                    <a:pt x="614" y="404"/>
                  </a:lnTo>
                  <a:lnTo>
                    <a:pt x="614" y="404"/>
                  </a:lnTo>
                  <a:lnTo>
                    <a:pt x="612" y="404"/>
                  </a:lnTo>
                  <a:lnTo>
                    <a:pt x="610" y="404"/>
                  </a:lnTo>
                  <a:lnTo>
                    <a:pt x="608" y="406"/>
                  </a:lnTo>
                  <a:lnTo>
                    <a:pt x="608" y="404"/>
                  </a:lnTo>
                  <a:lnTo>
                    <a:pt x="606" y="404"/>
                  </a:lnTo>
                  <a:lnTo>
                    <a:pt x="606" y="404"/>
                  </a:lnTo>
                  <a:lnTo>
                    <a:pt x="604" y="406"/>
                  </a:lnTo>
                  <a:lnTo>
                    <a:pt x="606" y="404"/>
                  </a:lnTo>
                  <a:lnTo>
                    <a:pt x="606" y="402"/>
                  </a:lnTo>
                  <a:lnTo>
                    <a:pt x="608" y="400"/>
                  </a:lnTo>
                  <a:lnTo>
                    <a:pt x="610" y="400"/>
                  </a:lnTo>
                  <a:lnTo>
                    <a:pt x="610" y="398"/>
                  </a:lnTo>
                  <a:lnTo>
                    <a:pt x="610" y="396"/>
                  </a:lnTo>
                  <a:lnTo>
                    <a:pt x="610" y="396"/>
                  </a:lnTo>
                  <a:lnTo>
                    <a:pt x="612" y="396"/>
                  </a:lnTo>
                  <a:lnTo>
                    <a:pt x="612" y="394"/>
                  </a:lnTo>
                  <a:lnTo>
                    <a:pt x="612" y="394"/>
                  </a:lnTo>
                  <a:lnTo>
                    <a:pt x="612" y="394"/>
                  </a:lnTo>
                  <a:lnTo>
                    <a:pt x="614" y="394"/>
                  </a:lnTo>
                  <a:lnTo>
                    <a:pt x="614" y="392"/>
                  </a:lnTo>
                  <a:lnTo>
                    <a:pt x="616" y="392"/>
                  </a:lnTo>
                  <a:lnTo>
                    <a:pt x="616" y="392"/>
                  </a:lnTo>
                  <a:lnTo>
                    <a:pt x="616" y="394"/>
                  </a:lnTo>
                  <a:lnTo>
                    <a:pt x="618" y="394"/>
                  </a:lnTo>
                  <a:lnTo>
                    <a:pt x="618" y="392"/>
                  </a:lnTo>
                  <a:lnTo>
                    <a:pt x="618" y="392"/>
                  </a:lnTo>
                  <a:lnTo>
                    <a:pt x="616" y="390"/>
                  </a:lnTo>
                  <a:lnTo>
                    <a:pt x="616" y="390"/>
                  </a:lnTo>
                  <a:lnTo>
                    <a:pt x="618" y="388"/>
                  </a:lnTo>
                  <a:lnTo>
                    <a:pt x="618" y="388"/>
                  </a:lnTo>
                  <a:lnTo>
                    <a:pt x="621" y="388"/>
                  </a:lnTo>
                  <a:lnTo>
                    <a:pt x="621" y="386"/>
                  </a:lnTo>
                  <a:lnTo>
                    <a:pt x="621" y="386"/>
                  </a:lnTo>
                  <a:lnTo>
                    <a:pt x="618" y="386"/>
                  </a:lnTo>
                  <a:lnTo>
                    <a:pt x="618" y="386"/>
                  </a:lnTo>
                  <a:lnTo>
                    <a:pt x="618" y="386"/>
                  </a:lnTo>
                  <a:lnTo>
                    <a:pt x="623" y="377"/>
                  </a:lnTo>
                  <a:lnTo>
                    <a:pt x="625" y="375"/>
                  </a:lnTo>
                  <a:lnTo>
                    <a:pt x="627" y="377"/>
                  </a:lnTo>
                  <a:lnTo>
                    <a:pt x="627" y="377"/>
                  </a:lnTo>
                  <a:lnTo>
                    <a:pt x="629" y="375"/>
                  </a:lnTo>
                  <a:lnTo>
                    <a:pt x="629" y="373"/>
                  </a:lnTo>
                  <a:lnTo>
                    <a:pt x="629" y="373"/>
                  </a:lnTo>
                  <a:lnTo>
                    <a:pt x="629" y="371"/>
                  </a:lnTo>
                  <a:lnTo>
                    <a:pt x="629" y="371"/>
                  </a:lnTo>
                  <a:lnTo>
                    <a:pt x="627" y="371"/>
                  </a:lnTo>
                  <a:lnTo>
                    <a:pt x="625" y="371"/>
                  </a:lnTo>
                  <a:lnTo>
                    <a:pt x="623" y="375"/>
                  </a:lnTo>
                  <a:lnTo>
                    <a:pt x="621" y="377"/>
                  </a:lnTo>
                  <a:lnTo>
                    <a:pt x="618" y="379"/>
                  </a:lnTo>
                  <a:lnTo>
                    <a:pt x="618" y="381"/>
                  </a:lnTo>
                  <a:lnTo>
                    <a:pt x="614" y="383"/>
                  </a:lnTo>
                  <a:lnTo>
                    <a:pt x="614" y="383"/>
                  </a:lnTo>
                  <a:lnTo>
                    <a:pt x="612" y="388"/>
                  </a:lnTo>
                  <a:lnTo>
                    <a:pt x="608" y="390"/>
                  </a:lnTo>
                  <a:lnTo>
                    <a:pt x="604" y="396"/>
                  </a:lnTo>
                  <a:lnTo>
                    <a:pt x="602" y="398"/>
                  </a:lnTo>
                  <a:lnTo>
                    <a:pt x="594" y="402"/>
                  </a:lnTo>
                  <a:lnTo>
                    <a:pt x="580" y="404"/>
                  </a:lnTo>
                  <a:lnTo>
                    <a:pt x="567" y="408"/>
                  </a:lnTo>
                  <a:lnTo>
                    <a:pt x="567" y="408"/>
                  </a:lnTo>
                  <a:lnTo>
                    <a:pt x="567" y="410"/>
                  </a:lnTo>
                  <a:lnTo>
                    <a:pt x="567" y="410"/>
                  </a:lnTo>
                  <a:lnTo>
                    <a:pt x="565" y="410"/>
                  </a:lnTo>
                  <a:lnTo>
                    <a:pt x="565" y="408"/>
                  </a:lnTo>
                  <a:lnTo>
                    <a:pt x="563" y="408"/>
                  </a:lnTo>
                  <a:lnTo>
                    <a:pt x="563" y="408"/>
                  </a:lnTo>
                  <a:lnTo>
                    <a:pt x="561" y="410"/>
                  </a:lnTo>
                  <a:lnTo>
                    <a:pt x="561" y="412"/>
                  </a:lnTo>
                  <a:lnTo>
                    <a:pt x="561" y="414"/>
                  </a:lnTo>
                  <a:lnTo>
                    <a:pt x="561" y="414"/>
                  </a:lnTo>
                  <a:lnTo>
                    <a:pt x="557" y="416"/>
                  </a:lnTo>
                  <a:lnTo>
                    <a:pt x="555" y="418"/>
                  </a:lnTo>
                  <a:lnTo>
                    <a:pt x="555" y="416"/>
                  </a:lnTo>
                  <a:lnTo>
                    <a:pt x="553" y="416"/>
                  </a:lnTo>
                  <a:lnTo>
                    <a:pt x="553" y="416"/>
                  </a:lnTo>
                  <a:lnTo>
                    <a:pt x="551" y="416"/>
                  </a:lnTo>
                  <a:lnTo>
                    <a:pt x="543" y="416"/>
                  </a:lnTo>
                  <a:lnTo>
                    <a:pt x="541" y="416"/>
                  </a:lnTo>
                  <a:lnTo>
                    <a:pt x="541" y="418"/>
                  </a:lnTo>
                  <a:lnTo>
                    <a:pt x="543" y="418"/>
                  </a:lnTo>
                  <a:lnTo>
                    <a:pt x="545" y="418"/>
                  </a:lnTo>
                  <a:lnTo>
                    <a:pt x="545" y="418"/>
                  </a:lnTo>
                  <a:lnTo>
                    <a:pt x="547" y="418"/>
                  </a:lnTo>
                  <a:lnTo>
                    <a:pt x="547" y="420"/>
                  </a:lnTo>
                  <a:lnTo>
                    <a:pt x="545" y="420"/>
                  </a:lnTo>
                  <a:lnTo>
                    <a:pt x="545" y="420"/>
                  </a:lnTo>
                  <a:lnTo>
                    <a:pt x="543" y="420"/>
                  </a:lnTo>
                  <a:lnTo>
                    <a:pt x="541" y="422"/>
                  </a:lnTo>
                  <a:lnTo>
                    <a:pt x="541" y="420"/>
                  </a:lnTo>
                  <a:lnTo>
                    <a:pt x="539" y="420"/>
                  </a:lnTo>
                  <a:lnTo>
                    <a:pt x="539" y="418"/>
                  </a:lnTo>
                  <a:lnTo>
                    <a:pt x="539" y="418"/>
                  </a:lnTo>
                  <a:lnTo>
                    <a:pt x="537" y="418"/>
                  </a:lnTo>
                  <a:lnTo>
                    <a:pt x="535" y="420"/>
                  </a:lnTo>
                  <a:lnTo>
                    <a:pt x="537" y="420"/>
                  </a:lnTo>
                  <a:lnTo>
                    <a:pt x="537" y="422"/>
                  </a:lnTo>
                  <a:lnTo>
                    <a:pt x="539" y="422"/>
                  </a:lnTo>
                  <a:lnTo>
                    <a:pt x="537" y="424"/>
                  </a:lnTo>
                  <a:lnTo>
                    <a:pt x="535" y="424"/>
                  </a:lnTo>
                  <a:lnTo>
                    <a:pt x="535" y="424"/>
                  </a:lnTo>
                  <a:lnTo>
                    <a:pt x="535" y="422"/>
                  </a:lnTo>
                  <a:lnTo>
                    <a:pt x="535" y="422"/>
                  </a:lnTo>
                  <a:lnTo>
                    <a:pt x="530" y="422"/>
                  </a:lnTo>
                  <a:lnTo>
                    <a:pt x="524" y="424"/>
                  </a:lnTo>
                  <a:lnTo>
                    <a:pt x="522" y="429"/>
                  </a:lnTo>
                  <a:lnTo>
                    <a:pt x="526" y="435"/>
                  </a:lnTo>
                  <a:lnTo>
                    <a:pt x="524" y="435"/>
                  </a:lnTo>
                  <a:lnTo>
                    <a:pt x="522" y="433"/>
                  </a:lnTo>
                  <a:lnTo>
                    <a:pt x="520" y="431"/>
                  </a:lnTo>
                  <a:lnTo>
                    <a:pt x="518" y="431"/>
                  </a:lnTo>
                  <a:lnTo>
                    <a:pt x="518" y="431"/>
                  </a:lnTo>
                  <a:lnTo>
                    <a:pt x="518" y="433"/>
                  </a:lnTo>
                  <a:lnTo>
                    <a:pt x="518" y="435"/>
                  </a:lnTo>
                  <a:lnTo>
                    <a:pt x="520" y="435"/>
                  </a:lnTo>
                  <a:lnTo>
                    <a:pt x="520" y="435"/>
                  </a:lnTo>
                  <a:lnTo>
                    <a:pt x="520" y="437"/>
                  </a:lnTo>
                  <a:lnTo>
                    <a:pt x="520" y="437"/>
                  </a:lnTo>
                  <a:lnTo>
                    <a:pt x="520" y="437"/>
                  </a:lnTo>
                  <a:lnTo>
                    <a:pt x="518" y="437"/>
                  </a:lnTo>
                  <a:lnTo>
                    <a:pt x="518" y="435"/>
                  </a:lnTo>
                  <a:lnTo>
                    <a:pt x="516" y="435"/>
                  </a:lnTo>
                  <a:lnTo>
                    <a:pt x="516" y="437"/>
                  </a:lnTo>
                  <a:lnTo>
                    <a:pt x="516" y="439"/>
                  </a:lnTo>
                  <a:lnTo>
                    <a:pt x="516" y="441"/>
                  </a:lnTo>
                  <a:lnTo>
                    <a:pt x="514" y="439"/>
                  </a:lnTo>
                  <a:lnTo>
                    <a:pt x="512" y="439"/>
                  </a:lnTo>
                  <a:lnTo>
                    <a:pt x="510" y="441"/>
                  </a:lnTo>
                  <a:lnTo>
                    <a:pt x="510" y="443"/>
                  </a:lnTo>
                  <a:lnTo>
                    <a:pt x="506" y="443"/>
                  </a:lnTo>
                  <a:lnTo>
                    <a:pt x="504" y="445"/>
                  </a:lnTo>
                  <a:lnTo>
                    <a:pt x="502" y="453"/>
                  </a:lnTo>
                  <a:lnTo>
                    <a:pt x="502" y="453"/>
                  </a:lnTo>
                  <a:lnTo>
                    <a:pt x="500" y="453"/>
                  </a:lnTo>
                  <a:lnTo>
                    <a:pt x="500" y="455"/>
                  </a:lnTo>
                  <a:lnTo>
                    <a:pt x="500" y="455"/>
                  </a:lnTo>
                  <a:lnTo>
                    <a:pt x="500" y="455"/>
                  </a:lnTo>
                  <a:lnTo>
                    <a:pt x="500" y="455"/>
                  </a:lnTo>
                  <a:lnTo>
                    <a:pt x="498" y="459"/>
                  </a:lnTo>
                  <a:lnTo>
                    <a:pt x="498" y="459"/>
                  </a:lnTo>
                  <a:lnTo>
                    <a:pt x="500" y="463"/>
                  </a:lnTo>
                  <a:lnTo>
                    <a:pt x="502" y="465"/>
                  </a:lnTo>
                  <a:lnTo>
                    <a:pt x="502" y="468"/>
                  </a:lnTo>
                  <a:lnTo>
                    <a:pt x="504" y="465"/>
                  </a:lnTo>
                  <a:lnTo>
                    <a:pt x="508" y="465"/>
                  </a:lnTo>
                  <a:lnTo>
                    <a:pt x="508" y="463"/>
                  </a:lnTo>
                  <a:lnTo>
                    <a:pt x="508" y="463"/>
                  </a:lnTo>
                  <a:lnTo>
                    <a:pt x="510" y="463"/>
                  </a:lnTo>
                  <a:lnTo>
                    <a:pt x="510" y="463"/>
                  </a:lnTo>
                  <a:lnTo>
                    <a:pt x="510" y="463"/>
                  </a:lnTo>
                  <a:lnTo>
                    <a:pt x="512" y="463"/>
                  </a:lnTo>
                  <a:lnTo>
                    <a:pt x="512" y="461"/>
                  </a:lnTo>
                  <a:lnTo>
                    <a:pt x="510" y="459"/>
                  </a:lnTo>
                  <a:lnTo>
                    <a:pt x="510" y="459"/>
                  </a:lnTo>
                  <a:lnTo>
                    <a:pt x="510" y="459"/>
                  </a:lnTo>
                  <a:lnTo>
                    <a:pt x="510" y="459"/>
                  </a:lnTo>
                  <a:lnTo>
                    <a:pt x="512" y="457"/>
                  </a:lnTo>
                  <a:lnTo>
                    <a:pt x="512" y="455"/>
                  </a:lnTo>
                  <a:lnTo>
                    <a:pt x="514" y="455"/>
                  </a:lnTo>
                  <a:lnTo>
                    <a:pt x="516" y="455"/>
                  </a:lnTo>
                  <a:lnTo>
                    <a:pt x="518" y="455"/>
                  </a:lnTo>
                  <a:lnTo>
                    <a:pt x="520" y="455"/>
                  </a:lnTo>
                  <a:lnTo>
                    <a:pt x="520" y="457"/>
                  </a:lnTo>
                  <a:lnTo>
                    <a:pt x="520" y="457"/>
                  </a:lnTo>
                  <a:lnTo>
                    <a:pt x="520" y="457"/>
                  </a:lnTo>
                  <a:lnTo>
                    <a:pt x="520" y="457"/>
                  </a:lnTo>
                  <a:lnTo>
                    <a:pt x="520" y="459"/>
                  </a:lnTo>
                  <a:lnTo>
                    <a:pt x="510" y="465"/>
                  </a:lnTo>
                  <a:lnTo>
                    <a:pt x="508" y="468"/>
                  </a:lnTo>
                  <a:lnTo>
                    <a:pt x="512" y="468"/>
                  </a:lnTo>
                  <a:lnTo>
                    <a:pt x="522" y="459"/>
                  </a:lnTo>
                  <a:lnTo>
                    <a:pt x="537" y="457"/>
                  </a:lnTo>
                  <a:lnTo>
                    <a:pt x="537" y="455"/>
                  </a:lnTo>
                  <a:lnTo>
                    <a:pt x="535" y="455"/>
                  </a:lnTo>
                  <a:lnTo>
                    <a:pt x="528" y="459"/>
                  </a:lnTo>
                  <a:lnTo>
                    <a:pt x="526" y="457"/>
                  </a:lnTo>
                  <a:lnTo>
                    <a:pt x="526" y="455"/>
                  </a:lnTo>
                  <a:lnTo>
                    <a:pt x="528" y="455"/>
                  </a:lnTo>
                  <a:lnTo>
                    <a:pt x="532" y="453"/>
                  </a:lnTo>
                  <a:lnTo>
                    <a:pt x="541" y="449"/>
                  </a:lnTo>
                  <a:lnTo>
                    <a:pt x="549" y="447"/>
                  </a:lnTo>
                  <a:lnTo>
                    <a:pt x="551" y="445"/>
                  </a:lnTo>
                  <a:lnTo>
                    <a:pt x="553" y="443"/>
                  </a:lnTo>
                  <a:lnTo>
                    <a:pt x="559" y="441"/>
                  </a:lnTo>
                  <a:lnTo>
                    <a:pt x="559" y="439"/>
                  </a:lnTo>
                  <a:lnTo>
                    <a:pt x="559" y="439"/>
                  </a:lnTo>
                  <a:lnTo>
                    <a:pt x="561" y="437"/>
                  </a:lnTo>
                  <a:lnTo>
                    <a:pt x="561" y="437"/>
                  </a:lnTo>
                  <a:lnTo>
                    <a:pt x="565" y="437"/>
                  </a:lnTo>
                  <a:lnTo>
                    <a:pt x="567" y="437"/>
                  </a:lnTo>
                  <a:lnTo>
                    <a:pt x="569" y="437"/>
                  </a:lnTo>
                  <a:lnTo>
                    <a:pt x="569" y="435"/>
                  </a:lnTo>
                  <a:lnTo>
                    <a:pt x="567" y="435"/>
                  </a:lnTo>
                  <a:lnTo>
                    <a:pt x="567" y="433"/>
                  </a:lnTo>
                  <a:lnTo>
                    <a:pt x="569" y="433"/>
                  </a:lnTo>
                  <a:lnTo>
                    <a:pt x="569" y="433"/>
                  </a:lnTo>
                  <a:lnTo>
                    <a:pt x="571" y="433"/>
                  </a:lnTo>
                  <a:lnTo>
                    <a:pt x="571" y="433"/>
                  </a:lnTo>
                  <a:lnTo>
                    <a:pt x="573" y="433"/>
                  </a:lnTo>
                  <a:lnTo>
                    <a:pt x="575" y="431"/>
                  </a:lnTo>
                  <a:lnTo>
                    <a:pt x="578" y="431"/>
                  </a:lnTo>
                  <a:lnTo>
                    <a:pt x="578" y="429"/>
                  </a:lnTo>
                  <a:lnTo>
                    <a:pt x="584" y="429"/>
                  </a:lnTo>
                  <a:lnTo>
                    <a:pt x="586" y="427"/>
                  </a:lnTo>
                  <a:lnTo>
                    <a:pt x="586" y="424"/>
                  </a:lnTo>
                  <a:lnTo>
                    <a:pt x="588" y="424"/>
                  </a:lnTo>
                  <a:lnTo>
                    <a:pt x="590" y="424"/>
                  </a:lnTo>
                  <a:lnTo>
                    <a:pt x="590" y="424"/>
                  </a:lnTo>
                  <a:lnTo>
                    <a:pt x="592" y="424"/>
                  </a:lnTo>
                  <a:lnTo>
                    <a:pt x="594" y="422"/>
                  </a:lnTo>
                  <a:lnTo>
                    <a:pt x="594" y="422"/>
                  </a:lnTo>
                  <a:lnTo>
                    <a:pt x="592" y="420"/>
                  </a:lnTo>
                  <a:lnTo>
                    <a:pt x="594" y="420"/>
                  </a:lnTo>
                  <a:lnTo>
                    <a:pt x="604" y="416"/>
                  </a:lnTo>
                  <a:lnTo>
                    <a:pt x="606" y="416"/>
                  </a:lnTo>
                  <a:lnTo>
                    <a:pt x="604" y="416"/>
                  </a:lnTo>
                  <a:lnTo>
                    <a:pt x="604" y="418"/>
                  </a:lnTo>
                  <a:lnTo>
                    <a:pt x="600" y="420"/>
                  </a:lnTo>
                  <a:lnTo>
                    <a:pt x="600" y="420"/>
                  </a:lnTo>
                  <a:lnTo>
                    <a:pt x="600" y="420"/>
                  </a:lnTo>
                  <a:lnTo>
                    <a:pt x="600" y="420"/>
                  </a:lnTo>
                  <a:lnTo>
                    <a:pt x="600" y="422"/>
                  </a:lnTo>
                  <a:lnTo>
                    <a:pt x="600" y="420"/>
                  </a:lnTo>
                  <a:lnTo>
                    <a:pt x="600" y="420"/>
                  </a:lnTo>
                  <a:lnTo>
                    <a:pt x="600" y="420"/>
                  </a:lnTo>
                  <a:lnTo>
                    <a:pt x="602" y="420"/>
                  </a:lnTo>
                  <a:lnTo>
                    <a:pt x="610" y="414"/>
                  </a:lnTo>
                  <a:lnTo>
                    <a:pt x="614" y="412"/>
                  </a:lnTo>
                  <a:lnTo>
                    <a:pt x="616" y="410"/>
                  </a:lnTo>
                  <a:lnTo>
                    <a:pt x="618" y="408"/>
                  </a:lnTo>
                  <a:lnTo>
                    <a:pt x="616" y="408"/>
                  </a:lnTo>
                  <a:lnTo>
                    <a:pt x="616" y="406"/>
                  </a:lnTo>
                  <a:lnTo>
                    <a:pt x="616" y="406"/>
                  </a:lnTo>
                  <a:lnTo>
                    <a:pt x="616" y="404"/>
                  </a:lnTo>
                  <a:lnTo>
                    <a:pt x="616" y="404"/>
                  </a:lnTo>
                  <a:lnTo>
                    <a:pt x="618" y="404"/>
                  </a:lnTo>
                  <a:lnTo>
                    <a:pt x="621" y="404"/>
                  </a:lnTo>
                  <a:lnTo>
                    <a:pt x="621" y="406"/>
                  </a:lnTo>
                  <a:lnTo>
                    <a:pt x="621" y="408"/>
                  </a:lnTo>
                  <a:lnTo>
                    <a:pt x="621" y="406"/>
                  </a:lnTo>
                  <a:lnTo>
                    <a:pt x="625" y="404"/>
                  </a:lnTo>
                  <a:lnTo>
                    <a:pt x="627" y="404"/>
                  </a:lnTo>
                  <a:lnTo>
                    <a:pt x="631" y="400"/>
                  </a:lnTo>
                  <a:lnTo>
                    <a:pt x="637" y="394"/>
                  </a:lnTo>
                  <a:lnTo>
                    <a:pt x="641" y="392"/>
                  </a:lnTo>
                  <a:lnTo>
                    <a:pt x="647" y="386"/>
                  </a:lnTo>
                  <a:lnTo>
                    <a:pt x="651" y="383"/>
                  </a:lnTo>
                  <a:lnTo>
                    <a:pt x="659" y="375"/>
                  </a:lnTo>
                  <a:lnTo>
                    <a:pt x="662" y="375"/>
                  </a:lnTo>
                  <a:lnTo>
                    <a:pt x="662" y="373"/>
                  </a:lnTo>
                  <a:lnTo>
                    <a:pt x="662" y="373"/>
                  </a:lnTo>
                  <a:lnTo>
                    <a:pt x="662" y="373"/>
                  </a:lnTo>
                  <a:close/>
                  <a:moveTo>
                    <a:pt x="645" y="357"/>
                  </a:moveTo>
                  <a:lnTo>
                    <a:pt x="645" y="357"/>
                  </a:lnTo>
                  <a:lnTo>
                    <a:pt x="647" y="355"/>
                  </a:lnTo>
                  <a:lnTo>
                    <a:pt x="647" y="353"/>
                  </a:lnTo>
                  <a:lnTo>
                    <a:pt x="649" y="353"/>
                  </a:lnTo>
                  <a:lnTo>
                    <a:pt x="649" y="353"/>
                  </a:lnTo>
                  <a:lnTo>
                    <a:pt x="649" y="353"/>
                  </a:lnTo>
                  <a:lnTo>
                    <a:pt x="649" y="351"/>
                  </a:lnTo>
                  <a:lnTo>
                    <a:pt x="643" y="355"/>
                  </a:lnTo>
                  <a:lnTo>
                    <a:pt x="643" y="355"/>
                  </a:lnTo>
                  <a:lnTo>
                    <a:pt x="643" y="357"/>
                  </a:lnTo>
                  <a:lnTo>
                    <a:pt x="643" y="357"/>
                  </a:lnTo>
                  <a:lnTo>
                    <a:pt x="645" y="357"/>
                  </a:lnTo>
                  <a:close/>
                  <a:moveTo>
                    <a:pt x="465" y="78"/>
                  </a:moveTo>
                  <a:lnTo>
                    <a:pt x="465" y="78"/>
                  </a:lnTo>
                  <a:lnTo>
                    <a:pt x="465" y="78"/>
                  </a:lnTo>
                  <a:lnTo>
                    <a:pt x="465" y="78"/>
                  </a:lnTo>
                  <a:close/>
                  <a:moveTo>
                    <a:pt x="244" y="125"/>
                  </a:moveTo>
                  <a:lnTo>
                    <a:pt x="246" y="125"/>
                  </a:lnTo>
                  <a:lnTo>
                    <a:pt x="246" y="125"/>
                  </a:lnTo>
                  <a:lnTo>
                    <a:pt x="250" y="123"/>
                  </a:lnTo>
                  <a:lnTo>
                    <a:pt x="250" y="121"/>
                  </a:lnTo>
                  <a:lnTo>
                    <a:pt x="250" y="121"/>
                  </a:lnTo>
                  <a:lnTo>
                    <a:pt x="250" y="119"/>
                  </a:lnTo>
                  <a:lnTo>
                    <a:pt x="250" y="119"/>
                  </a:lnTo>
                  <a:lnTo>
                    <a:pt x="250" y="119"/>
                  </a:lnTo>
                  <a:lnTo>
                    <a:pt x="250" y="119"/>
                  </a:lnTo>
                  <a:lnTo>
                    <a:pt x="248" y="121"/>
                  </a:lnTo>
                  <a:lnTo>
                    <a:pt x="248" y="121"/>
                  </a:lnTo>
                  <a:lnTo>
                    <a:pt x="246" y="121"/>
                  </a:lnTo>
                  <a:lnTo>
                    <a:pt x="244" y="123"/>
                  </a:lnTo>
                  <a:lnTo>
                    <a:pt x="244" y="123"/>
                  </a:lnTo>
                  <a:lnTo>
                    <a:pt x="244" y="123"/>
                  </a:lnTo>
                  <a:lnTo>
                    <a:pt x="244" y="125"/>
                  </a:lnTo>
                  <a:lnTo>
                    <a:pt x="244" y="125"/>
                  </a:lnTo>
                  <a:close/>
                  <a:moveTo>
                    <a:pt x="252" y="117"/>
                  </a:moveTo>
                  <a:lnTo>
                    <a:pt x="252" y="119"/>
                  </a:lnTo>
                  <a:lnTo>
                    <a:pt x="252" y="119"/>
                  </a:lnTo>
                  <a:lnTo>
                    <a:pt x="254" y="121"/>
                  </a:lnTo>
                  <a:lnTo>
                    <a:pt x="254" y="119"/>
                  </a:lnTo>
                  <a:lnTo>
                    <a:pt x="256" y="117"/>
                  </a:lnTo>
                  <a:lnTo>
                    <a:pt x="258" y="117"/>
                  </a:lnTo>
                  <a:lnTo>
                    <a:pt x="258" y="115"/>
                  </a:lnTo>
                  <a:lnTo>
                    <a:pt x="260" y="113"/>
                  </a:lnTo>
                  <a:lnTo>
                    <a:pt x="260" y="111"/>
                  </a:lnTo>
                  <a:lnTo>
                    <a:pt x="260" y="111"/>
                  </a:lnTo>
                  <a:lnTo>
                    <a:pt x="260" y="111"/>
                  </a:lnTo>
                  <a:lnTo>
                    <a:pt x="260" y="109"/>
                  </a:lnTo>
                  <a:lnTo>
                    <a:pt x="260" y="111"/>
                  </a:lnTo>
                  <a:lnTo>
                    <a:pt x="258" y="111"/>
                  </a:lnTo>
                  <a:lnTo>
                    <a:pt x="258" y="113"/>
                  </a:lnTo>
                  <a:lnTo>
                    <a:pt x="258" y="111"/>
                  </a:lnTo>
                  <a:lnTo>
                    <a:pt x="256" y="113"/>
                  </a:lnTo>
                  <a:lnTo>
                    <a:pt x="256" y="115"/>
                  </a:lnTo>
                  <a:lnTo>
                    <a:pt x="254" y="115"/>
                  </a:lnTo>
                  <a:lnTo>
                    <a:pt x="254" y="115"/>
                  </a:lnTo>
                  <a:lnTo>
                    <a:pt x="254" y="115"/>
                  </a:lnTo>
                  <a:lnTo>
                    <a:pt x="254" y="115"/>
                  </a:lnTo>
                  <a:lnTo>
                    <a:pt x="254" y="115"/>
                  </a:lnTo>
                  <a:lnTo>
                    <a:pt x="254" y="115"/>
                  </a:lnTo>
                  <a:lnTo>
                    <a:pt x="254" y="115"/>
                  </a:lnTo>
                  <a:lnTo>
                    <a:pt x="252" y="115"/>
                  </a:lnTo>
                  <a:lnTo>
                    <a:pt x="252" y="117"/>
                  </a:lnTo>
                  <a:lnTo>
                    <a:pt x="252" y="115"/>
                  </a:lnTo>
                  <a:lnTo>
                    <a:pt x="252" y="117"/>
                  </a:lnTo>
                  <a:lnTo>
                    <a:pt x="252" y="117"/>
                  </a:lnTo>
                  <a:lnTo>
                    <a:pt x="250" y="117"/>
                  </a:lnTo>
                  <a:lnTo>
                    <a:pt x="252" y="117"/>
                  </a:lnTo>
                  <a:lnTo>
                    <a:pt x="252" y="117"/>
                  </a:lnTo>
                  <a:close/>
                  <a:moveTo>
                    <a:pt x="244" y="154"/>
                  </a:moveTo>
                  <a:lnTo>
                    <a:pt x="246" y="152"/>
                  </a:lnTo>
                  <a:lnTo>
                    <a:pt x="246" y="150"/>
                  </a:lnTo>
                  <a:lnTo>
                    <a:pt x="244" y="150"/>
                  </a:lnTo>
                  <a:lnTo>
                    <a:pt x="244" y="150"/>
                  </a:lnTo>
                  <a:lnTo>
                    <a:pt x="242" y="152"/>
                  </a:lnTo>
                  <a:lnTo>
                    <a:pt x="242" y="154"/>
                  </a:lnTo>
                  <a:lnTo>
                    <a:pt x="240" y="154"/>
                  </a:lnTo>
                  <a:lnTo>
                    <a:pt x="242" y="158"/>
                  </a:lnTo>
                  <a:lnTo>
                    <a:pt x="244" y="154"/>
                  </a:lnTo>
                  <a:lnTo>
                    <a:pt x="244" y="154"/>
                  </a:lnTo>
                  <a:close/>
                  <a:moveTo>
                    <a:pt x="500" y="422"/>
                  </a:moveTo>
                  <a:lnTo>
                    <a:pt x="500" y="420"/>
                  </a:lnTo>
                  <a:lnTo>
                    <a:pt x="496" y="412"/>
                  </a:lnTo>
                  <a:lnTo>
                    <a:pt x="496" y="406"/>
                  </a:lnTo>
                  <a:lnTo>
                    <a:pt x="496" y="404"/>
                  </a:lnTo>
                  <a:lnTo>
                    <a:pt x="494" y="404"/>
                  </a:lnTo>
                  <a:lnTo>
                    <a:pt x="492" y="402"/>
                  </a:lnTo>
                  <a:lnTo>
                    <a:pt x="492" y="402"/>
                  </a:lnTo>
                  <a:lnTo>
                    <a:pt x="489" y="400"/>
                  </a:lnTo>
                  <a:lnTo>
                    <a:pt x="487" y="396"/>
                  </a:lnTo>
                  <a:lnTo>
                    <a:pt x="487" y="396"/>
                  </a:lnTo>
                  <a:lnTo>
                    <a:pt x="487" y="396"/>
                  </a:lnTo>
                  <a:lnTo>
                    <a:pt x="487" y="394"/>
                  </a:lnTo>
                  <a:lnTo>
                    <a:pt x="487" y="394"/>
                  </a:lnTo>
                  <a:lnTo>
                    <a:pt x="487" y="392"/>
                  </a:lnTo>
                  <a:lnTo>
                    <a:pt x="489" y="390"/>
                  </a:lnTo>
                  <a:lnTo>
                    <a:pt x="489" y="392"/>
                  </a:lnTo>
                  <a:lnTo>
                    <a:pt x="489" y="394"/>
                  </a:lnTo>
                  <a:lnTo>
                    <a:pt x="489" y="396"/>
                  </a:lnTo>
                  <a:lnTo>
                    <a:pt x="492" y="398"/>
                  </a:lnTo>
                  <a:lnTo>
                    <a:pt x="494" y="400"/>
                  </a:lnTo>
                  <a:lnTo>
                    <a:pt x="496" y="400"/>
                  </a:lnTo>
                  <a:lnTo>
                    <a:pt x="498" y="402"/>
                  </a:lnTo>
                  <a:lnTo>
                    <a:pt x="498" y="406"/>
                  </a:lnTo>
                  <a:lnTo>
                    <a:pt x="500" y="408"/>
                  </a:lnTo>
                  <a:lnTo>
                    <a:pt x="502" y="418"/>
                  </a:lnTo>
                  <a:lnTo>
                    <a:pt x="502" y="420"/>
                  </a:lnTo>
                  <a:lnTo>
                    <a:pt x="502" y="424"/>
                  </a:lnTo>
                  <a:lnTo>
                    <a:pt x="502" y="429"/>
                  </a:lnTo>
                  <a:lnTo>
                    <a:pt x="502" y="433"/>
                  </a:lnTo>
                  <a:lnTo>
                    <a:pt x="502" y="435"/>
                  </a:lnTo>
                  <a:lnTo>
                    <a:pt x="502" y="437"/>
                  </a:lnTo>
                  <a:lnTo>
                    <a:pt x="498" y="447"/>
                  </a:lnTo>
                  <a:lnTo>
                    <a:pt x="498" y="449"/>
                  </a:lnTo>
                  <a:lnTo>
                    <a:pt x="498" y="451"/>
                  </a:lnTo>
                  <a:lnTo>
                    <a:pt x="500" y="453"/>
                  </a:lnTo>
                  <a:lnTo>
                    <a:pt x="500" y="451"/>
                  </a:lnTo>
                  <a:lnTo>
                    <a:pt x="502" y="445"/>
                  </a:lnTo>
                  <a:lnTo>
                    <a:pt x="504" y="441"/>
                  </a:lnTo>
                  <a:lnTo>
                    <a:pt x="504" y="441"/>
                  </a:lnTo>
                  <a:lnTo>
                    <a:pt x="508" y="439"/>
                  </a:lnTo>
                  <a:lnTo>
                    <a:pt x="510" y="437"/>
                  </a:lnTo>
                  <a:lnTo>
                    <a:pt x="514" y="437"/>
                  </a:lnTo>
                  <a:lnTo>
                    <a:pt x="512" y="437"/>
                  </a:lnTo>
                  <a:lnTo>
                    <a:pt x="510" y="435"/>
                  </a:lnTo>
                  <a:lnTo>
                    <a:pt x="510" y="435"/>
                  </a:lnTo>
                  <a:lnTo>
                    <a:pt x="510" y="433"/>
                  </a:lnTo>
                  <a:lnTo>
                    <a:pt x="512" y="433"/>
                  </a:lnTo>
                  <a:lnTo>
                    <a:pt x="512" y="433"/>
                  </a:lnTo>
                  <a:lnTo>
                    <a:pt x="512" y="433"/>
                  </a:lnTo>
                  <a:lnTo>
                    <a:pt x="512" y="431"/>
                  </a:lnTo>
                  <a:lnTo>
                    <a:pt x="514" y="429"/>
                  </a:lnTo>
                  <a:lnTo>
                    <a:pt x="516" y="424"/>
                  </a:lnTo>
                  <a:lnTo>
                    <a:pt x="516" y="422"/>
                  </a:lnTo>
                  <a:lnTo>
                    <a:pt x="518" y="422"/>
                  </a:lnTo>
                  <a:lnTo>
                    <a:pt x="520" y="422"/>
                  </a:lnTo>
                  <a:lnTo>
                    <a:pt x="520" y="420"/>
                  </a:lnTo>
                  <a:lnTo>
                    <a:pt x="520" y="418"/>
                  </a:lnTo>
                  <a:lnTo>
                    <a:pt x="520" y="418"/>
                  </a:lnTo>
                  <a:lnTo>
                    <a:pt x="520" y="416"/>
                  </a:lnTo>
                  <a:lnTo>
                    <a:pt x="520" y="416"/>
                  </a:lnTo>
                  <a:lnTo>
                    <a:pt x="520" y="416"/>
                  </a:lnTo>
                  <a:lnTo>
                    <a:pt x="520" y="416"/>
                  </a:lnTo>
                  <a:lnTo>
                    <a:pt x="520" y="414"/>
                  </a:lnTo>
                  <a:lnTo>
                    <a:pt x="520" y="414"/>
                  </a:lnTo>
                  <a:lnTo>
                    <a:pt x="518" y="414"/>
                  </a:lnTo>
                  <a:lnTo>
                    <a:pt x="518" y="414"/>
                  </a:lnTo>
                  <a:lnTo>
                    <a:pt x="518" y="414"/>
                  </a:lnTo>
                  <a:lnTo>
                    <a:pt x="518" y="412"/>
                  </a:lnTo>
                  <a:lnTo>
                    <a:pt x="516" y="410"/>
                  </a:lnTo>
                  <a:lnTo>
                    <a:pt x="512" y="408"/>
                  </a:lnTo>
                  <a:lnTo>
                    <a:pt x="512" y="408"/>
                  </a:lnTo>
                  <a:lnTo>
                    <a:pt x="512" y="406"/>
                  </a:lnTo>
                  <a:lnTo>
                    <a:pt x="516" y="404"/>
                  </a:lnTo>
                  <a:lnTo>
                    <a:pt x="520" y="400"/>
                  </a:lnTo>
                  <a:lnTo>
                    <a:pt x="524" y="396"/>
                  </a:lnTo>
                  <a:lnTo>
                    <a:pt x="526" y="392"/>
                  </a:lnTo>
                  <a:lnTo>
                    <a:pt x="528" y="392"/>
                  </a:lnTo>
                  <a:lnTo>
                    <a:pt x="526" y="390"/>
                  </a:lnTo>
                  <a:lnTo>
                    <a:pt x="524" y="388"/>
                  </a:lnTo>
                  <a:lnTo>
                    <a:pt x="524" y="386"/>
                  </a:lnTo>
                  <a:lnTo>
                    <a:pt x="522" y="383"/>
                  </a:lnTo>
                  <a:lnTo>
                    <a:pt x="520" y="381"/>
                  </a:lnTo>
                  <a:lnTo>
                    <a:pt x="520" y="377"/>
                  </a:lnTo>
                  <a:lnTo>
                    <a:pt x="520" y="373"/>
                  </a:lnTo>
                  <a:lnTo>
                    <a:pt x="518" y="367"/>
                  </a:lnTo>
                  <a:lnTo>
                    <a:pt x="518" y="363"/>
                  </a:lnTo>
                  <a:lnTo>
                    <a:pt x="516" y="357"/>
                  </a:lnTo>
                  <a:lnTo>
                    <a:pt x="516" y="353"/>
                  </a:lnTo>
                  <a:lnTo>
                    <a:pt x="516" y="349"/>
                  </a:lnTo>
                  <a:lnTo>
                    <a:pt x="514" y="342"/>
                  </a:lnTo>
                  <a:lnTo>
                    <a:pt x="514" y="338"/>
                  </a:lnTo>
                  <a:lnTo>
                    <a:pt x="512" y="334"/>
                  </a:lnTo>
                  <a:lnTo>
                    <a:pt x="512" y="328"/>
                  </a:lnTo>
                  <a:lnTo>
                    <a:pt x="510" y="324"/>
                  </a:lnTo>
                  <a:lnTo>
                    <a:pt x="510" y="320"/>
                  </a:lnTo>
                  <a:lnTo>
                    <a:pt x="510" y="314"/>
                  </a:lnTo>
                  <a:lnTo>
                    <a:pt x="508" y="310"/>
                  </a:lnTo>
                  <a:lnTo>
                    <a:pt x="508" y="304"/>
                  </a:lnTo>
                  <a:lnTo>
                    <a:pt x="504" y="302"/>
                  </a:lnTo>
                  <a:lnTo>
                    <a:pt x="504" y="299"/>
                  </a:lnTo>
                  <a:lnTo>
                    <a:pt x="506" y="297"/>
                  </a:lnTo>
                  <a:lnTo>
                    <a:pt x="506" y="289"/>
                  </a:lnTo>
                  <a:lnTo>
                    <a:pt x="506" y="273"/>
                  </a:lnTo>
                  <a:lnTo>
                    <a:pt x="506" y="265"/>
                  </a:lnTo>
                  <a:lnTo>
                    <a:pt x="506" y="256"/>
                  </a:lnTo>
                  <a:lnTo>
                    <a:pt x="506" y="248"/>
                  </a:lnTo>
                  <a:lnTo>
                    <a:pt x="506" y="240"/>
                  </a:lnTo>
                  <a:lnTo>
                    <a:pt x="508" y="234"/>
                  </a:lnTo>
                  <a:lnTo>
                    <a:pt x="508" y="230"/>
                  </a:lnTo>
                  <a:lnTo>
                    <a:pt x="508" y="228"/>
                  </a:lnTo>
                  <a:lnTo>
                    <a:pt x="506" y="226"/>
                  </a:lnTo>
                  <a:lnTo>
                    <a:pt x="504" y="224"/>
                  </a:lnTo>
                  <a:lnTo>
                    <a:pt x="504" y="220"/>
                  </a:lnTo>
                  <a:lnTo>
                    <a:pt x="504" y="217"/>
                  </a:lnTo>
                  <a:lnTo>
                    <a:pt x="504" y="215"/>
                  </a:lnTo>
                  <a:lnTo>
                    <a:pt x="504" y="215"/>
                  </a:lnTo>
                  <a:lnTo>
                    <a:pt x="504" y="213"/>
                  </a:lnTo>
                  <a:lnTo>
                    <a:pt x="502" y="209"/>
                  </a:lnTo>
                  <a:lnTo>
                    <a:pt x="502" y="205"/>
                  </a:lnTo>
                  <a:lnTo>
                    <a:pt x="500" y="201"/>
                  </a:lnTo>
                  <a:lnTo>
                    <a:pt x="500" y="195"/>
                  </a:lnTo>
                  <a:lnTo>
                    <a:pt x="498" y="189"/>
                  </a:lnTo>
                  <a:lnTo>
                    <a:pt x="496" y="177"/>
                  </a:lnTo>
                  <a:lnTo>
                    <a:pt x="494" y="170"/>
                  </a:lnTo>
                  <a:lnTo>
                    <a:pt x="492" y="164"/>
                  </a:lnTo>
                  <a:lnTo>
                    <a:pt x="492" y="158"/>
                  </a:lnTo>
                  <a:lnTo>
                    <a:pt x="489" y="154"/>
                  </a:lnTo>
                  <a:lnTo>
                    <a:pt x="489" y="152"/>
                  </a:lnTo>
                  <a:lnTo>
                    <a:pt x="489" y="150"/>
                  </a:lnTo>
                  <a:lnTo>
                    <a:pt x="489" y="148"/>
                  </a:lnTo>
                  <a:lnTo>
                    <a:pt x="487" y="146"/>
                  </a:lnTo>
                  <a:lnTo>
                    <a:pt x="487" y="146"/>
                  </a:lnTo>
                  <a:lnTo>
                    <a:pt x="487" y="146"/>
                  </a:lnTo>
                  <a:lnTo>
                    <a:pt x="485" y="146"/>
                  </a:lnTo>
                  <a:lnTo>
                    <a:pt x="485" y="144"/>
                  </a:lnTo>
                  <a:lnTo>
                    <a:pt x="483" y="142"/>
                  </a:lnTo>
                  <a:lnTo>
                    <a:pt x="483" y="140"/>
                  </a:lnTo>
                  <a:lnTo>
                    <a:pt x="481" y="140"/>
                  </a:lnTo>
                  <a:lnTo>
                    <a:pt x="481" y="140"/>
                  </a:lnTo>
                  <a:lnTo>
                    <a:pt x="479" y="140"/>
                  </a:lnTo>
                  <a:lnTo>
                    <a:pt x="479" y="140"/>
                  </a:lnTo>
                  <a:lnTo>
                    <a:pt x="479" y="140"/>
                  </a:lnTo>
                  <a:lnTo>
                    <a:pt x="479" y="140"/>
                  </a:lnTo>
                  <a:lnTo>
                    <a:pt x="477" y="142"/>
                  </a:lnTo>
                  <a:lnTo>
                    <a:pt x="477" y="142"/>
                  </a:lnTo>
                  <a:lnTo>
                    <a:pt x="477" y="142"/>
                  </a:lnTo>
                  <a:lnTo>
                    <a:pt x="477" y="142"/>
                  </a:lnTo>
                  <a:lnTo>
                    <a:pt x="477" y="144"/>
                  </a:lnTo>
                  <a:lnTo>
                    <a:pt x="477" y="146"/>
                  </a:lnTo>
                  <a:lnTo>
                    <a:pt x="477" y="146"/>
                  </a:lnTo>
                  <a:lnTo>
                    <a:pt x="477" y="146"/>
                  </a:lnTo>
                  <a:lnTo>
                    <a:pt x="477" y="146"/>
                  </a:lnTo>
                  <a:lnTo>
                    <a:pt x="475" y="148"/>
                  </a:lnTo>
                  <a:lnTo>
                    <a:pt x="475" y="148"/>
                  </a:lnTo>
                  <a:lnTo>
                    <a:pt x="475" y="148"/>
                  </a:lnTo>
                  <a:lnTo>
                    <a:pt x="475" y="148"/>
                  </a:lnTo>
                  <a:lnTo>
                    <a:pt x="473" y="146"/>
                  </a:lnTo>
                  <a:lnTo>
                    <a:pt x="473" y="146"/>
                  </a:lnTo>
                  <a:lnTo>
                    <a:pt x="473" y="144"/>
                  </a:lnTo>
                  <a:lnTo>
                    <a:pt x="473" y="142"/>
                  </a:lnTo>
                  <a:lnTo>
                    <a:pt x="473" y="140"/>
                  </a:lnTo>
                  <a:lnTo>
                    <a:pt x="473" y="140"/>
                  </a:lnTo>
                  <a:lnTo>
                    <a:pt x="473" y="129"/>
                  </a:lnTo>
                  <a:lnTo>
                    <a:pt x="473" y="127"/>
                  </a:lnTo>
                  <a:lnTo>
                    <a:pt x="473" y="127"/>
                  </a:lnTo>
                  <a:lnTo>
                    <a:pt x="473" y="125"/>
                  </a:lnTo>
                  <a:lnTo>
                    <a:pt x="473" y="123"/>
                  </a:lnTo>
                  <a:lnTo>
                    <a:pt x="471" y="123"/>
                  </a:lnTo>
                  <a:lnTo>
                    <a:pt x="469" y="121"/>
                  </a:lnTo>
                  <a:lnTo>
                    <a:pt x="469" y="121"/>
                  </a:lnTo>
                  <a:lnTo>
                    <a:pt x="469" y="119"/>
                  </a:lnTo>
                  <a:lnTo>
                    <a:pt x="469" y="117"/>
                  </a:lnTo>
                  <a:lnTo>
                    <a:pt x="469" y="117"/>
                  </a:lnTo>
                  <a:lnTo>
                    <a:pt x="469" y="115"/>
                  </a:lnTo>
                  <a:lnTo>
                    <a:pt x="467" y="115"/>
                  </a:lnTo>
                  <a:lnTo>
                    <a:pt x="467" y="113"/>
                  </a:lnTo>
                  <a:lnTo>
                    <a:pt x="465" y="111"/>
                  </a:lnTo>
                  <a:lnTo>
                    <a:pt x="465" y="109"/>
                  </a:lnTo>
                  <a:lnTo>
                    <a:pt x="463" y="105"/>
                  </a:lnTo>
                  <a:lnTo>
                    <a:pt x="463" y="103"/>
                  </a:lnTo>
                  <a:lnTo>
                    <a:pt x="463" y="101"/>
                  </a:lnTo>
                  <a:lnTo>
                    <a:pt x="463" y="101"/>
                  </a:lnTo>
                  <a:lnTo>
                    <a:pt x="463" y="101"/>
                  </a:lnTo>
                  <a:lnTo>
                    <a:pt x="461" y="101"/>
                  </a:lnTo>
                  <a:lnTo>
                    <a:pt x="461" y="101"/>
                  </a:lnTo>
                  <a:lnTo>
                    <a:pt x="461" y="103"/>
                  </a:lnTo>
                  <a:lnTo>
                    <a:pt x="459" y="99"/>
                  </a:lnTo>
                  <a:lnTo>
                    <a:pt x="459" y="86"/>
                  </a:lnTo>
                  <a:lnTo>
                    <a:pt x="457" y="84"/>
                  </a:lnTo>
                  <a:lnTo>
                    <a:pt x="459" y="82"/>
                  </a:lnTo>
                  <a:lnTo>
                    <a:pt x="463" y="76"/>
                  </a:lnTo>
                  <a:lnTo>
                    <a:pt x="463" y="74"/>
                  </a:lnTo>
                  <a:lnTo>
                    <a:pt x="461" y="72"/>
                  </a:lnTo>
                  <a:lnTo>
                    <a:pt x="461" y="72"/>
                  </a:lnTo>
                  <a:lnTo>
                    <a:pt x="461" y="68"/>
                  </a:lnTo>
                  <a:lnTo>
                    <a:pt x="459" y="66"/>
                  </a:lnTo>
                  <a:lnTo>
                    <a:pt x="459" y="64"/>
                  </a:lnTo>
                  <a:lnTo>
                    <a:pt x="457" y="64"/>
                  </a:lnTo>
                  <a:lnTo>
                    <a:pt x="457" y="64"/>
                  </a:lnTo>
                  <a:lnTo>
                    <a:pt x="457" y="58"/>
                  </a:lnTo>
                  <a:lnTo>
                    <a:pt x="455" y="58"/>
                  </a:lnTo>
                  <a:lnTo>
                    <a:pt x="455" y="58"/>
                  </a:lnTo>
                  <a:lnTo>
                    <a:pt x="455" y="60"/>
                  </a:lnTo>
                  <a:lnTo>
                    <a:pt x="455" y="62"/>
                  </a:lnTo>
                  <a:lnTo>
                    <a:pt x="455" y="64"/>
                  </a:lnTo>
                  <a:lnTo>
                    <a:pt x="455" y="62"/>
                  </a:lnTo>
                  <a:lnTo>
                    <a:pt x="453" y="60"/>
                  </a:lnTo>
                  <a:lnTo>
                    <a:pt x="453" y="60"/>
                  </a:lnTo>
                  <a:lnTo>
                    <a:pt x="455" y="58"/>
                  </a:lnTo>
                  <a:lnTo>
                    <a:pt x="455" y="56"/>
                  </a:lnTo>
                  <a:lnTo>
                    <a:pt x="453" y="56"/>
                  </a:lnTo>
                  <a:lnTo>
                    <a:pt x="451" y="54"/>
                  </a:lnTo>
                  <a:lnTo>
                    <a:pt x="453" y="51"/>
                  </a:lnTo>
                  <a:lnTo>
                    <a:pt x="453" y="49"/>
                  </a:lnTo>
                  <a:lnTo>
                    <a:pt x="451" y="47"/>
                  </a:lnTo>
                  <a:lnTo>
                    <a:pt x="451" y="47"/>
                  </a:lnTo>
                  <a:lnTo>
                    <a:pt x="449" y="47"/>
                  </a:lnTo>
                  <a:lnTo>
                    <a:pt x="449" y="45"/>
                  </a:lnTo>
                  <a:lnTo>
                    <a:pt x="446" y="43"/>
                  </a:lnTo>
                  <a:lnTo>
                    <a:pt x="446" y="41"/>
                  </a:lnTo>
                  <a:lnTo>
                    <a:pt x="446" y="41"/>
                  </a:lnTo>
                  <a:lnTo>
                    <a:pt x="446" y="41"/>
                  </a:lnTo>
                  <a:lnTo>
                    <a:pt x="446" y="41"/>
                  </a:lnTo>
                  <a:lnTo>
                    <a:pt x="446" y="39"/>
                  </a:lnTo>
                  <a:lnTo>
                    <a:pt x="444" y="39"/>
                  </a:lnTo>
                  <a:lnTo>
                    <a:pt x="446" y="37"/>
                  </a:lnTo>
                  <a:lnTo>
                    <a:pt x="446" y="35"/>
                  </a:lnTo>
                  <a:lnTo>
                    <a:pt x="444" y="33"/>
                  </a:lnTo>
                  <a:lnTo>
                    <a:pt x="444" y="31"/>
                  </a:lnTo>
                  <a:lnTo>
                    <a:pt x="444" y="31"/>
                  </a:lnTo>
                  <a:lnTo>
                    <a:pt x="446" y="31"/>
                  </a:lnTo>
                  <a:lnTo>
                    <a:pt x="446" y="31"/>
                  </a:lnTo>
                  <a:lnTo>
                    <a:pt x="449" y="33"/>
                  </a:lnTo>
                  <a:lnTo>
                    <a:pt x="449" y="33"/>
                  </a:lnTo>
                  <a:lnTo>
                    <a:pt x="449" y="31"/>
                  </a:lnTo>
                  <a:lnTo>
                    <a:pt x="449" y="31"/>
                  </a:lnTo>
                  <a:lnTo>
                    <a:pt x="449" y="29"/>
                  </a:lnTo>
                  <a:lnTo>
                    <a:pt x="446" y="29"/>
                  </a:lnTo>
                  <a:lnTo>
                    <a:pt x="446" y="29"/>
                  </a:lnTo>
                  <a:lnTo>
                    <a:pt x="444" y="27"/>
                  </a:lnTo>
                  <a:lnTo>
                    <a:pt x="444" y="27"/>
                  </a:lnTo>
                  <a:lnTo>
                    <a:pt x="444" y="27"/>
                  </a:lnTo>
                  <a:lnTo>
                    <a:pt x="444" y="25"/>
                  </a:lnTo>
                  <a:lnTo>
                    <a:pt x="446" y="25"/>
                  </a:lnTo>
                  <a:lnTo>
                    <a:pt x="446" y="25"/>
                  </a:lnTo>
                  <a:lnTo>
                    <a:pt x="446" y="25"/>
                  </a:lnTo>
                  <a:lnTo>
                    <a:pt x="446" y="23"/>
                  </a:lnTo>
                  <a:lnTo>
                    <a:pt x="446" y="21"/>
                  </a:lnTo>
                  <a:lnTo>
                    <a:pt x="446" y="21"/>
                  </a:lnTo>
                  <a:lnTo>
                    <a:pt x="444" y="19"/>
                  </a:lnTo>
                  <a:lnTo>
                    <a:pt x="444" y="19"/>
                  </a:lnTo>
                  <a:lnTo>
                    <a:pt x="444" y="17"/>
                  </a:lnTo>
                  <a:lnTo>
                    <a:pt x="444" y="15"/>
                  </a:lnTo>
                  <a:lnTo>
                    <a:pt x="444" y="11"/>
                  </a:lnTo>
                  <a:lnTo>
                    <a:pt x="442" y="8"/>
                  </a:lnTo>
                  <a:lnTo>
                    <a:pt x="442" y="6"/>
                  </a:lnTo>
                  <a:lnTo>
                    <a:pt x="442" y="6"/>
                  </a:lnTo>
                  <a:lnTo>
                    <a:pt x="444" y="6"/>
                  </a:lnTo>
                  <a:lnTo>
                    <a:pt x="444" y="6"/>
                  </a:lnTo>
                  <a:lnTo>
                    <a:pt x="444" y="4"/>
                  </a:lnTo>
                  <a:lnTo>
                    <a:pt x="444" y="4"/>
                  </a:lnTo>
                  <a:lnTo>
                    <a:pt x="444" y="2"/>
                  </a:lnTo>
                  <a:lnTo>
                    <a:pt x="442" y="0"/>
                  </a:lnTo>
                  <a:lnTo>
                    <a:pt x="442" y="0"/>
                  </a:lnTo>
                  <a:lnTo>
                    <a:pt x="440" y="0"/>
                  </a:lnTo>
                  <a:lnTo>
                    <a:pt x="432" y="2"/>
                  </a:lnTo>
                  <a:lnTo>
                    <a:pt x="424" y="4"/>
                  </a:lnTo>
                  <a:lnTo>
                    <a:pt x="418" y="6"/>
                  </a:lnTo>
                  <a:lnTo>
                    <a:pt x="410" y="8"/>
                  </a:lnTo>
                  <a:lnTo>
                    <a:pt x="401" y="11"/>
                  </a:lnTo>
                  <a:lnTo>
                    <a:pt x="393" y="13"/>
                  </a:lnTo>
                  <a:lnTo>
                    <a:pt x="387" y="15"/>
                  </a:lnTo>
                  <a:lnTo>
                    <a:pt x="379" y="17"/>
                  </a:lnTo>
                  <a:lnTo>
                    <a:pt x="371" y="19"/>
                  </a:lnTo>
                  <a:lnTo>
                    <a:pt x="362" y="21"/>
                  </a:lnTo>
                  <a:lnTo>
                    <a:pt x="356" y="21"/>
                  </a:lnTo>
                  <a:lnTo>
                    <a:pt x="348" y="23"/>
                  </a:lnTo>
                  <a:lnTo>
                    <a:pt x="340" y="25"/>
                  </a:lnTo>
                  <a:lnTo>
                    <a:pt x="340" y="25"/>
                  </a:lnTo>
                  <a:lnTo>
                    <a:pt x="338" y="27"/>
                  </a:lnTo>
                  <a:lnTo>
                    <a:pt x="328" y="27"/>
                  </a:lnTo>
                  <a:lnTo>
                    <a:pt x="326" y="27"/>
                  </a:lnTo>
                  <a:lnTo>
                    <a:pt x="324" y="29"/>
                  </a:lnTo>
                  <a:lnTo>
                    <a:pt x="322" y="31"/>
                  </a:lnTo>
                  <a:lnTo>
                    <a:pt x="317" y="33"/>
                  </a:lnTo>
                  <a:lnTo>
                    <a:pt x="317" y="35"/>
                  </a:lnTo>
                  <a:lnTo>
                    <a:pt x="313" y="37"/>
                  </a:lnTo>
                  <a:lnTo>
                    <a:pt x="313" y="39"/>
                  </a:lnTo>
                  <a:lnTo>
                    <a:pt x="309" y="41"/>
                  </a:lnTo>
                  <a:lnTo>
                    <a:pt x="299" y="49"/>
                  </a:lnTo>
                  <a:lnTo>
                    <a:pt x="295" y="56"/>
                  </a:lnTo>
                  <a:lnTo>
                    <a:pt x="289" y="66"/>
                  </a:lnTo>
                  <a:lnTo>
                    <a:pt x="281" y="76"/>
                  </a:lnTo>
                  <a:lnTo>
                    <a:pt x="272" y="86"/>
                  </a:lnTo>
                  <a:lnTo>
                    <a:pt x="270" y="92"/>
                  </a:lnTo>
                  <a:lnTo>
                    <a:pt x="268" y="97"/>
                  </a:lnTo>
                  <a:lnTo>
                    <a:pt x="268" y="97"/>
                  </a:lnTo>
                  <a:lnTo>
                    <a:pt x="268" y="97"/>
                  </a:lnTo>
                  <a:lnTo>
                    <a:pt x="268" y="97"/>
                  </a:lnTo>
                  <a:lnTo>
                    <a:pt x="270" y="99"/>
                  </a:lnTo>
                  <a:lnTo>
                    <a:pt x="270" y="101"/>
                  </a:lnTo>
                  <a:lnTo>
                    <a:pt x="270" y="103"/>
                  </a:lnTo>
                  <a:lnTo>
                    <a:pt x="266" y="107"/>
                  </a:lnTo>
                  <a:lnTo>
                    <a:pt x="266" y="107"/>
                  </a:lnTo>
                  <a:lnTo>
                    <a:pt x="266" y="107"/>
                  </a:lnTo>
                  <a:lnTo>
                    <a:pt x="266" y="109"/>
                  </a:lnTo>
                  <a:lnTo>
                    <a:pt x="266" y="109"/>
                  </a:lnTo>
                  <a:lnTo>
                    <a:pt x="264" y="109"/>
                  </a:lnTo>
                  <a:lnTo>
                    <a:pt x="262" y="111"/>
                  </a:lnTo>
                  <a:lnTo>
                    <a:pt x="260" y="113"/>
                  </a:lnTo>
                  <a:lnTo>
                    <a:pt x="260" y="113"/>
                  </a:lnTo>
                  <a:lnTo>
                    <a:pt x="252" y="123"/>
                  </a:lnTo>
                  <a:lnTo>
                    <a:pt x="244" y="131"/>
                  </a:lnTo>
                  <a:lnTo>
                    <a:pt x="231" y="144"/>
                  </a:lnTo>
                  <a:lnTo>
                    <a:pt x="231" y="144"/>
                  </a:lnTo>
                  <a:lnTo>
                    <a:pt x="231" y="148"/>
                  </a:lnTo>
                  <a:lnTo>
                    <a:pt x="233" y="148"/>
                  </a:lnTo>
                  <a:lnTo>
                    <a:pt x="236" y="148"/>
                  </a:lnTo>
                  <a:lnTo>
                    <a:pt x="236" y="148"/>
                  </a:lnTo>
                  <a:lnTo>
                    <a:pt x="238" y="150"/>
                  </a:lnTo>
                  <a:lnTo>
                    <a:pt x="238" y="150"/>
                  </a:lnTo>
                  <a:lnTo>
                    <a:pt x="238" y="152"/>
                  </a:lnTo>
                  <a:lnTo>
                    <a:pt x="238" y="152"/>
                  </a:lnTo>
                  <a:lnTo>
                    <a:pt x="238" y="152"/>
                  </a:lnTo>
                  <a:lnTo>
                    <a:pt x="240" y="152"/>
                  </a:lnTo>
                  <a:lnTo>
                    <a:pt x="240" y="152"/>
                  </a:lnTo>
                  <a:lnTo>
                    <a:pt x="240" y="150"/>
                  </a:lnTo>
                  <a:lnTo>
                    <a:pt x="240" y="148"/>
                  </a:lnTo>
                  <a:lnTo>
                    <a:pt x="244" y="146"/>
                  </a:lnTo>
                  <a:lnTo>
                    <a:pt x="246" y="146"/>
                  </a:lnTo>
                  <a:lnTo>
                    <a:pt x="248" y="146"/>
                  </a:lnTo>
                  <a:lnTo>
                    <a:pt x="250" y="146"/>
                  </a:lnTo>
                  <a:lnTo>
                    <a:pt x="250" y="148"/>
                  </a:lnTo>
                  <a:lnTo>
                    <a:pt x="250" y="148"/>
                  </a:lnTo>
                  <a:lnTo>
                    <a:pt x="250" y="148"/>
                  </a:lnTo>
                  <a:lnTo>
                    <a:pt x="250" y="148"/>
                  </a:lnTo>
                  <a:lnTo>
                    <a:pt x="250" y="148"/>
                  </a:lnTo>
                  <a:lnTo>
                    <a:pt x="250" y="148"/>
                  </a:lnTo>
                  <a:lnTo>
                    <a:pt x="252" y="146"/>
                  </a:lnTo>
                  <a:lnTo>
                    <a:pt x="252" y="148"/>
                  </a:lnTo>
                  <a:lnTo>
                    <a:pt x="250" y="150"/>
                  </a:lnTo>
                  <a:lnTo>
                    <a:pt x="250" y="152"/>
                  </a:lnTo>
                  <a:lnTo>
                    <a:pt x="248" y="152"/>
                  </a:lnTo>
                  <a:lnTo>
                    <a:pt x="246" y="154"/>
                  </a:lnTo>
                  <a:lnTo>
                    <a:pt x="246" y="156"/>
                  </a:lnTo>
                  <a:lnTo>
                    <a:pt x="246" y="156"/>
                  </a:lnTo>
                  <a:lnTo>
                    <a:pt x="252" y="154"/>
                  </a:lnTo>
                  <a:lnTo>
                    <a:pt x="254" y="154"/>
                  </a:lnTo>
                  <a:lnTo>
                    <a:pt x="254" y="152"/>
                  </a:lnTo>
                  <a:lnTo>
                    <a:pt x="256" y="150"/>
                  </a:lnTo>
                  <a:lnTo>
                    <a:pt x="258" y="150"/>
                  </a:lnTo>
                  <a:lnTo>
                    <a:pt x="258" y="152"/>
                  </a:lnTo>
                  <a:lnTo>
                    <a:pt x="258" y="152"/>
                  </a:lnTo>
                  <a:lnTo>
                    <a:pt x="258" y="154"/>
                  </a:lnTo>
                  <a:lnTo>
                    <a:pt x="256" y="156"/>
                  </a:lnTo>
                  <a:lnTo>
                    <a:pt x="254" y="156"/>
                  </a:lnTo>
                  <a:lnTo>
                    <a:pt x="254" y="158"/>
                  </a:lnTo>
                  <a:lnTo>
                    <a:pt x="252" y="158"/>
                  </a:lnTo>
                  <a:lnTo>
                    <a:pt x="254" y="160"/>
                  </a:lnTo>
                  <a:lnTo>
                    <a:pt x="254" y="162"/>
                  </a:lnTo>
                  <a:lnTo>
                    <a:pt x="252" y="164"/>
                  </a:lnTo>
                  <a:lnTo>
                    <a:pt x="250" y="166"/>
                  </a:lnTo>
                  <a:lnTo>
                    <a:pt x="248" y="168"/>
                  </a:lnTo>
                  <a:lnTo>
                    <a:pt x="246" y="168"/>
                  </a:lnTo>
                  <a:lnTo>
                    <a:pt x="246" y="166"/>
                  </a:lnTo>
                  <a:lnTo>
                    <a:pt x="248" y="164"/>
                  </a:lnTo>
                  <a:lnTo>
                    <a:pt x="244" y="166"/>
                  </a:lnTo>
                  <a:lnTo>
                    <a:pt x="242" y="168"/>
                  </a:lnTo>
                  <a:lnTo>
                    <a:pt x="242" y="170"/>
                  </a:lnTo>
                  <a:lnTo>
                    <a:pt x="242" y="170"/>
                  </a:lnTo>
                  <a:lnTo>
                    <a:pt x="244" y="170"/>
                  </a:lnTo>
                  <a:lnTo>
                    <a:pt x="246" y="172"/>
                  </a:lnTo>
                  <a:lnTo>
                    <a:pt x="246" y="172"/>
                  </a:lnTo>
                  <a:lnTo>
                    <a:pt x="248" y="172"/>
                  </a:lnTo>
                  <a:lnTo>
                    <a:pt x="248" y="172"/>
                  </a:lnTo>
                  <a:lnTo>
                    <a:pt x="248" y="174"/>
                  </a:lnTo>
                  <a:lnTo>
                    <a:pt x="248" y="174"/>
                  </a:lnTo>
                  <a:lnTo>
                    <a:pt x="248" y="174"/>
                  </a:lnTo>
                  <a:lnTo>
                    <a:pt x="250" y="177"/>
                  </a:lnTo>
                  <a:lnTo>
                    <a:pt x="252" y="181"/>
                  </a:lnTo>
                  <a:lnTo>
                    <a:pt x="252" y="181"/>
                  </a:lnTo>
                  <a:lnTo>
                    <a:pt x="252" y="183"/>
                  </a:lnTo>
                  <a:lnTo>
                    <a:pt x="252" y="185"/>
                  </a:lnTo>
                  <a:lnTo>
                    <a:pt x="254" y="189"/>
                  </a:lnTo>
                  <a:lnTo>
                    <a:pt x="254" y="191"/>
                  </a:lnTo>
                  <a:lnTo>
                    <a:pt x="254" y="189"/>
                  </a:lnTo>
                  <a:lnTo>
                    <a:pt x="254" y="187"/>
                  </a:lnTo>
                  <a:lnTo>
                    <a:pt x="256" y="187"/>
                  </a:lnTo>
                  <a:lnTo>
                    <a:pt x="256" y="187"/>
                  </a:lnTo>
                  <a:lnTo>
                    <a:pt x="254" y="193"/>
                  </a:lnTo>
                  <a:lnTo>
                    <a:pt x="254" y="195"/>
                  </a:lnTo>
                  <a:lnTo>
                    <a:pt x="258" y="197"/>
                  </a:lnTo>
                  <a:lnTo>
                    <a:pt x="256" y="197"/>
                  </a:lnTo>
                  <a:lnTo>
                    <a:pt x="254" y="203"/>
                  </a:lnTo>
                  <a:lnTo>
                    <a:pt x="252" y="203"/>
                  </a:lnTo>
                  <a:lnTo>
                    <a:pt x="248" y="205"/>
                  </a:lnTo>
                  <a:lnTo>
                    <a:pt x="246" y="205"/>
                  </a:lnTo>
                  <a:lnTo>
                    <a:pt x="242" y="205"/>
                  </a:lnTo>
                  <a:lnTo>
                    <a:pt x="240" y="205"/>
                  </a:lnTo>
                  <a:lnTo>
                    <a:pt x="238" y="211"/>
                  </a:lnTo>
                  <a:lnTo>
                    <a:pt x="236" y="211"/>
                  </a:lnTo>
                  <a:lnTo>
                    <a:pt x="227" y="217"/>
                  </a:lnTo>
                  <a:lnTo>
                    <a:pt x="225" y="220"/>
                  </a:lnTo>
                  <a:lnTo>
                    <a:pt x="223" y="224"/>
                  </a:lnTo>
                  <a:lnTo>
                    <a:pt x="221" y="230"/>
                  </a:lnTo>
                  <a:lnTo>
                    <a:pt x="219" y="230"/>
                  </a:lnTo>
                  <a:lnTo>
                    <a:pt x="217" y="230"/>
                  </a:lnTo>
                  <a:lnTo>
                    <a:pt x="217" y="232"/>
                  </a:lnTo>
                  <a:lnTo>
                    <a:pt x="217" y="232"/>
                  </a:lnTo>
                  <a:lnTo>
                    <a:pt x="213" y="234"/>
                  </a:lnTo>
                  <a:lnTo>
                    <a:pt x="205" y="238"/>
                  </a:lnTo>
                  <a:lnTo>
                    <a:pt x="205" y="238"/>
                  </a:lnTo>
                  <a:lnTo>
                    <a:pt x="205" y="240"/>
                  </a:lnTo>
                  <a:lnTo>
                    <a:pt x="205" y="240"/>
                  </a:lnTo>
                  <a:lnTo>
                    <a:pt x="205" y="240"/>
                  </a:lnTo>
                  <a:lnTo>
                    <a:pt x="205" y="242"/>
                  </a:lnTo>
                  <a:lnTo>
                    <a:pt x="205" y="242"/>
                  </a:lnTo>
                  <a:lnTo>
                    <a:pt x="205" y="242"/>
                  </a:lnTo>
                  <a:lnTo>
                    <a:pt x="205" y="242"/>
                  </a:lnTo>
                  <a:lnTo>
                    <a:pt x="205" y="244"/>
                  </a:lnTo>
                  <a:lnTo>
                    <a:pt x="203" y="244"/>
                  </a:lnTo>
                  <a:lnTo>
                    <a:pt x="203" y="244"/>
                  </a:lnTo>
                  <a:lnTo>
                    <a:pt x="201" y="242"/>
                  </a:lnTo>
                  <a:lnTo>
                    <a:pt x="201" y="242"/>
                  </a:lnTo>
                  <a:lnTo>
                    <a:pt x="201" y="242"/>
                  </a:lnTo>
                  <a:lnTo>
                    <a:pt x="201" y="240"/>
                  </a:lnTo>
                  <a:lnTo>
                    <a:pt x="170" y="246"/>
                  </a:lnTo>
                  <a:lnTo>
                    <a:pt x="168" y="248"/>
                  </a:lnTo>
                  <a:lnTo>
                    <a:pt x="158" y="252"/>
                  </a:lnTo>
                  <a:lnTo>
                    <a:pt x="154" y="254"/>
                  </a:lnTo>
                  <a:lnTo>
                    <a:pt x="152" y="252"/>
                  </a:lnTo>
                  <a:lnTo>
                    <a:pt x="143" y="248"/>
                  </a:lnTo>
                  <a:lnTo>
                    <a:pt x="143" y="248"/>
                  </a:lnTo>
                  <a:lnTo>
                    <a:pt x="141" y="248"/>
                  </a:lnTo>
                  <a:lnTo>
                    <a:pt x="141" y="248"/>
                  </a:lnTo>
                  <a:lnTo>
                    <a:pt x="139" y="246"/>
                  </a:lnTo>
                  <a:lnTo>
                    <a:pt x="111" y="248"/>
                  </a:lnTo>
                  <a:lnTo>
                    <a:pt x="100" y="250"/>
                  </a:lnTo>
                  <a:lnTo>
                    <a:pt x="88" y="252"/>
                  </a:lnTo>
                  <a:lnTo>
                    <a:pt x="66" y="261"/>
                  </a:lnTo>
                  <a:lnTo>
                    <a:pt x="59" y="265"/>
                  </a:lnTo>
                  <a:lnTo>
                    <a:pt x="51" y="267"/>
                  </a:lnTo>
                  <a:lnTo>
                    <a:pt x="43" y="273"/>
                  </a:lnTo>
                  <a:lnTo>
                    <a:pt x="37" y="275"/>
                  </a:lnTo>
                  <a:lnTo>
                    <a:pt x="39" y="277"/>
                  </a:lnTo>
                  <a:lnTo>
                    <a:pt x="41" y="285"/>
                  </a:lnTo>
                  <a:lnTo>
                    <a:pt x="41" y="287"/>
                  </a:lnTo>
                  <a:lnTo>
                    <a:pt x="41" y="287"/>
                  </a:lnTo>
                  <a:lnTo>
                    <a:pt x="41" y="289"/>
                  </a:lnTo>
                  <a:lnTo>
                    <a:pt x="39" y="289"/>
                  </a:lnTo>
                  <a:lnTo>
                    <a:pt x="39" y="291"/>
                  </a:lnTo>
                  <a:lnTo>
                    <a:pt x="41" y="293"/>
                  </a:lnTo>
                  <a:lnTo>
                    <a:pt x="41" y="293"/>
                  </a:lnTo>
                  <a:lnTo>
                    <a:pt x="43" y="293"/>
                  </a:lnTo>
                  <a:lnTo>
                    <a:pt x="53" y="293"/>
                  </a:lnTo>
                  <a:lnTo>
                    <a:pt x="55" y="295"/>
                  </a:lnTo>
                  <a:lnTo>
                    <a:pt x="55" y="297"/>
                  </a:lnTo>
                  <a:lnTo>
                    <a:pt x="53" y="302"/>
                  </a:lnTo>
                  <a:lnTo>
                    <a:pt x="53" y="304"/>
                  </a:lnTo>
                  <a:lnTo>
                    <a:pt x="53" y="304"/>
                  </a:lnTo>
                  <a:lnTo>
                    <a:pt x="55" y="306"/>
                  </a:lnTo>
                  <a:lnTo>
                    <a:pt x="55" y="306"/>
                  </a:lnTo>
                  <a:lnTo>
                    <a:pt x="57" y="310"/>
                  </a:lnTo>
                  <a:lnTo>
                    <a:pt x="57" y="312"/>
                  </a:lnTo>
                  <a:lnTo>
                    <a:pt x="59" y="314"/>
                  </a:lnTo>
                  <a:lnTo>
                    <a:pt x="61" y="316"/>
                  </a:lnTo>
                  <a:lnTo>
                    <a:pt x="61" y="316"/>
                  </a:lnTo>
                  <a:lnTo>
                    <a:pt x="61" y="318"/>
                  </a:lnTo>
                  <a:lnTo>
                    <a:pt x="61" y="322"/>
                  </a:lnTo>
                  <a:lnTo>
                    <a:pt x="61" y="324"/>
                  </a:lnTo>
                  <a:lnTo>
                    <a:pt x="59" y="324"/>
                  </a:lnTo>
                  <a:lnTo>
                    <a:pt x="59" y="326"/>
                  </a:lnTo>
                  <a:lnTo>
                    <a:pt x="53" y="330"/>
                  </a:lnTo>
                  <a:lnTo>
                    <a:pt x="51" y="332"/>
                  </a:lnTo>
                  <a:lnTo>
                    <a:pt x="49" y="336"/>
                  </a:lnTo>
                  <a:lnTo>
                    <a:pt x="47" y="340"/>
                  </a:lnTo>
                  <a:lnTo>
                    <a:pt x="47" y="342"/>
                  </a:lnTo>
                  <a:lnTo>
                    <a:pt x="45" y="342"/>
                  </a:lnTo>
                  <a:lnTo>
                    <a:pt x="45" y="342"/>
                  </a:lnTo>
                  <a:lnTo>
                    <a:pt x="45" y="347"/>
                  </a:lnTo>
                  <a:lnTo>
                    <a:pt x="43" y="349"/>
                  </a:lnTo>
                  <a:lnTo>
                    <a:pt x="43" y="349"/>
                  </a:lnTo>
                  <a:lnTo>
                    <a:pt x="43" y="349"/>
                  </a:lnTo>
                  <a:lnTo>
                    <a:pt x="37" y="353"/>
                  </a:lnTo>
                  <a:lnTo>
                    <a:pt x="37" y="355"/>
                  </a:lnTo>
                  <a:lnTo>
                    <a:pt x="33" y="359"/>
                  </a:lnTo>
                  <a:lnTo>
                    <a:pt x="29" y="361"/>
                  </a:lnTo>
                  <a:lnTo>
                    <a:pt x="29" y="361"/>
                  </a:lnTo>
                  <a:lnTo>
                    <a:pt x="27" y="361"/>
                  </a:lnTo>
                  <a:lnTo>
                    <a:pt x="27" y="363"/>
                  </a:lnTo>
                  <a:lnTo>
                    <a:pt x="27" y="363"/>
                  </a:lnTo>
                  <a:lnTo>
                    <a:pt x="25" y="365"/>
                  </a:lnTo>
                  <a:lnTo>
                    <a:pt x="20" y="371"/>
                  </a:lnTo>
                  <a:lnTo>
                    <a:pt x="18" y="375"/>
                  </a:lnTo>
                  <a:lnTo>
                    <a:pt x="16" y="375"/>
                  </a:lnTo>
                  <a:lnTo>
                    <a:pt x="14" y="377"/>
                  </a:lnTo>
                  <a:lnTo>
                    <a:pt x="10" y="381"/>
                  </a:lnTo>
                  <a:lnTo>
                    <a:pt x="4" y="386"/>
                  </a:lnTo>
                  <a:lnTo>
                    <a:pt x="2" y="388"/>
                  </a:lnTo>
                  <a:lnTo>
                    <a:pt x="2" y="390"/>
                  </a:lnTo>
                  <a:lnTo>
                    <a:pt x="0" y="390"/>
                  </a:lnTo>
                  <a:lnTo>
                    <a:pt x="0" y="390"/>
                  </a:lnTo>
                  <a:lnTo>
                    <a:pt x="2" y="394"/>
                  </a:lnTo>
                  <a:lnTo>
                    <a:pt x="2" y="396"/>
                  </a:lnTo>
                  <a:lnTo>
                    <a:pt x="2" y="400"/>
                  </a:lnTo>
                  <a:lnTo>
                    <a:pt x="2" y="402"/>
                  </a:lnTo>
                  <a:lnTo>
                    <a:pt x="4" y="406"/>
                  </a:lnTo>
                  <a:lnTo>
                    <a:pt x="4" y="408"/>
                  </a:lnTo>
                  <a:lnTo>
                    <a:pt x="4" y="412"/>
                  </a:lnTo>
                  <a:lnTo>
                    <a:pt x="6" y="414"/>
                  </a:lnTo>
                  <a:lnTo>
                    <a:pt x="6" y="418"/>
                  </a:lnTo>
                  <a:lnTo>
                    <a:pt x="8" y="418"/>
                  </a:lnTo>
                  <a:lnTo>
                    <a:pt x="20" y="416"/>
                  </a:lnTo>
                  <a:lnTo>
                    <a:pt x="31" y="414"/>
                  </a:lnTo>
                  <a:lnTo>
                    <a:pt x="41" y="412"/>
                  </a:lnTo>
                  <a:lnTo>
                    <a:pt x="53" y="410"/>
                  </a:lnTo>
                  <a:lnTo>
                    <a:pt x="63" y="408"/>
                  </a:lnTo>
                  <a:lnTo>
                    <a:pt x="74" y="406"/>
                  </a:lnTo>
                  <a:lnTo>
                    <a:pt x="86" y="404"/>
                  </a:lnTo>
                  <a:lnTo>
                    <a:pt x="96" y="400"/>
                  </a:lnTo>
                  <a:lnTo>
                    <a:pt x="106" y="398"/>
                  </a:lnTo>
                  <a:lnTo>
                    <a:pt x="119" y="396"/>
                  </a:lnTo>
                  <a:lnTo>
                    <a:pt x="129" y="394"/>
                  </a:lnTo>
                  <a:lnTo>
                    <a:pt x="139" y="392"/>
                  </a:lnTo>
                  <a:lnTo>
                    <a:pt x="152" y="390"/>
                  </a:lnTo>
                  <a:lnTo>
                    <a:pt x="162" y="388"/>
                  </a:lnTo>
                  <a:lnTo>
                    <a:pt x="172" y="386"/>
                  </a:lnTo>
                  <a:lnTo>
                    <a:pt x="184" y="383"/>
                  </a:lnTo>
                  <a:lnTo>
                    <a:pt x="195" y="381"/>
                  </a:lnTo>
                  <a:lnTo>
                    <a:pt x="205" y="379"/>
                  </a:lnTo>
                  <a:lnTo>
                    <a:pt x="217" y="377"/>
                  </a:lnTo>
                  <a:lnTo>
                    <a:pt x="227" y="375"/>
                  </a:lnTo>
                  <a:lnTo>
                    <a:pt x="238" y="371"/>
                  </a:lnTo>
                  <a:lnTo>
                    <a:pt x="250" y="369"/>
                  </a:lnTo>
                  <a:lnTo>
                    <a:pt x="260" y="367"/>
                  </a:lnTo>
                  <a:lnTo>
                    <a:pt x="270" y="365"/>
                  </a:lnTo>
                  <a:lnTo>
                    <a:pt x="283" y="363"/>
                  </a:lnTo>
                  <a:lnTo>
                    <a:pt x="293" y="361"/>
                  </a:lnTo>
                  <a:lnTo>
                    <a:pt x="303" y="359"/>
                  </a:lnTo>
                  <a:lnTo>
                    <a:pt x="315" y="355"/>
                  </a:lnTo>
                  <a:lnTo>
                    <a:pt x="326" y="353"/>
                  </a:lnTo>
                  <a:lnTo>
                    <a:pt x="336" y="351"/>
                  </a:lnTo>
                  <a:lnTo>
                    <a:pt x="348" y="349"/>
                  </a:lnTo>
                  <a:lnTo>
                    <a:pt x="358" y="347"/>
                  </a:lnTo>
                  <a:lnTo>
                    <a:pt x="360" y="345"/>
                  </a:lnTo>
                  <a:lnTo>
                    <a:pt x="360" y="345"/>
                  </a:lnTo>
                  <a:lnTo>
                    <a:pt x="360" y="347"/>
                  </a:lnTo>
                  <a:lnTo>
                    <a:pt x="362" y="349"/>
                  </a:lnTo>
                  <a:lnTo>
                    <a:pt x="367" y="349"/>
                  </a:lnTo>
                  <a:lnTo>
                    <a:pt x="369" y="349"/>
                  </a:lnTo>
                  <a:lnTo>
                    <a:pt x="369" y="351"/>
                  </a:lnTo>
                  <a:lnTo>
                    <a:pt x="371" y="353"/>
                  </a:lnTo>
                  <a:lnTo>
                    <a:pt x="371" y="355"/>
                  </a:lnTo>
                  <a:lnTo>
                    <a:pt x="373" y="357"/>
                  </a:lnTo>
                  <a:lnTo>
                    <a:pt x="377" y="355"/>
                  </a:lnTo>
                  <a:lnTo>
                    <a:pt x="377" y="355"/>
                  </a:lnTo>
                  <a:lnTo>
                    <a:pt x="379" y="355"/>
                  </a:lnTo>
                  <a:lnTo>
                    <a:pt x="383" y="357"/>
                  </a:lnTo>
                  <a:lnTo>
                    <a:pt x="383" y="357"/>
                  </a:lnTo>
                  <a:lnTo>
                    <a:pt x="385" y="357"/>
                  </a:lnTo>
                  <a:lnTo>
                    <a:pt x="385" y="359"/>
                  </a:lnTo>
                  <a:lnTo>
                    <a:pt x="385" y="359"/>
                  </a:lnTo>
                  <a:lnTo>
                    <a:pt x="385" y="361"/>
                  </a:lnTo>
                  <a:lnTo>
                    <a:pt x="385" y="363"/>
                  </a:lnTo>
                  <a:lnTo>
                    <a:pt x="387" y="363"/>
                  </a:lnTo>
                  <a:lnTo>
                    <a:pt x="389" y="363"/>
                  </a:lnTo>
                  <a:lnTo>
                    <a:pt x="389" y="365"/>
                  </a:lnTo>
                  <a:lnTo>
                    <a:pt x="389" y="367"/>
                  </a:lnTo>
                  <a:lnTo>
                    <a:pt x="389" y="367"/>
                  </a:lnTo>
                  <a:lnTo>
                    <a:pt x="389" y="369"/>
                  </a:lnTo>
                  <a:lnTo>
                    <a:pt x="391" y="371"/>
                  </a:lnTo>
                  <a:lnTo>
                    <a:pt x="391" y="375"/>
                  </a:lnTo>
                  <a:lnTo>
                    <a:pt x="391" y="379"/>
                  </a:lnTo>
                  <a:lnTo>
                    <a:pt x="393" y="381"/>
                  </a:lnTo>
                  <a:lnTo>
                    <a:pt x="393" y="381"/>
                  </a:lnTo>
                  <a:lnTo>
                    <a:pt x="399" y="390"/>
                  </a:lnTo>
                  <a:lnTo>
                    <a:pt x="401" y="390"/>
                  </a:lnTo>
                  <a:lnTo>
                    <a:pt x="403" y="392"/>
                  </a:lnTo>
                  <a:lnTo>
                    <a:pt x="405" y="392"/>
                  </a:lnTo>
                  <a:lnTo>
                    <a:pt x="408" y="392"/>
                  </a:lnTo>
                  <a:lnTo>
                    <a:pt x="410" y="394"/>
                  </a:lnTo>
                  <a:lnTo>
                    <a:pt x="410" y="394"/>
                  </a:lnTo>
                  <a:lnTo>
                    <a:pt x="412" y="394"/>
                  </a:lnTo>
                  <a:lnTo>
                    <a:pt x="416" y="392"/>
                  </a:lnTo>
                  <a:lnTo>
                    <a:pt x="418" y="394"/>
                  </a:lnTo>
                  <a:lnTo>
                    <a:pt x="420" y="394"/>
                  </a:lnTo>
                  <a:lnTo>
                    <a:pt x="420" y="394"/>
                  </a:lnTo>
                  <a:lnTo>
                    <a:pt x="420" y="394"/>
                  </a:lnTo>
                  <a:lnTo>
                    <a:pt x="422" y="392"/>
                  </a:lnTo>
                  <a:lnTo>
                    <a:pt x="422" y="394"/>
                  </a:lnTo>
                  <a:lnTo>
                    <a:pt x="422" y="394"/>
                  </a:lnTo>
                  <a:lnTo>
                    <a:pt x="424" y="396"/>
                  </a:lnTo>
                  <a:lnTo>
                    <a:pt x="424" y="396"/>
                  </a:lnTo>
                  <a:lnTo>
                    <a:pt x="426" y="398"/>
                  </a:lnTo>
                  <a:lnTo>
                    <a:pt x="428" y="400"/>
                  </a:lnTo>
                  <a:lnTo>
                    <a:pt x="436" y="402"/>
                  </a:lnTo>
                  <a:lnTo>
                    <a:pt x="444" y="406"/>
                  </a:lnTo>
                  <a:lnTo>
                    <a:pt x="455" y="408"/>
                  </a:lnTo>
                  <a:lnTo>
                    <a:pt x="463" y="412"/>
                  </a:lnTo>
                  <a:lnTo>
                    <a:pt x="473" y="414"/>
                  </a:lnTo>
                  <a:lnTo>
                    <a:pt x="481" y="416"/>
                  </a:lnTo>
                  <a:lnTo>
                    <a:pt x="492" y="420"/>
                  </a:lnTo>
                  <a:lnTo>
                    <a:pt x="500" y="422"/>
                  </a:lnTo>
                  <a:close/>
                  <a:moveTo>
                    <a:pt x="45" y="302"/>
                  </a:moveTo>
                  <a:lnTo>
                    <a:pt x="47" y="302"/>
                  </a:lnTo>
                  <a:lnTo>
                    <a:pt x="47" y="304"/>
                  </a:lnTo>
                  <a:lnTo>
                    <a:pt x="49" y="304"/>
                  </a:lnTo>
                  <a:lnTo>
                    <a:pt x="51" y="304"/>
                  </a:lnTo>
                  <a:lnTo>
                    <a:pt x="53" y="297"/>
                  </a:lnTo>
                  <a:lnTo>
                    <a:pt x="53" y="295"/>
                  </a:lnTo>
                  <a:lnTo>
                    <a:pt x="53" y="295"/>
                  </a:lnTo>
                  <a:lnTo>
                    <a:pt x="51" y="295"/>
                  </a:lnTo>
                  <a:lnTo>
                    <a:pt x="49" y="295"/>
                  </a:lnTo>
                  <a:lnTo>
                    <a:pt x="47" y="295"/>
                  </a:lnTo>
                  <a:lnTo>
                    <a:pt x="47" y="295"/>
                  </a:lnTo>
                  <a:lnTo>
                    <a:pt x="45" y="295"/>
                  </a:lnTo>
                  <a:lnTo>
                    <a:pt x="45" y="297"/>
                  </a:lnTo>
                  <a:lnTo>
                    <a:pt x="45" y="302"/>
                  </a:lnTo>
                  <a:lnTo>
                    <a:pt x="45" y="30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Y</a:t>
              </a:r>
            </a:p>
          </p:txBody>
        </p:sp>
        <p:sp>
          <p:nvSpPr>
            <p:cNvPr id="262" name="Freeform 24">
              <a:extLst>
                <a:ext uri="{FF2B5EF4-FFF2-40B4-BE49-F238E27FC236}">
                  <a16:creationId xmlns:a16="http://schemas.microsoft.com/office/drawing/2014/main" id="{64FE8066-973F-F25A-3A4B-84232AF945D9}"/>
                </a:ext>
              </a:extLst>
            </p:cNvPr>
            <p:cNvSpPr>
              <a:spLocks noEditPoints="1"/>
            </p:cNvSpPr>
            <p:nvPr/>
          </p:nvSpPr>
          <p:spPr bwMode="auto">
            <a:xfrm>
              <a:off x="4767" y="740"/>
              <a:ext cx="117" cy="258"/>
            </a:xfrm>
            <a:custGeom>
              <a:avLst/>
              <a:gdLst>
                <a:gd name="T0" fmla="*/ 99 w 117"/>
                <a:gd name="T1" fmla="*/ 197 h 258"/>
                <a:gd name="T2" fmla="*/ 105 w 117"/>
                <a:gd name="T3" fmla="*/ 190 h 258"/>
                <a:gd name="T4" fmla="*/ 115 w 117"/>
                <a:gd name="T5" fmla="*/ 156 h 258"/>
                <a:gd name="T6" fmla="*/ 109 w 117"/>
                <a:gd name="T7" fmla="*/ 182 h 258"/>
                <a:gd name="T8" fmla="*/ 115 w 117"/>
                <a:gd name="T9" fmla="*/ 156 h 258"/>
                <a:gd name="T10" fmla="*/ 115 w 117"/>
                <a:gd name="T11" fmla="*/ 121 h 258"/>
                <a:gd name="T12" fmla="*/ 115 w 117"/>
                <a:gd name="T13" fmla="*/ 98 h 258"/>
                <a:gd name="T14" fmla="*/ 109 w 117"/>
                <a:gd name="T15" fmla="*/ 84 h 258"/>
                <a:gd name="T16" fmla="*/ 90 w 117"/>
                <a:gd name="T17" fmla="*/ 86 h 258"/>
                <a:gd name="T18" fmla="*/ 84 w 117"/>
                <a:gd name="T19" fmla="*/ 76 h 258"/>
                <a:gd name="T20" fmla="*/ 86 w 117"/>
                <a:gd name="T21" fmla="*/ 63 h 258"/>
                <a:gd name="T22" fmla="*/ 90 w 117"/>
                <a:gd name="T23" fmla="*/ 55 h 258"/>
                <a:gd name="T24" fmla="*/ 97 w 117"/>
                <a:gd name="T25" fmla="*/ 55 h 258"/>
                <a:gd name="T26" fmla="*/ 99 w 117"/>
                <a:gd name="T27" fmla="*/ 43 h 258"/>
                <a:gd name="T28" fmla="*/ 74 w 117"/>
                <a:gd name="T29" fmla="*/ 14 h 258"/>
                <a:gd name="T30" fmla="*/ 27 w 117"/>
                <a:gd name="T31" fmla="*/ 2 h 258"/>
                <a:gd name="T32" fmla="*/ 23 w 117"/>
                <a:gd name="T33" fmla="*/ 6 h 258"/>
                <a:gd name="T34" fmla="*/ 15 w 117"/>
                <a:gd name="T35" fmla="*/ 29 h 258"/>
                <a:gd name="T36" fmla="*/ 13 w 117"/>
                <a:gd name="T37" fmla="*/ 33 h 258"/>
                <a:gd name="T38" fmla="*/ 2 w 117"/>
                <a:gd name="T39" fmla="*/ 45 h 258"/>
                <a:gd name="T40" fmla="*/ 4 w 117"/>
                <a:gd name="T41" fmla="*/ 51 h 258"/>
                <a:gd name="T42" fmla="*/ 9 w 117"/>
                <a:gd name="T43" fmla="*/ 53 h 258"/>
                <a:gd name="T44" fmla="*/ 9 w 117"/>
                <a:gd name="T45" fmla="*/ 65 h 258"/>
                <a:gd name="T46" fmla="*/ 2 w 117"/>
                <a:gd name="T47" fmla="*/ 72 h 258"/>
                <a:gd name="T48" fmla="*/ 4 w 117"/>
                <a:gd name="T49" fmla="*/ 80 h 258"/>
                <a:gd name="T50" fmla="*/ 9 w 117"/>
                <a:gd name="T51" fmla="*/ 90 h 258"/>
                <a:gd name="T52" fmla="*/ 23 w 117"/>
                <a:gd name="T53" fmla="*/ 104 h 258"/>
                <a:gd name="T54" fmla="*/ 39 w 117"/>
                <a:gd name="T55" fmla="*/ 113 h 258"/>
                <a:gd name="T56" fmla="*/ 52 w 117"/>
                <a:gd name="T57" fmla="*/ 129 h 258"/>
                <a:gd name="T58" fmla="*/ 39 w 117"/>
                <a:gd name="T59" fmla="*/ 137 h 258"/>
                <a:gd name="T60" fmla="*/ 29 w 117"/>
                <a:gd name="T61" fmla="*/ 154 h 258"/>
                <a:gd name="T62" fmla="*/ 27 w 117"/>
                <a:gd name="T63" fmla="*/ 162 h 258"/>
                <a:gd name="T64" fmla="*/ 21 w 117"/>
                <a:gd name="T65" fmla="*/ 166 h 258"/>
                <a:gd name="T66" fmla="*/ 4 w 117"/>
                <a:gd name="T67" fmla="*/ 184 h 258"/>
                <a:gd name="T68" fmla="*/ 2 w 117"/>
                <a:gd name="T69" fmla="*/ 190 h 258"/>
                <a:gd name="T70" fmla="*/ 4 w 117"/>
                <a:gd name="T71" fmla="*/ 201 h 258"/>
                <a:gd name="T72" fmla="*/ 4 w 117"/>
                <a:gd name="T73" fmla="*/ 211 h 258"/>
                <a:gd name="T74" fmla="*/ 23 w 117"/>
                <a:gd name="T75" fmla="*/ 221 h 258"/>
                <a:gd name="T76" fmla="*/ 29 w 117"/>
                <a:gd name="T77" fmla="*/ 225 h 258"/>
                <a:gd name="T78" fmla="*/ 41 w 117"/>
                <a:gd name="T79" fmla="*/ 229 h 258"/>
                <a:gd name="T80" fmla="*/ 45 w 117"/>
                <a:gd name="T81" fmla="*/ 233 h 258"/>
                <a:gd name="T82" fmla="*/ 54 w 117"/>
                <a:gd name="T83" fmla="*/ 229 h 258"/>
                <a:gd name="T84" fmla="*/ 62 w 117"/>
                <a:gd name="T85" fmla="*/ 229 h 258"/>
                <a:gd name="T86" fmla="*/ 64 w 117"/>
                <a:gd name="T87" fmla="*/ 252 h 258"/>
                <a:gd name="T88" fmla="*/ 68 w 117"/>
                <a:gd name="T89" fmla="*/ 256 h 258"/>
                <a:gd name="T90" fmla="*/ 76 w 117"/>
                <a:gd name="T91" fmla="*/ 242 h 258"/>
                <a:gd name="T92" fmla="*/ 82 w 117"/>
                <a:gd name="T93" fmla="*/ 233 h 258"/>
                <a:gd name="T94" fmla="*/ 78 w 117"/>
                <a:gd name="T95" fmla="*/ 233 h 258"/>
                <a:gd name="T96" fmla="*/ 86 w 117"/>
                <a:gd name="T97" fmla="*/ 219 h 258"/>
                <a:gd name="T98" fmla="*/ 82 w 117"/>
                <a:gd name="T99" fmla="*/ 213 h 258"/>
                <a:gd name="T100" fmla="*/ 90 w 117"/>
                <a:gd name="T101" fmla="*/ 205 h 258"/>
                <a:gd name="T102" fmla="*/ 95 w 117"/>
                <a:gd name="T103" fmla="*/ 207 h 258"/>
                <a:gd name="T104" fmla="*/ 95 w 117"/>
                <a:gd name="T105" fmla="*/ 197 h 258"/>
                <a:gd name="T106" fmla="*/ 99 w 117"/>
                <a:gd name="T107" fmla="*/ 193 h 258"/>
                <a:gd name="T108" fmla="*/ 97 w 117"/>
                <a:gd name="T109" fmla="*/ 182 h 258"/>
                <a:gd name="T110" fmla="*/ 105 w 117"/>
                <a:gd name="T111" fmla="*/ 184 h 258"/>
                <a:gd name="T112" fmla="*/ 105 w 117"/>
                <a:gd name="T113" fmla="*/ 174 h 258"/>
                <a:gd name="T114" fmla="*/ 111 w 117"/>
                <a:gd name="T115" fmla="*/ 166 h 258"/>
                <a:gd name="T116" fmla="*/ 109 w 117"/>
                <a:gd name="T117" fmla="*/ 154 h 258"/>
                <a:gd name="T118" fmla="*/ 111 w 117"/>
                <a:gd name="T119" fmla="*/ 139 h 258"/>
                <a:gd name="T120" fmla="*/ 109 w 117"/>
                <a:gd name="T121" fmla="*/ 131 h 258"/>
                <a:gd name="T122" fmla="*/ 113 w 117"/>
                <a:gd name="T123" fmla="*/ 123 h 258"/>
                <a:gd name="T124" fmla="*/ 115 w 117"/>
                <a:gd name="T125" fmla="*/ 12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7" h="258">
                  <a:moveTo>
                    <a:pt x="101" y="190"/>
                  </a:moveTo>
                  <a:lnTo>
                    <a:pt x="103" y="193"/>
                  </a:lnTo>
                  <a:lnTo>
                    <a:pt x="101" y="193"/>
                  </a:lnTo>
                  <a:lnTo>
                    <a:pt x="101" y="197"/>
                  </a:lnTo>
                  <a:lnTo>
                    <a:pt x="101" y="197"/>
                  </a:lnTo>
                  <a:lnTo>
                    <a:pt x="99" y="197"/>
                  </a:lnTo>
                  <a:lnTo>
                    <a:pt x="99" y="197"/>
                  </a:lnTo>
                  <a:lnTo>
                    <a:pt x="97" y="195"/>
                  </a:lnTo>
                  <a:lnTo>
                    <a:pt x="97" y="197"/>
                  </a:lnTo>
                  <a:lnTo>
                    <a:pt x="99" y="199"/>
                  </a:lnTo>
                  <a:lnTo>
                    <a:pt x="101" y="199"/>
                  </a:lnTo>
                  <a:lnTo>
                    <a:pt x="103" y="197"/>
                  </a:lnTo>
                  <a:lnTo>
                    <a:pt x="105" y="193"/>
                  </a:lnTo>
                  <a:lnTo>
                    <a:pt x="105" y="190"/>
                  </a:lnTo>
                  <a:lnTo>
                    <a:pt x="107" y="190"/>
                  </a:lnTo>
                  <a:lnTo>
                    <a:pt x="107" y="188"/>
                  </a:lnTo>
                  <a:lnTo>
                    <a:pt x="107" y="188"/>
                  </a:lnTo>
                  <a:lnTo>
                    <a:pt x="103" y="188"/>
                  </a:lnTo>
                  <a:lnTo>
                    <a:pt x="101" y="190"/>
                  </a:lnTo>
                  <a:close/>
                  <a:moveTo>
                    <a:pt x="115" y="156"/>
                  </a:moveTo>
                  <a:lnTo>
                    <a:pt x="115" y="156"/>
                  </a:lnTo>
                  <a:lnTo>
                    <a:pt x="115" y="160"/>
                  </a:lnTo>
                  <a:lnTo>
                    <a:pt x="115" y="162"/>
                  </a:lnTo>
                  <a:lnTo>
                    <a:pt x="109" y="176"/>
                  </a:lnTo>
                  <a:lnTo>
                    <a:pt x="109" y="180"/>
                  </a:lnTo>
                  <a:lnTo>
                    <a:pt x="109" y="180"/>
                  </a:lnTo>
                  <a:lnTo>
                    <a:pt x="109" y="180"/>
                  </a:lnTo>
                  <a:lnTo>
                    <a:pt x="109" y="182"/>
                  </a:lnTo>
                  <a:lnTo>
                    <a:pt x="111" y="178"/>
                  </a:lnTo>
                  <a:lnTo>
                    <a:pt x="113" y="170"/>
                  </a:lnTo>
                  <a:lnTo>
                    <a:pt x="115" y="166"/>
                  </a:lnTo>
                  <a:lnTo>
                    <a:pt x="115" y="162"/>
                  </a:lnTo>
                  <a:lnTo>
                    <a:pt x="117" y="158"/>
                  </a:lnTo>
                  <a:lnTo>
                    <a:pt x="117" y="154"/>
                  </a:lnTo>
                  <a:lnTo>
                    <a:pt x="115" y="156"/>
                  </a:lnTo>
                  <a:close/>
                  <a:moveTo>
                    <a:pt x="115" y="139"/>
                  </a:moveTo>
                  <a:lnTo>
                    <a:pt x="117" y="135"/>
                  </a:lnTo>
                  <a:lnTo>
                    <a:pt x="115" y="135"/>
                  </a:lnTo>
                  <a:lnTo>
                    <a:pt x="115" y="133"/>
                  </a:lnTo>
                  <a:lnTo>
                    <a:pt x="115" y="127"/>
                  </a:lnTo>
                  <a:lnTo>
                    <a:pt x="115" y="123"/>
                  </a:lnTo>
                  <a:lnTo>
                    <a:pt x="115" y="121"/>
                  </a:lnTo>
                  <a:lnTo>
                    <a:pt x="113" y="119"/>
                  </a:lnTo>
                  <a:lnTo>
                    <a:pt x="113" y="119"/>
                  </a:lnTo>
                  <a:lnTo>
                    <a:pt x="113" y="115"/>
                  </a:lnTo>
                  <a:lnTo>
                    <a:pt x="113" y="106"/>
                  </a:lnTo>
                  <a:lnTo>
                    <a:pt x="113" y="104"/>
                  </a:lnTo>
                  <a:lnTo>
                    <a:pt x="113" y="100"/>
                  </a:lnTo>
                  <a:lnTo>
                    <a:pt x="115" y="98"/>
                  </a:lnTo>
                  <a:lnTo>
                    <a:pt x="115" y="96"/>
                  </a:lnTo>
                  <a:lnTo>
                    <a:pt x="111" y="82"/>
                  </a:lnTo>
                  <a:lnTo>
                    <a:pt x="109" y="80"/>
                  </a:lnTo>
                  <a:lnTo>
                    <a:pt x="107" y="78"/>
                  </a:lnTo>
                  <a:lnTo>
                    <a:pt x="107" y="80"/>
                  </a:lnTo>
                  <a:lnTo>
                    <a:pt x="107" y="82"/>
                  </a:lnTo>
                  <a:lnTo>
                    <a:pt x="109" y="84"/>
                  </a:lnTo>
                  <a:lnTo>
                    <a:pt x="111" y="84"/>
                  </a:lnTo>
                  <a:lnTo>
                    <a:pt x="109" y="86"/>
                  </a:lnTo>
                  <a:lnTo>
                    <a:pt x="105" y="84"/>
                  </a:lnTo>
                  <a:lnTo>
                    <a:pt x="97" y="84"/>
                  </a:lnTo>
                  <a:lnTo>
                    <a:pt x="95" y="84"/>
                  </a:lnTo>
                  <a:lnTo>
                    <a:pt x="90" y="86"/>
                  </a:lnTo>
                  <a:lnTo>
                    <a:pt x="90" y="86"/>
                  </a:lnTo>
                  <a:lnTo>
                    <a:pt x="88" y="84"/>
                  </a:lnTo>
                  <a:lnTo>
                    <a:pt x="86" y="84"/>
                  </a:lnTo>
                  <a:lnTo>
                    <a:pt x="84" y="84"/>
                  </a:lnTo>
                  <a:lnTo>
                    <a:pt x="84" y="82"/>
                  </a:lnTo>
                  <a:lnTo>
                    <a:pt x="84" y="80"/>
                  </a:lnTo>
                  <a:lnTo>
                    <a:pt x="84" y="78"/>
                  </a:lnTo>
                  <a:lnTo>
                    <a:pt x="84" y="76"/>
                  </a:lnTo>
                  <a:lnTo>
                    <a:pt x="84" y="76"/>
                  </a:lnTo>
                  <a:lnTo>
                    <a:pt x="84" y="74"/>
                  </a:lnTo>
                  <a:lnTo>
                    <a:pt x="84" y="72"/>
                  </a:lnTo>
                  <a:lnTo>
                    <a:pt x="86" y="72"/>
                  </a:lnTo>
                  <a:lnTo>
                    <a:pt x="86" y="70"/>
                  </a:lnTo>
                  <a:lnTo>
                    <a:pt x="86" y="65"/>
                  </a:lnTo>
                  <a:lnTo>
                    <a:pt x="86" y="63"/>
                  </a:lnTo>
                  <a:lnTo>
                    <a:pt x="86" y="61"/>
                  </a:lnTo>
                  <a:lnTo>
                    <a:pt x="88" y="61"/>
                  </a:lnTo>
                  <a:lnTo>
                    <a:pt x="88" y="59"/>
                  </a:lnTo>
                  <a:lnTo>
                    <a:pt x="88" y="59"/>
                  </a:lnTo>
                  <a:lnTo>
                    <a:pt x="88" y="57"/>
                  </a:lnTo>
                  <a:lnTo>
                    <a:pt x="90" y="55"/>
                  </a:lnTo>
                  <a:lnTo>
                    <a:pt x="90" y="55"/>
                  </a:lnTo>
                  <a:lnTo>
                    <a:pt x="93" y="55"/>
                  </a:lnTo>
                  <a:lnTo>
                    <a:pt x="90" y="61"/>
                  </a:lnTo>
                  <a:lnTo>
                    <a:pt x="93" y="59"/>
                  </a:lnTo>
                  <a:lnTo>
                    <a:pt x="93" y="59"/>
                  </a:lnTo>
                  <a:lnTo>
                    <a:pt x="95" y="59"/>
                  </a:lnTo>
                  <a:lnTo>
                    <a:pt x="95" y="57"/>
                  </a:lnTo>
                  <a:lnTo>
                    <a:pt x="97" y="55"/>
                  </a:lnTo>
                  <a:lnTo>
                    <a:pt x="99" y="53"/>
                  </a:lnTo>
                  <a:lnTo>
                    <a:pt x="99" y="51"/>
                  </a:lnTo>
                  <a:lnTo>
                    <a:pt x="99" y="51"/>
                  </a:lnTo>
                  <a:lnTo>
                    <a:pt x="99" y="49"/>
                  </a:lnTo>
                  <a:lnTo>
                    <a:pt x="99" y="49"/>
                  </a:lnTo>
                  <a:lnTo>
                    <a:pt x="99" y="47"/>
                  </a:lnTo>
                  <a:lnTo>
                    <a:pt x="99" y="43"/>
                  </a:lnTo>
                  <a:lnTo>
                    <a:pt x="101" y="37"/>
                  </a:lnTo>
                  <a:lnTo>
                    <a:pt x="101" y="29"/>
                  </a:lnTo>
                  <a:lnTo>
                    <a:pt x="101" y="24"/>
                  </a:lnTo>
                  <a:lnTo>
                    <a:pt x="101" y="22"/>
                  </a:lnTo>
                  <a:lnTo>
                    <a:pt x="93" y="20"/>
                  </a:lnTo>
                  <a:lnTo>
                    <a:pt x="82" y="16"/>
                  </a:lnTo>
                  <a:lnTo>
                    <a:pt x="74" y="14"/>
                  </a:lnTo>
                  <a:lnTo>
                    <a:pt x="64" y="12"/>
                  </a:lnTo>
                  <a:lnTo>
                    <a:pt x="56" y="8"/>
                  </a:lnTo>
                  <a:lnTo>
                    <a:pt x="45" y="6"/>
                  </a:lnTo>
                  <a:lnTo>
                    <a:pt x="37" y="2"/>
                  </a:lnTo>
                  <a:lnTo>
                    <a:pt x="29" y="0"/>
                  </a:lnTo>
                  <a:lnTo>
                    <a:pt x="29" y="0"/>
                  </a:lnTo>
                  <a:lnTo>
                    <a:pt x="27" y="2"/>
                  </a:lnTo>
                  <a:lnTo>
                    <a:pt x="25" y="2"/>
                  </a:lnTo>
                  <a:lnTo>
                    <a:pt x="25" y="2"/>
                  </a:lnTo>
                  <a:lnTo>
                    <a:pt x="23" y="4"/>
                  </a:lnTo>
                  <a:lnTo>
                    <a:pt x="23" y="4"/>
                  </a:lnTo>
                  <a:lnTo>
                    <a:pt x="23" y="4"/>
                  </a:lnTo>
                  <a:lnTo>
                    <a:pt x="23" y="4"/>
                  </a:lnTo>
                  <a:lnTo>
                    <a:pt x="23" y="6"/>
                  </a:lnTo>
                  <a:lnTo>
                    <a:pt x="23" y="6"/>
                  </a:lnTo>
                  <a:lnTo>
                    <a:pt x="19" y="12"/>
                  </a:lnTo>
                  <a:lnTo>
                    <a:pt x="19" y="12"/>
                  </a:lnTo>
                  <a:lnTo>
                    <a:pt x="19" y="14"/>
                  </a:lnTo>
                  <a:lnTo>
                    <a:pt x="19" y="16"/>
                  </a:lnTo>
                  <a:lnTo>
                    <a:pt x="17" y="22"/>
                  </a:lnTo>
                  <a:lnTo>
                    <a:pt x="15" y="29"/>
                  </a:lnTo>
                  <a:lnTo>
                    <a:pt x="13" y="29"/>
                  </a:lnTo>
                  <a:lnTo>
                    <a:pt x="13" y="29"/>
                  </a:lnTo>
                  <a:lnTo>
                    <a:pt x="13" y="31"/>
                  </a:lnTo>
                  <a:lnTo>
                    <a:pt x="13" y="31"/>
                  </a:lnTo>
                  <a:lnTo>
                    <a:pt x="11" y="31"/>
                  </a:lnTo>
                  <a:lnTo>
                    <a:pt x="13" y="33"/>
                  </a:lnTo>
                  <a:lnTo>
                    <a:pt x="13" y="33"/>
                  </a:lnTo>
                  <a:lnTo>
                    <a:pt x="13" y="33"/>
                  </a:lnTo>
                  <a:lnTo>
                    <a:pt x="9" y="39"/>
                  </a:lnTo>
                  <a:lnTo>
                    <a:pt x="9" y="39"/>
                  </a:lnTo>
                  <a:lnTo>
                    <a:pt x="6" y="41"/>
                  </a:lnTo>
                  <a:lnTo>
                    <a:pt x="4" y="41"/>
                  </a:lnTo>
                  <a:lnTo>
                    <a:pt x="4" y="43"/>
                  </a:lnTo>
                  <a:lnTo>
                    <a:pt x="2" y="45"/>
                  </a:lnTo>
                  <a:lnTo>
                    <a:pt x="2" y="47"/>
                  </a:lnTo>
                  <a:lnTo>
                    <a:pt x="2" y="47"/>
                  </a:lnTo>
                  <a:lnTo>
                    <a:pt x="2" y="49"/>
                  </a:lnTo>
                  <a:lnTo>
                    <a:pt x="4" y="49"/>
                  </a:lnTo>
                  <a:lnTo>
                    <a:pt x="4" y="49"/>
                  </a:lnTo>
                  <a:lnTo>
                    <a:pt x="4" y="51"/>
                  </a:lnTo>
                  <a:lnTo>
                    <a:pt x="4" y="51"/>
                  </a:lnTo>
                  <a:lnTo>
                    <a:pt x="4" y="51"/>
                  </a:lnTo>
                  <a:lnTo>
                    <a:pt x="4" y="51"/>
                  </a:lnTo>
                  <a:lnTo>
                    <a:pt x="6" y="51"/>
                  </a:lnTo>
                  <a:lnTo>
                    <a:pt x="6" y="51"/>
                  </a:lnTo>
                  <a:lnTo>
                    <a:pt x="6" y="51"/>
                  </a:lnTo>
                  <a:lnTo>
                    <a:pt x="6" y="51"/>
                  </a:lnTo>
                  <a:lnTo>
                    <a:pt x="9" y="53"/>
                  </a:lnTo>
                  <a:lnTo>
                    <a:pt x="11" y="55"/>
                  </a:lnTo>
                  <a:lnTo>
                    <a:pt x="11" y="57"/>
                  </a:lnTo>
                  <a:lnTo>
                    <a:pt x="11" y="59"/>
                  </a:lnTo>
                  <a:lnTo>
                    <a:pt x="11" y="59"/>
                  </a:lnTo>
                  <a:lnTo>
                    <a:pt x="9" y="61"/>
                  </a:lnTo>
                  <a:lnTo>
                    <a:pt x="9" y="63"/>
                  </a:lnTo>
                  <a:lnTo>
                    <a:pt x="9" y="65"/>
                  </a:lnTo>
                  <a:lnTo>
                    <a:pt x="9" y="68"/>
                  </a:lnTo>
                  <a:lnTo>
                    <a:pt x="6" y="68"/>
                  </a:lnTo>
                  <a:lnTo>
                    <a:pt x="4" y="68"/>
                  </a:lnTo>
                  <a:lnTo>
                    <a:pt x="4" y="70"/>
                  </a:lnTo>
                  <a:lnTo>
                    <a:pt x="4" y="70"/>
                  </a:lnTo>
                  <a:lnTo>
                    <a:pt x="2" y="70"/>
                  </a:lnTo>
                  <a:lnTo>
                    <a:pt x="2" y="72"/>
                  </a:lnTo>
                  <a:lnTo>
                    <a:pt x="2" y="72"/>
                  </a:lnTo>
                  <a:lnTo>
                    <a:pt x="4" y="72"/>
                  </a:lnTo>
                  <a:lnTo>
                    <a:pt x="4" y="72"/>
                  </a:lnTo>
                  <a:lnTo>
                    <a:pt x="4" y="76"/>
                  </a:lnTo>
                  <a:lnTo>
                    <a:pt x="4" y="78"/>
                  </a:lnTo>
                  <a:lnTo>
                    <a:pt x="4" y="78"/>
                  </a:lnTo>
                  <a:lnTo>
                    <a:pt x="4" y="80"/>
                  </a:lnTo>
                  <a:lnTo>
                    <a:pt x="4" y="80"/>
                  </a:lnTo>
                  <a:lnTo>
                    <a:pt x="4" y="82"/>
                  </a:lnTo>
                  <a:lnTo>
                    <a:pt x="6" y="84"/>
                  </a:lnTo>
                  <a:lnTo>
                    <a:pt x="6" y="86"/>
                  </a:lnTo>
                  <a:lnTo>
                    <a:pt x="6" y="86"/>
                  </a:lnTo>
                  <a:lnTo>
                    <a:pt x="6" y="88"/>
                  </a:lnTo>
                  <a:lnTo>
                    <a:pt x="9" y="90"/>
                  </a:lnTo>
                  <a:lnTo>
                    <a:pt x="9" y="90"/>
                  </a:lnTo>
                  <a:lnTo>
                    <a:pt x="11" y="90"/>
                  </a:lnTo>
                  <a:lnTo>
                    <a:pt x="17" y="90"/>
                  </a:lnTo>
                  <a:lnTo>
                    <a:pt x="19" y="92"/>
                  </a:lnTo>
                  <a:lnTo>
                    <a:pt x="21" y="100"/>
                  </a:lnTo>
                  <a:lnTo>
                    <a:pt x="21" y="102"/>
                  </a:lnTo>
                  <a:lnTo>
                    <a:pt x="23" y="104"/>
                  </a:lnTo>
                  <a:lnTo>
                    <a:pt x="25" y="104"/>
                  </a:lnTo>
                  <a:lnTo>
                    <a:pt x="29" y="102"/>
                  </a:lnTo>
                  <a:lnTo>
                    <a:pt x="31" y="104"/>
                  </a:lnTo>
                  <a:lnTo>
                    <a:pt x="33" y="108"/>
                  </a:lnTo>
                  <a:lnTo>
                    <a:pt x="37" y="111"/>
                  </a:lnTo>
                  <a:lnTo>
                    <a:pt x="39" y="111"/>
                  </a:lnTo>
                  <a:lnTo>
                    <a:pt x="39" y="113"/>
                  </a:lnTo>
                  <a:lnTo>
                    <a:pt x="41" y="115"/>
                  </a:lnTo>
                  <a:lnTo>
                    <a:pt x="45" y="119"/>
                  </a:lnTo>
                  <a:lnTo>
                    <a:pt x="52" y="121"/>
                  </a:lnTo>
                  <a:lnTo>
                    <a:pt x="54" y="123"/>
                  </a:lnTo>
                  <a:lnTo>
                    <a:pt x="56" y="125"/>
                  </a:lnTo>
                  <a:lnTo>
                    <a:pt x="54" y="127"/>
                  </a:lnTo>
                  <a:lnTo>
                    <a:pt x="52" y="129"/>
                  </a:lnTo>
                  <a:lnTo>
                    <a:pt x="50" y="129"/>
                  </a:lnTo>
                  <a:lnTo>
                    <a:pt x="47" y="131"/>
                  </a:lnTo>
                  <a:lnTo>
                    <a:pt x="47" y="131"/>
                  </a:lnTo>
                  <a:lnTo>
                    <a:pt x="45" y="135"/>
                  </a:lnTo>
                  <a:lnTo>
                    <a:pt x="43" y="135"/>
                  </a:lnTo>
                  <a:lnTo>
                    <a:pt x="41" y="137"/>
                  </a:lnTo>
                  <a:lnTo>
                    <a:pt x="39" y="137"/>
                  </a:lnTo>
                  <a:lnTo>
                    <a:pt x="37" y="141"/>
                  </a:lnTo>
                  <a:lnTo>
                    <a:pt x="37" y="143"/>
                  </a:lnTo>
                  <a:lnTo>
                    <a:pt x="35" y="145"/>
                  </a:lnTo>
                  <a:lnTo>
                    <a:pt x="33" y="147"/>
                  </a:lnTo>
                  <a:lnTo>
                    <a:pt x="31" y="152"/>
                  </a:lnTo>
                  <a:lnTo>
                    <a:pt x="31" y="152"/>
                  </a:lnTo>
                  <a:lnTo>
                    <a:pt x="29" y="154"/>
                  </a:lnTo>
                  <a:lnTo>
                    <a:pt x="29" y="154"/>
                  </a:lnTo>
                  <a:lnTo>
                    <a:pt x="29" y="156"/>
                  </a:lnTo>
                  <a:lnTo>
                    <a:pt x="29" y="156"/>
                  </a:lnTo>
                  <a:lnTo>
                    <a:pt x="31" y="158"/>
                  </a:lnTo>
                  <a:lnTo>
                    <a:pt x="29" y="160"/>
                  </a:lnTo>
                  <a:lnTo>
                    <a:pt x="29" y="162"/>
                  </a:lnTo>
                  <a:lnTo>
                    <a:pt x="27" y="162"/>
                  </a:lnTo>
                  <a:lnTo>
                    <a:pt x="27" y="162"/>
                  </a:lnTo>
                  <a:lnTo>
                    <a:pt x="25" y="162"/>
                  </a:lnTo>
                  <a:lnTo>
                    <a:pt x="25" y="162"/>
                  </a:lnTo>
                  <a:lnTo>
                    <a:pt x="25" y="162"/>
                  </a:lnTo>
                  <a:lnTo>
                    <a:pt x="23" y="164"/>
                  </a:lnTo>
                  <a:lnTo>
                    <a:pt x="21" y="166"/>
                  </a:lnTo>
                  <a:lnTo>
                    <a:pt x="21" y="166"/>
                  </a:lnTo>
                  <a:lnTo>
                    <a:pt x="19" y="166"/>
                  </a:lnTo>
                  <a:lnTo>
                    <a:pt x="15" y="168"/>
                  </a:lnTo>
                  <a:lnTo>
                    <a:pt x="11" y="172"/>
                  </a:lnTo>
                  <a:lnTo>
                    <a:pt x="9" y="174"/>
                  </a:lnTo>
                  <a:lnTo>
                    <a:pt x="6" y="178"/>
                  </a:lnTo>
                  <a:lnTo>
                    <a:pt x="4" y="180"/>
                  </a:lnTo>
                  <a:lnTo>
                    <a:pt x="4" y="184"/>
                  </a:lnTo>
                  <a:lnTo>
                    <a:pt x="4" y="184"/>
                  </a:lnTo>
                  <a:lnTo>
                    <a:pt x="4" y="184"/>
                  </a:lnTo>
                  <a:lnTo>
                    <a:pt x="4" y="186"/>
                  </a:lnTo>
                  <a:lnTo>
                    <a:pt x="4" y="186"/>
                  </a:lnTo>
                  <a:lnTo>
                    <a:pt x="2" y="188"/>
                  </a:lnTo>
                  <a:lnTo>
                    <a:pt x="2" y="188"/>
                  </a:lnTo>
                  <a:lnTo>
                    <a:pt x="2" y="190"/>
                  </a:lnTo>
                  <a:lnTo>
                    <a:pt x="2" y="193"/>
                  </a:lnTo>
                  <a:lnTo>
                    <a:pt x="2" y="193"/>
                  </a:lnTo>
                  <a:lnTo>
                    <a:pt x="0" y="195"/>
                  </a:lnTo>
                  <a:lnTo>
                    <a:pt x="0" y="197"/>
                  </a:lnTo>
                  <a:lnTo>
                    <a:pt x="0" y="197"/>
                  </a:lnTo>
                  <a:lnTo>
                    <a:pt x="0" y="199"/>
                  </a:lnTo>
                  <a:lnTo>
                    <a:pt x="4" y="201"/>
                  </a:lnTo>
                  <a:lnTo>
                    <a:pt x="4" y="201"/>
                  </a:lnTo>
                  <a:lnTo>
                    <a:pt x="4" y="207"/>
                  </a:lnTo>
                  <a:lnTo>
                    <a:pt x="4" y="209"/>
                  </a:lnTo>
                  <a:lnTo>
                    <a:pt x="4" y="209"/>
                  </a:lnTo>
                  <a:lnTo>
                    <a:pt x="4" y="209"/>
                  </a:lnTo>
                  <a:lnTo>
                    <a:pt x="4" y="207"/>
                  </a:lnTo>
                  <a:lnTo>
                    <a:pt x="4" y="211"/>
                  </a:lnTo>
                  <a:lnTo>
                    <a:pt x="9" y="213"/>
                  </a:lnTo>
                  <a:lnTo>
                    <a:pt x="11" y="213"/>
                  </a:lnTo>
                  <a:lnTo>
                    <a:pt x="21" y="221"/>
                  </a:lnTo>
                  <a:lnTo>
                    <a:pt x="21" y="221"/>
                  </a:lnTo>
                  <a:lnTo>
                    <a:pt x="23" y="221"/>
                  </a:lnTo>
                  <a:lnTo>
                    <a:pt x="23" y="221"/>
                  </a:lnTo>
                  <a:lnTo>
                    <a:pt x="23" y="221"/>
                  </a:lnTo>
                  <a:lnTo>
                    <a:pt x="23" y="221"/>
                  </a:lnTo>
                  <a:lnTo>
                    <a:pt x="25" y="221"/>
                  </a:lnTo>
                  <a:lnTo>
                    <a:pt x="25" y="221"/>
                  </a:lnTo>
                  <a:lnTo>
                    <a:pt x="27" y="221"/>
                  </a:lnTo>
                  <a:lnTo>
                    <a:pt x="27" y="223"/>
                  </a:lnTo>
                  <a:lnTo>
                    <a:pt x="29" y="225"/>
                  </a:lnTo>
                  <a:lnTo>
                    <a:pt x="29" y="225"/>
                  </a:lnTo>
                  <a:lnTo>
                    <a:pt x="33" y="223"/>
                  </a:lnTo>
                  <a:lnTo>
                    <a:pt x="33" y="225"/>
                  </a:lnTo>
                  <a:lnTo>
                    <a:pt x="35" y="227"/>
                  </a:lnTo>
                  <a:lnTo>
                    <a:pt x="35" y="227"/>
                  </a:lnTo>
                  <a:lnTo>
                    <a:pt x="37" y="227"/>
                  </a:lnTo>
                  <a:lnTo>
                    <a:pt x="39" y="229"/>
                  </a:lnTo>
                  <a:lnTo>
                    <a:pt x="41" y="229"/>
                  </a:lnTo>
                  <a:lnTo>
                    <a:pt x="41" y="229"/>
                  </a:lnTo>
                  <a:lnTo>
                    <a:pt x="41" y="231"/>
                  </a:lnTo>
                  <a:lnTo>
                    <a:pt x="41" y="231"/>
                  </a:lnTo>
                  <a:lnTo>
                    <a:pt x="43" y="233"/>
                  </a:lnTo>
                  <a:lnTo>
                    <a:pt x="43" y="233"/>
                  </a:lnTo>
                  <a:lnTo>
                    <a:pt x="43" y="233"/>
                  </a:lnTo>
                  <a:lnTo>
                    <a:pt x="45" y="233"/>
                  </a:lnTo>
                  <a:lnTo>
                    <a:pt x="45" y="233"/>
                  </a:lnTo>
                  <a:lnTo>
                    <a:pt x="47" y="231"/>
                  </a:lnTo>
                  <a:lnTo>
                    <a:pt x="47" y="231"/>
                  </a:lnTo>
                  <a:lnTo>
                    <a:pt x="50" y="229"/>
                  </a:lnTo>
                  <a:lnTo>
                    <a:pt x="52" y="229"/>
                  </a:lnTo>
                  <a:lnTo>
                    <a:pt x="54" y="229"/>
                  </a:lnTo>
                  <a:lnTo>
                    <a:pt x="54" y="229"/>
                  </a:lnTo>
                  <a:lnTo>
                    <a:pt x="54" y="231"/>
                  </a:lnTo>
                  <a:lnTo>
                    <a:pt x="54" y="231"/>
                  </a:lnTo>
                  <a:lnTo>
                    <a:pt x="56" y="231"/>
                  </a:lnTo>
                  <a:lnTo>
                    <a:pt x="56" y="231"/>
                  </a:lnTo>
                  <a:lnTo>
                    <a:pt x="58" y="229"/>
                  </a:lnTo>
                  <a:lnTo>
                    <a:pt x="58" y="229"/>
                  </a:lnTo>
                  <a:lnTo>
                    <a:pt x="62" y="229"/>
                  </a:lnTo>
                  <a:lnTo>
                    <a:pt x="62" y="229"/>
                  </a:lnTo>
                  <a:lnTo>
                    <a:pt x="64" y="229"/>
                  </a:lnTo>
                  <a:lnTo>
                    <a:pt x="66" y="233"/>
                  </a:lnTo>
                  <a:lnTo>
                    <a:pt x="66" y="238"/>
                  </a:lnTo>
                  <a:lnTo>
                    <a:pt x="64" y="248"/>
                  </a:lnTo>
                  <a:lnTo>
                    <a:pt x="64" y="250"/>
                  </a:lnTo>
                  <a:lnTo>
                    <a:pt x="64" y="252"/>
                  </a:lnTo>
                  <a:lnTo>
                    <a:pt x="66" y="254"/>
                  </a:lnTo>
                  <a:lnTo>
                    <a:pt x="66" y="254"/>
                  </a:lnTo>
                  <a:lnTo>
                    <a:pt x="64" y="256"/>
                  </a:lnTo>
                  <a:lnTo>
                    <a:pt x="64" y="256"/>
                  </a:lnTo>
                  <a:lnTo>
                    <a:pt x="66" y="258"/>
                  </a:lnTo>
                  <a:lnTo>
                    <a:pt x="66" y="258"/>
                  </a:lnTo>
                  <a:lnTo>
                    <a:pt x="68" y="256"/>
                  </a:lnTo>
                  <a:lnTo>
                    <a:pt x="72" y="254"/>
                  </a:lnTo>
                  <a:lnTo>
                    <a:pt x="74" y="252"/>
                  </a:lnTo>
                  <a:lnTo>
                    <a:pt x="76" y="248"/>
                  </a:lnTo>
                  <a:lnTo>
                    <a:pt x="78" y="244"/>
                  </a:lnTo>
                  <a:lnTo>
                    <a:pt x="78" y="244"/>
                  </a:lnTo>
                  <a:lnTo>
                    <a:pt x="76" y="244"/>
                  </a:lnTo>
                  <a:lnTo>
                    <a:pt x="76" y="242"/>
                  </a:lnTo>
                  <a:lnTo>
                    <a:pt x="78" y="242"/>
                  </a:lnTo>
                  <a:lnTo>
                    <a:pt x="80" y="240"/>
                  </a:lnTo>
                  <a:lnTo>
                    <a:pt x="80" y="240"/>
                  </a:lnTo>
                  <a:lnTo>
                    <a:pt x="80" y="238"/>
                  </a:lnTo>
                  <a:lnTo>
                    <a:pt x="82" y="236"/>
                  </a:lnTo>
                  <a:lnTo>
                    <a:pt x="82" y="236"/>
                  </a:lnTo>
                  <a:lnTo>
                    <a:pt x="82" y="233"/>
                  </a:lnTo>
                  <a:lnTo>
                    <a:pt x="80" y="233"/>
                  </a:lnTo>
                  <a:lnTo>
                    <a:pt x="80" y="233"/>
                  </a:lnTo>
                  <a:lnTo>
                    <a:pt x="80" y="233"/>
                  </a:lnTo>
                  <a:lnTo>
                    <a:pt x="80" y="233"/>
                  </a:lnTo>
                  <a:lnTo>
                    <a:pt x="80" y="233"/>
                  </a:lnTo>
                  <a:lnTo>
                    <a:pt x="78" y="233"/>
                  </a:lnTo>
                  <a:lnTo>
                    <a:pt x="78" y="233"/>
                  </a:lnTo>
                  <a:lnTo>
                    <a:pt x="80" y="231"/>
                  </a:lnTo>
                  <a:lnTo>
                    <a:pt x="80" y="231"/>
                  </a:lnTo>
                  <a:lnTo>
                    <a:pt x="80" y="231"/>
                  </a:lnTo>
                  <a:lnTo>
                    <a:pt x="82" y="231"/>
                  </a:lnTo>
                  <a:lnTo>
                    <a:pt x="84" y="223"/>
                  </a:lnTo>
                  <a:lnTo>
                    <a:pt x="84" y="221"/>
                  </a:lnTo>
                  <a:lnTo>
                    <a:pt x="86" y="219"/>
                  </a:lnTo>
                  <a:lnTo>
                    <a:pt x="88" y="215"/>
                  </a:lnTo>
                  <a:lnTo>
                    <a:pt x="90" y="213"/>
                  </a:lnTo>
                  <a:lnTo>
                    <a:pt x="90" y="211"/>
                  </a:lnTo>
                  <a:lnTo>
                    <a:pt x="86" y="215"/>
                  </a:lnTo>
                  <a:lnTo>
                    <a:pt x="84" y="215"/>
                  </a:lnTo>
                  <a:lnTo>
                    <a:pt x="84" y="213"/>
                  </a:lnTo>
                  <a:lnTo>
                    <a:pt x="82" y="213"/>
                  </a:lnTo>
                  <a:lnTo>
                    <a:pt x="82" y="213"/>
                  </a:lnTo>
                  <a:lnTo>
                    <a:pt x="82" y="211"/>
                  </a:lnTo>
                  <a:lnTo>
                    <a:pt x="84" y="211"/>
                  </a:lnTo>
                  <a:lnTo>
                    <a:pt x="90" y="209"/>
                  </a:lnTo>
                  <a:lnTo>
                    <a:pt x="90" y="209"/>
                  </a:lnTo>
                  <a:lnTo>
                    <a:pt x="88" y="207"/>
                  </a:lnTo>
                  <a:lnTo>
                    <a:pt x="90" y="205"/>
                  </a:lnTo>
                  <a:lnTo>
                    <a:pt x="93" y="201"/>
                  </a:lnTo>
                  <a:lnTo>
                    <a:pt x="95" y="203"/>
                  </a:lnTo>
                  <a:lnTo>
                    <a:pt x="93" y="205"/>
                  </a:lnTo>
                  <a:lnTo>
                    <a:pt x="93" y="207"/>
                  </a:lnTo>
                  <a:lnTo>
                    <a:pt x="90" y="209"/>
                  </a:lnTo>
                  <a:lnTo>
                    <a:pt x="93" y="209"/>
                  </a:lnTo>
                  <a:lnTo>
                    <a:pt x="95" y="207"/>
                  </a:lnTo>
                  <a:lnTo>
                    <a:pt x="99" y="203"/>
                  </a:lnTo>
                  <a:lnTo>
                    <a:pt x="101" y="203"/>
                  </a:lnTo>
                  <a:lnTo>
                    <a:pt x="99" y="201"/>
                  </a:lnTo>
                  <a:lnTo>
                    <a:pt x="97" y="199"/>
                  </a:lnTo>
                  <a:lnTo>
                    <a:pt x="97" y="197"/>
                  </a:lnTo>
                  <a:lnTo>
                    <a:pt x="95" y="199"/>
                  </a:lnTo>
                  <a:lnTo>
                    <a:pt x="95" y="197"/>
                  </a:lnTo>
                  <a:lnTo>
                    <a:pt x="95" y="197"/>
                  </a:lnTo>
                  <a:lnTo>
                    <a:pt x="95" y="195"/>
                  </a:lnTo>
                  <a:lnTo>
                    <a:pt x="95" y="193"/>
                  </a:lnTo>
                  <a:lnTo>
                    <a:pt x="97" y="193"/>
                  </a:lnTo>
                  <a:lnTo>
                    <a:pt x="97" y="193"/>
                  </a:lnTo>
                  <a:lnTo>
                    <a:pt x="99" y="193"/>
                  </a:lnTo>
                  <a:lnTo>
                    <a:pt x="99" y="193"/>
                  </a:lnTo>
                  <a:lnTo>
                    <a:pt x="101" y="190"/>
                  </a:lnTo>
                  <a:lnTo>
                    <a:pt x="99" y="188"/>
                  </a:lnTo>
                  <a:lnTo>
                    <a:pt x="99" y="186"/>
                  </a:lnTo>
                  <a:lnTo>
                    <a:pt x="97" y="186"/>
                  </a:lnTo>
                  <a:lnTo>
                    <a:pt x="97" y="184"/>
                  </a:lnTo>
                  <a:lnTo>
                    <a:pt x="97" y="180"/>
                  </a:lnTo>
                  <a:lnTo>
                    <a:pt x="97" y="182"/>
                  </a:lnTo>
                  <a:lnTo>
                    <a:pt x="99" y="182"/>
                  </a:lnTo>
                  <a:lnTo>
                    <a:pt x="99" y="182"/>
                  </a:lnTo>
                  <a:lnTo>
                    <a:pt x="101" y="180"/>
                  </a:lnTo>
                  <a:lnTo>
                    <a:pt x="103" y="182"/>
                  </a:lnTo>
                  <a:lnTo>
                    <a:pt x="105" y="182"/>
                  </a:lnTo>
                  <a:lnTo>
                    <a:pt x="105" y="184"/>
                  </a:lnTo>
                  <a:lnTo>
                    <a:pt x="105" y="184"/>
                  </a:lnTo>
                  <a:lnTo>
                    <a:pt x="107" y="184"/>
                  </a:lnTo>
                  <a:lnTo>
                    <a:pt x="107" y="182"/>
                  </a:lnTo>
                  <a:lnTo>
                    <a:pt x="105" y="180"/>
                  </a:lnTo>
                  <a:lnTo>
                    <a:pt x="103" y="178"/>
                  </a:lnTo>
                  <a:lnTo>
                    <a:pt x="103" y="176"/>
                  </a:lnTo>
                  <a:lnTo>
                    <a:pt x="105" y="176"/>
                  </a:lnTo>
                  <a:lnTo>
                    <a:pt x="105" y="174"/>
                  </a:lnTo>
                  <a:lnTo>
                    <a:pt x="105" y="174"/>
                  </a:lnTo>
                  <a:lnTo>
                    <a:pt x="107" y="172"/>
                  </a:lnTo>
                  <a:lnTo>
                    <a:pt x="107" y="172"/>
                  </a:lnTo>
                  <a:lnTo>
                    <a:pt x="107" y="170"/>
                  </a:lnTo>
                  <a:lnTo>
                    <a:pt x="109" y="168"/>
                  </a:lnTo>
                  <a:lnTo>
                    <a:pt x="111" y="168"/>
                  </a:lnTo>
                  <a:lnTo>
                    <a:pt x="111" y="166"/>
                  </a:lnTo>
                  <a:lnTo>
                    <a:pt x="111" y="162"/>
                  </a:lnTo>
                  <a:lnTo>
                    <a:pt x="111" y="162"/>
                  </a:lnTo>
                  <a:lnTo>
                    <a:pt x="113" y="160"/>
                  </a:lnTo>
                  <a:lnTo>
                    <a:pt x="113" y="158"/>
                  </a:lnTo>
                  <a:lnTo>
                    <a:pt x="111" y="158"/>
                  </a:lnTo>
                  <a:lnTo>
                    <a:pt x="109" y="158"/>
                  </a:lnTo>
                  <a:lnTo>
                    <a:pt x="109" y="154"/>
                  </a:lnTo>
                  <a:lnTo>
                    <a:pt x="109" y="149"/>
                  </a:lnTo>
                  <a:lnTo>
                    <a:pt x="111" y="147"/>
                  </a:lnTo>
                  <a:lnTo>
                    <a:pt x="111" y="145"/>
                  </a:lnTo>
                  <a:lnTo>
                    <a:pt x="111" y="145"/>
                  </a:lnTo>
                  <a:lnTo>
                    <a:pt x="111" y="143"/>
                  </a:lnTo>
                  <a:lnTo>
                    <a:pt x="111" y="141"/>
                  </a:lnTo>
                  <a:lnTo>
                    <a:pt x="111" y="139"/>
                  </a:lnTo>
                  <a:lnTo>
                    <a:pt x="113" y="137"/>
                  </a:lnTo>
                  <a:lnTo>
                    <a:pt x="111" y="137"/>
                  </a:lnTo>
                  <a:lnTo>
                    <a:pt x="109" y="137"/>
                  </a:lnTo>
                  <a:lnTo>
                    <a:pt x="111" y="135"/>
                  </a:lnTo>
                  <a:lnTo>
                    <a:pt x="111" y="133"/>
                  </a:lnTo>
                  <a:lnTo>
                    <a:pt x="109" y="131"/>
                  </a:lnTo>
                  <a:lnTo>
                    <a:pt x="109" y="131"/>
                  </a:lnTo>
                  <a:lnTo>
                    <a:pt x="109" y="129"/>
                  </a:lnTo>
                  <a:lnTo>
                    <a:pt x="109" y="129"/>
                  </a:lnTo>
                  <a:lnTo>
                    <a:pt x="111" y="129"/>
                  </a:lnTo>
                  <a:lnTo>
                    <a:pt x="111" y="127"/>
                  </a:lnTo>
                  <a:lnTo>
                    <a:pt x="113" y="127"/>
                  </a:lnTo>
                  <a:lnTo>
                    <a:pt x="113" y="125"/>
                  </a:lnTo>
                  <a:lnTo>
                    <a:pt x="113" y="123"/>
                  </a:lnTo>
                  <a:lnTo>
                    <a:pt x="111" y="125"/>
                  </a:lnTo>
                  <a:lnTo>
                    <a:pt x="111" y="123"/>
                  </a:lnTo>
                  <a:lnTo>
                    <a:pt x="111" y="123"/>
                  </a:lnTo>
                  <a:lnTo>
                    <a:pt x="113" y="123"/>
                  </a:lnTo>
                  <a:lnTo>
                    <a:pt x="113" y="125"/>
                  </a:lnTo>
                  <a:lnTo>
                    <a:pt x="115" y="127"/>
                  </a:lnTo>
                  <a:lnTo>
                    <a:pt x="115" y="129"/>
                  </a:lnTo>
                  <a:lnTo>
                    <a:pt x="115" y="131"/>
                  </a:lnTo>
                  <a:lnTo>
                    <a:pt x="113" y="135"/>
                  </a:lnTo>
                  <a:lnTo>
                    <a:pt x="117" y="152"/>
                  </a:lnTo>
                  <a:lnTo>
                    <a:pt x="117" y="149"/>
                  </a:lnTo>
                  <a:lnTo>
                    <a:pt x="115" y="139"/>
                  </a:lnTo>
                  <a:close/>
                </a:path>
              </a:pathLst>
            </a:custGeom>
            <a:solidFill>
              <a:schemeClr val="accent1">
                <a:lumMod val="60000"/>
                <a:lumOff val="40000"/>
              </a:schemeClr>
            </a:solidFill>
            <a:ln w="3175" cap="rnd">
              <a:solidFill>
                <a:schemeClr val="bg1"/>
              </a:solidFill>
              <a:prstDash val="solid"/>
              <a:round/>
              <a:headEnd/>
              <a:tailEnd/>
            </a:ln>
          </p:spPr>
          <p:txBody>
            <a:bodyPr vert="horz" wrap="square" lIns="48000" tIns="0" rIns="0" bIns="144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J</a:t>
              </a:r>
            </a:p>
          </p:txBody>
        </p:sp>
        <p:sp>
          <p:nvSpPr>
            <p:cNvPr id="263" name="Freeform 26">
              <a:extLst>
                <a:ext uri="{FF2B5EF4-FFF2-40B4-BE49-F238E27FC236}">
                  <a16:creationId xmlns:a16="http://schemas.microsoft.com/office/drawing/2014/main" id="{72446A52-9498-71DF-C97F-1366ACD3FAFB}"/>
                </a:ext>
              </a:extLst>
            </p:cNvPr>
            <p:cNvSpPr>
              <a:spLocks/>
            </p:cNvSpPr>
            <p:nvPr/>
          </p:nvSpPr>
          <p:spPr bwMode="auto">
            <a:xfrm>
              <a:off x="2394" y="797"/>
              <a:ext cx="725" cy="324"/>
            </a:xfrm>
            <a:custGeom>
              <a:avLst/>
              <a:gdLst>
                <a:gd name="T0" fmla="*/ 626 w 725"/>
                <a:gd name="T1" fmla="*/ 64 h 324"/>
                <a:gd name="T2" fmla="*/ 630 w 725"/>
                <a:gd name="T3" fmla="*/ 78 h 324"/>
                <a:gd name="T4" fmla="*/ 632 w 725"/>
                <a:gd name="T5" fmla="*/ 90 h 324"/>
                <a:gd name="T6" fmla="*/ 639 w 725"/>
                <a:gd name="T7" fmla="*/ 101 h 324"/>
                <a:gd name="T8" fmla="*/ 647 w 725"/>
                <a:gd name="T9" fmla="*/ 115 h 324"/>
                <a:gd name="T10" fmla="*/ 655 w 725"/>
                <a:gd name="T11" fmla="*/ 127 h 324"/>
                <a:gd name="T12" fmla="*/ 653 w 725"/>
                <a:gd name="T13" fmla="*/ 138 h 324"/>
                <a:gd name="T14" fmla="*/ 653 w 725"/>
                <a:gd name="T15" fmla="*/ 148 h 324"/>
                <a:gd name="T16" fmla="*/ 657 w 725"/>
                <a:gd name="T17" fmla="*/ 156 h 324"/>
                <a:gd name="T18" fmla="*/ 661 w 725"/>
                <a:gd name="T19" fmla="*/ 156 h 324"/>
                <a:gd name="T20" fmla="*/ 663 w 725"/>
                <a:gd name="T21" fmla="*/ 162 h 324"/>
                <a:gd name="T22" fmla="*/ 667 w 725"/>
                <a:gd name="T23" fmla="*/ 170 h 324"/>
                <a:gd name="T24" fmla="*/ 671 w 725"/>
                <a:gd name="T25" fmla="*/ 181 h 324"/>
                <a:gd name="T26" fmla="*/ 673 w 725"/>
                <a:gd name="T27" fmla="*/ 193 h 324"/>
                <a:gd name="T28" fmla="*/ 673 w 725"/>
                <a:gd name="T29" fmla="*/ 203 h 324"/>
                <a:gd name="T30" fmla="*/ 673 w 725"/>
                <a:gd name="T31" fmla="*/ 207 h 324"/>
                <a:gd name="T32" fmla="*/ 676 w 725"/>
                <a:gd name="T33" fmla="*/ 211 h 324"/>
                <a:gd name="T34" fmla="*/ 678 w 725"/>
                <a:gd name="T35" fmla="*/ 222 h 324"/>
                <a:gd name="T36" fmla="*/ 678 w 725"/>
                <a:gd name="T37" fmla="*/ 234 h 324"/>
                <a:gd name="T38" fmla="*/ 676 w 725"/>
                <a:gd name="T39" fmla="*/ 240 h 324"/>
                <a:gd name="T40" fmla="*/ 684 w 725"/>
                <a:gd name="T41" fmla="*/ 248 h 324"/>
                <a:gd name="T42" fmla="*/ 686 w 725"/>
                <a:gd name="T43" fmla="*/ 261 h 324"/>
                <a:gd name="T44" fmla="*/ 690 w 725"/>
                <a:gd name="T45" fmla="*/ 267 h 324"/>
                <a:gd name="T46" fmla="*/ 694 w 725"/>
                <a:gd name="T47" fmla="*/ 275 h 324"/>
                <a:gd name="T48" fmla="*/ 696 w 725"/>
                <a:gd name="T49" fmla="*/ 283 h 324"/>
                <a:gd name="T50" fmla="*/ 702 w 725"/>
                <a:gd name="T51" fmla="*/ 285 h 324"/>
                <a:gd name="T52" fmla="*/ 710 w 725"/>
                <a:gd name="T53" fmla="*/ 291 h 324"/>
                <a:gd name="T54" fmla="*/ 714 w 725"/>
                <a:gd name="T55" fmla="*/ 302 h 324"/>
                <a:gd name="T56" fmla="*/ 716 w 725"/>
                <a:gd name="T57" fmla="*/ 312 h 324"/>
                <a:gd name="T58" fmla="*/ 690 w 725"/>
                <a:gd name="T59" fmla="*/ 318 h 324"/>
                <a:gd name="T60" fmla="*/ 583 w 725"/>
                <a:gd name="T61" fmla="*/ 322 h 324"/>
                <a:gd name="T62" fmla="*/ 479 w 725"/>
                <a:gd name="T63" fmla="*/ 324 h 324"/>
                <a:gd name="T64" fmla="*/ 372 w 725"/>
                <a:gd name="T65" fmla="*/ 324 h 324"/>
                <a:gd name="T66" fmla="*/ 268 w 725"/>
                <a:gd name="T67" fmla="*/ 324 h 324"/>
                <a:gd name="T68" fmla="*/ 161 w 725"/>
                <a:gd name="T69" fmla="*/ 324 h 324"/>
                <a:gd name="T70" fmla="*/ 163 w 725"/>
                <a:gd name="T71" fmla="*/ 283 h 324"/>
                <a:gd name="T72" fmla="*/ 163 w 725"/>
                <a:gd name="T73" fmla="*/ 244 h 324"/>
                <a:gd name="T74" fmla="*/ 147 w 725"/>
                <a:gd name="T75" fmla="*/ 217 h 324"/>
                <a:gd name="T76" fmla="*/ 88 w 725"/>
                <a:gd name="T77" fmla="*/ 215 h 324"/>
                <a:gd name="T78" fmla="*/ 28 w 725"/>
                <a:gd name="T79" fmla="*/ 213 h 324"/>
                <a:gd name="T80" fmla="*/ 0 w 725"/>
                <a:gd name="T81" fmla="*/ 172 h 324"/>
                <a:gd name="T82" fmla="*/ 2 w 725"/>
                <a:gd name="T83" fmla="*/ 92 h 324"/>
                <a:gd name="T84" fmla="*/ 6 w 725"/>
                <a:gd name="T85" fmla="*/ 13 h 324"/>
                <a:gd name="T86" fmla="*/ 75 w 725"/>
                <a:gd name="T87" fmla="*/ 2 h 324"/>
                <a:gd name="T88" fmla="*/ 157 w 725"/>
                <a:gd name="T89" fmla="*/ 4 h 324"/>
                <a:gd name="T90" fmla="*/ 239 w 725"/>
                <a:gd name="T91" fmla="*/ 6 h 324"/>
                <a:gd name="T92" fmla="*/ 323 w 725"/>
                <a:gd name="T93" fmla="*/ 6 h 324"/>
                <a:gd name="T94" fmla="*/ 405 w 725"/>
                <a:gd name="T95" fmla="*/ 6 h 324"/>
                <a:gd name="T96" fmla="*/ 454 w 725"/>
                <a:gd name="T97" fmla="*/ 6 h 324"/>
                <a:gd name="T98" fmla="*/ 467 w 725"/>
                <a:gd name="T99" fmla="*/ 15 h 324"/>
                <a:gd name="T100" fmla="*/ 487 w 725"/>
                <a:gd name="T101" fmla="*/ 25 h 324"/>
                <a:gd name="T102" fmla="*/ 501 w 725"/>
                <a:gd name="T103" fmla="*/ 25 h 324"/>
                <a:gd name="T104" fmla="*/ 506 w 725"/>
                <a:gd name="T105" fmla="*/ 19 h 324"/>
                <a:gd name="T106" fmla="*/ 520 w 725"/>
                <a:gd name="T107" fmla="*/ 21 h 324"/>
                <a:gd name="T108" fmla="*/ 551 w 725"/>
                <a:gd name="T109" fmla="*/ 15 h 324"/>
                <a:gd name="T110" fmla="*/ 563 w 725"/>
                <a:gd name="T111" fmla="*/ 25 h 324"/>
                <a:gd name="T112" fmla="*/ 575 w 725"/>
                <a:gd name="T113" fmla="*/ 27 h 324"/>
                <a:gd name="T114" fmla="*/ 589 w 725"/>
                <a:gd name="T115" fmla="*/ 31 h 324"/>
                <a:gd name="T116" fmla="*/ 594 w 725"/>
                <a:gd name="T117" fmla="*/ 37 h 324"/>
                <a:gd name="T118" fmla="*/ 600 w 725"/>
                <a:gd name="T119" fmla="*/ 37 h 324"/>
                <a:gd name="T120" fmla="*/ 604 w 725"/>
                <a:gd name="T121" fmla="*/ 45 h 324"/>
                <a:gd name="T122" fmla="*/ 618 w 725"/>
                <a:gd name="T123" fmla="*/ 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5" h="324">
                  <a:moveTo>
                    <a:pt x="618" y="54"/>
                  </a:moveTo>
                  <a:lnTo>
                    <a:pt x="622" y="54"/>
                  </a:lnTo>
                  <a:lnTo>
                    <a:pt x="624" y="54"/>
                  </a:lnTo>
                  <a:lnTo>
                    <a:pt x="624" y="56"/>
                  </a:lnTo>
                  <a:lnTo>
                    <a:pt x="626" y="60"/>
                  </a:lnTo>
                  <a:lnTo>
                    <a:pt x="626" y="64"/>
                  </a:lnTo>
                  <a:lnTo>
                    <a:pt x="624" y="68"/>
                  </a:lnTo>
                  <a:lnTo>
                    <a:pt x="628" y="72"/>
                  </a:lnTo>
                  <a:lnTo>
                    <a:pt x="628" y="74"/>
                  </a:lnTo>
                  <a:lnTo>
                    <a:pt x="628" y="74"/>
                  </a:lnTo>
                  <a:lnTo>
                    <a:pt x="630" y="76"/>
                  </a:lnTo>
                  <a:lnTo>
                    <a:pt x="630" y="78"/>
                  </a:lnTo>
                  <a:lnTo>
                    <a:pt x="630" y="80"/>
                  </a:lnTo>
                  <a:lnTo>
                    <a:pt x="630" y="82"/>
                  </a:lnTo>
                  <a:lnTo>
                    <a:pt x="630" y="84"/>
                  </a:lnTo>
                  <a:lnTo>
                    <a:pt x="630" y="86"/>
                  </a:lnTo>
                  <a:lnTo>
                    <a:pt x="630" y="88"/>
                  </a:lnTo>
                  <a:lnTo>
                    <a:pt x="632" y="90"/>
                  </a:lnTo>
                  <a:lnTo>
                    <a:pt x="635" y="90"/>
                  </a:lnTo>
                  <a:lnTo>
                    <a:pt x="637" y="92"/>
                  </a:lnTo>
                  <a:lnTo>
                    <a:pt x="637" y="95"/>
                  </a:lnTo>
                  <a:lnTo>
                    <a:pt x="637" y="97"/>
                  </a:lnTo>
                  <a:lnTo>
                    <a:pt x="637" y="99"/>
                  </a:lnTo>
                  <a:lnTo>
                    <a:pt x="639" y="101"/>
                  </a:lnTo>
                  <a:lnTo>
                    <a:pt x="641" y="105"/>
                  </a:lnTo>
                  <a:lnTo>
                    <a:pt x="643" y="105"/>
                  </a:lnTo>
                  <a:lnTo>
                    <a:pt x="647" y="109"/>
                  </a:lnTo>
                  <a:lnTo>
                    <a:pt x="649" y="113"/>
                  </a:lnTo>
                  <a:lnTo>
                    <a:pt x="647" y="113"/>
                  </a:lnTo>
                  <a:lnTo>
                    <a:pt x="647" y="115"/>
                  </a:lnTo>
                  <a:lnTo>
                    <a:pt x="647" y="117"/>
                  </a:lnTo>
                  <a:lnTo>
                    <a:pt x="647" y="117"/>
                  </a:lnTo>
                  <a:lnTo>
                    <a:pt x="649" y="121"/>
                  </a:lnTo>
                  <a:lnTo>
                    <a:pt x="649" y="121"/>
                  </a:lnTo>
                  <a:lnTo>
                    <a:pt x="653" y="125"/>
                  </a:lnTo>
                  <a:lnTo>
                    <a:pt x="655" y="127"/>
                  </a:lnTo>
                  <a:lnTo>
                    <a:pt x="655" y="129"/>
                  </a:lnTo>
                  <a:lnTo>
                    <a:pt x="653" y="131"/>
                  </a:lnTo>
                  <a:lnTo>
                    <a:pt x="653" y="133"/>
                  </a:lnTo>
                  <a:lnTo>
                    <a:pt x="653" y="136"/>
                  </a:lnTo>
                  <a:lnTo>
                    <a:pt x="653" y="136"/>
                  </a:lnTo>
                  <a:lnTo>
                    <a:pt x="653" y="138"/>
                  </a:lnTo>
                  <a:lnTo>
                    <a:pt x="653" y="138"/>
                  </a:lnTo>
                  <a:lnTo>
                    <a:pt x="653" y="140"/>
                  </a:lnTo>
                  <a:lnTo>
                    <a:pt x="653" y="140"/>
                  </a:lnTo>
                  <a:lnTo>
                    <a:pt x="653" y="144"/>
                  </a:lnTo>
                  <a:lnTo>
                    <a:pt x="653" y="146"/>
                  </a:lnTo>
                  <a:lnTo>
                    <a:pt x="653" y="148"/>
                  </a:lnTo>
                  <a:lnTo>
                    <a:pt x="655" y="150"/>
                  </a:lnTo>
                  <a:lnTo>
                    <a:pt x="655" y="150"/>
                  </a:lnTo>
                  <a:lnTo>
                    <a:pt x="655" y="152"/>
                  </a:lnTo>
                  <a:lnTo>
                    <a:pt x="655" y="154"/>
                  </a:lnTo>
                  <a:lnTo>
                    <a:pt x="657" y="156"/>
                  </a:lnTo>
                  <a:lnTo>
                    <a:pt x="657" y="156"/>
                  </a:lnTo>
                  <a:lnTo>
                    <a:pt x="659" y="154"/>
                  </a:lnTo>
                  <a:lnTo>
                    <a:pt x="659" y="154"/>
                  </a:lnTo>
                  <a:lnTo>
                    <a:pt x="661" y="154"/>
                  </a:lnTo>
                  <a:lnTo>
                    <a:pt x="661" y="154"/>
                  </a:lnTo>
                  <a:lnTo>
                    <a:pt x="661" y="156"/>
                  </a:lnTo>
                  <a:lnTo>
                    <a:pt x="661" y="156"/>
                  </a:lnTo>
                  <a:lnTo>
                    <a:pt x="661" y="156"/>
                  </a:lnTo>
                  <a:lnTo>
                    <a:pt x="661" y="158"/>
                  </a:lnTo>
                  <a:lnTo>
                    <a:pt x="661" y="160"/>
                  </a:lnTo>
                  <a:lnTo>
                    <a:pt x="661" y="160"/>
                  </a:lnTo>
                  <a:lnTo>
                    <a:pt x="661" y="162"/>
                  </a:lnTo>
                  <a:lnTo>
                    <a:pt x="663" y="162"/>
                  </a:lnTo>
                  <a:lnTo>
                    <a:pt x="665" y="162"/>
                  </a:lnTo>
                  <a:lnTo>
                    <a:pt x="667" y="162"/>
                  </a:lnTo>
                  <a:lnTo>
                    <a:pt x="667" y="162"/>
                  </a:lnTo>
                  <a:lnTo>
                    <a:pt x="667" y="164"/>
                  </a:lnTo>
                  <a:lnTo>
                    <a:pt x="667" y="168"/>
                  </a:lnTo>
                  <a:lnTo>
                    <a:pt x="667" y="170"/>
                  </a:lnTo>
                  <a:lnTo>
                    <a:pt x="665" y="176"/>
                  </a:lnTo>
                  <a:lnTo>
                    <a:pt x="667" y="176"/>
                  </a:lnTo>
                  <a:lnTo>
                    <a:pt x="671" y="179"/>
                  </a:lnTo>
                  <a:lnTo>
                    <a:pt x="671" y="179"/>
                  </a:lnTo>
                  <a:lnTo>
                    <a:pt x="673" y="179"/>
                  </a:lnTo>
                  <a:lnTo>
                    <a:pt x="671" y="181"/>
                  </a:lnTo>
                  <a:lnTo>
                    <a:pt x="669" y="183"/>
                  </a:lnTo>
                  <a:lnTo>
                    <a:pt x="669" y="185"/>
                  </a:lnTo>
                  <a:lnTo>
                    <a:pt x="669" y="189"/>
                  </a:lnTo>
                  <a:lnTo>
                    <a:pt x="669" y="191"/>
                  </a:lnTo>
                  <a:lnTo>
                    <a:pt x="669" y="191"/>
                  </a:lnTo>
                  <a:lnTo>
                    <a:pt x="673" y="193"/>
                  </a:lnTo>
                  <a:lnTo>
                    <a:pt x="676" y="193"/>
                  </a:lnTo>
                  <a:lnTo>
                    <a:pt x="673" y="195"/>
                  </a:lnTo>
                  <a:lnTo>
                    <a:pt x="673" y="195"/>
                  </a:lnTo>
                  <a:lnTo>
                    <a:pt x="673" y="199"/>
                  </a:lnTo>
                  <a:lnTo>
                    <a:pt x="673" y="201"/>
                  </a:lnTo>
                  <a:lnTo>
                    <a:pt x="673" y="203"/>
                  </a:lnTo>
                  <a:lnTo>
                    <a:pt x="673" y="205"/>
                  </a:lnTo>
                  <a:lnTo>
                    <a:pt x="673" y="205"/>
                  </a:lnTo>
                  <a:lnTo>
                    <a:pt x="673" y="205"/>
                  </a:lnTo>
                  <a:lnTo>
                    <a:pt x="673" y="205"/>
                  </a:lnTo>
                  <a:lnTo>
                    <a:pt x="673" y="205"/>
                  </a:lnTo>
                  <a:lnTo>
                    <a:pt x="673" y="207"/>
                  </a:lnTo>
                  <a:lnTo>
                    <a:pt x="673" y="207"/>
                  </a:lnTo>
                  <a:lnTo>
                    <a:pt x="673" y="207"/>
                  </a:lnTo>
                  <a:lnTo>
                    <a:pt x="673" y="209"/>
                  </a:lnTo>
                  <a:lnTo>
                    <a:pt x="673" y="209"/>
                  </a:lnTo>
                  <a:lnTo>
                    <a:pt x="673" y="211"/>
                  </a:lnTo>
                  <a:lnTo>
                    <a:pt x="676" y="211"/>
                  </a:lnTo>
                  <a:lnTo>
                    <a:pt x="676" y="213"/>
                  </a:lnTo>
                  <a:lnTo>
                    <a:pt x="678" y="213"/>
                  </a:lnTo>
                  <a:lnTo>
                    <a:pt x="678" y="215"/>
                  </a:lnTo>
                  <a:lnTo>
                    <a:pt x="676" y="217"/>
                  </a:lnTo>
                  <a:lnTo>
                    <a:pt x="678" y="217"/>
                  </a:lnTo>
                  <a:lnTo>
                    <a:pt x="678" y="222"/>
                  </a:lnTo>
                  <a:lnTo>
                    <a:pt x="678" y="224"/>
                  </a:lnTo>
                  <a:lnTo>
                    <a:pt x="678" y="226"/>
                  </a:lnTo>
                  <a:lnTo>
                    <a:pt x="678" y="228"/>
                  </a:lnTo>
                  <a:lnTo>
                    <a:pt x="678" y="230"/>
                  </a:lnTo>
                  <a:lnTo>
                    <a:pt x="678" y="232"/>
                  </a:lnTo>
                  <a:lnTo>
                    <a:pt x="678" y="234"/>
                  </a:lnTo>
                  <a:lnTo>
                    <a:pt x="678" y="234"/>
                  </a:lnTo>
                  <a:lnTo>
                    <a:pt x="678" y="236"/>
                  </a:lnTo>
                  <a:lnTo>
                    <a:pt x="676" y="238"/>
                  </a:lnTo>
                  <a:lnTo>
                    <a:pt x="676" y="238"/>
                  </a:lnTo>
                  <a:lnTo>
                    <a:pt x="676" y="240"/>
                  </a:lnTo>
                  <a:lnTo>
                    <a:pt x="676" y="240"/>
                  </a:lnTo>
                  <a:lnTo>
                    <a:pt x="676" y="242"/>
                  </a:lnTo>
                  <a:lnTo>
                    <a:pt x="676" y="242"/>
                  </a:lnTo>
                  <a:lnTo>
                    <a:pt x="676" y="244"/>
                  </a:lnTo>
                  <a:lnTo>
                    <a:pt x="678" y="246"/>
                  </a:lnTo>
                  <a:lnTo>
                    <a:pt x="682" y="246"/>
                  </a:lnTo>
                  <a:lnTo>
                    <a:pt x="684" y="248"/>
                  </a:lnTo>
                  <a:lnTo>
                    <a:pt x="684" y="250"/>
                  </a:lnTo>
                  <a:lnTo>
                    <a:pt x="684" y="252"/>
                  </a:lnTo>
                  <a:lnTo>
                    <a:pt x="684" y="254"/>
                  </a:lnTo>
                  <a:lnTo>
                    <a:pt x="684" y="256"/>
                  </a:lnTo>
                  <a:lnTo>
                    <a:pt x="684" y="261"/>
                  </a:lnTo>
                  <a:lnTo>
                    <a:pt x="686" y="261"/>
                  </a:lnTo>
                  <a:lnTo>
                    <a:pt x="688" y="261"/>
                  </a:lnTo>
                  <a:lnTo>
                    <a:pt x="690" y="263"/>
                  </a:lnTo>
                  <a:lnTo>
                    <a:pt x="690" y="263"/>
                  </a:lnTo>
                  <a:lnTo>
                    <a:pt x="690" y="265"/>
                  </a:lnTo>
                  <a:lnTo>
                    <a:pt x="690" y="265"/>
                  </a:lnTo>
                  <a:lnTo>
                    <a:pt x="690" y="267"/>
                  </a:lnTo>
                  <a:lnTo>
                    <a:pt x="692" y="269"/>
                  </a:lnTo>
                  <a:lnTo>
                    <a:pt x="692" y="271"/>
                  </a:lnTo>
                  <a:lnTo>
                    <a:pt x="694" y="271"/>
                  </a:lnTo>
                  <a:lnTo>
                    <a:pt x="694" y="273"/>
                  </a:lnTo>
                  <a:lnTo>
                    <a:pt x="694" y="275"/>
                  </a:lnTo>
                  <a:lnTo>
                    <a:pt x="694" y="275"/>
                  </a:lnTo>
                  <a:lnTo>
                    <a:pt x="694" y="275"/>
                  </a:lnTo>
                  <a:lnTo>
                    <a:pt x="696" y="277"/>
                  </a:lnTo>
                  <a:lnTo>
                    <a:pt x="696" y="281"/>
                  </a:lnTo>
                  <a:lnTo>
                    <a:pt x="696" y="281"/>
                  </a:lnTo>
                  <a:lnTo>
                    <a:pt x="696" y="281"/>
                  </a:lnTo>
                  <a:lnTo>
                    <a:pt x="696" y="283"/>
                  </a:lnTo>
                  <a:lnTo>
                    <a:pt x="694" y="283"/>
                  </a:lnTo>
                  <a:lnTo>
                    <a:pt x="696" y="285"/>
                  </a:lnTo>
                  <a:lnTo>
                    <a:pt x="696" y="285"/>
                  </a:lnTo>
                  <a:lnTo>
                    <a:pt x="698" y="285"/>
                  </a:lnTo>
                  <a:lnTo>
                    <a:pt x="700" y="285"/>
                  </a:lnTo>
                  <a:lnTo>
                    <a:pt x="702" y="285"/>
                  </a:lnTo>
                  <a:lnTo>
                    <a:pt x="702" y="287"/>
                  </a:lnTo>
                  <a:lnTo>
                    <a:pt x="702" y="289"/>
                  </a:lnTo>
                  <a:lnTo>
                    <a:pt x="704" y="289"/>
                  </a:lnTo>
                  <a:lnTo>
                    <a:pt x="704" y="289"/>
                  </a:lnTo>
                  <a:lnTo>
                    <a:pt x="708" y="291"/>
                  </a:lnTo>
                  <a:lnTo>
                    <a:pt x="710" y="291"/>
                  </a:lnTo>
                  <a:lnTo>
                    <a:pt x="710" y="291"/>
                  </a:lnTo>
                  <a:lnTo>
                    <a:pt x="710" y="293"/>
                  </a:lnTo>
                  <a:lnTo>
                    <a:pt x="710" y="295"/>
                  </a:lnTo>
                  <a:lnTo>
                    <a:pt x="712" y="299"/>
                  </a:lnTo>
                  <a:lnTo>
                    <a:pt x="712" y="299"/>
                  </a:lnTo>
                  <a:lnTo>
                    <a:pt x="714" y="302"/>
                  </a:lnTo>
                  <a:lnTo>
                    <a:pt x="716" y="304"/>
                  </a:lnTo>
                  <a:lnTo>
                    <a:pt x="716" y="306"/>
                  </a:lnTo>
                  <a:lnTo>
                    <a:pt x="716" y="306"/>
                  </a:lnTo>
                  <a:lnTo>
                    <a:pt x="716" y="308"/>
                  </a:lnTo>
                  <a:lnTo>
                    <a:pt x="714" y="310"/>
                  </a:lnTo>
                  <a:lnTo>
                    <a:pt x="716" y="312"/>
                  </a:lnTo>
                  <a:lnTo>
                    <a:pt x="716" y="314"/>
                  </a:lnTo>
                  <a:lnTo>
                    <a:pt x="721" y="314"/>
                  </a:lnTo>
                  <a:lnTo>
                    <a:pt x="723" y="314"/>
                  </a:lnTo>
                  <a:lnTo>
                    <a:pt x="725" y="316"/>
                  </a:lnTo>
                  <a:lnTo>
                    <a:pt x="706" y="318"/>
                  </a:lnTo>
                  <a:lnTo>
                    <a:pt x="690" y="318"/>
                  </a:lnTo>
                  <a:lnTo>
                    <a:pt x="671" y="318"/>
                  </a:lnTo>
                  <a:lnTo>
                    <a:pt x="655" y="320"/>
                  </a:lnTo>
                  <a:lnTo>
                    <a:pt x="637" y="320"/>
                  </a:lnTo>
                  <a:lnTo>
                    <a:pt x="618" y="320"/>
                  </a:lnTo>
                  <a:lnTo>
                    <a:pt x="602" y="322"/>
                  </a:lnTo>
                  <a:lnTo>
                    <a:pt x="583" y="322"/>
                  </a:lnTo>
                  <a:lnTo>
                    <a:pt x="567" y="322"/>
                  </a:lnTo>
                  <a:lnTo>
                    <a:pt x="549" y="322"/>
                  </a:lnTo>
                  <a:lnTo>
                    <a:pt x="530" y="322"/>
                  </a:lnTo>
                  <a:lnTo>
                    <a:pt x="514" y="324"/>
                  </a:lnTo>
                  <a:lnTo>
                    <a:pt x="495" y="324"/>
                  </a:lnTo>
                  <a:lnTo>
                    <a:pt x="479" y="324"/>
                  </a:lnTo>
                  <a:lnTo>
                    <a:pt x="460" y="324"/>
                  </a:lnTo>
                  <a:lnTo>
                    <a:pt x="444" y="324"/>
                  </a:lnTo>
                  <a:lnTo>
                    <a:pt x="426" y="324"/>
                  </a:lnTo>
                  <a:lnTo>
                    <a:pt x="407" y="324"/>
                  </a:lnTo>
                  <a:lnTo>
                    <a:pt x="391" y="324"/>
                  </a:lnTo>
                  <a:lnTo>
                    <a:pt x="372" y="324"/>
                  </a:lnTo>
                  <a:lnTo>
                    <a:pt x="356" y="324"/>
                  </a:lnTo>
                  <a:lnTo>
                    <a:pt x="338" y="324"/>
                  </a:lnTo>
                  <a:lnTo>
                    <a:pt x="321" y="324"/>
                  </a:lnTo>
                  <a:lnTo>
                    <a:pt x="303" y="324"/>
                  </a:lnTo>
                  <a:lnTo>
                    <a:pt x="284" y="324"/>
                  </a:lnTo>
                  <a:lnTo>
                    <a:pt x="268" y="324"/>
                  </a:lnTo>
                  <a:lnTo>
                    <a:pt x="250" y="324"/>
                  </a:lnTo>
                  <a:lnTo>
                    <a:pt x="233" y="324"/>
                  </a:lnTo>
                  <a:lnTo>
                    <a:pt x="215" y="324"/>
                  </a:lnTo>
                  <a:lnTo>
                    <a:pt x="198" y="324"/>
                  </a:lnTo>
                  <a:lnTo>
                    <a:pt x="180" y="324"/>
                  </a:lnTo>
                  <a:lnTo>
                    <a:pt x="161" y="324"/>
                  </a:lnTo>
                  <a:lnTo>
                    <a:pt x="161" y="316"/>
                  </a:lnTo>
                  <a:lnTo>
                    <a:pt x="161" y="310"/>
                  </a:lnTo>
                  <a:lnTo>
                    <a:pt x="163" y="304"/>
                  </a:lnTo>
                  <a:lnTo>
                    <a:pt x="163" y="297"/>
                  </a:lnTo>
                  <a:lnTo>
                    <a:pt x="163" y="289"/>
                  </a:lnTo>
                  <a:lnTo>
                    <a:pt x="163" y="283"/>
                  </a:lnTo>
                  <a:lnTo>
                    <a:pt x="163" y="277"/>
                  </a:lnTo>
                  <a:lnTo>
                    <a:pt x="163" y="271"/>
                  </a:lnTo>
                  <a:lnTo>
                    <a:pt x="163" y="263"/>
                  </a:lnTo>
                  <a:lnTo>
                    <a:pt x="163" y="256"/>
                  </a:lnTo>
                  <a:lnTo>
                    <a:pt x="163" y="250"/>
                  </a:lnTo>
                  <a:lnTo>
                    <a:pt x="163" y="244"/>
                  </a:lnTo>
                  <a:lnTo>
                    <a:pt x="163" y="236"/>
                  </a:lnTo>
                  <a:lnTo>
                    <a:pt x="163" y="230"/>
                  </a:lnTo>
                  <a:lnTo>
                    <a:pt x="163" y="224"/>
                  </a:lnTo>
                  <a:lnTo>
                    <a:pt x="163" y="217"/>
                  </a:lnTo>
                  <a:lnTo>
                    <a:pt x="157" y="217"/>
                  </a:lnTo>
                  <a:lnTo>
                    <a:pt x="147" y="217"/>
                  </a:lnTo>
                  <a:lnTo>
                    <a:pt x="137" y="215"/>
                  </a:lnTo>
                  <a:lnTo>
                    <a:pt x="127" y="215"/>
                  </a:lnTo>
                  <a:lnTo>
                    <a:pt x="116" y="215"/>
                  </a:lnTo>
                  <a:lnTo>
                    <a:pt x="106" y="215"/>
                  </a:lnTo>
                  <a:lnTo>
                    <a:pt x="98" y="215"/>
                  </a:lnTo>
                  <a:lnTo>
                    <a:pt x="88" y="215"/>
                  </a:lnTo>
                  <a:lnTo>
                    <a:pt x="77" y="215"/>
                  </a:lnTo>
                  <a:lnTo>
                    <a:pt x="67" y="215"/>
                  </a:lnTo>
                  <a:lnTo>
                    <a:pt x="57" y="213"/>
                  </a:lnTo>
                  <a:lnTo>
                    <a:pt x="49" y="213"/>
                  </a:lnTo>
                  <a:lnTo>
                    <a:pt x="39" y="213"/>
                  </a:lnTo>
                  <a:lnTo>
                    <a:pt x="28" y="213"/>
                  </a:lnTo>
                  <a:lnTo>
                    <a:pt x="18" y="213"/>
                  </a:lnTo>
                  <a:lnTo>
                    <a:pt x="8" y="213"/>
                  </a:lnTo>
                  <a:lnTo>
                    <a:pt x="0" y="213"/>
                  </a:lnTo>
                  <a:lnTo>
                    <a:pt x="0" y="199"/>
                  </a:lnTo>
                  <a:lnTo>
                    <a:pt x="0" y="187"/>
                  </a:lnTo>
                  <a:lnTo>
                    <a:pt x="0" y="172"/>
                  </a:lnTo>
                  <a:lnTo>
                    <a:pt x="0" y="160"/>
                  </a:lnTo>
                  <a:lnTo>
                    <a:pt x="2" y="146"/>
                  </a:lnTo>
                  <a:lnTo>
                    <a:pt x="2" y="133"/>
                  </a:lnTo>
                  <a:lnTo>
                    <a:pt x="2" y="119"/>
                  </a:lnTo>
                  <a:lnTo>
                    <a:pt x="2" y="107"/>
                  </a:lnTo>
                  <a:lnTo>
                    <a:pt x="2" y="92"/>
                  </a:lnTo>
                  <a:lnTo>
                    <a:pt x="4" y="80"/>
                  </a:lnTo>
                  <a:lnTo>
                    <a:pt x="4" y="66"/>
                  </a:lnTo>
                  <a:lnTo>
                    <a:pt x="4" y="54"/>
                  </a:lnTo>
                  <a:lnTo>
                    <a:pt x="4" y="39"/>
                  </a:lnTo>
                  <a:lnTo>
                    <a:pt x="6" y="27"/>
                  </a:lnTo>
                  <a:lnTo>
                    <a:pt x="6" y="13"/>
                  </a:lnTo>
                  <a:lnTo>
                    <a:pt x="6" y="0"/>
                  </a:lnTo>
                  <a:lnTo>
                    <a:pt x="20" y="0"/>
                  </a:lnTo>
                  <a:lnTo>
                    <a:pt x="32" y="2"/>
                  </a:lnTo>
                  <a:lnTo>
                    <a:pt x="47" y="2"/>
                  </a:lnTo>
                  <a:lnTo>
                    <a:pt x="61" y="2"/>
                  </a:lnTo>
                  <a:lnTo>
                    <a:pt x="75" y="2"/>
                  </a:lnTo>
                  <a:lnTo>
                    <a:pt x="88" y="2"/>
                  </a:lnTo>
                  <a:lnTo>
                    <a:pt x="102" y="2"/>
                  </a:lnTo>
                  <a:lnTo>
                    <a:pt x="116" y="4"/>
                  </a:lnTo>
                  <a:lnTo>
                    <a:pt x="131" y="4"/>
                  </a:lnTo>
                  <a:lnTo>
                    <a:pt x="143" y="4"/>
                  </a:lnTo>
                  <a:lnTo>
                    <a:pt x="157" y="4"/>
                  </a:lnTo>
                  <a:lnTo>
                    <a:pt x="172" y="4"/>
                  </a:lnTo>
                  <a:lnTo>
                    <a:pt x="186" y="4"/>
                  </a:lnTo>
                  <a:lnTo>
                    <a:pt x="198" y="4"/>
                  </a:lnTo>
                  <a:lnTo>
                    <a:pt x="213" y="6"/>
                  </a:lnTo>
                  <a:lnTo>
                    <a:pt x="227" y="6"/>
                  </a:lnTo>
                  <a:lnTo>
                    <a:pt x="239" y="6"/>
                  </a:lnTo>
                  <a:lnTo>
                    <a:pt x="254" y="6"/>
                  </a:lnTo>
                  <a:lnTo>
                    <a:pt x="268" y="6"/>
                  </a:lnTo>
                  <a:lnTo>
                    <a:pt x="282" y="6"/>
                  </a:lnTo>
                  <a:lnTo>
                    <a:pt x="295" y="6"/>
                  </a:lnTo>
                  <a:lnTo>
                    <a:pt x="309" y="6"/>
                  </a:lnTo>
                  <a:lnTo>
                    <a:pt x="323" y="6"/>
                  </a:lnTo>
                  <a:lnTo>
                    <a:pt x="338" y="6"/>
                  </a:lnTo>
                  <a:lnTo>
                    <a:pt x="350" y="6"/>
                  </a:lnTo>
                  <a:lnTo>
                    <a:pt x="364" y="6"/>
                  </a:lnTo>
                  <a:lnTo>
                    <a:pt x="379" y="6"/>
                  </a:lnTo>
                  <a:lnTo>
                    <a:pt x="393" y="6"/>
                  </a:lnTo>
                  <a:lnTo>
                    <a:pt x="405" y="6"/>
                  </a:lnTo>
                  <a:lnTo>
                    <a:pt x="420" y="6"/>
                  </a:lnTo>
                  <a:lnTo>
                    <a:pt x="434" y="6"/>
                  </a:lnTo>
                  <a:lnTo>
                    <a:pt x="446" y="6"/>
                  </a:lnTo>
                  <a:lnTo>
                    <a:pt x="454" y="6"/>
                  </a:lnTo>
                  <a:lnTo>
                    <a:pt x="454" y="6"/>
                  </a:lnTo>
                  <a:lnTo>
                    <a:pt x="454" y="6"/>
                  </a:lnTo>
                  <a:lnTo>
                    <a:pt x="456" y="8"/>
                  </a:lnTo>
                  <a:lnTo>
                    <a:pt x="456" y="8"/>
                  </a:lnTo>
                  <a:lnTo>
                    <a:pt x="465" y="13"/>
                  </a:lnTo>
                  <a:lnTo>
                    <a:pt x="467" y="13"/>
                  </a:lnTo>
                  <a:lnTo>
                    <a:pt x="467" y="13"/>
                  </a:lnTo>
                  <a:lnTo>
                    <a:pt x="467" y="15"/>
                  </a:lnTo>
                  <a:lnTo>
                    <a:pt x="471" y="17"/>
                  </a:lnTo>
                  <a:lnTo>
                    <a:pt x="475" y="19"/>
                  </a:lnTo>
                  <a:lnTo>
                    <a:pt x="485" y="23"/>
                  </a:lnTo>
                  <a:lnTo>
                    <a:pt x="487" y="25"/>
                  </a:lnTo>
                  <a:lnTo>
                    <a:pt x="487" y="25"/>
                  </a:lnTo>
                  <a:lnTo>
                    <a:pt x="487" y="25"/>
                  </a:lnTo>
                  <a:lnTo>
                    <a:pt x="493" y="27"/>
                  </a:lnTo>
                  <a:lnTo>
                    <a:pt x="495" y="27"/>
                  </a:lnTo>
                  <a:lnTo>
                    <a:pt x="497" y="27"/>
                  </a:lnTo>
                  <a:lnTo>
                    <a:pt x="499" y="27"/>
                  </a:lnTo>
                  <a:lnTo>
                    <a:pt x="501" y="25"/>
                  </a:lnTo>
                  <a:lnTo>
                    <a:pt x="501" y="25"/>
                  </a:lnTo>
                  <a:lnTo>
                    <a:pt x="501" y="25"/>
                  </a:lnTo>
                  <a:lnTo>
                    <a:pt x="501" y="23"/>
                  </a:lnTo>
                  <a:lnTo>
                    <a:pt x="503" y="21"/>
                  </a:lnTo>
                  <a:lnTo>
                    <a:pt x="503" y="21"/>
                  </a:lnTo>
                  <a:lnTo>
                    <a:pt x="503" y="19"/>
                  </a:lnTo>
                  <a:lnTo>
                    <a:pt x="506" y="19"/>
                  </a:lnTo>
                  <a:lnTo>
                    <a:pt x="508" y="19"/>
                  </a:lnTo>
                  <a:lnTo>
                    <a:pt x="512" y="19"/>
                  </a:lnTo>
                  <a:lnTo>
                    <a:pt x="516" y="19"/>
                  </a:lnTo>
                  <a:lnTo>
                    <a:pt x="518" y="19"/>
                  </a:lnTo>
                  <a:lnTo>
                    <a:pt x="518" y="19"/>
                  </a:lnTo>
                  <a:lnTo>
                    <a:pt x="520" y="21"/>
                  </a:lnTo>
                  <a:lnTo>
                    <a:pt x="522" y="21"/>
                  </a:lnTo>
                  <a:lnTo>
                    <a:pt x="524" y="19"/>
                  </a:lnTo>
                  <a:lnTo>
                    <a:pt x="526" y="17"/>
                  </a:lnTo>
                  <a:lnTo>
                    <a:pt x="532" y="19"/>
                  </a:lnTo>
                  <a:lnTo>
                    <a:pt x="534" y="19"/>
                  </a:lnTo>
                  <a:lnTo>
                    <a:pt x="551" y="15"/>
                  </a:lnTo>
                  <a:lnTo>
                    <a:pt x="553" y="17"/>
                  </a:lnTo>
                  <a:lnTo>
                    <a:pt x="555" y="17"/>
                  </a:lnTo>
                  <a:lnTo>
                    <a:pt x="557" y="19"/>
                  </a:lnTo>
                  <a:lnTo>
                    <a:pt x="559" y="21"/>
                  </a:lnTo>
                  <a:lnTo>
                    <a:pt x="561" y="23"/>
                  </a:lnTo>
                  <a:lnTo>
                    <a:pt x="563" y="25"/>
                  </a:lnTo>
                  <a:lnTo>
                    <a:pt x="565" y="25"/>
                  </a:lnTo>
                  <a:lnTo>
                    <a:pt x="567" y="27"/>
                  </a:lnTo>
                  <a:lnTo>
                    <a:pt x="571" y="27"/>
                  </a:lnTo>
                  <a:lnTo>
                    <a:pt x="571" y="27"/>
                  </a:lnTo>
                  <a:lnTo>
                    <a:pt x="573" y="27"/>
                  </a:lnTo>
                  <a:lnTo>
                    <a:pt x="575" y="27"/>
                  </a:lnTo>
                  <a:lnTo>
                    <a:pt x="577" y="29"/>
                  </a:lnTo>
                  <a:lnTo>
                    <a:pt x="577" y="29"/>
                  </a:lnTo>
                  <a:lnTo>
                    <a:pt x="577" y="29"/>
                  </a:lnTo>
                  <a:lnTo>
                    <a:pt x="579" y="29"/>
                  </a:lnTo>
                  <a:lnTo>
                    <a:pt x="587" y="31"/>
                  </a:lnTo>
                  <a:lnTo>
                    <a:pt x="589" y="31"/>
                  </a:lnTo>
                  <a:lnTo>
                    <a:pt x="589" y="33"/>
                  </a:lnTo>
                  <a:lnTo>
                    <a:pt x="589" y="33"/>
                  </a:lnTo>
                  <a:lnTo>
                    <a:pt x="592" y="35"/>
                  </a:lnTo>
                  <a:lnTo>
                    <a:pt x="592" y="35"/>
                  </a:lnTo>
                  <a:lnTo>
                    <a:pt x="592" y="35"/>
                  </a:lnTo>
                  <a:lnTo>
                    <a:pt x="594" y="37"/>
                  </a:lnTo>
                  <a:lnTo>
                    <a:pt x="594" y="37"/>
                  </a:lnTo>
                  <a:lnTo>
                    <a:pt x="598" y="35"/>
                  </a:lnTo>
                  <a:lnTo>
                    <a:pt x="598" y="35"/>
                  </a:lnTo>
                  <a:lnTo>
                    <a:pt x="600" y="37"/>
                  </a:lnTo>
                  <a:lnTo>
                    <a:pt x="600" y="37"/>
                  </a:lnTo>
                  <a:lnTo>
                    <a:pt x="600" y="37"/>
                  </a:lnTo>
                  <a:lnTo>
                    <a:pt x="600" y="39"/>
                  </a:lnTo>
                  <a:lnTo>
                    <a:pt x="600" y="39"/>
                  </a:lnTo>
                  <a:lnTo>
                    <a:pt x="600" y="41"/>
                  </a:lnTo>
                  <a:lnTo>
                    <a:pt x="600" y="41"/>
                  </a:lnTo>
                  <a:lnTo>
                    <a:pt x="600" y="43"/>
                  </a:lnTo>
                  <a:lnTo>
                    <a:pt x="604" y="45"/>
                  </a:lnTo>
                  <a:lnTo>
                    <a:pt x="606" y="47"/>
                  </a:lnTo>
                  <a:lnTo>
                    <a:pt x="606" y="49"/>
                  </a:lnTo>
                  <a:lnTo>
                    <a:pt x="606" y="51"/>
                  </a:lnTo>
                  <a:lnTo>
                    <a:pt x="608" y="51"/>
                  </a:lnTo>
                  <a:lnTo>
                    <a:pt x="618" y="54"/>
                  </a:lnTo>
                  <a:lnTo>
                    <a:pt x="618" y="54"/>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E</a:t>
              </a:r>
            </a:p>
          </p:txBody>
        </p:sp>
        <p:sp>
          <p:nvSpPr>
            <p:cNvPr id="264" name="Freeform 27">
              <a:extLst>
                <a:ext uri="{FF2B5EF4-FFF2-40B4-BE49-F238E27FC236}">
                  <a16:creationId xmlns:a16="http://schemas.microsoft.com/office/drawing/2014/main" id="{DF5B7D7F-01E5-5385-D294-00A2B2F525CE}"/>
                </a:ext>
              </a:extLst>
            </p:cNvPr>
            <p:cNvSpPr>
              <a:spLocks/>
            </p:cNvSpPr>
            <p:nvPr/>
          </p:nvSpPr>
          <p:spPr bwMode="auto">
            <a:xfrm>
              <a:off x="2412" y="174"/>
              <a:ext cx="584" cy="320"/>
            </a:xfrm>
            <a:custGeom>
              <a:avLst/>
              <a:gdLst>
                <a:gd name="T0" fmla="*/ 528 w 584"/>
                <a:gd name="T1" fmla="*/ 318 h 320"/>
                <a:gd name="T2" fmla="*/ 455 w 584"/>
                <a:gd name="T3" fmla="*/ 320 h 320"/>
                <a:gd name="T4" fmla="*/ 383 w 584"/>
                <a:gd name="T5" fmla="*/ 320 h 320"/>
                <a:gd name="T6" fmla="*/ 309 w 584"/>
                <a:gd name="T7" fmla="*/ 320 h 320"/>
                <a:gd name="T8" fmla="*/ 238 w 584"/>
                <a:gd name="T9" fmla="*/ 320 h 320"/>
                <a:gd name="T10" fmla="*/ 164 w 584"/>
                <a:gd name="T11" fmla="*/ 320 h 320"/>
                <a:gd name="T12" fmla="*/ 92 w 584"/>
                <a:gd name="T13" fmla="*/ 318 h 320"/>
                <a:gd name="T14" fmla="*/ 19 w 584"/>
                <a:gd name="T15" fmla="*/ 316 h 320"/>
                <a:gd name="T16" fmla="*/ 2 w 584"/>
                <a:gd name="T17" fmla="*/ 256 h 320"/>
                <a:gd name="T18" fmla="*/ 4 w 584"/>
                <a:gd name="T19" fmla="*/ 177 h 320"/>
                <a:gd name="T20" fmla="*/ 6 w 584"/>
                <a:gd name="T21" fmla="*/ 99 h 320"/>
                <a:gd name="T22" fmla="*/ 10 w 584"/>
                <a:gd name="T23" fmla="*/ 21 h 320"/>
                <a:gd name="T24" fmla="*/ 47 w 584"/>
                <a:gd name="T25" fmla="*/ 2 h 320"/>
                <a:gd name="T26" fmla="*/ 115 w 584"/>
                <a:gd name="T27" fmla="*/ 4 h 320"/>
                <a:gd name="T28" fmla="*/ 180 w 584"/>
                <a:gd name="T29" fmla="*/ 4 h 320"/>
                <a:gd name="T30" fmla="*/ 229 w 584"/>
                <a:gd name="T31" fmla="*/ 6 h 320"/>
                <a:gd name="T32" fmla="*/ 297 w 584"/>
                <a:gd name="T33" fmla="*/ 6 h 320"/>
                <a:gd name="T34" fmla="*/ 363 w 584"/>
                <a:gd name="T35" fmla="*/ 6 h 320"/>
                <a:gd name="T36" fmla="*/ 428 w 584"/>
                <a:gd name="T37" fmla="*/ 4 h 320"/>
                <a:gd name="T38" fmla="*/ 496 w 584"/>
                <a:gd name="T39" fmla="*/ 4 h 320"/>
                <a:gd name="T40" fmla="*/ 522 w 584"/>
                <a:gd name="T41" fmla="*/ 6 h 320"/>
                <a:gd name="T42" fmla="*/ 524 w 584"/>
                <a:gd name="T43" fmla="*/ 13 h 320"/>
                <a:gd name="T44" fmla="*/ 526 w 584"/>
                <a:gd name="T45" fmla="*/ 19 h 320"/>
                <a:gd name="T46" fmla="*/ 533 w 584"/>
                <a:gd name="T47" fmla="*/ 33 h 320"/>
                <a:gd name="T48" fmla="*/ 528 w 584"/>
                <a:gd name="T49" fmla="*/ 49 h 320"/>
                <a:gd name="T50" fmla="*/ 533 w 584"/>
                <a:gd name="T51" fmla="*/ 62 h 320"/>
                <a:gd name="T52" fmla="*/ 533 w 584"/>
                <a:gd name="T53" fmla="*/ 74 h 320"/>
                <a:gd name="T54" fmla="*/ 533 w 584"/>
                <a:gd name="T55" fmla="*/ 88 h 320"/>
                <a:gd name="T56" fmla="*/ 539 w 584"/>
                <a:gd name="T57" fmla="*/ 107 h 320"/>
                <a:gd name="T58" fmla="*/ 543 w 584"/>
                <a:gd name="T59" fmla="*/ 117 h 320"/>
                <a:gd name="T60" fmla="*/ 543 w 584"/>
                <a:gd name="T61" fmla="*/ 123 h 320"/>
                <a:gd name="T62" fmla="*/ 545 w 584"/>
                <a:gd name="T63" fmla="*/ 125 h 320"/>
                <a:gd name="T64" fmla="*/ 549 w 584"/>
                <a:gd name="T65" fmla="*/ 131 h 320"/>
                <a:gd name="T66" fmla="*/ 553 w 584"/>
                <a:gd name="T67" fmla="*/ 142 h 320"/>
                <a:gd name="T68" fmla="*/ 555 w 584"/>
                <a:gd name="T69" fmla="*/ 146 h 320"/>
                <a:gd name="T70" fmla="*/ 555 w 584"/>
                <a:gd name="T71" fmla="*/ 150 h 320"/>
                <a:gd name="T72" fmla="*/ 555 w 584"/>
                <a:gd name="T73" fmla="*/ 156 h 320"/>
                <a:gd name="T74" fmla="*/ 555 w 584"/>
                <a:gd name="T75" fmla="*/ 166 h 320"/>
                <a:gd name="T76" fmla="*/ 557 w 584"/>
                <a:gd name="T77" fmla="*/ 183 h 320"/>
                <a:gd name="T78" fmla="*/ 557 w 584"/>
                <a:gd name="T79" fmla="*/ 191 h 320"/>
                <a:gd name="T80" fmla="*/ 559 w 584"/>
                <a:gd name="T81" fmla="*/ 201 h 320"/>
                <a:gd name="T82" fmla="*/ 561 w 584"/>
                <a:gd name="T83" fmla="*/ 211 h 320"/>
                <a:gd name="T84" fmla="*/ 561 w 584"/>
                <a:gd name="T85" fmla="*/ 213 h 320"/>
                <a:gd name="T86" fmla="*/ 563 w 584"/>
                <a:gd name="T87" fmla="*/ 215 h 320"/>
                <a:gd name="T88" fmla="*/ 563 w 584"/>
                <a:gd name="T89" fmla="*/ 217 h 320"/>
                <a:gd name="T90" fmla="*/ 561 w 584"/>
                <a:gd name="T91" fmla="*/ 226 h 320"/>
                <a:gd name="T92" fmla="*/ 561 w 584"/>
                <a:gd name="T93" fmla="*/ 230 h 320"/>
                <a:gd name="T94" fmla="*/ 561 w 584"/>
                <a:gd name="T95" fmla="*/ 242 h 320"/>
                <a:gd name="T96" fmla="*/ 565 w 584"/>
                <a:gd name="T97" fmla="*/ 250 h 320"/>
                <a:gd name="T98" fmla="*/ 567 w 584"/>
                <a:gd name="T99" fmla="*/ 261 h 320"/>
                <a:gd name="T100" fmla="*/ 569 w 584"/>
                <a:gd name="T101" fmla="*/ 263 h 320"/>
                <a:gd name="T102" fmla="*/ 578 w 584"/>
                <a:gd name="T103" fmla="*/ 275 h 320"/>
                <a:gd name="T104" fmla="*/ 580 w 584"/>
                <a:gd name="T105" fmla="*/ 287 h 320"/>
                <a:gd name="T106" fmla="*/ 582 w 584"/>
                <a:gd name="T107" fmla="*/ 293 h 320"/>
                <a:gd name="T108" fmla="*/ 582 w 584"/>
                <a:gd name="T109" fmla="*/ 299 h 320"/>
                <a:gd name="T110" fmla="*/ 582 w 584"/>
                <a:gd name="T111" fmla="*/ 31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320">
                  <a:moveTo>
                    <a:pt x="584" y="316"/>
                  </a:moveTo>
                  <a:lnTo>
                    <a:pt x="565" y="318"/>
                  </a:lnTo>
                  <a:lnTo>
                    <a:pt x="547" y="318"/>
                  </a:lnTo>
                  <a:lnTo>
                    <a:pt x="528" y="318"/>
                  </a:lnTo>
                  <a:lnTo>
                    <a:pt x="510" y="318"/>
                  </a:lnTo>
                  <a:lnTo>
                    <a:pt x="492" y="318"/>
                  </a:lnTo>
                  <a:lnTo>
                    <a:pt x="473" y="320"/>
                  </a:lnTo>
                  <a:lnTo>
                    <a:pt x="455" y="320"/>
                  </a:lnTo>
                  <a:lnTo>
                    <a:pt x="436" y="320"/>
                  </a:lnTo>
                  <a:lnTo>
                    <a:pt x="420" y="320"/>
                  </a:lnTo>
                  <a:lnTo>
                    <a:pt x="402" y="320"/>
                  </a:lnTo>
                  <a:lnTo>
                    <a:pt x="383" y="320"/>
                  </a:lnTo>
                  <a:lnTo>
                    <a:pt x="365" y="320"/>
                  </a:lnTo>
                  <a:lnTo>
                    <a:pt x="346" y="320"/>
                  </a:lnTo>
                  <a:lnTo>
                    <a:pt x="328" y="320"/>
                  </a:lnTo>
                  <a:lnTo>
                    <a:pt x="309" y="320"/>
                  </a:lnTo>
                  <a:lnTo>
                    <a:pt x="291" y="320"/>
                  </a:lnTo>
                  <a:lnTo>
                    <a:pt x="272" y="320"/>
                  </a:lnTo>
                  <a:lnTo>
                    <a:pt x="256" y="320"/>
                  </a:lnTo>
                  <a:lnTo>
                    <a:pt x="238" y="320"/>
                  </a:lnTo>
                  <a:lnTo>
                    <a:pt x="219" y="320"/>
                  </a:lnTo>
                  <a:lnTo>
                    <a:pt x="201" y="320"/>
                  </a:lnTo>
                  <a:lnTo>
                    <a:pt x="182" y="320"/>
                  </a:lnTo>
                  <a:lnTo>
                    <a:pt x="164" y="320"/>
                  </a:lnTo>
                  <a:lnTo>
                    <a:pt x="145" y="320"/>
                  </a:lnTo>
                  <a:lnTo>
                    <a:pt x="127" y="318"/>
                  </a:lnTo>
                  <a:lnTo>
                    <a:pt x="111" y="318"/>
                  </a:lnTo>
                  <a:lnTo>
                    <a:pt x="92" y="318"/>
                  </a:lnTo>
                  <a:lnTo>
                    <a:pt x="74" y="318"/>
                  </a:lnTo>
                  <a:lnTo>
                    <a:pt x="55" y="316"/>
                  </a:lnTo>
                  <a:lnTo>
                    <a:pt x="37" y="316"/>
                  </a:lnTo>
                  <a:lnTo>
                    <a:pt x="19" y="316"/>
                  </a:lnTo>
                  <a:lnTo>
                    <a:pt x="0" y="316"/>
                  </a:lnTo>
                  <a:lnTo>
                    <a:pt x="0" y="295"/>
                  </a:lnTo>
                  <a:lnTo>
                    <a:pt x="2" y="275"/>
                  </a:lnTo>
                  <a:lnTo>
                    <a:pt x="2" y="256"/>
                  </a:lnTo>
                  <a:lnTo>
                    <a:pt x="2" y="236"/>
                  </a:lnTo>
                  <a:lnTo>
                    <a:pt x="4" y="215"/>
                  </a:lnTo>
                  <a:lnTo>
                    <a:pt x="4" y="197"/>
                  </a:lnTo>
                  <a:lnTo>
                    <a:pt x="4" y="177"/>
                  </a:lnTo>
                  <a:lnTo>
                    <a:pt x="6" y="156"/>
                  </a:lnTo>
                  <a:lnTo>
                    <a:pt x="6" y="138"/>
                  </a:lnTo>
                  <a:lnTo>
                    <a:pt x="6" y="117"/>
                  </a:lnTo>
                  <a:lnTo>
                    <a:pt x="6" y="99"/>
                  </a:lnTo>
                  <a:lnTo>
                    <a:pt x="8" y="78"/>
                  </a:lnTo>
                  <a:lnTo>
                    <a:pt x="8" y="60"/>
                  </a:lnTo>
                  <a:lnTo>
                    <a:pt x="8" y="39"/>
                  </a:lnTo>
                  <a:lnTo>
                    <a:pt x="10" y="21"/>
                  </a:lnTo>
                  <a:lnTo>
                    <a:pt x="10" y="0"/>
                  </a:lnTo>
                  <a:lnTo>
                    <a:pt x="14" y="0"/>
                  </a:lnTo>
                  <a:lnTo>
                    <a:pt x="31" y="2"/>
                  </a:lnTo>
                  <a:lnTo>
                    <a:pt x="47" y="2"/>
                  </a:lnTo>
                  <a:lnTo>
                    <a:pt x="64" y="2"/>
                  </a:lnTo>
                  <a:lnTo>
                    <a:pt x="82" y="2"/>
                  </a:lnTo>
                  <a:lnTo>
                    <a:pt x="98" y="4"/>
                  </a:lnTo>
                  <a:lnTo>
                    <a:pt x="115" y="4"/>
                  </a:lnTo>
                  <a:lnTo>
                    <a:pt x="131" y="4"/>
                  </a:lnTo>
                  <a:lnTo>
                    <a:pt x="148" y="4"/>
                  </a:lnTo>
                  <a:lnTo>
                    <a:pt x="164" y="4"/>
                  </a:lnTo>
                  <a:lnTo>
                    <a:pt x="180" y="4"/>
                  </a:lnTo>
                  <a:lnTo>
                    <a:pt x="197" y="4"/>
                  </a:lnTo>
                  <a:lnTo>
                    <a:pt x="211" y="6"/>
                  </a:lnTo>
                  <a:lnTo>
                    <a:pt x="213" y="6"/>
                  </a:lnTo>
                  <a:lnTo>
                    <a:pt x="229" y="6"/>
                  </a:lnTo>
                  <a:lnTo>
                    <a:pt x="246" y="6"/>
                  </a:lnTo>
                  <a:lnTo>
                    <a:pt x="262" y="6"/>
                  </a:lnTo>
                  <a:lnTo>
                    <a:pt x="281" y="6"/>
                  </a:lnTo>
                  <a:lnTo>
                    <a:pt x="297" y="6"/>
                  </a:lnTo>
                  <a:lnTo>
                    <a:pt x="313" y="6"/>
                  </a:lnTo>
                  <a:lnTo>
                    <a:pt x="330" y="6"/>
                  </a:lnTo>
                  <a:lnTo>
                    <a:pt x="346" y="6"/>
                  </a:lnTo>
                  <a:lnTo>
                    <a:pt x="363" y="6"/>
                  </a:lnTo>
                  <a:lnTo>
                    <a:pt x="379" y="6"/>
                  </a:lnTo>
                  <a:lnTo>
                    <a:pt x="395" y="6"/>
                  </a:lnTo>
                  <a:lnTo>
                    <a:pt x="412" y="6"/>
                  </a:lnTo>
                  <a:lnTo>
                    <a:pt x="428" y="4"/>
                  </a:lnTo>
                  <a:lnTo>
                    <a:pt x="445" y="4"/>
                  </a:lnTo>
                  <a:lnTo>
                    <a:pt x="461" y="4"/>
                  </a:lnTo>
                  <a:lnTo>
                    <a:pt x="479" y="4"/>
                  </a:lnTo>
                  <a:lnTo>
                    <a:pt x="496" y="4"/>
                  </a:lnTo>
                  <a:lnTo>
                    <a:pt x="512" y="4"/>
                  </a:lnTo>
                  <a:lnTo>
                    <a:pt x="522" y="4"/>
                  </a:lnTo>
                  <a:lnTo>
                    <a:pt x="522" y="4"/>
                  </a:lnTo>
                  <a:lnTo>
                    <a:pt x="522" y="6"/>
                  </a:lnTo>
                  <a:lnTo>
                    <a:pt x="522" y="8"/>
                  </a:lnTo>
                  <a:lnTo>
                    <a:pt x="524" y="8"/>
                  </a:lnTo>
                  <a:lnTo>
                    <a:pt x="524" y="11"/>
                  </a:lnTo>
                  <a:lnTo>
                    <a:pt x="524" y="13"/>
                  </a:lnTo>
                  <a:lnTo>
                    <a:pt x="524" y="13"/>
                  </a:lnTo>
                  <a:lnTo>
                    <a:pt x="526" y="15"/>
                  </a:lnTo>
                  <a:lnTo>
                    <a:pt x="526" y="15"/>
                  </a:lnTo>
                  <a:lnTo>
                    <a:pt x="526" y="19"/>
                  </a:lnTo>
                  <a:lnTo>
                    <a:pt x="528" y="25"/>
                  </a:lnTo>
                  <a:lnTo>
                    <a:pt x="531" y="29"/>
                  </a:lnTo>
                  <a:lnTo>
                    <a:pt x="531" y="29"/>
                  </a:lnTo>
                  <a:lnTo>
                    <a:pt x="533" y="33"/>
                  </a:lnTo>
                  <a:lnTo>
                    <a:pt x="533" y="39"/>
                  </a:lnTo>
                  <a:lnTo>
                    <a:pt x="533" y="41"/>
                  </a:lnTo>
                  <a:lnTo>
                    <a:pt x="531" y="45"/>
                  </a:lnTo>
                  <a:lnTo>
                    <a:pt x="528" y="49"/>
                  </a:lnTo>
                  <a:lnTo>
                    <a:pt x="531" y="56"/>
                  </a:lnTo>
                  <a:lnTo>
                    <a:pt x="531" y="60"/>
                  </a:lnTo>
                  <a:lnTo>
                    <a:pt x="533" y="62"/>
                  </a:lnTo>
                  <a:lnTo>
                    <a:pt x="533" y="62"/>
                  </a:lnTo>
                  <a:lnTo>
                    <a:pt x="533" y="64"/>
                  </a:lnTo>
                  <a:lnTo>
                    <a:pt x="531" y="66"/>
                  </a:lnTo>
                  <a:lnTo>
                    <a:pt x="531" y="66"/>
                  </a:lnTo>
                  <a:lnTo>
                    <a:pt x="533" y="74"/>
                  </a:lnTo>
                  <a:lnTo>
                    <a:pt x="533" y="74"/>
                  </a:lnTo>
                  <a:lnTo>
                    <a:pt x="533" y="76"/>
                  </a:lnTo>
                  <a:lnTo>
                    <a:pt x="533" y="82"/>
                  </a:lnTo>
                  <a:lnTo>
                    <a:pt x="533" y="88"/>
                  </a:lnTo>
                  <a:lnTo>
                    <a:pt x="533" y="90"/>
                  </a:lnTo>
                  <a:lnTo>
                    <a:pt x="535" y="95"/>
                  </a:lnTo>
                  <a:lnTo>
                    <a:pt x="539" y="103"/>
                  </a:lnTo>
                  <a:lnTo>
                    <a:pt x="539" y="107"/>
                  </a:lnTo>
                  <a:lnTo>
                    <a:pt x="541" y="109"/>
                  </a:lnTo>
                  <a:lnTo>
                    <a:pt x="543" y="113"/>
                  </a:lnTo>
                  <a:lnTo>
                    <a:pt x="541" y="115"/>
                  </a:lnTo>
                  <a:lnTo>
                    <a:pt x="543" y="117"/>
                  </a:lnTo>
                  <a:lnTo>
                    <a:pt x="545" y="123"/>
                  </a:lnTo>
                  <a:lnTo>
                    <a:pt x="545" y="123"/>
                  </a:lnTo>
                  <a:lnTo>
                    <a:pt x="543" y="123"/>
                  </a:lnTo>
                  <a:lnTo>
                    <a:pt x="543" y="123"/>
                  </a:lnTo>
                  <a:lnTo>
                    <a:pt x="545" y="125"/>
                  </a:lnTo>
                  <a:lnTo>
                    <a:pt x="545" y="125"/>
                  </a:lnTo>
                  <a:lnTo>
                    <a:pt x="545" y="125"/>
                  </a:lnTo>
                  <a:lnTo>
                    <a:pt x="545" y="125"/>
                  </a:lnTo>
                  <a:lnTo>
                    <a:pt x="545" y="125"/>
                  </a:lnTo>
                  <a:lnTo>
                    <a:pt x="547" y="127"/>
                  </a:lnTo>
                  <a:lnTo>
                    <a:pt x="547" y="129"/>
                  </a:lnTo>
                  <a:lnTo>
                    <a:pt x="549" y="131"/>
                  </a:lnTo>
                  <a:lnTo>
                    <a:pt x="549" y="133"/>
                  </a:lnTo>
                  <a:lnTo>
                    <a:pt x="551" y="136"/>
                  </a:lnTo>
                  <a:lnTo>
                    <a:pt x="551" y="138"/>
                  </a:lnTo>
                  <a:lnTo>
                    <a:pt x="553" y="142"/>
                  </a:lnTo>
                  <a:lnTo>
                    <a:pt x="553" y="144"/>
                  </a:lnTo>
                  <a:lnTo>
                    <a:pt x="555" y="146"/>
                  </a:lnTo>
                  <a:lnTo>
                    <a:pt x="555" y="146"/>
                  </a:lnTo>
                  <a:lnTo>
                    <a:pt x="555" y="146"/>
                  </a:lnTo>
                  <a:lnTo>
                    <a:pt x="555" y="146"/>
                  </a:lnTo>
                  <a:lnTo>
                    <a:pt x="555" y="148"/>
                  </a:lnTo>
                  <a:lnTo>
                    <a:pt x="555" y="148"/>
                  </a:lnTo>
                  <a:lnTo>
                    <a:pt x="555" y="150"/>
                  </a:lnTo>
                  <a:lnTo>
                    <a:pt x="555" y="152"/>
                  </a:lnTo>
                  <a:lnTo>
                    <a:pt x="555" y="154"/>
                  </a:lnTo>
                  <a:lnTo>
                    <a:pt x="555" y="156"/>
                  </a:lnTo>
                  <a:lnTo>
                    <a:pt x="555" y="156"/>
                  </a:lnTo>
                  <a:lnTo>
                    <a:pt x="555" y="162"/>
                  </a:lnTo>
                  <a:lnTo>
                    <a:pt x="555" y="164"/>
                  </a:lnTo>
                  <a:lnTo>
                    <a:pt x="555" y="164"/>
                  </a:lnTo>
                  <a:lnTo>
                    <a:pt x="555" y="166"/>
                  </a:lnTo>
                  <a:lnTo>
                    <a:pt x="555" y="166"/>
                  </a:lnTo>
                  <a:lnTo>
                    <a:pt x="557" y="168"/>
                  </a:lnTo>
                  <a:lnTo>
                    <a:pt x="557" y="181"/>
                  </a:lnTo>
                  <a:lnTo>
                    <a:pt x="557" y="183"/>
                  </a:lnTo>
                  <a:lnTo>
                    <a:pt x="557" y="189"/>
                  </a:lnTo>
                  <a:lnTo>
                    <a:pt x="557" y="191"/>
                  </a:lnTo>
                  <a:lnTo>
                    <a:pt x="557" y="191"/>
                  </a:lnTo>
                  <a:lnTo>
                    <a:pt x="557" y="191"/>
                  </a:lnTo>
                  <a:lnTo>
                    <a:pt x="557" y="193"/>
                  </a:lnTo>
                  <a:lnTo>
                    <a:pt x="557" y="195"/>
                  </a:lnTo>
                  <a:lnTo>
                    <a:pt x="559" y="199"/>
                  </a:lnTo>
                  <a:lnTo>
                    <a:pt x="559" y="201"/>
                  </a:lnTo>
                  <a:lnTo>
                    <a:pt x="559" y="207"/>
                  </a:lnTo>
                  <a:lnTo>
                    <a:pt x="559" y="209"/>
                  </a:lnTo>
                  <a:lnTo>
                    <a:pt x="559" y="209"/>
                  </a:lnTo>
                  <a:lnTo>
                    <a:pt x="561" y="211"/>
                  </a:lnTo>
                  <a:lnTo>
                    <a:pt x="561" y="211"/>
                  </a:lnTo>
                  <a:lnTo>
                    <a:pt x="561" y="213"/>
                  </a:lnTo>
                  <a:lnTo>
                    <a:pt x="561" y="213"/>
                  </a:lnTo>
                  <a:lnTo>
                    <a:pt x="561" y="213"/>
                  </a:lnTo>
                  <a:lnTo>
                    <a:pt x="561" y="213"/>
                  </a:lnTo>
                  <a:lnTo>
                    <a:pt x="563" y="213"/>
                  </a:lnTo>
                  <a:lnTo>
                    <a:pt x="563" y="213"/>
                  </a:lnTo>
                  <a:lnTo>
                    <a:pt x="563" y="215"/>
                  </a:lnTo>
                  <a:lnTo>
                    <a:pt x="563" y="215"/>
                  </a:lnTo>
                  <a:lnTo>
                    <a:pt x="563" y="215"/>
                  </a:lnTo>
                  <a:lnTo>
                    <a:pt x="563" y="215"/>
                  </a:lnTo>
                  <a:lnTo>
                    <a:pt x="563" y="217"/>
                  </a:lnTo>
                  <a:lnTo>
                    <a:pt x="563" y="220"/>
                  </a:lnTo>
                  <a:lnTo>
                    <a:pt x="561" y="220"/>
                  </a:lnTo>
                  <a:lnTo>
                    <a:pt x="563" y="224"/>
                  </a:lnTo>
                  <a:lnTo>
                    <a:pt x="561" y="226"/>
                  </a:lnTo>
                  <a:lnTo>
                    <a:pt x="561" y="226"/>
                  </a:lnTo>
                  <a:lnTo>
                    <a:pt x="561" y="228"/>
                  </a:lnTo>
                  <a:lnTo>
                    <a:pt x="561" y="228"/>
                  </a:lnTo>
                  <a:lnTo>
                    <a:pt x="561" y="230"/>
                  </a:lnTo>
                  <a:lnTo>
                    <a:pt x="563" y="234"/>
                  </a:lnTo>
                  <a:lnTo>
                    <a:pt x="563" y="236"/>
                  </a:lnTo>
                  <a:lnTo>
                    <a:pt x="563" y="238"/>
                  </a:lnTo>
                  <a:lnTo>
                    <a:pt x="561" y="242"/>
                  </a:lnTo>
                  <a:lnTo>
                    <a:pt x="561" y="244"/>
                  </a:lnTo>
                  <a:lnTo>
                    <a:pt x="563" y="246"/>
                  </a:lnTo>
                  <a:lnTo>
                    <a:pt x="565" y="248"/>
                  </a:lnTo>
                  <a:lnTo>
                    <a:pt x="565" y="250"/>
                  </a:lnTo>
                  <a:lnTo>
                    <a:pt x="567" y="254"/>
                  </a:lnTo>
                  <a:lnTo>
                    <a:pt x="567" y="256"/>
                  </a:lnTo>
                  <a:lnTo>
                    <a:pt x="567" y="258"/>
                  </a:lnTo>
                  <a:lnTo>
                    <a:pt x="567" y="261"/>
                  </a:lnTo>
                  <a:lnTo>
                    <a:pt x="567" y="261"/>
                  </a:lnTo>
                  <a:lnTo>
                    <a:pt x="569" y="263"/>
                  </a:lnTo>
                  <a:lnTo>
                    <a:pt x="569" y="263"/>
                  </a:lnTo>
                  <a:lnTo>
                    <a:pt x="569" y="263"/>
                  </a:lnTo>
                  <a:lnTo>
                    <a:pt x="569" y="265"/>
                  </a:lnTo>
                  <a:lnTo>
                    <a:pt x="569" y="267"/>
                  </a:lnTo>
                  <a:lnTo>
                    <a:pt x="574" y="273"/>
                  </a:lnTo>
                  <a:lnTo>
                    <a:pt x="578" y="275"/>
                  </a:lnTo>
                  <a:lnTo>
                    <a:pt x="578" y="277"/>
                  </a:lnTo>
                  <a:lnTo>
                    <a:pt x="580" y="279"/>
                  </a:lnTo>
                  <a:lnTo>
                    <a:pt x="580" y="285"/>
                  </a:lnTo>
                  <a:lnTo>
                    <a:pt x="580" y="287"/>
                  </a:lnTo>
                  <a:lnTo>
                    <a:pt x="580" y="289"/>
                  </a:lnTo>
                  <a:lnTo>
                    <a:pt x="580" y="289"/>
                  </a:lnTo>
                  <a:lnTo>
                    <a:pt x="582" y="293"/>
                  </a:lnTo>
                  <a:lnTo>
                    <a:pt x="582" y="293"/>
                  </a:lnTo>
                  <a:lnTo>
                    <a:pt x="582" y="293"/>
                  </a:lnTo>
                  <a:lnTo>
                    <a:pt x="582" y="295"/>
                  </a:lnTo>
                  <a:lnTo>
                    <a:pt x="582" y="295"/>
                  </a:lnTo>
                  <a:lnTo>
                    <a:pt x="582" y="299"/>
                  </a:lnTo>
                  <a:lnTo>
                    <a:pt x="582" y="302"/>
                  </a:lnTo>
                  <a:lnTo>
                    <a:pt x="582" y="304"/>
                  </a:lnTo>
                  <a:lnTo>
                    <a:pt x="582" y="306"/>
                  </a:lnTo>
                  <a:lnTo>
                    <a:pt x="582" y="310"/>
                  </a:lnTo>
                  <a:lnTo>
                    <a:pt x="584" y="316"/>
                  </a:lnTo>
                  <a:lnTo>
                    <a:pt x="584" y="316"/>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D</a:t>
              </a:r>
            </a:p>
          </p:txBody>
        </p:sp>
        <p:sp>
          <p:nvSpPr>
            <p:cNvPr id="265" name="Freeform 28">
              <a:extLst>
                <a:ext uri="{FF2B5EF4-FFF2-40B4-BE49-F238E27FC236}">
                  <a16:creationId xmlns:a16="http://schemas.microsoft.com/office/drawing/2014/main" id="{D1F8AACF-ACF0-93CC-093B-251B1482FBD8}"/>
                </a:ext>
              </a:extLst>
            </p:cNvPr>
            <p:cNvSpPr>
              <a:spLocks noEditPoints="1"/>
            </p:cNvSpPr>
            <p:nvPr/>
          </p:nvSpPr>
          <p:spPr bwMode="auto">
            <a:xfrm>
              <a:off x="4115" y="1262"/>
              <a:ext cx="764" cy="332"/>
            </a:xfrm>
            <a:custGeom>
              <a:avLst/>
              <a:gdLst>
                <a:gd name="T0" fmla="*/ 588 w 764"/>
                <a:gd name="T1" fmla="*/ 287 h 332"/>
                <a:gd name="T2" fmla="*/ 678 w 764"/>
                <a:gd name="T3" fmla="*/ 214 h 332"/>
                <a:gd name="T4" fmla="*/ 690 w 764"/>
                <a:gd name="T5" fmla="*/ 216 h 332"/>
                <a:gd name="T6" fmla="*/ 721 w 764"/>
                <a:gd name="T7" fmla="*/ 162 h 332"/>
                <a:gd name="T8" fmla="*/ 760 w 764"/>
                <a:gd name="T9" fmla="*/ 91 h 332"/>
                <a:gd name="T10" fmla="*/ 762 w 764"/>
                <a:gd name="T11" fmla="*/ 123 h 332"/>
                <a:gd name="T12" fmla="*/ 750 w 764"/>
                <a:gd name="T13" fmla="*/ 140 h 332"/>
                <a:gd name="T14" fmla="*/ 731 w 764"/>
                <a:gd name="T15" fmla="*/ 66 h 332"/>
                <a:gd name="T16" fmla="*/ 711 w 764"/>
                <a:gd name="T17" fmla="*/ 19 h 332"/>
                <a:gd name="T18" fmla="*/ 723 w 764"/>
                <a:gd name="T19" fmla="*/ 46 h 332"/>
                <a:gd name="T20" fmla="*/ 745 w 764"/>
                <a:gd name="T21" fmla="*/ 72 h 332"/>
                <a:gd name="T22" fmla="*/ 729 w 764"/>
                <a:gd name="T23" fmla="*/ 101 h 332"/>
                <a:gd name="T24" fmla="*/ 735 w 764"/>
                <a:gd name="T25" fmla="*/ 87 h 332"/>
                <a:gd name="T26" fmla="*/ 717 w 764"/>
                <a:gd name="T27" fmla="*/ 66 h 332"/>
                <a:gd name="T28" fmla="*/ 709 w 764"/>
                <a:gd name="T29" fmla="*/ 97 h 332"/>
                <a:gd name="T30" fmla="*/ 698 w 764"/>
                <a:gd name="T31" fmla="*/ 84 h 332"/>
                <a:gd name="T32" fmla="*/ 682 w 764"/>
                <a:gd name="T33" fmla="*/ 74 h 332"/>
                <a:gd name="T34" fmla="*/ 643 w 764"/>
                <a:gd name="T35" fmla="*/ 72 h 332"/>
                <a:gd name="T36" fmla="*/ 637 w 764"/>
                <a:gd name="T37" fmla="*/ 50 h 332"/>
                <a:gd name="T38" fmla="*/ 674 w 764"/>
                <a:gd name="T39" fmla="*/ 56 h 332"/>
                <a:gd name="T40" fmla="*/ 676 w 764"/>
                <a:gd name="T41" fmla="*/ 48 h 332"/>
                <a:gd name="T42" fmla="*/ 688 w 764"/>
                <a:gd name="T43" fmla="*/ 41 h 332"/>
                <a:gd name="T44" fmla="*/ 702 w 764"/>
                <a:gd name="T45" fmla="*/ 41 h 332"/>
                <a:gd name="T46" fmla="*/ 711 w 764"/>
                <a:gd name="T47" fmla="*/ 39 h 332"/>
                <a:gd name="T48" fmla="*/ 700 w 764"/>
                <a:gd name="T49" fmla="*/ 17 h 332"/>
                <a:gd name="T50" fmla="*/ 614 w 764"/>
                <a:gd name="T51" fmla="*/ 19 h 332"/>
                <a:gd name="T52" fmla="*/ 254 w 764"/>
                <a:gd name="T53" fmla="*/ 84 h 332"/>
                <a:gd name="T54" fmla="*/ 203 w 764"/>
                <a:gd name="T55" fmla="*/ 121 h 332"/>
                <a:gd name="T56" fmla="*/ 172 w 764"/>
                <a:gd name="T57" fmla="*/ 148 h 332"/>
                <a:gd name="T58" fmla="*/ 147 w 764"/>
                <a:gd name="T59" fmla="*/ 162 h 332"/>
                <a:gd name="T60" fmla="*/ 135 w 764"/>
                <a:gd name="T61" fmla="*/ 166 h 332"/>
                <a:gd name="T62" fmla="*/ 115 w 764"/>
                <a:gd name="T63" fmla="*/ 179 h 332"/>
                <a:gd name="T64" fmla="*/ 104 w 764"/>
                <a:gd name="T65" fmla="*/ 197 h 332"/>
                <a:gd name="T66" fmla="*/ 76 w 764"/>
                <a:gd name="T67" fmla="*/ 218 h 332"/>
                <a:gd name="T68" fmla="*/ 49 w 764"/>
                <a:gd name="T69" fmla="*/ 230 h 332"/>
                <a:gd name="T70" fmla="*/ 22 w 764"/>
                <a:gd name="T71" fmla="*/ 250 h 332"/>
                <a:gd name="T72" fmla="*/ 8 w 764"/>
                <a:gd name="T73" fmla="*/ 269 h 332"/>
                <a:gd name="T74" fmla="*/ 55 w 764"/>
                <a:gd name="T75" fmla="*/ 291 h 332"/>
                <a:gd name="T76" fmla="*/ 143 w 764"/>
                <a:gd name="T77" fmla="*/ 263 h 332"/>
                <a:gd name="T78" fmla="*/ 168 w 764"/>
                <a:gd name="T79" fmla="*/ 250 h 332"/>
                <a:gd name="T80" fmla="*/ 285 w 764"/>
                <a:gd name="T81" fmla="*/ 238 h 332"/>
                <a:gd name="T82" fmla="*/ 297 w 764"/>
                <a:gd name="T83" fmla="*/ 240 h 332"/>
                <a:gd name="T84" fmla="*/ 397 w 764"/>
                <a:gd name="T85" fmla="*/ 255 h 332"/>
                <a:gd name="T86" fmla="*/ 528 w 764"/>
                <a:gd name="T87" fmla="*/ 332 h 332"/>
                <a:gd name="T88" fmla="*/ 577 w 764"/>
                <a:gd name="T89" fmla="*/ 304 h 332"/>
                <a:gd name="T90" fmla="*/ 596 w 764"/>
                <a:gd name="T91" fmla="*/ 263 h 332"/>
                <a:gd name="T92" fmla="*/ 614 w 764"/>
                <a:gd name="T93" fmla="*/ 228 h 332"/>
                <a:gd name="T94" fmla="*/ 618 w 764"/>
                <a:gd name="T95" fmla="*/ 236 h 332"/>
                <a:gd name="T96" fmla="*/ 637 w 764"/>
                <a:gd name="T97" fmla="*/ 216 h 332"/>
                <a:gd name="T98" fmla="*/ 680 w 764"/>
                <a:gd name="T99" fmla="*/ 209 h 332"/>
                <a:gd name="T100" fmla="*/ 694 w 764"/>
                <a:gd name="T101" fmla="*/ 191 h 332"/>
                <a:gd name="T102" fmla="*/ 698 w 764"/>
                <a:gd name="T103" fmla="*/ 171 h 332"/>
                <a:gd name="T104" fmla="*/ 688 w 764"/>
                <a:gd name="T105" fmla="*/ 171 h 332"/>
                <a:gd name="T106" fmla="*/ 676 w 764"/>
                <a:gd name="T107" fmla="*/ 183 h 332"/>
                <a:gd name="T108" fmla="*/ 635 w 764"/>
                <a:gd name="T109" fmla="*/ 177 h 332"/>
                <a:gd name="T110" fmla="*/ 674 w 764"/>
                <a:gd name="T111" fmla="*/ 160 h 332"/>
                <a:gd name="T112" fmla="*/ 680 w 764"/>
                <a:gd name="T113" fmla="*/ 152 h 332"/>
                <a:gd name="T114" fmla="*/ 629 w 764"/>
                <a:gd name="T115" fmla="*/ 132 h 332"/>
                <a:gd name="T116" fmla="*/ 666 w 764"/>
                <a:gd name="T117" fmla="*/ 134 h 332"/>
                <a:gd name="T118" fmla="*/ 668 w 764"/>
                <a:gd name="T119" fmla="*/ 128 h 332"/>
                <a:gd name="T120" fmla="*/ 682 w 764"/>
                <a:gd name="T121" fmla="*/ 125 h 332"/>
                <a:gd name="T122" fmla="*/ 696 w 764"/>
                <a:gd name="T123" fmla="*/ 136 h 332"/>
                <a:gd name="T124" fmla="*/ 717 w 764"/>
                <a:gd name="T125"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332">
                  <a:moveTo>
                    <a:pt x="580" y="320"/>
                  </a:moveTo>
                  <a:lnTo>
                    <a:pt x="580" y="320"/>
                  </a:lnTo>
                  <a:lnTo>
                    <a:pt x="577" y="320"/>
                  </a:lnTo>
                  <a:lnTo>
                    <a:pt x="575" y="320"/>
                  </a:lnTo>
                  <a:lnTo>
                    <a:pt x="575" y="322"/>
                  </a:lnTo>
                  <a:lnTo>
                    <a:pt x="577" y="324"/>
                  </a:lnTo>
                  <a:lnTo>
                    <a:pt x="577" y="324"/>
                  </a:lnTo>
                  <a:lnTo>
                    <a:pt x="580" y="324"/>
                  </a:lnTo>
                  <a:lnTo>
                    <a:pt x="582" y="324"/>
                  </a:lnTo>
                  <a:lnTo>
                    <a:pt x="582" y="324"/>
                  </a:lnTo>
                  <a:lnTo>
                    <a:pt x="582" y="318"/>
                  </a:lnTo>
                  <a:lnTo>
                    <a:pt x="580" y="320"/>
                  </a:lnTo>
                  <a:lnTo>
                    <a:pt x="580" y="320"/>
                  </a:lnTo>
                  <a:close/>
                  <a:moveTo>
                    <a:pt x="586" y="289"/>
                  </a:moveTo>
                  <a:lnTo>
                    <a:pt x="584" y="291"/>
                  </a:lnTo>
                  <a:lnTo>
                    <a:pt x="584" y="296"/>
                  </a:lnTo>
                  <a:lnTo>
                    <a:pt x="584" y="298"/>
                  </a:lnTo>
                  <a:lnTo>
                    <a:pt x="586" y="296"/>
                  </a:lnTo>
                  <a:lnTo>
                    <a:pt x="586" y="293"/>
                  </a:lnTo>
                  <a:lnTo>
                    <a:pt x="586" y="287"/>
                  </a:lnTo>
                  <a:lnTo>
                    <a:pt x="588" y="287"/>
                  </a:lnTo>
                  <a:lnTo>
                    <a:pt x="588" y="287"/>
                  </a:lnTo>
                  <a:lnTo>
                    <a:pt x="588" y="287"/>
                  </a:lnTo>
                  <a:lnTo>
                    <a:pt x="588" y="287"/>
                  </a:lnTo>
                  <a:lnTo>
                    <a:pt x="586" y="289"/>
                  </a:lnTo>
                  <a:close/>
                  <a:moveTo>
                    <a:pt x="618" y="242"/>
                  </a:moveTo>
                  <a:lnTo>
                    <a:pt x="616" y="246"/>
                  </a:lnTo>
                  <a:lnTo>
                    <a:pt x="614" y="246"/>
                  </a:lnTo>
                  <a:lnTo>
                    <a:pt x="612" y="246"/>
                  </a:lnTo>
                  <a:lnTo>
                    <a:pt x="602" y="257"/>
                  </a:lnTo>
                  <a:lnTo>
                    <a:pt x="600" y="261"/>
                  </a:lnTo>
                  <a:lnTo>
                    <a:pt x="600" y="265"/>
                  </a:lnTo>
                  <a:lnTo>
                    <a:pt x="600" y="263"/>
                  </a:lnTo>
                  <a:lnTo>
                    <a:pt x="608" y="253"/>
                  </a:lnTo>
                  <a:lnTo>
                    <a:pt x="608" y="253"/>
                  </a:lnTo>
                  <a:lnTo>
                    <a:pt x="612" y="250"/>
                  </a:lnTo>
                  <a:lnTo>
                    <a:pt x="618" y="244"/>
                  </a:lnTo>
                  <a:lnTo>
                    <a:pt x="620" y="242"/>
                  </a:lnTo>
                  <a:lnTo>
                    <a:pt x="620" y="242"/>
                  </a:lnTo>
                  <a:lnTo>
                    <a:pt x="620" y="242"/>
                  </a:lnTo>
                  <a:lnTo>
                    <a:pt x="620" y="242"/>
                  </a:lnTo>
                  <a:lnTo>
                    <a:pt x="620" y="242"/>
                  </a:lnTo>
                  <a:lnTo>
                    <a:pt x="618" y="242"/>
                  </a:lnTo>
                  <a:close/>
                  <a:moveTo>
                    <a:pt x="686" y="214"/>
                  </a:moveTo>
                  <a:lnTo>
                    <a:pt x="686" y="212"/>
                  </a:lnTo>
                  <a:lnTo>
                    <a:pt x="680" y="212"/>
                  </a:lnTo>
                  <a:lnTo>
                    <a:pt x="678" y="212"/>
                  </a:lnTo>
                  <a:lnTo>
                    <a:pt x="678" y="214"/>
                  </a:lnTo>
                  <a:lnTo>
                    <a:pt x="678" y="214"/>
                  </a:lnTo>
                  <a:lnTo>
                    <a:pt x="684" y="214"/>
                  </a:lnTo>
                  <a:lnTo>
                    <a:pt x="688" y="216"/>
                  </a:lnTo>
                  <a:lnTo>
                    <a:pt x="688" y="216"/>
                  </a:lnTo>
                  <a:lnTo>
                    <a:pt x="688" y="216"/>
                  </a:lnTo>
                  <a:lnTo>
                    <a:pt x="688" y="214"/>
                  </a:lnTo>
                  <a:lnTo>
                    <a:pt x="686" y="214"/>
                  </a:lnTo>
                  <a:close/>
                  <a:moveTo>
                    <a:pt x="670" y="212"/>
                  </a:moveTo>
                  <a:lnTo>
                    <a:pt x="655" y="216"/>
                  </a:lnTo>
                  <a:lnTo>
                    <a:pt x="643" y="222"/>
                  </a:lnTo>
                  <a:lnTo>
                    <a:pt x="641" y="222"/>
                  </a:lnTo>
                  <a:lnTo>
                    <a:pt x="639" y="224"/>
                  </a:lnTo>
                  <a:lnTo>
                    <a:pt x="661" y="214"/>
                  </a:lnTo>
                  <a:lnTo>
                    <a:pt x="663" y="214"/>
                  </a:lnTo>
                  <a:lnTo>
                    <a:pt x="676" y="212"/>
                  </a:lnTo>
                  <a:lnTo>
                    <a:pt x="674" y="212"/>
                  </a:lnTo>
                  <a:lnTo>
                    <a:pt x="670" y="212"/>
                  </a:lnTo>
                  <a:close/>
                  <a:moveTo>
                    <a:pt x="709" y="179"/>
                  </a:moveTo>
                  <a:lnTo>
                    <a:pt x="707" y="181"/>
                  </a:lnTo>
                  <a:lnTo>
                    <a:pt x="707" y="181"/>
                  </a:lnTo>
                  <a:lnTo>
                    <a:pt x="707" y="181"/>
                  </a:lnTo>
                  <a:lnTo>
                    <a:pt x="702" y="185"/>
                  </a:lnTo>
                  <a:lnTo>
                    <a:pt x="696" y="197"/>
                  </a:lnTo>
                  <a:lnTo>
                    <a:pt x="690" y="216"/>
                  </a:lnTo>
                  <a:lnTo>
                    <a:pt x="690" y="218"/>
                  </a:lnTo>
                  <a:lnTo>
                    <a:pt x="690" y="220"/>
                  </a:lnTo>
                  <a:lnTo>
                    <a:pt x="690" y="218"/>
                  </a:lnTo>
                  <a:lnTo>
                    <a:pt x="698" y="197"/>
                  </a:lnTo>
                  <a:lnTo>
                    <a:pt x="700" y="191"/>
                  </a:lnTo>
                  <a:lnTo>
                    <a:pt x="702" y="189"/>
                  </a:lnTo>
                  <a:lnTo>
                    <a:pt x="704" y="187"/>
                  </a:lnTo>
                  <a:lnTo>
                    <a:pt x="709" y="183"/>
                  </a:lnTo>
                  <a:lnTo>
                    <a:pt x="711" y="181"/>
                  </a:lnTo>
                  <a:lnTo>
                    <a:pt x="711" y="177"/>
                  </a:lnTo>
                  <a:lnTo>
                    <a:pt x="711" y="177"/>
                  </a:lnTo>
                  <a:lnTo>
                    <a:pt x="709" y="179"/>
                  </a:lnTo>
                  <a:close/>
                  <a:moveTo>
                    <a:pt x="719" y="160"/>
                  </a:moveTo>
                  <a:lnTo>
                    <a:pt x="719" y="160"/>
                  </a:lnTo>
                  <a:lnTo>
                    <a:pt x="719" y="162"/>
                  </a:lnTo>
                  <a:lnTo>
                    <a:pt x="719" y="162"/>
                  </a:lnTo>
                  <a:lnTo>
                    <a:pt x="717" y="164"/>
                  </a:lnTo>
                  <a:lnTo>
                    <a:pt x="717" y="164"/>
                  </a:lnTo>
                  <a:lnTo>
                    <a:pt x="717" y="166"/>
                  </a:lnTo>
                  <a:lnTo>
                    <a:pt x="715" y="168"/>
                  </a:lnTo>
                  <a:lnTo>
                    <a:pt x="715" y="171"/>
                  </a:lnTo>
                  <a:lnTo>
                    <a:pt x="715" y="171"/>
                  </a:lnTo>
                  <a:lnTo>
                    <a:pt x="717" y="168"/>
                  </a:lnTo>
                  <a:lnTo>
                    <a:pt x="721" y="162"/>
                  </a:lnTo>
                  <a:lnTo>
                    <a:pt x="721" y="162"/>
                  </a:lnTo>
                  <a:lnTo>
                    <a:pt x="723" y="162"/>
                  </a:lnTo>
                  <a:lnTo>
                    <a:pt x="723" y="162"/>
                  </a:lnTo>
                  <a:lnTo>
                    <a:pt x="723" y="160"/>
                  </a:lnTo>
                  <a:lnTo>
                    <a:pt x="721" y="160"/>
                  </a:lnTo>
                  <a:lnTo>
                    <a:pt x="719" y="160"/>
                  </a:lnTo>
                  <a:close/>
                  <a:moveTo>
                    <a:pt x="733" y="148"/>
                  </a:moveTo>
                  <a:lnTo>
                    <a:pt x="729" y="152"/>
                  </a:lnTo>
                  <a:lnTo>
                    <a:pt x="727" y="154"/>
                  </a:lnTo>
                  <a:lnTo>
                    <a:pt x="725" y="154"/>
                  </a:lnTo>
                  <a:lnTo>
                    <a:pt x="725" y="156"/>
                  </a:lnTo>
                  <a:lnTo>
                    <a:pt x="725" y="158"/>
                  </a:lnTo>
                  <a:lnTo>
                    <a:pt x="723" y="160"/>
                  </a:lnTo>
                  <a:lnTo>
                    <a:pt x="731" y="150"/>
                  </a:lnTo>
                  <a:lnTo>
                    <a:pt x="739" y="146"/>
                  </a:lnTo>
                  <a:lnTo>
                    <a:pt x="741" y="144"/>
                  </a:lnTo>
                  <a:lnTo>
                    <a:pt x="741" y="144"/>
                  </a:lnTo>
                  <a:lnTo>
                    <a:pt x="741" y="142"/>
                  </a:lnTo>
                  <a:lnTo>
                    <a:pt x="743" y="142"/>
                  </a:lnTo>
                  <a:lnTo>
                    <a:pt x="739" y="144"/>
                  </a:lnTo>
                  <a:lnTo>
                    <a:pt x="733" y="148"/>
                  </a:lnTo>
                  <a:close/>
                  <a:moveTo>
                    <a:pt x="762" y="103"/>
                  </a:moveTo>
                  <a:lnTo>
                    <a:pt x="762" y="95"/>
                  </a:lnTo>
                  <a:lnTo>
                    <a:pt x="760" y="91"/>
                  </a:lnTo>
                  <a:lnTo>
                    <a:pt x="758" y="87"/>
                  </a:lnTo>
                  <a:lnTo>
                    <a:pt x="756" y="84"/>
                  </a:lnTo>
                  <a:lnTo>
                    <a:pt x="756" y="82"/>
                  </a:lnTo>
                  <a:lnTo>
                    <a:pt x="754" y="78"/>
                  </a:lnTo>
                  <a:lnTo>
                    <a:pt x="752" y="76"/>
                  </a:lnTo>
                  <a:lnTo>
                    <a:pt x="750" y="76"/>
                  </a:lnTo>
                  <a:lnTo>
                    <a:pt x="750" y="76"/>
                  </a:lnTo>
                  <a:lnTo>
                    <a:pt x="752" y="78"/>
                  </a:lnTo>
                  <a:lnTo>
                    <a:pt x="754" y="80"/>
                  </a:lnTo>
                  <a:lnTo>
                    <a:pt x="754" y="82"/>
                  </a:lnTo>
                  <a:lnTo>
                    <a:pt x="758" y="91"/>
                  </a:lnTo>
                  <a:lnTo>
                    <a:pt x="760" y="95"/>
                  </a:lnTo>
                  <a:lnTo>
                    <a:pt x="760" y="97"/>
                  </a:lnTo>
                  <a:lnTo>
                    <a:pt x="760" y="99"/>
                  </a:lnTo>
                  <a:lnTo>
                    <a:pt x="760" y="101"/>
                  </a:lnTo>
                  <a:lnTo>
                    <a:pt x="760" y="103"/>
                  </a:lnTo>
                  <a:lnTo>
                    <a:pt x="760" y="103"/>
                  </a:lnTo>
                  <a:lnTo>
                    <a:pt x="760" y="105"/>
                  </a:lnTo>
                  <a:lnTo>
                    <a:pt x="760" y="107"/>
                  </a:lnTo>
                  <a:lnTo>
                    <a:pt x="762" y="109"/>
                  </a:lnTo>
                  <a:lnTo>
                    <a:pt x="762" y="113"/>
                  </a:lnTo>
                  <a:lnTo>
                    <a:pt x="762" y="117"/>
                  </a:lnTo>
                  <a:lnTo>
                    <a:pt x="762" y="123"/>
                  </a:lnTo>
                  <a:lnTo>
                    <a:pt x="762" y="123"/>
                  </a:lnTo>
                  <a:lnTo>
                    <a:pt x="762" y="128"/>
                  </a:lnTo>
                  <a:lnTo>
                    <a:pt x="760" y="130"/>
                  </a:lnTo>
                  <a:lnTo>
                    <a:pt x="756" y="134"/>
                  </a:lnTo>
                  <a:lnTo>
                    <a:pt x="750" y="138"/>
                  </a:lnTo>
                  <a:lnTo>
                    <a:pt x="750" y="138"/>
                  </a:lnTo>
                  <a:lnTo>
                    <a:pt x="750" y="138"/>
                  </a:lnTo>
                  <a:lnTo>
                    <a:pt x="750" y="136"/>
                  </a:lnTo>
                  <a:lnTo>
                    <a:pt x="750" y="136"/>
                  </a:lnTo>
                  <a:lnTo>
                    <a:pt x="750" y="136"/>
                  </a:lnTo>
                  <a:lnTo>
                    <a:pt x="747" y="138"/>
                  </a:lnTo>
                  <a:lnTo>
                    <a:pt x="750" y="138"/>
                  </a:lnTo>
                  <a:lnTo>
                    <a:pt x="747" y="138"/>
                  </a:lnTo>
                  <a:lnTo>
                    <a:pt x="747" y="138"/>
                  </a:lnTo>
                  <a:lnTo>
                    <a:pt x="747" y="140"/>
                  </a:lnTo>
                  <a:lnTo>
                    <a:pt x="747" y="140"/>
                  </a:lnTo>
                  <a:lnTo>
                    <a:pt x="747" y="140"/>
                  </a:lnTo>
                  <a:lnTo>
                    <a:pt x="745" y="140"/>
                  </a:lnTo>
                  <a:lnTo>
                    <a:pt x="745" y="142"/>
                  </a:lnTo>
                  <a:lnTo>
                    <a:pt x="745" y="142"/>
                  </a:lnTo>
                  <a:lnTo>
                    <a:pt x="747" y="142"/>
                  </a:lnTo>
                  <a:lnTo>
                    <a:pt x="747" y="142"/>
                  </a:lnTo>
                  <a:lnTo>
                    <a:pt x="747" y="140"/>
                  </a:lnTo>
                  <a:lnTo>
                    <a:pt x="750" y="140"/>
                  </a:lnTo>
                  <a:lnTo>
                    <a:pt x="750" y="140"/>
                  </a:lnTo>
                  <a:lnTo>
                    <a:pt x="754" y="138"/>
                  </a:lnTo>
                  <a:lnTo>
                    <a:pt x="756" y="136"/>
                  </a:lnTo>
                  <a:lnTo>
                    <a:pt x="758" y="134"/>
                  </a:lnTo>
                  <a:lnTo>
                    <a:pt x="760" y="134"/>
                  </a:lnTo>
                  <a:lnTo>
                    <a:pt x="762" y="134"/>
                  </a:lnTo>
                  <a:lnTo>
                    <a:pt x="762" y="132"/>
                  </a:lnTo>
                  <a:lnTo>
                    <a:pt x="764" y="130"/>
                  </a:lnTo>
                  <a:lnTo>
                    <a:pt x="764" y="121"/>
                  </a:lnTo>
                  <a:lnTo>
                    <a:pt x="762" y="103"/>
                  </a:lnTo>
                  <a:close/>
                  <a:moveTo>
                    <a:pt x="737" y="66"/>
                  </a:moveTo>
                  <a:lnTo>
                    <a:pt x="735" y="64"/>
                  </a:lnTo>
                  <a:lnTo>
                    <a:pt x="735" y="64"/>
                  </a:lnTo>
                  <a:lnTo>
                    <a:pt x="733" y="62"/>
                  </a:lnTo>
                  <a:lnTo>
                    <a:pt x="733" y="62"/>
                  </a:lnTo>
                  <a:lnTo>
                    <a:pt x="733" y="62"/>
                  </a:lnTo>
                  <a:lnTo>
                    <a:pt x="731" y="62"/>
                  </a:lnTo>
                  <a:lnTo>
                    <a:pt x="731" y="62"/>
                  </a:lnTo>
                  <a:lnTo>
                    <a:pt x="729" y="62"/>
                  </a:lnTo>
                  <a:lnTo>
                    <a:pt x="729" y="62"/>
                  </a:lnTo>
                  <a:lnTo>
                    <a:pt x="729" y="64"/>
                  </a:lnTo>
                  <a:lnTo>
                    <a:pt x="729" y="64"/>
                  </a:lnTo>
                  <a:lnTo>
                    <a:pt x="729" y="64"/>
                  </a:lnTo>
                  <a:lnTo>
                    <a:pt x="731" y="64"/>
                  </a:lnTo>
                  <a:lnTo>
                    <a:pt x="731" y="66"/>
                  </a:lnTo>
                  <a:lnTo>
                    <a:pt x="733" y="68"/>
                  </a:lnTo>
                  <a:lnTo>
                    <a:pt x="735" y="68"/>
                  </a:lnTo>
                  <a:lnTo>
                    <a:pt x="735" y="70"/>
                  </a:lnTo>
                  <a:lnTo>
                    <a:pt x="737" y="72"/>
                  </a:lnTo>
                  <a:lnTo>
                    <a:pt x="739" y="72"/>
                  </a:lnTo>
                  <a:lnTo>
                    <a:pt x="739" y="72"/>
                  </a:lnTo>
                  <a:lnTo>
                    <a:pt x="739" y="72"/>
                  </a:lnTo>
                  <a:lnTo>
                    <a:pt x="739" y="70"/>
                  </a:lnTo>
                  <a:lnTo>
                    <a:pt x="741" y="68"/>
                  </a:lnTo>
                  <a:lnTo>
                    <a:pt x="737" y="66"/>
                  </a:lnTo>
                  <a:close/>
                  <a:moveTo>
                    <a:pt x="745" y="72"/>
                  </a:moveTo>
                  <a:lnTo>
                    <a:pt x="745" y="74"/>
                  </a:lnTo>
                  <a:lnTo>
                    <a:pt x="747" y="74"/>
                  </a:lnTo>
                  <a:lnTo>
                    <a:pt x="750" y="74"/>
                  </a:lnTo>
                  <a:lnTo>
                    <a:pt x="750" y="74"/>
                  </a:lnTo>
                  <a:lnTo>
                    <a:pt x="745" y="68"/>
                  </a:lnTo>
                  <a:lnTo>
                    <a:pt x="743" y="64"/>
                  </a:lnTo>
                  <a:lnTo>
                    <a:pt x="725" y="43"/>
                  </a:lnTo>
                  <a:lnTo>
                    <a:pt x="719" y="33"/>
                  </a:lnTo>
                  <a:lnTo>
                    <a:pt x="715" y="27"/>
                  </a:lnTo>
                  <a:lnTo>
                    <a:pt x="715" y="27"/>
                  </a:lnTo>
                  <a:lnTo>
                    <a:pt x="715" y="23"/>
                  </a:lnTo>
                  <a:lnTo>
                    <a:pt x="713" y="21"/>
                  </a:lnTo>
                  <a:lnTo>
                    <a:pt x="711" y="19"/>
                  </a:lnTo>
                  <a:lnTo>
                    <a:pt x="704" y="0"/>
                  </a:lnTo>
                  <a:lnTo>
                    <a:pt x="704" y="0"/>
                  </a:lnTo>
                  <a:lnTo>
                    <a:pt x="702" y="2"/>
                  </a:lnTo>
                  <a:lnTo>
                    <a:pt x="702" y="2"/>
                  </a:lnTo>
                  <a:lnTo>
                    <a:pt x="702" y="2"/>
                  </a:lnTo>
                  <a:lnTo>
                    <a:pt x="702" y="2"/>
                  </a:lnTo>
                  <a:lnTo>
                    <a:pt x="704" y="7"/>
                  </a:lnTo>
                  <a:lnTo>
                    <a:pt x="704" y="9"/>
                  </a:lnTo>
                  <a:lnTo>
                    <a:pt x="707" y="11"/>
                  </a:lnTo>
                  <a:lnTo>
                    <a:pt x="707" y="13"/>
                  </a:lnTo>
                  <a:lnTo>
                    <a:pt x="709" y="15"/>
                  </a:lnTo>
                  <a:lnTo>
                    <a:pt x="711" y="17"/>
                  </a:lnTo>
                  <a:lnTo>
                    <a:pt x="713" y="23"/>
                  </a:lnTo>
                  <a:lnTo>
                    <a:pt x="713" y="27"/>
                  </a:lnTo>
                  <a:lnTo>
                    <a:pt x="713" y="27"/>
                  </a:lnTo>
                  <a:lnTo>
                    <a:pt x="713" y="27"/>
                  </a:lnTo>
                  <a:lnTo>
                    <a:pt x="713" y="27"/>
                  </a:lnTo>
                  <a:lnTo>
                    <a:pt x="713" y="27"/>
                  </a:lnTo>
                  <a:lnTo>
                    <a:pt x="715" y="29"/>
                  </a:lnTo>
                  <a:lnTo>
                    <a:pt x="719" y="33"/>
                  </a:lnTo>
                  <a:lnTo>
                    <a:pt x="719" y="35"/>
                  </a:lnTo>
                  <a:lnTo>
                    <a:pt x="721" y="39"/>
                  </a:lnTo>
                  <a:lnTo>
                    <a:pt x="723" y="41"/>
                  </a:lnTo>
                  <a:lnTo>
                    <a:pt x="723" y="46"/>
                  </a:lnTo>
                  <a:lnTo>
                    <a:pt x="723" y="46"/>
                  </a:lnTo>
                  <a:lnTo>
                    <a:pt x="725" y="48"/>
                  </a:lnTo>
                  <a:lnTo>
                    <a:pt x="725" y="50"/>
                  </a:lnTo>
                  <a:lnTo>
                    <a:pt x="727" y="50"/>
                  </a:lnTo>
                  <a:lnTo>
                    <a:pt x="727" y="52"/>
                  </a:lnTo>
                  <a:lnTo>
                    <a:pt x="729" y="50"/>
                  </a:lnTo>
                  <a:lnTo>
                    <a:pt x="729" y="50"/>
                  </a:lnTo>
                  <a:lnTo>
                    <a:pt x="731" y="52"/>
                  </a:lnTo>
                  <a:lnTo>
                    <a:pt x="731" y="54"/>
                  </a:lnTo>
                  <a:lnTo>
                    <a:pt x="729" y="54"/>
                  </a:lnTo>
                  <a:lnTo>
                    <a:pt x="729" y="54"/>
                  </a:lnTo>
                  <a:lnTo>
                    <a:pt x="727" y="54"/>
                  </a:lnTo>
                  <a:lnTo>
                    <a:pt x="727" y="56"/>
                  </a:lnTo>
                  <a:lnTo>
                    <a:pt x="729" y="56"/>
                  </a:lnTo>
                  <a:lnTo>
                    <a:pt x="731" y="56"/>
                  </a:lnTo>
                  <a:lnTo>
                    <a:pt x="731" y="56"/>
                  </a:lnTo>
                  <a:lnTo>
                    <a:pt x="731" y="56"/>
                  </a:lnTo>
                  <a:lnTo>
                    <a:pt x="739" y="62"/>
                  </a:lnTo>
                  <a:lnTo>
                    <a:pt x="741" y="64"/>
                  </a:lnTo>
                  <a:lnTo>
                    <a:pt x="743" y="68"/>
                  </a:lnTo>
                  <a:lnTo>
                    <a:pt x="743" y="70"/>
                  </a:lnTo>
                  <a:lnTo>
                    <a:pt x="745" y="70"/>
                  </a:lnTo>
                  <a:lnTo>
                    <a:pt x="745" y="72"/>
                  </a:lnTo>
                  <a:lnTo>
                    <a:pt x="745" y="72"/>
                  </a:lnTo>
                  <a:close/>
                  <a:moveTo>
                    <a:pt x="694" y="7"/>
                  </a:moveTo>
                  <a:lnTo>
                    <a:pt x="694" y="7"/>
                  </a:lnTo>
                  <a:lnTo>
                    <a:pt x="694" y="9"/>
                  </a:lnTo>
                  <a:lnTo>
                    <a:pt x="696" y="9"/>
                  </a:lnTo>
                  <a:lnTo>
                    <a:pt x="700" y="9"/>
                  </a:lnTo>
                  <a:lnTo>
                    <a:pt x="700" y="9"/>
                  </a:lnTo>
                  <a:lnTo>
                    <a:pt x="700" y="7"/>
                  </a:lnTo>
                  <a:lnTo>
                    <a:pt x="700" y="7"/>
                  </a:lnTo>
                  <a:lnTo>
                    <a:pt x="700" y="5"/>
                  </a:lnTo>
                  <a:lnTo>
                    <a:pt x="698" y="2"/>
                  </a:lnTo>
                  <a:lnTo>
                    <a:pt x="698" y="2"/>
                  </a:lnTo>
                  <a:lnTo>
                    <a:pt x="698" y="2"/>
                  </a:lnTo>
                  <a:lnTo>
                    <a:pt x="696" y="2"/>
                  </a:lnTo>
                  <a:lnTo>
                    <a:pt x="696" y="5"/>
                  </a:lnTo>
                  <a:lnTo>
                    <a:pt x="694" y="5"/>
                  </a:lnTo>
                  <a:lnTo>
                    <a:pt x="694" y="2"/>
                  </a:lnTo>
                  <a:lnTo>
                    <a:pt x="690" y="5"/>
                  </a:lnTo>
                  <a:lnTo>
                    <a:pt x="690" y="5"/>
                  </a:lnTo>
                  <a:lnTo>
                    <a:pt x="694" y="7"/>
                  </a:lnTo>
                  <a:close/>
                  <a:moveTo>
                    <a:pt x="723" y="101"/>
                  </a:moveTo>
                  <a:lnTo>
                    <a:pt x="725" y="101"/>
                  </a:lnTo>
                  <a:lnTo>
                    <a:pt x="727" y="103"/>
                  </a:lnTo>
                  <a:lnTo>
                    <a:pt x="729" y="101"/>
                  </a:lnTo>
                  <a:lnTo>
                    <a:pt x="729" y="101"/>
                  </a:lnTo>
                  <a:lnTo>
                    <a:pt x="729" y="101"/>
                  </a:lnTo>
                  <a:lnTo>
                    <a:pt x="729" y="101"/>
                  </a:lnTo>
                  <a:lnTo>
                    <a:pt x="729" y="103"/>
                  </a:lnTo>
                  <a:lnTo>
                    <a:pt x="729" y="103"/>
                  </a:lnTo>
                  <a:lnTo>
                    <a:pt x="727" y="103"/>
                  </a:lnTo>
                  <a:lnTo>
                    <a:pt x="727" y="105"/>
                  </a:lnTo>
                  <a:lnTo>
                    <a:pt x="731" y="103"/>
                  </a:lnTo>
                  <a:lnTo>
                    <a:pt x="731" y="103"/>
                  </a:lnTo>
                  <a:lnTo>
                    <a:pt x="733" y="103"/>
                  </a:lnTo>
                  <a:lnTo>
                    <a:pt x="733" y="101"/>
                  </a:lnTo>
                  <a:lnTo>
                    <a:pt x="731" y="101"/>
                  </a:lnTo>
                  <a:lnTo>
                    <a:pt x="731" y="99"/>
                  </a:lnTo>
                  <a:lnTo>
                    <a:pt x="733" y="99"/>
                  </a:lnTo>
                  <a:lnTo>
                    <a:pt x="733" y="99"/>
                  </a:lnTo>
                  <a:lnTo>
                    <a:pt x="733" y="99"/>
                  </a:lnTo>
                  <a:lnTo>
                    <a:pt x="733" y="99"/>
                  </a:lnTo>
                  <a:lnTo>
                    <a:pt x="735" y="95"/>
                  </a:lnTo>
                  <a:lnTo>
                    <a:pt x="735" y="95"/>
                  </a:lnTo>
                  <a:lnTo>
                    <a:pt x="731" y="93"/>
                  </a:lnTo>
                  <a:lnTo>
                    <a:pt x="731" y="91"/>
                  </a:lnTo>
                  <a:lnTo>
                    <a:pt x="731" y="89"/>
                  </a:lnTo>
                  <a:lnTo>
                    <a:pt x="733" y="89"/>
                  </a:lnTo>
                  <a:lnTo>
                    <a:pt x="735" y="89"/>
                  </a:lnTo>
                  <a:lnTo>
                    <a:pt x="735" y="87"/>
                  </a:lnTo>
                  <a:lnTo>
                    <a:pt x="735" y="84"/>
                  </a:lnTo>
                  <a:lnTo>
                    <a:pt x="733" y="84"/>
                  </a:lnTo>
                  <a:lnTo>
                    <a:pt x="731" y="82"/>
                  </a:lnTo>
                  <a:lnTo>
                    <a:pt x="731" y="80"/>
                  </a:lnTo>
                  <a:lnTo>
                    <a:pt x="731" y="80"/>
                  </a:lnTo>
                  <a:lnTo>
                    <a:pt x="731" y="78"/>
                  </a:lnTo>
                  <a:lnTo>
                    <a:pt x="733" y="76"/>
                  </a:lnTo>
                  <a:lnTo>
                    <a:pt x="731" y="74"/>
                  </a:lnTo>
                  <a:lnTo>
                    <a:pt x="731" y="74"/>
                  </a:lnTo>
                  <a:lnTo>
                    <a:pt x="729" y="72"/>
                  </a:lnTo>
                  <a:lnTo>
                    <a:pt x="729" y="70"/>
                  </a:lnTo>
                  <a:lnTo>
                    <a:pt x="723" y="64"/>
                  </a:lnTo>
                  <a:lnTo>
                    <a:pt x="721" y="62"/>
                  </a:lnTo>
                  <a:lnTo>
                    <a:pt x="717" y="62"/>
                  </a:lnTo>
                  <a:lnTo>
                    <a:pt x="717" y="62"/>
                  </a:lnTo>
                  <a:lnTo>
                    <a:pt x="717" y="64"/>
                  </a:lnTo>
                  <a:lnTo>
                    <a:pt x="717" y="64"/>
                  </a:lnTo>
                  <a:lnTo>
                    <a:pt x="717" y="66"/>
                  </a:lnTo>
                  <a:lnTo>
                    <a:pt x="717" y="64"/>
                  </a:lnTo>
                  <a:lnTo>
                    <a:pt x="719" y="64"/>
                  </a:lnTo>
                  <a:lnTo>
                    <a:pt x="719" y="66"/>
                  </a:lnTo>
                  <a:lnTo>
                    <a:pt x="721" y="66"/>
                  </a:lnTo>
                  <a:lnTo>
                    <a:pt x="719" y="66"/>
                  </a:lnTo>
                  <a:lnTo>
                    <a:pt x="717" y="66"/>
                  </a:lnTo>
                  <a:lnTo>
                    <a:pt x="715" y="66"/>
                  </a:lnTo>
                  <a:lnTo>
                    <a:pt x="713" y="66"/>
                  </a:lnTo>
                  <a:lnTo>
                    <a:pt x="715" y="68"/>
                  </a:lnTo>
                  <a:lnTo>
                    <a:pt x="715" y="68"/>
                  </a:lnTo>
                  <a:lnTo>
                    <a:pt x="717" y="70"/>
                  </a:lnTo>
                  <a:lnTo>
                    <a:pt x="719" y="70"/>
                  </a:lnTo>
                  <a:lnTo>
                    <a:pt x="719" y="70"/>
                  </a:lnTo>
                  <a:lnTo>
                    <a:pt x="719" y="72"/>
                  </a:lnTo>
                  <a:lnTo>
                    <a:pt x="719" y="72"/>
                  </a:lnTo>
                  <a:lnTo>
                    <a:pt x="717" y="72"/>
                  </a:lnTo>
                  <a:lnTo>
                    <a:pt x="715" y="72"/>
                  </a:lnTo>
                  <a:lnTo>
                    <a:pt x="713" y="70"/>
                  </a:lnTo>
                  <a:lnTo>
                    <a:pt x="711" y="68"/>
                  </a:lnTo>
                  <a:lnTo>
                    <a:pt x="711" y="68"/>
                  </a:lnTo>
                  <a:lnTo>
                    <a:pt x="711" y="70"/>
                  </a:lnTo>
                  <a:lnTo>
                    <a:pt x="709" y="72"/>
                  </a:lnTo>
                  <a:lnTo>
                    <a:pt x="707" y="74"/>
                  </a:lnTo>
                  <a:lnTo>
                    <a:pt x="711" y="87"/>
                  </a:lnTo>
                  <a:lnTo>
                    <a:pt x="711" y="91"/>
                  </a:lnTo>
                  <a:lnTo>
                    <a:pt x="709" y="99"/>
                  </a:lnTo>
                  <a:lnTo>
                    <a:pt x="709" y="99"/>
                  </a:lnTo>
                  <a:lnTo>
                    <a:pt x="709" y="99"/>
                  </a:lnTo>
                  <a:lnTo>
                    <a:pt x="709" y="99"/>
                  </a:lnTo>
                  <a:lnTo>
                    <a:pt x="709" y="97"/>
                  </a:lnTo>
                  <a:lnTo>
                    <a:pt x="709" y="97"/>
                  </a:lnTo>
                  <a:lnTo>
                    <a:pt x="704" y="99"/>
                  </a:lnTo>
                  <a:lnTo>
                    <a:pt x="702" y="99"/>
                  </a:lnTo>
                  <a:lnTo>
                    <a:pt x="700" y="99"/>
                  </a:lnTo>
                  <a:lnTo>
                    <a:pt x="698" y="97"/>
                  </a:lnTo>
                  <a:lnTo>
                    <a:pt x="700" y="95"/>
                  </a:lnTo>
                  <a:lnTo>
                    <a:pt x="704" y="97"/>
                  </a:lnTo>
                  <a:lnTo>
                    <a:pt x="707" y="97"/>
                  </a:lnTo>
                  <a:lnTo>
                    <a:pt x="709" y="95"/>
                  </a:lnTo>
                  <a:lnTo>
                    <a:pt x="707" y="95"/>
                  </a:lnTo>
                  <a:lnTo>
                    <a:pt x="707" y="93"/>
                  </a:lnTo>
                  <a:lnTo>
                    <a:pt x="704" y="93"/>
                  </a:lnTo>
                  <a:lnTo>
                    <a:pt x="707" y="91"/>
                  </a:lnTo>
                  <a:lnTo>
                    <a:pt x="707" y="91"/>
                  </a:lnTo>
                  <a:lnTo>
                    <a:pt x="707" y="89"/>
                  </a:lnTo>
                  <a:lnTo>
                    <a:pt x="704" y="89"/>
                  </a:lnTo>
                  <a:lnTo>
                    <a:pt x="704" y="87"/>
                  </a:lnTo>
                  <a:lnTo>
                    <a:pt x="704" y="87"/>
                  </a:lnTo>
                  <a:lnTo>
                    <a:pt x="702" y="87"/>
                  </a:lnTo>
                  <a:lnTo>
                    <a:pt x="702" y="87"/>
                  </a:lnTo>
                  <a:lnTo>
                    <a:pt x="700" y="87"/>
                  </a:lnTo>
                  <a:lnTo>
                    <a:pt x="698" y="87"/>
                  </a:lnTo>
                  <a:lnTo>
                    <a:pt x="698" y="87"/>
                  </a:lnTo>
                  <a:lnTo>
                    <a:pt x="698" y="84"/>
                  </a:lnTo>
                  <a:lnTo>
                    <a:pt x="702" y="87"/>
                  </a:lnTo>
                  <a:lnTo>
                    <a:pt x="704" y="84"/>
                  </a:lnTo>
                  <a:lnTo>
                    <a:pt x="704" y="82"/>
                  </a:lnTo>
                  <a:lnTo>
                    <a:pt x="702" y="78"/>
                  </a:lnTo>
                  <a:lnTo>
                    <a:pt x="700" y="78"/>
                  </a:lnTo>
                  <a:lnTo>
                    <a:pt x="700" y="76"/>
                  </a:lnTo>
                  <a:lnTo>
                    <a:pt x="702" y="76"/>
                  </a:lnTo>
                  <a:lnTo>
                    <a:pt x="702" y="74"/>
                  </a:lnTo>
                  <a:lnTo>
                    <a:pt x="702" y="72"/>
                  </a:lnTo>
                  <a:lnTo>
                    <a:pt x="704" y="70"/>
                  </a:lnTo>
                  <a:lnTo>
                    <a:pt x="702" y="70"/>
                  </a:lnTo>
                  <a:lnTo>
                    <a:pt x="700" y="72"/>
                  </a:lnTo>
                  <a:lnTo>
                    <a:pt x="700" y="68"/>
                  </a:lnTo>
                  <a:lnTo>
                    <a:pt x="700" y="66"/>
                  </a:lnTo>
                  <a:lnTo>
                    <a:pt x="702" y="68"/>
                  </a:lnTo>
                  <a:lnTo>
                    <a:pt x="702" y="66"/>
                  </a:lnTo>
                  <a:lnTo>
                    <a:pt x="700" y="64"/>
                  </a:lnTo>
                  <a:lnTo>
                    <a:pt x="698" y="64"/>
                  </a:lnTo>
                  <a:lnTo>
                    <a:pt x="696" y="64"/>
                  </a:lnTo>
                  <a:lnTo>
                    <a:pt x="688" y="66"/>
                  </a:lnTo>
                  <a:lnTo>
                    <a:pt x="680" y="70"/>
                  </a:lnTo>
                  <a:lnTo>
                    <a:pt x="678" y="72"/>
                  </a:lnTo>
                  <a:lnTo>
                    <a:pt x="680" y="72"/>
                  </a:lnTo>
                  <a:lnTo>
                    <a:pt x="682" y="74"/>
                  </a:lnTo>
                  <a:lnTo>
                    <a:pt x="684" y="74"/>
                  </a:lnTo>
                  <a:lnTo>
                    <a:pt x="680" y="74"/>
                  </a:lnTo>
                  <a:lnTo>
                    <a:pt x="678" y="74"/>
                  </a:lnTo>
                  <a:lnTo>
                    <a:pt x="676" y="74"/>
                  </a:lnTo>
                  <a:lnTo>
                    <a:pt x="674" y="74"/>
                  </a:lnTo>
                  <a:lnTo>
                    <a:pt x="674" y="76"/>
                  </a:lnTo>
                  <a:lnTo>
                    <a:pt x="674" y="76"/>
                  </a:lnTo>
                  <a:lnTo>
                    <a:pt x="672" y="76"/>
                  </a:lnTo>
                  <a:lnTo>
                    <a:pt x="672" y="74"/>
                  </a:lnTo>
                  <a:lnTo>
                    <a:pt x="672" y="74"/>
                  </a:lnTo>
                  <a:lnTo>
                    <a:pt x="672" y="72"/>
                  </a:lnTo>
                  <a:lnTo>
                    <a:pt x="672" y="72"/>
                  </a:lnTo>
                  <a:lnTo>
                    <a:pt x="668" y="72"/>
                  </a:lnTo>
                  <a:lnTo>
                    <a:pt x="663" y="74"/>
                  </a:lnTo>
                  <a:lnTo>
                    <a:pt x="659" y="76"/>
                  </a:lnTo>
                  <a:lnTo>
                    <a:pt x="657" y="78"/>
                  </a:lnTo>
                  <a:lnTo>
                    <a:pt x="657" y="78"/>
                  </a:lnTo>
                  <a:lnTo>
                    <a:pt x="655" y="78"/>
                  </a:lnTo>
                  <a:lnTo>
                    <a:pt x="643" y="80"/>
                  </a:lnTo>
                  <a:lnTo>
                    <a:pt x="643" y="80"/>
                  </a:lnTo>
                  <a:lnTo>
                    <a:pt x="645" y="76"/>
                  </a:lnTo>
                  <a:lnTo>
                    <a:pt x="645" y="74"/>
                  </a:lnTo>
                  <a:lnTo>
                    <a:pt x="643" y="74"/>
                  </a:lnTo>
                  <a:lnTo>
                    <a:pt x="643" y="72"/>
                  </a:lnTo>
                  <a:lnTo>
                    <a:pt x="643" y="72"/>
                  </a:lnTo>
                  <a:lnTo>
                    <a:pt x="643" y="70"/>
                  </a:lnTo>
                  <a:lnTo>
                    <a:pt x="641" y="70"/>
                  </a:lnTo>
                  <a:lnTo>
                    <a:pt x="641" y="70"/>
                  </a:lnTo>
                  <a:lnTo>
                    <a:pt x="639" y="68"/>
                  </a:lnTo>
                  <a:lnTo>
                    <a:pt x="639" y="66"/>
                  </a:lnTo>
                  <a:lnTo>
                    <a:pt x="637" y="64"/>
                  </a:lnTo>
                  <a:lnTo>
                    <a:pt x="637" y="62"/>
                  </a:lnTo>
                  <a:lnTo>
                    <a:pt x="635" y="56"/>
                  </a:lnTo>
                  <a:lnTo>
                    <a:pt x="635" y="54"/>
                  </a:lnTo>
                  <a:lnTo>
                    <a:pt x="635" y="52"/>
                  </a:lnTo>
                  <a:lnTo>
                    <a:pt x="637" y="50"/>
                  </a:lnTo>
                  <a:lnTo>
                    <a:pt x="637" y="48"/>
                  </a:lnTo>
                  <a:lnTo>
                    <a:pt x="637" y="46"/>
                  </a:lnTo>
                  <a:lnTo>
                    <a:pt x="637" y="46"/>
                  </a:lnTo>
                  <a:lnTo>
                    <a:pt x="637" y="43"/>
                  </a:lnTo>
                  <a:lnTo>
                    <a:pt x="635" y="43"/>
                  </a:lnTo>
                  <a:lnTo>
                    <a:pt x="635" y="41"/>
                  </a:lnTo>
                  <a:lnTo>
                    <a:pt x="637" y="41"/>
                  </a:lnTo>
                  <a:lnTo>
                    <a:pt x="639" y="41"/>
                  </a:lnTo>
                  <a:lnTo>
                    <a:pt x="639" y="43"/>
                  </a:lnTo>
                  <a:lnTo>
                    <a:pt x="639" y="48"/>
                  </a:lnTo>
                  <a:lnTo>
                    <a:pt x="639" y="48"/>
                  </a:lnTo>
                  <a:lnTo>
                    <a:pt x="637" y="50"/>
                  </a:lnTo>
                  <a:lnTo>
                    <a:pt x="637" y="52"/>
                  </a:lnTo>
                  <a:lnTo>
                    <a:pt x="637" y="56"/>
                  </a:lnTo>
                  <a:lnTo>
                    <a:pt x="639" y="60"/>
                  </a:lnTo>
                  <a:lnTo>
                    <a:pt x="641" y="64"/>
                  </a:lnTo>
                  <a:lnTo>
                    <a:pt x="643" y="68"/>
                  </a:lnTo>
                  <a:lnTo>
                    <a:pt x="645" y="70"/>
                  </a:lnTo>
                  <a:lnTo>
                    <a:pt x="647" y="70"/>
                  </a:lnTo>
                  <a:lnTo>
                    <a:pt x="649" y="66"/>
                  </a:lnTo>
                  <a:lnTo>
                    <a:pt x="649" y="68"/>
                  </a:lnTo>
                  <a:lnTo>
                    <a:pt x="653" y="70"/>
                  </a:lnTo>
                  <a:lnTo>
                    <a:pt x="653" y="72"/>
                  </a:lnTo>
                  <a:lnTo>
                    <a:pt x="655" y="70"/>
                  </a:lnTo>
                  <a:lnTo>
                    <a:pt x="659" y="70"/>
                  </a:lnTo>
                  <a:lnTo>
                    <a:pt x="661" y="70"/>
                  </a:lnTo>
                  <a:lnTo>
                    <a:pt x="663" y="68"/>
                  </a:lnTo>
                  <a:lnTo>
                    <a:pt x="666" y="64"/>
                  </a:lnTo>
                  <a:lnTo>
                    <a:pt x="668" y="62"/>
                  </a:lnTo>
                  <a:lnTo>
                    <a:pt x="666" y="62"/>
                  </a:lnTo>
                  <a:lnTo>
                    <a:pt x="666" y="62"/>
                  </a:lnTo>
                  <a:lnTo>
                    <a:pt x="666" y="62"/>
                  </a:lnTo>
                  <a:lnTo>
                    <a:pt x="668" y="60"/>
                  </a:lnTo>
                  <a:lnTo>
                    <a:pt x="676" y="58"/>
                  </a:lnTo>
                  <a:lnTo>
                    <a:pt x="676" y="56"/>
                  </a:lnTo>
                  <a:lnTo>
                    <a:pt x="674" y="56"/>
                  </a:lnTo>
                  <a:lnTo>
                    <a:pt x="670" y="56"/>
                  </a:lnTo>
                  <a:lnTo>
                    <a:pt x="668" y="56"/>
                  </a:lnTo>
                  <a:lnTo>
                    <a:pt x="668" y="54"/>
                  </a:lnTo>
                  <a:lnTo>
                    <a:pt x="666" y="54"/>
                  </a:lnTo>
                  <a:lnTo>
                    <a:pt x="663" y="52"/>
                  </a:lnTo>
                  <a:lnTo>
                    <a:pt x="661" y="52"/>
                  </a:lnTo>
                  <a:lnTo>
                    <a:pt x="661" y="52"/>
                  </a:lnTo>
                  <a:lnTo>
                    <a:pt x="659" y="50"/>
                  </a:lnTo>
                  <a:lnTo>
                    <a:pt x="661" y="50"/>
                  </a:lnTo>
                  <a:lnTo>
                    <a:pt x="663" y="50"/>
                  </a:lnTo>
                  <a:lnTo>
                    <a:pt x="666" y="52"/>
                  </a:lnTo>
                  <a:lnTo>
                    <a:pt x="666" y="50"/>
                  </a:lnTo>
                  <a:lnTo>
                    <a:pt x="668" y="52"/>
                  </a:lnTo>
                  <a:lnTo>
                    <a:pt x="672" y="54"/>
                  </a:lnTo>
                  <a:lnTo>
                    <a:pt x="680" y="56"/>
                  </a:lnTo>
                  <a:lnTo>
                    <a:pt x="682" y="56"/>
                  </a:lnTo>
                  <a:lnTo>
                    <a:pt x="684" y="54"/>
                  </a:lnTo>
                  <a:lnTo>
                    <a:pt x="684" y="54"/>
                  </a:lnTo>
                  <a:lnTo>
                    <a:pt x="682" y="54"/>
                  </a:lnTo>
                  <a:lnTo>
                    <a:pt x="680" y="50"/>
                  </a:lnTo>
                  <a:lnTo>
                    <a:pt x="678" y="48"/>
                  </a:lnTo>
                  <a:lnTo>
                    <a:pt x="678" y="48"/>
                  </a:lnTo>
                  <a:lnTo>
                    <a:pt x="676" y="48"/>
                  </a:lnTo>
                  <a:lnTo>
                    <a:pt x="676" y="48"/>
                  </a:lnTo>
                  <a:lnTo>
                    <a:pt x="674" y="46"/>
                  </a:lnTo>
                  <a:lnTo>
                    <a:pt x="674" y="46"/>
                  </a:lnTo>
                  <a:lnTo>
                    <a:pt x="674" y="46"/>
                  </a:lnTo>
                  <a:lnTo>
                    <a:pt x="676" y="46"/>
                  </a:lnTo>
                  <a:lnTo>
                    <a:pt x="680" y="48"/>
                  </a:lnTo>
                  <a:lnTo>
                    <a:pt x="680" y="48"/>
                  </a:lnTo>
                  <a:lnTo>
                    <a:pt x="680" y="48"/>
                  </a:lnTo>
                  <a:lnTo>
                    <a:pt x="682" y="50"/>
                  </a:lnTo>
                  <a:lnTo>
                    <a:pt x="686" y="52"/>
                  </a:lnTo>
                  <a:lnTo>
                    <a:pt x="686" y="52"/>
                  </a:lnTo>
                  <a:lnTo>
                    <a:pt x="688" y="52"/>
                  </a:lnTo>
                  <a:lnTo>
                    <a:pt x="690" y="50"/>
                  </a:lnTo>
                  <a:lnTo>
                    <a:pt x="690" y="50"/>
                  </a:lnTo>
                  <a:lnTo>
                    <a:pt x="690" y="50"/>
                  </a:lnTo>
                  <a:lnTo>
                    <a:pt x="690" y="50"/>
                  </a:lnTo>
                  <a:lnTo>
                    <a:pt x="692" y="48"/>
                  </a:lnTo>
                  <a:lnTo>
                    <a:pt x="692" y="48"/>
                  </a:lnTo>
                  <a:lnTo>
                    <a:pt x="694" y="46"/>
                  </a:lnTo>
                  <a:lnTo>
                    <a:pt x="694" y="46"/>
                  </a:lnTo>
                  <a:lnTo>
                    <a:pt x="694" y="46"/>
                  </a:lnTo>
                  <a:lnTo>
                    <a:pt x="692" y="46"/>
                  </a:lnTo>
                  <a:lnTo>
                    <a:pt x="692" y="41"/>
                  </a:lnTo>
                  <a:lnTo>
                    <a:pt x="690" y="41"/>
                  </a:lnTo>
                  <a:lnTo>
                    <a:pt x="688" y="41"/>
                  </a:lnTo>
                  <a:lnTo>
                    <a:pt x="686" y="39"/>
                  </a:lnTo>
                  <a:lnTo>
                    <a:pt x="684" y="37"/>
                  </a:lnTo>
                  <a:lnTo>
                    <a:pt x="682" y="37"/>
                  </a:lnTo>
                  <a:lnTo>
                    <a:pt x="680" y="35"/>
                  </a:lnTo>
                  <a:lnTo>
                    <a:pt x="678" y="35"/>
                  </a:lnTo>
                  <a:lnTo>
                    <a:pt x="678" y="35"/>
                  </a:lnTo>
                  <a:lnTo>
                    <a:pt x="678" y="33"/>
                  </a:lnTo>
                  <a:lnTo>
                    <a:pt x="678" y="33"/>
                  </a:lnTo>
                  <a:lnTo>
                    <a:pt x="680" y="31"/>
                  </a:lnTo>
                  <a:lnTo>
                    <a:pt x="680" y="31"/>
                  </a:lnTo>
                  <a:lnTo>
                    <a:pt x="680" y="33"/>
                  </a:lnTo>
                  <a:lnTo>
                    <a:pt x="680" y="33"/>
                  </a:lnTo>
                  <a:lnTo>
                    <a:pt x="680" y="33"/>
                  </a:lnTo>
                  <a:lnTo>
                    <a:pt x="684" y="33"/>
                  </a:lnTo>
                  <a:lnTo>
                    <a:pt x="686" y="35"/>
                  </a:lnTo>
                  <a:lnTo>
                    <a:pt x="688" y="35"/>
                  </a:lnTo>
                  <a:lnTo>
                    <a:pt x="690" y="37"/>
                  </a:lnTo>
                  <a:lnTo>
                    <a:pt x="690" y="37"/>
                  </a:lnTo>
                  <a:lnTo>
                    <a:pt x="692" y="37"/>
                  </a:lnTo>
                  <a:lnTo>
                    <a:pt x="694" y="37"/>
                  </a:lnTo>
                  <a:lnTo>
                    <a:pt x="696" y="41"/>
                  </a:lnTo>
                  <a:lnTo>
                    <a:pt x="698" y="41"/>
                  </a:lnTo>
                  <a:lnTo>
                    <a:pt x="700" y="41"/>
                  </a:lnTo>
                  <a:lnTo>
                    <a:pt x="702" y="41"/>
                  </a:lnTo>
                  <a:lnTo>
                    <a:pt x="709" y="43"/>
                  </a:lnTo>
                  <a:lnTo>
                    <a:pt x="709" y="41"/>
                  </a:lnTo>
                  <a:lnTo>
                    <a:pt x="707" y="41"/>
                  </a:lnTo>
                  <a:lnTo>
                    <a:pt x="704" y="41"/>
                  </a:lnTo>
                  <a:lnTo>
                    <a:pt x="702" y="39"/>
                  </a:lnTo>
                  <a:lnTo>
                    <a:pt x="702" y="39"/>
                  </a:lnTo>
                  <a:lnTo>
                    <a:pt x="702" y="37"/>
                  </a:lnTo>
                  <a:lnTo>
                    <a:pt x="702" y="35"/>
                  </a:lnTo>
                  <a:lnTo>
                    <a:pt x="700" y="31"/>
                  </a:lnTo>
                  <a:lnTo>
                    <a:pt x="698" y="31"/>
                  </a:lnTo>
                  <a:lnTo>
                    <a:pt x="698" y="29"/>
                  </a:lnTo>
                  <a:lnTo>
                    <a:pt x="696" y="29"/>
                  </a:lnTo>
                  <a:lnTo>
                    <a:pt x="698" y="29"/>
                  </a:lnTo>
                  <a:lnTo>
                    <a:pt x="700" y="29"/>
                  </a:lnTo>
                  <a:lnTo>
                    <a:pt x="702" y="31"/>
                  </a:lnTo>
                  <a:lnTo>
                    <a:pt x="702" y="33"/>
                  </a:lnTo>
                  <a:lnTo>
                    <a:pt x="702" y="33"/>
                  </a:lnTo>
                  <a:lnTo>
                    <a:pt x="704" y="33"/>
                  </a:lnTo>
                  <a:lnTo>
                    <a:pt x="707" y="33"/>
                  </a:lnTo>
                  <a:lnTo>
                    <a:pt x="707" y="35"/>
                  </a:lnTo>
                  <a:lnTo>
                    <a:pt x="707" y="37"/>
                  </a:lnTo>
                  <a:lnTo>
                    <a:pt x="707" y="37"/>
                  </a:lnTo>
                  <a:lnTo>
                    <a:pt x="707" y="37"/>
                  </a:lnTo>
                  <a:lnTo>
                    <a:pt x="711" y="39"/>
                  </a:lnTo>
                  <a:lnTo>
                    <a:pt x="711" y="39"/>
                  </a:lnTo>
                  <a:lnTo>
                    <a:pt x="713" y="41"/>
                  </a:lnTo>
                  <a:lnTo>
                    <a:pt x="713" y="41"/>
                  </a:lnTo>
                  <a:lnTo>
                    <a:pt x="713" y="43"/>
                  </a:lnTo>
                  <a:lnTo>
                    <a:pt x="713" y="43"/>
                  </a:lnTo>
                  <a:lnTo>
                    <a:pt x="713" y="46"/>
                  </a:lnTo>
                  <a:lnTo>
                    <a:pt x="713" y="46"/>
                  </a:lnTo>
                  <a:lnTo>
                    <a:pt x="715" y="48"/>
                  </a:lnTo>
                  <a:lnTo>
                    <a:pt x="717" y="50"/>
                  </a:lnTo>
                  <a:lnTo>
                    <a:pt x="719" y="50"/>
                  </a:lnTo>
                  <a:lnTo>
                    <a:pt x="721" y="50"/>
                  </a:lnTo>
                  <a:lnTo>
                    <a:pt x="719" y="48"/>
                  </a:lnTo>
                  <a:lnTo>
                    <a:pt x="719" y="46"/>
                  </a:lnTo>
                  <a:lnTo>
                    <a:pt x="717" y="43"/>
                  </a:lnTo>
                  <a:lnTo>
                    <a:pt x="717" y="41"/>
                  </a:lnTo>
                  <a:lnTo>
                    <a:pt x="709" y="31"/>
                  </a:lnTo>
                  <a:lnTo>
                    <a:pt x="709" y="29"/>
                  </a:lnTo>
                  <a:lnTo>
                    <a:pt x="707" y="27"/>
                  </a:lnTo>
                  <a:lnTo>
                    <a:pt x="704" y="25"/>
                  </a:lnTo>
                  <a:lnTo>
                    <a:pt x="702" y="23"/>
                  </a:lnTo>
                  <a:lnTo>
                    <a:pt x="702" y="19"/>
                  </a:lnTo>
                  <a:lnTo>
                    <a:pt x="700" y="15"/>
                  </a:lnTo>
                  <a:lnTo>
                    <a:pt x="700" y="15"/>
                  </a:lnTo>
                  <a:lnTo>
                    <a:pt x="700" y="17"/>
                  </a:lnTo>
                  <a:lnTo>
                    <a:pt x="700" y="19"/>
                  </a:lnTo>
                  <a:lnTo>
                    <a:pt x="698" y="19"/>
                  </a:lnTo>
                  <a:lnTo>
                    <a:pt x="700" y="21"/>
                  </a:lnTo>
                  <a:lnTo>
                    <a:pt x="700" y="21"/>
                  </a:lnTo>
                  <a:lnTo>
                    <a:pt x="700" y="21"/>
                  </a:lnTo>
                  <a:lnTo>
                    <a:pt x="702" y="23"/>
                  </a:lnTo>
                  <a:lnTo>
                    <a:pt x="700" y="21"/>
                  </a:lnTo>
                  <a:lnTo>
                    <a:pt x="696" y="19"/>
                  </a:lnTo>
                  <a:lnTo>
                    <a:pt x="696" y="17"/>
                  </a:lnTo>
                  <a:lnTo>
                    <a:pt x="696" y="15"/>
                  </a:lnTo>
                  <a:lnTo>
                    <a:pt x="694" y="15"/>
                  </a:lnTo>
                  <a:lnTo>
                    <a:pt x="692" y="13"/>
                  </a:lnTo>
                  <a:lnTo>
                    <a:pt x="690" y="13"/>
                  </a:lnTo>
                  <a:lnTo>
                    <a:pt x="690" y="11"/>
                  </a:lnTo>
                  <a:lnTo>
                    <a:pt x="688" y="9"/>
                  </a:lnTo>
                  <a:lnTo>
                    <a:pt x="688" y="7"/>
                  </a:lnTo>
                  <a:lnTo>
                    <a:pt x="688" y="5"/>
                  </a:lnTo>
                  <a:lnTo>
                    <a:pt x="688" y="5"/>
                  </a:lnTo>
                  <a:lnTo>
                    <a:pt x="686" y="5"/>
                  </a:lnTo>
                  <a:lnTo>
                    <a:pt x="674" y="9"/>
                  </a:lnTo>
                  <a:lnTo>
                    <a:pt x="659" y="11"/>
                  </a:lnTo>
                  <a:lnTo>
                    <a:pt x="643" y="15"/>
                  </a:lnTo>
                  <a:lnTo>
                    <a:pt x="629" y="17"/>
                  </a:lnTo>
                  <a:lnTo>
                    <a:pt x="614" y="19"/>
                  </a:lnTo>
                  <a:lnTo>
                    <a:pt x="600" y="23"/>
                  </a:lnTo>
                  <a:lnTo>
                    <a:pt x="584" y="25"/>
                  </a:lnTo>
                  <a:lnTo>
                    <a:pt x="569" y="29"/>
                  </a:lnTo>
                  <a:lnTo>
                    <a:pt x="555" y="31"/>
                  </a:lnTo>
                  <a:lnTo>
                    <a:pt x="539" y="35"/>
                  </a:lnTo>
                  <a:lnTo>
                    <a:pt x="524" y="37"/>
                  </a:lnTo>
                  <a:lnTo>
                    <a:pt x="510" y="41"/>
                  </a:lnTo>
                  <a:lnTo>
                    <a:pt x="494" y="43"/>
                  </a:lnTo>
                  <a:lnTo>
                    <a:pt x="479" y="46"/>
                  </a:lnTo>
                  <a:lnTo>
                    <a:pt x="465" y="50"/>
                  </a:lnTo>
                  <a:lnTo>
                    <a:pt x="450" y="52"/>
                  </a:lnTo>
                  <a:lnTo>
                    <a:pt x="434" y="54"/>
                  </a:lnTo>
                  <a:lnTo>
                    <a:pt x="420" y="58"/>
                  </a:lnTo>
                  <a:lnTo>
                    <a:pt x="405" y="60"/>
                  </a:lnTo>
                  <a:lnTo>
                    <a:pt x="389" y="62"/>
                  </a:lnTo>
                  <a:lnTo>
                    <a:pt x="375" y="66"/>
                  </a:lnTo>
                  <a:lnTo>
                    <a:pt x="360" y="68"/>
                  </a:lnTo>
                  <a:lnTo>
                    <a:pt x="344" y="70"/>
                  </a:lnTo>
                  <a:lnTo>
                    <a:pt x="330" y="72"/>
                  </a:lnTo>
                  <a:lnTo>
                    <a:pt x="315" y="76"/>
                  </a:lnTo>
                  <a:lnTo>
                    <a:pt x="299" y="78"/>
                  </a:lnTo>
                  <a:lnTo>
                    <a:pt x="285" y="80"/>
                  </a:lnTo>
                  <a:lnTo>
                    <a:pt x="270" y="82"/>
                  </a:lnTo>
                  <a:lnTo>
                    <a:pt x="254" y="84"/>
                  </a:lnTo>
                  <a:lnTo>
                    <a:pt x="240" y="89"/>
                  </a:lnTo>
                  <a:lnTo>
                    <a:pt x="225" y="91"/>
                  </a:lnTo>
                  <a:lnTo>
                    <a:pt x="209" y="93"/>
                  </a:lnTo>
                  <a:lnTo>
                    <a:pt x="209" y="93"/>
                  </a:lnTo>
                  <a:lnTo>
                    <a:pt x="207" y="93"/>
                  </a:lnTo>
                  <a:lnTo>
                    <a:pt x="207" y="93"/>
                  </a:lnTo>
                  <a:lnTo>
                    <a:pt x="207" y="91"/>
                  </a:lnTo>
                  <a:lnTo>
                    <a:pt x="203" y="99"/>
                  </a:lnTo>
                  <a:lnTo>
                    <a:pt x="203" y="101"/>
                  </a:lnTo>
                  <a:lnTo>
                    <a:pt x="203" y="101"/>
                  </a:lnTo>
                  <a:lnTo>
                    <a:pt x="205" y="103"/>
                  </a:lnTo>
                  <a:lnTo>
                    <a:pt x="205" y="105"/>
                  </a:lnTo>
                  <a:lnTo>
                    <a:pt x="205" y="109"/>
                  </a:lnTo>
                  <a:lnTo>
                    <a:pt x="203" y="113"/>
                  </a:lnTo>
                  <a:lnTo>
                    <a:pt x="203" y="115"/>
                  </a:lnTo>
                  <a:lnTo>
                    <a:pt x="203" y="115"/>
                  </a:lnTo>
                  <a:lnTo>
                    <a:pt x="203" y="115"/>
                  </a:lnTo>
                  <a:lnTo>
                    <a:pt x="205" y="117"/>
                  </a:lnTo>
                  <a:lnTo>
                    <a:pt x="205" y="119"/>
                  </a:lnTo>
                  <a:lnTo>
                    <a:pt x="205" y="119"/>
                  </a:lnTo>
                  <a:lnTo>
                    <a:pt x="207" y="119"/>
                  </a:lnTo>
                  <a:lnTo>
                    <a:pt x="207" y="121"/>
                  </a:lnTo>
                  <a:lnTo>
                    <a:pt x="205" y="121"/>
                  </a:lnTo>
                  <a:lnTo>
                    <a:pt x="203" y="121"/>
                  </a:lnTo>
                  <a:lnTo>
                    <a:pt x="199" y="119"/>
                  </a:lnTo>
                  <a:lnTo>
                    <a:pt x="197" y="119"/>
                  </a:lnTo>
                  <a:lnTo>
                    <a:pt x="197" y="119"/>
                  </a:lnTo>
                  <a:lnTo>
                    <a:pt x="190" y="125"/>
                  </a:lnTo>
                  <a:lnTo>
                    <a:pt x="188" y="128"/>
                  </a:lnTo>
                  <a:lnTo>
                    <a:pt x="188" y="130"/>
                  </a:lnTo>
                  <a:lnTo>
                    <a:pt x="182" y="146"/>
                  </a:lnTo>
                  <a:lnTo>
                    <a:pt x="182" y="148"/>
                  </a:lnTo>
                  <a:lnTo>
                    <a:pt x="182" y="148"/>
                  </a:lnTo>
                  <a:lnTo>
                    <a:pt x="180" y="148"/>
                  </a:lnTo>
                  <a:lnTo>
                    <a:pt x="180" y="150"/>
                  </a:lnTo>
                  <a:lnTo>
                    <a:pt x="178" y="152"/>
                  </a:lnTo>
                  <a:lnTo>
                    <a:pt x="178" y="152"/>
                  </a:lnTo>
                  <a:lnTo>
                    <a:pt x="178" y="152"/>
                  </a:lnTo>
                  <a:lnTo>
                    <a:pt x="176" y="152"/>
                  </a:lnTo>
                  <a:lnTo>
                    <a:pt x="176" y="152"/>
                  </a:lnTo>
                  <a:lnTo>
                    <a:pt x="174" y="152"/>
                  </a:lnTo>
                  <a:lnTo>
                    <a:pt x="174" y="152"/>
                  </a:lnTo>
                  <a:lnTo>
                    <a:pt x="174" y="150"/>
                  </a:lnTo>
                  <a:lnTo>
                    <a:pt x="174" y="150"/>
                  </a:lnTo>
                  <a:lnTo>
                    <a:pt x="174" y="150"/>
                  </a:lnTo>
                  <a:lnTo>
                    <a:pt x="174" y="150"/>
                  </a:lnTo>
                  <a:lnTo>
                    <a:pt x="172" y="150"/>
                  </a:lnTo>
                  <a:lnTo>
                    <a:pt x="172" y="148"/>
                  </a:lnTo>
                  <a:lnTo>
                    <a:pt x="172" y="148"/>
                  </a:lnTo>
                  <a:lnTo>
                    <a:pt x="172" y="148"/>
                  </a:lnTo>
                  <a:lnTo>
                    <a:pt x="172" y="148"/>
                  </a:lnTo>
                  <a:lnTo>
                    <a:pt x="172" y="148"/>
                  </a:lnTo>
                  <a:lnTo>
                    <a:pt x="170" y="148"/>
                  </a:lnTo>
                  <a:lnTo>
                    <a:pt x="170" y="148"/>
                  </a:lnTo>
                  <a:lnTo>
                    <a:pt x="168" y="148"/>
                  </a:lnTo>
                  <a:lnTo>
                    <a:pt x="168" y="148"/>
                  </a:lnTo>
                  <a:lnTo>
                    <a:pt x="168" y="148"/>
                  </a:lnTo>
                  <a:lnTo>
                    <a:pt x="168" y="146"/>
                  </a:lnTo>
                  <a:lnTo>
                    <a:pt x="166" y="148"/>
                  </a:lnTo>
                  <a:lnTo>
                    <a:pt x="166" y="148"/>
                  </a:lnTo>
                  <a:lnTo>
                    <a:pt x="166" y="148"/>
                  </a:lnTo>
                  <a:lnTo>
                    <a:pt x="164" y="150"/>
                  </a:lnTo>
                  <a:lnTo>
                    <a:pt x="162" y="150"/>
                  </a:lnTo>
                  <a:lnTo>
                    <a:pt x="160" y="150"/>
                  </a:lnTo>
                  <a:lnTo>
                    <a:pt x="160" y="150"/>
                  </a:lnTo>
                  <a:lnTo>
                    <a:pt x="158" y="152"/>
                  </a:lnTo>
                  <a:lnTo>
                    <a:pt x="156" y="154"/>
                  </a:lnTo>
                  <a:lnTo>
                    <a:pt x="154" y="154"/>
                  </a:lnTo>
                  <a:lnTo>
                    <a:pt x="154" y="154"/>
                  </a:lnTo>
                  <a:lnTo>
                    <a:pt x="151" y="156"/>
                  </a:lnTo>
                  <a:lnTo>
                    <a:pt x="149" y="160"/>
                  </a:lnTo>
                  <a:lnTo>
                    <a:pt x="147" y="162"/>
                  </a:lnTo>
                  <a:lnTo>
                    <a:pt x="147" y="164"/>
                  </a:lnTo>
                  <a:lnTo>
                    <a:pt x="147" y="164"/>
                  </a:lnTo>
                  <a:lnTo>
                    <a:pt x="145" y="166"/>
                  </a:lnTo>
                  <a:lnTo>
                    <a:pt x="145" y="168"/>
                  </a:lnTo>
                  <a:lnTo>
                    <a:pt x="145" y="168"/>
                  </a:lnTo>
                  <a:lnTo>
                    <a:pt x="145" y="168"/>
                  </a:lnTo>
                  <a:lnTo>
                    <a:pt x="145" y="168"/>
                  </a:lnTo>
                  <a:lnTo>
                    <a:pt x="141" y="173"/>
                  </a:lnTo>
                  <a:lnTo>
                    <a:pt x="139" y="173"/>
                  </a:lnTo>
                  <a:lnTo>
                    <a:pt x="139" y="173"/>
                  </a:lnTo>
                  <a:lnTo>
                    <a:pt x="139" y="173"/>
                  </a:lnTo>
                  <a:lnTo>
                    <a:pt x="139" y="173"/>
                  </a:lnTo>
                  <a:lnTo>
                    <a:pt x="137" y="173"/>
                  </a:lnTo>
                  <a:lnTo>
                    <a:pt x="137" y="173"/>
                  </a:lnTo>
                  <a:lnTo>
                    <a:pt x="137" y="173"/>
                  </a:lnTo>
                  <a:lnTo>
                    <a:pt x="137" y="173"/>
                  </a:lnTo>
                  <a:lnTo>
                    <a:pt x="137" y="171"/>
                  </a:lnTo>
                  <a:lnTo>
                    <a:pt x="135" y="171"/>
                  </a:lnTo>
                  <a:lnTo>
                    <a:pt x="135" y="171"/>
                  </a:lnTo>
                  <a:lnTo>
                    <a:pt x="135" y="168"/>
                  </a:lnTo>
                  <a:lnTo>
                    <a:pt x="135" y="168"/>
                  </a:lnTo>
                  <a:lnTo>
                    <a:pt x="135" y="166"/>
                  </a:lnTo>
                  <a:lnTo>
                    <a:pt x="135" y="166"/>
                  </a:lnTo>
                  <a:lnTo>
                    <a:pt x="135" y="166"/>
                  </a:lnTo>
                  <a:lnTo>
                    <a:pt x="135" y="166"/>
                  </a:lnTo>
                  <a:lnTo>
                    <a:pt x="133" y="164"/>
                  </a:lnTo>
                  <a:lnTo>
                    <a:pt x="133" y="164"/>
                  </a:lnTo>
                  <a:lnTo>
                    <a:pt x="133" y="164"/>
                  </a:lnTo>
                  <a:lnTo>
                    <a:pt x="131" y="164"/>
                  </a:lnTo>
                  <a:lnTo>
                    <a:pt x="129" y="166"/>
                  </a:lnTo>
                  <a:lnTo>
                    <a:pt x="127" y="168"/>
                  </a:lnTo>
                  <a:lnTo>
                    <a:pt x="121" y="173"/>
                  </a:lnTo>
                  <a:lnTo>
                    <a:pt x="121" y="173"/>
                  </a:lnTo>
                  <a:lnTo>
                    <a:pt x="121" y="173"/>
                  </a:lnTo>
                  <a:lnTo>
                    <a:pt x="121" y="173"/>
                  </a:lnTo>
                  <a:lnTo>
                    <a:pt x="121" y="175"/>
                  </a:lnTo>
                  <a:lnTo>
                    <a:pt x="121" y="175"/>
                  </a:lnTo>
                  <a:lnTo>
                    <a:pt x="121" y="175"/>
                  </a:lnTo>
                  <a:lnTo>
                    <a:pt x="119" y="177"/>
                  </a:lnTo>
                  <a:lnTo>
                    <a:pt x="119" y="177"/>
                  </a:lnTo>
                  <a:lnTo>
                    <a:pt x="119" y="179"/>
                  </a:lnTo>
                  <a:lnTo>
                    <a:pt x="119" y="179"/>
                  </a:lnTo>
                  <a:lnTo>
                    <a:pt x="119" y="179"/>
                  </a:lnTo>
                  <a:lnTo>
                    <a:pt x="119" y="179"/>
                  </a:lnTo>
                  <a:lnTo>
                    <a:pt x="117" y="179"/>
                  </a:lnTo>
                  <a:lnTo>
                    <a:pt x="117" y="179"/>
                  </a:lnTo>
                  <a:lnTo>
                    <a:pt x="115" y="179"/>
                  </a:lnTo>
                  <a:lnTo>
                    <a:pt x="115" y="179"/>
                  </a:lnTo>
                  <a:lnTo>
                    <a:pt x="113" y="179"/>
                  </a:lnTo>
                  <a:lnTo>
                    <a:pt x="113" y="179"/>
                  </a:lnTo>
                  <a:lnTo>
                    <a:pt x="111" y="179"/>
                  </a:lnTo>
                  <a:lnTo>
                    <a:pt x="111" y="179"/>
                  </a:lnTo>
                  <a:lnTo>
                    <a:pt x="111" y="179"/>
                  </a:lnTo>
                  <a:lnTo>
                    <a:pt x="108" y="181"/>
                  </a:lnTo>
                  <a:lnTo>
                    <a:pt x="108" y="181"/>
                  </a:lnTo>
                  <a:lnTo>
                    <a:pt x="108" y="181"/>
                  </a:lnTo>
                  <a:lnTo>
                    <a:pt x="108" y="181"/>
                  </a:lnTo>
                  <a:lnTo>
                    <a:pt x="108" y="183"/>
                  </a:lnTo>
                  <a:lnTo>
                    <a:pt x="108" y="183"/>
                  </a:lnTo>
                  <a:lnTo>
                    <a:pt x="111" y="183"/>
                  </a:lnTo>
                  <a:lnTo>
                    <a:pt x="111" y="185"/>
                  </a:lnTo>
                  <a:lnTo>
                    <a:pt x="111" y="185"/>
                  </a:lnTo>
                  <a:lnTo>
                    <a:pt x="111" y="187"/>
                  </a:lnTo>
                  <a:lnTo>
                    <a:pt x="111" y="187"/>
                  </a:lnTo>
                  <a:lnTo>
                    <a:pt x="111" y="189"/>
                  </a:lnTo>
                  <a:lnTo>
                    <a:pt x="111" y="189"/>
                  </a:lnTo>
                  <a:lnTo>
                    <a:pt x="111" y="189"/>
                  </a:lnTo>
                  <a:lnTo>
                    <a:pt x="108" y="191"/>
                  </a:lnTo>
                  <a:lnTo>
                    <a:pt x="108" y="195"/>
                  </a:lnTo>
                  <a:lnTo>
                    <a:pt x="106" y="197"/>
                  </a:lnTo>
                  <a:lnTo>
                    <a:pt x="104" y="197"/>
                  </a:lnTo>
                  <a:lnTo>
                    <a:pt x="104" y="197"/>
                  </a:lnTo>
                  <a:lnTo>
                    <a:pt x="102" y="197"/>
                  </a:lnTo>
                  <a:lnTo>
                    <a:pt x="100" y="197"/>
                  </a:lnTo>
                  <a:lnTo>
                    <a:pt x="98" y="197"/>
                  </a:lnTo>
                  <a:lnTo>
                    <a:pt x="98" y="197"/>
                  </a:lnTo>
                  <a:lnTo>
                    <a:pt x="98" y="199"/>
                  </a:lnTo>
                  <a:lnTo>
                    <a:pt x="94" y="201"/>
                  </a:lnTo>
                  <a:lnTo>
                    <a:pt x="90" y="203"/>
                  </a:lnTo>
                  <a:lnTo>
                    <a:pt x="90" y="203"/>
                  </a:lnTo>
                  <a:lnTo>
                    <a:pt x="90" y="203"/>
                  </a:lnTo>
                  <a:lnTo>
                    <a:pt x="88" y="205"/>
                  </a:lnTo>
                  <a:lnTo>
                    <a:pt x="86" y="207"/>
                  </a:lnTo>
                  <a:lnTo>
                    <a:pt x="84" y="207"/>
                  </a:lnTo>
                  <a:lnTo>
                    <a:pt x="84" y="207"/>
                  </a:lnTo>
                  <a:lnTo>
                    <a:pt x="84" y="209"/>
                  </a:lnTo>
                  <a:lnTo>
                    <a:pt x="84" y="209"/>
                  </a:lnTo>
                  <a:lnTo>
                    <a:pt x="82" y="212"/>
                  </a:lnTo>
                  <a:lnTo>
                    <a:pt x="80" y="214"/>
                  </a:lnTo>
                  <a:lnTo>
                    <a:pt x="80" y="214"/>
                  </a:lnTo>
                  <a:lnTo>
                    <a:pt x="80" y="214"/>
                  </a:lnTo>
                  <a:lnTo>
                    <a:pt x="78" y="214"/>
                  </a:lnTo>
                  <a:lnTo>
                    <a:pt x="78" y="214"/>
                  </a:lnTo>
                  <a:lnTo>
                    <a:pt x="78" y="216"/>
                  </a:lnTo>
                  <a:lnTo>
                    <a:pt x="76" y="216"/>
                  </a:lnTo>
                  <a:lnTo>
                    <a:pt x="76" y="218"/>
                  </a:lnTo>
                  <a:lnTo>
                    <a:pt x="74" y="218"/>
                  </a:lnTo>
                  <a:lnTo>
                    <a:pt x="74" y="220"/>
                  </a:lnTo>
                  <a:lnTo>
                    <a:pt x="70" y="222"/>
                  </a:lnTo>
                  <a:lnTo>
                    <a:pt x="68" y="222"/>
                  </a:lnTo>
                  <a:lnTo>
                    <a:pt x="68" y="224"/>
                  </a:lnTo>
                  <a:lnTo>
                    <a:pt x="68" y="224"/>
                  </a:lnTo>
                  <a:lnTo>
                    <a:pt x="65" y="226"/>
                  </a:lnTo>
                  <a:lnTo>
                    <a:pt x="65" y="228"/>
                  </a:lnTo>
                  <a:lnTo>
                    <a:pt x="63" y="228"/>
                  </a:lnTo>
                  <a:lnTo>
                    <a:pt x="59" y="230"/>
                  </a:lnTo>
                  <a:lnTo>
                    <a:pt x="57" y="230"/>
                  </a:lnTo>
                  <a:lnTo>
                    <a:pt x="57" y="230"/>
                  </a:lnTo>
                  <a:lnTo>
                    <a:pt x="57" y="230"/>
                  </a:lnTo>
                  <a:lnTo>
                    <a:pt x="57" y="228"/>
                  </a:lnTo>
                  <a:lnTo>
                    <a:pt x="55" y="228"/>
                  </a:lnTo>
                  <a:lnTo>
                    <a:pt x="55" y="228"/>
                  </a:lnTo>
                  <a:lnTo>
                    <a:pt x="55" y="228"/>
                  </a:lnTo>
                  <a:lnTo>
                    <a:pt x="53" y="230"/>
                  </a:lnTo>
                  <a:lnTo>
                    <a:pt x="51" y="230"/>
                  </a:lnTo>
                  <a:lnTo>
                    <a:pt x="51" y="230"/>
                  </a:lnTo>
                  <a:lnTo>
                    <a:pt x="51" y="230"/>
                  </a:lnTo>
                  <a:lnTo>
                    <a:pt x="51" y="230"/>
                  </a:lnTo>
                  <a:lnTo>
                    <a:pt x="49" y="230"/>
                  </a:lnTo>
                  <a:lnTo>
                    <a:pt x="49" y="230"/>
                  </a:lnTo>
                  <a:lnTo>
                    <a:pt x="49" y="230"/>
                  </a:lnTo>
                  <a:lnTo>
                    <a:pt x="47" y="230"/>
                  </a:lnTo>
                  <a:lnTo>
                    <a:pt x="47" y="230"/>
                  </a:lnTo>
                  <a:lnTo>
                    <a:pt x="45" y="230"/>
                  </a:lnTo>
                  <a:lnTo>
                    <a:pt x="43" y="230"/>
                  </a:lnTo>
                  <a:lnTo>
                    <a:pt x="43" y="232"/>
                  </a:lnTo>
                  <a:lnTo>
                    <a:pt x="41" y="232"/>
                  </a:lnTo>
                  <a:lnTo>
                    <a:pt x="39" y="234"/>
                  </a:lnTo>
                  <a:lnTo>
                    <a:pt x="37" y="236"/>
                  </a:lnTo>
                  <a:lnTo>
                    <a:pt x="37" y="236"/>
                  </a:lnTo>
                  <a:lnTo>
                    <a:pt x="37" y="236"/>
                  </a:lnTo>
                  <a:lnTo>
                    <a:pt x="33" y="238"/>
                  </a:lnTo>
                  <a:lnTo>
                    <a:pt x="33" y="238"/>
                  </a:lnTo>
                  <a:lnTo>
                    <a:pt x="31" y="238"/>
                  </a:lnTo>
                  <a:lnTo>
                    <a:pt x="31" y="238"/>
                  </a:lnTo>
                  <a:lnTo>
                    <a:pt x="31" y="242"/>
                  </a:lnTo>
                  <a:lnTo>
                    <a:pt x="29" y="242"/>
                  </a:lnTo>
                  <a:lnTo>
                    <a:pt x="29" y="244"/>
                  </a:lnTo>
                  <a:lnTo>
                    <a:pt x="29" y="244"/>
                  </a:lnTo>
                  <a:lnTo>
                    <a:pt x="25" y="246"/>
                  </a:lnTo>
                  <a:lnTo>
                    <a:pt x="25" y="246"/>
                  </a:lnTo>
                  <a:lnTo>
                    <a:pt x="25" y="246"/>
                  </a:lnTo>
                  <a:lnTo>
                    <a:pt x="22" y="248"/>
                  </a:lnTo>
                  <a:lnTo>
                    <a:pt x="22" y="250"/>
                  </a:lnTo>
                  <a:lnTo>
                    <a:pt x="22" y="250"/>
                  </a:lnTo>
                  <a:lnTo>
                    <a:pt x="22" y="250"/>
                  </a:lnTo>
                  <a:lnTo>
                    <a:pt x="22" y="250"/>
                  </a:lnTo>
                  <a:lnTo>
                    <a:pt x="22" y="253"/>
                  </a:lnTo>
                  <a:lnTo>
                    <a:pt x="22" y="253"/>
                  </a:lnTo>
                  <a:lnTo>
                    <a:pt x="22" y="255"/>
                  </a:lnTo>
                  <a:lnTo>
                    <a:pt x="22" y="255"/>
                  </a:lnTo>
                  <a:lnTo>
                    <a:pt x="22" y="255"/>
                  </a:lnTo>
                  <a:lnTo>
                    <a:pt x="20" y="257"/>
                  </a:lnTo>
                  <a:lnTo>
                    <a:pt x="20" y="259"/>
                  </a:lnTo>
                  <a:lnTo>
                    <a:pt x="20" y="259"/>
                  </a:lnTo>
                  <a:lnTo>
                    <a:pt x="20" y="259"/>
                  </a:lnTo>
                  <a:lnTo>
                    <a:pt x="20" y="263"/>
                  </a:lnTo>
                  <a:lnTo>
                    <a:pt x="20" y="265"/>
                  </a:lnTo>
                  <a:lnTo>
                    <a:pt x="20" y="265"/>
                  </a:lnTo>
                  <a:lnTo>
                    <a:pt x="18" y="267"/>
                  </a:lnTo>
                  <a:lnTo>
                    <a:pt x="18" y="267"/>
                  </a:lnTo>
                  <a:lnTo>
                    <a:pt x="16" y="269"/>
                  </a:lnTo>
                  <a:lnTo>
                    <a:pt x="16" y="269"/>
                  </a:lnTo>
                  <a:lnTo>
                    <a:pt x="14" y="269"/>
                  </a:lnTo>
                  <a:lnTo>
                    <a:pt x="10" y="269"/>
                  </a:lnTo>
                  <a:lnTo>
                    <a:pt x="8" y="271"/>
                  </a:lnTo>
                  <a:lnTo>
                    <a:pt x="8" y="271"/>
                  </a:lnTo>
                  <a:lnTo>
                    <a:pt x="8" y="269"/>
                  </a:lnTo>
                  <a:lnTo>
                    <a:pt x="8" y="269"/>
                  </a:lnTo>
                  <a:lnTo>
                    <a:pt x="6" y="269"/>
                  </a:lnTo>
                  <a:lnTo>
                    <a:pt x="6" y="269"/>
                  </a:lnTo>
                  <a:lnTo>
                    <a:pt x="6" y="269"/>
                  </a:lnTo>
                  <a:lnTo>
                    <a:pt x="4" y="269"/>
                  </a:lnTo>
                  <a:lnTo>
                    <a:pt x="4" y="271"/>
                  </a:lnTo>
                  <a:lnTo>
                    <a:pt x="2" y="271"/>
                  </a:lnTo>
                  <a:lnTo>
                    <a:pt x="2" y="273"/>
                  </a:lnTo>
                  <a:lnTo>
                    <a:pt x="0" y="273"/>
                  </a:lnTo>
                  <a:lnTo>
                    <a:pt x="0" y="275"/>
                  </a:lnTo>
                  <a:lnTo>
                    <a:pt x="0" y="275"/>
                  </a:lnTo>
                  <a:lnTo>
                    <a:pt x="0" y="277"/>
                  </a:lnTo>
                  <a:lnTo>
                    <a:pt x="0" y="279"/>
                  </a:lnTo>
                  <a:lnTo>
                    <a:pt x="0" y="283"/>
                  </a:lnTo>
                  <a:lnTo>
                    <a:pt x="0" y="289"/>
                  </a:lnTo>
                  <a:lnTo>
                    <a:pt x="0" y="296"/>
                  </a:lnTo>
                  <a:lnTo>
                    <a:pt x="2" y="300"/>
                  </a:lnTo>
                  <a:lnTo>
                    <a:pt x="8" y="300"/>
                  </a:lnTo>
                  <a:lnTo>
                    <a:pt x="14" y="298"/>
                  </a:lnTo>
                  <a:lnTo>
                    <a:pt x="20" y="298"/>
                  </a:lnTo>
                  <a:lnTo>
                    <a:pt x="29" y="296"/>
                  </a:lnTo>
                  <a:lnTo>
                    <a:pt x="35" y="296"/>
                  </a:lnTo>
                  <a:lnTo>
                    <a:pt x="47" y="293"/>
                  </a:lnTo>
                  <a:lnTo>
                    <a:pt x="55" y="291"/>
                  </a:lnTo>
                  <a:lnTo>
                    <a:pt x="61" y="291"/>
                  </a:lnTo>
                  <a:lnTo>
                    <a:pt x="68" y="289"/>
                  </a:lnTo>
                  <a:lnTo>
                    <a:pt x="74" y="287"/>
                  </a:lnTo>
                  <a:lnTo>
                    <a:pt x="80" y="287"/>
                  </a:lnTo>
                  <a:lnTo>
                    <a:pt x="88" y="285"/>
                  </a:lnTo>
                  <a:lnTo>
                    <a:pt x="94" y="285"/>
                  </a:lnTo>
                  <a:lnTo>
                    <a:pt x="100" y="283"/>
                  </a:lnTo>
                  <a:lnTo>
                    <a:pt x="106" y="283"/>
                  </a:lnTo>
                  <a:lnTo>
                    <a:pt x="108" y="283"/>
                  </a:lnTo>
                  <a:lnTo>
                    <a:pt x="133" y="271"/>
                  </a:lnTo>
                  <a:lnTo>
                    <a:pt x="135" y="269"/>
                  </a:lnTo>
                  <a:lnTo>
                    <a:pt x="137" y="269"/>
                  </a:lnTo>
                  <a:lnTo>
                    <a:pt x="137" y="271"/>
                  </a:lnTo>
                  <a:lnTo>
                    <a:pt x="137" y="271"/>
                  </a:lnTo>
                  <a:lnTo>
                    <a:pt x="137" y="271"/>
                  </a:lnTo>
                  <a:lnTo>
                    <a:pt x="139" y="269"/>
                  </a:lnTo>
                  <a:lnTo>
                    <a:pt x="139" y="269"/>
                  </a:lnTo>
                  <a:lnTo>
                    <a:pt x="141" y="267"/>
                  </a:lnTo>
                  <a:lnTo>
                    <a:pt x="141" y="267"/>
                  </a:lnTo>
                  <a:lnTo>
                    <a:pt x="143" y="265"/>
                  </a:lnTo>
                  <a:lnTo>
                    <a:pt x="143" y="265"/>
                  </a:lnTo>
                  <a:lnTo>
                    <a:pt x="143" y="265"/>
                  </a:lnTo>
                  <a:lnTo>
                    <a:pt x="143" y="263"/>
                  </a:lnTo>
                  <a:lnTo>
                    <a:pt x="143" y="263"/>
                  </a:lnTo>
                  <a:lnTo>
                    <a:pt x="145" y="263"/>
                  </a:lnTo>
                  <a:lnTo>
                    <a:pt x="145" y="263"/>
                  </a:lnTo>
                  <a:lnTo>
                    <a:pt x="147" y="263"/>
                  </a:lnTo>
                  <a:lnTo>
                    <a:pt x="149" y="261"/>
                  </a:lnTo>
                  <a:lnTo>
                    <a:pt x="154" y="259"/>
                  </a:lnTo>
                  <a:lnTo>
                    <a:pt x="154" y="259"/>
                  </a:lnTo>
                  <a:lnTo>
                    <a:pt x="158" y="257"/>
                  </a:lnTo>
                  <a:lnTo>
                    <a:pt x="158" y="257"/>
                  </a:lnTo>
                  <a:lnTo>
                    <a:pt x="158" y="257"/>
                  </a:lnTo>
                  <a:lnTo>
                    <a:pt x="160" y="257"/>
                  </a:lnTo>
                  <a:lnTo>
                    <a:pt x="160" y="257"/>
                  </a:lnTo>
                  <a:lnTo>
                    <a:pt x="160" y="255"/>
                  </a:lnTo>
                  <a:lnTo>
                    <a:pt x="164" y="255"/>
                  </a:lnTo>
                  <a:lnTo>
                    <a:pt x="164" y="255"/>
                  </a:lnTo>
                  <a:lnTo>
                    <a:pt x="164" y="255"/>
                  </a:lnTo>
                  <a:lnTo>
                    <a:pt x="164" y="253"/>
                  </a:lnTo>
                  <a:lnTo>
                    <a:pt x="164" y="253"/>
                  </a:lnTo>
                  <a:lnTo>
                    <a:pt x="166" y="250"/>
                  </a:lnTo>
                  <a:lnTo>
                    <a:pt x="166" y="250"/>
                  </a:lnTo>
                  <a:lnTo>
                    <a:pt x="168" y="250"/>
                  </a:lnTo>
                  <a:lnTo>
                    <a:pt x="168" y="250"/>
                  </a:lnTo>
                  <a:lnTo>
                    <a:pt x="168" y="250"/>
                  </a:lnTo>
                  <a:lnTo>
                    <a:pt x="168" y="250"/>
                  </a:lnTo>
                  <a:lnTo>
                    <a:pt x="168" y="250"/>
                  </a:lnTo>
                  <a:lnTo>
                    <a:pt x="168" y="250"/>
                  </a:lnTo>
                  <a:lnTo>
                    <a:pt x="170" y="250"/>
                  </a:lnTo>
                  <a:lnTo>
                    <a:pt x="170" y="250"/>
                  </a:lnTo>
                  <a:lnTo>
                    <a:pt x="176" y="250"/>
                  </a:lnTo>
                  <a:lnTo>
                    <a:pt x="182" y="248"/>
                  </a:lnTo>
                  <a:lnTo>
                    <a:pt x="182" y="248"/>
                  </a:lnTo>
                  <a:lnTo>
                    <a:pt x="186" y="248"/>
                  </a:lnTo>
                  <a:lnTo>
                    <a:pt x="190" y="248"/>
                  </a:lnTo>
                  <a:lnTo>
                    <a:pt x="194" y="248"/>
                  </a:lnTo>
                  <a:lnTo>
                    <a:pt x="201" y="246"/>
                  </a:lnTo>
                  <a:lnTo>
                    <a:pt x="207" y="246"/>
                  </a:lnTo>
                  <a:lnTo>
                    <a:pt x="215" y="244"/>
                  </a:lnTo>
                  <a:lnTo>
                    <a:pt x="223" y="244"/>
                  </a:lnTo>
                  <a:lnTo>
                    <a:pt x="229" y="244"/>
                  </a:lnTo>
                  <a:lnTo>
                    <a:pt x="237" y="242"/>
                  </a:lnTo>
                  <a:lnTo>
                    <a:pt x="246" y="242"/>
                  </a:lnTo>
                  <a:lnTo>
                    <a:pt x="254" y="240"/>
                  </a:lnTo>
                  <a:lnTo>
                    <a:pt x="260" y="240"/>
                  </a:lnTo>
                  <a:lnTo>
                    <a:pt x="268" y="240"/>
                  </a:lnTo>
                  <a:lnTo>
                    <a:pt x="272" y="238"/>
                  </a:lnTo>
                  <a:lnTo>
                    <a:pt x="278" y="238"/>
                  </a:lnTo>
                  <a:lnTo>
                    <a:pt x="283" y="238"/>
                  </a:lnTo>
                  <a:lnTo>
                    <a:pt x="285" y="238"/>
                  </a:lnTo>
                  <a:lnTo>
                    <a:pt x="285" y="238"/>
                  </a:lnTo>
                  <a:lnTo>
                    <a:pt x="285" y="238"/>
                  </a:lnTo>
                  <a:lnTo>
                    <a:pt x="287" y="238"/>
                  </a:lnTo>
                  <a:lnTo>
                    <a:pt x="287" y="238"/>
                  </a:lnTo>
                  <a:lnTo>
                    <a:pt x="287" y="238"/>
                  </a:lnTo>
                  <a:lnTo>
                    <a:pt x="287" y="240"/>
                  </a:lnTo>
                  <a:lnTo>
                    <a:pt x="287" y="240"/>
                  </a:lnTo>
                  <a:lnTo>
                    <a:pt x="287" y="240"/>
                  </a:lnTo>
                  <a:lnTo>
                    <a:pt x="287" y="240"/>
                  </a:lnTo>
                  <a:lnTo>
                    <a:pt x="287" y="244"/>
                  </a:lnTo>
                  <a:lnTo>
                    <a:pt x="287" y="244"/>
                  </a:lnTo>
                  <a:lnTo>
                    <a:pt x="287" y="244"/>
                  </a:lnTo>
                  <a:lnTo>
                    <a:pt x="287" y="244"/>
                  </a:lnTo>
                  <a:lnTo>
                    <a:pt x="287" y="244"/>
                  </a:lnTo>
                  <a:lnTo>
                    <a:pt x="287" y="246"/>
                  </a:lnTo>
                  <a:lnTo>
                    <a:pt x="287" y="246"/>
                  </a:lnTo>
                  <a:lnTo>
                    <a:pt x="287" y="246"/>
                  </a:lnTo>
                  <a:lnTo>
                    <a:pt x="289" y="246"/>
                  </a:lnTo>
                  <a:lnTo>
                    <a:pt x="289" y="246"/>
                  </a:lnTo>
                  <a:lnTo>
                    <a:pt x="289" y="246"/>
                  </a:lnTo>
                  <a:lnTo>
                    <a:pt x="295" y="240"/>
                  </a:lnTo>
                  <a:lnTo>
                    <a:pt x="295" y="240"/>
                  </a:lnTo>
                  <a:lnTo>
                    <a:pt x="297" y="240"/>
                  </a:lnTo>
                  <a:lnTo>
                    <a:pt x="297" y="240"/>
                  </a:lnTo>
                  <a:lnTo>
                    <a:pt x="297" y="240"/>
                  </a:lnTo>
                  <a:lnTo>
                    <a:pt x="301" y="244"/>
                  </a:lnTo>
                  <a:lnTo>
                    <a:pt x="307" y="248"/>
                  </a:lnTo>
                  <a:lnTo>
                    <a:pt x="311" y="255"/>
                  </a:lnTo>
                  <a:lnTo>
                    <a:pt x="311" y="255"/>
                  </a:lnTo>
                  <a:lnTo>
                    <a:pt x="311" y="255"/>
                  </a:lnTo>
                  <a:lnTo>
                    <a:pt x="313" y="267"/>
                  </a:lnTo>
                  <a:lnTo>
                    <a:pt x="313" y="267"/>
                  </a:lnTo>
                  <a:lnTo>
                    <a:pt x="313" y="267"/>
                  </a:lnTo>
                  <a:lnTo>
                    <a:pt x="313" y="267"/>
                  </a:lnTo>
                  <a:lnTo>
                    <a:pt x="315" y="267"/>
                  </a:lnTo>
                  <a:lnTo>
                    <a:pt x="319" y="267"/>
                  </a:lnTo>
                  <a:lnTo>
                    <a:pt x="319" y="267"/>
                  </a:lnTo>
                  <a:lnTo>
                    <a:pt x="321" y="267"/>
                  </a:lnTo>
                  <a:lnTo>
                    <a:pt x="326" y="267"/>
                  </a:lnTo>
                  <a:lnTo>
                    <a:pt x="332" y="265"/>
                  </a:lnTo>
                  <a:lnTo>
                    <a:pt x="338" y="265"/>
                  </a:lnTo>
                  <a:lnTo>
                    <a:pt x="346" y="263"/>
                  </a:lnTo>
                  <a:lnTo>
                    <a:pt x="354" y="261"/>
                  </a:lnTo>
                  <a:lnTo>
                    <a:pt x="362" y="261"/>
                  </a:lnTo>
                  <a:lnTo>
                    <a:pt x="371" y="259"/>
                  </a:lnTo>
                  <a:lnTo>
                    <a:pt x="379" y="259"/>
                  </a:lnTo>
                  <a:lnTo>
                    <a:pt x="385" y="257"/>
                  </a:lnTo>
                  <a:lnTo>
                    <a:pt x="393" y="257"/>
                  </a:lnTo>
                  <a:lnTo>
                    <a:pt x="397" y="255"/>
                  </a:lnTo>
                  <a:lnTo>
                    <a:pt x="401" y="255"/>
                  </a:lnTo>
                  <a:lnTo>
                    <a:pt x="405" y="255"/>
                  </a:lnTo>
                  <a:lnTo>
                    <a:pt x="405" y="253"/>
                  </a:lnTo>
                  <a:lnTo>
                    <a:pt x="410" y="253"/>
                  </a:lnTo>
                  <a:lnTo>
                    <a:pt x="412" y="253"/>
                  </a:lnTo>
                  <a:lnTo>
                    <a:pt x="414" y="253"/>
                  </a:lnTo>
                  <a:lnTo>
                    <a:pt x="418" y="255"/>
                  </a:lnTo>
                  <a:lnTo>
                    <a:pt x="424" y="261"/>
                  </a:lnTo>
                  <a:lnTo>
                    <a:pt x="430" y="265"/>
                  </a:lnTo>
                  <a:lnTo>
                    <a:pt x="438" y="269"/>
                  </a:lnTo>
                  <a:lnTo>
                    <a:pt x="450" y="279"/>
                  </a:lnTo>
                  <a:lnTo>
                    <a:pt x="465" y="289"/>
                  </a:lnTo>
                  <a:lnTo>
                    <a:pt x="471" y="293"/>
                  </a:lnTo>
                  <a:lnTo>
                    <a:pt x="479" y="298"/>
                  </a:lnTo>
                  <a:lnTo>
                    <a:pt x="485" y="304"/>
                  </a:lnTo>
                  <a:lnTo>
                    <a:pt x="491" y="308"/>
                  </a:lnTo>
                  <a:lnTo>
                    <a:pt x="500" y="312"/>
                  </a:lnTo>
                  <a:lnTo>
                    <a:pt x="506" y="318"/>
                  </a:lnTo>
                  <a:lnTo>
                    <a:pt x="514" y="322"/>
                  </a:lnTo>
                  <a:lnTo>
                    <a:pt x="520" y="326"/>
                  </a:lnTo>
                  <a:lnTo>
                    <a:pt x="526" y="332"/>
                  </a:lnTo>
                  <a:lnTo>
                    <a:pt x="528" y="330"/>
                  </a:lnTo>
                  <a:lnTo>
                    <a:pt x="530" y="330"/>
                  </a:lnTo>
                  <a:lnTo>
                    <a:pt x="528" y="332"/>
                  </a:lnTo>
                  <a:lnTo>
                    <a:pt x="528" y="332"/>
                  </a:lnTo>
                  <a:lnTo>
                    <a:pt x="537" y="328"/>
                  </a:lnTo>
                  <a:lnTo>
                    <a:pt x="541" y="326"/>
                  </a:lnTo>
                  <a:lnTo>
                    <a:pt x="543" y="324"/>
                  </a:lnTo>
                  <a:lnTo>
                    <a:pt x="543" y="320"/>
                  </a:lnTo>
                  <a:lnTo>
                    <a:pt x="545" y="320"/>
                  </a:lnTo>
                  <a:lnTo>
                    <a:pt x="545" y="322"/>
                  </a:lnTo>
                  <a:lnTo>
                    <a:pt x="545" y="324"/>
                  </a:lnTo>
                  <a:lnTo>
                    <a:pt x="545" y="324"/>
                  </a:lnTo>
                  <a:lnTo>
                    <a:pt x="547" y="324"/>
                  </a:lnTo>
                  <a:lnTo>
                    <a:pt x="555" y="322"/>
                  </a:lnTo>
                  <a:lnTo>
                    <a:pt x="557" y="322"/>
                  </a:lnTo>
                  <a:lnTo>
                    <a:pt x="557" y="322"/>
                  </a:lnTo>
                  <a:lnTo>
                    <a:pt x="563" y="320"/>
                  </a:lnTo>
                  <a:lnTo>
                    <a:pt x="565" y="320"/>
                  </a:lnTo>
                  <a:lnTo>
                    <a:pt x="573" y="322"/>
                  </a:lnTo>
                  <a:lnTo>
                    <a:pt x="573" y="322"/>
                  </a:lnTo>
                  <a:lnTo>
                    <a:pt x="575" y="320"/>
                  </a:lnTo>
                  <a:lnTo>
                    <a:pt x="575" y="320"/>
                  </a:lnTo>
                  <a:lnTo>
                    <a:pt x="577" y="314"/>
                  </a:lnTo>
                  <a:lnTo>
                    <a:pt x="580" y="310"/>
                  </a:lnTo>
                  <a:lnTo>
                    <a:pt x="580" y="308"/>
                  </a:lnTo>
                  <a:lnTo>
                    <a:pt x="577" y="304"/>
                  </a:lnTo>
                  <a:lnTo>
                    <a:pt x="577" y="304"/>
                  </a:lnTo>
                  <a:lnTo>
                    <a:pt x="580" y="302"/>
                  </a:lnTo>
                  <a:lnTo>
                    <a:pt x="577" y="300"/>
                  </a:lnTo>
                  <a:lnTo>
                    <a:pt x="575" y="291"/>
                  </a:lnTo>
                  <a:lnTo>
                    <a:pt x="573" y="289"/>
                  </a:lnTo>
                  <a:lnTo>
                    <a:pt x="575" y="287"/>
                  </a:lnTo>
                  <a:lnTo>
                    <a:pt x="577" y="293"/>
                  </a:lnTo>
                  <a:lnTo>
                    <a:pt x="580" y="296"/>
                  </a:lnTo>
                  <a:lnTo>
                    <a:pt x="580" y="300"/>
                  </a:lnTo>
                  <a:lnTo>
                    <a:pt x="582" y="308"/>
                  </a:lnTo>
                  <a:lnTo>
                    <a:pt x="582" y="312"/>
                  </a:lnTo>
                  <a:lnTo>
                    <a:pt x="582" y="312"/>
                  </a:lnTo>
                  <a:lnTo>
                    <a:pt x="582" y="312"/>
                  </a:lnTo>
                  <a:lnTo>
                    <a:pt x="582" y="314"/>
                  </a:lnTo>
                  <a:lnTo>
                    <a:pt x="582" y="316"/>
                  </a:lnTo>
                  <a:lnTo>
                    <a:pt x="584" y="312"/>
                  </a:lnTo>
                  <a:lnTo>
                    <a:pt x="584" y="306"/>
                  </a:lnTo>
                  <a:lnTo>
                    <a:pt x="584" y="293"/>
                  </a:lnTo>
                  <a:lnTo>
                    <a:pt x="584" y="291"/>
                  </a:lnTo>
                  <a:lnTo>
                    <a:pt x="586" y="287"/>
                  </a:lnTo>
                  <a:lnTo>
                    <a:pt x="586" y="285"/>
                  </a:lnTo>
                  <a:lnTo>
                    <a:pt x="586" y="283"/>
                  </a:lnTo>
                  <a:lnTo>
                    <a:pt x="588" y="279"/>
                  </a:lnTo>
                  <a:lnTo>
                    <a:pt x="592" y="271"/>
                  </a:lnTo>
                  <a:lnTo>
                    <a:pt x="596" y="263"/>
                  </a:lnTo>
                  <a:lnTo>
                    <a:pt x="606" y="253"/>
                  </a:lnTo>
                  <a:lnTo>
                    <a:pt x="612" y="246"/>
                  </a:lnTo>
                  <a:lnTo>
                    <a:pt x="616" y="244"/>
                  </a:lnTo>
                  <a:lnTo>
                    <a:pt x="616" y="242"/>
                  </a:lnTo>
                  <a:lnTo>
                    <a:pt x="618" y="242"/>
                  </a:lnTo>
                  <a:lnTo>
                    <a:pt x="618" y="242"/>
                  </a:lnTo>
                  <a:lnTo>
                    <a:pt x="616" y="242"/>
                  </a:lnTo>
                  <a:lnTo>
                    <a:pt x="616" y="240"/>
                  </a:lnTo>
                  <a:lnTo>
                    <a:pt x="618" y="240"/>
                  </a:lnTo>
                  <a:lnTo>
                    <a:pt x="616" y="238"/>
                  </a:lnTo>
                  <a:lnTo>
                    <a:pt x="614" y="238"/>
                  </a:lnTo>
                  <a:lnTo>
                    <a:pt x="614" y="238"/>
                  </a:lnTo>
                  <a:lnTo>
                    <a:pt x="612" y="238"/>
                  </a:lnTo>
                  <a:lnTo>
                    <a:pt x="612" y="236"/>
                  </a:lnTo>
                  <a:lnTo>
                    <a:pt x="610" y="236"/>
                  </a:lnTo>
                  <a:lnTo>
                    <a:pt x="610" y="236"/>
                  </a:lnTo>
                  <a:lnTo>
                    <a:pt x="610" y="234"/>
                  </a:lnTo>
                  <a:lnTo>
                    <a:pt x="610" y="234"/>
                  </a:lnTo>
                  <a:lnTo>
                    <a:pt x="612" y="234"/>
                  </a:lnTo>
                  <a:lnTo>
                    <a:pt x="612" y="234"/>
                  </a:lnTo>
                  <a:lnTo>
                    <a:pt x="612" y="234"/>
                  </a:lnTo>
                  <a:lnTo>
                    <a:pt x="614" y="232"/>
                  </a:lnTo>
                  <a:lnTo>
                    <a:pt x="614" y="232"/>
                  </a:lnTo>
                  <a:lnTo>
                    <a:pt x="614" y="228"/>
                  </a:lnTo>
                  <a:lnTo>
                    <a:pt x="614" y="228"/>
                  </a:lnTo>
                  <a:lnTo>
                    <a:pt x="612" y="226"/>
                  </a:lnTo>
                  <a:lnTo>
                    <a:pt x="612" y="226"/>
                  </a:lnTo>
                  <a:lnTo>
                    <a:pt x="610" y="226"/>
                  </a:lnTo>
                  <a:lnTo>
                    <a:pt x="610" y="226"/>
                  </a:lnTo>
                  <a:lnTo>
                    <a:pt x="608" y="220"/>
                  </a:lnTo>
                  <a:lnTo>
                    <a:pt x="610" y="222"/>
                  </a:lnTo>
                  <a:lnTo>
                    <a:pt x="610" y="222"/>
                  </a:lnTo>
                  <a:lnTo>
                    <a:pt x="610" y="220"/>
                  </a:lnTo>
                  <a:lnTo>
                    <a:pt x="612" y="220"/>
                  </a:lnTo>
                  <a:lnTo>
                    <a:pt x="612" y="222"/>
                  </a:lnTo>
                  <a:lnTo>
                    <a:pt x="614" y="222"/>
                  </a:lnTo>
                  <a:lnTo>
                    <a:pt x="614" y="222"/>
                  </a:lnTo>
                  <a:lnTo>
                    <a:pt x="612" y="222"/>
                  </a:lnTo>
                  <a:lnTo>
                    <a:pt x="612" y="224"/>
                  </a:lnTo>
                  <a:lnTo>
                    <a:pt x="614" y="224"/>
                  </a:lnTo>
                  <a:lnTo>
                    <a:pt x="618" y="228"/>
                  </a:lnTo>
                  <a:lnTo>
                    <a:pt x="618" y="228"/>
                  </a:lnTo>
                  <a:lnTo>
                    <a:pt x="618" y="230"/>
                  </a:lnTo>
                  <a:lnTo>
                    <a:pt x="616" y="234"/>
                  </a:lnTo>
                  <a:lnTo>
                    <a:pt x="614" y="236"/>
                  </a:lnTo>
                  <a:lnTo>
                    <a:pt x="618" y="236"/>
                  </a:lnTo>
                  <a:lnTo>
                    <a:pt x="618" y="236"/>
                  </a:lnTo>
                  <a:lnTo>
                    <a:pt x="618" y="236"/>
                  </a:lnTo>
                  <a:lnTo>
                    <a:pt x="620" y="238"/>
                  </a:lnTo>
                  <a:lnTo>
                    <a:pt x="623" y="238"/>
                  </a:lnTo>
                  <a:lnTo>
                    <a:pt x="625" y="236"/>
                  </a:lnTo>
                  <a:lnTo>
                    <a:pt x="625" y="234"/>
                  </a:lnTo>
                  <a:lnTo>
                    <a:pt x="627" y="234"/>
                  </a:lnTo>
                  <a:lnTo>
                    <a:pt x="631" y="226"/>
                  </a:lnTo>
                  <a:lnTo>
                    <a:pt x="633" y="224"/>
                  </a:lnTo>
                  <a:lnTo>
                    <a:pt x="633" y="224"/>
                  </a:lnTo>
                  <a:lnTo>
                    <a:pt x="633" y="222"/>
                  </a:lnTo>
                  <a:lnTo>
                    <a:pt x="633" y="222"/>
                  </a:lnTo>
                  <a:lnTo>
                    <a:pt x="633" y="222"/>
                  </a:lnTo>
                  <a:lnTo>
                    <a:pt x="633" y="222"/>
                  </a:lnTo>
                  <a:lnTo>
                    <a:pt x="635" y="222"/>
                  </a:lnTo>
                  <a:lnTo>
                    <a:pt x="635" y="222"/>
                  </a:lnTo>
                  <a:lnTo>
                    <a:pt x="635" y="222"/>
                  </a:lnTo>
                  <a:lnTo>
                    <a:pt x="637" y="220"/>
                  </a:lnTo>
                  <a:lnTo>
                    <a:pt x="637" y="218"/>
                  </a:lnTo>
                  <a:lnTo>
                    <a:pt x="637" y="218"/>
                  </a:lnTo>
                  <a:lnTo>
                    <a:pt x="635" y="216"/>
                  </a:lnTo>
                  <a:lnTo>
                    <a:pt x="635" y="216"/>
                  </a:lnTo>
                  <a:lnTo>
                    <a:pt x="635" y="214"/>
                  </a:lnTo>
                  <a:lnTo>
                    <a:pt x="637" y="214"/>
                  </a:lnTo>
                  <a:lnTo>
                    <a:pt x="637" y="214"/>
                  </a:lnTo>
                  <a:lnTo>
                    <a:pt x="637" y="216"/>
                  </a:lnTo>
                  <a:lnTo>
                    <a:pt x="639" y="218"/>
                  </a:lnTo>
                  <a:lnTo>
                    <a:pt x="639" y="220"/>
                  </a:lnTo>
                  <a:lnTo>
                    <a:pt x="639" y="222"/>
                  </a:lnTo>
                  <a:lnTo>
                    <a:pt x="639" y="222"/>
                  </a:lnTo>
                  <a:lnTo>
                    <a:pt x="641" y="222"/>
                  </a:lnTo>
                  <a:lnTo>
                    <a:pt x="641" y="220"/>
                  </a:lnTo>
                  <a:lnTo>
                    <a:pt x="653" y="214"/>
                  </a:lnTo>
                  <a:lnTo>
                    <a:pt x="655" y="212"/>
                  </a:lnTo>
                  <a:lnTo>
                    <a:pt x="672" y="209"/>
                  </a:lnTo>
                  <a:lnTo>
                    <a:pt x="672" y="207"/>
                  </a:lnTo>
                  <a:lnTo>
                    <a:pt x="670" y="205"/>
                  </a:lnTo>
                  <a:lnTo>
                    <a:pt x="670" y="205"/>
                  </a:lnTo>
                  <a:lnTo>
                    <a:pt x="668" y="207"/>
                  </a:lnTo>
                  <a:lnTo>
                    <a:pt x="668" y="207"/>
                  </a:lnTo>
                  <a:lnTo>
                    <a:pt x="666" y="207"/>
                  </a:lnTo>
                  <a:lnTo>
                    <a:pt x="668" y="205"/>
                  </a:lnTo>
                  <a:lnTo>
                    <a:pt x="668" y="203"/>
                  </a:lnTo>
                  <a:lnTo>
                    <a:pt x="670" y="201"/>
                  </a:lnTo>
                  <a:lnTo>
                    <a:pt x="672" y="201"/>
                  </a:lnTo>
                  <a:lnTo>
                    <a:pt x="674" y="201"/>
                  </a:lnTo>
                  <a:lnTo>
                    <a:pt x="674" y="203"/>
                  </a:lnTo>
                  <a:lnTo>
                    <a:pt x="676" y="207"/>
                  </a:lnTo>
                  <a:lnTo>
                    <a:pt x="676" y="209"/>
                  </a:lnTo>
                  <a:lnTo>
                    <a:pt x="680" y="209"/>
                  </a:lnTo>
                  <a:lnTo>
                    <a:pt x="680" y="207"/>
                  </a:lnTo>
                  <a:lnTo>
                    <a:pt x="678" y="197"/>
                  </a:lnTo>
                  <a:lnTo>
                    <a:pt x="678" y="197"/>
                  </a:lnTo>
                  <a:lnTo>
                    <a:pt x="680" y="199"/>
                  </a:lnTo>
                  <a:lnTo>
                    <a:pt x="682" y="201"/>
                  </a:lnTo>
                  <a:lnTo>
                    <a:pt x="682" y="203"/>
                  </a:lnTo>
                  <a:lnTo>
                    <a:pt x="682" y="203"/>
                  </a:lnTo>
                  <a:lnTo>
                    <a:pt x="684" y="205"/>
                  </a:lnTo>
                  <a:lnTo>
                    <a:pt x="686" y="205"/>
                  </a:lnTo>
                  <a:lnTo>
                    <a:pt x="688" y="205"/>
                  </a:lnTo>
                  <a:lnTo>
                    <a:pt x="688" y="205"/>
                  </a:lnTo>
                  <a:lnTo>
                    <a:pt x="690" y="203"/>
                  </a:lnTo>
                  <a:lnTo>
                    <a:pt x="690" y="203"/>
                  </a:lnTo>
                  <a:lnTo>
                    <a:pt x="690" y="201"/>
                  </a:lnTo>
                  <a:lnTo>
                    <a:pt x="688" y="201"/>
                  </a:lnTo>
                  <a:lnTo>
                    <a:pt x="688" y="201"/>
                  </a:lnTo>
                  <a:lnTo>
                    <a:pt x="690" y="199"/>
                  </a:lnTo>
                  <a:lnTo>
                    <a:pt x="690" y="199"/>
                  </a:lnTo>
                  <a:lnTo>
                    <a:pt x="690" y="199"/>
                  </a:lnTo>
                  <a:lnTo>
                    <a:pt x="690" y="199"/>
                  </a:lnTo>
                  <a:lnTo>
                    <a:pt x="692" y="195"/>
                  </a:lnTo>
                  <a:lnTo>
                    <a:pt x="694" y="193"/>
                  </a:lnTo>
                  <a:lnTo>
                    <a:pt x="694" y="191"/>
                  </a:lnTo>
                  <a:lnTo>
                    <a:pt x="694" y="191"/>
                  </a:lnTo>
                  <a:lnTo>
                    <a:pt x="694" y="189"/>
                  </a:lnTo>
                  <a:lnTo>
                    <a:pt x="694" y="187"/>
                  </a:lnTo>
                  <a:lnTo>
                    <a:pt x="694" y="187"/>
                  </a:lnTo>
                  <a:lnTo>
                    <a:pt x="694" y="187"/>
                  </a:lnTo>
                  <a:lnTo>
                    <a:pt x="696" y="187"/>
                  </a:lnTo>
                  <a:lnTo>
                    <a:pt x="696" y="189"/>
                  </a:lnTo>
                  <a:lnTo>
                    <a:pt x="696" y="189"/>
                  </a:lnTo>
                  <a:lnTo>
                    <a:pt x="698" y="187"/>
                  </a:lnTo>
                  <a:lnTo>
                    <a:pt x="700" y="185"/>
                  </a:lnTo>
                  <a:lnTo>
                    <a:pt x="700" y="185"/>
                  </a:lnTo>
                  <a:lnTo>
                    <a:pt x="700" y="183"/>
                  </a:lnTo>
                  <a:lnTo>
                    <a:pt x="698" y="183"/>
                  </a:lnTo>
                  <a:lnTo>
                    <a:pt x="698" y="181"/>
                  </a:lnTo>
                  <a:lnTo>
                    <a:pt x="698" y="181"/>
                  </a:lnTo>
                  <a:lnTo>
                    <a:pt x="700" y="179"/>
                  </a:lnTo>
                  <a:lnTo>
                    <a:pt x="700" y="179"/>
                  </a:lnTo>
                  <a:lnTo>
                    <a:pt x="702" y="179"/>
                  </a:lnTo>
                  <a:lnTo>
                    <a:pt x="702" y="179"/>
                  </a:lnTo>
                  <a:lnTo>
                    <a:pt x="704" y="177"/>
                  </a:lnTo>
                  <a:lnTo>
                    <a:pt x="704" y="177"/>
                  </a:lnTo>
                  <a:lnTo>
                    <a:pt x="704" y="175"/>
                  </a:lnTo>
                  <a:lnTo>
                    <a:pt x="702" y="175"/>
                  </a:lnTo>
                  <a:lnTo>
                    <a:pt x="700" y="173"/>
                  </a:lnTo>
                  <a:lnTo>
                    <a:pt x="698" y="171"/>
                  </a:lnTo>
                  <a:lnTo>
                    <a:pt x="696" y="171"/>
                  </a:lnTo>
                  <a:lnTo>
                    <a:pt x="696" y="173"/>
                  </a:lnTo>
                  <a:lnTo>
                    <a:pt x="698" y="175"/>
                  </a:lnTo>
                  <a:lnTo>
                    <a:pt x="700" y="177"/>
                  </a:lnTo>
                  <a:lnTo>
                    <a:pt x="698" y="177"/>
                  </a:lnTo>
                  <a:lnTo>
                    <a:pt x="696" y="177"/>
                  </a:lnTo>
                  <a:lnTo>
                    <a:pt x="696" y="179"/>
                  </a:lnTo>
                  <a:lnTo>
                    <a:pt x="694" y="181"/>
                  </a:lnTo>
                  <a:lnTo>
                    <a:pt x="694" y="181"/>
                  </a:lnTo>
                  <a:lnTo>
                    <a:pt x="690" y="181"/>
                  </a:lnTo>
                  <a:lnTo>
                    <a:pt x="688" y="183"/>
                  </a:lnTo>
                  <a:lnTo>
                    <a:pt x="688" y="183"/>
                  </a:lnTo>
                  <a:lnTo>
                    <a:pt x="688" y="181"/>
                  </a:lnTo>
                  <a:lnTo>
                    <a:pt x="688" y="181"/>
                  </a:lnTo>
                  <a:lnTo>
                    <a:pt x="688" y="181"/>
                  </a:lnTo>
                  <a:lnTo>
                    <a:pt x="688" y="179"/>
                  </a:lnTo>
                  <a:lnTo>
                    <a:pt x="688" y="179"/>
                  </a:lnTo>
                  <a:lnTo>
                    <a:pt x="688" y="179"/>
                  </a:lnTo>
                  <a:lnTo>
                    <a:pt x="690" y="177"/>
                  </a:lnTo>
                  <a:lnTo>
                    <a:pt x="692" y="177"/>
                  </a:lnTo>
                  <a:lnTo>
                    <a:pt x="690" y="175"/>
                  </a:lnTo>
                  <a:lnTo>
                    <a:pt x="688" y="173"/>
                  </a:lnTo>
                  <a:lnTo>
                    <a:pt x="688" y="173"/>
                  </a:lnTo>
                  <a:lnTo>
                    <a:pt x="688" y="171"/>
                  </a:lnTo>
                  <a:lnTo>
                    <a:pt x="688" y="171"/>
                  </a:lnTo>
                  <a:lnTo>
                    <a:pt x="688" y="171"/>
                  </a:lnTo>
                  <a:lnTo>
                    <a:pt x="686" y="168"/>
                  </a:lnTo>
                  <a:lnTo>
                    <a:pt x="686" y="168"/>
                  </a:lnTo>
                  <a:lnTo>
                    <a:pt x="686" y="168"/>
                  </a:lnTo>
                  <a:lnTo>
                    <a:pt x="686" y="171"/>
                  </a:lnTo>
                  <a:lnTo>
                    <a:pt x="684" y="173"/>
                  </a:lnTo>
                  <a:lnTo>
                    <a:pt x="684" y="173"/>
                  </a:lnTo>
                  <a:lnTo>
                    <a:pt x="684" y="175"/>
                  </a:lnTo>
                  <a:lnTo>
                    <a:pt x="686" y="177"/>
                  </a:lnTo>
                  <a:lnTo>
                    <a:pt x="686" y="177"/>
                  </a:lnTo>
                  <a:lnTo>
                    <a:pt x="686" y="179"/>
                  </a:lnTo>
                  <a:lnTo>
                    <a:pt x="684" y="177"/>
                  </a:lnTo>
                  <a:lnTo>
                    <a:pt x="682" y="177"/>
                  </a:lnTo>
                  <a:lnTo>
                    <a:pt x="680" y="177"/>
                  </a:lnTo>
                  <a:lnTo>
                    <a:pt x="680" y="177"/>
                  </a:lnTo>
                  <a:lnTo>
                    <a:pt x="678" y="179"/>
                  </a:lnTo>
                  <a:lnTo>
                    <a:pt x="678" y="181"/>
                  </a:lnTo>
                  <a:lnTo>
                    <a:pt x="682" y="183"/>
                  </a:lnTo>
                  <a:lnTo>
                    <a:pt x="682" y="185"/>
                  </a:lnTo>
                  <a:lnTo>
                    <a:pt x="680" y="185"/>
                  </a:lnTo>
                  <a:lnTo>
                    <a:pt x="678" y="183"/>
                  </a:lnTo>
                  <a:lnTo>
                    <a:pt x="676" y="183"/>
                  </a:lnTo>
                  <a:lnTo>
                    <a:pt x="676" y="183"/>
                  </a:lnTo>
                  <a:lnTo>
                    <a:pt x="676" y="181"/>
                  </a:lnTo>
                  <a:lnTo>
                    <a:pt x="674" y="181"/>
                  </a:lnTo>
                  <a:lnTo>
                    <a:pt x="674" y="181"/>
                  </a:lnTo>
                  <a:lnTo>
                    <a:pt x="674" y="181"/>
                  </a:lnTo>
                  <a:lnTo>
                    <a:pt x="672" y="181"/>
                  </a:lnTo>
                  <a:lnTo>
                    <a:pt x="670" y="183"/>
                  </a:lnTo>
                  <a:lnTo>
                    <a:pt x="670" y="185"/>
                  </a:lnTo>
                  <a:lnTo>
                    <a:pt x="668" y="187"/>
                  </a:lnTo>
                  <a:lnTo>
                    <a:pt x="668" y="187"/>
                  </a:lnTo>
                  <a:lnTo>
                    <a:pt x="666" y="189"/>
                  </a:lnTo>
                  <a:lnTo>
                    <a:pt x="663" y="191"/>
                  </a:lnTo>
                  <a:lnTo>
                    <a:pt x="663" y="191"/>
                  </a:lnTo>
                  <a:lnTo>
                    <a:pt x="663" y="191"/>
                  </a:lnTo>
                  <a:lnTo>
                    <a:pt x="663" y="191"/>
                  </a:lnTo>
                  <a:lnTo>
                    <a:pt x="661" y="189"/>
                  </a:lnTo>
                  <a:lnTo>
                    <a:pt x="659" y="189"/>
                  </a:lnTo>
                  <a:lnTo>
                    <a:pt x="653" y="187"/>
                  </a:lnTo>
                  <a:lnTo>
                    <a:pt x="649" y="187"/>
                  </a:lnTo>
                  <a:lnTo>
                    <a:pt x="647" y="187"/>
                  </a:lnTo>
                  <a:lnTo>
                    <a:pt x="643" y="183"/>
                  </a:lnTo>
                  <a:lnTo>
                    <a:pt x="639" y="179"/>
                  </a:lnTo>
                  <a:lnTo>
                    <a:pt x="637" y="177"/>
                  </a:lnTo>
                  <a:lnTo>
                    <a:pt x="635" y="177"/>
                  </a:lnTo>
                  <a:lnTo>
                    <a:pt x="635" y="177"/>
                  </a:lnTo>
                  <a:lnTo>
                    <a:pt x="631" y="171"/>
                  </a:lnTo>
                  <a:lnTo>
                    <a:pt x="633" y="171"/>
                  </a:lnTo>
                  <a:lnTo>
                    <a:pt x="639" y="177"/>
                  </a:lnTo>
                  <a:lnTo>
                    <a:pt x="643" y="177"/>
                  </a:lnTo>
                  <a:lnTo>
                    <a:pt x="643" y="177"/>
                  </a:lnTo>
                  <a:lnTo>
                    <a:pt x="649" y="181"/>
                  </a:lnTo>
                  <a:lnTo>
                    <a:pt x="651" y="183"/>
                  </a:lnTo>
                  <a:lnTo>
                    <a:pt x="655" y="183"/>
                  </a:lnTo>
                  <a:lnTo>
                    <a:pt x="657" y="183"/>
                  </a:lnTo>
                  <a:lnTo>
                    <a:pt x="661" y="183"/>
                  </a:lnTo>
                  <a:lnTo>
                    <a:pt x="663" y="181"/>
                  </a:lnTo>
                  <a:lnTo>
                    <a:pt x="666" y="179"/>
                  </a:lnTo>
                  <a:lnTo>
                    <a:pt x="668" y="177"/>
                  </a:lnTo>
                  <a:lnTo>
                    <a:pt x="670" y="173"/>
                  </a:lnTo>
                  <a:lnTo>
                    <a:pt x="672" y="171"/>
                  </a:lnTo>
                  <a:lnTo>
                    <a:pt x="672" y="168"/>
                  </a:lnTo>
                  <a:lnTo>
                    <a:pt x="674" y="166"/>
                  </a:lnTo>
                  <a:lnTo>
                    <a:pt x="676" y="164"/>
                  </a:lnTo>
                  <a:lnTo>
                    <a:pt x="676" y="162"/>
                  </a:lnTo>
                  <a:lnTo>
                    <a:pt x="674" y="158"/>
                  </a:lnTo>
                  <a:lnTo>
                    <a:pt x="672" y="160"/>
                  </a:lnTo>
                  <a:lnTo>
                    <a:pt x="672" y="160"/>
                  </a:lnTo>
                  <a:lnTo>
                    <a:pt x="674" y="160"/>
                  </a:lnTo>
                  <a:lnTo>
                    <a:pt x="674" y="160"/>
                  </a:lnTo>
                  <a:lnTo>
                    <a:pt x="674" y="160"/>
                  </a:lnTo>
                  <a:lnTo>
                    <a:pt x="674" y="162"/>
                  </a:lnTo>
                  <a:lnTo>
                    <a:pt x="672" y="162"/>
                  </a:lnTo>
                  <a:lnTo>
                    <a:pt x="672" y="162"/>
                  </a:lnTo>
                  <a:lnTo>
                    <a:pt x="670" y="162"/>
                  </a:lnTo>
                  <a:lnTo>
                    <a:pt x="666" y="162"/>
                  </a:lnTo>
                  <a:lnTo>
                    <a:pt x="666" y="162"/>
                  </a:lnTo>
                  <a:lnTo>
                    <a:pt x="666" y="160"/>
                  </a:lnTo>
                  <a:lnTo>
                    <a:pt x="668" y="160"/>
                  </a:lnTo>
                  <a:lnTo>
                    <a:pt x="668" y="158"/>
                  </a:lnTo>
                  <a:lnTo>
                    <a:pt x="670" y="158"/>
                  </a:lnTo>
                  <a:lnTo>
                    <a:pt x="670" y="158"/>
                  </a:lnTo>
                  <a:lnTo>
                    <a:pt x="670" y="156"/>
                  </a:lnTo>
                  <a:lnTo>
                    <a:pt x="672" y="156"/>
                  </a:lnTo>
                  <a:lnTo>
                    <a:pt x="674" y="156"/>
                  </a:lnTo>
                  <a:lnTo>
                    <a:pt x="676" y="156"/>
                  </a:lnTo>
                  <a:lnTo>
                    <a:pt x="676" y="156"/>
                  </a:lnTo>
                  <a:lnTo>
                    <a:pt x="678" y="154"/>
                  </a:lnTo>
                  <a:lnTo>
                    <a:pt x="676" y="154"/>
                  </a:lnTo>
                  <a:lnTo>
                    <a:pt x="676" y="154"/>
                  </a:lnTo>
                  <a:lnTo>
                    <a:pt x="674" y="152"/>
                  </a:lnTo>
                  <a:lnTo>
                    <a:pt x="674" y="152"/>
                  </a:lnTo>
                  <a:lnTo>
                    <a:pt x="678" y="152"/>
                  </a:lnTo>
                  <a:lnTo>
                    <a:pt x="680" y="152"/>
                  </a:lnTo>
                  <a:lnTo>
                    <a:pt x="680" y="150"/>
                  </a:lnTo>
                  <a:lnTo>
                    <a:pt x="680" y="150"/>
                  </a:lnTo>
                  <a:lnTo>
                    <a:pt x="680" y="148"/>
                  </a:lnTo>
                  <a:lnTo>
                    <a:pt x="680" y="146"/>
                  </a:lnTo>
                  <a:lnTo>
                    <a:pt x="678" y="146"/>
                  </a:lnTo>
                  <a:lnTo>
                    <a:pt x="678" y="144"/>
                  </a:lnTo>
                  <a:lnTo>
                    <a:pt x="678" y="144"/>
                  </a:lnTo>
                  <a:lnTo>
                    <a:pt x="676" y="144"/>
                  </a:lnTo>
                  <a:lnTo>
                    <a:pt x="666" y="144"/>
                  </a:lnTo>
                  <a:lnTo>
                    <a:pt x="659" y="142"/>
                  </a:lnTo>
                  <a:lnTo>
                    <a:pt x="653" y="140"/>
                  </a:lnTo>
                  <a:lnTo>
                    <a:pt x="647" y="140"/>
                  </a:lnTo>
                  <a:lnTo>
                    <a:pt x="645" y="140"/>
                  </a:lnTo>
                  <a:lnTo>
                    <a:pt x="643" y="138"/>
                  </a:lnTo>
                  <a:lnTo>
                    <a:pt x="639" y="138"/>
                  </a:lnTo>
                  <a:lnTo>
                    <a:pt x="635" y="138"/>
                  </a:lnTo>
                  <a:lnTo>
                    <a:pt x="633" y="140"/>
                  </a:lnTo>
                  <a:lnTo>
                    <a:pt x="631" y="136"/>
                  </a:lnTo>
                  <a:lnTo>
                    <a:pt x="631" y="136"/>
                  </a:lnTo>
                  <a:lnTo>
                    <a:pt x="629" y="134"/>
                  </a:lnTo>
                  <a:lnTo>
                    <a:pt x="627" y="134"/>
                  </a:lnTo>
                  <a:lnTo>
                    <a:pt x="627" y="134"/>
                  </a:lnTo>
                  <a:lnTo>
                    <a:pt x="625" y="130"/>
                  </a:lnTo>
                  <a:lnTo>
                    <a:pt x="629" y="132"/>
                  </a:lnTo>
                  <a:lnTo>
                    <a:pt x="631" y="134"/>
                  </a:lnTo>
                  <a:lnTo>
                    <a:pt x="635" y="134"/>
                  </a:lnTo>
                  <a:lnTo>
                    <a:pt x="639" y="136"/>
                  </a:lnTo>
                  <a:lnTo>
                    <a:pt x="641" y="136"/>
                  </a:lnTo>
                  <a:lnTo>
                    <a:pt x="645" y="134"/>
                  </a:lnTo>
                  <a:lnTo>
                    <a:pt x="647" y="136"/>
                  </a:lnTo>
                  <a:lnTo>
                    <a:pt x="649" y="136"/>
                  </a:lnTo>
                  <a:lnTo>
                    <a:pt x="651" y="138"/>
                  </a:lnTo>
                  <a:lnTo>
                    <a:pt x="657" y="136"/>
                  </a:lnTo>
                  <a:lnTo>
                    <a:pt x="659" y="136"/>
                  </a:lnTo>
                  <a:lnTo>
                    <a:pt x="659" y="134"/>
                  </a:lnTo>
                  <a:lnTo>
                    <a:pt x="659" y="134"/>
                  </a:lnTo>
                  <a:lnTo>
                    <a:pt x="659" y="134"/>
                  </a:lnTo>
                  <a:lnTo>
                    <a:pt x="661" y="134"/>
                  </a:lnTo>
                  <a:lnTo>
                    <a:pt x="661" y="136"/>
                  </a:lnTo>
                  <a:lnTo>
                    <a:pt x="663" y="136"/>
                  </a:lnTo>
                  <a:lnTo>
                    <a:pt x="666" y="136"/>
                  </a:lnTo>
                  <a:lnTo>
                    <a:pt x="668" y="136"/>
                  </a:lnTo>
                  <a:lnTo>
                    <a:pt x="668" y="134"/>
                  </a:lnTo>
                  <a:lnTo>
                    <a:pt x="668" y="134"/>
                  </a:lnTo>
                  <a:lnTo>
                    <a:pt x="666" y="134"/>
                  </a:lnTo>
                  <a:lnTo>
                    <a:pt x="666" y="134"/>
                  </a:lnTo>
                  <a:lnTo>
                    <a:pt x="666" y="134"/>
                  </a:lnTo>
                  <a:lnTo>
                    <a:pt x="666" y="134"/>
                  </a:lnTo>
                  <a:lnTo>
                    <a:pt x="666" y="132"/>
                  </a:lnTo>
                  <a:lnTo>
                    <a:pt x="666" y="132"/>
                  </a:lnTo>
                  <a:lnTo>
                    <a:pt x="666" y="132"/>
                  </a:lnTo>
                  <a:lnTo>
                    <a:pt x="666" y="132"/>
                  </a:lnTo>
                  <a:lnTo>
                    <a:pt x="663" y="132"/>
                  </a:lnTo>
                  <a:lnTo>
                    <a:pt x="663" y="130"/>
                  </a:lnTo>
                  <a:lnTo>
                    <a:pt x="663" y="130"/>
                  </a:lnTo>
                  <a:lnTo>
                    <a:pt x="663" y="128"/>
                  </a:lnTo>
                  <a:lnTo>
                    <a:pt x="663" y="125"/>
                  </a:lnTo>
                  <a:lnTo>
                    <a:pt x="661" y="125"/>
                  </a:lnTo>
                  <a:lnTo>
                    <a:pt x="661" y="123"/>
                  </a:lnTo>
                  <a:lnTo>
                    <a:pt x="659" y="123"/>
                  </a:lnTo>
                  <a:lnTo>
                    <a:pt x="661" y="121"/>
                  </a:lnTo>
                  <a:lnTo>
                    <a:pt x="663" y="119"/>
                  </a:lnTo>
                  <a:lnTo>
                    <a:pt x="666" y="119"/>
                  </a:lnTo>
                  <a:lnTo>
                    <a:pt x="670" y="119"/>
                  </a:lnTo>
                  <a:lnTo>
                    <a:pt x="672" y="119"/>
                  </a:lnTo>
                  <a:lnTo>
                    <a:pt x="674" y="119"/>
                  </a:lnTo>
                  <a:lnTo>
                    <a:pt x="674" y="121"/>
                  </a:lnTo>
                  <a:lnTo>
                    <a:pt x="674" y="123"/>
                  </a:lnTo>
                  <a:lnTo>
                    <a:pt x="668" y="123"/>
                  </a:lnTo>
                  <a:lnTo>
                    <a:pt x="666" y="123"/>
                  </a:lnTo>
                  <a:lnTo>
                    <a:pt x="666" y="125"/>
                  </a:lnTo>
                  <a:lnTo>
                    <a:pt x="668" y="128"/>
                  </a:lnTo>
                  <a:lnTo>
                    <a:pt x="670" y="128"/>
                  </a:lnTo>
                  <a:lnTo>
                    <a:pt x="670" y="128"/>
                  </a:lnTo>
                  <a:lnTo>
                    <a:pt x="668" y="130"/>
                  </a:lnTo>
                  <a:lnTo>
                    <a:pt x="670" y="130"/>
                  </a:lnTo>
                  <a:lnTo>
                    <a:pt x="674" y="132"/>
                  </a:lnTo>
                  <a:lnTo>
                    <a:pt x="674" y="132"/>
                  </a:lnTo>
                  <a:lnTo>
                    <a:pt x="674" y="132"/>
                  </a:lnTo>
                  <a:lnTo>
                    <a:pt x="674" y="132"/>
                  </a:lnTo>
                  <a:lnTo>
                    <a:pt x="672" y="134"/>
                  </a:lnTo>
                  <a:lnTo>
                    <a:pt x="674" y="134"/>
                  </a:lnTo>
                  <a:lnTo>
                    <a:pt x="676" y="136"/>
                  </a:lnTo>
                  <a:lnTo>
                    <a:pt x="678" y="136"/>
                  </a:lnTo>
                  <a:lnTo>
                    <a:pt x="678" y="136"/>
                  </a:lnTo>
                  <a:lnTo>
                    <a:pt x="678" y="136"/>
                  </a:lnTo>
                  <a:lnTo>
                    <a:pt x="678" y="134"/>
                  </a:lnTo>
                  <a:lnTo>
                    <a:pt x="676" y="134"/>
                  </a:lnTo>
                  <a:lnTo>
                    <a:pt x="676" y="134"/>
                  </a:lnTo>
                  <a:lnTo>
                    <a:pt x="678" y="132"/>
                  </a:lnTo>
                  <a:lnTo>
                    <a:pt x="678" y="132"/>
                  </a:lnTo>
                  <a:lnTo>
                    <a:pt x="680" y="134"/>
                  </a:lnTo>
                  <a:lnTo>
                    <a:pt x="680" y="130"/>
                  </a:lnTo>
                  <a:lnTo>
                    <a:pt x="680" y="128"/>
                  </a:lnTo>
                  <a:lnTo>
                    <a:pt x="680" y="125"/>
                  </a:lnTo>
                  <a:lnTo>
                    <a:pt x="682" y="125"/>
                  </a:lnTo>
                  <a:lnTo>
                    <a:pt x="684" y="128"/>
                  </a:lnTo>
                  <a:lnTo>
                    <a:pt x="684" y="132"/>
                  </a:lnTo>
                  <a:lnTo>
                    <a:pt x="684" y="134"/>
                  </a:lnTo>
                  <a:lnTo>
                    <a:pt x="686" y="134"/>
                  </a:lnTo>
                  <a:lnTo>
                    <a:pt x="686" y="134"/>
                  </a:lnTo>
                  <a:lnTo>
                    <a:pt x="682" y="136"/>
                  </a:lnTo>
                  <a:lnTo>
                    <a:pt x="682" y="136"/>
                  </a:lnTo>
                  <a:lnTo>
                    <a:pt x="684" y="136"/>
                  </a:lnTo>
                  <a:lnTo>
                    <a:pt x="684" y="136"/>
                  </a:lnTo>
                  <a:lnTo>
                    <a:pt x="684" y="136"/>
                  </a:lnTo>
                  <a:lnTo>
                    <a:pt x="686" y="138"/>
                  </a:lnTo>
                  <a:lnTo>
                    <a:pt x="686" y="138"/>
                  </a:lnTo>
                  <a:lnTo>
                    <a:pt x="688" y="138"/>
                  </a:lnTo>
                  <a:lnTo>
                    <a:pt x="688" y="136"/>
                  </a:lnTo>
                  <a:lnTo>
                    <a:pt x="688" y="134"/>
                  </a:lnTo>
                  <a:lnTo>
                    <a:pt x="686" y="134"/>
                  </a:lnTo>
                  <a:lnTo>
                    <a:pt x="686" y="134"/>
                  </a:lnTo>
                  <a:lnTo>
                    <a:pt x="686" y="132"/>
                  </a:lnTo>
                  <a:lnTo>
                    <a:pt x="686" y="130"/>
                  </a:lnTo>
                  <a:lnTo>
                    <a:pt x="688" y="132"/>
                  </a:lnTo>
                  <a:lnTo>
                    <a:pt x="690" y="132"/>
                  </a:lnTo>
                  <a:lnTo>
                    <a:pt x="692" y="134"/>
                  </a:lnTo>
                  <a:lnTo>
                    <a:pt x="694" y="136"/>
                  </a:lnTo>
                  <a:lnTo>
                    <a:pt x="696" y="136"/>
                  </a:lnTo>
                  <a:lnTo>
                    <a:pt x="696" y="134"/>
                  </a:lnTo>
                  <a:lnTo>
                    <a:pt x="696" y="134"/>
                  </a:lnTo>
                  <a:lnTo>
                    <a:pt x="696" y="132"/>
                  </a:lnTo>
                  <a:lnTo>
                    <a:pt x="696" y="132"/>
                  </a:lnTo>
                  <a:lnTo>
                    <a:pt x="698" y="134"/>
                  </a:lnTo>
                  <a:lnTo>
                    <a:pt x="700" y="134"/>
                  </a:lnTo>
                  <a:lnTo>
                    <a:pt x="707" y="134"/>
                  </a:lnTo>
                  <a:lnTo>
                    <a:pt x="707" y="134"/>
                  </a:lnTo>
                  <a:lnTo>
                    <a:pt x="707" y="132"/>
                  </a:lnTo>
                  <a:lnTo>
                    <a:pt x="709" y="130"/>
                  </a:lnTo>
                  <a:lnTo>
                    <a:pt x="711" y="128"/>
                  </a:lnTo>
                  <a:lnTo>
                    <a:pt x="713" y="128"/>
                  </a:lnTo>
                  <a:lnTo>
                    <a:pt x="713" y="128"/>
                  </a:lnTo>
                  <a:lnTo>
                    <a:pt x="711" y="125"/>
                  </a:lnTo>
                  <a:lnTo>
                    <a:pt x="711" y="123"/>
                  </a:lnTo>
                  <a:lnTo>
                    <a:pt x="713" y="121"/>
                  </a:lnTo>
                  <a:lnTo>
                    <a:pt x="715" y="121"/>
                  </a:lnTo>
                  <a:lnTo>
                    <a:pt x="713" y="123"/>
                  </a:lnTo>
                  <a:lnTo>
                    <a:pt x="715" y="123"/>
                  </a:lnTo>
                  <a:lnTo>
                    <a:pt x="715" y="123"/>
                  </a:lnTo>
                  <a:lnTo>
                    <a:pt x="715" y="123"/>
                  </a:lnTo>
                  <a:lnTo>
                    <a:pt x="715" y="121"/>
                  </a:lnTo>
                  <a:lnTo>
                    <a:pt x="715" y="119"/>
                  </a:lnTo>
                  <a:lnTo>
                    <a:pt x="717" y="119"/>
                  </a:lnTo>
                  <a:lnTo>
                    <a:pt x="717" y="117"/>
                  </a:lnTo>
                  <a:lnTo>
                    <a:pt x="715" y="117"/>
                  </a:lnTo>
                  <a:lnTo>
                    <a:pt x="717" y="115"/>
                  </a:lnTo>
                  <a:lnTo>
                    <a:pt x="717" y="115"/>
                  </a:lnTo>
                  <a:lnTo>
                    <a:pt x="719" y="115"/>
                  </a:lnTo>
                  <a:lnTo>
                    <a:pt x="719" y="113"/>
                  </a:lnTo>
                  <a:lnTo>
                    <a:pt x="717" y="113"/>
                  </a:lnTo>
                  <a:lnTo>
                    <a:pt x="717" y="113"/>
                  </a:lnTo>
                  <a:lnTo>
                    <a:pt x="717" y="111"/>
                  </a:lnTo>
                  <a:lnTo>
                    <a:pt x="717" y="111"/>
                  </a:lnTo>
                  <a:lnTo>
                    <a:pt x="719" y="111"/>
                  </a:lnTo>
                  <a:lnTo>
                    <a:pt x="719" y="111"/>
                  </a:lnTo>
                  <a:lnTo>
                    <a:pt x="723" y="105"/>
                  </a:lnTo>
                  <a:lnTo>
                    <a:pt x="723" y="103"/>
                  </a:lnTo>
                  <a:lnTo>
                    <a:pt x="723" y="101"/>
                  </a:lnTo>
                  <a:lnTo>
                    <a:pt x="721" y="99"/>
                  </a:lnTo>
                  <a:lnTo>
                    <a:pt x="723" y="97"/>
                  </a:lnTo>
                  <a:lnTo>
                    <a:pt x="723" y="101"/>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C</a:t>
              </a:r>
            </a:p>
          </p:txBody>
        </p:sp>
        <p:sp>
          <p:nvSpPr>
            <p:cNvPr id="266" name="Freeform 29">
              <a:extLst>
                <a:ext uri="{FF2B5EF4-FFF2-40B4-BE49-F238E27FC236}">
                  <a16:creationId xmlns:a16="http://schemas.microsoft.com/office/drawing/2014/main" id="{3D3C8455-D3F2-D592-84B8-C128CB169571}"/>
                </a:ext>
              </a:extLst>
            </p:cNvPr>
            <p:cNvSpPr>
              <a:spLocks/>
            </p:cNvSpPr>
            <p:nvPr/>
          </p:nvSpPr>
          <p:spPr bwMode="auto">
            <a:xfrm>
              <a:off x="1507" y="92"/>
              <a:ext cx="915" cy="511"/>
            </a:xfrm>
            <a:custGeom>
              <a:avLst/>
              <a:gdLst>
                <a:gd name="T0" fmla="*/ 874 w 915"/>
                <a:gd name="T1" fmla="*/ 494 h 511"/>
                <a:gd name="T2" fmla="*/ 745 w 915"/>
                <a:gd name="T3" fmla="*/ 488 h 511"/>
                <a:gd name="T4" fmla="*/ 616 w 915"/>
                <a:gd name="T5" fmla="*/ 480 h 511"/>
                <a:gd name="T6" fmla="*/ 487 w 915"/>
                <a:gd name="T7" fmla="*/ 470 h 511"/>
                <a:gd name="T8" fmla="*/ 360 w 915"/>
                <a:gd name="T9" fmla="*/ 459 h 511"/>
                <a:gd name="T10" fmla="*/ 342 w 915"/>
                <a:gd name="T11" fmla="*/ 496 h 511"/>
                <a:gd name="T12" fmla="*/ 330 w 915"/>
                <a:gd name="T13" fmla="*/ 498 h 511"/>
                <a:gd name="T14" fmla="*/ 319 w 915"/>
                <a:gd name="T15" fmla="*/ 480 h 511"/>
                <a:gd name="T16" fmla="*/ 311 w 915"/>
                <a:gd name="T17" fmla="*/ 486 h 511"/>
                <a:gd name="T18" fmla="*/ 307 w 915"/>
                <a:gd name="T19" fmla="*/ 496 h 511"/>
                <a:gd name="T20" fmla="*/ 307 w 915"/>
                <a:gd name="T21" fmla="*/ 500 h 511"/>
                <a:gd name="T22" fmla="*/ 280 w 915"/>
                <a:gd name="T23" fmla="*/ 500 h 511"/>
                <a:gd name="T24" fmla="*/ 260 w 915"/>
                <a:gd name="T25" fmla="*/ 496 h 511"/>
                <a:gd name="T26" fmla="*/ 244 w 915"/>
                <a:gd name="T27" fmla="*/ 494 h 511"/>
                <a:gd name="T28" fmla="*/ 233 w 915"/>
                <a:gd name="T29" fmla="*/ 500 h 511"/>
                <a:gd name="T30" fmla="*/ 207 w 915"/>
                <a:gd name="T31" fmla="*/ 496 h 511"/>
                <a:gd name="T32" fmla="*/ 196 w 915"/>
                <a:gd name="T33" fmla="*/ 504 h 511"/>
                <a:gd name="T34" fmla="*/ 186 w 915"/>
                <a:gd name="T35" fmla="*/ 492 h 511"/>
                <a:gd name="T36" fmla="*/ 184 w 915"/>
                <a:gd name="T37" fmla="*/ 480 h 511"/>
                <a:gd name="T38" fmla="*/ 184 w 915"/>
                <a:gd name="T39" fmla="*/ 472 h 511"/>
                <a:gd name="T40" fmla="*/ 176 w 915"/>
                <a:gd name="T41" fmla="*/ 457 h 511"/>
                <a:gd name="T42" fmla="*/ 164 w 915"/>
                <a:gd name="T43" fmla="*/ 455 h 511"/>
                <a:gd name="T44" fmla="*/ 158 w 915"/>
                <a:gd name="T45" fmla="*/ 441 h 511"/>
                <a:gd name="T46" fmla="*/ 155 w 915"/>
                <a:gd name="T47" fmla="*/ 422 h 511"/>
                <a:gd name="T48" fmla="*/ 149 w 915"/>
                <a:gd name="T49" fmla="*/ 412 h 511"/>
                <a:gd name="T50" fmla="*/ 141 w 915"/>
                <a:gd name="T51" fmla="*/ 400 h 511"/>
                <a:gd name="T52" fmla="*/ 141 w 915"/>
                <a:gd name="T53" fmla="*/ 386 h 511"/>
                <a:gd name="T54" fmla="*/ 139 w 915"/>
                <a:gd name="T55" fmla="*/ 373 h 511"/>
                <a:gd name="T56" fmla="*/ 127 w 915"/>
                <a:gd name="T57" fmla="*/ 359 h 511"/>
                <a:gd name="T58" fmla="*/ 121 w 915"/>
                <a:gd name="T59" fmla="*/ 363 h 511"/>
                <a:gd name="T60" fmla="*/ 115 w 915"/>
                <a:gd name="T61" fmla="*/ 371 h 511"/>
                <a:gd name="T62" fmla="*/ 102 w 915"/>
                <a:gd name="T63" fmla="*/ 377 h 511"/>
                <a:gd name="T64" fmla="*/ 90 w 915"/>
                <a:gd name="T65" fmla="*/ 371 h 511"/>
                <a:gd name="T66" fmla="*/ 82 w 915"/>
                <a:gd name="T67" fmla="*/ 361 h 511"/>
                <a:gd name="T68" fmla="*/ 84 w 915"/>
                <a:gd name="T69" fmla="*/ 349 h 511"/>
                <a:gd name="T70" fmla="*/ 88 w 915"/>
                <a:gd name="T71" fmla="*/ 338 h 511"/>
                <a:gd name="T72" fmla="*/ 96 w 915"/>
                <a:gd name="T73" fmla="*/ 330 h 511"/>
                <a:gd name="T74" fmla="*/ 92 w 915"/>
                <a:gd name="T75" fmla="*/ 320 h 511"/>
                <a:gd name="T76" fmla="*/ 92 w 915"/>
                <a:gd name="T77" fmla="*/ 306 h 511"/>
                <a:gd name="T78" fmla="*/ 98 w 915"/>
                <a:gd name="T79" fmla="*/ 299 h 511"/>
                <a:gd name="T80" fmla="*/ 102 w 915"/>
                <a:gd name="T81" fmla="*/ 287 h 511"/>
                <a:gd name="T82" fmla="*/ 106 w 915"/>
                <a:gd name="T83" fmla="*/ 275 h 511"/>
                <a:gd name="T84" fmla="*/ 108 w 915"/>
                <a:gd name="T85" fmla="*/ 269 h 511"/>
                <a:gd name="T86" fmla="*/ 112 w 915"/>
                <a:gd name="T87" fmla="*/ 256 h 511"/>
                <a:gd name="T88" fmla="*/ 98 w 915"/>
                <a:gd name="T89" fmla="*/ 254 h 511"/>
                <a:gd name="T90" fmla="*/ 90 w 915"/>
                <a:gd name="T91" fmla="*/ 248 h 511"/>
                <a:gd name="T92" fmla="*/ 80 w 915"/>
                <a:gd name="T93" fmla="*/ 246 h 511"/>
                <a:gd name="T94" fmla="*/ 72 w 915"/>
                <a:gd name="T95" fmla="*/ 234 h 511"/>
                <a:gd name="T96" fmla="*/ 67 w 915"/>
                <a:gd name="T97" fmla="*/ 220 h 511"/>
                <a:gd name="T98" fmla="*/ 51 w 915"/>
                <a:gd name="T99" fmla="*/ 197 h 511"/>
                <a:gd name="T100" fmla="*/ 43 w 915"/>
                <a:gd name="T101" fmla="*/ 185 h 511"/>
                <a:gd name="T102" fmla="*/ 16 w 915"/>
                <a:gd name="T103" fmla="*/ 162 h 511"/>
                <a:gd name="T104" fmla="*/ 22 w 915"/>
                <a:gd name="T105" fmla="*/ 158 h 511"/>
                <a:gd name="T106" fmla="*/ 20 w 915"/>
                <a:gd name="T107" fmla="*/ 148 h 511"/>
                <a:gd name="T108" fmla="*/ 16 w 915"/>
                <a:gd name="T109" fmla="*/ 129 h 511"/>
                <a:gd name="T110" fmla="*/ 6 w 915"/>
                <a:gd name="T111" fmla="*/ 113 h 511"/>
                <a:gd name="T112" fmla="*/ 10 w 915"/>
                <a:gd name="T113" fmla="*/ 25 h 511"/>
                <a:gd name="T114" fmla="*/ 211 w 915"/>
                <a:gd name="T115" fmla="*/ 27 h 511"/>
                <a:gd name="T116" fmla="*/ 457 w 915"/>
                <a:gd name="T117" fmla="*/ 54 h 511"/>
                <a:gd name="T118" fmla="*/ 688 w 915"/>
                <a:gd name="T119" fmla="*/ 72 h 511"/>
                <a:gd name="T120" fmla="*/ 915 w 915"/>
                <a:gd name="T121" fmla="*/ 103 h 511"/>
                <a:gd name="T122" fmla="*/ 905 w 915"/>
                <a:gd name="T123" fmla="*/ 39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5" h="511">
                  <a:moveTo>
                    <a:pt x="905" y="398"/>
                  </a:moveTo>
                  <a:lnTo>
                    <a:pt x="905" y="408"/>
                  </a:lnTo>
                  <a:lnTo>
                    <a:pt x="905" y="420"/>
                  </a:lnTo>
                  <a:lnTo>
                    <a:pt x="905" y="431"/>
                  </a:lnTo>
                  <a:lnTo>
                    <a:pt x="905" y="443"/>
                  </a:lnTo>
                  <a:lnTo>
                    <a:pt x="903" y="453"/>
                  </a:lnTo>
                  <a:lnTo>
                    <a:pt x="903" y="465"/>
                  </a:lnTo>
                  <a:lnTo>
                    <a:pt x="903" y="476"/>
                  </a:lnTo>
                  <a:lnTo>
                    <a:pt x="903" y="488"/>
                  </a:lnTo>
                  <a:lnTo>
                    <a:pt x="903" y="494"/>
                  </a:lnTo>
                  <a:lnTo>
                    <a:pt x="903" y="496"/>
                  </a:lnTo>
                  <a:lnTo>
                    <a:pt x="899" y="494"/>
                  </a:lnTo>
                  <a:lnTo>
                    <a:pt x="891" y="494"/>
                  </a:lnTo>
                  <a:lnTo>
                    <a:pt x="883" y="494"/>
                  </a:lnTo>
                  <a:lnTo>
                    <a:pt x="874" y="494"/>
                  </a:lnTo>
                  <a:lnTo>
                    <a:pt x="866" y="494"/>
                  </a:lnTo>
                  <a:lnTo>
                    <a:pt x="856" y="494"/>
                  </a:lnTo>
                  <a:lnTo>
                    <a:pt x="848" y="492"/>
                  </a:lnTo>
                  <a:lnTo>
                    <a:pt x="840" y="492"/>
                  </a:lnTo>
                  <a:lnTo>
                    <a:pt x="831" y="492"/>
                  </a:lnTo>
                  <a:lnTo>
                    <a:pt x="823" y="492"/>
                  </a:lnTo>
                  <a:lnTo>
                    <a:pt x="815" y="492"/>
                  </a:lnTo>
                  <a:lnTo>
                    <a:pt x="805" y="492"/>
                  </a:lnTo>
                  <a:lnTo>
                    <a:pt x="797" y="490"/>
                  </a:lnTo>
                  <a:lnTo>
                    <a:pt x="788" y="490"/>
                  </a:lnTo>
                  <a:lnTo>
                    <a:pt x="780" y="490"/>
                  </a:lnTo>
                  <a:lnTo>
                    <a:pt x="772" y="490"/>
                  </a:lnTo>
                  <a:lnTo>
                    <a:pt x="762" y="490"/>
                  </a:lnTo>
                  <a:lnTo>
                    <a:pt x="754" y="488"/>
                  </a:lnTo>
                  <a:lnTo>
                    <a:pt x="745" y="488"/>
                  </a:lnTo>
                  <a:lnTo>
                    <a:pt x="737" y="488"/>
                  </a:lnTo>
                  <a:lnTo>
                    <a:pt x="729" y="488"/>
                  </a:lnTo>
                  <a:lnTo>
                    <a:pt x="719" y="486"/>
                  </a:lnTo>
                  <a:lnTo>
                    <a:pt x="711" y="486"/>
                  </a:lnTo>
                  <a:lnTo>
                    <a:pt x="702" y="486"/>
                  </a:lnTo>
                  <a:lnTo>
                    <a:pt x="694" y="486"/>
                  </a:lnTo>
                  <a:lnTo>
                    <a:pt x="686" y="484"/>
                  </a:lnTo>
                  <a:lnTo>
                    <a:pt x="676" y="484"/>
                  </a:lnTo>
                  <a:lnTo>
                    <a:pt x="668" y="484"/>
                  </a:lnTo>
                  <a:lnTo>
                    <a:pt x="659" y="484"/>
                  </a:lnTo>
                  <a:lnTo>
                    <a:pt x="651" y="482"/>
                  </a:lnTo>
                  <a:lnTo>
                    <a:pt x="643" y="482"/>
                  </a:lnTo>
                  <a:lnTo>
                    <a:pt x="633" y="482"/>
                  </a:lnTo>
                  <a:lnTo>
                    <a:pt x="624" y="480"/>
                  </a:lnTo>
                  <a:lnTo>
                    <a:pt x="616" y="480"/>
                  </a:lnTo>
                  <a:lnTo>
                    <a:pt x="608" y="480"/>
                  </a:lnTo>
                  <a:lnTo>
                    <a:pt x="600" y="480"/>
                  </a:lnTo>
                  <a:lnTo>
                    <a:pt x="592" y="478"/>
                  </a:lnTo>
                  <a:lnTo>
                    <a:pt x="581" y="478"/>
                  </a:lnTo>
                  <a:lnTo>
                    <a:pt x="573" y="478"/>
                  </a:lnTo>
                  <a:lnTo>
                    <a:pt x="565" y="476"/>
                  </a:lnTo>
                  <a:lnTo>
                    <a:pt x="557" y="476"/>
                  </a:lnTo>
                  <a:lnTo>
                    <a:pt x="549" y="476"/>
                  </a:lnTo>
                  <a:lnTo>
                    <a:pt x="538" y="474"/>
                  </a:lnTo>
                  <a:lnTo>
                    <a:pt x="530" y="474"/>
                  </a:lnTo>
                  <a:lnTo>
                    <a:pt x="522" y="474"/>
                  </a:lnTo>
                  <a:lnTo>
                    <a:pt x="514" y="472"/>
                  </a:lnTo>
                  <a:lnTo>
                    <a:pt x="506" y="472"/>
                  </a:lnTo>
                  <a:lnTo>
                    <a:pt x="495" y="472"/>
                  </a:lnTo>
                  <a:lnTo>
                    <a:pt x="487" y="470"/>
                  </a:lnTo>
                  <a:lnTo>
                    <a:pt x="479" y="470"/>
                  </a:lnTo>
                  <a:lnTo>
                    <a:pt x="471" y="470"/>
                  </a:lnTo>
                  <a:lnTo>
                    <a:pt x="463" y="468"/>
                  </a:lnTo>
                  <a:lnTo>
                    <a:pt x="455" y="468"/>
                  </a:lnTo>
                  <a:lnTo>
                    <a:pt x="444" y="468"/>
                  </a:lnTo>
                  <a:lnTo>
                    <a:pt x="436" y="465"/>
                  </a:lnTo>
                  <a:lnTo>
                    <a:pt x="428" y="465"/>
                  </a:lnTo>
                  <a:lnTo>
                    <a:pt x="420" y="463"/>
                  </a:lnTo>
                  <a:lnTo>
                    <a:pt x="411" y="463"/>
                  </a:lnTo>
                  <a:lnTo>
                    <a:pt x="401" y="463"/>
                  </a:lnTo>
                  <a:lnTo>
                    <a:pt x="393" y="461"/>
                  </a:lnTo>
                  <a:lnTo>
                    <a:pt x="385" y="461"/>
                  </a:lnTo>
                  <a:lnTo>
                    <a:pt x="377" y="459"/>
                  </a:lnTo>
                  <a:lnTo>
                    <a:pt x="368" y="459"/>
                  </a:lnTo>
                  <a:lnTo>
                    <a:pt x="360" y="459"/>
                  </a:lnTo>
                  <a:lnTo>
                    <a:pt x="350" y="457"/>
                  </a:lnTo>
                  <a:lnTo>
                    <a:pt x="346" y="457"/>
                  </a:lnTo>
                  <a:lnTo>
                    <a:pt x="346" y="459"/>
                  </a:lnTo>
                  <a:lnTo>
                    <a:pt x="346" y="461"/>
                  </a:lnTo>
                  <a:lnTo>
                    <a:pt x="346" y="465"/>
                  </a:lnTo>
                  <a:lnTo>
                    <a:pt x="346" y="470"/>
                  </a:lnTo>
                  <a:lnTo>
                    <a:pt x="346" y="472"/>
                  </a:lnTo>
                  <a:lnTo>
                    <a:pt x="346" y="476"/>
                  </a:lnTo>
                  <a:lnTo>
                    <a:pt x="344" y="478"/>
                  </a:lnTo>
                  <a:lnTo>
                    <a:pt x="344" y="482"/>
                  </a:lnTo>
                  <a:lnTo>
                    <a:pt x="344" y="484"/>
                  </a:lnTo>
                  <a:lnTo>
                    <a:pt x="344" y="488"/>
                  </a:lnTo>
                  <a:lnTo>
                    <a:pt x="344" y="490"/>
                  </a:lnTo>
                  <a:lnTo>
                    <a:pt x="344" y="494"/>
                  </a:lnTo>
                  <a:lnTo>
                    <a:pt x="342" y="496"/>
                  </a:lnTo>
                  <a:lnTo>
                    <a:pt x="342" y="500"/>
                  </a:lnTo>
                  <a:lnTo>
                    <a:pt x="342" y="504"/>
                  </a:lnTo>
                  <a:lnTo>
                    <a:pt x="342" y="506"/>
                  </a:lnTo>
                  <a:lnTo>
                    <a:pt x="342" y="511"/>
                  </a:lnTo>
                  <a:lnTo>
                    <a:pt x="338" y="509"/>
                  </a:lnTo>
                  <a:lnTo>
                    <a:pt x="338" y="506"/>
                  </a:lnTo>
                  <a:lnTo>
                    <a:pt x="336" y="504"/>
                  </a:lnTo>
                  <a:lnTo>
                    <a:pt x="334" y="502"/>
                  </a:lnTo>
                  <a:lnTo>
                    <a:pt x="334" y="500"/>
                  </a:lnTo>
                  <a:lnTo>
                    <a:pt x="332" y="500"/>
                  </a:lnTo>
                  <a:lnTo>
                    <a:pt x="332" y="500"/>
                  </a:lnTo>
                  <a:lnTo>
                    <a:pt x="330" y="498"/>
                  </a:lnTo>
                  <a:lnTo>
                    <a:pt x="330" y="498"/>
                  </a:lnTo>
                  <a:lnTo>
                    <a:pt x="330" y="498"/>
                  </a:lnTo>
                  <a:lnTo>
                    <a:pt x="330" y="498"/>
                  </a:lnTo>
                  <a:lnTo>
                    <a:pt x="330" y="496"/>
                  </a:lnTo>
                  <a:lnTo>
                    <a:pt x="330" y="496"/>
                  </a:lnTo>
                  <a:lnTo>
                    <a:pt x="330" y="494"/>
                  </a:lnTo>
                  <a:lnTo>
                    <a:pt x="330" y="494"/>
                  </a:lnTo>
                  <a:lnTo>
                    <a:pt x="330" y="494"/>
                  </a:lnTo>
                  <a:lnTo>
                    <a:pt x="330" y="492"/>
                  </a:lnTo>
                  <a:lnTo>
                    <a:pt x="330" y="492"/>
                  </a:lnTo>
                  <a:lnTo>
                    <a:pt x="328" y="492"/>
                  </a:lnTo>
                  <a:lnTo>
                    <a:pt x="328" y="492"/>
                  </a:lnTo>
                  <a:lnTo>
                    <a:pt x="328" y="490"/>
                  </a:lnTo>
                  <a:lnTo>
                    <a:pt x="323" y="486"/>
                  </a:lnTo>
                  <a:lnTo>
                    <a:pt x="323" y="484"/>
                  </a:lnTo>
                  <a:lnTo>
                    <a:pt x="323" y="482"/>
                  </a:lnTo>
                  <a:lnTo>
                    <a:pt x="321" y="480"/>
                  </a:lnTo>
                  <a:lnTo>
                    <a:pt x="319" y="480"/>
                  </a:lnTo>
                  <a:lnTo>
                    <a:pt x="319" y="480"/>
                  </a:lnTo>
                  <a:lnTo>
                    <a:pt x="319" y="480"/>
                  </a:lnTo>
                  <a:lnTo>
                    <a:pt x="317" y="482"/>
                  </a:lnTo>
                  <a:lnTo>
                    <a:pt x="317" y="482"/>
                  </a:lnTo>
                  <a:lnTo>
                    <a:pt x="315" y="482"/>
                  </a:lnTo>
                  <a:lnTo>
                    <a:pt x="313" y="482"/>
                  </a:lnTo>
                  <a:lnTo>
                    <a:pt x="313" y="482"/>
                  </a:lnTo>
                  <a:lnTo>
                    <a:pt x="313" y="484"/>
                  </a:lnTo>
                  <a:lnTo>
                    <a:pt x="311" y="484"/>
                  </a:lnTo>
                  <a:lnTo>
                    <a:pt x="311" y="484"/>
                  </a:lnTo>
                  <a:lnTo>
                    <a:pt x="311" y="484"/>
                  </a:lnTo>
                  <a:lnTo>
                    <a:pt x="311" y="486"/>
                  </a:lnTo>
                  <a:lnTo>
                    <a:pt x="311" y="486"/>
                  </a:lnTo>
                  <a:lnTo>
                    <a:pt x="311" y="486"/>
                  </a:lnTo>
                  <a:lnTo>
                    <a:pt x="311" y="486"/>
                  </a:lnTo>
                  <a:lnTo>
                    <a:pt x="311" y="488"/>
                  </a:lnTo>
                  <a:lnTo>
                    <a:pt x="311" y="488"/>
                  </a:lnTo>
                  <a:lnTo>
                    <a:pt x="311" y="488"/>
                  </a:lnTo>
                  <a:lnTo>
                    <a:pt x="311" y="488"/>
                  </a:lnTo>
                  <a:lnTo>
                    <a:pt x="311" y="490"/>
                  </a:lnTo>
                  <a:lnTo>
                    <a:pt x="311" y="490"/>
                  </a:lnTo>
                  <a:lnTo>
                    <a:pt x="309" y="490"/>
                  </a:lnTo>
                  <a:lnTo>
                    <a:pt x="309" y="490"/>
                  </a:lnTo>
                  <a:lnTo>
                    <a:pt x="309" y="490"/>
                  </a:lnTo>
                  <a:lnTo>
                    <a:pt x="307" y="492"/>
                  </a:lnTo>
                  <a:lnTo>
                    <a:pt x="307" y="492"/>
                  </a:lnTo>
                  <a:lnTo>
                    <a:pt x="307" y="494"/>
                  </a:lnTo>
                  <a:lnTo>
                    <a:pt x="307" y="494"/>
                  </a:lnTo>
                  <a:lnTo>
                    <a:pt x="307" y="494"/>
                  </a:lnTo>
                  <a:lnTo>
                    <a:pt x="307" y="496"/>
                  </a:lnTo>
                  <a:lnTo>
                    <a:pt x="307" y="496"/>
                  </a:lnTo>
                  <a:lnTo>
                    <a:pt x="307" y="496"/>
                  </a:lnTo>
                  <a:lnTo>
                    <a:pt x="307" y="498"/>
                  </a:lnTo>
                  <a:lnTo>
                    <a:pt x="307" y="498"/>
                  </a:lnTo>
                  <a:lnTo>
                    <a:pt x="307" y="498"/>
                  </a:lnTo>
                  <a:lnTo>
                    <a:pt x="307" y="498"/>
                  </a:lnTo>
                  <a:lnTo>
                    <a:pt x="307" y="498"/>
                  </a:lnTo>
                  <a:lnTo>
                    <a:pt x="309" y="500"/>
                  </a:lnTo>
                  <a:lnTo>
                    <a:pt x="311" y="500"/>
                  </a:lnTo>
                  <a:lnTo>
                    <a:pt x="311" y="500"/>
                  </a:lnTo>
                  <a:lnTo>
                    <a:pt x="311" y="500"/>
                  </a:lnTo>
                  <a:lnTo>
                    <a:pt x="309" y="500"/>
                  </a:lnTo>
                  <a:lnTo>
                    <a:pt x="309" y="500"/>
                  </a:lnTo>
                  <a:lnTo>
                    <a:pt x="307" y="500"/>
                  </a:lnTo>
                  <a:lnTo>
                    <a:pt x="307" y="500"/>
                  </a:lnTo>
                  <a:lnTo>
                    <a:pt x="307" y="500"/>
                  </a:lnTo>
                  <a:lnTo>
                    <a:pt x="305" y="500"/>
                  </a:lnTo>
                  <a:lnTo>
                    <a:pt x="303" y="498"/>
                  </a:lnTo>
                  <a:lnTo>
                    <a:pt x="303" y="498"/>
                  </a:lnTo>
                  <a:lnTo>
                    <a:pt x="293" y="498"/>
                  </a:lnTo>
                  <a:lnTo>
                    <a:pt x="293" y="498"/>
                  </a:lnTo>
                  <a:lnTo>
                    <a:pt x="289" y="500"/>
                  </a:lnTo>
                  <a:lnTo>
                    <a:pt x="289" y="500"/>
                  </a:lnTo>
                  <a:lnTo>
                    <a:pt x="287" y="500"/>
                  </a:lnTo>
                  <a:lnTo>
                    <a:pt x="285" y="500"/>
                  </a:lnTo>
                  <a:lnTo>
                    <a:pt x="285" y="500"/>
                  </a:lnTo>
                  <a:lnTo>
                    <a:pt x="282" y="500"/>
                  </a:lnTo>
                  <a:lnTo>
                    <a:pt x="282" y="500"/>
                  </a:lnTo>
                  <a:lnTo>
                    <a:pt x="282" y="500"/>
                  </a:lnTo>
                  <a:lnTo>
                    <a:pt x="280" y="500"/>
                  </a:lnTo>
                  <a:lnTo>
                    <a:pt x="280" y="500"/>
                  </a:lnTo>
                  <a:lnTo>
                    <a:pt x="280" y="498"/>
                  </a:lnTo>
                  <a:lnTo>
                    <a:pt x="280" y="498"/>
                  </a:lnTo>
                  <a:lnTo>
                    <a:pt x="280" y="498"/>
                  </a:lnTo>
                  <a:lnTo>
                    <a:pt x="278" y="496"/>
                  </a:lnTo>
                  <a:lnTo>
                    <a:pt x="278" y="496"/>
                  </a:lnTo>
                  <a:lnTo>
                    <a:pt x="274" y="496"/>
                  </a:lnTo>
                  <a:lnTo>
                    <a:pt x="274" y="496"/>
                  </a:lnTo>
                  <a:lnTo>
                    <a:pt x="272" y="496"/>
                  </a:lnTo>
                  <a:lnTo>
                    <a:pt x="272" y="496"/>
                  </a:lnTo>
                  <a:lnTo>
                    <a:pt x="272" y="496"/>
                  </a:lnTo>
                  <a:lnTo>
                    <a:pt x="270" y="496"/>
                  </a:lnTo>
                  <a:lnTo>
                    <a:pt x="270" y="496"/>
                  </a:lnTo>
                  <a:lnTo>
                    <a:pt x="268" y="496"/>
                  </a:lnTo>
                  <a:lnTo>
                    <a:pt x="260" y="496"/>
                  </a:lnTo>
                  <a:lnTo>
                    <a:pt x="260" y="496"/>
                  </a:lnTo>
                  <a:lnTo>
                    <a:pt x="258" y="496"/>
                  </a:lnTo>
                  <a:lnTo>
                    <a:pt x="256" y="494"/>
                  </a:lnTo>
                  <a:lnTo>
                    <a:pt x="254" y="494"/>
                  </a:lnTo>
                  <a:lnTo>
                    <a:pt x="252" y="494"/>
                  </a:lnTo>
                  <a:lnTo>
                    <a:pt x="252" y="494"/>
                  </a:lnTo>
                  <a:lnTo>
                    <a:pt x="252" y="494"/>
                  </a:lnTo>
                  <a:lnTo>
                    <a:pt x="250" y="492"/>
                  </a:lnTo>
                  <a:lnTo>
                    <a:pt x="250" y="492"/>
                  </a:lnTo>
                  <a:lnTo>
                    <a:pt x="248" y="492"/>
                  </a:lnTo>
                  <a:lnTo>
                    <a:pt x="248" y="492"/>
                  </a:lnTo>
                  <a:lnTo>
                    <a:pt x="248" y="494"/>
                  </a:lnTo>
                  <a:lnTo>
                    <a:pt x="246" y="494"/>
                  </a:lnTo>
                  <a:lnTo>
                    <a:pt x="246" y="494"/>
                  </a:lnTo>
                  <a:lnTo>
                    <a:pt x="244" y="494"/>
                  </a:lnTo>
                  <a:lnTo>
                    <a:pt x="244" y="494"/>
                  </a:lnTo>
                  <a:lnTo>
                    <a:pt x="242" y="494"/>
                  </a:lnTo>
                  <a:lnTo>
                    <a:pt x="242" y="494"/>
                  </a:lnTo>
                  <a:lnTo>
                    <a:pt x="242" y="496"/>
                  </a:lnTo>
                  <a:lnTo>
                    <a:pt x="239" y="496"/>
                  </a:lnTo>
                  <a:lnTo>
                    <a:pt x="239" y="498"/>
                  </a:lnTo>
                  <a:lnTo>
                    <a:pt x="237" y="502"/>
                  </a:lnTo>
                  <a:lnTo>
                    <a:pt x="237" y="502"/>
                  </a:lnTo>
                  <a:lnTo>
                    <a:pt x="237" y="502"/>
                  </a:lnTo>
                  <a:lnTo>
                    <a:pt x="235" y="502"/>
                  </a:lnTo>
                  <a:lnTo>
                    <a:pt x="235" y="502"/>
                  </a:lnTo>
                  <a:lnTo>
                    <a:pt x="233" y="502"/>
                  </a:lnTo>
                  <a:lnTo>
                    <a:pt x="233" y="502"/>
                  </a:lnTo>
                  <a:lnTo>
                    <a:pt x="233" y="502"/>
                  </a:lnTo>
                  <a:lnTo>
                    <a:pt x="233" y="500"/>
                  </a:lnTo>
                  <a:lnTo>
                    <a:pt x="231" y="500"/>
                  </a:lnTo>
                  <a:lnTo>
                    <a:pt x="231" y="500"/>
                  </a:lnTo>
                  <a:lnTo>
                    <a:pt x="229" y="500"/>
                  </a:lnTo>
                  <a:lnTo>
                    <a:pt x="227" y="500"/>
                  </a:lnTo>
                  <a:lnTo>
                    <a:pt x="227" y="500"/>
                  </a:lnTo>
                  <a:lnTo>
                    <a:pt x="225" y="498"/>
                  </a:lnTo>
                  <a:lnTo>
                    <a:pt x="225" y="498"/>
                  </a:lnTo>
                  <a:lnTo>
                    <a:pt x="225" y="498"/>
                  </a:lnTo>
                  <a:lnTo>
                    <a:pt x="215" y="496"/>
                  </a:lnTo>
                  <a:lnTo>
                    <a:pt x="213" y="494"/>
                  </a:lnTo>
                  <a:lnTo>
                    <a:pt x="213" y="494"/>
                  </a:lnTo>
                  <a:lnTo>
                    <a:pt x="211" y="494"/>
                  </a:lnTo>
                  <a:lnTo>
                    <a:pt x="211" y="496"/>
                  </a:lnTo>
                  <a:lnTo>
                    <a:pt x="209" y="496"/>
                  </a:lnTo>
                  <a:lnTo>
                    <a:pt x="207" y="496"/>
                  </a:lnTo>
                  <a:lnTo>
                    <a:pt x="207" y="496"/>
                  </a:lnTo>
                  <a:lnTo>
                    <a:pt x="203" y="500"/>
                  </a:lnTo>
                  <a:lnTo>
                    <a:pt x="201" y="500"/>
                  </a:lnTo>
                  <a:lnTo>
                    <a:pt x="201" y="500"/>
                  </a:lnTo>
                  <a:lnTo>
                    <a:pt x="201" y="502"/>
                  </a:lnTo>
                  <a:lnTo>
                    <a:pt x="201" y="502"/>
                  </a:lnTo>
                  <a:lnTo>
                    <a:pt x="201" y="502"/>
                  </a:lnTo>
                  <a:lnTo>
                    <a:pt x="201" y="502"/>
                  </a:lnTo>
                  <a:lnTo>
                    <a:pt x="201" y="506"/>
                  </a:lnTo>
                  <a:lnTo>
                    <a:pt x="201" y="506"/>
                  </a:lnTo>
                  <a:lnTo>
                    <a:pt x="201" y="506"/>
                  </a:lnTo>
                  <a:lnTo>
                    <a:pt x="201" y="506"/>
                  </a:lnTo>
                  <a:lnTo>
                    <a:pt x="199" y="506"/>
                  </a:lnTo>
                  <a:lnTo>
                    <a:pt x="199" y="506"/>
                  </a:lnTo>
                  <a:lnTo>
                    <a:pt x="196" y="504"/>
                  </a:lnTo>
                  <a:lnTo>
                    <a:pt x="196" y="504"/>
                  </a:lnTo>
                  <a:lnTo>
                    <a:pt x="196" y="502"/>
                  </a:lnTo>
                  <a:lnTo>
                    <a:pt x="192" y="502"/>
                  </a:lnTo>
                  <a:lnTo>
                    <a:pt x="192" y="500"/>
                  </a:lnTo>
                  <a:lnTo>
                    <a:pt x="192" y="500"/>
                  </a:lnTo>
                  <a:lnTo>
                    <a:pt x="190" y="498"/>
                  </a:lnTo>
                  <a:lnTo>
                    <a:pt x="190" y="498"/>
                  </a:lnTo>
                  <a:lnTo>
                    <a:pt x="190" y="498"/>
                  </a:lnTo>
                  <a:lnTo>
                    <a:pt x="188" y="498"/>
                  </a:lnTo>
                  <a:lnTo>
                    <a:pt x="188" y="496"/>
                  </a:lnTo>
                  <a:lnTo>
                    <a:pt x="188" y="496"/>
                  </a:lnTo>
                  <a:lnTo>
                    <a:pt x="188" y="494"/>
                  </a:lnTo>
                  <a:lnTo>
                    <a:pt x="188" y="494"/>
                  </a:lnTo>
                  <a:lnTo>
                    <a:pt x="186" y="494"/>
                  </a:lnTo>
                  <a:lnTo>
                    <a:pt x="186" y="492"/>
                  </a:lnTo>
                  <a:lnTo>
                    <a:pt x="186" y="492"/>
                  </a:lnTo>
                  <a:lnTo>
                    <a:pt x="188" y="492"/>
                  </a:lnTo>
                  <a:lnTo>
                    <a:pt x="188" y="490"/>
                  </a:lnTo>
                  <a:lnTo>
                    <a:pt x="188" y="490"/>
                  </a:lnTo>
                  <a:lnTo>
                    <a:pt x="188" y="488"/>
                  </a:lnTo>
                  <a:lnTo>
                    <a:pt x="188" y="488"/>
                  </a:lnTo>
                  <a:lnTo>
                    <a:pt x="186" y="488"/>
                  </a:lnTo>
                  <a:lnTo>
                    <a:pt x="186" y="486"/>
                  </a:lnTo>
                  <a:lnTo>
                    <a:pt x="186" y="486"/>
                  </a:lnTo>
                  <a:lnTo>
                    <a:pt x="186" y="486"/>
                  </a:lnTo>
                  <a:lnTo>
                    <a:pt x="186" y="484"/>
                  </a:lnTo>
                  <a:lnTo>
                    <a:pt x="186" y="484"/>
                  </a:lnTo>
                  <a:lnTo>
                    <a:pt x="184" y="482"/>
                  </a:lnTo>
                  <a:lnTo>
                    <a:pt x="184" y="482"/>
                  </a:lnTo>
                  <a:lnTo>
                    <a:pt x="184" y="480"/>
                  </a:lnTo>
                  <a:lnTo>
                    <a:pt x="184" y="480"/>
                  </a:lnTo>
                  <a:lnTo>
                    <a:pt x="184" y="480"/>
                  </a:lnTo>
                  <a:lnTo>
                    <a:pt x="184" y="480"/>
                  </a:lnTo>
                  <a:lnTo>
                    <a:pt x="186" y="480"/>
                  </a:lnTo>
                  <a:lnTo>
                    <a:pt x="186" y="478"/>
                  </a:lnTo>
                  <a:lnTo>
                    <a:pt x="186" y="478"/>
                  </a:lnTo>
                  <a:lnTo>
                    <a:pt x="186" y="478"/>
                  </a:lnTo>
                  <a:lnTo>
                    <a:pt x="186" y="478"/>
                  </a:lnTo>
                  <a:lnTo>
                    <a:pt x="186" y="476"/>
                  </a:lnTo>
                  <a:lnTo>
                    <a:pt x="186" y="476"/>
                  </a:lnTo>
                  <a:lnTo>
                    <a:pt x="184" y="474"/>
                  </a:lnTo>
                  <a:lnTo>
                    <a:pt x="184" y="474"/>
                  </a:lnTo>
                  <a:lnTo>
                    <a:pt x="184" y="472"/>
                  </a:lnTo>
                  <a:lnTo>
                    <a:pt x="184" y="472"/>
                  </a:lnTo>
                  <a:lnTo>
                    <a:pt x="184" y="472"/>
                  </a:lnTo>
                  <a:lnTo>
                    <a:pt x="184" y="470"/>
                  </a:lnTo>
                  <a:lnTo>
                    <a:pt x="182" y="470"/>
                  </a:lnTo>
                  <a:lnTo>
                    <a:pt x="182" y="470"/>
                  </a:lnTo>
                  <a:lnTo>
                    <a:pt x="182" y="470"/>
                  </a:lnTo>
                  <a:lnTo>
                    <a:pt x="182" y="468"/>
                  </a:lnTo>
                  <a:lnTo>
                    <a:pt x="182" y="468"/>
                  </a:lnTo>
                  <a:lnTo>
                    <a:pt x="182" y="468"/>
                  </a:lnTo>
                  <a:lnTo>
                    <a:pt x="182" y="468"/>
                  </a:lnTo>
                  <a:lnTo>
                    <a:pt x="182" y="465"/>
                  </a:lnTo>
                  <a:lnTo>
                    <a:pt x="180" y="465"/>
                  </a:lnTo>
                  <a:lnTo>
                    <a:pt x="180" y="463"/>
                  </a:lnTo>
                  <a:lnTo>
                    <a:pt x="180" y="463"/>
                  </a:lnTo>
                  <a:lnTo>
                    <a:pt x="178" y="461"/>
                  </a:lnTo>
                  <a:lnTo>
                    <a:pt x="176" y="459"/>
                  </a:lnTo>
                  <a:lnTo>
                    <a:pt x="176" y="457"/>
                  </a:lnTo>
                  <a:lnTo>
                    <a:pt x="174" y="457"/>
                  </a:lnTo>
                  <a:lnTo>
                    <a:pt x="172" y="457"/>
                  </a:lnTo>
                  <a:lnTo>
                    <a:pt x="172" y="457"/>
                  </a:lnTo>
                  <a:lnTo>
                    <a:pt x="170" y="457"/>
                  </a:lnTo>
                  <a:lnTo>
                    <a:pt x="170" y="457"/>
                  </a:lnTo>
                  <a:lnTo>
                    <a:pt x="168" y="459"/>
                  </a:lnTo>
                  <a:lnTo>
                    <a:pt x="168" y="459"/>
                  </a:lnTo>
                  <a:lnTo>
                    <a:pt x="168" y="459"/>
                  </a:lnTo>
                  <a:lnTo>
                    <a:pt x="166" y="459"/>
                  </a:lnTo>
                  <a:lnTo>
                    <a:pt x="166" y="459"/>
                  </a:lnTo>
                  <a:lnTo>
                    <a:pt x="164" y="459"/>
                  </a:lnTo>
                  <a:lnTo>
                    <a:pt x="164" y="457"/>
                  </a:lnTo>
                  <a:lnTo>
                    <a:pt x="164" y="455"/>
                  </a:lnTo>
                  <a:lnTo>
                    <a:pt x="164" y="455"/>
                  </a:lnTo>
                  <a:lnTo>
                    <a:pt x="164" y="455"/>
                  </a:lnTo>
                  <a:lnTo>
                    <a:pt x="160" y="453"/>
                  </a:lnTo>
                  <a:lnTo>
                    <a:pt x="158" y="451"/>
                  </a:lnTo>
                  <a:lnTo>
                    <a:pt x="158" y="451"/>
                  </a:lnTo>
                  <a:lnTo>
                    <a:pt x="158" y="449"/>
                  </a:lnTo>
                  <a:lnTo>
                    <a:pt x="158" y="447"/>
                  </a:lnTo>
                  <a:lnTo>
                    <a:pt x="158" y="445"/>
                  </a:lnTo>
                  <a:lnTo>
                    <a:pt x="155" y="445"/>
                  </a:lnTo>
                  <a:lnTo>
                    <a:pt x="155" y="445"/>
                  </a:lnTo>
                  <a:lnTo>
                    <a:pt x="155" y="443"/>
                  </a:lnTo>
                  <a:lnTo>
                    <a:pt x="155" y="443"/>
                  </a:lnTo>
                  <a:lnTo>
                    <a:pt x="155" y="443"/>
                  </a:lnTo>
                  <a:lnTo>
                    <a:pt x="155" y="443"/>
                  </a:lnTo>
                  <a:lnTo>
                    <a:pt x="155" y="443"/>
                  </a:lnTo>
                  <a:lnTo>
                    <a:pt x="158" y="441"/>
                  </a:lnTo>
                  <a:lnTo>
                    <a:pt x="158" y="441"/>
                  </a:lnTo>
                  <a:lnTo>
                    <a:pt x="158" y="441"/>
                  </a:lnTo>
                  <a:lnTo>
                    <a:pt x="160" y="441"/>
                  </a:lnTo>
                  <a:lnTo>
                    <a:pt x="160" y="439"/>
                  </a:lnTo>
                  <a:lnTo>
                    <a:pt x="160" y="437"/>
                  </a:lnTo>
                  <a:lnTo>
                    <a:pt x="160" y="437"/>
                  </a:lnTo>
                  <a:lnTo>
                    <a:pt x="160" y="437"/>
                  </a:lnTo>
                  <a:lnTo>
                    <a:pt x="160" y="435"/>
                  </a:lnTo>
                  <a:lnTo>
                    <a:pt x="160" y="435"/>
                  </a:lnTo>
                  <a:lnTo>
                    <a:pt x="160" y="431"/>
                  </a:lnTo>
                  <a:lnTo>
                    <a:pt x="158" y="431"/>
                  </a:lnTo>
                  <a:lnTo>
                    <a:pt x="155" y="427"/>
                  </a:lnTo>
                  <a:lnTo>
                    <a:pt x="155" y="427"/>
                  </a:lnTo>
                  <a:lnTo>
                    <a:pt x="155" y="425"/>
                  </a:lnTo>
                  <a:lnTo>
                    <a:pt x="155" y="422"/>
                  </a:lnTo>
                  <a:lnTo>
                    <a:pt x="155" y="422"/>
                  </a:lnTo>
                  <a:lnTo>
                    <a:pt x="153" y="422"/>
                  </a:lnTo>
                  <a:lnTo>
                    <a:pt x="151" y="422"/>
                  </a:lnTo>
                  <a:lnTo>
                    <a:pt x="151" y="422"/>
                  </a:lnTo>
                  <a:lnTo>
                    <a:pt x="151" y="420"/>
                  </a:lnTo>
                  <a:lnTo>
                    <a:pt x="151" y="420"/>
                  </a:lnTo>
                  <a:lnTo>
                    <a:pt x="151" y="420"/>
                  </a:lnTo>
                  <a:lnTo>
                    <a:pt x="151" y="418"/>
                  </a:lnTo>
                  <a:lnTo>
                    <a:pt x="151" y="418"/>
                  </a:lnTo>
                  <a:lnTo>
                    <a:pt x="151" y="418"/>
                  </a:lnTo>
                  <a:lnTo>
                    <a:pt x="151" y="416"/>
                  </a:lnTo>
                  <a:lnTo>
                    <a:pt x="151" y="416"/>
                  </a:lnTo>
                  <a:lnTo>
                    <a:pt x="149" y="416"/>
                  </a:lnTo>
                  <a:lnTo>
                    <a:pt x="149" y="414"/>
                  </a:lnTo>
                  <a:lnTo>
                    <a:pt x="149" y="414"/>
                  </a:lnTo>
                  <a:lnTo>
                    <a:pt x="149" y="412"/>
                  </a:lnTo>
                  <a:lnTo>
                    <a:pt x="147" y="412"/>
                  </a:lnTo>
                  <a:lnTo>
                    <a:pt x="147" y="410"/>
                  </a:lnTo>
                  <a:lnTo>
                    <a:pt x="145" y="408"/>
                  </a:lnTo>
                  <a:lnTo>
                    <a:pt x="145" y="408"/>
                  </a:lnTo>
                  <a:lnTo>
                    <a:pt x="145" y="408"/>
                  </a:lnTo>
                  <a:lnTo>
                    <a:pt x="145" y="406"/>
                  </a:lnTo>
                  <a:lnTo>
                    <a:pt x="145" y="406"/>
                  </a:lnTo>
                  <a:lnTo>
                    <a:pt x="145" y="404"/>
                  </a:lnTo>
                  <a:lnTo>
                    <a:pt x="143" y="404"/>
                  </a:lnTo>
                  <a:lnTo>
                    <a:pt x="143" y="402"/>
                  </a:lnTo>
                  <a:lnTo>
                    <a:pt x="141" y="402"/>
                  </a:lnTo>
                  <a:lnTo>
                    <a:pt x="141" y="402"/>
                  </a:lnTo>
                  <a:lnTo>
                    <a:pt x="141" y="402"/>
                  </a:lnTo>
                  <a:lnTo>
                    <a:pt x="141" y="400"/>
                  </a:lnTo>
                  <a:lnTo>
                    <a:pt x="141" y="400"/>
                  </a:lnTo>
                  <a:lnTo>
                    <a:pt x="141" y="398"/>
                  </a:lnTo>
                  <a:lnTo>
                    <a:pt x="143" y="396"/>
                  </a:lnTo>
                  <a:lnTo>
                    <a:pt x="143" y="394"/>
                  </a:lnTo>
                  <a:lnTo>
                    <a:pt x="143" y="394"/>
                  </a:lnTo>
                  <a:lnTo>
                    <a:pt x="141" y="394"/>
                  </a:lnTo>
                  <a:lnTo>
                    <a:pt x="139" y="392"/>
                  </a:lnTo>
                  <a:lnTo>
                    <a:pt x="139" y="390"/>
                  </a:lnTo>
                  <a:lnTo>
                    <a:pt x="139" y="390"/>
                  </a:lnTo>
                  <a:lnTo>
                    <a:pt x="139" y="388"/>
                  </a:lnTo>
                  <a:lnTo>
                    <a:pt x="139" y="388"/>
                  </a:lnTo>
                  <a:lnTo>
                    <a:pt x="139" y="388"/>
                  </a:lnTo>
                  <a:lnTo>
                    <a:pt x="139" y="388"/>
                  </a:lnTo>
                  <a:lnTo>
                    <a:pt x="139" y="386"/>
                  </a:lnTo>
                  <a:lnTo>
                    <a:pt x="141" y="386"/>
                  </a:lnTo>
                  <a:lnTo>
                    <a:pt x="141" y="386"/>
                  </a:lnTo>
                  <a:lnTo>
                    <a:pt x="141" y="384"/>
                  </a:lnTo>
                  <a:lnTo>
                    <a:pt x="141" y="381"/>
                  </a:lnTo>
                  <a:lnTo>
                    <a:pt x="141" y="381"/>
                  </a:lnTo>
                  <a:lnTo>
                    <a:pt x="141" y="381"/>
                  </a:lnTo>
                  <a:lnTo>
                    <a:pt x="141" y="381"/>
                  </a:lnTo>
                  <a:lnTo>
                    <a:pt x="141" y="379"/>
                  </a:lnTo>
                  <a:lnTo>
                    <a:pt x="137" y="379"/>
                  </a:lnTo>
                  <a:lnTo>
                    <a:pt x="137" y="377"/>
                  </a:lnTo>
                  <a:lnTo>
                    <a:pt x="137" y="377"/>
                  </a:lnTo>
                  <a:lnTo>
                    <a:pt x="137" y="377"/>
                  </a:lnTo>
                  <a:lnTo>
                    <a:pt x="137" y="375"/>
                  </a:lnTo>
                  <a:lnTo>
                    <a:pt x="139" y="375"/>
                  </a:lnTo>
                  <a:lnTo>
                    <a:pt x="139" y="373"/>
                  </a:lnTo>
                  <a:lnTo>
                    <a:pt x="139" y="373"/>
                  </a:lnTo>
                  <a:lnTo>
                    <a:pt x="139" y="373"/>
                  </a:lnTo>
                  <a:lnTo>
                    <a:pt x="139" y="371"/>
                  </a:lnTo>
                  <a:lnTo>
                    <a:pt x="139" y="371"/>
                  </a:lnTo>
                  <a:lnTo>
                    <a:pt x="139" y="371"/>
                  </a:lnTo>
                  <a:lnTo>
                    <a:pt x="139" y="369"/>
                  </a:lnTo>
                  <a:lnTo>
                    <a:pt x="139" y="369"/>
                  </a:lnTo>
                  <a:lnTo>
                    <a:pt x="137" y="369"/>
                  </a:lnTo>
                  <a:lnTo>
                    <a:pt x="133" y="367"/>
                  </a:lnTo>
                  <a:lnTo>
                    <a:pt x="133" y="367"/>
                  </a:lnTo>
                  <a:lnTo>
                    <a:pt x="133" y="365"/>
                  </a:lnTo>
                  <a:lnTo>
                    <a:pt x="133" y="365"/>
                  </a:lnTo>
                  <a:lnTo>
                    <a:pt x="133" y="365"/>
                  </a:lnTo>
                  <a:lnTo>
                    <a:pt x="133" y="363"/>
                  </a:lnTo>
                  <a:lnTo>
                    <a:pt x="131" y="361"/>
                  </a:lnTo>
                  <a:lnTo>
                    <a:pt x="127" y="359"/>
                  </a:lnTo>
                  <a:lnTo>
                    <a:pt x="127" y="359"/>
                  </a:lnTo>
                  <a:lnTo>
                    <a:pt x="125" y="359"/>
                  </a:lnTo>
                  <a:lnTo>
                    <a:pt x="125" y="359"/>
                  </a:lnTo>
                  <a:lnTo>
                    <a:pt x="125" y="359"/>
                  </a:lnTo>
                  <a:lnTo>
                    <a:pt x="125" y="359"/>
                  </a:lnTo>
                  <a:lnTo>
                    <a:pt x="125" y="359"/>
                  </a:lnTo>
                  <a:lnTo>
                    <a:pt x="125" y="361"/>
                  </a:lnTo>
                  <a:lnTo>
                    <a:pt x="125" y="361"/>
                  </a:lnTo>
                  <a:lnTo>
                    <a:pt x="125" y="361"/>
                  </a:lnTo>
                  <a:lnTo>
                    <a:pt x="125" y="361"/>
                  </a:lnTo>
                  <a:lnTo>
                    <a:pt x="125" y="363"/>
                  </a:lnTo>
                  <a:lnTo>
                    <a:pt x="125" y="363"/>
                  </a:lnTo>
                  <a:lnTo>
                    <a:pt x="125" y="363"/>
                  </a:lnTo>
                  <a:lnTo>
                    <a:pt x="125" y="363"/>
                  </a:lnTo>
                  <a:lnTo>
                    <a:pt x="123" y="363"/>
                  </a:lnTo>
                  <a:lnTo>
                    <a:pt x="121" y="363"/>
                  </a:lnTo>
                  <a:lnTo>
                    <a:pt x="121" y="365"/>
                  </a:lnTo>
                  <a:lnTo>
                    <a:pt x="121" y="365"/>
                  </a:lnTo>
                  <a:lnTo>
                    <a:pt x="121" y="365"/>
                  </a:lnTo>
                  <a:lnTo>
                    <a:pt x="119" y="365"/>
                  </a:lnTo>
                  <a:lnTo>
                    <a:pt x="119" y="365"/>
                  </a:lnTo>
                  <a:lnTo>
                    <a:pt x="119" y="367"/>
                  </a:lnTo>
                  <a:lnTo>
                    <a:pt x="119" y="367"/>
                  </a:lnTo>
                  <a:lnTo>
                    <a:pt x="119" y="367"/>
                  </a:lnTo>
                  <a:lnTo>
                    <a:pt x="117" y="367"/>
                  </a:lnTo>
                  <a:lnTo>
                    <a:pt x="117" y="369"/>
                  </a:lnTo>
                  <a:lnTo>
                    <a:pt x="117" y="369"/>
                  </a:lnTo>
                  <a:lnTo>
                    <a:pt x="115" y="369"/>
                  </a:lnTo>
                  <a:lnTo>
                    <a:pt x="115" y="369"/>
                  </a:lnTo>
                  <a:lnTo>
                    <a:pt x="115" y="371"/>
                  </a:lnTo>
                  <a:lnTo>
                    <a:pt x="115" y="371"/>
                  </a:lnTo>
                  <a:lnTo>
                    <a:pt x="115" y="371"/>
                  </a:lnTo>
                  <a:lnTo>
                    <a:pt x="110" y="371"/>
                  </a:lnTo>
                  <a:lnTo>
                    <a:pt x="108" y="373"/>
                  </a:lnTo>
                  <a:lnTo>
                    <a:pt x="108" y="373"/>
                  </a:lnTo>
                  <a:lnTo>
                    <a:pt x="108" y="373"/>
                  </a:lnTo>
                  <a:lnTo>
                    <a:pt x="106" y="373"/>
                  </a:lnTo>
                  <a:lnTo>
                    <a:pt x="106" y="373"/>
                  </a:lnTo>
                  <a:lnTo>
                    <a:pt x="104" y="373"/>
                  </a:lnTo>
                  <a:lnTo>
                    <a:pt x="104" y="373"/>
                  </a:lnTo>
                  <a:lnTo>
                    <a:pt x="104" y="373"/>
                  </a:lnTo>
                  <a:lnTo>
                    <a:pt x="104" y="373"/>
                  </a:lnTo>
                  <a:lnTo>
                    <a:pt x="104" y="373"/>
                  </a:lnTo>
                  <a:lnTo>
                    <a:pt x="102" y="375"/>
                  </a:lnTo>
                  <a:lnTo>
                    <a:pt x="102" y="377"/>
                  </a:lnTo>
                  <a:lnTo>
                    <a:pt x="102" y="377"/>
                  </a:lnTo>
                  <a:lnTo>
                    <a:pt x="102" y="377"/>
                  </a:lnTo>
                  <a:lnTo>
                    <a:pt x="100" y="377"/>
                  </a:lnTo>
                  <a:lnTo>
                    <a:pt x="98" y="377"/>
                  </a:lnTo>
                  <a:lnTo>
                    <a:pt x="98" y="377"/>
                  </a:lnTo>
                  <a:lnTo>
                    <a:pt x="98" y="377"/>
                  </a:lnTo>
                  <a:lnTo>
                    <a:pt x="96" y="377"/>
                  </a:lnTo>
                  <a:lnTo>
                    <a:pt x="96" y="377"/>
                  </a:lnTo>
                  <a:lnTo>
                    <a:pt x="94" y="377"/>
                  </a:lnTo>
                  <a:lnTo>
                    <a:pt x="94" y="377"/>
                  </a:lnTo>
                  <a:lnTo>
                    <a:pt x="94" y="375"/>
                  </a:lnTo>
                  <a:lnTo>
                    <a:pt x="92" y="373"/>
                  </a:lnTo>
                  <a:lnTo>
                    <a:pt x="90" y="373"/>
                  </a:lnTo>
                  <a:lnTo>
                    <a:pt x="90" y="373"/>
                  </a:lnTo>
                  <a:lnTo>
                    <a:pt x="90" y="371"/>
                  </a:lnTo>
                  <a:lnTo>
                    <a:pt x="90" y="371"/>
                  </a:lnTo>
                  <a:lnTo>
                    <a:pt x="90" y="371"/>
                  </a:lnTo>
                  <a:lnTo>
                    <a:pt x="88" y="369"/>
                  </a:lnTo>
                  <a:lnTo>
                    <a:pt x="86" y="369"/>
                  </a:lnTo>
                  <a:lnTo>
                    <a:pt x="84" y="367"/>
                  </a:lnTo>
                  <a:lnTo>
                    <a:pt x="82" y="367"/>
                  </a:lnTo>
                  <a:lnTo>
                    <a:pt x="80" y="367"/>
                  </a:lnTo>
                  <a:lnTo>
                    <a:pt x="80" y="367"/>
                  </a:lnTo>
                  <a:lnTo>
                    <a:pt x="80" y="365"/>
                  </a:lnTo>
                  <a:lnTo>
                    <a:pt x="82" y="365"/>
                  </a:lnTo>
                  <a:lnTo>
                    <a:pt x="82" y="365"/>
                  </a:lnTo>
                  <a:lnTo>
                    <a:pt x="82" y="363"/>
                  </a:lnTo>
                  <a:lnTo>
                    <a:pt x="82" y="363"/>
                  </a:lnTo>
                  <a:lnTo>
                    <a:pt x="82" y="363"/>
                  </a:lnTo>
                  <a:lnTo>
                    <a:pt x="82" y="361"/>
                  </a:lnTo>
                  <a:lnTo>
                    <a:pt x="82" y="361"/>
                  </a:lnTo>
                  <a:lnTo>
                    <a:pt x="82" y="361"/>
                  </a:lnTo>
                  <a:lnTo>
                    <a:pt x="82" y="359"/>
                  </a:lnTo>
                  <a:lnTo>
                    <a:pt x="84" y="359"/>
                  </a:lnTo>
                  <a:lnTo>
                    <a:pt x="86" y="357"/>
                  </a:lnTo>
                  <a:lnTo>
                    <a:pt x="86" y="357"/>
                  </a:lnTo>
                  <a:lnTo>
                    <a:pt x="86" y="357"/>
                  </a:lnTo>
                  <a:lnTo>
                    <a:pt x="86" y="357"/>
                  </a:lnTo>
                  <a:lnTo>
                    <a:pt x="86" y="357"/>
                  </a:lnTo>
                  <a:lnTo>
                    <a:pt x="86" y="355"/>
                  </a:lnTo>
                  <a:lnTo>
                    <a:pt x="86" y="355"/>
                  </a:lnTo>
                  <a:lnTo>
                    <a:pt x="86" y="355"/>
                  </a:lnTo>
                  <a:lnTo>
                    <a:pt x="86" y="353"/>
                  </a:lnTo>
                  <a:lnTo>
                    <a:pt x="86" y="353"/>
                  </a:lnTo>
                  <a:lnTo>
                    <a:pt x="86" y="351"/>
                  </a:lnTo>
                  <a:lnTo>
                    <a:pt x="84" y="349"/>
                  </a:lnTo>
                  <a:lnTo>
                    <a:pt x="84" y="349"/>
                  </a:lnTo>
                  <a:lnTo>
                    <a:pt x="84" y="349"/>
                  </a:lnTo>
                  <a:lnTo>
                    <a:pt x="84" y="347"/>
                  </a:lnTo>
                  <a:lnTo>
                    <a:pt x="84" y="347"/>
                  </a:lnTo>
                  <a:lnTo>
                    <a:pt x="82" y="345"/>
                  </a:lnTo>
                  <a:lnTo>
                    <a:pt x="84" y="345"/>
                  </a:lnTo>
                  <a:lnTo>
                    <a:pt x="84" y="345"/>
                  </a:lnTo>
                  <a:lnTo>
                    <a:pt x="84" y="343"/>
                  </a:lnTo>
                  <a:lnTo>
                    <a:pt x="84" y="343"/>
                  </a:lnTo>
                  <a:lnTo>
                    <a:pt x="86" y="343"/>
                  </a:lnTo>
                  <a:lnTo>
                    <a:pt x="86" y="343"/>
                  </a:lnTo>
                  <a:lnTo>
                    <a:pt x="86" y="340"/>
                  </a:lnTo>
                  <a:lnTo>
                    <a:pt x="88" y="340"/>
                  </a:lnTo>
                  <a:lnTo>
                    <a:pt x="88" y="338"/>
                  </a:lnTo>
                  <a:lnTo>
                    <a:pt x="88" y="338"/>
                  </a:lnTo>
                  <a:lnTo>
                    <a:pt x="88" y="338"/>
                  </a:lnTo>
                  <a:lnTo>
                    <a:pt x="88" y="338"/>
                  </a:lnTo>
                  <a:lnTo>
                    <a:pt x="90" y="338"/>
                  </a:lnTo>
                  <a:lnTo>
                    <a:pt x="90" y="338"/>
                  </a:lnTo>
                  <a:lnTo>
                    <a:pt x="92" y="338"/>
                  </a:lnTo>
                  <a:lnTo>
                    <a:pt x="94" y="338"/>
                  </a:lnTo>
                  <a:lnTo>
                    <a:pt x="94" y="338"/>
                  </a:lnTo>
                  <a:lnTo>
                    <a:pt x="94" y="338"/>
                  </a:lnTo>
                  <a:lnTo>
                    <a:pt x="96" y="336"/>
                  </a:lnTo>
                  <a:lnTo>
                    <a:pt x="96" y="336"/>
                  </a:lnTo>
                  <a:lnTo>
                    <a:pt x="96" y="334"/>
                  </a:lnTo>
                  <a:lnTo>
                    <a:pt x="96" y="334"/>
                  </a:lnTo>
                  <a:lnTo>
                    <a:pt x="96" y="332"/>
                  </a:lnTo>
                  <a:lnTo>
                    <a:pt x="96" y="330"/>
                  </a:lnTo>
                  <a:lnTo>
                    <a:pt x="96" y="330"/>
                  </a:lnTo>
                  <a:lnTo>
                    <a:pt x="96" y="330"/>
                  </a:lnTo>
                  <a:lnTo>
                    <a:pt x="96" y="330"/>
                  </a:lnTo>
                  <a:lnTo>
                    <a:pt x="96" y="328"/>
                  </a:lnTo>
                  <a:lnTo>
                    <a:pt x="96" y="328"/>
                  </a:lnTo>
                  <a:lnTo>
                    <a:pt x="96" y="326"/>
                  </a:lnTo>
                  <a:lnTo>
                    <a:pt x="98" y="326"/>
                  </a:lnTo>
                  <a:lnTo>
                    <a:pt x="98" y="326"/>
                  </a:lnTo>
                  <a:lnTo>
                    <a:pt x="96" y="324"/>
                  </a:lnTo>
                  <a:lnTo>
                    <a:pt x="96" y="324"/>
                  </a:lnTo>
                  <a:lnTo>
                    <a:pt x="94" y="324"/>
                  </a:lnTo>
                  <a:lnTo>
                    <a:pt x="92" y="322"/>
                  </a:lnTo>
                  <a:lnTo>
                    <a:pt x="92" y="322"/>
                  </a:lnTo>
                  <a:lnTo>
                    <a:pt x="92" y="322"/>
                  </a:lnTo>
                  <a:lnTo>
                    <a:pt x="92" y="320"/>
                  </a:lnTo>
                  <a:lnTo>
                    <a:pt x="92" y="320"/>
                  </a:lnTo>
                  <a:lnTo>
                    <a:pt x="92" y="320"/>
                  </a:lnTo>
                  <a:lnTo>
                    <a:pt x="92" y="318"/>
                  </a:lnTo>
                  <a:lnTo>
                    <a:pt x="92" y="318"/>
                  </a:lnTo>
                  <a:lnTo>
                    <a:pt x="92" y="318"/>
                  </a:lnTo>
                  <a:lnTo>
                    <a:pt x="92" y="316"/>
                  </a:lnTo>
                  <a:lnTo>
                    <a:pt x="92" y="316"/>
                  </a:lnTo>
                  <a:lnTo>
                    <a:pt x="94" y="314"/>
                  </a:lnTo>
                  <a:lnTo>
                    <a:pt x="94" y="314"/>
                  </a:lnTo>
                  <a:lnTo>
                    <a:pt x="94" y="314"/>
                  </a:lnTo>
                  <a:lnTo>
                    <a:pt x="94" y="312"/>
                  </a:lnTo>
                  <a:lnTo>
                    <a:pt x="94" y="312"/>
                  </a:lnTo>
                  <a:lnTo>
                    <a:pt x="94" y="312"/>
                  </a:lnTo>
                  <a:lnTo>
                    <a:pt x="94" y="310"/>
                  </a:lnTo>
                  <a:lnTo>
                    <a:pt x="92" y="308"/>
                  </a:lnTo>
                  <a:lnTo>
                    <a:pt x="92" y="306"/>
                  </a:lnTo>
                  <a:lnTo>
                    <a:pt x="92" y="306"/>
                  </a:lnTo>
                  <a:lnTo>
                    <a:pt x="92" y="306"/>
                  </a:lnTo>
                  <a:lnTo>
                    <a:pt x="92" y="306"/>
                  </a:lnTo>
                  <a:lnTo>
                    <a:pt x="92" y="306"/>
                  </a:lnTo>
                  <a:lnTo>
                    <a:pt x="92" y="304"/>
                  </a:lnTo>
                  <a:lnTo>
                    <a:pt x="94" y="304"/>
                  </a:lnTo>
                  <a:lnTo>
                    <a:pt x="96" y="304"/>
                  </a:lnTo>
                  <a:lnTo>
                    <a:pt x="96" y="304"/>
                  </a:lnTo>
                  <a:lnTo>
                    <a:pt x="96" y="304"/>
                  </a:lnTo>
                  <a:lnTo>
                    <a:pt x="98" y="304"/>
                  </a:lnTo>
                  <a:lnTo>
                    <a:pt x="98" y="304"/>
                  </a:lnTo>
                  <a:lnTo>
                    <a:pt x="98" y="304"/>
                  </a:lnTo>
                  <a:lnTo>
                    <a:pt x="98" y="302"/>
                  </a:lnTo>
                  <a:lnTo>
                    <a:pt x="98" y="302"/>
                  </a:lnTo>
                  <a:lnTo>
                    <a:pt x="98" y="299"/>
                  </a:lnTo>
                  <a:lnTo>
                    <a:pt x="98" y="299"/>
                  </a:lnTo>
                  <a:lnTo>
                    <a:pt x="98" y="297"/>
                  </a:lnTo>
                  <a:lnTo>
                    <a:pt x="98" y="297"/>
                  </a:lnTo>
                  <a:lnTo>
                    <a:pt x="96" y="295"/>
                  </a:lnTo>
                  <a:lnTo>
                    <a:pt x="96" y="295"/>
                  </a:lnTo>
                  <a:lnTo>
                    <a:pt x="96" y="295"/>
                  </a:lnTo>
                  <a:lnTo>
                    <a:pt x="98" y="295"/>
                  </a:lnTo>
                  <a:lnTo>
                    <a:pt x="98" y="293"/>
                  </a:lnTo>
                  <a:lnTo>
                    <a:pt x="98" y="293"/>
                  </a:lnTo>
                  <a:lnTo>
                    <a:pt x="98" y="293"/>
                  </a:lnTo>
                  <a:lnTo>
                    <a:pt x="98" y="293"/>
                  </a:lnTo>
                  <a:lnTo>
                    <a:pt x="98" y="291"/>
                  </a:lnTo>
                  <a:lnTo>
                    <a:pt x="98" y="291"/>
                  </a:lnTo>
                  <a:lnTo>
                    <a:pt x="100" y="289"/>
                  </a:lnTo>
                  <a:lnTo>
                    <a:pt x="102" y="287"/>
                  </a:lnTo>
                  <a:lnTo>
                    <a:pt x="102" y="287"/>
                  </a:lnTo>
                  <a:lnTo>
                    <a:pt x="102" y="287"/>
                  </a:lnTo>
                  <a:lnTo>
                    <a:pt x="102" y="287"/>
                  </a:lnTo>
                  <a:lnTo>
                    <a:pt x="102" y="285"/>
                  </a:lnTo>
                  <a:lnTo>
                    <a:pt x="102" y="283"/>
                  </a:lnTo>
                  <a:lnTo>
                    <a:pt x="102" y="283"/>
                  </a:lnTo>
                  <a:lnTo>
                    <a:pt x="102" y="281"/>
                  </a:lnTo>
                  <a:lnTo>
                    <a:pt x="106" y="279"/>
                  </a:lnTo>
                  <a:lnTo>
                    <a:pt x="106" y="277"/>
                  </a:lnTo>
                  <a:lnTo>
                    <a:pt x="106" y="277"/>
                  </a:lnTo>
                  <a:lnTo>
                    <a:pt x="106" y="277"/>
                  </a:lnTo>
                  <a:lnTo>
                    <a:pt x="106" y="275"/>
                  </a:lnTo>
                  <a:lnTo>
                    <a:pt x="106" y="275"/>
                  </a:lnTo>
                  <a:lnTo>
                    <a:pt x="106" y="275"/>
                  </a:lnTo>
                  <a:lnTo>
                    <a:pt x="106" y="275"/>
                  </a:lnTo>
                  <a:lnTo>
                    <a:pt x="104" y="273"/>
                  </a:lnTo>
                  <a:lnTo>
                    <a:pt x="104" y="273"/>
                  </a:lnTo>
                  <a:lnTo>
                    <a:pt x="104" y="273"/>
                  </a:lnTo>
                  <a:lnTo>
                    <a:pt x="104" y="273"/>
                  </a:lnTo>
                  <a:lnTo>
                    <a:pt x="104" y="271"/>
                  </a:lnTo>
                  <a:lnTo>
                    <a:pt x="104" y="271"/>
                  </a:lnTo>
                  <a:lnTo>
                    <a:pt x="104" y="271"/>
                  </a:lnTo>
                  <a:lnTo>
                    <a:pt x="108" y="271"/>
                  </a:lnTo>
                  <a:lnTo>
                    <a:pt x="108" y="271"/>
                  </a:lnTo>
                  <a:lnTo>
                    <a:pt x="108" y="271"/>
                  </a:lnTo>
                  <a:lnTo>
                    <a:pt x="108" y="271"/>
                  </a:lnTo>
                  <a:lnTo>
                    <a:pt x="108" y="269"/>
                  </a:lnTo>
                  <a:lnTo>
                    <a:pt x="110" y="269"/>
                  </a:lnTo>
                  <a:lnTo>
                    <a:pt x="108" y="269"/>
                  </a:lnTo>
                  <a:lnTo>
                    <a:pt x="108" y="269"/>
                  </a:lnTo>
                  <a:lnTo>
                    <a:pt x="108" y="267"/>
                  </a:lnTo>
                  <a:lnTo>
                    <a:pt x="108" y="267"/>
                  </a:lnTo>
                  <a:lnTo>
                    <a:pt x="108" y="267"/>
                  </a:lnTo>
                  <a:lnTo>
                    <a:pt x="108" y="267"/>
                  </a:lnTo>
                  <a:lnTo>
                    <a:pt x="110" y="265"/>
                  </a:lnTo>
                  <a:lnTo>
                    <a:pt x="110" y="265"/>
                  </a:lnTo>
                  <a:lnTo>
                    <a:pt x="110" y="265"/>
                  </a:lnTo>
                  <a:lnTo>
                    <a:pt x="110" y="263"/>
                  </a:lnTo>
                  <a:lnTo>
                    <a:pt x="110" y="263"/>
                  </a:lnTo>
                  <a:lnTo>
                    <a:pt x="110" y="263"/>
                  </a:lnTo>
                  <a:lnTo>
                    <a:pt x="110" y="263"/>
                  </a:lnTo>
                  <a:lnTo>
                    <a:pt x="110" y="261"/>
                  </a:lnTo>
                  <a:lnTo>
                    <a:pt x="112" y="261"/>
                  </a:lnTo>
                  <a:lnTo>
                    <a:pt x="112" y="259"/>
                  </a:lnTo>
                  <a:lnTo>
                    <a:pt x="112" y="256"/>
                  </a:lnTo>
                  <a:lnTo>
                    <a:pt x="112" y="256"/>
                  </a:lnTo>
                  <a:lnTo>
                    <a:pt x="112" y="256"/>
                  </a:lnTo>
                  <a:lnTo>
                    <a:pt x="112" y="254"/>
                  </a:lnTo>
                  <a:lnTo>
                    <a:pt x="112" y="254"/>
                  </a:lnTo>
                  <a:lnTo>
                    <a:pt x="110" y="254"/>
                  </a:lnTo>
                  <a:lnTo>
                    <a:pt x="110" y="254"/>
                  </a:lnTo>
                  <a:lnTo>
                    <a:pt x="110" y="254"/>
                  </a:lnTo>
                  <a:lnTo>
                    <a:pt x="104" y="254"/>
                  </a:lnTo>
                  <a:lnTo>
                    <a:pt x="104" y="254"/>
                  </a:lnTo>
                  <a:lnTo>
                    <a:pt x="102" y="256"/>
                  </a:lnTo>
                  <a:lnTo>
                    <a:pt x="102" y="256"/>
                  </a:lnTo>
                  <a:lnTo>
                    <a:pt x="100" y="256"/>
                  </a:lnTo>
                  <a:lnTo>
                    <a:pt x="100" y="256"/>
                  </a:lnTo>
                  <a:lnTo>
                    <a:pt x="100" y="256"/>
                  </a:lnTo>
                  <a:lnTo>
                    <a:pt x="98" y="254"/>
                  </a:lnTo>
                  <a:lnTo>
                    <a:pt x="98" y="254"/>
                  </a:lnTo>
                  <a:lnTo>
                    <a:pt x="98" y="254"/>
                  </a:lnTo>
                  <a:lnTo>
                    <a:pt x="96" y="256"/>
                  </a:lnTo>
                  <a:lnTo>
                    <a:pt x="94" y="256"/>
                  </a:lnTo>
                  <a:lnTo>
                    <a:pt x="94" y="256"/>
                  </a:lnTo>
                  <a:lnTo>
                    <a:pt x="92" y="254"/>
                  </a:lnTo>
                  <a:lnTo>
                    <a:pt x="92" y="254"/>
                  </a:lnTo>
                  <a:lnTo>
                    <a:pt x="90" y="252"/>
                  </a:lnTo>
                  <a:lnTo>
                    <a:pt x="88" y="252"/>
                  </a:lnTo>
                  <a:lnTo>
                    <a:pt x="88" y="252"/>
                  </a:lnTo>
                  <a:lnTo>
                    <a:pt x="88" y="250"/>
                  </a:lnTo>
                  <a:lnTo>
                    <a:pt x="88" y="250"/>
                  </a:lnTo>
                  <a:lnTo>
                    <a:pt x="88" y="250"/>
                  </a:lnTo>
                  <a:lnTo>
                    <a:pt x="88" y="250"/>
                  </a:lnTo>
                  <a:lnTo>
                    <a:pt x="90" y="248"/>
                  </a:lnTo>
                  <a:lnTo>
                    <a:pt x="90" y="248"/>
                  </a:lnTo>
                  <a:lnTo>
                    <a:pt x="90" y="246"/>
                  </a:lnTo>
                  <a:lnTo>
                    <a:pt x="90" y="246"/>
                  </a:lnTo>
                  <a:lnTo>
                    <a:pt x="90" y="246"/>
                  </a:lnTo>
                  <a:lnTo>
                    <a:pt x="88" y="244"/>
                  </a:lnTo>
                  <a:lnTo>
                    <a:pt x="86" y="244"/>
                  </a:lnTo>
                  <a:lnTo>
                    <a:pt x="86" y="244"/>
                  </a:lnTo>
                  <a:lnTo>
                    <a:pt x="86" y="244"/>
                  </a:lnTo>
                  <a:lnTo>
                    <a:pt x="86" y="244"/>
                  </a:lnTo>
                  <a:lnTo>
                    <a:pt x="84" y="244"/>
                  </a:lnTo>
                  <a:lnTo>
                    <a:pt x="84" y="244"/>
                  </a:lnTo>
                  <a:lnTo>
                    <a:pt x="82" y="246"/>
                  </a:lnTo>
                  <a:lnTo>
                    <a:pt x="80" y="246"/>
                  </a:lnTo>
                  <a:lnTo>
                    <a:pt x="80" y="246"/>
                  </a:lnTo>
                  <a:lnTo>
                    <a:pt x="80" y="246"/>
                  </a:lnTo>
                  <a:lnTo>
                    <a:pt x="80" y="246"/>
                  </a:lnTo>
                  <a:lnTo>
                    <a:pt x="80" y="244"/>
                  </a:lnTo>
                  <a:lnTo>
                    <a:pt x="80" y="244"/>
                  </a:lnTo>
                  <a:lnTo>
                    <a:pt x="80" y="242"/>
                  </a:lnTo>
                  <a:lnTo>
                    <a:pt x="80" y="242"/>
                  </a:lnTo>
                  <a:lnTo>
                    <a:pt x="80" y="240"/>
                  </a:lnTo>
                  <a:lnTo>
                    <a:pt x="80" y="240"/>
                  </a:lnTo>
                  <a:lnTo>
                    <a:pt x="80" y="240"/>
                  </a:lnTo>
                  <a:lnTo>
                    <a:pt x="80" y="240"/>
                  </a:lnTo>
                  <a:lnTo>
                    <a:pt x="78" y="238"/>
                  </a:lnTo>
                  <a:lnTo>
                    <a:pt x="76" y="238"/>
                  </a:lnTo>
                  <a:lnTo>
                    <a:pt x="76" y="236"/>
                  </a:lnTo>
                  <a:lnTo>
                    <a:pt x="74" y="236"/>
                  </a:lnTo>
                  <a:lnTo>
                    <a:pt x="74" y="234"/>
                  </a:lnTo>
                  <a:lnTo>
                    <a:pt x="72" y="234"/>
                  </a:lnTo>
                  <a:lnTo>
                    <a:pt x="69" y="232"/>
                  </a:lnTo>
                  <a:lnTo>
                    <a:pt x="69" y="232"/>
                  </a:lnTo>
                  <a:lnTo>
                    <a:pt x="69" y="230"/>
                  </a:lnTo>
                  <a:lnTo>
                    <a:pt x="69" y="230"/>
                  </a:lnTo>
                  <a:lnTo>
                    <a:pt x="69" y="228"/>
                  </a:lnTo>
                  <a:lnTo>
                    <a:pt x="69" y="226"/>
                  </a:lnTo>
                  <a:lnTo>
                    <a:pt x="69" y="226"/>
                  </a:lnTo>
                  <a:lnTo>
                    <a:pt x="69" y="226"/>
                  </a:lnTo>
                  <a:lnTo>
                    <a:pt x="69" y="224"/>
                  </a:lnTo>
                  <a:lnTo>
                    <a:pt x="69" y="224"/>
                  </a:lnTo>
                  <a:lnTo>
                    <a:pt x="69" y="224"/>
                  </a:lnTo>
                  <a:lnTo>
                    <a:pt x="69" y="224"/>
                  </a:lnTo>
                  <a:lnTo>
                    <a:pt x="67" y="222"/>
                  </a:lnTo>
                  <a:lnTo>
                    <a:pt x="67" y="222"/>
                  </a:lnTo>
                  <a:lnTo>
                    <a:pt x="67" y="220"/>
                  </a:lnTo>
                  <a:lnTo>
                    <a:pt x="65" y="218"/>
                  </a:lnTo>
                  <a:lnTo>
                    <a:pt x="65" y="218"/>
                  </a:lnTo>
                  <a:lnTo>
                    <a:pt x="65" y="215"/>
                  </a:lnTo>
                  <a:lnTo>
                    <a:pt x="63" y="215"/>
                  </a:lnTo>
                  <a:lnTo>
                    <a:pt x="61" y="215"/>
                  </a:lnTo>
                  <a:lnTo>
                    <a:pt x="61" y="215"/>
                  </a:lnTo>
                  <a:lnTo>
                    <a:pt x="61" y="213"/>
                  </a:lnTo>
                  <a:lnTo>
                    <a:pt x="61" y="213"/>
                  </a:lnTo>
                  <a:lnTo>
                    <a:pt x="61" y="213"/>
                  </a:lnTo>
                  <a:lnTo>
                    <a:pt x="61" y="211"/>
                  </a:lnTo>
                  <a:lnTo>
                    <a:pt x="61" y="211"/>
                  </a:lnTo>
                  <a:lnTo>
                    <a:pt x="55" y="203"/>
                  </a:lnTo>
                  <a:lnTo>
                    <a:pt x="53" y="201"/>
                  </a:lnTo>
                  <a:lnTo>
                    <a:pt x="53" y="197"/>
                  </a:lnTo>
                  <a:lnTo>
                    <a:pt x="51" y="197"/>
                  </a:lnTo>
                  <a:lnTo>
                    <a:pt x="49" y="195"/>
                  </a:lnTo>
                  <a:lnTo>
                    <a:pt x="49" y="195"/>
                  </a:lnTo>
                  <a:lnTo>
                    <a:pt x="49" y="193"/>
                  </a:lnTo>
                  <a:lnTo>
                    <a:pt x="49" y="193"/>
                  </a:lnTo>
                  <a:lnTo>
                    <a:pt x="47" y="193"/>
                  </a:lnTo>
                  <a:lnTo>
                    <a:pt x="47" y="193"/>
                  </a:lnTo>
                  <a:lnTo>
                    <a:pt x="47" y="191"/>
                  </a:lnTo>
                  <a:lnTo>
                    <a:pt x="47" y="191"/>
                  </a:lnTo>
                  <a:lnTo>
                    <a:pt x="47" y="189"/>
                  </a:lnTo>
                  <a:lnTo>
                    <a:pt x="47" y="189"/>
                  </a:lnTo>
                  <a:lnTo>
                    <a:pt x="45" y="189"/>
                  </a:lnTo>
                  <a:lnTo>
                    <a:pt x="45" y="189"/>
                  </a:lnTo>
                  <a:lnTo>
                    <a:pt x="45" y="187"/>
                  </a:lnTo>
                  <a:lnTo>
                    <a:pt x="45" y="187"/>
                  </a:lnTo>
                  <a:lnTo>
                    <a:pt x="43" y="185"/>
                  </a:lnTo>
                  <a:lnTo>
                    <a:pt x="43" y="185"/>
                  </a:lnTo>
                  <a:lnTo>
                    <a:pt x="43" y="183"/>
                  </a:lnTo>
                  <a:lnTo>
                    <a:pt x="37" y="181"/>
                  </a:lnTo>
                  <a:lnTo>
                    <a:pt x="33" y="179"/>
                  </a:lnTo>
                  <a:lnTo>
                    <a:pt x="31" y="179"/>
                  </a:lnTo>
                  <a:lnTo>
                    <a:pt x="31" y="179"/>
                  </a:lnTo>
                  <a:lnTo>
                    <a:pt x="31" y="177"/>
                  </a:lnTo>
                  <a:lnTo>
                    <a:pt x="31" y="177"/>
                  </a:lnTo>
                  <a:lnTo>
                    <a:pt x="29" y="174"/>
                  </a:lnTo>
                  <a:lnTo>
                    <a:pt x="29" y="172"/>
                  </a:lnTo>
                  <a:lnTo>
                    <a:pt x="26" y="168"/>
                  </a:lnTo>
                  <a:lnTo>
                    <a:pt x="26" y="168"/>
                  </a:lnTo>
                  <a:lnTo>
                    <a:pt x="20" y="164"/>
                  </a:lnTo>
                  <a:lnTo>
                    <a:pt x="18" y="162"/>
                  </a:lnTo>
                  <a:lnTo>
                    <a:pt x="16" y="162"/>
                  </a:lnTo>
                  <a:lnTo>
                    <a:pt x="16" y="162"/>
                  </a:lnTo>
                  <a:lnTo>
                    <a:pt x="16" y="160"/>
                  </a:lnTo>
                  <a:lnTo>
                    <a:pt x="16" y="160"/>
                  </a:lnTo>
                  <a:lnTo>
                    <a:pt x="16" y="160"/>
                  </a:lnTo>
                  <a:lnTo>
                    <a:pt x="16" y="160"/>
                  </a:lnTo>
                  <a:lnTo>
                    <a:pt x="16" y="160"/>
                  </a:lnTo>
                  <a:lnTo>
                    <a:pt x="18" y="160"/>
                  </a:lnTo>
                  <a:lnTo>
                    <a:pt x="20" y="160"/>
                  </a:lnTo>
                  <a:lnTo>
                    <a:pt x="22" y="160"/>
                  </a:lnTo>
                  <a:lnTo>
                    <a:pt x="22" y="160"/>
                  </a:lnTo>
                  <a:lnTo>
                    <a:pt x="22" y="160"/>
                  </a:lnTo>
                  <a:lnTo>
                    <a:pt x="22" y="160"/>
                  </a:lnTo>
                  <a:lnTo>
                    <a:pt x="22" y="158"/>
                  </a:lnTo>
                  <a:lnTo>
                    <a:pt x="22" y="158"/>
                  </a:lnTo>
                  <a:lnTo>
                    <a:pt x="22" y="158"/>
                  </a:lnTo>
                  <a:lnTo>
                    <a:pt x="20" y="156"/>
                  </a:lnTo>
                  <a:lnTo>
                    <a:pt x="20" y="156"/>
                  </a:lnTo>
                  <a:lnTo>
                    <a:pt x="20" y="156"/>
                  </a:lnTo>
                  <a:lnTo>
                    <a:pt x="20" y="154"/>
                  </a:lnTo>
                  <a:lnTo>
                    <a:pt x="20" y="152"/>
                  </a:lnTo>
                  <a:lnTo>
                    <a:pt x="20" y="152"/>
                  </a:lnTo>
                  <a:lnTo>
                    <a:pt x="18" y="150"/>
                  </a:lnTo>
                  <a:lnTo>
                    <a:pt x="16" y="150"/>
                  </a:lnTo>
                  <a:lnTo>
                    <a:pt x="16" y="150"/>
                  </a:lnTo>
                  <a:lnTo>
                    <a:pt x="18" y="150"/>
                  </a:lnTo>
                  <a:lnTo>
                    <a:pt x="18" y="148"/>
                  </a:lnTo>
                  <a:lnTo>
                    <a:pt x="20" y="148"/>
                  </a:lnTo>
                  <a:lnTo>
                    <a:pt x="20" y="148"/>
                  </a:lnTo>
                  <a:lnTo>
                    <a:pt x="20" y="148"/>
                  </a:lnTo>
                  <a:lnTo>
                    <a:pt x="20" y="148"/>
                  </a:lnTo>
                  <a:lnTo>
                    <a:pt x="22" y="146"/>
                  </a:lnTo>
                  <a:lnTo>
                    <a:pt x="22" y="146"/>
                  </a:lnTo>
                  <a:lnTo>
                    <a:pt x="22" y="144"/>
                  </a:lnTo>
                  <a:lnTo>
                    <a:pt x="22" y="144"/>
                  </a:lnTo>
                  <a:lnTo>
                    <a:pt x="20" y="140"/>
                  </a:lnTo>
                  <a:lnTo>
                    <a:pt x="20" y="140"/>
                  </a:lnTo>
                  <a:lnTo>
                    <a:pt x="20" y="138"/>
                  </a:lnTo>
                  <a:lnTo>
                    <a:pt x="20" y="136"/>
                  </a:lnTo>
                  <a:lnTo>
                    <a:pt x="20" y="136"/>
                  </a:lnTo>
                  <a:lnTo>
                    <a:pt x="20" y="133"/>
                  </a:lnTo>
                  <a:lnTo>
                    <a:pt x="20" y="133"/>
                  </a:lnTo>
                  <a:lnTo>
                    <a:pt x="18" y="131"/>
                  </a:lnTo>
                  <a:lnTo>
                    <a:pt x="16" y="131"/>
                  </a:lnTo>
                  <a:lnTo>
                    <a:pt x="16" y="131"/>
                  </a:lnTo>
                  <a:lnTo>
                    <a:pt x="16" y="129"/>
                  </a:lnTo>
                  <a:lnTo>
                    <a:pt x="16" y="129"/>
                  </a:lnTo>
                  <a:lnTo>
                    <a:pt x="16" y="129"/>
                  </a:lnTo>
                  <a:lnTo>
                    <a:pt x="14" y="127"/>
                  </a:lnTo>
                  <a:lnTo>
                    <a:pt x="14" y="127"/>
                  </a:lnTo>
                  <a:lnTo>
                    <a:pt x="14" y="125"/>
                  </a:lnTo>
                  <a:lnTo>
                    <a:pt x="12" y="121"/>
                  </a:lnTo>
                  <a:lnTo>
                    <a:pt x="12" y="119"/>
                  </a:lnTo>
                  <a:lnTo>
                    <a:pt x="12" y="119"/>
                  </a:lnTo>
                  <a:lnTo>
                    <a:pt x="12" y="119"/>
                  </a:lnTo>
                  <a:lnTo>
                    <a:pt x="10" y="117"/>
                  </a:lnTo>
                  <a:lnTo>
                    <a:pt x="10" y="117"/>
                  </a:lnTo>
                  <a:lnTo>
                    <a:pt x="8" y="115"/>
                  </a:lnTo>
                  <a:lnTo>
                    <a:pt x="8" y="115"/>
                  </a:lnTo>
                  <a:lnTo>
                    <a:pt x="8" y="113"/>
                  </a:lnTo>
                  <a:lnTo>
                    <a:pt x="6" y="113"/>
                  </a:lnTo>
                  <a:lnTo>
                    <a:pt x="6" y="113"/>
                  </a:lnTo>
                  <a:lnTo>
                    <a:pt x="6" y="111"/>
                  </a:lnTo>
                  <a:lnTo>
                    <a:pt x="4" y="109"/>
                  </a:lnTo>
                  <a:lnTo>
                    <a:pt x="4" y="107"/>
                  </a:lnTo>
                  <a:lnTo>
                    <a:pt x="2" y="105"/>
                  </a:lnTo>
                  <a:lnTo>
                    <a:pt x="0" y="103"/>
                  </a:lnTo>
                  <a:lnTo>
                    <a:pt x="0" y="101"/>
                  </a:lnTo>
                  <a:lnTo>
                    <a:pt x="0" y="101"/>
                  </a:lnTo>
                  <a:lnTo>
                    <a:pt x="0" y="97"/>
                  </a:lnTo>
                  <a:lnTo>
                    <a:pt x="2" y="84"/>
                  </a:lnTo>
                  <a:lnTo>
                    <a:pt x="4" y="72"/>
                  </a:lnTo>
                  <a:lnTo>
                    <a:pt x="6" y="60"/>
                  </a:lnTo>
                  <a:lnTo>
                    <a:pt x="8" y="47"/>
                  </a:lnTo>
                  <a:lnTo>
                    <a:pt x="10" y="37"/>
                  </a:lnTo>
                  <a:lnTo>
                    <a:pt x="10" y="25"/>
                  </a:lnTo>
                  <a:lnTo>
                    <a:pt x="12" y="13"/>
                  </a:lnTo>
                  <a:lnTo>
                    <a:pt x="14" y="0"/>
                  </a:lnTo>
                  <a:lnTo>
                    <a:pt x="31" y="2"/>
                  </a:lnTo>
                  <a:lnTo>
                    <a:pt x="47" y="4"/>
                  </a:lnTo>
                  <a:lnTo>
                    <a:pt x="63" y="8"/>
                  </a:lnTo>
                  <a:lnTo>
                    <a:pt x="80" y="11"/>
                  </a:lnTo>
                  <a:lnTo>
                    <a:pt x="96" y="13"/>
                  </a:lnTo>
                  <a:lnTo>
                    <a:pt x="112" y="15"/>
                  </a:lnTo>
                  <a:lnTo>
                    <a:pt x="129" y="17"/>
                  </a:lnTo>
                  <a:lnTo>
                    <a:pt x="145" y="19"/>
                  </a:lnTo>
                  <a:lnTo>
                    <a:pt x="162" y="21"/>
                  </a:lnTo>
                  <a:lnTo>
                    <a:pt x="162" y="21"/>
                  </a:lnTo>
                  <a:lnTo>
                    <a:pt x="178" y="23"/>
                  </a:lnTo>
                  <a:lnTo>
                    <a:pt x="194" y="25"/>
                  </a:lnTo>
                  <a:lnTo>
                    <a:pt x="211" y="27"/>
                  </a:lnTo>
                  <a:lnTo>
                    <a:pt x="227" y="29"/>
                  </a:lnTo>
                  <a:lnTo>
                    <a:pt x="244" y="31"/>
                  </a:lnTo>
                  <a:lnTo>
                    <a:pt x="260" y="33"/>
                  </a:lnTo>
                  <a:lnTo>
                    <a:pt x="276" y="35"/>
                  </a:lnTo>
                  <a:lnTo>
                    <a:pt x="293" y="37"/>
                  </a:lnTo>
                  <a:lnTo>
                    <a:pt x="309" y="39"/>
                  </a:lnTo>
                  <a:lnTo>
                    <a:pt x="325" y="39"/>
                  </a:lnTo>
                  <a:lnTo>
                    <a:pt x="342" y="41"/>
                  </a:lnTo>
                  <a:lnTo>
                    <a:pt x="358" y="43"/>
                  </a:lnTo>
                  <a:lnTo>
                    <a:pt x="375" y="45"/>
                  </a:lnTo>
                  <a:lnTo>
                    <a:pt x="391" y="47"/>
                  </a:lnTo>
                  <a:lnTo>
                    <a:pt x="407" y="49"/>
                  </a:lnTo>
                  <a:lnTo>
                    <a:pt x="424" y="49"/>
                  </a:lnTo>
                  <a:lnTo>
                    <a:pt x="440" y="52"/>
                  </a:lnTo>
                  <a:lnTo>
                    <a:pt x="457" y="54"/>
                  </a:lnTo>
                  <a:lnTo>
                    <a:pt x="467" y="54"/>
                  </a:lnTo>
                  <a:lnTo>
                    <a:pt x="473" y="56"/>
                  </a:lnTo>
                  <a:lnTo>
                    <a:pt x="491" y="56"/>
                  </a:lnTo>
                  <a:lnTo>
                    <a:pt x="508" y="58"/>
                  </a:lnTo>
                  <a:lnTo>
                    <a:pt x="524" y="60"/>
                  </a:lnTo>
                  <a:lnTo>
                    <a:pt x="541" y="60"/>
                  </a:lnTo>
                  <a:lnTo>
                    <a:pt x="557" y="62"/>
                  </a:lnTo>
                  <a:lnTo>
                    <a:pt x="573" y="64"/>
                  </a:lnTo>
                  <a:lnTo>
                    <a:pt x="590" y="64"/>
                  </a:lnTo>
                  <a:lnTo>
                    <a:pt x="606" y="66"/>
                  </a:lnTo>
                  <a:lnTo>
                    <a:pt x="622" y="66"/>
                  </a:lnTo>
                  <a:lnTo>
                    <a:pt x="639" y="68"/>
                  </a:lnTo>
                  <a:lnTo>
                    <a:pt x="655" y="70"/>
                  </a:lnTo>
                  <a:lnTo>
                    <a:pt x="672" y="70"/>
                  </a:lnTo>
                  <a:lnTo>
                    <a:pt x="688" y="72"/>
                  </a:lnTo>
                  <a:lnTo>
                    <a:pt x="704" y="72"/>
                  </a:lnTo>
                  <a:lnTo>
                    <a:pt x="721" y="74"/>
                  </a:lnTo>
                  <a:lnTo>
                    <a:pt x="737" y="74"/>
                  </a:lnTo>
                  <a:lnTo>
                    <a:pt x="756" y="76"/>
                  </a:lnTo>
                  <a:lnTo>
                    <a:pt x="772" y="76"/>
                  </a:lnTo>
                  <a:lnTo>
                    <a:pt x="788" y="76"/>
                  </a:lnTo>
                  <a:lnTo>
                    <a:pt x="805" y="78"/>
                  </a:lnTo>
                  <a:lnTo>
                    <a:pt x="821" y="78"/>
                  </a:lnTo>
                  <a:lnTo>
                    <a:pt x="837" y="80"/>
                  </a:lnTo>
                  <a:lnTo>
                    <a:pt x="854" y="80"/>
                  </a:lnTo>
                  <a:lnTo>
                    <a:pt x="870" y="80"/>
                  </a:lnTo>
                  <a:lnTo>
                    <a:pt x="887" y="82"/>
                  </a:lnTo>
                  <a:lnTo>
                    <a:pt x="903" y="82"/>
                  </a:lnTo>
                  <a:lnTo>
                    <a:pt x="915" y="82"/>
                  </a:lnTo>
                  <a:lnTo>
                    <a:pt x="915" y="103"/>
                  </a:lnTo>
                  <a:lnTo>
                    <a:pt x="913" y="121"/>
                  </a:lnTo>
                  <a:lnTo>
                    <a:pt x="913" y="142"/>
                  </a:lnTo>
                  <a:lnTo>
                    <a:pt x="913" y="160"/>
                  </a:lnTo>
                  <a:lnTo>
                    <a:pt x="911" y="181"/>
                  </a:lnTo>
                  <a:lnTo>
                    <a:pt x="911" y="199"/>
                  </a:lnTo>
                  <a:lnTo>
                    <a:pt x="911" y="220"/>
                  </a:lnTo>
                  <a:lnTo>
                    <a:pt x="911" y="238"/>
                  </a:lnTo>
                  <a:lnTo>
                    <a:pt x="909" y="259"/>
                  </a:lnTo>
                  <a:lnTo>
                    <a:pt x="909" y="279"/>
                  </a:lnTo>
                  <a:lnTo>
                    <a:pt x="909" y="297"/>
                  </a:lnTo>
                  <a:lnTo>
                    <a:pt x="907" y="318"/>
                  </a:lnTo>
                  <a:lnTo>
                    <a:pt x="907" y="338"/>
                  </a:lnTo>
                  <a:lnTo>
                    <a:pt x="907" y="357"/>
                  </a:lnTo>
                  <a:lnTo>
                    <a:pt x="905" y="377"/>
                  </a:lnTo>
                  <a:lnTo>
                    <a:pt x="905" y="398"/>
                  </a:lnTo>
                  <a:lnTo>
                    <a:pt x="905" y="398"/>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T</a:t>
              </a:r>
            </a:p>
          </p:txBody>
        </p:sp>
        <p:sp>
          <p:nvSpPr>
            <p:cNvPr id="267" name="Freeform 30">
              <a:extLst>
                <a:ext uri="{FF2B5EF4-FFF2-40B4-BE49-F238E27FC236}">
                  <a16:creationId xmlns:a16="http://schemas.microsoft.com/office/drawing/2014/main" id="{D9741453-940E-7389-3E11-E11AFCE19D93}"/>
                </a:ext>
              </a:extLst>
            </p:cNvPr>
            <p:cNvSpPr>
              <a:spLocks noEditPoints="1"/>
            </p:cNvSpPr>
            <p:nvPr/>
          </p:nvSpPr>
          <p:spPr bwMode="auto">
            <a:xfrm>
              <a:off x="3502" y="1603"/>
              <a:ext cx="309" cy="535"/>
            </a:xfrm>
            <a:custGeom>
              <a:avLst/>
              <a:gdLst>
                <a:gd name="T0" fmla="*/ 245 w 309"/>
                <a:gd name="T1" fmla="*/ 522 h 535"/>
                <a:gd name="T2" fmla="*/ 247 w 309"/>
                <a:gd name="T3" fmla="*/ 524 h 535"/>
                <a:gd name="T4" fmla="*/ 247 w 309"/>
                <a:gd name="T5" fmla="*/ 518 h 535"/>
                <a:gd name="T6" fmla="*/ 258 w 309"/>
                <a:gd name="T7" fmla="*/ 522 h 535"/>
                <a:gd name="T8" fmla="*/ 309 w 309"/>
                <a:gd name="T9" fmla="*/ 516 h 535"/>
                <a:gd name="T10" fmla="*/ 299 w 309"/>
                <a:gd name="T11" fmla="*/ 436 h 535"/>
                <a:gd name="T12" fmla="*/ 286 w 309"/>
                <a:gd name="T13" fmla="*/ 346 h 535"/>
                <a:gd name="T14" fmla="*/ 284 w 309"/>
                <a:gd name="T15" fmla="*/ 297 h 535"/>
                <a:gd name="T16" fmla="*/ 284 w 309"/>
                <a:gd name="T17" fmla="*/ 190 h 535"/>
                <a:gd name="T18" fmla="*/ 284 w 309"/>
                <a:gd name="T19" fmla="*/ 65 h 535"/>
                <a:gd name="T20" fmla="*/ 284 w 309"/>
                <a:gd name="T21" fmla="*/ 10 h 535"/>
                <a:gd name="T22" fmla="*/ 249 w 309"/>
                <a:gd name="T23" fmla="*/ 4 h 535"/>
                <a:gd name="T24" fmla="*/ 157 w 309"/>
                <a:gd name="T25" fmla="*/ 12 h 535"/>
                <a:gd name="T26" fmla="*/ 92 w 309"/>
                <a:gd name="T27" fmla="*/ 22 h 535"/>
                <a:gd name="T28" fmla="*/ 77 w 309"/>
                <a:gd name="T29" fmla="*/ 45 h 535"/>
                <a:gd name="T30" fmla="*/ 67 w 309"/>
                <a:gd name="T31" fmla="*/ 55 h 535"/>
                <a:gd name="T32" fmla="*/ 61 w 309"/>
                <a:gd name="T33" fmla="*/ 88 h 535"/>
                <a:gd name="T34" fmla="*/ 55 w 309"/>
                <a:gd name="T35" fmla="*/ 94 h 535"/>
                <a:gd name="T36" fmla="*/ 49 w 309"/>
                <a:gd name="T37" fmla="*/ 98 h 535"/>
                <a:gd name="T38" fmla="*/ 38 w 309"/>
                <a:gd name="T39" fmla="*/ 116 h 535"/>
                <a:gd name="T40" fmla="*/ 32 w 309"/>
                <a:gd name="T41" fmla="*/ 131 h 535"/>
                <a:gd name="T42" fmla="*/ 32 w 309"/>
                <a:gd name="T43" fmla="*/ 141 h 535"/>
                <a:gd name="T44" fmla="*/ 28 w 309"/>
                <a:gd name="T45" fmla="*/ 155 h 535"/>
                <a:gd name="T46" fmla="*/ 18 w 309"/>
                <a:gd name="T47" fmla="*/ 168 h 535"/>
                <a:gd name="T48" fmla="*/ 20 w 309"/>
                <a:gd name="T49" fmla="*/ 178 h 535"/>
                <a:gd name="T50" fmla="*/ 28 w 309"/>
                <a:gd name="T51" fmla="*/ 190 h 535"/>
                <a:gd name="T52" fmla="*/ 30 w 309"/>
                <a:gd name="T53" fmla="*/ 209 h 535"/>
                <a:gd name="T54" fmla="*/ 30 w 309"/>
                <a:gd name="T55" fmla="*/ 225 h 535"/>
                <a:gd name="T56" fmla="*/ 34 w 309"/>
                <a:gd name="T57" fmla="*/ 244 h 535"/>
                <a:gd name="T58" fmla="*/ 34 w 309"/>
                <a:gd name="T59" fmla="*/ 256 h 535"/>
                <a:gd name="T60" fmla="*/ 38 w 309"/>
                <a:gd name="T61" fmla="*/ 272 h 535"/>
                <a:gd name="T62" fmla="*/ 34 w 309"/>
                <a:gd name="T63" fmla="*/ 282 h 535"/>
                <a:gd name="T64" fmla="*/ 38 w 309"/>
                <a:gd name="T65" fmla="*/ 295 h 535"/>
                <a:gd name="T66" fmla="*/ 53 w 309"/>
                <a:gd name="T67" fmla="*/ 309 h 535"/>
                <a:gd name="T68" fmla="*/ 51 w 309"/>
                <a:gd name="T69" fmla="*/ 325 h 535"/>
                <a:gd name="T70" fmla="*/ 47 w 309"/>
                <a:gd name="T71" fmla="*/ 342 h 535"/>
                <a:gd name="T72" fmla="*/ 32 w 309"/>
                <a:gd name="T73" fmla="*/ 360 h 535"/>
                <a:gd name="T74" fmla="*/ 18 w 309"/>
                <a:gd name="T75" fmla="*/ 377 h 535"/>
                <a:gd name="T76" fmla="*/ 10 w 309"/>
                <a:gd name="T77" fmla="*/ 403 h 535"/>
                <a:gd name="T78" fmla="*/ 12 w 309"/>
                <a:gd name="T79" fmla="*/ 418 h 535"/>
                <a:gd name="T80" fmla="*/ 0 w 309"/>
                <a:gd name="T81" fmla="*/ 432 h 535"/>
                <a:gd name="T82" fmla="*/ 4 w 309"/>
                <a:gd name="T83" fmla="*/ 440 h 535"/>
                <a:gd name="T84" fmla="*/ 6 w 309"/>
                <a:gd name="T85" fmla="*/ 459 h 535"/>
                <a:gd name="T86" fmla="*/ 90 w 309"/>
                <a:gd name="T87" fmla="*/ 453 h 535"/>
                <a:gd name="T88" fmla="*/ 172 w 309"/>
                <a:gd name="T89" fmla="*/ 444 h 535"/>
                <a:gd name="T90" fmla="*/ 174 w 309"/>
                <a:gd name="T91" fmla="*/ 467 h 535"/>
                <a:gd name="T92" fmla="*/ 176 w 309"/>
                <a:gd name="T93" fmla="*/ 483 h 535"/>
                <a:gd name="T94" fmla="*/ 190 w 309"/>
                <a:gd name="T95" fmla="*/ 502 h 535"/>
                <a:gd name="T96" fmla="*/ 194 w 309"/>
                <a:gd name="T97" fmla="*/ 518 h 535"/>
                <a:gd name="T98" fmla="*/ 206 w 309"/>
                <a:gd name="T99" fmla="*/ 528 h 535"/>
                <a:gd name="T100" fmla="*/ 213 w 309"/>
                <a:gd name="T101" fmla="*/ 528 h 535"/>
                <a:gd name="T102" fmla="*/ 215 w 309"/>
                <a:gd name="T103" fmla="*/ 520 h 535"/>
                <a:gd name="T104" fmla="*/ 221 w 309"/>
                <a:gd name="T105" fmla="*/ 510 h 535"/>
                <a:gd name="T106" fmla="*/ 229 w 309"/>
                <a:gd name="T107" fmla="*/ 512 h 535"/>
                <a:gd name="T108" fmla="*/ 251 w 309"/>
                <a:gd name="T109" fmla="*/ 504 h 535"/>
                <a:gd name="T110" fmla="*/ 256 w 309"/>
                <a:gd name="T111" fmla="*/ 498 h 535"/>
                <a:gd name="T112" fmla="*/ 290 w 309"/>
                <a:gd name="T113" fmla="*/ 498 h 535"/>
                <a:gd name="T114" fmla="*/ 299 w 309"/>
                <a:gd name="T115" fmla="*/ 504 h 535"/>
                <a:gd name="T116" fmla="*/ 309 w 309"/>
                <a:gd name="T117" fmla="*/ 500 h 535"/>
                <a:gd name="T118" fmla="*/ 282 w 309"/>
                <a:gd name="T119" fmla="*/ 514 h 535"/>
                <a:gd name="T120" fmla="*/ 290 w 309"/>
                <a:gd name="T121" fmla="*/ 51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9" h="535">
                  <a:moveTo>
                    <a:pt x="247" y="518"/>
                  </a:moveTo>
                  <a:lnTo>
                    <a:pt x="247" y="520"/>
                  </a:lnTo>
                  <a:lnTo>
                    <a:pt x="245" y="520"/>
                  </a:lnTo>
                  <a:lnTo>
                    <a:pt x="241" y="520"/>
                  </a:lnTo>
                  <a:lnTo>
                    <a:pt x="241" y="522"/>
                  </a:lnTo>
                  <a:lnTo>
                    <a:pt x="243" y="520"/>
                  </a:lnTo>
                  <a:lnTo>
                    <a:pt x="245" y="520"/>
                  </a:lnTo>
                  <a:lnTo>
                    <a:pt x="245" y="522"/>
                  </a:lnTo>
                  <a:lnTo>
                    <a:pt x="245" y="522"/>
                  </a:lnTo>
                  <a:lnTo>
                    <a:pt x="247" y="522"/>
                  </a:lnTo>
                  <a:lnTo>
                    <a:pt x="247" y="522"/>
                  </a:lnTo>
                  <a:lnTo>
                    <a:pt x="245" y="524"/>
                  </a:lnTo>
                  <a:lnTo>
                    <a:pt x="245" y="524"/>
                  </a:lnTo>
                  <a:lnTo>
                    <a:pt x="245" y="524"/>
                  </a:lnTo>
                  <a:lnTo>
                    <a:pt x="247" y="524"/>
                  </a:lnTo>
                  <a:lnTo>
                    <a:pt x="247" y="524"/>
                  </a:lnTo>
                  <a:lnTo>
                    <a:pt x="247" y="524"/>
                  </a:lnTo>
                  <a:lnTo>
                    <a:pt x="249" y="520"/>
                  </a:lnTo>
                  <a:lnTo>
                    <a:pt x="249" y="520"/>
                  </a:lnTo>
                  <a:lnTo>
                    <a:pt x="249" y="518"/>
                  </a:lnTo>
                  <a:lnTo>
                    <a:pt x="249" y="518"/>
                  </a:lnTo>
                  <a:lnTo>
                    <a:pt x="249" y="518"/>
                  </a:lnTo>
                  <a:lnTo>
                    <a:pt x="249" y="518"/>
                  </a:lnTo>
                  <a:lnTo>
                    <a:pt x="247" y="518"/>
                  </a:lnTo>
                  <a:close/>
                  <a:moveTo>
                    <a:pt x="215" y="532"/>
                  </a:moveTo>
                  <a:lnTo>
                    <a:pt x="215" y="535"/>
                  </a:lnTo>
                  <a:lnTo>
                    <a:pt x="217" y="535"/>
                  </a:lnTo>
                  <a:lnTo>
                    <a:pt x="217" y="532"/>
                  </a:lnTo>
                  <a:lnTo>
                    <a:pt x="217" y="532"/>
                  </a:lnTo>
                  <a:lnTo>
                    <a:pt x="215" y="532"/>
                  </a:lnTo>
                  <a:close/>
                  <a:moveTo>
                    <a:pt x="258" y="522"/>
                  </a:moveTo>
                  <a:lnTo>
                    <a:pt x="258" y="522"/>
                  </a:lnTo>
                  <a:lnTo>
                    <a:pt x="260" y="520"/>
                  </a:lnTo>
                  <a:lnTo>
                    <a:pt x="262" y="520"/>
                  </a:lnTo>
                  <a:lnTo>
                    <a:pt x="260" y="520"/>
                  </a:lnTo>
                  <a:lnTo>
                    <a:pt x="258" y="522"/>
                  </a:lnTo>
                  <a:close/>
                  <a:moveTo>
                    <a:pt x="301" y="516"/>
                  </a:moveTo>
                  <a:lnTo>
                    <a:pt x="305" y="516"/>
                  </a:lnTo>
                  <a:lnTo>
                    <a:pt x="307" y="516"/>
                  </a:lnTo>
                  <a:lnTo>
                    <a:pt x="309" y="516"/>
                  </a:lnTo>
                  <a:lnTo>
                    <a:pt x="301" y="516"/>
                  </a:lnTo>
                  <a:lnTo>
                    <a:pt x="301" y="516"/>
                  </a:lnTo>
                  <a:close/>
                  <a:moveTo>
                    <a:pt x="309" y="498"/>
                  </a:moveTo>
                  <a:lnTo>
                    <a:pt x="305" y="477"/>
                  </a:lnTo>
                  <a:lnTo>
                    <a:pt x="305" y="467"/>
                  </a:lnTo>
                  <a:lnTo>
                    <a:pt x="303" y="457"/>
                  </a:lnTo>
                  <a:lnTo>
                    <a:pt x="301" y="446"/>
                  </a:lnTo>
                  <a:lnTo>
                    <a:pt x="299" y="436"/>
                  </a:lnTo>
                  <a:lnTo>
                    <a:pt x="296" y="428"/>
                  </a:lnTo>
                  <a:lnTo>
                    <a:pt x="296" y="418"/>
                  </a:lnTo>
                  <a:lnTo>
                    <a:pt x="292" y="397"/>
                  </a:lnTo>
                  <a:lnTo>
                    <a:pt x="292" y="387"/>
                  </a:lnTo>
                  <a:lnTo>
                    <a:pt x="290" y="377"/>
                  </a:lnTo>
                  <a:lnTo>
                    <a:pt x="288" y="366"/>
                  </a:lnTo>
                  <a:lnTo>
                    <a:pt x="286" y="356"/>
                  </a:lnTo>
                  <a:lnTo>
                    <a:pt x="286" y="346"/>
                  </a:lnTo>
                  <a:lnTo>
                    <a:pt x="284" y="338"/>
                  </a:lnTo>
                  <a:lnTo>
                    <a:pt x="284" y="336"/>
                  </a:lnTo>
                  <a:lnTo>
                    <a:pt x="284" y="334"/>
                  </a:lnTo>
                  <a:lnTo>
                    <a:pt x="284" y="330"/>
                  </a:lnTo>
                  <a:lnTo>
                    <a:pt x="284" y="323"/>
                  </a:lnTo>
                  <a:lnTo>
                    <a:pt x="284" y="315"/>
                  </a:lnTo>
                  <a:lnTo>
                    <a:pt x="284" y="307"/>
                  </a:lnTo>
                  <a:lnTo>
                    <a:pt x="284" y="297"/>
                  </a:lnTo>
                  <a:lnTo>
                    <a:pt x="284" y="287"/>
                  </a:lnTo>
                  <a:lnTo>
                    <a:pt x="284" y="274"/>
                  </a:lnTo>
                  <a:lnTo>
                    <a:pt x="284" y="262"/>
                  </a:lnTo>
                  <a:lnTo>
                    <a:pt x="284" y="250"/>
                  </a:lnTo>
                  <a:lnTo>
                    <a:pt x="284" y="235"/>
                  </a:lnTo>
                  <a:lnTo>
                    <a:pt x="284" y="221"/>
                  </a:lnTo>
                  <a:lnTo>
                    <a:pt x="284" y="207"/>
                  </a:lnTo>
                  <a:lnTo>
                    <a:pt x="284" y="190"/>
                  </a:lnTo>
                  <a:lnTo>
                    <a:pt x="284" y="162"/>
                  </a:lnTo>
                  <a:lnTo>
                    <a:pt x="284" y="145"/>
                  </a:lnTo>
                  <a:lnTo>
                    <a:pt x="284" y="131"/>
                  </a:lnTo>
                  <a:lnTo>
                    <a:pt x="284" y="116"/>
                  </a:lnTo>
                  <a:lnTo>
                    <a:pt x="284" y="102"/>
                  </a:lnTo>
                  <a:lnTo>
                    <a:pt x="284" y="90"/>
                  </a:lnTo>
                  <a:lnTo>
                    <a:pt x="284" y="78"/>
                  </a:lnTo>
                  <a:lnTo>
                    <a:pt x="284" y="65"/>
                  </a:lnTo>
                  <a:lnTo>
                    <a:pt x="284" y="55"/>
                  </a:lnTo>
                  <a:lnTo>
                    <a:pt x="284" y="45"/>
                  </a:lnTo>
                  <a:lnTo>
                    <a:pt x="284" y="37"/>
                  </a:lnTo>
                  <a:lnTo>
                    <a:pt x="284" y="28"/>
                  </a:lnTo>
                  <a:lnTo>
                    <a:pt x="284" y="18"/>
                  </a:lnTo>
                  <a:lnTo>
                    <a:pt x="284" y="16"/>
                  </a:lnTo>
                  <a:lnTo>
                    <a:pt x="284" y="10"/>
                  </a:lnTo>
                  <a:lnTo>
                    <a:pt x="284" y="10"/>
                  </a:lnTo>
                  <a:lnTo>
                    <a:pt x="284" y="10"/>
                  </a:lnTo>
                  <a:lnTo>
                    <a:pt x="280" y="8"/>
                  </a:lnTo>
                  <a:lnTo>
                    <a:pt x="278" y="4"/>
                  </a:lnTo>
                  <a:lnTo>
                    <a:pt x="276" y="0"/>
                  </a:lnTo>
                  <a:lnTo>
                    <a:pt x="276" y="0"/>
                  </a:lnTo>
                  <a:lnTo>
                    <a:pt x="272" y="0"/>
                  </a:lnTo>
                  <a:lnTo>
                    <a:pt x="260" y="2"/>
                  </a:lnTo>
                  <a:lnTo>
                    <a:pt x="249" y="4"/>
                  </a:lnTo>
                  <a:lnTo>
                    <a:pt x="237" y="4"/>
                  </a:lnTo>
                  <a:lnTo>
                    <a:pt x="227" y="6"/>
                  </a:lnTo>
                  <a:lnTo>
                    <a:pt x="215" y="6"/>
                  </a:lnTo>
                  <a:lnTo>
                    <a:pt x="202" y="8"/>
                  </a:lnTo>
                  <a:lnTo>
                    <a:pt x="192" y="8"/>
                  </a:lnTo>
                  <a:lnTo>
                    <a:pt x="180" y="10"/>
                  </a:lnTo>
                  <a:lnTo>
                    <a:pt x="169" y="12"/>
                  </a:lnTo>
                  <a:lnTo>
                    <a:pt x="157" y="12"/>
                  </a:lnTo>
                  <a:lnTo>
                    <a:pt x="145" y="14"/>
                  </a:lnTo>
                  <a:lnTo>
                    <a:pt x="135" y="14"/>
                  </a:lnTo>
                  <a:lnTo>
                    <a:pt x="122" y="16"/>
                  </a:lnTo>
                  <a:lnTo>
                    <a:pt x="112" y="16"/>
                  </a:lnTo>
                  <a:lnTo>
                    <a:pt x="100" y="18"/>
                  </a:lnTo>
                  <a:lnTo>
                    <a:pt x="88" y="18"/>
                  </a:lnTo>
                  <a:lnTo>
                    <a:pt x="90" y="18"/>
                  </a:lnTo>
                  <a:lnTo>
                    <a:pt x="92" y="22"/>
                  </a:lnTo>
                  <a:lnTo>
                    <a:pt x="92" y="26"/>
                  </a:lnTo>
                  <a:lnTo>
                    <a:pt x="90" y="30"/>
                  </a:lnTo>
                  <a:lnTo>
                    <a:pt x="86" y="32"/>
                  </a:lnTo>
                  <a:lnTo>
                    <a:pt x="75" y="39"/>
                  </a:lnTo>
                  <a:lnTo>
                    <a:pt x="75" y="39"/>
                  </a:lnTo>
                  <a:lnTo>
                    <a:pt x="75" y="41"/>
                  </a:lnTo>
                  <a:lnTo>
                    <a:pt x="77" y="43"/>
                  </a:lnTo>
                  <a:lnTo>
                    <a:pt x="77" y="45"/>
                  </a:lnTo>
                  <a:lnTo>
                    <a:pt x="75" y="47"/>
                  </a:lnTo>
                  <a:lnTo>
                    <a:pt x="75" y="49"/>
                  </a:lnTo>
                  <a:lnTo>
                    <a:pt x="73" y="49"/>
                  </a:lnTo>
                  <a:lnTo>
                    <a:pt x="71" y="49"/>
                  </a:lnTo>
                  <a:lnTo>
                    <a:pt x="69" y="47"/>
                  </a:lnTo>
                  <a:lnTo>
                    <a:pt x="69" y="49"/>
                  </a:lnTo>
                  <a:lnTo>
                    <a:pt x="67" y="51"/>
                  </a:lnTo>
                  <a:lnTo>
                    <a:pt x="67" y="55"/>
                  </a:lnTo>
                  <a:lnTo>
                    <a:pt x="67" y="59"/>
                  </a:lnTo>
                  <a:lnTo>
                    <a:pt x="69" y="65"/>
                  </a:lnTo>
                  <a:lnTo>
                    <a:pt x="69" y="75"/>
                  </a:lnTo>
                  <a:lnTo>
                    <a:pt x="69" y="80"/>
                  </a:lnTo>
                  <a:lnTo>
                    <a:pt x="69" y="82"/>
                  </a:lnTo>
                  <a:lnTo>
                    <a:pt x="65" y="86"/>
                  </a:lnTo>
                  <a:lnTo>
                    <a:pt x="63" y="88"/>
                  </a:lnTo>
                  <a:lnTo>
                    <a:pt x="61" y="88"/>
                  </a:lnTo>
                  <a:lnTo>
                    <a:pt x="57" y="90"/>
                  </a:lnTo>
                  <a:lnTo>
                    <a:pt x="55" y="90"/>
                  </a:lnTo>
                  <a:lnTo>
                    <a:pt x="55" y="90"/>
                  </a:lnTo>
                  <a:lnTo>
                    <a:pt x="53" y="88"/>
                  </a:lnTo>
                  <a:lnTo>
                    <a:pt x="53" y="90"/>
                  </a:lnTo>
                  <a:lnTo>
                    <a:pt x="53" y="90"/>
                  </a:lnTo>
                  <a:lnTo>
                    <a:pt x="55" y="92"/>
                  </a:lnTo>
                  <a:lnTo>
                    <a:pt x="55" y="94"/>
                  </a:lnTo>
                  <a:lnTo>
                    <a:pt x="55" y="94"/>
                  </a:lnTo>
                  <a:lnTo>
                    <a:pt x="55" y="96"/>
                  </a:lnTo>
                  <a:lnTo>
                    <a:pt x="55" y="98"/>
                  </a:lnTo>
                  <a:lnTo>
                    <a:pt x="53" y="98"/>
                  </a:lnTo>
                  <a:lnTo>
                    <a:pt x="53" y="100"/>
                  </a:lnTo>
                  <a:lnTo>
                    <a:pt x="53" y="100"/>
                  </a:lnTo>
                  <a:lnTo>
                    <a:pt x="51" y="98"/>
                  </a:lnTo>
                  <a:lnTo>
                    <a:pt x="49" y="98"/>
                  </a:lnTo>
                  <a:lnTo>
                    <a:pt x="49" y="98"/>
                  </a:lnTo>
                  <a:lnTo>
                    <a:pt x="49" y="100"/>
                  </a:lnTo>
                  <a:lnTo>
                    <a:pt x="47" y="108"/>
                  </a:lnTo>
                  <a:lnTo>
                    <a:pt x="45" y="108"/>
                  </a:lnTo>
                  <a:lnTo>
                    <a:pt x="45" y="110"/>
                  </a:lnTo>
                  <a:lnTo>
                    <a:pt x="38" y="112"/>
                  </a:lnTo>
                  <a:lnTo>
                    <a:pt x="38" y="114"/>
                  </a:lnTo>
                  <a:lnTo>
                    <a:pt x="38" y="116"/>
                  </a:lnTo>
                  <a:lnTo>
                    <a:pt x="45" y="118"/>
                  </a:lnTo>
                  <a:lnTo>
                    <a:pt x="47" y="123"/>
                  </a:lnTo>
                  <a:lnTo>
                    <a:pt x="45" y="125"/>
                  </a:lnTo>
                  <a:lnTo>
                    <a:pt x="43" y="127"/>
                  </a:lnTo>
                  <a:lnTo>
                    <a:pt x="43" y="127"/>
                  </a:lnTo>
                  <a:lnTo>
                    <a:pt x="40" y="127"/>
                  </a:lnTo>
                  <a:lnTo>
                    <a:pt x="38" y="127"/>
                  </a:lnTo>
                  <a:lnTo>
                    <a:pt x="32" y="131"/>
                  </a:lnTo>
                  <a:lnTo>
                    <a:pt x="28" y="133"/>
                  </a:lnTo>
                  <a:lnTo>
                    <a:pt x="28" y="133"/>
                  </a:lnTo>
                  <a:lnTo>
                    <a:pt x="28" y="135"/>
                  </a:lnTo>
                  <a:lnTo>
                    <a:pt x="28" y="135"/>
                  </a:lnTo>
                  <a:lnTo>
                    <a:pt x="30" y="135"/>
                  </a:lnTo>
                  <a:lnTo>
                    <a:pt x="32" y="137"/>
                  </a:lnTo>
                  <a:lnTo>
                    <a:pt x="32" y="139"/>
                  </a:lnTo>
                  <a:lnTo>
                    <a:pt x="32" y="141"/>
                  </a:lnTo>
                  <a:lnTo>
                    <a:pt x="30" y="143"/>
                  </a:lnTo>
                  <a:lnTo>
                    <a:pt x="32" y="147"/>
                  </a:lnTo>
                  <a:lnTo>
                    <a:pt x="32" y="149"/>
                  </a:lnTo>
                  <a:lnTo>
                    <a:pt x="32" y="151"/>
                  </a:lnTo>
                  <a:lnTo>
                    <a:pt x="32" y="153"/>
                  </a:lnTo>
                  <a:lnTo>
                    <a:pt x="32" y="153"/>
                  </a:lnTo>
                  <a:lnTo>
                    <a:pt x="28" y="155"/>
                  </a:lnTo>
                  <a:lnTo>
                    <a:pt x="28" y="155"/>
                  </a:lnTo>
                  <a:lnTo>
                    <a:pt x="28" y="155"/>
                  </a:lnTo>
                  <a:lnTo>
                    <a:pt x="26" y="157"/>
                  </a:lnTo>
                  <a:lnTo>
                    <a:pt x="24" y="157"/>
                  </a:lnTo>
                  <a:lnTo>
                    <a:pt x="24" y="159"/>
                  </a:lnTo>
                  <a:lnTo>
                    <a:pt x="22" y="164"/>
                  </a:lnTo>
                  <a:lnTo>
                    <a:pt x="20" y="166"/>
                  </a:lnTo>
                  <a:lnTo>
                    <a:pt x="18" y="166"/>
                  </a:lnTo>
                  <a:lnTo>
                    <a:pt x="18" y="168"/>
                  </a:lnTo>
                  <a:lnTo>
                    <a:pt x="20" y="170"/>
                  </a:lnTo>
                  <a:lnTo>
                    <a:pt x="24" y="170"/>
                  </a:lnTo>
                  <a:lnTo>
                    <a:pt x="26" y="172"/>
                  </a:lnTo>
                  <a:lnTo>
                    <a:pt x="26" y="174"/>
                  </a:lnTo>
                  <a:lnTo>
                    <a:pt x="26" y="176"/>
                  </a:lnTo>
                  <a:lnTo>
                    <a:pt x="24" y="178"/>
                  </a:lnTo>
                  <a:lnTo>
                    <a:pt x="22" y="178"/>
                  </a:lnTo>
                  <a:lnTo>
                    <a:pt x="20" y="178"/>
                  </a:lnTo>
                  <a:lnTo>
                    <a:pt x="18" y="180"/>
                  </a:lnTo>
                  <a:lnTo>
                    <a:pt x="18" y="182"/>
                  </a:lnTo>
                  <a:lnTo>
                    <a:pt x="20" y="182"/>
                  </a:lnTo>
                  <a:lnTo>
                    <a:pt x="22" y="184"/>
                  </a:lnTo>
                  <a:lnTo>
                    <a:pt x="24" y="184"/>
                  </a:lnTo>
                  <a:lnTo>
                    <a:pt x="26" y="186"/>
                  </a:lnTo>
                  <a:lnTo>
                    <a:pt x="28" y="188"/>
                  </a:lnTo>
                  <a:lnTo>
                    <a:pt x="28" y="190"/>
                  </a:lnTo>
                  <a:lnTo>
                    <a:pt x="30" y="192"/>
                  </a:lnTo>
                  <a:lnTo>
                    <a:pt x="30" y="196"/>
                  </a:lnTo>
                  <a:lnTo>
                    <a:pt x="28" y="198"/>
                  </a:lnTo>
                  <a:lnTo>
                    <a:pt x="26" y="203"/>
                  </a:lnTo>
                  <a:lnTo>
                    <a:pt x="26" y="205"/>
                  </a:lnTo>
                  <a:lnTo>
                    <a:pt x="26" y="207"/>
                  </a:lnTo>
                  <a:lnTo>
                    <a:pt x="28" y="207"/>
                  </a:lnTo>
                  <a:lnTo>
                    <a:pt x="30" y="209"/>
                  </a:lnTo>
                  <a:lnTo>
                    <a:pt x="32" y="209"/>
                  </a:lnTo>
                  <a:lnTo>
                    <a:pt x="32" y="211"/>
                  </a:lnTo>
                  <a:lnTo>
                    <a:pt x="32" y="217"/>
                  </a:lnTo>
                  <a:lnTo>
                    <a:pt x="34" y="219"/>
                  </a:lnTo>
                  <a:lnTo>
                    <a:pt x="34" y="221"/>
                  </a:lnTo>
                  <a:lnTo>
                    <a:pt x="34" y="223"/>
                  </a:lnTo>
                  <a:lnTo>
                    <a:pt x="32" y="225"/>
                  </a:lnTo>
                  <a:lnTo>
                    <a:pt x="30" y="225"/>
                  </a:lnTo>
                  <a:lnTo>
                    <a:pt x="30" y="225"/>
                  </a:lnTo>
                  <a:lnTo>
                    <a:pt x="28" y="227"/>
                  </a:lnTo>
                  <a:lnTo>
                    <a:pt x="30" y="237"/>
                  </a:lnTo>
                  <a:lnTo>
                    <a:pt x="30" y="241"/>
                  </a:lnTo>
                  <a:lnTo>
                    <a:pt x="30" y="244"/>
                  </a:lnTo>
                  <a:lnTo>
                    <a:pt x="32" y="244"/>
                  </a:lnTo>
                  <a:lnTo>
                    <a:pt x="32" y="244"/>
                  </a:lnTo>
                  <a:lnTo>
                    <a:pt x="34" y="244"/>
                  </a:lnTo>
                  <a:lnTo>
                    <a:pt x="36" y="244"/>
                  </a:lnTo>
                  <a:lnTo>
                    <a:pt x="36" y="246"/>
                  </a:lnTo>
                  <a:lnTo>
                    <a:pt x="38" y="248"/>
                  </a:lnTo>
                  <a:lnTo>
                    <a:pt x="38" y="250"/>
                  </a:lnTo>
                  <a:lnTo>
                    <a:pt x="36" y="252"/>
                  </a:lnTo>
                  <a:lnTo>
                    <a:pt x="36" y="254"/>
                  </a:lnTo>
                  <a:lnTo>
                    <a:pt x="34" y="254"/>
                  </a:lnTo>
                  <a:lnTo>
                    <a:pt x="34" y="256"/>
                  </a:lnTo>
                  <a:lnTo>
                    <a:pt x="32" y="260"/>
                  </a:lnTo>
                  <a:lnTo>
                    <a:pt x="32" y="264"/>
                  </a:lnTo>
                  <a:lnTo>
                    <a:pt x="32" y="266"/>
                  </a:lnTo>
                  <a:lnTo>
                    <a:pt x="34" y="266"/>
                  </a:lnTo>
                  <a:lnTo>
                    <a:pt x="38" y="268"/>
                  </a:lnTo>
                  <a:lnTo>
                    <a:pt x="40" y="268"/>
                  </a:lnTo>
                  <a:lnTo>
                    <a:pt x="40" y="270"/>
                  </a:lnTo>
                  <a:lnTo>
                    <a:pt x="38" y="272"/>
                  </a:lnTo>
                  <a:lnTo>
                    <a:pt x="38" y="272"/>
                  </a:lnTo>
                  <a:lnTo>
                    <a:pt x="34" y="274"/>
                  </a:lnTo>
                  <a:lnTo>
                    <a:pt x="32" y="274"/>
                  </a:lnTo>
                  <a:lnTo>
                    <a:pt x="32" y="276"/>
                  </a:lnTo>
                  <a:lnTo>
                    <a:pt x="32" y="278"/>
                  </a:lnTo>
                  <a:lnTo>
                    <a:pt x="32" y="280"/>
                  </a:lnTo>
                  <a:lnTo>
                    <a:pt x="34" y="282"/>
                  </a:lnTo>
                  <a:lnTo>
                    <a:pt x="34" y="282"/>
                  </a:lnTo>
                  <a:lnTo>
                    <a:pt x="36" y="284"/>
                  </a:lnTo>
                  <a:lnTo>
                    <a:pt x="38" y="284"/>
                  </a:lnTo>
                  <a:lnTo>
                    <a:pt x="38" y="287"/>
                  </a:lnTo>
                  <a:lnTo>
                    <a:pt x="40" y="287"/>
                  </a:lnTo>
                  <a:lnTo>
                    <a:pt x="38" y="289"/>
                  </a:lnTo>
                  <a:lnTo>
                    <a:pt x="38" y="291"/>
                  </a:lnTo>
                  <a:lnTo>
                    <a:pt x="38" y="291"/>
                  </a:lnTo>
                  <a:lnTo>
                    <a:pt x="38" y="295"/>
                  </a:lnTo>
                  <a:lnTo>
                    <a:pt x="40" y="297"/>
                  </a:lnTo>
                  <a:lnTo>
                    <a:pt x="40" y="299"/>
                  </a:lnTo>
                  <a:lnTo>
                    <a:pt x="45" y="301"/>
                  </a:lnTo>
                  <a:lnTo>
                    <a:pt x="47" y="301"/>
                  </a:lnTo>
                  <a:lnTo>
                    <a:pt x="49" y="303"/>
                  </a:lnTo>
                  <a:lnTo>
                    <a:pt x="51" y="307"/>
                  </a:lnTo>
                  <a:lnTo>
                    <a:pt x="51" y="307"/>
                  </a:lnTo>
                  <a:lnTo>
                    <a:pt x="53" y="309"/>
                  </a:lnTo>
                  <a:lnTo>
                    <a:pt x="55" y="309"/>
                  </a:lnTo>
                  <a:lnTo>
                    <a:pt x="57" y="309"/>
                  </a:lnTo>
                  <a:lnTo>
                    <a:pt x="59" y="311"/>
                  </a:lnTo>
                  <a:lnTo>
                    <a:pt x="59" y="313"/>
                  </a:lnTo>
                  <a:lnTo>
                    <a:pt x="57" y="313"/>
                  </a:lnTo>
                  <a:lnTo>
                    <a:pt x="57" y="313"/>
                  </a:lnTo>
                  <a:lnTo>
                    <a:pt x="55" y="317"/>
                  </a:lnTo>
                  <a:lnTo>
                    <a:pt x="51" y="325"/>
                  </a:lnTo>
                  <a:lnTo>
                    <a:pt x="49" y="332"/>
                  </a:lnTo>
                  <a:lnTo>
                    <a:pt x="45" y="332"/>
                  </a:lnTo>
                  <a:lnTo>
                    <a:pt x="43" y="332"/>
                  </a:lnTo>
                  <a:lnTo>
                    <a:pt x="43" y="334"/>
                  </a:lnTo>
                  <a:lnTo>
                    <a:pt x="43" y="334"/>
                  </a:lnTo>
                  <a:lnTo>
                    <a:pt x="43" y="334"/>
                  </a:lnTo>
                  <a:lnTo>
                    <a:pt x="47" y="338"/>
                  </a:lnTo>
                  <a:lnTo>
                    <a:pt x="47" y="342"/>
                  </a:lnTo>
                  <a:lnTo>
                    <a:pt x="45" y="346"/>
                  </a:lnTo>
                  <a:lnTo>
                    <a:pt x="43" y="348"/>
                  </a:lnTo>
                  <a:lnTo>
                    <a:pt x="38" y="350"/>
                  </a:lnTo>
                  <a:lnTo>
                    <a:pt x="38" y="350"/>
                  </a:lnTo>
                  <a:lnTo>
                    <a:pt x="38" y="350"/>
                  </a:lnTo>
                  <a:lnTo>
                    <a:pt x="36" y="354"/>
                  </a:lnTo>
                  <a:lnTo>
                    <a:pt x="36" y="354"/>
                  </a:lnTo>
                  <a:lnTo>
                    <a:pt x="32" y="360"/>
                  </a:lnTo>
                  <a:lnTo>
                    <a:pt x="30" y="360"/>
                  </a:lnTo>
                  <a:lnTo>
                    <a:pt x="28" y="362"/>
                  </a:lnTo>
                  <a:lnTo>
                    <a:pt x="26" y="362"/>
                  </a:lnTo>
                  <a:lnTo>
                    <a:pt x="24" y="364"/>
                  </a:lnTo>
                  <a:lnTo>
                    <a:pt x="22" y="366"/>
                  </a:lnTo>
                  <a:lnTo>
                    <a:pt x="22" y="369"/>
                  </a:lnTo>
                  <a:lnTo>
                    <a:pt x="20" y="373"/>
                  </a:lnTo>
                  <a:lnTo>
                    <a:pt x="18" y="377"/>
                  </a:lnTo>
                  <a:lnTo>
                    <a:pt x="18" y="379"/>
                  </a:lnTo>
                  <a:lnTo>
                    <a:pt x="18" y="381"/>
                  </a:lnTo>
                  <a:lnTo>
                    <a:pt x="18" y="391"/>
                  </a:lnTo>
                  <a:lnTo>
                    <a:pt x="18" y="393"/>
                  </a:lnTo>
                  <a:lnTo>
                    <a:pt x="18" y="395"/>
                  </a:lnTo>
                  <a:lnTo>
                    <a:pt x="18" y="395"/>
                  </a:lnTo>
                  <a:lnTo>
                    <a:pt x="12" y="401"/>
                  </a:lnTo>
                  <a:lnTo>
                    <a:pt x="10" y="403"/>
                  </a:lnTo>
                  <a:lnTo>
                    <a:pt x="10" y="409"/>
                  </a:lnTo>
                  <a:lnTo>
                    <a:pt x="10" y="409"/>
                  </a:lnTo>
                  <a:lnTo>
                    <a:pt x="12" y="409"/>
                  </a:lnTo>
                  <a:lnTo>
                    <a:pt x="12" y="414"/>
                  </a:lnTo>
                  <a:lnTo>
                    <a:pt x="14" y="414"/>
                  </a:lnTo>
                  <a:lnTo>
                    <a:pt x="14" y="416"/>
                  </a:lnTo>
                  <a:lnTo>
                    <a:pt x="12" y="416"/>
                  </a:lnTo>
                  <a:lnTo>
                    <a:pt x="12" y="418"/>
                  </a:lnTo>
                  <a:lnTo>
                    <a:pt x="12" y="424"/>
                  </a:lnTo>
                  <a:lnTo>
                    <a:pt x="12" y="426"/>
                  </a:lnTo>
                  <a:lnTo>
                    <a:pt x="10" y="428"/>
                  </a:lnTo>
                  <a:lnTo>
                    <a:pt x="8" y="428"/>
                  </a:lnTo>
                  <a:lnTo>
                    <a:pt x="4" y="428"/>
                  </a:lnTo>
                  <a:lnTo>
                    <a:pt x="2" y="428"/>
                  </a:lnTo>
                  <a:lnTo>
                    <a:pt x="0" y="430"/>
                  </a:lnTo>
                  <a:lnTo>
                    <a:pt x="0" y="432"/>
                  </a:lnTo>
                  <a:lnTo>
                    <a:pt x="2" y="434"/>
                  </a:lnTo>
                  <a:lnTo>
                    <a:pt x="4" y="434"/>
                  </a:lnTo>
                  <a:lnTo>
                    <a:pt x="4" y="436"/>
                  </a:lnTo>
                  <a:lnTo>
                    <a:pt x="4" y="436"/>
                  </a:lnTo>
                  <a:lnTo>
                    <a:pt x="4" y="438"/>
                  </a:lnTo>
                  <a:lnTo>
                    <a:pt x="4" y="438"/>
                  </a:lnTo>
                  <a:lnTo>
                    <a:pt x="4" y="438"/>
                  </a:lnTo>
                  <a:lnTo>
                    <a:pt x="4" y="440"/>
                  </a:lnTo>
                  <a:lnTo>
                    <a:pt x="4" y="442"/>
                  </a:lnTo>
                  <a:lnTo>
                    <a:pt x="4" y="442"/>
                  </a:lnTo>
                  <a:lnTo>
                    <a:pt x="4" y="446"/>
                  </a:lnTo>
                  <a:lnTo>
                    <a:pt x="8" y="448"/>
                  </a:lnTo>
                  <a:lnTo>
                    <a:pt x="8" y="453"/>
                  </a:lnTo>
                  <a:lnTo>
                    <a:pt x="2" y="459"/>
                  </a:lnTo>
                  <a:lnTo>
                    <a:pt x="2" y="459"/>
                  </a:lnTo>
                  <a:lnTo>
                    <a:pt x="6" y="459"/>
                  </a:lnTo>
                  <a:lnTo>
                    <a:pt x="8" y="459"/>
                  </a:lnTo>
                  <a:lnTo>
                    <a:pt x="14" y="459"/>
                  </a:lnTo>
                  <a:lnTo>
                    <a:pt x="22" y="457"/>
                  </a:lnTo>
                  <a:lnTo>
                    <a:pt x="32" y="457"/>
                  </a:lnTo>
                  <a:lnTo>
                    <a:pt x="45" y="455"/>
                  </a:lnTo>
                  <a:lnTo>
                    <a:pt x="59" y="455"/>
                  </a:lnTo>
                  <a:lnTo>
                    <a:pt x="73" y="453"/>
                  </a:lnTo>
                  <a:lnTo>
                    <a:pt x="90" y="453"/>
                  </a:lnTo>
                  <a:lnTo>
                    <a:pt x="104" y="450"/>
                  </a:lnTo>
                  <a:lnTo>
                    <a:pt x="118" y="448"/>
                  </a:lnTo>
                  <a:lnTo>
                    <a:pt x="133" y="448"/>
                  </a:lnTo>
                  <a:lnTo>
                    <a:pt x="145" y="446"/>
                  </a:lnTo>
                  <a:lnTo>
                    <a:pt x="155" y="446"/>
                  </a:lnTo>
                  <a:lnTo>
                    <a:pt x="163" y="444"/>
                  </a:lnTo>
                  <a:lnTo>
                    <a:pt x="169" y="444"/>
                  </a:lnTo>
                  <a:lnTo>
                    <a:pt x="172" y="444"/>
                  </a:lnTo>
                  <a:lnTo>
                    <a:pt x="176" y="444"/>
                  </a:lnTo>
                  <a:lnTo>
                    <a:pt x="178" y="444"/>
                  </a:lnTo>
                  <a:lnTo>
                    <a:pt x="180" y="444"/>
                  </a:lnTo>
                  <a:lnTo>
                    <a:pt x="180" y="448"/>
                  </a:lnTo>
                  <a:lnTo>
                    <a:pt x="178" y="453"/>
                  </a:lnTo>
                  <a:lnTo>
                    <a:pt x="176" y="457"/>
                  </a:lnTo>
                  <a:lnTo>
                    <a:pt x="176" y="463"/>
                  </a:lnTo>
                  <a:lnTo>
                    <a:pt x="174" y="467"/>
                  </a:lnTo>
                  <a:lnTo>
                    <a:pt x="174" y="469"/>
                  </a:lnTo>
                  <a:lnTo>
                    <a:pt x="174" y="471"/>
                  </a:lnTo>
                  <a:lnTo>
                    <a:pt x="172" y="475"/>
                  </a:lnTo>
                  <a:lnTo>
                    <a:pt x="172" y="477"/>
                  </a:lnTo>
                  <a:lnTo>
                    <a:pt x="172" y="479"/>
                  </a:lnTo>
                  <a:lnTo>
                    <a:pt x="174" y="481"/>
                  </a:lnTo>
                  <a:lnTo>
                    <a:pt x="174" y="481"/>
                  </a:lnTo>
                  <a:lnTo>
                    <a:pt x="176" y="483"/>
                  </a:lnTo>
                  <a:lnTo>
                    <a:pt x="174" y="485"/>
                  </a:lnTo>
                  <a:lnTo>
                    <a:pt x="178" y="491"/>
                  </a:lnTo>
                  <a:lnTo>
                    <a:pt x="178" y="491"/>
                  </a:lnTo>
                  <a:lnTo>
                    <a:pt x="182" y="494"/>
                  </a:lnTo>
                  <a:lnTo>
                    <a:pt x="184" y="494"/>
                  </a:lnTo>
                  <a:lnTo>
                    <a:pt x="184" y="498"/>
                  </a:lnTo>
                  <a:lnTo>
                    <a:pt x="188" y="500"/>
                  </a:lnTo>
                  <a:lnTo>
                    <a:pt x="190" y="502"/>
                  </a:lnTo>
                  <a:lnTo>
                    <a:pt x="190" y="502"/>
                  </a:lnTo>
                  <a:lnTo>
                    <a:pt x="190" y="504"/>
                  </a:lnTo>
                  <a:lnTo>
                    <a:pt x="190" y="506"/>
                  </a:lnTo>
                  <a:lnTo>
                    <a:pt x="190" y="506"/>
                  </a:lnTo>
                  <a:lnTo>
                    <a:pt x="190" y="508"/>
                  </a:lnTo>
                  <a:lnTo>
                    <a:pt x="194" y="512"/>
                  </a:lnTo>
                  <a:lnTo>
                    <a:pt x="194" y="514"/>
                  </a:lnTo>
                  <a:lnTo>
                    <a:pt x="194" y="518"/>
                  </a:lnTo>
                  <a:lnTo>
                    <a:pt x="196" y="520"/>
                  </a:lnTo>
                  <a:lnTo>
                    <a:pt x="200" y="526"/>
                  </a:lnTo>
                  <a:lnTo>
                    <a:pt x="202" y="528"/>
                  </a:lnTo>
                  <a:lnTo>
                    <a:pt x="202" y="528"/>
                  </a:lnTo>
                  <a:lnTo>
                    <a:pt x="204" y="528"/>
                  </a:lnTo>
                  <a:lnTo>
                    <a:pt x="206" y="528"/>
                  </a:lnTo>
                  <a:lnTo>
                    <a:pt x="206" y="528"/>
                  </a:lnTo>
                  <a:lnTo>
                    <a:pt x="206" y="528"/>
                  </a:lnTo>
                  <a:lnTo>
                    <a:pt x="206" y="528"/>
                  </a:lnTo>
                  <a:lnTo>
                    <a:pt x="208" y="528"/>
                  </a:lnTo>
                  <a:lnTo>
                    <a:pt x="208" y="528"/>
                  </a:lnTo>
                  <a:lnTo>
                    <a:pt x="210" y="528"/>
                  </a:lnTo>
                  <a:lnTo>
                    <a:pt x="210" y="526"/>
                  </a:lnTo>
                  <a:lnTo>
                    <a:pt x="213" y="528"/>
                  </a:lnTo>
                  <a:lnTo>
                    <a:pt x="213" y="528"/>
                  </a:lnTo>
                  <a:lnTo>
                    <a:pt x="213" y="528"/>
                  </a:lnTo>
                  <a:lnTo>
                    <a:pt x="213" y="528"/>
                  </a:lnTo>
                  <a:lnTo>
                    <a:pt x="215" y="528"/>
                  </a:lnTo>
                  <a:lnTo>
                    <a:pt x="215" y="528"/>
                  </a:lnTo>
                  <a:lnTo>
                    <a:pt x="215" y="526"/>
                  </a:lnTo>
                  <a:lnTo>
                    <a:pt x="215" y="524"/>
                  </a:lnTo>
                  <a:lnTo>
                    <a:pt x="217" y="522"/>
                  </a:lnTo>
                  <a:lnTo>
                    <a:pt x="217" y="522"/>
                  </a:lnTo>
                  <a:lnTo>
                    <a:pt x="215" y="520"/>
                  </a:lnTo>
                  <a:lnTo>
                    <a:pt x="223" y="514"/>
                  </a:lnTo>
                  <a:lnTo>
                    <a:pt x="225" y="514"/>
                  </a:lnTo>
                  <a:lnTo>
                    <a:pt x="225" y="512"/>
                  </a:lnTo>
                  <a:lnTo>
                    <a:pt x="225" y="510"/>
                  </a:lnTo>
                  <a:lnTo>
                    <a:pt x="223" y="510"/>
                  </a:lnTo>
                  <a:lnTo>
                    <a:pt x="221" y="510"/>
                  </a:lnTo>
                  <a:lnTo>
                    <a:pt x="221" y="510"/>
                  </a:lnTo>
                  <a:lnTo>
                    <a:pt x="221" y="510"/>
                  </a:lnTo>
                  <a:lnTo>
                    <a:pt x="221" y="508"/>
                  </a:lnTo>
                  <a:lnTo>
                    <a:pt x="223" y="508"/>
                  </a:lnTo>
                  <a:lnTo>
                    <a:pt x="223" y="506"/>
                  </a:lnTo>
                  <a:lnTo>
                    <a:pt x="225" y="506"/>
                  </a:lnTo>
                  <a:lnTo>
                    <a:pt x="229" y="508"/>
                  </a:lnTo>
                  <a:lnTo>
                    <a:pt x="231" y="510"/>
                  </a:lnTo>
                  <a:lnTo>
                    <a:pt x="229" y="510"/>
                  </a:lnTo>
                  <a:lnTo>
                    <a:pt x="229" y="512"/>
                  </a:lnTo>
                  <a:lnTo>
                    <a:pt x="229" y="512"/>
                  </a:lnTo>
                  <a:lnTo>
                    <a:pt x="231" y="512"/>
                  </a:lnTo>
                  <a:lnTo>
                    <a:pt x="231" y="512"/>
                  </a:lnTo>
                  <a:lnTo>
                    <a:pt x="237" y="510"/>
                  </a:lnTo>
                  <a:lnTo>
                    <a:pt x="243" y="508"/>
                  </a:lnTo>
                  <a:lnTo>
                    <a:pt x="249" y="506"/>
                  </a:lnTo>
                  <a:lnTo>
                    <a:pt x="251" y="504"/>
                  </a:lnTo>
                  <a:lnTo>
                    <a:pt x="251" y="504"/>
                  </a:lnTo>
                  <a:lnTo>
                    <a:pt x="256" y="502"/>
                  </a:lnTo>
                  <a:lnTo>
                    <a:pt x="256" y="502"/>
                  </a:lnTo>
                  <a:lnTo>
                    <a:pt x="262" y="502"/>
                  </a:lnTo>
                  <a:lnTo>
                    <a:pt x="264" y="502"/>
                  </a:lnTo>
                  <a:lnTo>
                    <a:pt x="266" y="500"/>
                  </a:lnTo>
                  <a:lnTo>
                    <a:pt x="253" y="500"/>
                  </a:lnTo>
                  <a:lnTo>
                    <a:pt x="253" y="498"/>
                  </a:lnTo>
                  <a:lnTo>
                    <a:pt x="256" y="498"/>
                  </a:lnTo>
                  <a:lnTo>
                    <a:pt x="258" y="498"/>
                  </a:lnTo>
                  <a:lnTo>
                    <a:pt x="260" y="496"/>
                  </a:lnTo>
                  <a:lnTo>
                    <a:pt x="268" y="498"/>
                  </a:lnTo>
                  <a:lnTo>
                    <a:pt x="278" y="504"/>
                  </a:lnTo>
                  <a:lnTo>
                    <a:pt x="280" y="504"/>
                  </a:lnTo>
                  <a:lnTo>
                    <a:pt x="284" y="504"/>
                  </a:lnTo>
                  <a:lnTo>
                    <a:pt x="288" y="502"/>
                  </a:lnTo>
                  <a:lnTo>
                    <a:pt x="290" y="498"/>
                  </a:lnTo>
                  <a:lnTo>
                    <a:pt x="290" y="498"/>
                  </a:lnTo>
                  <a:lnTo>
                    <a:pt x="290" y="500"/>
                  </a:lnTo>
                  <a:lnTo>
                    <a:pt x="292" y="500"/>
                  </a:lnTo>
                  <a:lnTo>
                    <a:pt x="294" y="502"/>
                  </a:lnTo>
                  <a:lnTo>
                    <a:pt x="294" y="504"/>
                  </a:lnTo>
                  <a:lnTo>
                    <a:pt x="296" y="504"/>
                  </a:lnTo>
                  <a:lnTo>
                    <a:pt x="296" y="504"/>
                  </a:lnTo>
                  <a:lnTo>
                    <a:pt x="299" y="504"/>
                  </a:lnTo>
                  <a:lnTo>
                    <a:pt x="301" y="504"/>
                  </a:lnTo>
                  <a:lnTo>
                    <a:pt x="303" y="504"/>
                  </a:lnTo>
                  <a:lnTo>
                    <a:pt x="305" y="504"/>
                  </a:lnTo>
                  <a:lnTo>
                    <a:pt x="305" y="504"/>
                  </a:lnTo>
                  <a:lnTo>
                    <a:pt x="305" y="502"/>
                  </a:lnTo>
                  <a:lnTo>
                    <a:pt x="307" y="502"/>
                  </a:lnTo>
                  <a:lnTo>
                    <a:pt x="307" y="502"/>
                  </a:lnTo>
                  <a:lnTo>
                    <a:pt x="309" y="500"/>
                  </a:lnTo>
                  <a:lnTo>
                    <a:pt x="309" y="500"/>
                  </a:lnTo>
                  <a:lnTo>
                    <a:pt x="309" y="498"/>
                  </a:lnTo>
                  <a:lnTo>
                    <a:pt x="309" y="498"/>
                  </a:lnTo>
                  <a:lnTo>
                    <a:pt x="309" y="498"/>
                  </a:lnTo>
                  <a:close/>
                  <a:moveTo>
                    <a:pt x="290" y="516"/>
                  </a:moveTo>
                  <a:lnTo>
                    <a:pt x="288" y="516"/>
                  </a:lnTo>
                  <a:lnTo>
                    <a:pt x="286" y="514"/>
                  </a:lnTo>
                  <a:lnTo>
                    <a:pt x="282" y="514"/>
                  </a:lnTo>
                  <a:lnTo>
                    <a:pt x="280" y="514"/>
                  </a:lnTo>
                  <a:lnTo>
                    <a:pt x="278" y="516"/>
                  </a:lnTo>
                  <a:lnTo>
                    <a:pt x="278" y="516"/>
                  </a:lnTo>
                  <a:lnTo>
                    <a:pt x="296" y="516"/>
                  </a:lnTo>
                  <a:lnTo>
                    <a:pt x="296" y="516"/>
                  </a:lnTo>
                  <a:lnTo>
                    <a:pt x="299" y="516"/>
                  </a:lnTo>
                  <a:lnTo>
                    <a:pt x="296" y="516"/>
                  </a:lnTo>
                  <a:lnTo>
                    <a:pt x="290" y="516"/>
                  </a:lnTo>
                  <a:close/>
                  <a:moveTo>
                    <a:pt x="266" y="518"/>
                  </a:moveTo>
                  <a:lnTo>
                    <a:pt x="264" y="518"/>
                  </a:lnTo>
                  <a:lnTo>
                    <a:pt x="264" y="520"/>
                  </a:lnTo>
                  <a:lnTo>
                    <a:pt x="264" y="518"/>
                  </a:lnTo>
                  <a:lnTo>
                    <a:pt x="266" y="518"/>
                  </a:lnTo>
                  <a:lnTo>
                    <a:pt x="266" y="518"/>
                  </a:lnTo>
                  <a:lnTo>
                    <a:pt x="266" y="51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S</a:t>
              </a:r>
            </a:p>
          </p:txBody>
        </p:sp>
        <p:sp>
          <p:nvSpPr>
            <p:cNvPr id="268" name="Freeform 31">
              <a:extLst>
                <a:ext uri="{FF2B5EF4-FFF2-40B4-BE49-F238E27FC236}">
                  <a16:creationId xmlns:a16="http://schemas.microsoft.com/office/drawing/2014/main" id="{7CAFCB8E-0B1D-7147-A0E1-D09E1F7BDB05}"/>
                </a:ext>
              </a:extLst>
            </p:cNvPr>
            <p:cNvSpPr>
              <a:spLocks/>
            </p:cNvSpPr>
            <p:nvPr/>
          </p:nvSpPr>
          <p:spPr bwMode="auto">
            <a:xfrm>
              <a:off x="3081" y="1029"/>
              <a:ext cx="592" cy="488"/>
            </a:xfrm>
            <a:custGeom>
              <a:avLst/>
              <a:gdLst>
                <a:gd name="T0" fmla="*/ 360 w 592"/>
                <a:gd name="T1" fmla="*/ 65 h 488"/>
                <a:gd name="T2" fmla="*/ 364 w 592"/>
                <a:gd name="T3" fmla="*/ 80 h 488"/>
                <a:gd name="T4" fmla="*/ 374 w 592"/>
                <a:gd name="T5" fmla="*/ 96 h 488"/>
                <a:gd name="T6" fmla="*/ 426 w 592"/>
                <a:gd name="T7" fmla="*/ 137 h 488"/>
                <a:gd name="T8" fmla="*/ 434 w 592"/>
                <a:gd name="T9" fmla="*/ 156 h 488"/>
                <a:gd name="T10" fmla="*/ 440 w 592"/>
                <a:gd name="T11" fmla="*/ 174 h 488"/>
                <a:gd name="T12" fmla="*/ 467 w 592"/>
                <a:gd name="T13" fmla="*/ 170 h 488"/>
                <a:gd name="T14" fmla="*/ 481 w 592"/>
                <a:gd name="T15" fmla="*/ 190 h 488"/>
                <a:gd name="T16" fmla="*/ 469 w 592"/>
                <a:gd name="T17" fmla="*/ 240 h 488"/>
                <a:gd name="T18" fmla="*/ 481 w 592"/>
                <a:gd name="T19" fmla="*/ 256 h 488"/>
                <a:gd name="T20" fmla="*/ 504 w 592"/>
                <a:gd name="T21" fmla="*/ 272 h 488"/>
                <a:gd name="T22" fmla="*/ 532 w 592"/>
                <a:gd name="T23" fmla="*/ 287 h 488"/>
                <a:gd name="T24" fmla="*/ 549 w 592"/>
                <a:gd name="T25" fmla="*/ 307 h 488"/>
                <a:gd name="T26" fmla="*/ 555 w 592"/>
                <a:gd name="T27" fmla="*/ 336 h 488"/>
                <a:gd name="T28" fmla="*/ 559 w 592"/>
                <a:gd name="T29" fmla="*/ 350 h 488"/>
                <a:gd name="T30" fmla="*/ 577 w 592"/>
                <a:gd name="T31" fmla="*/ 369 h 488"/>
                <a:gd name="T32" fmla="*/ 577 w 592"/>
                <a:gd name="T33" fmla="*/ 361 h 488"/>
                <a:gd name="T34" fmla="*/ 583 w 592"/>
                <a:gd name="T35" fmla="*/ 371 h 488"/>
                <a:gd name="T36" fmla="*/ 592 w 592"/>
                <a:gd name="T37" fmla="*/ 381 h 488"/>
                <a:gd name="T38" fmla="*/ 587 w 592"/>
                <a:gd name="T39" fmla="*/ 406 h 488"/>
                <a:gd name="T40" fmla="*/ 571 w 592"/>
                <a:gd name="T41" fmla="*/ 410 h 488"/>
                <a:gd name="T42" fmla="*/ 565 w 592"/>
                <a:gd name="T43" fmla="*/ 430 h 488"/>
                <a:gd name="T44" fmla="*/ 555 w 592"/>
                <a:gd name="T45" fmla="*/ 424 h 488"/>
                <a:gd name="T46" fmla="*/ 561 w 592"/>
                <a:gd name="T47" fmla="*/ 440 h 488"/>
                <a:gd name="T48" fmla="*/ 559 w 592"/>
                <a:gd name="T49" fmla="*/ 449 h 488"/>
                <a:gd name="T50" fmla="*/ 555 w 592"/>
                <a:gd name="T51" fmla="*/ 467 h 488"/>
                <a:gd name="T52" fmla="*/ 547 w 592"/>
                <a:gd name="T53" fmla="*/ 481 h 488"/>
                <a:gd name="T54" fmla="*/ 491 w 592"/>
                <a:gd name="T55" fmla="*/ 486 h 488"/>
                <a:gd name="T56" fmla="*/ 497 w 592"/>
                <a:gd name="T57" fmla="*/ 471 h 488"/>
                <a:gd name="T58" fmla="*/ 501 w 592"/>
                <a:gd name="T59" fmla="*/ 467 h 488"/>
                <a:gd name="T60" fmla="*/ 510 w 592"/>
                <a:gd name="T61" fmla="*/ 461 h 488"/>
                <a:gd name="T62" fmla="*/ 514 w 592"/>
                <a:gd name="T63" fmla="*/ 455 h 488"/>
                <a:gd name="T64" fmla="*/ 514 w 592"/>
                <a:gd name="T65" fmla="*/ 449 h 488"/>
                <a:gd name="T66" fmla="*/ 514 w 592"/>
                <a:gd name="T67" fmla="*/ 440 h 488"/>
                <a:gd name="T68" fmla="*/ 508 w 592"/>
                <a:gd name="T69" fmla="*/ 434 h 488"/>
                <a:gd name="T70" fmla="*/ 499 w 592"/>
                <a:gd name="T71" fmla="*/ 430 h 488"/>
                <a:gd name="T72" fmla="*/ 284 w 592"/>
                <a:gd name="T73" fmla="*/ 447 h 488"/>
                <a:gd name="T74" fmla="*/ 116 w 592"/>
                <a:gd name="T75" fmla="*/ 430 h 488"/>
                <a:gd name="T76" fmla="*/ 110 w 592"/>
                <a:gd name="T77" fmla="*/ 307 h 488"/>
                <a:gd name="T78" fmla="*/ 104 w 592"/>
                <a:gd name="T79" fmla="*/ 184 h 488"/>
                <a:gd name="T80" fmla="*/ 102 w 592"/>
                <a:gd name="T81" fmla="*/ 172 h 488"/>
                <a:gd name="T82" fmla="*/ 92 w 592"/>
                <a:gd name="T83" fmla="*/ 170 h 488"/>
                <a:gd name="T84" fmla="*/ 78 w 592"/>
                <a:gd name="T85" fmla="*/ 151 h 488"/>
                <a:gd name="T86" fmla="*/ 67 w 592"/>
                <a:gd name="T87" fmla="*/ 141 h 488"/>
                <a:gd name="T88" fmla="*/ 63 w 592"/>
                <a:gd name="T89" fmla="*/ 129 h 488"/>
                <a:gd name="T90" fmla="*/ 69 w 592"/>
                <a:gd name="T91" fmla="*/ 117 h 488"/>
                <a:gd name="T92" fmla="*/ 78 w 592"/>
                <a:gd name="T93" fmla="*/ 108 h 488"/>
                <a:gd name="T94" fmla="*/ 71 w 592"/>
                <a:gd name="T95" fmla="*/ 96 h 488"/>
                <a:gd name="T96" fmla="*/ 59 w 592"/>
                <a:gd name="T97" fmla="*/ 98 h 488"/>
                <a:gd name="T98" fmla="*/ 49 w 592"/>
                <a:gd name="T99" fmla="*/ 92 h 488"/>
                <a:gd name="T100" fmla="*/ 32 w 592"/>
                <a:gd name="T101" fmla="*/ 82 h 488"/>
                <a:gd name="T102" fmla="*/ 28 w 592"/>
                <a:gd name="T103" fmla="*/ 67 h 488"/>
                <a:gd name="T104" fmla="*/ 18 w 592"/>
                <a:gd name="T105" fmla="*/ 55 h 488"/>
                <a:gd name="T106" fmla="*/ 12 w 592"/>
                <a:gd name="T107" fmla="*/ 49 h 488"/>
                <a:gd name="T108" fmla="*/ 8 w 592"/>
                <a:gd name="T109" fmla="*/ 37 h 488"/>
                <a:gd name="T110" fmla="*/ 0 w 592"/>
                <a:gd name="T111" fmla="*/ 24 h 488"/>
                <a:gd name="T112" fmla="*/ 0 w 592"/>
                <a:gd name="T113" fmla="*/ 22 h 488"/>
                <a:gd name="T114" fmla="*/ 20 w 592"/>
                <a:gd name="T115" fmla="*/ 20 h 488"/>
                <a:gd name="T116" fmla="*/ 202 w 592"/>
                <a:gd name="T117" fmla="*/ 10 h 488"/>
                <a:gd name="T118" fmla="*/ 336 w 592"/>
                <a:gd name="T119" fmla="*/ 2 h 488"/>
                <a:gd name="T120" fmla="*/ 342 w 592"/>
                <a:gd name="T121" fmla="*/ 8 h 488"/>
                <a:gd name="T122" fmla="*/ 348 w 592"/>
                <a:gd name="T123" fmla="*/ 14 h 488"/>
                <a:gd name="T124" fmla="*/ 352 w 592"/>
                <a:gd name="T125" fmla="*/ 1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2" h="488">
                  <a:moveTo>
                    <a:pt x="362" y="24"/>
                  </a:moveTo>
                  <a:lnTo>
                    <a:pt x="362" y="24"/>
                  </a:lnTo>
                  <a:lnTo>
                    <a:pt x="358" y="26"/>
                  </a:lnTo>
                  <a:lnTo>
                    <a:pt x="358" y="33"/>
                  </a:lnTo>
                  <a:lnTo>
                    <a:pt x="356" y="39"/>
                  </a:lnTo>
                  <a:lnTo>
                    <a:pt x="356" y="43"/>
                  </a:lnTo>
                  <a:lnTo>
                    <a:pt x="356" y="47"/>
                  </a:lnTo>
                  <a:lnTo>
                    <a:pt x="360" y="65"/>
                  </a:lnTo>
                  <a:lnTo>
                    <a:pt x="360" y="65"/>
                  </a:lnTo>
                  <a:lnTo>
                    <a:pt x="362" y="67"/>
                  </a:lnTo>
                  <a:lnTo>
                    <a:pt x="364" y="70"/>
                  </a:lnTo>
                  <a:lnTo>
                    <a:pt x="364" y="70"/>
                  </a:lnTo>
                  <a:lnTo>
                    <a:pt x="364" y="72"/>
                  </a:lnTo>
                  <a:lnTo>
                    <a:pt x="364" y="72"/>
                  </a:lnTo>
                  <a:lnTo>
                    <a:pt x="364" y="74"/>
                  </a:lnTo>
                  <a:lnTo>
                    <a:pt x="364" y="76"/>
                  </a:lnTo>
                  <a:lnTo>
                    <a:pt x="364" y="78"/>
                  </a:lnTo>
                  <a:lnTo>
                    <a:pt x="364" y="80"/>
                  </a:lnTo>
                  <a:lnTo>
                    <a:pt x="366" y="80"/>
                  </a:lnTo>
                  <a:lnTo>
                    <a:pt x="366" y="82"/>
                  </a:lnTo>
                  <a:lnTo>
                    <a:pt x="366" y="84"/>
                  </a:lnTo>
                  <a:lnTo>
                    <a:pt x="370" y="84"/>
                  </a:lnTo>
                  <a:lnTo>
                    <a:pt x="370" y="86"/>
                  </a:lnTo>
                  <a:lnTo>
                    <a:pt x="370" y="88"/>
                  </a:lnTo>
                  <a:lnTo>
                    <a:pt x="370" y="90"/>
                  </a:lnTo>
                  <a:lnTo>
                    <a:pt x="372" y="92"/>
                  </a:lnTo>
                  <a:lnTo>
                    <a:pt x="374" y="96"/>
                  </a:lnTo>
                  <a:lnTo>
                    <a:pt x="397" y="113"/>
                  </a:lnTo>
                  <a:lnTo>
                    <a:pt x="399" y="115"/>
                  </a:lnTo>
                  <a:lnTo>
                    <a:pt x="399" y="117"/>
                  </a:lnTo>
                  <a:lnTo>
                    <a:pt x="399" y="119"/>
                  </a:lnTo>
                  <a:lnTo>
                    <a:pt x="401" y="121"/>
                  </a:lnTo>
                  <a:lnTo>
                    <a:pt x="401" y="121"/>
                  </a:lnTo>
                  <a:lnTo>
                    <a:pt x="422" y="133"/>
                  </a:lnTo>
                  <a:lnTo>
                    <a:pt x="424" y="135"/>
                  </a:lnTo>
                  <a:lnTo>
                    <a:pt x="426" y="137"/>
                  </a:lnTo>
                  <a:lnTo>
                    <a:pt x="430" y="141"/>
                  </a:lnTo>
                  <a:lnTo>
                    <a:pt x="430" y="143"/>
                  </a:lnTo>
                  <a:lnTo>
                    <a:pt x="432" y="145"/>
                  </a:lnTo>
                  <a:lnTo>
                    <a:pt x="432" y="147"/>
                  </a:lnTo>
                  <a:lnTo>
                    <a:pt x="432" y="149"/>
                  </a:lnTo>
                  <a:lnTo>
                    <a:pt x="432" y="151"/>
                  </a:lnTo>
                  <a:lnTo>
                    <a:pt x="432" y="154"/>
                  </a:lnTo>
                  <a:lnTo>
                    <a:pt x="434" y="156"/>
                  </a:lnTo>
                  <a:lnTo>
                    <a:pt x="434" y="156"/>
                  </a:lnTo>
                  <a:lnTo>
                    <a:pt x="434" y="158"/>
                  </a:lnTo>
                  <a:lnTo>
                    <a:pt x="434" y="158"/>
                  </a:lnTo>
                  <a:lnTo>
                    <a:pt x="434" y="160"/>
                  </a:lnTo>
                  <a:lnTo>
                    <a:pt x="434" y="162"/>
                  </a:lnTo>
                  <a:lnTo>
                    <a:pt x="434" y="162"/>
                  </a:lnTo>
                  <a:lnTo>
                    <a:pt x="436" y="164"/>
                  </a:lnTo>
                  <a:lnTo>
                    <a:pt x="436" y="166"/>
                  </a:lnTo>
                  <a:lnTo>
                    <a:pt x="436" y="168"/>
                  </a:lnTo>
                  <a:lnTo>
                    <a:pt x="440" y="174"/>
                  </a:lnTo>
                  <a:lnTo>
                    <a:pt x="442" y="178"/>
                  </a:lnTo>
                  <a:lnTo>
                    <a:pt x="446" y="178"/>
                  </a:lnTo>
                  <a:lnTo>
                    <a:pt x="450" y="176"/>
                  </a:lnTo>
                  <a:lnTo>
                    <a:pt x="454" y="170"/>
                  </a:lnTo>
                  <a:lnTo>
                    <a:pt x="458" y="168"/>
                  </a:lnTo>
                  <a:lnTo>
                    <a:pt x="461" y="168"/>
                  </a:lnTo>
                  <a:lnTo>
                    <a:pt x="463" y="170"/>
                  </a:lnTo>
                  <a:lnTo>
                    <a:pt x="465" y="170"/>
                  </a:lnTo>
                  <a:lnTo>
                    <a:pt x="467" y="170"/>
                  </a:lnTo>
                  <a:lnTo>
                    <a:pt x="471" y="172"/>
                  </a:lnTo>
                  <a:lnTo>
                    <a:pt x="481" y="176"/>
                  </a:lnTo>
                  <a:lnTo>
                    <a:pt x="483" y="178"/>
                  </a:lnTo>
                  <a:lnTo>
                    <a:pt x="485" y="180"/>
                  </a:lnTo>
                  <a:lnTo>
                    <a:pt x="485" y="182"/>
                  </a:lnTo>
                  <a:lnTo>
                    <a:pt x="483" y="186"/>
                  </a:lnTo>
                  <a:lnTo>
                    <a:pt x="483" y="188"/>
                  </a:lnTo>
                  <a:lnTo>
                    <a:pt x="481" y="188"/>
                  </a:lnTo>
                  <a:lnTo>
                    <a:pt x="481" y="190"/>
                  </a:lnTo>
                  <a:lnTo>
                    <a:pt x="481" y="192"/>
                  </a:lnTo>
                  <a:lnTo>
                    <a:pt x="481" y="197"/>
                  </a:lnTo>
                  <a:lnTo>
                    <a:pt x="481" y="203"/>
                  </a:lnTo>
                  <a:lnTo>
                    <a:pt x="481" y="205"/>
                  </a:lnTo>
                  <a:lnTo>
                    <a:pt x="477" y="213"/>
                  </a:lnTo>
                  <a:lnTo>
                    <a:pt x="473" y="225"/>
                  </a:lnTo>
                  <a:lnTo>
                    <a:pt x="471" y="231"/>
                  </a:lnTo>
                  <a:lnTo>
                    <a:pt x="469" y="235"/>
                  </a:lnTo>
                  <a:lnTo>
                    <a:pt x="469" y="240"/>
                  </a:lnTo>
                  <a:lnTo>
                    <a:pt x="471" y="244"/>
                  </a:lnTo>
                  <a:lnTo>
                    <a:pt x="471" y="246"/>
                  </a:lnTo>
                  <a:lnTo>
                    <a:pt x="471" y="248"/>
                  </a:lnTo>
                  <a:lnTo>
                    <a:pt x="473" y="248"/>
                  </a:lnTo>
                  <a:lnTo>
                    <a:pt x="473" y="250"/>
                  </a:lnTo>
                  <a:lnTo>
                    <a:pt x="477" y="252"/>
                  </a:lnTo>
                  <a:lnTo>
                    <a:pt x="479" y="254"/>
                  </a:lnTo>
                  <a:lnTo>
                    <a:pt x="481" y="256"/>
                  </a:lnTo>
                  <a:lnTo>
                    <a:pt x="481" y="256"/>
                  </a:lnTo>
                  <a:lnTo>
                    <a:pt x="483" y="258"/>
                  </a:lnTo>
                  <a:lnTo>
                    <a:pt x="483" y="260"/>
                  </a:lnTo>
                  <a:lnTo>
                    <a:pt x="487" y="260"/>
                  </a:lnTo>
                  <a:lnTo>
                    <a:pt x="489" y="262"/>
                  </a:lnTo>
                  <a:lnTo>
                    <a:pt x="491" y="266"/>
                  </a:lnTo>
                  <a:lnTo>
                    <a:pt x="495" y="268"/>
                  </a:lnTo>
                  <a:lnTo>
                    <a:pt x="497" y="268"/>
                  </a:lnTo>
                  <a:lnTo>
                    <a:pt x="504" y="272"/>
                  </a:lnTo>
                  <a:lnTo>
                    <a:pt x="504" y="272"/>
                  </a:lnTo>
                  <a:lnTo>
                    <a:pt x="508" y="272"/>
                  </a:lnTo>
                  <a:lnTo>
                    <a:pt x="508" y="272"/>
                  </a:lnTo>
                  <a:lnTo>
                    <a:pt x="512" y="272"/>
                  </a:lnTo>
                  <a:lnTo>
                    <a:pt x="514" y="274"/>
                  </a:lnTo>
                  <a:lnTo>
                    <a:pt x="520" y="279"/>
                  </a:lnTo>
                  <a:lnTo>
                    <a:pt x="522" y="281"/>
                  </a:lnTo>
                  <a:lnTo>
                    <a:pt x="528" y="283"/>
                  </a:lnTo>
                  <a:lnTo>
                    <a:pt x="530" y="285"/>
                  </a:lnTo>
                  <a:lnTo>
                    <a:pt x="532" y="287"/>
                  </a:lnTo>
                  <a:lnTo>
                    <a:pt x="534" y="293"/>
                  </a:lnTo>
                  <a:lnTo>
                    <a:pt x="536" y="295"/>
                  </a:lnTo>
                  <a:lnTo>
                    <a:pt x="547" y="297"/>
                  </a:lnTo>
                  <a:lnTo>
                    <a:pt x="549" y="299"/>
                  </a:lnTo>
                  <a:lnTo>
                    <a:pt x="549" y="301"/>
                  </a:lnTo>
                  <a:lnTo>
                    <a:pt x="549" y="301"/>
                  </a:lnTo>
                  <a:lnTo>
                    <a:pt x="549" y="303"/>
                  </a:lnTo>
                  <a:lnTo>
                    <a:pt x="549" y="305"/>
                  </a:lnTo>
                  <a:lnTo>
                    <a:pt x="549" y="307"/>
                  </a:lnTo>
                  <a:lnTo>
                    <a:pt x="549" y="309"/>
                  </a:lnTo>
                  <a:lnTo>
                    <a:pt x="549" y="311"/>
                  </a:lnTo>
                  <a:lnTo>
                    <a:pt x="549" y="313"/>
                  </a:lnTo>
                  <a:lnTo>
                    <a:pt x="553" y="317"/>
                  </a:lnTo>
                  <a:lnTo>
                    <a:pt x="555" y="320"/>
                  </a:lnTo>
                  <a:lnTo>
                    <a:pt x="557" y="324"/>
                  </a:lnTo>
                  <a:lnTo>
                    <a:pt x="559" y="328"/>
                  </a:lnTo>
                  <a:lnTo>
                    <a:pt x="557" y="332"/>
                  </a:lnTo>
                  <a:lnTo>
                    <a:pt x="555" y="336"/>
                  </a:lnTo>
                  <a:lnTo>
                    <a:pt x="553" y="338"/>
                  </a:lnTo>
                  <a:lnTo>
                    <a:pt x="553" y="342"/>
                  </a:lnTo>
                  <a:lnTo>
                    <a:pt x="553" y="344"/>
                  </a:lnTo>
                  <a:lnTo>
                    <a:pt x="555" y="344"/>
                  </a:lnTo>
                  <a:lnTo>
                    <a:pt x="555" y="344"/>
                  </a:lnTo>
                  <a:lnTo>
                    <a:pt x="557" y="344"/>
                  </a:lnTo>
                  <a:lnTo>
                    <a:pt x="557" y="346"/>
                  </a:lnTo>
                  <a:lnTo>
                    <a:pt x="557" y="348"/>
                  </a:lnTo>
                  <a:lnTo>
                    <a:pt x="559" y="350"/>
                  </a:lnTo>
                  <a:lnTo>
                    <a:pt x="561" y="352"/>
                  </a:lnTo>
                  <a:lnTo>
                    <a:pt x="565" y="358"/>
                  </a:lnTo>
                  <a:lnTo>
                    <a:pt x="565" y="361"/>
                  </a:lnTo>
                  <a:lnTo>
                    <a:pt x="565" y="365"/>
                  </a:lnTo>
                  <a:lnTo>
                    <a:pt x="567" y="365"/>
                  </a:lnTo>
                  <a:lnTo>
                    <a:pt x="571" y="369"/>
                  </a:lnTo>
                  <a:lnTo>
                    <a:pt x="575" y="369"/>
                  </a:lnTo>
                  <a:lnTo>
                    <a:pt x="577" y="369"/>
                  </a:lnTo>
                  <a:lnTo>
                    <a:pt x="577" y="369"/>
                  </a:lnTo>
                  <a:lnTo>
                    <a:pt x="577" y="367"/>
                  </a:lnTo>
                  <a:lnTo>
                    <a:pt x="575" y="367"/>
                  </a:lnTo>
                  <a:lnTo>
                    <a:pt x="575" y="365"/>
                  </a:lnTo>
                  <a:lnTo>
                    <a:pt x="573" y="365"/>
                  </a:lnTo>
                  <a:lnTo>
                    <a:pt x="573" y="363"/>
                  </a:lnTo>
                  <a:lnTo>
                    <a:pt x="573" y="361"/>
                  </a:lnTo>
                  <a:lnTo>
                    <a:pt x="575" y="361"/>
                  </a:lnTo>
                  <a:lnTo>
                    <a:pt x="577" y="361"/>
                  </a:lnTo>
                  <a:lnTo>
                    <a:pt x="577" y="361"/>
                  </a:lnTo>
                  <a:lnTo>
                    <a:pt x="577" y="363"/>
                  </a:lnTo>
                  <a:lnTo>
                    <a:pt x="579" y="365"/>
                  </a:lnTo>
                  <a:lnTo>
                    <a:pt x="579" y="365"/>
                  </a:lnTo>
                  <a:lnTo>
                    <a:pt x="581" y="367"/>
                  </a:lnTo>
                  <a:lnTo>
                    <a:pt x="581" y="367"/>
                  </a:lnTo>
                  <a:lnTo>
                    <a:pt x="583" y="369"/>
                  </a:lnTo>
                  <a:lnTo>
                    <a:pt x="583" y="369"/>
                  </a:lnTo>
                  <a:lnTo>
                    <a:pt x="583" y="371"/>
                  </a:lnTo>
                  <a:lnTo>
                    <a:pt x="583" y="371"/>
                  </a:lnTo>
                  <a:lnTo>
                    <a:pt x="585" y="371"/>
                  </a:lnTo>
                  <a:lnTo>
                    <a:pt x="585" y="371"/>
                  </a:lnTo>
                  <a:lnTo>
                    <a:pt x="587" y="371"/>
                  </a:lnTo>
                  <a:lnTo>
                    <a:pt x="587" y="371"/>
                  </a:lnTo>
                  <a:lnTo>
                    <a:pt x="590" y="371"/>
                  </a:lnTo>
                  <a:lnTo>
                    <a:pt x="590" y="373"/>
                  </a:lnTo>
                  <a:lnTo>
                    <a:pt x="590" y="377"/>
                  </a:lnTo>
                  <a:lnTo>
                    <a:pt x="592" y="381"/>
                  </a:lnTo>
                  <a:lnTo>
                    <a:pt x="592" y="381"/>
                  </a:lnTo>
                  <a:lnTo>
                    <a:pt x="590" y="383"/>
                  </a:lnTo>
                  <a:lnTo>
                    <a:pt x="590" y="383"/>
                  </a:lnTo>
                  <a:lnTo>
                    <a:pt x="590" y="385"/>
                  </a:lnTo>
                  <a:lnTo>
                    <a:pt x="590" y="385"/>
                  </a:lnTo>
                  <a:lnTo>
                    <a:pt x="590" y="387"/>
                  </a:lnTo>
                  <a:lnTo>
                    <a:pt x="592" y="391"/>
                  </a:lnTo>
                  <a:lnTo>
                    <a:pt x="592" y="393"/>
                  </a:lnTo>
                  <a:lnTo>
                    <a:pt x="592" y="397"/>
                  </a:lnTo>
                  <a:lnTo>
                    <a:pt x="587" y="406"/>
                  </a:lnTo>
                  <a:lnTo>
                    <a:pt x="587" y="412"/>
                  </a:lnTo>
                  <a:lnTo>
                    <a:pt x="585" y="414"/>
                  </a:lnTo>
                  <a:lnTo>
                    <a:pt x="583" y="416"/>
                  </a:lnTo>
                  <a:lnTo>
                    <a:pt x="579" y="414"/>
                  </a:lnTo>
                  <a:lnTo>
                    <a:pt x="577" y="414"/>
                  </a:lnTo>
                  <a:lnTo>
                    <a:pt x="575" y="410"/>
                  </a:lnTo>
                  <a:lnTo>
                    <a:pt x="573" y="410"/>
                  </a:lnTo>
                  <a:lnTo>
                    <a:pt x="571" y="410"/>
                  </a:lnTo>
                  <a:lnTo>
                    <a:pt x="571" y="410"/>
                  </a:lnTo>
                  <a:lnTo>
                    <a:pt x="571" y="412"/>
                  </a:lnTo>
                  <a:lnTo>
                    <a:pt x="569" y="416"/>
                  </a:lnTo>
                  <a:lnTo>
                    <a:pt x="569" y="418"/>
                  </a:lnTo>
                  <a:lnTo>
                    <a:pt x="569" y="424"/>
                  </a:lnTo>
                  <a:lnTo>
                    <a:pt x="569" y="424"/>
                  </a:lnTo>
                  <a:lnTo>
                    <a:pt x="569" y="426"/>
                  </a:lnTo>
                  <a:lnTo>
                    <a:pt x="567" y="428"/>
                  </a:lnTo>
                  <a:lnTo>
                    <a:pt x="565" y="428"/>
                  </a:lnTo>
                  <a:lnTo>
                    <a:pt x="565" y="430"/>
                  </a:lnTo>
                  <a:lnTo>
                    <a:pt x="563" y="430"/>
                  </a:lnTo>
                  <a:lnTo>
                    <a:pt x="561" y="428"/>
                  </a:lnTo>
                  <a:lnTo>
                    <a:pt x="563" y="426"/>
                  </a:lnTo>
                  <a:lnTo>
                    <a:pt x="563" y="424"/>
                  </a:lnTo>
                  <a:lnTo>
                    <a:pt x="563" y="424"/>
                  </a:lnTo>
                  <a:lnTo>
                    <a:pt x="561" y="420"/>
                  </a:lnTo>
                  <a:lnTo>
                    <a:pt x="559" y="418"/>
                  </a:lnTo>
                  <a:lnTo>
                    <a:pt x="555" y="420"/>
                  </a:lnTo>
                  <a:lnTo>
                    <a:pt x="555" y="424"/>
                  </a:lnTo>
                  <a:lnTo>
                    <a:pt x="557" y="424"/>
                  </a:lnTo>
                  <a:lnTo>
                    <a:pt x="557" y="426"/>
                  </a:lnTo>
                  <a:lnTo>
                    <a:pt x="557" y="426"/>
                  </a:lnTo>
                  <a:lnTo>
                    <a:pt x="559" y="428"/>
                  </a:lnTo>
                  <a:lnTo>
                    <a:pt x="557" y="430"/>
                  </a:lnTo>
                  <a:lnTo>
                    <a:pt x="559" y="430"/>
                  </a:lnTo>
                  <a:lnTo>
                    <a:pt x="561" y="436"/>
                  </a:lnTo>
                  <a:lnTo>
                    <a:pt x="561" y="438"/>
                  </a:lnTo>
                  <a:lnTo>
                    <a:pt x="561" y="440"/>
                  </a:lnTo>
                  <a:lnTo>
                    <a:pt x="559" y="440"/>
                  </a:lnTo>
                  <a:lnTo>
                    <a:pt x="557" y="442"/>
                  </a:lnTo>
                  <a:lnTo>
                    <a:pt x="555" y="442"/>
                  </a:lnTo>
                  <a:lnTo>
                    <a:pt x="553" y="442"/>
                  </a:lnTo>
                  <a:lnTo>
                    <a:pt x="553" y="445"/>
                  </a:lnTo>
                  <a:lnTo>
                    <a:pt x="555" y="447"/>
                  </a:lnTo>
                  <a:lnTo>
                    <a:pt x="557" y="449"/>
                  </a:lnTo>
                  <a:lnTo>
                    <a:pt x="559" y="449"/>
                  </a:lnTo>
                  <a:lnTo>
                    <a:pt x="559" y="449"/>
                  </a:lnTo>
                  <a:lnTo>
                    <a:pt x="559" y="451"/>
                  </a:lnTo>
                  <a:lnTo>
                    <a:pt x="559" y="451"/>
                  </a:lnTo>
                  <a:lnTo>
                    <a:pt x="557" y="453"/>
                  </a:lnTo>
                  <a:lnTo>
                    <a:pt x="549" y="453"/>
                  </a:lnTo>
                  <a:lnTo>
                    <a:pt x="549" y="453"/>
                  </a:lnTo>
                  <a:lnTo>
                    <a:pt x="553" y="461"/>
                  </a:lnTo>
                  <a:lnTo>
                    <a:pt x="557" y="465"/>
                  </a:lnTo>
                  <a:lnTo>
                    <a:pt x="555" y="467"/>
                  </a:lnTo>
                  <a:lnTo>
                    <a:pt x="555" y="467"/>
                  </a:lnTo>
                  <a:lnTo>
                    <a:pt x="553" y="467"/>
                  </a:lnTo>
                  <a:lnTo>
                    <a:pt x="551" y="469"/>
                  </a:lnTo>
                  <a:lnTo>
                    <a:pt x="551" y="469"/>
                  </a:lnTo>
                  <a:lnTo>
                    <a:pt x="551" y="471"/>
                  </a:lnTo>
                  <a:lnTo>
                    <a:pt x="549" y="477"/>
                  </a:lnTo>
                  <a:lnTo>
                    <a:pt x="549" y="479"/>
                  </a:lnTo>
                  <a:lnTo>
                    <a:pt x="547" y="479"/>
                  </a:lnTo>
                  <a:lnTo>
                    <a:pt x="547" y="479"/>
                  </a:lnTo>
                  <a:lnTo>
                    <a:pt x="547" y="481"/>
                  </a:lnTo>
                  <a:lnTo>
                    <a:pt x="547" y="481"/>
                  </a:lnTo>
                  <a:lnTo>
                    <a:pt x="534" y="481"/>
                  </a:lnTo>
                  <a:lnTo>
                    <a:pt x="522" y="483"/>
                  </a:lnTo>
                  <a:lnTo>
                    <a:pt x="510" y="486"/>
                  </a:lnTo>
                  <a:lnTo>
                    <a:pt x="497" y="486"/>
                  </a:lnTo>
                  <a:lnTo>
                    <a:pt x="491" y="488"/>
                  </a:lnTo>
                  <a:lnTo>
                    <a:pt x="491" y="488"/>
                  </a:lnTo>
                  <a:lnTo>
                    <a:pt x="491" y="486"/>
                  </a:lnTo>
                  <a:lnTo>
                    <a:pt x="491" y="486"/>
                  </a:lnTo>
                  <a:lnTo>
                    <a:pt x="491" y="486"/>
                  </a:lnTo>
                  <a:lnTo>
                    <a:pt x="493" y="479"/>
                  </a:lnTo>
                  <a:lnTo>
                    <a:pt x="493" y="477"/>
                  </a:lnTo>
                  <a:lnTo>
                    <a:pt x="495" y="475"/>
                  </a:lnTo>
                  <a:lnTo>
                    <a:pt x="495" y="473"/>
                  </a:lnTo>
                  <a:lnTo>
                    <a:pt x="497" y="473"/>
                  </a:lnTo>
                  <a:lnTo>
                    <a:pt x="497" y="473"/>
                  </a:lnTo>
                  <a:lnTo>
                    <a:pt x="497" y="471"/>
                  </a:lnTo>
                  <a:lnTo>
                    <a:pt x="497" y="471"/>
                  </a:lnTo>
                  <a:lnTo>
                    <a:pt x="499" y="471"/>
                  </a:lnTo>
                  <a:lnTo>
                    <a:pt x="499" y="471"/>
                  </a:lnTo>
                  <a:lnTo>
                    <a:pt x="499" y="471"/>
                  </a:lnTo>
                  <a:lnTo>
                    <a:pt x="501" y="471"/>
                  </a:lnTo>
                  <a:lnTo>
                    <a:pt x="501" y="469"/>
                  </a:lnTo>
                  <a:lnTo>
                    <a:pt x="501" y="469"/>
                  </a:lnTo>
                  <a:lnTo>
                    <a:pt x="501" y="469"/>
                  </a:lnTo>
                  <a:lnTo>
                    <a:pt x="501" y="469"/>
                  </a:lnTo>
                  <a:lnTo>
                    <a:pt x="501" y="467"/>
                  </a:lnTo>
                  <a:lnTo>
                    <a:pt x="501" y="467"/>
                  </a:lnTo>
                  <a:lnTo>
                    <a:pt x="501" y="465"/>
                  </a:lnTo>
                  <a:lnTo>
                    <a:pt x="501" y="465"/>
                  </a:lnTo>
                  <a:lnTo>
                    <a:pt x="501" y="465"/>
                  </a:lnTo>
                  <a:lnTo>
                    <a:pt x="504" y="465"/>
                  </a:lnTo>
                  <a:lnTo>
                    <a:pt x="504" y="465"/>
                  </a:lnTo>
                  <a:lnTo>
                    <a:pt x="506" y="463"/>
                  </a:lnTo>
                  <a:lnTo>
                    <a:pt x="506" y="463"/>
                  </a:lnTo>
                  <a:lnTo>
                    <a:pt x="510" y="461"/>
                  </a:lnTo>
                  <a:lnTo>
                    <a:pt x="510" y="461"/>
                  </a:lnTo>
                  <a:lnTo>
                    <a:pt x="510" y="461"/>
                  </a:lnTo>
                  <a:lnTo>
                    <a:pt x="510" y="459"/>
                  </a:lnTo>
                  <a:lnTo>
                    <a:pt x="510" y="459"/>
                  </a:lnTo>
                  <a:lnTo>
                    <a:pt x="510" y="457"/>
                  </a:lnTo>
                  <a:lnTo>
                    <a:pt x="510" y="457"/>
                  </a:lnTo>
                  <a:lnTo>
                    <a:pt x="510" y="457"/>
                  </a:lnTo>
                  <a:lnTo>
                    <a:pt x="512" y="455"/>
                  </a:lnTo>
                  <a:lnTo>
                    <a:pt x="514" y="455"/>
                  </a:lnTo>
                  <a:lnTo>
                    <a:pt x="514" y="455"/>
                  </a:lnTo>
                  <a:lnTo>
                    <a:pt x="514" y="455"/>
                  </a:lnTo>
                  <a:lnTo>
                    <a:pt x="514" y="455"/>
                  </a:lnTo>
                  <a:lnTo>
                    <a:pt x="514" y="453"/>
                  </a:lnTo>
                  <a:lnTo>
                    <a:pt x="514" y="453"/>
                  </a:lnTo>
                  <a:lnTo>
                    <a:pt x="516" y="453"/>
                  </a:lnTo>
                  <a:lnTo>
                    <a:pt x="516" y="453"/>
                  </a:lnTo>
                  <a:lnTo>
                    <a:pt x="516" y="451"/>
                  </a:lnTo>
                  <a:lnTo>
                    <a:pt x="514" y="449"/>
                  </a:lnTo>
                  <a:lnTo>
                    <a:pt x="514" y="447"/>
                  </a:lnTo>
                  <a:lnTo>
                    <a:pt x="514" y="445"/>
                  </a:lnTo>
                  <a:lnTo>
                    <a:pt x="514" y="445"/>
                  </a:lnTo>
                  <a:lnTo>
                    <a:pt x="514" y="445"/>
                  </a:lnTo>
                  <a:lnTo>
                    <a:pt x="514" y="442"/>
                  </a:lnTo>
                  <a:lnTo>
                    <a:pt x="514" y="442"/>
                  </a:lnTo>
                  <a:lnTo>
                    <a:pt x="514" y="442"/>
                  </a:lnTo>
                  <a:lnTo>
                    <a:pt x="514" y="442"/>
                  </a:lnTo>
                  <a:lnTo>
                    <a:pt x="514" y="440"/>
                  </a:lnTo>
                  <a:lnTo>
                    <a:pt x="512" y="440"/>
                  </a:lnTo>
                  <a:lnTo>
                    <a:pt x="510" y="440"/>
                  </a:lnTo>
                  <a:lnTo>
                    <a:pt x="510" y="438"/>
                  </a:lnTo>
                  <a:lnTo>
                    <a:pt x="510" y="438"/>
                  </a:lnTo>
                  <a:lnTo>
                    <a:pt x="510" y="438"/>
                  </a:lnTo>
                  <a:lnTo>
                    <a:pt x="508" y="438"/>
                  </a:lnTo>
                  <a:lnTo>
                    <a:pt x="508" y="436"/>
                  </a:lnTo>
                  <a:lnTo>
                    <a:pt x="508" y="436"/>
                  </a:lnTo>
                  <a:lnTo>
                    <a:pt x="508" y="434"/>
                  </a:lnTo>
                  <a:lnTo>
                    <a:pt x="508" y="434"/>
                  </a:lnTo>
                  <a:lnTo>
                    <a:pt x="508" y="434"/>
                  </a:lnTo>
                  <a:lnTo>
                    <a:pt x="508" y="434"/>
                  </a:lnTo>
                  <a:lnTo>
                    <a:pt x="506" y="434"/>
                  </a:lnTo>
                  <a:lnTo>
                    <a:pt x="506" y="432"/>
                  </a:lnTo>
                  <a:lnTo>
                    <a:pt x="506" y="430"/>
                  </a:lnTo>
                  <a:lnTo>
                    <a:pt x="506" y="430"/>
                  </a:lnTo>
                  <a:lnTo>
                    <a:pt x="506" y="430"/>
                  </a:lnTo>
                  <a:lnTo>
                    <a:pt x="499" y="430"/>
                  </a:lnTo>
                  <a:lnTo>
                    <a:pt x="475" y="432"/>
                  </a:lnTo>
                  <a:lnTo>
                    <a:pt x="450" y="434"/>
                  </a:lnTo>
                  <a:lnTo>
                    <a:pt x="428" y="436"/>
                  </a:lnTo>
                  <a:lnTo>
                    <a:pt x="403" y="438"/>
                  </a:lnTo>
                  <a:lnTo>
                    <a:pt x="379" y="440"/>
                  </a:lnTo>
                  <a:lnTo>
                    <a:pt x="356" y="442"/>
                  </a:lnTo>
                  <a:lnTo>
                    <a:pt x="331" y="445"/>
                  </a:lnTo>
                  <a:lnTo>
                    <a:pt x="309" y="447"/>
                  </a:lnTo>
                  <a:lnTo>
                    <a:pt x="284" y="447"/>
                  </a:lnTo>
                  <a:lnTo>
                    <a:pt x="260" y="449"/>
                  </a:lnTo>
                  <a:lnTo>
                    <a:pt x="237" y="451"/>
                  </a:lnTo>
                  <a:lnTo>
                    <a:pt x="213" y="453"/>
                  </a:lnTo>
                  <a:lnTo>
                    <a:pt x="188" y="453"/>
                  </a:lnTo>
                  <a:lnTo>
                    <a:pt x="166" y="455"/>
                  </a:lnTo>
                  <a:lnTo>
                    <a:pt x="141" y="455"/>
                  </a:lnTo>
                  <a:lnTo>
                    <a:pt x="116" y="457"/>
                  </a:lnTo>
                  <a:lnTo>
                    <a:pt x="116" y="445"/>
                  </a:lnTo>
                  <a:lnTo>
                    <a:pt x="116" y="430"/>
                  </a:lnTo>
                  <a:lnTo>
                    <a:pt x="114" y="416"/>
                  </a:lnTo>
                  <a:lnTo>
                    <a:pt x="114" y="404"/>
                  </a:lnTo>
                  <a:lnTo>
                    <a:pt x="114" y="389"/>
                  </a:lnTo>
                  <a:lnTo>
                    <a:pt x="112" y="375"/>
                  </a:lnTo>
                  <a:lnTo>
                    <a:pt x="112" y="363"/>
                  </a:lnTo>
                  <a:lnTo>
                    <a:pt x="112" y="348"/>
                  </a:lnTo>
                  <a:lnTo>
                    <a:pt x="110" y="334"/>
                  </a:lnTo>
                  <a:lnTo>
                    <a:pt x="110" y="322"/>
                  </a:lnTo>
                  <a:lnTo>
                    <a:pt x="110" y="307"/>
                  </a:lnTo>
                  <a:lnTo>
                    <a:pt x="108" y="293"/>
                  </a:lnTo>
                  <a:lnTo>
                    <a:pt x="108" y="281"/>
                  </a:lnTo>
                  <a:lnTo>
                    <a:pt x="108" y="266"/>
                  </a:lnTo>
                  <a:lnTo>
                    <a:pt x="106" y="252"/>
                  </a:lnTo>
                  <a:lnTo>
                    <a:pt x="106" y="240"/>
                  </a:lnTo>
                  <a:lnTo>
                    <a:pt x="106" y="225"/>
                  </a:lnTo>
                  <a:lnTo>
                    <a:pt x="104" y="211"/>
                  </a:lnTo>
                  <a:lnTo>
                    <a:pt x="104" y="199"/>
                  </a:lnTo>
                  <a:lnTo>
                    <a:pt x="104" y="184"/>
                  </a:lnTo>
                  <a:lnTo>
                    <a:pt x="104" y="176"/>
                  </a:lnTo>
                  <a:lnTo>
                    <a:pt x="104" y="176"/>
                  </a:lnTo>
                  <a:lnTo>
                    <a:pt x="102" y="176"/>
                  </a:lnTo>
                  <a:lnTo>
                    <a:pt x="102" y="176"/>
                  </a:lnTo>
                  <a:lnTo>
                    <a:pt x="102" y="174"/>
                  </a:lnTo>
                  <a:lnTo>
                    <a:pt x="102" y="174"/>
                  </a:lnTo>
                  <a:lnTo>
                    <a:pt x="104" y="174"/>
                  </a:lnTo>
                  <a:lnTo>
                    <a:pt x="104" y="172"/>
                  </a:lnTo>
                  <a:lnTo>
                    <a:pt x="102" y="172"/>
                  </a:lnTo>
                  <a:lnTo>
                    <a:pt x="100" y="172"/>
                  </a:lnTo>
                  <a:lnTo>
                    <a:pt x="100" y="172"/>
                  </a:lnTo>
                  <a:lnTo>
                    <a:pt x="100" y="170"/>
                  </a:lnTo>
                  <a:lnTo>
                    <a:pt x="100" y="170"/>
                  </a:lnTo>
                  <a:lnTo>
                    <a:pt x="98" y="170"/>
                  </a:lnTo>
                  <a:lnTo>
                    <a:pt x="98" y="170"/>
                  </a:lnTo>
                  <a:lnTo>
                    <a:pt x="96" y="170"/>
                  </a:lnTo>
                  <a:lnTo>
                    <a:pt x="94" y="170"/>
                  </a:lnTo>
                  <a:lnTo>
                    <a:pt x="92" y="170"/>
                  </a:lnTo>
                  <a:lnTo>
                    <a:pt x="88" y="168"/>
                  </a:lnTo>
                  <a:lnTo>
                    <a:pt x="86" y="168"/>
                  </a:lnTo>
                  <a:lnTo>
                    <a:pt x="86" y="166"/>
                  </a:lnTo>
                  <a:lnTo>
                    <a:pt x="84" y="164"/>
                  </a:lnTo>
                  <a:lnTo>
                    <a:pt x="84" y="162"/>
                  </a:lnTo>
                  <a:lnTo>
                    <a:pt x="84" y="162"/>
                  </a:lnTo>
                  <a:lnTo>
                    <a:pt x="80" y="160"/>
                  </a:lnTo>
                  <a:lnTo>
                    <a:pt x="78" y="156"/>
                  </a:lnTo>
                  <a:lnTo>
                    <a:pt x="78" y="151"/>
                  </a:lnTo>
                  <a:lnTo>
                    <a:pt x="78" y="149"/>
                  </a:lnTo>
                  <a:lnTo>
                    <a:pt x="75" y="147"/>
                  </a:lnTo>
                  <a:lnTo>
                    <a:pt x="73" y="147"/>
                  </a:lnTo>
                  <a:lnTo>
                    <a:pt x="73" y="145"/>
                  </a:lnTo>
                  <a:lnTo>
                    <a:pt x="73" y="145"/>
                  </a:lnTo>
                  <a:lnTo>
                    <a:pt x="69" y="143"/>
                  </a:lnTo>
                  <a:lnTo>
                    <a:pt x="67" y="143"/>
                  </a:lnTo>
                  <a:lnTo>
                    <a:pt x="67" y="141"/>
                  </a:lnTo>
                  <a:lnTo>
                    <a:pt x="67" y="141"/>
                  </a:lnTo>
                  <a:lnTo>
                    <a:pt x="65" y="137"/>
                  </a:lnTo>
                  <a:lnTo>
                    <a:pt x="63" y="137"/>
                  </a:lnTo>
                  <a:lnTo>
                    <a:pt x="63" y="135"/>
                  </a:lnTo>
                  <a:lnTo>
                    <a:pt x="61" y="135"/>
                  </a:lnTo>
                  <a:lnTo>
                    <a:pt x="59" y="133"/>
                  </a:lnTo>
                  <a:lnTo>
                    <a:pt x="59" y="129"/>
                  </a:lnTo>
                  <a:lnTo>
                    <a:pt x="61" y="129"/>
                  </a:lnTo>
                  <a:lnTo>
                    <a:pt x="63" y="129"/>
                  </a:lnTo>
                  <a:lnTo>
                    <a:pt x="63" y="129"/>
                  </a:lnTo>
                  <a:lnTo>
                    <a:pt x="63" y="127"/>
                  </a:lnTo>
                  <a:lnTo>
                    <a:pt x="63" y="127"/>
                  </a:lnTo>
                  <a:lnTo>
                    <a:pt x="63" y="125"/>
                  </a:lnTo>
                  <a:lnTo>
                    <a:pt x="63" y="123"/>
                  </a:lnTo>
                  <a:lnTo>
                    <a:pt x="65" y="121"/>
                  </a:lnTo>
                  <a:lnTo>
                    <a:pt x="67" y="119"/>
                  </a:lnTo>
                  <a:lnTo>
                    <a:pt x="69" y="117"/>
                  </a:lnTo>
                  <a:lnTo>
                    <a:pt x="69" y="117"/>
                  </a:lnTo>
                  <a:lnTo>
                    <a:pt x="69" y="117"/>
                  </a:lnTo>
                  <a:lnTo>
                    <a:pt x="69" y="113"/>
                  </a:lnTo>
                  <a:lnTo>
                    <a:pt x="69" y="113"/>
                  </a:lnTo>
                  <a:lnTo>
                    <a:pt x="71" y="110"/>
                  </a:lnTo>
                  <a:lnTo>
                    <a:pt x="71" y="110"/>
                  </a:lnTo>
                  <a:lnTo>
                    <a:pt x="75" y="113"/>
                  </a:lnTo>
                  <a:lnTo>
                    <a:pt x="78" y="113"/>
                  </a:lnTo>
                  <a:lnTo>
                    <a:pt x="80" y="110"/>
                  </a:lnTo>
                  <a:lnTo>
                    <a:pt x="80" y="108"/>
                  </a:lnTo>
                  <a:lnTo>
                    <a:pt x="78" y="108"/>
                  </a:lnTo>
                  <a:lnTo>
                    <a:pt x="78" y="108"/>
                  </a:lnTo>
                  <a:lnTo>
                    <a:pt x="78" y="106"/>
                  </a:lnTo>
                  <a:lnTo>
                    <a:pt x="78" y="106"/>
                  </a:lnTo>
                  <a:lnTo>
                    <a:pt x="78" y="102"/>
                  </a:lnTo>
                  <a:lnTo>
                    <a:pt x="78" y="102"/>
                  </a:lnTo>
                  <a:lnTo>
                    <a:pt x="78" y="100"/>
                  </a:lnTo>
                  <a:lnTo>
                    <a:pt x="73" y="98"/>
                  </a:lnTo>
                  <a:lnTo>
                    <a:pt x="71" y="98"/>
                  </a:lnTo>
                  <a:lnTo>
                    <a:pt x="71" y="96"/>
                  </a:lnTo>
                  <a:lnTo>
                    <a:pt x="71" y="96"/>
                  </a:lnTo>
                  <a:lnTo>
                    <a:pt x="71" y="94"/>
                  </a:lnTo>
                  <a:lnTo>
                    <a:pt x="71" y="94"/>
                  </a:lnTo>
                  <a:lnTo>
                    <a:pt x="69" y="94"/>
                  </a:lnTo>
                  <a:lnTo>
                    <a:pt x="67" y="94"/>
                  </a:lnTo>
                  <a:lnTo>
                    <a:pt x="65" y="94"/>
                  </a:lnTo>
                  <a:lnTo>
                    <a:pt x="63" y="96"/>
                  </a:lnTo>
                  <a:lnTo>
                    <a:pt x="61" y="98"/>
                  </a:lnTo>
                  <a:lnTo>
                    <a:pt x="59" y="98"/>
                  </a:lnTo>
                  <a:lnTo>
                    <a:pt x="57" y="98"/>
                  </a:lnTo>
                  <a:lnTo>
                    <a:pt x="55" y="96"/>
                  </a:lnTo>
                  <a:lnTo>
                    <a:pt x="55" y="94"/>
                  </a:lnTo>
                  <a:lnTo>
                    <a:pt x="53" y="94"/>
                  </a:lnTo>
                  <a:lnTo>
                    <a:pt x="53" y="94"/>
                  </a:lnTo>
                  <a:lnTo>
                    <a:pt x="51" y="94"/>
                  </a:lnTo>
                  <a:lnTo>
                    <a:pt x="51" y="94"/>
                  </a:lnTo>
                  <a:lnTo>
                    <a:pt x="51" y="92"/>
                  </a:lnTo>
                  <a:lnTo>
                    <a:pt x="49" y="92"/>
                  </a:lnTo>
                  <a:lnTo>
                    <a:pt x="49" y="92"/>
                  </a:lnTo>
                  <a:lnTo>
                    <a:pt x="49" y="90"/>
                  </a:lnTo>
                  <a:lnTo>
                    <a:pt x="47" y="90"/>
                  </a:lnTo>
                  <a:lnTo>
                    <a:pt x="47" y="90"/>
                  </a:lnTo>
                  <a:lnTo>
                    <a:pt x="45" y="88"/>
                  </a:lnTo>
                  <a:lnTo>
                    <a:pt x="41" y="84"/>
                  </a:lnTo>
                  <a:lnTo>
                    <a:pt x="39" y="82"/>
                  </a:lnTo>
                  <a:lnTo>
                    <a:pt x="37" y="82"/>
                  </a:lnTo>
                  <a:lnTo>
                    <a:pt x="32" y="82"/>
                  </a:lnTo>
                  <a:lnTo>
                    <a:pt x="32" y="80"/>
                  </a:lnTo>
                  <a:lnTo>
                    <a:pt x="30" y="78"/>
                  </a:lnTo>
                  <a:lnTo>
                    <a:pt x="32" y="76"/>
                  </a:lnTo>
                  <a:lnTo>
                    <a:pt x="32" y="74"/>
                  </a:lnTo>
                  <a:lnTo>
                    <a:pt x="32" y="74"/>
                  </a:lnTo>
                  <a:lnTo>
                    <a:pt x="32" y="72"/>
                  </a:lnTo>
                  <a:lnTo>
                    <a:pt x="30" y="70"/>
                  </a:lnTo>
                  <a:lnTo>
                    <a:pt x="28" y="67"/>
                  </a:lnTo>
                  <a:lnTo>
                    <a:pt x="28" y="67"/>
                  </a:lnTo>
                  <a:lnTo>
                    <a:pt x="26" y="63"/>
                  </a:lnTo>
                  <a:lnTo>
                    <a:pt x="26" y="61"/>
                  </a:lnTo>
                  <a:lnTo>
                    <a:pt x="26" y="59"/>
                  </a:lnTo>
                  <a:lnTo>
                    <a:pt x="26" y="59"/>
                  </a:lnTo>
                  <a:lnTo>
                    <a:pt x="24" y="59"/>
                  </a:lnTo>
                  <a:lnTo>
                    <a:pt x="20" y="57"/>
                  </a:lnTo>
                  <a:lnTo>
                    <a:pt x="20" y="57"/>
                  </a:lnTo>
                  <a:lnTo>
                    <a:pt x="18" y="57"/>
                  </a:lnTo>
                  <a:lnTo>
                    <a:pt x="18" y="55"/>
                  </a:lnTo>
                  <a:lnTo>
                    <a:pt x="18" y="53"/>
                  </a:lnTo>
                  <a:lnTo>
                    <a:pt x="16" y="53"/>
                  </a:lnTo>
                  <a:lnTo>
                    <a:pt x="14" y="53"/>
                  </a:lnTo>
                  <a:lnTo>
                    <a:pt x="12" y="53"/>
                  </a:lnTo>
                  <a:lnTo>
                    <a:pt x="12" y="53"/>
                  </a:lnTo>
                  <a:lnTo>
                    <a:pt x="10" y="51"/>
                  </a:lnTo>
                  <a:lnTo>
                    <a:pt x="12" y="51"/>
                  </a:lnTo>
                  <a:lnTo>
                    <a:pt x="12" y="49"/>
                  </a:lnTo>
                  <a:lnTo>
                    <a:pt x="12" y="49"/>
                  </a:lnTo>
                  <a:lnTo>
                    <a:pt x="12" y="49"/>
                  </a:lnTo>
                  <a:lnTo>
                    <a:pt x="12" y="45"/>
                  </a:lnTo>
                  <a:lnTo>
                    <a:pt x="10" y="43"/>
                  </a:lnTo>
                  <a:lnTo>
                    <a:pt x="10" y="43"/>
                  </a:lnTo>
                  <a:lnTo>
                    <a:pt x="10" y="43"/>
                  </a:lnTo>
                  <a:lnTo>
                    <a:pt x="10" y="41"/>
                  </a:lnTo>
                  <a:lnTo>
                    <a:pt x="10" y="39"/>
                  </a:lnTo>
                  <a:lnTo>
                    <a:pt x="8" y="39"/>
                  </a:lnTo>
                  <a:lnTo>
                    <a:pt x="8" y="37"/>
                  </a:lnTo>
                  <a:lnTo>
                    <a:pt x="6" y="35"/>
                  </a:lnTo>
                  <a:lnTo>
                    <a:pt x="6" y="33"/>
                  </a:lnTo>
                  <a:lnTo>
                    <a:pt x="6" y="33"/>
                  </a:lnTo>
                  <a:lnTo>
                    <a:pt x="6" y="31"/>
                  </a:lnTo>
                  <a:lnTo>
                    <a:pt x="6" y="31"/>
                  </a:lnTo>
                  <a:lnTo>
                    <a:pt x="4" y="29"/>
                  </a:lnTo>
                  <a:lnTo>
                    <a:pt x="2" y="29"/>
                  </a:lnTo>
                  <a:lnTo>
                    <a:pt x="0" y="29"/>
                  </a:lnTo>
                  <a:lnTo>
                    <a:pt x="0" y="24"/>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20" y="20"/>
                  </a:lnTo>
                  <a:lnTo>
                    <a:pt x="41" y="20"/>
                  </a:lnTo>
                  <a:lnTo>
                    <a:pt x="61" y="18"/>
                  </a:lnTo>
                  <a:lnTo>
                    <a:pt x="82" y="18"/>
                  </a:lnTo>
                  <a:lnTo>
                    <a:pt x="102" y="16"/>
                  </a:lnTo>
                  <a:lnTo>
                    <a:pt x="123" y="16"/>
                  </a:lnTo>
                  <a:lnTo>
                    <a:pt x="143" y="14"/>
                  </a:lnTo>
                  <a:lnTo>
                    <a:pt x="161" y="14"/>
                  </a:lnTo>
                  <a:lnTo>
                    <a:pt x="182" y="12"/>
                  </a:lnTo>
                  <a:lnTo>
                    <a:pt x="202" y="10"/>
                  </a:lnTo>
                  <a:lnTo>
                    <a:pt x="223" y="10"/>
                  </a:lnTo>
                  <a:lnTo>
                    <a:pt x="243" y="8"/>
                  </a:lnTo>
                  <a:lnTo>
                    <a:pt x="264" y="6"/>
                  </a:lnTo>
                  <a:lnTo>
                    <a:pt x="284" y="4"/>
                  </a:lnTo>
                  <a:lnTo>
                    <a:pt x="303" y="4"/>
                  </a:lnTo>
                  <a:lnTo>
                    <a:pt x="323" y="2"/>
                  </a:lnTo>
                  <a:lnTo>
                    <a:pt x="331" y="2"/>
                  </a:lnTo>
                  <a:lnTo>
                    <a:pt x="336" y="0"/>
                  </a:lnTo>
                  <a:lnTo>
                    <a:pt x="336" y="2"/>
                  </a:lnTo>
                  <a:lnTo>
                    <a:pt x="336" y="2"/>
                  </a:lnTo>
                  <a:lnTo>
                    <a:pt x="338" y="4"/>
                  </a:lnTo>
                  <a:lnTo>
                    <a:pt x="338" y="4"/>
                  </a:lnTo>
                  <a:lnTo>
                    <a:pt x="338" y="6"/>
                  </a:lnTo>
                  <a:lnTo>
                    <a:pt x="340" y="6"/>
                  </a:lnTo>
                  <a:lnTo>
                    <a:pt x="340" y="8"/>
                  </a:lnTo>
                  <a:lnTo>
                    <a:pt x="340" y="8"/>
                  </a:lnTo>
                  <a:lnTo>
                    <a:pt x="342" y="8"/>
                  </a:lnTo>
                  <a:lnTo>
                    <a:pt x="342" y="8"/>
                  </a:lnTo>
                  <a:lnTo>
                    <a:pt x="344" y="10"/>
                  </a:lnTo>
                  <a:lnTo>
                    <a:pt x="346" y="10"/>
                  </a:lnTo>
                  <a:lnTo>
                    <a:pt x="346" y="12"/>
                  </a:lnTo>
                  <a:lnTo>
                    <a:pt x="346" y="12"/>
                  </a:lnTo>
                  <a:lnTo>
                    <a:pt x="346" y="12"/>
                  </a:lnTo>
                  <a:lnTo>
                    <a:pt x="346" y="12"/>
                  </a:lnTo>
                  <a:lnTo>
                    <a:pt x="348" y="12"/>
                  </a:lnTo>
                  <a:lnTo>
                    <a:pt x="348" y="12"/>
                  </a:lnTo>
                  <a:lnTo>
                    <a:pt x="348" y="14"/>
                  </a:lnTo>
                  <a:lnTo>
                    <a:pt x="348" y="14"/>
                  </a:lnTo>
                  <a:lnTo>
                    <a:pt x="348" y="14"/>
                  </a:lnTo>
                  <a:lnTo>
                    <a:pt x="350" y="14"/>
                  </a:lnTo>
                  <a:lnTo>
                    <a:pt x="352" y="16"/>
                  </a:lnTo>
                  <a:lnTo>
                    <a:pt x="352" y="16"/>
                  </a:lnTo>
                  <a:lnTo>
                    <a:pt x="352" y="16"/>
                  </a:lnTo>
                  <a:lnTo>
                    <a:pt x="352" y="18"/>
                  </a:lnTo>
                  <a:lnTo>
                    <a:pt x="352" y="18"/>
                  </a:lnTo>
                  <a:lnTo>
                    <a:pt x="352" y="18"/>
                  </a:lnTo>
                  <a:lnTo>
                    <a:pt x="354" y="20"/>
                  </a:lnTo>
                  <a:lnTo>
                    <a:pt x="356" y="22"/>
                  </a:lnTo>
                  <a:lnTo>
                    <a:pt x="358" y="24"/>
                  </a:lnTo>
                  <a:lnTo>
                    <a:pt x="360" y="24"/>
                  </a:lnTo>
                  <a:lnTo>
                    <a:pt x="362" y="24"/>
                  </a:lnTo>
                  <a:lnTo>
                    <a:pt x="362" y="24"/>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O</a:t>
              </a:r>
            </a:p>
          </p:txBody>
        </p:sp>
        <p:sp>
          <p:nvSpPr>
            <p:cNvPr id="269" name="Freeform 32">
              <a:extLst>
                <a:ext uri="{FF2B5EF4-FFF2-40B4-BE49-F238E27FC236}">
                  <a16:creationId xmlns:a16="http://schemas.microsoft.com/office/drawing/2014/main" id="{E9FADEBF-13C9-EF78-5B33-4BF025359209}"/>
                </a:ext>
              </a:extLst>
            </p:cNvPr>
            <p:cNvSpPr>
              <a:spLocks/>
            </p:cNvSpPr>
            <p:nvPr/>
          </p:nvSpPr>
          <p:spPr bwMode="auto">
            <a:xfrm>
              <a:off x="2934" y="133"/>
              <a:ext cx="584" cy="613"/>
            </a:xfrm>
            <a:custGeom>
              <a:avLst/>
              <a:gdLst>
                <a:gd name="T0" fmla="*/ 562 w 584"/>
                <a:gd name="T1" fmla="*/ 115 h 613"/>
                <a:gd name="T2" fmla="*/ 516 w 584"/>
                <a:gd name="T3" fmla="*/ 109 h 613"/>
                <a:gd name="T4" fmla="*/ 500 w 584"/>
                <a:gd name="T5" fmla="*/ 111 h 613"/>
                <a:gd name="T6" fmla="*/ 488 w 584"/>
                <a:gd name="T7" fmla="*/ 99 h 613"/>
                <a:gd name="T8" fmla="*/ 455 w 584"/>
                <a:gd name="T9" fmla="*/ 115 h 613"/>
                <a:gd name="T10" fmla="*/ 432 w 584"/>
                <a:gd name="T11" fmla="*/ 115 h 613"/>
                <a:gd name="T12" fmla="*/ 410 w 584"/>
                <a:gd name="T13" fmla="*/ 107 h 613"/>
                <a:gd name="T14" fmla="*/ 379 w 584"/>
                <a:gd name="T15" fmla="*/ 92 h 613"/>
                <a:gd name="T16" fmla="*/ 371 w 584"/>
                <a:gd name="T17" fmla="*/ 105 h 613"/>
                <a:gd name="T18" fmla="*/ 349 w 584"/>
                <a:gd name="T19" fmla="*/ 86 h 613"/>
                <a:gd name="T20" fmla="*/ 342 w 584"/>
                <a:gd name="T21" fmla="*/ 74 h 613"/>
                <a:gd name="T22" fmla="*/ 287 w 584"/>
                <a:gd name="T23" fmla="*/ 76 h 613"/>
                <a:gd name="T24" fmla="*/ 254 w 584"/>
                <a:gd name="T25" fmla="*/ 70 h 613"/>
                <a:gd name="T26" fmla="*/ 224 w 584"/>
                <a:gd name="T27" fmla="*/ 64 h 613"/>
                <a:gd name="T28" fmla="*/ 191 w 584"/>
                <a:gd name="T29" fmla="*/ 52 h 613"/>
                <a:gd name="T30" fmla="*/ 181 w 584"/>
                <a:gd name="T31" fmla="*/ 8 h 613"/>
                <a:gd name="T32" fmla="*/ 156 w 584"/>
                <a:gd name="T33" fmla="*/ 37 h 613"/>
                <a:gd name="T34" fmla="*/ 39 w 584"/>
                <a:gd name="T35" fmla="*/ 43 h 613"/>
                <a:gd name="T36" fmla="*/ 2 w 584"/>
                <a:gd name="T37" fmla="*/ 54 h 613"/>
                <a:gd name="T38" fmla="*/ 9 w 584"/>
                <a:gd name="T39" fmla="*/ 86 h 613"/>
                <a:gd name="T40" fmla="*/ 11 w 584"/>
                <a:gd name="T41" fmla="*/ 115 h 613"/>
                <a:gd name="T42" fmla="*/ 19 w 584"/>
                <a:gd name="T43" fmla="*/ 156 h 613"/>
                <a:gd name="T44" fmla="*/ 23 w 584"/>
                <a:gd name="T45" fmla="*/ 166 h 613"/>
                <a:gd name="T46" fmla="*/ 33 w 584"/>
                <a:gd name="T47" fmla="*/ 187 h 613"/>
                <a:gd name="T48" fmla="*/ 33 w 584"/>
                <a:gd name="T49" fmla="*/ 203 h 613"/>
                <a:gd name="T50" fmla="*/ 35 w 584"/>
                <a:gd name="T51" fmla="*/ 232 h 613"/>
                <a:gd name="T52" fmla="*/ 39 w 584"/>
                <a:gd name="T53" fmla="*/ 252 h 613"/>
                <a:gd name="T54" fmla="*/ 41 w 584"/>
                <a:gd name="T55" fmla="*/ 256 h 613"/>
                <a:gd name="T56" fmla="*/ 41 w 584"/>
                <a:gd name="T57" fmla="*/ 275 h 613"/>
                <a:gd name="T58" fmla="*/ 45 w 584"/>
                <a:gd name="T59" fmla="*/ 299 h 613"/>
                <a:gd name="T60" fmla="*/ 56 w 584"/>
                <a:gd name="T61" fmla="*/ 318 h 613"/>
                <a:gd name="T62" fmla="*/ 60 w 584"/>
                <a:gd name="T63" fmla="*/ 336 h 613"/>
                <a:gd name="T64" fmla="*/ 60 w 584"/>
                <a:gd name="T65" fmla="*/ 361 h 613"/>
                <a:gd name="T66" fmla="*/ 45 w 584"/>
                <a:gd name="T67" fmla="*/ 384 h 613"/>
                <a:gd name="T68" fmla="*/ 49 w 584"/>
                <a:gd name="T69" fmla="*/ 408 h 613"/>
                <a:gd name="T70" fmla="*/ 70 w 584"/>
                <a:gd name="T71" fmla="*/ 424 h 613"/>
                <a:gd name="T72" fmla="*/ 76 w 584"/>
                <a:gd name="T73" fmla="*/ 590 h 613"/>
                <a:gd name="T74" fmla="*/ 312 w 584"/>
                <a:gd name="T75" fmla="*/ 603 h 613"/>
                <a:gd name="T76" fmla="*/ 496 w 584"/>
                <a:gd name="T77" fmla="*/ 584 h 613"/>
                <a:gd name="T78" fmla="*/ 494 w 584"/>
                <a:gd name="T79" fmla="*/ 562 h 613"/>
                <a:gd name="T80" fmla="*/ 488 w 584"/>
                <a:gd name="T81" fmla="*/ 547 h 613"/>
                <a:gd name="T82" fmla="*/ 478 w 584"/>
                <a:gd name="T83" fmla="*/ 537 h 613"/>
                <a:gd name="T84" fmla="*/ 457 w 584"/>
                <a:gd name="T85" fmla="*/ 533 h 613"/>
                <a:gd name="T86" fmla="*/ 404 w 584"/>
                <a:gd name="T87" fmla="*/ 494 h 613"/>
                <a:gd name="T88" fmla="*/ 375 w 584"/>
                <a:gd name="T89" fmla="*/ 478 h 613"/>
                <a:gd name="T90" fmla="*/ 365 w 584"/>
                <a:gd name="T91" fmla="*/ 449 h 613"/>
                <a:gd name="T92" fmla="*/ 363 w 584"/>
                <a:gd name="T93" fmla="*/ 427 h 613"/>
                <a:gd name="T94" fmla="*/ 365 w 584"/>
                <a:gd name="T95" fmla="*/ 406 h 613"/>
                <a:gd name="T96" fmla="*/ 361 w 584"/>
                <a:gd name="T97" fmla="*/ 384 h 613"/>
                <a:gd name="T98" fmla="*/ 357 w 584"/>
                <a:gd name="T99" fmla="*/ 357 h 613"/>
                <a:gd name="T100" fmla="*/ 373 w 584"/>
                <a:gd name="T101" fmla="*/ 338 h 613"/>
                <a:gd name="T102" fmla="*/ 383 w 584"/>
                <a:gd name="T103" fmla="*/ 332 h 613"/>
                <a:gd name="T104" fmla="*/ 392 w 584"/>
                <a:gd name="T105" fmla="*/ 322 h 613"/>
                <a:gd name="T106" fmla="*/ 389 w 584"/>
                <a:gd name="T107" fmla="*/ 267 h 613"/>
                <a:gd name="T108" fmla="*/ 396 w 584"/>
                <a:gd name="T109" fmla="*/ 263 h 613"/>
                <a:gd name="T110" fmla="*/ 400 w 584"/>
                <a:gd name="T111" fmla="*/ 256 h 613"/>
                <a:gd name="T112" fmla="*/ 428 w 584"/>
                <a:gd name="T113" fmla="*/ 230 h 613"/>
                <a:gd name="T114" fmla="*/ 441 w 584"/>
                <a:gd name="T115" fmla="*/ 218 h 613"/>
                <a:gd name="T116" fmla="*/ 549 w 584"/>
                <a:gd name="T117" fmla="*/ 133 h 613"/>
                <a:gd name="T118" fmla="*/ 584 w 584"/>
                <a:gd name="T119" fmla="*/ 11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4" h="613">
                  <a:moveTo>
                    <a:pt x="584" y="111"/>
                  </a:moveTo>
                  <a:lnTo>
                    <a:pt x="580" y="111"/>
                  </a:lnTo>
                  <a:lnTo>
                    <a:pt x="578" y="111"/>
                  </a:lnTo>
                  <a:lnTo>
                    <a:pt x="574" y="111"/>
                  </a:lnTo>
                  <a:lnTo>
                    <a:pt x="574" y="111"/>
                  </a:lnTo>
                  <a:lnTo>
                    <a:pt x="572" y="111"/>
                  </a:lnTo>
                  <a:lnTo>
                    <a:pt x="572" y="111"/>
                  </a:lnTo>
                  <a:lnTo>
                    <a:pt x="570" y="111"/>
                  </a:lnTo>
                  <a:lnTo>
                    <a:pt x="568" y="111"/>
                  </a:lnTo>
                  <a:lnTo>
                    <a:pt x="562" y="115"/>
                  </a:lnTo>
                  <a:lnTo>
                    <a:pt x="559" y="115"/>
                  </a:lnTo>
                  <a:lnTo>
                    <a:pt x="555" y="113"/>
                  </a:lnTo>
                  <a:lnTo>
                    <a:pt x="553" y="113"/>
                  </a:lnTo>
                  <a:lnTo>
                    <a:pt x="551" y="111"/>
                  </a:lnTo>
                  <a:lnTo>
                    <a:pt x="547" y="105"/>
                  </a:lnTo>
                  <a:lnTo>
                    <a:pt x="547" y="105"/>
                  </a:lnTo>
                  <a:lnTo>
                    <a:pt x="543" y="103"/>
                  </a:lnTo>
                  <a:lnTo>
                    <a:pt x="539" y="103"/>
                  </a:lnTo>
                  <a:lnTo>
                    <a:pt x="516" y="109"/>
                  </a:lnTo>
                  <a:lnTo>
                    <a:pt x="516" y="109"/>
                  </a:lnTo>
                  <a:lnTo>
                    <a:pt x="516" y="109"/>
                  </a:lnTo>
                  <a:lnTo>
                    <a:pt x="514" y="107"/>
                  </a:lnTo>
                  <a:lnTo>
                    <a:pt x="514" y="109"/>
                  </a:lnTo>
                  <a:lnTo>
                    <a:pt x="512" y="109"/>
                  </a:lnTo>
                  <a:lnTo>
                    <a:pt x="510" y="109"/>
                  </a:lnTo>
                  <a:lnTo>
                    <a:pt x="510" y="109"/>
                  </a:lnTo>
                  <a:lnTo>
                    <a:pt x="508" y="109"/>
                  </a:lnTo>
                  <a:lnTo>
                    <a:pt x="508" y="107"/>
                  </a:lnTo>
                  <a:lnTo>
                    <a:pt x="506" y="107"/>
                  </a:lnTo>
                  <a:lnTo>
                    <a:pt x="500" y="111"/>
                  </a:lnTo>
                  <a:lnTo>
                    <a:pt x="496" y="111"/>
                  </a:lnTo>
                  <a:lnTo>
                    <a:pt x="492" y="109"/>
                  </a:lnTo>
                  <a:lnTo>
                    <a:pt x="492" y="107"/>
                  </a:lnTo>
                  <a:lnTo>
                    <a:pt x="490" y="105"/>
                  </a:lnTo>
                  <a:lnTo>
                    <a:pt x="490" y="103"/>
                  </a:lnTo>
                  <a:lnTo>
                    <a:pt x="490" y="103"/>
                  </a:lnTo>
                  <a:lnTo>
                    <a:pt x="488" y="103"/>
                  </a:lnTo>
                  <a:lnTo>
                    <a:pt x="488" y="103"/>
                  </a:lnTo>
                  <a:lnTo>
                    <a:pt x="488" y="101"/>
                  </a:lnTo>
                  <a:lnTo>
                    <a:pt x="488" y="99"/>
                  </a:lnTo>
                  <a:lnTo>
                    <a:pt x="488" y="99"/>
                  </a:lnTo>
                  <a:lnTo>
                    <a:pt x="488" y="97"/>
                  </a:lnTo>
                  <a:lnTo>
                    <a:pt x="486" y="97"/>
                  </a:lnTo>
                  <a:lnTo>
                    <a:pt x="482" y="97"/>
                  </a:lnTo>
                  <a:lnTo>
                    <a:pt x="475" y="101"/>
                  </a:lnTo>
                  <a:lnTo>
                    <a:pt x="473" y="103"/>
                  </a:lnTo>
                  <a:lnTo>
                    <a:pt x="469" y="105"/>
                  </a:lnTo>
                  <a:lnTo>
                    <a:pt x="461" y="111"/>
                  </a:lnTo>
                  <a:lnTo>
                    <a:pt x="459" y="113"/>
                  </a:lnTo>
                  <a:lnTo>
                    <a:pt x="455" y="115"/>
                  </a:lnTo>
                  <a:lnTo>
                    <a:pt x="449" y="117"/>
                  </a:lnTo>
                  <a:lnTo>
                    <a:pt x="445" y="119"/>
                  </a:lnTo>
                  <a:lnTo>
                    <a:pt x="443" y="119"/>
                  </a:lnTo>
                  <a:lnTo>
                    <a:pt x="441" y="119"/>
                  </a:lnTo>
                  <a:lnTo>
                    <a:pt x="441" y="119"/>
                  </a:lnTo>
                  <a:lnTo>
                    <a:pt x="432" y="119"/>
                  </a:lnTo>
                  <a:lnTo>
                    <a:pt x="432" y="119"/>
                  </a:lnTo>
                  <a:lnTo>
                    <a:pt x="432" y="119"/>
                  </a:lnTo>
                  <a:lnTo>
                    <a:pt x="432" y="117"/>
                  </a:lnTo>
                  <a:lnTo>
                    <a:pt x="432" y="115"/>
                  </a:lnTo>
                  <a:lnTo>
                    <a:pt x="432" y="115"/>
                  </a:lnTo>
                  <a:lnTo>
                    <a:pt x="430" y="115"/>
                  </a:lnTo>
                  <a:lnTo>
                    <a:pt x="430" y="115"/>
                  </a:lnTo>
                  <a:lnTo>
                    <a:pt x="424" y="115"/>
                  </a:lnTo>
                  <a:lnTo>
                    <a:pt x="422" y="113"/>
                  </a:lnTo>
                  <a:lnTo>
                    <a:pt x="422" y="111"/>
                  </a:lnTo>
                  <a:lnTo>
                    <a:pt x="420" y="109"/>
                  </a:lnTo>
                  <a:lnTo>
                    <a:pt x="420" y="107"/>
                  </a:lnTo>
                  <a:lnTo>
                    <a:pt x="418" y="107"/>
                  </a:lnTo>
                  <a:lnTo>
                    <a:pt x="410" y="107"/>
                  </a:lnTo>
                  <a:lnTo>
                    <a:pt x="402" y="103"/>
                  </a:lnTo>
                  <a:lnTo>
                    <a:pt x="402" y="103"/>
                  </a:lnTo>
                  <a:lnTo>
                    <a:pt x="400" y="101"/>
                  </a:lnTo>
                  <a:lnTo>
                    <a:pt x="398" y="101"/>
                  </a:lnTo>
                  <a:lnTo>
                    <a:pt x="398" y="97"/>
                  </a:lnTo>
                  <a:lnTo>
                    <a:pt x="396" y="95"/>
                  </a:lnTo>
                  <a:lnTo>
                    <a:pt x="396" y="92"/>
                  </a:lnTo>
                  <a:lnTo>
                    <a:pt x="394" y="92"/>
                  </a:lnTo>
                  <a:lnTo>
                    <a:pt x="387" y="92"/>
                  </a:lnTo>
                  <a:lnTo>
                    <a:pt x="379" y="92"/>
                  </a:lnTo>
                  <a:lnTo>
                    <a:pt x="377" y="95"/>
                  </a:lnTo>
                  <a:lnTo>
                    <a:pt x="375" y="97"/>
                  </a:lnTo>
                  <a:lnTo>
                    <a:pt x="375" y="99"/>
                  </a:lnTo>
                  <a:lnTo>
                    <a:pt x="377" y="101"/>
                  </a:lnTo>
                  <a:lnTo>
                    <a:pt x="377" y="103"/>
                  </a:lnTo>
                  <a:lnTo>
                    <a:pt x="377" y="105"/>
                  </a:lnTo>
                  <a:lnTo>
                    <a:pt x="375" y="105"/>
                  </a:lnTo>
                  <a:lnTo>
                    <a:pt x="373" y="105"/>
                  </a:lnTo>
                  <a:lnTo>
                    <a:pt x="371" y="107"/>
                  </a:lnTo>
                  <a:lnTo>
                    <a:pt x="371" y="105"/>
                  </a:lnTo>
                  <a:lnTo>
                    <a:pt x="367" y="101"/>
                  </a:lnTo>
                  <a:lnTo>
                    <a:pt x="365" y="97"/>
                  </a:lnTo>
                  <a:lnTo>
                    <a:pt x="363" y="95"/>
                  </a:lnTo>
                  <a:lnTo>
                    <a:pt x="363" y="92"/>
                  </a:lnTo>
                  <a:lnTo>
                    <a:pt x="363" y="88"/>
                  </a:lnTo>
                  <a:lnTo>
                    <a:pt x="363" y="86"/>
                  </a:lnTo>
                  <a:lnTo>
                    <a:pt x="361" y="84"/>
                  </a:lnTo>
                  <a:lnTo>
                    <a:pt x="359" y="84"/>
                  </a:lnTo>
                  <a:lnTo>
                    <a:pt x="355" y="84"/>
                  </a:lnTo>
                  <a:lnTo>
                    <a:pt x="349" y="86"/>
                  </a:lnTo>
                  <a:lnTo>
                    <a:pt x="346" y="84"/>
                  </a:lnTo>
                  <a:lnTo>
                    <a:pt x="344" y="84"/>
                  </a:lnTo>
                  <a:lnTo>
                    <a:pt x="342" y="84"/>
                  </a:lnTo>
                  <a:lnTo>
                    <a:pt x="344" y="80"/>
                  </a:lnTo>
                  <a:lnTo>
                    <a:pt x="344" y="80"/>
                  </a:lnTo>
                  <a:lnTo>
                    <a:pt x="349" y="80"/>
                  </a:lnTo>
                  <a:lnTo>
                    <a:pt x="351" y="78"/>
                  </a:lnTo>
                  <a:lnTo>
                    <a:pt x="351" y="76"/>
                  </a:lnTo>
                  <a:lnTo>
                    <a:pt x="349" y="76"/>
                  </a:lnTo>
                  <a:lnTo>
                    <a:pt x="342" y="74"/>
                  </a:lnTo>
                  <a:lnTo>
                    <a:pt x="330" y="72"/>
                  </a:lnTo>
                  <a:lnTo>
                    <a:pt x="324" y="70"/>
                  </a:lnTo>
                  <a:lnTo>
                    <a:pt x="322" y="68"/>
                  </a:lnTo>
                  <a:lnTo>
                    <a:pt x="312" y="68"/>
                  </a:lnTo>
                  <a:lnTo>
                    <a:pt x="301" y="68"/>
                  </a:lnTo>
                  <a:lnTo>
                    <a:pt x="291" y="70"/>
                  </a:lnTo>
                  <a:lnTo>
                    <a:pt x="289" y="72"/>
                  </a:lnTo>
                  <a:lnTo>
                    <a:pt x="287" y="72"/>
                  </a:lnTo>
                  <a:lnTo>
                    <a:pt x="287" y="74"/>
                  </a:lnTo>
                  <a:lnTo>
                    <a:pt x="287" y="76"/>
                  </a:lnTo>
                  <a:lnTo>
                    <a:pt x="287" y="76"/>
                  </a:lnTo>
                  <a:lnTo>
                    <a:pt x="285" y="78"/>
                  </a:lnTo>
                  <a:lnTo>
                    <a:pt x="279" y="80"/>
                  </a:lnTo>
                  <a:lnTo>
                    <a:pt x="277" y="80"/>
                  </a:lnTo>
                  <a:lnTo>
                    <a:pt x="275" y="80"/>
                  </a:lnTo>
                  <a:lnTo>
                    <a:pt x="265" y="82"/>
                  </a:lnTo>
                  <a:lnTo>
                    <a:pt x="262" y="82"/>
                  </a:lnTo>
                  <a:lnTo>
                    <a:pt x="260" y="80"/>
                  </a:lnTo>
                  <a:lnTo>
                    <a:pt x="258" y="72"/>
                  </a:lnTo>
                  <a:lnTo>
                    <a:pt x="254" y="70"/>
                  </a:lnTo>
                  <a:lnTo>
                    <a:pt x="242" y="70"/>
                  </a:lnTo>
                  <a:lnTo>
                    <a:pt x="228" y="70"/>
                  </a:lnTo>
                  <a:lnTo>
                    <a:pt x="226" y="70"/>
                  </a:lnTo>
                  <a:lnTo>
                    <a:pt x="226" y="70"/>
                  </a:lnTo>
                  <a:lnTo>
                    <a:pt x="226" y="68"/>
                  </a:lnTo>
                  <a:lnTo>
                    <a:pt x="226" y="66"/>
                  </a:lnTo>
                  <a:lnTo>
                    <a:pt x="226" y="66"/>
                  </a:lnTo>
                  <a:lnTo>
                    <a:pt x="224" y="66"/>
                  </a:lnTo>
                  <a:lnTo>
                    <a:pt x="224" y="66"/>
                  </a:lnTo>
                  <a:lnTo>
                    <a:pt x="224" y="64"/>
                  </a:lnTo>
                  <a:lnTo>
                    <a:pt x="222" y="64"/>
                  </a:lnTo>
                  <a:lnTo>
                    <a:pt x="209" y="66"/>
                  </a:lnTo>
                  <a:lnTo>
                    <a:pt x="205" y="66"/>
                  </a:lnTo>
                  <a:lnTo>
                    <a:pt x="201" y="64"/>
                  </a:lnTo>
                  <a:lnTo>
                    <a:pt x="193" y="60"/>
                  </a:lnTo>
                  <a:lnTo>
                    <a:pt x="191" y="58"/>
                  </a:lnTo>
                  <a:lnTo>
                    <a:pt x="191" y="56"/>
                  </a:lnTo>
                  <a:lnTo>
                    <a:pt x="191" y="56"/>
                  </a:lnTo>
                  <a:lnTo>
                    <a:pt x="191" y="54"/>
                  </a:lnTo>
                  <a:lnTo>
                    <a:pt x="191" y="52"/>
                  </a:lnTo>
                  <a:lnTo>
                    <a:pt x="191" y="52"/>
                  </a:lnTo>
                  <a:lnTo>
                    <a:pt x="191" y="45"/>
                  </a:lnTo>
                  <a:lnTo>
                    <a:pt x="187" y="35"/>
                  </a:lnTo>
                  <a:lnTo>
                    <a:pt x="183" y="25"/>
                  </a:lnTo>
                  <a:lnTo>
                    <a:pt x="183" y="23"/>
                  </a:lnTo>
                  <a:lnTo>
                    <a:pt x="183" y="21"/>
                  </a:lnTo>
                  <a:lnTo>
                    <a:pt x="183" y="17"/>
                  </a:lnTo>
                  <a:lnTo>
                    <a:pt x="181" y="15"/>
                  </a:lnTo>
                  <a:lnTo>
                    <a:pt x="181" y="13"/>
                  </a:lnTo>
                  <a:lnTo>
                    <a:pt x="181" y="8"/>
                  </a:lnTo>
                  <a:lnTo>
                    <a:pt x="179" y="6"/>
                  </a:lnTo>
                  <a:lnTo>
                    <a:pt x="179" y="4"/>
                  </a:lnTo>
                  <a:lnTo>
                    <a:pt x="172" y="2"/>
                  </a:lnTo>
                  <a:lnTo>
                    <a:pt x="168" y="2"/>
                  </a:lnTo>
                  <a:lnTo>
                    <a:pt x="158" y="2"/>
                  </a:lnTo>
                  <a:lnTo>
                    <a:pt x="154" y="0"/>
                  </a:lnTo>
                  <a:lnTo>
                    <a:pt x="154" y="6"/>
                  </a:lnTo>
                  <a:lnTo>
                    <a:pt x="156" y="15"/>
                  </a:lnTo>
                  <a:lnTo>
                    <a:pt x="156" y="27"/>
                  </a:lnTo>
                  <a:lnTo>
                    <a:pt x="156" y="37"/>
                  </a:lnTo>
                  <a:lnTo>
                    <a:pt x="156" y="39"/>
                  </a:lnTo>
                  <a:lnTo>
                    <a:pt x="156" y="39"/>
                  </a:lnTo>
                  <a:lnTo>
                    <a:pt x="154" y="39"/>
                  </a:lnTo>
                  <a:lnTo>
                    <a:pt x="138" y="39"/>
                  </a:lnTo>
                  <a:lnTo>
                    <a:pt x="121" y="41"/>
                  </a:lnTo>
                  <a:lnTo>
                    <a:pt x="105" y="41"/>
                  </a:lnTo>
                  <a:lnTo>
                    <a:pt x="88" y="41"/>
                  </a:lnTo>
                  <a:lnTo>
                    <a:pt x="72" y="43"/>
                  </a:lnTo>
                  <a:lnTo>
                    <a:pt x="56" y="43"/>
                  </a:lnTo>
                  <a:lnTo>
                    <a:pt x="39" y="43"/>
                  </a:lnTo>
                  <a:lnTo>
                    <a:pt x="23" y="43"/>
                  </a:lnTo>
                  <a:lnTo>
                    <a:pt x="6" y="45"/>
                  </a:lnTo>
                  <a:lnTo>
                    <a:pt x="0" y="45"/>
                  </a:lnTo>
                  <a:lnTo>
                    <a:pt x="0" y="45"/>
                  </a:lnTo>
                  <a:lnTo>
                    <a:pt x="0" y="47"/>
                  </a:lnTo>
                  <a:lnTo>
                    <a:pt x="0" y="49"/>
                  </a:lnTo>
                  <a:lnTo>
                    <a:pt x="2" y="49"/>
                  </a:lnTo>
                  <a:lnTo>
                    <a:pt x="2" y="52"/>
                  </a:lnTo>
                  <a:lnTo>
                    <a:pt x="2" y="54"/>
                  </a:lnTo>
                  <a:lnTo>
                    <a:pt x="2" y="54"/>
                  </a:lnTo>
                  <a:lnTo>
                    <a:pt x="4" y="56"/>
                  </a:lnTo>
                  <a:lnTo>
                    <a:pt x="4" y="56"/>
                  </a:lnTo>
                  <a:lnTo>
                    <a:pt x="4" y="60"/>
                  </a:lnTo>
                  <a:lnTo>
                    <a:pt x="6" y="66"/>
                  </a:lnTo>
                  <a:lnTo>
                    <a:pt x="9" y="70"/>
                  </a:lnTo>
                  <a:lnTo>
                    <a:pt x="9" y="70"/>
                  </a:lnTo>
                  <a:lnTo>
                    <a:pt x="11" y="74"/>
                  </a:lnTo>
                  <a:lnTo>
                    <a:pt x="11" y="80"/>
                  </a:lnTo>
                  <a:lnTo>
                    <a:pt x="11" y="82"/>
                  </a:lnTo>
                  <a:lnTo>
                    <a:pt x="9" y="86"/>
                  </a:lnTo>
                  <a:lnTo>
                    <a:pt x="6" y="90"/>
                  </a:lnTo>
                  <a:lnTo>
                    <a:pt x="9" y="97"/>
                  </a:lnTo>
                  <a:lnTo>
                    <a:pt x="9" y="101"/>
                  </a:lnTo>
                  <a:lnTo>
                    <a:pt x="11" y="103"/>
                  </a:lnTo>
                  <a:lnTo>
                    <a:pt x="11" y="103"/>
                  </a:lnTo>
                  <a:lnTo>
                    <a:pt x="11" y="105"/>
                  </a:lnTo>
                  <a:lnTo>
                    <a:pt x="9" y="107"/>
                  </a:lnTo>
                  <a:lnTo>
                    <a:pt x="9" y="107"/>
                  </a:lnTo>
                  <a:lnTo>
                    <a:pt x="11" y="115"/>
                  </a:lnTo>
                  <a:lnTo>
                    <a:pt x="11" y="115"/>
                  </a:lnTo>
                  <a:lnTo>
                    <a:pt x="11" y="117"/>
                  </a:lnTo>
                  <a:lnTo>
                    <a:pt x="11" y="123"/>
                  </a:lnTo>
                  <a:lnTo>
                    <a:pt x="11" y="129"/>
                  </a:lnTo>
                  <a:lnTo>
                    <a:pt x="11" y="131"/>
                  </a:lnTo>
                  <a:lnTo>
                    <a:pt x="13" y="136"/>
                  </a:lnTo>
                  <a:lnTo>
                    <a:pt x="17" y="144"/>
                  </a:lnTo>
                  <a:lnTo>
                    <a:pt x="17" y="148"/>
                  </a:lnTo>
                  <a:lnTo>
                    <a:pt x="19" y="150"/>
                  </a:lnTo>
                  <a:lnTo>
                    <a:pt x="21" y="154"/>
                  </a:lnTo>
                  <a:lnTo>
                    <a:pt x="19" y="156"/>
                  </a:lnTo>
                  <a:lnTo>
                    <a:pt x="21" y="158"/>
                  </a:lnTo>
                  <a:lnTo>
                    <a:pt x="23" y="164"/>
                  </a:lnTo>
                  <a:lnTo>
                    <a:pt x="23" y="164"/>
                  </a:lnTo>
                  <a:lnTo>
                    <a:pt x="21" y="164"/>
                  </a:lnTo>
                  <a:lnTo>
                    <a:pt x="21" y="164"/>
                  </a:lnTo>
                  <a:lnTo>
                    <a:pt x="23" y="166"/>
                  </a:lnTo>
                  <a:lnTo>
                    <a:pt x="23" y="166"/>
                  </a:lnTo>
                  <a:lnTo>
                    <a:pt x="23" y="166"/>
                  </a:lnTo>
                  <a:lnTo>
                    <a:pt x="23" y="166"/>
                  </a:lnTo>
                  <a:lnTo>
                    <a:pt x="23" y="166"/>
                  </a:lnTo>
                  <a:lnTo>
                    <a:pt x="25" y="168"/>
                  </a:lnTo>
                  <a:lnTo>
                    <a:pt x="25" y="170"/>
                  </a:lnTo>
                  <a:lnTo>
                    <a:pt x="27" y="172"/>
                  </a:lnTo>
                  <a:lnTo>
                    <a:pt x="27" y="174"/>
                  </a:lnTo>
                  <a:lnTo>
                    <a:pt x="29" y="177"/>
                  </a:lnTo>
                  <a:lnTo>
                    <a:pt x="29" y="179"/>
                  </a:lnTo>
                  <a:lnTo>
                    <a:pt x="31" y="183"/>
                  </a:lnTo>
                  <a:lnTo>
                    <a:pt x="31" y="185"/>
                  </a:lnTo>
                  <a:lnTo>
                    <a:pt x="33" y="187"/>
                  </a:lnTo>
                  <a:lnTo>
                    <a:pt x="33" y="187"/>
                  </a:lnTo>
                  <a:lnTo>
                    <a:pt x="33" y="187"/>
                  </a:lnTo>
                  <a:lnTo>
                    <a:pt x="33" y="187"/>
                  </a:lnTo>
                  <a:lnTo>
                    <a:pt x="33" y="189"/>
                  </a:lnTo>
                  <a:lnTo>
                    <a:pt x="33" y="189"/>
                  </a:lnTo>
                  <a:lnTo>
                    <a:pt x="33" y="191"/>
                  </a:lnTo>
                  <a:lnTo>
                    <a:pt x="33" y="193"/>
                  </a:lnTo>
                  <a:lnTo>
                    <a:pt x="33" y="195"/>
                  </a:lnTo>
                  <a:lnTo>
                    <a:pt x="33" y="197"/>
                  </a:lnTo>
                  <a:lnTo>
                    <a:pt x="33" y="197"/>
                  </a:lnTo>
                  <a:lnTo>
                    <a:pt x="33" y="203"/>
                  </a:lnTo>
                  <a:lnTo>
                    <a:pt x="33" y="205"/>
                  </a:lnTo>
                  <a:lnTo>
                    <a:pt x="33" y="205"/>
                  </a:lnTo>
                  <a:lnTo>
                    <a:pt x="33" y="207"/>
                  </a:lnTo>
                  <a:lnTo>
                    <a:pt x="33" y="207"/>
                  </a:lnTo>
                  <a:lnTo>
                    <a:pt x="35" y="209"/>
                  </a:lnTo>
                  <a:lnTo>
                    <a:pt x="35" y="222"/>
                  </a:lnTo>
                  <a:lnTo>
                    <a:pt x="35" y="224"/>
                  </a:lnTo>
                  <a:lnTo>
                    <a:pt x="35" y="230"/>
                  </a:lnTo>
                  <a:lnTo>
                    <a:pt x="35" y="232"/>
                  </a:lnTo>
                  <a:lnTo>
                    <a:pt x="35" y="232"/>
                  </a:lnTo>
                  <a:lnTo>
                    <a:pt x="35" y="232"/>
                  </a:lnTo>
                  <a:lnTo>
                    <a:pt x="35" y="234"/>
                  </a:lnTo>
                  <a:lnTo>
                    <a:pt x="35" y="236"/>
                  </a:lnTo>
                  <a:lnTo>
                    <a:pt x="37" y="240"/>
                  </a:lnTo>
                  <a:lnTo>
                    <a:pt x="37" y="242"/>
                  </a:lnTo>
                  <a:lnTo>
                    <a:pt x="37" y="248"/>
                  </a:lnTo>
                  <a:lnTo>
                    <a:pt x="37" y="250"/>
                  </a:lnTo>
                  <a:lnTo>
                    <a:pt x="37" y="250"/>
                  </a:lnTo>
                  <a:lnTo>
                    <a:pt x="39" y="252"/>
                  </a:lnTo>
                  <a:lnTo>
                    <a:pt x="39" y="252"/>
                  </a:lnTo>
                  <a:lnTo>
                    <a:pt x="39" y="254"/>
                  </a:lnTo>
                  <a:lnTo>
                    <a:pt x="39" y="254"/>
                  </a:lnTo>
                  <a:lnTo>
                    <a:pt x="39" y="254"/>
                  </a:lnTo>
                  <a:lnTo>
                    <a:pt x="39" y="254"/>
                  </a:lnTo>
                  <a:lnTo>
                    <a:pt x="41" y="254"/>
                  </a:lnTo>
                  <a:lnTo>
                    <a:pt x="41" y="254"/>
                  </a:lnTo>
                  <a:lnTo>
                    <a:pt x="41" y="256"/>
                  </a:lnTo>
                  <a:lnTo>
                    <a:pt x="41" y="256"/>
                  </a:lnTo>
                  <a:lnTo>
                    <a:pt x="41" y="256"/>
                  </a:lnTo>
                  <a:lnTo>
                    <a:pt x="41" y="256"/>
                  </a:lnTo>
                  <a:lnTo>
                    <a:pt x="41" y="258"/>
                  </a:lnTo>
                  <a:lnTo>
                    <a:pt x="41" y="261"/>
                  </a:lnTo>
                  <a:lnTo>
                    <a:pt x="39" y="261"/>
                  </a:lnTo>
                  <a:lnTo>
                    <a:pt x="41" y="265"/>
                  </a:lnTo>
                  <a:lnTo>
                    <a:pt x="39" y="267"/>
                  </a:lnTo>
                  <a:lnTo>
                    <a:pt x="39" y="267"/>
                  </a:lnTo>
                  <a:lnTo>
                    <a:pt x="39" y="269"/>
                  </a:lnTo>
                  <a:lnTo>
                    <a:pt x="39" y="269"/>
                  </a:lnTo>
                  <a:lnTo>
                    <a:pt x="39" y="271"/>
                  </a:lnTo>
                  <a:lnTo>
                    <a:pt x="41" y="275"/>
                  </a:lnTo>
                  <a:lnTo>
                    <a:pt x="41" y="277"/>
                  </a:lnTo>
                  <a:lnTo>
                    <a:pt x="41" y="279"/>
                  </a:lnTo>
                  <a:lnTo>
                    <a:pt x="39" y="283"/>
                  </a:lnTo>
                  <a:lnTo>
                    <a:pt x="39" y="285"/>
                  </a:lnTo>
                  <a:lnTo>
                    <a:pt x="41" y="287"/>
                  </a:lnTo>
                  <a:lnTo>
                    <a:pt x="43" y="289"/>
                  </a:lnTo>
                  <a:lnTo>
                    <a:pt x="43" y="291"/>
                  </a:lnTo>
                  <a:lnTo>
                    <a:pt x="45" y="295"/>
                  </a:lnTo>
                  <a:lnTo>
                    <a:pt x="45" y="297"/>
                  </a:lnTo>
                  <a:lnTo>
                    <a:pt x="45" y="299"/>
                  </a:lnTo>
                  <a:lnTo>
                    <a:pt x="45" y="302"/>
                  </a:lnTo>
                  <a:lnTo>
                    <a:pt x="45" y="302"/>
                  </a:lnTo>
                  <a:lnTo>
                    <a:pt x="47" y="304"/>
                  </a:lnTo>
                  <a:lnTo>
                    <a:pt x="47" y="304"/>
                  </a:lnTo>
                  <a:lnTo>
                    <a:pt x="47" y="304"/>
                  </a:lnTo>
                  <a:lnTo>
                    <a:pt x="47" y="306"/>
                  </a:lnTo>
                  <a:lnTo>
                    <a:pt x="47" y="308"/>
                  </a:lnTo>
                  <a:lnTo>
                    <a:pt x="52" y="314"/>
                  </a:lnTo>
                  <a:lnTo>
                    <a:pt x="56" y="316"/>
                  </a:lnTo>
                  <a:lnTo>
                    <a:pt x="56" y="318"/>
                  </a:lnTo>
                  <a:lnTo>
                    <a:pt x="58" y="320"/>
                  </a:lnTo>
                  <a:lnTo>
                    <a:pt x="58" y="326"/>
                  </a:lnTo>
                  <a:lnTo>
                    <a:pt x="58" y="328"/>
                  </a:lnTo>
                  <a:lnTo>
                    <a:pt x="58" y="330"/>
                  </a:lnTo>
                  <a:lnTo>
                    <a:pt x="58" y="330"/>
                  </a:lnTo>
                  <a:lnTo>
                    <a:pt x="60" y="334"/>
                  </a:lnTo>
                  <a:lnTo>
                    <a:pt x="60" y="334"/>
                  </a:lnTo>
                  <a:lnTo>
                    <a:pt x="60" y="334"/>
                  </a:lnTo>
                  <a:lnTo>
                    <a:pt x="60" y="336"/>
                  </a:lnTo>
                  <a:lnTo>
                    <a:pt x="60" y="336"/>
                  </a:lnTo>
                  <a:lnTo>
                    <a:pt x="60" y="340"/>
                  </a:lnTo>
                  <a:lnTo>
                    <a:pt x="60" y="343"/>
                  </a:lnTo>
                  <a:lnTo>
                    <a:pt x="60" y="345"/>
                  </a:lnTo>
                  <a:lnTo>
                    <a:pt x="60" y="347"/>
                  </a:lnTo>
                  <a:lnTo>
                    <a:pt x="60" y="351"/>
                  </a:lnTo>
                  <a:lnTo>
                    <a:pt x="62" y="357"/>
                  </a:lnTo>
                  <a:lnTo>
                    <a:pt x="60" y="359"/>
                  </a:lnTo>
                  <a:lnTo>
                    <a:pt x="60" y="359"/>
                  </a:lnTo>
                  <a:lnTo>
                    <a:pt x="60" y="359"/>
                  </a:lnTo>
                  <a:lnTo>
                    <a:pt x="60" y="361"/>
                  </a:lnTo>
                  <a:lnTo>
                    <a:pt x="60" y="367"/>
                  </a:lnTo>
                  <a:lnTo>
                    <a:pt x="60" y="369"/>
                  </a:lnTo>
                  <a:lnTo>
                    <a:pt x="58" y="371"/>
                  </a:lnTo>
                  <a:lnTo>
                    <a:pt x="56" y="375"/>
                  </a:lnTo>
                  <a:lnTo>
                    <a:pt x="56" y="377"/>
                  </a:lnTo>
                  <a:lnTo>
                    <a:pt x="54" y="377"/>
                  </a:lnTo>
                  <a:lnTo>
                    <a:pt x="54" y="377"/>
                  </a:lnTo>
                  <a:lnTo>
                    <a:pt x="52" y="379"/>
                  </a:lnTo>
                  <a:lnTo>
                    <a:pt x="45" y="384"/>
                  </a:lnTo>
                  <a:lnTo>
                    <a:pt x="45" y="384"/>
                  </a:lnTo>
                  <a:lnTo>
                    <a:pt x="43" y="386"/>
                  </a:lnTo>
                  <a:lnTo>
                    <a:pt x="41" y="388"/>
                  </a:lnTo>
                  <a:lnTo>
                    <a:pt x="39" y="390"/>
                  </a:lnTo>
                  <a:lnTo>
                    <a:pt x="39" y="390"/>
                  </a:lnTo>
                  <a:lnTo>
                    <a:pt x="39" y="392"/>
                  </a:lnTo>
                  <a:lnTo>
                    <a:pt x="37" y="394"/>
                  </a:lnTo>
                  <a:lnTo>
                    <a:pt x="39" y="396"/>
                  </a:lnTo>
                  <a:lnTo>
                    <a:pt x="43" y="400"/>
                  </a:lnTo>
                  <a:lnTo>
                    <a:pt x="45" y="402"/>
                  </a:lnTo>
                  <a:lnTo>
                    <a:pt x="49" y="408"/>
                  </a:lnTo>
                  <a:lnTo>
                    <a:pt x="52" y="412"/>
                  </a:lnTo>
                  <a:lnTo>
                    <a:pt x="52" y="414"/>
                  </a:lnTo>
                  <a:lnTo>
                    <a:pt x="58" y="414"/>
                  </a:lnTo>
                  <a:lnTo>
                    <a:pt x="62" y="414"/>
                  </a:lnTo>
                  <a:lnTo>
                    <a:pt x="64" y="416"/>
                  </a:lnTo>
                  <a:lnTo>
                    <a:pt x="66" y="416"/>
                  </a:lnTo>
                  <a:lnTo>
                    <a:pt x="68" y="418"/>
                  </a:lnTo>
                  <a:lnTo>
                    <a:pt x="68" y="418"/>
                  </a:lnTo>
                  <a:lnTo>
                    <a:pt x="70" y="422"/>
                  </a:lnTo>
                  <a:lnTo>
                    <a:pt x="70" y="424"/>
                  </a:lnTo>
                  <a:lnTo>
                    <a:pt x="72" y="424"/>
                  </a:lnTo>
                  <a:lnTo>
                    <a:pt x="72" y="424"/>
                  </a:lnTo>
                  <a:lnTo>
                    <a:pt x="72" y="429"/>
                  </a:lnTo>
                  <a:lnTo>
                    <a:pt x="72" y="451"/>
                  </a:lnTo>
                  <a:lnTo>
                    <a:pt x="72" y="474"/>
                  </a:lnTo>
                  <a:lnTo>
                    <a:pt x="74" y="498"/>
                  </a:lnTo>
                  <a:lnTo>
                    <a:pt x="74" y="521"/>
                  </a:lnTo>
                  <a:lnTo>
                    <a:pt x="74" y="543"/>
                  </a:lnTo>
                  <a:lnTo>
                    <a:pt x="76" y="566"/>
                  </a:lnTo>
                  <a:lnTo>
                    <a:pt x="76" y="590"/>
                  </a:lnTo>
                  <a:lnTo>
                    <a:pt x="78" y="613"/>
                  </a:lnTo>
                  <a:lnTo>
                    <a:pt x="103" y="613"/>
                  </a:lnTo>
                  <a:lnTo>
                    <a:pt x="129" y="611"/>
                  </a:lnTo>
                  <a:lnTo>
                    <a:pt x="156" y="611"/>
                  </a:lnTo>
                  <a:lnTo>
                    <a:pt x="183" y="609"/>
                  </a:lnTo>
                  <a:lnTo>
                    <a:pt x="207" y="607"/>
                  </a:lnTo>
                  <a:lnTo>
                    <a:pt x="234" y="607"/>
                  </a:lnTo>
                  <a:lnTo>
                    <a:pt x="260" y="605"/>
                  </a:lnTo>
                  <a:lnTo>
                    <a:pt x="287" y="603"/>
                  </a:lnTo>
                  <a:lnTo>
                    <a:pt x="312" y="603"/>
                  </a:lnTo>
                  <a:lnTo>
                    <a:pt x="338" y="601"/>
                  </a:lnTo>
                  <a:lnTo>
                    <a:pt x="365" y="599"/>
                  </a:lnTo>
                  <a:lnTo>
                    <a:pt x="392" y="597"/>
                  </a:lnTo>
                  <a:lnTo>
                    <a:pt x="416" y="595"/>
                  </a:lnTo>
                  <a:lnTo>
                    <a:pt x="443" y="595"/>
                  </a:lnTo>
                  <a:lnTo>
                    <a:pt x="469" y="593"/>
                  </a:lnTo>
                  <a:lnTo>
                    <a:pt x="496" y="590"/>
                  </a:lnTo>
                  <a:lnTo>
                    <a:pt x="496" y="586"/>
                  </a:lnTo>
                  <a:lnTo>
                    <a:pt x="496" y="586"/>
                  </a:lnTo>
                  <a:lnTo>
                    <a:pt x="496" y="584"/>
                  </a:lnTo>
                  <a:lnTo>
                    <a:pt x="494" y="582"/>
                  </a:lnTo>
                  <a:lnTo>
                    <a:pt x="494" y="580"/>
                  </a:lnTo>
                  <a:lnTo>
                    <a:pt x="494" y="576"/>
                  </a:lnTo>
                  <a:lnTo>
                    <a:pt x="494" y="576"/>
                  </a:lnTo>
                  <a:lnTo>
                    <a:pt x="494" y="574"/>
                  </a:lnTo>
                  <a:lnTo>
                    <a:pt x="494" y="572"/>
                  </a:lnTo>
                  <a:lnTo>
                    <a:pt x="494" y="566"/>
                  </a:lnTo>
                  <a:lnTo>
                    <a:pt x="494" y="564"/>
                  </a:lnTo>
                  <a:lnTo>
                    <a:pt x="494" y="562"/>
                  </a:lnTo>
                  <a:lnTo>
                    <a:pt x="494" y="562"/>
                  </a:lnTo>
                  <a:lnTo>
                    <a:pt x="492" y="560"/>
                  </a:lnTo>
                  <a:lnTo>
                    <a:pt x="492" y="560"/>
                  </a:lnTo>
                  <a:lnTo>
                    <a:pt x="490" y="560"/>
                  </a:lnTo>
                  <a:lnTo>
                    <a:pt x="490" y="558"/>
                  </a:lnTo>
                  <a:lnTo>
                    <a:pt x="490" y="558"/>
                  </a:lnTo>
                  <a:lnTo>
                    <a:pt x="490" y="556"/>
                  </a:lnTo>
                  <a:lnTo>
                    <a:pt x="490" y="554"/>
                  </a:lnTo>
                  <a:lnTo>
                    <a:pt x="490" y="552"/>
                  </a:lnTo>
                  <a:lnTo>
                    <a:pt x="490" y="547"/>
                  </a:lnTo>
                  <a:lnTo>
                    <a:pt x="488" y="547"/>
                  </a:lnTo>
                  <a:lnTo>
                    <a:pt x="488" y="545"/>
                  </a:lnTo>
                  <a:lnTo>
                    <a:pt x="488" y="545"/>
                  </a:lnTo>
                  <a:lnTo>
                    <a:pt x="486" y="545"/>
                  </a:lnTo>
                  <a:lnTo>
                    <a:pt x="482" y="543"/>
                  </a:lnTo>
                  <a:lnTo>
                    <a:pt x="482" y="543"/>
                  </a:lnTo>
                  <a:lnTo>
                    <a:pt x="480" y="541"/>
                  </a:lnTo>
                  <a:lnTo>
                    <a:pt x="480" y="539"/>
                  </a:lnTo>
                  <a:lnTo>
                    <a:pt x="480" y="537"/>
                  </a:lnTo>
                  <a:lnTo>
                    <a:pt x="480" y="537"/>
                  </a:lnTo>
                  <a:lnTo>
                    <a:pt x="478" y="537"/>
                  </a:lnTo>
                  <a:lnTo>
                    <a:pt x="478" y="537"/>
                  </a:lnTo>
                  <a:lnTo>
                    <a:pt x="478" y="535"/>
                  </a:lnTo>
                  <a:lnTo>
                    <a:pt x="473" y="535"/>
                  </a:lnTo>
                  <a:lnTo>
                    <a:pt x="473" y="535"/>
                  </a:lnTo>
                  <a:lnTo>
                    <a:pt x="473" y="535"/>
                  </a:lnTo>
                  <a:lnTo>
                    <a:pt x="467" y="533"/>
                  </a:lnTo>
                  <a:lnTo>
                    <a:pt x="467" y="533"/>
                  </a:lnTo>
                  <a:lnTo>
                    <a:pt x="459" y="533"/>
                  </a:lnTo>
                  <a:lnTo>
                    <a:pt x="459" y="533"/>
                  </a:lnTo>
                  <a:lnTo>
                    <a:pt x="457" y="533"/>
                  </a:lnTo>
                  <a:lnTo>
                    <a:pt x="447" y="525"/>
                  </a:lnTo>
                  <a:lnTo>
                    <a:pt x="445" y="523"/>
                  </a:lnTo>
                  <a:lnTo>
                    <a:pt x="443" y="521"/>
                  </a:lnTo>
                  <a:lnTo>
                    <a:pt x="437" y="511"/>
                  </a:lnTo>
                  <a:lnTo>
                    <a:pt x="432" y="506"/>
                  </a:lnTo>
                  <a:lnTo>
                    <a:pt x="420" y="496"/>
                  </a:lnTo>
                  <a:lnTo>
                    <a:pt x="416" y="496"/>
                  </a:lnTo>
                  <a:lnTo>
                    <a:pt x="406" y="494"/>
                  </a:lnTo>
                  <a:lnTo>
                    <a:pt x="406" y="494"/>
                  </a:lnTo>
                  <a:lnTo>
                    <a:pt x="404" y="494"/>
                  </a:lnTo>
                  <a:lnTo>
                    <a:pt x="404" y="492"/>
                  </a:lnTo>
                  <a:lnTo>
                    <a:pt x="402" y="488"/>
                  </a:lnTo>
                  <a:lnTo>
                    <a:pt x="398" y="486"/>
                  </a:lnTo>
                  <a:lnTo>
                    <a:pt x="396" y="484"/>
                  </a:lnTo>
                  <a:lnTo>
                    <a:pt x="394" y="482"/>
                  </a:lnTo>
                  <a:lnTo>
                    <a:pt x="381" y="482"/>
                  </a:lnTo>
                  <a:lnTo>
                    <a:pt x="377" y="480"/>
                  </a:lnTo>
                  <a:lnTo>
                    <a:pt x="377" y="480"/>
                  </a:lnTo>
                  <a:lnTo>
                    <a:pt x="375" y="478"/>
                  </a:lnTo>
                  <a:lnTo>
                    <a:pt x="375" y="478"/>
                  </a:lnTo>
                  <a:lnTo>
                    <a:pt x="373" y="476"/>
                  </a:lnTo>
                  <a:lnTo>
                    <a:pt x="367" y="472"/>
                  </a:lnTo>
                  <a:lnTo>
                    <a:pt x="363" y="470"/>
                  </a:lnTo>
                  <a:lnTo>
                    <a:pt x="361" y="468"/>
                  </a:lnTo>
                  <a:lnTo>
                    <a:pt x="363" y="459"/>
                  </a:lnTo>
                  <a:lnTo>
                    <a:pt x="363" y="457"/>
                  </a:lnTo>
                  <a:lnTo>
                    <a:pt x="363" y="455"/>
                  </a:lnTo>
                  <a:lnTo>
                    <a:pt x="363" y="453"/>
                  </a:lnTo>
                  <a:lnTo>
                    <a:pt x="363" y="451"/>
                  </a:lnTo>
                  <a:lnTo>
                    <a:pt x="365" y="449"/>
                  </a:lnTo>
                  <a:lnTo>
                    <a:pt x="365" y="449"/>
                  </a:lnTo>
                  <a:lnTo>
                    <a:pt x="363" y="445"/>
                  </a:lnTo>
                  <a:lnTo>
                    <a:pt x="363" y="441"/>
                  </a:lnTo>
                  <a:lnTo>
                    <a:pt x="361" y="435"/>
                  </a:lnTo>
                  <a:lnTo>
                    <a:pt x="361" y="433"/>
                  </a:lnTo>
                  <a:lnTo>
                    <a:pt x="361" y="433"/>
                  </a:lnTo>
                  <a:lnTo>
                    <a:pt x="363" y="431"/>
                  </a:lnTo>
                  <a:lnTo>
                    <a:pt x="363" y="431"/>
                  </a:lnTo>
                  <a:lnTo>
                    <a:pt x="363" y="429"/>
                  </a:lnTo>
                  <a:lnTo>
                    <a:pt x="363" y="427"/>
                  </a:lnTo>
                  <a:lnTo>
                    <a:pt x="361" y="422"/>
                  </a:lnTo>
                  <a:lnTo>
                    <a:pt x="361" y="422"/>
                  </a:lnTo>
                  <a:lnTo>
                    <a:pt x="361" y="420"/>
                  </a:lnTo>
                  <a:lnTo>
                    <a:pt x="363" y="418"/>
                  </a:lnTo>
                  <a:lnTo>
                    <a:pt x="361" y="414"/>
                  </a:lnTo>
                  <a:lnTo>
                    <a:pt x="361" y="412"/>
                  </a:lnTo>
                  <a:lnTo>
                    <a:pt x="363" y="410"/>
                  </a:lnTo>
                  <a:lnTo>
                    <a:pt x="363" y="408"/>
                  </a:lnTo>
                  <a:lnTo>
                    <a:pt x="365" y="408"/>
                  </a:lnTo>
                  <a:lnTo>
                    <a:pt x="365" y="406"/>
                  </a:lnTo>
                  <a:lnTo>
                    <a:pt x="365" y="404"/>
                  </a:lnTo>
                  <a:lnTo>
                    <a:pt x="367" y="402"/>
                  </a:lnTo>
                  <a:lnTo>
                    <a:pt x="369" y="398"/>
                  </a:lnTo>
                  <a:lnTo>
                    <a:pt x="369" y="396"/>
                  </a:lnTo>
                  <a:lnTo>
                    <a:pt x="367" y="394"/>
                  </a:lnTo>
                  <a:lnTo>
                    <a:pt x="367" y="394"/>
                  </a:lnTo>
                  <a:lnTo>
                    <a:pt x="365" y="392"/>
                  </a:lnTo>
                  <a:lnTo>
                    <a:pt x="363" y="390"/>
                  </a:lnTo>
                  <a:lnTo>
                    <a:pt x="363" y="388"/>
                  </a:lnTo>
                  <a:lnTo>
                    <a:pt x="361" y="384"/>
                  </a:lnTo>
                  <a:lnTo>
                    <a:pt x="361" y="384"/>
                  </a:lnTo>
                  <a:lnTo>
                    <a:pt x="357" y="381"/>
                  </a:lnTo>
                  <a:lnTo>
                    <a:pt x="353" y="381"/>
                  </a:lnTo>
                  <a:lnTo>
                    <a:pt x="351" y="381"/>
                  </a:lnTo>
                  <a:lnTo>
                    <a:pt x="349" y="377"/>
                  </a:lnTo>
                  <a:lnTo>
                    <a:pt x="349" y="371"/>
                  </a:lnTo>
                  <a:lnTo>
                    <a:pt x="349" y="369"/>
                  </a:lnTo>
                  <a:lnTo>
                    <a:pt x="349" y="367"/>
                  </a:lnTo>
                  <a:lnTo>
                    <a:pt x="355" y="361"/>
                  </a:lnTo>
                  <a:lnTo>
                    <a:pt x="357" y="357"/>
                  </a:lnTo>
                  <a:lnTo>
                    <a:pt x="357" y="355"/>
                  </a:lnTo>
                  <a:lnTo>
                    <a:pt x="361" y="349"/>
                  </a:lnTo>
                  <a:lnTo>
                    <a:pt x="363" y="347"/>
                  </a:lnTo>
                  <a:lnTo>
                    <a:pt x="365" y="345"/>
                  </a:lnTo>
                  <a:lnTo>
                    <a:pt x="365" y="345"/>
                  </a:lnTo>
                  <a:lnTo>
                    <a:pt x="369" y="340"/>
                  </a:lnTo>
                  <a:lnTo>
                    <a:pt x="371" y="340"/>
                  </a:lnTo>
                  <a:lnTo>
                    <a:pt x="373" y="340"/>
                  </a:lnTo>
                  <a:lnTo>
                    <a:pt x="373" y="340"/>
                  </a:lnTo>
                  <a:lnTo>
                    <a:pt x="373" y="338"/>
                  </a:lnTo>
                  <a:lnTo>
                    <a:pt x="373" y="338"/>
                  </a:lnTo>
                  <a:lnTo>
                    <a:pt x="373" y="338"/>
                  </a:lnTo>
                  <a:lnTo>
                    <a:pt x="375" y="338"/>
                  </a:lnTo>
                  <a:lnTo>
                    <a:pt x="375" y="336"/>
                  </a:lnTo>
                  <a:lnTo>
                    <a:pt x="375" y="336"/>
                  </a:lnTo>
                  <a:lnTo>
                    <a:pt x="379" y="336"/>
                  </a:lnTo>
                  <a:lnTo>
                    <a:pt x="379" y="336"/>
                  </a:lnTo>
                  <a:lnTo>
                    <a:pt x="381" y="332"/>
                  </a:lnTo>
                  <a:lnTo>
                    <a:pt x="383" y="332"/>
                  </a:lnTo>
                  <a:lnTo>
                    <a:pt x="383" y="332"/>
                  </a:lnTo>
                  <a:lnTo>
                    <a:pt x="385" y="332"/>
                  </a:lnTo>
                  <a:lnTo>
                    <a:pt x="387" y="332"/>
                  </a:lnTo>
                  <a:lnTo>
                    <a:pt x="387" y="332"/>
                  </a:lnTo>
                  <a:lnTo>
                    <a:pt x="389" y="330"/>
                  </a:lnTo>
                  <a:lnTo>
                    <a:pt x="389" y="328"/>
                  </a:lnTo>
                  <a:lnTo>
                    <a:pt x="389" y="328"/>
                  </a:lnTo>
                  <a:lnTo>
                    <a:pt x="392" y="326"/>
                  </a:lnTo>
                  <a:lnTo>
                    <a:pt x="394" y="326"/>
                  </a:lnTo>
                  <a:lnTo>
                    <a:pt x="392" y="322"/>
                  </a:lnTo>
                  <a:lnTo>
                    <a:pt x="392" y="322"/>
                  </a:lnTo>
                  <a:lnTo>
                    <a:pt x="392" y="314"/>
                  </a:lnTo>
                  <a:lnTo>
                    <a:pt x="392" y="308"/>
                  </a:lnTo>
                  <a:lnTo>
                    <a:pt x="392" y="302"/>
                  </a:lnTo>
                  <a:lnTo>
                    <a:pt x="392" y="295"/>
                  </a:lnTo>
                  <a:lnTo>
                    <a:pt x="389" y="289"/>
                  </a:lnTo>
                  <a:lnTo>
                    <a:pt x="389" y="281"/>
                  </a:lnTo>
                  <a:lnTo>
                    <a:pt x="389" y="275"/>
                  </a:lnTo>
                  <a:lnTo>
                    <a:pt x="389" y="269"/>
                  </a:lnTo>
                  <a:lnTo>
                    <a:pt x="389" y="267"/>
                  </a:lnTo>
                  <a:lnTo>
                    <a:pt x="389" y="267"/>
                  </a:lnTo>
                  <a:lnTo>
                    <a:pt x="389" y="267"/>
                  </a:lnTo>
                  <a:lnTo>
                    <a:pt x="389" y="267"/>
                  </a:lnTo>
                  <a:lnTo>
                    <a:pt x="392" y="267"/>
                  </a:lnTo>
                  <a:lnTo>
                    <a:pt x="394" y="267"/>
                  </a:lnTo>
                  <a:lnTo>
                    <a:pt x="394" y="267"/>
                  </a:lnTo>
                  <a:lnTo>
                    <a:pt x="394" y="265"/>
                  </a:lnTo>
                  <a:lnTo>
                    <a:pt x="396" y="265"/>
                  </a:lnTo>
                  <a:lnTo>
                    <a:pt x="396" y="265"/>
                  </a:lnTo>
                  <a:lnTo>
                    <a:pt x="396" y="265"/>
                  </a:lnTo>
                  <a:lnTo>
                    <a:pt x="396" y="263"/>
                  </a:lnTo>
                  <a:lnTo>
                    <a:pt x="396" y="261"/>
                  </a:lnTo>
                  <a:lnTo>
                    <a:pt x="396" y="261"/>
                  </a:lnTo>
                  <a:lnTo>
                    <a:pt x="396" y="261"/>
                  </a:lnTo>
                  <a:lnTo>
                    <a:pt x="396" y="261"/>
                  </a:lnTo>
                  <a:lnTo>
                    <a:pt x="398" y="258"/>
                  </a:lnTo>
                  <a:lnTo>
                    <a:pt x="398" y="258"/>
                  </a:lnTo>
                  <a:lnTo>
                    <a:pt x="398" y="258"/>
                  </a:lnTo>
                  <a:lnTo>
                    <a:pt x="398" y="258"/>
                  </a:lnTo>
                  <a:lnTo>
                    <a:pt x="400" y="256"/>
                  </a:lnTo>
                  <a:lnTo>
                    <a:pt x="400" y="256"/>
                  </a:lnTo>
                  <a:lnTo>
                    <a:pt x="402" y="254"/>
                  </a:lnTo>
                  <a:lnTo>
                    <a:pt x="402" y="254"/>
                  </a:lnTo>
                  <a:lnTo>
                    <a:pt x="402" y="254"/>
                  </a:lnTo>
                  <a:lnTo>
                    <a:pt x="402" y="250"/>
                  </a:lnTo>
                  <a:lnTo>
                    <a:pt x="406" y="246"/>
                  </a:lnTo>
                  <a:lnTo>
                    <a:pt x="412" y="242"/>
                  </a:lnTo>
                  <a:lnTo>
                    <a:pt x="418" y="238"/>
                  </a:lnTo>
                  <a:lnTo>
                    <a:pt x="420" y="238"/>
                  </a:lnTo>
                  <a:lnTo>
                    <a:pt x="424" y="234"/>
                  </a:lnTo>
                  <a:lnTo>
                    <a:pt x="428" y="230"/>
                  </a:lnTo>
                  <a:lnTo>
                    <a:pt x="430" y="228"/>
                  </a:lnTo>
                  <a:lnTo>
                    <a:pt x="435" y="224"/>
                  </a:lnTo>
                  <a:lnTo>
                    <a:pt x="435" y="224"/>
                  </a:lnTo>
                  <a:lnTo>
                    <a:pt x="437" y="222"/>
                  </a:lnTo>
                  <a:lnTo>
                    <a:pt x="437" y="222"/>
                  </a:lnTo>
                  <a:lnTo>
                    <a:pt x="437" y="222"/>
                  </a:lnTo>
                  <a:lnTo>
                    <a:pt x="439" y="220"/>
                  </a:lnTo>
                  <a:lnTo>
                    <a:pt x="439" y="220"/>
                  </a:lnTo>
                  <a:lnTo>
                    <a:pt x="439" y="220"/>
                  </a:lnTo>
                  <a:lnTo>
                    <a:pt x="441" y="218"/>
                  </a:lnTo>
                  <a:lnTo>
                    <a:pt x="445" y="213"/>
                  </a:lnTo>
                  <a:lnTo>
                    <a:pt x="480" y="172"/>
                  </a:lnTo>
                  <a:lnTo>
                    <a:pt x="486" y="170"/>
                  </a:lnTo>
                  <a:lnTo>
                    <a:pt x="496" y="158"/>
                  </a:lnTo>
                  <a:lnTo>
                    <a:pt x="514" y="148"/>
                  </a:lnTo>
                  <a:lnTo>
                    <a:pt x="525" y="144"/>
                  </a:lnTo>
                  <a:lnTo>
                    <a:pt x="529" y="142"/>
                  </a:lnTo>
                  <a:lnTo>
                    <a:pt x="531" y="142"/>
                  </a:lnTo>
                  <a:lnTo>
                    <a:pt x="533" y="140"/>
                  </a:lnTo>
                  <a:lnTo>
                    <a:pt x="549" y="133"/>
                  </a:lnTo>
                  <a:lnTo>
                    <a:pt x="574" y="119"/>
                  </a:lnTo>
                  <a:lnTo>
                    <a:pt x="574" y="119"/>
                  </a:lnTo>
                  <a:lnTo>
                    <a:pt x="576" y="115"/>
                  </a:lnTo>
                  <a:lnTo>
                    <a:pt x="578" y="115"/>
                  </a:lnTo>
                  <a:lnTo>
                    <a:pt x="580" y="113"/>
                  </a:lnTo>
                  <a:lnTo>
                    <a:pt x="580" y="111"/>
                  </a:lnTo>
                  <a:lnTo>
                    <a:pt x="584" y="113"/>
                  </a:lnTo>
                  <a:lnTo>
                    <a:pt x="584" y="113"/>
                  </a:lnTo>
                  <a:lnTo>
                    <a:pt x="584" y="111"/>
                  </a:lnTo>
                  <a:lnTo>
                    <a:pt x="584" y="111"/>
                  </a:lnTo>
                  <a:close/>
                </a:path>
              </a:pathLst>
            </a:custGeom>
            <a:solidFill>
              <a:schemeClr val="accent1"/>
            </a:solidFill>
            <a:ln w="3175" cap="rnd">
              <a:solidFill>
                <a:schemeClr val="bg1"/>
              </a:solidFill>
              <a:prstDash val="solid"/>
              <a:round/>
              <a:headEnd/>
              <a:tailEnd/>
            </a:ln>
          </p:spPr>
          <p:txBody>
            <a:bodyPr vert="horz" wrap="square" lIns="0" tIns="0" rIns="240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N</a:t>
              </a:r>
            </a:p>
          </p:txBody>
        </p:sp>
        <p:sp>
          <p:nvSpPr>
            <p:cNvPr id="270" name="Freeform 33">
              <a:extLst>
                <a:ext uri="{FF2B5EF4-FFF2-40B4-BE49-F238E27FC236}">
                  <a16:creationId xmlns:a16="http://schemas.microsoft.com/office/drawing/2014/main" id="{A82523A7-A19F-7733-E0C7-8229963791FD}"/>
                </a:ext>
              </a:extLst>
            </p:cNvPr>
            <p:cNvSpPr>
              <a:spLocks noEditPoints="1"/>
            </p:cNvSpPr>
            <p:nvPr/>
          </p:nvSpPr>
          <p:spPr bwMode="auto">
            <a:xfrm>
              <a:off x="3472" y="217"/>
              <a:ext cx="674" cy="654"/>
            </a:xfrm>
            <a:custGeom>
              <a:avLst/>
              <a:gdLst>
                <a:gd name="T0" fmla="*/ 541 w 674"/>
                <a:gd name="T1" fmla="*/ 179 h 654"/>
                <a:gd name="T2" fmla="*/ 516 w 674"/>
                <a:gd name="T3" fmla="*/ 179 h 654"/>
                <a:gd name="T4" fmla="*/ 477 w 674"/>
                <a:gd name="T5" fmla="*/ 138 h 654"/>
                <a:gd name="T6" fmla="*/ 485 w 674"/>
                <a:gd name="T7" fmla="*/ 129 h 654"/>
                <a:gd name="T8" fmla="*/ 395 w 674"/>
                <a:gd name="T9" fmla="*/ 187 h 654"/>
                <a:gd name="T10" fmla="*/ 446 w 674"/>
                <a:gd name="T11" fmla="*/ 195 h 654"/>
                <a:gd name="T12" fmla="*/ 475 w 674"/>
                <a:gd name="T13" fmla="*/ 185 h 654"/>
                <a:gd name="T14" fmla="*/ 496 w 674"/>
                <a:gd name="T15" fmla="*/ 170 h 654"/>
                <a:gd name="T16" fmla="*/ 479 w 674"/>
                <a:gd name="T17" fmla="*/ 144 h 654"/>
                <a:gd name="T18" fmla="*/ 420 w 674"/>
                <a:gd name="T19" fmla="*/ 140 h 654"/>
                <a:gd name="T20" fmla="*/ 332 w 674"/>
                <a:gd name="T21" fmla="*/ 134 h 654"/>
                <a:gd name="T22" fmla="*/ 270 w 674"/>
                <a:gd name="T23" fmla="*/ 160 h 654"/>
                <a:gd name="T24" fmla="*/ 225 w 674"/>
                <a:gd name="T25" fmla="*/ 150 h 654"/>
                <a:gd name="T26" fmla="*/ 172 w 674"/>
                <a:gd name="T27" fmla="*/ 125 h 654"/>
                <a:gd name="T28" fmla="*/ 147 w 674"/>
                <a:gd name="T29" fmla="*/ 144 h 654"/>
                <a:gd name="T30" fmla="*/ 141 w 674"/>
                <a:gd name="T31" fmla="*/ 111 h 654"/>
                <a:gd name="T32" fmla="*/ 76 w 674"/>
                <a:gd name="T33" fmla="*/ 142 h 654"/>
                <a:gd name="T34" fmla="*/ 10 w 674"/>
                <a:gd name="T35" fmla="*/ 185 h 654"/>
                <a:gd name="T36" fmla="*/ 98 w 674"/>
                <a:gd name="T37" fmla="*/ 213 h 654"/>
                <a:gd name="T38" fmla="*/ 145 w 674"/>
                <a:gd name="T39" fmla="*/ 224 h 654"/>
                <a:gd name="T40" fmla="*/ 172 w 674"/>
                <a:gd name="T41" fmla="*/ 226 h 654"/>
                <a:gd name="T42" fmla="*/ 190 w 674"/>
                <a:gd name="T43" fmla="*/ 244 h 654"/>
                <a:gd name="T44" fmla="*/ 211 w 674"/>
                <a:gd name="T45" fmla="*/ 254 h 654"/>
                <a:gd name="T46" fmla="*/ 209 w 674"/>
                <a:gd name="T47" fmla="*/ 281 h 654"/>
                <a:gd name="T48" fmla="*/ 223 w 674"/>
                <a:gd name="T49" fmla="*/ 293 h 654"/>
                <a:gd name="T50" fmla="*/ 262 w 674"/>
                <a:gd name="T51" fmla="*/ 246 h 654"/>
                <a:gd name="T52" fmla="*/ 276 w 674"/>
                <a:gd name="T53" fmla="*/ 242 h 654"/>
                <a:gd name="T54" fmla="*/ 307 w 674"/>
                <a:gd name="T55" fmla="*/ 222 h 654"/>
                <a:gd name="T56" fmla="*/ 303 w 674"/>
                <a:gd name="T57" fmla="*/ 248 h 654"/>
                <a:gd name="T58" fmla="*/ 321 w 674"/>
                <a:gd name="T59" fmla="*/ 226 h 654"/>
                <a:gd name="T60" fmla="*/ 293 w 674"/>
                <a:gd name="T61" fmla="*/ 156 h 654"/>
                <a:gd name="T62" fmla="*/ 145 w 674"/>
                <a:gd name="T63" fmla="*/ 105 h 654"/>
                <a:gd name="T64" fmla="*/ 162 w 674"/>
                <a:gd name="T65" fmla="*/ 99 h 654"/>
                <a:gd name="T66" fmla="*/ 199 w 674"/>
                <a:gd name="T67" fmla="*/ 72 h 654"/>
                <a:gd name="T68" fmla="*/ 80 w 674"/>
                <a:gd name="T69" fmla="*/ 35 h 654"/>
                <a:gd name="T70" fmla="*/ 133 w 674"/>
                <a:gd name="T71" fmla="*/ 0 h 654"/>
                <a:gd name="T72" fmla="*/ 352 w 674"/>
                <a:gd name="T73" fmla="*/ 302 h 654"/>
                <a:gd name="T74" fmla="*/ 471 w 674"/>
                <a:gd name="T75" fmla="*/ 185 h 654"/>
                <a:gd name="T76" fmla="*/ 674 w 674"/>
                <a:gd name="T77" fmla="*/ 478 h 654"/>
                <a:gd name="T78" fmla="*/ 600 w 674"/>
                <a:gd name="T79" fmla="*/ 379 h 654"/>
                <a:gd name="T80" fmla="*/ 563 w 674"/>
                <a:gd name="T81" fmla="*/ 427 h 654"/>
                <a:gd name="T82" fmla="*/ 555 w 674"/>
                <a:gd name="T83" fmla="*/ 386 h 654"/>
                <a:gd name="T84" fmla="*/ 577 w 674"/>
                <a:gd name="T85" fmla="*/ 347 h 654"/>
                <a:gd name="T86" fmla="*/ 561 w 674"/>
                <a:gd name="T87" fmla="*/ 279 h 654"/>
                <a:gd name="T88" fmla="*/ 569 w 674"/>
                <a:gd name="T89" fmla="*/ 263 h 654"/>
                <a:gd name="T90" fmla="*/ 522 w 674"/>
                <a:gd name="T91" fmla="*/ 238 h 654"/>
                <a:gd name="T92" fmla="*/ 428 w 674"/>
                <a:gd name="T93" fmla="*/ 215 h 654"/>
                <a:gd name="T94" fmla="*/ 407 w 674"/>
                <a:gd name="T95" fmla="*/ 300 h 654"/>
                <a:gd name="T96" fmla="*/ 397 w 674"/>
                <a:gd name="T97" fmla="*/ 308 h 654"/>
                <a:gd name="T98" fmla="*/ 393 w 674"/>
                <a:gd name="T99" fmla="*/ 295 h 654"/>
                <a:gd name="T100" fmla="*/ 366 w 674"/>
                <a:gd name="T101" fmla="*/ 308 h 654"/>
                <a:gd name="T102" fmla="*/ 344 w 674"/>
                <a:gd name="T103" fmla="*/ 338 h 654"/>
                <a:gd name="T104" fmla="*/ 342 w 674"/>
                <a:gd name="T105" fmla="*/ 433 h 654"/>
                <a:gd name="T106" fmla="*/ 369 w 674"/>
                <a:gd name="T107" fmla="*/ 517 h 654"/>
                <a:gd name="T108" fmla="*/ 420 w 674"/>
                <a:gd name="T109" fmla="*/ 644 h 654"/>
                <a:gd name="T110" fmla="*/ 596 w 674"/>
                <a:gd name="T111" fmla="*/ 621 h 654"/>
                <a:gd name="T112" fmla="*/ 629 w 674"/>
                <a:gd name="T113" fmla="*/ 586 h 654"/>
                <a:gd name="T114" fmla="*/ 647 w 674"/>
                <a:gd name="T115" fmla="*/ 535 h 654"/>
                <a:gd name="T116" fmla="*/ 663 w 674"/>
                <a:gd name="T117" fmla="*/ 517 h 654"/>
                <a:gd name="T118" fmla="*/ 391 w 674"/>
                <a:gd name="T119" fmla="*/ 215 h 654"/>
                <a:gd name="T120" fmla="*/ 475 w 674"/>
                <a:gd name="T121" fmla="*/ 207 h 654"/>
                <a:gd name="T122" fmla="*/ 391 w 674"/>
                <a:gd name="T123" fmla="*/ 226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4" h="654">
                  <a:moveTo>
                    <a:pt x="512" y="183"/>
                  </a:moveTo>
                  <a:lnTo>
                    <a:pt x="512" y="183"/>
                  </a:lnTo>
                  <a:lnTo>
                    <a:pt x="512" y="183"/>
                  </a:lnTo>
                  <a:lnTo>
                    <a:pt x="512" y="181"/>
                  </a:lnTo>
                  <a:lnTo>
                    <a:pt x="514" y="181"/>
                  </a:lnTo>
                  <a:lnTo>
                    <a:pt x="514" y="181"/>
                  </a:lnTo>
                  <a:lnTo>
                    <a:pt x="514" y="183"/>
                  </a:lnTo>
                  <a:lnTo>
                    <a:pt x="516" y="183"/>
                  </a:lnTo>
                  <a:lnTo>
                    <a:pt x="518" y="183"/>
                  </a:lnTo>
                  <a:lnTo>
                    <a:pt x="518" y="185"/>
                  </a:lnTo>
                  <a:lnTo>
                    <a:pt x="518" y="185"/>
                  </a:lnTo>
                  <a:lnTo>
                    <a:pt x="518" y="185"/>
                  </a:lnTo>
                  <a:lnTo>
                    <a:pt x="520" y="185"/>
                  </a:lnTo>
                  <a:lnTo>
                    <a:pt x="520" y="185"/>
                  </a:lnTo>
                  <a:lnTo>
                    <a:pt x="522" y="183"/>
                  </a:lnTo>
                  <a:lnTo>
                    <a:pt x="524" y="185"/>
                  </a:lnTo>
                  <a:lnTo>
                    <a:pt x="524" y="185"/>
                  </a:lnTo>
                  <a:lnTo>
                    <a:pt x="526" y="185"/>
                  </a:lnTo>
                  <a:lnTo>
                    <a:pt x="526" y="185"/>
                  </a:lnTo>
                  <a:lnTo>
                    <a:pt x="528" y="183"/>
                  </a:lnTo>
                  <a:lnTo>
                    <a:pt x="528" y="183"/>
                  </a:lnTo>
                  <a:lnTo>
                    <a:pt x="532" y="183"/>
                  </a:lnTo>
                  <a:lnTo>
                    <a:pt x="534" y="185"/>
                  </a:lnTo>
                  <a:lnTo>
                    <a:pt x="536" y="185"/>
                  </a:lnTo>
                  <a:lnTo>
                    <a:pt x="539" y="183"/>
                  </a:lnTo>
                  <a:lnTo>
                    <a:pt x="541" y="183"/>
                  </a:lnTo>
                  <a:lnTo>
                    <a:pt x="541" y="179"/>
                  </a:lnTo>
                  <a:lnTo>
                    <a:pt x="541" y="179"/>
                  </a:lnTo>
                  <a:lnTo>
                    <a:pt x="543" y="177"/>
                  </a:lnTo>
                  <a:lnTo>
                    <a:pt x="543" y="174"/>
                  </a:lnTo>
                  <a:lnTo>
                    <a:pt x="541" y="174"/>
                  </a:lnTo>
                  <a:lnTo>
                    <a:pt x="539" y="174"/>
                  </a:lnTo>
                  <a:lnTo>
                    <a:pt x="536" y="172"/>
                  </a:lnTo>
                  <a:lnTo>
                    <a:pt x="536" y="170"/>
                  </a:lnTo>
                  <a:lnTo>
                    <a:pt x="534" y="168"/>
                  </a:lnTo>
                  <a:lnTo>
                    <a:pt x="532" y="168"/>
                  </a:lnTo>
                  <a:lnTo>
                    <a:pt x="530" y="166"/>
                  </a:lnTo>
                  <a:lnTo>
                    <a:pt x="524" y="166"/>
                  </a:lnTo>
                  <a:lnTo>
                    <a:pt x="522" y="166"/>
                  </a:lnTo>
                  <a:lnTo>
                    <a:pt x="522" y="168"/>
                  </a:lnTo>
                  <a:lnTo>
                    <a:pt x="524" y="168"/>
                  </a:lnTo>
                  <a:lnTo>
                    <a:pt x="524" y="170"/>
                  </a:lnTo>
                  <a:lnTo>
                    <a:pt x="526" y="170"/>
                  </a:lnTo>
                  <a:lnTo>
                    <a:pt x="526" y="170"/>
                  </a:lnTo>
                  <a:lnTo>
                    <a:pt x="526" y="170"/>
                  </a:lnTo>
                  <a:lnTo>
                    <a:pt x="526" y="172"/>
                  </a:lnTo>
                  <a:lnTo>
                    <a:pt x="526" y="172"/>
                  </a:lnTo>
                  <a:lnTo>
                    <a:pt x="524" y="172"/>
                  </a:lnTo>
                  <a:lnTo>
                    <a:pt x="524" y="174"/>
                  </a:lnTo>
                  <a:lnTo>
                    <a:pt x="522" y="174"/>
                  </a:lnTo>
                  <a:lnTo>
                    <a:pt x="520" y="177"/>
                  </a:lnTo>
                  <a:lnTo>
                    <a:pt x="520" y="177"/>
                  </a:lnTo>
                  <a:lnTo>
                    <a:pt x="518" y="177"/>
                  </a:lnTo>
                  <a:lnTo>
                    <a:pt x="518" y="179"/>
                  </a:lnTo>
                  <a:lnTo>
                    <a:pt x="518" y="179"/>
                  </a:lnTo>
                  <a:lnTo>
                    <a:pt x="516" y="179"/>
                  </a:lnTo>
                  <a:lnTo>
                    <a:pt x="514" y="177"/>
                  </a:lnTo>
                  <a:lnTo>
                    <a:pt x="512" y="177"/>
                  </a:lnTo>
                  <a:lnTo>
                    <a:pt x="512" y="179"/>
                  </a:lnTo>
                  <a:lnTo>
                    <a:pt x="512" y="181"/>
                  </a:lnTo>
                  <a:lnTo>
                    <a:pt x="512" y="183"/>
                  </a:lnTo>
                  <a:close/>
                  <a:moveTo>
                    <a:pt x="485" y="150"/>
                  </a:moveTo>
                  <a:lnTo>
                    <a:pt x="483" y="150"/>
                  </a:lnTo>
                  <a:lnTo>
                    <a:pt x="483" y="150"/>
                  </a:lnTo>
                  <a:lnTo>
                    <a:pt x="483" y="152"/>
                  </a:lnTo>
                  <a:lnTo>
                    <a:pt x="483" y="154"/>
                  </a:lnTo>
                  <a:lnTo>
                    <a:pt x="483" y="156"/>
                  </a:lnTo>
                  <a:lnTo>
                    <a:pt x="485" y="158"/>
                  </a:lnTo>
                  <a:lnTo>
                    <a:pt x="487" y="158"/>
                  </a:lnTo>
                  <a:lnTo>
                    <a:pt x="489" y="156"/>
                  </a:lnTo>
                  <a:lnTo>
                    <a:pt x="489" y="154"/>
                  </a:lnTo>
                  <a:lnTo>
                    <a:pt x="487" y="152"/>
                  </a:lnTo>
                  <a:lnTo>
                    <a:pt x="487" y="150"/>
                  </a:lnTo>
                  <a:lnTo>
                    <a:pt x="485" y="150"/>
                  </a:lnTo>
                  <a:close/>
                  <a:moveTo>
                    <a:pt x="629" y="566"/>
                  </a:moveTo>
                  <a:lnTo>
                    <a:pt x="629" y="568"/>
                  </a:lnTo>
                  <a:lnTo>
                    <a:pt x="629" y="574"/>
                  </a:lnTo>
                  <a:lnTo>
                    <a:pt x="629" y="576"/>
                  </a:lnTo>
                  <a:lnTo>
                    <a:pt x="629" y="578"/>
                  </a:lnTo>
                  <a:lnTo>
                    <a:pt x="631" y="576"/>
                  </a:lnTo>
                  <a:lnTo>
                    <a:pt x="631" y="572"/>
                  </a:lnTo>
                  <a:lnTo>
                    <a:pt x="629" y="566"/>
                  </a:lnTo>
                  <a:close/>
                  <a:moveTo>
                    <a:pt x="475" y="136"/>
                  </a:moveTo>
                  <a:lnTo>
                    <a:pt x="477" y="138"/>
                  </a:lnTo>
                  <a:lnTo>
                    <a:pt x="477" y="138"/>
                  </a:lnTo>
                  <a:lnTo>
                    <a:pt x="479" y="142"/>
                  </a:lnTo>
                  <a:lnTo>
                    <a:pt x="479" y="144"/>
                  </a:lnTo>
                  <a:lnTo>
                    <a:pt x="481" y="144"/>
                  </a:lnTo>
                  <a:lnTo>
                    <a:pt x="483" y="144"/>
                  </a:lnTo>
                  <a:lnTo>
                    <a:pt x="483" y="146"/>
                  </a:lnTo>
                  <a:lnTo>
                    <a:pt x="483" y="148"/>
                  </a:lnTo>
                  <a:lnTo>
                    <a:pt x="483" y="148"/>
                  </a:lnTo>
                  <a:lnTo>
                    <a:pt x="483" y="148"/>
                  </a:lnTo>
                  <a:lnTo>
                    <a:pt x="485" y="148"/>
                  </a:lnTo>
                  <a:lnTo>
                    <a:pt x="485" y="148"/>
                  </a:lnTo>
                  <a:lnTo>
                    <a:pt x="487" y="148"/>
                  </a:lnTo>
                  <a:lnTo>
                    <a:pt x="487" y="148"/>
                  </a:lnTo>
                  <a:lnTo>
                    <a:pt x="487" y="148"/>
                  </a:lnTo>
                  <a:lnTo>
                    <a:pt x="487" y="148"/>
                  </a:lnTo>
                  <a:lnTo>
                    <a:pt x="487" y="148"/>
                  </a:lnTo>
                  <a:lnTo>
                    <a:pt x="487" y="146"/>
                  </a:lnTo>
                  <a:lnTo>
                    <a:pt x="487" y="146"/>
                  </a:lnTo>
                  <a:lnTo>
                    <a:pt x="483" y="142"/>
                  </a:lnTo>
                  <a:lnTo>
                    <a:pt x="481" y="140"/>
                  </a:lnTo>
                  <a:lnTo>
                    <a:pt x="481" y="140"/>
                  </a:lnTo>
                  <a:lnTo>
                    <a:pt x="481" y="138"/>
                  </a:lnTo>
                  <a:lnTo>
                    <a:pt x="481" y="136"/>
                  </a:lnTo>
                  <a:lnTo>
                    <a:pt x="483" y="131"/>
                  </a:lnTo>
                  <a:lnTo>
                    <a:pt x="483" y="129"/>
                  </a:lnTo>
                  <a:lnTo>
                    <a:pt x="483" y="129"/>
                  </a:lnTo>
                  <a:lnTo>
                    <a:pt x="485" y="129"/>
                  </a:lnTo>
                  <a:lnTo>
                    <a:pt x="485" y="129"/>
                  </a:lnTo>
                  <a:lnTo>
                    <a:pt x="483" y="127"/>
                  </a:lnTo>
                  <a:lnTo>
                    <a:pt x="479" y="127"/>
                  </a:lnTo>
                  <a:lnTo>
                    <a:pt x="479" y="127"/>
                  </a:lnTo>
                  <a:lnTo>
                    <a:pt x="479" y="127"/>
                  </a:lnTo>
                  <a:lnTo>
                    <a:pt x="475" y="131"/>
                  </a:lnTo>
                  <a:lnTo>
                    <a:pt x="475" y="134"/>
                  </a:lnTo>
                  <a:lnTo>
                    <a:pt x="473" y="136"/>
                  </a:lnTo>
                  <a:lnTo>
                    <a:pt x="475" y="136"/>
                  </a:lnTo>
                  <a:lnTo>
                    <a:pt x="475" y="136"/>
                  </a:lnTo>
                  <a:close/>
                  <a:moveTo>
                    <a:pt x="344" y="205"/>
                  </a:moveTo>
                  <a:lnTo>
                    <a:pt x="350" y="207"/>
                  </a:lnTo>
                  <a:lnTo>
                    <a:pt x="354" y="209"/>
                  </a:lnTo>
                  <a:lnTo>
                    <a:pt x="354" y="207"/>
                  </a:lnTo>
                  <a:lnTo>
                    <a:pt x="354" y="205"/>
                  </a:lnTo>
                  <a:lnTo>
                    <a:pt x="356" y="203"/>
                  </a:lnTo>
                  <a:lnTo>
                    <a:pt x="364" y="201"/>
                  </a:lnTo>
                  <a:lnTo>
                    <a:pt x="375" y="201"/>
                  </a:lnTo>
                  <a:lnTo>
                    <a:pt x="375" y="199"/>
                  </a:lnTo>
                  <a:lnTo>
                    <a:pt x="377" y="199"/>
                  </a:lnTo>
                  <a:lnTo>
                    <a:pt x="377" y="195"/>
                  </a:lnTo>
                  <a:lnTo>
                    <a:pt x="381" y="189"/>
                  </a:lnTo>
                  <a:lnTo>
                    <a:pt x="383" y="187"/>
                  </a:lnTo>
                  <a:lnTo>
                    <a:pt x="389" y="187"/>
                  </a:lnTo>
                  <a:lnTo>
                    <a:pt x="391" y="185"/>
                  </a:lnTo>
                  <a:lnTo>
                    <a:pt x="391" y="185"/>
                  </a:lnTo>
                  <a:lnTo>
                    <a:pt x="393" y="185"/>
                  </a:lnTo>
                  <a:lnTo>
                    <a:pt x="393" y="187"/>
                  </a:lnTo>
                  <a:lnTo>
                    <a:pt x="395" y="187"/>
                  </a:lnTo>
                  <a:lnTo>
                    <a:pt x="395" y="187"/>
                  </a:lnTo>
                  <a:lnTo>
                    <a:pt x="397" y="185"/>
                  </a:lnTo>
                  <a:lnTo>
                    <a:pt x="399" y="185"/>
                  </a:lnTo>
                  <a:lnTo>
                    <a:pt x="401" y="187"/>
                  </a:lnTo>
                  <a:lnTo>
                    <a:pt x="403" y="187"/>
                  </a:lnTo>
                  <a:lnTo>
                    <a:pt x="409" y="187"/>
                  </a:lnTo>
                  <a:lnTo>
                    <a:pt x="412" y="187"/>
                  </a:lnTo>
                  <a:lnTo>
                    <a:pt x="416" y="189"/>
                  </a:lnTo>
                  <a:lnTo>
                    <a:pt x="422" y="191"/>
                  </a:lnTo>
                  <a:lnTo>
                    <a:pt x="424" y="191"/>
                  </a:lnTo>
                  <a:lnTo>
                    <a:pt x="428" y="193"/>
                  </a:lnTo>
                  <a:lnTo>
                    <a:pt x="428" y="195"/>
                  </a:lnTo>
                  <a:lnTo>
                    <a:pt x="430" y="195"/>
                  </a:lnTo>
                  <a:lnTo>
                    <a:pt x="432" y="197"/>
                  </a:lnTo>
                  <a:lnTo>
                    <a:pt x="432" y="197"/>
                  </a:lnTo>
                  <a:lnTo>
                    <a:pt x="434" y="197"/>
                  </a:lnTo>
                  <a:lnTo>
                    <a:pt x="436" y="199"/>
                  </a:lnTo>
                  <a:lnTo>
                    <a:pt x="438" y="199"/>
                  </a:lnTo>
                  <a:lnTo>
                    <a:pt x="438" y="201"/>
                  </a:lnTo>
                  <a:lnTo>
                    <a:pt x="440" y="203"/>
                  </a:lnTo>
                  <a:lnTo>
                    <a:pt x="444" y="203"/>
                  </a:lnTo>
                  <a:lnTo>
                    <a:pt x="446" y="205"/>
                  </a:lnTo>
                  <a:lnTo>
                    <a:pt x="448" y="201"/>
                  </a:lnTo>
                  <a:lnTo>
                    <a:pt x="448" y="201"/>
                  </a:lnTo>
                  <a:lnTo>
                    <a:pt x="446" y="199"/>
                  </a:lnTo>
                  <a:lnTo>
                    <a:pt x="446" y="197"/>
                  </a:lnTo>
                  <a:lnTo>
                    <a:pt x="448" y="195"/>
                  </a:lnTo>
                  <a:lnTo>
                    <a:pt x="446" y="195"/>
                  </a:lnTo>
                  <a:lnTo>
                    <a:pt x="446" y="195"/>
                  </a:lnTo>
                  <a:lnTo>
                    <a:pt x="446" y="193"/>
                  </a:lnTo>
                  <a:lnTo>
                    <a:pt x="446" y="191"/>
                  </a:lnTo>
                  <a:lnTo>
                    <a:pt x="448" y="191"/>
                  </a:lnTo>
                  <a:lnTo>
                    <a:pt x="448" y="191"/>
                  </a:lnTo>
                  <a:lnTo>
                    <a:pt x="448" y="191"/>
                  </a:lnTo>
                  <a:lnTo>
                    <a:pt x="448" y="185"/>
                  </a:lnTo>
                  <a:lnTo>
                    <a:pt x="450" y="183"/>
                  </a:lnTo>
                  <a:lnTo>
                    <a:pt x="453" y="183"/>
                  </a:lnTo>
                  <a:lnTo>
                    <a:pt x="455" y="185"/>
                  </a:lnTo>
                  <a:lnTo>
                    <a:pt x="457" y="183"/>
                  </a:lnTo>
                  <a:lnTo>
                    <a:pt x="459" y="183"/>
                  </a:lnTo>
                  <a:lnTo>
                    <a:pt x="461" y="185"/>
                  </a:lnTo>
                  <a:lnTo>
                    <a:pt x="461" y="187"/>
                  </a:lnTo>
                  <a:lnTo>
                    <a:pt x="461" y="187"/>
                  </a:lnTo>
                  <a:lnTo>
                    <a:pt x="461" y="189"/>
                  </a:lnTo>
                  <a:lnTo>
                    <a:pt x="463" y="189"/>
                  </a:lnTo>
                  <a:lnTo>
                    <a:pt x="463" y="187"/>
                  </a:lnTo>
                  <a:lnTo>
                    <a:pt x="463" y="187"/>
                  </a:lnTo>
                  <a:lnTo>
                    <a:pt x="465" y="187"/>
                  </a:lnTo>
                  <a:lnTo>
                    <a:pt x="467" y="189"/>
                  </a:lnTo>
                  <a:lnTo>
                    <a:pt x="467" y="187"/>
                  </a:lnTo>
                  <a:lnTo>
                    <a:pt x="467" y="185"/>
                  </a:lnTo>
                  <a:lnTo>
                    <a:pt x="471" y="185"/>
                  </a:lnTo>
                  <a:lnTo>
                    <a:pt x="473" y="187"/>
                  </a:lnTo>
                  <a:lnTo>
                    <a:pt x="475" y="187"/>
                  </a:lnTo>
                  <a:lnTo>
                    <a:pt x="475" y="187"/>
                  </a:lnTo>
                  <a:lnTo>
                    <a:pt x="475" y="185"/>
                  </a:lnTo>
                  <a:lnTo>
                    <a:pt x="475" y="185"/>
                  </a:lnTo>
                  <a:lnTo>
                    <a:pt x="477" y="185"/>
                  </a:lnTo>
                  <a:lnTo>
                    <a:pt x="477" y="185"/>
                  </a:lnTo>
                  <a:lnTo>
                    <a:pt x="479" y="185"/>
                  </a:lnTo>
                  <a:lnTo>
                    <a:pt x="479" y="185"/>
                  </a:lnTo>
                  <a:lnTo>
                    <a:pt x="485" y="185"/>
                  </a:lnTo>
                  <a:lnTo>
                    <a:pt x="502" y="185"/>
                  </a:lnTo>
                  <a:lnTo>
                    <a:pt x="502" y="185"/>
                  </a:lnTo>
                  <a:lnTo>
                    <a:pt x="502" y="185"/>
                  </a:lnTo>
                  <a:lnTo>
                    <a:pt x="504" y="185"/>
                  </a:lnTo>
                  <a:lnTo>
                    <a:pt x="504" y="185"/>
                  </a:lnTo>
                  <a:lnTo>
                    <a:pt x="504" y="185"/>
                  </a:lnTo>
                  <a:lnTo>
                    <a:pt x="508" y="183"/>
                  </a:lnTo>
                  <a:lnTo>
                    <a:pt x="510" y="183"/>
                  </a:lnTo>
                  <a:lnTo>
                    <a:pt x="510" y="183"/>
                  </a:lnTo>
                  <a:lnTo>
                    <a:pt x="510" y="181"/>
                  </a:lnTo>
                  <a:lnTo>
                    <a:pt x="510" y="179"/>
                  </a:lnTo>
                  <a:lnTo>
                    <a:pt x="510" y="179"/>
                  </a:lnTo>
                  <a:lnTo>
                    <a:pt x="508" y="179"/>
                  </a:lnTo>
                  <a:lnTo>
                    <a:pt x="506" y="177"/>
                  </a:lnTo>
                  <a:lnTo>
                    <a:pt x="506" y="177"/>
                  </a:lnTo>
                  <a:lnTo>
                    <a:pt x="504" y="177"/>
                  </a:lnTo>
                  <a:lnTo>
                    <a:pt x="504" y="177"/>
                  </a:lnTo>
                  <a:lnTo>
                    <a:pt x="502" y="177"/>
                  </a:lnTo>
                  <a:lnTo>
                    <a:pt x="500" y="174"/>
                  </a:lnTo>
                  <a:lnTo>
                    <a:pt x="498" y="172"/>
                  </a:lnTo>
                  <a:lnTo>
                    <a:pt x="496" y="172"/>
                  </a:lnTo>
                  <a:lnTo>
                    <a:pt x="496" y="170"/>
                  </a:lnTo>
                  <a:lnTo>
                    <a:pt x="496" y="168"/>
                  </a:lnTo>
                  <a:lnTo>
                    <a:pt x="498" y="168"/>
                  </a:lnTo>
                  <a:lnTo>
                    <a:pt x="498" y="166"/>
                  </a:lnTo>
                  <a:lnTo>
                    <a:pt x="498" y="166"/>
                  </a:lnTo>
                  <a:lnTo>
                    <a:pt x="496" y="166"/>
                  </a:lnTo>
                  <a:lnTo>
                    <a:pt x="493" y="166"/>
                  </a:lnTo>
                  <a:lnTo>
                    <a:pt x="493" y="166"/>
                  </a:lnTo>
                  <a:lnTo>
                    <a:pt x="491" y="166"/>
                  </a:lnTo>
                  <a:lnTo>
                    <a:pt x="491" y="166"/>
                  </a:lnTo>
                  <a:lnTo>
                    <a:pt x="491" y="166"/>
                  </a:lnTo>
                  <a:lnTo>
                    <a:pt x="489" y="164"/>
                  </a:lnTo>
                  <a:lnTo>
                    <a:pt x="489" y="164"/>
                  </a:lnTo>
                  <a:lnTo>
                    <a:pt x="487" y="164"/>
                  </a:lnTo>
                  <a:lnTo>
                    <a:pt x="485" y="164"/>
                  </a:lnTo>
                  <a:lnTo>
                    <a:pt x="483" y="164"/>
                  </a:lnTo>
                  <a:lnTo>
                    <a:pt x="483" y="166"/>
                  </a:lnTo>
                  <a:lnTo>
                    <a:pt x="481" y="164"/>
                  </a:lnTo>
                  <a:lnTo>
                    <a:pt x="479" y="162"/>
                  </a:lnTo>
                  <a:lnTo>
                    <a:pt x="479" y="162"/>
                  </a:lnTo>
                  <a:lnTo>
                    <a:pt x="481" y="160"/>
                  </a:lnTo>
                  <a:lnTo>
                    <a:pt x="483" y="158"/>
                  </a:lnTo>
                  <a:lnTo>
                    <a:pt x="485" y="158"/>
                  </a:lnTo>
                  <a:lnTo>
                    <a:pt x="483" y="156"/>
                  </a:lnTo>
                  <a:lnTo>
                    <a:pt x="481" y="154"/>
                  </a:lnTo>
                  <a:lnTo>
                    <a:pt x="481" y="152"/>
                  </a:lnTo>
                  <a:lnTo>
                    <a:pt x="479" y="148"/>
                  </a:lnTo>
                  <a:lnTo>
                    <a:pt x="479" y="146"/>
                  </a:lnTo>
                  <a:lnTo>
                    <a:pt x="479" y="144"/>
                  </a:lnTo>
                  <a:lnTo>
                    <a:pt x="475" y="140"/>
                  </a:lnTo>
                  <a:lnTo>
                    <a:pt x="473" y="138"/>
                  </a:lnTo>
                  <a:lnTo>
                    <a:pt x="471" y="134"/>
                  </a:lnTo>
                  <a:lnTo>
                    <a:pt x="469" y="134"/>
                  </a:lnTo>
                  <a:lnTo>
                    <a:pt x="467" y="134"/>
                  </a:lnTo>
                  <a:lnTo>
                    <a:pt x="465" y="134"/>
                  </a:lnTo>
                  <a:lnTo>
                    <a:pt x="463" y="134"/>
                  </a:lnTo>
                  <a:lnTo>
                    <a:pt x="463" y="134"/>
                  </a:lnTo>
                  <a:lnTo>
                    <a:pt x="461" y="140"/>
                  </a:lnTo>
                  <a:lnTo>
                    <a:pt x="459" y="142"/>
                  </a:lnTo>
                  <a:lnTo>
                    <a:pt x="455" y="144"/>
                  </a:lnTo>
                  <a:lnTo>
                    <a:pt x="453" y="144"/>
                  </a:lnTo>
                  <a:lnTo>
                    <a:pt x="448" y="144"/>
                  </a:lnTo>
                  <a:lnTo>
                    <a:pt x="450" y="142"/>
                  </a:lnTo>
                  <a:lnTo>
                    <a:pt x="446" y="138"/>
                  </a:lnTo>
                  <a:lnTo>
                    <a:pt x="444" y="138"/>
                  </a:lnTo>
                  <a:lnTo>
                    <a:pt x="442" y="138"/>
                  </a:lnTo>
                  <a:lnTo>
                    <a:pt x="440" y="140"/>
                  </a:lnTo>
                  <a:lnTo>
                    <a:pt x="438" y="142"/>
                  </a:lnTo>
                  <a:lnTo>
                    <a:pt x="434" y="142"/>
                  </a:lnTo>
                  <a:lnTo>
                    <a:pt x="432" y="144"/>
                  </a:lnTo>
                  <a:lnTo>
                    <a:pt x="430" y="144"/>
                  </a:lnTo>
                  <a:lnTo>
                    <a:pt x="428" y="142"/>
                  </a:lnTo>
                  <a:lnTo>
                    <a:pt x="424" y="142"/>
                  </a:lnTo>
                  <a:lnTo>
                    <a:pt x="424" y="142"/>
                  </a:lnTo>
                  <a:lnTo>
                    <a:pt x="422" y="140"/>
                  </a:lnTo>
                  <a:lnTo>
                    <a:pt x="422" y="140"/>
                  </a:lnTo>
                  <a:lnTo>
                    <a:pt x="420" y="140"/>
                  </a:lnTo>
                  <a:lnTo>
                    <a:pt x="418" y="142"/>
                  </a:lnTo>
                  <a:lnTo>
                    <a:pt x="418" y="142"/>
                  </a:lnTo>
                  <a:lnTo>
                    <a:pt x="416" y="142"/>
                  </a:lnTo>
                  <a:lnTo>
                    <a:pt x="414" y="142"/>
                  </a:lnTo>
                  <a:lnTo>
                    <a:pt x="414" y="140"/>
                  </a:lnTo>
                  <a:lnTo>
                    <a:pt x="414" y="138"/>
                  </a:lnTo>
                  <a:lnTo>
                    <a:pt x="416" y="136"/>
                  </a:lnTo>
                  <a:lnTo>
                    <a:pt x="416" y="134"/>
                  </a:lnTo>
                  <a:lnTo>
                    <a:pt x="414" y="129"/>
                  </a:lnTo>
                  <a:lnTo>
                    <a:pt x="414" y="117"/>
                  </a:lnTo>
                  <a:lnTo>
                    <a:pt x="414" y="117"/>
                  </a:lnTo>
                  <a:lnTo>
                    <a:pt x="416" y="115"/>
                  </a:lnTo>
                  <a:lnTo>
                    <a:pt x="416" y="113"/>
                  </a:lnTo>
                  <a:lnTo>
                    <a:pt x="418" y="113"/>
                  </a:lnTo>
                  <a:lnTo>
                    <a:pt x="418" y="111"/>
                  </a:lnTo>
                  <a:lnTo>
                    <a:pt x="416" y="111"/>
                  </a:lnTo>
                  <a:lnTo>
                    <a:pt x="412" y="113"/>
                  </a:lnTo>
                  <a:lnTo>
                    <a:pt x="412" y="113"/>
                  </a:lnTo>
                  <a:lnTo>
                    <a:pt x="403" y="113"/>
                  </a:lnTo>
                  <a:lnTo>
                    <a:pt x="399" y="115"/>
                  </a:lnTo>
                  <a:lnTo>
                    <a:pt x="391" y="117"/>
                  </a:lnTo>
                  <a:lnTo>
                    <a:pt x="379" y="125"/>
                  </a:lnTo>
                  <a:lnTo>
                    <a:pt x="375" y="127"/>
                  </a:lnTo>
                  <a:lnTo>
                    <a:pt x="348" y="127"/>
                  </a:lnTo>
                  <a:lnTo>
                    <a:pt x="346" y="129"/>
                  </a:lnTo>
                  <a:lnTo>
                    <a:pt x="346" y="127"/>
                  </a:lnTo>
                  <a:lnTo>
                    <a:pt x="344" y="129"/>
                  </a:lnTo>
                  <a:lnTo>
                    <a:pt x="332" y="134"/>
                  </a:lnTo>
                  <a:lnTo>
                    <a:pt x="330" y="134"/>
                  </a:lnTo>
                  <a:lnTo>
                    <a:pt x="328" y="134"/>
                  </a:lnTo>
                  <a:lnTo>
                    <a:pt x="317" y="142"/>
                  </a:lnTo>
                  <a:lnTo>
                    <a:pt x="309" y="146"/>
                  </a:lnTo>
                  <a:lnTo>
                    <a:pt x="307" y="148"/>
                  </a:lnTo>
                  <a:lnTo>
                    <a:pt x="303" y="150"/>
                  </a:lnTo>
                  <a:lnTo>
                    <a:pt x="303" y="150"/>
                  </a:lnTo>
                  <a:lnTo>
                    <a:pt x="299" y="154"/>
                  </a:lnTo>
                  <a:lnTo>
                    <a:pt x="299" y="154"/>
                  </a:lnTo>
                  <a:lnTo>
                    <a:pt x="295" y="160"/>
                  </a:lnTo>
                  <a:lnTo>
                    <a:pt x="293" y="162"/>
                  </a:lnTo>
                  <a:lnTo>
                    <a:pt x="291" y="164"/>
                  </a:lnTo>
                  <a:lnTo>
                    <a:pt x="291" y="164"/>
                  </a:lnTo>
                  <a:lnTo>
                    <a:pt x="291" y="162"/>
                  </a:lnTo>
                  <a:lnTo>
                    <a:pt x="291" y="162"/>
                  </a:lnTo>
                  <a:lnTo>
                    <a:pt x="289" y="162"/>
                  </a:lnTo>
                  <a:lnTo>
                    <a:pt x="287" y="162"/>
                  </a:lnTo>
                  <a:lnTo>
                    <a:pt x="287" y="160"/>
                  </a:lnTo>
                  <a:lnTo>
                    <a:pt x="285" y="160"/>
                  </a:lnTo>
                  <a:lnTo>
                    <a:pt x="283" y="158"/>
                  </a:lnTo>
                  <a:lnTo>
                    <a:pt x="280" y="158"/>
                  </a:lnTo>
                  <a:lnTo>
                    <a:pt x="278" y="162"/>
                  </a:lnTo>
                  <a:lnTo>
                    <a:pt x="276" y="162"/>
                  </a:lnTo>
                  <a:lnTo>
                    <a:pt x="274" y="164"/>
                  </a:lnTo>
                  <a:lnTo>
                    <a:pt x="272" y="164"/>
                  </a:lnTo>
                  <a:lnTo>
                    <a:pt x="272" y="162"/>
                  </a:lnTo>
                  <a:lnTo>
                    <a:pt x="272" y="162"/>
                  </a:lnTo>
                  <a:lnTo>
                    <a:pt x="270" y="160"/>
                  </a:lnTo>
                  <a:lnTo>
                    <a:pt x="270" y="162"/>
                  </a:lnTo>
                  <a:lnTo>
                    <a:pt x="268" y="160"/>
                  </a:lnTo>
                  <a:lnTo>
                    <a:pt x="266" y="158"/>
                  </a:lnTo>
                  <a:lnTo>
                    <a:pt x="266" y="158"/>
                  </a:lnTo>
                  <a:lnTo>
                    <a:pt x="266" y="156"/>
                  </a:lnTo>
                  <a:lnTo>
                    <a:pt x="266" y="156"/>
                  </a:lnTo>
                  <a:lnTo>
                    <a:pt x="264" y="156"/>
                  </a:lnTo>
                  <a:lnTo>
                    <a:pt x="264" y="156"/>
                  </a:lnTo>
                  <a:lnTo>
                    <a:pt x="262" y="154"/>
                  </a:lnTo>
                  <a:lnTo>
                    <a:pt x="262" y="156"/>
                  </a:lnTo>
                  <a:lnTo>
                    <a:pt x="260" y="156"/>
                  </a:lnTo>
                  <a:lnTo>
                    <a:pt x="260" y="156"/>
                  </a:lnTo>
                  <a:lnTo>
                    <a:pt x="260" y="156"/>
                  </a:lnTo>
                  <a:lnTo>
                    <a:pt x="258" y="156"/>
                  </a:lnTo>
                  <a:lnTo>
                    <a:pt x="256" y="158"/>
                  </a:lnTo>
                  <a:lnTo>
                    <a:pt x="256" y="160"/>
                  </a:lnTo>
                  <a:lnTo>
                    <a:pt x="256" y="160"/>
                  </a:lnTo>
                  <a:lnTo>
                    <a:pt x="254" y="160"/>
                  </a:lnTo>
                  <a:lnTo>
                    <a:pt x="250" y="160"/>
                  </a:lnTo>
                  <a:lnTo>
                    <a:pt x="246" y="162"/>
                  </a:lnTo>
                  <a:lnTo>
                    <a:pt x="237" y="162"/>
                  </a:lnTo>
                  <a:lnTo>
                    <a:pt x="235" y="160"/>
                  </a:lnTo>
                  <a:lnTo>
                    <a:pt x="233" y="158"/>
                  </a:lnTo>
                  <a:lnTo>
                    <a:pt x="231" y="154"/>
                  </a:lnTo>
                  <a:lnTo>
                    <a:pt x="231" y="154"/>
                  </a:lnTo>
                  <a:lnTo>
                    <a:pt x="231" y="152"/>
                  </a:lnTo>
                  <a:lnTo>
                    <a:pt x="227" y="152"/>
                  </a:lnTo>
                  <a:lnTo>
                    <a:pt x="225" y="150"/>
                  </a:lnTo>
                  <a:lnTo>
                    <a:pt x="225" y="150"/>
                  </a:lnTo>
                  <a:lnTo>
                    <a:pt x="225" y="148"/>
                  </a:lnTo>
                  <a:lnTo>
                    <a:pt x="223" y="148"/>
                  </a:lnTo>
                  <a:lnTo>
                    <a:pt x="221" y="146"/>
                  </a:lnTo>
                  <a:lnTo>
                    <a:pt x="221" y="144"/>
                  </a:lnTo>
                  <a:lnTo>
                    <a:pt x="219" y="144"/>
                  </a:lnTo>
                  <a:lnTo>
                    <a:pt x="215" y="140"/>
                  </a:lnTo>
                  <a:lnTo>
                    <a:pt x="215" y="138"/>
                  </a:lnTo>
                  <a:lnTo>
                    <a:pt x="213" y="134"/>
                  </a:lnTo>
                  <a:lnTo>
                    <a:pt x="211" y="131"/>
                  </a:lnTo>
                  <a:lnTo>
                    <a:pt x="209" y="134"/>
                  </a:lnTo>
                  <a:lnTo>
                    <a:pt x="209" y="134"/>
                  </a:lnTo>
                  <a:lnTo>
                    <a:pt x="209" y="131"/>
                  </a:lnTo>
                  <a:lnTo>
                    <a:pt x="207" y="129"/>
                  </a:lnTo>
                  <a:lnTo>
                    <a:pt x="207" y="129"/>
                  </a:lnTo>
                  <a:lnTo>
                    <a:pt x="205" y="131"/>
                  </a:lnTo>
                  <a:lnTo>
                    <a:pt x="205" y="131"/>
                  </a:lnTo>
                  <a:lnTo>
                    <a:pt x="203" y="129"/>
                  </a:lnTo>
                  <a:lnTo>
                    <a:pt x="203" y="129"/>
                  </a:lnTo>
                  <a:lnTo>
                    <a:pt x="201" y="127"/>
                  </a:lnTo>
                  <a:lnTo>
                    <a:pt x="201" y="127"/>
                  </a:lnTo>
                  <a:lnTo>
                    <a:pt x="201" y="127"/>
                  </a:lnTo>
                  <a:lnTo>
                    <a:pt x="199" y="127"/>
                  </a:lnTo>
                  <a:lnTo>
                    <a:pt x="199" y="127"/>
                  </a:lnTo>
                  <a:lnTo>
                    <a:pt x="199" y="125"/>
                  </a:lnTo>
                  <a:lnTo>
                    <a:pt x="188" y="125"/>
                  </a:lnTo>
                  <a:lnTo>
                    <a:pt x="176" y="125"/>
                  </a:lnTo>
                  <a:lnTo>
                    <a:pt x="172" y="125"/>
                  </a:lnTo>
                  <a:lnTo>
                    <a:pt x="166" y="129"/>
                  </a:lnTo>
                  <a:lnTo>
                    <a:pt x="166" y="129"/>
                  </a:lnTo>
                  <a:lnTo>
                    <a:pt x="166" y="131"/>
                  </a:lnTo>
                  <a:lnTo>
                    <a:pt x="164" y="134"/>
                  </a:lnTo>
                  <a:lnTo>
                    <a:pt x="162" y="136"/>
                  </a:lnTo>
                  <a:lnTo>
                    <a:pt x="160" y="138"/>
                  </a:lnTo>
                  <a:lnTo>
                    <a:pt x="160" y="136"/>
                  </a:lnTo>
                  <a:lnTo>
                    <a:pt x="162" y="134"/>
                  </a:lnTo>
                  <a:lnTo>
                    <a:pt x="162" y="131"/>
                  </a:lnTo>
                  <a:lnTo>
                    <a:pt x="164" y="129"/>
                  </a:lnTo>
                  <a:lnTo>
                    <a:pt x="168" y="125"/>
                  </a:lnTo>
                  <a:lnTo>
                    <a:pt x="170" y="123"/>
                  </a:lnTo>
                  <a:lnTo>
                    <a:pt x="170" y="121"/>
                  </a:lnTo>
                  <a:lnTo>
                    <a:pt x="168" y="121"/>
                  </a:lnTo>
                  <a:lnTo>
                    <a:pt x="168" y="123"/>
                  </a:lnTo>
                  <a:lnTo>
                    <a:pt x="164" y="125"/>
                  </a:lnTo>
                  <a:lnTo>
                    <a:pt x="160" y="129"/>
                  </a:lnTo>
                  <a:lnTo>
                    <a:pt x="158" y="129"/>
                  </a:lnTo>
                  <a:lnTo>
                    <a:pt x="156" y="134"/>
                  </a:lnTo>
                  <a:lnTo>
                    <a:pt x="156" y="134"/>
                  </a:lnTo>
                  <a:lnTo>
                    <a:pt x="153" y="134"/>
                  </a:lnTo>
                  <a:lnTo>
                    <a:pt x="151" y="136"/>
                  </a:lnTo>
                  <a:lnTo>
                    <a:pt x="153" y="136"/>
                  </a:lnTo>
                  <a:lnTo>
                    <a:pt x="149" y="142"/>
                  </a:lnTo>
                  <a:lnTo>
                    <a:pt x="147" y="146"/>
                  </a:lnTo>
                  <a:lnTo>
                    <a:pt x="145" y="144"/>
                  </a:lnTo>
                  <a:lnTo>
                    <a:pt x="145" y="144"/>
                  </a:lnTo>
                  <a:lnTo>
                    <a:pt x="147" y="144"/>
                  </a:lnTo>
                  <a:lnTo>
                    <a:pt x="147" y="144"/>
                  </a:lnTo>
                  <a:lnTo>
                    <a:pt x="147" y="142"/>
                  </a:lnTo>
                  <a:lnTo>
                    <a:pt x="147" y="142"/>
                  </a:lnTo>
                  <a:lnTo>
                    <a:pt x="147" y="142"/>
                  </a:lnTo>
                  <a:lnTo>
                    <a:pt x="145" y="138"/>
                  </a:lnTo>
                  <a:lnTo>
                    <a:pt x="145" y="138"/>
                  </a:lnTo>
                  <a:lnTo>
                    <a:pt x="145" y="136"/>
                  </a:lnTo>
                  <a:lnTo>
                    <a:pt x="145" y="136"/>
                  </a:lnTo>
                  <a:lnTo>
                    <a:pt x="145" y="134"/>
                  </a:lnTo>
                  <a:lnTo>
                    <a:pt x="145" y="134"/>
                  </a:lnTo>
                  <a:lnTo>
                    <a:pt x="145" y="131"/>
                  </a:lnTo>
                  <a:lnTo>
                    <a:pt x="147" y="131"/>
                  </a:lnTo>
                  <a:lnTo>
                    <a:pt x="147" y="127"/>
                  </a:lnTo>
                  <a:lnTo>
                    <a:pt x="147" y="125"/>
                  </a:lnTo>
                  <a:lnTo>
                    <a:pt x="147" y="123"/>
                  </a:lnTo>
                  <a:lnTo>
                    <a:pt x="147" y="121"/>
                  </a:lnTo>
                  <a:lnTo>
                    <a:pt x="145" y="119"/>
                  </a:lnTo>
                  <a:lnTo>
                    <a:pt x="143" y="117"/>
                  </a:lnTo>
                  <a:lnTo>
                    <a:pt x="143" y="117"/>
                  </a:lnTo>
                  <a:lnTo>
                    <a:pt x="141" y="117"/>
                  </a:lnTo>
                  <a:lnTo>
                    <a:pt x="141" y="117"/>
                  </a:lnTo>
                  <a:lnTo>
                    <a:pt x="141" y="117"/>
                  </a:lnTo>
                  <a:lnTo>
                    <a:pt x="141" y="117"/>
                  </a:lnTo>
                  <a:lnTo>
                    <a:pt x="141" y="117"/>
                  </a:lnTo>
                  <a:lnTo>
                    <a:pt x="141" y="115"/>
                  </a:lnTo>
                  <a:lnTo>
                    <a:pt x="141" y="113"/>
                  </a:lnTo>
                  <a:lnTo>
                    <a:pt x="141" y="111"/>
                  </a:lnTo>
                  <a:lnTo>
                    <a:pt x="141" y="111"/>
                  </a:lnTo>
                  <a:lnTo>
                    <a:pt x="139" y="109"/>
                  </a:lnTo>
                  <a:lnTo>
                    <a:pt x="135" y="109"/>
                  </a:lnTo>
                  <a:lnTo>
                    <a:pt x="133" y="109"/>
                  </a:lnTo>
                  <a:lnTo>
                    <a:pt x="131" y="107"/>
                  </a:lnTo>
                  <a:lnTo>
                    <a:pt x="131" y="105"/>
                  </a:lnTo>
                  <a:lnTo>
                    <a:pt x="131" y="103"/>
                  </a:lnTo>
                  <a:lnTo>
                    <a:pt x="131" y="101"/>
                  </a:lnTo>
                  <a:lnTo>
                    <a:pt x="129" y="99"/>
                  </a:lnTo>
                  <a:lnTo>
                    <a:pt x="129" y="99"/>
                  </a:lnTo>
                  <a:lnTo>
                    <a:pt x="127" y="101"/>
                  </a:lnTo>
                  <a:lnTo>
                    <a:pt x="115" y="111"/>
                  </a:lnTo>
                  <a:lnTo>
                    <a:pt x="113" y="113"/>
                  </a:lnTo>
                  <a:lnTo>
                    <a:pt x="113" y="113"/>
                  </a:lnTo>
                  <a:lnTo>
                    <a:pt x="110" y="117"/>
                  </a:lnTo>
                  <a:lnTo>
                    <a:pt x="110" y="117"/>
                  </a:lnTo>
                  <a:lnTo>
                    <a:pt x="110" y="117"/>
                  </a:lnTo>
                  <a:lnTo>
                    <a:pt x="108" y="121"/>
                  </a:lnTo>
                  <a:lnTo>
                    <a:pt x="106" y="123"/>
                  </a:lnTo>
                  <a:lnTo>
                    <a:pt x="106" y="123"/>
                  </a:lnTo>
                  <a:lnTo>
                    <a:pt x="102" y="125"/>
                  </a:lnTo>
                  <a:lnTo>
                    <a:pt x="100" y="125"/>
                  </a:lnTo>
                  <a:lnTo>
                    <a:pt x="100" y="125"/>
                  </a:lnTo>
                  <a:lnTo>
                    <a:pt x="96" y="125"/>
                  </a:lnTo>
                  <a:lnTo>
                    <a:pt x="94" y="125"/>
                  </a:lnTo>
                  <a:lnTo>
                    <a:pt x="92" y="127"/>
                  </a:lnTo>
                  <a:lnTo>
                    <a:pt x="88" y="134"/>
                  </a:lnTo>
                  <a:lnTo>
                    <a:pt x="82" y="140"/>
                  </a:lnTo>
                  <a:lnTo>
                    <a:pt x="76" y="142"/>
                  </a:lnTo>
                  <a:lnTo>
                    <a:pt x="45" y="150"/>
                  </a:lnTo>
                  <a:lnTo>
                    <a:pt x="41" y="150"/>
                  </a:lnTo>
                  <a:lnTo>
                    <a:pt x="29" y="164"/>
                  </a:lnTo>
                  <a:lnTo>
                    <a:pt x="27" y="166"/>
                  </a:lnTo>
                  <a:lnTo>
                    <a:pt x="12" y="172"/>
                  </a:lnTo>
                  <a:lnTo>
                    <a:pt x="8" y="174"/>
                  </a:lnTo>
                  <a:lnTo>
                    <a:pt x="8" y="174"/>
                  </a:lnTo>
                  <a:lnTo>
                    <a:pt x="6" y="174"/>
                  </a:lnTo>
                  <a:lnTo>
                    <a:pt x="4" y="177"/>
                  </a:lnTo>
                  <a:lnTo>
                    <a:pt x="2" y="177"/>
                  </a:lnTo>
                  <a:lnTo>
                    <a:pt x="0" y="179"/>
                  </a:lnTo>
                  <a:lnTo>
                    <a:pt x="0" y="179"/>
                  </a:lnTo>
                  <a:lnTo>
                    <a:pt x="0" y="181"/>
                  </a:lnTo>
                  <a:lnTo>
                    <a:pt x="0" y="183"/>
                  </a:lnTo>
                  <a:lnTo>
                    <a:pt x="0" y="183"/>
                  </a:lnTo>
                  <a:lnTo>
                    <a:pt x="2" y="183"/>
                  </a:lnTo>
                  <a:lnTo>
                    <a:pt x="2" y="183"/>
                  </a:lnTo>
                  <a:lnTo>
                    <a:pt x="2" y="183"/>
                  </a:lnTo>
                  <a:lnTo>
                    <a:pt x="4" y="183"/>
                  </a:lnTo>
                  <a:lnTo>
                    <a:pt x="4" y="181"/>
                  </a:lnTo>
                  <a:lnTo>
                    <a:pt x="6" y="181"/>
                  </a:lnTo>
                  <a:lnTo>
                    <a:pt x="6" y="181"/>
                  </a:lnTo>
                  <a:lnTo>
                    <a:pt x="6" y="183"/>
                  </a:lnTo>
                  <a:lnTo>
                    <a:pt x="8" y="183"/>
                  </a:lnTo>
                  <a:lnTo>
                    <a:pt x="8" y="183"/>
                  </a:lnTo>
                  <a:lnTo>
                    <a:pt x="10" y="183"/>
                  </a:lnTo>
                  <a:lnTo>
                    <a:pt x="10" y="185"/>
                  </a:lnTo>
                  <a:lnTo>
                    <a:pt x="10" y="185"/>
                  </a:lnTo>
                  <a:lnTo>
                    <a:pt x="12" y="185"/>
                  </a:lnTo>
                  <a:lnTo>
                    <a:pt x="12" y="185"/>
                  </a:lnTo>
                  <a:lnTo>
                    <a:pt x="14" y="185"/>
                  </a:lnTo>
                  <a:lnTo>
                    <a:pt x="14" y="185"/>
                  </a:lnTo>
                  <a:lnTo>
                    <a:pt x="16" y="187"/>
                  </a:lnTo>
                  <a:lnTo>
                    <a:pt x="16" y="187"/>
                  </a:lnTo>
                  <a:lnTo>
                    <a:pt x="18" y="189"/>
                  </a:lnTo>
                  <a:lnTo>
                    <a:pt x="18" y="193"/>
                  </a:lnTo>
                  <a:lnTo>
                    <a:pt x="20" y="197"/>
                  </a:lnTo>
                  <a:lnTo>
                    <a:pt x="22" y="199"/>
                  </a:lnTo>
                  <a:lnTo>
                    <a:pt x="24" y="201"/>
                  </a:lnTo>
                  <a:lnTo>
                    <a:pt x="24" y="201"/>
                  </a:lnTo>
                  <a:lnTo>
                    <a:pt x="24" y="201"/>
                  </a:lnTo>
                  <a:lnTo>
                    <a:pt x="27" y="203"/>
                  </a:lnTo>
                  <a:lnTo>
                    <a:pt x="27" y="203"/>
                  </a:lnTo>
                  <a:lnTo>
                    <a:pt x="31" y="203"/>
                  </a:lnTo>
                  <a:lnTo>
                    <a:pt x="33" y="203"/>
                  </a:lnTo>
                  <a:lnTo>
                    <a:pt x="39" y="203"/>
                  </a:lnTo>
                  <a:lnTo>
                    <a:pt x="43" y="205"/>
                  </a:lnTo>
                  <a:lnTo>
                    <a:pt x="51" y="205"/>
                  </a:lnTo>
                  <a:lnTo>
                    <a:pt x="57" y="207"/>
                  </a:lnTo>
                  <a:lnTo>
                    <a:pt x="63" y="209"/>
                  </a:lnTo>
                  <a:lnTo>
                    <a:pt x="72" y="209"/>
                  </a:lnTo>
                  <a:lnTo>
                    <a:pt x="78" y="211"/>
                  </a:lnTo>
                  <a:lnTo>
                    <a:pt x="84" y="211"/>
                  </a:lnTo>
                  <a:lnTo>
                    <a:pt x="90" y="211"/>
                  </a:lnTo>
                  <a:lnTo>
                    <a:pt x="94" y="213"/>
                  </a:lnTo>
                  <a:lnTo>
                    <a:pt x="98" y="213"/>
                  </a:lnTo>
                  <a:lnTo>
                    <a:pt x="100" y="213"/>
                  </a:lnTo>
                  <a:lnTo>
                    <a:pt x="100" y="213"/>
                  </a:lnTo>
                  <a:lnTo>
                    <a:pt x="104" y="215"/>
                  </a:lnTo>
                  <a:lnTo>
                    <a:pt x="106" y="215"/>
                  </a:lnTo>
                  <a:lnTo>
                    <a:pt x="110" y="218"/>
                  </a:lnTo>
                  <a:lnTo>
                    <a:pt x="115" y="220"/>
                  </a:lnTo>
                  <a:lnTo>
                    <a:pt x="121" y="222"/>
                  </a:lnTo>
                  <a:lnTo>
                    <a:pt x="125" y="224"/>
                  </a:lnTo>
                  <a:lnTo>
                    <a:pt x="127" y="224"/>
                  </a:lnTo>
                  <a:lnTo>
                    <a:pt x="127" y="224"/>
                  </a:lnTo>
                  <a:lnTo>
                    <a:pt x="129" y="224"/>
                  </a:lnTo>
                  <a:lnTo>
                    <a:pt x="129" y="224"/>
                  </a:lnTo>
                  <a:lnTo>
                    <a:pt x="131" y="224"/>
                  </a:lnTo>
                  <a:lnTo>
                    <a:pt x="131" y="224"/>
                  </a:lnTo>
                  <a:lnTo>
                    <a:pt x="131" y="224"/>
                  </a:lnTo>
                  <a:lnTo>
                    <a:pt x="133" y="224"/>
                  </a:lnTo>
                  <a:lnTo>
                    <a:pt x="133" y="224"/>
                  </a:lnTo>
                  <a:lnTo>
                    <a:pt x="135" y="224"/>
                  </a:lnTo>
                  <a:lnTo>
                    <a:pt x="135" y="224"/>
                  </a:lnTo>
                  <a:lnTo>
                    <a:pt x="135" y="224"/>
                  </a:lnTo>
                  <a:lnTo>
                    <a:pt x="137" y="224"/>
                  </a:lnTo>
                  <a:lnTo>
                    <a:pt x="137" y="224"/>
                  </a:lnTo>
                  <a:lnTo>
                    <a:pt x="139" y="224"/>
                  </a:lnTo>
                  <a:lnTo>
                    <a:pt x="143" y="226"/>
                  </a:lnTo>
                  <a:lnTo>
                    <a:pt x="143" y="226"/>
                  </a:lnTo>
                  <a:lnTo>
                    <a:pt x="143" y="226"/>
                  </a:lnTo>
                  <a:lnTo>
                    <a:pt x="145" y="224"/>
                  </a:lnTo>
                  <a:lnTo>
                    <a:pt x="145" y="224"/>
                  </a:lnTo>
                  <a:lnTo>
                    <a:pt x="147" y="224"/>
                  </a:lnTo>
                  <a:lnTo>
                    <a:pt x="147" y="224"/>
                  </a:lnTo>
                  <a:lnTo>
                    <a:pt x="147" y="224"/>
                  </a:lnTo>
                  <a:lnTo>
                    <a:pt x="147" y="224"/>
                  </a:lnTo>
                  <a:lnTo>
                    <a:pt x="149" y="224"/>
                  </a:lnTo>
                  <a:lnTo>
                    <a:pt x="149" y="224"/>
                  </a:lnTo>
                  <a:lnTo>
                    <a:pt x="149" y="222"/>
                  </a:lnTo>
                  <a:lnTo>
                    <a:pt x="151" y="222"/>
                  </a:lnTo>
                  <a:lnTo>
                    <a:pt x="151" y="224"/>
                  </a:lnTo>
                  <a:lnTo>
                    <a:pt x="153" y="224"/>
                  </a:lnTo>
                  <a:lnTo>
                    <a:pt x="153" y="224"/>
                  </a:lnTo>
                  <a:lnTo>
                    <a:pt x="156" y="224"/>
                  </a:lnTo>
                  <a:lnTo>
                    <a:pt x="156" y="224"/>
                  </a:lnTo>
                  <a:lnTo>
                    <a:pt x="156" y="224"/>
                  </a:lnTo>
                  <a:lnTo>
                    <a:pt x="156" y="224"/>
                  </a:lnTo>
                  <a:lnTo>
                    <a:pt x="158" y="224"/>
                  </a:lnTo>
                  <a:lnTo>
                    <a:pt x="160" y="226"/>
                  </a:lnTo>
                  <a:lnTo>
                    <a:pt x="160" y="226"/>
                  </a:lnTo>
                  <a:lnTo>
                    <a:pt x="162" y="226"/>
                  </a:lnTo>
                  <a:lnTo>
                    <a:pt x="164" y="224"/>
                  </a:lnTo>
                  <a:lnTo>
                    <a:pt x="164" y="224"/>
                  </a:lnTo>
                  <a:lnTo>
                    <a:pt x="164" y="224"/>
                  </a:lnTo>
                  <a:lnTo>
                    <a:pt x="166" y="226"/>
                  </a:lnTo>
                  <a:lnTo>
                    <a:pt x="168" y="226"/>
                  </a:lnTo>
                  <a:lnTo>
                    <a:pt x="168" y="226"/>
                  </a:lnTo>
                  <a:lnTo>
                    <a:pt x="170" y="226"/>
                  </a:lnTo>
                  <a:lnTo>
                    <a:pt x="172" y="226"/>
                  </a:lnTo>
                  <a:lnTo>
                    <a:pt x="172" y="226"/>
                  </a:lnTo>
                  <a:lnTo>
                    <a:pt x="174" y="228"/>
                  </a:lnTo>
                  <a:lnTo>
                    <a:pt x="176" y="228"/>
                  </a:lnTo>
                  <a:lnTo>
                    <a:pt x="176" y="228"/>
                  </a:lnTo>
                  <a:lnTo>
                    <a:pt x="176" y="228"/>
                  </a:lnTo>
                  <a:lnTo>
                    <a:pt x="178" y="226"/>
                  </a:lnTo>
                  <a:lnTo>
                    <a:pt x="178" y="226"/>
                  </a:lnTo>
                  <a:lnTo>
                    <a:pt x="178" y="228"/>
                  </a:lnTo>
                  <a:lnTo>
                    <a:pt x="180" y="228"/>
                  </a:lnTo>
                  <a:lnTo>
                    <a:pt x="182" y="228"/>
                  </a:lnTo>
                  <a:lnTo>
                    <a:pt x="182" y="228"/>
                  </a:lnTo>
                  <a:lnTo>
                    <a:pt x="184" y="230"/>
                  </a:lnTo>
                  <a:lnTo>
                    <a:pt x="184" y="230"/>
                  </a:lnTo>
                  <a:lnTo>
                    <a:pt x="186" y="234"/>
                  </a:lnTo>
                  <a:lnTo>
                    <a:pt x="186" y="234"/>
                  </a:lnTo>
                  <a:lnTo>
                    <a:pt x="186" y="236"/>
                  </a:lnTo>
                  <a:lnTo>
                    <a:pt x="186" y="236"/>
                  </a:lnTo>
                  <a:lnTo>
                    <a:pt x="186" y="236"/>
                  </a:lnTo>
                  <a:lnTo>
                    <a:pt x="184" y="238"/>
                  </a:lnTo>
                  <a:lnTo>
                    <a:pt x="184" y="240"/>
                  </a:lnTo>
                  <a:lnTo>
                    <a:pt x="184" y="240"/>
                  </a:lnTo>
                  <a:lnTo>
                    <a:pt x="184" y="240"/>
                  </a:lnTo>
                  <a:lnTo>
                    <a:pt x="184" y="242"/>
                  </a:lnTo>
                  <a:lnTo>
                    <a:pt x="186" y="242"/>
                  </a:lnTo>
                  <a:lnTo>
                    <a:pt x="186" y="242"/>
                  </a:lnTo>
                  <a:lnTo>
                    <a:pt x="188" y="242"/>
                  </a:lnTo>
                  <a:lnTo>
                    <a:pt x="188" y="244"/>
                  </a:lnTo>
                  <a:lnTo>
                    <a:pt x="190" y="244"/>
                  </a:lnTo>
                  <a:lnTo>
                    <a:pt x="190" y="244"/>
                  </a:lnTo>
                  <a:lnTo>
                    <a:pt x="192" y="244"/>
                  </a:lnTo>
                  <a:lnTo>
                    <a:pt x="194" y="242"/>
                  </a:lnTo>
                  <a:lnTo>
                    <a:pt x="194" y="242"/>
                  </a:lnTo>
                  <a:lnTo>
                    <a:pt x="194" y="242"/>
                  </a:lnTo>
                  <a:lnTo>
                    <a:pt x="194" y="242"/>
                  </a:lnTo>
                  <a:lnTo>
                    <a:pt x="196" y="244"/>
                  </a:lnTo>
                  <a:lnTo>
                    <a:pt x="196" y="244"/>
                  </a:lnTo>
                  <a:lnTo>
                    <a:pt x="196" y="244"/>
                  </a:lnTo>
                  <a:lnTo>
                    <a:pt x="196" y="244"/>
                  </a:lnTo>
                  <a:lnTo>
                    <a:pt x="199" y="244"/>
                  </a:lnTo>
                  <a:lnTo>
                    <a:pt x="203" y="244"/>
                  </a:lnTo>
                  <a:lnTo>
                    <a:pt x="203" y="244"/>
                  </a:lnTo>
                  <a:lnTo>
                    <a:pt x="203" y="246"/>
                  </a:lnTo>
                  <a:lnTo>
                    <a:pt x="203" y="246"/>
                  </a:lnTo>
                  <a:lnTo>
                    <a:pt x="205" y="246"/>
                  </a:lnTo>
                  <a:lnTo>
                    <a:pt x="205" y="246"/>
                  </a:lnTo>
                  <a:lnTo>
                    <a:pt x="205" y="248"/>
                  </a:lnTo>
                  <a:lnTo>
                    <a:pt x="207" y="248"/>
                  </a:lnTo>
                  <a:lnTo>
                    <a:pt x="209" y="248"/>
                  </a:lnTo>
                  <a:lnTo>
                    <a:pt x="209" y="250"/>
                  </a:lnTo>
                  <a:lnTo>
                    <a:pt x="211" y="250"/>
                  </a:lnTo>
                  <a:lnTo>
                    <a:pt x="211" y="252"/>
                  </a:lnTo>
                  <a:lnTo>
                    <a:pt x="211" y="252"/>
                  </a:lnTo>
                  <a:lnTo>
                    <a:pt x="211" y="252"/>
                  </a:lnTo>
                  <a:lnTo>
                    <a:pt x="211" y="252"/>
                  </a:lnTo>
                  <a:lnTo>
                    <a:pt x="211" y="252"/>
                  </a:lnTo>
                  <a:lnTo>
                    <a:pt x="211" y="254"/>
                  </a:lnTo>
                  <a:lnTo>
                    <a:pt x="211" y="254"/>
                  </a:lnTo>
                  <a:lnTo>
                    <a:pt x="211" y="254"/>
                  </a:lnTo>
                  <a:lnTo>
                    <a:pt x="211" y="256"/>
                  </a:lnTo>
                  <a:lnTo>
                    <a:pt x="213" y="259"/>
                  </a:lnTo>
                  <a:lnTo>
                    <a:pt x="213" y="259"/>
                  </a:lnTo>
                  <a:lnTo>
                    <a:pt x="213" y="261"/>
                  </a:lnTo>
                  <a:lnTo>
                    <a:pt x="213" y="261"/>
                  </a:lnTo>
                  <a:lnTo>
                    <a:pt x="213" y="263"/>
                  </a:lnTo>
                  <a:lnTo>
                    <a:pt x="213" y="263"/>
                  </a:lnTo>
                  <a:lnTo>
                    <a:pt x="213" y="263"/>
                  </a:lnTo>
                  <a:lnTo>
                    <a:pt x="213" y="263"/>
                  </a:lnTo>
                  <a:lnTo>
                    <a:pt x="211" y="263"/>
                  </a:lnTo>
                  <a:lnTo>
                    <a:pt x="211" y="265"/>
                  </a:lnTo>
                  <a:lnTo>
                    <a:pt x="211" y="265"/>
                  </a:lnTo>
                  <a:lnTo>
                    <a:pt x="213" y="267"/>
                  </a:lnTo>
                  <a:lnTo>
                    <a:pt x="213" y="271"/>
                  </a:lnTo>
                  <a:lnTo>
                    <a:pt x="213" y="271"/>
                  </a:lnTo>
                  <a:lnTo>
                    <a:pt x="213" y="271"/>
                  </a:lnTo>
                  <a:lnTo>
                    <a:pt x="213" y="271"/>
                  </a:lnTo>
                  <a:lnTo>
                    <a:pt x="213" y="273"/>
                  </a:lnTo>
                  <a:lnTo>
                    <a:pt x="213" y="273"/>
                  </a:lnTo>
                  <a:lnTo>
                    <a:pt x="213" y="275"/>
                  </a:lnTo>
                  <a:lnTo>
                    <a:pt x="211" y="275"/>
                  </a:lnTo>
                  <a:lnTo>
                    <a:pt x="209" y="277"/>
                  </a:lnTo>
                  <a:lnTo>
                    <a:pt x="209" y="277"/>
                  </a:lnTo>
                  <a:lnTo>
                    <a:pt x="209" y="277"/>
                  </a:lnTo>
                  <a:lnTo>
                    <a:pt x="209" y="279"/>
                  </a:lnTo>
                  <a:lnTo>
                    <a:pt x="209" y="279"/>
                  </a:lnTo>
                  <a:lnTo>
                    <a:pt x="209" y="281"/>
                  </a:lnTo>
                  <a:lnTo>
                    <a:pt x="209" y="281"/>
                  </a:lnTo>
                  <a:lnTo>
                    <a:pt x="209" y="283"/>
                  </a:lnTo>
                  <a:lnTo>
                    <a:pt x="209" y="285"/>
                  </a:lnTo>
                  <a:lnTo>
                    <a:pt x="209" y="285"/>
                  </a:lnTo>
                  <a:lnTo>
                    <a:pt x="209" y="285"/>
                  </a:lnTo>
                  <a:lnTo>
                    <a:pt x="211" y="287"/>
                  </a:lnTo>
                  <a:lnTo>
                    <a:pt x="211" y="287"/>
                  </a:lnTo>
                  <a:lnTo>
                    <a:pt x="213" y="285"/>
                  </a:lnTo>
                  <a:lnTo>
                    <a:pt x="213" y="285"/>
                  </a:lnTo>
                  <a:lnTo>
                    <a:pt x="213" y="285"/>
                  </a:lnTo>
                  <a:lnTo>
                    <a:pt x="213" y="285"/>
                  </a:lnTo>
                  <a:lnTo>
                    <a:pt x="215" y="285"/>
                  </a:lnTo>
                  <a:lnTo>
                    <a:pt x="217" y="285"/>
                  </a:lnTo>
                  <a:lnTo>
                    <a:pt x="217" y="285"/>
                  </a:lnTo>
                  <a:lnTo>
                    <a:pt x="217" y="285"/>
                  </a:lnTo>
                  <a:lnTo>
                    <a:pt x="223" y="281"/>
                  </a:lnTo>
                  <a:lnTo>
                    <a:pt x="223" y="281"/>
                  </a:lnTo>
                  <a:lnTo>
                    <a:pt x="223" y="281"/>
                  </a:lnTo>
                  <a:lnTo>
                    <a:pt x="225" y="281"/>
                  </a:lnTo>
                  <a:lnTo>
                    <a:pt x="225" y="283"/>
                  </a:lnTo>
                  <a:lnTo>
                    <a:pt x="225" y="283"/>
                  </a:lnTo>
                  <a:lnTo>
                    <a:pt x="227" y="283"/>
                  </a:lnTo>
                  <a:lnTo>
                    <a:pt x="227" y="285"/>
                  </a:lnTo>
                  <a:lnTo>
                    <a:pt x="227" y="285"/>
                  </a:lnTo>
                  <a:lnTo>
                    <a:pt x="227" y="285"/>
                  </a:lnTo>
                  <a:lnTo>
                    <a:pt x="225" y="287"/>
                  </a:lnTo>
                  <a:lnTo>
                    <a:pt x="225" y="287"/>
                  </a:lnTo>
                  <a:lnTo>
                    <a:pt x="223" y="293"/>
                  </a:lnTo>
                  <a:lnTo>
                    <a:pt x="223" y="297"/>
                  </a:lnTo>
                  <a:lnTo>
                    <a:pt x="221" y="297"/>
                  </a:lnTo>
                  <a:lnTo>
                    <a:pt x="221" y="302"/>
                  </a:lnTo>
                  <a:lnTo>
                    <a:pt x="223" y="302"/>
                  </a:lnTo>
                  <a:lnTo>
                    <a:pt x="223" y="304"/>
                  </a:lnTo>
                  <a:lnTo>
                    <a:pt x="225" y="304"/>
                  </a:lnTo>
                  <a:lnTo>
                    <a:pt x="225" y="306"/>
                  </a:lnTo>
                  <a:lnTo>
                    <a:pt x="227" y="308"/>
                  </a:lnTo>
                  <a:lnTo>
                    <a:pt x="227" y="308"/>
                  </a:lnTo>
                  <a:lnTo>
                    <a:pt x="227" y="308"/>
                  </a:lnTo>
                  <a:lnTo>
                    <a:pt x="229" y="310"/>
                  </a:lnTo>
                  <a:lnTo>
                    <a:pt x="233" y="310"/>
                  </a:lnTo>
                  <a:lnTo>
                    <a:pt x="233" y="310"/>
                  </a:lnTo>
                  <a:lnTo>
                    <a:pt x="233" y="306"/>
                  </a:lnTo>
                  <a:lnTo>
                    <a:pt x="233" y="304"/>
                  </a:lnTo>
                  <a:lnTo>
                    <a:pt x="235" y="302"/>
                  </a:lnTo>
                  <a:lnTo>
                    <a:pt x="250" y="275"/>
                  </a:lnTo>
                  <a:lnTo>
                    <a:pt x="250" y="273"/>
                  </a:lnTo>
                  <a:lnTo>
                    <a:pt x="250" y="271"/>
                  </a:lnTo>
                  <a:lnTo>
                    <a:pt x="250" y="271"/>
                  </a:lnTo>
                  <a:lnTo>
                    <a:pt x="252" y="269"/>
                  </a:lnTo>
                  <a:lnTo>
                    <a:pt x="252" y="267"/>
                  </a:lnTo>
                  <a:lnTo>
                    <a:pt x="254" y="263"/>
                  </a:lnTo>
                  <a:lnTo>
                    <a:pt x="254" y="261"/>
                  </a:lnTo>
                  <a:lnTo>
                    <a:pt x="256" y="256"/>
                  </a:lnTo>
                  <a:lnTo>
                    <a:pt x="258" y="254"/>
                  </a:lnTo>
                  <a:lnTo>
                    <a:pt x="260" y="248"/>
                  </a:lnTo>
                  <a:lnTo>
                    <a:pt x="262" y="246"/>
                  </a:lnTo>
                  <a:lnTo>
                    <a:pt x="264" y="244"/>
                  </a:lnTo>
                  <a:lnTo>
                    <a:pt x="266" y="244"/>
                  </a:lnTo>
                  <a:lnTo>
                    <a:pt x="266" y="240"/>
                  </a:lnTo>
                  <a:lnTo>
                    <a:pt x="266" y="240"/>
                  </a:lnTo>
                  <a:lnTo>
                    <a:pt x="266" y="236"/>
                  </a:lnTo>
                  <a:lnTo>
                    <a:pt x="268" y="232"/>
                  </a:lnTo>
                  <a:lnTo>
                    <a:pt x="268" y="230"/>
                  </a:lnTo>
                  <a:lnTo>
                    <a:pt x="270" y="228"/>
                  </a:lnTo>
                  <a:lnTo>
                    <a:pt x="270" y="228"/>
                  </a:lnTo>
                  <a:lnTo>
                    <a:pt x="270" y="222"/>
                  </a:lnTo>
                  <a:lnTo>
                    <a:pt x="272" y="220"/>
                  </a:lnTo>
                  <a:lnTo>
                    <a:pt x="272" y="220"/>
                  </a:lnTo>
                  <a:lnTo>
                    <a:pt x="274" y="222"/>
                  </a:lnTo>
                  <a:lnTo>
                    <a:pt x="274" y="222"/>
                  </a:lnTo>
                  <a:lnTo>
                    <a:pt x="274" y="224"/>
                  </a:lnTo>
                  <a:lnTo>
                    <a:pt x="272" y="226"/>
                  </a:lnTo>
                  <a:lnTo>
                    <a:pt x="272" y="228"/>
                  </a:lnTo>
                  <a:lnTo>
                    <a:pt x="272" y="228"/>
                  </a:lnTo>
                  <a:lnTo>
                    <a:pt x="272" y="230"/>
                  </a:lnTo>
                  <a:lnTo>
                    <a:pt x="272" y="232"/>
                  </a:lnTo>
                  <a:lnTo>
                    <a:pt x="272" y="234"/>
                  </a:lnTo>
                  <a:lnTo>
                    <a:pt x="274" y="234"/>
                  </a:lnTo>
                  <a:lnTo>
                    <a:pt x="274" y="236"/>
                  </a:lnTo>
                  <a:lnTo>
                    <a:pt x="274" y="240"/>
                  </a:lnTo>
                  <a:lnTo>
                    <a:pt x="274" y="242"/>
                  </a:lnTo>
                  <a:lnTo>
                    <a:pt x="276" y="244"/>
                  </a:lnTo>
                  <a:lnTo>
                    <a:pt x="276" y="244"/>
                  </a:lnTo>
                  <a:lnTo>
                    <a:pt x="276" y="242"/>
                  </a:lnTo>
                  <a:lnTo>
                    <a:pt x="276" y="242"/>
                  </a:lnTo>
                  <a:lnTo>
                    <a:pt x="280" y="240"/>
                  </a:lnTo>
                  <a:lnTo>
                    <a:pt x="283" y="240"/>
                  </a:lnTo>
                  <a:lnTo>
                    <a:pt x="283" y="240"/>
                  </a:lnTo>
                  <a:lnTo>
                    <a:pt x="285" y="238"/>
                  </a:lnTo>
                  <a:lnTo>
                    <a:pt x="285" y="238"/>
                  </a:lnTo>
                  <a:lnTo>
                    <a:pt x="285" y="236"/>
                  </a:lnTo>
                  <a:lnTo>
                    <a:pt x="287" y="232"/>
                  </a:lnTo>
                  <a:lnTo>
                    <a:pt x="287" y="232"/>
                  </a:lnTo>
                  <a:lnTo>
                    <a:pt x="287" y="230"/>
                  </a:lnTo>
                  <a:lnTo>
                    <a:pt x="289" y="230"/>
                  </a:lnTo>
                  <a:lnTo>
                    <a:pt x="289" y="228"/>
                  </a:lnTo>
                  <a:lnTo>
                    <a:pt x="289" y="228"/>
                  </a:lnTo>
                  <a:lnTo>
                    <a:pt x="289" y="226"/>
                  </a:lnTo>
                  <a:lnTo>
                    <a:pt x="289" y="224"/>
                  </a:lnTo>
                  <a:lnTo>
                    <a:pt x="291" y="224"/>
                  </a:lnTo>
                  <a:lnTo>
                    <a:pt x="291" y="224"/>
                  </a:lnTo>
                  <a:lnTo>
                    <a:pt x="295" y="226"/>
                  </a:lnTo>
                  <a:lnTo>
                    <a:pt x="297" y="226"/>
                  </a:lnTo>
                  <a:lnTo>
                    <a:pt x="299" y="224"/>
                  </a:lnTo>
                  <a:lnTo>
                    <a:pt x="299" y="224"/>
                  </a:lnTo>
                  <a:lnTo>
                    <a:pt x="301" y="222"/>
                  </a:lnTo>
                  <a:lnTo>
                    <a:pt x="301" y="220"/>
                  </a:lnTo>
                  <a:lnTo>
                    <a:pt x="303" y="220"/>
                  </a:lnTo>
                  <a:lnTo>
                    <a:pt x="305" y="220"/>
                  </a:lnTo>
                  <a:lnTo>
                    <a:pt x="305" y="220"/>
                  </a:lnTo>
                  <a:lnTo>
                    <a:pt x="307" y="220"/>
                  </a:lnTo>
                  <a:lnTo>
                    <a:pt x="307" y="222"/>
                  </a:lnTo>
                  <a:lnTo>
                    <a:pt x="305" y="228"/>
                  </a:lnTo>
                  <a:lnTo>
                    <a:pt x="305" y="230"/>
                  </a:lnTo>
                  <a:lnTo>
                    <a:pt x="307" y="230"/>
                  </a:lnTo>
                  <a:lnTo>
                    <a:pt x="307" y="230"/>
                  </a:lnTo>
                  <a:lnTo>
                    <a:pt x="307" y="230"/>
                  </a:lnTo>
                  <a:lnTo>
                    <a:pt x="307" y="232"/>
                  </a:lnTo>
                  <a:lnTo>
                    <a:pt x="305" y="232"/>
                  </a:lnTo>
                  <a:lnTo>
                    <a:pt x="305" y="230"/>
                  </a:lnTo>
                  <a:lnTo>
                    <a:pt x="303" y="230"/>
                  </a:lnTo>
                  <a:lnTo>
                    <a:pt x="303" y="230"/>
                  </a:lnTo>
                  <a:lnTo>
                    <a:pt x="301" y="232"/>
                  </a:lnTo>
                  <a:lnTo>
                    <a:pt x="301" y="232"/>
                  </a:lnTo>
                  <a:lnTo>
                    <a:pt x="301" y="232"/>
                  </a:lnTo>
                  <a:lnTo>
                    <a:pt x="301" y="232"/>
                  </a:lnTo>
                  <a:lnTo>
                    <a:pt x="301" y="234"/>
                  </a:lnTo>
                  <a:lnTo>
                    <a:pt x="301" y="234"/>
                  </a:lnTo>
                  <a:lnTo>
                    <a:pt x="301" y="234"/>
                  </a:lnTo>
                  <a:lnTo>
                    <a:pt x="301" y="234"/>
                  </a:lnTo>
                  <a:lnTo>
                    <a:pt x="299" y="234"/>
                  </a:lnTo>
                  <a:lnTo>
                    <a:pt x="299" y="236"/>
                  </a:lnTo>
                  <a:lnTo>
                    <a:pt x="299" y="238"/>
                  </a:lnTo>
                  <a:lnTo>
                    <a:pt x="299" y="240"/>
                  </a:lnTo>
                  <a:lnTo>
                    <a:pt x="297" y="242"/>
                  </a:lnTo>
                  <a:lnTo>
                    <a:pt x="297" y="242"/>
                  </a:lnTo>
                  <a:lnTo>
                    <a:pt x="297" y="244"/>
                  </a:lnTo>
                  <a:lnTo>
                    <a:pt x="299" y="246"/>
                  </a:lnTo>
                  <a:lnTo>
                    <a:pt x="301" y="248"/>
                  </a:lnTo>
                  <a:lnTo>
                    <a:pt x="303" y="248"/>
                  </a:lnTo>
                  <a:lnTo>
                    <a:pt x="303" y="248"/>
                  </a:lnTo>
                  <a:lnTo>
                    <a:pt x="305" y="248"/>
                  </a:lnTo>
                  <a:lnTo>
                    <a:pt x="305" y="248"/>
                  </a:lnTo>
                  <a:lnTo>
                    <a:pt x="305" y="248"/>
                  </a:lnTo>
                  <a:lnTo>
                    <a:pt x="305" y="246"/>
                  </a:lnTo>
                  <a:lnTo>
                    <a:pt x="303" y="246"/>
                  </a:lnTo>
                  <a:lnTo>
                    <a:pt x="303" y="246"/>
                  </a:lnTo>
                  <a:lnTo>
                    <a:pt x="303" y="244"/>
                  </a:lnTo>
                  <a:lnTo>
                    <a:pt x="303" y="244"/>
                  </a:lnTo>
                  <a:lnTo>
                    <a:pt x="303" y="242"/>
                  </a:lnTo>
                  <a:lnTo>
                    <a:pt x="303" y="242"/>
                  </a:lnTo>
                  <a:lnTo>
                    <a:pt x="305" y="242"/>
                  </a:lnTo>
                  <a:lnTo>
                    <a:pt x="305" y="242"/>
                  </a:lnTo>
                  <a:lnTo>
                    <a:pt x="305" y="238"/>
                  </a:lnTo>
                  <a:lnTo>
                    <a:pt x="307" y="238"/>
                  </a:lnTo>
                  <a:lnTo>
                    <a:pt x="309" y="236"/>
                  </a:lnTo>
                  <a:lnTo>
                    <a:pt x="309" y="236"/>
                  </a:lnTo>
                  <a:lnTo>
                    <a:pt x="309" y="234"/>
                  </a:lnTo>
                  <a:lnTo>
                    <a:pt x="309" y="234"/>
                  </a:lnTo>
                  <a:lnTo>
                    <a:pt x="309" y="232"/>
                  </a:lnTo>
                  <a:lnTo>
                    <a:pt x="311" y="232"/>
                  </a:lnTo>
                  <a:lnTo>
                    <a:pt x="313" y="232"/>
                  </a:lnTo>
                  <a:lnTo>
                    <a:pt x="315" y="230"/>
                  </a:lnTo>
                  <a:lnTo>
                    <a:pt x="315" y="230"/>
                  </a:lnTo>
                  <a:lnTo>
                    <a:pt x="317" y="228"/>
                  </a:lnTo>
                  <a:lnTo>
                    <a:pt x="317" y="228"/>
                  </a:lnTo>
                  <a:lnTo>
                    <a:pt x="317" y="228"/>
                  </a:lnTo>
                  <a:lnTo>
                    <a:pt x="321" y="226"/>
                  </a:lnTo>
                  <a:lnTo>
                    <a:pt x="321" y="226"/>
                  </a:lnTo>
                  <a:lnTo>
                    <a:pt x="321" y="224"/>
                  </a:lnTo>
                  <a:lnTo>
                    <a:pt x="321" y="224"/>
                  </a:lnTo>
                  <a:lnTo>
                    <a:pt x="323" y="218"/>
                  </a:lnTo>
                  <a:lnTo>
                    <a:pt x="326" y="213"/>
                  </a:lnTo>
                  <a:lnTo>
                    <a:pt x="328" y="209"/>
                  </a:lnTo>
                  <a:lnTo>
                    <a:pt x="342" y="205"/>
                  </a:lnTo>
                  <a:lnTo>
                    <a:pt x="344" y="205"/>
                  </a:lnTo>
                  <a:close/>
                  <a:moveTo>
                    <a:pt x="287" y="156"/>
                  </a:moveTo>
                  <a:lnTo>
                    <a:pt x="287" y="156"/>
                  </a:lnTo>
                  <a:lnTo>
                    <a:pt x="289" y="156"/>
                  </a:lnTo>
                  <a:lnTo>
                    <a:pt x="289" y="158"/>
                  </a:lnTo>
                  <a:lnTo>
                    <a:pt x="289" y="158"/>
                  </a:lnTo>
                  <a:lnTo>
                    <a:pt x="289" y="160"/>
                  </a:lnTo>
                  <a:lnTo>
                    <a:pt x="289" y="160"/>
                  </a:lnTo>
                  <a:lnTo>
                    <a:pt x="291" y="160"/>
                  </a:lnTo>
                  <a:lnTo>
                    <a:pt x="291" y="160"/>
                  </a:lnTo>
                  <a:lnTo>
                    <a:pt x="291" y="160"/>
                  </a:lnTo>
                  <a:lnTo>
                    <a:pt x="291" y="158"/>
                  </a:lnTo>
                  <a:lnTo>
                    <a:pt x="291" y="158"/>
                  </a:lnTo>
                  <a:lnTo>
                    <a:pt x="291" y="160"/>
                  </a:lnTo>
                  <a:lnTo>
                    <a:pt x="293" y="160"/>
                  </a:lnTo>
                  <a:lnTo>
                    <a:pt x="293" y="160"/>
                  </a:lnTo>
                  <a:lnTo>
                    <a:pt x="293" y="160"/>
                  </a:lnTo>
                  <a:lnTo>
                    <a:pt x="295" y="160"/>
                  </a:lnTo>
                  <a:lnTo>
                    <a:pt x="295" y="158"/>
                  </a:lnTo>
                  <a:lnTo>
                    <a:pt x="295" y="158"/>
                  </a:lnTo>
                  <a:lnTo>
                    <a:pt x="293" y="156"/>
                  </a:lnTo>
                  <a:lnTo>
                    <a:pt x="293" y="158"/>
                  </a:lnTo>
                  <a:lnTo>
                    <a:pt x="291" y="158"/>
                  </a:lnTo>
                  <a:lnTo>
                    <a:pt x="291" y="156"/>
                  </a:lnTo>
                  <a:lnTo>
                    <a:pt x="291" y="156"/>
                  </a:lnTo>
                  <a:lnTo>
                    <a:pt x="293" y="154"/>
                  </a:lnTo>
                  <a:lnTo>
                    <a:pt x="291" y="152"/>
                  </a:lnTo>
                  <a:lnTo>
                    <a:pt x="291" y="150"/>
                  </a:lnTo>
                  <a:lnTo>
                    <a:pt x="291" y="150"/>
                  </a:lnTo>
                  <a:lnTo>
                    <a:pt x="289" y="150"/>
                  </a:lnTo>
                  <a:lnTo>
                    <a:pt x="287" y="150"/>
                  </a:lnTo>
                  <a:lnTo>
                    <a:pt x="287" y="152"/>
                  </a:lnTo>
                  <a:lnTo>
                    <a:pt x="287" y="154"/>
                  </a:lnTo>
                  <a:lnTo>
                    <a:pt x="287" y="156"/>
                  </a:lnTo>
                  <a:close/>
                  <a:moveTo>
                    <a:pt x="133" y="99"/>
                  </a:moveTo>
                  <a:lnTo>
                    <a:pt x="131" y="101"/>
                  </a:lnTo>
                  <a:lnTo>
                    <a:pt x="131" y="103"/>
                  </a:lnTo>
                  <a:lnTo>
                    <a:pt x="131" y="107"/>
                  </a:lnTo>
                  <a:lnTo>
                    <a:pt x="133" y="109"/>
                  </a:lnTo>
                  <a:lnTo>
                    <a:pt x="139" y="109"/>
                  </a:lnTo>
                  <a:lnTo>
                    <a:pt x="141" y="109"/>
                  </a:lnTo>
                  <a:lnTo>
                    <a:pt x="143" y="111"/>
                  </a:lnTo>
                  <a:lnTo>
                    <a:pt x="143" y="111"/>
                  </a:lnTo>
                  <a:lnTo>
                    <a:pt x="145" y="109"/>
                  </a:lnTo>
                  <a:lnTo>
                    <a:pt x="147" y="109"/>
                  </a:lnTo>
                  <a:lnTo>
                    <a:pt x="147" y="107"/>
                  </a:lnTo>
                  <a:lnTo>
                    <a:pt x="145" y="105"/>
                  </a:lnTo>
                  <a:lnTo>
                    <a:pt x="143" y="107"/>
                  </a:lnTo>
                  <a:lnTo>
                    <a:pt x="145" y="105"/>
                  </a:lnTo>
                  <a:lnTo>
                    <a:pt x="145" y="103"/>
                  </a:lnTo>
                  <a:lnTo>
                    <a:pt x="147" y="101"/>
                  </a:lnTo>
                  <a:lnTo>
                    <a:pt x="147" y="101"/>
                  </a:lnTo>
                  <a:lnTo>
                    <a:pt x="147" y="103"/>
                  </a:lnTo>
                  <a:lnTo>
                    <a:pt x="147" y="107"/>
                  </a:lnTo>
                  <a:lnTo>
                    <a:pt x="147" y="107"/>
                  </a:lnTo>
                  <a:lnTo>
                    <a:pt x="147" y="109"/>
                  </a:lnTo>
                  <a:lnTo>
                    <a:pt x="147" y="111"/>
                  </a:lnTo>
                  <a:lnTo>
                    <a:pt x="145" y="113"/>
                  </a:lnTo>
                  <a:lnTo>
                    <a:pt x="143" y="113"/>
                  </a:lnTo>
                  <a:lnTo>
                    <a:pt x="143" y="115"/>
                  </a:lnTo>
                  <a:lnTo>
                    <a:pt x="143" y="115"/>
                  </a:lnTo>
                  <a:lnTo>
                    <a:pt x="149" y="121"/>
                  </a:lnTo>
                  <a:lnTo>
                    <a:pt x="149" y="121"/>
                  </a:lnTo>
                  <a:lnTo>
                    <a:pt x="151" y="119"/>
                  </a:lnTo>
                  <a:lnTo>
                    <a:pt x="151" y="117"/>
                  </a:lnTo>
                  <a:lnTo>
                    <a:pt x="153" y="111"/>
                  </a:lnTo>
                  <a:lnTo>
                    <a:pt x="153" y="111"/>
                  </a:lnTo>
                  <a:lnTo>
                    <a:pt x="158" y="109"/>
                  </a:lnTo>
                  <a:lnTo>
                    <a:pt x="158" y="107"/>
                  </a:lnTo>
                  <a:lnTo>
                    <a:pt x="158" y="105"/>
                  </a:lnTo>
                  <a:lnTo>
                    <a:pt x="158" y="105"/>
                  </a:lnTo>
                  <a:lnTo>
                    <a:pt x="160" y="105"/>
                  </a:lnTo>
                  <a:lnTo>
                    <a:pt x="162" y="105"/>
                  </a:lnTo>
                  <a:lnTo>
                    <a:pt x="162" y="103"/>
                  </a:lnTo>
                  <a:lnTo>
                    <a:pt x="160" y="103"/>
                  </a:lnTo>
                  <a:lnTo>
                    <a:pt x="160" y="101"/>
                  </a:lnTo>
                  <a:lnTo>
                    <a:pt x="162" y="99"/>
                  </a:lnTo>
                  <a:lnTo>
                    <a:pt x="162" y="97"/>
                  </a:lnTo>
                  <a:lnTo>
                    <a:pt x="164" y="97"/>
                  </a:lnTo>
                  <a:lnTo>
                    <a:pt x="164" y="97"/>
                  </a:lnTo>
                  <a:lnTo>
                    <a:pt x="166" y="97"/>
                  </a:lnTo>
                  <a:lnTo>
                    <a:pt x="166" y="95"/>
                  </a:lnTo>
                  <a:lnTo>
                    <a:pt x="168" y="93"/>
                  </a:lnTo>
                  <a:lnTo>
                    <a:pt x="170" y="90"/>
                  </a:lnTo>
                  <a:lnTo>
                    <a:pt x="172" y="90"/>
                  </a:lnTo>
                  <a:lnTo>
                    <a:pt x="172" y="90"/>
                  </a:lnTo>
                  <a:lnTo>
                    <a:pt x="172" y="86"/>
                  </a:lnTo>
                  <a:lnTo>
                    <a:pt x="174" y="86"/>
                  </a:lnTo>
                  <a:lnTo>
                    <a:pt x="176" y="86"/>
                  </a:lnTo>
                  <a:lnTo>
                    <a:pt x="176" y="84"/>
                  </a:lnTo>
                  <a:lnTo>
                    <a:pt x="180" y="80"/>
                  </a:lnTo>
                  <a:lnTo>
                    <a:pt x="180" y="80"/>
                  </a:lnTo>
                  <a:lnTo>
                    <a:pt x="176" y="78"/>
                  </a:lnTo>
                  <a:lnTo>
                    <a:pt x="174" y="78"/>
                  </a:lnTo>
                  <a:lnTo>
                    <a:pt x="176" y="78"/>
                  </a:lnTo>
                  <a:lnTo>
                    <a:pt x="176" y="76"/>
                  </a:lnTo>
                  <a:lnTo>
                    <a:pt x="180" y="76"/>
                  </a:lnTo>
                  <a:lnTo>
                    <a:pt x="184" y="74"/>
                  </a:lnTo>
                  <a:lnTo>
                    <a:pt x="186" y="74"/>
                  </a:lnTo>
                  <a:lnTo>
                    <a:pt x="188" y="74"/>
                  </a:lnTo>
                  <a:lnTo>
                    <a:pt x="190" y="76"/>
                  </a:lnTo>
                  <a:lnTo>
                    <a:pt x="192" y="76"/>
                  </a:lnTo>
                  <a:lnTo>
                    <a:pt x="194" y="74"/>
                  </a:lnTo>
                  <a:lnTo>
                    <a:pt x="196" y="72"/>
                  </a:lnTo>
                  <a:lnTo>
                    <a:pt x="199" y="72"/>
                  </a:lnTo>
                  <a:lnTo>
                    <a:pt x="199" y="72"/>
                  </a:lnTo>
                  <a:lnTo>
                    <a:pt x="196" y="72"/>
                  </a:lnTo>
                  <a:lnTo>
                    <a:pt x="194" y="68"/>
                  </a:lnTo>
                  <a:lnTo>
                    <a:pt x="194" y="68"/>
                  </a:lnTo>
                  <a:lnTo>
                    <a:pt x="190" y="66"/>
                  </a:lnTo>
                  <a:lnTo>
                    <a:pt x="188" y="66"/>
                  </a:lnTo>
                  <a:lnTo>
                    <a:pt x="172" y="68"/>
                  </a:lnTo>
                  <a:lnTo>
                    <a:pt x="166" y="70"/>
                  </a:lnTo>
                  <a:lnTo>
                    <a:pt x="160" y="72"/>
                  </a:lnTo>
                  <a:lnTo>
                    <a:pt x="160" y="74"/>
                  </a:lnTo>
                  <a:lnTo>
                    <a:pt x="158" y="76"/>
                  </a:lnTo>
                  <a:lnTo>
                    <a:pt x="158" y="76"/>
                  </a:lnTo>
                  <a:lnTo>
                    <a:pt x="156" y="76"/>
                  </a:lnTo>
                  <a:lnTo>
                    <a:pt x="156" y="76"/>
                  </a:lnTo>
                  <a:lnTo>
                    <a:pt x="153" y="76"/>
                  </a:lnTo>
                  <a:lnTo>
                    <a:pt x="153" y="76"/>
                  </a:lnTo>
                  <a:lnTo>
                    <a:pt x="151" y="78"/>
                  </a:lnTo>
                  <a:lnTo>
                    <a:pt x="145" y="80"/>
                  </a:lnTo>
                  <a:lnTo>
                    <a:pt x="143" y="82"/>
                  </a:lnTo>
                  <a:lnTo>
                    <a:pt x="137" y="93"/>
                  </a:lnTo>
                  <a:lnTo>
                    <a:pt x="137" y="95"/>
                  </a:lnTo>
                  <a:lnTo>
                    <a:pt x="133" y="97"/>
                  </a:lnTo>
                  <a:lnTo>
                    <a:pt x="133" y="99"/>
                  </a:lnTo>
                  <a:close/>
                  <a:moveTo>
                    <a:pt x="80" y="35"/>
                  </a:moveTo>
                  <a:lnTo>
                    <a:pt x="84" y="33"/>
                  </a:lnTo>
                  <a:lnTo>
                    <a:pt x="84" y="33"/>
                  </a:lnTo>
                  <a:lnTo>
                    <a:pt x="80" y="35"/>
                  </a:lnTo>
                  <a:lnTo>
                    <a:pt x="80" y="35"/>
                  </a:lnTo>
                  <a:lnTo>
                    <a:pt x="80" y="39"/>
                  </a:lnTo>
                  <a:lnTo>
                    <a:pt x="80" y="39"/>
                  </a:lnTo>
                  <a:lnTo>
                    <a:pt x="80" y="39"/>
                  </a:lnTo>
                  <a:lnTo>
                    <a:pt x="80" y="39"/>
                  </a:lnTo>
                  <a:lnTo>
                    <a:pt x="80" y="39"/>
                  </a:lnTo>
                  <a:lnTo>
                    <a:pt x="82" y="41"/>
                  </a:lnTo>
                  <a:lnTo>
                    <a:pt x="84" y="41"/>
                  </a:lnTo>
                  <a:lnTo>
                    <a:pt x="86" y="41"/>
                  </a:lnTo>
                  <a:lnTo>
                    <a:pt x="98" y="33"/>
                  </a:lnTo>
                  <a:lnTo>
                    <a:pt x="102" y="33"/>
                  </a:lnTo>
                  <a:lnTo>
                    <a:pt x="102" y="33"/>
                  </a:lnTo>
                  <a:lnTo>
                    <a:pt x="94" y="33"/>
                  </a:lnTo>
                  <a:lnTo>
                    <a:pt x="96" y="31"/>
                  </a:lnTo>
                  <a:lnTo>
                    <a:pt x="98" y="29"/>
                  </a:lnTo>
                  <a:lnTo>
                    <a:pt x="98" y="29"/>
                  </a:lnTo>
                  <a:lnTo>
                    <a:pt x="117" y="19"/>
                  </a:lnTo>
                  <a:lnTo>
                    <a:pt x="121" y="17"/>
                  </a:lnTo>
                  <a:lnTo>
                    <a:pt x="125" y="15"/>
                  </a:lnTo>
                  <a:lnTo>
                    <a:pt x="125" y="13"/>
                  </a:lnTo>
                  <a:lnTo>
                    <a:pt x="125" y="13"/>
                  </a:lnTo>
                  <a:lnTo>
                    <a:pt x="123" y="11"/>
                  </a:lnTo>
                  <a:lnTo>
                    <a:pt x="123" y="11"/>
                  </a:lnTo>
                  <a:lnTo>
                    <a:pt x="125" y="8"/>
                  </a:lnTo>
                  <a:lnTo>
                    <a:pt x="131" y="4"/>
                  </a:lnTo>
                  <a:lnTo>
                    <a:pt x="133" y="2"/>
                  </a:lnTo>
                  <a:lnTo>
                    <a:pt x="133" y="0"/>
                  </a:lnTo>
                  <a:lnTo>
                    <a:pt x="133" y="0"/>
                  </a:lnTo>
                  <a:lnTo>
                    <a:pt x="133" y="0"/>
                  </a:lnTo>
                  <a:lnTo>
                    <a:pt x="133" y="0"/>
                  </a:lnTo>
                  <a:lnTo>
                    <a:pt x="131" y="2"/>
                  </a:lnTo>
                  <a:lnTo>
                    <a:pt x="129" y="2"/>
                  </a:lnTo>
                  <a:lnTo>
                    <a:pt x="129" y="2"/>
                  </a:lnTo>
                  <a:lnTo>
                    <a:pt x="131" y="0"/>
                  </a:lnTo>
                  <a:lnTo>
                    <a:pt x="131" y="0"/>
                  </a:lnTo>
                  <a:lnTo>
                    <a:pt x="127" y="2"/>
                  </a:lnTo>
                  <a:lnTo>
                    <a:pt x="125" y="4"/>
                  </a:lnTo>
                  <a:lnTo>
                    <a:pt x="123" y="4"/>
                  </a:lnTo>
                  <a:lnTo>
                    <a:pt x="121" y="6"/>
                  </a:lnTo>
                  <a:lnTo>
                    <a:pt x="121" y="4"/>
                  </a:lnTo>
                  <a:lnTo>
                    <a:pt x="115" y="11"/>
                  </a:lnTo>
                  <a:lnTo>
                    <a:pt x="115" y="8"/>
                  </a:lnTo>
                  <a:lnTo>
                    <a:pt x="113" y="11"/>
                  </a:lnTo>
                  <a:lnTo>
                    <a:pt x="108" y="13"/>
                  </a:lnTo>
                  <a:lnTo>
                    <a:pt x="106" y="15"/>
                  </a:lnTo>
                  <a:lnTo>
                    <a:pt x="104" y="17"/>
                  </a:lnTo>
                  <a:lnTo>
                    <a:pt x="102" y="17"/>
                  </a:lnTo>
                  <a:lnTo>
                    <a:pt x="100" y="19"/>
                  </a:lnTo>
                  <a:lnTo>
                    <a:pt x="98" y="19"/>
                  </a:lnTo>
                  <a:lnTo>
                    <a:pt x="98" y="19"/>
                  </a:lnTo>
                  <a:lnTo>
                    <a:pt x="96" y="21"/>
                  </a:lnTo>
                  <a:lnTo>
                    <a:pt x="86" y="27"/>
                  </a:lnTo>
                  <a:lnTo>
                    <a:pt x="78" y="33"/>
                  </a:lnTo>
                  <a:lnTo>
                    <a:pt x="80" y="35"/>
                  </a:lnTo>
                  <a:lnTo>
                    <a:pt x="80" y="35"/>
                  </a:lnTo>
                  <a:close/>
                  <a:moveTo>
                    <a:pt x="352" y="302"/>
                  </a:moveTo>
                  <a:lnTo>
                    <a:pt x="352" y="302"/>
                  </a:lnTo>
                  <a:lnTo>
                    <a:pt x="350" y="302"/>
                  </a:lnTo>
                  <a:lnTo>
                    <a:pt x="350" y="302"/>
                  </a:lnTo>
                  <a:lnTo>
                    <a:pt x="348" y="304"/>
                  </a:lnTo>
                  <a:lnTo>
                    <a:pt x="348" y="306"/>
                  </a:lnTo>
                  <a:lnTo>
                    <a:pt x="348" y="306"/>
                  </a:lnTo>
                  <a:lnTo>
                    <a:pt x="350" y="308"/>
                  </a:lnTo>
                  <a:lnTo>
                    <a:pt x="352" y="306"/>
                  </a:lnTo>
                  <a:lnTo>
                    <a:pt x="352" y="304"/>
                  </a:lnTo>
                  <a:lnTo>
                    <a:pt x="354" y="302"/>
                  </a:lnTo>
                  <a:lnTo>
                    <a:pt x="352" y="302"/>
                  </a:lnTo>
                  <a:lnTo>
                    <a:pt x="352" y="302"/>
                  </a:lnTo>
                  <a:close/>
                  <a:moveTo>
                    <a:pt x="358" y="297"/>
                  </a:moveTo>
                  <a:lnTo>
                    <a:pt x="360" y="297"/>
                  </a:lnTo>
                  <a:lnTo>
                    <a:pt x="360" y="295"/>
                  </a:lnTo>
                  <a:lnTo>
                    <a:pt x="360" y="295"/>
                  </a:lnTo>
                  <a:lnTo>
                    <a:pt x="360" y="293"/>
                  </a:lnTo>
                  <a:lnTo>
                    <a:pt x="360" y="291"/>
                  </a:lnTo>
                  <a:lnTo>
                    <a:pt x="360" y="291"/>
                  </a:lnTo>
                  <a:lnTo>
                    <a:pt x="358" y="289"/>
                  </a:lnTo>
                  <a:lnTo>
                    <a:pt x="358" y="289"/>
                  </a:lnTo>
                  <a:lnTo>
                    <a:pt x="356" y="289"/>
                  </a:lnTo>
                  <a:lnTo>
                    <a:pt x="356" y="289"/>
                  </a:lnTo>
                  <a:lnTo>
                    <a:pt x="354" y="289"/>
                  </a:lnTo>
                  <a:lnTo>
                    <a:pt x="354" y="291"/>
                  </a:lnTo>
                  <a:lnTo>
                    <a:pt x="356" y="297"/>
                  </a:lnTo>
                  <a:lnTo>
                    <a:pt x="358" y="297"/>
                  </a:lnTo>
                  <a:close/>
                  <a:moveTo>
                    <a:pt x="473" y="187"/>
                  </a:moveTo>
                  <a:lnTo>
                    <a:pt x="471" y="185"/>
                  </a:lnTo>
                  <a:lnTo>
                    <a:pt x="469" y="187"/>
                  </a:lnTo>
                  <a:lnTo>
                    <a:pt x="469" y="187"/>
                  </a:lnTo>
                  <a:lnTo>
                    <a:pt x="469" y="187"/>
                  </a:lnTo>
                  <a:lnTo>
                    <a:pt x="469" y="187"/>
                  </a:lnTo>
                  <a:lnTo>
                    <a:pt x="469" y="189"/>
                  </a:lnTo>
                  <a:lnTo>
                    <a:pt x="471" y="189"/>
                  </a:lnTo>
                  <a:lnTo>
                    <a:pt x="471" y="189"/>
                  </a:lnTo>
                  <a:lnTo>
                    <a:pt x="469" y="189"/>
                  </a:lnTo>
                  <a:lnTo>
                    <a:pt x="471" y="189"/>
                  </a:lnTo>
                  <a:lnTo>
                    <a:pt x="473" y="191"/>
                  </a:lnTo>
                  <a:lnTo>
                    <a:pt x="477" y="189"/>
                  </a:lnTo>
                  <a:lnTo>
                    <a:pt x="475" y="189"/>
                  </a:lnTo>
                  <a:lnTo>
                    <a:pt x="475" y="189"/>
                  </a:lnTo>
                  <a:lnTo>
                    <a:pt x="473" y="187"/>
                  </a:lnTo>
                  <a:lnTo>
                    <a:pt x="473" y="189"/>
                  </a:lnTo>
                  <a:lnTo>
                    <a:pt x="473" y="187"/>
                  </a:lnTo>
                  <a:lnTo>
                    <a:pt x="473" y="187"/>
                  </a:lnTo>
                  <a:close/>
                  <a:moveTo>
                    <a:pt x="364" y="256"/>
                  </a:moveTo>
                  <a:lnTo>
                    <a:pt x="364" y="256"/>
                  </a:lnTo>
                  <a:lnTo>
                    <a:pt x="364" y="256"/>
                  </a:lnTo>
                  <a:lnTo>
                    <a:pt x="362" y="256"/>
                  </a:lnTo>
                  <a:lnTo>
                    <a:pt x="366" y="263"/>
                  </a:lnTo>
                  <a:lnTo>
                    <a:pt x="369" y="263"/>
                  </a:lnTo>
                  <a:lnTo>
                    <a:pt x="369" y="261"/>
                  </a:lnTo>
                  <a:lnTo>
                    <a:pt x="369" y="261"/>
                  </a:lnTo>
                  <a:lnTo>
                    <a:pt x="366" y="259"/>
                  </a:lnTo>
                  <a:lnTo>
                    <a:pt x="364" y="256"/>
                  </a:lnTo>
                  <a:close/>
                  <a:moveTo>
                    <a:pt x="674" y="478"/>
                  </a:moveTo>
                  <a:lnTo>
                    <a:pt x="674" y="476"/>
                  </a:lnTo>
                  <a:lnTo>
                    <a:pt x="674" y="472"/>
                  </a:lnTo>
                  <a:lnTo>
                    <a:pt x="674" y="472"/>
                  </a:lnTo>
                  <a:lnTo>
                    <a:pt x="672" y="470"/>
                  </a:lnTo>
                  <a:lnTo>
                    <a:pt x="670" y="465"/>
                  </a:lnTo>
                  <a:lnTo>
                    <a:pt x="668" y="463"/>
                  </a:lnTo>
                  <a:lnTo>
                    <a:pt x="668" y="463"/>
                  </a:lnTo>
                  <a:lnTo>
                    <a:pt x="661" y="445"/>
                  </a:lnTo>
                  <a:lnTo>
                    <a:pt x="655" y="429"/>
                  </a:lnTo>
                  <a:lnTo>
                    <a:pt x="653" y="420"/>
                  </a:lnTo>
                  <a:lnTo>
                    <a:pt x="643" y="392"/>
                  </a:lnTo>
                  <a:lnTo>
                    <a:pt x="639" y="386"/>
                  </a:lnTo>
                  <a:lnTo>
                    <a:pt x="639" y="386"/>
                  </a:lnTo>
                  <a:lnTo>
                    <a:pt x="639" y="384"/>
                  </a:lnTo>
                  <a:lnTo>
                    <a:pt x="637" y="381"/>
                  </a:lnTo>
                  <a:lnTo>
                    <a:pt x="633" y="375"/>
                  </a:lnTo>
                  <a:lnTo>
                    <a:pt x="629" y="373"/>
                  </a:lnTo>
                  <a:lnTo>
                    <a:pt x="627" y="371"/>
                  </a:lnTo>
                  <a:lnTo>
                    <a:pt x="616" y="369"/>
                  </a:lnTo>
                  <a:lnTo>
                    <a:pt x="614" y="369"/>
                  </a:lnTo>
                  <a:lnTo>
                    <a:pt x="612" y="369"/>
                  </a:lnTo>
                  <a:lnTo>
                    <a:pt x="608" y="371"/>
                  </a:lnTo>
                  <a:lnTo>
                    <a:pt x="608" y="371"/>
                  </a:lnTo>
                  <a:lnTo>
                    <a:pt x="606" y="375"/>
                  </a:lnTo>
                  <a:lnTo>
                    <a:pt x="604" y="375"/>
                  </a:lnTo>
                  <a:lnTo>
                    <a:pt x="602" y="377"/>
                  </a:lnTo>
                  <a:lnTo>
                    <a:pt x="600" y="377"/>
                  </a:lnTo>
                  <a:lnTo>
                    <a:pt x="600" y="379"/>
                  </a:lnTo>
                  <a:lnTo>
                    <a:pt x="598" y="379"/>
                  </a:lnTo>
                  <a:lnTo>
                    <a:pt x="592" y="381"/>
                  </a:lnTo>
                  <a:lnTo>
                    <a:pt x="592" y="381"/>
                  </a:lnTo>
                  <a:lnTo>
                    <a:pt x="592" y="381"/>
                  </a:lnTo>
                  <a:lnTo>
                    <a:pt x="590" y="381"/>
                  </a:lnTo>
                  <a:lnTo>
                    <a:pt x="588" y="386"/>
                  </a:lnTo>
                  <a:lnTo>
                    <a:pt x="588" y="388"/>
                  </a:lnTo>
                  <a:lnTo>
                    <a:pt x="588" y="388"/>
                  </a:lnTo>
                  <a:lnTo>
                    <a:pt x="579" y="390"/>
                  </a:lnTo>
                  <a:lnTo>
                    <a:pt x="582" y="390"/>
                  </a:lnTo>
                  <a:lnTo>
                    <a:pt x="584" y="390"/>
                  </a:lnTo>
                  <a:lnTo>
                    <a:pt x="586" y="390"/>
                  </a:lnTo>
                  <a:lnTo>
                    <a:pt x="586" y="392"/>
                  </a:lnTo>
                  <a:lnTo>
                    <a:pt x="584" y="394"/>
                  </a:lnTo>
                  <a:lnTo>
                    <a:pt x="584" y="396"/>
                  </a:lnTo>
                  <a:lnTo>
                    <a:pt x="582" y="398"/>
                  </a:lnTo>
                  <a:lnTo>
                    <a:pt x="582" y="400"/>
                  </a:lnTo>
                  <a:lnTo>
                    <a:pt x="579" y="406"/>
                  </a:lnTo>
                  <a:lnTo>
                    <a:pt x="577" y="412"/>
                  </a:lnTo>
                  <a:lnTo>
                    <a:pt x="577" y="414"/>
                  </a:lnTo>
                  <a:lnTo>
                    <a:pt x="575" y="414"/>
                  </a:lnTo>
                  <a:lnTo>
                    <a:pt x="575" y="412"/>
                  </a:lnTo>
                  <a:lnTo>
                    <a:pt x="575" y="412"/>
                  </a:lnTo>
                  <a:lnTo>
                    <a:pt x="573" y="410"/>
                  </a:lnTo>
                  <a:lnTo>
                    <a:pt x="573" y="412"/>
                  </a:lnTo>
                  <a:lnTo>
                    <a:pt x="569" y="420"/>
                  </a:lnTo>
                  <a:lnTo>
                    <a:pt x="567" y="422"/>
                  </a:lnTo>
                  <a:lnTo>
                    <a:pt x="563" y="427"/>
                  </a:lnTo>
                  <a:lnTo>
                    <a:pt x="561" y="425"/>
                  </a:lnTo>
                  <a:lnTo>
                    <a:pt x="557" y="425"/>
                  </a:lnTo>
                  <a:lnTo>
                    <a:pt x="553" y="422"/>
                  </a:lnTo>
                  <a:lnTo>
                    <a:pt x="551" y="422"/>
                  </a:lnTo>
                  <a:lnTo>
                    <a:pt x="547" y="420"/>
                  </a:lnTo>
                  <a:lnTo>
                    <a:pt x="545" y="420"/>
                  </a:lnTo>
                  <a:lnTo>
                    <a:pt x="543" y="418"/>
                  </a:lnTo>
                  <a:lnTo>
                    <a:pt x="541" y="416"/>
                  </a:lnTo>
                  <a:lnTo>
                    <a:pt x="541" y="414"/>
                  </a:lnTo>
                  <a:lnTo>
                    <a:pt x="541" y="410"/>
                  </a:lnTo>
                  <a:lnTo>
                    <a:pt x="541" y="410"/>
                  </a:lnTo>
                  <a:lnTo>
                    <a:pt x="541" y="406"/>
                  </a:lnTo>
                  <a:lnTo>
                    <a:pt x="541" y="404"/>
                  </a:lnTo>
                  <a:lnTo>
                    <a:pt x="541" y="404"/>
                  </a:lnTo>
                  <a:lnTo>
                    <a:pt x="541" y="402"/>
                  </a:lnTo>
                  <a:lnTo>
                    <a:pt x="541" y="402"/>
                  </a:lnTo>
                  <a:lnTo>
                    <a:pt x="541" y="400"/>
                  </a:lnTo>
                  <a:lnTo>
                    <a:pt x="541" y="392"/>
                  </a:lnTo>
                  <a:lnTo>
                    <a:pt x="543" y="388"/>
                  </a:lnTo>
                  <a:lnTo>
                    <a:pt x="547" y="386"/>
                  </a:lnTo>
                  <a:lnTo>
                    <a:pt x="547" y="386"/>
                  </a:lnTo>
                  <a:lnTo>
                    <a:pt x="549" y="386"/>
                  </a:lnTo>
                  <a:lnTo>
                    <a:pt x="551" y="386"/>
                  </a:lnTo>
                  <a:lnTo>
                    <a:pt x="551" y="386"/>
                  </a:lnTo>
                  <a:lnTo>
                    <a:pt x="553" y="386"/>
                  </a:lnTo>
                  <a:lnTo>
                    <a:pt x="553" y="384"/>
                  </a:lnTo>
                  <a:lnTo>
                    <a:pt x="553" y="384"/>
                  </a:lnTo>
                  <a:lnTo>
                    <a:pt x="555" y="386"/>
                  </a:lnTo>
                  <a:lnTo>
                    <a:pt x="557" y="384"/>
                  </a:lnTo>
                  <a:lnTo>
                    <a:pt x="557" y="384"/>
                  </a:lnTo>
                  <a:lnTo>
                    <a:pt x="557" y="381"/>
                  </a:lnTo>
                  <a:lnTo>
                    <a:pt x="557" y="379"/>
                  </a:lnTo>
                  <a:lnTo>
                    <a:pt x="559" y="379"/>
                  </a:lnTo>
                  <a:lnTo>
                    <a:pt x="563" y="377"/>
                  </a:lnTo>
                  <a:lnTo>
                    <a:pt x="563" y="377"/>
                  </a:lnTo>
                  <a:lnTo>
                    <a:pt x="563" y="375"/>
                  </a:lnTo>
                  <a:lnTo>
                    <a:pt x="563" y="375"/>
                  </a:lnTo>
                  <a:lnTo>
                    <a:pt x="563" y="373"/>
                  </a:lnTo>
                  <a:lnTo>
                    <a:pt x="563" y="373"/>
                  </a:lnTo>
                  <a:lnTo>
                    <a:pt x="565" y="373"/>
                  </a:lnTo>
                  <a:lnTo>
                    <a:pt x="565" y="371"/>
                  </a:lnTo>
                  <a:lnTo>
                    <a:pt x="563" y="363"/>
                  </a:lnTo>
                  <a:lnTo>
                    <a:pt x="563" y="359"/>
                  </a:lnTo>
                  <a:lnTo>
                    <a:pt x="565" y="355"/>
                  </a:lnTo>
                  <a:lnTo>
                    <a:pt x="567" y="353"/>
                  </a:lnTo>
                  <a:lnTo>
                    <a:pt x="569" y="353"/>
                  </a:lnTo>
                  <a:lnTo>
                    <a:pt x="571" y="353"/>
                  </a:lnTo>
                  <a:lnTo>
                    <a:pt x="571" y="353"/>
                  </a:lnTo>
                  <a:lnTo>
                    <a:pt x="571" y="355"/>
                  </a:lnTo>
                  <a:lnTo>
                    <a:pt x="571" y="355"/>
                  </a:lnTo>
                  <a:lnTo>
                    <a:pt x="571" y="355"/>
                  </a:lnTo>
                  <a:lnTo>
                    <a:pt x="573" y="349"/>
                  </a:lnTo>
                  <a:lnTo>
                    <a:pt x="575" y="349"/>
                  </a:lnTo>
                  <a:lnTo>
                    <a:pt x="575" y="347"/>
                  </a:lnTo>
                  <a:lnTo>
                    <a:pt x="577" y="347"/>
                  </a:lnTo>
                  <a:lnTo>
                    <a:pt x="577" y="347"/>
                  </a:lnTo>
                  <a:lnTo>
                    <a:pt x="579" y="345"/>
                  </a:lnTo>
                  <a:lnTo>
                    <a:pt x="579" y="345"/>
                  </a:lnTo>
                  <a:lnTo>
                    <a:pt x="579" y="343"/>
                  </a:lnTo>
                  <a:lnTo>
                    <a:pt x="579" y="338"/>
                  </a:lnTo>
                  <a:lnTo>
                    <a:pt x="577" y="316"/>
                  </a:lnTo>
                  <a:lnTo>
                    <a:pt x="577" y="314"/>
                  </a:lnTo>
                  <a:lnTo>
                    <a:pt x="577" y="310"/>
                  </a:lnTo>
                  <a:lnTo>
                    <a:pt x="577" y="308"/>
                  </a:lnTo>
                  <a:lnTo>
                    <a:pt x="577" y="306"/>
                  </a:lnTo>
                  <a:lnTo>
                    <a:pt x="575" y="302"/>
                  </a:lnTo>
                  <a:lnTo>
                    <a:pt x="575" y="295"/>
                  </a:lnTo>
                  <a:lnTo>
                    <a:pt x="573" y="293"/>
                  </a:lnTo>
                  <a:lnTo>
                    <a:pt x="573" y="291"/>
                  </a:lnTo>
                  <a:lnTo>
                    <a:pt x="571" y="291"/>
                  </a:lnTo>
                  <a:lnTo>
                    <a:pt x="571" y="289"/>
                  </a:lnTo>
                  <a:lnTo>
                    <a:pt x="571" y="289"/>
                  </a:lnTo>
                  <a:lnTo>
                    <a:pt x="571" y="289"/>
                  </a:lnTo>
                  <a:lnTo>
                    <a:pt x="569" y="287"/>
                  </a:lnTo>
                  <a:lnTo>
                    <a:pt x="569" y="287"/>
                  </a:lnTo>
                  <a:lnTo>
                    <a:pt x="567" y="287"/>
                  </a:lnTo>
                  <a:lnTo>
                    <a:pt x="565" y="285"/>
                  </a:lnTo>
                  <a:lnTo>
                    <a:pt x="563" y="285"/>
                  </a:lnTo>
                  <a:lnTo>
                    <a:pt x="563" y="283"/>
                  </a:lnTo>
                  <a:lnTo>
                    <a:pt x="561" y="283"/>
                  </a:lnTo>
                  <a:lnTo>
                    <a:pt x="561" y="281"/>
                  </a:lnTo>
                  <a:lnTo>
                    <a:pt x="561" y="281"/>
                  </a:lnTo>
                  <a:lnTo>
                    <a:pt x="561" y="279"/>
                  </a:lnTo>
                  <a:lnTo>
                    <a:pt x="561" y="279"/>
                  </a:lnTo>
                  <a:lnTo>
                    <a:pt x="559" y="279"/>
                  </a:lnTo>
                  <a:lnTo>
                    <a:pt x="559" y="279"/>
                  </a:lnTo>
                  <a:lnTo>
                    <a:pt x="559" y="277"/>
                  </a:lnTo>
                  <a:lnTo>
                    <a:pt x="559" y="277"/>
                  </a:lnTo>
                  <a:lnTo>
                    <a:pt x="559" y="277"/>
                  </a:lnTo>
                  <a:lnTo>
                    <a:pt x="561" y="277"/>
                  </a:lnTo>
                  <a:lnTo>
                    <a:pt x="559" y="273"/>
                  </a:lnTo>
                  <a:lnTo>
                    <a:pt x="561" y="271"/>
                  </a:lnTo>
                  <a:lnTo>
                    <a:pt x="561" y="271"/>
                  </a:lnTo>
                  <a:lnTo>
                    <a:pt x="565" y="269"/>
                  </a:lnTo>
                  <a:lnTo>
                    <a:pt x="565" y="269"/>
                  </a:lnTo>
                  <a:lnTo>
                    <a:pt x="567" y="271"/>
                  </a:lnTo>
                  <a:lnTo>
                    <a:pt x="569" y="273"/>
                  </a:lnTo>
                  <a:lnTo>
                    <a:pt x="569" y="273"/>
                  </a:lnTo>
                  <a:lnTo>
                    <a:pt x="571" y="273"/>
                  </a:lnTo>
                  <a:lnTo>
                    <a:pt x="573" y="273"/>
                  </a:lnTo>
                  <a:lnTo>
                    <a:pt x="573" y="271"/>
                  </a:lnTo>
                  <a:lnTo>
                    <a:pt x="569" y="269"/>
                  </a:lnTo>
                  <a:lnTo>
                    <a:pt x="569" y="267"/>
                  </a:lnTo>
                  <a:lnTo>
                    <a:pt x="569" y="267"/>
                  </a:lnTo>
                  <a:lnTo>
                    <a:pt x="569" y="267"/>
                  </a:lnTo>
                  <a:lnTo>
                    <a:pt x="569" y="267"/>
                  </a:lnTo>
                  <a:lnTo>
                    <a:pt x="569" y="267"/>
                  </a:lnTo>
                  <a:lnTo>
                    <a:pt x="569" y="265"/>
                  </a:lnTo>
                  <a:lnTo>
                    <a:pt x="569" y="265"/>
                  </a:lnTo>
                  <a:lnTo>
                    <a:pt x="569" y="265"/>
                  </a:lnTo>
                  <a:lnTo>
                    <a:pt x="569" y="265"/>
                  </a:lnTo>
                  <a:lnTo>
                    <a:pt x="569" y="263"/>
                  </a:lnTo>
                  <a:lnTo>
                    <a:pt x="567" y="261"/>
                  </a:lnTo>
                  <a:lnTo>
                    <a:pt x="567" y="261"/>
                  </a:lnTo>
                  <a:lnTo>
                    <a:pt x="567" y="261"/>
                  </a:lnTo>
                  <a:lnTo>
                    <a:pt x="565" y="261"/>
                  </a:lnTo>
                  <a:lnTo>
                    <a:pt x="565" y="259"/>
                  </a:lnTo>
                  <a:lnTo>
                    <a:pt x="563" y="259"/>
                  </a:lnTo>
                  <a:lnTo>
                    <a:pt x="561" y="256"/>
                  </a:lnTo>
                  <a:lnTo>
                    <a:pt x="559" y="252"/>
                  </a:lnTo>
                  <a:lnTo>
                    <a:pt x="559" y="252"/>
                  </a:lnTo>
                  <a:lnTo>
                    <a:pt x="559" y="250"/>
                  </a:lnTo>
                  <a:lnTo>
                    <a:pt x="559" y="250"/>
                  </a:lnTo>
                  <a:lnTo>
                    <a:pt x="561" y="248"/>
                  </a:lnTo>
                  <a:lnTo>
                    <a:pt x="557" y="246"/>
                  </a:lnTo>
                  <a:lnTo>
                    <a:pt x="553" y="244"/>
                  </a:lnTo>
                  <a:lnTo>
                    <a:pt x="549" y="242"/>
                  </a:lnTo>
                  <a:lnTo>
                    <a:pt x="547" y="242"/>
                  </a:lnTo>
                  <a:lnTo>
                    <a:pt x="543" y="242"/>
                  </a:lnTo>
                  <a:lnTo>
                    <a:pt x="543" y="242"/>
                  </a:lnTo>
                  <a:lnTo>
                    <a:pt x="539" y="242"/>
                  </a:lnTo>
                  <a:lnTo>
                    <a:pt x="539" y="242"/>
                  </a:lnTo>
                  <a:lnTo>
                    <a:pt x="536" y="240"/>
                  </a:lnTo>
                  <a:lnTo>
                    <a:pt x="534" y="238"/>
                  </a:lnTo>
                  <a:lnTo>
                    <a:pt x="532" y="238"/>
                  </a:lnTo>
                  <a:lnTo>
                    <a:pt x="532" y="238"/>
                  </a:lnTo>
                  <a:lnTo>
                    <a:pt x="528" y="238"/>
                  </a:lnTo>
                  <a:lnTo>
                    <a:pt x="528" y="238"/>
                  </a:lnTo>
                  <a:lnTo>
                    <a:pt x="526" y="238"/>
                  </a:lnTo>
                  <a:lnTo>
                    <a:pt x="522" y="238"/>
                  </a:lnTo>
                  <a:lnTo>
                    <a:pt x="520" y="236"/>
                  </a:lnTo>
                  <a:lnTo>
                    <a:pt x="518" y="234"/>
                  </a:lnTo>
                  <a:lnTo>
                    <a:pt x="514" y="232"/>
                  </a:lnTo>
                  <a:lnTo>
                    <a:pt x="502" y="234"/>
                  </a:lnTo>
                  <a:lnTo>
                    <a:pt x="500" y="234"/>
                  </a:lnTo>
                  <a:lnTo>
                    <a:pt x="500" y="232"/>
                  </a:lnTo>
                  <a:lnTo>
                    <a:pt x="498" y="230"/>
                  </a:lnTo>
                  <a:lnTo>
                    <a:pt x="498" y="228"/>
                  </a:lnTo>
                  <a:lnTo>
                    <a:pt x="498" y="226"/>
                  </a:lnTo>
                  <a:lnTo>
                    <a:pt x="496" y="226"/>
                  </a:lnTo>
                  <a:lnTo>
                    <a:pt x="493" y="222"/>
                  </a:lnTo>
                  <a:lnTo>
                    <a:pt x="489" y="222"/>
                  </a:lnTo>
                  <a:lnTo>
                    <a:pt x="485" y="220"/>
                  </a:lnTo>
                  <a:lnTo>
                    <a:pt x="483" y="220"/>
                  </a:lnTo>
                  <a:lnTo>
                    <a:pt x="479" y="220"/>
                  </a:lnTo>
                  <a:lnTo>
                    <a:pt x="471" y="220"/>
                  </a:lnTo>
                  <a:lnTo>
                    <a:pt x="469" y="220"/>
                  </a:lnTo>
                  <a:lnTo>
                    <a:pt x="461" y="215"/>
                  </a:lnTo>
                  <a:lnTo>
                    <a:pt x="450" y="211"/>
                  </a:lnTo>
                  <a:lnTo>
                    <a:pt x="448" y="209"/>
                  </a:lnTo>
                  <a:lnTo>
                    <a:pt x="446" y="209"/>
                  </a:lnTo>
                  <a:lnTo>
                    <a:pt x="444" y="211"/>
                  </a:lnTo>
                  <a:lnTo>
                    <a:pt x="444" y="211"/>
                  </a:lnTo>
                  <a:lnTo>
                    <a:pt x="444" y="213"/>
                  </a:lnTo>
                  <a:lnTo>
                    <a:pt x="442" y="213"/>
                  </a:lnTo>
                  <a:lnTo>
                    <a:pt x="442" y="215"/>
                  </a:lnTo>
                  <a:lnTo>
                    <a:pt x="432" y="215"/>
                  </a:lnTo>
                  <a:lnTo>
                    <a:pt x="428" y="215"/>
                  </a:lnTo>
                  <a:lnTo>
                    <a:pt x="428" y="215"/>
                  </a:lnTo>
                  <a:lnTo>
                    <a:pt x="430" y="215"/>
                  </a:lnTo>
                  <a:lnTo>
                    <a:pt x="432" y="220"/>
                  </a:lnTo>
                  <a:lnTo>
                    <a:pt x="432" y="220"/>
                  </a:lnTo>
                  <a:lnTo>
                    <a:pt x="432" y="220"/>
                  </a:lnTo>
                  <a:lnTo>
                    <a:pt x="430" y="226"/>
                  </a:lnTo>
                  <a:lnTo>
                    <a:pt x="426" y="230"/>
                  </a:lnTo>
                  <a:lnTo>
                    <a:pt x="424" y="232"/>
                  </a:lnTo>
                  <a:lnTo>
                    <a:pt x="422" y="234"/>
                  </a:lnTo>
                  <a:lnTo>
                    <a:pt x="422" y="238"/>
                  </a:lnTo>
                  <a:lnTo>
                    <a:pt x="424" y="242"/>
                  </a:lnTo>
                  <a:lnTo>
                    <a:pt x="426" y="246"/>
                  </a:lnTo>
                  <a:lnTo>
                    <a:pt x="426" y="248"/>
                  </a:lnTo>
                  <a:lnTo>
                    <a:pt x="430" y="250"/>
                  </a:lnTo>
                  <a:lnTo>
                    <a:pt x="430" y="250"/>
                  </a:lnTo>
                  <a:lnTo>
                    <a:pt x="438" y="250"/>
                  </a:lnTo>
                  <a:lnTo>
                    <a:pt x="440" y="250"/>
                  </a:lnTo>
                  <a:lnTo>
                    <a:pt x="438" y="254"/>
                  </a:lnTo>
                  <a:lnTo>
                    <a:pt x="434" y="256"/>
                  </a:lnTo>
                  <a:lnTo>
                    <a:pt x="430" y="256"/>
                  </a:lnTo>
                  <a:lnTo>
                    <a:pt x="424" y="256"/>
                  </a:lnTo>
                  <a:lnTo>
                    <a:pt x="420" y="259"/>
                  </a:lnTo>
                  <a:lnTo>
                    <a:pt x="407" y="267"/>
                  </a:lnTo>
                  <a:lnTo>
                    <a:pt x="405" y="269"/>
                  </a:lnTo>
                  <a:lnTo>
                    <a:pt x="405" y="273"/>
                  </a:lnTo>
                  <a:lnTo>
                    <a:pt x="405" y="277"/>
                  </a:lnTo>
                  <a:lnTo>
                    <a:pt x="407" y="289"/>
                  </a:lnTo>
                  <a:lnTo>
                    <a:pt x="407" y="300"/>
                  </a:lnTo>
                  <a:lnTo>
                    <a:pt x="407" y="308"/>
                  </a:lnTo>
                  <a:lnTo>
                    <a:pt x="403" y="316"/>
                  </a:lnTo>
                  <a:lnTo>
                    <a:pt x="399" y="324"/>
                  </a:lnTo>
                  <a:lnTo>
                    <a:pt x="399" y="326"/>
                  </a:lnTo>
                  <a:lnTo>
                    <a:pt x="399" y="326"/>
                  </a:lnTo>
                  <a:lnTo>
                    <a:pt x="397" y="326"/>
                  </a:lnTo>
                  <a:lnTo>
                    <a:pt x="397" y="324"/>
                  </a:lnTo>
                  <a:lnTo>
                    <a:pt x="397" y="324"/>
                  </a:lnTo>
                  <a:lnTo>
                    <a:pt x="397" y="322"/>
                  </a:lnTo>
                  <a:lnTo>
                    <a:pt x="397" y="320"/>
                  </a:lnTo>
                  <a:lnTo>
                    <a:pt x="397" y="318"/>
                  </a:lnTo>
                  <a:lnTo>
                    <a:pt x="397" y="318"/>
                  </a:lnTo>
                  <a:lnTo>
                    <a:pt x="399" y="316"/>
                  </a:lnTo>
                  <a:lnTo>
                    <a:pt x="401" y="314"/>
                  </a:lnTo>
                  <a:lnTo>
                    <a:pt x="401" y="312"/>
                  </a:lnTo>
                  <a:lnTo>
                    <a:pt x="401" y="310"/>
                  </a:lnTo>
                  <a:lnTo>
                    <a:pt x="401" y="306"/>
                  </a:lnTo>
                  <a:lnTo>
                    <a:pt x="401" y="306"/>
                  </a:lnTo>
                  <a:lnTo>
                    <a:pt x="401" y="304"/>
                  </a:lnTo>
                  <a:lnTo>
                    <a:pt x="401" y="304"/>
                  </a:lnTo>
                  <a:lnTo>
                    <a:pt x="401" y="302"/>
                  </a:lnTo>
                  <a:lnTo>
                    <a:pt x="399" y="302"/>
                  </a:lnTo>
                  <a:lnTo>
                    <a:pt x="399" y="302"/>
                  </a:lnTo>
                  <a:lnTo>
                    <a:pt x="397" y="302"/>
                  </a:lnTo>
                  <a:lnTo>
                    <a:pt x="397" y="302"/>
                  </a:lnTo>
                  <a:lnTo>
                    <a:pt x="397" y="304"/>
                  </a:lnTo>
                  <a:lnTo>
                    <a:pt x="397" y="308"/>
                  </a:lnTo>
                  <a:lnTo>
                    <a:pt x="397" y="308"/>
                  </a:lnTo>
                  <a:lnTo>
                    <a:pt x="397" y="310"/>
                  </a:lnTo>
                  <a:lnTo>
                    <a:pt x="395" y="312"/>
                  </a:lnTo>
                  <a:lnTo>
                    <a:pt x="395" y="312"/>
                  </a:lnTo>
                  <a:lnTo>
                    <a:pt x="397" y="312"/>
                  </a:lnTo>
                  <a:lnTo>
                    <a:pt x="397" y="312"/>
                  </a:lnTo>
                  <a:lnTo>
                    <a:pt x="395" y="314"/>
                  </a:lnTo>
                  <a:lnTo>
                    <a:pt x="395" y="316"/>
                  </a:lnTo>
                  <a:lnTo>
                    <a:pt x="395" y="318"/>
                  </a:lnTo>
                  <a:lnTo>
                    <a:pt x="395" y="320"/>
                  </a:lnTo>
                  <a:lnTo>
                    <a:pt x="395" y="322"/>
                  </a:lnTo>
                  <a:lnTo>
                    <a:pt x="395" y="324"/>
                  </a:lnTo>
                  <a:lnTo>
                    <a:pt x="393" y="324"/>
                  </a:lnTo>
                  <a:lnTo>
                    <a:pt x="393" y="324"/>
                  </a:lnTo>
                  <a:lnTo>
                    <a:pt x="391" y="322"/>
                  </a:lnTo>
                  <a:lnTo>
                    <a:pt x="389" y="320"/>
                  </a:lnTo>
                  <a:lnTo>
                    <a:pt x="389" y="318"/>
                  </a:lnTo>
                  <a:lnTo>
                    <a:pt x="389" y="314"/>
                  </a:lnTo>
                  <a:lnTo>
                    <a:pt x="391" y="308"/>
                  </a:lnTo>
                  <a:lnTo>
                    <a:pt x="391" y="306"/>
                  </a:lnTo>
                  <a:lnTo>
                    <a:pt x="391" y="304"/>
                  </a:lnTo>
                  <a:lnTo>
                    <a:pt x="391" y="304"/>
                  </a:lnTo>
                  <a:lnTo>
                    <a:pt x="391" y="304"/>
                  </a:lnTo>
                  <a:lnTo>
                    <a:pt x="389" y="304"/>
                  </a:lnTo>
                  <a:lnTo>
                    <a:pt x="389" y="302"/>
                  </a:lnTo>
                  <a:lnTo>
                    <a:pt x="389" y="300"/>
                  </a:lnTo>
                  <a:lnTo>
                    <a:pt x="391" y="297"/>
                  </a:lnTo>
                  <a:lnTo>
                    <a:pt x="393" y="295"/>
                  </a:lnTo>
                  <a:lnTo>
                    <a:pt x="393" y="295"/>
                  </a:lnTo>
                  <a:lnTo>
                    <a:pt x="391" y="293"/>
                  </a:lnTo>
                  <a:lnTo>
                    <a:pt x="389" y="289"/>
                  </a:lnTo>
                  <a:lnTo>
                    <a:pt x="389" y="287"/>
                  </a:lnTo>
                  <a:lnTo>
                    <a:pt x="391" y="285"/>
                  </a:lnTo>
                  <a:lnTo>
                    <a:pt x="391" y="285"/>
                  </a:lnTo>
                  <a:lnTo>
                    <a:pt x="393" y="285"/>
                  </a:lnTo>
                  <a:lnTo>
                    <a:pt x="393" y="283"/>
                  </a:lnTo>
                  <a:lnTo>
                    <a:pt x="393" y="281"/>
                  </a:lnTo>
                  <a:lnTo>
                    <a:pt x="393" y="279"/>
                  </a:lnTo>
                  <a:lnTo>
                    <a:pt x="391" y="279"/>
                  </a:lnTo>
                  <a:lnTo>
                    <a:pt x="389" y="281"/>
                  </a:lnTo>
                  <a:lnTo>
                    <a:pt x="389" y="281"/>
                  </a:lnTo>
                  <a:lnTo>
                    <a:pt x="387" y="281"/>
                  </a:lnTo>
                  <a:lnTo>
                    <a:pt x="387" y="283"/>
                  </a:lnTo>
                  <a:lnTo>
                    <a:pt x="387" y="283"/>
                  </a:lnTo>
                  <a:lnTo>
                    <a:pt x="383" y="291"/>
                  </a:lnTo>
                  <a:lnTo>
                    <a:pt x="383" y="293"/>
                  </a:lnTo>
                  <a:lnTo>
                    <a:pt x="379" y="295"/>
                  </a:lnTo>
                  <a:lnTo>
                    <a:pt x="379" y="297"/>
                  </a:lnTo>
                  <a:lnTo>
                    <a:pt x="379" y="300"/>
                  </a:lnTo>
                  <a:lnTo>
                    <a:pt x="375" y="308"/>
                  </a:lnTo>
                  <a:lnTo>
                    <a:pt x="375" y="310"/>
                  </a:lnTo>
                  <a:lnTo>
                    <a:pt x="373" y="310"/>
                  </a:lnTo>
                  <a:lnTo>
                    <a:pt x="373" y="310"/>
                  </a:lnTo>
                  <a:lnTo>
                    <a:pt x="369" y="308"/>
                  </a:lnTo>
                  <a:lnTo>
                    <a:pt x="369" y="308"/>
                  </a:lnTo>
                  <a:lnTo>
                    <a:pt x="366" y="308"/>
                  </a:lnTo>
                  <a:lnTo>
                    <a:pt x="366" y="308"/>
                  </a:lnTo>
                  <a:lnTo>
                    <a:pt x="366" y="308"/>
                  </a:lnTo>
                  <a:lnTo>
                    <a:pt x="364" y="308"/>
                  </a:lnTo>
                  <a:lnTo>
                    <a:pt x="364" y="308"/>
                  </a:lnTo>
                  <a:lnTo>
                    <a:pt x="364" y="308"/>
                  </a:lnTo>
                  <a:lnTo>
                    <a:pt x="364" y="310"/>
                  </a:lnTo>
                  <a:lnTo>
                    <a:pt x="362" y="314"/>
                  </a:lnTo>
                  <a:lnTo>
                    <a:pt x="362" y="316"/>
                  </a:lnTo>
                  <a:lnTo>
                    <a:pt x="360" y="316"/>
                  </a:lnTo>
                  <a:lnTo>
                    <a:pt x="360" y="314"/>
                  </a:lnTo>
                  <a:lnTo>
                    <a:pt x="360" y="314"/>
                  </a:lnTo>
                  <a:lnTo>
                    <a:pt x="358" y="314"/>
                  </a:lnTo>
                  <a:lnTo>
                    <a:pt x="356" y="314"/>
                  </a:lnTo>
                  <a:lnTo>
                    <a:pt x="356" y="316"/>
                  </a:lnTo>
                  <a:lnTo>
                    <a:pt x="356" y="316"/>
                  </a:lnTo>
                  <a:lnTo>
                    <a:pt x="356" y="320"/>
                  </a:lnTo>
                  <a:lnTo>
                    <a:pt x="356" y="330"/>
                  </a:lnTo>
                  <a:lnTo>
                    <a:pt x="356" y="330"/>
                  </a:lnTo>
                  <a:lnTo>
                    <a:pt x="356" y="332"/>
                  </a:lnTo>
                  <a:lnTo>
                    <a:pt x="356" y="334"/>
                  </a:lnTo>
                  <a:lnTo>
                    <a:pt x="354" y="334"/>
                  </a:lnTo>
                  <a:lnTo>
                    <a:pt x="354" y="334"/>
                  </a:lnTo>
                  <a:lnTo>
                    <a:pt x="352" y="334"/>
                  </a:lnTo>
                  <a:lnTo>
                    <a:pt x="352" y="334"/>
                  </a:lnTo>
                  <a:lnTo>
                    <a:pt x="350" y="334"/>
                  </a:lnTo>
                  <a:lnTo>
                    <a:pt x="350" y="334"/>
                  </a:lnTo>
                  <a:lnTo>
                    <a:pt x="348" y="334"/>
                  </a:lnTo>
                  <a:lnTo>
                    <a:pt x="346" y="336"/>
                  </a:lnTo>
                  <a:lnTo>
                    <a:pt x="344" y="338"/>
                  </a:lnTo>
                  <a:lnTo>
                    <a:pt x="344" y="340"/>
                  </a:lnTo>
                  <a:lnTo>
                    <a:pt x="344" y="345"/>
                  </a:lnTo>
                  <a:lnTo>
                    <a:pt x="346" y="347"/>
                  </a:lnTo>
                  <a:lnTo>
                    <a:pt x="348" y="349"/>
                  </a:lnTo>
                  <a:lnTo>
                    <a:pt x="348" y="351"/>
                  </a:lnTo>
                  <a:lnTo>
                    <a:pt x="346" y="359"/>
                  </a:lnTo>
                  <a:lnTo>
                    <a:pt x="346" y="359"/>
                  </a:lnTo>
                  <a:lnTo>
                    <a:pt x="346" y="361"/>
                  </a:lnTo>
                  <a:lnTo>
                    <a:pt x="346" y="365"/>
                  </a:lnTo>
                  <a:lnTo>
                    <a:pt x="346" y="365"/>
                  </a:lnTo>
                  <a:lnTo>
                    <a:pt x="348" y="369"/>
                  </a:lnTo>
                  <a:lnTo>
                    <a:pt x="348" y="373"/>
                  </a:lnTo>
                  <a:lnTo>
                    <a:pt x="346" y="377"/>
                  </a:lnTo>
                  <a:lnTo>
                    <a:pt x="344" y="386"/>
                  </a:lnTo>
                  <a:lnTo>
                    <a:pt x="340" y="394"/>
                  </a:lnTo>
                  <a:lnTo>
                    <a:pt x="340" y="398"/>
                  </a:lnTo>
                  <a:lnTo>
                    <a:pt x="334" y="404"/>
                  </a:lnTo>
                  <a:lnTo>
                    <a:pt x="332" y="406"/>
                  </a:lnTo>
                  <a:lnTo>
                    <a:pt x="332" y="410"/>
                  </a:lnTo>
                  <a:lnTo>
                    <a:pt x="334" y="412"/>
                  </a:lnTo>
                  <a:lnTo>
                    <a:pt x="336" y="414"/>
                  </a:lnTo>
                  <a:lnTo>
                    <a:pt x="336" y="416"/>
                  </a:lnTo>
                  <a:lnTo>
                    <a:pt x="338" y="418"/>
                  </a:lnTo>
                  <a:lnTo>
                    <a:pt x="338" y="418"/>
                  </a:lnTo>
                  <a:lnTo>
                    <a:pt x="338" y="422"/>
                  </a:lnTo>
                  <a:lnTo>
                    <a:pt x="338" y="422"/>
                  </a:lnTo>
                  <a:lnTo>
                    <a:pt x="340" y="425"/>
                  </a:lnTo>
                  <a:lnTo>
                    <a:pt x="342" y="433"/>
                  </a:lnTo>
                  <a:lnTo>
                    <a:pt x="342" y="437"/>
                  </a:lnTo>
                  <a:lnTo>
                    <a:pt x="340" y="441"/>
                  </a:lnTo>
                  <a:lnTo>
                    <a:pt x="336" y="447"/>
                  </a:lnTo>
                  <a:lnTo>
                    <a:pt x="336" y="451"/>
                  </a:lnTo>
                  <a:lnTo>
                    <a:pt x="336" y="455"/>
                  </a:lnTo>
                  <a:lnTo>
                    <a:pt x="336" y="457"/>
                  </a:lnTo>
                  <a:lnTo>
                    <a:pt x="338" y="459"/>
                  </a:lnTo>
                  <a:lnTo>
                    <a:pt x="340" y="463"/>
                  </a:lnTo>
                  <a:lnTo>
                    <a:pt x="354" y="492"/>
                  </a:lnTo>
                  <a:lnTo>
                    <a:pt x="356" y="492"/>
                  </a:lnTo>
                  <a:lnTo>
                    <a:pt x="358" y="492"/>
                  </a:lnTo>
                  <a:lnTo>
                    <a:pt x="362" y="488"/>
                  </a:lnTo>
                  <a:lnTo>
                    <a:pt x="362" y="490"/>
                  </a:lnTo>
                  <a:lnTo>
                    <a:pt x="362" y="492"/>
                  </a:lnTo>
                  <a:lnTo>
                    <a:pt x="360" y="494"/>
                  </a:lnTo>
                  <a:lnTo>
                    <a:pt x="358" y="494"/>
                  </a:lnTo>
                  <a:lnTo>
                    <a:pt x="358" y="494"/>
                  </a:lnTo>
                  <a:lnTo>
                    <a:pt x="358" y="496"/>
                  </a:lnTo>
                  <a:lnTo>
                    <a:pt x="364" y="506"/>
                  </a:lnTo>
                  <a:lnTo>
                    <a:pt x="364" y="511"/>
                  </a:lnTo>
                  <a:lnTo>
                    <a:pt x="366" y="513"/>
                  </a:lnTo>
                  <a:lnTo>
                    <a:pt x="369" y="515"/>
                  </a:lnTo>
                  <a:lnTo>
                    <a:pt x="369" y="517"/>
                  </a:lnTo>
                  <a:lnTo>
                    <a:pt x="369" y="517"/>
                  </a:lnTo>
                  <a:lnTo>
                    <a:pt x="369" y="517"/>
                  </a:lnTo>
                  <a:lnTo>
                    <a:pt x="369" y="517"/>
                  </a:lnTo>
                  <a:lnTo>
                    <a:pt x="369" y="517"/>
                  </a:lnTo>
                  <a:lnTo>
                    <a:pt x="369" y="517"/>
                  </a:lnTo>
                  <a:lnTo>
                    <a:pt x="369" y="517"/>
                  </a:lnTo>
                  <a:lnTo>
                    <a:pt x="369" y="517"/>
                  </a:lnTo>
                  <a:lnTo>
                    <a:pt x="369" y="519"/>
                  </a:lnTo>
                  <a:lnTo>
                    <a:pt x="371" y="521"/>
                  </a:lnTo>
                  <a:lnTo>
                    <a:pt x="373" y="547"/>
                  </a:lnTo>
                  <a:lnTo>
                    <a:pt x="373" y="572"/>
                  </a:lnTo>
                  <a:lnTo>
                    <a:pt x="371" y="580"/>
                  </a:lnTo>
                  <a:lnTo>
                    <a:pt x="366" y="597"/>
                  </a:lnTo>
                  <a:lnTo>
                    <a:pt x="358" y="611"/>
                  </a:lnTo>
                  <a:lnTo>
                    <a:pt x="352" y="631"/>
                  </a:lnTo>
                  <a:lnTo>
                    <a:pt x="348" y="640"/>
                  </a:lnTo>
                  <a:lnTo>
                    <a:pt x="344" y="646"/>
                  </a:lnTo>
                  <a:lnTo>
                    <a:pt x="340" y="648"/>
                  </a:lnTo>
                  <a:lnTo>
                    <a:pt x="338" y="650"/>
                  </a:lnTo>
                  <a:lnTo>
                    <a:pt x="338" y="652"/>
                  </a:lnTo>
                  <a:lnTo>
                    <a:pt x="336" y="654"/>
                  </a:lnTo>
                  <a:lnTo>
                    <a:pt x="338" y="654"/>
                  </a:lnTo>
                  <a:lnTo>
                    <a:pt x="344" y="652"/>
                  </a:lnTo>
                  <a:lnTo>
                    <a:pt x="350" y="652"/>
                  </a:lnTo>
                  <a:lnTo>
                    <a:pt x="356" y="650"/>
                  </a:lnTo>
                  <a:lnTo>
                    <a:pt x="362" y="650"/>
                  </a:lnTo>
                  <a:lnTo>
                    <a:pt x="369" y="650"/>
                  </a:lnTo>
                  <a:lnTo>
                    <a:pt x="381" y="648"/>
                  </a:lnTo>
                  <a:lnTo>
                    <a:pt x="387" y="648"/>
                  </a:lnTo>
                  <a:lnTo>
                    <a:pt x="395" y="646"/>
                  </a:lnTo>
                  <a:lnTo>
                    <a:pt x="401" y="646"/>
                  </a:lnTo>
                  <a:lnTo>
                    <a:pt x="407" y="644"/>
                  </a:lnTo>
                  <a:lnTo>
                    <a:pt x="420" y="644"/>
                  </a:lnTo>
                  <a:lnTo>
                    <a:pt x="426" y="642"/>
                  </a:lnTo>
                  <a:lnTo>
                    <a:pt x="432" y="642"/>
                  </a:lnTo>
                  <a:lnTo>
                    <a:pt x="438" y="640"/>
                  </a:lnTo>
                  <a:lnTo>
                    <a:pt x="444" y="640"/>
                  </a:lnTo>
                  <a:lnTo>
                    <a:pt x="450" y="640"/>
                  </a:lnTo>
                  <a:lnTo>
                    <a:pt x="457" y="638"/>
                  </a:lnTo>
                  <a:lnTo>
                    <a:pt x="463" y="638"/>
                  </a:lnTo>
                  <a:lnTo>
                    <a:pt x="471" y="636"/>
                  </a:lnTo>
                  <a:lnTo>
                    <a:pt x="477" y="636"/>
                  </a:lnTo>
                  <a:lnTo>
                    <a:pt x="483" y="636"/>
                  </a:lnTo>
                  <a:lnTo>
                    <a:pt x="489" y="634"/>
                  </a:lnTo>
                  <a:lnTo>
                    <a:pt x="496" y="634"/>
                  </a:lnTo>
                  <a:lnTo>
                    <a:pt x="502" y="631"/>
                  </a:lnTo>
                  <a:lnTo>
                    <a:pt x="502" y="638"/>
                  </a:lnTo>
                  <a:lnTo>
                    <a:pt x="510" y="638"/>
                  </a:lnTo>
                  <a:lnTo>
                    <a:pt x="516" y="636"/>
                  </a:lnTo>
                  <a:lnTo>
                    <a:pt x="522" y="636"/>
                  </a:lnTo>
                  <a:lnTo>
                    <a:pt x="530" y="634"/>
                  </a:lnTo>
                  <a:lnTo>
                    <a:pt x="536" y="631"/>
                  </a:lnTo>
                  <a:lnTo>
                    <a:pt x="543" y="631"/>
                  </a:lnTo>
                  <a:lnTo>
                    <a:pt x="549" y="629"/>
                  </a:lnTo>
                  <a:lnTo>
                    <a:pt x="557" y="629"/>
                  </a:lnTo>
                  <a:lnTo>
                    <a:pt x="563" y="627"/>
                  </a:lnTo>
                  <a:lnTo>
                    <a:pt x="569" y="625"/>
                  </a:lnTo>
                  <a:lnTo>
                    <a:pt x="577" y="625"/>
                  </a:lnTo>
                  <a:lnTo>
                    <a:pt x="584" y="623"/>
                  </a:lnTo>
                  <a:lnTo>
                    <a:pt x="590" y="623"/>
                  </a:lnTo>
                  <a:lnTo>
                    <a:pt x="596" y="621"/>
                  </a:lnTo>
                  <a:lnTo>
                    <a:pt x="604" y="619"/>
                  </a:lnTo>
                  <a:lnTo>
                    <a:pt x="610" y="619"/>
                  </a:lnTo>
                  <a:lnTo>
                    <a:pt x="610" y="617"/>
                  </a:lnTo>
                  <a:lnTo>
                    <a:pt x="610" y="617"/>
                  </a:lnTo>
                  <a:lnTo>
                    <a:pt x="610" y="615"/>
                  </a:lnTo>
                  <a:lnTo>
                    <a:pt x="612" y="615"/>
                  </a:lnTo>
                  <a:lnTo>
                    <a:pt x="612" y="615"/>
                  </a:lnTo>
                  <a:lnTo>
                    <a:pt x="612" y="615"/>
                  </a:lnTo>
                  <a:lnTo>
                    <a:pt x="612" y="613"/>
                  </a:lnTo>
                  <a:lnTo>
                    <a:pt x="612" y="611"/>
                  </a:lnTo>
                  <a:lnTo>
                    <a:pt x="612" y="609"/>
                  </a:lnTo>
                  <a:lnTo>
                    <a:pt x="616" y="603"/>
                  </a:lnTo>
                  <a:lnTo>
                    <a:pt x="616" y="601"/>
                  </a:lnTo>
                  <a:lnTo>
                    <a:pt x="618" y="601"/>
                  </a:lnTo>
                  <a:lnTo>
                    <a:pt x="618" y="599"/>
                  </a:lnTo>
                  <a:lnTo>
                    <a:pt x="620" y="597"/>
                  </a:lnTo>
                  <a:lnTo>
                    <a:pt x="620" y="595"/>
                  </a:lnTo>
                  <a:lnTo>
                    <a:pt x="625" y="595"/>
                  </a:lnTo>
                  <a:lnTo>
                    <a:pt x="625" y="595"/>
                  </a:lnTo>
                  <a:lnTo>
                    <a:pt x="625" y="593"/>
                  </a:lnTo>
                  <a:lnTo>
                    <a:pt x="622" y="591"/>
                  </a:lnTo>
                  <a:lnTo>
                    <a:pt x="622" y="591"/>
                  </a:lnTo>
                  <a:lnTo>
                    <a:pt x="625" y="591"/>
                  </a:lnTo>
                  <a:lnTo>
                    <a:pt x="627" y="588"/>
                  </a:lnTo>
                  <a:lnTo>
                    <a:pt x="627" y="584"/>
                  </a:lnTo>
                  <a:lnTo>
                    <a:pt x="627" y="584"/>
                  </a:lnTo>
                  <a:lnTo>
                    <a:pt x="629" y="584"/>
                  </a:lnTo>
                  <a:lnTo>
                    <a:pt x="629" y="586"/>
                  </a:lnTo>
                  <a:lnTo>
                    <a:pt x="629" y="584"/>
                  </a:lnTo>
                  <a:lnTo>
                    <a:pt x="629" y="584"/>
                  </a:lnTo>
                  <a:lnTo>
                    <a:pt x="629" y="582"/>
                  </a:lnTo>
                  <a:lnTo>
                    <a:pt x="627" y="582"/>
                  </a:lnTo>
                  <a:lnTo>
                    <a:pt x="627" y="582"/>
                  </a:lnTo>
                  <a:lnTo>
                    <a:pt x="627" y="580"/>
                  </a:lnTo>
                  <a:lnTo>
                    <a:pt x="627" y="580"/>
                  </a:lnTo>
                  <a:lnTo>
                    <a:pt x="627" y="578"/>
                  </a:lnTo>
                  <a:lnTo>
                    <a:pt x="627" y="578"/>
                  </a:lnTo>
                  <a:lnTo>
                    <a:pt x="627" y="576"/>
                  </a:lnTo>
                  <a:lnTo>
                    <a:pt x="627" y="576"/>
                  </a:lnTo>
                  <a:lnTo>
                    <a:pt x="627" y="574"/>
                  </a:lnTo>
                  <a:lnTo>
                    <a:pt x="629" y="562"/>
                  </a:lnTo>
                  <a:lnTo>
                    <a:pt x="629" y="560"/>
                  </a:lnTo>
                  <a:lnTo>
                    <a:pt x="633" y="554"/>
                  </a:lnTo>
                  <a:lnTo>
                    <a:pt x="633" y="552"/>
                  </a:lnTo>
                  <a:lnTo>
                    <a:pt x="635" y="550"/>
                  </a:lnTo>
                  <a:lnTo>
                    <a:pt x="639" y="547"/>
                  </a:lnTo>
                  <a:lnTo>
                    <a:pt x="641" y="547"/>
                  </a:lnTo>
                  <a:lnTo>
                    <a:pt x="643" y="545"/>
                  </a:lnTo>
                  <a:lnTo>
                    <a:pt x="643" y="545"/>
                  </a:lnTo>
                  <a:lnTo>
                    <a:pt x="645" y="543"/>
                  </a:lnTo>
                  <a:lnTo>
                    <a:pt x="645" y="541"/>
                  </a:lnTo>
                  <a:lnTo>
                    <a:pt x="647" y="539"/>
                  </a:lnTo>
                  <a:lnTo>
                    <a:pt x="647" y="539"/>
                  </a:lnTo>
                  <a:lnTo>
                    <a:pt x="647" y="537"/>
                  </a:lnTo>
                  <a:lnTo>
                    <a:pt x="647" y="535"/>
                  </a:lnTo>
                  <a:lnTo>
                    <a:pt x="647" y="535"/>
                  </a:lnTo>
                  <a:lnTo>
                    <a:pt x="645" y="533"/>
                  </a:lnTo>
                  <a:lnTo>
                    <a:pt x="645" y="531"/>
                  </a:lnTo>
                  <a:lnTo>
                    <a:pt x="645" y="529"/>
                  </a:lnTo>
                  <a:lnTo>
                    <a:pt x="645" y="527"/>
                  </a:lnTo>
                  <a:lnTo>
                    <a:pt x="645" y="525"/>
                  </a:lnTo>
                  <a:lnTo>
                    <a:pt x="647" y="525"/>
                  </a:lnTo>
                  <a:lnTo>
                    <a:pt x="649" y="523"/>
                  </a:lnTo>
                  <a:lnTo>
                    <a:pt x="651" y="523"/>
                  </a:lnTo>
                  <a:lnTo>
                    <a:pt x="651" y="521"/>
                  </a:lnTo>
                  <a:lnTo>
                    <a:pt x="651" y="521"/>
                  </a:lnTo>
                  <a:lnTo>
                    <a:pt x="651" y="519"/>
                  </a:lnTo>
                  <a:lnTo>
                    <a:pt x="649" y="519"/>
                  </a:lnTo>
                  <a:lnTo>
                    <a:pt x="649" y="517"/>
                  </a:lnTo>
                  <a:lnTo>
                    <a:pt x="647" y="515"/>
                  </a:lnTo>
                  <a:lnTo>
                    <a:pt x="649" y="513"/>
                  </a:lnTo>
                  <a:lnTo>
                    <a:pt x="651" y="513"/>
                  </a:lnTo>
                  <a:lnTo>
                    <a:pt x="653" y="511"/>
                  </a:lnTo>
                  <a:lnTo>
                    <a:pt x="653" y="511"/>
                  </a:lnTo>
                  <a:lnTo>
                    <a:pt x="655" y="509"/>
                  </a:lnTo>
                  <a:lnTo>
                    <a:pt x="657" y="509"/>
                  </a:lnTo>
                  <a:lnTo>
                    <a:pt x="661" y="511"/>
                  </a:lnTo>
                  <a:lnTo>
                    <a:pt x="661" y="509"/>
                  </a:lnTo>
                  <a:lnTo>
                    <a:pt x="661" y="511"/>
                  </a:lnTo>
                  <a:lnTo>
                    <a:pt x="661" y="513"/>
                  </a:lnTo>
                  <a:lnTo>
                    <a:pt x="661" y="515"/>
                  </a:lnTo>
                  <a:lnTo>
                    <a:pt x="661" y="515"/>
                  </a:lnTo>
                  <a:lnTo>
                    <a:pt x="663" y="515"/>
                  </a:lnTo>
                  <a:lnTo>
                    <a:pt x="663" y="517"/>
                  </a:lnTo>
                  <a:lnTo>
                    <a:pt x="663" y="519"/>
                  </a:lnTo>
                  <a:lnTo>
                    <a:pt x="666" y="519"/>
                  </a:lnTo>
                  <a:lnTo>
                    <a:pt x="666" y="519"/>
                  </a:lnTo>
                  <a:lnTo>
                    <a:pt x="663" y="521"/>
                  </a:lnTo>
                  <a:lnTo>
                    <a:pt x="663" y="523"/>
                  </a:lnTo>
                  <a:lnTo>
                    <a:pt x="663" y="523"/>
                  </a:lnTo>
                  <a:lnTo>
                    <a:pt x="666" y="521"/>
                  </a:lnTo>
                  <a:lnTo>
                    <a:pt x="668" y="521"/>
                  </a:lnTo>
                  <a:lnTo>
                    <a:pt x="670" y="519"/>
                  </a:lnTo>
                  <a:lnTo>
                    <a:pt x="672" y="515"/>
                  </a:lnTo>
                  <a:lnTo>
                    <a:pt x="672" y="511"/>
                  </a:lnTo>
                  <a:lnTo>
                    <a:pt x="674" y="504"/>
                  </a:lnTo>
                  <a:lnTo>
                    <a:pt x="674" y="498"/>
                  </a:lnTo>
                  <a:lnTo>
                    <a:pt x="674" y="496"/>
                  </a:lnTo>
                  <a:lnTo>
                    <a:pt x="674" y="496"/>
                  </a:lnTo>
                  <a:lnTo>
                    <a:pt x="674" y="494"/>
                  </a:lnTo>
                  <a:lnTo>
                    <a:pt x="672" y="494"/>
                  </a:lnTo>
                  <a:lnTo>
                    <a:pt x="672" y="492"/>
                  </a:lnTo>
                  <a:lnTo>
                    <a:pt x="672" y="488"/>
                  </a:lnTo>
                  <a:lnTo>
                    <a:pt x="672" y="486"/>
                  </a:lnTo>
                  <a:lnTo>
                    <a:pt x="672" y="482"/>
                  </a:lnTo>
                  <a:lnTo>
                    <a:pt x="674" y="478"/>
                  </a:lnTo>
                  <a:close/>
                  <a:moveTo>
                    <a:pt x="393" y="218"/>
                  </a:moveTo>
                  <a:lnTo>
                    <a:pt x="393" y="218"/>
                  </a:lnTo>
                  <a:lnTo>
                    <a:pt x="393" y="218"/>
                  </a:lnTo>
                  <a:lnTo>
                    <a:pt x="393" y="215"/>
                  </a:lnTo>
                  <a:lnTo>
                    <a:pt x="393" y="215"/>
                  </a:lnTo>
                  <a:lnTo>
                    <a:pt x="391" y="215"/>
                  </a:lnTo>
                  <a:lnTo>
                    <a:pt x="391" y="215"/>
                  </a:lnTo>
                  <a:lnTo>
                    <a:pt x="389" y="215"/>
                  </a:lnTo>
                  <a:lnTo>
                    <a:pt x="389" y="215"/>
                  </a:lnTo>
                  <a:lnTo>
                    <a:pt x="387" y="215"/>
                  </a:lnTo>
                  <a:lnTo>
                    <a:pt x="387" y="215"/>
                  </a:lnTo>
                  <a:lnTo>
                    <a:pt x="387" y="215"/>
                  </a:lnTo>
                  <a:lnTo>
                    <a:pt x="387" y="213"/>
                  </a:lnTo>
                  <a:lnTo>
                    <a:pt x="387" y="215"/>
                  </a:lnTo>
                  <a:lnTo>
                    <a:pt x="389" y="218"/>
                  </a:lnTo>
                  <a:lnTo>
                    <a:pt x="389" y="218"/>
                  </a:lnTo>
                  <a:lnTo>
                    <a:pt x="391" y="220"/>
                  </a:lnTo>
                  <a:lnTo>
                    <a:pt x="391" y="218"/>
                  </a:lnTo>
                  <a:lnTo>
                    <a:pt x="393" y="218"/>
                  </a:lnTo>
                  <a:close/>
                  <a:moveTo>
                    <a:pt x="463" y="205"/>
                  </a:moveTo>
                  <a:lnTo>
                    <a:pt x="461" y="205"/>
                  </a:lnTo>
                  <a:lnTo>
                    <a:pt x="461" y="207"/>
                  </a:lnTo>
                  <a:lnTo>
                    <a:pt x="461" y="207"/>
                  </a:lnTo>
                  <a:lnTo>
                    <a:pt x="465" y="211"/>
                  </a:lnTo>
                  <a:lnTo>
                    <a:pt x="469" y="213"/>
                  </a:lnTo>
                  <a:lnTo>
                    <a:pt x="469" y="213"/>
                  </a:lnTo>
                  <a:lnTo>
                    <a:pt x="471" y="213"/>
                  </a:lnTo>
                  <a:lnTo>
                    <a:pt x="473" y="213"/>
                  </a:lnTo>
                  <a:lnTo>
                    <a:pt x="473" y="213"/>
                  </a:lnTo>
                  <a:lnTo>
                    <a:pt x="475" y="213"/>
                  </a:lnTo>
                  <a:lnTo>
                    <a:pt x="475" y="211"/>
                  </a:lnTo>
                  <a:lnTo>
                    <a:pt x="477" y="209"/>
                  </a:lnTo>
                  <a:lnTo>
                    <a:pt x="477" y="207"/>
                  </a:lnTo>
                  <a:lnTo>
                    <a:pt x="475" y="207"/>
                  </a:lnTo>
                  <a:lnTo>
                    <a:pt x="473" y="207"/>
                  </a:lnTo>
                  <a:lnTo>
                    <a:pt x="473" y="205"/>
                  </a:lnTo>
                  <a:lnTo>
                    <a:pt x="473" y="203"/>
                  </a:lnTo>
                  <a:lnTo>
                    <a:pt x="471" y="205"/>
                  </a:lnTo>
                  <a:lnTo>
                    <a:pt x="471" y="205"/>
                  </a:lnTo>
                  <a:lnTo>
                    <a:pt x="471" y="207"/>
                  </a:lnTo>
                  <a:lnTo>
                    <a:pt x="471" y="207"/>
                  </a:lnTo>
                  <a:lnTo>
                    <a:pt x="469" y="205"/>
                  </a:lnTo>
                  <a:lnTo>
                    <a:pt x="463" y="205"/>
                  </a:lnTo>
                  <a:close/>
                  <a:moveTo>
                    <a:pt x="385" y="226"/>
                  </a:moveTo>
                  <a:lnTo>
                    <a:pt x="385" y="226"/>
                  </a:lnTo>
                  <a:lnTo>
                    <a:pt x="383" y="228"/>
                  </a:lnTo>
                  <a:lnTo>
                    <a:pt x="383" y="230"/>
                  </a:lnTo>
                  <a:lnTo>
                    <a:pt x="383" y="230"/>
                  </a:lnTo>
                  <a:lnTo>
                    <a:pt x="383" y="234"/>
                  </a:lnTo>
                  <a:lnTo>
                    <a:pt x="381" y="236"/>
                  </a:lnTo>
                  <a:lnTo>
                    <a:pt x="381" y="238"/>
                  </a:lnTo>
                  <a:lnTo>
                    <a:pt x="383" y="240"/>
                  </a:lnTo>
                  <a:lnTo>
                    <a:pt x="385" y="240"/>
                  </a:lnTo>
                  <a:lnTo>
                    <a:pt x="389" y="240"/>
                  </a:lnTo>
                  <a:lnTo>
                    <a:pt x="391" y="238"/>
                  </a:lnTo>
                  <a:lnTo>
                    <a:pt x="391" y="236"/>
                  </a:lnTo>
                  <a:lnTo>
                    <a:pt x="391" y="234"/>
                  </a:lnTo>
                  <a:lnTo>
                    <a:pt x="391" y="230"/>
                  </a:lnTo>
                  <a:lnTo>
                    <a:pt x="391" y="230"/>
                  </a:lnTo>
                  <a:lnTo>
                    <a:pt x="391" y="228"/>
                  </a:lnTo>
                  <a:lnTo>
                    <a:pt x="391" y="228"/>
                  </a:lnTo>
                  <a:lnTo>
                    <a:pt x="391" y="226"/>
                  </a:lnTo>
                  <a:lnTo>
                    <a:pt x="389" y="224"/>
                  </a:lnTo>
                  <a:lnTo>
                    <a:pt x="389" y="224"/>
                  </a:lnTo>
                  <a:lnTo>
                    <a:pt x="389" y="224"/>
                  </a:lnTo>
                  <a:lnTo>
                    <a:pt x="389" y="222"/>
                  </a:lnTo>
                  <a:lnTo>
                    <a:pt x="391" y="222"/>
                  </a:lnTo>
                  <a:lnTo>
                    <a:pt x="389" y="222"/>
                  </a:lnTo>
                  <a:lnTo>
                    <a:pt x="387" y="222"/>
                  </a:lnTo>
                  <a:lnTo>
                    <a:pt x="385" y="222"/>
                  </a:lnTo>
                  <a:lnTo>
                    <a:pt x="385" y="224"/>
                  </a:lnTo>
                  <a:lnTo>
                    <a:pt x="385" y="224"/>
                  </a:lnTo>
                  <a:lnTo>
                    <a:pt x="385" y="226"/>
                  </a:lnTo>
                  <a:close/>
                </a:path>
              </a:pathLst>
            </a:custGeom>
            <a:solidFill>
              <a:schemeClr val="tx1"/>
            </a:solidFill>
            <a:ln w="3175" cap="rnd">
              <a:solidFill>
                <a:schemeClr val="bg1"/>
              </a:solidFill>
              <a:prstDash val="solid"/>
              <a:round/>
              <a:headEnd/>
              <a:tailEnd/>
            </a:ln>
          </p:spPr>
          <p:txBody>
            <a:bodyPr vert="horz" wrap="square" lIns="0" tIns="0" rIns="192000" bIns="144000" numCol="1" anchor="b"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I</a:t>
              </a:r>
            </a:p>
          </p:txBody>
        </p:sp>
        <p:sp>
          <p:nvSpPr>
            <p:cNvPr id="271" name="Freeform 34">
              <a:extLst>
                <a:ext uri="{FF2B5EF4-FFF2-40B4-BE49-F238E27FC236}">
                  <a16:creationId xmlns:a16="http://schemas.microsoft.com/office/drawing/2014/main" id="{2BCCE057-DC76-448C-E60B-D23E1CF87243}"/>
                </a:ext>
              </a:extLst>
            </p:cNvPr>
            <p:cNvSpPr>
              <a:spLocks noEditPoints="1"/>
            </p:cNvSpPr>
            <p:nvPr/>
          </p:nvSpPr>
          <p:spPr bwMode="auto">
            <a:xfrm>
              <a:off x="4981" y="0"/>
              <a:ext cx="328" cy="484"/>
            </a:xfrm>
            <a:custGeom>
              <a:avLst/>
              <a:gdLst>
                <a:gd name="T0" fmla="*/ 211 w 328"/>
                <a:gd name="T1" fmla="*/ 338 h 484"/>
                <a:gd name="T2" fmla="*/ 213 w 328"/>
                <a:gd name="T3" fmla="*/ 322 h 484"/>
                <a:gd name="T4" fmla="*/ 234 w 328"/>
                <a:gd name="T5" fmla="*/ 295 h 484"/>
                <a:gd name="T6" fmla="*/ 240 w 328"/>
                <a:gd name="T7" fmla="*/ 314 h 484"/>
                <a:gd name="T8" fmla="*/ 326 w 328"/>
                <a:gd name="T9" fmla="*/ 223 h 484"/>
                <a:gd name="T10" fmla="*/ 316 w 328"/>
                <a:gd name="T11" fmla="*/ 219 h 484"/>
                <a:gd name="T12" fmla="*/ 312 w 328"/>
                <a:gd name="T13" fmla="*/ 219 h 484"/>
                <a:gd name="T14" fmla="*/ 310 w 328"/>
                <a:gd name="T15" fmla="*/ 203 h 484"/>
                <a:gd name="T16" fmla="*/ 293 w 328"/>
                <a:gd name="T17" fmla="*/ 193 h 484"/>
                <a:gd name="T18" fmla="*/ 269 w 328"/>
                <a:gd name="T19" fmla="*/ 166 h 484"/>
                <a:gd name="T20" fmla="*/ 242 w 328"/>
                <a:gd name="T21" fmla="*/ 156 h 484"/>
                <a:gd name="T22" fmla="*/ 232 w 328"/>
                <a:gd name="T23" fmla="*/ 131 h 484"/>
                <a:gd name="T24" fmla="*/ 183 w 328"/>
                <a:gd name="T25" fmla="*/ 10 h 484"/>
                <a:gd name="T26" fmla="*/ 146 w 328"/>
                <a:gd name="T27" fmla="*/ 10 h 484"/>
                <a:gd name="T28" fmla="*/ 97 w 328"/>
                <a:gd name="T29" fmla="*/ 25 h 484"/>
                <a:gd name="T30" fmla="*/ 43 w 328"/>
                <a:gd name="T31" fmla="*/ 107 h 484"/>
                <a:gd name="T32" fmla="*/ 41 w 328"/>
                <a:gd name="T33" fmla="*/ 164 h 484"/>
                <a:gd name="T34" fmla="*/ 45 w 328"/>
                <a:gd name="T35" fmla="*/ 182 h 484"/>
                <a:gd name="T36" fmla="*/ 35 w 328"/>
                <a:gd name="T37" fmla="*/ 213 h 484"/>
                <a:gd name="T38" fmla="*/ 19 w 328"/>
                <a:gd name="T39" fmla="*/ 246 h 484"/>
                <a:gd name="T40" fmla="*/ 4 w 328"/>
                <a:gd name="T41" fmla="*/ 260 h 484"/>
                <a:gd name="T42" fmla="*/ 25 w 328"/>
                <a:gd name="T43" fmla="*/ 340 h 484"/>
                <a:gd name="T44" fmla="*/ 58 w 328"/>
                <a:gd name="T45" fmla="*/ 437 h 484"/>
                <a:gd name="T46" fmla="*/ 66 w 328"/>
                <a:gd name="T47" fmla="*/ 461 h 484"/>
                <a:gd name="T48" fmla="*/ 88 w 328"/>
                <a:gd name="T49" fmla="*/ 480 h 484"/>
                <a:gd name="T50" fmla="*/ 99 w 328"/>
                <a:gd name="T51" fmla="*/ 451 h 484"/>
                <a:gd name="T52" fmla="*/ 107 w 328"/>
                <a:gd name="T53" fmla="*/ 437 h 484"/>
                <a:gd name="T54" fmla="*/ 117 w 328"/>
                <a:gd name="T55" fmla="*/ 418 h 484"/>
                <a:gd name="T56" fmla="*/ 119 w 328"/>
                <a:gd name="T57" fmla="*/ 394 h 484"/>
                <a:gd name="T58" fmla="*/ 127 w 328"/>
                <a:gd name="T59" fmla="*/ 400 h 484"/>
                <a:gd name="T60" fmla="*/ 133 w 328"/>
                <a:gd name="T61" fmla="*/ 391 h 484"/>
                <a:gd name="T62" fmla="*/ 137 w 328"/>
                <a:gd name="T63" fmla="*/ 387 h 484"/>
                <a:gd name="T64" fmla="*/ 142 w 328"/>
                <a:gd name="T65" fmla="*/ 389 h 484"/>
                <a:gd name="T66" fmla="*/ 135 w 328"/>
                <a:gd name="T67" fmla="*/ 363 h 484"/>
                <a:gd name="T68" fmla="*/ 144 w 328"/>
                <a:gd name="T69" fmla="*/ 387 h 484"/>
                <a:gd name="T70" fmla="*/ 142 w 328"/>
                <a:gd name="T71" fmla="*/ 379 h 484"/>
                <a:gd name="T72" fmla="*/ 150 w 328"/>
                <a:gd name="T73" fmla="*/ 373 h 484"/>
                <a:gd name="T74" fmla="*/ 154 w 328"/>
                <a:gd name="T75" fmla="*/ 375 h 484"/>
                <a:gd name="T76" fmla="*/ 156 w 328"/>
                <a:gd name="T77" fmla="*/ 371 h 484"/>
                <a:gd name="T78" fmla="*/ 162 w 328"/>
                <a:gd name="T79" fmla="*/ 379 h 484"/>
                <a:gd name="T80" fmla="*/ 168 w 328"/>
                <a:gd name="T81" fmla="*/ 357 h 484"/>
                <a:gd name="T82" fmla="*/ 180 w 328"/>
                <a:gd name="T83" fmla="*/ 363 h 484"/>
                <a:gd name="T84" fmla="*/ 191 w 328"/>
                <a:gd name="T85" fmla="*/ 342 h 484"/>
                <a:gd name="T86" fmla="*/ 187 w 328"/>
                <a:gd name="T87" fmla="*/ 310 h 484"/>
                <a:gd name="T88" fmla="*/ 197 w 328"/>
                <a:gd name="T89" fmla="*/ 289 h 484"/>
                <a:gd name="T90" fmla="*/ 203 w 328"/>
                <a:gd name="T91" fmla="*/ 301 h 484"/>
                <a:gd name="T92" fmla="*/ 201 w 328"/>
                <a:gd name="T93" fmla="*/ 312 h 484"/>
                <a:gd name="T94" fmla="*/ 226 w 328"/>
                <a:gd name="T95" fmla="*/ 310 h 484"/>
                <a:gd name="T96" fmla="*/ 226 w 328"/>
                <a:gd name="T97" fmla="*/ 301 h 484"/>
                <a:gd name="T98" fmla="*/ 230 w 328"/>
                <a:gd name="T99" fmla="*/ 297 h 484"/>
                <a:gd name="T100" fmla="*/ 238 w 328"/>
                <a:gd name="T101" fmla="*/ 283 h 484"/>
                <a:gd name="T102" fmla="*/ 246 w 328"/>
                <a:gd name="T103" fmla="*/ 283 h 484"/>
                <a:gd name="T104" fmla="*/ 258 w 328"/>
                <a:gd name="T105" fmla="*/ 295 h 484"/>
                <a:gd name="T106" fmla="*/ 262 w 328"/>
                <a:gd name="T107" fmla="*/ 283 h 484"/>
                <a:gd name="T108" fmla="*/ 267 w 328"/>
                <a:gd name="T109" fmla="*/ 285 h 484"/>
                <a:gd name="T110" fmla="*/ 269 w 328"/>
                <a:gd name="T111" fmla="*/ 273 h 484"/>
                <a:gd name="T112" fmla="*/ 275 w 328"/>
                <a:gd name="T113" fmla="*/ 269 h 484"/>
                <a:gd name="T114" fmla="*/ 285 w 328"/>
                <a:gd name="T115" fmla="*/ 266 h 484"/>
                <a:gd name="T116" fmla="*/ 289 w 328"/>
                <a:gd name="T117" fmla="*/ 254 h 484"/>
                <a:gd name="T118" fmla="*/ 299 w 328"/>
                <a:gd name="T119" fmla="*/ 254 h 484"/>
                <a:gd name="T120" fmla="*/ 303 w 328"/>
                <a:gd name="T121" fmla="*/ 242 h 484"/>
                <a:gd name="T122" fmla="*/ 314 w 328"/>
                <a:gd name="T123" fmla="*/ 24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484">
                  <a:moveTo>
                    <a:pt x="211" y="338"/>
                  </a:moveTo>
                  <a:lnTo>
                    <a:pt x="207" y="338"/>
                  </a:lnTo>
                  <a:lnTo>
                    <a:pt x="205" y="338"/>
                  </a:lnTo>
                  <a:lnTo>
                    <a:pt x="203" y="336"/>
                  </a:lnTo>
                  <a:lnTo>
                    <a:pt x="201" y="336"/>
                  </a:lnTo>
                  <a:lnTo>
                    <a:pt x="201" y="338"/>
                  </a:lnTo>
                  <a:lnTo>
                    <a:pt x="203" y="338"/>
                  </a:lnTo>
                  <a:lnTo>
                    <a:pt x="205" y="340"/>
                  </a:lnTo>
                  <a:lnTo>
                    <a:pt x="205" y="340"/>
                  </a:lnTo>
                  <a:lnTo>
                    <a:pt x="205" y="342"/>
                  </a:lnTo>
                  <a:lnTo>
                    <a:pt x="209" y="344"/>
                  </a:lnTo>
                  <a:lnTo>
                    <a:pt x="211" y="344"/>
                  </a:lnTo>
                  <a:lnTo>
                    <a:pt x="211" y="342"/>
                  </a:lnTo>
                  <a:lnTo>
                    <a:pt x="211" y="342"/>
                  </a:lnTo>
                  <a:lnTo>
                    <a:pt x="211" y="340"/>
                  </a:lnTo>
                  <a:lnTo>
                    <a:pt x="213" y="340"/>
                  </a:lnTo>
                  <a:lnTo>
                    <a:pt x="211" y="338"/>
                  </a:lnTo>
                  <a:lnTo>
                    <a:pt x="211" y="338"/>
                  </a:lnTo>
                  <a:close/>
                  <a:moveTo>
                    <a:pt x="219" y="324"/>
                  </a:moveTo>
                  <a:lnTo>
                    <a:pt x="217" y="324"/>
                  </a:lnTo>
                  <a:lnTo>
                    <a:pt x="217" y="324"/>
                  </a:lnTo>
                  <a:lnTo>
                    <a:pt x="217" y="322"/>
                  </a:lnTo>
                  <a:lnTo>
                    <a:pt x="219" y="322"/>
                  </a:lnTo>
                  <a:lnTo>
                    <a:pt x="221" y="320"/>
                  </a:lnTo>
                  <a:lnTo>
                    <a:pt x="219" y="320"/>
                  </a:lnTo>
                  <a:lnTo>
                    <a:pt x="219" y="318"/>
                  </a:lnTo>
                  <a:lnTo>
                    <a:pt x="219" y="318"/>
                  </a:lnTo>
                  <a:lnTo>
                    <a:pt x="217" y="316"/>
                  </a:lnTo>
                  <a:lnTo>
                    <a:pt x="215" y="316"/>
                  </a:lnTo>
                  <a:lnTo>
                    <a:pt x="213" y="316"/>
                  </a:lnTo>
                  <a:lnTo>
                    <a:pt x="213" y="318"/>
                  </a:lnTo>
                  <a:lnTo>
                    <a:pt x="213" y="318"/>
                  </a:lnTo>
                  <a:lnTo>
                    <a:pt x="213" y="320"/>
                  </a:lnTo>
                  <a:lnTo>
                    <a:pt x="213" y="322"/>
                  </a:lnTo>
                  <a:lnTo>
                    <a:pt x="215" y="322"/>
                  </a:lnTo>
                  <a:lnTo>
                    <a:pt x="213" y="322"/>
                  </a:lnTo>
                  <a:lnTo>
                    <a:pt x="213" y="322"/>
                  </a:lnTo>
                  <a:lnTo>
                    <a:pt x="211" y="322"/>
                  </a:lnTo>
                  <a:lnTo>
                    <a:pt x="213" y="324"/>
                  </a:lnTo>
                  <a:lnTo>
                    <a:pt x="213" y="326"/>
                  </a:lnTo>
                  <a:lnTo>
                    <a:pt x="213" y="326"/>
                  </a:lnTo>
                  <a:lnTo>
                    <a:pt x="213" y="328"/>
                  </a:lnTo>
                  <a:lnTo>
                    <a:pt x="213" y="328"/>
                  </a:lnTo>
                  <a:lnTo>
                    <a:pt x="217" y="328"/>
                  </a:lnTo>
                  <a:lnTo>
                    <a:pt x="219" y="328"/>
                  </a:lnTo>
                  <a:lnTo>
                    <a:pt x="221" y="326"/>
                  </a:lnTo>
                  <a:lnTo>
                    <a:pt x="221" y="324"/>
                  </a:lnTo>
                  <a:lnTo>
                    <a:pt x="219" y="324"/>
                  </a:lnTo>
                  <a:close/>
                  <a:moveTo>
                    <a:pt x="244" y="293"/>
                  </a:moveTo>
                  <a:lnTo>
                    <a:pt x="242" y="291"/>
                  </a:lnTo>
                  <a:lnTo>
                    <a:pt x="240" y="291"/>
                  </a:lnTo>
                  <a:lnTo>
                    <a:pt x="236" y="291"/>
                  </a:lnTo>
                  <a:lnTo>
                    <a:pt x="234" y="293"/>
                  </a:lnTo>
                  <a:lnTo>
                    <a:pt x="234" y="295"/>
                  </a:lnTo>
                  <a:lnTo>
                    <a:pt x="234" y="297"/>
                  </a:lnTo>
                  <a:lnTo>
                    <a:pt x="234" y="297"/>
                  </a:lnTo>
                  <a:lnTo>
                    <a:pt x="234" y="299"/>
                  </a:lnTo>
                  <a:lnTo>
                    <a:pt x="232" y="299"/>
                  </a:lnTo>
                  <a:lnTo>
                    <a:pt x="232" y="299"/>
                  </a:lnTo>
                  <a:lnTo>
                    <a:pt x="232" y="301"/>
                  </a:lnTo>
                  <a:lnTo>
                    <a:pt x="232" y="305"/>
                  </a:lnTo>
                  <a:lnTo>
                    <a:pt x="232" y="307"/>
                  </a:lnTo>
                  <a:lnTo>
                    <a:pt x="232" y="307"/>
                  </a:lnTo>
                  <a:lnTo>
                    <a:pt x="232" y="307"/>
                  </a:lnTo>
                  <a:lnTo>
                    <a:pt x="234" y="307"/>
                  </a:lnTo>
                  <a:lnTo>
                    <a:pt x="234" y="310"/>
                  </a:lnTo>
                  <a:lnTo>
                    <a:pt x="234" y="310"/>
                  </a:lnTo>
                  <a:lnTo>
                    <a:pt x="234" y="310"/>
                  </a:lnTo>
                  <a:lnTo>
                    <a:pt x="234" y="312"/>
                  </a:lnTo>
                  <a:lnTo>
                    <a:pt x="238" y="312"/>
                  </a:lnTo>
                  <a:lnTo>
                    <a:pt x="238" y="314"/>
                  </a:lnTo>
                  <a:lnTo>
                    <a:pt x="240" y="314"/>
                  </a:lnTo>
                  <a:lnTo>
                    <a:pt x="240" y="312"/>
                  </a:lnTo>
                  <a:lnTo>
                    <a:pt x="240" y="312"/>
                  </a:lnTo>
                  <a:lnTo>
                    <a:pt x="242" y="314"/>
                  </a:lnTo>
                  <a:lnTo>
                    <a:pt x="242" y="314"/>
                  </a:lnTo>
                  <a:lnTo>
                    <a:pt x="244" y="312"/>
                  </a:lnTo>
                  <a:lnTo>
                    <a:pt x="244" y="310"/>
                  </a:lnTo>
                  <a:lnTo>
                    <a:pt x="244" y="310"/>
                  </a:lnTo>
                  <a:lnTo>
                    <a:pt x="242" y="307"/>
                  </a:lnTo>
                  <a:lnTo>
                    <a:pt x="240" y="307"/>
                  </a:lnTo>
                  <a:lnTo>
                    <a:pt x="240" y="303"/>
                  </a:lnTo>
                  <a:lnTo>
                    <a:pt x="242" y="303"/>
                  </a:lnTo>
                  <a:lnTo>
                    <a:pt x="244" y="305"/>
                  </a:lnTo>
                  <a:lnTo>
                    <a:pt x="246" y="303"/>
                  </a:lnTo>
                  <a:lnTo>
                    <a:pt x="250" y="301"/>
                  </a:lnTo>
                  <a:lnTo>
                    <a:pt x="250" y="299"/>
                  </a:lnTo>
                  <a:lnTo>
                    <a:pt x="248" y="297"/>
                  </a:lnTo>
                  <a:lnTo>
                    <a:pt x="244" y="293"/>
                  </a:lnTo>
                  <a:close/>
                  <a:moveTo>
                    <a:pt x="326" y="223"/>
                  </a:moveTo>
                  <a:lnTo>
                    <a:pt x="326" y="219"/>
                  </a:lnTo>
                  <a:lnTo>
                    <a:pt x="324" y="219"/>
                  </a:lnTo>
                  <a:lnTo>
                    <a:pt x="324" y="219"/>
                  </a:lnTo>
                  <a:lnTo>
                    <a:pt x="324" y="219"/>
                  </a:lnTo>
                  <a:lnTo>
                    <a:pt x="324" y="219"/>
                  </a:lnTo>
                  <a:lnTo>
                    <a:pt x="324" y="219"/>
                  </a:lnTo>
                  <a:lnTo>
                    <a:pt x="324" y="219"/>
                  </a:lnTo>
                  <a:lnTo>
                    <a:pt x="320" y="217"/>
                  </a:lnTo>
                  <a:lnTo>
                    <a:pt x="320" y="217"/>
                  </a:lnTo>
                  <a:lnTo>
                    <a:pt x="318" y="217"/>
                  </a:lnTo>
                  <a:lnTo>
                    <a:pt x="322" y="221"/>
                  </a:lnTo>
                  <a:lnTo>
                    <a:pt x="322" y="223"/>
                  </a:lnTo>
                  <a:lnTo>
                    <a:pt x="320" y="223"/>
                  </a:lnTo>
                  <a:lnTo>
                    <a:pt x="320" y="221"/>
                  </a:lnTo>
                  <a:lnTo>
                    <a:pt x="318" y="219"/>
                  </a:lnTo>
                  <a:lnTo>
                    <a:pt x="316" y="217"/>
                  </a:lnTo>
                  <a:lnTo>
                    <a:pt x="316" y="219"/>
                  </a:lnTo>
                  <a:lnTo>
                    <a:pt x="316" y="219"/>
                  </a:lnTo>
                  <a:lnTo>
                    <a:pt x="316" y="219"/>
                  </a:lnTo>
                  <a:lnTo>
                    <a:pt x="316" y="221"/>
                  </a:lnTo>
                  <a:lnTo>
                    <a:pt x="316" y="221"/>
                  </a:lnTo>
                  <a:lnTo>
                    <a:pt x="316" y="221"/>
                  </a:lnTo>
                  <a:lnTo>
                    <a:pt x="316" y="223"/>
                  </a:lnTo>
                  <a:lnTo>
                    <a:pt x="314" y="221"/>
                  </a:lnTo>
                  <a:lnTo>
                    <a:pt x="314" y="221"/>
                  </a:lnTo>
                  <a:lnTo>
                    <a:pt x="314" y="223"/>
                  </a:lnTo>
                  <a:lnTo>
                    <a:pt x="314" y="225"/>
                  </a:lnTo>
                  <a:lnTo>
                    <a:pt x="314" y="228"/>
                  </a:lnTo>
                  <a:lnTo>
                    <a:pt x="312" y="221"/>
                  </a:lnTo>
                  <a:lnTo>
                    <a:pt x="310" y="221"/>
                  </a:lnTo>
                  <a:lnTo>
                    <a:pt x="307" y="219"/>
                  </a:lnTo>
                  <a:lnTo>
                    <a:pt x="307" y="219"/>
                  </a:lnTo>
                  <a:lnTo>
                    <a:pt x="307" y="217"/>
                  </a:lnTo>
                  <a:lnTo>
                    <a:pt x="307" y="217"/>
                  </a:lnTo>
                  <a:lnTo>
                    <a:pt x="312" y="219"/>
                  </a:lnTo>
                  <a:lnTo>
                    <a:pt x="312" y="219"/>
                  </a:lnTo>
                  <a:lnTo>
                    <a:pt x="314" y="217"/>
                  </a:lnTo>
                  <a:lnTo>
                    <a:pt x="314" y="217"/>
                  </a:lnTo>
                  <a:lnTo>
                    <a:pt x="314" y="215"/>
                  </a:lnTo>
                  <a:lnTo>
                    <a:pt x="312" y="215"/>
                  </a:lnTo>
                  <a:lnTo>
                    <a:pt x="312" y="213"/>
                  </a:lnTo>
                  <a:lnTo>
                    <a:pt x="314" y="213"/>
                  </a:lnTo>
                  <a:lnTo>
                    <a:pt x="314" y="213"/>
                  </a:lnTo>
                  <a:lnTo>
                    <a:pt x="316" y="215"/>
                  </a:lnTo>
                  <a:lnTo>
                    <a:pt x="318" y="213"/>
                  </a:lnTo>
                  <a:lnTo>
                    <a:pt x="318" y="211"/>
                  </a:lnTo>
                  <a:lnTo>
                    <a:pt x="318" y="209"/>
                  </a:lnTo>
                  <a:lnTo>
                    <a:pt x="318" y="209"/>
                  </a:lnTo>
                  <a:lnTo>
                    <a:pt x="316" y="207"/>
                  </a:lnTo>
                  <a:lnTo>
                    <a:pt x="314" y="205"/>
                  </a:lnTo>
                  <a:lnTo>
                    <a:pt x="314" y="205"/>
                  </a:lnTo>
                  <a:lnTo>
                    <a:pt x="312" y="205"/>
                  </a:lnTo>
                  <a:lnTo>
                    <a:pt x="310" y="203"/>
                  </a:lnTo>
                  <a:lnTo>
                    <a:pt x="310" y="203"/>
                  </a:lnTo>
                  <a:lnTo>
                    <a:pt x="310" y="201"/>
                  </a:lnTo>
                  <a:lnTo>
                    <a:pt x="307" y="199"/>
                  </a:lnTo>
                  <a:lnTo>
                    <a:pt x="307" y="197"/>
                  </a:lnTo>
                  <a:lnTo>
                    <a:pt x="305" y="197"/>
                  </a:lnTo>
                  <a:lnTo>
                    <a:pt x="305" y="197"/>
                  </a:lnTo>
                  <a:lnTo>
                    <a:pt x="305" y="197"/>
                  </a:lnTo>
                  <a:lnTo>
                    <a:pt x="303" y="197"/>
                  </a:lnTo>
                  <a:lnTo>
                    <a:pt x="303" y="195"/>
                  </a:lnTo>
                  <a:lnTo>
                    <a:pt x="303" y="195"/>
                  </a:lnTo>
                  <a:lnTo>
                    <a:pt x="301" y="195"/>
                  </a:lnTo>
                  <a:lnTo>
                    <a:pt x="301" y="193"/>
                  </a:lnTo>
                  <a:lnTo>
                    <a:pt x="301" y="193"/>
                  </a:lnTo>
                  <a:lnTo>
                    <a:pt x="299" y="195"/>
                  </a:lnTo>
                  <a:lnTo>
                    <a:pt x="299" y="195"/>
                  </a:lnTo>
                  <a:lnTo>
                    <a:pt x="299" y="193"/>
                  </a:lnTo>
                  <a:lnTo>
                    <a:pt x="297" y="193"/>
                  </a:lnTo>
                  <a:lnTo>
                    <a:pt x="295" y="193"/>
                  </a:lnTo>
                  <a:lnTo>
                    <a:pt x="293" y="193"/>
                  </a:lnTo>
                  <a:lnTo>
                    <a:pt x="293" y="193"/>
                  </a:lnTo>
                  <a:lnTo>
                    <a:pt x="293" y="193"/>
                  </a:lnTo>
                  <a:lnTo>
                    <a:pt x="293" y="195"/>
                  </a:lnTo>
                  <a:lnTo>
                    <a:pt x="293" y="195"/>
                  </a:lnTo>
                  <a:lnTo>
                    <a:pt x="293" y="197"/>
                  </a:lnTo>
                  <a:lnTo>
                    <a:pt x="291" y="199"/>
                  </a:lnTo>
                  <a:lnTo>
                    <a:pt x="287" y="199"/>
                  </a:lnTo>
                  <a:lnTo>
                    <a:pt x="285" y="197"/>
                  </a:lnTo>
                  <a:lnTo>
                    <a:pt x="281" y="193"/>
                  </a:lnTo>
                  <a:lnTo>
                    <a:pt x="277" y="191"/>
                  </a:lnTo>
                  <a:lnTo>
                    <a:pt x="275" y="189"/>
                  </a:lnTo>
                  <a:lnTo>
                    <a:pt x="275" y="187"/>
                  </a:lnTo>
                  <a:lnTo>
                    <a:pt x="275" y="185"/>
                  </a:lnTo>
                  <a:lnTo>
                    <a:pt x="277" y="182"/>
                  </a:lnTo>
                  <a:lnTo>
                    <a:pt x="275" y="178"/>
                  </a:lnTo>
                  <a:lnTo>
                    <a:pt x="269" y="172"/>
                  </a:lnTo>
                  <a:lnTo>
                    <a:pt x="267" y="168"/>
                  </a:lnTo>
                  <a:lnTo>
                    <a:pt x="269" y="166"/>
                  </a:lnTo>
                  <a:lnTo>
                    <a:pt x="271" y="164"/>
                  </a:lnTo>
                  <a:lnTo>
                    <a:pt x="271" y="164"/>
                  </a:lnTo>
                  <a:lnTo>
                    <a:pt x="271" y="160"/>
                  </a:lnTo>
                  <a:lnTo>
                    <a:pt x="269" y="158"/>
                  </a:lnTo>
                  <a:lnTo>
                    <a:pt x="267" y="156"/>
                  </a:lnTo>
                  <a:lnTo>
                    <a:pt x="264" y="156"/>
                  </a:lnTo>
                  <a:lnTo>
                    <a:pt x="262" y="158"/>
                  </a:lnTo>
                  <a:lnTo>
                    <a:pt x="260" y="158"/>
                  </a:lnTo>
                  <a:lnTo>
                    <a:pt x="254" y="158"/>
                  </a:lnTo>
                  <a:lnTo>
                    <a:pt x="250" y="158"/>
                  </a:lnTo>
                  <a:lnTo>
                    <a:pt x="248" y="158"/>
                  </a:lnTo>
                  <a:lnTo>
                    <a:pt x="246" y="156"/>
                  </a:lnTo>
                  <a:lnTo>
                    <a:pt x="246" y="156"/>
                  </a:lnTo>
                  <a:lnTo>
                    <a:pt x="244" y="154"/>
                  </a:lnTo>
                  <a:lnTo>
                    <a:pt x="244" y="154"/>
                  </a:lnTo>
                  <a:lnTo>
                    <a:pt x="244" y="154"/>
                  </a:lnTo>
                  <a:lnTo>
                    <a:pt x="244" y="156"/>
                  </a:lnTo>
                  <a:lnTo>
                    <a:pt x="242" y="156"/>
                  </a:lnTo>
                  <a:lnTo>
                    <a:pt x="242" y="156"/>
                  </a:lnTo>
                  <a:lnTo>
                    <a:pt x="240" y="156"/>
                  </a:lnTo>
                  <a:lnTo>
                    <a:pt x="238" y="156"/>
                  </a:lnTo>
                  <a:lnTo>
                    <a:pt x="238" y="154"/>
                  </a:lnTo>
                  <a:lnTo>
                    <a:pt x="236" y="150"/>
                  </a:lnTo>
                  <a:lnTo>
                    <a:pt x="236" y="148"/>
                  </a:lnTo>
                  <a:lnTo>
                    <a:pt x="236" y="146"/>
                  </a:lnTo>
                  <a:lnTo>
                    <a:pt x="236" y="144"/>
                  </a:lnTo>
                  <a:lnTo>
                    <a:pt x="236" y="141"/>
                  </a:lnTo>
                  <a:lnTo>
                    <a:pt x="236" y="141"/>
                  </a:lnTo>
                  <a:lnTo>
                    <a:pt x="234" y="139"/>
                  </a:lnTo>
                  <a:lnTo>
                    <a:pt x="234" y="137"/>
                  </a:lnTo>
                  <a:lnTo>
                    <a:pt x="234" y="135"/>
                  </a:lnTo>
                  <a:lnTo>
                    <a:pt x="234" y="133"/>
                  </a:lnTo>
                  <a:lnTo>
                    <a:pt x="234" y="133"/>
                  </a:lnTo>
                  <a:lnTo>
                    <a:pt x="234" y="131"/>
                  </a:lnTo>
                  <a:lnTo>
                    <a:pt x="234" y="131"/>
                  </a:lnTo>
                  <a:lnTo>
                    <a:pt x="232" y="131"/>
                  </a:lnTo>
                  <a:lnTo>
                    <a:pt x="232" y="129"/>
                  </a:lnTo>
                  <a:lnTo>
                    <a:pt x="232" y="129"/>
                  </a:lnTo>
                  <a:lnTo>
                    <a:pt x="228" y="115"/>
                  </a:lnTo>
                  <a:lnTo>
                    <a:pt x="223" y="103"/>
                  </a:lnTo>
                  <a:lnTo>
                    <a:pt x="219" y="88"/>
                  </a:lnTo>
                  <a:lnTo>
                    <a:pt x="215" y="76"/>
                  </a:lnTo>
                  <a:lnTo>
                    <a:pt x="211" y="62"/>
                  </a:lnTo>
                  <a:lnTo>
                    <a:pt x="207" y="49"/>
                  </a:lnTo>
                  <a:lnTo>
                    <a:pt x="203" y="35"/>
                  </a:lnTo>
                  <a:lnTo>
                    <a:pt x="199" y="23"/>
                  </a:lnTo>
                  <a:lnTo>
                    <a:pt x="197" y="19"/>
                  </a:lnTo>
                  <a:lnTo>
                    <a:pt x="197" y="19"/>
                  </a:lnTo>
                  <a:lnTo>
                    <a:pt x="193" y="16"/>
                  </a:lnTo>
                  <a:lnTo>
                    <a:pt x="191" y="16"/>
                  </a:lnTo>
                  <a:lnTo>
                    <a:pt x="189" y="14"/>
                  </a:lnTo>
                  <a:lnTo>
                    <a:pt x="185" y="12"/>
                  </a:lnTo>
                  <a:lnTo>
                    <a:pt x="183" y="12"/>
                  </a:lnTo>
                  <a:lnTo>
                    <a:pt x="183" y="10"/>
                  </a:lnTo>
                  <a:lnTo>
                    <a:pt x="183" y="10"/>
                  </a:lnTo>
                  <a:lnTo>
                    <a:pt x="178" y="8"/>
                  </a:lnTo>
                  <a:lnTo>
                    <a:pt x="174" y="6"/>
                  </a:lnTo>
                  <a:lnTo>
                    <a:pt x="168" y="4"/>
                  </a:lnTo>
                  <a:lnTo>
                    <a:pt x="168" y="4"/>
                  </a:lnTo>
                  <a:lnTo>
                    <a:pt x="164" y="4"/>
                  </a:lnTo>
                  <a:lnTo>
                    <a:pt x="164" y="4"/>
                  </a:lnTo>
                  <a:lnTo>
                    <a:pt x="162" y="2"/>
                  </a:lnTo>
                  <a:lnTo>
                    <a:pt x="160" y="0"/>
                  </a:lnTo>
                  <a:lnTo>
                    <a:pt x="156" y="0"/>
                  </a:lnTo>
                  <a:lnTo>
                    <a:pt x="152" y="0"/>
                  </a:lnTo>
                  <a:lnTo>
                    <a:pt x="148" y="2"/>
                  </a:lnTo>
                  <a:lnTo>
                    <a:pt x="148" y="6"/>
                  </a:lnTo>
                  <a:lnTo>
                    <a:pt x="148" y="8"/>
                  </a:lnTo>
                  <a:lnTo>
                    <a:pt x="148" y="8"/>
                  </a:lnTo>
                  <a:lnTo>
                    <a:pt x="148" y="8"/>
                  </a:lnTo>
                  <a:lnTo>
                    <a:pt x="146" y="10"/>
                  </a:lnTo>
                  <a:lnTo>
                    <a:pt x="146" y="10"/>
                  </a:lnTo>
                  <a:lnTo>
                    <a:pt x="144" y="10"/>
                  </a:lnTo>
                  <a:lnTo>
                    <a:pt x="142" y="10"/>
                  </a:lnTo>
                  <a:lnTo>
                    <a:pt x="140" y="10"/>
                  </a:lnTo>
                  <a:lnTo>
                    <a:pt x="137" y="10"/>
                  </a:lnTo>
                  <a:lnTo>
                    <a:pt x="135" y="12"/>
                  </a:lnTo>
                  <a:lnTo>
                    <a:pt x="133" y="14"/>
                  </a:lnTo>
                  <a:lnTo>
                    <a:pt x="131" y="16"/>
                  </a:lnTo>
                  <a:lnTo>
                    <a:pt x="131" y="19"/>
                  </a:lnTo>
                  <a:lnTo>
                    <a:pt x="129" y="21"/>
                  </a:lnTo>
                  <a:lnTo>
                    <a:pt x="127" y="21"/>
                  </a:lnTo>
                  <a:lnTo>
                    <a:pt x="125" y="21"/>
                  </a:lnTo>
                  <a:lnTo>
                    <a:pt x="121" y="23"/>
                  </a:lnTo>
                  <a:lnTo>
                    <a:pt x="113" y="31"/>
                  </a:lnTo>
                  <a:lnTo>
                    <a:pt x="113" y="31"/>
                  </a:lnTo>
                  <a:lnTo>
                    <a:pt x="101" y="29"/>
                  </a:lnTo>
                  <a:lnTo>
                    <a:pt x="99" y="27"/>
                  </a:lnTo>
                  <a:lnTo>
                    <a:pt x="99" y="25"/>
                  </a:lnTo>
                  <a:lnTo>
                    <a:pt x="97" y="25"/>
                  </a:lnTo>
                  <a:lnTo>
                    <a:pt x="97" y="21"/>
                  </a:lnTo>
                  <a:lnTo>
                    <a:pt x="94" y="14"/>
                  </a:lnTo>
                  <a:lnTo>
                    <a:pt x="94" y="12"/>
                  </a:lnTo>
                  <a:lnTo>
                    <a:pt x="92" y="10"/>
                  </a:lnTo>
                  <a:lnTo>
                    <a:pt x="80" y="10"/>
                  </a:lnTo>
                  <a:lnTo>
                    <a:pt x="80" y="12"/>
                  </a:lnTo>
                  <a:lnTo>
                    <a:pt x="80" y="12"/>
                  </a:lnTo>
                  <a:lnTo>
                    <a:pt x="78" y="14"/>
                  </a:lnTo>
                  <a:lnTo>
                    <a:pt x="74" y="25"/>
                  </a:lnTo>
                  <a:lnTo>
                    <a:pt x="70" y="35"/>
                  </a:lnTo>
                  <a:lnTo>
                    <a:pt x="66" y="47"/>
                  </a:lnTo>
                  <a:lnTo>
                    <a:pt x="62" y="57"/>
                  </a:lnTo>
                  <a:lnTo>
                    <a:pt x="58" y="68"/>
                  </a:lnTo>
                  <a:lnTo>
                    <a:pt x="54" y="78"/>
                  </a:lnTo>
                  <a:lnTo>
                    <a:pt x="49" y="90"/>
                  </a:lnTo>
                  <a:lnTo>
                    <a:pt x="45" y="100"/>
                  </a:lnTo>
                  <a:lnTo>
                    <a:pt x="43" y="103"/>
                  </a:lnTo>
                  <a:lnTo>
                    <a:pt x="43" y="107"/>
                  </a:lnTo>
                  <a:lnTo>
                    <a:pt x="45" y="113"/>
                  </a:lnTo>
                  <a:lnTo>
                    <a:pt x="45" y="123"/>
                  </a:lnTo>
                  <a:lnTo>
                    <a:pt x="47" y="129"/>
                  </a:lnTo>
                  <a:lnTo>
                    <a:pt x="47" y="133"/>
                  </a:lnTo>
                  <a:lnTo>
                    <a:pt x="43" y="139"/>
                  </a:lnTo>
                  <a:lnTo>
                    <a:pt x="41" y="139"/>
                  </a:lnTo>
                  <a:lnTo>
                    <a:pt x="39" y="141"/>
                  </a:lnTo>
                  <a:lnTo>
                    <a:pt x="39" y="144"/>
                  </a:lnTo>
                  <a:lnTo>
                    <a:pt x="41" y="146"/>
                  </a:lnTo>
                  <a:lnTo>
                    <a:pt x="41" y="146"/>
                  </a:lnTo>
                  <a:lnTo>
                    <a:pt x="39" y="148"/>
                  </a:lnTo>
                  <a:lnTo>
                    <a:pt x="39" y="150"/>
                  </a:lnTo>
                  <a:lnTo>
                    <a:pt x="37" y="154"/>
                  </a:lnTo>
                  <a:lnTo>
                    <a:pt x="37" y="158"/>
                  </a:lnTo>
                  <a:lnTo>
                    <a:pt x="37" y="160"/>
                  </a:lnTo>
                  <a:lnTo>
                    <a:pt x="39" y="160"/>
                  </a:lnTo>
                  <a:lnTo>
                    <a:pt x="41" y="162"/>
                  </a:lnTo>
                  <a:lnTo>
                    <a:pt x="41" y="164"/>
                  </a:lnTo>
                  <a:lnTo>
                    <a:pt x="41" y="166"/>
                  </a:lnTo>
                  <a:lnTo>
                    <a:pt x="41" y="168"/>
                  </a:lnTo>
                  <a:lnTo>
                    <a:pt x="39" y="170"/>
                  </a:lnTo>
                  <a:lnTo>
                    <a:pt x="39" y="172"/>
                  </a:lnTo>
                  <a:lnTo>
                    <a:pt x="39" y="172"/>
                  </a:lnTo>
                  <a:lnTo>
                    <a:pt x="39" y="172"/>
                  </a:lnTo>
                  <a:lnTo>
                    <a:pt x="39" y="172"/>
                  </a:lnTo>
                  <a:lnTo>
                    <a:pt x="39" y="172"/>
                  </a:lnTo>
                  <a:lnTo>
                    <a:pt x="41" y="174"/>
                  </a:lnTo>
                  <a:lnTo>
                    <a:pt x="41" y="174"/>
                  </a:lnTo>
                  <a:lnTo>
                    <a:pt x="41" y="174"/>
                  </a:lnTo>
                  <a:lnTo>
                    <a:pt x="39" y="174"/>
                  </a:lnTo>
                  <a:lnTo>
                    <a:pt x="39" y="176"/>
                  </a:lnTo>
                  <a:lnTo>
                    <a:pt x="41" y="180"/>
                  </a:lnTo>
                  <a:lnTo>
                    <a:pt x="41" y="180"/>
                  </a:lnTo>
                  <a:lnTo>
                    <a:pt x="41" y="182"/>
                  </a:lnTo>
                  <a:lnTo>
                    <a:pt x="43" y="182"/>
                  </a:lnTo>
                  <a:lnTo>
                    <a:pt x="45" y="182"/>
                  </a:lnTo>
                  <a:lnTo>
                    <a:pt x="45" y="182"/>
                  </a:lnTo>
                  <a:lnTo>
                    <a:pt x="47" y="187"/>
                  </a:lnTo>
                  <a:lnTo>
                    <a:pt x="45" y="191"/>
                  </a:lnTo>
                  <a:lnTo>
                    <a:pt x="43" y="193"/>
                  </a:lnTo>
                  <a:lnTo>
                    <a:pt x="39" y="199"/>
                  </a:lnTo>
                  <a:lnTo>
                    <a:pt x="39" y="201"/>
                  </a:lnTo>
                  <a:lnTo>
                    <a:pt x="39" y="201"/>
                  </a:lnTo>
                  <a:lnTo>
                    <a:pt x="39" y="203"/>
                  </a:lnTo>
                  <a:lnTo>
                    <a:pt x="39" y="203"/>
                  </a:lnTo>
                  <a:lnTo>
                    <a:pt x="39" y="203"/>
                  </a:lnTo>
                  <a:lnTo>
                    <a:pt x="39" y="205"/>
                  </a:lnTo>
                  <a:lnTo>
                    <a:pt x="41" y="207"/>
                  </a:lnTo>
                  <a:lnTo>
                    <a:pt x="41" y="209"/>
                  </a:lnTo>
                  <a:lnTo>
                    <a:pt x="41" y="209"/>
                  </a:lnTo>
                  <a:lnTo>
                    <a:pt x="39" y="211"/>
                  </a:lnTo>
                  <a:lnTo>
                    <a:pt x="39" y="211"/>
                  </a:lnTo>
                  <a:lnTo>
                    <a:pt x="37" y="213"/>
                  </a:lnTo>
                  <a:lnTo>
                    <a:pt x="35" y="213"/>
                  </a:lnTo>
                  <a:lnTo>
                    <a:pt x="33" y="215"/>
                  </a:lnTo>
                  <a:lnTo>
                    <a:pt x="31" y="219"/>
                  </a:lnTo>
                  <a:lnTo>
                    <a:pt x="29" y="219"/>
                  </a:lnTo>
                  <a:lnTo>
                    <a:pt x="25" y="230"/>
                  </a:lnTo>
                  <a:lnTo>
                    <a:pt x="23" y="238"/>
                  </a:lnTo>
                  <a:lnTo>
                    <a:pt x="23" y="240"/>
                  </a:lnTo>
                  <a:lnTo>
                    <a:pt x="25" y="242"/>
                  </a:lnTo>
                  <a:lnTo>
                    <a:pt x="25" y="242"/>
                  </a:lnTo>
                  <a:lnTo>
                    <a:pt x="29" y="244"/>
                  </a:lnTo>
                  <a:lnTo>
                    <a:pt x="31" y="244"/>
                  </a:lnTo>
                  <a:lnTo>
                    <a:pt x="31" y="246"/>
                  </a:lnTo>
                  <a:lnTo>
                    <a:pt x="31" y="248"/>
                  </a:lnTo>
                  <a:lnTo>
                    <a:pt x="29" y="248"/>
                  </a:lnTo>
                  <a:lnTo>
                    <a:pt x="29" y="248"/>
                  </a:lnTo>
                  <a:lnTo>
                    <a:pt x="27" y="248"/>
                  </a:lnTo>
                  <a:lnTo>
                    <a:pt x="23" y="246"/>
                  </a:lnTo>
                  <a:lnTo>
                    <a:pt x="21" y="246"/>
                  </a:lnTo>
                  <a:lnTo>
                    <a:pt x="19" y="246"/>
                  </a:lnTo>
                  <a:lnTo>
                    <a:pt x="19" y="248"/>
                  </a:lnTo>
                  <a:lnTo>
                    <a:pt x="19" y="250"/>
                  </a:lnTo>
                  <a:lnTo>
                    <a:pt x="19" y="252"/>
                  </a:lnTo>
                  <a:lnTo>
                    <a:pt x="19" y="254"/>
                  </a:lnTo>
                  <a:lnTo>
                    <a:pt x="19" y="258"/>
                  </a:lnTo>
                  <a:lnTo>
                    <a:pt x="21" y="260"/>
                  </a:lnTo>
                  <a:lnTo>
                    <a:pt x="19" y="260"/>
                  </a:lnTo>
                  <a:lnTo>
                    <a:pt x="19" y="262"/>
                  </a:lnTo>
                  <a:lnTo>
                    <a:pt x="19" y="262"/>
                  </a:lnTo>
                  <a:lnTo>
                    <a:pt x="19" y="264"/>
                  </a:lnTo>
                  <a:lnTo>
                    <a:pt x="19" y="266"/>
                  </a:lnTo>
                  <a:lnTo>
                    <a:pt x="19" y="266"/>
                  </a:lnTo>
                  <a:lnTo>
                    <a:pt x="17" y="269"/>
                  </a:lnTo>
                  <a:lnTo>
                    <a:pt x="17" y="266"/>
                  </a:lnTo>
                  <a:lnTo>
                    <a:pt x="10" y="260"/>
                  </a:lnTo>
                  <a:lnTo>
                    <a:pt x="8" y="258"/>
                  </a:lnTo>
                  <a:lnTo>
                    <a:pt x="6" y="258"/>
                  </a:lnTo>
                  <a:lnTo>
                    <a:pt x="4" y="260"/>
                  </a:lnTo>
                  <a:lnTo>
                    <a:pt x="4" y="260"/>
                  </a:lnTo>
                  <a:lnTo>
                    <a:pt x="4" y="262"/>
                  </a:lnTo>
                  <a:lnTo>
                    <a:pt x="2" y="264"/>
                  </a:lnTo>
                  <a:lnTo>
                    <a:pt x="2" y="264"/>
                  </a:lnTo>
                  <a:lnTo>
                    <a:pt x="0" y="264"/>
                  </a:lnTo>
                  <a:lnTo>
                    <a:pt x="2" y="271"/>
                  </a:lnTo>
                  <a:lnTo>
                    <a:pt x="4" y="277"/>
                  </a:lnTo>
                  <a:lnTo>
                    <a:pt x="6" y="281"/>
                  </a:lnTo>
                  <a:lnTo>
                    <a:pt x="8" y="287"/>
                  </a:lnTo>
                  <a:lnTo>
                    <a:pt x="10" y="291"/>
                  </a:lnTo>
                  <a:lnTo>
                    <a:pt x="13" y="303"/>
                  </a:lnTo>
                  <a:lnTo>
                    <a:pt x="15" y="307"/>
                  </a:lnTo>
                  <a:lnTo>
                    <a:pt x="17" y="314"/>
                  </a:lnTo>
                  <a:lnTo>
                    <a:pt x="19" y="318"/>
                  </a:lnTo>
                  <a:lnTo>
                    <a:pt x="21" y="324"/>
                  </a:lnTo>
                  <a:lnTo>
                    <a:pt x="23" y="330"/>
                  </a:lnTo>
                  <a:lnTo>
                    <a:pt x="23" y="334"/>
                  </a:lnTo>
                  <a:lnTo>
                    <a:pt x="25" y="340"/>
                  </a:lnTo>
                  <a:lnTo>
                    <a:pt x="27" y="344"/>
                  </a:lnTo>
                  <a:lnTo>
                    <a:pt x="29" y="351"/>
                  </a:lnTo>
                  <a:lnTo>
                    <a:pt x="31" y="357"/>
                  </a:lnTo>
                  <a:lnTo>
                    <a:pt x="33" y="361"/>
                  </a:lnTo>
                  <a:lnTo>
                    <a:pt x="35" y="367"/>
                  </a:lnTo>
                  <a:lnTo>
                    <a:pt x="35" y="371"/>
                  </a:lnTo>
                  <a:lnTo>
                    <a:pt x="37" y="377"/>
                  </a:lnTo>
                  <a:lnTo>
                    <a:pt x="39" y="383"/>
                  </a:lnTo>
                  <a:lnTo>
                    <a:pt x="41" y="387"/>
                  </a:lnTo>
                  <a:lnTo>
                    <a:pt x="43" y="394"/>
                  </a:lnTo>
                  <a:lnTo>
                    <a:pt x="45" y="400"/>
                  </a:lnTo>
                  <a:lnTo>
                    <a:pt x="47" y="404"/>
                  </a:lnTo>
                  <a:lnTo>
                    <a:pt x="47" y="410"/>
                  </a:lnTo>
                  <a:lnTo>
                    <a:pt x="49" y="414"/>
                  </a:lnTo>
                  <a:lnTo>
                    <a:pt x="51" y="420"/>
                  </a:lnTo>
                  <a:lnTo>
                    <a:pt x="54" y="426"/>
                  </a:lnTo>
                  <a:lnTo>
                    <a:pt x="56" y="430"/>
                  </a:lnTo>
                  <a:lnTo>
                    <a:pt x="58" y="437"/>
                  </a:lnTo>
                  <a:lnTo>
                    <a:pt x="58" y="439"/>
                  </a:lnTo>
                  <a:lnTo>
                    <a:pt x="60" y="443"/>
                  </a:lnTo>
                  <a:lnTo>
                    <a:pt x="60" y="445"/>
                  </a:lnTo>
                  <a:lnTo>
                    <a:pt x="60" y="445"/>
                  </a:lnTo>
                  <a:lnTo>
                    <a:pt x="60" y="447"/>
                  </a:lnTo>
                  <a:lnTo>
                    <a:pt x="60" y="447"/>
                  </a:lnTo>
                  <a:lnTo>
                    <a:pt x="60" y="447"/>
                  </a:lnTo>
                  <a:lnTo>
                    <a:pt x="60" y="449"/>
                  </a:lnTo>
                  <a:lnTo>
                    <a:pt x="62" y="451"/>
                  </a:lnTo>
                  <a:lnTo>
                    <a:pt x="62" y="451"/>
                  </a:lnTo>
                  <a:lnTo>
                    <a:pt x="62" y="455"/>
                  </a:lnTo>
                  <a:lnTo>
                    <a:pt x="62" y="455"/>
                  </a:lnTo>
                  <a:lnTo>
                    <a:pt x="62" y="455"/>
                  </a:lnTo>
                  <a:lnTo>
                    <a:pt x="62" y="457"/>
                  </a:lnTo>
                  <a:lnTo>
                    <a:pt x="62" y="457"/>
                  </a:lnTo>
                  <a:lnTo>
                    <a:pt x="62" y="459"/>
                  </a:lnTo>
                  <a:lnTo>
                    <a:pt x="64" y="459"/>
                  </a:lnTo>
                  <a:lnTo>
                    <a:pt x="66" y="461"/>
                  </a:lnTo>
                  <a:lnTo>
                    <a:pt x="70" y="463"/>
                  </a:lnTo>
                  <a:lnTo>
                    <a:pt x="74" y="467"/>
                  </a:lnTo>
                  <a:lnTo>
                    <a:pt x="76" y="467"/>
                  </a:lnTo>
                  <a:lnTo>
                    <a:pt x="78" y="469"/>
                  </a:lnTo>
                  <a:lnTo>
                    <a:pt x="78" y="469"/>
                  </a:lnTo>
                  <a:lnTo>
                    <a:pt x="78" y="471"/>
                  </a:lnTo>
                  <a:lnTo>
                    <a:pt x="78" y="471"/>
                  </a:lnTo>
                  <a:lnTo>
                    <a:pt x="78" y="471"/>
                  </a:lnTo>
                  <a:lnTo>
                    <a:pt x="78" y="476"/>
                  </a:lnTo>
                  <a:lnTo>
                    <a:pt x="80" y="478"/>
                  </a:lnTo>
                  <a:lnTo>
                    <a:pt x="80" y="478"/>
                  </a:lnTo>
                  <a:lnTo>
                    <a:pt x="82" y="480"/>
                  </a:lnTo>
                  <a:lnTo>
                    <a:pt x="84" y="482"/>
                  </a:lnTo>
                  <a:lnTo>
                    <a:pt x="88" y="484"/>
                  </a:lnTo>
                  <a:lnTo>
                    <a:pt x="88" y="484"/>
                  </a:lnTo>
                  <a:lnTo>
                    <a:pt x="88" y="480"/>
                  </a:lnTo>
                  <a:lnTo>
                    <a:pt x="88" y="480"/>
                  </a:lnTo>
                  <a:lnTo>
                    <a:pt x="88" y="480"/>
                  </a:lnTo>
                  <a:lnTo>
                    <a:pt x="90" y="480"/>
                  </a:lnTo>
                  <a:lnTo>
                    <a:pt x="92" y="482"/>
                  </a:lnTo>
                  <a:lnTo>
                    <a:pt x="94" y="482"/>
                  </a:lnTo>
                  <a:lnTo>
                    <a:pt x="94" y="480"/>
                  </a:lnTo>
                  <a:lnTo>
                    <a:pt x="94" y="476"/>
                  </a:lnTo>
                  <a:lnTo>
                    <a:pt x="97" y="471"/>
                  </a:lnTo>
                  <a:lnTo>
                    <a:pt x="97" y="469"/>
                  </a:lnTo>
                  <a:lnTo>
                    <a:pt x="99" y="469"/>
                  </a:lnTo>
                  <a:lnTo>
                    <a:pt x="97" y="469"/>
                  </a:lnTo>
                  <a:lnTo>
                    <a:pt x="97" y="467"/>
                  </a:lnTo>
                  <a:lnTo>
                    <a:pt x="99" y="465"/>
                  </a:lnTo>
                  <a:lnTo>
                    <a:pt x="97" y="463"/>
                  </a:lnTo>
                  <a:lnTo>
                    <a:pt x="94" y="461"/>
                  </a:lnTo>
                  <a:lnTo>
                    <a:pt x="97" y="457"/>
                  </a:lnTo>
                  <a:lnTo>
                    <a:pt x="97" y="455"/>
                  </a:lnTo>
                  <a:lnTo>
                    <a:pt x="99" y="451"/>
                  </a:lnTo>
                  <a:lnTo>
                    <a:pt x="99" y="451"/>
                  </a:lnTo>
                  <a:lnTo>
                    <a:pt x="99" y="451"/>
                  </a:lnTo>
                  <a:lnTo>
                    <a:pt x="101" y="449"/>
                  </a:lnTo>
                  <a:lnTo>
                    <a:pt x="103" y="449"/>
                  </a:lnTo>
                  <a:lnTo>
                    <a:pt x="105" y="447"/>
                  </a:lnTo>
                  <a:lnTo>
                    <a:pt x="105" y="445"/>
                  </a:lnTo>
                  <a:lnTo>
                    <a:pt x="107" y="443"/>
                  </a:lnTo>
                  <a:lnTo>
                    <a:pt x="107" y="443"/>
                  </a:lnTo>
                  <a:lnTo>
                    <a:pt x="107" y="443"/>
                  </a:lnTo>
                  <a:lnTo>
                    <a:pt x="109" y="443"/>
                  </a:lnTo>
                  <a:lnTo>
                    <a:pt x="109" y="441"/>
                  </a:lnTo>
                  <a:lnTo>
                    <a:pt x="109" y="441"/>
                  </a:lnTo>
                  <a:lnTo>
                    <a:pt x="109" y="439"/>
                  </a:lnTo>
                  <a:lnTo>
                    <a:pt x="109" y="437"/>
                  </a:lnTo>
                  <a:lnTo>
                    <a:pt x="109" y="437"/>
                  </a:lnTo>
                  <a:lnTo>
                    <a:pt x="111" y="435"/>
                  </a:lnTo>
                  <a:lnTo>
                    <a:pt x="111" y="435"/>
                  </a:lnTo>
                  <a:lnTo>
                    <a:pt x="109" y="435"/>
                  </a:lnTo>
                  <a:lnTo>
                    <a:pt x="109" y="435"/>
                  </a:lnTo>
                  <a:lnTo>
                    <a:pt x="107" y="437"/>
                  </a:lnTo>
                  <a:lnTo>
                    <a:pt x="107" y="435"/>
                  </a:lnTo>
                  <a:lnTo>
                    <a:pt x="107" y="432"/>
                  </a:lnTo>
                  <a:lnTo>
                    <a:pt x="105" y="430"/>
                  </a:lnTo>
                  <a:lnTo>
                    <a:pt x="107" y="428"/>
                  </a:lnTo>
                  <a:lnTo>
                    <a:pt x="107" y="426"/>
                  </a:lnTo>
                  <a:lnTo>
                    <a:pt x="107" y="424"/>
                  </a:lnTo>
                  <a:lnTo>
                    <a:pt x="109" y="424"/>
                  </a:lnTo>
                  <a:lnTo>
                    <a:pt x="109" y="426"/>
                  </a:lnTo>
                  <a:lnTo>
                    <a:pt x="111" y="426"/>
                  </a:lnTo>
                  <a:lnTo>
                    <a:pt x="111" y="424"/>
                  </a:lnTo>
                  <a:lnTo>
                    <a:pt x="113" y="422"/>
                  </a:lnTo>
                  <a:lnTo>
                    <a:pt x="113" y="422"/>
                  </a:lnTo>
                  <a:lnTo>
                    <a:pt x="113" y="424"/>
                  </a:lnTo>
                  <a:lnTo>
                    <a:pt x="113" y="424"/>
                  </a:lnTo>
                  <a:lnTo>
                    <a:pt x="115" y="422"/>
                  </a:lnTo>
                  <a:lnTo>
                    <a:pt x="117" y="422"/>
                  </a:lnTo>
                  <a:lnTo>
                    <a:pt x="117" y="420"/>
                  </a:lnTo>
                  <a:lnTo>
                    <a:pt x="117" y="418"/>
                  </a:lnTo>
                  <a:lnTo>
                    <a:pt x="115" y="416"/>
                  </a:lnTo>
                  <a:lnTo>
                    <a:pt x="115" y="414"/>
                  </a:lnTo>
                  <a:lnTo>
                    <a:pt x="113" y="414"/>
                  </a:lnTo>
                  <a:lnTo>
                    <a:pt x="111" y="414"/>
                  </a:lnTo>
                  <a:lnTo>
                    <a:pt x="109" y="414"/>
                  </a:lnTo>
                  <a:lnTo>
                    <a:pt x="107" y="414"/>
                  </a:lnTo>
                  <a:lnTo>
                    <a:pt x="111" y="414"/>
                  </a:lnTo>
                  <a:lnTo>
                    <a:pt x="111" y="412"/>
                  </a:lnTo>
                  <a:lnTo>
                    <a:pt x="111" y="412"/>
                  </a:lnTo>
                  <a:lnTo>
                    <a:pt x="111" y="410"/>
                  </a:lnTo>
                  <a:lnTo>
                    <a:pt x="111" y="410"/>
                  </a:lnTo>
                  <a:lnTo>
                    <a:pt x="111" y="408"/>
                  </a:lnTo>
                  <a:lnTo>
                    <a:pt x="113" y="406"/>
                  </a:lnTo>
                  <a:lnTo>
                    <a:pt x="113" y="402"/>
                  </a:lnTo>
                  <a:lnTo>
                    <a:pt x="115" y="400"/>
                  </a:lnTo>
                  <a:lnTo>
                    <a:pt x="117" y="394"/>
                  </a:lnTo>
                  <a:lnTo>
                    <a:pt x="117" y="394"/>
                  </a:lnTo>
                  <a:lnTo>
                    <a:pt x="119" y="394"/>
                  </a:lnTo>
                  <a:lnTo>
                    <a:pt x="119" y="394"/>
                  </a:lnTo>
                  <a:lnTo>
                    <a:pt x="121" y="391"/>
                  </a:lnTo>
                  <a:lnTo>
                    <a:pt x="121" y="391"/>
                  </a:lnTo>
                  <a:lnTo>
                    <a:pt x="123" y="389"/>
                  </a:lnTo>
                  <a:lnTo>
                    <a:pt x="123" y="387"/>
                  </a:lnTo>
                  <a:lnTo>
                    <a:pt x="123" y="387"/>
                  </a:lnTo>
                  <a:lnTo>
                    <a:pt x="125" y="385"/>
                  </a:lnTo>
                  <a:lnTo>
                    <a:pt x="125" y="387"/>
                  </a:lnTo>
                  <a:lnTo>
                    <a:pt x="125" y="389"/>
                  </a:lnTo>
                  <a:lnTo>
                    <a:pt x="123" y="389"/>
                  </a:lnTo>
                  <a:lnTo>
                    <a:pt x="123" y="389"/>
                  </a:lnTo>
                  <a:lnTo>
                    <a:pt x="125" y="389"/>
                  </a:lnTo>
                  <a:lnTo>
                    <a:pt x="127" y="387"/>
                  </a:lnTo>
                  <a:lnTo>
                    <a:pt x="127" y="387"/>
                  </a:lnTo>
                  <a:lnTo>
                    <a:pt x="127" y="389"/>
                  </a:lnTo>
                  <a:lnTo>
                    <a:pt x="125" y="396"/>
                  </a:lnTo>
                  <a:lnTo>
                    <a:pt x="125" y="400"/>
                  </a:lnTo>
                  <a:lnTo>
                    <a:pt x="127" y="400"/>
                  </a:lnTo>
                  <a:lnTo>
                    <a:pt x="127" y="398"/>
                  </a:lnTo>
                  <a:lnTo>
                    <a:pt x="127" y="396"/>
                  </a:lnTo>
                  <a:lnTo>
                    <a:pt x="127" y="394"/>
                  </a:lnTo>
                  <a:lnTo>
                    <a:pt x="127" y="391"/>
                  </a:lnTo>
                  <a:lnTo>
                    <a:pt x="129" y="389"/>
                  </a:lnTo>
                  <a:lnTo>
                    <a:pt x="129" y="387"/>
                  </a:lnTo>
                  <a:lnTo>
                    <a:pt x="129" y="385"/>
                  </a:lnTo>
                  <a:lnTo>
                    <a:pt x="131" y="387"/>
                  </a:lnTo>
                  <a:lnTo>
                    <a:pt x="129" y="400"/>
                  </a:lnTo>
                  <a:lnTo>
                    <a:pt x="129" y="400"/>
                  </a:lnTo>
                  <a:lnTo>
                    <a:pt x="129" y="400"/>
                  </a:lnTo>
                  <a:lnTo>
                    <a:pt x="129" y="400"/>
                  </a:lnTo>
                  <a:lnTo>
                    <a:pt x="129" y="398"/>
                  </a:lnTo>
                  <a:lnTo>
                    <a:pt x="129" y="398"/>
                  </a:lnTo>
                  <a:lnTo>
                    <a:pt x="129" y="396"/>
                  </a:lnTo>
                  <a:lnTo>
                    <a:pt x="131" y="396"/>
                  </a:lnTo>
                  <a:lnTo>
                    <a:pt x="133" y="391"/>
                  </a:lnTo>
                  <a:lnTo>
                    <a:pt x="133" y="391"/>
                  </a:lnTo>
                  <a:lnTo>
                    <a:pt x="133" y="391"/>
                  </a:lnTo>
                  <a:lnTo>
                    <a:pt x="135" y="389"/>
                  </a:lnTo>
                  <a:lnTo>
                    <a:pt x="135" y="389"/>
                  </a:lnTo>
                  <a:lnTo>
                    <a:pt x="135" y="387"/>
                  </a:lnTo>
                  <a:lnTo>
                    <a:pt x="133" y="385"/>
                  </a:lnTo>
                  <a:lnTo>
                    <a:pt x="133" y="385"/>
                  </a:lnTo>
                  <a:lnTo>
                    <a:pt x="131" y="385"/>
                  </a:lnTo>
                  <a:lnTo>
                    <a:pt x="131" y="383"/>
                  </a:lnTo>
                  <a:lnTo>
                    <a:pt x="133" y="383"/>
                  </a:lnTo>
                  <a:lnTo>
                    <a:pt x="133" y="383"/>
                  </a:lnTo>
                  <a:lnTo>
                    <a:pt x="133" y="383"/>
                  </a:lnTo>
                  <a:lnTo>
                    <a:pt x="135" y="383"/>
                  </a:lnTo>
                  <a:lnTo>
                    <a:pt x="135" y="383"/>
                  </a:lnTo>
                  <a:lnTo>
                    <a:pt x="135" y="383"/>
                  </a:lnTo>
                  <a:lnTo>
                    <a:pt x="135" y="385"/>
                  </a:lnTo>
                  <a:lnTo>
                    <a:pt x="135" y="385"/>
                  </a:lnTo>
                  <a:lnTo>
                    <a:pt x="137" y="387"/>
                  </a:lnTo>
                  <a:lnTo>
                    <a:pt x="137" y="387"/>
                  </a:lnTo>
                  <a:lnTo>
                    <a:pt x="137" y="389"/>
                  </a:lnTo>
                  <a:lnTo>
                    <a:pt x="137" y="389"/>
                  </a:lnTo>
                  <a:lnTo>
                    <a:pt x="137" y="389"/>
                  </a:lnTo>
                  <a:lnTo>
                    <a:pt x="137" y="389"/>
                  </a:lnTo>
                  <a:lnTo>
                    <a:pt x="137" y="394"/>
                  </a:lnTo>
                  <a:lnTo>
                    <a:pt x="137" y="394"/>
                  </a:lnTo>
                  <a:lnTo>
                    <a:pt x="140" y="396"/>
                  </a:lnTo>
                  <a:lnTo>
                    <a:pt x="140" y="396"/>
                  </a:lnTo>
                  <a:lnTo>
                    <a:pt x="142" y="398"/>
                  </a:lnTo>
                  <a:lnTo>
                    <a:pt x="142" y="400"/>
                  </a:lnTo>
                  <a:lnTo>
                    <a:pt x="142" y="398"/>
                  </a:lnTo>
                  <a:lnTo>
                    <a:pt x="142" y="398"/>
                  </a:lnTo>
                  <a:lnTo>
                    <a:pt x="144" y="396"/>
                  </a:lnTo>
                  <a:lnTo>
                    <a:pt x="144" y="396"/>
                  </a:lnTo>
                  <a:lnTo>
                    <a:pt x="144" y="394"/>
                  </a:lnTo>
                  <a:lnTo>
                    <a:pt x="144" y="391"/>
                  </a:lnTo>
                  <a:lnTo>
                    <a:pt x="144" y="391"/>
                  </a:lnTo>
                  <a:lnTo>
                    <a:pt x="142" y="389"/>
                  </a:lnTo>
                  <a:lnTo>
                    <a:pt x="140" y="385"/>
                  </a:lnTo>
                  <a:lnTo>
                    <a:pt x="140" y="383"/>
                  </a:lnTo>
                  <a:lnTo>
                    <a:pt x="135" y="375"/>
                  </a:lnTo>
                  <a:lnTo>
                    <a:pt x="133" y="371"/>
                  </a:lnTo>
                  <a:lnTo>
                    <a:pt x="133" y="373"/>
                  </a:lnTo>
                  <a:lnTo>
                    <a:pt x="133" y="373"/>
                  </a:lnTo>
                  <a:lnTo>
                    <a:pt x="131" y="375"/>
                  </a:lnTo>
                  <a:lnTo>
                    <a:pt x="131" y="375"/>
                  </a:lnTo>
                  <a:lnTo>
                    <a:pt x="129" y="373"/>
                  </a:lnTo>
                  <a:lnTo>
                    <a:pt x="129" y="373"/>
                  </a:lnTo>
                  <a:lnTo>
                    <a:pt x="129" y="371"/>
                  </a:lnTo>
                  <a:lnTo>
                    <a:pt x="133" y="365"/>
                  </a:lnTo>
                  <a:lnTo>
                    <a:pt x="133" y="365"/>
                  </a:lnTo>
                  <a:lnTo>
                    <a:pt x="135" y="363"/>
                  </a:lnTo>
                  <a:lnTo>
                    <a:pt x="135" y="363"/>
                  </a:lnTo>
                  <a:lnTo>
                    <a:pt x="135" y="361"/>
                  </a:lnTo>
                  <a:lnTo>
                    <a:pt x="137" y="363"/>
                  </a:lnTo>
                  <a:lnTo>
                    <a:pt x="135" y="363"/>
                  </a:lnTo>
                  <a:lnTo>
                    <a:pt x="135" y="365"/>
                  </a:lnTo>
                  <a:lnTo>
                    <a:pt x="135" y="367"/>
                  </a:lnTo>
                  <a:lnTo>
                    <a:pt x="135" y="371"/>
                  </a:lnTo>
                  <a:lnTo>
                    <a:pt x="135" y="371"/>
                  </a:lnTo>
                  <a:lnTo>
                    <a:pt x="137" y="373"/>
                  </a:lnTo>
                  <a:lnTo>
                    <a:pt x="137" y="375"/>
                  </a:lnTo>
                  <a:lnTo>
                    <a:pt x="137" y="375"/>
                  </a:lnTo>
                  <a:lnTo>
                    <a:pt x="137" y="377"/>
                  </a:lnTo>
                  <a:lnTo>
                    <a:pt x="140" y="379"/>
                  </a:lnTo>
                  <a:lnTo>
                    <a:pt x="140" y="379"/>
                  </a:lnTo>
                  <a:lnTo>
                    <a:pt x="140" y="381"/>
                  </a:lnTo>
                  <a:lnTo>
                    <a:pt x="142" y="381"/>
                  </a:lnTo>
                  <a:lnTo>
                    <a:pt x="144" y="387"/>
                  </a:lnTo>
                  <a:lnTo>
                    <a:pt x="144" y="387"/>
                  </a:lnTo>
                  <a:lnTo>
                    <a:pt x="144" y="387"/>
                  </a:lnTo>
                  <a:lnTo>
                    <a:pt x="144" y="387"/>
                  </a:lnTo>
                  <a:lnTo>
                    <a:pt x="144" y="387"/>
                  </a:lnTo>
                  <a:lnTo>
                    <a:pt x="144" y="387"/>
                  </a:lnTo>
                  <a:lnTo>
                    <a:pt x="144" y="387"/>
                  </a:lnTo>
                  <a:lnTo>
                    <a:pt x="144" y="387"/>
                  </a:lnTo>
                  <a:lnTo>
                    <a:pt x="144" y="389"/>
                  </a:lnTo>
                  <a:lnTo>
                    <a:pt x="146" y="391"/>
                  </a:lnTo>
                  <a:lnTo>
                    <a:pt x="146" y="391"/>
                  </a:lnTo>
                  <a:lnTo>
                    <a:pt x="148" y="389"/>
                  </a:lnTo>
                  <a:lnTo>
                    <a:pt x="148" y="383"/>
                  </a:lnTo>
                  <a:lnTo>
                    <a:pt x="148" y="381"/>
                  </a:lnTo>
                  <a:lnTo>
                    <a:pt x="146" y="381"/>
                  </a:lnTo>
                  <a:lnTo>
                    <a:pt x="146" y="383"/>
                  </a:lnTo>
                  <a:lnTo>
                    <a:pt x="146" y="385"/>
                  </a:lnTo>
                  <a:lnTo>
                    <a:pt x="146" y="385"/>
                  </a:lnTo>
                  <a:lnTo>
                    <a:pt x="146" y="383"/>
                  </a:lnTo>
                  <a:lnTo>
                    <a:pt x="146" y="381"/>
                  </a:lnTo>
                  <a:lnTo>
                    <a:pt x="144" y="379"/>
                  </a:lnTo>
                  <a:lnTo>
                    <a:pt x="144" y="379"/>
                  </a:lnTo>
                  <a:lnTo>
                    <a:pt x="142" y="379"/>
                  </a:lnTo>
                  <a:lnTo>
                    <a:pt x="142" y="379"/>
                  </a:lnTo>
                  <a:lnTo>
                    <a:pt x="142" y="377"/>
                  </a:lnTo>
                  <a:lnTo>
                    <a:pt x="146" y="365"/>
                  </a:lnTo>
                  <a:lnTo>
                    <a:pt x="148" y="363"/>
                  </a:lnTo>
                  <a:lnTo>
                    <a:pt x="148" y="363"/>
                  </a:lnTo>
                  <a:lnTo>
                    <a:pt x="150" y="361"/>
                  </a:lnTo>
                  <a:lnTo>
                    <a:pt x="150" y="363"/>
                  </a:lnTo>
                  <a:lnTo>
                    <a:pt x="148" y="363"/>
                  </a:lnTo>
                  <a:lnTo>
                    <a:pt x="148" y="365"/>
                  </a:lnTo>
                  <a:lnTo>
                    <a:pt x="148" y="369"/>
                  </a:lnTo>
                  <a:lnTo>
                    <a:pt x="148" y="369"/>
                  </a:lnTo>
                  <a:lnTo>
                    <a:pt x="148" y="371"/>
                  </a:lnTo>
                  <a:lnTo>
                    <a:pt x="150" y="371"/>
                  </a:lnTo>
                  <a:lnTo>
                    <a:pt x="150" y="371"/>
                  </a:lnTo>
                  <a:lnTo>
                    <a:pt x="152" y="373"/>
                  </a:lnTo>
                  <a:lnTo>
                    <a:pt x="152" y="373"/>
                  </a:lnTo>
                  <a:lnTo>
                    <a:pt x="150" y="373"/>
                  </a:lnTo>
                  <a:lnTo>
                    <a:pt x="150" y="373"/>
                  </a:lnTo>
                  <a:lnTo>
                    <a:pt x="150" y="373"/>
                  </a:lnTo>
                  <a:lnTo>
                    <a:pt x="150" y="375"/>
                  </a:lnTo>
                  <a:lnTo>
                    <a:pt x="150" y="375"/>
                  </a:lnTo>
                  <a:lnTo>
                    <a:pt x="150" y="375"/>
                  </a:lnTo>
                  <a:lnTo>
                    <a:pt x="150" y="379"/>
                  </a:lnTo>
                  <a:lnTo>
                    <a:pt x="150" y="379"/>
                  </a:lnTo>
                  <a:lnTo>
                    <a:pt x="150" y="379"/>
                  </a:lnTo>
                  <a:lnTo>
                    <a:pt x="152" y="381"/>
                  </a:lnTo>
                  <a:lnTo>
                    <a:pt x="154" y="381"/>
                  </a:lnTo>
                  <a:lnTo>
                    <a:pt x="154" y="381"/>
                  </a:lnTo>
                  <a:lnTo>
                    <a:pt x="156" y="379"/>
                  </a:lnTo>
                  <a:lnTo>
                    <a:pt x="156" y="383"/>
                  </a:lnTo>
                  <a:lnTo>
                    <a:pt x="158" y="383"/>
                  </a:lnTo>
                  <a:lnTo>
                    <a:pt x="158" y="381"/>
                  </a:lnTo>
                  <a:lnTo>
                    <a:pt x="158" y="379"/>
                  </a:lnTo>
                  <a:lnTo>
                    <a:pt x="156" y="377"/>
                  </a:lnTo>
                  <a:lnTo>
                    <a:pt x="156" y="377"/>
                  </a:lnTo>
                  <a:lnTo>
                    <a:pt x="154" y="375"/>
                  </a:lnTo>
                  <a:lnTo>
                    <a:pt x="154" y="375"/>
                  </a:lnTo>
                  <a:lnTo>
                    <a:pt x="154" y="373"/>
                  </a:lnTo>
                  <a:lnTo>
                    <a:pt x="154" y="373"/>
                  </a:lnTo>
                  <a:lnTo>
                    <a:pt x="154" y="373"/>
                  </a:lnTo>
                  <a:lnTo>
                    <a:pt x="154" y="373"/>
                  </a:lnTo>
                  <a:lnTo>
                    <a:pt x="154" y="371"/>
                  </a:lnTo>
                  <a:lnTo>
                    <a:pt x="154" y="371"/>
                  </a:lnTo>
                  <a:lnTo>
                    <a:pt x="154" y="369"/>
                  </a:lnTo>
                  <a:lnTo>
                    <a:pt x="154" y="369"/>
                  </a:lnTo>
                  <a:lnTo>
                    <a:pt x="154" y="367"/>
                  </a:lnTo>
                  <a:lnTo>
                    <a:pt x="154" y="367"/>
                  </a:lnTo>
                  <a:lnTo>
                    <a:pt x="154" y="363"/>
                  </a:lnTo>
                  <a:lnTo>
                    <a:pt x="154" y="361"/>
                  </a:lnTo>
                  <a:lnTo>
                    <a:pt x="156" y="361"/>
                  </a:lnTo>
                  <a:lnTo>
                    <a:pt x="156" y="363"/>
                  </a:lnTo>
                  <a:lnTo>
                    <a:pt x="156" y="367"/>
                  </a:lnTo>
                  <a:lnTo>
                    <a:pt x="156" y="369"/>
                  </a:lnTo>
                  <a:lnTo>
                    <a:pt x="156" y="369"/>
                  </a:lnTo>
                  <a:lnTo>
                    <a:pt x="156" y="371"/>
                  </a:lnTo>
                  <a:lnTo>
                    <a:pt x="156" y="371"/>
                  </a:lnTo>
                  <a:lnTo>
                    <a:pt x="156" y="371"/>
                  </a:lnTo>
                  <a:lnTo>
                    <a:pt x="156" y="373"/>
                  </a:lnTo>
                  <a:lnTo>
                    <a:pt x="156" y="373"/>
                  </a:lnTo>
                  <a:lnTo>
                    <a:pt x="156" y="375"/>
                  </a:lnTo>
                  <a:lnTo>
                    <a:pt x="156" y="375"/>
                  </a:lnTo>
                  <a:lnTo>
                    <a:pt x="158" y="377"/>
                  </a:lnTo>
                  <a:lnTo>
                    <a:pt x="158" y="377"/>
                  </a:lnTo>
                  <a:lnTo>
                    <a:pt x="158" y="379"/>
                  </a:lnTo>
                  <a:lnTo>
                    <a:pt x="160" y="379"/>
                  </a:lnTo>
                  <a:lnTo>
                    <a:pt x="158" y="377"/>
                  </a:lnTo>
                  <a:lnTo>
                    <a:pt x="158" y="375"/>
                  </a:lnTo>
                  <a:lnTo>
                    <a:pt x="158" y="373"/>
                  </a:lnTo>
                  <a:lnTo>
                    <a:pt x="158" y="373"/>
                  </a:lnTo>
                  <a:lnTo>
                    <a:pt x="160" y="375"/>
                  </a:lnTo>
                  <a:lnTo>
                    <a:pt x="160" y="375"/>
                  </a:lnTo>
                  <a:lnTo>
                    <a:pt x="162" y="377"/>
                  </a:lnTo>
                  <a:lnTo>
                    <a:pt x="162" y="379"/>
                  </a:lnTo>
                  <a:lnTo>
                    <a:pt x="164" y="377"/>
                  </a:lnTo>
                  <a:lnTo>
                    <a:pt x="164" y="373"/>
                  </a:lnTo>
                  <a:lnTo>
                    <a:pt x="164" y="365"/>
                  </a:lnTo>
                  <a:lnTo>
                    <a:pt x="164" y="363"/>
                  </a:lnTo>
                  <a:lnTo>
                    <a:pt x="164" y="361"/>
                  </a:lnTo>
                  <a:lnTo>
                    <a:pt x="164" y="361"/>
                  </a:lnTo>
                  <a:lnTo>
                    <a:pt x="166" y="361"/>
                  </a:lnTo>
                  <a:lnTo>
                    <a:pt x="166" y="359"/>
                  </a:lnTo>
                  <a:lnTo>
                    <a:pt x="166" y="357"/>
                  </a:lnTo>
                  <a:lnTo>
                    <a:pt x="166" y="357"/>
                  </a:lnTo>
                  <a:lnTo>
                    <a:pt x="166" y="355"/>
                  </a:lnTo>
                  <a:lnTo>
                    <a:pt x="168" y="355"/>
                  </a:lnTo>
                  <a:lnTo>
                    <a:pt x="168" y="353"/>
                  </a:lnTo>
                  <a:lnTo>
                    <a:pt x="168" y="353"/>
                  </a:lnTo>
                  <a:lnTo>
                    <a:pt x="168" y="353"/>
                  </a:lnTo>
                  <a:lnTo>
                    <a:pt x="168" y="355"/>
                  </a:lnTo>
                  <a:lnTo>
                    <a:pt x="168" y="357"/>
                  </a:lnTo>
                  <a:lnTo>
                    <a:pt x="168" y="357"/>
                  </a:lnTo>
                  <a:lnTo>
                    <a:pt x="170" y="357"/>
                  </a:lnTo>
                  <a:lnTo>
                    <a:pt x="170" y="357"/>
                  </a:lnTo>
                  <a:lnTo>
                    <a:pt x="170" y="359"/>
                  </a:lnTo>
                  <a:lnTo>
                    <a:pt x="170" y="361"/>
                  </a:lnTo>
                  <a:lnTo>
                    <a:pt x="170" y="361"/>
                  </a:lnTo>
                  <a:lnTo>
                    <a:pt x="172" y="359"/>
                  </a:lnTo>
                  <a:lnTo>
                    <a:pt x="172" y="359"/>
                  </a:lnTo>
                  <a:lnTo>
                    <a:pt x="174" y="359"/>
                  </a:lnTo>
                  <a:lnTo>
                    <a:pt x="174" y="363"/>
                  </a:lnTo>
                  <a:lnTo>
                    <a:pt x="174" y="363"/>
                  </a:lnTo>
                  <a:lnTo>
                    <a:pt x="176" y="363"/>
                  </a:lnTo>
                  <a:lnTo>
                    <a:pt x="178" y="355"/>
                  </a:lnTo>
                  <a:lnTo>
                    <a:pt x="180" y="355"/>
                  </a:lnTo>
                  <a:lnTo>
                    <a:pt x="180" y="357"/>
                  </a:lnTo>
                  <a:lnTo>
                    <a:pt x="178" y="361"/>
                  </a:lnTo>
                  <a:lnTo>
                    <a:pt x="178" y="363"/>
                  </a:lnTo>
                  <a:lnTo>
                    <a:pt x="178" y="363"/>
                  </a:lnTo>
                  <a:lnTo>
                    <a:pt x="180" y="363"/>
                  </a:lnTo>
                  <a:lnTo>
                    <a:pt x="180" y="363"/>
                  </a:lnTo>
                  <a:lnTo>
                    <a:pt x="185" y="361"/>
                  </a:lnTo>
                  <a:lnTo>
                    <a:pt x="183" y="359"/>
                  </a:lnTo>
                  <a:lnTo>
                    <a:pt x="183" y="359"/>
                  </a:lnTo>
                  <a:lnTo>
                    <a:pt x="183" y="357"/>
                  </a:lnTo>
                  <a:lnTo>
                    <a:pt x="183" y="357"/>
                  </a:lnTo>
                  <a:lnTo>
                    <a:pt x="183" y="357"/>
                  </a:lnTo>
                  <a:lnTo>
                    <a:pt x="185" y="355"/>
                  </a:lnTo>
                  <a:lnTo>
                    <a:pt x="185" y="355"/>
                  </a:lnTo>
                  <a:lnTo>
                    <a:pt x="185" y="355"/>
                  </a:lnTo>
                  <a:lnTo>
                    <a:pt x="187" y="355"/>
                  </a:lnTo>
                  <a:lnTo>
                    <a:pt x="187" y="353"/>
                  </a:lnTo>
                  <a:lnTo>
                    <a:pt x="187" y="351"/>
                  </a:lnTo>
                  <a:lnTo>
                    <a:pt x="187" y="348"/>
                  </a:lnTo>
                  <a:lnTo>
                    <a:pt x="189" y="348"/>
                  </a:lnTo>
                  <a:lnTo>
                    <a:pt x="191" y="346"/>
                  </a:lnTo>
                  <a:lnTo>
                    <a:pt x="191" y="344"/>
                  </a:lnTo>
                  <a:lnTo>
                    <a:pt x="191" y="342"/>
                  </a:lnTo>
                  <a:lnTo>
                    <a:pt x="189" y="344"/>
                  </a:lnTo>
                  <a:lnTo>
                    <a:pt x="187" y="342"/>
                  </a:lnTo>
                  <a:lnTo>
                    <a:pt x="187" y="340"/>
                  </a:lnTo>
                  <a:lnTo>
                    <a:pt x="187" y="340"/>
                  </a:lnTo>
                  <a:lnTo>
                    <a:pt x="187" y="338"/>
                  </a:lnTo>
                  <a:lnTo>
                    <a:pt x="187" y="338"/>
                  </a:lnTo>
                  <a:lnTo>
                    <a:pt x="187" y="336"/>
                  </a:lnTo>
                  <a:lnTo>
                    <a:pt x="187" y="334"/>
                  </a:lnTo>
                  <a:lnTo>
                    <a:pt x="187" y="328"/>
                  </a:lnTo>
                  <a:lnTo>
                    <a:pt x="189" y="326"/>
                  </a:lnTo>
                  <a:lnTo>
                    <a:pt x="189" y="322"/>
                  </a:lnTo>
                  <a:lnTo>
                    <a:pt x="189" y="320"/>
                  </a:lnTo>
                  <a:lnTo>
                    <a:pt x="191" y="320"/>
                  </a:lnTo>
                  <a:lnTo>
                    <a:pt x="193" y="318"/>
                  </a:lnTo>
                  <a:lnTo>
                    <a:pt x="193" y="316"/>
                  </a:lnTo>
                  <a:lnTo>
                    <a:pt x="191" y="314"/>
                  </a:lnTo>
                  <a:lnTo>
                    <a:pt x="189" y="312"/>
                  </a:lnTo>
                  <a:lnTo>
                    <a:pt x="187" y="310"/>
                  </a:lnTo>
                  <a:lnTo>
                    <a:pt x="187" y="310"/>
                  </a:lnTo>
                  <a:lnTo>
                    <a:pt x="187" y="310"/>
                  </a:lnTo>
                  <a:lnTo>
                    <a:pt x="187" y="307"/>
                  </a:lnTo>
                  <a:lnTo>
                    <a:pt x="187" y="305"/>
                  </a:lnTo>
                  <a:lnTo>
                    <a:pt x="191" y="303"/>
                  </a:lnTo>
                  <a:lnTo>
                    <a:pt x="191" y="303"/>
                  </a:lnTo>
                  <a:lnTo>
                    <a:pt x="193" y="301"/>
                  </a:lnTo>
                  <a:lnTo>
                    <a:pt x="193" y="299"/>
                  </a:lnTo>
                  <a:lnTo>
                    <a:pt x="195" y="299"/>
                  </a:lnTo>
                  <a:lnTo>
                    <a:pt x="195" y="301"/>
                  </a:lnTo>
                  <a:lnTo>
                    <a:pt x="195" y="301"/>
                  </a:lnTo>
                  <a:lnTo>
                    <a:pt x="197" y="301"/>
                  </a:lnTo>
                  <a:lnTo>
                    <a:pt x="199" y="299"/>
                  </a:lnTo>
                  <a:lnTo>
                    <a:pt x="197" y="299"/>
                  </a:lnTo>
                  <a:lnTo>
                    <a:pt x="197" y="299"/>
                  </a:lnTo>
                  <a:lnTo>
                    <a:pt x="197" y="293"/>
                  </a:lnTo>
                  <a:lnTo>
                    <a:pt x="197" y="289"/>
                  </a:lnTo>
                  <a:lnTo>
                    <a:pt x="197" y="289"/>
                  </a:lnTo>
                  <a:lnTo>
                    <a:pt x="197" y="289"/>
                  </a:lnTo>
                  <a:lnTo>
                    <a:pt x="201" y="289"/>
                  </a:lnTo>
                  <a:lnTo>
                    <a:pt x="201" y="291"/>
                  </a:lnTo>
                  <a:lnTo>
                    <a:pt x="201" y="297"/>
                  </a:lnTo>
                  <a:lnTo>
                    <a:pt x="201" y="297"/>
                  </a:lnTo>
                  <a:lnTo>
                    <a:pt x="201" y="299"/>
                  </a:lnTo>
                  <a:lnTo>
                    <a:pt x="201" y="299"/>
                  </a:lnTo>
                  <a:lnTo>
                    <a:pt x="201" y="299"/>
                  </a:lnTo>
                  <a:lnTo>
                    <a:pt x="199" y="301"/>
                  </a:lnTo>
                  <a:lnTo>
                    <a:pt x="199" y="301"/>
                  </a:lnTo>
                  <a:lnTo>
                    <a:pt x="199" y="303"/>
                  </a:lnTo>
                  <a:lnTo>
                    <a:pt x="199" y="305"/>
                  </a:lnTo>
                  <a:lnTo>
                    <a:pt x="199" y="305"/>
                  </a:lnTo>
                  <a:lnTo>
                    <a:pt x="201" y="307"/>
                  </a:lnTo>
                  <a:lnTo>
                    <a:pt x="201" y="307"/>
                  </a:lnTo>
                  <a:lnTo>
                    <a:pt x="201" y="305"/>
                  </a:lnTo>
                  <a:lnTo>
                    <a:pt x="203" y="303"/>
                  </a:lnTo>
                  <a:lnTo>
                    <a:pt x="203" y="301"/>
                  </a:lnTo>
                  <a:lnTo>
                    <a:pt x="205" y="299"/>
                  </a:lnTo>
                  <a:lnTo>
                    <a:pt x="207" y="301"/>
                  </a:lnTo>
                  <a:lnTo>
                    <a:pt x="209" y="303"/>
                  </a:lnTo>
                  <a:lnTo>
                    <a:pt x="207" y="303"/>
                  </a:lnTo>
                  <a:lnTo>
                    <a:pt x="207" y="303"/>
                  </a:lnTo>
                  <a:lnTo>
                    <a:pt x="205" y="303"/>
                  </a:lnTo>
                  <a:lnTo>
                    <a:pt x="205" y="303"/>
                  </a:lnTo>
                  <a:lnTo>
                    <a:pt x="205" y="303"/>
                  </a:lnTo>
                  <a:lnTo>
                    <a:pt x="203" y="305"/>
                  </a:lnTo>
                  <a:lnTo>
                    <a:pt x="205" y="305"/>
                  </a:lnTo>
                  <a:lnTo>
                    <a:pt x="205" y="307"/>
                  </a:lnTo>
                  <a:lnTo>
                    <a:pt x="205" y="307"/>
                  </a:lnTo>
                  <a:lnTo>
                    <a:pt x="205" y="310"/>
                  </a:lnTo>
                  <a:lnTo>
                    <a:pt x="203" y="310"/>
                  </a:lnTo>
                  <a:lnTo>
                    <a:pt x="203" y="307"/>
                  </a:lnTo>
                  <a:lnTo>
                    <a:pt x="203" y="307"/>
                  </a:lnTo>
                  <a:lnTo>
                    <a:pt x="201" y="310"/>
                  </a:lnTo>
                  <a:lnTo>
                    <a:pt x="201" y="312"/>
                  </a:lnTo>
                  <a:lnTo>
                    <a:pt x="201" y="316"/>
                  </a:lnTo>
                  <a:lnTo>
                    <a:pt x="203" y="314"/>
                  </a:lnTo>
                  <a:lnTo>
                    <a:pt x="205" y="312"/>
                  </a:lnTo>
                  <a:lnTo>
                    <a:pt x="207" y="312"/>
                  </a:lnTo>
                  <a:lnTo>
                    <a:pt x="211" y="314"/>
                  </a:lnTo>
                  <a:lnTo>
                    <a:pt x="213" y="314"/>
                  </a:lnTo>
                  <a:lnTo>
                    <a:pt x="213" y="314"/>
                  </a:lnTo>
                  <a:lnTo>
                    <a:pt x="217" y="314"/>
                  </a:lnTo>
                  <a:lnTo>
                    <a:pt x="226" y="316"/>
                  </a:lnTo>
                  <a:lnTo>
                    <a:pt x="228" y="316"/>
                  </a:lnTo>
                  <a:lnTo>
                    <a:pt x="226" y="316"/>
                  </a:lnTo>
                  <a:lnTo>
                    <a:pt x="226" y="314"/>
                  </a:lnTo>
                  <a:lnTo>
                    <a:pt x="226" y="314"/>
                  </a:lnTo>
                  <a:lnTo>
                    <a:pt x="223" y="314"/>
                  </a:lnTo>
                  <a:lnTo>
                    <a:pt x="226" y="314"/>
                  </a:lnTo>
                  <a:lnTo>
                    <a:pt x="226" y="314"/>
                  </a:lnTo>
                  <a:lnTo>
                    <a:pt x="226" y="312"/>
                  </a:lnTo>
                  <a:lnTo>
                    <a:pt x="226" y="310"/>
                  </a:lnTo>
                  <a:lnTo>
                    <a:pt x="223" y="310"/>
                  </a:lnTo>
                  <a:lnTo>
                    <a:pt x="223" y="310"/>
                  </a:lnTo>
                  <a:lnTo>
                    <a:pt x="221" y="310"/>
                  </a:lnTo>
                  <a:lnTo>
                    <a:pt x="221" y="310"/>
                  </a:lnTo>
                  <a:lnTo>
                    <a:pt x="221" y="307"/>
                  </a:lnTo>
                  <a:lnTo>
                    <a:pt x="221" y="305"/>
                  </a:lnTo>
                  <a:lnTo>
                    <a:pt x="221" y="303"/>
                  </a:lnTo>
                  <a:lnTo>
                    <a:pt x="219" y="303"/>
                  </a:lnTo>
                  <a:lnTo>
                    <a:pt x="219" y="301"/>
                  </a:lnTo>
                  <a:lnTo>
                    <a:pt x="217" y="299"/>
                  </a:lnTo>
                  <a:lnTo>
                    <a:pt x="219" y="299"/>
                  </a:lnTo>
                  <a:lnTo>
                    <a:pt x="221" y="299"/>
                  </a:lnTo>
                  <a:lnTo>
                    <a:pt x="223" y="297"/>
                  </a:lnTo>
                  <a:lnTo>
                    <a:pt x="223" y="295"/>
                  </a:lnTo>
                  <a:lnTo>
                    <a:pt x="226" y="297"/>
                  </a:lnTo>
                  <a:lnTo>
                    <a:pt x="226" y="297"/>
                  </a:lnTo>
                  <a:lnTo>
                    <a:pt x="226" y="299"/>
                  </a:lnTo>
                  <a:lnTo>
                    <a:pt x="226" y="301"/>
                  </a:lnTo>
                  <a:lnTo>
                    <a:pt x="228" y="299"/>
                  </a:lnTo>
                  <a:lnTo>
                    <a:pt x="228" y="297"/>
                  </a:lnTo>
                  <a:lnTo>
                    <a:pt x="228" y="297"/>
                  </a:lnTo>
                  <a:lnTo>
                    <a:pt x="228" y="297"/>
                  </a:lnTo>
                  <a:lnTo>
                    <a:pt x="228" y="295"/>
                  </a:lnTo>
                  <a:lnTo>
                    <a:pt x="226" y="295"/>
                  </a:lnTo>
                  <a:lnTo>
                    <a:pt x="226" y="295"/>
                  </a:lnTo>
                  <a:lnTo>
                    <a:pt x="226" y="295"/>
                  </a:lnTo>
                  <a:lnTo>
                    <a:pt x="226" y="295"/>
                  </a:lnTo>
                  <a:lnTo>
                    <a:pt x="226" y="293"/>
                  </a:lnTo>
                  <a:lnTo>
                    <a:pt x="226" y="293"/>
                  </a:lnTo>
                  <a:lnTo>
                    <a:pt x="226" y="293"/>
                  </a:lnTo>
                  <a:lnTo>
                    <a:pt x="223" y="289"/>
                  </a:lnTo>
                  <a:lnTo>
                    <a:pt x="226" y="289"/>
                  </a:lnTo>
                  <a:lnTo>
                    <a:pt x="226" y="289"/>
                  </a:lnTo>
                  <a:lnTo>
                    <a:pt x="228" y="291"/>
                  </a:lnTo>
                  <a:lnTo>
                    <a:pt x="230" y="295"/>
                  </a:lnTo>
                  <a:lnTo>
                    <a:pt x="230" y="297"/>
                  </a:lnTo>
                  <a:lnTo>
                    <a:pt x="230" y="297"/>
                  </a:lnTo>
                  <a:lnTo>
                    <a:pt x="232" y="295"/>
                  </a:lnTo>
                  <a:lnTo>
                    <a:pt x="232" y="295"/>
                  </a:lnTo>
                  <a:lnTo>
                    <a:pt x="234" y="291"/>
                  </a:lnTo>
                  <a:lnTo>
                    <a:pt x="234" y="289"/>
                  </a:lnTo>
                  <a:lnTo>
                    <a:pt x="234" y="291"/>
                  </a:lnTo>
                  <a:lnTo>
                    <a:pt x="236" y="289"/>
                  </a:lnTo>
                  <a:lnTo>
                    <a:pt x="240" y="289"/>
                  </a:lnTo>
                  <a:lnTo>
                    <a:pt x="240" y="289"/>
                  </a:lnTo>
                  <a:lnTo>
                    <a:pt x="240" y="289"/>
                  </a:lnTo>
                  <a:lnTo>
                    <a:pt x="238" y="289"/>
                  </a:lnTo>
                  <a:lnTo>
                    <a:pt x="238" y="287"/>
                  </a:lnTo>
                  <a:lnTo>
                    <a:pt x="238" y="285"/>
                  </a:lnTo>
                  <a:lnTo>
                    <a:pt x="238" y="285"/>
                  </a:lnTo>
                  <a:lnTo>
                    <a:pt x="234" y="285"/>
                  </a:lnTo>
                  <a:lnTo>
                    <a:pt x="234" y="283"/>
                  </a:lnTo>
                  <a:lnTo>
                    <a:pt x="236" y="281"/>
                  </a:lnTo>
                  <a:lnTo>
                    <a:pt x="238" y="283"/>
                  </a:lnTo>
                  <a:lnTo>
                    <a:pt x="238" y="281"/>
                  </a:lnTo>
                  <a:lnTo>
                    <a:pt x="240" y="283"/>
                  </a:lnTo>
                  <a:lnTo>
                    <a:pt x="240" y="285"/>
                  </a:lnTo>
                  <a:lnTo>
                    <a:pt x="242" y="287"/>
                  </a:lnTo>
                  <a:lnTo>
                    <a:pt x="244" y="285"/>
                  </a:lnTo>
                  <a:lnTo>
                    <a:pt x="242" y="285"/>
                  </a:lnTo>
                  <a:lnTo>
                    <a:pt x="242" y="283"/>
                  </a:lnTo>
                  <a:lnTo>
                    <a:pt x="242" y="281"/>
                  </a:lnTo>
                  <a:lnTo>
                    <a:pt x="244" y="281"/>
                  </a:lnTo>
                  <a:lnTo>
                    <a:pt x="244" y="283"/>
                  </a:lnTo>
                  <a:lnTo>
                    <a:pt x="246" y="285"/>
                  </a:lnTo>
                  <a:lnTo>
                    <a:pt x="246" y="285"/>
                  </a:lnTo>
                  <a:lnTo>
                    <a:pt x="246" y="287"/>
                  </a:lnTo>
                  <a:lnTo>
                    <a:pt x="248" y="285"/>
                  </a:lnTo>
                  <a:lnTo>
                    <a:pt x="248" y="285"/>
                  </a:lnTo>
                  <a:lnTo>
                    <a:pt x="248" y="285"/>
                  </a:lnTo>
                  <a:lnTo>
                    <a:pt x="248" y="285"/>
                  </a:lnTo>
                  <a:lnTo>
                    <a:pt x="246" y="283"/>
                  </a:lnTo>
                  <a:lnTo>
                    <a:pt x="246" y="283"/>
                  </a:lnTo>
                  <a:lnTo>
                    <a:pt x="246" y="283"/>
                  </a:lnTo>
                  <a:lnTo>
                    <a:pt x="246" y="281"/>
                  </a:lnTo>
                  <a:lnTo>
                    <a:pt x="248" y="281"/>
                  </a:lnTo>
                  <a:lnTo>
                    <a:pt x="248" y="281"/>
                  </a:lnTo>
                  <a:lnTo>
                    <a:pt x="248" y="281"/>
                  </a:lnTo>
                  <a:lnTo>
                    <a:pt x="248" y="283"/>
                  </a:lnTo>
                  <a:lnTo>
                    <a:pt x="248" y="283"/>
                  </a:lnTo>
                  <a:lnTo>
                    <a:pt x="250" y="283"/>
                  </a:lnTo>
                  <a:lnTo>
                    <a:pt x="252" y="285"/>
                  </a:lnTo>
                  <a:lnTo>
                    <a:pt x="252" y="287"/>
                  </a:lnTo>
                  <a:lnTo>
                    <a:pt x="252" y="289"/>
                  </a:lnTo>
                  <a:lnTo>
                    <a:pt x="254" y="291"/>
                  </a:lnTo>
                  <a:lnTo>
                    <a:pt x="256" y="293"/>
                  </a:lnTo>
                  <a:lnTo>
                    <a:pt x="256" y="293"/>
                  </a:lnTo>
                  <a:lnTo>
                    <a:pt x="258" y="291"/>
                  </a:lnTo>
                  <a:lnTo>
                    <a:pt x="258" y="293"/>
                  </a:lnTo>
                  <a:lnTo>
                    <a:pt x="258" y="295"/>
                  </a:lnTo>
                  <a:lnTo>
                    <a:pt x="258" y="295"/>
                  </a:lnTo>
                  <a:lnTo>
                    <a:pt x="260" y="297"/>
                  </a:lnTo>
                  <a:lnTo>
                    <a:pt x="260" y="295"/>
                  </a:lnTo>
                  <a:lnTo>
                    <a:pt x="260" y="291"/>
                  </a:lnTo>
                  <a:lnTo>
                    <a:pt x="260" y="289"/>
                  </a:lnTo>
                  <a:lnTo>
                    <a:pt x="260" y="289"/>
                  </a:lnTo>
                  <a:lnTo>
                    <a:pt x="260" y="289"/>
                  </a:lnTo>
                  <a:lnTo>
                    <a:pt x="262" y="289"/>
                  </a:lnTo>
                  <a:lnTo>
                    <a:pt x="262" y="289"/>
                  </a:lnTo>
                  <a:lnTo>
                    <a:pt x="262" y="289"/>
                  </a:lnTo>
                  <a:lnTo>
                    <a:pt x="262" y="289"/>
                  </a:lnTo>
                  <a:lnTo>
                    <a:pt x="264" y="289"/>
                  </a:lnTo>
                  <a:lnTo>
                    <a:pt x="264" y="289"/>
                  </a:lnTo>
                  <a:lnTo>
                    <a:pt x="264" y="287"/>
                  </a:lnTo>
                  <a:lnTo>
                    <a:pt x="264" y="287"/>
                  </a:lnTo>
                  <a:lnTo>
                    <a:pt x="264" y="287"/>
                  </a:lnTo>
                  <a:lnTo>
                    <a:pt x="262" y="287"/>
                  </a:lnTo>
                  <a:lnTo>
                    <a:pt x="262" y="283"/>
                  </a:lnTo>
                  <a:lnTo>
                    <a:pt x="262" y="283"/>
                  </a:lnTo>
                  <a:lnTo>
                    <a:pt x="258" y="283"/>
                  </a:lnTo>
                  <a:lnTo>
                    <a:pt x="258" y="281"/>
                  </a:lnTo>
                  <a:lnTo>
                    <a:pt x="258" y="281"/>
                  </a:lnTo>
                  <a:lnTo>
                    <a:pt x="260" y="281"/>
                  </a:lnTo>
                  <a:lnTo>
                    <a:pt x="260" y="281"/>
                  </a:lnTo>
                  <a:lnTo>
                    <a:pt x="260" y="281"/>
                  </a:lnTo>
                  <a:lnTo>
                    <a:pt x="260" y="279"/>
                  </a:lnTo>
                  <a:lnTo>
                    <a:pt x="260" y="279"/>
                  </a:lnTo>
                  <a:lnTo>
                    <a:pt x="260" y="277"/>
                  </a:lnTo>
                  <a:lnTo>
                    <a:pt x="260" y="277"/>
                  </a:lnTo>
                  <a:lnTo>
                    <a:pt x="264" y="283"/>
                  </a:lnTo>
                  <a:lnTo>
                    <a:pt x="264" y="285"/>
                  </a:lnTo>
                  <a:lnTo>
                    <a:pt x="264" y="285"/>
                  </a:lnTo>
                  <a:lnTo>
                    <a:pt x="264" y="285"/>
                  </a:lnTo>
                  <a:lnTo>
                    <a:pt x="264" y="285"/>
                  </a:lnTo>
                  <a:lnTo>
                    <a:pt x="267" y="285"/>
                  </a:lnTo>
                  <a:lnTo>
                    <a:pt x="267" y="285"/>
                  </a:lnTo>
                  <a:lnTo>
                    <a:pt x="267" y="283"/>
                  </a:lnTo>
                  <a:lnTo>
                    <a:pt x="264" y="281"/>
                  </a:lnTo>
                  <a:lnTo>
                    <a:pt x="264" y="279"/>
                  </a:lnTo>
                  <a:lnTo>
                    <a:pt x="267" y="279"/>
                  </a:lnTo>
                  <a:lnTo>
                    <a:pt x="267" y="277"/>
                  </a:lnTo>
                  <a:lnTo>
                    <a:pt x="267" y="279"/>
                  </a:lnTo>
                  <a:lnTo>
                    <a:pt x="267" y="283"/>
                  </a:lnTo>
                  <a:lnTo>
                    <a:pt x="267" y="285"/>
                  </a:lnTo>
                  <a:lnTo>
                    <a:pt x="269" y="287"/>
                  </a:lnTo>
                  <a:lnTo>
                    <a:pt x="269" y="283"/>
                  </a:lnTo>
                  <a:lnTo>
                    <a:pt x="269" y="279"/>
                  </a:lnTo>
                  <a:lnTo>
                    <a:pt x="269" y="277"/>
                  </a:lnTo>
                  <a:lnTo>
                    <a:pt x="269" y="277"/>
                  </a:lnTo>
                  <a:lnTo>
                    <a:pt x="271" y="277"/>
                  </a:lnTo>
                  <a:lnTo>
                    <a:pt x="271" y="277"/>
                  </a:lnTo>
                  <a:lnTo>
                    <a:pt x="271" y="275"/>
                  </a:lnTo>
                  <a:lnTo>
                    <a:pt x="271" y="275"/>
                  </a:lnTo>
                  <a:lnTo>
                    <a:pt x="269" y="273"/>
                  </a:lnTo>
                  <a:lnTo>
                    <a:pt x="267" y="271"/>
                  </a:lnTo>
                  <a:lnTo>
                    <a:pt x="267" y="271"/>
                  </a:lnTo>
                  <a:lnTo>
                    <a:pt x="269" y="271"/>
                  </a:lnTo>
                  <a:lnTo>
                    <a:pt x="269" y="269"/>
                  </a:lnTo>
                  <a:lnTo>
                    <a:pt x="269" y="266"/>
                  </a:lnTo>
                  <a:lnTo>
                    <a:pt x="269" y="266"/>
                  </a:lnTo>
                  <a:lnTo>
                    <a:pt x="271" y="264"/>
                  </a:lnTo>
                  <a:lnTo>
                    <a:pt x="271" y="266"/>
                  </a:lnTo>
                  <a:lnTo>
                    <a:pt x="271" y="264"/>
                  </a:lnTo>
                  <a:lnTo>
                    <a:pt x="273" y="262"/>
                  </a:lnTo>
                  <a:lnTo>
                    <a:pt x="273" y="262"/>
                  </a:lnTo>
                  <a:lnTo>
                    <a:pt x="273" y="264"/>
                  </a:lnTo>
                  <a:lnTo>
                    <a:pt x="273" y="266"/>
                  </a:lnTo>
                  <a:lnTo>
                    <a:pt x="273" y="269"/>
                  </a:lnTo>
                  <a:lnTo>
                    <a:pt x="273" y="269"/>
                  </a:lnTo>
                  <a:lnTo>
                    <a:pt x="275" y="271"/>
                  </a:lnTo>
                  <a:lnTo>
                    <a:pt x="275" y="271"/>
                  </a:lnTo>
                  <a:lnTo>
                    <a:pt x="275" y="269"/>
                  </a:lnTo>
                  <a:lnTo>
                    <a:pt x="275" y="269"/>
                  </a:lnTo>
                  <a:lnTo>
                    <a:pt x="275" y="262"/>
                  </a:lnTo>
                  <a:lnTo>
                    <a:pt x="275" y="262"/>
                  </a:lnTo>
                  <a:lnTo>
                    <a:pt x="277" y="262"/>
                  </a:lnTo>
                  <a:lnTo>
                    <a:pt x="277" y="269"/>
                  </a:lnTo>
                  <a:lnTo>
                    <a:pt x="277" y="271"/>
                  </a:lnTo>
                  <a:lnTo>
                    <a:pt x="279" y="271"/>
                  </a:lnTo>
                  <a:lnTo>
                    <a:pt x="279" y="271"/>
                  </a:lnTo>
                  <a:lnTo>
                    <a:pt x="281" y="271"/>
                  </a:lnTo>
                  <a:lnTo>
                    <a:pt x="281" y="266"/>
                  </a:lnTo>
                  <a:lnTo>
                    <a:pt x="283" y="264"/>
                  </a:lnTo>
                  <a:lnTo>
                    <a:pt x="283" y="264"/>
                  </a:lnTo>
                  <a:lnTo>
                    <a:pt x="283" y="262"/>
                  </a:lnTo>
                  <a:lnTo>
                    <a:pt x="285" y="262"/>
                  </a:lnTo>
                  <a:lnTo>
                    <a:pt x="285" y="264"/>
                  </a:lnTo>
                  <a:lnTo>
                    <a:pt x="285" y="264"/>
                  </a:lnTo>
                  <a:lnTo>
                    <a:pt x="285" y="266"/>
                  </a:lnTo>
                  <a:lnTo>
                    <a:pt x="285" y="266"/>
                  </a:lnTo>
                  <a:lnTo>
                    <a:pt x="285" y="266"/>
                  </a:lnTo>
                  <a:lnTo>
                    <a:pt x="287" y="266"/>
                  </a:lnTo>
                  <a:lnTo>
                    <a:pt x="287" y="266"/>
                  </a:lnTo>
                  <a:lnTo>
                    <a:pt x="287" y="266"/>
                  </a:lnTo>
                  <a:lnTo>
                    <a:pt x="289" y="266"/>
                  </a:lnTo>
                  <a:lnTo>
                    <a:pt x="289" y="266"/>
                  </a:lnTo>
                  <a:lnTo>
                    <a:pt x="289" y="264"/>
                  </a:lnTo>
                  <a:lnTo>
                    <a:pt x="289" y="264"/>
                  </a:lnTo>
                  <a:lnTo>
                    <a:pt x="291" y="264"/>
                  </a:lnTo>
                  <a:lnTo>
                    <a:pt x="291" y="264"/>
                  </a:lnTo>
                  <a:lnTo>
                    <a:pt x="289" y="262"/>
                  </a:lnTo>
                  <a:lnTo>
                    <a:pt x="289" y="262"/>
                  </a:lnTo>
                  <a:lnTo>
                    <a:pt x="289" y="260"/>
                  </a:lnTo>
                  <a:lnTo>
                    <a:pt x="289" y="260"/>
                  </a:lnTo>
                  <a:lnTo>
                    <a:pt x="289" y="256"/>
                  </a:lnTo>
                  <a:lnTo>
                    <a:pt x="287" y="256"/>
                  </a:lnTo>
                  <a:lnTo>
                    <a:pt x="287" y="256"/>
                  </a:lnTo>
                  <a:lnTo>
                    <a:pt x="289" y="254"/>
                  </a:lnTo>
                  <a:lnTo>
                    <a:pt x="289" y="252"/>
                  </a:lnTo>
                  <a:lnTo>
                    <a:pt x="291" y="254"/>
                  </a:lnTo>
                  <a:lnTo>
                    <a:pt x="291" y="254"/>
                  </a:lnTo>
                  <a:lnTo>
                    <a:pt x="291" y="254"/>
                  </a:lnTo>
                  <a:lnTo>
                    <a:pt x="293" y="254"/>
                  </a:lnTo>
                  <a:lnTo>
                    <a:pt x="293" y="254"/>
                  </a:lnTo>
                  <a:lnTo>
                    <a:pt x="293" y="256"/>
                  </a:lnTo>
                  <a:lnTo>
                    <a:pt x="295" y="256"/>
                  </a:lnTo>
                  <a:lnTo>
                    <a:pt x="295" y="256"/>
                  </a:lnTo>
                  <a:lnTo>
                    <a:pt x="297" y="254"/>
                  </a:lnTo>
                  <a:lnTo>
                    <a:pt x="299" y="254"/>
                  </a:lnTo>
                  <a:lnTo>
                    <a:pt x="297" y="254"/>
                  </a:lnTo>
                  <a:lnTo>
                    <a:pt x="297" y="252"/>
                  </a:lnTo>
                  <a:lnTo>
                    <a:pt x="295" y="250"/>
                  </a:lnTo>
                  <a:lnTo>
                    <a:pt x="295" y="248"/>
                  </a:lnTo>
                  <a:lnTo>
                    <a:pt x="297" y="248"/>
                  </a:lnTo>
                  <a:lnTo>
                    <a:pt x="299" y="250"/>
                  </a:lnTo>
                  <a:lnTo>
                    <a:pt x="299" y="254"/>
                  </a:lnTo>
                  <a:lnTo>
                    <a:pt x="301" y="254"/>
                  </a:lnTo>
                  <a:lnTo>
                    <a:pt x="301" y="254"/>
                  </a:lnTo>
                  <a:lnTo>
                    <a:pt x="301" y="252"/>
                  </a:lnTo>
                  <a:lnTo>
                    <a:pt x="301" y="252"/>
                  </a:lnTo>
                  <a:lnTo>
                    <a:pt x="303" y="252"/>
                  </a:lnTo>
                  <a:lnTo>
                    <a:pt x="303" y="252"/>
                  </a:lnTo>
                  <a:lnTo>
                    <a:pt x="303" y="250"/>
                  </a:lnTo>
                  <a:lnTo>
                    <a:pt x="301" y="250"/>
                  </a:lnTo>
                  <a:lnTo>
                    <a:pt x="301" y="248"/>
                  </a:lnTo>
                  <a:lnTo>
                    <a:pt x="301" y="246"/>
                  </a:lnTo>
                  <a:lnTo>
                    <a:pt x="299" y="246"/>
                  </a:lnTo>
                  <a:lnTo>
                    <a:pt x="299" y="244"/>
                  </a:lnTo>
                  <a:lnTo>
                    <a:pt x="299" y="244"/>
                  </a:lnTo>
                  <a:lnTo>
                    <a:pt x="301" y="244"/>
                  </a:lnTo>
                  <a:lnTo>
                    <a:pt x="301" y="244"/>
                  </a:lnTo>
                  <a:lnTo>
                    <a:pt x="303" y="244"/>
                  </a:lnTo>
                  <a:lnTo>
                    <a:pt x="301" y="244"/>
                  </a:lnTo>
                  <a:lnTo>
                    <a:pt x="303" y="242"/>
                  </a:lnTo>
                  <a:lnTo>
                    <a:pt x="305" y="242"/>
                  </a:lnTo>
                  <a:lnTo>
                    <a:pt x="305" y="244"/>
                  </a:lnTo>
                  <a:lnTo>
                    <a:pt x="305" y="246"/>
                  </a:lnTo>
                  <a:lnTo>
                    <a:pt x="305" y="246"/>
                  </a:lnTo>
                  <a:lnTo>
                    <a:pt x="307" y="248"/>
                  </a:lnTo>
                  <a:lnTo>
                    <a:pt x="307" y="248"/>
                  </a:lnTo>
                  <a:lnTo>
                    <a:pt x="310" y="248"/>
                  </a:lnTo>
                  <a:lnTo>
                    <a:pt x="312" y="248"/>
                  </a:lnTo>
                  <a:lnTo>
                    <a:pt x="310" y="246"/>
                  </a:lnTo>
                  <a:lnTo>
                    <a:pt x="310" y="246"/>
                  </a:lnTo>
                  <a:lnTo>
                    <a:pt x="310" y="246"/>
                  </a:lnTo>
                  <a:lnTo>
                    <a:pt x="312" y="244"/>
                  </a:lnTo>
                  <a:lnTo>
                    <a:pt x="312" y="246"/>
                  </a:lnTo>
                  <a:lnTo>
                    <a:pt x="314" y="246"/>
                  </a:lnTo>
                  <a:lnTo>
                    <a:pt x="314" y="246"/>
                  </a:lnTo>
                  <a:lnTo>
                    <a:pt x="316" y="246"/>
                  </a:lnTo>
                  <a:lnTo>
                    <a:pt x="316" y="244"/>
                  </a:lnTo>
                  <a:lnTo>
                    <a:pt x="314" y="244"/>
                  </a:lnTo>
                  <a:lnTo>
                    <a:pt x="316" y="244"/>
                  </a:lnTo>
                  <a:lnTo>
                    <a:pt x="316" y="242"/>
                  </a:lnTo>
                  <a:lnTo>
                    <a:pt x="318" y="242"/>
                  </a:lnTo>
                  <a:lnTo>
                    <a:pt x="320" y="236"/>
                  </a:lnTo>
                  <a:lnTo>
                    <a:pt x="320" y="234"/>
                  </a:lnTo>
                  <a:lnTo>
                    <a:pt x="320" y="232"/>
                  </a:lnTo>
                  <a:lnTo>
                    <a:pt x="322" y="234"/>
                  </a:lnTo>
                  <a:lnTo>
                    <a:pt x="322" y="232"/>
                  </a:lnTo>
                  <a:lnTo>
                    <a:pt x="322" y="230"/>
                  </a:lnTo>
                  <a:lnTo>
                    <a:pt x="322" y="230"/>
                  </a:lnTo>
                  <a:lnTo>
                    <a:pt x="322" y="230"/>
                  </a:lnTo>
                  <a:lnTo>
                    <a:pt x="324" y="230"/>
                  </a:lnTo>
                  <a:lnTo>
                    <a:pt x="324" y="230"/>
                  </a:lnTo>
                  <a:lnTo>
                    <a:pt x="326" y="228"/>
                  </a:lnTo>
                  <a:lnTo>
                    <a:pt x="326" y="223"/>
                  </a:lnTo>
                  <a:lnTo>
                    <a:pt x="328" y="223"/>
                  </a:lnTo>
                  <a:lnTo>
                    <a:pt x="326" y="223"/>
                  </a:lnTo>
                  <a:close/>
                </a:path>
              </a:pathLst>
            </a:custGeom>
            <a:solidFill>
              <a:schemeClr val="accent1"/>
            </a:solidFill>
            <a:ln w="3175" cap="rnd">
              <a:solidFill>
                <a:schemeClr val="bg1"/>
              </a:solidFill>
              <a:prstDash val="solid"/>
              <a:round/>
              <a:headEnd/>
              <a:tailEnd/>
            </a:ln>
          </p:spPr>
          <p:txBody>
            <a:bodyPr vert="horz" wrap="square" lIns="0" tIns="0" rIns="48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E</a:t>
              </a:r>
            </a:p>
          </p:txBody>
        </p:sp>
        <p:sp>
          <p:nvSpPr>
            <p:cNvPr id="272" name="Freeform 35">
              <a:extLst>
                <a:ext uri="{FF2B5EF4-FFF2-40B4-BE49-F238E27FC236}">
                  <a16:creationId xmlns:a16="http://schemas.microsoft.com/office/drawing/2014/main" id="{A5DAB28F-3996-E44B-7CEF-C759F053C94F}"/>
                </a:ext>
              </a:extLst>
            </p:cNvPr>
            <p:cNvSpPr>
              <a:spLocks noEditPoints="1"/>
            </p:cNvSpPr>
            <p:nvPr/>
          </p:nvSpPr>
          <p:spPr bwMode="auto">
            <a:xfrm>
              <a:off x="4447" y="930"/>
              <a:ext cx="395" cy="189"/>
            </a:xfrm>
            <a:custGeom>
              <a:avLst/>
              <a:gdLst>
                <a:gd name="T0" fmla="*/ 323 w 395"/>
                <a:gd name="T1" fmla="*/ 181 h 189"/>
                <a:gd name="T2" fmla="*/ 389 w 395"/>
                <a:gd name="T3" fmla="*/ 162 h 189"/>
                <a:gd name="T4" fmla="*/ 395 w 395"/>
                <a:gd name="T5" fmla="*/ 128 h 189"/>
                <a:gd name="T6" fmla="*/ 389 w 395"/>
                <a:gd name="T7" fmla="*/ 128 h 189"/>
                <a:gd name="T8" fmla="*/ 385 w 395"/>
                <a:gd name="T9" fmla="*/ 121 h 189"/>
                <a:gd name="T10" fmla="*/ 317 w 395"/>
                <a:gd name="T11" fmla="*/ 46 h 189"/>
                <a:gd name="T12" fmla="*/ 190 w 395"/>
                <a:gd name="T13" fmla="*/ 25 h 189"/>
                <a:gd name="T14" fmla="*/ 18 w 395"/>
                <a:gd name="T15" fmla="*/ 58 h 189"/>
                <a:gd name="T16" fmla="*/ 30 w 395"/>
                <a:gd name="T17" fmla="*/ 93 h 189"/>
                <a:gd name="T18" fmla="*/ 45 w 395"/>
                <a:gd name="T19" fmla="*/ 82 h 189"/>
                <a:gd name="T20" fmla="*/ 57 w 395"/>
                <a:gd name="T21" fmla="*/ 68 h 189"/>
                <a:gd name="T22" fmla="*/ 63 w 395"/>
                <a:gd name="T23" fmla="*/ 62 h 189"/>
                <a:gd name="T24" fmla="*/ 78 w 395"/>
                <a:gd name="T25" fmla="*/ 68 h 189"/>
                <a:gd name="T26" fmla="*/ 96 w 395"/>
                <a:gd name="T27" fmla="*/ 52 h 189"/>
                <a:gd name="T28" fmla="*/ 133 w 395"/>
                <a:gd name="T29" fmla="*/ 50 h 189"/>
                <a:gd name="T30" fmla="*/ 141 w 395"/>
                <a:gd name="T31" fmla="*/ 56 h 189"/>
                <a:gd name="T32" fmla="*/ 149 w 395"/>
                <a:gd name="T33" fmla="*/ 72 h 189"/>
                <a:gd name="T34" fmla="*/ 174 w 395"/>
                <a:gd name="T35" fmla="*/ 91 h 189"/>
                <a:gd name="T36" fmla="*/ 217 w 395"/>
                <a:gd name="T37" fmla="*/ 97 h 189"/>
                <a:gd name="T38" fmla="*/ 219 w 395"/>
                <a:gd name="T39" fmla="*/ 138 h 189"/>
                <a:gd name="T40" fmla="*/ 211 w 395"/>
                <a:gd name="T41" fmla="*/ 152 h 189"/>
                <a:gd name="T42" fmla="*/ 223 w 395"/>
                <a:gd name="T43" fmla="*/ 154 h 189"/>
                <a:gd name="T44" fmla="*/ 231 w 395"/>
                <a:gd name="T45" fmla="*/ 156 h 189"/>
                <a:gd name="T46" fmla="*/ 258 w 395"/>
                <a:gd name="T47" fmla="*/ 173 h 189"/>
                <a:gd name="T48" fmla="*/ 284 w 395"/>
                <a:gd name="T49" fmla="*/ 175 h 189"/>
                <a:gd name="T50" fmla="*/ 295 w 395"/>
                <a:gd name="T51" fmla="*/ 173 h 189"/>
                <a:gd name="T52" fmla="*/ 264 w 395"/>
                <a:gd name="T53" fmla="*/ 150 h 189"/>
                <a:gd name="T54" fmla="*/ 270 w 395"/>
                <a:gd name="T55" fmla="*/ 150 h 189"/>
                <a:gd name="T56" fmla="*/ 270 w 395"/>
                <a:gd name="T57" fmla="*/ 134 h 189"/>
                <a:gd name="T58" fmla="*/ 262 w 395"/>
                <a:gd name="T59" fmla="*/ 101 h 189"/>
                <a:gd name="T60" fmla="*/ 262 w 395"/>
                <a:gd name="T61" fmla="*/ 89 h 189"/>
                <a:gd name="T62" fmla="*/ 270 w 395"/>
                <a:gd name="T63" fmla="*/ 84 h 189"/>
                <a:gd name="T64" fmla="*/ 264 w 395"/>
                <a:gd name="T65" fmla="*/ 72 h 189"/>
                <a:gd name="T66" fmla="*/ 248 w 395"/>
                <a:gd name="T67" fmla="*/ 62 h 189"/>
                <a:gd name="T68" fmla="*/ 258 w 395"/>
                <a:gd name="T69" fmla="*/ 58 h 189"/>
                <a:gd name="T70" fmla="*/ 268 w 395"/>
                <a:gd name="T71" fmla="*/ 48 h 189"/>
                <a:gd name="T72" fmla="*/ 272 w 395"/>
                <a:gd name="T73" fmla="*/ 33 h 189"/>
                <a:gd name="T74" fmla="*/ 284 w 395"/>
                <a:gd name="T75" fmla="*/ 21 h 189"/>
                <a:gd name="T76" fmla="*/ 303 w 395"/>
                <a:gd name="T77" fmla="*/ 15 h 189"/>
                <a:gd name="T78" fmla="*/ 307 w 395"/>
                <a:gd name="T79" fmla="*/ 35 h 189"/>
                <a:gd name="T80" fmla="*/ 278 w 395"/>
                <a:gd name="T81" fmla="*/ 66 h 189"/>
                <a:gd name="T82" fmla="*/ 293 w 395"/>
                <a:gd name="T83" fmla="*/ 66 h 189"/>
                <a:gd name="T84" fmla="*/ 278 w 395"/>
                <a:gd name="T85" fmla="*/ 82 h 189"/>
                <a:gd name="T86" fmla="*/ 278 w 395"/>
                <a:gd name="T87" fmla="*/ 93 h 189"/>
                <a:gd name="T88" fmla="*/ 293 w 395"/>
                <a:gd name="T89" fmla="*/ 91 h 189"/>
                <a:gd name="T90" fmla="*/ 293 w 395"/>
                <a:gd name="T91" fmla="*/ 105 h 189"/>
                <a:gd name="T92" fmla="*/ 282 w 395"/>
                <a:gd name="T93" fmla="*/ 117 h 189"/>
                <a:gd name="T94" fmla="*/ 293 w 395"/>
                <a:gd name="T95" fmla="*/ 115 h 189"/>
                <a:gd name="T96" fmla="*/ 299 w 395"/>
                <a:gd name="T97" fmla="*/ 119 h 189"/>
                <a:gd name="T98" fmla="*/ 311 w 395"/>
                <a:gd name="T99" fmla="*/ 123 h 189"/>
                <a:gd name="T100" fmla="*/ 288 w 395"/>
                <a:gd name="T101" fmla="*/ 130 h 189"/>
                <a:gd name="T102" fmla="*/ 293 w 395"/>
                <a:gd name="T103" fmla="*/ 134 h 189"/>
                <a:gd name="T104" fmla="*/ 299 w 395"/>
                <a:gd name="T105" fmla="*/ 152 h 189"/>
                <a:gd name="T106" fmla="*/ 317 w 395"/>
                <a:gd name="T107" fmla="*/ 152 h 189"/>
                <a:gd name="T108" fmla="*/ 323 w 395"/>
                <a:gd name="T109" fmla="*/ 150 h 189"/>
                <a:gd name="T110" fmla="*/ 336 w 395"/>
                <a:gd name="T111" fmla="*/ 156 h 189"/>
                <a:gd name="T112" fmla="*/ 342 w 395"/>
                <a:gd name="T113" fmla="*/ 164 h 189"/>
                <a:gd name="T114" fmla="*/ 342 w 395"/>
                <a:gd name="T115" fmla="*/ 169 h 189"/>
                <a:gd name="T116" fmla="*/ 338 w 395"/>
                <a:gd name="T117" fmla="*/ 183 h 189"/>
                <a:gd name="T118" fmla="*/ 356 w 395"/>
                <a:gd name="T119" fmla="*/ 181 h 189"/>
                <a:gd name="T120" fmla="*/ 383 w 395"/>
                <a:gd name="T121" fmla="*/ 15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5" h="189">
                  <a:moveTo>
                    <a:pt x="323" y="181"/>
                  </a:moveTo>
                  <a:lnTo>
                    <a:pt x="323" y="179"/>
                  </a:lnTo>
                  <a:lnTo>
                    <a:pt x="321" y="179"/>
                  </a:lnTo>
                  <a:lnTo>
                    <a:pt x="321" y="179"/>
                  </a:lnTo>
                  <a:lnTo>
                    <a:pt x="321" y="181"/>
                  </a:lnTo>
                  <a:lnTo>
                    <a:pt x="321" y="183"/>
                  </a:lnTo>
                  <a:lnTo>
                    <a:pt x="325" y="183"/>
                  </a:lnTo>
                  <a:lnTo>
                    <a:pt x="325" y="183"/>
                  </a:lnTo>
                  <a:lnTo>
                    <a:pt x="325" y="185"/>
                  </a:lnTo>
                  <a:lnTo>
                    <a:pt x="321" y="185"/>
                  </a:lnTo>
                  <a:lnTo>
                    <a:pt x="321" y="185"/>
                  </a:lnTo>
                  <a:lnTo>
                    <a:pt x="323" y="187"/>
                  </a:lnTo>
                  <a:lnTo>
                    <a:pt x="325" y="187"/>
                  </a:lnTo>
                  <a:lnTo>
                    <a:pt x="325" y="187"/>
                  </a:lnTo>
                  <a:lnTo>
                    <a:pt x="325" y="185"/>
                  </a:lnTo>
                  <a:lnTo>
                    <a:pt x="327" y="183"/>
                  </a:lnTo>
                  <a:lnTo>
                    <a:pt x="325" y="181"/>
                  </a:lnTo>
                  <a:lnTo>
                    <a:pt x="323" y="181"/>
                  </a:lnTo>
                  <a:close/>
                  <a:moveTo>
                    <a:pt x="319" y="164"/>
                  </a:moveTo>
                  <a:lnTo>
                    <a:pt x="319" y="162"/>
                  </a:lnTo>
                  <a:lnTo>
                    <a:pt x="317" y="162"/>
                  </a:lnTo>
                  <a:lnTo>
                    <a:pt x="315" y="162"/>
                  </a:lnTo>
                  <a:lnTo>
                    <a:pt x="315" y="164"/>
                  </a:lnTo>
                  <a:lnTo>
                    <a:pt x="315" y="166"/>
                  </a:lnTo>
                  <a:lnTo>
                    <a:pt x="317" y="166"/>
                  </a:lnTo>
                  <a:lnTo>
                    <a:pt x="319" y="166"/>
                  </a:lnTo>
                  <a:lnTo>
                    <a:pt x="321" y="166"/>
                  </a:lnTo>
                  <a:lnTo>
                    <a:pt x="321" y="164"/>
                  </a:lnTo>
                  <a:lnTo>
                    <a:pt x="319" y="164"/>
                  </a:lnTo>
                  <a:close/>
                  <a:moveTo>
                    <a:pt x="393" y="138"/>
                  </a:moveTo>
                  <a:lnTo>
                    <a:pt x="391" y="146"/>
                  </a:lnTo>
                  <a:lnTo>
                    <a:pt x="391" y="150"/>
                  </a:lnTo>
                  <a:lnTo>
                    <a:pt x="391" y="154"/>
                  </a:lnTo>
                  <a:lnTo>
                    <a:pt x="391" y="156"/>
                  </a:lnTo>
                  <a:lnTo>
                    <a:pt x="391" y="158"/>
                  </a:lnTo>
                  <a:lnTo>
                    <a:pt x="389" y="162"/>
                  </a:lnTo>
                  <a:lnTo>
                    <a:pt x="387" y="166"/>
                  </a:lnTo>
                  <a:lnTo>
                    <a:pt x="389" y="166"/>
                  </a:lnTo>
                  <a:lnTo>
                    <a:pt x="389" y="164"/>
                  </a:lnTo>
                  <a:lnTo>
                    <a:pt x="389" y="164"/>
                  </a:lnTo>
                  <a:lnTo>
                    <a:pt x="391" y="160"/>
                  </a:lnTo>
                  <a:lnTo>
                    <a:pt x="393" y="150"/>
                  </a:lnTo>
                  <a:lnTo>
                    <a:pt x="393" y="144"/>
                  </a:lnTo>
                  <a:lnTo>
                    <a:pt x="395" y="138"/>
                  </a:lnTo>
                  <a:lnTo>
                    <a:pt x="395" y="136"/>
                  </a:lnTo>
                  <a:lnTo>
                    <a:pt x="393" y="136"/>
                  </a:lnTo>
                  <a:lnTo>
                    <a:pt x="393" y="138"/>
                  </a:lnTo>
                  <a:close/>
                  <a:moveTo>
                    <a:pt x="395" y="121"/>
                  </a:moveTo>
                  <a:lnTo>
                    <a:pt x="395" y="119"/>
                  </a:lnTo>
                  <a:lnTo>
                    <a:pt x="395" y="119"/>
                  </a:lnTo>
                  <a:lnTo>
                    <a:pt x="393" y="119"/>
                  </a:lnTo>
                  <a:lnTo>
                    <a:pt x="393" y="119"/>
                  </a:lnTo>
                  <a:lnTo>
                    <a:pt x="395" y="121"/>
                  </a:lnTo>
                  <a:lnTo>
                    <a:pt x="395" y="128"/>
                  </a:lnTo>
                  <a:lnTo>
                    <a:pt x="395" y="132"/>
                  </a:lnTo>
                  <a:lnTo>
                    <a:pt x="395" y="130"/>
                  </a:lnTo>
                  <a:lnTo>
                    <a:pt x="395" y="125"/>
                  </a:lnTo>
                  <a:lnTo>
                    <a:pt x="395" y="121"/>
                  </a:lnTo>
                  <a:close/>
                  <a:moveTo>
                    <a:pt x="391" y="142"/>
                  </a:moveTo>
                  <a:lnTo>
                    <a:pt x="391" y="138"/>
                  </a:lnTo>
                  <a:lnTo>
                    <a:pt x="393" y="136"/>
                  </a:lnTo>
                  <a:lnTo>
                    <a:pt x="393" y="134"/>
                  </a:lnTo>
                  <a:lnTo>
                    <a:pt x="393" y="132"/>
                  </a:lnTo>
                  <a:lnTo>
                    <a:pt x="393" y="130"/>
                  </a:lnTo>
                  <a:lnTo>
                    <a:pt x="393" y="130"/>
                  </a:lnTo>
                  <a:lnTo>
                    <a:pt x="391" y="130"/>
                  </a:lnTo>
                  <a:lnTo>
                    <a:pt x="391" y="130"/>
                  </a:lnTo>
                  <a:lnTo>
                    <a:pt x="389" y="130"/>
                  </a:lnTo>
                  <a:lnTo>
                    <a:pt x="389" y="130"/>
                  </a:lnTo>
                  <a:lnTo>
                    <a:pt x="389" y="130"/>
                  </a:lnTo>
                  <a:lnTo>
                    <a:pt x="391" y="128"/>
                  </a:lnTo>
                  <a:lnTo>
                    <a:pt x="389" y="128"/>
                  </a:lnTo>
                  <a:lnTo>
                    <a:pt x="389" y="128"/>
                  </a:lnTo>
                  <a:lnTo>
                    <a:pt x="389" y="128"/>
                  </a:lnTo>
                  <a:lnTo>
                    <a:pt x="389" y="125"/>
                  </a:lnTo>
                  <a:lnTo>
                    <a:pt x="389" y="125"/>
                  </a:lnTo>
                  <a:lnTo>
                    <a:pt x="385" y="125"/>
                  </a:lnTo>
                  <a:lnTo>
                    <a:pt x="385" y="123"/>
                  </a:lnTo>
                  <a:lnTo>
                    <a:pt x="387" y="123"/>
                  </a:lnTo>
                  <a:lnTo>
                    <a:pt x="389" y="123"/>
                  </a:lnTo>
                  <a:lnTo>
                    <a:pt x="391" y="123"/>
                  </a:lnTo>
                  <a:lnTo>
                    <a:pt x="391" y="123"/>
                  </a:lnTo>
                  <a:lnTo>
                    <a:pt x="391" y="123"/>
                  </a:lnTo>
                  <a:lnTo>
                    <a:pt x="389" y="121"/>
                  </a:lnTo>
                  <a:lnTo>
                    <a:pt x="391" y="121"/>
                  </a:lnTo>
                  <a:lnTo>
                    <a:pt x="391" y="121"/>
                  </a:lnTo>
                  <a:lnTo>
                    <a:pt x="391" y="119"/>
                  </a:lnTo>
                  <a:lnTo>
                    <a:pt x="391" y="119"/>
                  </a:lnTo>
                  <a:lnTo>
                    <a:pt x="389" y="119"/>
                  </a:lnTo>
                  <a:lnTo>
                    <a:pt x="385" y="121"/>
                  </a:lnTo>
                  <a:lnTo>
                    <a:pt x="379" y="121"/>
                  </a:lnTo>
                  <a:lnTo>
                    <a:pt x="372" y="123"/>
                  </a:lnTo>
                  <a:lnTo>
                    <a:pt x="366" y="125"/>
                  </a:lnTo>
                  <a:lnTo>
                    <a:pt x="360" y="125"/>
                  </a:lnTo>
                  <a:lnTo>
                    <a:pt x="352" y="128"/>
                  </a:lnTo>
                  <a:lnTo>
                    <a:pt x="346" y="130"/>
                  </a:lnTo>
                  <a:lnTo>
                    <a:pt x="340" y="132"/>
                  </a:lnTo>
                  <a:lnTo>
                    <a:pt x="338" y="125"/>
                  </a:lnTo>
                  <a:lnTo>
                    <a:pt x="338" y="121"/>
                  </a:lnTo>
                  <a:lnTo>
                    <a:pt x="336" y="113"/>
                  </a:lnTo>
                  <a:lnTo>
                    <a:pt x="334" y="105"/>
                  </a:lnTo>
                  <a:lnTo>
                    <a:pt x="331" y="99"/>
                  </a:lnTo>
                  <a:lnTo>
                    <a:pt x="329" y="91"/>
                  </a:lnTo>
                  <a:lnTo>
                    <a:pt x="327" y="82"/>
                  </a:lnTo>
                  <a:lnTo>
                    <a:pt x="325" y="76"/>
                  </a:lnTo>
                  <a:lnTo>
                    <a:pt x="321" y="60"/>
                  </a:lnTo>
                  <a:lnTo>
                    <a:pt x="319" y="54"/>
                  </a:lnTo>
                  <a:lnTo>
                    <a:pt x="317" y="46"/>
                  </a:lnTo>
                  <a:lnTo>
                    <a:pt x="315" y="37"/>
                  </a:lnTo>
                  <a:lnTo>
                    <a:pt x="311" y="29"/>
                  </a:lnTo>
                  <a:lnTo>
                    <a:pt x="309" y="23"/>
                  </a:lnTo>
                  <a:lnTo>
                    <a:pt x="307" y="15"/>
                  </a:lnTo>
                  <a:lnTo>
                    <a:pt x="305" y="7"/>
                  </a:lnTo>
                  <a:lnTo>
                    <a:pt x="303" y="0"/>
                  </a:lnTo>
                  <a:lnTo>
                    <a:pt x="295" y="3"/>
                  </a:lnTo>
                  <a:lnTo>
                    <a:pt x="284" y="5"/>
                  </a:lnTo>
                  <a:lnTo>
                    <a:pt x="276" y="7"/>
                  </a:lnTo>
                  <a:lnTo>
                    <a:pt x="266" y="9"/>
                  </a:lnTo>
                  <a:lnTo>
                    <a:pt x="256" y="11"/>
                  </a:lnTo>
                  <a:lnTo>
                    <a:pt x="248" y="13"/>
                  </a:lnTo>
                  <a:lnTo>
                    <a:pt x="237" y="15"/>
                  </a:lnTo>
                  <a:lnTo>
                    <a:pt x="227" y="17"/>
                  </a:lnTo>
                  <a:lnTo>
                    <a:pt x="219" y="19"/>
                  </a:lnTo>
                  <a:lnTo>
                    <a:pt x="209" y="21"/>
                  </a:lnTo>
                  <a:lnTo>
                    <a:pt x="200" y="23"/>
                  </a:lnTo>
                  <a:lnTo>
                    <a:pt x="190" y="25"/>
                  </a:lnTo>
                  <a:lnTo>
                    <a:pt x="180" y="27"/>
                  </a:lnTo>
                  <a:lnTo>
                    <a:pt x="172" y="29"/>
                  </a:lnTo>
                  <a:lnTo>
                    <a:pt x="162" y="31"/>
                  </a:lnTo>
                  <a:lnTo>
                    <a:pt x="151" y="33"/>
                  </a:lnTo>
                  <a:lnTo>
                    <a:pt x="143" y="33"/>
                  </a:lnTo>
                  <a:lnTo>
                    <a:pt x="133" y="35"/>
                  </a:lnTo>
                  <a:lnTo>
                    <a:pt x="123" y="37"/>
                  </a:lnTo>
                  <a:lnTo>
                    <a:pt x="114" y="39"/>
                  </a:lnTo>
                  <a:lnTo>
                    <a:pt x="104" y="41"/>
                  </a:lnTo>
                  <a:lnTo>
                    <a:pt x="94" y="43"/>
                  </a:lnTo>
                  <a:lnTo>
                    <a:pt x="86" y="46"/>
                  </a:lnTo>
                  <a:lnTo>
                    <a:pt x="75" y="48"/>
                  </a:lnTo>
                  <a:lnTo>
                    <a:pt x="67" y="50"/>
                  </a:lnTo>
                  <a:lnTo>
                    <a:pt x="57" y="52"/>
                  </a:lnTo>
                  <a:lnTo>
                    <a:pt x="47" y="54"/>
                  </a:lnTo>
                  <a:lnTo>
                    <a:pt x="39" y="56"/>
                  </a:lnTo>
                  <a:lnTo>
                    <a:pt x="28" y="56"/>
                  </a:lnTo>
                  <a:lnTo>
                    <a:pt x="18" y="58"/>
                  </a:lnTo>
                  <a:lnTo>
                    <a:pt x="10" y="60"/>
                  </a:lnTo>
                  <a:lnTo>
                    <a:pt x="0" y="62"/>
                  </a:lnTo>
                  <a:lnTo>
                    <a:pt x="8" y="115"/>
                  </a:lnTo>
                  <a:lnTo>
                    <a:pt x="10" y="117"/>
                  </a:lnTo>
                  <a:lnTo>
                    <a:pt x="10" y="117"/>
                  </a:lnTo>
                  <a:lnTo>
                    <a:pt x="10" y="115"/>
                  </a:lnTo>
                  <a:lnTo>
                    <a:pt x="12" y="115"/>
                  </a:lnTo>
                  <a:lnTo>
                    <a:pt x="18" y="105"/>
                  </a:lnTo>
                  <a:lnTo>
                    <a:pt x="20" y="105"/>
                  </a:lnTo>
                  <a:lnTo>
                    <a:pt x="22" y="103"/>
                  </a:lnTo>
                  <a:lnTo>
                    <a:pt x="24" y="103"/>
                  </a:lnTo>
                  <a:lnTo>
                    <a:pt x="24" y="103"/>
                  </a:lnTo>
                  <a:lnTo>
                    <a:pt x="24" y="101"/>
                  </a:lnTo>
                  <a:lnTo>
                    <a:pt x="24" y="99"/>
                  </a:lnTo>
                  <a:lnTo>
                    <a:pt x="26" y="97"/>
                  </a:lnTo>
                  <a:lnTo>
                    <a:pt x="28" y="95"/>
                  </a:lnTo>
                  <a:lnTo>
                    <a:pt x="30" y="93"/>
                  </a:lnTo>
                  <a:lnTo>
                    <a:pt x="30" y="93"/>
                  </a:lnTo>
                  <a:lnTo>
                    <a:pt x="32" y="93"/>
                  </a:lnTo>
                  <a:lnTo>
                    <a:pt x="32" y="91"/>
                  </a:lnTo>
                  <a:lnTo>
                    <a:pt x="35" y="89"/>
                  </a:lnTo>
                  <a:lnTo>
                    <a:pt x="35" y="89"/>
                  </a:lnTo>
                  <a:lnTo>
                    <a:pt x="35" y="89"/>
                  </a:lnTo>
                  <a:lnTo>
                    <a:pt x="35" y="89"/>
                  </a:lnTo>
                  <a:lnTo>
                    <a:pt x="35" y="87"/>
                  </a:lnTo>
                  <a:lnTo>
                    <a:pt x="35" y="84"/>
                  </a:lnTo>
                  <a:lnTo>
                    <a:pt x="35" y="84"/>
                  </a:lnTo>
                  <a:lnTo>
                    <a:pt x="35" y="82"/>
                  </a:lnTo>
                  <a:lnTo>
                    <a:pt x="37" y="82"/>
                  </a:lnTo>
                  <a:lnTo>
                    <a:pt x="39" y="80"/>
                  </a:lnTo>
                  <a:lnTo>
                    <a:pt x="39" y="80"/>
                  </a:lnTo>
                  <a:lnTo>
                    <a:pt x="41" y="80"/>
                  </a:lnTo>
                  <a:lnTo>
                    <a:pt x="41" y="80"/>
                  </a:lnTo>
                  <a:lnTo>
                    <a:pt x="43" y="80"/>
                  </a:lnTo>
                  <a:lnTo>
                    <a:pt x="45" y="82"/>
                  </a:lnTo>
                  <a:lnTo>
                    <a:pt x="45" y="82"/>
                  </a:lnTo>
                  <a:lnTo>
                    <a:pt x="47" y="82"/>
                  </a:lnTo>
                  <a:lnTo>
                    <a:pt x="47" y="82"/>
                  </a:lnTo>
                  <a:lnTo>
                    <a:pt x="49" y="82"/>
                  </a:lnTo>
                  <a:lnTo>
                    <a:pt x="49" y="82"/>
                  </a:lnTo>
                  <a:lnTo>
                    <a:pt x="49" y="80"/>
                  </a:lnTo>
                  <a:lnTo>
                    <a:pt x="49" y="80"/>
                  </a:lnTo>
                  <a:lnTo>
                    <a:pt x="53" y="74"/>
                  </a:lnTo>
                  <a:lnTo>
                    <a:pt x="53" y="72"/>
                  </a:lnTo>
                  <a:lnTo>
                    <a:pt x="55" y="70"/>
                  </a:lnTo>
                  <a:lnTo>
                    <a:pt x="55" y="70"/>
                  </a:lnTo>
                  <a:lnTo>
                    <a:pt x="55" y="70"/>
                  </a:lnTo>
                  <a:lnTo>
                    <a:pt x="55" y="70"/>
                  </a:lnTo>
                  <a:lnTo>
                    <a:pt x="55" y="68"/>
                  </a:lnTo>
                  <a:lnTo>
                    <a:pt x="55" y="68"/>
                  </a:lnTo>
                  <a:lnTo>
                    <a:pt x="57" y="68"/>
                  </a:lnTo>
                  <a:lnTo>
                    <a:pt x="57" y="68"/>
                  </a:lnTo>
                  <a:lnTo>
                    <a:pt x="57" y="68"/>
                  </a:lnTo>
                  <a:lnTo>
                    <a:pt x="57" y="68"/>
                  </a:lnTo>
                  <a:lnTo>
                    <a:pt x="57" y="66"/>
                  </a:lnTo>
                  <a:lnTo>
                    <a:pt x="57" y="66"/>
                  </a:lnTo>
                  <a:lnTo>
                    <a:pt x="57" y="66"/>
                  </a:lnTo>
                  <a:lnTo>
                    <a:pt x="57" y="66"/>
                  </a:lnTo>
                  <a:lnTo>
                    <a:pt x="57" y="64"/>
                  </a:lnTo>
                  <a:lnTo>
                    <a:pt x="59" y="62"/>
                  </a:lnTo>
                  <a:lnTo>
                    <a:pt x="59" y="62"/>
                  </a:lnTo>
                  <a:lnTo>
                    <a:pt x="59" y="60"/>
                  </a:lnTo>
                  <a:lnTo>
                    <a:pt x="59" y="60"/>
                  </a:lnTo>
                  <a:lnTo>
                    <a:pt x="59" y="60"/>
                  </a:lnTo>
                  <a:lnTo>
                    <a:pt x="59" y="60"/>
                  </a:lnTo>
                  <a:lnTo>
                    <a:pt x="59" y="60"/>
                  </a:lnTo>
                  <a:lnTo>
                    <a:pt x="61" y="60"/>
                  </a:lnTo>
                  <a:lnTo>
                    <a:pt x="61" y="60"/>
                  </a:lnTo>
                  <a:lnTo>
                    <a:pt x="61" y="62"/>
                  </a:lnTo>
                  <a:lnTo>
                    <a:pt x="63" y="62"/>
                  </a:lnTo>
                  <a:lnTo>
                    <a:pt x="63" y="62"/>
                  </a:lnTo>
                  <a:lnTo>
                    <a:pt x="63" y="62"/>
                  </a:lnTo>
                  <a:lnTo>
                    <a:pt x="63" y="62"/>
                  </a:lnTo>
                  <a:lnTo>
                    <a:pt x="61" y="64"/>
                  </a:lnTo>
                  <a:lnTo>
                    <a:pt x="61" y="64"/>
                  </a:lnTo>
                  <a:lnTo>
                    <a:pt x="61" y="64"/>
                  </a:lnTo>
                  <a:lnTo>
                    <a:pt x="61" y="64"/>
                  </a:lnTo>
                  <a:lnTo>
                    <a:pt x="61" y="64"/>
                  </a:lnTo>
                  <a:lnTo>
                    <a:pt x="61" y="64"/>
                  </a:lnTo>
                  <a:lnTo>
                    <a:pt x="61" y="66"/>
                  </a:lnTo>
                  <a:lnTo>
                    <a:pt x="61" y="66"/>
                  </a:lnTo>
                  <a:lnTo>
                    <a:pt x="63" y="66"/>
                  </a:lnTo>
                  <a:lnTo>
                    <a:pt x="63" y="66"/>
                  </a:lnTo>
                  <a:lnTo>
                    <a:pt x="63" y="66"/>
                  </a:lnTo>
                  <a:lnTo>
                    <a:pt x="67" y="66"/>
                  </a:lnTo>
                  <a:lnTo>
                    <a:pt x="67" y="68"/>
                  </a:lnTo>
                  <a:lnTo>
                    <a:pt x="67" y="68"/>
                  </a:lnTo>
                  <a:lnTo>
                    <a:pt x="69" y="68"/>
                  </a:lnTo>
                  <a:lnTo>
                    <a:pt x="71" y="68"/>
                  </a:lnTo>
                  <a:lnTo>
                    <a:pt x="78" y="68"/>
                  </a:lnTo>
                  <a:lnTo>
                    <a:pt x="78" y="68"/>
                  </a:lnTo>
                  <a:lnTo>
                    <a:pt x="82" y="66"/>
                  </a:lnTo>
                  <a:lnTo>
                    <a:pt x="86" y="66"/>
                  </a:lnTo>
                  <a:lnTo>
                    <a:pt x="90" y="64"/>
                  </a:lnTo>
                  <a:lnTo>
                    <a:pt x="90" y="62"/>
                  </a:lnTo>
                  <a:lnTo>
                    <a:pt x="88" y="62"/>
                  </a:lnTo>
                  <a:lnTo>
                    <a:pt x="88" y="62"/>
                  </a:lnTo>
                  <a:lnTo>
                    <a:pt x="88" y="60"/>
                  </a:lnTo>
                  <a:lnTo>
                    <a:pt x="88" y="60"/>
                  </a:lnTo>
                  <a:lnTo>
                    <a:pt x="90" y="60"/>
                  </a:lnTo>
                  <a:lnTo>
                    <a:pt x="90" y="58"/>
                  </a:lnTo>
                  <a:lnTo>
                    <a:pt x="88" y="56"/>
                  </a:lnTo>
                  <a:lnTo>
                    <a:pt x="88" y="56"/>
                  </a:lnTo>
                  <a:lnTo>
                    <a:pt x="90" y="56"/>
                  </a:lnTo>
                  <a:lnTo>
                    <a:pt x="92" y="56"/>
                  </a:lnTo>
                  <a:lnTo>
                    <a:pt x="92" y="54"/>
                  </a:lnTo>
                  <a:lnTo>
                    <a:pt x="94" y="54"/>
                  </a:lnTo>
                  <a:lnTo>
                    <a:pt x="96" y="52"/>
                  </a:lnTo>
                  <a:lnTo>
                    <a:pt x="98" y="52"/>
                  </a:lnTo>
                  <a:lnTo>
                    <a:pt x="100" y="52"/>
                  </a:lnTo>
                  <a:lnTo>
                    <a:pt x="100" y="52"/>
                  </a:lnTo>
                  <a:lnTo>
                    <a:pt x="102" y="50"/>
                  </a:lnTo>
                  <a:lnTo>
                    <a:pt x="102" y="48"/>
                  </a:lnTo>
                  <a:lnTo>
                    <a:pt x="104" y="46"/>
                  </a:lnTo>
                  <a:lnTo>
                    <a:pt x="104" y="43"/>
                  </a:lnTo>
                  <a:lnTo>
                    <a:pt x="106" y="43"/>
                  </a:lnTo>
                  <a:lnTo>
                    <a:pt x="106" y="43"/>
                  </a:lnTo>
                  <a:lnTo>
                    <a:pt x="110" y="43"/>
                  </a:lnTo>
                  <a:lnTo>
                    <a:pt x="114" y="43"/>
                  </a:lnTo>
                  <a:lnTo>
                    <a:pt x="123" y="50"/>
                  </a:lnTo>
                  <a:lnTo>
                    <a:pt x="125" y="50"/>
                  </a:lnTo>
                  <a:lnTo>
                    <a:pt x="127" y="50"/>
                  </a:lnTo>
                  <a:lnTo>
                    <a:pt x="129" y="50"/>
                  </a:lnTo>
                  <a:lnTo>
                    <a:pt x="129" y="50"/>
                  </a:lnTo>
                  <a:lnTo>
                    <a:pt x="131" y="50"/>
                  </a:lnTo>
                  <a:lnTo>
                    <a:pt x="133" y="50"/>
                  </a:lnTo>
                  <a:lnTo>
                    <a:pt x="133" y="48"/>
                  </a:lnTo>
                  <a:lnTo>
                    <a:pt x="133" y="48"/>
                  </a:lnTo>
                  <a:lnTo>
                    <a:pt x="135" y="48"/>
                  </a:lnTo>
                  <a:lnTo>
                    <a:pt x="135" y="48"/>
                  </a:lnTo>
                  <a:lnTo>
                    <a:pt x="137" y="48"/>
                  </a:lnTo>
                  <a:lnTo>
                    <a:pt x="139" y="50"/>
                  </a:lnTo>
                  <a:lnTo>
                    <a:pt x="139" y="50"/>
                  </a:lnTo>
                  <a:lnTo>
                    <a:pt x="137" y="52"/>
                  </a:lnTo>
                  <a:lnTo>
                    <a:pt x="135" y="54"/>
                  </a:lnTo>
                  <a:lnTo>
                    <a:pt x="135" y="54"/>
                  </a:lnTo>
                  <a:lnTo>
                    <a:pt x="137" y="58"/>
                  </a:lnTo>
                  <a:lnTo>
                    <a:pt x="139" y="58"/>
                  </a:lnTo>
                  <a:lnTo>
                    <a:pt x="139" y="56"/>
                  </a:lnTo>
                  <a:lnTo>
                    <a:pt x="139" y="56"/>
                  </a:lnTo>
                  <a:lnTo>
                    <a:pt x="139" y="54"/>
                  </a:lnTo>
                  <a:lnTo>
                    <a:pt x="139" y="54"/>
                  </a:lnTo>
                  <a:lnTo>
                    <a:pt x="141" y="56"/>
                  </a:lnTo>
                  <a:lnTo>
                    <a:pt x="141" y="56"/>
                  </a:lnTo>
                  <a:lnTo>
                    <a:pt x="139" y="58"/>
                  </a:lnTo>
                  <a:lnTo>
                    <a:pt x="139" y="58"/>
                  </a:lnTo>
                  <a:lnTo>
                    <a:pt x="141" y="60"/>
                  </a:lnTo>
                  <a:lnTo>
                    <a:pt x="143" y="58"/>
                  </a:lnTo>
                  <a:lnTo>
                    <a:pt x="143" y="58"/>
                  </a:lnTo>
                  <a:lnTo>
                    <a:pt x="145" y="58"/>
                  </a:lnTo>
                  <a:lnTo>
                    <a:pt x="145" y="58"/>
                  </a:lnTo>
                  <a:lnTo>
                    <a:pt x="145" y="58"/>
                  </a:lnTo>
                  <a:lnTo>
                    <a:pt x="143" y="60"/>
                  </a:lnTo>
                  <a:lnTo>
                    <a:pt x="143" y="62"/>
                  </a:lnTo>
                  <a:lnTo>
                    <a:pt x="145" y="62"/>
                  </a:lnTo>
                  <a:lnTo>
                    <a:pt x="143" y="64"/>
                  </a:lnTo>
                  <a:lnTo>
                    <a:pt x="145" y="64"/>
                  </a:lnTo>
                  <a:lnTo>
                    <a:pt x="149" y="66"/>
                  </a:lnTo>
                  <a:lnTo>
                    <a:pt x="149" y="68"/>
                  </a:lnTo>
                  <a:lnTo>
                    <a:pt x="149" y="68"/>
                  </a:lnTo>
                  <a:lnTo>
                    <a:pt x="149" y="72"/>
                  </a:lnTo>
                  <a:lnTo>
                    <a:pt x="149" y="72"/>
                  </a:lnTo>
                  <a:lnTo>
                    <a:pt x="151" y="74"/>
                  </a:lnTo>
                  <a:lnTo>
                    <a:pt x="151" y="74"/>
                  </a:lnTo>
                  <a:lnTo>
                    <a:pt x="153" y="76"/>
                  </a:lnTo>
                  <a:lnTo>
                    <a:pt x="157" y="74"/>
                  </a:lnTo>
                  <a:lnTo>
                    <a:pt x="159" y="74"/>
                  </a:lnTo>
                  <a:lnTo>
                    <a:pt x="164" y="74"/>
                  </a:lnTo>
                  <a:lnTo>
                    <a:pt x="168" y="76"/>
                  </a:lnTo>
                  <a:lnTo>
                    <a:pt x="168" y="76"/>
                  </a:lnTo>
                  <a:lnTo>
                    <a:pt x="170" y="78"/>
                  </a:lnTo>
                  <a:lnTo>
                    <a:pt x="172" y="78"/>
                  </a:lnTo>
                  <a:lnTo>
                    <a:pt x="174" y="78"/>
                  </a:lnTo>
                  <a:lnTo>
                    <a:pt x="176" y="80"/>
                  </a:lnTo>
                  <a:lnTo>
                    <a:pt x="178" y="80"/>
                  </a:lnTo>
                  <a:lnTo>
                    <a:pt x="178" y="82"/>
                  </a:lnTo>
                  <a:lnTo>
                    <a:pt x="176" y="84"/>
                  </a:lnTo>
                  <a:lnTo>
                    <a:pt x="174" y="89"/>
                  </a:lnTo>
                  <a:lnTo>
                    <a:pt x="174" y="91"/>
                  </a:lnTo>
                  <a:lnTo>
                    <a:pt x="174" y="91"/>
                  </a:lnTo>
                  <a:lnTo>
                    <a:pt x="176" y="93"/>
                  </a:lnTo>
                  <a:lnTo>
                    <a:pt x="178" y="93"/>
                  </a:lnTo>
                  <a:lnTo>
                    <a:pt x="182" y="97"/>
                  </a:lnTo>
                  <a:lnTo>
                    <a:pt x="184" y="97"/>
                  </a:lnTo>
                  <a:lnTo>
                    <a:pt x="190" y="95"/>
                  </a:lnTo>
                  <a:lnTo>
                    <a:pt x="194" y="97"/>
                  </a:lnTo>
                  <a:lnTo>
                    <a:pt x="196" y="97"/>
                  </a:lnTo>
                  <a:lnTo>
                    <a:pt x="198" y="99"/>
                  </a:lnTo>
                  <a:lnTo>
                    <a:pt x="198" y="99"/>
                  </a:lnTo>
                  <a:lnTo>
                    <a:pt x="200" y="101"/>
                  </a:lnTo>
                  <a:lnTo>
                    <a:pt x="200" y="103"/>
                  </a:lnTo>
                  <a:lnTo>
                    <a:pt x="202" y="103"/>
                  </a:lnTo>
                  <a:lnTo>
                    <a:pt x="202" y="103"/>
                  </a:lnTo>
                  <a:lnTo>
                    <a:pt x="207" y="103"/>
                  </a:lnTo>
                  <a:lnTo>
                    <a:pt x="209" y="103"/>
                  </a:lnTo>
                  <a:lnTo>
                    <a:pt x="211" y="103"/>
                  </a:lnTo>
                  <a:lnTo>
                    <a:pt x="211" y="105"/>
                  </a:lnTo>
                  <a:lnTo>
                    <a:pt x="217" y="97"/>
                  </a:lnTo>
                  <a:lnTo>
                    <a:pt x="227" y="107"/>
                  </a:lnTo>
                  <a:lnTo>
                    <a:pt x="223" y="117"/>
                  </a:lnTo>
                  <a:lnTo>
                    <a:pt x="223" y="119"/>
                  </a:lnTo>
                  <a:lnTo>
                    <a:pt x="225" y="121"/>
                  </a:lnTo>
                  <a:lnTo>
                    <a:pt x="225" y="123"/>
                  </a:lnTo>
                  <a:lnTo>
                    <a:pt x="225" y="123"/>
                  </a:lnTo>
                  <a:lnTo>
                    <a:pt x="223" y="123"/>
                  </a:lnTo>
                  <a:lnTo>
                    <a:pt x="223" y="125"/>
                  </a:lnTo>
                  <a:lnTo>
                    <a:pt x="225" y="125"/>
                  </a:lnTo>
                  <a:lnTo>
                    <a:pt x="225" y="128"/>
                  </a:lnTo>
                  <a:lnTo>
                    <a:pt x="221" y="130"/>
                  </a:lnTo>
                  <a:lnTo>
                    <a:pt x="219" y="130"/>
                  </a:lnTo>
                  <a:lnTo>
                    <a:pt x="219" y="132"/>
                  </a:lnTo>
                  <a:lnTo>
                    <a:pt x="219" y="132"/>
                  </a:lnTo>
                  <a:lnTo>
                    <a:pt x="219" y="134"/>
                  </a:lnTo>
                  <a:lnTo>
                    <a:pt x="219" y="136"/>
                  </a:lnTo>
                  <a:lnTo>
                    <a:pt x="219" y="136"/>
                  </a:lnTo>
                  <a:lnTo>
                    <a:pt x="219" y="138"/>
                  </a:lnTo>
                  <a:lnTo>
                    <a:pt x="217" y="140"/>
                  </a:lnTo>
                  <a:lnTo>
                    <a:pt x="217" y="140"/>
                  </a:lnTo>
                  <a:lnTo>
                    <a:pt x="215" y="140"/>
                  </a:lnTo>
                  <a:lnTo>
                    <a:pt x="215" y="140"/>
                  </a:lnTo>
                  <a:lnTo>
                    <a:pt x="215" y="142"/>
                  </a:lnTo>
                  <a:lnTo>
                    <a:pt x="213" y="142"/>
                  </a:lnTo>
                  <a:lnTo>
                    <a:pt x="213" y="142"/>
                  </a:lnTo>
                  <a:lnTo>
                    <a:pt x="213" y="142"/>
                  </a:lnTo>
                  <a:lnTo>
                    <a:pt x="213" y="144"/>
                  </a:lnTo>
                  <a:lnTo>
                    <a:pt x="213" y="144"/>
                  </a:lnTo>
                  <a:lnTo>
                    <a:pt x="213" y="144"/>
                  </a:lnTo>
                  <a:lnTo>
                    <a:pt x="215" y="144"/>
                  </a:lnTo>
                  <a:lnTo>
                    <a:pt x="215" y="144"/>
                  </a:lnTo>
                  <a:lnTo>
                    <a:pt x="213" y="146"/>
                  </a:lnTo>
                  <a:lnTo>
                    <a:pt x="213" y="146"/>
                  </a:lnTo>
                  <a:lnTo>
                    <a:pt x="211" y="148"/>
                  </a:lnTo>
                  <a:lnTo>
                    <a:pt x="211" y="150"/>
                  </a:lnTo>
                  <a:lnTo>
                    <a:pt x="211" y="152"/>
                  </a:lnTo>
                  <a:lnTo>
                    <a:pt x="209" y="152"/>
                  </a:lnTo>
                  <a:lnTo>
                    <a:pt x="209" y="154"/>
                  </a:lnTo>
                  <a:lnTo>
                    <a:pt x="211" y="158"/>
                  </a:lnTo>
                  <a:lnTo>
                    <a:pt x="211" y="160"/>
                  </a:lnTo>
                  <a:lnTo>
                    <a:pt x="213" y="162"/>
                  </a:lnTo>
                  <a:lnTo>
                    <a:pt x="213" y="164"/>
                  </a:lnTo>
                  <a:lnTo>
                    <a:pt x="215" y="166"/>
                  </a:lnTo>
                  <a:lnTo>
                    <a:pt x="217" y="166"/>
                  </a:lnTo>
                  <a:lnTo>
                    <a:pt x="219" y="166"/>
                  </a:lnTo>
                  <a:lnTo>
                    <a:pt x="219" y="164"/>
                  </a:lnTo>
                  <a:lnTo>
                    <a:pt x="221" y="164"/>
                  </a:lnTo>
                  <a:lnTo>
                    <a:pt x="223" y="162"/>
                  </a:lnTo>
                  <a:lnTo>
                    <a:pt x="223" y="158"/>
                  </a:lnTo>
                  <a:lnTo>
                    <a:pt x="221" y="158"/>
                  </a:lnTo>
                  <a:lnTo>
                    <a:pt x="221" y="156"/>
                  </a:lnTo>
                  <a:lnTo>
                    <a:pt x="221" y="156"/>
                  </a:lnTo>
                  <a:lnTo>
                    <a:pt x="221" y="156"/>
                  </a:lnTo>
                  <a:lnTo>
                    <a:pt x="223" y="154"/>
                  </a:lnTo>
                  <a:lnTo>
                    <a:pt x="223" y="154"/>
                  </a:lnTo>
                  <a:lnTo>
                    <a:pt x="223" y="154"/>
                  </a:lnTo>
                  <a:lnTo>
                    <a:pt x="223" y="154"/>
                  </a:lnTo>
                  <a:lnTo>
                    <a:pt x="223" y="156"/>
                  </a:lnTo>
                  <a:lnTo>
                    <a:pt x="223" y="156"/>
                  </a:lnTo>
                  <a:lnTo>
                    <a:pt x="223" y="156"/>
                  </a:lnTo>
                  <a:lnTo>
                    <a:pt x="223" y="158"/>
                  </a:lnTo>
                  <a:lnTo>
                    <a:pt x="225" y="158"/>
                  </a:lnTo>
                  <a:lnTo>
                    <a:pt x="225" y="160"/>
                  </a:lnTo>
                  <a:lnTo>
                    <a:pt x="227" y="158"/>
                  </a:lnTo>
                  <a:lnTo>
                    <a:pt x="227" y="158"/>
                  </a:lnTo>
                  <a:lnTo>
                    <a:pt x="229" y="156"/>
                  </a:lnTo>
                  <a:lnTo>
                    <a:pt x="229" y="154"/>
                  </a:lnTo>
                  <a:lnTo>
                    <a:pt x="229" y="154"/>
                  </a:lnTo>
                  <a:lnTo>
                    <a:pt x="229" y="152"/>
                  </a:lnTo>
                  <a:lnTo>
                    <a:pt x="229" y="152"/>
                  </a:lnTo>
                  <a:lnTo>
                    <a:pt x="231" y="154"/>
                  </a:lnTo>
                  <a:lnTo>
                    <a:pt x="231" y="156"/>
                  </a:lnTo>
                  <a:lnTo>
                    <a:pt x="235" y="162"/>
                  </a:lnTo>
                  <a:lnTo>
                    <a:pt x="237" y="164"/>
                  </a:lnTo>
                  <a:lnTo>
                    <a:pt x="245" y="169"/>
                  </a:lnTo>
                  <a:lnTo>
                    <a:pt x="248" y="171"/>
                  </a:lnTo>
                  <a:lnTo>
                    <a:pt x="250" y="171"/>
                  </a:lnTo>
                  <a:lnTo>
                    <a:pt x="250" y="166"/>
                  </a:lnTo>
                  <a:lnTo>
                    <a:pt x="248" y="164"/>
                  </a:lnTo>
                  <a:lnTo>
                    <a:pt x="245" y="162"/>
                  </a:lnTo>
                  <a:lnTo>
                    <a:pt x="243" y="158"/>
                  </a:lnTo>
                  <a:lnTo>
                    <a:pt x="245" y="158"/>
                  </a:lnTo>
                  <a:lnTo>
                    <a:pt x="248" y="160"/>
                  </a:lnTo>
                  <a:lnTo>
                    <a:pt x="250" y="162"/>
                  </a:lnTo>
                  <a:lnTo>
                    <a:pt x="252" y="166"/>
                  </a:lnTo>
                  <a:lnTo>
                    <a:pt x="252" y="169"/>
                  </a:lnTo>
                  <a:lnTo>
                    <a:pt x="252" y="169"/>
                  </a:lnTo>
                  <a:lnTo>
                    <a:pt x="254" y="171"/>
                  </a:lnTo>
                  <a:lnTo>
                    <a:pt x="256" y="173"/>
                  </a:lnTo>
                  <a:lnTo>
                    <a:pt x="258" y="173"/>
                  </a:lnTo>
                  <a:lnTo>
                    <a:pt x="264" y="171"/>
                  </a:lnTo>
                  <a:lnTo>
                    <a:pt x="268" y="169"/>
                  </a:lnTo>
                  <a:lnTo>
                    <a:pt x="270" y="171"/>
                  </a:lnTo>
                  <a:lnTo>
                    <a:pt x="272" y="171"/>
                  </a:lnTo>
                  <a:lnTo>
                    <a:pt x="274" y="173"/>
                  </a:lnTo>
                  <a:lnTo>
                    <a:pt x="274" y="173"/>
                  </a:lnTo>
                  <a:lnTo>
                    <a:pt x="276" y="175"/>
                  </a:lnTo>
                  <a:lnTo>
                    <a:pt x="276" y="175"/>
                  </a:lnTo>
                  <a:lnTo>
                    <a:pt x="278" y="179"/>
                  </a:lnTo>
                  <a:lnTo>
                    <a:pt x="278" y="179"/>
                  </a:lnTo>
                  <a:lnTo>
                    <a:pt x="280" y="179"/>
                  </a:lnTo>
                  <a:lnTo>
                    <a:pt x="280" y="179"/>
                  </a:lnTo>
                  <a:lnTo>
                    <a:pt x="280" y="175"/>
                  </a:lnTo>
                  <a:lnTo>
                    <a:pt x="282" y="177"/>
                  </a:lnTo>
                  <a:lnTo>
                    <a:pt x="282" y="179"/>
                  </a:lnTo>
                  <a:lnTo>
                    <a:pt x="284" y="177"/>
                  </a:lnTo>
                  <a:lnTo>
                    <a:pt x="284" y="175"/>
                  </a:lnTo>
                  <a:lnTo>
                    <a:pt x="284" y="175"/>
                  </a:lnTo>
                  <a:lnTo>
                    <a:pt x="284" y="173"/>
                  </a:lnTo>
                  <a:lnTo>
                    <a:pt x="284" y="173"/>
                  </a:lnTo>
                  <a:lnTo>
                    <a:pt x="282" y="171"/>
                  </a:lnTo>
                  <a:lnTo>
                    <a:pt x="282" y="171"/>
                  </a:lnTo>
                  <a:lnTo>
                    <a:pt x="284" y="173"/>
                  </a:lnTo>
                  <a:lnTo>
                    <a:pt x="286" y="175"/>
                  </a:lnTo>
                  <a:lnTo>
                    <a:pt x="288" y="179"/>
                  </a:lnTo>
                  <a:lnTo>
                    <a:pt x="288" y="179"/>
                  </a:lnTo>
                  <a:lnTo>
                    <a:pt x="291" y="181"/>
                  </a:lnTo>
                  <a:lnTo>
                    <a:pt x="299" y="185"/>
                  </a:lnTo>
                  <a:lnTo>
                    <a:pt x="299" y="183"/>
                  </a:lnTo>
                  <a:lnTo>
                    <a:pt x="297" y="183"/>
                  </a:lnTo>
                  <a:lnTo>
                    <a:pt x="297" y="181"/>
                  </a:lnTo>
                  <a:lnTo>
                    <a:pt x="297" y="181"/>
                  </a:lnTo>
                  <a:lnTo>
                    <a:pt x="297" y="179"/>
                  </a:lnTo>
                  <a:lnTo>
                    <a:pt x="297" y="177"/>
                  </a:lnTo>
                  <a:lnTo>
                    <a:pt x="297" y="175"/>
                  </a:lnTo>
                  <a:lnTo>
                    <a:pt x="295" y="173"/>
                  </a:lnTo>
                  <a:lnTo>
                    <a:pt x="293" y="169"/>
                  </a:lnTo>
                  <a:lnTo>
                    <a:pt x="288" y="169"/>
                  </a:lnTo>
                  <a:lnTo>
                    <a:pt x="288" y="166"/>
                  </a:lnTo>
                  <a:lnTo>
                    <a:pt x="286" y="164"/>
                  </a:lnTo>
                  <a:lnTo>
                    <a:pt x="286" y="164"/>
                  </a:lnTo>
                  <a:lnTo>
                    <a:pt x="288" y="162"/>
                  </a:lnTo>
                  <a:lnTo>
                    <a:pt x="288" y="160"/>
                  </a:lnTo>
                  <a:lnTo>
                    <a:pt x="286" y="158"/>
                  </a:lnTo>
                  <a:lnTo>
                    <a:pt x="284" y="158"/>
                  </a:lnTo>
                  <a:lnTo>
                    <a:pt x="282" y="160"/>
                  </a:lnTo>
                  <a:lnTo>
                    <a:pt x="280" y="160"/>
                  </a:lnTo>
                  <a:lnTo>
                    <a:pt x="278" y="160"/>
                  </a:lnTo>
                  <a:lnTo>
                    <a:pt x="276" y="158"/>
                  </a:lnTo>
                  <a:lnTo>
                    <a:pt x="276" y="156"/>
                  </a:lnTo>
                  <a:lnTo>
                    <a:pt x="274" y="154"/>
                  </a:lnTo>
                  <a:lnTo>
                    <a:pt x="274" y="154"/>
                  </a:lnTo>
                  <a:lnTo>
                    <a:pt x="268" y="152"/>
                  </a:lnTo>
                  <a:lnTo>
                    <a:pt x="264" y="150"/>
                  </a:lnTo>
                  <a:lnTo>
                    <a:pt x="262" y="148"/>
                  </a:lnTo>
                  <a:lnTo>
                    <a:pt x="260" y="146"/>
                  </a:lnTo>
                  <a:lnTo>
                    <a:pt x="258" y="142"/>
                  </a:lnTo>
                  <a:lnTo>
                    <a:pt x="258" y="140"/>
                  </a:lnTo>
                  <a:lnTo>
                    <a:pt x="258" y="140"/>
                  </a:lnTo>
                  <a:lnTo>
                    <a:pt x="258" y="140"/>
                  </a:lnTo>
                  <a:lnTo>
                    <a:pt x="256" y="138"/>
                  </a:lnTo>
                  <a:lnTo>
                    <a:pt x="256" y="136"/>
                  </a:lnTo>
                  <a:lnTo>
                    <a:pt x="254" y="128"/>
                  </a:lnTo>
                  <a:lnTo>
                    <a:pt x="254" y="128"/>
                  </a:lnTo>
                  <a:lnTo>
                    <a:pt x="254" y="125"/>
                  </a:lnTo>
                  <a:lnTo>
                    <a:pt x="254" y="125"/>
                  </a:lnTo>
                  <a:lnTo>
                    <a:pt x="256" y="128"/>
                  </a:lnTo>
                  <a:lnTo>
                    <a:pt x="260" y="142"/>
                  </a:lnTo>
                  <a:lnTo>
                    <a:pt x="262" y="144"/>
                  </a:lnTo>
                  <a:lnTo>
                    <a:pt x="262" y="144"/>
                  </a:lnTo>
                  <a:lnTo>
                    <a:pt x="270" y="150"/>
                  </a:lnTo>
                  <a:lnTo>
                    <a:pt x="270" y="150"/>
                  </a:lnTo>
                  <a:lnTo>
                    <a:pt x="274" y="150"/>
                  </a:lnTo>
                  <a:lnTo>
                    <a:pt x="274" y="150"/>
                  </a:lnTo>
                  <a:lnTo>
                    <a:pt x="276" y="152"/>
                  </a:lnTo>
                  <a:lnTo>
                    <a:pt x="276" y="152"/>
                  </a:lnTo>
                  <a:lnTo>
                    <a:pt x="278" y="152"/>
                  </a:lnTo>
                  <a:lnTo>
                    <a:pt x="278" y="154"/>
                  </a:lnTo>
                  <a:lnTo>
                    <a:pt x="278" y="154"/>
                  </a:lnTo>
                  <a:lnTo>
                    <a:pt x="280" y="156"/>
                  </a:lnTo>
                  <a:lnTo>
                    <a:pt x="280" y="156"/>
                  </a:lnTo>
                  <a:lnTo>
                    <a:pt x="284" y="154"/>
                  </a:lnTo>
                  <a:lnTo>
                    <a:pt x="286" y="154"/>
                  </a:lnTo>
                  <a:lnTo>
                    <a:pt x="286" y="152"/>
                  </a:lnTo>
                  <a:lnTo>
                    <a:pt x="284" y="150"/>
                  </a:lnTo>
                  <a:lnTo>
                    <a:pt x="282" y="148"/>
                  </a:lnTo>
                  <a:lnTo>
                    <a:pt x="280" y="144"/>
                  </a:lnTo>
                  <a:lnTo>
                    <a:pt x="272" y="140"/>
                  </a:lnTo>
                  <a:lnTo>
                    <a:pt x="270" y="136"/>
                  </a:lnTo>
                  <a:lnTo>
                    <a:pt x="270" y="134"/>
                  </a:lnTo>
                  <a:lnTo>
                    <a:pt x="270" y="125"/>
                  </a:lnTo>
                  <a:lnTo>
                    <a:pt x="268" y="125"/>
                  </a:lnTo>
                  <a:lnTo>
                    <a:pt x="268" y="123"/>
                  </a:lnTo>
                  <a:lnTo>
                    <a:pt x="266" y="121"/>
                  </a:lnTo>
                  <a:lnTo>
                    <a:pt x="266" y="117"/>
                  </a:lnTo>
                  <a:lnTo>
                    <a:pt x="264" y="117"/>
                  </a:lnTo>
                  <a:lnTo>
                    <a:pt x="262" y="115"/>
                  </a:lnTo>
                  <a:lnTo>
                    <a:pt x="262" y="113"/>
                  </a:lnTo>
                  <a:lnTo>
                    <a:pt x="262" y="111"/>
                  </a:lnTo>
                  <a:lnTo>
                    <a:pt x="266" y="109"/>
                  </a:lnTo>
                  <a:lnTo>
                    <a:pt x="266" y="107"/>
                  </a:lnTo>
                  <a:lnTo>
                    <a:pt x="266" y="105"/>
                  </a:lnTo>
                  <a:lnTo>
                    <a:pt x="266" y="105"/>
                  </a:lnTo>
                  <a:lnTo>
                    <a:pt x="264" y="107"/>
                  </a:lnTo>
                  <a:lnTo>
                    <a:pt x="262" y="105"/>
                  </a:lnTo>
                  <a:lnTo>
                    <a:pt x="262" y="103"/>
                  </a:lnTo>
                  <a:lnTo>
                    <a:pt x="262" y="101"/>
                  </a:lnTo>
                  <a:lnTo>
                    <a:pt x="262" y="101"/>
                  </a:lnTo>
                  <a:lnTo>
                    <a:pt x="260" y="101"/>
                  </a:lnTo>
                  <a:lnTo>
                    <a:pt x="260" y="101"/>
                  </a:lnTo>
                  <a:lnTo>
                    <a:pt x="262" y="99"/>
                  </a:lnTo>
                  <a:lnTo>
                    <a:pt x="264" y="99"/>
                  </a:lnTo>
                  <a:lnTo>
                    <a:pt x="264" y="101"/>
                  </a:lnTo>
                  <a:lnTo>
                    <a:pt x="266" y="99"/>
                  </a:lnTo>
                  <a:lnTo>
                    <a:pt x="264" y="97"/>
                  </a:lnTo>
                  <a:lnTo>
                    <a:pt x="262" y="97"/>
                  </a:lnTo>
                  <a:lnTo>
                    <a:pt x="260" y="95"/>
                  </a:lnTo>
                  <a:lnTo>
                    <a:pt x="260" y="95"/>
                  </a:lnTo>
                  <a:lnTo>
                    <a:pt x="258" y="93"/>
                  </a:lnTo>
                  <a:lnTo>
                    <a:pt x="260" y="93"/>
                  </a:lnTo>
                  <a:lnTo>
                    <a:pt x="262" y="93"/>
                  </a:lnTo>
                  <a:lnTo>
                    <a:pt x="266" y="95"/>
                  </a:lnTo>
                  <a:lnTo>
                    <a:pt x="268" y="95"/>
                  </a:lnTo>
                  <a:lnTo>
                    <a:pt x="268" y="95"/>
                  </a:lnTo>
                  <a:lnTo>
                    <a:pt x="266" y="93"/>
                  </a:lnTo>
                  <a:lnTo>
                    <a:pt x="262" y="89"/>
                  </a:lnTo>
                  <a:lnTo>
                    <a:pt x="260" y="87"/>
                  </a:lnTo>
                  <a:lnTo>
                    <a:pt x="258" y="84"/>
                  </a:lnTo>
                  <a:lnTo>
                    <a:pt x="256" y="84"/>
                  </a:lnTo>
                  <a:lnTo>
                    <a:pt x="256" y="84"/>
                  </a:lnTo>
                  <a:lnTo>
                    <a:pt x="254" y="84"/>
                  </a:lnTo>
                  <a:lnTo>
                    <a:pt x="254" y="82"/>
                  </a:lnTo>
                  <a:lnTo>
                    <a:pt x="254" y="82"/>
                  </a:lnTo>
                  <a:lnTo>
                    <a:pt x="256" y="80"/>
                  </a:lnTo>
                  <a:lnTo>
                    <a:pt x="256" y="80"/>
                  </a:lnTo>
                  <a:lnTo>
                    <a:pt x="258" y="82"/>
                  </a:lnTo>
                  <a:lnTo>
                    <a:pt x="260" y="84"/>
                  </a:lnTo>
                  <a:lnTo>
                    <a:pt x="264" y="89"/>
                  </a:lnTo>
                  <a:lnTo>
                    <a:pt x="266" y="87"/>
                  </a:lnTo>
                  <a:lnTo>
                    <a:pt x="266" y="87"/>
                  </a:lnTo>
                  <a:lnTo>
                    <a:pt x="266" y="87"/>
                  </a:lnTo>
                  <a:lnTo>
                    <a:pt x="268" y="87"/>
                  </a:lnTo>
                  <a:lnTo>
                    <a:pt x="270" y="84"/>
                  </a:lnTo>
                  <a:lnTo>
                    <a:pt x="270" y="84"/>
                  </a:lnTo>
                  <a:lnTo>
                    <a:pt x="268" y="82"/>
                  </a:lnTo>
                  <a:lnTo>
                    <a:pt x="266" y="80"/>
                  </a:lnTo>
                  <a:lnTo>
                    <a:pt x="262" y="80"/>
                  </a:lnTo>
                  <a:lnTo>
                    <a:pt x="260" y="80"/>
                  </a:lnTo>
                  <a:lnTo>
                    <a:pt x="260" y="80"/>
                  </a:lnTo>
                  <a:lnTo>
                    <a:pt x="258" y="78"/>
                  </a:lnTo>
                  <a:lnTo>
                    <a:pt x="258" y="78"/>
                  </a:lnTo>
                  <a:lnTo>
                    <a:pt x="258" y="78"/>
                  </a:lnTo>
                  <a:lnTo>
                    <a:pt x="258" y="78"/>
                  </a:lnTo>
                  <a:lnTo>
                    <a:pt x="262" y="78"/>
                  </a:lnTo>
                  <a:lnTo>
                    <a:pt x="262" y="78"/>
                  </a:lnTo>
                  <a:lnTo>
                    <a:pt x="264" y="78"/>
                  </a:lnTo>
                  <a:lnTo>
                    <a:pt x="266" y="78"/>
                  </a:lnTo>
                  <a:lnTo>
                    <a:pt x="266" y="80"/>
                  </a:lnTo>
                  <a:lnTo>
                    <a:pt x="266" y="80"/>
                  </a:lnTo>
                  <a:lnTo>
                    <a:pt x="266" y="76"/>
                  </a:lnTo>
                  <a:lnTo>
                    <a:pt x="264" y="74"/>
                  </a:lnTo>
                  <a:lnTo>
                    <a:pt x="264" y="72"/>
                  </a:lnTo>
                  <a:lnTo>
                    <a:pt x="262" y="70"/>
                  </a:lnTo>
                  <a:lnTo>
                    <a:pt x="260" y="70"/>
                  </a:lnTo>
                  <a:lnTo>
                    <a:pt x="258" y="72"/>
                  </a:lnTo>
                  <a:lnTo>
                    <a:pt x="258" y="70"/>
                  </a:lnTo>
                  <a:lnTo>
                    <a:pt x="256" y="70"/>
                  </a:lnTo>
                  <a:lnTo>
                    <a:pt x="256" y="68"/>
                  </a:lnTo>
                  <a:lnTo>
                    <a:pt x="256" y="68"/>
                  </a:lnTo>
                  <a:lnTo>
                    <a:pt x="254" y="68"/>
                  </a:lnTo>
                  <a:lnTo>
                    <a:pt x="254" y="66"/>
                  </a:lnTo>
                  <a:lnTo>
                    <a:pt x="252" y="66"/>
                  </a:lnTo>
                  <a:lnTo>
                    <a:pt x="250" y="66"/>
                  </a:lnTo>
                  <a:lnTo>
                    <a:pt x="250" y="64"/>
                  </a:lnTo>
                  <a:lnTo>
                    <a:pt x="250" y="64"/>
                  </a:lnTo>
                  <a:lnTo>
                    <a:pt x="248" y="64"/>
                  </a:lnTo>
                  <a:lnTo>
                    <a:pt x="245" y="64"/>
                  </a:lnTo>
                  <a:lnTo>
                    <a:pt x="245" y="64"/>
                  </a:lnTo>
                  <a:lnTo>
                    <a:pt x="245" y="62"/>
                  </a:lnTo>
                  <a:lnTo>
                    <a:pt x="248" y="62"/>
                  </a:lnTo>
                  <a:lnTo>
                    <a:pt x="250" y="62"/>
                  </a:lnTo>
                  <a:lnTo>
                    <a:pt x="250" y="60"/>
                  </a:lnTo>
                  <a:lnTo>
                    <a:pt x="250" y="62"/>
                  </a:lnTo>
                  <a:lnTo>
                    <a:pt x="256" y="62"/>
                  </a:lnTo>
                  <a:lnTo>
                    <a:pt x="256" y="64"/>
                  </a:lnTo>
                  <a:lnTo>
                    <a:pt x="258" y="64"/>
                  </a:lnTo>
                  <a:lnTo>
                    <a:pt x="258" y="64"/>
                  </a:lnTo>
                  <a:lnTo>
                    <a:pt x="260" y="64"/>
                  </a:lnTo>
                  <a:lnTo>
                    <a:pt x="260" y="66"/>
                  </a:lnTo>
                  <a:lnTo>
                    <a:pt x="260" y="64"/>
                  </a:lnTo>
                  <a:lnTo>
                    <a:pt x="260" y="64"/>
                  </a:lnTo>
                  <a:lnTo>
                    <a:pt x="262" y="64"/>
                  </a:lnTo>
                  <a:lnTo>
                    <a:pt x="262" y="66"/>
                  </a:lnTo>
                  <a:lnTo>
                    <a:pt x="266" y="62"/>
                  </a:lnTo>
                  <a:lnTo>
                    <a:pt x="266" y="62"/>
                  </a:lnTo>
                  <a:lnTo>
                    <a:pt x="262" y="62"/>
                  </a:lnTo>
                  <a:lnTo>
                    <a:pt x="260" y="60"/>
                  </a:lnTo>
                  <a:lnTo>
                    <a:pt x="258" y="58"/>
                  </a:lnTo>
                  <a:lnTo>
                    <a:pt x="256" y="56"/>
                  </a:lnTo>
                  <a:lnTo>
                    <a:pt x="258" y="56"/>
                  </a:lnTo>
                  <a:lnTo>
                    <a:pt x="260" y="56"/>
                  </a:lnTo>
                  <a:lnTo>
                    <a:pt x="262" y="58"/>
                  </a:lnTo>
                  <a:lnTo>
                    <a:pt x="262" y="60"/>
                  </a:lnTo>
                  <a:lnTo>
                    <a:pt x="264" y="60"/>
                  </a:lnTo>
                  <a:lnTo>
                    <a:pt x="264" y="58"/>
                  </a:lnTo>
                  <a:lnTo>
                    <a:pt x="264" y="58"/>
                  </a:lnTo>
                  <a:lnTo>
                    <a:pt x="260" y="54"/>
                  </a:lnTo>
                  <a:lnTo>
                    <a:pt x="260" y="54"/>
                  </a:lnTo>
                  <a:lnTo>
                    <a:pt x="260" y="54"/>
                  </a:lnTo>
                  <a:lnTo>
                    <a:pt x="266" y="54"/>
                  </a:lnTo>
                  <a:lnTo>
                    <a:pt x="266" y="52"/>
                  </a:lnTo>
                  <a:lnTo>
                    <a:pt x="264" y="52"/>
                  </a:lnTo>
                  <a:lnTo>
                    <a:pt x="266" y="50"/>
                  </a:lnTo>
                  <a:lnTo>
                    <a:pt x="266" y="50"/>
                  </a:lnTo>
                  <a:lnTo>
                    <a:pt x="266" y="50"/>
                  </a:lnTo>
                  <a:lnTo>
                    <a:pt x="268" y="48"/>
                  </a:lnTo>
                  <a:lnTo>
                    <a:pt x="266" y="48"/>
                  </a:lnTo>
                  <a:lnTo>
                    <a:pt x="266" y="48"/>
                  </a:lnTo>
                  <a:lnTo>
                    <a:pt x="264" y="46"/>
                  </a:lnTo>
                  <a:lnTo>
                    <a:pt x="262" y="46"/>
                  </a:lnTo>
                  <a:lnTo>
                    <a:pt x="260" y="46"/>
                  </a:lnTo>
                  <a:lnTo>
                    <a:pt x="266" y="41"/>
                  </a:lnTo>
                  <a:lnTo>
                    <a:pt x="268" y="43"/>
                  </a:lnTo>
                  <a:lnTo>
                    <a:pt x="270" y="48"/>
                  </a:lnTo>
                  <a:lnTo>
                    <a:pt x="272" y="52"/>
                  </a:lnTo>
                  <a:lnTo>
                    <a:pt x="274" y="48"/>
                  </a:lnTo>
                  <a:lnTo>
                    <a:pt x="274" y="48"/>
                  </a:lnTo>
                  <a:lnTo>
                    <a:pt x="274" y="48"/>
                  </a:lnTo>
                  <a:lnTo>
                    <a:pt x="274" y="46"/>
                  </a:lnTo>
                  <a:lnTo>
                    <a:pt x="272" y="43"/>
                  </a:lnTo>
                  <a:lnTo>
                    <a:pt x="272" y="35"/>
                  </a:lnTo>
                  <a:lnTo>
                    <a:pt x="272" y="35"/>
                  </a:lnTo>
                  <a:lnTo>
                    <a:pt x="272" y="35"/>
                  </a:lnTo>
                  <a:lnTo>
                    <a:pt x="272" y="33"/>
                  </a:lnTo>
                  <a:lnTo>
                    <a:pt x="274" y="33"/>
                  </a:lnTo>
                  <a:lnTo>
                    <a:pt x="274" y="33"/>
                  </a:lnTo>
                  <a:lnTo>
                    <a:pt x="274" y="35"/>
                  </a:lnTo>
                  <a:lnTo>
                    <a:pt x="274" y="37"/>
                  </a:lnTo>
                  <a:lnTo>
                    <a:pt x="274" y="41"/>
                  </a:lnTo>
                  <a:lnTo>
                    <a:pt x="276" y="43"/>
                  </a:lnTo>
                  <a:lnTo>
                    <a:pt x="276" y="46"/>
                  </a:lnTo>
                  <a:lnTo>
                    <a:pt x="278" y="41"/>
                  </a:lnTo>
                  <a:lnTo>
                    <a:pt x="282" y="37"/>
                  </a:lnTo>
                  <a:lnTo>
                    <a:pt x="286" y="33"/>
                  </a:lnTo>
                  <a:lnTo>
                    <a:pt x="286" y="33"/>
                  </a:lnTo>
                  <a:lnTo>
                    <a:pt x="286" y="31"/>
                  </a:lnTo>
                  <a:lnTo>
                    <a:pt x="286" y="31"/>
                  </a:lnTo>
                  <a:lnTo>
                    <a:pt x="282" y="31"/>
                  </a:lnTo>
                  <a:lnTo>
                    <a:pt x="282" y="29"/>
                  </a:lnTo>
                  <a:lnTo>
                    <a:pt x="282" y="23"/>
                  </a:lnTo>
                  <a:lnTo>
                    <a:pt x="282" y="23"/>
                  </a:lnTo>
                  <a:lnTo>
                    <a:pt x="284" y="21"/>
                  </a:lnTo>
                  <a:lnTo>
                    <a:pt x="284" y="21"/>
                  </a:lnTo>
                  <a:lnTo>
                    <a:pt x="291" y="21"/>
                  </a:lnTo>
                  <a:lnTo>
                    <a:pt x="291" y="19"/>
                  </a:lnTo>
                  <a:lnTo>
                    <a:pt x="293" y="17"/>
                  </a:lnTo>
                  <a:lnTo>
                    <a:pt x="293" y="15"/>
                  </a:lnTo>
                  <a:lnTo>
                    <a:pt x="295" y="15"/>
                  </a:lnTo>
                  <a:lnTo>
                    <a:pt x="295" y="19"/>
                  </a:lnTo>
                  <a:lnTo>
                    <a:pt x="295" y="21"/>
                  </a:lnTo>
                  <a:lnTo>
                    <a:pt x="293" y="23"/>
                  </a:lnTo>
                  <a:lnTo>
                    <a:pt x="293" y="27"/>
                  </a:lnTo>
                  <a:lnTo>
                    <a:pt x="291" y="29"/>
                  </a:lnTo>
                  <a:lnTo>
                    <a:pt x="293" y="31"/>
                  </a:lnTo>
                  <a:lnTo>
                    <a:pt x="293" y="29"/>
                  </a:lnTo>
                  <a:lnTo>
                    <a:pt x="299" y="23"/>
                  </a:lnTo>
                  <a:lnTo>
                    <a:pt x="299" y="21"/>
                  </a:lnTo>
                  <a:lnTo>
                    <a:pt x="301" y="19"/>
                  </a:lnTo>
                  <a:lnTo>
                    <a:pt x="301" y="17"/>
                  </a:lnTo>
                  <a:lnTo>
                    <a:pt x="303" y="15"/>
                  </a:lnTo>
                  <a:lnTo>
                    <a:pt x="303" y="17"/>
                  </a:lnTo>
                  <a:lnTo>
                    <a:pt x="303" y="21"/>
                  </a:lnTo>
                  <a:lnTo>
                    <a:pt x="301" y="23"/>
                  </a:lnTo>
                  <a:lnTo>
                    <a:pt x="299" y="25"/>
                  </a:lnTo>
                  <a:lnTo>
                    <a:pt x="301" y="25"/>
                  </a:lnTo>
                  <a:lnTo>
                    <a:pt x="303" y="27"/>
                  </a:lnTo>
                  <a:lnTo>
                    <a:pt x="305" y="27"/>
                  </a:lnTo>
                  <a:lnTo>
                    <a:pt x="305" y="27"/>
                  </a:lnTo>
                  <a:lnTo>
                    <a:pt x="303" y="29"/>
                  </a:lnTo>
                  <a:lnTo>
                    <a:pt x="299" y="27"/>
                  </a:lnTo>
                  <a:lnTo>
                    <a:pt x="297" y="29"/>
                  </a:lnTo>
                  <a:lnTo>
                    <a:pt x="297" y="29"/>
                  </a:lnTo>
                  <a:lnTo>
                    <a:pt x="295" y="31"/>
                  </a:lnTo>
                  <a:lnTo>
                    <a:pt x="293" y="35"/>
                  </a:lnTo>
                  <a:lnTo>
                    <a:pt x="293" y="37"/>
                  </a:lnTo>
                  <a:lnTo>
                    <a:pt x="295" y="37"/>
                  </a:lnTo>
                  <a:lnTo>
                    <a:pt x="303" y="35"/>
                  </a:lnTo>
                  <a:lnTo>
                    <a:pt x="307" y="35"/>
                  </a:lnTo>
                  <a:lnTo>
                    <a:pt x="307" y="37"/>
                  </a:lnTo>
                  <a:lnTo>
                    <a:pt x="305" y="37"/>
                  </a:lnTo>
                  <a:lnTo>
                    <a:pt x="305" y="37"/>
                  </a:lnTo>
                  <a:lnTo>
                    <a:pt x="301" y="39"/>
                  </a:lnTo>
                  <a:lnTo>
                    <a:pt x="293" y="41"/>
                  </a:lnTo>
                  <a:lnTo>
                    <a:pt x="284" y="43"/>
                  </a:lnTo>
                  <a:lnTo>
                    <a:pt x="284" y="43"/>
                  </a:lnTo>
                  <a:lnTo>
                    <a:pt x="284" y="46"/>
                  </a:lnTo>
                  <a:lnTo>
                    <a:pt x="284" y="48"/>
                  </a:lnTo>
                  <a:lnTo>
                    <a:pt x="282" y="48"/>
                  </a:lnTo>
                  <a:lnTo>
                    <a:pt x="282" y="48"/>
                  </a:lnTo>
                  <a:lnTo>
                    <a:pt x="280" y="50"/>
                  </a:lnTo>
                  <a:lnTo>
                    <a:pt x="280" y="50"/>
                  </a:lnTo>
                  <a:lnTo>
                    <a:pt x="280" y="52"/>
                  </a:lnTo>
                  <a:lnTo>
                    <a:pt x="280" y="54"/>
                  </a:lnTo>
                  <a:lnTo>
                    <a:pt x="278" y="62"/>
                  </a:lnTo>
                  <a:lnTo>
                    <a:pt x="278" y="66"/>
                  </a:lnTo>
                  <a:lnTo>
                    <a:pt x="278" y="66"/>
                  </a:lnTo>
                  <a:lnTo>
                    <a:pt x="278" y="68"/>
                  </a:lnTo>
                  <a:lnTo>
                    <a:pt x="278" y="68"/>
                  </a:lnTo>
                  <a:lnTo>
                    <a:pt x="280" y="70"/>
                  </a:lnTo>
                  <a:lnTo>
                    <a:pt x="280" y="70"/>
                  </a:lnTo>
                  <a:lnTo>
                    <a:pt x="282" y="70"/>
                  </a:lnTo>
                  <a:lnTo>
                    <a:pt x="282" y="72"/>
                  </a:lnTo>
                  <a:lnTo>
                    <a:pt x="282" y="76"/>
                  </a:lnTo>
                  <a:lnTo>
                    <a:pt x="282" y="78"/>
                  </a:lnTo>
                  <a:lnTo>
                    <a:pt x="284" y="78"/>
                  </a:lnTo>
                  <a:lnTo>
                    <a:pt x="284" y="78"/>
                  </a:lnTo>
                  <a:lnTo>
                    <a:pt x="284" y="74"/>
                  </a:lnTo>
                  <a:lnTo>
                    <a:pt x="284" y="70"/>
                  </a:lnTo>
                  <a:lnTo>
                    <a:pt x="288" y="68"/>
                  </a:lnTo>
                  <a:lnTo>
                    <a:pt x="288" y="68"/>
                  </a:lnTo>
                  <a:lnTo>
                    <a:pt x="286" y="68"/>
                  </a:lnTo>
                  <a:lnTo>
                    <a:pt x="288" y="68"/>
                  </a:lnTo>
                  <a:lnTo>
                    <a:pt x="291" y="68"/>
                  </a:lnTo>
                  <a:lnTo>
                    <a:pt x="293" y="66"/>
                  </a:lnTo>
                  <a:lnTo>
                    <a:pt x="295" y="66"/>
                  </a:lnTo>
                  <a:lnTo>
                    <a:pt x="293" y="68"/>
                  </a:lnTo>
                  <a:lnTo>
                    <a:pt x="291" y="72"/>
                  </a:lnTo>
                  <a:lnTo>
                    <a:pt x="288" y="74"/>
                  </a:lnTo>
                  <a:lnTo>
                    <a:pt x="291" y="74"/>
                  </a:lnTo>
                  <a:lnTo>
                    <a:pt x="288" y="76"/>
                  </a:lnTo>
                  <a:lnTo>
                    <a:pt x="286" y="76"/>
                  </a:lnTo>
                  <a:lnTo>
                    <a:pt x="288" y="76"/>
                  </a:lnTo>
                  <a:lnTo>
                    <a:pt x="288" y="78"/>
                  </a:lnTo>
                  <a:lnTo>
                    <a:pt x="288" y="78"/>
                  </a:lnTo>
                  <a:lnTo>
                    <a:pt x="291" y="78"/>
                  </a:lnTo>
                  <a:lnTo>
                    <a:pt x="291" y="80"/>
                  </a:lnTo>
                  <a:lnTo>
                    <a:pt x="288" y="82"/>
                  </a:lnTo>
                  <a:lnTo>
                    <a:pt x="286" y="84"/>
                  </a:lnTo>
                  <a:lnTo>
                    <a:pt x="284" y="84"/>
                  </a:lnTo>
                  <a:lnTo>
                    <a:pt x="282" y="84"/>
                  </a:lnTo>
                  <a:lnTo>
                    <a:pt x="282" y="84"/>
                  </a:lnTo>
                  <a:lnTo>
                    <a:pt x="278" y="82"/>
                  </a:lnTo>
                  <a:lnTo>
                    <a:pt x="278" y="82"/>
                  </a:lnTo>
                  <a:lnTo>
                    <a:pt x="276" y="80"/>
                  </a:lnTo>
                  <a:lnTo>
                    <a:pt x="276" y="82"/>
                  </a:lnTo>
                  <a:lnTo>
                    <a:pt x="276" y="84"/>
                  </a:lnTo>
                  <a:lnTo>
                    <a:pt x="276" y="87"/>
                  </a:lnTo>
                  <a:lnTo>
                    <a:pt x="274" y="89"/>
                  </a:lnTo>
                  <a:lnTo>
                    <a:pt x="276" y="91"/>
                  </a:lnTo>
                  <a:lnTo>
                    <a:pt x="276" y="99"/>
                  </a:lnTo>
                  <a:lnTo>
                    <a:pt x="276" y="101"/>
                  </a:lnTo>
                  <a:lnTo>
                    <a:pt x="278" y="99"/>
                  </a:lnTo>
                  <a:lnTo>
                    <a:pt x="278" y="99"/>
                  </a:lnTo>
                  <a:lnTo>
                    <a:pt x="280" y="97"/>
                  </a:lnTo>
                  <a:lnTo>
                    <a:pt x="278" y="97"/>
                  </a:lnTo>
                  <a:lnTo>
                    <a:pt x="278" y="97"/>
                  </a:lnTo>
                  <a:lnTo>
                    <a:pt x="278" y="95"/>
                  </a:lnTo>
                  <a:lnTo>
                    <a:pt x="278" y="95"/>
                  </a:lnTo>
                  <a:lnTo>
                    <a:pt x="278" y="93"/>
                  </a:lnTo>
                  <a:lnTo>
                    <a:pt x="278" y="93"/>
                  </a:lnTo>
                  <a:lnTo>
                    <a:pt x="280" y="93"/>
                  </a:lnTo>
                  <a:lnTo>
                    <a:pt x="282" y="91"/>
                  </a:lnTo>
                  <a:lnTo>
                    <a:pt x="282" y="91"/>
                  </a:lnTo>
                  <a:lnTo>
                    <a:pt x="282" y="91"/>
                  </a:lnTo>
                  <a:lnTo>
                    <a:pt x="282" y="89"/>
                  </a:lnTo>
                  <a:lnTo>
                    <a:pt x="282" y="89"/>
                  </a:lnTo>
                  <a:lnTo>
                    <a:pt x="284" y="89"/>
                  </a:lnTo>
                  <a:lnTo>
                    <a:pt x="284" y="87"/>
                  </a:lnTo>
                  <a:lnTo>
                    <a:pt x="284" y="87"/>
                  </a:lnTo>
                  <a:lnTo>
                    <a:pt x="288" y="89"/>
                  </a:lnTo>
                  <a:lnTo>
                    <a:pt x="288" y="91"/>
                  </a:lnTo>
                  <a:lnTo>
                    <a:pt x="288" y="93"/>
                  </a:lnTo>
                  <a:lnTo>
                    <a:pt x="288" y="93"/>
                  </a:lnTo>
                  <a:lnTo>
                    <a:pt x="291" y="93"/>
                  </a:lnTo>
                  <a:lnTo>
                    <a:pt x="291" y="93"/>
                  </a:lnTo>
                  <a:lnTo>
                    <a:pt x="291" y="91"/>
                  </a:lnTo>
                  <a:lnTo>
                    <a:pt x="291" y="91"/>
                  </a:lnTo>
                  <a:lnTo>
                    <a:pt x="293" y="91"/>
                  </a:lnTo>
                  <a:lnTo>
                    <a:pt x="293" y="91"/>
                  </a:lnTo>
                  <a:lnTo>
                    <a:pt x="293" y="93"/>
                  </a:lnTo>
                  <a:lnTo>
                    <a:pt x="293" y="93"/>
                  </a:lnTo>
                  <a:lnTo>
                    <a:pt x="297" y="95"/>
                  </a:lnTo>
                  <a:lnTo>
                    <a:pt x="295" y="95"/>
                  </a:lnTo>
                  <a:lnTo>
                    <a:pt x="293" y="97"/>
                  </a:lnTo>
                  <a:lnTo>
                    <a:pt x="291" y="99"/>
                  </a:lnTo>
                  <a:lnTo>
                    <a:pt x="293" y="101"/>
                  </a:lnTo>
                  <a:lnTo>
                    <a:pt x="293" y="103"/>
                  </a:lnTo>
                  <a:lnTo>
                    <a:pt x="295" y="103"/>
                  </a:lnTo>
                  <a:lnTo>
                    <a:pt x="297" y="103"/>
                  </a:lnTo>
                  <a:lnTo>
                    <a:pt x="297" y="101"/>
                  </a:lnTo>
                  <a:lnTo>
                    <a:pt x="299" y="103"/>
                  </a:lnTo>
                  <a:lnTo>
                    <a:pt x="299" y="103"/>
                  </a:lnTo>
                  <a:lnTo>
                    <a:pt x="297" y="105"/>
                  </a:lnTo>
                  <a:lnTo>
                    <a:pt x="297" y="105"/>
                  </a:lnTo>
                  <a:lnTo>
                    <a:pt x="295" y="107"/>
                  </a:lnTo>
                  <a:lnTo>
                    <a:pt x="293" y="105"/>
                  </a:lnTo>
                  <a:lnTo>
                    <a:pt x="291" y="105"/>
                  </a:lnTo>
                  <a:lnTo>
                    <a:pt x="291" y="105"/>
                  </a:lnTo>
                  <a:lnTo>
                    <a:pt x="288" y="103"/>
                  </a:lnTo>
                  <a:lnTo>
                    <a:pt x="288" y="101"/>
                  </a:lnTo>
                  <a:lnTo>
                    <a:pt x="288" y="101"/>
                  </a:lnTo>
                  <a:lnTo>
                    <a:pt x="286" y="101"/>
                  </a:lnTo>
                  <a:lnTo>
                    <a:pt x="286" y="101"/>
                  </a:lnTo>
                  <a:lnTo>
                    <a:pt x="284" y="99"/>
                  </a:lnTo>
                  <a:lnTo>
                    <a:pt x="282" y="101"/>
                  </a:lnTo>
                  <a:lnTo>
                    <a:pt x="282" y="103"/>
                  </a:lnTo>
                  <a:lnTo>
                    <a:pt x="282" y="105"/>
                  </a:lnTo>
                  <a:lnTo>
                    <a:pt x="282" y="105"/>
                  </a:lnTo>
                  <a:lnTo>
                    <a:pt x="280" y="111"/>
                  </a:lnTo>
                  <a:lnTo>
                    <a:pt x="280" y="113"/>
                  </a:lnTo>
                  <a:lnTo>
                    <a:pt x="280" y="115"/>
                  </a:lnTo>
                  <a:lnTo>
                    <a:pt x="280" y="117"/>
                  </a:lnTo>
                  <a:lnTo>
                    <a:pt x="282" y="117"/>
                  </a:lnTo>
                  <a:lnTo>
                    <a:pt x="282" y="117"/>
                  </a:lnTo>
                  <a:lnTo>
                    <a:pt x="284" y="117"/>
                  </a:lnTo>
                  <a:lnTo>
                    <a:pt x="284" y="115"/>
                  </a:lnTo>
                  <a:lnTo>
                    <a:pt x="284" y="115"/>
                  </a:lnTo>
                  <a:lnTo>
                    <a:pt x="282" y="113"/>
                  </a:lnTo>
                  <a:lnTo>
                    <a:pt x="282" y="109"/>
                  </a:lnTo>
                  <a:lnTo>
                    <a:pt x="284" y="107"/>
                  </a:lnTo>
                  <a:lnTo>
                    <a:pt x="284" y="107"/>
                  </a:lnTo>
                  <a:lnTo>
                    <a:pt x="284" y="107"/>
                  </a:lnTo>
                  <a:lnTo>
                    <a:pt x="284" y="111"/>
                  </a:lnTo>
                  <a:lnTo>
                    <a:pt x="286" y="113"/>
                  </a:lnTo>
                  <a:lnTo>
                    <a:pt x="286" y="111"/>
                  </a:lnTo>
                  <a:lnTo>
                    <a:pt x="288" y="107"/>
                  </a:lnTo>
                  <a:lnTo>
                    <a:pt x="291" y="107"/>
                  </a:lnTo>
                  <a:lnTo>
                    <a:pt x="291" y="109"/>
                  </a:lnTo>
                  <a:lnTo>
                    <a:pt x="291" y="113"/>
                  </a:lnTo>
                  <a:lnTo>
                    <a:pt x="291" y="113"/>
                  </a:lnTo>
                  <a:lnTo>
                    <a:pt x="293" y="115"/>
                  </a:lnTo>
                  <a:lnTo>
                    <a:pt x="293" y="115"/>
                  </a:lnTo>
                  <a:lnTo>
                    <a:pt x="295" y="115"/>
                  </a:lnTo>
                  <a:lnTo>
                    <a:pt x="295" y="113"/>
                  </a:lnTo>
                  <a:lnTo>
                    <a:pt x="295" y="111"/>
                  </a:lnTo>
                  <a:lnTo>
                    <a:pt x="295" y="111"/>
                  </a:lnTo>
                  <a:lnTo>
                    <a:pt x="295" y="111"/>
                  </a:lnTo>
                  <a:lnTo>
                    <a:pt x="297" y="113"/>
                  </a:lnTo>
                  <a:lnTo>
                    <a:pt x="295" y="113"/>
                  </a:lnTo>
                  <a:lnTo>
                    <a:pt x="295" y="115"/>
                  </a:lnTo>
                  <a:lnTo>
                    <a:pt x="297" y="115"/>
                  </a:lnTo>
                  <a:lnTo>
                    <a:pt x="297" y="115"/>
                  </a:lnTo>
                  <a:lnTo>
                    <a:pt x="299" y="115"/>
                  </a:lnTo>
                  <a:lnTo>
                    <a:pt x="301" y="113"/>
                  </a:lnTo>
                  <a:lnTo>
                    <a:pt x="301" y="115"/>
                  </a:lnTo>
                  <a:lnTo>
                    <a:pt x="301" y="115"/>
                  </a:lnTo>
                  <a:lnTo>
                    <a:pt x="299" y="117"/>
                  </a:lnTo>
                  <a:lnTo>
                    <a:pt x="297" y="117"/>
                  </a:lnTo>
                  <a:lnTo>
                    <a:pt x="299" y="117"/>
                  </a:lnTo>
                  <a:lnTo>
                    <a:pt x="299" y="119"/>
                  </a:lnTo>
                  <a:lnTo>
                    <a:pt x="301" y="117"/>
                  </a:lnTo>
                  <a:lnTo>
                    <a:pt x="301" y="117"/>
                  </a:lnTo>
                  <a:lnTo>
                    <a:pt x="303" y="117"/>
                  </a:lnTo>
                  <a:lnTo>
                    <a:pt x="303" y="119"/>
                  </a:lnTo>
                  <a:lnTo>
                    <a:pt x="305" y="119"/>
                  </a:lnTo>
                  <a:lnTo>
                    <a:pt x="307" y="121"/>
                  </a:lnTo>
                  <a:lnTo>
                    <a:pt x="309" y="121"/>
                  </a:lnTo>
                  <a:lnTo>
                    <a:pt x="311" y="119"/>
                  </a:lnTo>
                  <a:lnTo>
                    <a:pt x="313" y="117"/>
                  </a:lnTo>
                  <a:lnTo>
                    <a:pt x="313" y="113"/>
                  </a:lnTo>
                  <a:lnTo>
                    <a:pt x="313" y="113"/>
                  </a:lnTo>
                  <a:lnTo>
                    <a:pt x="313" y="115"/>
                  </a:lnTo>
                  <a:lnTo>
                    <a:pt x="315" y="115"/>
                  </a:lnTo>
                  <a:lnTo>
                    <a:pt x="313" y="117"/>
                  </a:lnTo>
                  <a:lnTo>
                    <a:pt x="315" y="119"/>
                  </a:lnTo>
                  <a:lnTo>
                    <a:pt x="313" y="121"/>
                  </a:lnTo>
                  <a:lnTo>
                    <a:pt x="313" y="123"/>
                  </a:lnTo>
                  <a:lnTo>
                    <a:pt x="311" y="123"/>
                  </a:lnTo>
                  <a:lnTo>
                    <a:pt x="309" y="123"/>
                  </a:lnTo>
                  <a:lnTo>
                    <a:pt x="301" y="123"/>
                  </a:lnTo>
                  <a:lnTo>
                    <a:pt x="299" y="123"/>
                  </a:lnTo>
                  <a:lnTo>
                    <a:pt x="297" y="123"/>
                  </a:lnTo>
                  <a:lnTo>
                    <a:pt x="297" y="121"/>
                  </a:lnTo>
                  <a:lnTo>
                    <a:pt x="297" y="121"/>
                  </a:lnTo>
                  <a:lnTo>
                    <a:pt x="299" y="121"/>
                  </a:lnTo>
                  <a:lnTo>
                    <a:pt x="297" y="121"/>
                  </a:lnTo>
                  <a:lnTo>
                    <a:pt x="295" y="123"/>
                  </a:lnTo>
                  <a:lnTo>
                    <a:pt x="293" y="123"/>
                  </a:lnTo>
                  <a:lnTo>
                    <a:pt x="293" y="123"/>
                  </a:lnTo>
                  <a:lnTo>
                    <a:pt x="288" y="123"/>
                  </a:lnTo>
                  <a:lnTo>
                    <a:pt x="288" y="125"/>
                  </a:lnTo>
                  <a:lnTo>
                    <a:pt x="291" y="125"/>
                  </a:lnTo>
                  <a:lnTo>
                    <a:pt x="291" y="125"/>
                  </a:lnTo>
                  <a:lnTo>
                    <a:pt x="291" y="125"/>
                  </a:lnTo>
                  <a:lnTo>
                    <a:pt x="288" y="128"/>
                  </a:lnTo>
                  <a:lnTo>
                    <a:pt x="288" y="130"/>
                  </a:lnTo>
                  <a:lnTo>
                    <a:pt x="291" y="130"/>
                  </a:lnTo>
                  <a:lnTo>
                    <a:pt x="293" y="130"/>
                  </a:lnTo>
                  <a:lnTo>
                    <a:pt x="295" y="130"/>
                  </a:lnTo>
                  <a:lnTo>
                    <a:pt x="295" y="128"/>
                  </a:lnTo>
                  <a:lnTo>
                    <a:pt x="295" y="128"/>
                  </a:lnTo>
                  <a:lnTo>
                    <a:pt x="295" y="128"/>
                  </a:lnTo>
                  <a:lnTo>
                    <a:pt x="295" y="128"/>
                  </a:lnTo>
                  <a:lnTo>
                    <a:pt x="297" y="125"/>
                  </a:lnTo>
                  <a:lnTo>
                    <a:pt x="297" y="125"/>
                  </a:lnTo>
                  <a:lnTo>
                    <a:pt x="297" y="125"/>
                  </a:lnTo>
                  <a:lnTo>
                    <a:pt x="297" y="125"/>
                  </a:lnTo>
                  <a:lnTo>
                    <a:pt x="299" y="128"/>
                  </a:lnTo>
                  <a:lnTo>
                    <a:pt x="299" y="128"/>
                  </a:lnTo>
                  <a:lnTo>
                    <a:pt x="297" y="130"/>
                  </a:lnTo>
                  <a:lnTo>
                    <a:pt x="299" y="130"/>
                  </a:lnTo>
                  <a:lnTo>
                    <a:pt x="297" y="132"/>
                  </a:lnTo>
                  <a:lnTo>
                    <a:pt x="295" y="132"/>
                  </a:lnTo>
                  <a:lnTo>
                    <a:pt x="293" y="134"/>
                  </a:lnTo>
                  <a:lnTo>
                    <a:pt x="293" y="136"/>
                  </a:lnTo>
                  <a:lnTo>
                    <a:pt x="293" y="138"/>
                  </a:lnTo>
                  <a:lnTo>
                    <a:pt x="293" y="140"/>
                  </a:lnTo>
                  <a:lnTo>
                    <a:pt x="293" y="140"/>
                  </a:lnTo>
                  <a:lnTo>
                    <a:pt x="291" y="138"/>
                  </a:lnTo>
                  <a:lnTo>
                    <a:pt x="291" y="136"/>
                  </a:lnTo>
                  <a:lnTo>
                    <a:pt x="288" y="136"/>
                  </a:lnTo>
                  <a:lnTo>
                    <a:pt x="288" y="138"/>
                  </a:lnTo>
                  <a:lnTo>
                    <a:pt x="288" y="140"/>
                  </a:lnTo>
                  <a:lnTo>
                    <a:pt x="288" y="140"/>
                  </a:lnTo>
                  <a:lnTo>
                    <a:pt x="291" y="140"/>
                  </a:lnTo>
                  <a:lnTo>
                    <a:pt x="291" y="142"/>
                  </a:lnTo>
                  <a:lnTo>
                    <a:pt x="293" y="144"/>
                  </a:lnTo>
                  <a:lnTo>
                    <a:pt x="293" y="144"/>
                  </a:lnTo>
                  <a:lnTo>
                    <a:pt x="293" y="146"/>
                  </a:lnTo>
                  <a:lnTo>
                    <a:pt x="295" y="146"/>
                  </a:lnTo>
                  <a:lnTo>
                    <a:pt x="297" y="150"/>
                  </a:lnTo>
                  <a:lnTo>
                    <a:pt x="299" y="152"/>
                  </a:lnTo>
                  <a:lnTo>
                    <a:pt x="301" y="154"/>
                  </a:lnTo>
                  <a:lnTo>
                    <a:pt x="301" y="154"/>
                  </a:lnTo>
                  <a:lnTo>
                    <a:pt x="301" y="152"/>
                  </a:lnTo>
                  <a:lnTo>
                    <a:pt x="299" y="148"/>
                  </a:lnTo>
                  <a:lnTo>
                    <a:pt x="299" y="146"/>
                  </a:lnTo>
                  <a:lnTo>
                    <a:pt x="301" y="148"/>
                  </a:lnTo>
                  <a:lnTo>
                    <a:pt x="307" y="152"/>
                  </a:lnTo>
                  <a:lnTo>
                    <a:pt x="309" y="154"/>
                  </a:lnTo>
                  <a:lnTo>
                    <a:pt x="309" y="154"/>
                  </a:lnTo>
                  <a:lnTo>
                    <a:pt x="311" y="154"/>
                  </a:lnTo>
                  <a:lnTo>
                    <a:pt x="313" y="156"/>
                  </a:lnTo>
                  <a:lnTo>
                    <a:pt x="315" y="160"/>
                  </a:lnTo>
                  <a:lnTo>
                    <a:pt x="317" y="160"/>
                  </a:lnTo>
                  <a:lnTo>
                    <a:pt x="317" y="158"/>
                  </a:lnTo>
                  <a:lnTo>
                    <a:pt x="317" y="156"/>
                  </a:lnTo>
                  <a:lnTo>
                    <a:pt x="317" y="154"/>
                  </a:lnTo>
                  <a:lnTo>
                    <a:pt x="317" y="154"/>
                  </a:lnTo>
                  <a:lnTo>
                    <a:pt x="317" y="152"/>
                  </a:lnTo>
                  <a:lnTo>
                    <a:pt x="315" y="152"/>
                  </a:lnTo>
                  <a:lnTo>
                    <a:pt x="317" y="150"/>
                  </a:lnTo>
                  <a:lnTo>
                    <a:pt x="319" y="146"/>
                  </a:lnTo>
                  <a:lnTo>
                    <a:pt x="319" y="144"/>
                  </a:lnTo>
                  <a:lnTo>
                    <a:pt x="321" y="146"/>
                  </a:lnTo>
                  <a:lnTo>
                    <a:pt x="321" y="148"/>
                  </a:lnTo>
                  <a:lnTo>
                    <a:pt x="319" y="150"/>
                  </a:lnTo>
                  <a:lnTo>
                    <a:pt x="319" y="150"/>
                  </a:lnTo>
                  <a:lnTo>
                    <a:pt x="319" y="152"/>
                  </a:lnTo>
                  <a:lnTo>
                    <a:pt x="321" y="152"/>
                  </a:lnTo>
                  <a:lnTo>
                    <a:pt x="321" y="152"/>
                  </a:lnTo>
                  <a:lnTo>
                    <a:pt x="321" y="154"/>
                  </a:lnTo>
                  <a:lnTo>
                    <a:pt x="321" y="154"/>
                  </a:lnTo>
                  <a:lnTo>
                    <a:pt x="323" y="156"/>
                  </a:lnTo>
                  <a:lnTo>
                    <a:pt x="323" y="156"/>
                  </a:lnTo>
                  <a:lnTo>
                    <a:pt x="323" y="156"/>
                  </a:lnTo>
                  <a:lnTo>
                    <a:pt x="323" y="156"/>
                  </a:lnTo>
                  <a:lnTo>
                    <a:pt x="323" y="150"/>
                  </a:lnTo>
                  <a:lnTo>
                    <a:pt x="325" y="148"/>
                  </a:lnTo>
                  <a:lnTo>
                    <a:pt x="327" y="142"/>
                  </a:lnTo>
                  <a:lnTo>
                    <a:pt x="327" y="142"/>
                  </a:lnTo>
                  <a:lnTo>
                    <a:pt x="327" y="140"/>
                  </a:lnTo>
                  <a:lnTo>
                    <a:pt x="327" y="140"/>
                  </a:lnTo>
                  <a:lnTo>
                    <a:pt x="327" y="138"/>
                  </a:lnTo>
                  <a:lnTo>
                    <a:pt x="329" y="138"/>
                  </a:lnTo>
                  <a:lnTo>
                    <a:pt x="329" y="140"/>
                  </a:lnTo>
                  <a:lnTo>
                    <a:pt x="329" y="140"/>
                  </a:lnTo>
                  <a:lnTo>
                    <a:pt x="329" y="142"/>
                  </a:lnTo>
                  <a:lnTo>
                    <a:pt x="329" y="144"/>
                  </a:lnTo>
                  <a:lnTo>
                    <a:pt x="327" y="148"/>
                  </a:lnTo>
                  <a:lnTo>
                    <a:pt x="327" y="152"/>
                  </a:lnTo>
                  <a:lnTo>
                    <a:pt x="327" y="154"/>
                  </a:lnTo>
                  <a:lnTo>
                    <a:pt x="329" y="156"/>
                  </a:lnTo>
                  <a:lnTo>
                    <a:pt x="329" y="156"/>
                  </a:lnTo>
                  <a:lnTo>
                    <a:pt x="334" y="156"/>
                  </a:lnTo>
                  <a:lnTo>
                    <a:pt x="336" y="156"/>
                  </a:lnTo>
                  <a:lnTo>
                    <a:pt x="334" y="158"/>
                  </a:lnTo>
                  <a:lnTo>
                    <a:pt x="329" y="160"/>
                  </a:lnTo>
                  <a:lnTo>
                    <a:pt x="327" y="162"/>
                  </a:lnTo>
                  <a:lnTo>
                    <a:pt x="327" y="166"/>
                  </a:lnTo>
                  <a:lnTo>
                    <a:pt x="327" y="169"/>
                  </a:lnTo>
                  <a:lnTo>
                    <a:pt x="327" y="169"/>
                  </a:lnTo>
                  <a:lnTo>
                    <a:pt x="329" y="169"/>
                  </a:lnTo>
                  <a:lnTo>
                    <a:pt x="329" y="169"/>
                  </a:lnTo>
                  <a:lnTo>
                    <a:pt x="329" y="169"/>
                  </a:lnTo>
                  <a:lnTo>
                    <a:pt x="329" y="166"/>
                  </a:lnTo>
                  <a:lnTo>
                    <a:pt x="329" y="166"/>
                  </a:lnTo>
                  <a:lnTo>
                    <a:pt x="331" y="164"/>
                  </a:lnTo>
                  <a:lnTo>
                    <a:pt x="336" y="164"/>
                  </a:lnTo>
                  <a:lnTo>
                    <a:pt x="338" y="164"/>
                  </a:lnTo>
                  <a:lnTo>
                    <a:pt x="338" y="164"/>
                  </a:lnTo>
                  <a:lnTo>
                    <a:pt x="340" y="162"/>
                  </a:lnTo>
                  <a:lnTo>
                    <a:pt x="340" y="164"/>
                  </a:lnTo>
                  <a:lnTo>
                    <a:pt x="342" y="164"/>
                  </a:lnTo>
                  <a:lnTo>
                    <a:pt x="340" y="164"/>
                  </a:lnTo>
                  <a:lnTo>
                    <a:pt x="338" y="166"/>
                  </a:lnTo>
                  <a:lnTo>
                    <a:pt x="338" y="166"/>
                  </a:lnTo>
                  <a:lnTo>
                    <a:pt x="338" y="166"/>
                  </a:lnTo>
                  <a:lnTo>
                    <a:pt x="338" y="169"/>
                  </a:lnTo>
                  <a:lnTo>
                    <a:pt x="338" y="169"/>
                  </a:lnTo>
                  <a:lnTo>
                    <a:pt x="336" y="171"/>
                  </a:lnTo>
                  <a:lnTo>
                    <a:pt x="336" y="171"/>
                  </a:lnTo>
                  <a:lnTo>
                    <a:pt x="336" y="173"/>
                  </a:lnTo>
                  <a:lnTo>
                    <a:pt x="336" y="173"/>
                  </a:lnTo>
                  <a:lnTo>
                    <a:pt x="336" y="173"/>
                  </a:lnTo>
                  <a:lnTo>
                    <a:pt x="336" y="173"/>
                  </a:lnTo>
                  <a:lnTo>
                    <a:pt x="338" y="173"/>
                  </a:lnTo>
                  <a:lnTo>
                    <a:pt x="338" y="171"/>
                  </a:lnTo>
                  <a:lnTo>
                    <a:pt x="340" y="171"/>
                  </a:lnTo>
                  <a:lnTo>
                    <a:pt x="342" y="171"/>
                  </a:lnTo>
                  <a:lnTo>
                    <a:pt x="342" y="171"/>
                  </a:lnTo>
                  <a:lnTo>
                    <a:pt x="342" y="169"/>
                  </a:lnTo>
                  <a:lnTo>
                    <a:pt x="344" y="166"/>
                  </a:lnTo>
                  <a:lnTo>
                    <a:pt x="344" y="166"/>
                  </a:lnTo>
                  <a:lnTo>
                    <a:pt x="344" y="171"/>
                  </a:lnTo>
                  <a:lnTo>
                    <a:pt x="342" y="175"/>
                  </a:lnTo>
                  <a:lnTo>
                    <a:pt x="340" y="175"/>
                  </a:lnTo>
                  <a:lnTo>
                    <a:pt x="340" y="177"/>
                  </a:lnTo>
                  <a:lnTo>
                    <a:pt x="338" y="177"/>
                  </a:lnTo>
                  <a:lnTo>
                    <a:pt x="338" y="177"/>
                  </a:lnTo>
                  <a:lnTo>
                    <a:pt x="338" y="179"/>
                  </a:lnTo>
                  <a:lnTo>
                    <a:pt x="336" y="183"/>
                  </a:lnTo>
                  <a:lnTo>
                    <a:pt x="336" y="183"/>
                  </a:lnTo>
                  <a:lnTo>
                    <a:pt x="336" y="183"/>
                  </a:lnTo>
                  <a:lnTo>
                    <a:pt x="336" y="183"/>
                  </a:lnTo>
                  <a:lnTo>
                    <a:pt x="336" y="183"/>
                  </a:lnTo>
                  <a:lnTo>
                    <a:pt x="336" y="183"/>
                  </a:lnTo>
                  <a:lnTo>
                    <a:pt x="338" y="183"/>
                  </a:lnTo>
                  <a:lnTo>
                    <a:pt x="338" y="183"/>
                  </a:lnTo>
                  <a:lnTo>
                    <a:pt x="338" y="183"/>
                  </a:lnTo>
                  <a:lnTo>
                    <a:pt x="338" y="181"/>
                  </a:lnTo>
                  <a:lnTo>
                    <a:pt x="340" y="181"/>
                  </a:lnTo>
                  <a:lnTo>
                    <a:pt x="340" y="183"/>
                  </a:lnTo>
                  <a:lnTo>
                    <a:pt x="338" y="185"/>
                  </a:lnTo>
                  <a:lnTo>
                    <a:pt x="338" y="185"/>
                  </a:lnTo>
                  <a:lnTo>
                    <a:pt x="338" y="185"/>
                  </a:lnTo>
                  <a:lnTo>
                    <a:pt x="338" y="187"/>
                  </a:lnTo>
                  <a:lnTo>
                    <a:pt x="338" y="187"/>
                  </a:lnTo>
                  <a:lnTo>
                    <a:pt x="338" y="187"/>
                  </a:lnTo>
                  <a:lnTo>
                    <a:pt x="338" y="189"/>
                  </a:lnTo>
                  <a:lnTo>
                    <a:pt x="340" y="189"/>
                  </a:lnTo>
                  <a:lnTo>
                    <a:pt x="340" y="187"/>
                  </a:lnTo>
                  <a:lnTo>
                    <a:pt x="342" y="185"/>
                  </a:lnTo>
                  <a:lnTo>
                    <a:pt x="344" y="183"/>
                  </a:lnTo>
                  <a:lnTo>
                    <a:pt x="346" y="181"/>
                  </a:lnTo>
                  <a:lnTo>
                    <a:pt x="354" y="181"/>
                  </a:lnTo>
                  <a:lnTo>
                    <a:pt x="356" y="181"/>
                  </a:lnTo>
                  <a:lnTo>
                    <a:pt x="356" y="181"/>
                  </a:lnTo>
                  <a:lnTo>
                    <a:pt x="356" y="179"/>
                  </a:lnTo>
                  <a:lnTo>
                    <a:pt x="358" y="177"/>
                  </a:lnTo>
                  <a:lnTo>
                    <a:pt x="358" y="177"/>
                  </a:lnTo>
                  <a:lnTo>
                    <a:pt x="360" y="177"/>
                  </a:lnTo>
                  <a:lnTo>
                    <a:pt x="362" y="175"/>
                  </a:lnTo>
                  <a:lnTo>
                    <a:pt x="366" y="175"/>
                  </a:lnTo>
                  <a:lnTo>
                    <a:pt x="370" y="173"/>
                  </a:lnTo>
                  <a:lnTo>
                    <a:pt x="375" y="171"/>
                  </a:lnTo>
                  <a:lnTo>
                    <a:pt x="377" y="171"/>
                  </a:lnTo>
                  <a:lnTo>
                    <a:pt x="377" y="171"/>
                  </a:lnTo>
                  <a:lnTo>
                    <a:pt x="377" y="169"/>
                  </a:lnTo>
                  <a:lnTo>
                    <a:pt x="379" y="162"/>
                  </a:lnTo>
                  <a:lnTo>
                    <a:pt x="377" y="162"/>
                  </a:lnTo>
                  <a:lnTo>
                    <a:pt x="379" y="162"/>
                  </a:lnTo>
                  <a:lnTo>
                    <a:pt x="379" y="160"/>
                  </a:lnTo>
                  <a:lnTo>
                    <a:pt x="379" y="158"/>
                  </a:lnTo>
                  <a:lnTo>
                    <a:pt x="381" y="158"/>
                  </a:lnTo>
                  <a:lnTo>
                    <a:pt x="383" y="158"/>
                  </a:lnTo>
                  <a:lnTo>
                    <a:pt x="383" y="158"/>
                  </a:lnTo>
                  <a:lnTo>
                    <a:pt x="383" y="158"/>
                  </a:lnTo>
                  <a:lnTo>
                    <a:pt x="383" y="154"/>
                  </a:lnTo>
                  <a:lnTo>
                    <a:pt x="383" y="154"/>
                  </a:lnTo>
                  <a:lnTo>
                    <a:pt x="385" y="152"/>
                  </a:lnTo>
                  <a:lnTo>
                    <a:pt x="383" y="146"/>
                  </a:lnTo>
                  <a:lnTo>
                    <a:pt x="385" y="144"/>
                  </a:lnTo>
                  <a:lnTo>
                    <a:pt x="385" y="144"/>
                  </a:lnTo>
                  <a:lnTo>
                    <a:pt x="387" y="142"/>
                  </a:lnTo>
                  <a:lnTo>
                    <a:pt x="387" y="144"/>
                  </a:lnTo>
                  <a:lnTo>
                    <a:pt x="387" y="144"/>
                  </a:lnTo>
                  <a:lnTo>
                    <a:pt x="391" y="144"/>
                  </a:lnTo>
                  <a:lnTo>
                    <a:pt x="391" y="142"/>
                  </a:lnTo>
                  <a:close/>
                </a:path>
              </a:pathLst>
            </a:custGeom>
            <a:solidFill>
              <a:schemeClr val="accent1"/>
            </a:solidFill>
            <a:ln w="3175" cap="rnd">
              <a:solidFill>
                <a:schemeClr val="bg1"/>
              </a:solidFill>
              <a:prstDash val="solid"/>
              <a:round/>
              <a:headEnd/>
              <a:tailEnd/>
            </a:ln>
          </p:spPr>
          <p:txBody>
            <a:bodyPr vert="horz" wrap="square" lIns="48000" tIns="48000" rIns="0" bIns="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MD</a:t>
              </a:r>
            </a:p>
          </p:txBody>
        </p:sp>
        <p:sp>
          <p:nvSpPr>
            <p:cNvPr id="273" name="Freeform 36">
              <a:extLst>
                <a:ext uri="{FF2B5EF4-FFF2-40B4-BE49-F238E27FC236}">
                  <a16:creationId xmlns:a16="http://schemas.microsoft.com/office/drawing/2014/main" id="{B480191B-2190-2ECF-132C-F77471D105C9}"/>
                </a:ext>
              </a:extLst>
            </p:cNvPr>
            <p:cNvSpPr>
              <a:spLocks noEditPoints="1"/>
            </p:cNvSpPr>
            <p:nvPr/>
          </p:nvSpPr>
          <p:spPr bwMode="auto">
            <a:xfrm>
              <a:off x="4877" y="506"/>
              <a:ext cx="305" cy="158"/>
            </a:xfrm>
            <a:custGeom>
              <a:avLst/>
              <a:gdLst>
                <a:gd name="T0" fmla="*/ 295 w 305"/>
                <a:gd name="T1" fmla="*/ 144 h 158"/>
                <a:gd name="T2" fmla="*/ 293 w 305"/>
                <a:gd name="T3" fmla="*/ 148 h 158"/>
                <a:gd name="T4" fmla="*/ 303 w 305"/>
                <a:gd name="T5" fmla="*/ 144 h 158"/>
                <a:gd name="T6" fmla="*/ 264 w 305"/>
                <a:gd name="T7" fmla="*/ 146 h 158"/>
                <a:gd name="T8" fmla="*/ 250 w 305"/>
                <a:gd name="T9" fmla="*/ 138 h 158"/>
                <a:gd name="T10" fmla="*/ 239 w 305"/>
                <a:gd name="T11" fmla="*/ 152 h 158"/>
                <a:gd name="T12" fmla="*/ 239 w 305"/>
                <a:gd name="T13" fmla="*/ 156 h 158"/>
                <a:gd name="T14" fmla="*/ 295 w 305"/>
                <a:gd name="T15" fmla="*/ 109 h 158"/>
                <a:gd name="T16" fmla="*/ 293 w 305"/>
                <a:gd name="T17" fmla="*/ 92 h 158"/>
                <a:gd name="T18" fmla="*/ 291 w 305"/>
                <a:gd name="T19" fmla="*/ 88 h 158"/>
                <a:gd name="T20" fmla="*/ 266 w 305"/>
                <a:gd name="T21" fmla="*/ 66 h 158"/>
                <a:gd name="T22" fmla="*/ 262 w 305"/>
                <a:gd name="T23" fmla="*/ 72 h 158"/>
                <a:gd name="T24" fmla="*/ 274 w 305"/>
                <a:gd name="T25" fmla="*/ 72 h 158"/>
                <a:gd name="T26" fmla="*/ 282 w 305"/>
                <a:gd name="T27" fmla="*/ 80 h 158"/>
                <a:gd name="T28" fmla="*/ 284 w 305"/>
                <a:gd name="T29" fmla="*/ 95 h 158"/>
                <a:gd name="T30" fmla="*/ 266 w 305"/>
                <a:gd name="T31" fmla="*/ 107 h 158"/>
                <a:gd name="T32" fmla="*/ 237 w 305"/>
                <a:gd name="T33" fmla="*/ 88 h 158"/>
                <a:gd name="T34" fmla="*/ 227 w 305"/>
                <a:gd name="T35" fmla="*/ 80 h 158"/>
                <a:gd name="T36" fmla="*/ 233 w 305"/>
                <a:gd name="T37" fmla="*/ 84 h 158"/>
                <a:gd name="T38" fmla="*/ 219 w 305"/>
                <a:gd name="T39" fmla="*/ 70 h 158"/>
                <a:gd name="T40" fmla="*/ 201 w 305"/>
                <a:gd name="T41" fmla="*/ 60 h 158"/>
                <a:gd name="T42" fmla="*/ 201 w 305"/>
                <a:gd name="T43" fmla="*/ 66 h 158"/>
                <a:gd name="T44" fmla="*/ 196 w 305"/>
                <a:gd name="T45" fmla="*/ 64 h 158"/>
                <a:gd name="T46" fmla="*/ 190 w 305"/>
                <a:gd name="T47" fmla="*/ 60 h 158"/>
                <a:gd name="T48" fmla="*/ 190 w 305"/>
                <a:gd name="T49" fmla="*/ 56 h 158"/>
                <a:gd name="T50" fmla="*/ 192 w 305"/>
                <a:gd name="T51" fmla="*/ 49 h 158"/>
                <a:gd name="T52" fmla="*/ 196 w 305"/>
                <a:gd name="T53" fmla="*/ 43 h 158"/>
                <a:gd name="T54" fmla="*/ 198 w 305"/>
                <a:gd name="T55" fmla="*/ 37 h 158"/>
                <a:gd name="T56" fmla="*/ 201 w 305"/>
                <a:gd name="T57" fmla="*/ 31 h 158"/>
                <a:gd name="T58" fmla="*/ 215 w 305"/>
                <a:gd name="T59" fmla="*/ 23 h 158"/>
                <a:gd name="T60" fmla="*/ 215 w 305"/>
                <a:gd name="T61" fmla="*/ 17 h 158"/>
                <a:gd name="T62" fmla="*/ 209 w 305"/>
                <a:gd name="T63" fmla="*/ 21 h 158"/>
                <a:gd name="T64" fmla="*/ 196 w 305"/>
                <a:gd name="T65" fmla="*/ 13 h 158"/>
                <a:gd name="T66" fmla="*/ 192 w 305"/>
                <a:gd name="T67" fmla="*/ 6 h 158"/>
                <a:gd name="T68" fmla="*/ 184 w 305"/>
                <a:gd name="T69" fmla="*/ 0 h 158"/>
                <a:gd name="T70" fmla="*/ 172 w 305"/>
                <a:gd name="T71" fmla="*/ 13 h 158"/>
                <a:gd name="T72" fmla="*/ 166 w 305"/>
                <a:gd name="T73" fmla="*/ 19 h 158"/>
                <a:gd name="T74" fmla="*/ 160 w 305"/>
                <a:gd name="T75" fmla="*/ 29 h 158"/>
                <a:gd name="T76" fmla="*/ 112 w 305"/>
                <a:gd name="T77" fmla="*/ 39 h 158"/>
                <a:gd name="T78" fmla="*/ 67 w 305"/>
                <a:gd name="T79" fmla="*/ 49 h 158"/>
                <a:gd name="T80" fmla="*/ 67 w 305"/>
                <a:gd name="T81" fmla="*/ 49 h 158"/>
                <a:gd name="T82" fmla="*/ 26 w 305"/>
                <a:gd name="T83" fmla="*/ 58 h 158"/>
                <a:gd name="T84" fmla="*/ 2 w 305"/>
                <a:gd name="T85" fmla="*/ 99 h 158"/>
                <a:gd name="T86" fmla="*/ 43 w 305"/>
                <a:gd name="T87" fmla="*/ 129 h 158"/>
                <a:gd name="T88" fmla="*/ 76 w 305"/>
                <a:gd name="T89" fmla="*/ 123 h 158"/>
                <a:gd name="T90" fmla="*/ 151 w 305"/>
                <a:gd name="T91" fmla="*/ 105 h 158"/>
                <a:gd name="T92" fmla="*/ 176 w 305"/>
                <a:gd name="T93" fmla="*/ 111 h 158"/>
                <a:gd name="T94" fmla="*/ 180 w 305"/>
                <a:gd name="T95" fmla="*/ 121 h 158"/>
                <a:gd name="T96" fmla="*/ 190 w 305"/>
                <a:gd name="T97" fmla="*/ 127 h 158"/>
                <a:gd name="T98" fmla="*/ 194 w 305"/>
                <a:gd name="T99" fmla="*/ 129 h 158"/>
                <a:gd name="T100" fmla="*/ 205 w 305"/>
                <a:gd name="T101" fmla="*/ 146 h 158"/>
                <a:gd name="T102" fmla="*/ 209 w 305"/>
                <a:gd name="T103" fmla="*/ 144 h 158"/>
                <a:gd name="T104" fmla="*/ 219 w 305"/>
                <a:gd name="T105" fmla="*/ 133 h 158"/>
                <a:gd name="T106" fmla="*/ 223 w 305"/>
                <a:gd name="T107" fmla="*/ 129 h 158"/>
                <a:gd name="T108" fmla="*/ 231 w 305"/>
                <a:gd name="T109" fmla="*/ 121 h 158"/>
                <a:gd name="T110" fmla="*/ 237 w 305"/>
                <a:gd name="T111" fmla="*/ 113 h 158"/>
                <a:gd name="T112" fmla="*/ 237 w 305"/>
                <a:gd name="T113" fmla="*/ 119 h 158"/>
                <a:gd name="T114" fmla="*/ 254 w 305"/>
                <a:gd name="T115" fmla="*/ 125 h 158"/>
                <a:gd name="T116" fmla="*/ 266 w 305"/>
                <a:gd name="T117" fmla="*/ 115 h 158"/>
                <a:gd name="T118" fmla="*/ 276 w 305"/>
                <a:gd name="T119" fmla="*/ 1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5" h="158">
                  <a:moveTo>
                    <a:pt x="303" y="144"/>
                  </a:moveTo>
                  <a:lnTo>
                    <a:pt x="299" y="140"/>
                  </a:lnTo>
                  <a:lnTo>
                    <a:pt x="297" y="136"/>
                  </a:lnTo>
                  <a:lnTo>
                    <a:pt x="297" y="136"/>
                  </a:lnTo>
                  <a:lnTo>
                    <a:pt x="295" y="133"/>
                  </a:lnTo>
                  <a:lnTo>
                    <a:pt x="295" y="133"/>
                  </a:lnTo>
                  <a:lnTo>
                    <a:pt x="295" y="133"/>
                  </a:lnTo>
                  <a:lnTo>
                    <a:pt x="295" y="138"/>
                  </a:lnTo>
                  <a:lnTo>
                    <a:pt x="295" y="140"/>
                  </a:lnTo>
                  <a:lnTo>
                    <a:pt x="295" y="144"/>
                  </a:lnTo>
                  <a:lnTo>
                    <a:pt x="295" y="144"/>
                  </a:lnTo>
                  <a:lnTo>
                    <a:pt x="297" y="140"/>
                  </a:lnTo>
                  <a:lnTo>
                    <a:pt x="299" y="140"/>
                  </a:lnTo>
                  <a:lnTo>
                    <a:pt x="299" y="142"/>
                  </a:lnTo>
                  <a:lnTo>
                    <a:pt x="297" y="142"/>
                  </a:lnTo>
                  <a:lnTo>
                    <a:pt x="297" y="144"/>
                  </a:lnTo>
                  <a:lnTo>
                    <a:pt x="295" y="146"/>
                  </a:lnTo>
                  <a:lnTo>
                    <a:pt x="295" y="146"/>
                  </a:lnTo>
                  <a:lnTo>
                    <a:pt x="295" y="146"/>
                  </a:lnTo>
                  <a:lnTo>
                    <a:pt x="293" y="148"/>
                  </a:lnTo>
                  <a:lnTo>
                    <a:pt x="293" y="146"/>
                  </a:lnTo>
                  <a:lnTo>
                    <a:pt x="291" y="146"/>
                  </a:lnTo>
                  <a:lnTo>
                    <a:pt x="289" y="148"/>
                  </a:lnTo>
                  <a:lnTo>
                    <a:pt x="282" y="150"/>
                  </a:lnTo>
                  <a:lnTo>
                    <a:pt x="282" y="150"/>
                  </a:lnTo>
                  <a:lnTo>
                    <a:pt x="293" y="152"/>
                  </a:lnTo>
                  <a:lnTo>
                    <a:pt x="297" y="150"/>
                  </a:lnTo>
                  <a:lnTo>
                    <a:pt x="301" y="150"/>
                  </a:lnTo>
                  <a:lnTo>
                    <a:pt x="305" y="146"/>
                  </a:lnTo>
                  <a:lnTo>
                    <a:pt x="303" y="144"/>
                  </a:lnTo>
                  <a:close/>
                  <a:moveTo>
                    <a:pt x="262" y="142"/>
                  </a:moveTo>
                  <a:lnTo>
                    <a:pt x="260" y="140"/>
                  </a:lnTo>
                  <a:lnTo>
                    <a:pt x="260" y="142"/>
                  </a:lnTo>
                  <a:lnTo>
                    <a:pt x="260" y="144"/>
                  </a:lnTo>
                  <a:lnTo>
                    <a:pt x="258" y="146"/>
                  </a:lnTo>
                  <a:lnTo>
                    <a:pt x="258" y="146"/>
                  </a:lnTo>
                  <a:lnTo>
                    <a:pt x="260" y="148"/>
                  </a:lnTo>
                  <a:lnTo>
                    <a:pt x="262" y="148"/>
                  </a:lnTo>
                  <a:lnTo>
                    <a:pt x="262" y="148"/>
                  </a:lnTo>
                  <a:lnTo>
                    <a:pt x="264" y="146"/>
                  </a:lnTo>
                  <a:lnTo>
                    <a:pt x="262" y="146"/>
                  </a:lnTo>
                  <a:lnTo>
                    <a:pt x="262" y="142"/>
                  </a:lnTo>
                  <a:close/>
                  <a:moveTo>
                    <a:pt x="254" y="144"/>
                  </a:moveTo>
                  <a:lnTo>
                    <a:pt x="252" y="144"/>
                  </a:lnTo>
                  <a:lnTo>
                    <a:pt x="252" y="144"/>
                  </a:lnTo>
                  <a:lnTo>
                    <a:pt x="252" y="142"/>
                  </a:lnTo>
                  <a:lnTo>
                    <a:pt x="254" y="142"/>
                  </a:lnTo>
                  <a:lnTo>
                    <a:pt x="254" y="140"/>
                  </a:lnTo>
                  <a:lnTo>
                    <a:pt x="252" y="138"/>
                  </a:lnTo>
                  <a:lnTo>
                    <a:pt x="250" y="138"/>
                  </a:lnTo>
                  <a:lnTo>
                    <a:pt x="250" y="140"/>
                  </a:lnTo>
                  <a:lnTo>
                    <a:pt x="250" y="142"/>
                  </a:lnTo>
                  <a:lnTo>
                    <a:pt x="248" y="142"/>
                  </a:lnTo>
                  <a:lnTo>
                    <a:pt x="248" y="140"/>
                  </a:lnTo>
                  <a:lnTo>
                    <a:pt x="248" y="140"/>
                  </a:lnTo>
                  <a:lnTo>
                    <a:pt x="244" y="142"/>
                  </a:lnTo>
                  <a:lnTo>
                    <a:pt x="241" y="146"/>
                  </a:lnTo>
                  <a:lnTo>
                    <a:pt x="241" y="146"/>
                  </a:lnTo>
                  <a:lnTo>
                    <a:pt x="239" y="148"/>
                  </a:lnTo>
                  <a:lnTo>
                    <a:pt x="239" y="152"/>
                  </a:lnTo>
                  <a:lnTo>
                    <a:pt x="239" y="152"/>
                  </a:lnTo>
                  <a:lnTo>
                    <a:pt x="237" y="154"/>
                  </a:lnTo>
                  <a:lnTo>
                    <a:pt x="231" y="156"/>
                  </a:lnTo>
                  <a:lnTo>
                    <a:pt x="233" y="156"/>
                  </a:lnTo>
                  <a:lnTo>
                    <a:pt x="233" y="156"/>
                  </a:lnTo>
                  <a:lnTo>
                    <a:pt x="235" y="158"/>
                  </a:lnTo>
                  <a:lnTo>
                    <a:pt x="237" y="158"/>
                  </a:lnTo>
                  <a:lnTo>
                    <a:pt x="237" y="158"/>
                  </a:lnTo>
                  <a:lnTo>
                    <a:pt x="239" y="158"/>
                  </a:lnTo>
                  <a:lnTo>
                    <a:pt x="239" y="156"/>
                  </a:lnTo>
                  <a:lnTo>
                    <a:pt x="241" y="156"/>
                  </a:lnTo>
                  <a:lnTo>
                    <a:pt x="244" y="154"/>
                  </a:lnTo>
                  <a:lnTo>
                    <a:pt x="246" y="152"/>
                  </a:lnTo>
                  <a:lnTo>
                    <a:pt x="258" y="150"/>
                  </a:lnTo>
                  <a:lnTo>
                    <a:pt x="258" y="148"/>
                  </a:lnTo>
                  <a:lnTo>
                    <a:pt x="256" y="144"/>
                  </a:lnTo>
                  <a:lnTo>
                    <a:pt x="254" y="144"/>
                  </a:lnTo>
                  <a:close/>
                  <a:moveTo>
                    <a:pt x="293" y="117"/>
                  </a:moveTo>
                  <a:lnTo>
                    <a:pt x="293" y="111"/>
                  </a:lnTo>
                  <a:lnTo>
                    <a:pt x="295" y="109"/>
                  </a:lnTo>
                  <a:lnTo>
                    <a:pt x="295" y="109"/>
                  </a:lnTo>
                  <a:lnTo>
                    <a:pt x="295" y="107"/>
                  </a:lnTo>
                  <a:lnTo>
                    <a:pt x="293" y="107"/>
                  </a:lnTo>
                  <a:lnTo>
                    <a:pt x="293" y="107"/>
                  </a:lnTo>
                  <a:lnTo>
                    <a:pt x="293" y="109"/>
                  </a:lnTo>
                  <a:lnTo>
                    <a:pt x="293" y="119"/>
                  </a:lnTo>
                  <a:lnTo>
                    <a:pt x="293" y="117"/>
                  </a:lnTo>
                  <a:close/>
                  <a:moveTo>
                    <a:pt x="295" y="105"/>
                  </a:moveTo>
                  <a:lnTo>
                    <a:pt x="293" y="97"/>
                  </a:lnTo>
                  <a:lnTo>
                    <a:pt x="293" y="92"/>
                  </a:lnTo>
                  <a:lnTo>
                    <a:pt x="291" y="90"/>
                  </a:lnTo>
                  <a:lnTo>
                    <a:pt x="289" y="90"/>
                  </a:lnTo>
                  <a:lnTo>
                    <a:pt x="289" y="92"/>
                  </a:lnTo>
                  <a:lnTo>
                    <a:pt x="289" y="90"/>
                  </a:lnTo>
                  <a:lnTo>
                    <a:pt x="287" y="88"/>
                  </a:lnTo>
                  <a:lnTo>
                    <a:pt x="287" y="86"/>
                  </a:lnTo>
                  <a:lnTo>
                    <a:pt x="289" y="86"/>
                  </a:lnTo>
                  <a:lnTo>
                    <a:pt x="291" y="88"/>
                  </a:lnTo>
                  <a:lnTo>
                    <a:pt x="291" y="88"/>
                  </a:lnTo>
                  <a:lnTo>
                    <a:pt x="291" y="88"/>
                  </a:lnTo>
                  <a:lnTo>
                    <a:pt x="291" y="86"/>
                  </a:lnTo>
                  <a:lnTo>
                    <a:pt x="291" y="86"/>
                  </a:lnTo>
                  <a:lnTo>
                    <a:pt x="289" y="84"/>
                  </a:lnTo>
                  <a:lnTo>
                    <a:pt x="282" y="74"/>
                  </a:lnTo>
                  <a:lnTo>
                    <a:pt x="280" y="72"/>
                  </a:lnTo>
                  <a:lnTo>
                    <a:pt x="274" y="68"/>
                  </a:lnTo>
                  <a:lnTo>
                    <a:pt x="272" y="68"/>
                  </a:lnTo>
                  <a:lnTo>
                    <a:pt x="268" y="66"/>
                  </a:lnTo>
                  <a:lnTo>
                    <a:pt x="266" y="66"/>
                  </a:lnTo>
                  <a:lnTo>
                    <a:pt x="266" y="66"/>
                  </a:lnTo>
                  <a:lnTo>
                    <a:pt x="262" y="68"/>
                  </a:lnTo>
                  <a:lnTo>
                    <a:pt x="260" y="68"/>
                  </a:lnTo>
                  <a:lnTo>
                    <a:pt x="260" y="68"/>
                  </a:lnTo>
                  <a:lnTo>
                    <a:pt x="260" y="68"/>
                  </a:lnTo>
                  <a:lnTo>
                    <a:pt x="260" y="70"/>
                  </a:lnTo>
                  <a:lnTo>
                    <a:pt x="260" y="70"/>
                  </a:lnTo>
                  <a:lnTo>
                    <a:pt x="260" y="70"/>
                  </a:lnTo>
                  <a:lnTo>
                    <a:pt x="260" y="70"/>
                  </a:lnTo>
                  <a:lnTo>
                    <a:pt x="260" y="70"/>
                  </a:lnTo>
                  <a:lnTo>
                    <a:pt x="262" y="72"/>
                  </a:lnTo>
                  <a:lnTo>
                    <a:pt x="264" y="74"/>
                  </a:lnTo>
                  <a:lnTo>
                    <a:pt x="264" y="74"/>
                  </a:lnTo>
                  <a:lnTo>
                    <a:pt x="266" y="72"/>
                  </a:lnTo>
                  <a:lnTo>
                    <a:pt x="266" y="72"/>
                  </a:lnTo>
                  <a:lnTo>
                    <a:pt x="266" y="72"/>
                  </a:lnTo>
                  <a:lnTo>
                    <a:pt x="264" y="72"/>
                  </a:lnTo>
                  <a:lnTo>
                    <a:pt x="266" y="70"/>
                  </a:lnTo>
                  <a:lnTo>
                    <a:pt x="268" y="68"/>
                  </a:lnTo>
                  <a:lnTo>
                    <a:pt x="272" y="70"/>
                  </a:lnTo>
                  <a:lnTo>
                    <a:pt x="274" y="72"/>
                  </a:lnTo>
                  <a:lnTo>
                    <a:pt x="274" y="74"/>
                  </a:lnTo>
                  <a:lnTo>
                    <a:pt x="276" y="78"/>
                  </a:lnTo>
                  <a:lnTo>
                    <a:pt x="276" y="80"/>
                  </a:lnTo>
                  <a:lnTo>
                    <a:pt x="278" y="84"/>
                  </a:lnTo>
                  <a:lnTo>
                    <a:pt x="278" y="82"/>
                  </a:lnTo>
                  <a:lnTo>
                    <a:pt x="278" y="80"/>
                  </a:lnTo>
                  <a:lnTo>
                    <a:pt x="278" y="78"/>
                  </a:lnTo>
                  <a:lnTo>
                    <a:pt x="280" y="78"/>
                  </a:lnTo>
                  <a:lnTo>
                    <a:pt x="280" y="80"/>
                  </a:lnTo>
                  <a:lnTo>
                    <a:pt x="282" y="80"/>
                  </a:lnTo>
                  <a:lnTo>
                    <a:pt x="284" y="80"/>
                  </a:lnTo>
                  <a:lnTo>
                    <a:pt x="284" y="80"/>
                  </a:lnTo>
                  <a:lnTo>
                    <a:pt x="282" y="82"/>
                  </a:lnTo>
                  <a:lnTo>
                    <a:pt x="282" y="82"/>
                  </a:lnTo>
                  <a:lnTo>
                    <a:pt x="282" y="82"/>
                  </a:lnTo>
                  <a:lnTo>
                    <a:pt x="284" y="84"/>
                  </a:lnTo>
                  <a:lnTo>
                    <a:pt x="284" y="86"/>
                  </a:lnTo>
                  <a:lnTo>
                    <a:pt x="287" y="90"/>
                  </a:lnTo>
                  <a:lnTo>
                    <a:pt x="284" y="95"/>
                  </a:lnTo>
                  <a:lnTo>
                    <a:pt x="284" y="95"/>
                  </a:lnTo>
                  <a:lnTo>
                    <a:pt x="280" y="97"/>
                  </a:lnTo>
                  <a:lnTo>
                    <a:pt x="278" y="99"/>
                  </a:lnTo>
                  <a:lnTo>
                    <a:pt x="272" y="103"/>
                  </a:lnTo>
                  <a:lnTo>
                    <a:pt x="270" y="105"/>
                  </a:lnTo>
                  <a:lnTo>
                    <a:pt x="266" y="107"/>
                  </a:lnTo>
                  <a:lnTo>
                    <a:pt x="264" y="109"/>
                  </a:lnTo>
                  <a:lnTo>
                    <a:pt x="262" y="109"/>
                  </a:lnTo>
                  <a:lnTo>
                    <a:pt x="262" y="107"/>
                  </a:lnTo>
                  <a:lnTo>
                    <a:pt x="262" y="107"/>
                  </a:lnTo>
                  <a:lnTo>
                    <a:pt x="266" y="107"/>
                  </a:lnTo>
                  <a:lnTo>
                    <a:pt x="266" y="105"/>
                  </a:lnTo>
                  <a:lnTo>
                    <a:pt x="256" y="107"/>
                  </a:lnTo>
                  <a:lnTo>
                    <a:pt x="254" y="107"/>
                  </a:lnTo>
                  <a:lnTo>
                    <a:pt x="248" y="105"/>
                  </a:lnTo>
                  <a:lnTo>
                    <a:pt x="244" y="103"/>
                  </a:lnTo>
                  <a:lnTo>
                    <a:pt x="244" y="101"/>
                  </a:lnTo>
                  <a:lnTo>
                    <a:pt x="244" y="97"/>
                  </a:lnTo>
                  <a:lnTo>
                    <a:pt x="241" y="92"/>
                  </a:lnTo>
                  <a:lnTo>
                    <a:pt x="239" y="90"/>
                  </a:lnTo>
                  <a:lnTo>
                    <a:pt x="237" y="88"/>
                  </a:lnTo>
                  <a:lnTo>
                    <a:pt x="233" y="90"/>
                  </a:lnTo>
                  <a:lnTo>
                    <a:pt x="233" y="90"/>
                  </a:lnTo>
                  <a:lnTo>
                    <a:pt x="231" y="90"/>
                  </a:lnTo>
                  <a:lnTo>
                    <a:pt x="225" y="86"/>
                  </a:lnTo>
                  <a:lnTo>
                    <a:pt x="225" y="86"/>
                  </a:lnTo>
                  <a:lnTo>
                    <a:pt x="227" y="84"/>
                  </a:lnTo>
                  <a:lnTo>
                    <a:pt x="227" y="84"/>
                  </a:lnTo>
                  <a:lnTo>
                    <a:pt x="227" y="86"/>
                  </a:lnTo>
                  <a:lnTo>
                    <a:pt x="227" y="80"/>
                  </a:lnTo>
                  <a:lnTo>
                    <a:pt x="227" y="80"/>
                  </a:lnTo>
                  <a:lnTo>
                    <a:pt x="229" y="80"/>
                  </a:lnTo>
                  <a:lnTo>
                    <a:pt x="229" y="80"/>
                  </a:lnTo>
                  <a:lnTo>
                    <a:pt x="231" y="84"/>
                  </a:lnTo>
                  <a:lnTo>
                    <a:pt x="231" y="84"/>
                  </a:lnTo>
                  <a:lnTo>
                    <a:pt x="231" y="84"/>
                  </a:lnTo>
                  <a:lnTo>
                    <a:pt x="229" y="84"/>
                  </a:lnTo>
                  <a:lnTo>
                    <a:pt x="231" y="84"/>
                  </a:lnTo>
                  <a:lnTo>
                    <a:pt x="231" y="84"/>
                  </a:lnTo>
                  <a:lnTo>
                    <a:pt x="233" y="84"/>
                  </a:lnTo>
                  <a:lnTo>
                    <a:pt x="233" y="84"/>
                  </a:lnTo>
                  <a:lnTo>
                    <a:pt x="233" y="82"/>
                  </a:lnTo>
                  <a:lnTo>
                    <a:pt x="233" y="82"/>
                  </a:lnTo>
                  <a:lnTo>
                    <a:pt x="233" y="82"/>
                  </a:lnTo>
                  <a:lnTo>
                    <a:pt x="229" y="80"/>
                  </a:lnTo>
                  <a:lnTo>
                    <a:pt x="229" y="78"/>
                  </a:lnTo>
                  <a:lnTo>
                    <a:pt x="229" y="76"/>
                  </a:lnTo>
                  <a:lnTo>
                    <a:pt x="225" y="76"/>
                  </a:lnTo>
                  <a:lnTo>
                    <a:pt x="223" y="72"/>
                  </a:lnTo>
                  <a:lnTo>
                    <a:pt x="221" y="70"/>
                  </a:lnTo>
                  <a:lnTo>
                    <a:pt x="219" y="70"/>
                  </a:lnTo>
                  <a:lnTo>
                    <a:pt x="219" y="70"/>
                  </a:lnTo>
                  <a:lnTo>
                    <a:pt x="219" y="70"/>
                  </a:lnTo>
                  <a:lnTo>
                    <a:pt x="219" y="66"/>
                  </a:lnTo>
                  <a:lnTo>
                    <a:pt x="219" y="66"/>
                  </a:lnTo>
                  <a:lnTo>
                    <a:pt x="215" y="64"/>
                  </a:lnTo>
                  <a:lnTo>
                    <a:pt x="213" y="64"/>
                  </a:lnTo>
                  <a:lnTo>
                    <a:pt x="211" y="62"/>
                  </a:lnTo>
                  <a:lnTo>
                    <a:pt x="207" y="62"/>
                  </a:lnTo>
                  <a:lnTo>
                    <a:pt x="205" y="62"/>
                  </a:lnTo>
                  <a:lnTo>
                    <a:pt x="201" y="60"/>
                  </a:lnTo>
                  <a:lnTo>
                    <a:pt x="201" y="60"/>
                  </a:lnTo>
                  <a:lnTo>
                    <a:pt x="203" y="62"/>
                  </a:lnTo>
                  <a:lnTo>
                    <a:pt x="203" y="62"/>
                  </a:lnTo>
                  <a:lnTo>
                    <a:pt x="205" y="64"/>
                  </a:lnTo>
                  <a:lnTo>
                    <a:pt x="205" y="64"/>
                  </a:lnTo>
                  <a:lnTo>
                    <a:pt x="205" y="66"/>
                  </a:lnTo>
                  <a:lnTo>
                    <a:pt x="205" y="66"/>
                  </a:lnTo>
                  <a:lnTo>
                    <a:pt x="203" y="64"/>
                  </a:lnTo>
                  <a:lnTo>
                    <a:pt x="203" y="66"/>
                  </a:lnTo>
                  <a:lnTo>
                    <a:pt x="201" y="66"/>
                  </a:lnTo>
                  <a:lnTo>
                    <a:pt x="201" y="68"/>
                  </a:lnTo>
                  <a:lnTo>
                    <a:pt x="198" y="68"/>
                  </a:lnTo>
                  <a:lnTo>
                    <a:pt x="198" y="68"/>
                  </a:lnTo>
                  <a:lnTo>
                    <a:pt x="198" y="68"/>
                  </a:lnTo>
                  <a:lnTo>
                    <a:pt x="198" y="68"/>
                  </a:lnTo>
                  <a:lnTo>
                    <a:pt x="198" y="68"/>
                  </a:lnTo>
                  <a:lnTo>
                    <a:pt x="196" y="68"/>
                  </a:lnTo>
                  <a:lnTo>
                    <a:pt x="198" y="66"/>
                  </a:lnTo>
                  <a:lnTo>
                    <a:pt x="198" y="66"/>
                  </a:lnTo>
                  <a:lnTo>
                    <a:pt x="196" y="64"/>
                  </a:lnTo>
                  <a:lnTo>
                    <a:pt x="194" y="64"/>
                  </a:lnTo>
                  <a:lnTo>
                    <a:pt x="194" y="64"/>
                  </a:lnTo>
                  <a:lnTo>
                    <a:pt x="194" y="62"/>
                  </a:lnTo>
                  <a:lnTo>
                    <a:pt x="192" y="64"/>
                  </a:lnTo>
                  <a:lnTo>
                    <a:pt x="192" y="64"/>
                  </a:lnTo>
                  <a:lnTo>
                    <a:pt x="190" y="64"/>
                  </a:lnTo>
                  <a:lnTo>
                    <a:pt x="188" y="62"/>
                  </a:lnTo>
                  <a:lnTo>
                    <a:pt x="188" y="60"/>
                  </a:lnTo>
                  <a:lnTo>
                    <a:pt x="190" y="60"/>
                  </a:lnTo>
                  <a:lnTo>
                    <a:pt x="190" y="60"/>
                  </a:lnTo>
                  <a:lnTo>
                    <a:pt x="190" y="58"/>
                  </a:lnTo>
                  <a:lnTo>
                    <a:pt x="190" y="58"/>
                  </a:lnTo>
                  <a:lnTo>
                    <a:pt x="188" y="58"/>
                  </a:lnTo>
                  <a:lnTo>
                    <a:pt x="188" y="58"/>
                  </a:lnTo>
                  <a:lnTo>
                    <a:pt x="188" y="56"/>
                  </a:lnTo>
                  <a:lnTo>
                    <a:pt x="190" y="56"/>
                  </a:lnTo>
                  <a:lnTo>
                    <a:pt x="192" y="58"/>
                  </a:lnTo>
                  <a:lnTo>
                    <a:pt x="192" y="56"/>
                  </a:lnTo>
                  <a:lnTo>
                    <a:pt x="192" y="56"/>
                  </a:lnTo>
                  <a:lnTo>
                    <a:pt x="190" y="56"/>
                  </a:lnTo>
                  <a:lnTo>
                    <a:pt x="190" y="56"/>
                  </a:lnTo>
                  <a:lnTo>
                    <a:pt x="192" y="56"/>
                  </a:lnTo>
                  <a:lnTo>
                    <a:pt x="192" y="56"/>
                  </a:lnTo>
                  <a:lnTo>
                    <a:pt x="194" y="56"/>
                  </a:lnTo>
                  <a:lnTo>
                    <a:pt x="196" y="56"/>
                  </a:lnTo>
                  <a:lnTo>
                    <a:pt x="194" y="56"/>
                  </a:lnTo>
                  <a:lnTo>
                    <a:pt x="194" y="54"/>
                  </a:lnTo>
                  <a:lnTo>
                    <a:pt x="192" y="51"/>
                  </a:lnTo>
                  <a:lnTo>
                    <a:pt x="192" y="49"/>
                  </a:lnTo>
                  <a:lnTo>
                    <a:pt x="192" y="49"/>
                  </a:lnTo>
                  <a:lnTo>
                    <a:pt x="192" y="47"/>
                  </a:lnTo>
                  <a:lnTo>
                    <a:pt x="194" y="47"/>
                  </a:lnTo>
                  <a:lnTo>
                    <a:pt x="196" y="49"/>
                  </a:lnTo>
                  <a:lnTo>
                    <a:pt x="198" y="47"/>
                  </a:lnTo>
                  <a:lnTo>
                    <a:pt x="196" y="47"/>
                  </a:lnTo>
                  <a:lnTo>
                    <a:pt x="196" y="47"/>
                  </a:lnTo>
                  <a:lnTo>
                    <a:pt x="194" y="45"/>
                  </a:lnTo>
                  <a:lnTo>
                    <a:pt x="194" y="45"/>
                  </a:lnTo>
                  <a:lnTo>
                    <a:pt x="196" y="43"/>
                  </a:lnTo>
                  <a:lnTo>
                    <a:pt x="196" y="43"/>
                  </a:lnTo>
                  <a:lnTo>
                    <a:pt x="196" y="43"/>
                  </a:lnTo>
                  <a:lnTo>
                    <a:pt x="198" y="43"/>
                  </a:lnTo>
                  <a:lnTo>
                    <a:pt x="198" y="41"/>
                  </a:lnTo>
                  <a:lnTo>
                    <a:pt x="198" y="41"/>
                  </a:lnTo>
                  <a:lnTo>
                    <a:pt x="201" y="39"/>
                  </a:lnTo>
                  <a:lnTo>
                    <a:pt x="201" y="39"/>
                  </a:lnTo>
                  <a:lnTo>
                    <a:pt x="201" y="39"/>
                  </a:lnTo>
                  <a:lnTo>
                    <a:pt x="201" y="39"/>
                  </a:lnTo>
                  <a:lnTo>
                    <a:pt x="198" y="37"/>
                  </a:lnTo>
                  <a:lnTo>
                    <a:pt x="198" y="37"/>
                  </a:lnTo>
                  <a:lnTo>
                    <a:pt x="198" y="37"/>
                  </a:lnTo>
                  <a:lnTo>
                    <a:pt x="196" y="39"/>
                  </a:lnTo>
                  <a:lnTo>
                    <a:pt x="196" y="39"/>
                  </a:lnTo>
                  <a:lnTo>
                    <a:pt x="196" y="39"/>
                  </a:lnTo>
                  <a:lnTo>
                    <a:pt x="196" y="37"/>
                  </a:lnTo>
                  <a:lnTo>
                    <a:pt x="196" y="37"/>
                  </a:lnTo>
                  <a:lnTo>
                    <a:pt x="196" y="37"/>
                  </a:lnTo>
                  <a:lnTo>
                    <a:pt x="196" y="35"/>
                  </a:lnTo>
                  <a:lnTo>
                    <a:pt x="198" y="35"/>
                  </a:lnTo>
                  <a:lnTo>
                    <a:pt x="201" y="31"/>
                  </a:lnTo>
                  <a:lnTo>
                    <a:pt x="209" y="27"/>
                  </a:lnTo>
                  <a:lnTo>
                    <a:pt x="211" y="27"/>
                  </a:lnTo>
                  <a:lnTo>
                    <a:pt x="211" y="25"/>
                  </a:lnTo>
                  <a:lnTo>
                    <a:pt x="211" y="25"/>
                  </a:lnTo>
                  <a:lnTo>
                    <a:pt x="211" y="23"/>
                  </a:lnTo>
                  <a:lnTo>
                    <a:pt x="213" y="23"/>
                  </a:lnTo>
                  <a:lnTo>
                    <a:pt x="213" y="25"/>
                  </a:lnTo>
                  <a:lnTo>
                    <a:pt x="213" y="25"/>
                  </a:lnTo>
                  <a:lnTo>
                    <a:pt x="215" y="25"/>
                  </a:lnTo>
                  <a:lnTo>
                    <a:pt x="215" y="23"/>
                  </a:lnTo>
                  <a:lnTo>
                    <a:pt x="215" y="23"/>
                  </a:lnTo>
                  <a:lnTo>
                    <a:pt x="215" y="23"/>
                  </a:lnTo>
                  <a:lnTo>
                    <a:pt x="215" y="21"/>
                  </a:lnTo>
                  <a:lnTo>
                    <a:pt x="217" y="21"/>
                  </a:lnTo>
                  <a:lnTo>
                    <a:pt x="217" y="21"/>
                  </a:lnTo>
                  <a:lnTo>
                    <a:pt x="217" y="19"/>
                  </a:lnTo>
                  <a:lnTo>
                    <a:pt x="217" y="19"/>
                  </a:lnTo>
                  <a:lnTo>
                    <a:pt x="217" y="17"/>
                  </a:lnTo>
                  <a:lnTo>
                    <a:pt x="217" y="17"/>
                  </a:lnTo>
                  <a:lnTo>
                    <a:pt x="215" y="17"/>
                  </a:lnTo>
                  <a:lnTo>
                    <a:pt x="215" y="17"/>
                  </a:lnTo>
                  <a:lnTo>
                    <a:pt x="213" y="17"/>
                  </a:lnTo>
                  <a:lnTo>
                    <a:pt x="213" y="17"/>
                  </a:lnTo>
                  <a:lnTo>
                    <a:pt x="213" y="15"/>
                  </a:lnTo>
                  <a:lnTo>
                    <a:pt x="211" y="17"/>
                  </a:lnTo>
                  <a:lnTo>
                    <a:pt x="211" y="17"/>
                  </a:lnTo>
                  <a:lnTo>
                    <a:pt x="209" y="19"/>
                  </a:lnTo>
                  <a:lnTo>
                    <a:pt x="211" y="21"/>
                  </a:lnTo>
                  <a:lnTo>
                    <a:pt x="211" y="23"/>
                  </a:lnTo>
                  <a:lnTo>
                    <a:pt x="209" y="21"/>
                  </a:lnTo>
                  <a:lnTo>
                    <a:pt x="209" y="21"/>
                  </a:lnTo>
                  <a:lnTo>
                    <a:pt x="205" y="21"/>
                  </a:lnTo>
                  <a:lnTo>
                    <a:pt x="203" y="19"/>
                  </a:lnTo>
                  <a:lnTo>
                    <a:pt x="203" y="19"/>
                  </a:lnTo>
                  <a:lnTo>
                    <a:pt x="203" y="19"/>
                  </a:lnTo>
                  <a:lnTo>
                    <a:pt x="205" y="19"/>
                  </a:lnTo>
                  <a:lnTo>
                    <a:pt x="198" y="17"/>
                  </a:lnTo>
                  <a:lnTo>
                    <a:pt x="196" y="17"/>
                  </a:lnTo>
                  <a:lnTo>
                    <a:pt x="196" y="13"/>
                  </a:lnTo>
                  <a:lnTo>
                    <a:pt x="196" y="13"/>
                  </a:lnTo>
                  <a:lnTo>
                    <a:pt x="201" y="17"/>
                  </a:lnTo>
                  <a:lnTo>
                    <a:pt x="201" y="15"/>
                  </a:lnTo>
                  <a:lnTo>
                    <a:pt x="196" y="8"/>
                  </a:lnTo>
                  <a:lnTo>
                    <a:pt x="196" y="8"/>
                  </a:lnTo>
                  <a:lnTo>
                    <a:pt x="194" y="8"/>
                  </a:lnTo>
                  <a:lnTo>
                    <a:pt x="194" y="6"/>
                  </a:lnTo>
                  <a:lnTo>
                    <a:pt x="194" y="6"/>
                  </a:lnTo>
                  <a:lnTo>
                    <a:pt x="194" y="8"/>
                  </a:lnTo>
                  <a:lnTo>
                    <a:pt x="194" y="8"/>
                  </a:lnTo>
                  <a:lnTo>
                    <a:pt x="192" y="6"/>
                  </a:lnTo>
                  <a:lnTo>
                    <a:pt x="190" y="6"/>
                  </a:lnTo>
                  <a:lnTo>
                    <a:pt x="190" y="6"/>
                  </a:lnTo>
                  <a:lnTo>
                    <a:pt x="192" y="6"/>
                  </a:lnTo>
                  <a:lnTo>
                    <a:pt x="194" y="4"/>
                  </a:lnTo>
                  <a:lnTo>
                    <a:pt x="194" y="4"/>
                  </a:lnTo>
                  <a:lnTo>
                    <a:pt x="192" y="0"/>
                  </a:lnTo>
                  <a:lnTo>
                    <a:pt x="192" y="0"/>
                  </a:lnTo>
                  <a:lnTo>
                    <a:pt x="190" y="2"/>
                  </a:lnTo>
                  <a:lnTo>
                    <a:pt x="188" y="2"/>
                  </a:lnTo>
                  <a:lnTo>
                    <a:pt x="184" y="0"/>
                  </a:lnTo>
                  <a:lnTo>
                    <a:pt x="184" y="0"/>
                  </a:lnTo>
                  <a:lnTo>
                    <a:pt x="184" y="2"/>
                  </a:lnTo>
                  <a:lnTo>
                    <a:pt x="176" y="6"/>
                  </a:lnTo>
                  <a:lnTo>
                    <a:pt x="176" y="8"/>
                  </a:lnTo>
                  <a:lnTo>
                    <a:pt x="176" y="8"/>
                  </a:lnTo>
                  <a:lnTo>
                    <a:pt x="174" y="11"/>
                  </a:lnTo>
                  <a:lnTo>
                    <a:pt x="174" y="11"/>
                  </a:lnTo>
                  <a:lnTo>
                    <a:pt x="174" y="11"/>
                  </a:lnTo>
                  <a:lnTo>
                    <a:pt x="172" y="13"/>
                  </a:lnTo>
                  <a:lnTo>
                    <a:pt x="172" y="13"/>
                  </a:lnTo>
                  <a:lnTo>
                    <a:pt x="172" y="13"/>
                  </a:lnTo>
                  <a:lnTo>
                    <a:pt x="170" y="13"/>
                  </a:lnTo>
                  <a:lnTo>
                    <a:pt x="170" y="13"/>
                  </a:lnTo>
                  <a:lnTo>
                    <a:pt x="168" y="13"/>
                  </a:lnTo>
                  <a:lnTo>
                    <a:pt x="168" y="13"/>
                  </a:lnTo>
                  <a:lnTo>
                    <a:pt x="168" y="15"/>
                  </a:lnTo>
                  <a:lnTo>
                    <a:pt x="168" y="15"/>
                  </a:lnTo>
                  <a:lnTo>
                    <a:pt x="168" y="15"/>
                  </a:lnTo>
                  <a:lnTo>
                    <a:pt x="166" y="17"/>
                  </a:lnTo>
                  <a:lnTo>
                    <a:pt x="166" y="19"/>
                  </a:lnTo>
                  <a:lnTo>
                    <a:pt x="166" y="19"/>
                  </a:lnTo>
                  <a:lnTo>
                    <a:pt x="166" y="21"/>
                  </a:lnTo>
                  <a:lnTo>
                    <a:pt x="166" y="21"/>
                  </a:lnTo>
                  <a:lnTo>
                    <a:pt x="164" y="23"/>
                  </a:lnTo>
                  <a:lnTo>
                    <a:pt x="164" y="23"/>
                  </a:lnTo>
                  <a:lnTo>
                    <a:pt x="162" y="23"/>
                  </a:lnTo>
                  <a:lnTo>
                    <a:pt x="162" y="25"/>
                  </a:lnTo>
                  <a:lnTo>
                    <a:pt x="162" y="27"/>
                  </a:lnTo>
                  <a:lnTo>
                    <a:pt x="160" y="27"/>
                  </a:lnTo>
                  <a:lnTo>
                    <a:pt x="160" y="29"/>
                  </a:lnTo>
                  <a:lnTo>
                    <a:pt x="158" y="29"/>
                  </a:lnTo>
                  <a:lnTo>
                    <a:pt x="158" y="29"/>
                  </a:lnTo>
                  <a:lnTo>
                    <a:pt x="151" y="31"/>
                  </a:lnTo>
                  <a:lnTo>
                    <a:pt x="145" y="31"/>
                  </a:lnTo>
                  <a:lnTo>
                    <a:pt x="139" y="33"/>
                  </a:lnTo>
                  <a:lnTo>
                    <a:pt x="135" y="33"/>
                  </a:lnTo>
                  <a:lnTo>
                    <a:pt x="129" y="35"/>
                  </a:lnTo>
                  <a:lnTo>
                    <a:pt x="123" y="37"/>
                  </a:lnTo>
                  <a:lnTo>
                    <a:pt x="117" y="37"/>
                  </a:lnTo>
                  <a:lnTo>
                    <a:pt x="112" y="39"/>
                  </a:lnTo>
                  <a:lnTo>
                    <a:pt x="106" y="41"/>
                  </a:lnTo>
                  <a:lnTo>
                    <a:pt x="94" y="43"/>
                  </a:lnTo>
                  <a:lnTo>
                    <a:pt x="90" y="43"/>
                  </a:lnTo>
                  <a:lnTo>
                    <a:pt x="84" y="45"/>
                  </a:lnTo>
                  <a:lnTo>
                    <a:pt x="78" y="47"/>
                  </a:lnTo>
                  <a:lnTo>
                    <a:pt x="71" y="47"/>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3" y="49"/>
                  </a:lnTo>
                  <a:lnTo>
                    <a:pt x="59" y="51"/>
                  </a:lnTo>
                  <a:lnTo>
                    <a:pt x="55" y="51"/>
                  </a:lnTo>
                  <a:lnTo>
                    <a:pt x="51" y="54"/>
                  </a:lnTo>
                  <a:lnTo>
                    <a:pt x="47" y="54"/>
                  </a:lnTo>
                  <a:lnTo>
                    <a:pt x="43" y="54"/>
                  </a:lnTo>
                  <a:lnTo>
                    <a:pt x="39" y="56"/>
                  </a:lnTo>
                  <a:lnTo>
                    <a:pt x="35" y="56"/>
                  </a:lnTo>
                  <a:lnTo>
                    <a:pt x="31" y="56"/>
                  </a:lnTo>
                  <a:lnTo>
                    <a:pt x="26" y="58"/>
                  </a:lnTo>
                  <a:lnTo>
                    <a:pt x="24" y="58"/>
                  </a:lnTo>
                  <a:lnTo>
                    <a:pt x="20" y="60"/>
                  </a:lnTo>
                  <a:lnTo>
                    <a:pt x="16" y="60"/>
                  </a:lnTo>
                  <a:lnTo>
                    <a:pt x="4" y="62"/>
                  </a:lnTo>
                  <a:lnTo>
                    <a:pt x="4" y="64"/>
                  </a:lnTo>
                  <a:lnTo>
                    <a:pt x="4" y="68"/>
                  </a:lnTo>
                  <a:lnTo>
                    <a:pt x="2" y="74"/>
                  </a:lnTo>
                  <a:lnTo>
                    <a:pt x="2" y="82"/>
                  </a:lnTo>
                  <a:lnTo>
                    <a:pt x="2" y="90"/>
                  </a:lnTo>
                  <a:lnTo>
                    <a:pt x="2" y="99"/>
                  </a:lnTo>
                  <a:lnTo>
                    <a:pt x="2" y="107"/>
                  </a:lnTo>
                  <a:lnTo>
                    <a:pt x="2" y="123"/>
                  </a:lnTo>
                  <a:lnTo>
                    <a:pt x="2" y="131"/>
                  </a:lnTo>
                  <a:lnTo>
                    <a:pt x="0" y="133"/>
                  </a:lnTo>
                  <a:lnTo>
                    <a:pt x="0" y="136"/>
                  </a:lnTo>
                  <a:lnTo>
                    <a:pt x="4" y="138"/>
                  </a:lnTo>
                  <a:lnTo>
                    <a:pt x="14" y="136"/>
                  </a:lnTo>
                  <a:lnTo>
                    <a:pt x="22" y="133"/>
                  </a:lnTo>
                  <a:lnTo>
                    <a:pt x="33" y="131"/>
                  </a:lnTo>
                  <a:lnTo>
                    <a:pt x="43" y="129"/>
                  </a:lnTo>
                  <a:lnTo>
                    <a:pt x="49" y="129"/>
                  </a:lnTo>
                  <a:lnTo>
                    <a:pt x="53" y="127"/>
                  </a:lnTo>
                  <a:lnTo>
                    <a:pt x="57" y="127"/>
                  </a:lnTo>
                  <a:lnTo>
                    <a:pt x="59" y="129"/>
                  </a:lnTo>
                  <a:lnTo>
                    <a:pt x="61" y="129"/>
                  </a:lnTo>
                  <a:lnTo>
                    <a:pt x="61" y="127"/>
                  </a:lnTo>
                  <a:lnTo>
                    <a:pt x="71" y="123"/>
                  </a:lnTo>
                  <a:lnTo>
                    <a:pt x="74" y="123"/>
                  </a:lnTo>
                  <a:lnTo>
                    <a:pt x="76" y="123"/>
                  </a:lnTo>
                  <a:lnTo>
                    <a:pt x="76" y="123"/>
                  </a:lnTo>
                  <a:lnTo>
                    <a:pt x="78" y="123"/>
                  </a:lnTo>
                  <a:lnTo>
                    <a:pt x="82" y="121"/>
                  </a:lnTo>
                  <a:lnTo>
                    <a:pt x="94" y="119"/>
                  </a:lnTo>
                  <a:lnTo>
                    <a:pt x="104" y="115"/>
                  </a:lnTo>
                  <a:lnTo>
                    <a:pt x="117" y="113"/>
                  </a:lnTo>
                  <a:lnTo>
                    <a:pt x="129" y="111"/>
                  </a:lnTo>
                  <a:lnTo>
                    <a:pt x="137" y="109"/>
                  </a:lnTo>
                  <a:lnTo>
                    <a:pt x="137" y="109"/>
                  </a:lnTo>
                  <a:lnTo>
                    <a:pt x="145" y="107"/>
                  </a:lnTo>
                  <a:lnTo>
                    <a:pt x="151" y="105"/>
                  </a:lnTo>
                  <a:lnTo>
                    <a:pt x="160" y="103"/>
                  </a:lnTo>
                  <a:lnTo>
                    <a:pt x="166" y="101"/>
                  </a:lnTo>
                  <a:lnTo>
                    <a:pt x="170" y="101"/>
                  </a:lnTo>
                  <a:lnTo>
                    <a:pt x="172" y="101"/>
                  </a:lnTo>
                  <a:lnTo>
                    <a:pt x="172" y="105"/>
                  </a:lnTo>
                  <a:lnTo>
                    <a:pt x="174" y="111"/>
                  </a:lnTo>
                  <a:lnTo>
                    <a:pt x="174" y="111"/>
                  </a:lnTo>
                  <a:lnTo>
                    <a:pt x="174" y="113"/>
                  </a:lnTo>
                  <a:lnTo>
                    <a:pt x="176" y="113"/>
                  </a:lnTo>
                  <a:lnTo>
                    <a:pt x="176" y="111"/>
                  </a:lnTo>
                  <a:lnTo>
                    <a:pt x="178" y="111"/>
                  </a:lnTo>
                  <a:lnTo>
                    <a:pt x="178" y="113"/>
                  </a:lnTo>
                  <a:lnTo>
                    <a:pt x="178" y="113"/>
                  </a:lnTo>
                  <a:lnTo>
                    <a:pt x="178" y="113"/>
                  </a:lnTo>
                  <a:lnTo>
                    <a:pt x="178" y="115"/>
                  </a:lnTo>
                  <a:lnTo>
                    <a:pt x="178" y="115"/>
                  </a:lnTo>
                  <a:lnTo>
                    <a:pt x="178" y="115"/>
                  </a:lnTo>
                  <a:lnTo>
                    <a:pt x="180" y="117"/>
                  </a:lnTo>
                  <a:lnTo>
                    <a:pt x="180" y="121"/>
                  </a:lnTo>
                  <a:lnTo>
                    <a:pt x="180" y="121"/>
                  </a:lnTo>
                  <a:lnTo>
                    <a:pt x="180" y="121"/>
                  </a:lnTo>
                  <a:lnTo>
                    <a:pt x="180" y="123"/>
                  </a:lnTo>
                  <a:lnTo>
                    <a:pt x="182" y="123"/>
                  </a:lnTo>
                  <a:lnTo>
                    <a:pt x="184" y="123"/>
                  </a:lnTo>
                  <a:lnTo>
                    <a:pt x="184" y="123"/>
                  </a:lnTo>
                  <a:lnTo>
                    <a:pt x="186" y="123"/>
                  </a:lnTo>
                  <a:lnTo>
                    <a:pt x="188" y="125"/>
                  </a:lnTo>
                  <a:lnTo>
                    <a:pt x="190" y="129"/>
                  </a:lnTo>
                  <a:lnTo>
                    <a:pt x="190" y="127"/>
                  </a:lnTo>
                  <a:lnTo>
                    <a:pt x="190" y="127"/>
                  </a:lnTo>
                  <a:lnTo>
                    <a:pt x="192" y="125"/>
                  </a:lnTo>
                  <a:lnTo>
                    <a:pt x="192" y="125"/>
                  </a:lnTo>
                  <a:lnTo>
                    <a:pt x="194" y="125"/>
                  </a:lnTo>
                  <a:lnTo>
                    <a:pt x="194" y="125"/>
                  </a:lnTo>
                  <a:lnTo>
                    <a:pt x="196" y="125"/>
                  </a:lnTo>
                  <a:lnTo>
                    <a:pt x="196" y="119"/>
                  </a:lnTo>
                  <a:lnTo>
                    <a:pt x="196" y="117"/>
                  </a:lnTo>
                  <a:lnTo>
                    <a:pt x="198" y="117"/>
                  </a:lnTo>
                  <a:lnTo>
                    <a:pt x="198" y="121"/>
                  </a:lnTo>
                  <a:lnTo>
                    <a:pt x="194" y="129"/>
                  </a:lnTo>
                  <a:lnTo>
                    <a:pt x="194" y="133"/>
                  </a:lnTo>
                  <a:lnTo>
                    <a:pt x="194" y="136"/>
                  </a:lnTo>
                  <a:lnTo>
                    <a:pt x="196" y="140"/>
                  </a:lnTo>
                  <a:lnTo>
                    <a:pt x="196" y="144"/>
                  </a:lnTo>
                  <a:lnTo>
                    <a:pt x="198" y="148"/>
                  </a:lnTo>
                  <a:lnTo>
                    <a:pt x="198" y="148"/>
                  </a:lnTo>
                  <a:lnTo>
                    <a:pt x="198" y="150"/>
                  </a:lnTo>
                  <a:lnTo>
                    <a:pt x="201" y="150"/>
                  </a:lnTo>
                  <a:lnTo>
                    <a:pt x="201" y="152"/>
                  </a:lnTo>
                  <a:lnTo>
                    <a:pt x="205" y="146"/>
                  </a:lnTo>
                  <a:lnTo>
                    <a:pt x="207" y="144"/>
                  </a:lnTo>
                  <a:lnTo>
                    <a:pt x="207" y="144"/>
                  </a:lnTo>
                  <a:lnTo>
                    <a:pt x="205" y="144"/>
                  </a:lnTo>
                  <a:lnTo>
                    <a:pt x="209" y="142"/>
                  </a:lnTo>
                  <a:lnTo>
                    <a:pt x="209" y="142"/>
                  </a:lnTo>
                  <a:lnTo>
                    <a:pt x="209" y="140"/>
                  </a:lnTo>
                  <a:lnTo>
                    <a:pt x="211" y="140"/>
                  </a:lnTo>
                  <a:lnTo>
                    <a:pt x="211" y="142"/>
                  </a:lnTo>
                  <a:lnTo>
                    <a:pt x="211" y="144"/>
                  </a:lnTo>
                  <a:lnTo>
                    <a:pt x="209" y="144"/>
                  </a:lnTo>
                  <a:lnTo>
                    <a:pt x="213" y="146"/>
                  </a:lnTo>
                  <a:lnTo>
                    <a:pt x="215" y="144"/>
                  </a:lnTo>
                  <a:lnTo>
                    <a:pt x="217" y="140"/>
                  </a:lnTo>
                  <a:lnTo>
                    <a:pt x="217" y="142"/>
                  </a:lnTo>
                  <a:lnTo>
                    <a:pt x="217" y="142"/>
                  </a:lnTo>
                  <a:lnTo>
                    <a:pt x="217" y="142"/>
                  </a:lnTo>
                  <a:lnTo>
                    <a:pt x="219" y="140"/>
                  </a:lnTo>
                  <a:lnTo>
                    <a:pt x="219" y="138"/>
                  </a:lnTo>
                  <a:lnTo>
                    <a:pt x="219" y="136"/>
                  </a:lnTo>
                  <a:lnTo>
                    <a:pt x="219" y="133"/>
                  </a:lnTo>
                  <a:lnTo>
                    <a:pt x="219" y="131"/>
                  </a:lnTo>
                  <a:lnTo>
                    <a:pt x="219" y="129"/>
                  </a:lnTo>
                  <a:lnTo>
                    <a:pt x="221" y="129"/>
                  </a:lnTo>
                  <a:lnTo>
                    <a:pt x="221" y="129"/>
                  </a:lnTo>
                  <a:lnTo>
                    <a:pt x="223" y="129"/>
                  </a:lnTo>
                  <a:lnTo>
                    <a:pt x="223" y="131"/>
                  </a:lnTo>
                  <a:lnTo>
                    <a:pt x="225" y="131"/>
                  </a:lnTo>
                  <a:lnTo>
                    <a:pt x="225" y="131"/>
                  </a:lnTo>
                  <a:lnTo>
                    <a:pt x="225" y="131"/>
                  </a:lnTo>
                  <a:lnTo>
                    <a:pt x="223" y="129"/>
                  </a:lnTo>
                  <a:lnTo>
                    <a:pt x="225" y="127"/>
                  </a:lnTo>
                  <a:lnTo>
                    <a:pt x="225" y="127"/>
                  </a:lnTo>
                  <a:lnTo>
                    <a:pt x="227" y="125"/>
                  </a:lnTo>
                  <a:lnTo>
                    <a:pt x="227" y="125"/>
                  </a:lnTo>
                  <a:lnTo>
                    <a:pt x="227" y="125"/>
                  </a:lnTo>
                  <a:lnTo>
                    <a:pt x="227" y="125"/>
                  </a:lnTo>
                  <a:lnTo>
                    <a:pt x="227" y="123"/>
                  </a:lnTo>
                  <a:lnTo>
                    <a:pt x="229" y="125"/>
                  </a:lnTo>
                  <a:lnTo>
                    <a:pt x="231" y="123"/>
                  </a:lnTo>
                  <a:lnTo>
                    <a:pt x="231" y="121"/>
                  </a:lnTo>
                  <a:lnTo>
                    <a:pt x="231" y="119"/>
                  </a:lnTo>
                  <a:lnTo>
                    <a:pt x="233" y="119"/>
                  </a:lnTo>
                  <a:lnTo>
                    <a:pt x="231" y="119"/>
                  </a:lnTo>
                  <a:lnTo>
                    <a:pt x="231" y="117"/>
                  </a:lnTo>
                  <a:lnTo>
                    <a:pt x="231" y="113"/>
                  </a:lnTo>
                  <a:lnTo>
                    <a:pt x="231" y="113"/>
                  </a:lnTo>
                  <a:lnTo>
                    <a:pt x="233" y="113"/>
                  </a:lnTo>
                  <a:lnTo>
                    <a:pt x="237" y="115"/>
                  </a:lnTo>
                  <a:lnTo>
                    <a:pt x="237" y="115"/>
                  </a:lnTo>
                  <a:lnTo>
                    <a:pt x="237" y="113"/>
                  </a:lnTo>
                  <a:lnTo>
                    <a:pt x="237" y="113"/>
                  </a:lnTo>
                  <a:lnTo>
                    <a:pt x="237" y="113"/>
                  </a:lnTo>
                  <a:lnTo>
                    <a:pt x="239" y="113"/>
                  </a:lnTo>
                  <a:lnTo>
                    <a:pt x="239" y="113"/>
                  </a:lnTo>
                  <a:lnTo>
                    <a:pt x="237" y="115"/>
                  </a:lnTo>
                  <a:lnTo>
                    <a:pt x="239" y="115"/>
                  </a:lnTo>
                  <a:lnTo>
                    <a:pt x="239" y="117"/>
                  </a:lnTo>
                  <a:lnTo>
                    <a:pt x="237" y="117"/>
                  </a:lnTo>
                  <a:lnTo>
                    <a:pt x="237" y="119"/>
                  </a:lnTo>
                  <a:lnTo>
                    <a:pt x="237" y="119"/>
                  </a:lnTo>
                  <a:lnTo>
                    <a:pt x="239" y="121"/>
                  </a:lnTo>
                  <a:lnTo>
                    <a:pt x="241" y="129"/>
                  </a:lnTo>
                  <a:lnTo>
                    <a:pt x="241" y="133"/>
                  </a:lnTo>
                  <a:lnTo>
                    <a:pt x="239" y="136"/>
                  </a:lnTo>
                  <a:lnTo>
                    <a:pt x="241" y="133"/>
                  </a:lnTo>
                  <a:lnTo>
                    <a:pt x="246" y="131"/>
                  </a:lnTo>
                  <a:lnTo>
                    <a:pt x="248" y="129"/>
                  </a:lnTo>
                  <a:lnTo>
                    <a:pt x="252" y="129"/>
                  </a:lnTo>
                  <a:lnTo>
                    <a:pt x="254" y="127"/>
                  </a:lnTo>
                  <a:lnTo>
                    <a:pt x="254" y="125"/>
                  </a:lnTo>
                  <a:lnTo>
                    <a:pt x="256" y="123"/>
                  </a:lnTo>
                  <a:lnTo>
                    <a:pt x="258" y="119"/>
                  </a:lnTo>
                  <a:lnTo>
                    <a:pt x="258" y="117"/>
                  </a:lnTo>
                  <a:lnTo>
                    <a:pt x="258" y="117"/>
                  </a:lnTo>
                  <a:lnTo>
                    <a:pt x="260" y="119"/>
                  </a:lnTo>
                  <a:lnTo>
                    <a:pt x="262" y="119"/>
                  </a:lnTo>
                  <a:lnTo>
                    <a:pt x="262" y="117"/>
                  </a:lnTo>
                  <a:lnTo>
                    <a:pt x="264" y="117"/>
                  </a:lnTo>
                  <a:lnTo>
                    <a:pt x="266" y="117"/>
                  </a:lnTo>
                  <a:lnTo>
                    <a:pt x="266" y="115"/>
                  </a:lnTo>
                  <a:lnTo>
                    <a:pt x="268" y="115"/>
                  </a:lnTo>
                  <a:lnTo>
                    <a:pt x="270" y="113"/>
                  </a:lnTo>
                  <a:lnTo>
                    <a:pt x="270" y="117"/>
                  </a:lnTo>
                  <a:lnTo>
                    <a:pt x="270" y="117"/>
                  </a:lnTo>
                  <a:lnTo>
                    <a:pt x="270" y="117"/>
                  </a:lnTo>
                  <a:lnTo>
                    <a:pt x="272" y="115"/>
                  </a:lnTo>
                  <a:lnTo>
                    <a:pt x="272" y="113"/>
                  </a:lnTo>
                  <a:lnTo>
                    <a:pt x="272" y="113"/>
                  </a:lnTo>
                  <a:lnTo>
                    <a:pt x="274" y="113"/>
                  </a:lnTo>
                  <a:lnTo>
                    <a:pt x="276" y="111"/>
                  </a:lnTo>
                  <a:lnTo>
                    <a:pt x="280" y="109"/>
                  </a:lnTo>
                  <a:lnTo>
                    <a:pt x="291" y="105"/>
                  </a:lnTo>
                  <a:lnTo>
                    <a:pt x="295" y="105"/>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A</a:t>
              </a:r>
            </a:p>
          </p:txBody>
        </p:sp>
        <p:sp>
          <p:nvSpPr>
            <p:cNvPr id="274" name="Freeform 37">
              <a:extLst>
                <a:ext uri="{FF2B5EF4-FFF2-40B4-BE49-F238E27FC236}">
                  <a16:creationId xmlns:a16="http://schemas.microsoft.com/office/drawing/2014/main" id="{00D52822-E0F4-E9A4-D2CF-C5892A2D9450}"/>
                </a:ext>
              </a:extLst>
            </p:cNvPr>
            <p:cNvSpPr>
              <a:spLocks noEditPoints="1"/>
            </p:cNvSpPr>
            <p:nvPr/>
          </p:nvSpPr>
          <p:spPr bwMode="auto">
            <a:xfrm>
              <a:off x="3272" y="1840"/>
              <a:ext cx="506" cy="427"/>
            </a:xfrm>
            <a:custGeom>
              <a:avLst/>
              <a:gdLst>
                <a:gd name="T0" fmla="*/ 232 w 506"/>
                <a:gd name="T1" fmla="*/ 382 h 427"/>
                <a:gd name="T2" fmla="*/ 338 w 506"/>
                <a:gd name="T3" fmla="*/ 423 h 427"/>
                <a:gd name="T4" fmla="*/ 494 w 506"/>
                <a:gd name="T5" fmla="*/ 347 h 427"/>
                <a:gd name="T6" fmla="*/ 475 w 506"/>
                <a:gd name="T7" fmla="*/ 365 h 427"/>
                <a:gd name="T8" fmla="*/ 461 w 506"/>
                <a:gd name="T9" fmla="*/ 304 h 427"/>
                <a:gd name="T10" fmla="*/ 469 w 506"/>
                <a:gd name="T11" fmla="*/ 291 h 427"/>
                <a:gd name="T12" fmla="*/ 459 w 506"/>
                <a:gd name="T13" fmla="*/ 320 h 427"/>
                <a:gd name="T14" fmla="*/ 494 w 506"/>
                <a:gd name="T15" fmla="*/ 394 h 427"/>
                <a:gd name="T16" fmla="*/ 477 w 506"/>
                <a:gd name="T17" fmla="*/ 382 h 427"/>
                <a:gd name="T18" fmla="*/ 459 w 506"/>
                <a:gd name="T19" fmla="*/ 377 h 427"/>
                <a:gd name="T20" fmla="*/ 445 w 506"/>
                <a:gd name="T21" fmla="*/ 369 h 427"/>
                <a:gd name="T22" fmla="*/ 430 w 506"/>
                <a:gd name="T23" fmla="*/ 351 h 427"/>
                <a:gd name="T24" fmla="*/ 434 w 506"/>
                <a:gd name="T25" fmla="*/ 345 h 427"/>
                <a:gd name="T26" fmla="*/ 457 w 506"/>
                <a:gd name="T27" fmla="*/ 332 h 427"/>
                <a:gd name="T28" fmla="*/ 451 w 506"/>
                <a:gd name="T29" fmla="*/ 322 h 427"/>
                <a:gd name="T30" fmla="*/ 453 w 506"/>
                <a:gd name="T31" fmla="*/ 306 h 427"/>
                <a:gd name="T32" fmla="*/ 436 w 506"/>
                <a:gd name="T33" fmla="*/ 312 h 427"/>
                <a:gd name="T34" fmla="*/ 412 w 506"/>
                <a:gd name="T35" fmla="*/ 310 h 427"/>
                <a:gd name="T36" fmla="*/ 420 w 506"/>
                <a:gd name="T37" fmla="*/ 300 h 427"/>
                <a:gd name="T38" fmla="*/ 404 w 506"/>
                <a:gd name="T39" fmla="*/ 300 h 427"/>
                <a:gd name="T40" fmla="*/ 391 w 506"/>
                <a:gd name="T41" fmla="*/ 283 h 427"/>
                <a:gd name="T42" fmla="*/ 430 w 506"/>
                <a:gd name="T43" fmla="*/ 295 h 427"/>
                <a:gd name="T44" fmla="*/ 406 w 506"/>
                <a:gd name="T45" fmla="*/ 246 h 427"/>
                <a:gd name="T46" fmla="*/ 262 w 506"/>
                <a:gd name="T47" fmla="*/ 220 h 427"/>
                <a:gd name="T48" fmla="*/ 242 w 506"/>
                <a:gd name="T49" fmla="*/ 181 h 427"/>
                <a:gd name="T50" fmla="*/ 268 w 506"/>
                <a:gd name="T51" fmla="*/ 113 h 427"/>
                <a:gd name="T52" fmla="*/ 268 w 506"/>
                <a:gd name="T53" fmla="*/ 58 h 427"/>
                <a:gd name="T54" fmla="*/ 268 w 506"/>
                <a:gd name="T55" fmla="*/ 13 h 427"/>
                <a:gd name="T56" fmla="*/ 2 w 506"/>
                <a:gd name="T57" fmla="*/ 58 h 427"/>
                <a:gd name="T58" fmla="*/ 27 w 506"/>
                <a:gd name="T59" fmla="*/ 154 h 427"/>
                <a:gd name="T60" fmla="*/ 37 w 506"/>
                <a:gd name="T61" fmla="*/ 179 h 427"/>
                <a:gd name="T62" fmla="*/ 43 w 506"/>
                <a:gd name="T63" fmla="*/ 195 h 427"/>
                <a:gd name="T64" fmla="*/ 55 w 506"/>
                <a:gd name="T65" fmla="*/ 220 h 427"/>
                <a:gd name="T66" fmla="*/ 51 w 506"/>
                <a:gd name="T67" fmla="*/ 265 h 427"/>
                <a:gd name="T68" fmla="*/ 45 w 506"/>
                <a:gd name="T69" fmla="*/ 316 h 427"/>
                <a:gd name="T70" fmla="*/ 41 w 506"/>
                <a:gd name="T71" fmla="*/ 371 h 427"/>
                <a:gd name="T72" fmla="*/ 166 w 506"/>
                <a:gd name="T73" fmla="*/ 382 h 427"/>
                <a:gd name="T74" fmla="*/ 193 w 506"/>
                <a:gd name="T75" fmla="*/ 365 h 427"/>
                <a:gd name="T76" fmla="*/ 223 w 506"/>
                <a:gd name="T77" fmla="*/ 349 h 427"/>
                <a:gd name="T78" fmla="*/ 250 w 506"/>
                <a:gd name="T79" fmla="*/ 367 h 427"/>
                <a:gd name="T80" fmla="*/ 279 w 506"/>
                <a:gd name="T81" fmla="*/ 377 h 427"/>
                <a:gd name="T82" fmla="*/ 295 w 506"/>
                <a:gd name="T83" fmla="*/ 402 h 427"/>
                <a:gd name="T84" fmla="*/ 281 w 506"/>
                <a:gd name="T85" fmla="*/ 406 h 427"/>
                <a:gd name="T86" fmla="*/ 322 w 506"/>
                <a:gd name="T87" fmla="*/ 410 h 427"/>
                <a:gd name="T88" fmla="*/ 342 w 506"/>
                <a:gd name="T89" fmla="*/ 408 h 427"/>
                <a:gd name="T90" fmla="*/ 352 w 506"/>
                <a:gd name="T91" fmla="*/ 396 h 427"/>
                <a:gd name="T92" fmla="*/ 375 w 506"/>
                <a:gd name="T93" fmla="*/ 398 h 427"/>
                <a:gd name="T94" fmla="*/ 393 w 506"/>
                <a:gd name="T95" fmla="*/ 400 h 427"/>
                <a:gd name="T96" fmla="*/ 393 w 506"/>
                <a:gd name="T97" fmla="*/ 375 h 427"/>
                <a:gd name="T98" fmla="*/ 391 w 506"/>
                <a:gd name="T99" fmla="*/ 367 h 427"/>
                <a:gd name="T100" fmla="*/ 420 w 506"/>
                <a:gd name="T101" fmla="*/ 379 h 427"/>
                <a:gd name="T102" fmla="*/ 447 w 506"/>
                <a:gd name="T103" fmla="*/ 392 h 427"/>
                <a:gd name="T104" fmla="*/ 469 w 506"/>
                <a:gd name="T105" fmla="*/ 402 h 427"/>
                <a:gd name="T106" fmla="*/ 473 w 506"/>
                <a:gd name="T107" fmla="*/ 410 h 427"/>
                <a:gd name="T108" fmla="*/ 490 w 506"/>
                <a:gd name="T109" fmla="*/ 404 h 427"/>
                <a:gd name="T110" fmla="*/ 451 w 506"/>
                <a:gd name="T111" fmla="*/ 338 h 427"/>
                <a:gd name="T112" fmla="*/ 500 w 506"/>
                <a:gd name="T113" fmla="*/ 302 h 427"/>
                <a:gd name="T114" fmla="*/ 367 w 506"/>
                <a:gd name="T115" fmla="*/ 414 h 427"/>
                <a:gd name="T116" fmla="*/ 375 w 506"/>
                <a:gd name="T117" fmla="*/ 416 h 427"/>
                <a:gd name="T118" fmla="*/ 397 w 506"/>
                <a:gd name="T119" fmla="*/ 375 h 427"/>
                <a:gd name="T120" fmla="*/ 500 w 506"/>
                <a:gd name="T121" fmla="*/ 322 h 427"/>
                <a:gd name="T122" fmla="*/ 443 w 506"/>
                <a:gd name="T123" fmla="*/ 345 h 427"/>
                <a:gd name="T124" fmla="*/ 465 w 506"/>
                <a:gd name="T125" fmla="*/ 314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 h="427">
                  <a:moveTo>
                    <a:pt x="236" y="375"/>
                  </a:moveTo>
                  <a:lnTo>
                    <a:pt x="234" y="375"/>
                  </a:lnTo>
                  <a:lnTo>
                    <a:pt x="230" y="373"/>
                  </a:lnTo>
                  <a:lnTo>
                    <a:pt x="230" y="373"/>
                  </a:lnTo>
                  <a:lnTo>
                    <a:pt x="227" y="373"/>
                  </a:lnTo>
                  <a:lnTo>
                    <a:pt x="225" y="371"/>
                  </a:lnTo>
                  <a:lnTo>
                    <a:pt x="223" y="369"/>
                  </a:lnTo>
                  <a:lnTo>
                    <a:pt x="217" y="369"/>
                  </a:lnTo>
                  <a:lnTo>
                    <a:pt x="217" y="369"/>
                  </a:lnTo>
                  <a:lnTo>
                    <a:pt x="217" y="369"/>
                  </a:lnTo>
                  <a:lnTo>
                    <a:pt x="215" y="371"/>
                  </a:lnTo>
                  <a:lnTo>
                    <a:pt x="215" y="371"/>
                  </a:lnTo>
                  <a:lnTo>
                    <a:pt x="213" y="373"/>
                  </a:lnTo>
                  <a:lnTo>
                    <a:pt x="211" y="373"/>
                  </a:lnTo>
                  <a:lnTo>
                    <a:pt x="209" y="373"/>
                  </a:lnTo>
                  <a:lnTo>
                    <a:pt x="207" y="375"/>
                  </a:lnTo>
                  <a:lnTo>
                    <a:pt x="207" y="377"/>
                  </a:lnTo>
                  <a:lnTo>
                    <a:pt x="209" y="377"/>
                  </a:lnTo>
                  <a:lnTo>
                    <a:pt x="219" y="382"/>
                  </a:lnTo>
                  <a:lnTo>
                    <a:pt x="219" y="384"/>
                  </a:lnTo>
                  <a:lnTo>
                    <a:pt x="221" y="384"/>
                  </a:lnTo>
                  <a:lnTo>
                    <a:pt x="227" y="386"/>
                  </a:lnTo>
                  <a:lnTo>
                    <a:pt x="230" y="386"/>
                  </a:lnTo>
                  <a:lnTo>
                    <a:pt x="232" y="386"/>
                  </a:lnTo>
                  <a:lnTo>
                    <a:pt x="232" y="386"/>
                  </a:lnTo>
                  <a:lnTo>
                    <a:pt x="232" y="384"/>
                  </a:lnTo>
                  <a:lnTo>
                    <a:pt x="232" y="382"/>
                  </a:lnTo>
                  <a:lnTo>
                    <a:pt x="232" y="382"/>
                  </a:lnTo>
                  <a:lnTo>
                    <a:pt x="234" y="379"/>
                  </a:lnTo>
                  <a:lnTo>
                    <a:pt x="238" y="377"/>
                  </a:lnTo>
                  <a:lnTo>
                    <a:pt x="238" y="375"/>
                  </a:lnTo>
                  <a:lnTo>
                    <a:pt x="238" y="375"/>
                  </a:lnTo>
                  <a:lnTo>
                    <a:pt x="236" y="375"/>
                  </a:lnTo>
                  <a:close/>
                  <a:moveTo>
                    <a:pt x="313" y="425"/>
                  </a:moveTo>
                  <a:lnTo>
                    <a:pt x="313" y="425"/>
                  </a:lnTo>
                  <a:lnTo>
                    <a:pt x="313" y="425"/>
                  </a:lnTo>
                  <a:lnTo>
                    <a:pt x="313" y="425"/>
                  </a:lnTo>
                  <a:close/>
                  <a:moveTo>
                    <a:pt x="313" y="425"/>
                  </a:moveTo>
                  <a:lnTo>
                    <a:pt x="318" y="427"/>
                  </a:lnTo>
                  <a:lnTo>
                    <a:pt x="320" y="425"/>
                  </a:lnTo>
                  <a:lnTo>
                    <a:pt x="318" y="425"/>
                  </a:lnTo>
                  <a:lnTo>
                    <a:pt x="313" y="425"/>
                  </a:lnTo>
                  <a:close/>
                  <a:moveTo>
                    <a:pt x="326" y="425"/>
                  </a:moveTo>
                  <a:lnTo>
                    <a:pt x="324" y="425"/>
                  </a:lnTo>
                  <a:lnTo>
                    <a:pt x="324" y="425"/>
                  </a:lnTo>
                  <a:lnTo>
                    <a:pt x="324" y="427"/>
                  </a:lnTo>
                  <a:lnTo>
                    <a:pt x="324" y="427"/>
                  </a:lnTo>
                  <a:lnTo>
                    <a:pt x="326" y="427"/>
                  </a:lnTo>
                  <a:lnTo>
                    <a:pt x="326" y="427"/>
                  </a:lnTo>
                  <a:lnTo>
                    <a:pt x="326" y="427"/>
                  </a:lnTo>
                  <a:lnTo>
                    <a:pt x="326" y="425"/>
                  </a:lnTo>
                  <a:close/>
                  <a:moveTo>
                    <a:pt x="342" y="423"/>
                  </a:moveTo>
                  <a:lnTo>
                    <a:pt x="342" y="423"/>
                  </a:lnTo>
                  <a:lnTo>
                    <a:pt x="340" y="423"/>
                  </a:lnTo>
                  <a:lnTo>
                    <a:pt x="340" y="423"/>
                  </a:lnTo>
                  <a:lnTo>
                    <a:pt x="338" y="423"/>
                  </a:lnTo>
                  <a:lnTo>
                    <a:pt x="338" y="423"/>
                  </a:lnTo>
                  <a:lnTo>
                    <a:pt x="336" y="423"/>
                  </a:lnTo>
                  <a:lnTo>
                    <a:pt x="336" y="423"/>
                  </a:lnTo>
                  <a:lnTo>
                    <a:pt x="336" y="423"/>
                  </a:lnTo>
                  <a:lnTo>
                    <a:pt x="334" y="425"/>
                  </a:lnTo>
                  <a:lnTo>
                    <a:pt x="334" y="425"/>
                  </a:lnTo>
                  <a:lnTo>
                    <a:pt x="332" y="425"/>
                  </a:lnTo>
                  <a:lnTo>
                    <a:pt x="332" y="427"/>
                  </a:lnTo>
                  <a:lnTo>
                    <a:pt x="332" y="427"/>
                  </a:lnTo>
                  <a:lnTo>
                    <a:pt x="340" y="423"/>
                  </a:lnTo>
                  <a:lnTo>
                    <a:pt x="342" y="423"/>
                  </a:lnTo>
                  <a:lnTo>
                    <a:pt x="342" y="423"/>
                  </a:lnTo>
                  <a:lnTo>
                    <a:pt x="342" y="420"/>
                  </a:lnTo>
                  <a:lnTo>
                    <a:pt x="342" y="423"/>
                  </a:lnTo>
                  <a:lnTo>
                    <a:pt x="342" y="423"/>
                  </a:lnTo>
                  <a:close/>
                  <a:moveTo>
                    <a:pt x="365" y="420"/>
                  </a:moveTo>
                  <a:lnTo>
                    <a:pt x="363" y="420"/>
                  </a:lnTo>
                  <a:lnTo>
                    <a:pt x="361" y="420"/>
                  </a:lnTo>
                  <a:lnTo>
                    <a:pt x="354" y="420"/>
                  </a:lnTo>
                  <a:lnTo>
                    <a:pt x="354" y="420"/>
                  </a:lnTo>
                  <a:lnTo>
                    <a:pt x="359" y="423"/>
                  </a:lnTo>
                  <a:lnTo>
                    <a:pt x="365" y="423"/>
                  </a:lnTo>
                  <a:lnTo>
                    <a:pt x="365" y="423"/>
                  </a:lnTo>
                  <a:lnTo>
                    <a:pt x="365" y="423"/>
                  </a:lnTo>
                  <a:lnTo>
                    <a:pt x="365" y="420"/>
                  </a:lnTo>
                  <a:close/>
                  <a:moveTo>
                    <a:pt x="494" y="347"/>
                  </a:moveTo>
                  <a:lnTo>
                    <a:pt x="494" y="345"/>
                  </a:lnTo>
                  <a:lnTo>
                    <a:pt x="494" y="347"/>
                  </a:lnTo>
                  <a:lnTo>
                    <a:pt x="494" y="347"/>
                  </a:lnTo>
                  <a:lnTo>
                    <a:pt x="494" y="347"/>
                  </a:lnTo>
                  <a:lnTo>
                    <a:pt x="494" y="347"/>
                  </a:lnTo>
                  <a:close/>
                  <a:moveTo>
                    <a:pt x="465" y="318"/>
                  </a:moveTo>
                  <a:lnTo>
                    <a:pt x="465" y="318"/>
                  </a:lnTo>
                  <a:lnTo>
                    <a:pt x="465" y="316"/>
                  </a:lnTo>
                  <a:lnTo>
                    <a:pt x="465" y="316"/>
                  </a:lnTo>
                  <a:lnTo>
                    <a:pt x="465" y="316"/>
                  </a:lnTo>
                  <a:lnTo>
                    <a:pt x="463" y="316"/>
                  </a:lnTo>
                  <a:lnTo>
                    <a:pt x="461" y="316"/>
                  </a:lnTo>
                  <a:lnTo>
                    <a:pt x="461" y="318"/>
                  </a:lnTo>
                  <a:lnTo>
                    <a:pt x="461" y="318"/>
                  </a:lnTo>
                  <a:lnTo>
                    <a:pt x="461" y="318"/>
                  </a:lnTo>
                  <a:lnTo>
                    <a:pt x="463" y="318"/>
                  </a:lnTo>
                  <a:lnTo>
                    <a:pt x="465" y="318"/>
                  </a:lnTo>
                  <a:lnTo>
                    <a:pt x="465" y="318"/>
                  </a:lnTo>
                  <a:close/>
                  <a:moveTo>
                    <a:pt x="475" y="365"/>
                  </a:moveTo>
                  <a:lnTo>
                    <a:pt x="477" y="365"/>
                  </a:lnTo>
                  <a:lnTo>
                    <a:pt x="477" y="363"/>
                  </a:lnTo>
                  <a:lnTo>
                    <a:pt x="477" y="363"/>
                  </a:lnTo>
                  <a:lnTo>
                    <a:pt x="477" y="363"/>
                  </a:lnTo>
                  <a:lnTo>
                    <a:pt x="477" y="363"/>
                  </a:lnTo>
                  <a:lnTo>
                    <a:pt x="477" y="363"/>
                  </a:lnTo>
                  <a:lnTo>
                    <a:pt x="477" y="363"/>
                  </a:lnTo>
                  <a:lnTo>
                    <a:pt x="475" y="365"/>
                  </a:lnTo>
                  <a:lnTo>
                    <a:pt x="471" y="367"/>
                  </a:lnTo>
                  <a:lnTo>
                    <a:pt x="473" y="367"/>
                  </a:lnTo>
                  <a:lnTo>
                    <a:pt x="475" y="365"/>
                  </a:lnTo>
                  <a:close/>
                  <a:moveTo>
                    <a:pt x="359" y="402"/>
                  </a:moveTo>
                  <a:lnTo>
                    <a:pt x="361" y="400"/>
                  </a:lnTo>
                  <a:lnTo>
                    <a:pt x="361" y="400"/>
                  </a:lnTo>
                  <a:lnTo>
                    <a:pt x="361" y="400"/>
                  </a:lnTo>
                  <a:lnTo>
                    <a:pt x="359" y="400"/>
                  </a:lnTo>
                  <a:lnTo>
                    <a:pt x="359" y="402"/>
                  </a:lnTo>
                  <a:lnTo>
                    <a:pt x="359" y="404"/>
                  </a:lnTo>
                  <a:lnTo>
                    <a:pt x="359" y="402"/>
                  </a:lnTo>
                  <a:lnTo>
                    <a:pt x="359" y="402"/>
                  </a:lnTo>
                  <a:close/>
                  <a:moveTo>
                    <a:pt x="483" y="359"/>
                  </a:moveTo>
                  <a:lnTo>
                    <a:pt x="488" y="355"/>
                  </a:lnTo>
                  <a:lnTo>
                    <a:pt x="488" y="355"/>
                  </a:lnTo>
                  <a:lnTo>
                    <a:pt x="488" y="355"/>
                  </a:lnTo>
                  <a:lnTo>
                    <a:pt x="486" y="355"/>
                  </a:lnTo>
                  <a:lnTo>
                    <a:pt x="483" y="359"/>
                  </a:lnTo>
                  <a:lnTo>
                    <a:pt x="483" y="359"/>
                  </a:lnTo>
                  <a:lnTo>
                    <a:pt x="483" y="359"/>
                  </a:lnTo>
                  <a:close/>
                  <a:moveTo>
                    <a:pt x="455" y="306"/>
                  </a:moveTo>
                  <a:lnTo>
                    <a:pt x="457" y="306"/>
                  </a:lnTo>
                  <a:lnTo>
                    <a:pt x="457" y="304"/>
                  </a:lnTo>
                  <a:lnTo>
                    <a:pt x="457" y="304"/>
                  </a:lnTo>
                  <a:lnTo>
                    <a:pt x="459" y="304"/>
                  </a:lnTo>
                  <a:lnTo>
                    <a:pt x="459" y="304"/>
                  </a:lnTo>
                  <a:lnTo>
                    <a:pt x="459" y="304"/>
                  </a:lnTo>
                  <a:lnTo>
                    <a:pt x="459" y="304"/>
                  </a:lnTo>
                  <a:lnTo>
                    <a:pt x="461" y="304"/>
                  </a:lnTo>
                  <a:lnTo>
                    <a:pt x="461" y="304"/>
                  </a:lnTo>
                  <a:lnTo>
                    <a:pt x="461" y="304"/>
                  </a:lnTo>
                  <a:lnTo>
                    <a:pt x="461" y="304"/>
                  </a:lnTo>
                  <a:lnTo>
                    <a:pt x="461" y="302"/>
                  </a:lnTo>
                  <a:lnTo>
                    <a:pt x="463" y="302"/>
                  </a:lnTo>
                  <a:lnTo>
                    <a:pt x="463" y="302"/>
                  </a:lnTo>
                  <a:lnTo>
                    <a:pt x="463" y="304"/>
                  </a:lnTo>
                  <a:lnTo>
                    <a:pt x="463" y="304"/>
                  </a:lnTo>
                  <a:lnTo>
                    <a:pt x="463" y="304"/>
                  </a:lnTo>
                  <a:lnTo>
                    <a:pt x="465" y="306"/>
                  </a:lnTo>
                  <a:lnTo>
                    <a:pt x="465" y="306"/>
                  </a:lnTo>
                  <a:lnTo>
                    <a:pt x="467" y="306"/>
                  </a:lnTo>
                  <a:lnTo>
                    <a:pt x="467" y="306"/>
                  </a:lnTo>
                  <a:lnTo>
                    <a:pt x="469" y="304"/>
                  </a:lnTo>
                  <a:lnTo>
                    <a:pt x="469" y="302"/>
                  </a:lnTo>
                  <a:lnTo>
                    <a:pt x="469" y="302"/>
                  </a:lnTo>
                  <a:lnTo>
                    <a:pt x="467" y="302"/>
                  </a:lnTo>
                  <a:lnTo>
                    <a:pt x="467" y="302"/>
                  </a:lnTo>
                  <a:lnTo>
                    <a:pt x="467" y="302"/>
                  </a:lnTo>
                  <a:lnTo>
                    <a:pt x="467" y="304"/>
                  </a:lnTo>
                  <a:lnTo>
                    <a:pt x="467" y="304"/>
                  </a:lnTo>
                  <a:lnTo>
                    <a:pt x="467" y="304"/>
                  </a:lnTo>
                  <a:lnTo>
                    <a:pt x="465" y="302"/>
                  </a:lnTo>
                  <a:lnTo>
                    <a:pt x="465" y="300"/>
                  </a:lnTo>
                  <a:lnTo>
                    <a:pt x="465" y="300"/>
                  </a:lnTo>
                  <a:lnTo>
                    <a:pt x="463" y="300"/>
                  </a:lnTo>
                  <a:lnTo>
                    <a:pt x="463" y="298"/>
                  </a:lnTo>
                  <a:lnTo>
                    <a:pt x="467" y="293"/>
                  </a:lnTo>
                  <a:lnTo>
                    <a:pt x="467" y="293"/>
                  </a:lnTo>
                  <a:lnTo>
                    <a:pt x="469" y="291"/>
                  </a:lnTo>
                  <a:lnTo>
                    <a:pt x="469" y="291"/>
                  </a:lnTo>
                  <a:lnTo>
                    <a:pt x="467" y="291"/>
                  </a:lnTo>
                  <a:lnTo>
                    <a:pt x="465" y="293"/>
                  </a:lnTo>
                  <a:lnTo>
                    <a:pt x="465" y="295"/>
                  </a:lnTo>
                  <a:lnTo>
                    <a:pt x="463" y="298"/>
                  </a:lnTo>
                  <a:lnTo>
                    <a:pt x="461" y="298"/>
                  </a:lnTo>
                  <a:lnTo>
                    <a:pt x="459" y="300"/>
                  </a:lnTo>
                  <a:lnTo>
                    <a:pt x="461" y="300"/>
                  </a:lnTo>
                  <a:lnTo>
                    <a:pt x="459" y="302"/>
                  </a:lnTo>
                  <a:lnTo>
                    <a:pt x="459" y="302"/>
                  </a:lnTo>
                  <a:lnTo>
                    <a:pt x="457" y="302"/>
                  </a:lnTo>
                  <a:lnTo>
                    <a:pt x="457" y="302"/>
                  </a:lnTo>
                  <a:lnTo>
                    <a:pt x="457" y="304"/>
                  </a:lnTo>
                  <a:lnTo>
                    <a:pt x="455" y="304"/>
                  </a:lnTo>
                  <a:lnTo>
                    <a:pt x="455" y="304"/>
                  </a:lnTo>
                  <a:lnTo>
                    <a:pt x="455" y="306"/>
                  </a:lnTo>
                  <a:lnTo>
                    <a:pt x="455" y="306"/>
                  </a:lnTo>
                  <a:close/>
                  <a:moveTo>
                    <a:pt x="459" y="318"/>
                  </a:moveTo>
                  <a:lnTo>
                    <a:pt x="461" y="316"/>
                  </a:lnTo>
                  <a:lnTo>
                    <a:pt x="461" y="314"/>
                  </a:lnTo>
                  <a:lnTo>
                    <a:pt x="461" y="312"/>
                  </a:lnTo>
                  <a:lnTo>
                    <a:pt x="461" y="312"/>
                  </a:lnTo>
                  <a:lnTo>
                    <a:pt x="461" y="314"/>
                  </a:lnTo>
                  <a:lnTo>
                    <a:pt x="459" y="316"/>
                  </a:lnTo>
                  <a:lnTo>
                    <a:pt x="459" y="318"/>
                  </a:lnTo>
                  <a:lnTo>
                    <a:pt x="459" y="318"/>
                  </a:lnTo>
                  <a:lnTo>
                    <a:pt x="457" y="320"/>
                  </a:lnTo>
                  <a:lnTo>
                    <a:pt x="459" y="320"/>
                  </a:lnTo>
                  <a:lnTo>
                    <a:pt x="459" y="318"/>
                  </a:lnTo>
                  <a:close/>
                  <a:moveTo>
                    <a:pt x="463" y="330"/>
                  </a:moveTo>
                  <a:lnTo>
                    <a:pt x="463" y="330"/>
                  </a:lnTo>
                  <a:lnTo>
                    <a:pt x="461" y="330"/>
                  </a:lnTo>
                  <a:lnTo>
                    <a:pt x="461" y="330"/>
                  </a:lnTo>
                  <a:lnTo>
                    <a:pt x="457" y="330"/>
                  </a:lnTo>
                  <a:lnTo>
                    <a:pt x="457" y="332"/>
                  </a:lnTo>
                  <a:lnTo>
                    <a:pt x="463" y="334"/>
                  </a:lnTo>
                  <a:lnTo>
                    <a:pt x="463" y="330"/>
                  </a:lnTo>
                  <a:close/>
                  <a:moveTo>
                    <a:pt x="328" y="425"/>
                  </a:moveTo>
                  <a:lnTo>
                    <a:pt x="328" y="425"/>
                  </a:lnTo>
                  <a:lnTo>
                    <a:pt x="328" y="427"/>
                  </a:lnTo>
                  <a:lnTo>
                    <a:pt x="328" y="427"/>
                  </a:lnTo>
                  <a:lnTo>
                    <a:pt x="328" y="427"/>
                  </a:lnTo>
                  <a:lnTo>
                    <a:pt x="330" y="425"/>
                  </a:lnTo>
                  <a:lnTo>
                    <a:pt x="330" y="425"/>
                  </a:lnTo>
                  <a:lnTo>
                    <a:pt x="330" y="425"/>
                  </a:lnTo>
                  <a:lnTo>
                    <a:pt x="328" y="425"/>
                  </a:lnTo>
                  <a:close/>
                  <a:moveTo>
                    <a:pt x="492" y="396"/>
                  </a:moveTo>
                  <a:lnTo>
                    <a:pt x="492" y="398"/>
                  </a:lnTo>
                  <a:lnTo>
                    <a:pt x="492" y="398"/>
                  </a:lnTo>
                  <a:lnTo>
                    <a:pt x="492" y="396"/>
                  </a:lnTo>
                  <a:lnTo>
                    <a:pt x="494" y="396"/>
                  </a:lnTo>
                  <a:lnTo>
                    <a:pt x="496" y="396"/>
                  </a:lnTo>
                  <a:lnTo>
                    <a:pt x="494" y="396"/>
                  </a:lnTo>
                  <a:lnTo>
                    <a:pt x="494" y="396"/>
                  </a:lnTo>
                  <a:lnTo>
                    <a:pt x="494" y="396"/>
                  </a:lnTo>
                  <a:lnTo>
                    <a:pt x="494" y="394"/>
                  </a:lnTo>
                  <a:lnTo>
                    <a:pt x="494" y="394"/>
                  </a:lnTo>
                  <a:lnTo>
                    <a:pt x="494" y="392"/>
                  </a:lnTo>
                  <a:lnTo>
                    <a:pt x="492" y="392"/>
                  </a:lnTo>
                  <a:lnTo>
                    <a:pt x="492" y="392"/>
                  </a:lnTo>
                  <a:lnTo>
                    <a:pt x="490" y="392"/>
                  </a:lnTo>
                  <a:lnTo>
                    <a:pt x="490" y="394"/>
                  </a:lnTo>
                  <a:lnTo>
                    <a:pt x="490" y="394"/>
                  </a:lnTo>
                  <a:lnTo>
                    <a:pt x="490" y="394"/>
                  </a:lnTo>
                  <a:lnTo>
                    <a:pt x="488" y="394"/>
                  </a:lnTo>
                  <a:lnTo>
                    <a:pt x="486" y="394"/>
                  </a:lnTo>
                  <a:lnTo>
                    <a:pt x="486" y="392"/>
                  </a:lnTo>
                  <a:lnTo>
                    <a:pt x="481" y="392"/>
                  </a:lnTo>
                  <a:lnTo>
                    <a:pt x="481" y="390"/>
                  </a:lnTo>
                  <a:lnTo>
                    <a:pt x="481" y="390"/>
                  </a:lnTo>
                  <a:lnTo>
                    <a:pt x="483" y="390"/>
                  </a:lnTo>
                  <a:lnTo>
                    <a:pt x="483" y="388"/>
                  </a:lnTo>
                  <a:lnTo>
                    <a:pt x="483" y="388"/>
                  </a:lnTo>
                  <a:lnTo>
                    <a:pt x="483" y="388"/>
                  </a:lnTo>
                  <a:lnTo>
                    <a:pt x="483" y="386"/>
                  </a:lnTo>
                  <a:lnTo>
                    <a:pt x="483" y="386"/>
                  </a:lnTo>
                  <a:lnTo>
                    <a:pt x="481" y="384"/>
                  </a:lnTo>
                  <a:lnTo>
                    <a:pt x="481" y="384"/>
                  </a:lnTo>
                  <a:lnTo>
                    <a:pt x="479" y="386"/>
                  </a:lnTo>
                  <a:lnTo>
                    <a:pt x="479" y="384"/>
                  </a:lnTo>
                  <a:lnTo>
                    <a:pt x="479" y="384"/>
                  </a:lnTo>
                  <a:lnTo>
                    <a:pt x="479" y="384"/>
                  </a:lnTo>
                  <a:lnTo>
                    <a:pt x="477" y="382"/>
                  </a:lnTo>
                  <a:lnTo>
                    <a:pt x="477" y="382"/>
                  </a:lnTo>
                  <a:lnTo>
                    <a:pt x="477" y="382"/>
                  </a:lnTo>
                  <a:lnTo>
                    <a:pt x="477" y="382"/>
                  </a:lnTo>
                  <a:lnTo>
                    <a:pt x="477" y="379"/>
                  </a:lnTo>
                  <a:lnTo>
                    <a:pt x="475" y="379"/>
                  </a:lnTo>
                  <a:lnTo>
                    <a:pt x="475" y="379"/>
                  </a:lnTo>
                  <a:lnTo>
                    <a:pt x="475" y="379"/>
                  </a:lnTo>
                  <a:lnTo>
                    <a:pt x="475" y="379"/>
                  </a:lnTo>
                  <a:lnTo>
                    <a:pt x="475" y="379"/>
                  </a:lnTo>
                  <a:lnTo>
                    <a:pt x="475" y="379"/>
                  </a:lnTo>
                  <a:lnTo>
                    <a:pt x="475" y="382"/>
                  </a:lnTo>
                  <a:lnTo>
                    <a:pt x="473" y="382"/>
                  </a:lnTo>
                  <a:lnTo>
                    <a:pt x="471" y="384"/>
                  </a:lnTo>
                  <a:lnTo>
                    <a:pt x="471" y="384"/>
                  </a:lnTo>
                  <a:lnTo>
                    <a:pt x="469" y="382"/>
                  </a:lnTo>
                  <a:lnTo>
                    <a:pt x="469" y="379"/>
                  </a:lnTo>
                  <a:lnTo>
                    <a:pt x="469" y="379"/>
                  </a:lnTo>
                  <a:lnTo>
                    <a:pt x="467" y="379"/>
                  </a:lnTo>
                  <a:lnTo>
                    <a:pt x="467" y="379"/>
                  </a:lnTo>
                  <a:lnTo>
                    <a:pt x="465" y="379"/>
                  </a:lnTo>
                  <a:lnTo>
                    <a:pt x="465" y="379"/>
                  </a:lnTo>
                  <a:lnTo>
                    <a:pt x="463" y="382"/>
                  </a:lnTo>
                  <a:lnTo>
                    <a:pt x="463" y="382"/>
                  </a:lnTo>
                  <a:lnTo>
                    <a:pt x="461" y="382"/>
                  </a:lnTo>
                  <a:lnTo>
                    <a:pt x="459" y="379"/>
                  </a:lnTo>
                  <a:lnTo>
                    <a:pt x="459" y="379"/>
                  </a:lnTo>
                  <a:lnTo>
                    <a:pt x="459" y="379"/>
                  </a:lnTo>
                  <a:lnTo>
                    <a:pt x="459" y="379"/>
                  </a:lnTo>
                  <a:lnTo>
                    <a:pt x="459" y="377"/>
                  </a:lnTo>
                  <a:lnTo>
                    <a:pt x="459" y="377"/>
                  </a:lnTo>
                  <a:lnTo>
                    <a:pt x="461" y="377"/>
                  </a:lnTo>
                  <a:lnTo>
                    <a:pt x="461" y="377"/>
                  </a:lnTo>
                  <a:lnTo>
                    <a:pt x="463" y="377"/>
                  </a:lnTo>
                  <a:lnTo>
                    <a:pt x="463" y="375"/>
                  </a:lnTo>
                  <a:lnTo>
                    <a:pt x="461" y="375"/>
                  </a:lnTo>
                  <a:lnTo>
                    <a:pt x="459" y="375"/>
                  </a:lnTo>
                  <a:lnTo>
                    <a:pt x="459" y="375"/>
                  </a:lnTo>
                  <a:lnTo>
                    <a:pt x="459" y="377"/>
                  </a:lnTo>
                  <a:lnTo>
                    <a:pt x="457" y="377"/>
                  </a:lnTo>
                  <a:lnTo>
                    <a:pt x="457" y="377"/>
                  </a:lnTo>
                  <a:lnTo>
                    <a:pt x="457" y="377"/>
                  </a:lnTo>
                  <a:lnTo>
                    <a:pt x="455" y="377"/>
                  </a:lnTo>
                  <a:lnTo>
                    <a:pt x="455" y="377"/>
                  </a:lnTo>
                  <a:lnTo>
                    <a:pt x="453" y="375"/>
                  </a:lnTo>
                  <a:lnTo>
                    <a:pt x="451" y="375"/>
                  </a:lnTo>
                  <a:lnTo>
                    <a:pt x="445" y="377"/>
                  </a:lnTo>
                  <a:lnTo>
                    <a:pt x="445" y="377"/>
                  </a:lnTo>
                  <a:lnTo>
                    <a:pt x="443" y="377"/>
                  </a:lnTo>
                  <a:lnTo>
                    <a:pt x="443" y="375"/>
                  </a:lnTo>
                  <a:lnTo>
                    <a:pt x="443" y="375"/>
                  </a:lnTo>
                  <a:lnTo>
                    <a:pt x="445" y="375"/>
                  </a:lnTo>
                  <a:lnTo>
                    <a:pt x="445" y="375"/>
                  </a:lnTo>
                  <a:lnTo>
                    <a:pt x="445" y="373"/>
                  </a:lnTo>
                  <a:lnTo>
                    <a:pt x="443" y="373"/>
                  </a:lnTo>
                  <a:lnTo>
                    <a:pt x="443" y="373"/>
                  </a:lnTo>
                  <a:lnTo>
                    <a:pt x="443" y="371"/>
                  </a:lnTo>
                  <a:lnTo>
                    <a:pt x="445" y="369"/>
                  </a:lnTo>
                  <a:lnTo>
                    <a:pt x="445" y="369"/>
                  </a:lnTo>
                  <a:lnTo>
                    <a:pt x="443" y="369"/>
                  </a:lnTo>
                  <a:lnTo>
                    <a:pt x="438" y="367"/>
                  </a:lnTo>
                  <a:lnTo>
                    <a:pt x="438" y="367"/>
                  </a:lnTo>
                  <a:lnTo>
                    <a:pt x="438" y="367"/>
                  </a:lnTo>
                  <a:lnTo>
                    <a:pt x="438" y="367"/>
                  </a:lnTo>
                  <a:lnTo>
                    <a:pt x="438" y="367"/>
                  </a:lnTo>
                  <a:lnTo>
                    <a:pt x="436" y="367"/>
                  </a:lnTo>
                  <a:lnTo>
                    <a:pt x="434" y="367"/>
                  </a:lnTo>
                  <a:lnTo>
                    <a:pt x="432" y="365"/>
                  </a:lnTo>
                  <a:lnTo>
                    <a:pt x="430" y="365"/>
                  </a:lnTo>
                  <a:lnTo>
                    <a:pt x="428" y="365"/>
                  </a:lnTo>
                  <a:lnTo>
                    <a:pt x="428" y="363"/>
                  </a:lnTo>
                  <a:lnTo>
                    <a:pt x="428" y="361"/>
                  </a:lnTo>
                  <a:lnTo>
                    <a:pt x="426" y="359"/>
                  </a:lnTo>
                  <a:lnTo>
                    <a:pt x="424" y="357"/>
                  </a:lnTo>
                  <a:lnTo>
                    <a:pt x="424" y="355"/>
                  </a:lnTo>
                  <a:lnTo>
                    <a:pt x="424" y="355"/>
                  </a:lnTo>
                  <a:lnTo>
                    <a:pt x="424" y="355"/>
                  </a:lnTo>
                  <a:lnTo>
                    <a:pt x="424" y="355"/>
                  </a:lnTo>
                  <a:lnTo>
                    <a:pt x="422" y="355"/>
                  </a:lnTo>
                  <a:lnTo>
                    <a:pt x="420" y="353"/>
                  </a:lnTo>
                  <a:lnTo>
                    <a:pt x="424" y="353"/>
                  </a:lnTo>
                  <a:lnTo>
                    <a:pt x="432" y="355"/>
                  </a:lnTo>
                  <a:lnTo>
                    <a:pt x="432" y="353"/>
                  </a:lnTo>
                  <a:lnTo>
                    <a:pt x="430" y="351"/>
                  </a:lnTo>
                  <a:lnTo>
                    <a:pt x="430" y="351"/>
                  </a:lnTo>
                  <a:lnTo>
                    <a:pt x="430" y="351"/>
                  </a:lnTo>
                  <a:lnTo>
                    <a:pt x="430" y="351"/>
                  </a:lnTo>
                  <a:lnTo>
                    <a:pt x="428" y="349"/>
                  </a:lnTo>
                  <a:lnTo>
                    <a:pt x="428" y="349"/>
                  </a:lnTo>
                  <a:lnTo>
                    <a:pt x="430" y="349"/>
                  </a:lnTo>
                  <a:lnTo>
                    <a:pt x="428" y="347"/>
                  </a:lnTo>
                  <a:lnTo>
                    <a:pt x="426" y="347"/>
                  </a:lnTo>
                  <a:lnTo>
                    <a:pt x="424" y="345"/>
                  </a:lnTo>
                  <a:lnTo>
                    <a:pt x="428" y="347"/>
                  </a:lnTo>
                  <a:lnTo>
                    <a:pt x="432" y="349"/>
                  </a:lnTo>
                  <a:lnTo>
                    <a:pt x="434" y="349"/>
                  </a:lnTo>
                  <a:lnTo>
                    <a:pt x="438" y="349"/>
                  </a:lnTo>
                  <a:lnTo>
                    <a:pt x="440" y="349"/>
                  </a:lnTo>
                  <a:lnTo>
                    <a:pt x="443" y="349"/>
                  </a:lnTo>
                  <a:lnTo>
                    <a:pt x="443" y="351"/>
                  </a:lnTo>
                  <a:lnTo>
                    <a:pt x="445" y="351"/>
                  </a:lnTo>
                  <a:lnTo>
                    <a:pt x="447" y="351"/>
                  </a:lnTo>
                  <a:lnTo>
                    <a:pt x="447" y="351"/>
                  </a:lnTo>
                  <a:lnTo>
                    <a:pt x="443" y="349"/>
                  </a:lnTo>
                  <a:lnTo>
                    <a:pt x="440" y="347"/>
                  </a:lnTo>
                  <a:lnTo>
                    <a:pt x="440" y="347"/>
                  </a:lnTo>
                  <a:lnTo>
                    <a:pt x="443" y="347"/>
                  </a:lnTo>
                  <a:lnTo>
                    <a:pt x="443" y="347"/>
                  </a:lnTo>
                  <a:lnTo>
                    <a:pt x="443" y="347"/>
                  </a:lnTo>
                  <a:lnTo>
                    <a:pt x="443" y="347"/>
                  </a:lnTo>
                  <a:lnTo>
                    <a:pt x="440" y="347"/>
                  </a:lnTo>
                  <a:lnTo>
                    <a:pt x="438" y="347"/>
                  </a:lnTo>
                  <a:lnTo>
                    <a:pt x="436" y="347"/>
                  </a:lnTo>
                  <a:lnTo>
                    <a:pt x="434" y="345"/>
                  </a:lnTo>
                  <a:lnTo>
                    <a:pt x="434" y="343"/>
                  </a:lnTo>
                  <a:lnTo>
                    <a:pt x="434" y="341"/>
                  </a:lnTo>
                  <a:lnTo>
                    <a:pt x="434" y="341"/>
                  </a:lnTo>
                  <a:lnTo>
                    <a:pt x="436" y="338"/>
                  </a:lnTo>
                  <a:lnTo>
                    <a:pt x="438" y="338"/>
                  </a:lnTo>
                  <a:lnTo>
                    <a:pt x="438" y="338"/>
                  </a:lnTo>
                  <a:lnTo>
                    <a:pt x="440" y="338"/>
                  </a:lnTo>
                  <a:lnTo>
                    <a:pt x="440" y="338"/>
                  </a:lnTo>
                  <a:lnTo>
                    <a:pt x="440" y="336"/>
                  </a:lnTo>
                  <a:lnTo>
                    <a:pt x="443" y="334"/>
                  </a:lnTo>
                  <a:lnTo>
                    <a:pt x="445" y="332"/>
                  </a:lnTo>
                  <a:lnTo>
                    <a:pt x="445" y="332"/>
                  </a:lnTo>
                  <a:lnTo>
                    <a:pt x="445" y="330"/>
                  </a:lnTo>
                  <a:lnTo>
                    <a:pt x="445" y="330"/>
                  </a:lnTo>
                  <a:lnTo>
                    <a:pt x="447" y="330"/>
                  </a:lnTo>
                  <a:lnTo>
                    <a:pt x="447" y="330"/>
                  </a:lnTo>
                  <a:lnTo>
                    <a:pt x="449" y="332"/>
                  </a:lnTo>
                  <a:lnTo>
                    <a:pt x="449" y="332"/>
                  </a:lnTo>
                  <a:lnTo>
                    <a:pt x="451" y="334"/>
                  </a:lnTo>
                  <a:lnTo>
                    <a:pt x="451" y="334"/>
                  </a:lnTo>
                  <a:lnTo>
                    <a:pt x="451" y="334"/>
                  </a:lnTo>
                  <a:lnTo>
                    <a:pt x="451" y="336"/>
                  </a:lnTo>
                  <a:lnTo>
                    <a:pt x="451" y="336"/>
                  </a:lnTo>
                  <a:lnTo>
                    <a:pt x="453" y="336"/>
                  </a:lnTo>
                  <a:lnTo>
                    <a:pt x="453" y="334"/>
                  </a:lnTo>
                  <a:lnTo>
                    <a:pt x="453" y="332"/>
                  </a:lnTo>
                  <a:lnTo>
                    <a:pt x="455" y="332"/>
                  </a:lnTo>
                  <a:lnTo>
                    <a:pt x="457" y="332"/>
                  </a:lnTo>
                  <a:lnTo>
                    <a:pt x="457" y="332"/>
                  </a:lnTo>
                  <a:lnTo>
                    <a:pt x="455" y="332"/>
                  </a:lnTo>
                  <a:lnTo>
                    <a:pt x="455" y="332"/>
                  </a:lnTo>
                  <a:lnTo>
                    <a:pt x="455" y="330"/>
                  </a:lnTo>
                  <a:lnTo>
                    <a:pt x="453" y="328"/>
                  </a:lnTo>
                  <a:lnTo>
                    <a:pt x="455" y="328"/>
                  </a:lnTo>
                  <a:lnTo>
                    <a:pt x="455" y="328"/>
                  </a:lnTo>
                  <a:lnTo>
                    <a:pt x="455" y="326"/>
                  </a:lnTo>
                  <a:lnTo>
                    <a:pt x="457" y="326"/>
                  </a:lnTo>
                  <a:lnTo>
                    <a:pt x="457" y="326"/>
                  </a:lnTo>
                  <a:lnTo>
                    <a:pt x="457" y="326"/>
                  </a:lnTo>
                  <a:lnTo>
                    <a:pt x="455" y="326"/>
                  </a:lnTo>
                  <a:lnTo>
                    <a:pt x="455" y="324"/>
                  </a:lnTo>
                  <a:lnTo>
                    <a:pt x="455" y="324"/>
                  </a:lnTo>
                  <a:lnTo>
                    <a:pt x="457" y="324"/>
                  </a:lnTo>
                  <a:lnTo>
                    <a:pt x="455" y="322"/>
                  </a:lnTo>
                  <a:lnTo>
                    <a:pt x="455" y="322"/>
                  </a:lnTo>
                  <a:lnTo>
                    <a:pt x="453" y="322"/>
                  </a:lnTo>
                  <a:lnTo>
                    <a:pt x="453" y="324"/>
                  </a:lnTo>
                  <a:lnTo>
                    <a:pt x="451" y="324"/>
                  </a:lnTo>
                  <a:lnTo>
                    <a:pt x="451" y="324"/>
                  </a:lnTo>
                  <a:lnTo>
                    <a:pt x="453" y="322"/>
                  </a:lnTo>
                  <a:lnTo>
                    <a:pt x="455" y="320"/>
                  </a:lnTo>
                  <a:lnTo>
                    <a:pt x="453" y="320"/>
                  </a:lnTo>
                  <a:lnTo>
                    <a:pt x="453" y="320"/>
                  </a:lnTo>
                  <a:lnTo>
                    <a:pt x="451" y="320"/>
                  </a:lnTo>
                  <a:lnTo>
                    <a:pt x="451" y="320"/>
                  </a:lnTo>
                  <a:lnTo>
                    <a:pt x="451" y="322"/>
                  </a:lnTo>
                  <a:lnTo>
                    <a:pt x="449" y="322"/>
                  </a:lnTo>
                  <a:lnTo>
                    <a:pt x="449" y="322"/>
                  </a:lnTo>
                  <a:lnTo>
                    <a:pt x="449" y="322"/>
                  </a:lnTo>
                  <a:lnTo>
                    <a:pt x="449" y="322"/>
                  </a:lnTo>
                  <a:lnTo>
                    <a:pt x="449" y="320"/>
                  </a:lnTo>
                  <a:lnTo>
                    <a:pt x="447" y="320"/>
                  </a:lnTo>
                  <a:lnTo>
                    <a:pt x="447" y="318"/>
                  </a:lnTo>
                  <a:lnTo>
                    <a:pt x="449" y="316"/>
                  </a:lnTo>
                  <a:lnTo>
                    <a:pt x="451" y="318"/>
                  </a:lnTo>
                  <a:lnTo>
                    <a:pt x="453" y="318"/>
                  </a:lnTo>
                  <a:lnTo>
                    <a:pt x="453" y="316"/>
                  </a:lnTo>
                  <a:lnTo>
                    <a:pt x="451" y="314"/>
                  </a:lnTo>
                  <a:lnTo>
                    <a:pt x="451" y="314"/>
                  </a:lnTo>
                  <a:lnTo>
                    <a:pt x="447" y="314"/>
                  </a:lnTo>
                  <a:lnTo>
                    <a:pt x="447" y="314"/>
                  </a:lnTo>
                  <a:lnTo>
                    <a:pt x="445" y="314"/>
                  </a:lnTo>
                  <a:lnTo>
                    <a:pt x="445" y="314"/>
                  </a:lnTo>
                  <a:lnTo>
                    <a:pt x="447" y="314"/>
                  </a:lnTo>
                  <a:lnTo>
                    <a:pt x="447" y="312"/>
                  </a:lnTo>
                  <a:lnTo>
                    <a:pt x="447" y="312"/>
                  </a:lnTo>
                  <a:lnTo>
                    <a:pt x="447" y="312"/>
                  </a:lnTo>
                  <a:lnTo>
                    <a:pt x="447" y="310"/>
                  </a:lnTo>
                  <a:lnTo>
                    <a:pt x="447" y="310"/>
                  </a:lnTo>
                  <a:lnTo>
                    <a:pt x="447" y="308"/>
                  </a:lnTo>
                  <a:lnTo>
                    <a:pt x="451" y="308"/>
                  </a:lnTo>
                  <a:lnTo>
                    <a:pt x="451" y="308"/>
                  </a:lnTo>
                  <a:lnTo>
                    <a:pt x="453" y="306"/>
                  </a:lnTo>
                  <a:lnTo>
                    <a:pt x="453" y="306"/>
                  </a:lnTo>
                  <a:lnTo>
                    <a:pt x="453" y="306"/>
                  </a:lnTo>
                  <a:lnTo>
                    <a:pt x="451" y="306"/>
                  </a:lnTo>
                  <a:lnTo>
                    <a:pt x="451" y="306"/>
                  </a:lnTo>
                  <a:lnTo>
                    <a:pt x="449" y="306"/>
                  </a:lnTo>
                  <a:lnTo>
                    <a:pt x="447" y="308"/>
                  </a:lnTo>
                  <a:lnTo>
                    <a:pt x="447" y="308"/>
                  </a:lnTo>
                  <a:lnTo>
                    <a:pt x="447" y="308"/>
                  </a:lnTo>
                  <a:lnTo>
                    <a:pt x="447" y="308"/>
                  </a:lnTo>
                  <a:lnTo>
                    <a:pt x="447" y="308"/>
                  </a:lnTo>
                  <a:lnTo>
                    <a:pt x="447" y="306"/>
                  </a:lnTo>
                  <a:lnTo>
                    <a:pt x="447" y="306"/>
                  </a:lnTo>
                  <a:lnTo>
                    <a:pt x="447" y="306"/>
                  </a:lnTo>
                  <a:lnTo>
                    <a:pt x="447" y="306"/>
                  </a:lnTo>
                  <a:lnTo>
                    <a:pt x="447" y="306"/>
                  </a:lnTo>
                  <a:lnTo>
                    <a:pt x="445" y="304"/>
                  </a:lnTo>
                  <a:lnTo>
                    <a:pt x="443" y="304"/>
                  </a:lnTo>
                  <a:lnTo>
                    <a:pt x="443" y="304"/>
                  </a:lnTo>
                  <a:lnTo>
                    <a:pt x="443" y="304"/>
                  </a:lnTo>
                  <a:lnTo>
                    <a:pt x="440" y="304"/>
                  </a:lnTo>
                  <a:lnTo>
                    <a:pt x="440" y="304"/>
                  </a:lnTo>
                  <a:lnTo>
                    <a:pt x="440" y="306"/>
                  </a:lnTo>
                  <a:lnTo>
                    <a:pt x="440" y="306"/>
                  </a:lnTo>
                  <a:lnTo>
                    <a:pt x="440" y="308"/>
                  </a:lnTo>
                  <a:lnTo>
                    <a:pt x="440" y="308"/>
                  </a:lnTo>
                  <a:lnTo>
                    <a:pt x="440" y="310"/>
                  </a:lnTo>
                  <a:lnTo>
                    <a:pt x="438" y="310"/>
                  </a:lnTo>
                  <a:lnTo>
                    <a:pt x="438" y="310"/>
                  </a:lnTo>
                  <a:lnTo>
                    <a:pt x="436" y="312"/>
                  </a:lnTo>
                  <a:lnTo>
                    <a:pt x="436" y="312"/>
                  </a:lnTo>
                  <a:lnTo>
                    <a:pt x="434" y="312"/>
                  </a:lnTo>
                  <a:lnTo>
                    <a:pt x="434" y="314"/>
                  </a:lnTo>
                  <a:lnTo>
                    <a:pt x="434" y="318"/>
                  </a:lnTo>
                  <a:lnTo>
                    <a:pt x="434" y="320"/>
                  </a:lnTo>
                  <a:lnTo>
                    <a:pt x="434" y="322"/>
                  </a:lnTo>
                  <a:lnTo>
                    <a:pt x="432" y="324"/>
                  </a:lnTo>
                  <a:lnTo>
                    <a:pt x="430" y="326"/>
                  </a:lnTo>
                  <a:lnTo>
                    <a:pt x="428" y="326"/>
                  </a:lnTo>
                  <a:lnTo>
                    <a:pt x="426" y="326"/>
                  </a:lnTo>
                  <a:lnTo>
                    <a:pt x="424" y="326"/>
                  </a:lnTo>
                  <a:lnTo>
                    <a:pt x="422" y="324"/>
                  </a:lnTo>
                  <a:lnTo>
                    <a:pt x="420" y="322"/>
                  </a:lnTo>
                  <a:lnTo>
                    <a:pt x="420" y="322"/>
                  </a:lnTo>
                  <a:lnTo>
                    <a:pt x="422" y="320"/>
                  </a:lnTo>
                  <a:lnTo>
                    <a:pt x="422" y="318"/>
                  </a:lnTo>
                  <a:lnTo>
                    <a:pt x="420" y="318"/>
                  </a:lnTo>
                  <a:lnTo>
                    <a:pt x="418" y="320"/>
                  </a:lnTo>
                  <a:lnTo>
                    <a:pt x="416" y="320"/>
                  </a:lnTo>
                  <a:lnTo>
                    <a:pt x="414" y="320"/>
                  </a:lnTo>
                  <a:lnTo>
                    <a:pt x="412" y="320"/>
                  </a:lnTo>
                  <a:lnTo>
                    <a:pt x="412" y="320"/>
                  </a:lnTo>
                  <a:lnTo>
                    <a:pt x="410" y="318"/>
                  </a:lnTo>
                  <a:lnTo>
                    <a:pt x="410" y="316"/>
                  </a:lnTo>
                  <a:lnTo>
                    <a:pt x="410" y="314"/>
                  </a:lnTo>
                  <a:lnTo>
                    <a:pt x="410" y="312"/>
                  </a:lnTo>
                  <a:lnTo>
                    <a:pt x="410" y="310"/>
                  </a:lnTo>
                  <a:lnTo>
                    <a:pt x="412" y="310"/>
                  </a:lnTo>
                  <a:lnTo>
                    <a:pt x="414" y="310"/>
                  </a:lnTo>
                  <a:lnTo>
                    <a:pt x="418" y="310"/>
                  </a:lnTo>
                  <a:lnTo>
                    <a:pt x="420" y="312"/>
                  </a:lnTo>
                  <a:lnTo>
                    <a:pt x="420" y="310"/>
                  </a:lnTo>
                  <a:lnTo>
                    <a:pt x="420" y="310"/>
                  </a:lnTo>
                  <a:lnTo>
                    <a:pt x="420" y="308"/>
                  </a:lnTo>
                  <a:lnTo>
                    <a:pt x="420" y="308"/>
                  </a:lnTo>
                  <a:lnTo>
                    <a:pt x="420" y="306"/>
                  </a:lnTo>
                  <a:lnTo>
                    <a:pt x="422" y="306"/>
                  </a:lnTo>
                  <a:lnTo>
                    <a:pt x="424" y="304"/>
                  </a:lnTo>
                  <a:lnTo>
                    <a:pt x="424" y="302"/>
                  </a:lnTo>
                  <a:lnTo>
                    <a:pt x="424" y="300"/>
                  </a:lnTo>
                  <a:lnTo>
                    <a:pt x="426" y="298"/>
                  </a:lnTo>
                  <a:lnTo>
                    <a:pt x="424" y="298"/>
                  </a:lnTo>
                  <a:lnTo>
                    <a:pt x="424" y="295"/>
                  </a:lnTo>
                  <a:lnTo>
                    <a:pt x="422" y="295"/>
                  </a:lnTo>
                  <a:lnTo>
                    <a:pt x="420" y="298"/>
                  </a:lnTo>
                  <a:lnTo>
                    <a:pt x="420" y="298"/>
                  </a:lnTo>
                  <a:lnTo>
                    <a:pt x="420" y="298"/>
                  </a:lnTo>
                  <a:lnTo>
                    <a:pt x="420" y="298"/>
                  </a:lnTo>
                  <a:lnTo>
                    <a:pt x="420" y="298"/>
                  </a:lnTo>
                  <a:lnTo>
                    <a:pt x="420" y="298"/>
                  </a:lnTo>
                  <a:lnTo>
                    <a:pt x="422" y="298"/>
                  </a:lnTo>
                  <a:lnTo>
                    <a:pt x="422" y="298"/>
                  </a:lnTo>
                  <a:lnTo>
                    <a:pt x="422" y="298"/>
                  </a:lnTo>
                  <a:lnTo>
                    <a:pt x="422" y="300"/>
                  </a:lnTo>
                  <a:lnTo>
                    <a:pt x="422" y="300"/>
                  </a:lnTo>
                  <a:lnTo>
                    <a:pt x="420" y="300"/>
                  </a:lnTo>
                  <a:lnTo>
                    <a:pt x="420" y="300"/>
                  </a:lnTo>
                  <a:lnTo>
                    <a:pt x="418" y="300"/>
                  </a:lnTo>
                  <a:lnTo>
                    <a:pt x="418" y="300"/>
                  </a:lnTo>
                  <a:lnTo>
                    <a:pt x="418" y="302"/>
                  </a:lnTo>
                  <a:lnTo>
                    <a:pt x="416" y="304"/>
                  </a:lnTo>
                  <a:lnTo>
                    <a:pt x="416" y="304"/>
                  </a:lnTo>
                  <a:lnTo>
                    <a:pt x="416" y="302"/>
                  </a:lnTo>
                  <a:lnTo>
                    <a:pt x="416" y="302"/>
                  </a:lnTo>
                  <a:lnTo>
                    <a:pt x="416" y="302"/>
                  </a:lnTo>
                  <a:lnTo>
                    <a:pt x="416" y="302"/>
                  </a:lnTo>
                  <a:lnTo>
                    <a:pt x="416" y="298"/>
                  </a:lnTo>
                  <a:lnTo>
                    <a:pt x="418" y="298"/>
                  </a:lnTo>
                  <a:lnTo>
                    <a:pt x="416" y="295"/>
                  </a:lnTo>
                  <a:lnTo>
                    <a:pt x="416" y="295"/>
                  </a:lnTo>
                  <a:lnTo>
                    <a:pt x="416" y="298"/>
                  </a:lnTo>
                  <a:lnTo>
                    <a:pt x="416" y="298"/>
                  </a:lnTo>
                  <a:lnTo>
                    <a:pt x="414" y="300"/>
                  </a:lnTo>
                  <a:lnTo>
                    <a:pt x="414" y="302"/>
                  </a:lnTo>
                  <a:lnTo>
                    <a:pt x="412" y="304"/>
                  </a:lnTo>
                  <a:lnTo>
                    <a:pt x="412" y="304"/>
                  </a:lnTo>
                  <a:lnTo>
                    <a:pt x="412" y="304"/>
                  </a:lnTo>
                  <a:lnTo>
                    <a:pt x="410" y="304"/>
                  </a:lnTo>
                  <a:lnTo>
                    <a:pt x="410" y="304"/>
                  </a:lnTo>
                  <a:lnTo>
                    <a:pt x="408" y="302"/>
                  </a:lnTo>
                  <a:lnTo>
                    <a:pt x="408" y="302"/>
                  </a:lnTo>
                  <a:lnTo>
                    <a:pt x="406" y="300"/>
                  </a:lnTo>
                  <a:lnTo>
                    <a:pt x="406" y="300"/>
                  </a:lnTo>
                  <a:lnTo>
                    <a:pt x="404" y="300"/>
                  </a:lnTo>
                  <a:lnTo>
                    <a:pt x="402" y="302"/>
                  </a:lnTo>
                  <a:lnTo>
                    <a:pt x="399" y="306"/>
                  </a:lnTo>
                  <a:lnTo>
                    <a:pt x="393" y="310"/>
                  </a:lnTo>
                  <a:lnTo>
                    <a:pt x="391" y="312"/>
                  </a:lnTo>
                  <a:lnTo>
                    <a:pt x="389" y="312"/>
                  </a:lnTo>
                  <a:lnTo>
                    <a:pt x="383" y="314"/>
                  </a:lnTo>
                  <a:lnTo>
                    <a:pt x="381" y="316"/>
                  </a:lnTo>
                  <a:lnTo>
                    <a:pt x="379" y="316"/>
                  </a:lnTo>
                  <a:lnTo>
                    <a:pt x="373" y="314"/>
                  </a:lnTo>
                  <a:lnTo>
                    <a:pt x="369" y="312"/>
                  </a:lnTo>
                  <a:lnTo>
                    <a:pt x="363" y="312"/>
                  </a:lnTo>
                  <a:lnTo>
                    <a:pt x="359" y="312"/>
                  </a:lnTo>
                  <a:lnTo>
                    <a:pt x="354" y="308"/>
                  </a:lnTo>
                  <a:lnTo>
                    <a:pt x="352" y="304"/>
                  </a:lnTo>
                  <a:lnTo>
                    <a:pt x="352" y="300"/>
                  </a:lnTo>
                  <a:lnTo>
                    <a:pt x="354" y="295"/>
                  </a:lnTo>
                  <a:lnTo>
                    <a:pt x="361" y="289"/>
                  </a:lnTo>
                  <a:lnTo>
                    <a:pt x="363" y="285"/>
                  </a:lnTo>
                  <a:lnTo>
                    <a:pt x="365" y="281"/>
                  </a:lnTo>
                  <a:lnTo>
                    <a:pt x="367" y="279"/>
                  </a:lnTo>
                  <a:lnTo>
                    <a:pt x="369" y="277"/>
                  </a:lnTo>
                  <a:lnTo>
                    <a:pt x="373" y="275"/>
                  </a:lnTo>
                  <a:lnTo>
                    <a:pt x="377" y="277"/>
                  </a:lnTo>
                  <a:lnTo>
                    <a:pt x="381" y="277"/>
                  </a:lnTo>
                  <a:lnTo>
                    <a:pt x="385" y="279"/>
                  </a:lnTo>
                  <a:lnTo>
                    <a:pt x="389" y="281"/>
                  </a:lnTo>
                  <a:lnTo>
                    <a:pt x="391" y="281"/>
                  </a:lnTo>
                  <a:lnTo>
                    <a:pt x="391" y="283"/>
                  </a:lnTo>
                  <a:lnTo>
                    <a:pt x="393" y="287"/>
                  </a:lnTo>
                  <a:lnTo>
                    <a:pt x="393" y="287"/>
                  </a:lnTo>
                  <a:lnTo>
                    <a:pt x="397" y="287"/>
                  </a:lnTo>
                  <a:lnTo>
                    <a:pt x="399" y="287"/>
                  </a:lnTo>
                  <a:lnTo>
                    <a:pt x="402" y="287"/>
                  </a:lnTo>
                  <a:lnTo>
                    <a:pt x="402" y="287"/>
                  </a:lnTo>
                  <a:lnTo>
                    <a:pt x="404" y="287"/>
                  </a:lnTo>
                  <a:lnTo>
                    <a:pt x="408" y="289"/>
                  </a:lnTo>
                  <a:lnTo>
                    <a:pt x="410" y="289"/>
                  </a:lnTo>
                  <a:lnTo>
                    <a:pt x="414" y="289"/>
                  </a:lnTo>
                  <a:lnTo>
                    <a:pt x="414" y="289"/>
                  </a:lnTo>
                  <a:lnTo>
                    <a:pt x="416" y="291"/>
                  </a:lnTo>
                  <a:lnTo>
                    <a:pt x="416" y="291"/>
                  </a:lnTo>
                  <a:lnTo>
                    <a:pt x="416" y="291"/>
                  </a:lnTo>
                  <a:lnTo>
                    <a:pt x="416" y="293"/>
                  </a:lnTo>
                  <a:lnTo>
                    <a:pt x="416" y="293"/>
                  </a:lnTo>
                  <a:lnTo>
                    <a:pt x="416" y="293"/>
                  </a:lnTo>
                  <a:lnTo>
                    <a:pt x="418" y="295"/>
                  </a:lnTo>
                  <a:lnTo>
                    <a:pt x="420" y="295"/>
                  </a:lnTo>
                  <a:lnTo>
                    <a:pt x="420" y="293"/>
                  </a:lnTo>
                  <a:lnTo>
                    <a:pt x="422" y="293"/>
                  </a:lnTo>
                  <a:lnTo>
                    <a:pt x="426" y="295"/>
                  </a:lnTo>
                  <a:lnTo>
                    <a:pt x="426" y="293"/>
                  </a:lnTo>
                  <a:lnTo>
                    <a:pt x="428" y="293"/>
                  </a:lnTo>
                  <a:lnTo>
                    <a:pt x="430" y="293"/>
                  </a:lnTo>
                  <a:lnTo>
                    <a:pt x="430" y="293"/>
                  </a:lnTo>
                  <a:lnTo>
                    <a:pt x="430" y="295"/>
                  </a:lnTo>
                  <a:lnTo>
                    <a:pt x="430" y="295"/>
                  </a:lnTo>
                  <a:lnTo>
                    <a:pt x="428" y="295"/>
                  </a:lnTo>
                  <a:lnTo>
                    <a:pt x="430" y="295"/>
                  </a:lnTo>
                  <a:lnTo>
                    <a:pt x="432" y="295"/>
                  </a:lnTo>
                  <a:lnTo>
                    <a:pt x="434" y="293"/>
                  </a:lnTo>
                  <a:lnTo>
                    <a:pt x="436" y="291"/>
                  </a:lnTo>
                  <a:lnTo>
                    <a:pt x="436" y="291"/>
                  </a:lnTo>
                  <a:lnTo>
                    <a:pt x="434" y="291"/>
                  </a:lnTo>
                  <a:lnTo>
                    <a:pt x="432" y="291"/>
                  </a:lnTo>
                  <a:lnTo>
                    <a:pt x="432" y="291"/>
                  </a:lnTo>
                  <a:lnTo>
                    <a:pt x="430" y="289"/>
                  </a:lnTo>
                  <a:lnTo>
                    <a:pt x="426" y="283"/>
                  </a:lnTo>
                  <a:lnTo>
                    <a:pt x="424" y="281"/>
                  </a:lnTo>
                  <a:lnTo>
                    <a:pt x="424" y="277"/>
                  </a:lnTo>
                  <a:lnTo>
                    <a:pt x="424" y="275"/>
                  </a:lnTo>
                  <a:lnTo>
                    <a:pt x="420" y="271"/>
                  </a:lnTo>
                  <a:lnTo>
                    <a:pt x="420" y="269"/>
                  </a:lnTo>
                  <a:lnTo>
                    <a:pt x="420" y="269"/>
                  </a:lnTo>
                  <a:lnTo>
                    <a:pt x="420" y="267"/>
                  </a:lnTo>
                  <a:lnTo>
                    <a:pt x="420" y="265"/>
                  </a:lnTo>
                  <a:lnTo>
                    <a:pt x="420" y="265"/>
                  </a:lnTo>
                  <a:lnTo>
                    <a:pt x="418" y="263"/>
                  </a:lnTo>
                  <a:lnTo>
                    <a:pt x="414" y="261"/>
                  </a:lnTo>
                  <a:lnTo>
                    <a:pt x="414" y="257"/>
                  </a:lnTo>
                  <a:lnTo>
                    <a:pt x="412" y="257"/>
                  </a:lnTo>
                  <a:lnTo>
                    <a:pt x="408" y="254"/>
                  </a:lnTo>
                  <a:lnTo>
                    <a:pt x="408" y="254"/>
                  </a:lnTo>
                  <a:lnTo>
                    <a:pt x="404" y="248"/>
                  </a:lnTo>
                  <a:lnTo>
                    <a:pt x="406" y="246"/>
                  </a:lnTo>
                  <a:lnTo>
                    <a:pt x="404" y="244"/>
                  </a:lnTo>
                  <a:lnTo>
                    <a:pt x="404" y="244"/>
                  </a:lnTo>
                  <a:lnTo>
                    <a:pt x="402" y="242"/>
                  </a:lnTo>
                  <a:lnTo>
                    <a:pt x="402" y="240"/>
                  </a:lnTo>
                  <a:lnTo>
                    <a:pt x="402" y="238"/>
                  </a:lnTo>
                  <a:lnTo>
                    <a:pt x="404" y="234"/>
                  </a:lnTo>
                  <a:lnTo>
                    <a:pt x="404" y="232"/>
                  </a:lnTo>
                  <a:lnTo>
                    <a:pt x="404" y="230"/>
                  </a:lnTo>
                  <a:lnTo>
                    <a:pt x="406" y="226"/>
                  </a:lnTo>
                  <a:lnTo>
                    <a:pt x="406" y="220"/>
                  </a:lnTo>
                  <a:lnTo>
                    <a:pt x="408" y="216"/>
                  </a:lnTo>
                  <a:lnTo>
                    <a:pt x="410" y="211"/>
                  </a:lnTo>
                  <a:lnTo>
                    <a:pt x="410" y="207"/>
                  </a:lnTo>
                  <a:lnTo>
                    <a:pt x="408" y="207"/>
                  </a:lnTo>
                  <a:lnTo>
                    <a:pt x="406" y="207"/>
                  </a:lnTo>
                  <a:lnTo>
                    <a:pt x="402" y="207"/>
                  </a:lnTo>
                  <a:lnTo>
                    <a:pt x="399" y="207"/>
                  </a:lnTo>
                  <a:lnTo>
                    <a:pt x="393" y="207"/>
                  </a:lnTo>
                  <a:lnTo>
                    <a:pt x="385" y="209"/>
                  </a:lnTo>
                  <a:lnTo>
                    <a:pt x="375" y="209"/>
                  </a:lnTo>
                  <a:lnTo>
                    <a:pt x="363" y="211"/>
                  </a:lnTo>
                  <a:lnTo>
                    <a:pt x="348" y="211"/>
                  </a:lnTo>
                  <a:lnTo>
                    <a:pt x="334" y="213"/>
                  </a:lnTo>
                  <a:lnTo>
                    <a:pt x="320" y="216"/>
                  </a:lnTo>
                  <a:lnTo>
                    <a:pt x="303" y="216"/>
                  </a:lnTo>
                  <a:lnTo>
                    <a:pt x="289" y="218"/>
                  </a:lnTo>
                  <a:lnTo>
                    <a:pt x="275" y="218"/>
                  </a:lnTo>
                  <a:lnTo>
                    <a:pt x="262" y="220"/>
                  </a:lnTo>
                  <a:lnTo>
                    <a:pt x="252" y="220"/>
                  </a:lnTo>
                  <a:lnTo>
                    <a:pt x="244" y="222"/>
                  </a:lnTo>
                  <a:lnTo>
                    <a:pt x="238" y="222"/>
                  </a:lnTo>
                  <a:lnTo>
                    <a:pt x="236" y="222"/>
                  </a:lnTo>
                  <a:lnTo>
                    <a:pt x="232" y="222"/>
                  </a:lnTo>
                  <a:lnTo>
                    <a:pt x="232" y="222"/>
                  </a:lnTo>
                  <a:lnTo>
                    <a:pt x="238" y="216"/>
                  </a:lnTo>
                  <a:lnTo>
                    <a:pt x="238" y="211"/>
                  </a:lnTo>
                  <a:lnTo>
                    <a:pt x="234" y="209"/>
                  </a:lnTo>
                  <a:lnTo>
                    <a:pt x="234" y="205"/>
                  </a:lnTo>
                  <a:lnTo>
                    <a:pt x="234" y="205"/>
                  </a:lnTo>
                  <a:lnTo>
                    <a:pt x="234" y="203"/>
                  </a:lnTo>
                  <a:lnTo>
                    <a:pt x="234" y="201"/>
                  </a:lnTo>
                  <a:lnTo>
                    <a:pt x="234" y="201"/>
                  </a:lnTo>
                  <a:lnTo>
                    <a:pt x="234" y="201"/>
                  </a:lnTo>
                  <a:lnTo>
                    <a:pt x="234" y="199"/>
                  </a:lnTo>
                  <a:lnTo>
                    <a:pt x="234" y="199"/>
                  </a:lnTo>
                  <a:lnTo>
                    <a:pt x="234" y="197"/>
                  </a:lnTo>
                  <a:lnTo>
                    <a:pt x="232" y="197"/>
                  </a:lnTo>
                  <a:lnTo>
                    <a:pt x="230" y="195"/>
                  </a:lnTo>
                  <a:lnTo>
                    <a:pt x="230" y="193"/>
                  </a:lnTo>
                  <a:lnTo>
                    <a:pt x="232" y="191"/>
                  </a:lnTo>
                  <a:lnTo>
                    <a:pt x="234" y="191"/>
                  </a:lnTo>
                  <a:lnTo>
                    <a:pt x="238" y="191"/>
                  </a:lnTo>
                  <a:lnTo>
                    <a:pt x="240" y="191"/>
                  </a:lnTo>
                  <a:lnTo>
                    <a:pt x="242" y="189"/>
                  </a:lnTo>
                  <a:lnTo>
                    <a:pt x="242" y="187"/>
                  </a:lnTo>
                  <a:lnTo>
                    <a:pt x="242" y="181"/>
                  </a:lnTo>
                  <a:lnTo>
                    <a:pt x="242" y="179"/>
                  </a:lnTo>
                  <a:lnTo>
                    <a:pt x="244" y="179"/>
                  </a:lnTo>
                  <a:lnTo>
                    <a:pt x="244" y="177"/>
                  </a:lnTo>
                  <a:lnTo>
                    <a:pt x="242" y="177"/>
                  </a:lnTo>
                  <a:lnTo>
                    <a:pt x="242" y="172"/>
                  </a:lnTo>
                  <a:lnTo>
                    <a:pt x="240" y="172"/>
                  </a:lnTo>
                  <a:lnTo>
                    <a:pt x="240" y="172"/>
                  </a:lnTo>
                  <a:lnTo>
                    <a:pt x="240" y="166"/>
                  </a:lnTo>
                  <a:lnTo>
                    <a:pt x="242" y="164"/>
                  </a:lnTo>
                  <a:lnTo>
                    <a:pt x="248" y="158"/>
                  </a:lnTo>
                  <a:lnTo>
                    <a:pt x="248" y="158"/>
                  </a:lnTo>
                  <a:lnTo>
                    <a:pt x="248" y="156"/>
                  </a:lnTo>
                  <a:lnTo>
                    <a:pt x="248" y="154"/>
                  </a:lnTo>
                  <a:lnTo>
                    <a:pt x="248" y="144"/>
                  </a:lnTo>
                  <a:lnTo>
                    <a:pt x="248" y="142"/>
                  </a:lnTo>
                  <a:lnTo>
                    <a:pt x="248" y="140"/>
                  </a:lnTo>
                  <a:lnTo>
                    <a:pt x="250" y="136"/>
                  </a:lnTo>
                  <a:lnTo>
                    <a:pt x="252" y="132"/>
                  </a:lnTo>
                  <a:lnTo>
                    <a:pt x="252" y="129"/>
                  </a:lnTo>
                  <a:lnTo>
                    <a:pt x="254" y="127"/>
                  </a:lnTo>
                  <a:lnTo>
                    <a:pt x="256" y="125"/>
                  </a:lnTo>
                  <a:lnTo>
                    <a:pt x="258" y="125"/>
                  </a:lnTo>
                  <a:lnTo>
                    <a:pt x="260" y="123"/>
                  </a:lnTo>
                  <a:lnTo>
                    <a:pt x="262" y="123"/>
                  </a:lnTo>
                  <a:lnTo>
                    <a:pt x="266" y="117"/>
                  </a:lnTo>
                  <a:lnTo>
                    <a:pt x="266" y="117"/>
                  </a:lnTo>
                  <a:lnTo>
                    <a:pt x="268" y="113"/>
                  </a:lnTo>
                  <a:lnTo>
                    <a:pt x="268" y="113"/>
                  </a:lnTo>
                  <a:lnTo>
                    <a:pt x="268" y="113"/>
                  </a:lnTo>
                  <a:lnTo>
                    <a:pt x="273" y="111"/>
                  </a:lnTo>
                  <a:lnTo>
                    <a:pt x="275" y="109"/>
                  </a:lnTo>
                  <a:lnTo>
                    <a:pt x="277" y="105"/>
                  </a:lnTo>
                  <a:lnTo>
                    <a:pt x="277" y="101"/>
                  </a:lnTo>
                  <a:lnTo>
                    <a:pt x="273" y="97"/>
                  </a:lnTo>
                  <a:lnTo>
                    <a:pt x="273" y="97"/>
                  </a:lnTo>
                  <a:lnTo>
                    <a:pt x="273" y="97"/>
                  </a:lnTo>
                  <a:lnTo>
                    <a:pt x="273" y="95"/>
                  </a:lnTo>
                  <a:lnTo>
                    <a:pt x="275" y="95"/>
                  </a:lnTo>
                  <a:lnTo>
                    <a:pt x="279" y="95"/>
                  </a:lnTo>
                  <a:lnTo>
                    <a:pt x="281" y="88"/>
                  </a:lnTo>
                  <a:lnTo>
                    <a:pt x="285" y="80"/>
                  </a:lnTo>
                  <a:lnTo>
                    <a:pt x="287" y="76"/>
                  </a:lnTo>
                  <a:lnTo>
                    <a:pt x="287" y="76"/>
                  </a:lnTo>
                  <a:lnTo>
                    <a:pt x="289" y="76"/>
                  </a:lnTo>
                  <a:lnTo>
                    <a:pt x="289" y="74"/>
                  </a:lnTo>
                  <a:lnTo>
                    <a:pt x="287" y="72"/>
                  </a:lnTo>
                  <a:lnTo>
                    <a:pt x="285" y="72"/>
                  </a:lnTo>
                  <a:lnTo>
                    <a:pt x="283" y="72"/>
                  </a:lnTo>
                  <a:lnTo>
                    <a:pt x="281" y="70"/>
                  </a:lnTo>
                  <a:lnTo>
                    <a:pt x="281" y="70"/>
                  </a:lnTo>
                  <a:lnTo>
                    <a:pt x="279" y="66"/>
                  </a:lnTo>
                  <a:lnTo>
                    <a:pt x="277" y="64"/>
                  </a:lnTo>
                  <a:lnTo>
                    <a:pt x="275" y="64"/>
                  </a:lnTo>
                  <a:lnTo>
                    <a:pt x="270" y="62"/>
                  </a:lnTo>
                  <a:lnTo>
                    <a:pt x="270" y="60"/>
                  </a:lnTo>
                  <a:lnTo>
                    <a:pt x="268" y="58"/>
                  </a:lnTo>
                  <a:lnTo>
                    <a:pt x="268" y="54"/>
                  </a:lnTo>
                  <a:lnTo>
                    <a:pt x="268" y="54"/>
                  </a:lnTo>
                  <a:lnTo>
                    <a:pt x="268" y="52"/>
                  </a:lnTo>
                  <a:lnTo>
                    <a:pt x="270" y="50"/>
                  </a:lnTo>
                  <a:lnTo>
                    <a:pt x="268" y="50"/>
                  </a:lnTo>
                  <a:lnTo>
                    <a:pt x="268" y="47"/>
                  </a:lnTo>
                  <a:lnTo>
                    <a:pt x="266" y="47"/>
                  </a:lnTo>
                  <a:lnTo>
                    <a:pt x="264" y="45"/>
                  </a:lnTo>
                  <a:lnTo>
                    <a:pt x="264" y="45"/>
                  </a:lnTo>
                  <a:lnTo>
                    <a:pt x="262" y="43"/>
                  </a:lnTo>
                  <a:lnTo>
                    <a:pt x="262" y="41"/>
                  </a:lnTo>
                  <a:lnTo>
                    <a:pt x="262" y="39"/>
                  </a:lnTo>
                  <a:lnTo>
                    <a:pt x="262" y="37"/>
                  </a:lnTo>
                  <a:lnTo>
                    <a:pt x="264" y="37"/>
                  </a:lnTo>
                  <a:lnTo>
                    <a:pt x="268" y="35"/>
                  </a:lnTo>
                  <a:lnTo>
                    <a:pt x="268" y="35"/>
                  </a:lnTo>
                  <a:lnTo>
                    <a:pt x="270" y="33"/>
                  </a:lnTo>
                  <a:lnTo>
                    <a:pt x="270" y="31"/>
                  </a:lnTo>
                  <a:lnTo>
                    <a:pt x="268" y="31"/>
                  </a:lnTo>
                  <a:lnTo>
                    <a:pt x="264" y="29"/>
                  </a:lnTo>
                  <a:lnTo>
                    <a:pt x="262" y="29"/>
                  </a:lnTo>
                  <a:lnTo>
                    <a:pt x="262" y="27"/>
                  </a:lnTo>
                  <a:lnTo>
                    <a:pt x="262" y="23"/>
                  </a:lnTo>
                  <a:lnTo>
                    <a:pt x="264" y="19"/>
                  </a:lnTo>
                  <a:lnTo>
                    <a:pt x="264" y="17"/>
                  </a:lnTo>
                  <a:lnTo>
                    <a:pt x="266" y="17"/>
                  </a:lnTo>
                  <a:lnTo>
                    <a:pt x="266" y="15"/>
                  </a:lnTo>
                  <a:lnTo>
                    <a:pt x="268" y="13"/>
                  </a:lnTo>
                  <a:lnTo>
                    <a:pt x="268" y="11"/>
                  </a:lnTo>
                  <a:lnTo>
                    <a:pt x="266" y="9"/>
                  </a:lnTo>
                  <a:lnTo>
                    <a:pt x="266" y="7"/>
                  </a:lnTo>
                  <a:lnTo>
                    <a:pt x="264" y="7"/>
                  </a:lnTo>
                  <a:lnTo>
                    <a:pt x="262" y="7"/>
                  </a:lnTo>
                  <a:lnTo>
                    <a:pt x="262" y="7"/>
                  </a:lnTo>
                  <a:lnTo>
                    <a:pt x="260" y="7"/>
                  </a:lnTo>
                  <a:lnTo>
                    <a:pt x="260" y="4"/>
                  </a:lnTo>
                  <a:lnTo>
                    <a:pt x="260" y="0"/>
                  </a:lnTo>
                  <a:lnTo>
                    <a:pt x="258" y="2"/>
                  </a:lnTo>
                  <a:lnTo>
                    <a:pt x="242" y="2"/>
                  </a:lnTo>
                  <a:lnTo>
                    <a:pt x="225" y="4"/>
                  </a:lnTo>
                  <a:lnTo>
                    <a:pt x="209" y="4"/>
                  </a:lnTo>
                  <a:lnTo>
                    <a:pt x="193" y="7"/>
                  </a:lnTo>
                  <a:lnTo>
                    <a:pt x="178" y="9"/>
                  </a:lnTo>
                  <a:lnTo>
                    <a:pt x="162" y="9"/>
                  </a:lnTo>
                  <a:lnTo>
                    <a:pt x="146" y="11"/>
                  </a:lnTo>
                  <a:lnTo>
                    <a:pt x="129" y="11"/>
                  </a:lnTo>
                  <a:lnTo>
                    <a:pt x="113" y="13"/>
                  </a:lnTo>
                  <a:lnTo>
                    <a:pt x="96" y="13"/>
                  </a:lnTo>
                  <a:lnTo>
                    <a:pt x="80" y="15"/>
                  </a:lnTo>
                  <a:lnTo>
                    <a:pt x="64" y="15"/>
                  </a:lnTo>
                  <a:lnTo>
                    <a:pt x="47" y="17"/>
                  </a:lnTo>
                  <a:lnTo>
                    <a:pt x="31" y="17"/>
                  </a:lnTo>
                  <a:lnTo>
                    <a:pt x="17" y="19"/>
                  </a:lnTo>
                  <a:lnTo>
                    <a:pt x="0" y="19"/>
                  </a:lnTo>
                  <a:lnTo>
                    <a:pt x="0" y="31"/>
                  </a:lnTo>
                  <a:lnTo>
                    <a:pt x="2" y="58"/>
                  </a:lnTo>
                  <a:lnTo>
                    <a:pt x="2" y="70"/>
                  </a:lnTo>
                  <a:lnTo>
                    <a:pt x="2" y="82"/>
                  </a:lnTo>
                  <a:lnTo>
                    <a:pt x="4" y="95"/>
                  </a:lnTo>
                  <a:lnTo>
                    <a:pt x="4" y="107"/>
                  </a:lnTo>
                  <a:lnTo>
                    <a:pt x="4" y="121"/>
                  </a:lnTo>
                  <a:lnTo>
                    <a:pt x="4" y="127"/>
                  </a:lnTo>
                  <a:lnTo>
                    <a:pt x="6" y="129"/>
                  </a:lnTo>
                  <a:lnTo>
                    <a:pt x="6" y="129"/>
                  </a:lnTo>
                  <a:lnTo>
                    <a:pt x="6" y="129"/>
                  </a:lnTo>
                  <a:lnTo>
                    <a:pt x="6" y="129"/>
                  </a:lnTo>
                  <a:lnTo>
                    <a:pt x="8" y="132"/>
                  </a:lnTo>
                  <a:lnTo>
                    <a:pt x="8" y="132"/>
                  </a:lnTo>
                  <a:lnTo>
                    <a:pt x="10" y="132"/>
                  </a:lnTo>
                  <a:lnTo>
                    <a:pt x="12" y="136"/>
                  </a:lnTo>
                  <a:lnTo>
                    <a:pt x="12" y="136"/>
                  </a:lnTo>
                  <a:lnTo>
                    <a:pt x="12" y="136"/>
                  </a:lnTo>
                  <a:lnTo>
                    <a:pt x="12" y="136"/>
                  </a:lnTo>
                  <a:lnTo>
                    <a:pt x="17" y="138"/>
                  </a:lnTo>
                  <a:lnTo>
                    <a:pt x="17" y="138"/>
                  </a:lnTo>
                  <a:lnTo>
                    <a:pt x="19" y="140"/>
                  </a:lnTo>
                  <a:lnTo>
                    <a:pt x="21" y="142"/>
                  </a:lnTo>
                  <a:lnTo>
                    <a:pt x="21" y="144"/>
                  </a:lnTo>
                  <a:lnTo>
                    <a:pt x="21" y="144"/>
                  </a:lnTo>
                  <a:lnTo>
                    <a:pt x="23" y="146"/>
                  </a:lnTo>
                  <a:lnTo>
                    <a:pt x="23" y="146"/>
                  </a:lnTo>
                  <a:lnTo>
                    <a:pt x="25" y="150"/>
                  </a:lnTo>
                  <a:lnTo>
                    <a:pt x="25" y="150"/>
                  </a:lnTo>
                  <a:lnTo>
                    <a:pt x="27" y="154"/>
                  </a:lnTo>
                  <a:lnTo>
                    <a:pt x="27" y="156"/>
                  </a:lnTo>
                  <a:lnTo>
                    <a:pt x="27" y="156"/>
                  </a:lnTo>
                  <a:lnTo>
                    <a:pt x="27" y="156"/>
                  </a:lnTo>
                  <a:lnTo>
                    <a:pt x="27" y="158"/>
                  </a:lnTo>
                  <a:lnTo>
                    <a:pt x="29" y="158"/>
                  </a:lnTo>
                  <a:lnTo>
                    <a:pt x="29" y="158"/>
                  </a:lnTo>
                  <a:lnTo>
                    <a:pt x="29" y="158"/>
                  </a:lnTo>
                  <a:lnTo>
                    <a:pt x="27" y="160"/>
                  </a:lnTo>
                  <a:lnTo>
                    <a:pt x="27" y="162"/>
                  </a:lnTo>
                  <a:lnTo>
                    <a:pt x="27" y="164"/>
                  </a:lnTo>
                  <a:lnTo>
                    <a:pt x="27" y="166"/>
                  </a:lnTo>
                  <a:lnTo>
                    <a:pt x="27" y="166"/>
                  </a:lnTo>
                  <a:lnTo>
                    <a:pt x="27" y="166"/>
                  </a:lnTo>
                  <a:lnTo>
                    <a:pt x="27" y="168"/>
                  </a:lnTo>
                  <a:lnTo>
                    <a:pt x="27" y="168"/>
                  </a:lnTo>
                  <a:lnTo>
                    <a:pt x="27" y="170"/>
                  </a:lnTo>
                  <a:lnTo>
                    <a:pt x="27" y="170"/>
                  </a:lnTo>
                  <a:lnTo>
                    <a:pt x="27" y="170"/>
                  </a:lnTo>
                  <a:lnTo>
                    <a:pt x="29" y="172"/>
                  </a:lnTo>
                  <a:lnTo>
                    <a:pt x="29" y="175"/>
                  </a:lnTo>
                  <a:lnTo>
                    <a:pt x="31" y="177"/>
                  </a:lnTo>
                  <a:lnTo>
                    <a:pt x="33" y="177"/>
                  </a:lnTo>
                  <a:lnTo>
                    <a:pt x="33" y="177"/>
                  </a:lnTo>
                  <a:lnTo>
                    <a:pt x="33" y="177"/>
                  </a:lnTo>
                  <a:lnTo>
                    <a:pt x="35" y="179"/>
                  </a:lnTo>
                  <a:lnTo>
                    <a:pt x="37" y="179"/>
                  </a:lnTo>
                  <a:lnTo>
                    <a:pt x="37" y="179"/>
                  </a:lnTo>
                  <a:lnTo>
                    <a:pt x="37" y="179"/>
                  </a:lnTo>
                  <a:lnTo>
                    <a:pt x="37" y="179"/>
                  </a:lnTo>
                  <a:lnTo>
                    <a:pt x="37" y="181"/>
                  </a:lnTo>
                  <a:lnTo>
                    <a:pt x="37" y="181"/>
                  </a:lnTo>
                  <a:lnTo>
                    <a:pt x="37" y="181"/>
                  </a:lnTo>
                  <a:lnTo>
                    <a:pt x="37" y="181"/>
                  </a:lnTo>
                  <a:lnTo>
                    <a:pt x="35" y="181"/>
                  </a:lnTo>
                  <a:lnTo>
                    <a:pt x="35" y="181"/>
                  </a:lnTo>
                  <a:lnTo>
                    <a:pt x="35" y="183"/>
                  </a:lnTo>
                  <a:lnTo>
                    <a:pt x="35" y="183"/>
                  </a:lnTo>
                  <a:lnTo>
                    <a:pt x="35" y="183"/>
                  </a:lnTo>
                  <a:lnTo>
                    <a:pt x="37" y="185"/>
                  </a:lnTo>
                  <a:lnTo>
                    <a:pt x="37" y="185"/>
                  </a:lnTo>
                  <a:lnTo>
                    <a:pt x="37" y="185"/>
                  </a:lnTo>
                  <a:lnTo>
                    <a:pt x="39" y="185"/>
                  </a:lnTo>
                  <a:lnTo>
                    <a:pt x="39" y="185"/>
                  </a:lnTo>
                  <a:lnTo>
                    <a:pt x="39" y="185"/>
                  </a:lnTo>
                  <a:lnTo>
                    <a:pt x="39" y="185"/>
                  </a:lnTo>
                  <a:lnTo>
                    <a:pt x="39" y="187"/>
                  </a:lnTo>
                  <a:lnTo>
                    <a:pt x="39" y="189"/>
                  </a:lnTo>
                  <a:lnTo>
                    <a:pt x="41" y="189"/>
                  </a:lnTo>
                  <a:lnTo>
                    <a:pt x="41" y="189"/>
                  </a:lnTo>
                  <a:lnTo>
                    <a:pt x="41" y="191"/>
                  </a:lnTo>
                  <a:lnTo>
                    <a:pt x="43" y="193"/>
                  </a:lnTo>
                  <a:lnTo>
                    <a:pt x="45" y="193"/>
                  </a:lnTo>
                  <a:lnTo>
                    <a:pt x="45" y="193"/>
                  </a:lnTo>
                  <a:lnTo>
                    <a:pt x="45" y="193"/>
                  </a:lnTo>
                  <a:lnTo>
                    <a:pt x="43" y="195"/>
                  </a:lnTo>
                  <a:lnTo>
                    <a:pt x="43" y="195"/>
                  </a:lnTo>
                  <a:lnTo>
                    <a:pt x="43" y="197"/>
                  </a:lnTo>
                  <a:lnTo>
                    <a:pt x="43" y="197"/>
                  </a:lnTo>
                  <a:lnTo>
                    <a:pt x="43" y="199"/>
                  </a:lnTo>
                  <a:lnTo>
                    <a:pt x="43" y="199"/>
                  </a:lnTo>
                  <a:lnTo>
                    <a:pt x="43" y="199"/>
                  </a:lnTo>
                  <a:lnTo>
                    <a:pt x="43" y="201"/>
                  </a:lnTo>
                  <a:lnTo>
                    <a:pt x="47" y="203"/>
                  </a:lnTo>
                  <a:lnTo>
                    <a:pt x="47" y="203"/>
                  </a:lnTo>
                  <a:lnTo>
                    <a:pt x="47" y="203"/>
                  </a:lnTo>
                  <a:lnTo>
                    <a:pt x="47" y="205"/>
                  </a:lnTo>
                  <a:lnTo>
                    <a:pt x="47" y="205"/>
                  </a:lnTo>
                  <a:lnTo>
                    <a:pt x="49" y="205"/>
                  </a:lnTo>
                  <a:lnTo>
                    <a:pt x="49" y="207"/>
                  </a:lnTo>
                  <a:lnTo>
                    <a:pt x="49" y="207"/>
                  </a:lnTo>
                  <a:lnTo>
                    <a:pt x="49" y="207"/>
                  </a:lnTo>
                  <a:lnTo>
                    <a:pt x="49" y="209"/>
                  </a:lnTo>
                  <a:lnTo>
                    <a:pt x="49" y="211"/>
                  </a:lnTo>
                  <a:lnTo>
                    <a:pt x="51" y="211"/>
                  </a:lnTo>
                  <a:lnTo>
                    <a:pt x="51" y="211"/>
                  </a:lnTo>
                  <a:lnTo>
                    <a:pt x="51" y="213"/>
                  </a:lnTo>
                  <a:lnTo>
                    <a:pt x="51" y="213"/>
                  </a:lnTo>
                  <a:lnTo>
                    <a:pt x="51" y="213"/>
                  </a:lnTo>
                  <a:lnTo>
                    <a:pt x="51" y="213"/>
                  </a:lnTo>
                  <a:lnTo>
                    <a:pt x="51" y="213"/>
                  </a:lnTo>
                  <a:lnTo>
                    <a:pt x="53" y="211"/>
                  </a:lnTo>
                  <a:lnTo>
                    <a:pt x="55" y="213"/>
                  </a:lnTo>
                  <a:lnTo>
                    <a:pt x="55" y="213"/>
                  </a:lnTo>
                  <a:lnTo>
                    <a:pt x="55" y="220"/>
                  </a:lnTo>
                  <a:lnTo>
                    <a:pt x="55" y="220"/>
                  </a:lnTo>
                  <a:lnTo>
                    <a:pt x="55" y="222"/>
                  </a:lnTo>
                  <a:lnTo>
                    <a:pt x="55" y="224"/>
                  </a:lnTo>
                  <a:lnTo>
                    <a:pt x="57" y="226"/>
                  </a:lnTo>
                  <a:lnTo>
                    <a:pt x="60" y="228"/>
                  </a:lnTo>
                  <a:lnTo>
                    <a:pt x="60" y="228"/>
                  </a:lnTo>
                  <a:lnTo>
                    <a:pt x="60" y="230"/>
                  </a:lnTo>
                  <a:lnTo>
                    <a:pt x="60" y="230"/>
                  </a:lnTo>
                  <a:lnTo>
                    <a:pt x="55" y="232"/>
                  </a:lnTo>
                  <a:lnTo>
                    <a:pt x="55" y="232"/>
                  </a:lnTo>
                  <a:lnTo>
                    <a:pt x="53" y="232"/>
                  </a:lnTo>
                  <a:lnTo>
                    <a:pt x="55" y="236"/>
                  </a:lnTo>
                  <a:lnTo>
                    <a:pt x="57" y="238"/>
                  </a:lnTo>
                  <a:lnTo>
                    <a:pt x="57" y="238"/>
                  </a:lnTo>
                  <a:lnTo>
                    <a:pt x="57" y="240"/>
                  </a:lnTo>
                  <a:lnTo>
                    <a:pt x="57" y="240"/>
                  </a:lnTo>
                  <a:lnTo>
                    <a:pt x="57" y="240"/>
                  </a:lnTo>
                  <a:lnTo>
                    <a:pt x="55" y="242"/>
                  </a:lnTo>
                  <a:lnTo>
                    <a:pt x="55" y="244"/>
                  </a:lnTo>
                  <a:lnTo>
                    <a:pt x="55" y="244"/>
                  </a:lnTo>
                  <a:lnTo>
                    <a:pt x="55" y="246"/>
                  </a:lnTo>
                  <a:lnTo>
                    <a:pt x="55" y="248"/>
                  </a:lnTo>
                  <a:lnTo>
                    <a:pt x="55" y="248"/>
                  </a:lnTo>
                  <a:lnTo>
                    <a:pt x="55" y="250"/>
                  </a:lnTo>
                  <a:lnTo>
                    <a:pt x="55" y="250"/>
                  </a:lnTo>
                  <a:lnTo>
                    <a:pt x="55" y="252"/>
                  </a:lnTo>
                  <a:lnTo>
                    <a:pt x="53" y="259"/>
                  </a:lnTo>
                  <a:lnTo>
                    <a:pt x="51" y="265"/>
                  </a:lnTo>
                  <a:lnTo>
                    <a:pt x="51" y="267"/>
                  </a:lnTo>
                  <a:lnTo>
                    <a:pt x="47" y="269"/>
                  </a:lnTo>
                  <a:lnTo>
                    <a:pt x="47" y="271"/>
                  </a:lnTo>
                  <a:lnTo>
                    <a:pt x="47" y="275"/>
                  </a:lnTo>
                  <a:lnTo>
                    <a:pt x="47" y="277"/>
                  </a:lnTo>
                  <a:lnTo>
                    <a:pt x="45" y="277"/>
                  </a:lnTo>
                  <a:lnTo>
                    <a:pt x="43" y="279"/>
                  </a:lnTo>
                  <a:lnTo>
                    <a:pt x="43" y="281"/>
                  </a:lnTo>
                  <a:lnTo>
                    <a:pt x="43" y="283"/>
                  </a:lnTo>
                  <a:lnTo>
                    <a:pt x="43" y="283"/>
                  </a:lnTo>
                  <a:lnTo>
                    <a:pt x="43" y="283"/>
                  </a:lnTo>
                  <a:lnTo>
                    <a:pt x="43" y="285"/>
                  </a:lnTo>
                  <a:lnTo>
                    <a:pt x="43" y="287"/>
                  </a:lnTo>
                  <a:lnTo>
                    <a:pt x="43" y="287"/>
                  </a:lnTo>
                  <a:lnTo>
                    <a:pt x="45" y="289"/>
                  </a:lnTo>
                  <a:lnTo>
                    <a:pt x="45" y="291"/>
                  </a:lnTo>
                  <a:lnTo>
                    <a:pt x="45" y="293"/>
                  </a:lnTo>
                  <a:lnTo>
                    <a:pt x="45" y="295"/>
                  </a:lnTo>
                  <a:lnTo>
                    <a:pt x="43" y="298"/>
                  </a:lnTo>
                  <a:lnTo>
                    <a:pt x="41" y="300"/>
                  </a:lnTo>
                  <a:lnTo>
                    <a:pt x="41" y="302"/>
                  </a:lnTo>
                  <a:lnTo>
                    <a:pt x="41" y="306"/>
                  </a:lnTo>
                  <a:lnTo>
                    <a:pt x="43" y="308"/>
                  </a:lnTo>
                  <a:lnTo>
                    <a:pt x="45" y="310"/>
                  </a:lnTo>
                  <a:lnTo>
                    <a:pt x="45" y="312"/>
                  </a:lnTo>
                  <a:lnTo>
                    <a:pt x="47" y="314"/>
                  </a:lnTo>
                  <a:lnTo>
                    <a:pt x="45" y="314"/>
                  </a:lnTo>
                  <a:lnTo>
                    <a:pt x="45" y="316"/>
                  </a:lnTo>
                  <a:lnTo>
                    <a:pt x="45" y="318"/>
                  </a:lnTo>
                  <a:lnTo>
                    <a:pt x="45" y="318"/>
                  </a:lnTo>
                  <a:lnTo>
                    <a:pt x="47" y="320"/>
                  </a:lnTo>
                  <a:lnTo>
                    <a:pt x="47" y="322"/>
                  </a:lnTo>
                  <a:lnTo>
                    <a:pt x="47" y="324"/>
                  </a:lnTo>
                  <a:lnTo>
                    <a:pt x="47" y="324"/>
                  </a:lnTo>
                  <a:lnTo>
                    <a:pt x="47" y="326"/>
                  </a:lnTo>
                  <a:lnTo>
                    <a:pt x="47" y="328"/>
                  </a:lnTo>
                  <a:lnTo>
                    <a:pt x="45" y="330"/>
                  </a:lnTo>
                  <a:lnTo>
                    <a:pt x="45" y="332"/>
                  </a:lnTo>
                  <a:lnTo>
                    <a:pt x="47" y="334"/>
                  </a:lnTo>
                  <a:lnTo>
                    <a:pt x="41" y="341"/>
                  </a:lnTo>
                  <a:lnTo>
                    <a:pt x="39" y="343"/>
                  </a:lnTo>
                  <a:lnTo>
                    <a:pt x="39" y="343"/>
                  </a:lnTo>
                  <a:lnTo>
                    <a:pt x="41" y="343"/>
                  </a:lnTo>
                  <a:lnTo>
                    <a:pt x="43" y="345"/>
                  </a:lnTo>
                  <a:lnTo>
                    <a:pt x="43" y="345"/>
                  </a:lnTo>
                  <a:lnTo>
                    <a:pt x="43" y="353"/>
                  </a:lnTo>
                  <a:lnTo>
                    <a:pt x="39" y="361"/>
                  </a:lnTo>
                  <a:lnTo>
                    <a:pt x="37" y="361"/>
                  </a:lnTo>
                  <a:lnTo>
                    <a:pt x="33" y="361"/>
                  </a:lnTo>
                  <a:lnTo>
                    <a:pt x="31" y="363"/>
                  </a:lnTo>
                  <a:lnTo>
                    <a:pt x="31" y="365"/>
                  </a:lnTo>
                  <a:lnTo>
                    <a:pt x="33" y="369"/>
                  </a:lnTo>
                  <a:lnTo>
                    <a:pt x="35" y="373"/>
                  </a:lnTo>
                  <a:lnTo>
                    <a:pt x="37" y="373"/>
                  </a:lnTo>
                  <a:lnTo>
                    <a:pt x="39" y="373"/>
                  </a:lnTo>
                  <a:lnTo>
                    <a:pt x="41" y="371"/>
                  </a:lnTo>
                  <a:lnTo>
                    <a:pt x="43" y="371"/>
                  </a:lnTo>
                  <a:lnTo>
                    <a:pt x="45" y="369"/>
                  </a:lnTo>
                  <a:lnTo>
                    <a:pt x="47" y="367"/>
                  </a:lnTo>
                  <a:lnTo>
                    <a:pt x="51" y="367"/>
                  </a:lnTo>
                  <a:lnTo>
                    <a:pt x="60" y="365"/>
                  </a:lnTo>
                  <a:lnTo>
                    <a:pt x="60" y="365"/>
                  </a:lnTo>
                  <a:lnTo>
                    <a:pt x="60" y="365"/>
                  </a:lnTo>
                  <a:lnTo>
                    <a:pt x="60" y="365"/>
                  </a:lnTo>
                  <a:lnTo>
                    <a:pt x="70" y="365"/>
                  </a:lnTo>
                  <a:lnTo>
                    <a:pt x="72" y="365"/>
                  </a:lnTo>
                  <a:lnTo>
                    <a:pt x="74" y="365"/>
                  </a:lnTo>
                  <a:lnTo>
                    <a:pt x="78" y="365"/>
                  </a:lnTo>
                  <a:lnTo>
                    <a:pt x="80" y="365"/>
                  </a:lnTo>
                  <a:lnTo>
                    <a:pt x="82" y="363"/>
                  </a:lnTo>
                  <a:lnTo>
                    <a:pt x="86" y="363"/>
                  </a:lnTo>
                  <a:lnTo>
                    <a:pt x="92" y="361"/>
                  </a:lnTo>
                  <a:lnTo>
                    <a:pt x="96" y="363"/>
                  </a:lnTo>
                  <a:lnTo>
                    <a:pt x="107" y="365"/>
                  </a:lnTo>
                  <a:lnTo>
                    <a:pt x="113" y="367"/>
                  </a:lnTo>
                  <a:lnTo>
                    <a:pt x="125" y="369"/>
                  </a:lnTo>
                  <a:lnTo>
                    <a:pt x="131" y="373"/>
                  </a:lnTo>
                  <a:lnTo>
                    <a:pt x="133" y="375"/>
                  </a:lnTo>
                  <a:lnTo>
                    <a:pt x="143" y="379"/>
                  </a:lnTo>
                  <a:lnTo>
                    <a:pt x="160" y="382"/>
                  </a:lnTo>
                  <a:lnTo>
                    <a:pt x="162" y="379"/>
                  </a:lnTo>
                  <a:lnTo>
                    <a:pt x="164" y="382"/>
                  </a:lnTo>
                  <a:lnTo>
                    <a:pt x="164" y="379"/>
                  </a:lnTo>
                  <a:lnTo>
                    <a:pt x="166" y="382"/>
                  </a:lnTo>
                  <a:lnTo>
                    <a:pt x="182" y="384"/>
                  </a:lnTo>
                  <a:lnTo>
                    <a:pt x="184" y="382"/>
                  </a:lnTo>
                  <a:lnTo>
                    <a:pt x="186" y="382"/>
                  </a:lnTo>
                  <a:lnTo>
                    <a:pt x="193" y="377"/>
                  </a:lnTo>
                  <a:lnTo>
                    <a:pt x="197" y="377"/>
                  </a:lnTo>
                  <a:lnTo>
                    <a:pt x="203" y="377"/>
                  </a:lnTo>
                  <a:lnTo>
                    <a:pt x="205" y="377"/>
                  </a:lnTo>
                  <a:lnTo>
                    <a:pt x="205" y="375"/>
                  </a:lnTo>
                  <a:lnTo>
                    <a:pt x="203" y="375"/>
                  </a:lnTo>
                  <a:lnTo>
                    <a:pt x="205" y="373"/>
                  </a:lnTo>
                  <a:lnTo>
                    <a:pt x="205" y="373"/>
                  </a:lnTo>
                  <a:lnTo>
                    <a:pt x="209" y="371"/>
                  </a:lnTo>
                  <a:lnTo>
                    <a:pt x="207" y="371"/>
                  </a:lnTo>
                  <a:lnTo>
                    <a:pt x="205" y="371"/>
                  </a:lnTo>
                  <a:lnTo>
                    <a:pt x="203" y="371"/>
                  </a:lnTo>
                  <a:lnTo>
                    <a:pt x="201" y="373"/>
                  </a:lnTo>
                  <a:lnTo>
                    <a:pt x="201" y="373"/>
                  </a:lnTo>
                  <a:lnTo>
                    <a:pt x="199" y="371"/>
                  </a:lnTo>
                  <a:lnTo>
                    <a:pt x="197" y="365"/>
                  </a:lnTo>
                  <a:lnTo>
                    <a:pt x="199" y="365"/>
                  </a:lnTo>
                  <a:lnTo>
                    <a:pt x="201" y="363"/>
                  </a:lnTo>
                  <a:lnTo>
                    <a:pt x="199" y="363"/>
                  </a:lnTo>
                  <a:lnTo>
                    <a:pt x="199" y="363"/>
                  </a:lnTo>
                  <a:lnTo>
                    <a:pt x="199" y="363"/>
                  </a:lnTo>
                  <a:lnTo>
                    <a:pt x="197" y="365"/>
                  </a:lnTo>
                  <a:lnTo>
                    <a:pt x="195" y="365"/>
                  </a:lnTo>
                  <a:lnTo>
                    <a:pt x="195" y="365"/>
                  </a:lnTo>
                  <a:lnTo>
                    <a:pt x="193" y="365"/>
                  </a:lnTo>
                  <a:lnTo>
                    <a:pt x="193" y="363"/>
                  </a:lnTo>
                  <a:lnTo>
                    <a:pt x="191" y="361"/>
                  </a:lnTo>
                  <a:lnTo>
                    <a:pt x="191" y="359"/>
                  </a:lnTo>
                  <a:lnTo>
                    <a:pt x="193" y="359"/>
                  </a:lnTo>
                  <a:lnTo>
                    <a:pt x="193" y="359"/>
                  </a:lnTo>
                  <a:lnTo>
                    <a:pt x="193" y="359"/>
                  </a:lnTo>
                  <a:lnTo>
                    <a:pt x="195" y="357"/>
                  </a:lnTo>
                  <a:lnTo>
                    <a:pt x="195" y="357"/>
                  </a:lnTo>
                  <a:lnTo>
                    <a:pt x="197" y="357"/>
                  </a:lnTo>
                  <a:lnTo>
                    <a:pt x="197" y="359"/>
                  </a:lnTo>
                  <a:lnTo>
                    <a:pt x="197" y="359"/>
                  </a:lnTo>
                  <a:lnTo>
                    <a:pt x="195" y="361"/>
                  </a:lnTo>
                  <a:lnTo>
                    <a:pt x="197" y="361"/>
                  </a:lnTo>
                  <a:lnTo>
                    <a:pt x="199" y="361"/>
                  </a:lnTo>
                  <a:lnTo>
                    <a:pt x="201" y="357"/>
                  </a:lnTo>
                  <a:lnTo>
                    <a:pt x="201" y="357"/>
                  </a:lnTo>
                  <a:lnTo>
                    <a:pt x="209" y="353"/>
                  </a:lnTo>
                  <a:lnTo>
                    <a:pt x="209" y="353"/>
                  </a:lnTo>
                  <a:lnTo>
                    <a:pt x="211" y="351"/>
                  </a:lnTo>
                  <a:lnTo>
                    <a:pt x="211" y="351"/>
                  </a:lnTo>
                  <a:lnTo>
                    <a:pt x="211" y="349"/>
                  </a:lnTo>
                  <a:lnTo>
                    <a:pt x="211" y="349"/>
                  </a:lnTo>
                  <a:lnTo>
                    <a:pt x="213" y="349"/>
                  </a:lnTo>
                  <a:lnTo>
                    <a:pt x="213" y="351"/>
                  </a:lnTo>
                  <a:lnTo>
                    <a:pt x="215" y="351"/>
                  </a:lnTo>
                  <a:lnTo>
                    <a:pt x="217" y="349"/>
                  </a:lnTo>
                  <a:lnTo>
                    <a:pt x="219" y="349"/>
                  </a:lnTo>
                  <a:lnTo>
                    <a:pt x="223" y="349"/>
                  </a:lnTo>
                  <a:lnTo>
                    <a:pt x="223" y="349"/>
                  </a:lnTo>
                  <a:lnTo>
                    <a:pt x="225" y="351"/>
                  </a:lnTo>
                  <a:lnTo>
                    <a:pt x="225" y="351"/>
                  </a:lnTo>
                  <a:lnTo>
                    <a:pt x="225" y="353"/>
                  </a:lnTo>
                  <a:lnTo>
                    <a:pt x="223" y="353"/>
                  </a:lnTo>
                  <a:lnTo>
                    <a:pt x="223" y="353"/>
                  </a:lnTo>
                  <a:lnTo>
                    <a:pt x="223" y="351"/>
                  </a:lnTo>
                  <a:lnTo>
                    <a:pt x="221" y="353"/>
                  </a:lnTo>
                  <a:lnTo>
                    <a:pt x="221" y="355"/>
                  </a:lnTo>
                  <a:lnTo>
                    <a:pt x="221" y="357"/>
                  </a:lnTo>
                  <a:lnTo>
                    <a:pt x="221" y="357"/>
                  </a:lnTo>
                  <a:lnTo>
                    <a:pt x="221" y="359"/>
                  </a:lnTo>
                  <a:lnTo>
                    <a:pt x="221" y="359"/>
                  </a:lnTo>
                  <a:lnTo>
                    <a:pt x="223" y="361"/>
                  </a:lnTo>
                  <a:lnTo>
                    <a:pt x="225" y="361"/>
                  </a:lnTo>
                  <a:lnTo>
                    <a:pt x="230" y="357"/>
                  </a:lnTo>
                  <a:lnTo>
                    <a:pt x="230" y="357"/>
                  </a:lnTo>
                  <a:lnTo>
                    <a:pt x="240" y="357"/>
                  </a:lnTo>
                  <a:lnTo>
                    <a:pt x="242" y="357"/>
                  </a:lnTo>
                  <a:lnTo>
                    <a:pt x="244" y="357"/>
                  </a:lnTo>
                  <a:lnTo>
                    <a:pt x="244" y="359"/>
                  </a:lnTo>
                  <a:lnTo>
                    <a:pt x="244" y="363"/>
                  </a:lnTo>
                  <a:lnTo>
                    <a:pt x="244" y="365"/>
                  </a:lnTo>
                  <a:lnTo>
                    <a:pt x="244" y="367"/>
                  </a:lnTo>
                  <a:lnTo>
                    <a:pt x="244" y="369"/>
                  </a:lnTo>
                  <a:lnTo>
                    <a:pt x="246" y="369"/>
                  </a:lnTo>
                  <a:lnTo>
                    <a:pt x="248" y="367"/>
                  </a:lnTo>
                  <a:lnTo>
                    <a:pt x="250" y="367"/>
                  </a:lnTo>
                  <a:lnTo>
                    <a:pt x="250" y="367"/>
                  </a:lnTo>
                  <a:lnTo>
                    <a:pt x="252" y="367"/>
                  </a:lnTo>
                  <a:lnTo>
                    <a:pt x="252" y="369"/>
                  </a:lnTo>
                  <a:lnTo>
                    <a:pt x="252" y="369"/>
                  </a:lnTo>
                  <a:lnTo>
                    <a:pt x="252" y="371"/>
                  </a:lnTo>
                  <a:lnTo>
                    <a:pt x="254" y="373"/>
                  </a:lnTo>
                  <a:lnTo>
                    <a:pt x="254" y="375"/>
                  </a:lnTo>
                  <a:lnTo>
                    <a:pt x="254" y="377"/>
                  </a:lnTo>
                  <a:lnTo>
                    <a:pt x="252" y="377"/>
                  </a:lnTo>
                  <a:lnTo>
                    <a:pt x="254" y="379"/>
                  </a:lnTo>
                  <a:lnTo>
                    <a:pt x="258" y="377"/>
                  </a:lnTo>
                  <a:lnTo>
                    <a:pt x="262" y="375"/>
                  </a:lnTo>
                  <a:lnTo>
                    <a:pt x="264" y="375"/>
                  </a:lnTo>
                  <a:lnTo>
                    <a:pt x="266" y="375"/>
                  </a:lnTo>
                  <a:lnTo>
                    <a:pt x="266" y="375"/>
                  </a:lnTo>
                  <a:lnTo>
                    <a:pt x="264" y="377"/>
                  </a:lnTo>
                  <a:lnTo>
                    <a:pt x="264" y="377"/>
                  </a:lnTo>
                  <a:lnTo>
                    <a:pt x="264" y="379"/>
                  </a:lnTo>
                  <a:lnTo>
                    <a:pt x="266" y="379"/>
                  </a:lnTo>
                  <a:lnTo>
                    <a:pt x="268" y="379"/>
                  </a:lnTo>
                  <a:lnTo>
                    <a:pt x="270" y="379"/>
                  </a:lnTo>
                  <a:lnTo>
                    <a:pt x="275" y="382"/>
                  </a:lnTo>
                  <a:lnTo>
                    <a:pt x="277" y="382"/>
                  </a:lnTo>
                  <a:lnTo>
                    <a:pt x="277" y="382"/>
                  </a:lnTo>
                  <a:lnTo>
                    <a:pt x="279" y="379"/>
                  </a:lnTo>
                  <a:lnTo>
                    <a:pt x="279" y="377"/>
                  </a:lnTo>
                  <a:lnTo>
                    <a:pt x="279" y="377"/>
                  </a:lnTo>
                  <a:lnTo>
                    <a:pt x="279" y="377"/>
                  </a:lnTo>
                  <a:lnTo>
                    <a:pt x="279" y="375"/>
                  </a:lnTo>
                  <a:lnTo>
                    <a:pt x="279" y="375"/>
                  </a:lnTo>
                  <a:lnTo>
                    <a:pt x="281" y="371"/>
                  </a:lnTo>
                  <a:lnTo>
                    <a:pt x="281" y="371"/>
                  </a:lnTo>
                  <a:lnTo>
                    <a:pt x="281" y="367"/>
                  </a:lnTo>
                  <a:lnTo>
                    <a:pt x="281" y="367"/>
                  </a:lnTo>
                  <a:lnTo>
                    <a:pt x="283" y="369"/>
                  </a:lnTo>
                  <a:lnTo>
                    <a:pt x="283" y="369"/>
                  </a:lnTo>
                  <a:lnTo>
                    <a:pt x="285" y="371"/>
                  </a:lnTo>
                  <a:lnTo>
                    <a:pt x="285" y="373"/>
                  </a:lnTo>
                  <a:lnTo>
                    <a:pt x="283" y="373"/>
                  </a:lnTo>
                  <a:lnTo>
                    <a:pt x="283" y="373"/>
                  </a:lnTo>
                  <a:lnTo>
                    <a:pt x="281" y="375"/>
                  </a:lnTo>
                  <a:lnTo>
                    <a:pt x="281" y="377"/>
                  </a:lnTo>
                  <a:lnTo>
                    <a:pt x="281" y="382"/>
                  </a:lnTo>
                  <a:lnTo>
                    <a:pt x="281" y="384"/>
                  </a:lnTo>
                  <a:lnTo>
                    <a:pt x="283" y="386"/>
                  </a:lnTo>
                  <a:lnTo>
                    <a:pt x="283" y="386"/>
                  </a:lnTo>
                  <a:lnTo>
                    <a:pt x="285" y="386"/>
                  </a:lnTo>
                  <a:lnTo>
                    <a:pt x="285" y="388"/>
                  </a:lnTo>
                  <a:lnTo>
                    <a:pt x="285" y="388"/>
                  </a:lnTo>
                  <a:lnTo>
                    <a:pt x="285" y="390"/>
                  </a:lnTo>
                  <a:lnTo>
                    <a:pt x="285" y="390"/>
                  </a:lnTo>
                  <a:lnTo>
                    <a:pt x="287" y="392"/>
                  </a:lnTo>
                  <a:lnTo>
                    <a:pt x="289" y="392"/>
                  </a:lnTo>
                  <a:lnTo>
                    <a:pt x="295" y="396"/>
                  </a:lnTo>
                  <a:lnTo>
                    <a:pt x="297" y="398"/>
                  </a:lnTo>
                  <a:lnTo>
                    <a:pt x="295" y="402"/>
                  </a:lnTo>
                  <a:lnTo>
                    <a:pt x="295" y="402"/>
                  </a:lnTo>
                  <a:lnTo>
                    <a:pt x="295" y="402"/>
                  </a:lnTo>
                  <a:lnTo>
                    <a:pt x="295" y="404"/>
                  </a:lnTo>
                  <a:lnTo>
                    <a:pt x="297" y="404"/>
                  </a:lnTo>
                  <a:lnTo>
                    <a:pt x="295" y="404"/>
                  </a:lnTo>
                  <a:lnTo>
                    <a:pt x="295" y="406"/>
                  </a:lnTo>
                  <a:lnTo>
                    <a:pt x="293" y="406"/>
                  </a:lnTo>
                  <a:lnTo>
                    <a:pt x="293" y="404"/>
                  </a:lnTo>
                  <a:lnTo>
                    <a:pt x="293" y="404"/>
                  </a:lnTo>
                  <a:lnTo>
                    <a:pt x="291" y="404"/>
                  </a:lnTo>
                  <a:lnTo>
                    <a:pt x="291" y="404"/>
                  </a:lnTo>
                  <a:lnTo>
                    <a:pt x="291" y="402"/>
                  </a:lnTo>
                  <a:lnTo>
                    <a:pt x="291" y="400"/>
                  </a:lnTo>
                  <a:lnTo>
                    <a:pt x="291" y="396"/>
                  </a:lnTo>
                  <a:lnTo>
                    <a:pt x="289" y="398"/>
                  </a:lnTo>
                  <a:lnTo>
                    <a:pt x="287" y="396"/>
                  </a:lnTo>
                  <a:lnTo>
                    <a:pt x="285" y="394"/>
                  </a:lnTo>
                  <a:lnTo>
                    <a:pt x="285" y="394"/>
                  </a:lnTo>
                  <a:lnTo>
                    <a:pt x="283" y="394"/>
                  </a:lnTo>
                  <a:lnTo>
                    <a:pt x="283" y="394"/>
                  </a:lnTo>
                  <a:lnTo>
                    <a:pt x="281" y="396"/>
                  </a:lnTo>
                  <a:lnTo>
                    <a:pt x="281" y="398"/>
                  </a:lnTo>
                  <a:lnTo>
                    <a:pt x="279" y="400"/>
                  </a:lnTo>
                  <a:lnTo>
                    <a:pt x="277" y="400"/>
                  </a:lnTo>
                  <a:lnTo>
                    <a:pt x="277" y="400"/>
                  </a:lnTo>
                  <a:lnTo>
                    <a:pt x="275" y="398"/>
                  </a:lnTo>
                  <a:lnTo>
                    <a:pt x="277" y="402"/>
                  </a:lnTo>
                  <a:lnTo>
                    <a:pt x="281" y="406"/>
                  </a:lnTo>
                  <a:lnTo>
                    <a:pt x="287" y="408"/>
                  </a:lnTo>
                  <a:lnTo>
                    <a:pt x="295" y="408"/>
                  </a:lnTo>
                  <a:lnTo>
                    <a:pt x="297" y="410"/>
                  </a:lnTo>
                  <a:lnTo>
                    <a:pt x="299" y="410"/>
                  </a:lnTo>
                  <a:lnTo>
                    <a:pt x="301" y="412"/>
                  </a:lnTo>
                  <a:lnTo>
                    <a:pt x="301" y="412"/>
                  </a:lnTo>
                  <a:lnTo>
                    <a:pt x="303" y="410"/>
                  </a:lnTo>
                  <a:lnTo>
                    <a:pt x="303" y="410"/>
                  </a:lnTo>
                  <a:lnTo>
                    <a:pt x="303" y="408"/>
                  </a:lnTo>
                  <a:lnTo>
                    <a:pt x="305" y="408"/>
                  </a:lnTo>
                  <a:lnTo>
                    <a:pt x="305" y="408"/>
                  </a:lnTo>
                  <a:lnTo>
                    <a:pt x="307" y="408"/>
                  </a:lnTo>
                  <a:lnTo>
                    <a:pt x="309" y="410"/>
                  </a:lnTo>
                  <a:lnTo>
                    <a:pt x="307" y="410"/>
                  </a:lnTo>
                  <a:lnTo>
                    <a:pt x="307" y="410"/>
                  </a:lnTo>
                  <a:lnTo>
                    <a:pt x="307" y="412"/>
                  </a:lnTo>
                  <a:lnTo>
                    <a:pt x="307" y="412"/>
                  </a:lnTo>
                  <a:lnTo>
                    <a:pt x="309" y="412"/>
                  </a:lnTo>
                  <a:lnTo>
                    <a:pt x="311" y="412"/>
                  </a:lnTo>
                  <a:lnTo>
                    <a:pt x="316" y="412"/>
                  </a:lnTo>
                  <a:lnTo>
                    <a:pt x="320" y="416"/>
                  </a:lnTo>
                  <a:lnTo>
                    <a:pt x="320" y="416"/>
                  </a:lnTo>
                  <a:lnTo>
                    <a:pt x="320" y="416"/>
                  </a:lnTo>
                  <a:lnTo>
                    <a:pt x="320" y="416"/>
                  </a:lnTo>
                  <a:lnTo>
                    <a:pt x="322" y="414"/>
                  </a:lnTo>
                  <a:lnTo>
                    <a:pt x="324" y="414"/>
                  </a:lnTo>
                  <a:lnTo>
                    <a:pt x="324" y="412"/>
                  </a:lnTo>
                  <a:lnTo>
                    <a:pt x="322" y="410"/>
                  </a:lnTo>
                  <a:lnTo>
                    <a:pt x="324" y="412"/>
                  </a:lnTo>
                  <a:lnTo>
                    <a:pt x="326" y="412"/>
                  </a:lnTo>
                  <a:lnTo>
                    <a:pt x="328" y="412"/>
                  </a:lnTo>
                  <a:lnTo>
                    <a:pt x="330" y="412"/>
                  </a:lnTo>
                  <a:lnTo>
                    <a:pt x="330" y="414"/>
                  </a:lnTo>
                  <a:lnTo>
                    <a:pt x="330" y="414"/>
                  </a:lnTo>
                  <a:lnTo>
                    <a:pt x="328" y="416"/>
                  </a:lnTo>
                  <a:lnTo>
                    <a:pt x="326" y="416"/>
                  </a:lnTo>
                  <a:lnTo>
                    <a:pt x="328" y="416"/>
                  </a:lnTo>
                  <a:lnTo>
                    <a:pt x="332" y="418"/>
                  </a:lnTo>
                  <a:lnTo>
                    <a:pt x="332" y="418"/>
                  </a:lnTo>
                  <a:lnTo>
                    <a:pt x="332" y="416"/>
                  </a:lnTo>
                  <a:lnTo>
                    <a:pt x="334" y="416"/>
                  </a:lnTo>
                  <a:lnTo>
                    <a:pt x="336" y="416"/>
                  </a:lnTo>
                  <a:lnTo>
                    <a:pt x="336" y="416"/>
                  </a:lnTo>
                  <a:lnTo>
                    <a:pt x="336" y="416"/>
                  </a:lnTo>
                  <a:lnTo>
                    <a:pt x="338" y="416"/>
                  </a:lnTo>
                  <a:lnTo>
                    <a:pt x="338" y="416"/>
                  </a:lnTo>
                  <a:lnTo>
                    <a:pt x="338" y="414"/>
                  </a:lnTo>
                  <a:lnTo>
                    <a:pt x="338" y="414"/>
                  </a:lnTo>
                  <a:lnTo>
                    <a:pt x="338" y="412"/>
                  </a:lnTo>
                  <a:lnTo>
                    <a:pt x="338" y="412"/>
                  </a:lnTo>
                  <a:lnTo>
                    <a:pt x="340" y="412"/>
                  </a:lnTo>
                  <a:lnTo>
                    <a:pt x="340" y="412"/>
                  </a:lnTo>
                  <a:lnTo>
                    <a:pt x="342" y="412"/>
                  </a:lnTo>
                  <a:lnTo>
                    <a:pt x="342" y="414"/>
                  </a:lnTo>
                  <a:lnTo>
                    <a:pt x="342" y="412"/>
                  </a:lnTo>
                  <a:lnTo>
                    <a:pt x="342" y="408"/>
                  </a:lnTo>
                  <a:lnTo>
                    <a:pt x="342" y="408"/>
                  </a:lnTo>
                  <a:lnTo>
                    <a:pt x="342" y="408"/>
                  </a:lnTo>
                  <a:lnTo>
                    <a:pt x="342" y="404"/>
                  </a:lnTo>
                  <a:lnTo>
                    <a:pt x="342" y="404"/>
                  </a:lnTo>
                  <a:lnTo>
                    <a:pt x="342" y="402"/>
                  </a:lnTo>
                  <a:lnTo>
                    <a:pt x="344" y="404"/>
                  </a:lnTo>
                  <a:lnTo>
                    <a:pt x="344" y="404"/>
                  </a:lnTo>
                  <a:lnTo>
                    <a:pt x="346" y="406"/>
                  </a:lnTo>
                  <a:lnTo>
                    <a:pt x="346" y="404"/>
                  </a:lnTo>
                  <a:lnTo>
                    <a:pt x="344" y="402"/>
                  </a:lnTo>
                  <a:lnTo>
                    <a:pt x="346" y="402"/>
                  </a:lnTo>
                  <a:lnTo>
                    <a:pt x="346" y="400"/>
                  </a:lnTo>
                  <a:lnTo>
                    <a:pt x="346" y="398"/>
                  </a:lnTo>
                  <a:lnTo>
                    <a:pt x="344" y="398"/>
                  </a:lnTo>
                  <a:lnTo>
                    <a:pt x="344" y="398"/>
                  </a:lnTo>
                  <a:lnTo>
                    <a:pt x="344" y="396"/>
                  </a:lnTo>
                  <a:lnTo>
                    <a:pt x="344" y="396"/>
                  </a:lnTo>
                  <a:lnTo>
                    <a:pt x="344" y="396"/>
                  </a:lnTo>
                  <a:lnTo>
                    <a:pt x="346" y="396"/>
                  </a:lnTo>
                  <a:lnTo>
                    <a:pt x="346" y="396"/>
                  </a:lnTo>
                  <a:lnTo>
                    <a:pt x="346" y="394"/>
                  </a:lnTo>
                  <a:lnTo>
                    <a:pt x="346" y="394"/>
                  </a:lnTo>
                  <a:lnTo>
                    <a:pt x="348" y="394"/>
                  </a:lnTo>
                  <a:lnTo>
                    <a:pt x="348" y="396"/>
                  </a:lnTo>
                  <a:lnTo>
                    <a:pt x="346" y="396"/>
                  </a:lnTo>
                  <a:lnTo>
                    <a:pt x="348" y="396"/>
                  </a:lnTo>
                  <a:lnTo>
                    <a:pt x="350" y="398"/>
                  </a:lnTo>
                  <a:lnTo>
                    <a:pt x="352" y="396"/>
                  </a:lnTo>
                  <a:lnTo>
                    <a:pt x="352" y="396"/>
                  </a:lnTo>
                  <a:lnTo>
                    <a:pt x="354" y="396"/>
                  </a:lnTo>
                  <a:lnTo>
                    <a:pt x="356" y="396"/>
                  </a:lnTo>
                  <a:lnTo>
                    <a:pt x="356" y="394"/>
                  </a:lnTo>
                  <a:lnTo>
                    <a:pt x="359" y="392"/>
                  </a:lnTo>
                  <a:lnTo>
                    <a:pt x="359" y="392"/>
                  </a:lnTo>
                  <a:lnTo>
                    <a:pt x="359" y="390"/>
                  </a:lnTo>
                  <a:lnTo>
                    <a:pt x="359" y="390"/>
                  </a:lnTo>
                  <a:lnTo>
                    <a:pt x="361" y="390"/>
                  </a:lnTo>
                  <a:lnTo>
                    <a:pt x="361" y="390"/>
                  </a:lnTo>
                  <a:lnTo>
                    <a:pt x="361" y="392"/>
                  </a:lnTo>
                  <a:lnTo>
                    <a:pt x="363" y="394"/>
                  </a:lnTo>
                  <a:lnTo>
                    <a:pt x="365" y="396"/>
                  </a:lnTo>
                  <a:lnTo>
                    <a:pt x="365" y="402"/>
                  </a:lnTo>
                  <a:lnTo>
                    <a:pt x="367" y="398"/>
                  </a:lnTo>
                  <a:lnTo>
                    <a:pt x="367" y="396"/>
                  </a:lnTo>
                  <a:lnTo>
                    <a:pt x="367" y="396"/>
                  </a:lnTo>
                  <a:lnTo>
                    <a:pt x="367" y="394"/>
                  </a:lnTo>
                  <a:lnTo>
                    <a:pt x="369" y="394"/>
                  </a:lnTo>
                  <a:lnTo>
                    <a:pt x="369" y="394"/>
                  </a:lnTo>
                  <a:lnTo>
                    <a:pt x="369" y="394"/>
                  </a:lnTo>
                  <a:lnTo>
                    <a:pt x="369" y="396"/>
                  </a:lnTo>
                  <a:lnTo>
                    <a:pt x="373" y="398"/>
                  </a:lnTo>
                  <a:lnTo>
                    <a:pt x="375" y="400"/>
                  </a:lnTo>
                  <a:lnTo>
                    <a:pt x="375" y="402"/>
                  </a:lnTo>
                  <a:lnTo>
                    <a:pt x="375" y="400"/>
                  </a:lnTo>
                  <a:lnTo>
                    <a:pt x="375" y="398"/>
                  </a:lnTo>
                  <a:lnTo>
                    <a:pt x="375" y="398"/>
                  </a:lnTo>
                  <a:lnTo>
                    <a:pt x="377" y="398"/>
                  </a:lnTo>
                  <a:lnTo>
                    <a:pt x="377" y="398"/>
                  </a:lnTo>
                  <a:lnTo>
                    <a:pt x="377" y="400"/>
                  </a:lnTo>
                  <a:lnTo>
                    <a:pt x="377" y="400"/>
                  </a:lnTo>
                  <a:lnTo>
                    <a:pt x="377" y="402"/>
                  </a:lnTo>
                  <a:lnTo>
                    <a:pt x="377" y="404"/>
                  </a:lnTo>
                  <a:lnTo>
                    <a:pt x="377" y="404"/>
                  </a:lnTo>
                  <a:lnTo>
                    <a:pt x="377" y="406"/>
                  </a:lnTo>
                  <a:lnTo>
                    <a:pt x="377" y="406"/>
                  </a:lnTo>
                  <a:lnTo>
                    <a:pt x="377" y="408"/>
                  </a:lnTo>
                  <a:lnTo>
                    <a:pt x="377" y="408"/>
                  </a:lnTo>
                  <a:lnTo>
                    <a:pt x="379" y="410"/>
                  </a:lnTo>
                  <a:lnTo>
                    <a:pt x="379" y="412"/>
                  </a:lnTo>
                  <a:lnTo>
                    <a:pt x="381" y="412"/>
                  </a:lnTo>
                  <a:lnTo>
                    <a:pt x="381" y="414"/>
                  </a:lnTo>
                  <a:lnTo>
                    <a:pt x="381" y="416"/>
                  </a:lnTo>
                  <a:lnTo>
                    <a:pt x="379" y="416"/>
                  </a:lnTo>
                  <a:lnTo>
                    <a:pt x="381" y="416"/>
                  </a:lnTo>
                  <a:lnTo>
                    <a:pt x="383" y="414"/>
                  </a:lnTo>
                  <a:lnTo>
                    <a:pt x="389" y="412"/>
                  </a:lnTo>
                  <a:lnTo>
                    <a:pt x="389" y="410"/>
                  </a:lnTo>
                  <a:lnTo>
                    <a:pt x="391" y="410"/>
                  </a:lnTo>
                  <a:lnTo>
                    <a:pt x="393" y="408"/>
                  </a:lnTo>
                  <a:lnTo>
                    <a:pt x="393" y="406"/>
                  </a:lnTo>
                  <a:lnTo>
                    <a:pt x="395" y="406"/>
                  </a:lnTo>
                  <a:lnTo>
                    <a:pt x="395" y="402"/>
                  </a:lnTo>
                  <a:lnTo>
                    <a:pt x="397" y="400"/>
                  </a:lnTo>
                  <a:lnTo>
                    <a:pt x="393" y="400"/>
                  </a:lnTo>
                  <a:lnTo>
                    <a:pt x="391" y="398"/>
                  </a:lnTo>
                  <a:lnTo>
                    <a:pt x="391" y="394"/>
                  </a:lnTo>
                  <a:lnTo>
                    <a:pt x="395" y="394"/>
                  </a:lnTo>
                  <a:lnTo>
                    <a:pt x="393" y="392"/>
                  </a:lnTo>
                  <a:lnTo>
                    <a:pt x="393" y="392"/>
                  </a:lnTo>
                  <a:lnTo>
                    <a:pt x="395" y="392"/>
                  </a:lnTo>
                  <a:lnTo>
                    <a:pt x="397" y="394"/>
                  </a:lnTo>
                  <a:lnTo>
                    <a:pt x="399" y="392"/>
                  </a:lnTo>
                  <a:lnTo>
                    <a:pt x="399" y="392"/>
                  </a:lnTo>
                  <a:lnTo>
                    <a:pt x="397" y="390"/>
                  </a:lnTo>
                  <a:lnTo>
                    <a:pt x="395" y="390"/>
                  </a:lnTo>
                  <a:lnTo>
                    <a:pt x="395" y="388"/>
                  </a:lnTo>
                  <a:lnTo>
                    <a:pt x="395" y="386"/>
                  </a:lnTo>
                  <a:lnTo>
                    <a:pt x="395" y="386"/>
                  </a:lnTo>
                  <a:lnTo>
                    <a:pt x="395" y="386"/>
                  </a:lnTo>
                  <a:lnTo>
                    <a:pt x="397" y="388"/>
                  </a:lnTo>
                  <a:lnTo>
                    <a:pt x="397" y="388"/>
                  </a:lnTo>
                  <a:lnTo>
                    <a:pt x="397" y="386"/>
                  </a:lnTo>
                  <a:lnTo>
                    <a:pt x="397" y="384"/>
                  </a:lnTo>
                  <a:lnTo>
                    <a:pt x="395" y="384"/>
                  </a:lnTo>
                  <a:lnTo>
                    <a:pt x="395" y="384"/>
                  </a:lnTo>
                  <a:lnTo>
                    <a:pt x="395" y="382"/>
                  </a:lnTo>
                  <a:lnTo>
                    <a:pt x="395" y="382"/>
                  </a:lnTo>
                  <a:lnTo>
                    <a:pt x="395" y="379"/>
                  </a:lnTo>
                  <a:lnTo>
                    <a:pt x="395" y="379"/>
                  </a:lnTo>
                  <a:lnTo>
                    <a:pt x="397" y="377"/>
                  </a:lnTo>
                  <a:lnTo>
                    <a:pt x="395" y="375"/>
                  </a:lnTo>
                  <a:lnTo>
                    <a:pt x="393" y="375"/>
                  </a:lnTo>
                  <a:lnTo>
                    <a:pt x="391" y="375"/>
                  </a:lnTo>
                  <a:lnTo>
                    <a:pt x="387" y="375"/>
                  </a:lnTo>
                  <a:lnTo>
                    <a:pt x="387" y="375"/>
                  </a:lnTo>
                  <a:lnTo>
                    <a:pt x="385" y="373"/>
                  </a:lnTo>
                  <a:lnTo>
                    <a:pt x="381" y="371"/>
                  </a:lnTo>
                  <a:lnTo>
                    <a:pt x="381" y="369"/>
                  </a:lnTo>
                  <a:lnTo>
                    <a:pt x="379" y="371"/>
                  </a:lnTo>
                  <a:lnTo>
                    <a:pt x="379" y="371"/>
                  </a:lnTo>
                  <a:lnTo>
                    <a:pt x="379" y="371"/>
                  </a:lnTo>
                  <a:lnTo>
                    <a:pt x="379" y="369"/>
                  </a:lnTo>
                  <a:lnTo>
                    <a:pt x="379" y="369"/>
                  </a:lnTo>
                  <a:lnTo>
                    <a:pt x="381" y="369"/>
                  </a:lnTo>
                  <a:lnTo>
                    <a:pt x="381" y="369"/>
                  </a:lnTo>
                  <a:lnTo>
                    <a:pt x="381" y="367"/>
                  </a:lnTo>
                  <a:lnTo>
                    <a:pt x="381" y="367"/>
                  </a:lnTo>
                  <a:lnTo>
                    <a:pt x="379" y="367"/>
                  </a:lnTo>
                  <a:lnTo>
                    <a:pt x="379" y="367"/>
                  </a:lnTo>
                  <a:lnTo>
                    <a:pt x="381" y="365"/>
                  </a:lnTo>
                  <a:lnTo>
                    <a:pt x="381" y="363"/>
                  </a:lnTo>
                  <a:lnTo>
                    <a:pt x="383" y="365"/>
                  </a:lnTo>
                  <a:lnTo>
                    <a:pt x="385" y="367"/>
                  </a:lnTo>
                  <a:lnTo>
                    <a:pt x="387" y="369"/>
                  </a:lnTo>
                  <a:lnTo>
                    <a:pt x="387" y="367"/>
                  </a:lnTo>
                  <a:lnTo>
                    <a:pt x="385" y="367"/>
                  </a:lnTo>
                  <a:lnTo>
                    <a:pt x="387" y="367"/>
                  </a:lnTo>
                  <a:lnTo>
                    <a:pt x="387" y="365"/>
                  </a:lnTo>
                  <a:lnTo>
                    <a:pt x="389" y="367"/>
                  </a:lnTo>
                  <a:lnTo>
                    <a:pt x="391" y="367"/>
                  </a:lnTo>
                  <a:lnTo>
                    <a:pt x="402" y="373"/>
                  </a:lnTo>
                  <a:lnTo>
                    <a:pt x="406" y="373"/>
                  </a:lnTo>
                  <a:lnTo>
                    <a:pt x="408" y="371"/>
                  </a:lnTo>
                  <a:lnTo>
                    <a:pt x="412" y="375"/>
                  </a:lnTo>
                  <a:lnTo>
                    <a:pt x="412" y="375"/>
                  </a:lnTo>
                  <a:lnTo>
                    <a:pt x="414" y="373"/>
                  </a:lnTo>
                  <a:lnTo>
                    <a:pt x="414" y="371"/>
                  </a:lnTo>
                  <a:lnTo>
                    <a:pt x="414" y="371"/>
                  </a:lnTo>
                  <a:lnTo>
                    <a:pt x="414" y="371"/>
                  </a:lnTo>
                  <a:lnTo>
                    <a:pt x="416" y="371"/>
                  </a:lnTo>
                  <a:lnTo>
                    <a:pt x="416" y="371"/>
                  </a:lnTo>
                  <a:lnTo>
                    <a:pt x="416" y="373"/>
                  </a:lnTo>
                  <a:lnTo>
                    <a:pt x="416" y="373"/>
                  </a:lnTo>
                  <a:lnTo>
                    <a:pt x="416" y="373"/>
                  </a:lnTo>
                  <a:lnTo>
                    <a:pt x="416" y="375"/>
                  </a:lnTo>
                  <a:lnTo>
                    <a:pt x="416" y="375"/>
                  </a:lnTo>
                  <a:lnTo>
                    <a:pt x="416" y="375"/>
                  </a:lnTo>
                  <a:lnTo>
                    <a:pt x="416" y="375"/>
                  </a:lnTo>
                  <a:lnTo>
                    <a:pt x="416" y="375"/>
                  </a:lnTo>
                  <a:lnTo>
                    <a:pt x="416" y="375"/>
                  </a:lnTo>
                  <a:lnTo>
                    <a:pt x="416" y="377"/>
                  </a:lnTo>
                  <a:lnTo>
                    <a:pt x="416" y="377"/>
                  </a:lnTo>
                  <a:lnTo>
                    <a:pt x="418" y="377"/>
                  </a:lnTo>
                  <a:lnTo>
                    <a:pt x="418" y="377"/>
                  </a:lnTo>
                  <a:lnTo>
                    <a:pt x="420" y="377"/>
                  </a:lnTo>
                  <a:lnTo>
                    <a:pt x="420" y="377"/>
                  </a:lnTo>
                  <a:lnTo>
                    <a:pt x="422" y="377"/>
                  </a:lnTo>
                  <a:lnTo>
                    <a:pt x="420" y="379"/>
                  </a:lnTo>
                  <a:lnTo>
                    <a:pt x="420" y="379"/>
                  </a:lnTo>
                  <a:lnTo>
                    <a:pt x="420" y="379"/>
                  </a:lnTo>
                  <a:lnTo>
                    <a:pt x="420" y="382"/>
                  </a:lnTo>
                  <a:lnTo>
                    <a:pt x="422" y="382"/>
                  </a:lnTo>
                  <a:lnTo>
                    <a:pt x="422" y="379"/>
                  </a:lnTo>
                  <a:lnTo>
                    <a:pt x="422" y="379"/>
                  </a:lnTo>
                  <a:lnTo>
                    <a:pt x="422" y="379"/>
                  </a:lnTo>
                  <a:lnTo>
                    <a:pt x="422" y="382"/>
                  </a:lnTo>
                  <a:lnTo>
                    <a:pt x="424" y="382"/>
                  </a:lnTo>
                  <a:lnTo>
                    <a:pt x="424" y="384"/>
                  </a:lnTo>
                  <a:lnTo>
                    <a:pt x="422" y="386"/>
                  </a:lnTo>
                  <a:lnTo>
                    <a:pt x="422" y="386"/>
                  </a:lnTo>
                  <a:lnTo>
                    <a:pt x="420" y="388"/>
                  </a:lnTo>
                  <a:lnTo>
                    <a:pt x="418" y="388"/>
                  </a:lnTo>
                  <a:lnTo>
                    <a:pt x="430" y="388"/>
                  </a:lnTo>
                  <a:lnTo>
                    <a:pt x="430" y="388"/>
                  </a:lnTo>
                  <a:lnTo>
                    <a:pt x="434" y="386"/>
                  </a:lnTo>
                  <a:lnTo>
                    <a:pt x="434" y="384"/>
                  </a:lnTo>
                  <a:lnTo>
                    <a:pt x="436" y="386"/>
                  </a:lnTo>
                  <a:lnTo>
                    <a:pt x="436" y="386"/>
                  </a:lnTo>
                  <a:lnTo>
                    <a:pt x="434" y="390"/>
                  </a:lnTo>
                  <a:lnTo>
                    <a:pt x="436" y="390"/>
                  </a:lnTo>
                  <a:lnTo>
                    <a:pt x="436" y="392"/>
                  </a:lnTo>
                  <a:lnTo>
                    <a:pt x="438" y="394"/>
                  </a:lnTo>
                  <a:lnTo>
                    <a:pt x="440" y="394"/>
                  </a:lnTo>
                  <a:lnTo>
                    <a:pt x="443" y="394"/>
                  </a:lnTo>
                  <a:lnTo>
                    <a:pt x="449" y="394"/>
                  </a:lnTo>
                  <a:lnTo>
                    <a:pt x="447" y="392"/>
                  </a:lnTo>
                  <a:lnTo>
                    <a:pt x="449" y="392"/>
                  </a:lnTo>
                  <a:lnTo>
                    <a:pt x="451" y="392"/>
                  </a:lnTo>
                  <a:lnTo>
                    <a:pt x="453" y="392"/>
                  </a:lnTo>
                  <a:lnTo>
                    <a:pt x="451" y="394"/>
                  </a:lnTo>
                  <a:lnTo>
                    <a:pt x="451" y="394"/>
                  </a:lnTo>
                  <a:lnTo>
                    <a:pt x="457" y="402"/>
                  </a:lnTo>
                  <a:lnTo>
                    <a:pt x="459" y="402"/>
                  </a:lnTo>
                  <a:lnTo>
                    <a:pt x="459" y="404"/>
                  </a:lnTo>
                  <a:lnTo>
                    <a:pt x="459" y="404"/>
                  </a:lnTo>
                  <a:lnTo>
                    <a:pt x="459" y="406"/>
                  </a:lnTo>
                  <a:lnTo>
                    <a:pt x="459" y="408"/>
                  </a:lnTo>
                  <a:lnTo>
                    <a:pt x="461" y="408"/>
                  </a:lnTo>
                  <a:lnTo>
                    <a:pt x="463" y="408"/>
                  </a:lnTo>
                  <a:lnTo>
                    <a:pt x="465" y="406"/>
                  </a:lnTo>
                  <a:lnTo>
                    <a:pt x="465" y="406"/>
                  </a:lnTo>
                  <a:lnTo>
                    <a:pt x="465" y="404"/>
                  </a:lnTo>
                  <a:lnTo>
                    <a:pt x="465" y="402"/>
                  </a:lnTo>
                  <a:lnTo>
                    <a:pt x="465" y="400"/>
                  </a:lnTo>
                  <a:lnTo>
                    <a:pt x="465" y="400"/>
                  </a:lnTo>
                  <a:lnTo>
                    <a:pt x="465" y="398"/>
                  </a:lnTo>
                  <a:lnTo>
                    <a:pt x="467" y="398"/>
                  </a:lnTo>
                  <a:lnTo>
                    <a:pt x="467" y="400"/>
                  </a:lnTo>
                  <a:lnTo>
                    <a:pt x="467" y="402"/>
                  </a:lnTo>
                  <a:lnTo>
                    <a:pt x="467" y="404"/>
                  </a:lnTo>
                  <a:lnTo>
                    <a:pt x="467" y="404"/>
                  </a:lnTo>
                  <a:lnTo>
                    <a:pt x="469" y="404"/>
                  </a:lnTo>
                  <a:lnTo>
                    <a:pt x="469" y="402"/>
                  </a:lnTo>
                  <a:lnTo>
                    <a:pt x="469" y="402"/>
                  </a:lnTo>
                  <a:lnTo>
                    <a:pt x="469" y="400"/>
                  </a:lnTo>
                  <a:lnTo>
                    <a:pt x="471" y="400"/>
                  </a:lnTo>
                  <a:lnTo>
                    <a:pt x="471" y="402"/>
                  </a:lnTo>
                  <a:lnTo>
                    <a:pt x="469" y="404"/>
                  </a:lnTo>
                  <a:lnTo>
                    <a:pt x="469" y="406"/>
                  </a:lnTo>
                  <a:lnTo>
                    <a:pt x="467" y="410"/>
                  </a:lnTo>
                  <a:lnTo>
                    <a:pt x="467" y="410"/>
                  </a:lnTo>
                  <a:lnTo>
                    <a:pt x="465" y="410"/>
                  </a:lnTo>
                  <a:lnTo>
                    <a:pt x="465" y="412"/>
                  </a:lnTo>
                  <a:lnTo>
                    <a:pt x="465" y="412"/>
                  </a:lnTo>
                  <a:lnTo>
                    <a:pt x="465" y="414"/>
                  </a:lnTo>
                  <a:lnTo>
                    <a:pt x="465" y="414"/>
                  </a:lnTo>
                  <a:lnTo>
                    <a:pt x="465" y="416"/>
                  </a:lnTo>
                  <a:lnTo>
                    <a:pt x="463" y="418"/>
                  </a:lnTo>
                  <a:lnTo>
                    <a:pt x="461" y="420"/>
                  </a:lnTo>
                  <a:lnTo>
                    <a:pt x="461" y="420"/>
                  </a:lnTo>
                  <a:lnTo>
                    <a:pt x="459" y="423"/>
                  </a:lnTo>
                  <a:lnTo>
                    <a:pt x="459" y="423"/>
                  </a:lnTo>
                  <a:lnTo>
                    <a:pt x="459" y="427"/>
                  </a:lnTo>
                  <a:lnTo>
                    <a:pt x="461" y="427"/>
                  </a:lnTo>
                  <a:lnTo>
                    <a:pt x="463" y="425"/>
                  </a:lnTo>
                  <a:lnTo>
                    <a:pt x="467" y="416"/>
                  </a:lnTo>
                  <a:lnTo>
                    <a:pt x="467" y="416"/>
                  </a:lnTo>
                  <a:lnTo>
                    <a:pt x="467" y="414"/>
                  </a:lnTo>
                  <a:lnTo>
                    <a:pt x="467" y="412"/>
                  </a:lnTo>
                  <a:lnTo>
                    <a:pt x="469" y="412"/>
                  </a:lnTo>
                  <a:lnTo>
                    <a:pt x="471" y="410"/>
                  </a:lnTo>
                  <a:lnTo>
                    <a:pt x="473" y="410"/>
                  </a:lnTo>
                  <a:lnTo>
                    <a:pt x="473" y="410"/>
                  </a:lnTo>
                  <a:lnTo>
                    <a:pt x="473" y="408"/>
                  </a:lnTo>
                  <a:lnTo>
                    <a:pt x="473" y="408"/>
                  </a:lnTo>
                  <a:lnTo>
                    <a:pt x="473" y="406"/>
                  </a:lnTo>
                  <a:lnTo>
                    <a:pt x="473" y="406"/>
                  </a:lnTo>
                  <a:lnTo>
                    <a:pt x="473" y="406"/>
                  </a:lnTo>
                  <a:lnTo>
                    <a:pt x="475" y="406"/>
                  </a:lnTo>
                  <a:lnTo>
                    <a:pt x="475" y="408"/>
                  </a:lnTo>
                  <a:lnTo>
                    <a:pt x="479" y="410"/>
                  </a:lnTo>
                  <a:lnTo>
                    <a:pt x="479" y="412"/>
                  </a:lnTo>
                  <a:lnTo>
                    <a:pt x="479" y="414"/>
                  </a:lnTo>
                  <a:lnTo>
                    <a:pt x="483" y="416"/>
                  </a:lnTo>
                  <a:lnTo>
                    <a:pt x="483" y="416"/>
                  </a:lnTo>
                  <a:lnTo>
                    <a:pt x="486" y="416"/>
                  </a:lnTo>
                  <a:lnTo>
                    <a:pt x="483" y="412"/>
                  </a:lnTo>
                  <a:lnTo>
                    <a:pt x="483" y="410"/>
                  </a:lnTo>
                  <a:lnTo>
                    <a:pt x="486" y="408"/>
                  </a:lnTo>
                  <a:lnTo>
                    <a:pt x="486" y="406"/>
                  </a:lnTo>
                  <a:lnTo>
                    <a:pt x="488" y="406"/>
                  </a:lnTo>
                  <a:lnTo>
                    <a:pt x="488" y="406"/>
                  </a:lnTo>
                  <a:lnTo>
                    <a:pt x="488" y="406"/>
                  </a:lnTo>
                  <a:lnTo>
                    <a:pt x="490" y="408"/>
                  </a:lnTo>
                  <a:lnTo>
                    <a:pt x="490" y="406"/>
                  </a:lnTo>
                  <a:lnTo>
                    <a:pt x="488" y="404"/>
                  </a:lnTo>
                  <a:lnTo>
                    <a:pt x="488" y="404"/>
                  </a:lnTo>
                  <a:lnTo>
                    <a:pt x="488" y="402"/>
                  </a:lnTo>
                  <a:lnTo>
                    <a:pt x="490" y="402"/>
                  </a:lnTo>
                  <a:lnTo>
                    <a:pt x="490" y="404"/>
                  </a:lnTo>
                  <a:lnTo>
                    <a:pt x="490" y="404"/>
                  </a:lnTo>
                  <a:lnTo>
                    <a:pt x="492" y="406"/>
                  </a:lnTo>
                  <a:lnTo>
                    <a:pt x="492" y="404"/>
                  </a:lnTo>
                  <a:lnTo>
                    <a:pt x="494" y="400"/>
                  </a:lnTo>
                  <a:lnTo>
                    <a:pt x="488" y="400"/>
                  </a:lnTo>
                  <a:lnTo>
                    <a:pt x="488" y="400"/>
                  </a:lnTo>
                  <a:lnTo>
                    <a:pt x="488" y="398"/>
                  </a:lnTo>
                  <a:lnTo>
                    <a:pt x="488" y="398"/>
                  </a:lnTo>
                  <a:lnTo>
                    <a:pt x="490" y="396"/>
                  </a:lnTo>
                  <a:lnTo>
                    <a:pt x="492" y="396"/>
                  </a:lnTo>
                  <a:lnTo>
                    <a:pt x="492" y="396"/>
                  </a:lnTo>
                  <a:lnTo>
                    <a:pt x="492" y="396"/>
                  </a:lnTo>
                  <a:close/>
                  <a:moveTo>
                    <a:pt x="449" y="336"/>
                  </a:moveTo>
                  <a:lnTo>
                    <a:pt x="449" y="334"/>
                  </a:lnTo>
                  <a:lnTo>
                    <a:pt x="447" y="334"/>
                  </a:lnTo>
                  <a:lnTo>
                    <a:pt x="447" y="334"/>
                  </a:lnTo>
                  <a:lnTo>
                    <a:pt x="447" y="334"/>
                  </a:lnTo>
                  <a:lnTo>
                    <a:pt x="445" y="332"/>
                  </a:lnTo>
                  <a:lnTo>
                    <a:pt x="443" y="334"/>
                  </a:lnTo>
                  <a:lnTo>
                    <a:pt x="443" y="336"/>
                  </a:lnTo>
                  <a:lnTo>
                    <a:pt x="445" y="341"/>
                  </a:lnTo>
                  <a:lnTo>
                    <a:pt x="445" y="338"/>
                  </a:lnTo>
                  <a:lnTo>
                    <a:pt x="447" y="336"/>
                  </a:lnTo>
                  <a:lnTo>
                    <a:pt x="447" y="336"/>
                  </a:lnTo>
                  <a:lnTo>
                    <a:pt x="447" y="336"/>
                  </a:lnTo>
                  <a:lnTo>
                    <a:pt x="449" y="338"/>
                  </a:lnTo>
                  <a:lnTo>
                    <a:pt x="449" y="338"/>
                  </a:lnTo>
                  <a:lnTo>
                    <a:pt x="451" y="338"/>
                  </a:lnTo>
                  <a:lnTo>
                    <a:pt x="449" y="338"/>
                  </a:lnTo>
                  <a:lnTo>
                    <a:pt x="449" y="336"/>
                  </a:lnTo>
                  <a:close/>
                  <a:moveTo>
                    <a:pt x="498" y="341"/>
                  </a:moveTo>
                  <a:lnTo>
                    <a:pt x="500" y="336"/>
                  </a:lnTo>
                  <a:lnTo>
                    <a:pt x="502" y="334"/>
                  </a:lnTo>
                  <a:lnTo>
                    <a:pt x="496" y="343"/>
                  </a:lnTo>
                  <a:lnTo>
                    <a:pt x="498" y="341"/>
                  </a:lnTo>
                  <a:close/>
                  <a:moveTo>
                    <a:pt x="412" y="388"/>
                  </a:moveTo>
                  <a:lnTo>
                    <a:pt x="412" y="388"/>
                  </a:lnTo>
                  <a:lnTo>
                    <a:pt x="412" y="388"/>
                  </a:lnTo>
                  <a:lnTo>
                    <a:pt x="412" y="388"/>
                  </a:lnTo>
                  <a:lnTo>
                    <a:pt x="410" y="388"/>
                  </a:lnTo>
                  <a:lnTo>
                    <a:pt x="410" y="388"/>
                  </a:lnTo>
                  <a:lnTo>
                    <a:pt x="410" y="388"/>
                  </a:lnTo>
                  <a:lnTo>
                    <a:pt x="410" y="390"/>
                  </a:lnTo>
                  <a:lnTo>
                    <a:pt x="412" y="390"/>
                  </a:lnTo>
                  <a:lnTo>
                    <a:pt x="412" y="390"/>
                  </a:lnTo>
                  <a:lnTo>
                    <a:pt x="412" y="390"/>
                  </a:lnTo>
                  <a:lnTo>
                    <a:pt x="412" y="390"/>
                  </a:lnTo>
                  <a:lnTo>
                    <a:pt x="412" y="390"/>
                  </a:lnTo>
                  <a:lnTo>
                    <a:pt x="414" y="388"/>
                  </a:lnTo>
                  <a:lnTo>
                    <a:pt x="414" y="388"/>
                  </a:lnTo>
                  <a:lnTo>
                    <a:pt x="412" y="388"/>
                  </a:lnTo>
                  <a:lnTo>
                    <a:pt x="412" y="388"/>
                  </a:lnTo>
                  <a:close/>
                  <a:moveTo>
                    <a:pt x="504" y="308"/>
                  </a:moveTo>
                  <a:lnTo>
                    <a:pt x="502" y="306"/>
                  </a:lnTo>
                  <a:lnTo>
                    <a:pt x="502" y="304"/>
                  </a:lnTo>
                  <a:lnTo>
                    <a:pt x="500" y="302"/>
                  </a:lnTo>
                  <a:lnTo>
                    <a:pt x="498" y="300"/>
                  </a:lnTo>
                  <a:lnTo>
                    <a:pt x="500" y="302"/>
                  </a:lnTo>
                  <a:lnTo>
                    <a:pt x="502" y="302"/>
                  </a:lnTo>
                  <a:lnTo>
                    <a:pt x="502" y="306"/>
                  </a:lnTo>
                  <a:lnTo>
                    <a:pt x="502" y="308"/>
                  </a:lnTo>
                  <a:lnTo>
                    <a:pt x="502" y="308"/>
                  </a:lnTo>
                  <a:lnTo>
                    <a:pt x="504" y="310"/>
                  </a:lnTo>
                  <a:lnTo>
                    <a:pt x="504" y="312"/>
                  </a:lnTo>
                  <a:lnTo>
                    <a:pt x="504" y="314"/>
                  </a:lnTo>
                  <a:lnTo>
                    <a:pt x="504" y="316"/>
                  </a:lnTo>
                  <a:lnTo>
                    <a:pt x="506" y="320"/>
                  </a:lnTo>
                  <a:lnTo>
                    <a:pt x="504" y="322"/>
                  </a:lnTo>
                  <a:lnTo>
                    <a:pt x="502" y="328"/>
                  </a:lnTo>
                  <a:lnTo>
                    <a:pt x="502" y="328"/>
                  </a:lnTo>
                  <a:lnTo>
                    <a:pt x="504" y="330"/>
                  </a:lnTo>
                  <a:lnTo>
                    <a:pt x="504" y="330"/>
                  </a:lnTo>
                  <a:lnTo>
                    <a:pt x="504" y="330"/>
                  </a:lnTo>
                  <a:lnTo>
                    <a:pt x="506" y="326"/>
                  </a:lnTo>
                  <a:lnTo>
                    <a:pt x="506" y="324"/>
                  </a:lnTo>
                  <a:lnTo>
                    <a:pt x="506" y="314"/>
                  </a:lnTo>
                  <a:lnTo>
                    <a:pt x="504" y="308"/>
                  </a:lnTo>
                  <a:close/>
                  <a:moveTo>
                    <a:pt x="371" y="412"/>
                  </a:moveTo>
                  <a:lnTo>
                    <a:pt x="369" y="412"/>
                  </a:lnTo>
                  <a:lnTo>
                    <a:pt x="369" y="412"/>
                  </a:lnTo>
                  <a:lnTo>
                    <a:pt x="369" y="412"/>
                  </a:lnTo>
                  <a:lnTo>
                    <a:pt x="369" y="414"/>
                  </a:lnTo>
                  <a:lnTo>
                    <a:pt x="369" y="414"/>
                  </a:lnTo>
                  <a:lnTo>
                    <a:pt x="367" y="414"/>
                  </a:lnTo>
                  <a:lnTo>
                    <a:pt x="365" y="416"/>
                  </a:lnTo>
                  <a:lnTo>
                    <a:pt x="365" y="416"/>
                  </a:lnTo>
                  <a:lnTo>
                    <a:pt x="365" y="416"/>
                  </a:lnTo>
                  <a:lnTo>
                    <a:pt x="371" y="414"/>
                  </a:lnTo>
                  <a:lnTo>
                    <a:pt x="371" y="414"/>
                  </a:lnTo>
                  <a:lnTo>
                    <a:pt x="371" y="412"/>
                  </a:lnTo>
                  <a:close/>
                  <a:moveTo>
                    <a:pt x="406" y="394"/>
                  </a:moveTo>
                  <a:lnTo>
                    <a:pt x="404" y="394"/>
                  </a:lnTo>
                  <a:lnTo>
                    <a:pt x="404" y="396"/>
                  </a:lnTo>
                  <a:lnTo>
                    <a:pt x="402" y="398"/>
                  </a:lnTo>
                  <a:lnTo>
                    <a:pt x="399" y="398"/>
                  </a:lnTo>
                  <a:lnTo>
                    <a:pt x="399" y="400"/>
                  </a:lnTo>
                  <a:lnTo>
                    <a:pt x="399" y="400"/>
                  </a:lnTo>
                  <a:lnTo>
                    <a:pt x="399" y="400"/>
                  </a:lnTo>
                  <a:lnTo>
                    <a:pt x="404" y="398"/>
                  </a:lnTo>
                  <a:lnTo>
                    <a:pt x="406" y="396"/>
                  </a:lnTo>
                  <a:lnTo>
                    <a:pt x="406" y="396"/>
                  </a:lnTo>
                  <a:lnTo>
                    <a:pt x="406" y="394"/>
                  </a:lnTo>
                  <a:close/>
                  <a:moveTo>
                    <a:pt x="408" y="392"/>
                  </a:moveTo>
                  <a:lnTo>
                    <a:pt x="408" y="392"/>
                  </a:lnTo>
                  <a:lnTo>
                    <a:pt x="408" y="394"/>
                  </a:lnTo>
                  <a:lnTo>
                    <a:pt x="408" y="394"/>
                  </a:lnTo>
                  <a:lnTo>
                    <a:pt x="410" y="392"/>
                  </a:lnTo>
                  <a:lnTo>
                    <a:pt x="410" y="392"/>
                  </a:lnTo>
                  <a:lnTo>
                    <a:pt x="408" y="392"/>
                  </a:lnTo>
                  <a:lnTo>
                    <a:pt x="408" y="392"/>
                  </a:lnTo>
                  <a:close/>
                  <a:moveTo>
                    <a:pt x="375" y="416"/>
                  </a:moveTo>
                  <a:lnTo>
                    <a:pt x="375" y="416"/>
                  </a:lnTo>
                  <a:lnTo>
                    <a:pt x="373" y="418"/>
                  </a:lnTo>
                  <a:lnTo>
                    <a:pt x="373" y="418"/>
                  </a:lnTo>
                  <a:lnTo>
                    <a:pt x="371" y="420"/>
                  </a:lnTo>
                  <a:lnTo>
                    <a:pt x="377" y="418"/>
                  </a:lnTo>
                  <a:lnTo>
                    <a:pt x="377" y="416"/>
                  </a:lnTo>
                  <a:lnTo>
                    <a:pt x="375" y="416"/>
                  </a:lnTo>
                  <a:close/>
                  <a:moveTo>
                    <a:pt x="393" y="373"/>
                  </a:moveTo>
                  <a:lnTo>
                    <a:pt x="393" y="373"/>
                  </a:lnTo>
                  <a:lnTo>
                    <a:pt x="393" y="375"/>
                  </a:lnTo>
                  <a:lnTo>
                    <a:pt x="395" y="375"/>
                  </a:lnTo>
                  <a:lnTo>
                    <a:pt x="395" y="375"/>
                  </a:lnTo>
                  <a:lnTo>
                    <a:pt x="395" y="373"/>
                  </a:lnTo>
                  <a:lnTo>
                    <a:pt x="395" y="375"/>
                  </a:lnTo>
                  <a:lnTo>
                    <a:pt x="397" y="375"/>
                  </a:lnTo>
                  <a:lnTo>
                    <a:pt x="397" y="375"/>
                  </a:lnTo>
                  <a:lnTo>
                    <a:pt x="397" y="375"/>
                  </a:lnTo>
                  <a:lnTo>
                    <a:pt x="399" y="375"/>
                  </a:lnTo>
                  <a:lnTo>
                    <a:pt x="399" y="375"/>
                  </a:lnTo>
                  <a:lnTo>
                    <a:pt x="399" y="375"/>
                  </a:lnTo>
                  <a:lnTo>
                    <a:pt x="399" y="375"/>
                  </a:lnTo>
                  <a:lnTo>
                    <a:pt x="399" y="375"/>
                  </a:lnTo>
                  <a:lnTo>
                    <a:pt x="399" y="375"/>
                  </a:lnTo>
                  <a:lnTo>
                    <a:pt x="399" y="375"/>
                  </a:lnTo>
                  <a:lnTo>
                    <a:pt x="399" y="373"/>
                  </a:lnTo>
                  <a:lnTo>
                    <a:pt x="399" y="373"/>
                  </a:lnTo>
                  <a:lnTo>
                    <a:pt x="399" y="373"/>
                  </a:lnTo>
                  <a:lnTo>
                    <a:pt x="399" y="375"/>
                  </a:lnTo>
                  <a:lnTo>
                    <a:pt x="397" y="375"/>
                  </a:lnTo>
                  <a:lnTo>
                    <a:pt x="397" y="375"/>
                  </a:lnTo>
                  <a:lnTo>
                    <a:pt x="397" y="373"/>
                  </a:lnTo>
                  <a:lnTo>
                    <a:pt x="395" y="373"/>
                  </a:lnTo>
                  <a:lnTo>
                    <a:pt x="397" y="373"/>
                  </a:lnTo>
                  <a:lnTo>
                    <a:pt x="397" y="373"/>
                  </a:lnTo>
                  <a:lnTo>
                    <a:pt x="397" y="371"/>
                  </a:lnTo>
                  <a:lnTo>
                    <a:pt x="395" y="371"/>
                  </a:lnTo>
                  <a:lnTo>
                    <a:pt x="395" y="371"/>
                  </a:lnTo>
                  <a:lnTo>
                    <a:pt x="393" y="371"/>
                  </a:lnTo>
                  <a:lnTo>
                    <a:pt x="393" y="371"/>
                  </a:lnTo>
                  <a:lnTo>
                    <a:pt x="393" y="369"/>
                  </a:lnTo>
                  <a:lnTo>
                    <a:pt x="391" y="369"/>
                  </a:lnTo>
                  <a:lnTo>
                    <a:pt x="389" y="369"/>
                  </a:lnTo>
                  <a:lnTo>
                    <a:pt x="389" y="369"/>
                  </a:lnTo>
                  <a:lnTo>
                    <a:pt x="387" y="369"/>
                  </a:lnTo>
                  <a:lnTo>
                    <a:pt x="387" y="371"/>
                  </a:lnTo>
                  <a:lnTo>
                    <a:pt x="387" y="371"/>
                  </a:lnTo>
                  <a:lnTo>
                    <a:pt x="389" y="373"/>
                  </a:lnTo>
                  <a:lnTo>
                    <a:pt x="391" y="373"/>
                  </a:lnTo>
                  <a:lnTo>
                    <a:pt x="391" y="373"/>
                  </a:lnTo>
                  <a:lnTo>
                    <a:pt x="393" y="373"/>
                  </a:lnTo>
                  <a:lnTo>
                    <a:pt x="393" y="373"/>
                  </a:lnTo>
                  <a:lnTo>
                    <a:pt x="393" y="373"/>
                  </a:lnTo>
                  <a:lnTo>
                    <a:pt x="393" y="373"/>
                  </a:lnTo>
                  <a:close/>
                  <a:moveTo>
                    <a:pt x="500" y="322"/>
                  </a:moveTo>
                  <a:lnTo>
                    <a:pt x="502" y="322"/>
                  </a:lnTo>
                  <a:lnTo>
                    <a:pt x="502" y="322"/>
                  </a:lnTo>
                  <a:lnTo>
                    <a:pt x="500" y="322"/>
                  </a:lnTo>
                  <a:close/>
                  <a:moveTo>
                    <a:pt x="498" y="320"/>
                  </a:moveTo>
                  <a:lnTo>
                    <a:pt x="498" y="320"/>
                  </a:lnTo>
                  <a:lnTo>
                    <a:pt x="496" y="320"/>
                  </a:lnTo>
                  <a:lnTo>
                    <a:pt x="496" y="322"/>
                  </a:lnTo>
                  <a:lnTo>
                    <a:pt x="496" y="322"/>
                  </a:lnTo>
                  <a:lnTo>
                    <a:pt x="498" y="320"/>
                  </a:lnTo>
                  <a:lnTo>
                    <a:pt x="498" y="320"/>
                  </a:lnTo>
                  <a:close/>
                  <a:moveTo>
                    <a:pt x="498" y="318"/>
                  </a:moveTo>
                  <a:lnTo>
                    <a:pt x="500" y="318"/>
                  </a:lnTo>
                  <a:lnTo>
                    <a:pt x="500" y="318"/>
                  </a:lnTo>
                  <a:lnTo>
                    <a:pt x="498" y="318"/>
                  </a:lnTo>
                  <a:lnTo>
                    <a:pt x="498" y="320"/>
                  </a:lnTo>
                  <a:lnTo>
                    <a:pt x="498" y="320"/>
                  </a:lnTo>
                  <a:lnTo>
                    <a:pt x="498" y="320"/>
                  </a:lnTo>
                  <a:lnTo>
                    <a:pt x="498" y="318"/>
                  </a:lnTo>
                  <a:close/>
                  <a:moveTo>
                    <a:pt x="500" y="318"/>
                  </a:moveTo>
                  <a:lnTo>
                    <a:pt x="500" y="318"/>
                  </a:lnTo>
                  <a:lnTo>
                    <a:pt x="500" y="320"/>
                  </a:lnTo>
                  <a:lnTo>
                    <a:pt x="500" y="320"/>
                  </a:lnTo>
                  <a:lnTo>
                    <a:pt x="500" y="318"/>
                  </a:lnTo>
                  <a:close/>
                  <a:moveTo>
                    <a:pt x="440" y="345"/>
                  </a:moveTo>
                  <a:lnTo>
                    <a:pt x="443" y="345"/>
                  </a:lnTo>
                  <a:lnTo>
                    <a:pt x="443" y="345"/>
                  </a:lnTo>
                  <a:lnTo>
                    <a:pt x="443" y="345"/>
                  </a:lnTo>
                  <a:lnTo>
                    <a:pt x="443" y="345"/>
                  </a:lnTo>
                  <a:lnTo>
                    <a:pt x="443" y="345"/>
                  </a:lnTo>
                  <a:lnTo>
                    <a:pt x="443" y="345"/>
                  </a:lnTo>
                  <a:lnTo>
                    <a:pt x="443" y="345"/>
                  </a:lnTo>
                  <a:lnTo>
                    <a:pt x="440" y="343"/>
                  </a:lnTo>
                  <a:lnTo>
                    <a:pt x="440" y="343"/>
                  </a:lnTo>
                  <a:lnTo>
                    <a:pt x="440" y="343"/>
                  </a:lnTo>
                  <a:lnTo>
                    <a:pt x="440" y="343"/>
                  </a:lnTo>
                  <a:lnTo>
                    <a:pt x="440" y="345"/>
                  </a:lnTo>
                  <a:lnTo>
                    <a:pt x="440" y="345"/>
                  </a:lnTo>
                  <a:lnTo>
                    <a:pt x="440" y="345"/>
                  </a:lnTo>
                  <a:lnTo>
                    <a:pt x="440" y="345"/>
                  </a:lnTo>
                  <a:lnTo>
                    <a:pt x="440" y="345"/>
                  </a:lnTo>
                  <a:lnTo>
                    <a:pt x="440" y="345"/>
                  </a:lnTo>
                  <a:lnTo>
                    <a:pt x="440" y="345"/>
                  </a:lnTo>
                  <a:close/>
                  <a:moveTo>
                    <a:pt x="492" y="328"/>
                  </a:moveTo>
                  <a:lnTo>
                    <a:pt x="492" y="328"/>
                  </a:lnTo>
                  <a:lnTo>
                    <a:pt x="492" y="326"/>
                  </a:lnTo>
                  <a:lnTo>
                    <a:pt x="492" y="326"/>
                  </a:lnTo>
                  <a:lnTo>
                    <a:pt x="492" y="328"/>
                  </a:lnTo>
                  <a:lnTo>
                    <a:pt x="492" y="330"/>
                  </a:lnTo>
                  <a:lnTo>
                    <a:pt x="492" y="330"/>
                  </a:lnTo>
                  <a:lnTo>
                    <a:pt x="492" y="328"/>
                  </a:lnTo>
                  <a:close/>
                  <a:moveTo>
                    <a:pt x="467" y="314"/>
                  </a:moveTo>
                  <a:lnTo>
                    <a:pt x="467" y="312"/>
                  </a:lnTo>
                  <a:lnTo>
                    <a:pt x="465" y="312"/>
                  </a:lnTo>
                  <a:lnTo>
                    <a:pt x="465" y="314"/>
                  </a:lnTo>
                  <a:lnTo>
                    <a:pt x="463" y="316"/>
                  </a:lnTo>
                  <a:lnTo>
                    <a:pt x="463" y="316"/>
                  </a:lnTo>
                  <a:lnTo>
                    <a:pt x="463" y="316"/>
                  </a:lnTo>
                  <a:lnTo>
                    <a:pt x="465" y="316"/>
                  </a:lnTo>
                  <a:lnTo>
                    <a:pt x="465" y="314"/>
                  </a:lnTo>
                  <a:lnTo>
                    <a:pt x="465" y="314"/>
                  </a:lnTo>
                  <a:lnTo>
                    <a:pt x="467" y="314"/>
                  </a:lnTo>
                  <a:close/>
                </a:path>
              </a:pathLst>
            </a:custGeom>
            <a:solidFill>
              <a:schemeClr val="tx1"/>
            </a:solidFill>
            <a:ln w="3175" cap="rnd">
              <a:solidFill>
                <a:schemeClr val="bg1"/>
              </a:solidFill>
              <a:prstDash val="solid"/>
              <a:round/>
              <a:headEnd/>
              <a:tailEnd/>
            </a:ln>
          </p:spPr>
          <p:txBody>
            <a:bodyPr vert="horz" wrap="square" lIns="144000" tIns="0" rIns="0" bIns="240000" numCol="1" anchor="ctr"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LA</a:t>
              </a:r>
            </a:p>
          </p:txBody>
        </p:sp>
        <p:sp>
          <p:nvSpPr>
            <p:cNvPr id="275" name="Freeform 38">
              <a:extLst>
                <a:ext uri="{FF2B5EF4-FFF2-40B4-BE49-F238E27FC236}">
                  <a16:creationId xmlns:a16="http://schemas.microsoft.com/office/drawing/2014/main" id="{6221473E-609E-6944-D20D-6989157FD4D8}"/>
                </a:ext>
              </a:extLst>
            </p:cNvPr>
            <p:cNvSpPr>
              <a:spLocks noEditPoints="1"/>
            </p:cNvSpPr>
            <p:nvPr/>
          </p:nvSpPr>
          <p:spPr bwMode="auto">
            <a:xfrm>
              <a:off x="3639" y="1125"/>
              <a:ext cx="641" cy="330"/>
            </a:xfrm>
            <a:custGeom>
              <a:avLst/>
              <a:gdLst>
                <a:gd name="T0" fmla="*/ 624 w 641"/>
                <a:gd name="T1" fmla="*/ 131 h 330"/>
                <a:gd name="T2" fmla="*/ 616 w 641"/>
                <a:gd name="T3" fmla="*/ 125 h 330"/>
                <a:gd name="T4" fmla="*/ 606 w 641"/>
                <a:gd name="T5" fmla="*/ 117 h 330"/>
                <a:gd name="T6" fmla="*/ 596 w 641"/>
                <a:gd name="T7" fmla="*/ 103 h 330"/>
                <a:gd name="T8" fmla="*/ 590 w 641"/>
                <a:gd name="T9" fmla="*/ 94 h 330"/>
                <a:gd name="T10" fmla="*/ 573 w 641"/>
                <a:gd name="T11" fmla="*/ 76 h 330"/>
                <a:gd name="T12" fmla="*/ 575 w 641"/>
                <a:gd name="T13" fmla="*/ 70 h 330"/>
                <a:gd name="T14" fmla="*/ 577 w 641"/>
                <a:gd name="T15" fmla="*/ 66 h 330"/>
                <a:gd name="T16" fmla="*/ 573 w 641"/>
                <a:gd name="T17" fmla="*/ 51 h 330"/>
                <a:gd name="T18" fmla="*/ 547 w 641"/>
                <a:gd name="T19" fmla="*/ 31 h 330"/>
                <a:gd name="T20" fmla="*/ 530 w 641"/>
                <a:gd name="T21" fmla="*/ 25 h 330"/>
                <a:gd name="T22" fmla="*/ 516 w 641"/>
                <a:gd name="T23" fmla="*/ 35 h 330"/>
                <a:gd name="T24" fmla="*/ 499 w 641"/>
                <a:gd name="T25" fmla="*/ 33 h 330"/>
                <a:gd name="T26" fmla="*/ 481 w 641"/>
                <a:gd name="T27" fmla="*/ 37 h 330"/>
                <a:gd name="T28" fmla="*/ 456 w 641"/>
                <a:gd name="T29" fmla="*/ 29 h 330"/>
                <a:gd name="T30" fmla="*/ 426 w 641"/>
                <a:gd name="T31" fmla="*/ 19 h 330"/>
                <a:gd name="T32" fmla="*/ 413 w 641"/>
                <a:gd name="T33" fmla="*/ 6 h 330"/>
                <a:gd name="T34" fmla="*/ 385 w 641"/>
                <a:gd name="T35" fmla="*/ 2 h 330"/>
                <a:gd name="T36" fmla="*/ 370 w 641"/>
                <a:gd name="T37" fmla="*/ 10 h 330"/>
                <a:gd name="T38" fmla="*/ 379 w 641"/>
                <a:gd name="T39" fmla="*/ 27 h 330"/>
                <a:gd name="T40" fmla="*/ 364 w 641"/>
                <a:gd name="T41" fmla="*/ 41 h 330"/>
                <a:gd name="T42" fmla="*/ 327 w 641"/>
                <a:gd name="T43" fmla="*/ 55 h 330"/>
                <a:gd name="T44" fmla="*/ 321 w 641"/>
                <a:gd name="T45" fmla="*/ 82 h 330"/>
                <a:gd name="T46" fmla="*/ 305 w 641"/>
                <a:gd name="T47" fmla="*/ 103 h 330"/>
                <a:gd name="T48" fmla="*/ 297 w 641"/>
                <a:gd name="T49" fmla="*/ 117 h 330"/>
                <a:gd name="T50" fmla="*/ 286 w 641"/>
                <a:gd name="T51" fmla="*/ 139 h 330"/>
                <a:gd name="T52" fmla="*/ 264 w 641"/>
                <a:gd name="T53" fmla="*/ 127 h 330"/>
                <a:gd name="T54" fmla="*/ 260 w 641"/>
                <a:gd name="T55" fmla="*/ 123 h 330"/>
                <a:gd name="T56" fmla="*/ 250 w 641"/>
                <a:gd name="T57" fmla="*/ 127 h 330"/>
                <a:gd name="T58" fmla="*/ 245 w 641"/>
                <a:gd name="T59" fmla="*/ 148 h 330"/>
                <a:gd name="T60" fmla="*/ 237 w 641"/>
                <a:gd name="T61" fmla="*/ 152 h 330"/>
                <a:gd name="T62" fmla="*/ 213 w 641"/>
                <a:gd name="T63" fmla="*/ 152 h 330"/>
                <a:gd name="T64" fmla="*/ 196 w 641"/>
                <a:gd name="T65" fmla="*/ 168 h 330"/>
                <a:gd name="T66" fmla="*/ 184 w 641"/>
                <a:gd name="T67" fmla="*/ 162 h 330"/>
                <a:gd name="T68" fmla="*/ 155 w 641"/>
                <a:gd name="T69" fmla="*/ 158 h 330"/>
                <a:gd name="T70" fmla="*/ 155 w 641"/>
                <a:gd name="T71" fmla="*/ 164 h 330"/>
                <a:gd name="T72" fmla="*/ 145 w 641"/>
                <a:gd name="T73" fmla="*/ 164 h 330"/>
                <a:gd name="T74" fmla="*/ 129 w 641"/>
                <a:gd name="T75" fmla="*/ 162 h 330"/>
                <a:gd name="T76" fmla="*/ 119 w 641"/>
                <a:gd name="T77" fmla="*/ 176 h 330"/>
                <a:gd name="T78" fmla="*/ 112 w 641"/>
                <a:gd name="T79" fmla="*/ 201 h 330"/>
                <a:gd name="T80" fmla="*/ 88 w 641"/>
                <a:gd name="T81" fmla="*/ 221 h 330"/>
                <a:gd name="T82" fmla="*/ 92 w 641"/>
                <a:gd name="T83" fmla="*/ 252 h 330"/>
                <a:gd name="T84" fmla="*/ 37 w 641"/>
                <a:gd name="T85" fmla="*/ 252 h 330"/>
                <a:gd name="T86" fmla="*/ 37 w 641"/>
                <a:gd name="T87" fmla="*/ 285 h 330"/>
                <a:gd name="T88" fmla="*/ 32 w 641"/>
                <a:gd name="T89" fmla="*/ 310 h 330"/>
                <a:gd name="T90" fmla="*/ 16 w 641"/>
                <a:gd name="T91" fmla="*/ 316 h 330"/>
                <a:gd name="T92" fmla="*/ 104 w 641"/>
                <a:gd name="T93" fmla="*/ 320 h 330"/>
                <a:gd name="T94" fmla="*/ 129 w 641"/>
                <a:gd name="T95" fmla="*/ 295 h 330"/>
                <a:gd name="T96" fmla="*/ 149 w 641"/>
                <a:gd name="T97" fmla="*/ 299 h 330"/>
                <a:gd name="T98" fmla="*/ 215 w 641"/>
                <a:gd name="T99" fmla="*/ 291 h 330"/>
                <a:gd name="T100" fmla="*/ 264 w 641"/>
                <a:gd name="T101" fmla="*/ 283 h 330"/>
                <a:gd name="T102" fmla="*/ 407 w 641"/>
                <a:gd name="T103" fmla="*/ 271 h 330"/>
                <a:gd name="T104" fmla="*/ 510 w 641"/>
                <a:gd name="T105" fmla="*/ 256 h 330"/>
                <a:gd name="T106" fmla="*/ 545 w 641"/>
                <a:gd name="T107" fmla="*/ 236 h 330"/>
                <a:gd name="T108" fmla="*/ 557 w 641"/>
                <a:gd name="T109" fmla="*/ 228 h 330"/>
                <a:gd name="T110" fmla="*/ 575 w 641"/>
                <a:gd name="T111" fmla="*/ 213 h 330"/>
                <a:gd name="T112" fmla="*/ 577 w 641"/>
                <a:gd name="T113" fmla="*/ 203 h 330"/>
                <a:gd name="T114" fmla="*/ 583 w 641"/>
                <a:gd name="T115" fmla="*/ 189 h 330"/>
                <a:gd name="T116" fmla="*/ 631 w 641"/>
                <a:gd name="T117" fmla="*/ 146 h 330"/>
                <a:gd name="T118" fmla="*/ 8 w 641"/>
                <a:gd name="T119" fmla="*/ 32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1" h="330">
                  <a:moveTo>
                    <a:pt x="639" y="133"/>
                  </a:moveTo>
                  <a:lnTo>
                    <a:pt x="639" y="133"/>
                  </a:lnTo>
                  <a:lnTo>
                    <a:pt x="635" y="135"/>
                  </a:lnTo>
                  <a:lnTo>
                    <a:pt x="635" y="135"/>
                  </a:lnTo>
                  <a:lnTo>
                    <a:pt x="626" y="133"/>
                  </a:lnTo>
                  <a:lnTo>
                    <a:pt x="626" y="133"/>
                  </a:lnTo>
                  <a:lnTo>
                    <a:pt x="624" y="133"/>
                  </a:lnTo>
                  <a:lnTo>
                    <a:pt x="624" y="131"/>
                  </a:lnTo>
                  <a:lnTo>
                    <a:pt x="624" y="131"/>
                  </a:lnTo>
                  <a:lnTo>
                    <a:pt x="624" y="131"/>
                  </a:lnTo>
                  <a:lnTo>
                    <a:pt x="624" y="131"/>
                  </a:lnTo>
                  <a:lnTo>
                    <a:pt x="624" y="129"/>
                  </a:lnTo>
                  <a:lnTo>
                    <a:pt x="624" y="129"/>
                  </a:lnTo>
                  <a:lnTo>
                    <a:pt x="620" y="127"/>
                  </a:lnTo>
                  <a:lnTo>
                    <a:pt x="620" y="127"/>
                  </a:lnTo>
                  <a:lnTo>
                    <a:pt x="620" y="127"/>
                  </a:lnTo>
                  <a:lnTo>
                    <a:pt x="618" y="127"/>
                  </a:lnTo>
                  <a:lnTo>
                    <a:pt x="618" y="127"/>
                  </a:lnTo>
                  <a:lnTo>
                    <a:pt x="616" y="125"/>
                  </a:lnTo>
                  <a:lnTo>
                    <a:pt x="616" y="125"/>
                  </a:lnTo>
                  <a:lnTo>
                    <a:pt x="616" y="125"/>
                  </a:lnTo>
                  <a:lnTo>
                    <a:pt x="614" y="125"/>
                  </a:lnTo>
                  <a:lnTo>
                    <a:pt x="610" y="123"/>
                  </a:lnTo>
                  <a:lnTo>
                    <a:pt x="610" y="123"/>
                  </a:lnTo>
                  <a:lnTo>
                    <a:pt x="610" y="123"/>
                  </a:lnTo>
                  <a:lnTo>
                    <a:pt x="610" y="121"/>
                  </a:lnTo>
                  <a:lnTo>
                    <a:pt x="608" y="119"/>
                  </a:lnTo>
                  <a:lnTo>
                    <a:pt x="608" y="117"/>
                  </a:lnTo>
                  <a:lnTo>
                    <a:pt x="608" y="117"/>
                  </a:lnTo>
                  <a:lnTo>
                    <a:pt x="606" y="117"/>
                  </a:lnTo>
                  <a:lnTo>
                    <a:pt x="606" y="115"/>
                  </a:lnTo>
                  <a:lnTo>
                    <a:pt x="598" y="111"/>
                  </a:lnTo>
                  <a:lnTo>
                    <a:pt x="598" y="109"/>
                  </a:lnTo>
                  <a:lnTo>
                    <a:pt x="598" y="109"/>
                  </a:lnTo>
                  <a:lnTo>
                    <a:pt x="598" y="109"/>
                  </a:lnTo>
                  <a:lnTo>
                    <a:pt x="598" y="105"/>
                  </a:lnTo>
                  <a:lnTo>
                    <a:pt x="596" y="105"/>
                  </a:lnTo>
                  <a:lnTo>
                    <a:pt x="596" y="103"/>
                  </a:lnTo>
                  <a:lnTo>
                    <a:pt x="596" y="103"/>
                  </a:lnTo>
                  <a:lnTo>
                    <a:pt x="596" y="103"/>
                  </a:lnTo>
                  <a:lnTo>
                    <a:pt x="594" y="103"/>
                  </a:lnTo>
                  <a:lnTo>
                    <a:pt x="590" y="101"/>
                  </a:lnTo>
                  <a:lnTo>
                    <a:pt x="590" y="99"/>
                  </a:lnTo>
                  <a:lnTo>
                    <a:pt x="590" y="99"/>
                  </a:lnTo>
                  <a:lnTo>
                    <a:pt x="590" y="99"/>
                  </a:lnTo>
                  <a:lnTo>
                    <a:pt x="590" y="96"/>
                  </a:lnTo>
                  <a:lnTo>
                    <a:pt x="592" y="96"/>
                  </a:lnTo>
                  <a:lnTo>
                    <a:pt x="592" y="96"/>
                  </a:lnTo>
                  <a:lnTo>
                    <a:pt x="590" y="94"/>
                  </a:lnTo>
                  <a:lnTo>
                    <a:pt x="590" y="94"/>
                  </a:lnTo>
                  <a:lnTo>
                    <a:pt x="590" y="94"/>
                  </a:lnTo>
                  <a:lnTo>
                    <a:pt x="590" y="94"/>
                  </a:lnTo>
                  <a:lnTo>
                    <a:pt x="583" y="90"/>
                  </a:lnTo>
                  <a:lnTo>
                    <a:pt x="583" y="90"/>
                  </a:lnTo>
                  <a:lnTo>
                    <a:pt x="583" y="88"/>
                  </a:lnTo>
                  <a:lnTo>
                    <a:pt x="581" y="86"/>
                  </a:lnTo>
                  <a:lnTo>
                    <a:pt x="581" y="86"/>
                  </a:lnTo>
                  <a:lnTo>
                    <a:pt x="573" y="78"/>
                  </a:lnTo>
                  <a:lnTo>
                    <a:pt x="573" y="78"/>
                  </a:lnTo>
                  <a:lnTo>
                    <a:pt x="573" y="76"/>
                  </a:lnTo>
                  <a:lnTo>
                    <a:pt x="573" y="76"/>
                  </a:lnTo>
                  <a:lnTo>
                    <a:pt x="573" y="76"/>
                  </a:lnTo>
                  <a:lnTo>
                    <a:pt x="573" y="76"/>
                  </a:lnTo>
                  <a:lnTo>
                    <a:pt x="573" y="76"/>
                  </a:lnTo>
                  <a:lnTo>
                    <a:pt x="575" y="74"/>
                  </a:lnTo>
                  <a:lnTo>
                    <a:pt x="575" y="74"/>
                  </a:lnTo>
                  <a:lnTo>
                    <a:pt x="575" y="72"/>
                  </a:lnTo>
                  <a:lnTo>
                    <a:pt x="575" y="72"/>
                  </a:lnTo>
                  <a:lnTo>
                    <a:pt x="575" y="72"/>
                  </a:lnTo>
                  <a:lnTo>
                    <a:pt x="575" y="70"/>
                  </a:lnTo>
                  <a:lnTo>
                    <a:pt x="575" y="70"/>
                  </a:lnTo>
                  <a:lnTo>
                    <a:pt x="575" y="70"/>
                  </a:lnTo>
                  <a:lnTo>
                    <a:pt x="575" y="68"/>
                  </a:lnTo>
                  <a:lnTo>
                    <a:pt x="575" y="68"/>
                  </a:lnTo>
                  <a:lnTo>
                    <a:pt x="577" y="68"/>
                  </a:lnTo>
                  <a:lnTo>
                    <a:pt x="577" y="68"/>
                  </a:lnTo>
                  <a:lnTo>
                    <a:pt x="577" y="68"/>
                  </a:lnTo>
                  <a:lnTo>
                    <a:pt x="577" y="68"/>
                  </a:lnTo>
                  <a:lnTo>
                    <a:pt x="577" y="66"/>
                  </a:lnTo>
                  <a:lnTo>
                    <a:pt x="577" y="66"/>
                  </a:lnTo>
                  <a:lnTo>
                    <a:pt x="577" y="64"/>
                  </a:lnTo>
                  <a:lnTo>
                    <a:pt x="577" y="62"/>
                  </a:lnTo>
                  <a:lnTo>
                    <a:pt x="577" y="62"/>
                  </a:lnTo>
                  <a:lnTo>
                    <a:pt x="575" y="60"/>
                  </a:lnTo>
                  <a:lnTo>
                    <a:pt x="575" y="60"/>
                  </a:lnTo>
                  <a:lnTo>
                    <a:pt x="573" y="55"/>
                  </a:lnTo>
                  <a:lnTo>
                    <a:pt x="573" y="55"/>
                  </a:lnTo>
                  <a:lnTo>
                    <a:pt x="573" y="55"/>
                  </a:lnTo>
                  <a:lnTo>
                    <a:pt x="573" y="53"/>
                  </a:lnTo>
                  <a:lnTo>
                    <a:pt x="573" y="51"/>
                  </a:lnTo>
                  <a:lnTo>
                    <a:pt x="573" y="49"/>
                  </a:lnTo>
                  <a:lnTo>
                    <a:pt x="573" y="49"/>
                  </a:lnTo>
                  <a:lnTo>
                    <a:pt x="571" y="49"/>
                  </a:lnTo>
                  <a:lnTo>
                    <a:pt x="569" y="45"/>
                  </a:lnTo>
                  <a:lnTo>
                    <a:pt x="569" y="43"/>
                  </a:lnTo>
                  <a:lnTo>
                    <a:pt x="561" y="39"/>
                  </a:lnTo>
                  <a:lnTo>
                    <a:pt x="559" y="37"/>
                  </a:lnTo>
                  <a:lnTo>
                    <a:pt x="555" y="37"/>
                  </a:lnTo>
                  <a:lnTo>
                    <a:pt x="551" y="35"/>
                  </a:lnTo>
                  <a:lnTo>
                    <a:pt x="547" y="31"/>
                  </a:lnTo>
                  <a:lnTo>
                    <a:pt x="545" y="25"/>
                  </a:lnTo>
                  <a:lnTo>
                    <a:pt x="542" y="23"/>
                  </a:lnTo>
                  <a:lnTo>
                    <a:pt x="542" y="21"/>
                  </a:lnTo>
                  <a:lnTo>
                    <a:pt x="542" y="19"/>
                  </a:lnTo>
                  <a:lnTo>
                    <a:pt x="540" y="19"/>
                  </a:lnTo>
                  <a:lnTo>
                    <a:pt x="538" y="19"/>
                  </a:lnTo>
                  <a:lnTo>
                    <a:pt x="534" y="23"/>
                  </a:lnTo>
                  <a:lnTo>
                    <a:pt x="532" y="23"/>
                  </a:lnTo>
                  <a:lnTo>
                    <a:pt x="530" y="25"/>
                  </a:lnTo>
                  <a:lnTo>
                    <a:pt x="530" y="25"/>
                  </a:lnTo>
                  <a:lnTo>
                    <a:pt x="528" y="27"/>
                  </a:lnTo>
                  <a:lnTo>
                    <a:pt x="528" y="29"/>
                  </a:lnTo>
                  <a:lnTo>
                    <a:pt x="526" y="29"/>
                  </a:lnTo>
                  <a:lnTo>
                    <a:pt x="524" y="31"/>
                  </a:lnTo>
                  <a:lnTo>
                    <a:pt x="524" y="31"/>
                  </a:lnTo>
                  <a:lnTo>
                    <a:pt x="524" y="33"/>
                  </a:lnTo>
                  <a:lnTo>
                    <a:pt x="524" y="35"/>
                  </a:lnTo>
                  <a:lnTo>
                    <a:pt x="522" y="35"/>
                  </a:lnTo>
                  <a:lnTo>
                    <a:pt x="520" y="37"/>
                  </a:lnTo>
                  <a:lnTo>
                    <a:pt x="516" y="35"/>
                  </a:lnTo>
                  <a:lnTo>
                    <a:pt x="514" y="37"/>
                  </a:lnTo>
                  <a:lnTo>
                    <a:pt x="514" y="37"/>
                  </a:lnTo>
                  <a:lnTo>
                    <a:pt x="512" y="39"/>
                  </a:lnTo>
                  <a:lnTo>
                    <a:pt x="510" y="39"/>
                  </a:lnTo>
                  <a:lnTo>
                    <a:pt x="508" y="39"/>
                  </a:lnTo>
                  <a:lnTo>
                    <a:pt x="508" y="39"/>
                  </a:lnTo>
                  <a:lnTo>
                    <a:pt x="506" y="35"/>
                  </a:lnTo>
                  <a:lnTo>
                    <a:pt x="504" y="35"/>
                  </a:lnTo>
                  <a:lnTo>
                    <a:pt x="504" y="35"/>
                  </a:lnTo>
                  <a:lnTo>
                    <a:pt x="499" y="33"/>
                  </a:lnTo>
                  <a:lnTo>
                    <a:pt x="499" y="33"/>
                  </a:lnTo>
                  <a:lnTo>
                    <a:pt x="495" y="33"/>
                  </a:lnTo>
                  <a:lnTo>
                    <a:pt x="495" y="33"/>
                  </a:lnTo>
                  <a:lnTo>
                    <a:pt x="493" y="33"/>
                  </a:lnTo>
                  <a:lnTo>
                    <a:pt x="491" y="31"/>
                  </a:lnTo>
                  <a:lnTo>
                    <a:pt x="489" y="31"/>
                  </a:lnTo>
                  <a:lnTo>
                    <a:pt x="489" y="31"/>
                  </a:lnTo>
                  <a:lnTo>
                    <a:pt x="483" y="35"/>
                  </a:lnTo>
                  <a:lnTo>
                    <a:pt x="481" y="35"/>
                  </a:lnTo>
                  <a:lnTo>
                    <a:pt x="481" y="37"/>
                  </a:lnTo>
                  <a:lnTo>
                    <a:pt x="481" y="39"/>
                  </a:lnTo>
                  <a:lnTo>
                    <a:pt x="479" y="41"/>
                  </a:lnTo>
                  <a:lnTo>
                    <a:pt x="479" y="41"/>
                  </a:lnTo>
                  <a:lnTo>
                    <a:pt x="475" y="41"/>
                  </a:lnTo>
                  <a:lnTo>
                    <a:pt x="471" y="39"/>
                  </a:lnTo>
                  <a:lnTo>
                    <a:pt x="465" y="35"/>
                  </a:lnTo>
                  <a:lnTo>
                    <a:pt x="463" y="33"/>
                  </a:lnTo>
                  <a:lnTo>
                    <a:pt x="461" y="31"/>
                  </a:lnTo>
                  <a:lnTo>
                    <a:pt x="461" y="29"/>
                  </a:lnTo>
                  <a:lnTo>
                    <a:pt x="456" y="29"/>
                  </a:lnTo>
                  <a:lnTo>
                    <a:pt x="452" y="29"/>
                  </a:lnTo>
                  <a:lnTo>
                    <a:pt x="450" y="29"/>
                  </a:lnTo>
                  <a:lnTo>
                    <a:pt x="442" y="31"/>
                  </a:lnTo>
                  <a:lnTo>
                    <a:pt x="440" y="31"/>
                  </a:lnTo>
                  <a:lnTo>
                    <a:pt x="432" y="29"/>
                  </a:lnTo>
                  <a:lnTo>
                    <a:pt x="430" y="27"/>
                  </a:lnTo>
                  <a:lnTo>
                    <a:pt x="428" y="25"/>
                  </a:lnTo>
                  <a:lnTo>
                    <a:pt x="428" y="23"/>
                  </a:lnTo>
                  <a:lnTo>
                    <a:pt x="428" y="21"/>
                  </a:lnTo>
                  <a:lnTo>
                    <a:pt x="426" y="19"/>
                  </a:lnTo>
                  <a:lnTo>
                    <a:pt x="426" y="19"/>
                  </a:lnTo>
                  <a:lnTo>
                    <a:pt x="424" y="17"/>
                  </a:lnTo>
                  <a:lnTo>
                    <a:pt x="424" y="17"/>
                  </a:lnTo>
                  <a:lnTo>
                    <a:pt x="422" y="14"/>
                  </a:lnTo>
                  <a:lnTo>
                    <a:pt x="422" y="12"/>
                  </a:lnTo>
                  <a:lnTo>
                    <a:pt x="420" y="12"/>
                  </a:lnTo>
                  <a:lnTo>
                    <a:pt x="420" y="10"/>
                  </a:lnTo>
                  <a:lnTo>
                    <a:pt x="420" y="8"/>
                  </a:lnTo>
                  <a:lnTo>
                    <a:pt x="418" y="6"/>
                  </a:lnTo>
                  <a:lnTo>
                    <a:pt x="413" y="6"/>
                  </a:lnTo>
                  <a:lnTo>
                    <a:pt x="411" y="4"/>
                  </a:lnTo>
                  <a:lnTo>
                    <a:pt x="409" y="4"/>
                  </a:lnTo>
                  <a:lnTo>
                    <a:pt x="409" y="4"/>
                  </a:lnTo>
                  <a:lnTo>
                    <a:pt x="407" y="2"/>
                  </a:lnTo>
                  <a:lnTo>
                    <a:pt x="405" y="0"/>
                  </a:lnTo>
                  <a:lnTo>
                    <a:pt x="403" y="0"/>
                  </a:lnTo>
                  <a:lnTo>
                    <a:pt x="401" y="0"/>
                  </a:lnTo>
                  <a:lnTo>
                    <a:pt x="393" y="6"/>
                  </a:lnTo>
                  <a:lnTo>
                    <a:pt x="391" y="6"/>
                  </a:lnTo>
                  <a:lnTo>
                    <a:pt x="385" y="2"/>
                  </a:lnTo>
                  <a:lnTo>
                    <a:pt x="385" y="2"/>
                  </a:lnTo>
                  <a:lnTo>
                    <a:pt x="383" y="0"/>
                  </a:lnTo>
                  <a:lnTo>
                    <a:pt x="383" y="0"/>
                  </a:lnTo>
                  <a:lnTo>
                    <a:pt x="381" y="0"/>
                  </a:lnTo>
                  <a:lnTo>
                    <a:pt x="381" y="0"/>
                  </a:lnTo>
                  <a:lnTo>
                    <a:pt x="379" y="0"/>
                  </a:lnTo>
                  <a:lnTo>
                    <a:pt x="379" y="2"/>
                  </a:lnTo>
                  <a:lnTo>
                    <a:pt x="375" y="6"/>
                  </a:lnTo>
                  <a:lnTo>
                    <a:pt x="372" y="6"/>
                  </a:lnTo>
                  <a:lnTo>
                    <a:pt x="370" y="10"/>
                  </a:lnTo>
                  <a:lnTo>
                    <a:pt x="370" y="12"/>
                  </a:lnTo>
                  <a:lnTo>
                    <a:pt x="375" y="14"/>
                  </a:lnTo>
                  <a:lnTo>
                    <a:pt x="375" y="17"/>
                  </a:lnTo>
                  <a:lnTo>
                    <a:pt x="377" y="19"/>
                  </a:lnTo>
                  <a:lnTo>
                    <a:pt x="375" y="21"/>
                  </a:lnTo>
                  <a:lnTo>
                    <a:pt x="372" y="25"/>
                  </a:lnTo>
                  <a:lnTo>
                    <a:pt x="372" y="25"/>
                  </a:lnTo>
                  <a:lnTo>
                    <a:pt x="372" y="27"/>
                  </a:lnTo>
                  <a:lnTo>
                    <a:pt x="375" y="27"/>
                  </a:lnTo>
                  <a:lnTo>
                    <a:pt x="379" y="27"/>
                  </a:lnTo>
                  <a:lnTo>
                    <a:pt x="381" y="27"/>
                  </a:lnTo>
                  <a:lnTo>
                    <a:pt x="381" y="29"/>
                  </a:lnTo>
                  <a:lnTo>
                    <a:pt x="379" y="31"/>
                  </a:lnTo>
                  <a:lnTo>
                    <a:pt x="379" y="31"/>
                  </a:lnTo>
                  <a:lnTo>
                    <a:pt x="379" y="35"/>
                  </a:lnTo>
                  <a:lnTo>
                    <a:pt x="381" y="37"/>
                  </a:lnTo>
                  <a:lnTo>
                    <a:pt x="379" y="39"/>
                  </a:lnTo>
                  <a:lnTo>
                    <a:pt x="372" y="39"/>
                  </a:lnTo>
                  <a:lnTo>
                    <a:pt x="368" y="39"/>
                  </a:lnTo>
                  <a:lnTo>
                    <a:pt x="364" y="41"/>
                  </a:lnTo>
                  <a:lnTo>
                    <a:pt x="352" y="51"/>
                  </a:lnTo>
                  <a:lnTo>
                    <a:pt x="350" y="53"/>
                  </a:lnTo>
                  <a:lnTo>
                    <a:pt x="348" y="51"/>
                  </a:lnTo>
                  <a:lnTo>
                    <a:pt x="344" y="49"/>
                  </a:lnTo>
                  <a:lnTo>
                    <a:pt x="342" y="47"/>
                  </a:lnTo>
                  <a:lnTo>
                    <a:pt x="338" y="49"/>
                  </a:lnTo>
                  <a:lnTo>
                    <a:pt x="327" y="51"/>
                  </a:lnTo>
                  <a:lnTo>
                    <a:pt x="325" y="51"/>
                  </a:lnTo>
                  <a:lnTo>
                    <a:pt x="327" y="53"/>
                  </a:lnTo>
                  <a:lnTo>
                    <a:pt x="327" y="55"/>
                  </a:lnTo>
                  <a:lnTo>
                    <a:pt x="327" y="58"/>
                  </a:lnTo>
                  <a:lnTo>
                    <a:pt x="329" y="64"/>
                  </a:lnTo>
                  <a:lnTo>
                    <a:pt x="332" y="68"/>
                  </a:lnTo>
                  <a:lnTo>
                    <a:pt x="332" y="70"/>
                  </a:lnTo>
                  <a:lnTo>
                    <a:pt x="332" y="72"/>
                  </a:lnTo>
                  <a:lnTo>
                    <a:pt x="327" y="76"/>
                  </a:lnTo>
                  <a:lnTo>
                    <a:pt x="325" y="78"/>
                  </a:lnTo>
                  <a:lnTo>
                    <a:pt x="325" y="80"/>
                  </a:lnTo>
                  <a:lnTo>
                    <a:pt x="323" y="80"/>
                  </a:lnTo>
                  <a:lnTo>
                    <a:pt x="321" y="82"/>
                  </a:lnTo>
                  <a:lnTo>
                    <a:pt x="319" y="82"/>
                  </a:lnTo>
                  <a:lnTo>
                    <a:pt x="317" y="84"/>
                  </a:lnTo>
                  <a:lnTo>
                    <a:pt x="315" y="94"/>
                  </a:lnTo>
                  <a:lnTo>
                    <a:pt x="315" y="99"/>
                  </a:lnTo>
                  <a:lnTo>
                    <a:pt x="311" y="101"/>
                  </a:lnTo>
                  <a:lnTo>
                    <a:pt x="311" y="103"/>
                  </a:lnTo>
                  <a:lnTo>
                    <a:pt x="307" y="105"/>
                  </a:lnTo>
                  <a:lnTo>
                    <a:pt x="307" y="105"/>
                  </a:lnTo>
                  <a:lnTo>
                    <a:pt x="305" y="103"/>
                  </a:lnTo>
                  <a:lnTo>
                    <a:pt x="305" y="103"/>
                  </a:lnTo>
                  <a:lnTo>
                    <a:pt x="305" y="103"/>
                  </a:lnTo>
                  <a:lnTo>
                    <a:pt x="303" y="103"/>
                  </a:lnTo>
                  <a:lnTo>
                    <a:pt x="301" y="103"/>
                  </a:lnTo>
                  <a:lnTo>
                    <a:pt x="301" y="105"/>
                  </a:lnTo>
                  <a:lnTo>
                    <a:pt x="299" y="109"/>
                  </a:lnTo>
                  <a:lnTo>
                    <a:pt x="299" y="109"/>
                  </a:lnTo>
                  <a:lnTo>
                    <a:pt x="297" y="111"/>
                  </a:lnTo>
                  <a:lnTo>
                    <a:pt x="297" y="113"/>
                  </a:lnTo>
                  <a:lnTo>
                    <a:pt x="297" y="115"/>
                  </a:lnTo>
                  <a:lnTo>
                    <a:pt x="297" y="117"/>
                  </a:lnTo>
                  <a:lnTo>
                    <a:pt x="297" y="127"/>
                  </a:lnTo>
                  <a:lnTo>
                    <a:pt x="297" y="131"/>
                  </a:lnTo>
                  <a:lnTo>
                    <a:pt x="295" y="131"/>
                  </a:lnTo>
                  <a:lnTo>
                    <a:pt x="295" y="133"/>
                  </a:lnTo>
                  <a:lnTo>
                    <a:pt x="295" y="133"/>
                  </a:lnTo>
                  <a:lnTo>
                    <a:pt x="293" y="133"/>
                  </a:lnTo>
                  <a:lnTo>
                    <a:pt x="289" y="135"/>
                  </a:lnTo>
                  <a:lnTo>
                    <a:pt x="289" y="135"/>
                  </a:lnTo>
                  <a:lnTo>
                    <a:pt x="286" y="137"/>
                  </a:lnTo>
                  <a:lnTo>
                    <a:pt x="286" y="139"/>
                  </a:lnTo>
                  <a:lnTo>
                    <a:pt x="284" y="137"/>
                  </a:lnTo>
                  <a:lnTo>
                    <a:pt x="280" y="135"/>
                  </a:lnTo>
                  <a:lnTo>
                    <a:pt x="278" y="135"/>
                  </a:lnTo>
                  <a:lnTo>
                    <a:pt x="274" y="135"/>
                  </a:lnTo>
                  <a:lnTo>
                    <a:pt x="272" y="133"/>
                  </a:lnTo>
                  <a:lnTo>
                    <a:pt x="270" y="133"/>
                  </a:lnTo>
                  <a:lnTo>
                    <a:pt x="268" y="131"/>
                  </a:lnTo>
                  <a:lnTo>
                    <a:pt x="266" y="131"/>
                  </a:lnTo>
                  <a:lnTo>
                    <a:pt x="264" y="129"/>
                  </a:lnTo>
                  <a:lnTo>
                    <a:pt x="264" y="127"/>
                  </a:lnTo>
                  <a:lnTo>
                    <a:pt x="264" y="123"/>
                  </a:lnTo>
                  <a:lnTo>
                    <a:pt x="264" y="121"/>
                  </a:lnTo>
                  <a:lnTo>
                    <a:pt x="258" y="119"/>
                  </a:lnTo>
                  <a:lnTo>
                    <a:pt x="258" y="119"/>
                  </a:lnTo>
                  <a:lnTo>
                    <a:pt x="256" y="119"/>
                  </a:lnTo>
                  <a:lnTo>
                    <a:pt x="254" y="119"/>
                  </a:lnTo>
                  <a:lnTo>
                    <a:pt x="256" y="121"/>
                  </a:lnTo>
                  <a:lnTo>
                    <a:pt x="258" y="123"/>
                  </a:lnTo>
                  <a:lnTo>
                    <a:pt x="260" y="123"/>
                  </a:lnTo>
                  <a:lnTo>
                    <a:pt x="260" y="123"/>
                  </a:lnTo>
                  <a:lnTo>
                    <a:pt x="258" y="125"/>
                  </a:lnTo>
                  <a:lnTo>
                    <a:pt x="256" y="127"/>
                  </a:lnTo>
                  <a:lnTo>
                    <a:pt x="254" y="127"/>
                  </a:lnTo>
                  <a:lnTo>
                    <a:pt x="252" y="127"/>
                  </a:lnTo>
                  <a:lnTo>
                    <a:pt x="252" y="127"/>
                  </a:lnTo>
                  <a:lnTo>
                    <a:pt x="252" y="125"/>
                  </a:lnTo>
                  <a:lnTo>
                    <a:pt x="250" y="125"/>
                  </a:lnTo>
                  <a:lnTo>
                    <a:pt x="250" y="125"/>
                  </a:lnTo>
                  <a:lnTo>
                    <a:pt x="250" y="127"/>
                  </a:lnTo>
                  <a:lnTo>
                    <a:pt x="250" y="127"/>
                  </a:lnTo>
                  <a:lnTo>
                    <a:pt x="252" y="129"/>
                  </a:lnTo>
                  <a:lnTo>
                    <a:pt x="252" y="131"/>
                  </a:lnTo>
                  <a:lnTo>
                    <a:pt x="252" y="133"/>
                  </a:lnTo>
                  <a:lnTo>
                    <a:pt x="250" y="133"/>
                  </a:lnTo>
                  <a:lnTo>
                    <a:pt x="248" y="135"/>
                  </a:lnTo>
                  <a:lnTo>
                    <a:pt x="245" y="135"/>
                  </a:lnTo>
                  <a:lnTo>
                    <a:pt x="245" y="137"/>
                  </a:lnTo>
                  <a:lnTo>
                    <a:pt x="245" y="139"/>
                  </a:lnTo>
                  <a:lnTo>
                    <a:pt x="245" y="146"/>
                  </a:lnTo>
                  <a:lnTo>
                    <a:pt x="245" y="148"/>
                  </a:lnTo>
                  <a:lnTo>
                    <a:pt x="245" y="148"/>
                  </a:lnTo>
                  <a:lnTo>
                    <a:pt x="241" y="150"/>
                  </a:lnTo>
                  <a:lnTo>
                    <a:pt x="241" y="152"/>
                  </a:lnTo>
                  <a:lnTo>
                    <a:pt x="241" y="154"/>
                  </a:lnTo>
                  <a:lnTo>
                    <a:pt x="241" y="156"/>
                  </a:lnTo>
                  <a:lnTo>
                    <a:pt x="239" y="158"/>
                  </a:lnTo>
                  <a:lnTo>
                    <a:pt x="237" y="158"/>
                  </a:lnTo>
                  <a:lnTo>
                    <a:pt x="235" y="156"/>
                  </a:lnTo>
                  <a:lnTo>
                    <a:pt x="235" y="156"/>
                  </a:lnTo>
                  <a:lnTo>
                    <a:pt x="237" y="152"/>
                  </a:lnTo>
                  <a:lnTo>
                    <a:pt x="235" y="152"/>
                  </a:lnTo>
                  <a:lnTo>
                    <a:pt x="231" y="154"/>
                  </a:lnTo>
                  <a:lnTo>
                    <a:pt x="229" y="154"/>
                  </a:lnTo>
                  <a:lnTo>
                    <a:pt x="225" y="152"/>
                  </a:lnTo>
                  <a:lnTo>
                    <a:pt x="223" y="150"/>
                  </a:lnTo>
                  <a:lnTo>
                    <a:pt x="223" y="146"/>
                  </a:lnTo>
                  <a:lnTo>
                    <a:pt x="221" y="144"/>
                  </a:lnTo>
                  <a:lnTo>
                    <a:pt x="217" y="146"/>
                  </a:lnTo>
                  <a:lnTo>
                    <a:pt x="215" y="150"/>
                  </a:lnTo>
                  <a:lnTo>
                    <a:pt x="213" y="152"/>
                  </a:lnTo>
                  <a:lnTo>
                    <a:pt x="213" y="152"/>
                  </a:lnTo>
                  <a:lnTo>
                    <a:pt x="207" y="152"/>
                  </a:lnTo>
                  <a:lnTo>
                    <a:pt x="205" y="154"/>
                  </a:lnTo>
                  <a:lnTo>
                    <a:pt x="205" y="154"/>
                  </a:lnTo>
                  <a:lnTo>
                    <a:pt x="205" y="156"/>
                  </a:lnTo>
                  <a:lnTo>
                    <a:pt x="202" y="158"/>
                  </a:lnTo>
                  <a:lnTo>
                    <a:pt x="200" y="164"/>
                  </a:lnTo>
                  <a:lnTo>
                    <a:pt x="200" y="168"/>
                  </a:lnTo>
                  <a:lnTo>
                    <a:pt x="198" y="170"/>
                  </a:lnTo>
                  <a:lnTo>
                    <a:pt x="196" y="168"/>
                  </a:lnTo>
                  <a:lnTo>
                    <a:pt x="196" y="168"/>
                  </a:lnTo>
                  <a:lnTo>
                    <a:pt x="194" y="166"/>
                  </a:lnTo>
                  <a:lnTo>
                    <a:pt x="194" y="166"/>
                  </a:lnTo>
                  <a:lnTo>
                    <a:pt x="194" y="164"/>
                  </a:lnTo>
                  <a:lnTo>
                    <a:pt x="192" y="164"/>
                  </a:lnTo>
                  <a:lnTo>
                    <a:pt x="192" y="164"/>
                  </a:lnTo>
                  <a:lnTo>
                    <a:pt x="190" y="164"/>
                  </a:lnTo>
                  <a:lnTo>
                    <a:pt x="188" y="164"/>
                  </a:lnTo>
                  <a:lnTo>
                    <a:pt x="188" y="162"/>
                  </a:lnTo>
                  <a:lnTo>
                    <a:pt x="184" y="162"/>
                  </a:lnTo>
                  <a:lnTo>
                    <a:pt x="178" y="160"/>
                  </a:lnTo>
                  <a:lnTo>
                    <a:pt x="178" y="158"/>
                  </a:lnTo>
                  <a:lnTo>
                    <a:pt x="176" y="158"/>
                  </a:lnTo>
                  <a:lnTo>
                    <a:pt x="174" y="156"/>
                  </a:lnTo>
                  <a:lnTo>
                    <a:pt x="172" y="156"/>
                  </a:lnTo>
                  <a:lnTo>
                    <a:pt x="170" y="156"/>
                  </a:lnTo>
                  <a:lnTo>
                    <a:pt x="166" y="158"/>
                  </a:lnTo>
                  <a:lnTo>
                    <a:pt x="164" y="160"/>
                  </a:lnTo>
                  <a:lnTo>
                    <a:pt x="159" y="160"/>
                  </a:lnTo>
                  <a:lnTo>
                    <a:pt x="155" y="158"/>
                  </a:lnTo>
                  <a:lnTo>
                    <a:pt x="155" y="156"/>
                  </a:lnTo>
                  <a:lnTo>
                    <a:pt x="155" y="156"/>
                  </a:lnTo>
                  <a:lnTo>
                    <a:pt x="155" y="154"/>
                  </a:lnTo>
                  <a:lnTo>
                    <a:pt x="153" y="154"/>
                  </a:lnTo>
                  <a:lnTo>
                    <a:pt x="153" y="154"/>
                  </a:lnTo>
                  <a:lnTo>
                    <a:pt x="153" y="156"/>
                  </a:lnTo>
                  <a:lnTo>
                    <a:pt x="153" y="156"/>
                  </a:lnTo>
                  <a:lnTo>
                    <a:pt x="153" y="158"/>
                  </a:lnTo>
                  <a:lnTo>
                    <a:pt x="155" y="162"/>
                  </a:lnTo>
                  <a:lnTo>
                    <a:pt x="155" y="164"/>
                  </a:lnTo>
                  <a:lnTo>
                    <a:pt x="155" y="166"/>
                  </a:lnTo>
                  <a:lnTo>
                    <a:pt x="153" y="170"/>
                  </a:lnTo>
                  <a:lnTo>
                    <a:pt x="151" y="170"/>
                  </a:lnTo>
                  <a:lnTo>
                    <a:pt x="149" y="170"/>
                  </a:lnTo>
                  <a:lnTo>
                    <a:pt x="149" y="168"/>
                  </a:lnTo>
                  <a:lnTo>
                    <a:pt x="149" y="164"/>
                  </a:lnTo>
                  <a:lnTo>
                    <a:pt x="149" y="164"/>
                  </a:lnTo>
                  <a:lnTo>
                    <a:pt x="147" y="162"/>
                  </a:lnTo>
                  <a:lnTo>
                    <a:pt x="147" y="162"/>
                  </a:lnTo>
                  <a:lnTo>
                    <a:pt x="145" y="164"/>
                  </a:lnTo>
                  <a:lnTo>
                    <a:pt x="145" y="164"/>
                  </a:lnTo>
                  <a:lnTo>
                    <a:pt x="143" y="164"/>
                  </a:lnTo>
                  <a:lnTo>
                    <a:pt x="141" y="166"/>
                  </a:lnTo>
                  <a:lnTo>
                    <a:pt x="139" y="166"/>
                  </a:lnTo>
                  <a:lnTo>
                    <a:pt x="137" y="166"/>
                  </a:lnTo>
                  <a:lnTo>
                    <a:pt x="135" y="166"/>
                  </a:lnTo>
                  <a:lnTo>
                    <a:pt x="133" y="164"/>
                  </a:lnTo>
                  <a:lnTo>
                    <a:pt x="133" y="164"/>
                  </a:lnTo>
                  <a:lnTo>
                    <a:pt x="131" y="162"/>
                  </a:lnTo>
                  <a:lnTo>
                    <a:pt x="129" y="162"/>
                  </a:lnTo>
                  <a:lnTo>
                    <a:pt x="127" y="162"/>
                  </a:lnTo>
                  <a:lnTo>
                    <a:pt x="127" y="166"/>
                  </a:lnTo>
                  <a:lnTo>
                    <a:pt x="127" y="166"/>
                  </a:lnTo>
                  <a:lnTo>
                    <a:pt x="131" y="172"/>
                  </a:lnTo>
                  <a:lnTo>
                    <a:pt x="127" y="178"/>
                  </a:lnTo>
                  <a:lnTo>
                    <a:pt x="127" y="178"/>
                  </a:lnTo>
                  <a:lnTo>
                    <a:pt x="125" y="178"/>
                  </a:lnTo>
                  <a:lnTo>
                    <a:pt x="123" y="176"/>
                  </a:lnTo>
                  <a:lnTo>
                    <a:pt x="121" y="176"/>
                  </a:lnTo>
                  <a:lnTo>
                    <a:pt x="119" y="176"/>
                  </a:lnTo>
                  <a:lnTo>
                    <a:pt x="119" y="178"/>
                  </a:lnTo>
                  <a:lnTo>
                    <a:pt x="119" y="180"/>
                  </a:lnTo>
                  <a:lnTo>
                    <a:pt x="119" y="183"/>
                  </a:lnTo>
                  <a:lnTo>
                    <a:pt x="116" y="185"/>
                  </a:lnTo>
                  <a:lnTo>
                    <a:pt x="112" y="189"/>
                  </a:lnTo>
                  <a:lnTo>
                    <a:pt x="110" y="191"/>
                  </a:lnTo>
                  <a:lnTo>
                    <a:pt x="110" y="193"/>
                  </a:lnTo>
                  <a:lnTo>
                    <a:pt x="110" y="195"/>
                  </a:lnTo>
                  <a:lnTo>
                    <a:pt x="110" y="197"/>
                  </a:lnTo>
                  <a:lnTo>
                    <a:pt x="112" y="201"/>
                  </a:lnTo>
                  <a:lnTo>
                    <a:pt x="112" y="201"/>
                  </a:lnTo>
                  <a:lnTo>
                    <a:pt x="116" y="203"/>
                  </a:lnTo>
                  <a:lnTo>
                    <a:pt x="119" y="207"/>
                  </a:lnTo>
                  <a:lnTo>
                    <a:pt x="119" y="211"/>
                  </a:lnTo>
                  <a:lnTo>
                    <a:pt x="114" y="213"/>
                  </a:lnTo>
                  <a:lnTo>
                    <a:pt x="100" y="217"/>
                  </a:lnTo>
                  <a:lnTo>
                    <a:pt x="96" y="221"/>
                  </a:lnTo>
                  <a:lnTo>
                    <a:pt x="94" y="221"/>
                  </a:lnTo>
                  <a:lnTo>
                    <a:pt x="90" y="221"/>
                  </a:lnTo>
                  <a:lnTo>
                    <a:pt x="88" y="221"/>
                  </a:lnTo>
                  <a:lnTo>
                    <a:pt x="86" y="224"/>
                  </a:lnTo>
                  <a:lnTo>
                    <a:pt x="86" y="224"/>
                  </a:lnTo>
                  <a:lnTo>
                    <a:pt x="86" y="226"/>
                  </a:lnTo>
                  <a:lnTo>
                    <a:pt x="84" y="230"/>
                  </a:lnTo>
                  <a:lnTo>
                    <a:pt x="84" y="234"/>
                  </a:lnTo>
                  <a:lnTo>
                    <a:pt x="86" y="238"/>
                  </a:lnTo>
                  <a:lnTo>
                    <a:pt x="88" y="242"/>
                  </a:lnTo>
                  <a:lnTo>
                    <a:pt x="90" y="246"/>
                  </a:lnTo>
                  <a:lnTo>
                    <a:pt x="92" y="248"/>
                  </a:lnTo>
                  <a:lnTo>
                    <a:pt x="92" y="252"/>
                  </a:lnTo>
                  <a:lnTo>
                    <a:pt x="92" y="256"/>
                  </a:lnTo>
                  <a:lnTo>
                    <a:pt x="90" y="258"/>
                  </a:lnTo>
                  <a:lnTo>
                    <a:pt x="86" y="260"/>
                  </a:lnTo>
                  <a:lnTo>
                    <a:pt x="82" y="258"/>
                  </a:lnTo>
                  <a:lnTo>
                    <a:pt x="76" y="256"/>
                  </a:lnTo>
                  <a:lnTo>
                    <a:pt x="51" y="246"/>
                  </a:lnTo>
                  <a:lnTo>
                    <a:pt x="47" y="246"/>
                  </a:lnTo>
                  <a:lnTo>
                    <a:pt x="43" y="248"/>
                  </a:lnTo>
                  <a:lnTo>
                    <a:pt x="39" y="250"/>
                  </a:lnTo>
                  <a:lnTo>
                    <a:pt x="37" y="252"/>
                  </a:lnTo>
                  <a:lnTo>
                    <a:pt x="37" y="254"/>
                  </a:lnTo>
                  <a:lnTo>
                    <a:pt x="32" y="258"/>
                  </a:lnTo>
                  <a:lnTo>
                    <a:pt x="30" y="262"/>
                  </a:lnTo>
                  <a:lnTo>
                    <a:pt x="28" y="267"/>
                  </a:lnTo>
                  <a:lnTo>
                    <a:pt x="30" y="269"/>
                  </a:lnTo>
                  <a:lnTo>
                    <a:pt x="30" y="271"/>
                  </a:lnTo>
                  <a:lnTo>
                    <a:pt x="35" y="275"/>
                  </a:lnTo>
                  <a:lnTo>
                    <a:pt x="35" y="277"/>
                  </a:lnTo>
                  <a:lnTo>
                    <a:pt x="35" y="281"/>
                  </a:lnTo>
                  <a:lnTo>
                    <a:pt x="37" y="285"/>
                  </a:lnTo>
                  <a:lnTo>
                    <a:pt x="37" y="285"/>
                  </a:lnTo>
                  <a:lnTo>
                    <a:pt x="35" y="287"/>
                  </a:lnTo>
                  <a:lnTo>
                    <a:pt x="35" y="287"/>
                  </a:lnTo>
                  <a:lnTo>
                    <a:pt x="35" y="289"/>
                  </a:lnTo>
                  <a:lnTo>
                    <a:pt x="35" y="289"/>
                  </a:lnTo>
                  <a:lnTo>
                    <a:pt x="35" y="291"/>
                  </a:lnTo>
                  <a:lnTo>
                    <a:pt x="37" y="295"/>
                  </a:lnTo>
                  <a:lnTo>
                    <a:pt x="37" y="297"/>
                  </a:lnTo>
                  <a:lnTo>
                    <a:pt x="37" y="301"/>
                  </a:lnTo>
                  <a:lnTo>
                    <a:pt x="32" y="310"/>
                  </a:lnTo>
                  <a:lnTo>
                    <a:pt x="32" y="316"/>
                  </a:lnTo>
                  <a:lnTo>
                    <a:pt x="30" y="318"/>
                  </a:lnTo>
                  <a:lnTo>
                    <a:pt x="28" y="320"/>
                  </a:lnTo>
                  <a:lnTo>
                    <a:pt x="24" y="318"/>
                  </a:lnTo>
                  <a:lnTo>
                    <a:pt x="22" y="318"/>
                  </a:lnTo>
                  <a:lnTo>
                    <a:pt x="20" y="314"/>
                  </a:lnTo>
                  <a:lnTo>
                    <a:pt x="18" y="314"/>
                  </a:lnTo>
                  <a:lnTo>
                    <a:pt x="16" y="314"/>
                  </a:lnTo>
                  <a:lnTo>
                    <a:pt x="16" y="314"/>
                  </a:lnTo>
                  <a:lnTo>
                    <a:pt x="16" y="316"/>
                  </a:lnTo>
                  <a:lnTo>
                    <a:pt x="14" y="320"/>
                  </a:lnTo>
                  <a:lnTo>
                    <a:pt x="14" y="322"/>
                  </a:lnTo>
                  <a:lnTo>
                    <a:pt x="14" y="328"/>
                  </a:lnTo>
                  <a:lnTo>
                    <a:pt x="14" y="328"/>
                  </a:lnTo>
                  <a:lnTo>
                    <a:pt x="28" y="326"/>
                  </a:lnTo>
                  <a:lnTo>
                    <a:pt x="43" y="326"/>
                  </a:lnTo>
                  <a:lnTo>
                    <a:pt x="59" y="324"/>
                  </a:lnTo>
                  <a:lnTo>
                    <a:pt x="73" y="322"/>
                  </a:lnTo>
                  <a:lnTo>
                    <a:pt x="88" y="322"/>
                  </a:lnTo>
                  <a:lnTo>
                    <a:pt x="104" y="320"/>
                  </a:lnTo>
                  <a:lnTo>
                    <a:pt x="119" y="318"/>
                  </a:lnTo>
                  <a:lnTo>
                    <a:pt x="133" y="316"/>
                  </a:lnTo>
                  <a:lnTo>
                    <a:pt x="133" y="314"/>
                  </a:lnTo>
                  <a:lnTo>
                    <a:pt x="133" y="310"/>
                  </a:lnTo>
                  <a:lnTo>
                    <a:pt x="133" y="308"/>
                  </a:lnTo>
                  <a:lnTo>
                    <a:pt x="131" y="303"/>
                  </a:lnTo>
                  <a:lnTo>
                    <a:pt x="129" y="297"/>
                  </a:lnTo>
                  <a:lnTo>
                    <a:pt x="129" y="297"/>
                  </a:lnTo>
                  <a:lnTo>
                    <a:pt x="129" y="295"/>
                  </a:lnTo>
                  <a:lnTo>
                    <a:pt x="129" y="295"/>
                  </a:lnTo>
                  <a:lnTo>
                    <a:pt x="129" y="295"/>
                  </a:lnTo>
                  <a:lnTo>
                    <a:pt x="135" y="295"/>
                  </a:lnTo>
                  <a:lnTo>
                    <a:pt x="141" y="295"/>
                  </a:lnTo>
                  <a:lnTo>
                    <a:pt x="147" y="295"/>
                  </a:lnTo>
                  <a:lnTo>
                    <a:pt x="147" y="295"/>
                  </a:lnTo>
                  <a:lnTo>
                    <a:pt x="147" y="297"/>
                  </a:lnTo>
                  <a:lnTo>
                    <a:pt x="149" y="297"/>
                  </a:lnTo>
                  <a:lnTo>
                    <a:pt x="149" y="299"/>
                  </a:lnTo>
                  <a:lnTo>
                    <a:pt x="149" y="299"/>
                  </a:lnTo>
                  <a:lnTo>
                    <a:pt x="149" y="299"/>
                  </a:lnTo>
                  <a:lnTo>
                    <a:pt x="153" y="297"/>
                  </a:lnTo>
                  <a:lnTo>
                    <a:pt x="155" y="297"/>
                  </a:lnTo>
                  <a:lnTo>
                    <a:pt x="157" y="297"/>
                  </a:lnTo>
                  <a:lnTo>
                    <a:pt x="164" y="297"/>
                  </a:lnTo>
                  <a:lnTo>
                    <a:pt x="170" y="295"/>
                  </a:lnTo>
                  <a:lnTo>
                    <a:pt x="178" y="295"/>
                  </a:lnTo>
                  <a:lnTo>
                    <a:pt x="186" y="293"/>
                  </a:lnTo>
                  <a:lnTo>
                    <a:pt x="196" y="293"/>
                  </a:lnTo>
                  <a:lnTo>
                    <a:pt x="205" y="291"/>
                  </a:lnTo>
                  <a:lnTo>
                    <a:pt x="215" y="291"/>
                  </a:lnTo>
                  <a:lnTo>
                    <a:pt x="225" y="289"/>
                  </a:lnTo>
                  <a:lnTo>
                    <a:pt x="233" y="289"/>
                  </a:lnTo>
                  <a:lnTo>
                    <a:pt x="241" y="287"/>
                  </a:lnTo>
                  <a:lnTo>
                    <a:pt x="248" y="287"/>
                  </a:lnTo>
                  <a:lnTo>
                    <a:pt x="252" y="285"/>
                  </a:lnTo>
                  <a:lnTo>
                    <a:pt x="256" y="285"/>
                  </a:lnTo>
                  <a:lnTo>
                    <a:pt x="258" y="285"/>
                  </a:lnTo>
                  <a:lnTo>
                    <a:pt x="260" y="285"/>
                  </a:lnTo>
                  <a:lnTo>
                    <a:pt x="264" y="283"/>
                  </a:lnTo>
                  <a:lnTo>
                    <a:pt x="264" y="283"/>
                  </a:lnTo>
                  <a:lnTo>
                    <a:pt x="268" y="283"/>
                  </a:lnTo>
                  <a:lnTo>
                    <a:pt x="270" y="283"/>
                  </a:lnTo>
                  <a:lnTo>
                    <a:pt x="278" y="283"/>
                  </a:lnTo>
                  <a:lnTo>
                    <a:pt x="291" y="281"/>
                  </a:lnTo>
                  <a:lnTo>
                    <a:pt x="305" y="279"/>
                  </a:lnTo>
                  <a:lnTo>
                    <a:pt x="321" y="279"/>
                  </a:lnTo>
                  <a:lnTo>
                    <a:pt x="342" y="277"/>
                  </a:lnTo>
                  <a:lnTo>
                    <a:pt x="362" y="275"/>
                  </a:lnTo>
                  <a:lnTo>
                    <a:pt x="385" y="273"/>
                  </a:lnTo>
                  <a:lnTo>
                    <a:pt x="407" y="271"/>
                  </a:lnTo>
                  <a:lnTo>
                    <a:pt x="428" y="267"/>
                  </a:lnTo>
                  <a:lnTo>
                    <a:pt x="446" y="265"/>
                  </a:lnTo>
                  <a:lnTo>
                    <a:pt x="465" y="265"/>
                  </a:lnTo>
                  <a:lnTo>
                    <a:pt x="479" y="262"/>
                  </a:lnTo>
                  <a:lnTo>
                    <a:pt x="491" y="260"/>
                  </a:lnTo>
                  <a:lnTo>
                    <a:pt x="497" y="260"/>
                  </a:lnTo>
                  <a:lnTo>
                    <a:pt x="502" y="260"/>
                  </a:lnTo>
                  <a:lnTo>
                    <a:pt x="506" y="258"/>
                  </a:lnTo>
                  <a:lnTo>
                    <a:pt x="508" y="258"/>
                  </a:lnTo>
                  <a:lnTo>
                    <a:pt x="510" y="256"/>
                  </a:lnTo>
                  <a:lnTo>
                    <a:pt x="514" y="252"/>
                  </a:lnTo>
                  <a:lnTo>
                    <a:pt x="516" y="252"/>
                  </a:lnTo>
                  <a:lnTo>
                    <a:pt x="516" y="252"/>
                  </a:lnTo>
                  <a:lnTo>
                    <a:pt x="522" y="248"/>
                  </a:lnTo>
                  <a:lnTo>
                    <a:pt x="530" y="246"/>
                  </a:lnTo>
                  <a:lnTo>
                    <a:pt x="532" y="244"/>
                  </a:lnTo>
                  <a:lnTo>
                    <a:pt x="532" y="244"/>
                  </a:lnTo>
                  <a:lnTo>
                    <a:pt x="534" y="244"/>
                  </a:lnTo>
                  <a:lnTo>
                    <a:pt x="536" y="240"/>
                  </a:lnTo>
                  <a:lnTo>
                    <a:pt x="545" y="236"/>
                  </a:lnTo>
                  <a:lnTo>
                    <a:pt x="553" y="234"/>
                  </a:lnTo>
                  <a:lnTo>
                    <a:pt x="555" y="234"/>
                  </a:lnTo>
                  <a:lnTo>
                    <a:pt x="555" y="234"/>
                  </a:lnTo>
                  <a:lnTo>
                    <a:pt x="555" y="232"/>
                  </a:lnTo>
                  <a:lnTo>
                    <a:pt x="555" y="232"/>
                  </a:lnTo>
                  <a:lnTo>
                    <a:pt x="555" y="232"/>
                  </a:lnTo>
                  <a:lnTo>
                    <a:pt x="555" y="230"/>
                  </a:lnTo>
                  <a:lnTo>
                    <a:pt x="555" y="230"/>
                  </a:lnTo>
                  <a:lnTo>
                    <a:pt x="555" y="230"/>
                  </a:lnTo>
                  <a:lnTo>
                    <a:pt x="557" y="228"/>
                  </a:lnTo>
                  <a:lnTo>
                    <a:pt x="557" y="224"/>
                  </a:lnTo>
                  <a:lnTo>
                    <a:pt x="559" y="221"/>
                  </a:lnTo>
                  <a:lnTo>
                    <a:pt x="559" y="221"/>
                  </a:lnTo>
                  <a:lnTo>
                    <a:pt x="559" y="221"/>
                  </a:lnTo>
                  <a:lnTo>
                    <a:pt x="563" y="221"/>
                  </a:lnTo>
                  <a:lnTo>
                    <a:pt x="567" y="217"/>
                  </a:lnTo>
                  <a:lnTo>
                    <a:pt x="573" y="215"/>
                  </a:lnTo>
                  <a:lnTo>
                    <a:pt x="573" y="215"/>
                  </a:lnTo>
                  <a:lnTo>
                    <a:pt x="575" y="213"/>
                  </a:lnTo>
                  <a:lnTo>
                    <a:pt x="575" y="213"/>
                  </a:lnTo>
                  <a:lnTo>
                    <a:pt x="575" y="213"/>
                  </a:lnTo>
                  <a:lnTo>
                    <a:pt x="575" y="211"/>
                  </a:lnTo>
                  <a:lnTo>
                    <a:pt x="575" y="211"/>
                  </a:lnTo>
                  <a:lnTo>
                    <a:pt x="575" y="209"/>
                  </a:lnTo>
                  <a:lnTo>
                    <a:pt x="575" y="209"/>
                  </a:lnTo>
                  <a:lnTo>
                    <a:pt x="575" y="209"/>
                  </a:lnTo>
                  <a:lnTo>
                    <a:pt x="573" y="207"/>
                  </a:lnTo>
                  <a:lnTo>
                    <a:pt x="575" y="205"/>
                  </a:lnTo>
                  <a:lnTo>
                    <a:pt x="575" y="205"/>
                  </a:lnTo>
                  <a:lnTo>
                    <a:pt x="577" y="203"/>
                  </a:lnTo>
                  <a:lnTo>
                    <a:pt x="583" y="197"/>
                  </a:lnTo>
                  <a:lnTo>
                    <a:pt x="585" y="197"/>
                  </a:lnTo>
                  <a:lnTo>
                    <a:pt x="585" y="197"/>
                  </a:lnTo>
                  <a:lnTo>
                    <a:pt x="585" y="197"/>
                  </a:lnTo>
                  <a:lnTo>
                    <a:pt x="585" y="195"/>
                  </a:lnTo>
                  <a:lnTo>
                    <a:pt x="585" y="195"/>
                  </a:lnTo>
                  <a:lnTo>
                    <a:pt x="585" y="195"/>
                  </a:lnTo>
                  <a:lnTo>
                    <a:pt x="585" y="193"/>
                  </a:lnTo>
                  <a:lnTo>
                    <a:pt x="585" y="191"/>
                  </a:lnTo>
                  <a:lnTo>
                    <a:pt x="583" y="189"/>
                  </a:lnTo>
                  <a:lnTo>
                    <a:pt x="585" y="189"/>
                  </a:lnTo>
                  <a:lnTo>
                    <a:pt x="585" y="187"/>
                  </a:lnTo>
                  <a:lnTo>
                    <a:pt x="590" y="183"/>
                  </a:lnTo>
                  <a:lnTo>
                    <a:pt x="598" y="176"/>
                  </a:lnTo>
                  <a:lnTo>
                    <a:pt x="604" y="172"/>
                  </a:lnTo>
                  <a:lnTo>
                    <a:pt x="610" y="168"/>
                  </a:lnTo>
                  <a:lnTo>
                    <a:pt x="612" y="168"/>
                  </a:lnTo>
                  <a:lnTo>
                    <a:pt x="618" y="160"/>
                  </a:lnTo>
                  <a:lnTo>
                    <a:pt x="626" y="152"/>
                  </a:lnTo>
                  <a:lnTo>
                    <a:pt x="631" y="146"/>
                  </a:lnTo>
                  <a:lnTo>
                    <a:pt x="637" y="139"/>
                  </a:lnTo>
                  <a:lnTo>
                    <a:pt x="641" y="133"/>
                  </a:lnTo>
                  <a:lnTo>
                    <a:pt x="639" y="133"/>
                  </a:lnTo>
                  <a:close/>
                  <a:moveTo>
                    <a:pt x="4" y="322"/>
                  </a:moveTo>
                  <a:lnTo>
                    <a:pt x="0" y="324"/>
                  </a:lnTo>
                  <a:lnTo>
                    <a:pt x="0" y="328"/>
                  </a:lnTo>
                  <a:lnTo>
                    <a:pt x="2" y="328"/>
                  </a:lnTo>
                  <a:lnTo>
                    <a:pt x="2" y="330"/>
                  </a:lnTo>
                  <a:lnTo>
                    <a:pt x="8" y="328"/>
                  </a:lnTo>
                  <a:lnTo>
                    <a:pt x="8" y="328"/>
                  </a:lnTo>
                  <a:lnTo>
                    <a:pt x="6" y="324"/>
                  </a:lnTo>
                  <a:lnTo>
                    <a:pt x="4" y="322"/>
                  </a:lnTo>
                  <a:close/>
                </a:path>
              </a:pathLst>
            </a:custGeom>
            <a:solidFill>
              <a:schemeClr val="tx1"/>
            </a:solidFill>
            <a:ln w="3175" cap="rnd">
              <a:solidFill>
                <a:schemeClr val="bg1"/>
              </a:solidFill>
              <a:prstDash val="solid"/>
              <a:round/>
              <a:headEnd/>
              <a:tailEnd/>
            </a:ln>
          </p:spPr>
          <p:txBody>
            <a:bodyPr vert="horz" wrap="square" lIns="144000" tIns="9600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KY</a:t>
              </a:r>
            </a:p>
          </p:txBody>
        </p:sp>
        <p:sp>
          <p:nvSpPr>
            <p:cNvPr id="276" name="Freeform 39">
              <a:extLst>
                <a:ext uri="{FF2B5EF4-FFF2-40B4-BE49-F238E27FC236}">
                  <a16:creationId xmlns:a16="http://schemas.microsoft.com/office/drawing/2014/main" id="{85D28434-A0CC-A41B-80A9-CDFFB8C7FE87}"/>
                </a:ext>
              </a:extLst>
            </p:cNvPr>
            <p:cNvSpPr>
              <a:spLocks/>
            </p:cNvSpPr>
            <p:nvPr/>
          </p:nvSpPr>
          <p:spPr bwMode="auto">
            <a:xfrm>
              <a:off x="2551" y="1113"/>
              <a:ext cx="641" cy="330"/>
            </a:xfrm>
            <a:custGeom>
              <a:avLst/>
              <a:gdLst>
                <a:gd name="T0" fmla="*/ 582 w 641"/>
                <a:gd name="T1" fmla="*/ 322 h 330"/>
                <a:gd name="T2" fmla="*/ 502 w 641"/>
                <a:gd name="T3" fmla="*/ 326 h 330"/>
                <a:gd name="T4" fmla="*/ 420 w 641"/>
                <a:gd name="T5" fmla="*/ 328 h 330"/>
                <a:gd name="T6" fmla="*/ 340 w 641"/>
                <a:gd name="T7" fmla="*/ 330 h 330"/>
                <a:gd name="T8" fmla="*/ 260 w 641"/>
                <a:gd name="T9" fmla="*/ 330 h 330"/>
                <a:gd name="T10" fmla="*/ 181 w 641"/>
                <a:gd name="T11" fmla="*/ 330 h 330"/>
                <a:gd name="T12" fmla="*/ 101 w 641"/>
                <a:gd name="T13" fmla="*/ 330 h 330"/>
                <a:gd name="T14" fmla="*/ 21 w 641"/>
                <a:gd name="T15" fmla="*/ 330 h 330"/>
                <a:gd name="T16" fmla="*/ 0 w 641"/>
                <a:gd name="T17" fmla="*/ 299 h 330"/>
                <a:gd name="T18" fmla="*/ 2 w 641"/>
                <a:gd name="T19" fmla="*/ 258 h 330"/>
                <a:gd name="T20" fmla="*/ 2 w 641"/>
                <a:gd name="T21" fmla="*/ 219 h 330"/>
                <a:gd name="T22" fmla="*/ 2 w 641"/>
                <a:gd name="T23" fmla="*/ 178 h 330"/>
                <a:gd name="T24" fmla="*/ 2 w 641"/>
                <a:gd name="T25" fmla="*/ 137 h 330"/>
                <a:gd name="T26" fmla="*/ 4 w 641"/>
                <a:gd name="T27" fmla="*/ 98 h 330"/>
                <a:gd name="T28" fmla="*/ 4 w 641"/>
                <a:gd name="T29" fmla="*/ 57 h 330"/>
                <a:gd name="T30" fmla="*/ 4 w 641"/>
                <a:gd name="T31" fmla="*/ 18 h 330"/>
                <a:gd name="T32" fmla="*/ 58 w 641"/>
                <a:gd name="T33" fmla="*/ 8 h 330"/>
                <a:gd name="T34" fmla="*/ 127 w 641"/>
                <a:gd name="T35" fmla="*/ 8 h 330"/>
                <a:gd name="T36" fmla="*/ 199 w 641"/>
                <a:gd name="T37" fmla="*/ 8 h 330"/>
                <a:gd name="T38" fmla="*/ 269 w 641"/>
                <a:gd name="T39" fmla="*/ 8 h 330"/>
                <a:gd name="T40" fmla="*/ 338 w 641"/>
                <a:gd name="T41" fmla="*/ 8 h 330"/>
                <a:gd name="T42" fmla="*/ 410 w 641"/>
                <a:gd name="T43" fmla="*/ 6 h 330"/>
                <a:gd name="T44" fmla="*/ 480 w 641"/>
                <a:gd name="T45" fmla="*/ 4 h 330"/>
                <a:gd name="T46" fmla="*/ 549 w 641"/>
                <a:gd name="T47" fmla="*/ 2 h 330"/>
                <a:gd name="T48" fmla="*/ 574 w 641"/>
                <a:gd name="T49" fmla="*/ 6 h 330"/>
                <a:gd name="T50" fmla="*/ 578 w 641"/>
                <a:gd name="T51" fmla="*/ 8 h 330"/>
                <a:gd name="T52" fmla="*/ 580 w 641"/>
                <a:gd name="T53" fmla="*/ 10 h 330"/>
                <a:gd name="T54" fmla="*/ 586 w 641"/>
                <a:gd name="T55" fmla="*/ 14 h 330"/>
                <a:gd name="T56" fmla="*/ 594 w 641"/>
                <a:gd name="T57" fmla="*/ 10 h 330"/>
                <a:gd name="T58" fmla="*/ 598 w 641"/>
                <a:gd name="T59" fmla="*/ 12 h 330"/>
                <a:gd name="T60" fmla="*/ 605 w 641"/>
                <a:gd name="T61" fmla="*/ 16 h 330"/>
                <a:gd name="T62" fmla="*/ 605 w 641"/>
                <a:gd name="T63" fmla="*/ 22 h 330"/>
                <a:gd name="T64" fmla="*/ 607 w 641"/>
                <a:gd name="T65" fmla="*/ 26 h 330"/>
                <a:gd name="T66" fmla="*/ 598 w 641"/>
                <a:gd name="T67" fmla="*/ 26 h 330"/>
                <a:gd name="T68" fmla="*/ 596 w 641"/>
                <a:gd name="T69" fmla="*/ 33 h 330"/>
                <a:gd name="T70" fmla="*/ 590 w 641"/>
                <a:gd name="T71" fmla="*/ 39 h 330"/>
                <a:gd name="T72" fmla="*/ 590 w 641"/>
                <a:gd name="T73" fmla="*/ 45 h 330"/>
                <a:gd name="T74" fmla="*/ 586 w 641"/>
                <a:gd name="T75" fmla="*/ 49 h 330"/>
                <a:gd name="T76" fmla="*/ 592 w 641"/>
                <a:gd name="T77" fmla="*/ 53 h 330"/>
                <a:gd name="T78" fmla="*/ 596 w 641"/>
                <a:gd name="T79" fmla="*/ 59 h 330"/>
                <a:gd name="T80" fmla="*/ 602 w 641"/>
                <a:gd name="T81" fmla="*/ 63 h 330"/>
                <a:gd name="T82" fmla="*/ 607 w 641"/>
                <a:gd name="T83" fmla="*/ 76 h 330"/>
                <a:gd name="T84" fmla="*/ 613 w 641"/>
                <a:gd name="T85" fmla="*/ 82 h 330"/>
                <a:gd name="T86" fmla="*/ 621 w 641"/>
                <a:gd name="T87" fmla="*/ 86 h 330"/>
                <a:gd name="T88" fmla="*/ 627 w 641"/>
                <a:gd name="T89" fmla="*/ 86 h 330"/>
                <a:gd name="T90" fmla="*/ 629 w 641"/>
                <a:gd name="T91" fmla="*/ 88 h 330"/>
                <a:gd name="T92" fmla="*/ 629 w 641"/>
                <a:gd name="T93" fmla="*/ 90 h 330"/>
                <a:gd name="T94" fmla="*/ 631 w 641"/>
                <a:gd name="T95" fmla="*/ 92 h 330"/>
                <a:gd name="T96" fmla="*/ 633 w 641"/>
                <a:gd name="T97" fmla="*/ 141 h 330"/>
                <a:gd name="T98" fmla="*/ 635 w 641"/>
                <a:gd name="T99" fmla="*/ 197 h 330"/>
                <a:gd name="T100" fmla="*/ 637 w 641"/>
                <a:gd name="T101" fmla="*/ 250 h 330"/>
                <a:gd name="T102" fmla="*/ 641 w 641"/>
                <a:gd name="T103" fmla="*/ 30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1" h="330">
                  <a:moveTo>
                    <a:pt x="641" y="320"/>
                  </a:moveTo>
                  <a:lnTo>
                    <a:pt x="621" y="320"/>
                  </a:lnTo>
                  <a:lnTo>
                    <a:pt x="600" y="322"/>
                  </a:lnTo>
                  <a:lnTo>
                    <a:pt x="582" y="322"/>
                  </a:lnTo>
                  <a:lnTo>
                    <a:pt x="562" y="324"/>
                  </a:lnTo>
                  <a:lnTo>
                    <a:pt x="541" y="324"/>
                  </a:lnTo>
                  <a:lnTo>
                    <a:pt x="521" y="324"/>
                  </a:lnTo>
                  <a:lnTo>
                    <a:pt x="502" y="326"/>
                  </a:lnTo>
                  <a:lnTo>
                    <a:pt x="482" y="326"/>
                  </a:lnTo>
                  <a:lnTo>
                    <a:pt x="461" y="326"/>
                  </a:lnTo>
                  <a:lnTo>
                    <a:pt x="441" y="328"/>
                  </a:lnTo>
                  <a:lnTo>
                    <a:pt x="420" y="328"/>
                  </a:lnTo>
                  <a:lnTo>
                    <a:pt x="402" y="328"/>
                  </a:lnTo>
                  <a:lnTo>
                    <a:pt x="381" y="328"/>
                  </a:lnTo>
                  <a:lnTo>
                    <a:pt x="361" y="330"/>
                  </a:lnTo>
                  <a:lnTo>
                    <a:pt x="340" y="330"/>
                  </a:lnTo>
                  <a:lnTo>
                    <a:pt x="322" y="330"/>
                  </a:lnTo>
                  <a:lnTo>
                    <a:pt x="301" y="330"/>
                  </a:lnTo>
                  <a:lnTo>
                    <a:pt x="281" y="330"/>
                  </a:lnTo>
                  <a:lnTo>
                    <a:pt x="260" y="330"/>
                  </a:lnTo>
                  <a:lnTo>
                    <a:pt x="240" y="330"/>
                  </a:lnTo>
                  <a:lnTo>
                    <a:pt x="222" y="330"/>
                  </a:lnTo>
                  <a:lnTo>
                    <a:pt x="201" y="330"/>
                  </a:lnTo>
                  <a:lnTo>
                    <a:pt x="181" y="330"/>
                  </a:lnTo>
                  <a:lnTo>
                    <a:pt x="160" y="330"/>
                  </a:lnTo>
                  <a:lnTo>
                    <a:pt x="140" y="330"/>
                  </a:lnTo>
                  <a:lnTo>
                    <a:pt x="121" y="330"/>
                  </a:lnTo>
                  <a:lnTo>
                    <a:pt x="101" y="330"/>
                  </a:lnTo>
                  <a:lnTo>
                    <a:pt x="80" y="330"/>
                  </a:lnTo>
                  <a:lnTo>
                    <a:pt x="60" y="330"/>
                  </a:lnTo>
                  <a:lnTo>
                    <a:pt x="41" y="330"/>
                  </a:lnTo>
                  <a:lnTo>
                    <a:pt x="21" y="330"/>
                  </a:lnTo>
                  <a:lnTo>
                    <a:pt x="0" y="330"/>
                  </a:lnTo>
                  <a:lnTo>
                    <a:pt x="0" y="320"/>
                  </a:lnTo>
                  <a:lnTo>
                    <a:pt x="0" y="309"/>
                  </a:lnTo>
                  <a:lnTo>
                    <a:pt x="0" y="299"/>
                  </a:lnTo>
                  <a:lnTo>
                    <a:pt x="0" y="289"/>
                  </a:lnTo>
                  <a:lnTo>
                    <a:pt x="0" y="279"/>
                  </a:lnTo>
                  <a:lnTo>
                    <a:pt x="0" y="268"/>
                  </a:lnTo>
                  <a:lnTo>
                    <a:pt x="2" y="258"/>
                  </a:lnTo>
                  <a:lnTo>
                    <a:pt x="2" y="248"/>
                  </a:lnTo>
                  <a:lnTo>
                    <a:pt x="2" y="238"/>
                  </a:lnTo>
                  <a:lnTo>
                    <a:pt x="2" y="227"/>
                  </a:lnTo>
                  <a:lnTo>
                    <a:pt x="2" y="219"/>
                  </a:lnTo>
                  <a:lnTo>
                    <a:pt x="2" y="209"/>
                  </a:lnTo>
                  <a:lnTo>
                    <a:pt x="2" y="199"/>
                  </a:lnTo>
                  <a:lnTo>
                    <a:pt x="2" y="188"/>
                  </a:lnTo>
                  <a:lnTo>
                    <a:pt x="2" y="178"/>
                  </a:lnTo>
                  <a:lnTo>
                    <a:pt x="2" y="168"/>
                  </a:lnTo>
                  <a:lnTo>
                    <a:pt x="2" y="158"/>
                  </a:lnTo>
                  <a:lnTo>
                    <a:pt x="2" y="147"/>
                  </a:lnTo>
                  <a:lnTo>
                    <a:pt x="2" y="137"/>
                  </a:lnTo>
                  <a:lnTo>
                    <a:pt x="2" y="127"/>
                  </a:lnTo>
                  <a:lnTo>
                    <a:pt x="4" y="119"/>
                  </a:lnTo>
                  <a:lnTo>
                    <a:pt x="4" y="108"/>
                  </a:lnTo>
                  <a:lnTo>
                    <a:pt x="4" y="98"/>
                  </a:lnTo>
                  <a:lnTo>
                    <a:pt x="4" y="88"/>
                  </a:lnTo>
                  <a:lnTo>
                    <a:pt x="4" y="78"/>
                  </a:lnTo>
                  <a:lnTo>
                    <a:pt x="4" y="67"/>
                  </a:lnTo>
                  <a:lnTo>
                    <a:pt x="4" y="57"/>
                  </a:lnTo>
                  <a:lnTo>
                    <a:pt x="4" y="47"/>
                  </a:lnTo>
                  <a:lnTo>
                    <a:pt x="4" y="37"/>
                  </a:lnTo>
                  <a:lnTo>
                    <a:pt x="4" y="26"/>
                  </a:lnTo>
                  <a:lnTo>
                    <a:pt x="4" y="18"/>
                  </a:lnTo>
                  <a:lnTo>
                    <a:pt x="4" y="8"/>
                  </a:lnTo>
                  <a:lnTo>
                    <a:pt x="23" y="8"/>
                  </a:lnTo>
                  <a:lnTo>
                    <a:pt x="41" y="8"/>
                  </a:lnTo>
                  <a:lnTo>
                    <a:pt x="58" y="8"/>
                  </a:lnTo>
                  <a:lnTo>
                    <a:pt x="76" y="8"/>
                  </a:lnTo>
                  <a:lnTo>
                    <a:pt x="93" y="8"/>
                  </a:lnTo>
                  <a:lnTo>
                    <a:pt x="111" y="8"/>
                  </a:lnTo>
                  <a:lnTo>
                    <a:pt x="127" y="8"/>
                  </a:lnTo>
                  <a:lnTo>
                    <a:pt x="146" y="8"/>
                  </a:lnTo>
                  <a:lnTo>
                    <a:pt x="164" y="8"/>
                  </a:lnTo>
                  <a:lnTo>
                    <a:pt x="181" y="8"/>
                  </a:lnTo>
                  <a:lnTo>
                    <a:pt x="199" y="8"/>
                  </a:lnTo>
                  <a:lnTo>
                    <a:pt x="215" y="8"/>
                  </a:lnTo>
                  <a:lnTo>
                    <a:pt x="234" y="8"/>
                  </a:lnTo>
                  <a:lnTo>
                    <a:pt x="250" y="8"/>
                  </a:lnTo>
                  <a:lnTo>
                    <a:pt x="269" y="8"/>
                  </a:lnTo>
                  <a:lnTo>
                    <a:pt x="287" y="8"/>
                  </a:lnTo>
                  <a:lnTo>
                    <a:pt x="303" y="8"/>
                  </a:lnTo>
                  <a:lnTo>
                    <a:pt x="322" y="8"/>
                  </a:lnTo>
                  <a:lnTo>
                    <a:pt x="338" y="8"/>
                  </a:lnTo>
                  <a:lnTo>
                    <a:pt x="357" y="8"/>
                  </a:lnTo>
                  <a:lnTo>
                    <a:pt x="373" y="6"/>
                  </a:lnTo>
                  <a:lnTo>
                    <a:pt x="392" y="6"/>
                  </a:lnTo>
                  <a:lnTo>
                    <a:pt x="410" y="6"/>
                  </a:lnTo>
                  <a:lnTo>
                    <a:pt x="426" y="6"/>
                  </a:lnTo>
                  <a:lnTo>
                    <a:pt x="445" y="6"/>
                  </a:lnTo>
                  <a:lnTo>
                    <a:pt x="461" y="4"/>
                  </a:lnTo>
                  <a:lnTo>
                    <a:pt x="480" y="4"/>
                  </a:lnTo>
                  <a:lnTo>
                    <a:pt x="498" y="4"/>
                  </a:lnTo>
                  <a:lnTo>
                    <a:pt x="514" y="2"/>
                  </a:lnTo>
                  <a:lnTo>
                    <a:pt x="533" y="2"/>
                  </a:lnTo>
                  <a:lnTo>
                    <a:pt x="549" y="2"/>
                  </a:lnTo>
                  <a:lnTo>
                    <a:pt x="568" y="0"/>
                  </a:lnTo>
                  <a:lnTo>
                    <a:pt x="572" y="4"/>
                  </a:lnTo>
                  <a:lnTo>
                    <a:pt x="574" y="6"/>
                  </a:lnTo>
                  <a:lnTo>
                    <a:pt x="574" y="6"/>
                  </a:lnTo>
                  <a:lnTo>
                    <a:pt x="576" y="6"/>
                  </a:lnTo>
                  <a:lnTo>
                    <a:pt x="576" y="8"/>
                  </a:lnTo>
                  <a:lnTo>
                    <a:pt x="576" y="8"/>
                  </a:lnTo>
                  <a:lnTo>
                    <a:pt x="578" y="8"/>
                  </a:lnTo>
                  <a:lnTo>
                    <a:pt x="578" y="10"/>
                  </a:lnTo>
                  <a:lnTo>
                    <a:pt x="578" y="10"/>
                  </a:lnTo>
                  <a:lnTo>
                    <a:pt x="580" y="10"/>
                  </a:lnTo>
                  <a:lnTo>
                    <a:pt x="580" y="10"/>
                  </a:lnTo>
                  <a:lnTo>
                    <a:pt x="582" y="10"/>
                  </a:lnTo>
                  <a:lnTo>
                    <a:pt x="582" y="12"/>
                  </a:lnTo>
                  <a:lnTo>
                    <a:pt x="584" y="14"/>
                  </a:lnTo>
                  <a:lnTo>
                    <a:pt x="586" y="14"/>
                  </a:lnTo>
                  <a:lnTo>
                    <a:pt x="588" y="14"/>
                  </a:lnTo>
                  <a:lnTo>
                    <a:pt x="590" y="12"/>
                  </a:lnTo>
                  <a:lnTo>
                    <a:pt x="592" y="10"/>
                  </a:lnTo>
                  <a:lnTo>
                    <a:pt x="594" y="10"/>
                  </a:lnTo>
                  <a:lnTo>
                    <a:pt x="596" y="10"/>
                  </a:lnTo>
                  <a:lnTo>
                    <a:pt x="598" y="10"/>
                  </a:lnTo>
                  <a:lnTo>
                    <a:pt x="598" y="10"/>
                  </a:lnTo>
                  <a:lnTo>
                    <a:pt x="598" y="12"/>
                  </a:lnTo>
                  <a:lnTo>
                    <a:pt x="598" y="12"/>
                  </a:lnTo>
                  <a:lnTo>
                    <a:pt x="598" y="14"/>
                  </a:lnTo>
                  <a:lnTo>
                    <a:pt x="600" y="14"/>
                  </a:lnTo>
                  <a:lnTo>
                    <a:pt x="605" y="16"/>
                  </a:lnTo>
                  <a:lnTo>
                    <a:pt x="605" y="18"/>
                  </a:lnTo>
                  <a:lnTo>
                    <a:pt x="605" y="18"/>
                  </a:lnTo>
                  <a:lnTo>
                    <a:pt x="605" y="22"/>
                  </a:lnTo>
                  <a:lnTo>
                    <a:pt x="605" y="22"/>
                  </a:lnTo>
                  <a:lnTo>
                    <a:pt x="605" y="24"/>
                  </a:lnTo>
                  <a:lnTo>
                    <a:pt x="605" y="24"/>
                  </a:lnTo>
                  <a:lnTo>
                    <a:pt x="607" y="24"/>
                  </a:lnTo>
                  <a:lnTo>
                    <a:pt x="607" y="26"/>
                  </a:lnTo>
                  <a:lnTo>
                    <a:pt x="605" y="29"/>
                  </a:lnTo>
                  <a:lnTo>
                    <a:pt x="602" y="29"/>
                  </a:lnTo>
                  <a:lnTo>
                    <a:pt x="598" y="26"/>
                  </a:lnTo>
                  <a:lnTo>
                    <a:pt x="598" y="26"/>
                  </a:lnTo>
                  <a:lnTo>
                    <a:pt x="596" y="29"/>
                  </a:lnTo>
                  <a:lnTo>
                    <a:pt x="596" y="29"/>
                  </a:lnTo>
                  <a:lnTo>
                    <a:pt x="596" y="33"/>
                  </a:lnTo>
                  <a:lnTo>
                    <a:pt x="596" y="33"/>
                  </a:lnTo>
                  <a:lnTo>
                    <a:pt x="596" y="33"/>
                  </a:lnTo>
                  <a:lnTo>
                    <a:pt x="594" y="35"/>
                  </a:lnTo>
                  <a:lnTo>
                    <a:pt x="592" y="37"/>
                  </a:lnTo>
                  <a:lnTo>
                    <a:pt x="590" y="39"/>
                  </a:lnTo>
                  <a:lnTo>
                    <a:pt x="590" y="41"/>
                  </a:lnTo>
                  <a:lnTo>
                    <a:pt x="590" y="43"/>
                  </a:lnTo>
                  <a:lnTo>
                    <a:pt x="590" y="43"/>
                  </a:lnTo>
                  <a:lnTo>
                    <a:pt x="590" y="45"/>
                  </a:lnTo>
                  <a:lnTo>
                    <a:pt x="590" y="45"/>
                  </a:lnTo>
                  <a:lnTo>
                    <a:pt x="588" y="45"/>
                  </a:lnTo>
                  <a:lnTo>
                    <a:pt x="586" y="45"/>
                  </a:lnTo>
                  <a:lnTo>
                    <a:pt x="586" y="49"/>
                  </a:lnTo>
                  <a:lnTo>
                    <a:pt x="588" y="51"/>
                  </a:lnTo>
                  <a:lnTo>
                    <a:pt x="590" y="51"/>
                  </a:lnTo>
                  <a:lnTo>
                    <a:pt x="590" y="53"/>
                  </a:lnTo>
                  <a:lnTo>
                    <a:pt x="592" y="53"/>
                  </a:lnTo>
                  <a:lnTo>
                    <a:pt x="594" y="57"/>
                  </a:lnTo>
                  <a:lnTo>
                    <a:pt x="594" y="57"/>
                  </a:lnTo>
                  <a:lnTo>
                    <a:pt x="594" y="59"/>
                  </a:lnTo>
                  <a:lnTo>
                    <a:pt x="596" y="59"/>
                  </a:lnTo>
                  <a:lnTo>
                    <a:pt x="600" y="61"/>
                  </a:lnTo>
                  <a:lnTo>
                    <a:pt x="600" y="61"/>
                  </a:lnTo>
                  <a:lnTo>
                    <a:pt x="600" y="63"/>
                  </a:lnTo>
                  <a:lnTo>
                    <a:pt x="602" y="63"/>
                  </a:lnTo>
                  <a:lnTo>
                    <a:pt x="605" y="65"/>
                  </a:lnTo>
                  <a:lnTo>
                    <a:pt x="605" y="67"/>
                  </a:lnTo>
                  <a:lnTo>
                    <a:pt x="605" y="72"/>
                  </a:lnTo>
                  <a:lnTo>
                    <a:pt x="607" y="76"/>
                  </a:lnTo>
                  <a:lnTo>
                    <a:pt x="611" y="78"/>
                  </a:lnTo>
                  <a:lnTo>
                    <a:pt x="611" y="78"/>
                  </a:lnTo>
                  <a:lnTo>
                    <a:pt x="611" y="80"/>
                  </a:lnTo>
                  <a:lnTo>
                    <a:pt x="613" y="82"/>
                  </a:lnTo>
                  <a:lnTo>
                    <a:pt x="613" y="84"/>
                  </a:lnTo>
                  <a:lnTo>
                    <a:pt x="615" y="84"/>
                  </a:lnTo>
                  <a:lnTo>
                    <a:pt x="619" y="86"/>
                  </a:lnTo>
                  <a:lnTo>
                    <a:pt x="621" y="86"/>
                  </a:lnTo>
                  <a:lnTo>
                    <a:pt x="623" y="86"/>
                  </a:lnTo>
                  <a:lnTo>
                    <a:pt x="625" y="86"/>
                  </a:lnTo>
                  <a:lnTo>
                    <a:pt x="625" y="86"/>
                  </a:lnTo>
                  <a:lnTo>
                    <a:pt x="627" y="86"/>
                  </a:lnTo>
                  <a:lnTo>
                    <a:pt x="627" y="86"/>
                  </a:lnTo>
                  <a:lnTo>
                    <a:pt x="627" y="88"/>
                  </a:lnTo>
                  <a:lnTo>
                    <a:pt x="627" y="88"/>
                  </a:lnTo>
                  <a:lnTo>
                    <a:pt x="629" y="88"/>
                  </a:lnTo>
                  <a:lnTo>
                    <a:pt x="631" y="88"/>
                  </a:lnTo>
                  <a:lnTo>
                    <a:pt x="631" y="90"/>
                  </a:lnTo>
                  <a:lnTo>
                    <a:pt x="629" y="90"/>
                  </a:lnTo>
                  <a:lnTo>
                    <a:pt x="629" y="90"/>
                  </a:lnTo>
                  <a:lnTo>
                    <a:pt x="629" y="92"/>
                  </a:lnTo>
                  <a:lnTo>
                    <a:pt x="629" y="92"/>
                  </a:lnTo>
                  <a:lnTo>
                    <a:pt x="631" y="92"/>
                  </a:lnTo>
                  <a:lnTo>
                    <a:pt x="631" y="92"/>
                  </a:lnTo>
                  <a:lnTo>
                    <a:pt x="631" y="100"/>
                  </a:lnTo>
                  <a:lnTo>
                    <a:pt x="631" y="115"/>
                  </a:lnTo>
                  <a:lnTo>
                    <a:pt x="631" y="127"/>
                  </a:lnTo>
                  <a:lnTo>
                    <a:pt x="633" y="141"/>
                  </a:lnTo>
                  <a:lnTo>
                    <a:pt x="633" y="156"/>
                  </a:lnTo>
                  <a:lnTo>
                    <a:pt x="633" y="168"/>
                  </a:lnTo>
                  <a:lnTo>
                    <a:pt x="635" y="182"/>
                  </a:lnTo>
                  <a:lnTo>
                    <a:pt x="635" y="197"/>
                  </a:lnTo>
                  <a:lnTo>
                    <a:pt x="635" y="209"/>
                  </a:lnTo>
                  <a:lnTo>
                    <a:pt x="637" y="223"/>
                  </a:lnTo>
                  <a:lnTo>
                    <a:pt x="637" y="238"/>
                  </a:lnTo>
                  <a:lnTo>
                    <a:pt x="637" y="250"/>
                  </a:lnTo>
                  <a:lnTo>
                    <a:pt x="639" y="264"/>
                  </a:lnTo>
                  <a:lnTo>
                    <a:pt x="639" y="279"/>
                  </a:lnTo>
                  <a:lnTo>
                    <a:pt x="639" y="291"/>
                  </a:lnTo>
                  <a:lnTo>
                    <a:pt x="641" y="305"/>
                  </a:lnTo>
                  <a:lnTo>
                    <a:pt x="641" y="320"/>
                  </a:lnTo>
                  <a:lnTo>
                    <a:pt x="641" y="320"/>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KS</a:t>
              </a:r>
            </a:p>
          </p:txBody>
        </p:sp>
        <p:sp>
          <p:nvSpPr>
            <p:cNvPr id="277" name="Freeform 40">
              <a:extLst>
                <a:ext uri="{FF2B5EF4-FFF2-40B4-BE49-F238E27FC236}">
                  <a16:creationId xmlns:a16="http://schemas.microsoft.com/office/drawing/2014/main" id="{8618D768-DA87-0635-0836-12F4C42C1EB0}"/>
                </a:ext>
              </a:extLst>
            </p:cNvPr>
            <p:cNvSpPr>
              <a:spLocks/>
            </p:cNvSpPr>
            <p:nvPr/>
          </p:nvSpPr>
          <p:spPr bwMode="auto">
            <a:xfrm>
              <a:off x="3748" y="848"/>
              <a:ext cx="269" cy="455"/>
            </a:xfrm>
            <a:custGeom>
              <a:avLst/>
              <a:gdLst>
                <a:gd name="T0" fmla="*/ 260 w 269"/>
                <a:gd name="T1" fmla="*/ 302 h 455"/>
                <a:gd name="T2" fmla="*/ 258 w 269"/>
                <a:gd name="T3" fmla="*/ 287 h 455"/>
                <a:gd name="T4" fmla="*/ 256 w 269"/>
                <a:gd name="T5" fmla="*/ 240 h 455"/>
                <a:gd name="T6" fmla="*/ 248 w 269"/>
                <a:gd name="T7" fmla="*/ 179 h 455"/>
                <a:gd name="T8" fmla="*/ 240 w 269"/>
                <a:gd name="T9" fmla="*/ 119 h 455"/>
                <a:gd name="T10" fmla="*/ 234 w 269"/>
                <a:gd name="T11" fmla="*/ 58 h 455"/>
                <a:gd name="T12" fmla="*/ 220 w 269"/>
                <a:gd name="T13" fmla="*/ 3 h 455"/>
                <a:gd name="T14" fmla="*/ 174 w 269"/>
                <a:gd name="T15" fmla="*/ 9 h 455"/>
                <a:gd name="T16" fmla="*/ 125 w 269"/>
                <a:gd name="T17" fmla="*/ 15 h 455"/>
                <a:gd name="T18" fmla="*/ 74 w 269"/>
                <a:gd name="T19" fmla="*/ 21 h 455"/>
                <a:gd name="T20" fmla="*/ 17 w 269"/>
                <a:gd name="T21" fmla="*/ 39 h 455"/>
                <a:gd name="T22" fmla="*/ 4 w 269"/>
                <a:gd name="T23" fmla="*/ 33 h 455"/>
                <a:gd name="T24" fmla="*/ 15 w 269"/>
                <a:gd name="T25" fmla="*/ 125 h 455"/>
                <a:gd name="T26" fmla="*/ 27 w 269"/>
                <a:gd name="T27" fmla="*/ 248 h 455"/>
                <a:gd name="T28" fmla="*/ 25 w 269"/>
                <a:gd name="T29" fmla="*/ 291 h 455"/>
                <a:gd name="T30" fmla="*/ 25 w 269"/>
                <a:gd name="T31" fmla="*/ 312 h 455"/>
                <a:gd name="T32" fmla="*/ 35 w 269"/>
                <a:gd name="T33" fmla="*/ 324 h 455"/>
                <a:gd name="T34" fmla="*/ 39 w 269"/>
                <a:gd name="T35" fmla="*/ 343 h 455"/>
                <a:gd name="T36" fmla="*/ 33 w 269"/>
                <a:gd name="T37" fmla="*/ 357 h 455"/>
                <a:gd name="T38" fmla="*/ 31 w 269"/>
                <a:gd name="T39" fmla="*/ 365 h 455"/>
                <a:gd name="T40" fmla="*/ 31 w 269"/>
                <a:gd name="T41" fmla="*/ 373 h 455"/>
                <a:gd name="T42" fmla="*/ 29 w 269"/>
                <a:gd name="T43" fmla="*/ 378 h 455"/>
                <a:gd name="T44" fmla="*/ 23 w 269"/>
                <a:gd name="T45" fmla="*/ 388 h 455"/>
                <a:gd name="T46" fmla="*/ 17 w 269"/>
                <a:gd name="T47" fmla="*/ 396 h 455"/>
                <a:gd name="T48" fmla="*/ 15 w 269"/>
                <a:gd name="T49" fmla="*/ 398 h 455"/>
                <a:gd name="T50" fmla="*/ 11 w 269"/>
                <a:gd name="T51" fmla="*/ 400 h 455"/>
                <a:gd name="T52" fmla="*/ 7 w 269"/>
                <a:gd name="T53" fmla="*/ 406 h 455"/>
                <a:gd name="T54" fmla="*/ 9 w 269"/>
                <a:gd name="T55" fmla="*/ 412 h 455"/>
                <a:gd name="T56" fmla="*/ 7 w 269"/>
                <a:gd name="T57" fmla="*/ 421 h 455"/>
                <a:gd name="T58" fmla="*/ 7 w 269"/>
                <a:gd name="T59" fmla="*/ 427 h 455"/>
                <a:gd name="T60" fmla="*/ 4 w 269"/>
                <a:gd name="T61" fmla="*/ 435 h 455"/>
                <a:gd name="T62" fmla="*/ 4 w 269"/>
                <a:gd name="T63" fmla="*/ 443 h 455"/>
                <a:gd name="T64" fmla="*/ 7 w 269"/>
                <a:gd name="T65" fmla="*/ 451 h 455"/>
                <a:gd name="T66" fmla="*/ 4 w 269"/>
                <a:gd name="T67" fmla="*/ 453 h 455"/>
                <a:gd name="T68" fmla="*/ 19 w 269"/>
                <a:gd name="T69" fmla="*/ 449 h 455"/>
                <a:gd name="T70" fmla="*/ 21 w 269"/>
                <a:gd name="T71" fmla="*/ 441 h 455"/>
                <a:gd name="T72" fmla="*/ 33 w 269"/>
                <a:gd name="T73" fmla="*/ 441 h 455"/>
                <a:gd name="T74" fmla="*/ 39 w 269"/>
                <a:gd name="T75" fmla="*/ 447 h 455"/>
                <a:gd name="T76" fmla="*/ 41 w 269"/>
                <a:gd name="T77" fmla="*/ 433 h 455"/>
                <a:gd name="T78" fmla="*/ 47 w 269"/>
                <a:gd name="T79" fmla="*/ 437 h 455"/>
                <a:gd name="T80" fmla="*/ 66 w 269"/>
                <a:gd name="T81" fmla="*/ 435 h 455"/>
                <a:gd name="T82" fmla="*/ 80 w 269"/>
                <a:gd name="T83" fmla="*/ 441 h 455"/>
                <a:gd name="T84" fmla="*/ 88 w 269"/>
                <a:gd name="T85" fmla="*/ 445 h 455"/>
                <a:gd name="T86" fmla="*/ 101 w 269"/>
                <a:gd name="T87" fmla="*/ 429 h 455"/>
                <a:gd name="T88" fmla="*/ 113 w 269"/>
                <a:gd name="T89" fmla="*/ 429 h 455"/>
                <a:gd name="T90" fmla="*/ 125 w 269"/>
                <a:gd name="T91" fmla="*/ 435 h 455"/>
                <a:gd name="T92" fmla="*/ 133 w 269"/>
                <a:gd name="T93" fmla="*/ 425 h 455"/>
                <a:gd name="T94" fmla="*/ 140 w 269"/>
                <a:gd name="T95" fmla="*/ 410 h 455"/>
                <a:gd name="T96" fmla="*/ 140 w 269"/>
                <a:gd name="T97" fmla="*/ 402 h 455"/>
                <a:gd name="T98" fmla="*/ 148 w 269"/>
                <a:gd name="T99" fmla="*/ 400 h 455"/>
                <a:gd name="T100" fmla="*/ 152 w 269"/>
                <a:gd name="T101" fmla="*/ 398 h 455"/>
                <a:gd name="T102" fmla="*/ 160 w 269"/>
                <a:gd name="T103" fmla="*/ 410 h 455"/>
                <a:gd name="T104" fmla="*/ 177 w 269"/>
                <a:gd name="T105" fmla="*/ 412 h 455"/>
                <a:gd name="T106" fmla="*/ 185 w 269"/>
                <a:gd name="T107" fmla="*/ 404 h 455"/>
                <a:gd name="T108" fmla="*/ 189 w 269"/>
                <a:gd name="T109" fmla="*/ 382 h 455"/>
                <a:gd name="T110" fmla="*/ 195 w 269"/>
                <a:gd name="T111" fmla="*/ 382 h 455"/>
                <a:gd name="T112" fmla="*/ 209 w 269"/>
                <a:gd name="T113" fmla="*/ 359 h 455"/>
                <a:gd name="T114" fmla="*/ 220 w 269"/>
                <a:gd name="T115" fmla="*/ 345 h 455"/>
                <a:gd name="T116" fmla="*/ 226 w 269"/>
                <a:gd name="T117" fmla="*/ 326 h 455"/>
                <a:gd name="T118" fmla="*/ 256 w 269"/>
                <a:gd name="T119" fmla="*/ 316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455">
                  <a:moveTo>
                    <a:pt x="267" y="308"/>
                  </a:moveTo>
                  <a:lnTo>
                    <a:pt x="269" y="306"/>
                  </a:lnTo>
                  <a:lnTo>
                    <a:pt x="269" y="304"/>
                  </a:lnTo>
                  <a:lnTo>
                    <a:pt x="267" y="304"/>
                  </a:lnTo>
                  <a:lnTo>
                    <a:pt x="263" y="304"/>
                  </a:lnTo>
                  <a:lnTo>
                    <a:pt x="260" y="304"/>
                  </a:lnTo>
                  <a:lnTo>
                    <a:pt x="260" y="302"/>
                  </a:lnTo>
                  <a:lnTo>
                    <a:pt x="260" y="302"/>
                  </a:lnTo>
                  <a:lnTo>
                    <a:pt x="263" y="298"/>
                  </a:lnTo>
                  <a:lnTo>
                    <a:pt x="265" y="296"/>
                  </a:lnTo>
                  <a:lnTo>
                    <a:pt x="263" y="294"/>
                  </a:lnTo>
                  <a:lnTo>
                    <a:pt x="263" y="291"/>
                  </a:lnTo>
                  <a:lnTo>
                    <a:pt x="258" y="289"/>
                  </a:lnTo>
                  <a:lnTo>
                    <a:pt x="258" y="287"/>
                  </a:lnTo>
                  <a:lnTo>
                    <a:pt x="260" y="283"/>
                  </a:lnTo>
                  <a:lnTo>
                    <a:pt x="263" y="283"/>
                  </a:lnTo>
                  <a:lnTo>
                    <a:pt x="260" y="273"/>
                  </a:lnTo>
                  <a:lnTo>
                    <a:pt x="260" y="265"/>
                  </a:lnTo>
                  <a:lnTo>
                    <a:pt x="258" y="257"/>
                  </a:lnTo>
                  <a:lnTo>
                    <a:pt x="258" y="248"/>
                  </a:lnTo>
                  <a:lnTo>
                    <a:pt x="256" y="240"/>
                  </a:lnTo>
                  <a:lnTo>
                    <a:pt x="254" y="230"/>
                  </a:lnTo>
                  <a:lnTo>
                    <a:pt x="254" y="222"/>
                  </a:lnTo>
                  <a:lnTo>
                    <a:pt x="252" y="214"/>
                  </a:lnTo>
                  <a:lnTo>
                    <a:pt x="252" y="205"/>
                  </a:lnTo>
                  <a:lnTo>
                    <a:pt x="250" y="197"/>
                  </a:lnTo>
                  <a:lnTo>
                    <a:pt x="250" y="187"/>
                  </a:lnTo>
                  <a:lnTo>
                    <a:pt x="248" y="179"/>
                  </a:lnTo>
                  <a:lnTo>
                    <a:pt x="248" y="171"/>
                  </a:lnTo>
                  <a:lnTo>
                    <a:pt x="246" y="162"/>
                  </a:lnTo>
                  <a:lnTo>
                    <a:pt x="246" y="154"/>
                  </a:lnTo>
                  <a:lnTo>
                    <a:pt x="244" y="144"/>
                  </a:lnTo>
                  <a:lnTo>
                    <a:pt x="244" y="136"/>
                  </a:lnTo>
                  <a:lnTo>
                    <a:pt x="242" y="128"/>
                  </a:lnTo>
                  <a:lnTo>
                    <a:pt x="240" y="119"/>
                  </a:lnTo>
                  <a:lnTo>
                    <a:pt x="240" y="111"/>
                  </a:lnTo>
                  <a:lnTo>
                    <a:pt x="238" y="101"/>
                  </a:lnTo>
                  <a:lnTo>
                    <a:pt x="238" y="93"/>
                  </a:lnTo>
                  <a:lnTo>
                    <a:pt x="236" y="85"/>
                  </a:lnTo>
                  <a:lnTo>
                    <a:pt x="236" y="76"/>
                  </a:lnTo>
                  <a:lnTo>
                    <a:pt x="234" y="68"/>
                  </a:lnTo>
                  <a:lnTo>
                    <a:pt x="234" y="58"/>
                  </a:lnTo>
                  <a:lnTo>
                    <a:pt x="232" y="50"/>
                  </a:lnTo>
                  <a:lnTo>
                    <a:pt x="232" y="41"/>
                  </a:lnTo>
                  <a:lnTo>
                    <a:pt x="228" y="25"/>
                  </a:lnTo>
                  <a:lnTo>
                    <a:pt x="228" y="15"/>
                  </a:lnTo>
                  <a:lnTo>
                    <a:pt x="226" y="7"/>
                  </a:lnTo>
                  <a:lnTo>
                    <a:pt x="226" y="0"/>
                  </a:lnTo>
                  <a:lnTo>
                    <a:pt x="220" y="3"/>
                  </a:lnTo>
                  <a:lnTo>
                    <a:pt x="213" y="3"/>
                  </a:lnTo>
                  <a:lnTo>
                    <a:pt x="207" y="5"/>
                  </a:lnTo>
                  <a:lnTo>
                    <a:pt x="201" y="5"/>
                  </a:lnTo>
                  <a:lnTo>
                    <a:pt x="195" y="5"/>
                  </a:lnTo>
                  <a:lnTo>
                    <a:pt x="187" y="7"/>
                  </a:lnTo>
                  <a:lnTo>
                    <a:pt x="181" y="7"/>
                  </a:lnTo>
                  <a:lnTo>
                    <a:pt x="174" y="9"/>
                  </a:lnTo>
                  <a:lnTo>
                    <a:pt x="168" y="9"/>
                  </a:lnTo>
                  <a:lnTo>
                    <a:pt x="162" y="9"/>
                  </a:lnTo>
                  <a:lnTo>
                    <a:pt x="156" y="11"/>
                  </a:lnTo>
                  <a:lnTo>
                    <a:pt x="150" y="11"/>
                  </a:lnTo>
                  <a:lnTo>
                    <a:pt x="144" y="13"/>
                  </a:lnTo>
                  <a:lnTo>
                    <a:pt x="131" y="13"/>
                  </a:lnTo>
                  <a:lnTo>
                    <a:pt x="125" y="15"/>
                  </a:lnTo>
                  <a:lnTo>
                    <a:pt x="119" y="15"/>
                  </a:lnTo>
                  <a:lnTo>
                    <a:pt x="111" y="17"/>
                  </a:lnTo>
                  <a:lnTo>
                    <a:pt x="105" y="17"/>
                  </a:lnTo>
                  <a:lnTo>
                    <a:pt x="93" y="19"/>
                  </a:lnTo>
                  <a:lnTo>
                    <a:pt x="86" y="19"/>
                  </a:lnTo>
                  <a:lnTo>
                    <a:pt x="80" y="19"/>
                  </a:lnTo>
                  <a:lnTo>
                    <a:pt x="74" y="21"/>
                  </a:lnTo>
                  <a:lnTo>
                    <a:pt x="68" y="21"/>
                  </a:lnTo>
                  <a:lnTo>
                    <a:pt x="62" y="23"/>
                  </a:lnTo>
                  <a:lnTo>
                    <a:pt x="60" y="23"/>
                  </a:lnTo>
                  <a:lnTo>
                    <a:pt x="45" y="33"/>
                  </a:lnTo>
                  <a:lnTo>
                    <a:pt x="31" y="39"/>
                  </a:lnTo>
                  <a:lnTo>
                    <a:pt x="23" y="41"/>
                  </a:lnTo>
                  <a:lnTo>
                    <a:pt x="17" y="39"/>
                  </a:lnTo>
                  <a:lnTo>
                    <a:pt x="15" y="39"/>
                  </a:lnTo>
                  <a:lnTo>
                    <a:pt x="13" y="39"/>
                  </a:lnTo>
                  <a:lnTo>
                    <a:pt x="13" y="37"/>
                  </a:lnTo>
                  <a:lnTo>
                    <a:pt x="13" y="35"/>
                  </a:lnTo>
                  <a:lnTo>
                    <a:pt x="9" y="37"/>
                  </a:lnTo>
                  <a:lnTo>
                    <a:pt x="7" y="35"/>
                  </a:lnTo>
                  <a:lnTo>
                    <a:pt x="4" y="33"/>
                  </a:lnTo>
                  <a:lnTo>
                    <a:pt x="4" y="33"/>
                  </a:lnTo>
                  <a:lnTo>
                    <a:pt x="7" y="50"/>
                  </a:lnTo>
                  <a:lnTo>
                    <a:pt x="7" y="64"/>
                  </a:lnTo>
                  <a:lnTo>
                    <a:pt x="9" y="78"/>
                  </a:lnTo>
                  <a:lnTo>
                    <a:pt x="11" y="95"/>
                  </a:lnTo>
                  <a:lnTo>
                    <a:pt x="13" y="109"/>
                  </a:lnTo>
                  <a:lnTo>
                    <a:pt x="15" y="125"/>
                  </a:lnTo>
                  <a:lnTo>
                    <a:pt x="15" y="140"/>
                  </a:lnTo>
                  <a:lnTo>
                    <a:pt x="17" y="156"/>
                  </a:lnTo>
                  <a:lnTo>
                    <a:pt x="19" y="171"/>
                  </a:lnTo>
                  <a:lnTo>
                    <a:pt x="21" y="187"/>
                  </a:lnTo>
                  <a:lnTo>
                    <a:pt x="23" y="201"/>
                  </a:lnTo>
                  <a:lnTo>
                    <a:pt x="25" y="232"/>
                  </a:lnTo>
                  <a:lnTo>
                    <a:pt x="27" y="248"/>
                  </a:lnTo>
                  <a:lnTo>
                    <a:pt x="29" y="263"/>
                  </a:lnTo>
                  <a:lnTo>
                    <a:pt x="31" y="279"/>
                  </a:lnTo>
                  <a:lnTo>
                    <a:pt x="31" y="283"/>
                  </a:lnTo>
                  <a:lnTo>
                    <a:pt x="31" y="283"/>
                  </a:lnTo>
                  <a:lnTo>
                    <a:pt x="27" y="287"/>
                  </a:lnTo>
                  <a:lnTo>
                    <a:pt x="25" y="287"/>
                  </a:lnTo>
                  <a:lnTo>
                    <a:pt x="25" y="291"/>
                  </a:lnTo>
                  <a:lnTo>
                    <a:pt x="25" y="291"/>
                  </a:lnTo>
                  <a:lnTo>
                    <a:pt x="27" y="296"/>
                  </a:lnTo>
                  <a:lnTo>
                    <a:pt x="27" y="300"/>
                  </a:lnTo>
                  <a:lnTo>
                    <a:pt x="23" y="306"/>
                  </a:lnTo>
                  <a:lnTo>
                    <a:pt x="23" y="310"/>
                  </a:lnTo>
                  <a:lnTo>
                    <a:pt x="23" y="312"/>
                  </a:lnTo>
                  <a:lnTo>
                    <a:pt x="25" y="312"/>
                  </a:lnTo>
                  <a:lnTo>
                    <a:pt x="25" y="312"/>
                  </a:lnTo>
                  <a:lnTo>
                    <a:pt x="29" y="314"/>
                  </a:lnTo>
                  <a:lnTo>
                    <a:pt x="29" y="316"/>
                  </a:lnTo>
                  <a:lnTo>
                    <a:pt x="31" y="320"/>
                  </a:lnTo>
                  <a:lnTo>
                    <a:pt x="31" y="322"/>
                  </a:lnTo>
                  <a:lnTo>
                    <a:pt x="33" y="322"/>
                  </a:lnTo>
                  <a:lnTo>
                    <a:pt x="35" y="324"/>
                  </a:lnTo>
                  <a:lnTo>
                    <a:pt x="35" y="326"/>
                  </a:lnTo>
                  <a:lnTo>
                    <a:pt x="37" y="330"/>
                  </a:lnTo>
                  <a:lnTo>
                    <a:pt x="35" y="332"/>
                  </a:lnTo>
                  <a:lnTo>
                    <a:pt x="35" y="332"/>
                  </a:lnTo>
                  <a:lnTo>
                    <a:pt x="35" y="335"/>
                  </a:lnTo>
                  <a:lnTo>
                    <a:pt x="37" y="339"/>
                  </a:lnTo>
                  <a:lnTo>
                    <a:pt x="39" y="343"/>
                  </a:lnTo>
                  <a:lnTo>
                    <a:pt x="39" y="347"/>
                  </a:lnTo>
                  <a:lnTo>
                    <a:pt x="39" y="355"/>
                  </a:lnTo>
                  <a:lnTo>
                    <a:pt x="37" y="355"/>
                  </a:lnTo>
                  <a:lnTo>
                    <a:pt x="37" y="355"/>
                  </a:lnTo>
                  <a:lnTo>
                    <a:pt x="35" y="355"/>
                  </a:lnTo>
                  <a:lnTo>
                    <a:pt x="35" y="357"/>
                  </a:lnTo>
                  <a:lnTo>
                    <a:pt x="33" y="357"/>
                  </a:lnTo>
                  <a:lnTo>
                    <a:pt x="33" y="359"/>
                  </a:lnTo>
                  <a:lnTo>
                    <a:pt x="33" y="361"/>
                  </a:lnTo>
                  <a:lnTo>
                    <a:pt x="33" y="363"/>
                  </a:lnTo>
                  <a:lnTo>
                    <a:pt x="33" y="363"/>
                  </a:lnTo>
                  <a:lnTo>
                    <a:pt x="33" y="365"/>
                  </a:lnTo>
                  <a:lnTo>
                    <a:pt x="33" y="365"/>
                  </a:lnTo>
                  <a:lnTo>
                    <a:pt x="31" y="365"/>
                  </a:lnTo>
                  <a:lnTo>
                    <a:pt x="33" y="365"/>
                  </a:lnTo>
                  <a:lnTo>
                    <a:pt x="31" y="365"/>
                  </a:lnTo>
                  <a:lnTo>
                    <a:pt x="31" y="367"/>
                  </a:lnTo>
                  <a:lnTo>
                    <a:pt x="29" y="367"/>
                  </a:lnTo>
                  <a:lnTo>
                    <a:pt x="29" y="369"/>
                  </a:lnTo>
                  <a:lnTo>
                    <a:pt x="29" y="371"/>
                  </a:lnTo>
                  <a:lnTo>
                    <a:pt x="31" y="373"/>
                  </a:lnTo>
                  <a:lnTo>
                    <a:pt x="31" y="376"/>
                  </a:lnTo>
                  <a:lnTo>
                    <a:pt x="31" y="376"/>
                  </a:lnTo>
                  <a:lnTo>
                    <a:pt x="31" y="376"/>
                  </a:lnTo>
                  <a:lnTo>
                    <a:pt x="31" y="376"/>
                  </a:lnTo>
                  <a:lnTo>
                    <a:pt x="29" y="376"/>
                  </a:lnTo>
                  <a:lnTo>
                    <a:pt x="29" y="376"/>
                  </a:lnTo>
                  <a:lnTo>
                    <a:pt x="29" y="378"/>
                  </a:lnTo>
                  <a:lnTo>
                    <a:pt x="27" y="378"/>
                  </a:lnTo>
                  <a:lnTo>
                    <a:pt x="25" y="380"/>
                  </a:lnTo>
                  <a:lnTo>
                    <a:pt x="23" y="382"/>
                  </a:lnTo>
                  <a:lnTo>
                    <a:pt x="23" y="382"/>
                  </a:lnTo>
                  <a:lnTo>
                    <a:pt x="25" y="384"/>
                  </a:lnTo>
                  <a:lnTo>
                    <a:pt x="25" y="386"/>
                  </a:lnTo>
                  <a:lnTo>
                    <a:pt x="23" y="388"/>
                  </a:lnTo>
                  <a:lnTo>
                    <a:pt x="21" y="390"/>
                  </a:lnTo>
                  <a:lnTo>
                    <a:pt x="21" y="390"/>
                  </a:lnTo>
                  <a:lnTo>
                    <a:pt x="19" y="390"/>
                  </a:lnTo>
                  <a:lnTo>
                    <a:pt x="19" y="392"/>
                  </a:lnTo>
                  <a:lnTo>
                    <a:pt x="19" y="392"/>
                  </a:lnTo>
                  <a:lnTo>
                    <a:pt x="19" y="394"/>
                  </a:lnTo>
                  <a:lnTo>
                    <a:pt x="17" y="396"/>
                  </a:lnTo>
                  <a:lnTo>
                    <a:pt x="17" y="398"/>
                  </a:lnTo>
                  <a:lnTo>
                    <a:pt x="17" y="398"/>
                  </a:lnTo>
                  <a:lnTo>
                    <a:pt x="17" y="400"/>
                  </a:lnTo>
                  <a:lnTo>
                    <a:pt x="17" y="400"/>
                  </a:lnTo>
                  <a:lnTo>
                    <a:pt x="17" y="400"/>
                  </a:lnTo>
                  <a:lnTo>
                    <a:pt x="15" y="398"/>
                  </a:lnTo>
                  <a:lnTo>
                    <a:pt x="15" y="398"/>
                  </a:lnTo>
                  <a:lnTo>
                    <a:pt x="15" y="398"/>
                  </a:lnTo>
                  <a:lnTo>
                    <a:pt x="15" y="398"/>
                  </a:lnTo>
                  <a:lnTo>
                    <a:pt x="13" y="398"/>
                  </a:lnTo>
                  <a:lnTo>
                    <a:pt x="13" y="400"/>
                  </a:lnTo>
                  <a:lnTo>
                    <a:pt x="13" y="402"/>
                  </a:lnTo>
                  <a:lnTo>
                    <a:pt x="13" y="402"/>
                  </a:lnTo>
                  <a:lnTo>
                    <a:pt x="11" y="400"/>
                  </a:lnTo>
                  <a:lnTo>
                    <a:pt x="11" y="400"/>
                  </a:lnTo>
                  <a:lnTo>
                    <a:pt x="9" y="400"/>
                  </a:lnTo>
                  <a:lnTo>
                    <a:pt x="9" y="402"/>
                  </a:lnTo>
                  <a:lnTo>
                    <a:pt x="9" y="404"/>
                  </a:lnTo>
                  <a:lnTo>
                    <a:pt x="9" y="404"/>
                  </a:lnTo>
                  <a:lnTo>
                    <a:pt x="7" y="406"/>
                  </a:lnTo>
                  <a:lnTo>
                    <a:pt x="7" y="406"/>
                  </a:lnTo>
                  <a:lnTo>
                    <a:pt x="7" y="408"/>
                  </a:lnTo>
                  <a:lnTo>
                    <a:pt x="7" y="408"/>
                  </a:lnTo>
                  <a:lnTo>
                    <a:pt x="7" y="410"/>
                  </a:lnTo>
                  <a:lnTo>
                    <a:pt x="7" y="410"/>
                  </a:lnTo>
                  <a:lnTo>
                    <a:pt x="7" y="410"/>
                  </a:lnTo>
                  <a:lnTo>
                    <a:pt x="9" y="412"/>
                  </a:lnTo>
                  <a:lnTo>
                    <a:pt x="9" y="412"/>
                  </a:lnTo>
                  <a:lnTo>
                    <a:pt x="11" y="414"/>
                  </a:lnTo>
                  <a:lnTo>
                    <a:pt x="11" y="414"/>
                  </a:lnTo>
                  <a:lnTo>
                    <a:pt x="11" y="416"/>
                  </a:lnTo>
                  <a:lnTo>
                    <a:pt x="11" y="416"/>
                  </a:lnTo>
                  <a:lnTo>
                    <a:pt x="9" y="419"/>
                  </a:lnTo>
                  <a:lnTo>
                    <a:pt x="9" y="419"/>
                  </a:lnTo>
                  <a:lnTo>
                    <a:pt x="7" y="421"/>
                  </a:lnTo>
                  <a:lnTo>
                    <a:pt x="4" y="423"/>
                  </a:lnTo>
                  <a:lnTo>
                    <a:pt x="7" y="423"/>
                  </a:lnTo>
                  <a:lnTo>
                    <a:pt x="9" y="423"/>
                  </a:lnTo>
                  <a:lnTo>
                    <a:pt x="11" y="423"/>
                  </a:lnTo>
                  <a:lnTo>
                    <a:pt x="9" y="425"/>
                  </a:lnTo>
                  <a:lnTo>
                    <a:pt x="7" y="425"/>
                  </a:lnTo>
                  <a:lnTo>
                    <a:pt x="7" y="427"/>
                  </a:lnTo>
                  <a:lnTo>
                    <a:pt x="4" y="427"/>
                  </a:lnTo>
                  <a:lnTo>
                    <a:pt x="2" y="427"/>
                  </a:lnTo>
                  <a:lnTo>
                    <a:pt x="4" y="429"/>
                  </a:lnTo>
                  <a:lnTo>
                    <a:pt x="4" y="431"/>
                  </a:lnTo>
                  <a:lnTo>
                    <a:pt x="4" y="433"/>
                  </a:lnTo>
                  <a:lnTo>
                    <a:pt x="4" y="433"/>
                  </a:lnTo>
                  <a:lnTo>
                    <a:pt x="4" y="435"/>
                  </a:lnTo>
                  <a:lnTo>
                    <a:pt x="4" y="437"/>
                  </a:lnTo>
                  <a:lnTo>
                    <a:pt x="4" y="437"/>
                  </a:lnTo>
                  <a:lnTo>
                    <a:pt x="4" y="439"/>
                  </a:lnTo>
                  <a:lnTo>
                    <a:pt x="4" y="441"/>
                  </a:lnTo>
                  <a:lnTo>
                    <a:pt x="4" y="441"/>
                  </a:lnTo>
                  <a:lnTo>
                    <a:pt x="7" y="443"/>
                  </a:lnTo>
                  <a:lnTo>
                    <a:pt x="4" y="443"/>
                  </a:lnTo>
                  <a:lnTo>
                    <a:pt x="4" y="445"/>
                  </a:lnTo>
                  <a:lnTo>
                    <a:pt x="2" y="445"/>
                  </a:lnTo>
                  <a:lnTo>
                    <a:pt x="0" y="445"/>
                  </a:lnTo>
                  <a:lnTo>
                    <a:pt x="0" y="445"/>
                  </a:lnTo>
                  <a:lnTo>
                    <a:pt x="7" y="449"/>
                  </a:lnTo>
                  <a:lnTo>
                    <a:pt x="7" y="451"/>
                  </a:lnTo>
                  <a:lnTo>
                    <a:pt x="7" y="451"/>
                  </a:lnTo>
                  <a:lnTo>
                    <a:pt x="4" y="451"/>
                  </a:lnTo>
                  <a:lnTo>
                    <a:pt x="2" y="451"/>
                  </a:lnTo>
                  <a:lnTo>
                    <a:pt x="2" y="451"/>
                  </a:lnTo>
                  <a:lnTo>
                    <a:pt x="2" y="451"/>
                  </a:lnTo>
                  <a:lnTo>
                    <a:pt x="2" y="453"/>
                  </a:lnTo>
                  <a:lnTo>
                    <a:pt x="2" y="453"/>
                  </a:lnTo>
                  <a:lnTo>
                    <a:pt x="4" y="453"/>
                  </a:lnTo>
                  <a:lnTo>
                    <a:pt x="7" y="453"/>
                  </a:lnTo>
                  <a:lnTo>
                    <a:pt x="9" y="453"/>
                  </a:lnTo>
                  <a:lnTo>
                    <a:pt x="11" y="453"/>
                  </a:lnTo>
                  <a:lnTo>
                    <a:pt x="13" y="455"/>
                  </a:lnTo>
                  <a:lnTo>
                    <a:pt x="15" y="455"/>
                  </a:lnTo>
                  <a:lnTo>
                    <a:pt x="15" y="455"/>
                  </a:lnTo>
                  <a:lnTo>
                    <a:pt x="19" y="449"/>
                  </a:lnTo>
                  <a:lnTo>
                    <a:pt x="15" y="443"/>
                  </a:lnTo>
                  <a:lnTo>
                    <a:pt x="15" y="443"/>
                  </a:lnTo>
                  <a:lnTo>
                    <a:pt x="15" y="439"/>
                  </a:lnTo>
                  <a:lnTo>
                    <a:pt x="17" y="439"/>
                  </a:lnTo>
                  <a:lnTo>
                    <a:pt x="19" y="439"/>
                  </a:lnTo>
                  <a:lnTo>
                    <a:pt x="21" y="441"/>
                  </a:lnTo>
                  <a:lnTo>
                    <a:pt x="21" y="441"/>
                  </a:lnTo>
                  <a:lnTo>
                    <a:pt x="23" y="443"/>
                  </a:lnTo>
                  <a:lnTo>
                    <a:pt x="25" y="443"/>
                  </a:lnTo>
                  <a:lnTo>
                    <a:pt x="27" y="443"/>
                  </a:lnTo>
                  <a:lnTo>
                    <a:pt x="29" y="443"/>
                  </a:lnTo>
                  <a:lnTo>
                    <a:pt x="31" y="441"/>
                  </a:lnTo>
                  <a:lnTo>
                    <a:pt x="33" y="441"/>
                  </a:lnTo>
                  <a:lnTo>
                    <a:pt x="33" y="441"/>
                  </a:lnTo>
                  <a:lnTo>
                    <a:pt x="35" y="439"/>
                  </a:lnTo>
                  <a:lnTo>
                    <a:pt x="35" y="439"/>
                  </a:lnTo>
                  <a:lnTo>
                    <a:pt x="37" y="441"/>
                  </a:lnTo>
                  <a:lnTo>
                    <a:pt x="37" y="441"/>
                  </a:lnTo>
                  <a:lnTo>
                    <a:pt x="37" y="445"/>
                  </a:lnTo>
                  <a:lnTo>
                    <a:pt x="37" y="447"/>
                  </a:lnTo>
                  <a:lnTo>
                    <a:pt x="39" y="447"/>
                  </a:lnTo>
                  <a:lnTo>
                    <a:pt x="41" y="447"/>
                  </a:lnTo>
                  <a:lnTo>
                    <a:pt x="43" y="443"/>
                  </a:lnTo>
                  <a:lnTo>
                    <a:pt x="43" y="441"/>
                  </a:lnTo>
                  <a:lnTo>
                    <a:pt x="43" y="439"/>
                  </a:lnTo>
                  <a:lnTo>
                    <a:pt x="41" y="435"/>
                  </a:lnTo>
                  <a:lnTo>
                    <a:pt x="41" y="433"/>
                  </a:lnTo>
                  <a:lnTo>
                    <a:pt x="41" y="433"/>
                  </a:lnTo>
                  <a:lnTo>
                    <a:pt x="41" y="431"/>
                  </a:lnTo>
                  <a:lnTo>
                    <a:pt x="41" y="431"/>
                  </a:lnTo>
                  <a:lnTo>
                    <a:pt x="43" y="431"/>
                  </a:lnTo>
                  <a:lnTo>
                    <a:pt x="43" y="433"/>
                  </a:lnTo>
                  <a:lnTo>
                    <a:pt x="43" y="433"/>
                  </a:lnTo>
                  <a:lnTo>
                    <a:pt x="43" y="435"/>
                  </a:lnTo>
                  <a:lnTo>
                    <a:pt x="47" y="437"/>
                  </a:lnTo>
                  <a:lnTo>
                    <a:pt x="52" y="437"/>
                  </a:lnTo>
                  <a:lnTo>
                    <a:pt x="54" y="435"/>
                  </a:lnTo>
                  <a:lnTo>
                    <a:pt x="58" y="433"/>
                  </a:lnTo>
                  <a:lnTo>
                    <a:pt x="60" y="433"/>
                  </a:lnTo>
                  <a:lnTo>
                    <a:pt x="62" y="433"/>
                  </a:lnTo>
                  <a:lnTo>
                    <a:pt x="64" y="435"/>
                  </a:lnTo>
                  <a:lnTo>
                    <a:pt x="66" y="435"/>
                  </a:lnTo>
                  <a:lnTo>
                    <a:pt x="66" y="437"/>
                  </a:lnTo>
                  <a:lnTo>
                    <a:pt x="72" y="439"/>
                  </a:lnTo>
                  <a:lnTo>
                    <a:pt x="76" y="439"/>
                  </a:lnTo>
                  <a:lnTo>
                    <a:pt x="76" y="441"/>
                  </a:lnTo>
                  <a:lnTo>
                    <a:pt x="78" y="441"/>
                  </a:lnTo>
                  <a:lnTo>
                    <a:pt x="80" y="441"/>
                  </a:lnTo>
                  <a:lnTo>
                    <a:pt x="80" y="441"/>
                  </a:lnTo>
                  <a:lnTo>
                    <a:pt x="82" y="441"/>
                  </a:lnTo>
                  <a:lnTo>
                    <a:pt x="82" y="443"/>
                  </a:lnTo>
                  <a:lnTo>
                    <a:pt x="82" y="443"/>
                  </a:lnTo>
                  <a:lnTo>
                    <a:pt x="84" y="445"/>
                  </a:lnTo>
                  <a:lnTo>
                    <a:pt x="84" y="445"/>
                  </a:lnTo>
                  <a:lnTo>
                    <a:pt x="86" y="447"/>
                  </a:lnTo>
                  <a:lnTo>
                    <a:pt x="88" y="445"/>
                  </a:lnTo>
                  <a:lnTo>
                    <a:pt x="88" y="441"/>
                  </a:lnTo>
                  <a:lnTo>
                    <a:pt x="90" y="435"/>
                  </a:lnTo>
                  <a:lnTo>
                    <a:pt x="93" y="433"/>
                  </a:lnTo>
                  <a:lnTo>
                    <a:pt x="93" y="431"/>
                  </a:lnTo>
                  <a:lnTo>
                    <a:pt x="93" y="431"/>
                  </a:lnTo>
                  <a:lnTo>
                    <a:pt x="95" y="429"/>
                  </a:lnTo>
                  <a:lnTo>
                    <a:pt x="101" y="429"/>
                  </a:lnTo>
                  <a:lnTo>
                    <a:pt x="101" y="429"/>
                  </a:lnTo>
                  <a:lnTo>
                    <a:pt x="103" y="427"/>
                  </a:lnTo>
                  <a:lnTo>
                    <a:pt x="105" y="423"/>
                  </a:lnTo>
                  <a:lnTo>
                    <a:pt x="109" y="421"/>
                  </a:lnTo>
                  <a:lnTo>
                    <a:pt x="111" y="423"/>
                  </a:lnTo>
                  <a:lnTo>
                    <a:pt x="111" y="427"/>
                  </a:lnTo>
                  <a:lnTo>
                    <a:pt x="113" y="429"/>
                  </a:lnTo>
                  <a:lnTo>
                    <a:pt x="117" y="431"/>
                  </a:lnTo>
                  <a:lnTo>
                    <a:pt x="119" y="431"/>
                  </a:lnTo>
                  <a:lnTo>
                    <a:pt x="123" y="429"/>
                  </a:lnTo>
                  <a:lnTo>
                    <a:pt x="125" y="429"/>
                  </a:lnTo>
                  <a:lnTo>
                    <a:pt x="123" y="433"/>
                  </a:lnTo>
                  <a:lnTo>
                    <a:pt x="123" y="433"/>
                  </a:lnTo>
                  <a:lnTo>
                    <a:pt x="125" y="435"/>
                  </a:lnTo>
                  <a:lnTo>
                    <a:pt x="127" y="435"/>
                  </a:lnTo>
                  <a:lnTo>
                    <a:pt x="129" y="433"/>
                  </a:lnTo>
                  <a:lnTo>
                    <a:pt x="129" y="431"/>
                  </a:lnTo>
                  <a:lnTo>
                    <a:pt x="129" y="429"/>
                  </a:lnTo>
                  <a:lnTo>
                    <a:pt x="129" y="427"/>
                  </a:lnTo>
                  <a:lnTo>
                    <a:pt x="133" y="425"/>
                  </a:lnTo>
                  <a:lnTo>
                    <a:pt x="133" y="425"/>
                  </a:lnTo>
                  <a:lnTo>
                    <a:pt x="133" y="423"/>
                  </a:lnTo>
                  <a:lnTo>
                    <a:pt x="133" y="416"/>
                  </a:lnTo>
                  <a:lnTo>
                    <a:pt x="133" y="414"/>
                  </a:lnTo>
                  <a:lnTo>
                    <a:pt x="133" y="412"/>
                  </a:lnTo>
                  <a:lnTo>
                    <a:pt x="136" y="412"/>
                  </a:lnTo>
                  <a:lnTo>
                    <a:pt x="138" y="410"/>
                  </a:lnTo>
                  <a:lnTo>
                    <a:pt x="140" y="410"/>
                  </a:lnTo>
                  <a:lnTo>
                    <a:pt x="140" y="408"/>
                  </a:lnTo>
                  <a:lnTo>
                    <a:pt x="140" y="406"/>
                  </a:lnTo>
                  <a:lnTo>
                    <a:pt x="138" y="404"/>
                  </a:lnTo>
                  <a:lnTo>
                    <a:pt x="138" y="404"/>
                  </a:lnTo>
                  <a:lnTo>
                    <a:pt x="138" y="402"/>
                  </a:lnTo>
                  <a:lnTo>
                    <a:pt x="138" y="402"/>
                  </a:lnTo>
                  <a:lnTo>
                    <a:pt x="140" y="402"/>
                  </a:lnTo>
                  <a:lnTo>
                    <a:pt x="140" y="404"/>
                  </a:lnTo>
                  <a:lnTo>
                    <a:pt x="140" y="404"/>
                  </a:lnTo>
                  <a:lnTo>
                    <a:pt x="142" y="404"/>
                  </a:lnTo>
                  <a:lnTo>
                    <a:pt x="144" y="404"/>
                  </a:lnTo>
                  <a:lnTo>
                    <a:pt x="146" y="402"/>
                  </a:lnTo>
                  <a:lnTo>
                    <a:pt x="148" y="400"/>
                  </a:lnTo>
                  <a:lnTo>
                    <a:pt x="148" y="400"/>
                  </a:lnTo>
                  <a:lnTo>
                    <a:pt x="146" y="400"/>
                  </a:lnTo>
                  <a:lnTo>
                    <a:pt x="144" y="398"/>
                  </a:lnTo>
                  <a:lnTo>
                    <a:pt x="142" y="396"/>
                  </a:lnTo>
                  <a:lnTo>
                    <a:pt x="144" y="396"/>
                  </a:lnTo>
                  <a:lnTo>
                    <a:pt x="146" y="396"/>
                  </a:lnTo>
                  <a:lnTo>
                    <a:pt x="146" y="396"/>
                  </a:lnTo>
                  <a:lnTo>
                    <a:pt x="152" y="398"/>
                  </a:lnTo>
                  <a:lnTo>
                    <a:pt x="152" y="400"/>
                  </a:lnTo>
                  <a:lnTo>
                    <a:pt x="152" y="404"/>
                  </a:lnTo>
                  <a:lnTo>
                    <a:pt x="152" y="406"/>
                  </a:lnTo>
                  <a:lnTo>
                    <a:pt x="154" y="408"/>
                  </a:lnTo>
                  <a:lnTo>
                    <a:pt x="156" y="408"/>
                  </a:lnTo>
                  <a:lnTo>
                    <a:pt x="158" y="410"/>
                  </a:lnTo>
                  <a:lnTo>
                    <a:pt x="160" y="410"/>
                  </a:lnTo>
                  <a:lnTo>
                    <a:pt x="162" y="412"/>
                  </a:lnTo>
                  <a:lnTo>
                    <a:pt x="166" y="412"/>
                  </a:lnTo>
                  <a:lnTo>
                    <a:pt x="168" y="412"/>
                  </a:lnTo>
                  <a:lnTo>
                    <a:pt x="172" y="414"/>
                  </a:lnTo>
                  <a:lnTo>
                    <a:pt x="174" y="416"/>
                  </a:lnTo>
                  <a:lnTo>
                    <a:pt x="174" y="414"/>
                  </a:lnTo>
                  <a:lnTo>
                    <a:pt x="177" y="412"/>
                  </a:lnTo>
                  <a:lnTo>
                    <a:pt x="177" y="412"/>
                  </a:lnTo>
                  <a:lnTo>
                    <a:pt x="181" y="410"/>
                  </a:lnTo>
                  <a:lnTo>
                    <a:pt x="183" y="410"/>
                  </a:lnTo>
                  <a:lnTo>
                    <a:pt x="183" y="410"/>
                  </a:lnTo>
                  <a:lnTo>
                    <a:pt x="183" y="408"/>
                  </a:lnTo>
                  <a:lnTo>
                    <a:pt x="185" y="408"/>
                  </a:lnTo>
                  <a:lnTo>
                    <a:pt x="185" y="404"/>
                  </a:lnTo>
                  <a:lnTo>
                    <a:pt x="185" y="394"/>
                  </a:lnTo>
                  <a:lnTo>
                    <a:pt x="185" y="392"/>
                  </a:lnTo>
                  <a:lnTo>
                    <a:pt x="185" y="390"/>
                  </a:lnTo>
                  <a:lnTo>
                    <a:pt x="185" y="388"/>
                  </a:lnTo>
                  <a:lnTo>
                    <a:pt x="187" y="386"/>
                  </a:lnTo>
                  <a:lnTo>
                    <a:pt x="187" y="386"/>
                  </a:lnTo>
                  <a:lnTo>
                    <a:pt x="189" y="382"/>
                  </a:lnTo>
                  <a:lnTo>
                    <a:pt x="189" y="380"/>
                  </a:lnTo>
                  <a:lnTo>
                    <a:pt x="191" y="380"/>
                  </a:lnTo>
                  <a:lnTo>
                    <a:pt x="193" y="380"/>
                  </a:lnTo>
                  <a:lnTo>
                    <a:pt x="193" y="380"/>
                  </a:lnTo>
                  <a:lnTo>
                    <a:pt x="193" y="380"/>
                  </a:lnTo>
                  <a:lnTo>
                    <a:pt x="195" y="382"/>
                  </a:lnTo>
                  <a:lnTo>
                    <a:pt x="195" y="382"/>
                  </a:lnTo>
                  <a:lnTo>
                    <a:pt x="199" y="380"/>
                  </a:lnTo>
                  <a:lnTo>
                    <a:pt x="199" y="378"/>
                  </a:lnTo>
                  <a:lnTo>
                    <a:pt x="203" y="376"/>
                  </a:lnTo>
                  <a:lnTo>
                    <a:pt x="203" y="371"/>
                  </a:lnTo>
                  <a:lnTo>
                    <a:pt x="205" y="361"/>
                  </a:lnTo>
                  <a:lnTo>
                    <a:pt x="207" y="359"/>
                  </a:lnTo>
                  <a:lnTo>
                    <a:pt x="209" y="359"/>
                  </a:lnTo>
                  <a:lnTo>
                    <a:pt x="211" y="357"/>
                  </a:lnTo>
                  <a:lnTo>
                    <a:pt x="213" y="357"/>
                  </a:lnTo>
                  <a:lnTo>
                    <a:pt x="213" y="355"/>
                  </a:lnTo>
                  <a:lnTo>
                    <a:pt x="215" y="353"/>
                  </a:lnTo>
                  <a:lnTo>
                    <a:pt x="220" y="349"/>
                  </a:lnTo>
                  <a:lnTo>
                    <a:pt x="220" y="347"/>
                  </a:lnTo>
                  <a:lnTo>
                    <a:pt x="220" y="345"/>
                  </a:lnTo>
                  <a:lnTo>
                    <a:pt x="217" y="341"/>
                  </a:lnTo>
                  <a:lnTo>
                    <a:pt x="215" y="335"/>
                  </a:lnTo>
                  <a:lnTo>
                    <a:pt x="215" y="332"/>
                  </a:lnTo>
                  <a:lnTo>
                    <a:pt x="215" y="330"/>
                  </a:lnTo>
                  <a:lnTo>
                    <a:pt x="213" y="328"/>
                  </a:lnTo>
                  <a:lnTo>
                    <a:pt x="215" y="328"/>
                  </a:lnTo>
                  <a:lnTo>
                    <a:pt x="226" y="326"/>
                  </a:lnTo>
                  <a:lnTo>
                    <a:pt x="230" y="324"/>
                  </a:lnTo>
                  <a:lnTo>
                    <a:pt x="232" y="326"/>
                  </a:lnTo>
                  <a:lnTo>
                    <a:pt x="236" y="328"/>
                  </a:lnTo>
                  <a:lnTo>
                    <a:pt x="238" y="330"/>
                  </a:lnTo>
                  <a:lnTo>
                    <a:pt x="240" y="328"/>
                  </a:lnTo>
                  <a:lnTo>
                    <a:pt x="252" y="318"/>
                  </a:lnTo>
                  <a:lnTo>
                    <a:pt x="256" y="316"/>
                  </a:lnTo>
                  <a:lnTo>
                    <a:pt x="260" y="316"/>
                  </a:lnTo>
                  <a:lnTo>
                    <a:pt x="267" y="316"/>
                  </a:lnTo>
                  <a:lnTo>
                    <a:pt x="269" y="314"/>
                  </a:lnTo>
                  <a:lnTo>
                    <a:pt x="267" y="312"/>
                  </a:lnTo>
                  <a:lnTo>
                    <a:pt x="267" y="308"/>
                  </a:lnTo>
                  <a:lnTo>
                    <a:pt x="267" y="30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N</a:t>
              </a:r>
            </a:p>
          </p:txBody>
        </p:sp>
        <p:sp>
          <p:nvSpPr>
            <p:cNvPr id="278" name="Freeform 41">
              <a:extLst>
                <a:ext uri="{FF2B5EF4-FFF2-40B4-BE49-F238E27FC236}">
                  <a16:creationId xmlns:a16="http://schemas.microsoft.com/office/drawing/2014/main" id="{44E2E267-D3B6-FC74-27DE-2E6CF4FA7510}"/>
                </a:ext>
              </a:extLst>
            </p:cNvPr>
            <p:cNvSpPr>
              <a:spLocks/>
            </p:cNvSpPr>
            <p:nvPr/>
          </p:nvSpPr>
          <p:spPr bwMode="auto">
            <a:xfrm>
              <a:off x="3437" y="803"/>
              <a:ext cx="350" cy="597"/>
            </a:xfrm>
            <a:custGeom>
              <a:avLst/>
              <a:gdLst>
                <a:gd name="T0" fmla="*/ 342 w 350"/>
                <a:gd name="T1" fmla="*/ 367 h 597"/>
                <a:gd name="T2" fmla="*/ 338 w 350"/>
                <a:gd name="T3" fmla="*/ 345 h 597"/>
                <a:gd name="T4" fmla="*/ 340 w 350"/>
                <a:gd name="T5" fmla="*/ 308 h 597"/>
                <a:gd name="T6" fmla="*/ 324 w 350"/>
                <a:gd name="T7" fmla="*/ 154 h 597"/>
                <a:gd name="T8" fmla="*/ 305 w 350"/>
                <a:gd name="T9" fmla="*/ 60 h 597"/>
                <a:gd name="T10" fmla="*/ 293 w 350"/>
                <a:gd name="T11" fmla="*/ 39 h 597"/>
                <a:gd name="T12" fmla="*/ 283 w 350"/>
                <a:gd name="T13" fmla="*/ 15 h 597"/>
                <a:gd name="T14" fmla="*/ 240 w 350"/>
                <a:gd name="T15" fmla="*/ 5 h 597"/>
                <a:gd name="T16" fmla="*/ 111 w 350"/>
                <a:gd name="T17" fmla="*/ 15 h 597"/>
                <a:gd name="T18" fmla="*/ 53 w 350"/>
                <a:gd name="T19" fmla="*/ 19 h 597"/>
                <a:gd name="T20" fmla="*/ 53 w 350"/>
                <a:gd name="T21" fmla="*/ 19 h 597"/>
                <a:gd name="T22" fmla="*/ 74 w 350"/>
                <a:gd name="T23" fmla="*/ 39 h 597"/>
                <a:gd name="T24" fmla="*/ 90 w 350"/>
                <a:gd name="T25" fmla="*/ 54 h 597"/>
                <a:gd name="T26" fmla="*/ 98 w 350"/>
                <a:gd name="T27" fmla="*/ 68 h 597"/>
                <a:gd name="T28" fmla="*/ 88 w 350"/>
                <a:gd name="T29" fmla="*/ 97 h 597"/>
                <a:gd name="T30" fmla="*/ 86 w 350"/>
                <a:gd name="T31" fmla="*/ 111 h 597"/>
                <a:gd name="T32" fmla="*/ 66 w 350"/>
                <a:gd name="T33" fmla="*/ 125 h 597"/>
                <a:gd name="T34" fmla="*/ 27 w 350"/>
                <a:gd name="T35" fmla="*/ 150 h 597"/>
                <a:gd name="T36" fmla="*/ 41 w 350"/>
                <a:gd name="T37" fmla="*/ 175 h 597"/>
                <a:gd name="T38" fmla="*/ 31 w 350"/>
                <a:gd name="T39" fmla="*/ 209 h 597"/>
                <a:gd name="T40" fmla="*/ 6 w 350"/>
                <a:gd name="T41" fmla="*/ 230 h 597"/>
                <a:gd name="T42" fmla="*/ 10 w 350"/>
                <a:gd name="T43" fmla="*/ 244 h 597"/>
                <a:gd name="T44" fmla="*/ 0 w 350"/>
                <a:gd name="T45" fmla="*/ 273 h 597"/>
                <a:gd name="T46" fmla="*/ 8 w 350"/>
                <a:gd name="T47" fmla="*/ 302 h 597"/>
                <a:gd name="T48" fmla="*/ 14 w 350"/>
                <a:gd name="T49" fmla="*/ 316 h 597"/>
                <a:gd name="T50" fmla="*/ 66 w 350"/>
                <a:gd name="T51" fmla="*/ 359 h 597"/>
                <a:gd name="T52" fmla="*/ 76 w 350"/>
                <a:gd name="T53" fmla="*/ 380 h 597"/>
                <a:gd name="T54" fmla="*/ 80 w 350"/>
                <a:gd name="T55" fmla="*/ 392 h 597"/>
                <a:gd name="T56" fmla="*/ 107 w 350"/>
                <a:gd name="T57" fmla="*/ 396 h 597"/>
                <a:gd name="T58" fmla="*/ 127 w 350"/>
                <a:gd name="T59" fmla="*/ 414 h 597"/>
                <a:gd name="T60" fmla="*/ 115 w 350"/>
                <a:gd name="T61" fmla="*/ 457 h 597"/>
                <a:gd name="T62" fmla="*/ 123 w 350"/>
                <a:gd name="T63" fmla="*/ 480 h 597"/>
                <a:gd name="T64" fmla="*/ 141 w 350"/>
                <a:gd name="T65" fmla="*/ 494 h 597"/>
                <a:gd name="T66" fmla="*/ 172 w 350"/>
                <a:gd name="T67" fmla="*/ 509 h 597"/>
                <a:gd name="T68" fmla="*/ 193 w 350"/>
                <a:gd name="T69" fmla="*/ 529 h 597"/>
                <a:gd name="T70" fmla="*/ 203 w 350"/>
                <a:gd name="T71" fmla="*/ 554 h 597"/>
                <a:gd name="T72" fmla="*/ 201 w 350"/>
                <a:gd name="T73" fmla="*/ 572 h 597"/>
                <a:gd name="T74" fmla="*/ 219 w 350"/>
                <a:gd name="T75" fmla="*/ 595 h 597"/>
                <a:gd name="T76" fmla="*/ 219 w 350"/>
                <a:gd name="T77" fmla="*/ 587 h 597"/>
                <a:gd name="T78" fmla="*/ 227 w 350"/>
                <a:gd name="T79" fmla="*/ 595 h 597"/>
                <a:gd name="T80" fmla="*/ 229 w 350"/>
                <a:gd name="T81" fmla="*/ 591 h 597"/>
                <a:gd name="T82" fmla="*/ 250 w 350"/>
                <a:gd name="T83" fmla="*/ 568 h 597"/>
                <a:gd name="T84" fmla="*/ 287 w 350"/>
                <a:gd name="T85" fmla="*/ 564 h 597"/>
                <a:gd name="T86" fmla="*/ 293 w 350"/>
                <a:gd name="T87" fmla="*/ 543 h 597"/>
                <a:gd name="T88" fmla="*/ 309 w 350"/>
                <a:gd name="T89" fmla="*/ 519 h 597"/>
                <a:gd name="T90" fmla="*/ 318 w 350"/>
                <a:gd name="T91" fmla="*/ 498 h 597"/>
                <a:gd name="T92" fmla="*/ 318 w 350"/>
                <a:gd name="T93" fmla="*/ 496 h 597"/>
                <a:gd name="T94" fmla="*/ 315 w 350"/>
                <a:gd name="T95" fmla="*/ 486 h 597"/>
                <a:gd name="T96" fmla="*/ 313 w 350"/>
                <a:gd name="T97" fmla="*/ 472 h 597"/>
                <a:gd name="T98" fmla="*/ 318 w 350"/>
                <a:gd name="T99" fmla="*/ 466 h 597"/>
                <a:gd name="T100" fmla="*/ 318 w 350"/>
                <a:gd name="T101" fmla="*/ 455 h 597"/>
                <a:gd name="T102" fmla="*/ 320 w 350"/>
                <a:gd name="T103" fmla="*/ 447 h 597"/>
                <a:gd name="T104" fmla="*/ 326 w 350"/>
                <a:gd name="T105" fmla="*/ 443 h 597"/>
                <a:gd name="T106" fmla="*/ 330 w 350"/>
                <a:gd name="T107" fmla="*/ 439 h 597"/>
                <a:gd name="T108" fmla="*/ 334 w 350"/>
                <a:gd name="T109" fmla="*/ 427 h 597"/>
                <a:gd name="T110" fmla="*/ 342 w 350"/>
                <a:gd name="T111" fmla="*/ 421 h 597"/>
                <a:gd name="T112" fmla="*/ 342 w 350"/>
                <a:gd name="T113" fmla="*/ 410 h 597"/>
                <a:gd name="T114" fmla="*/ 346 w 350"/>
                <a:gd name="T115" fmla="*/ 40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597">
                  <a:moveTo>
                    <a:pt x="348" y="384"/>
                  </a:moveTo>
                  <a:lnTo>
                    <a:pt x="346" y="380"/>
                  </a:lnTo>
                  <a:lnTo>
                    <a:pt x="346" y="377"/>
                  </a:lnTo>
                  <a:lnTo>
                    <a:pt x="346" y="377"/>
                  </a:lnTo>
                  <a:lnTo>
                    <a:pt x="348" y="375"/>
                  </a:lnTo>
                  <a:lnTo>
                    <a:pt x="346" y="371"/>
                  </a:lnTo>
                  <a:lnTo>
                    <a:pt x="346" y="369"/>
                  </a:lnTo>
                  <a:lnTo>
                    <a:pt x="344" y="367"/>
                  </a:lnTo>
                  <a:lnTo>
                    <a:pt x="342" y="367"/>
                  </a:lnTo>
                  <a:lnTo>
                    <a:pt x="342" y="365"/>
                  </a:lnTo>
                  <a:lnTo>
                    <a:pt x="340" y="361"/>
                  </a:lnTo>
                  <a:lnTo>
                    <a:pt x="340" y="359"/>
                  </a:lnTo>
                  <a:lnTo>
                    <a:pt x="336" y="357"/>
                  </a:lnTo>
                  <a:lnTo>
                    <a:pt x="336" y="357"/>
                  </a:lnTo>
                  <a:lnTo>
                    <a:pt x="334" y="357"/>
                  </a:lnTo>
                  <a:lnTo>
                    <a:pt x="334" y="355"/>
                  </a:lnTo>
                  <a:lnTo>
                    <a:pt x="334" y="351"/>
                  </a:lnTo>
                  <a:lnTo>
                    <a:pt x="338" y="345"/>
                  </a:lnTo>
                  <a:lnTo>
                    <a:pt x="338" y="341"/>
                  </a:lnTo>
                  <a:lnTo>
                    <a:pt x="336" y="336"/>
                  </a:lnTo>
                  <a:lnTo>
                    <a:pt x="336" y="336"/>
                  </a:lnTo>
                  <a:lnTo>
                    <a:pt x="336" y="332"/>
                  </a:lnTo>
                  <a:lnTo>
                    <a:pt x="338" y="332"/>
                  </a:lnTo>
                  <a:lnTo>
                    <a:pt x="342" y="328"/>
                  </a:lnTo>
                  <a:lnTo>
                    <a:pt x="342" y="328"/>
                  </a:lnTo>
                  <a:lnTo>
                    <a:pt x="342" y="324"/>
                  </a:lnTo>
                  <a:lnTo>
                    <a:pt x="340" y="308"/>
                  </a:lnTo>
                  <a:lnTo>
                    <a:pt x="338" y="293"/>
                  </a:lnTo>
                  <a:lnTo>
                    <a:pt x="336" y="277"/>
                  </a:lnTo>
                  <a:lnTo>
                    <a:pt x="334" y="246"/>
                  </a:lnTo>
                  <a:lnTo>
                    <a:pt x="332" y="232"/>
                  </a:lnTo>
                  <a:lnTo>
                    <a:pt x="330" y="216"/>
                  </a:lnTo>
                  <a:lnTo>
                    <a:pt x="328" y="201"/>
                  </a:lnTo>
                  <a:lnTo>
                    <a:pt x="326" y="185"/>
                  </a:lnTo>
                  <a:lnTo>
                    <a:pt x="326" y="170"/>
                  </a:lnTo>
                  <a:lnTo>
                    <a:pt x="324" y="154"/>
                  </a:lnTo>
                  <a:lnTo>
                    <a:pt x="322" y="140"/>
                  </a:lnTo>
                  <a:lnTo>
                    <a:pt x="320" y="123"/>
                  </a:lnTo>
                  <a:lnTo>
                    <a:pt x="318" y="109"/>
                  </a:lnTo>
                  <a:lnTo>
                    <a:pt x="318" y="95"/>
                  </a:lnTo>
                  <a:lnTo>
                    <a:pt x="315" y="78"/>
                  </a:lnTo>
                  <a:lnTo>
                    <a:pt x="315" y="78"/>
                  </a:lnTo>
                  <a:lnTo>
                    <a:pt x="309" y="72"/>
                  </a:lnTo>
                  <a:lnTo>
                    <a:pt x="307" y="68"/>
                  </a:lnTo>
                  <a:lnTo>
                    <a:pt x="305" y="60"/>
                  </a:lnTo>
                  <a:lnTo>
                    <a:pt x="301" y="56"/>
                  </a:lnTo>
                  <a:lnTo>
                    <a:pt x="299" y="45"/>
                  </a:lnTo>
                  <a:lnTo>
                    <a:pt x="299" y="45"/>
                  </a:lnTo>
                  <a:lnTo>
                    <a:pt x="299" y="43"/>
                  </a:lnTo>
                  <a:lnTo>
                    <a:pt x="297" y="41"/>
                  </a:lnTo>
                  <a:lnTo>
                    <a:pt x="297" y="41"/>
                  </a:lnTo>
                  <a:lnTo>
                    <a:pt x="295" y="39"/>
                  </a:lnTo>
                  <a:lnTo>
                    <a:pt x="293" y="39"/>
                  </a:lnTo>
                  <a:lnTo>
                    <a:pt x="293" y="39"/>
                  </a:lnTo>
                  <a:lnTo>
                    <a:pt x="293" y="39"/>
                  </a:lnTo>
                  <a:lnTo>
                    <a:pt x="291" y="37"/>
                  </a:lnTo>
                  <a:lnTo>
                    <a:pt x="291" y="37"/>
                  </a:lnTo>
                  <a:lnTo>
                    <a:pt x="291" y="35"/>
                  </a:lnTo>
                  <a:lnTo>
                    <a:pt x="291" y="35"/>
                  </a:lnTo>
                  <a:lnTo>
                    <a:pt x="287" y="29"/>
                  </a:lnTo>
                  <a:lnTo>
                    <a:pt x="285" y="25"/>
                  </a:lnTo>
                  <a:lnTo>
                    <a:pt x="285" y="23"/>
                  </a:lnTo>
                  <a:lnTo>
                    <a:pt x="283" y="15"/>
                  </a:lnTo>
                  <a:lnTo>
                    <a:pt x="283" y="13"/>
                  </a:lnTo>
                  <a:lnTo>
                    <a:pt x="283" y="13"/>
                  </a:lnTo>
                  <a:lnTo>
                    <a:pt x="283" y="11"/>
                  </a:lnTo>
                  <a:lnTo>
                    <a:pt x="283" y="11"/>
                  </a:lnTo>
                  <a:lnTo>
                    <a:pt x="283" y="0"/>
                  </a:lnTo>
                  <a:lnTo>
                    <a:pt x="283" y="0"/>
                  </a:lnTo>
                  <a:lnTo>
                    <a:pt x="268" y="0"/>
                  </a:lnTo>
                  <a:lnTo>
                    <a:pt x="254" y="2"/>
                  </a:lnTo>
                  <a:lnTo>
                    <a:pt x="240" y="5"/>
                  </a:lnTo>
                  <a:lnTo>
                    <a:pt x="225" y="5"/>
                  </a:lnTo>
                  <a:lnTo>
                    <a:pt x="211" y="7"/>
                  </a:lnTo>
                  <a:lnTo>
                    <a:pt x="197" y="9"/>
                  </a:lnTo>
                  <a:lnTo>
                    <a:pt x="182" y="9"/>
                  </a:lnTo>
                  <a:lnTo>
                    <a:pt x="168" y="11"/>
                  </a:lnTo>
                  <a:lnTo>
                    <a:pt x="154" y="11"/>
                  </a:lnTo>
                  <a:lnTo>
                    <a:pt x="139" y="13"/>
                  </a:lnTo>
                  <a:lnTo>
                    <a:pt x="125" y="15"/>
                  </a:lnTo>
                  <a:lnTo>
                    <a:pt x="111" y="15"/>
                  </a:lnTo>
                  <a:lnTo>
                    <a:pt x="96" y="17"/>
                  </a:lnTo>
                  <a:lnTo>
                    <a:pt x="82" y="17"/>
                  </a:lnTo>
                  <a:lnTo>
                    <a:pt x="68"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1" y="23"/>
                  </a:lnTo>
                  <a:lnTo>
                    <a:pt x="53" y="23"/>
                  </a:lnTo>
                  <a:lnTo>
                    <a:pt x="55" y="25"/>
                  </a:lnTo>
                  <a:lnTo>
                    <a:pt x="57" y="25"/>
                  </a:lnTo>
                  <a:lnTo>
                    <a:pt x="57" y="27"/>
                  </a:lnTo>
                  <a:lnTo>
                    <a:pt x="62" y="29"/>
                  </a:lnTo>
                  <a:lnTo>
                    <a:pt x="68" y="33"/>
                  </a:lnTo>
                  <a:lnTo>
                    <a:pt x="72" y="35"/>
                  </a:lnTo>
                  <a:lnTo>
                    <a:pt x="74" y="39"/>
                  </a:lnTo>
                  <a:lnTo>
                    <a:pt x="74" y="37"/>
                  </a:lnTo>
                  <a:lnTo>
                    <a:pt x="74" y="43"/>
                  </a:lnTo>
                  <a:lnTo>
                    <a:pt x="74" y="45"/>
                  </a:lnTo>
                  <a:lnTo>
                    <a:pt x="78" y="48"/>
                  </a:lnTo>
                  <a:lnTo>
                    <a:pt x="80" y="50"/>
                  </a:lnTo>
                  <a:lnTo>
                    <a:pt x="80" y="50"/>
                  </a:lnTo>
                  <a:lnTo>
                    <a:pt x="82" y="50"/>
                  </a:lnTo>
                  <a:lnTo>
                    <a:pt x="88" y="54"/>
                  </a:lnTo>
                  <a:lnTo>
                    <a:pt x="90" y="54"/>
                  </a:lnTo>
                  <a:lnTo>
                    <a:pt x="92" y="58"/>
                  </a:lnTo>
                  <a:lnTo>
                    <a:pt x="92" y="58"/>
                  </a:lnTo>
                  <a:lnTo>
                    <a:pt x="94" y="58"/>
                  </a:lnTo>
                  <a:lnTo>
                    <a:pt x="94" y="58"/>
                  </a:lnTo>
                  <a:lnTo>
                    <a:pt x="94" y="60"/>
                  </a:lnTo>
                  <a:lnTo>
                    <a:pt x="94" y="62"/>
                  </a:lnTo>
                  <a:lnTo>
                    <a:pt x="96" y="62"/>
                  </a:lnTo>
                  <a:lnTo>
                    <a:pt x="98" y="66"/>
                  </a:lnTo>
                  <a:lnTo>
                    <a:pt x="98" y="68"/>
                  </a:lnTo>
                  <a:lnTo>
                    <a:pt x="98" y="72"/>
                  </a:lnTo>
                  <a:lnTo>
                    <a:pt x="96" y="76"/>
                  </a:lnTo>
                  <a:lnTo>
                    <a:pt x="96" y="82"/>
                  </a:lnTo>
                  <a:lnTo>
                    <a:pt x="96" y="89"/>
                  </a:lnTo>
                  <a:lnTo>
                    <a:pt x="94" y="91"/>
                  </a:lnTo>
                  <a:lnTo>
                    <a:pt x="94" y="91"/>
                  </a:lnTo>
                  <a:lnTo>
                    <a:pt x="92" y="93"/>
                  </a:lnTo>
                  <a:lnTo>
                    <a:pt x="90" y="95"/>
                  </a:lnTo>
                  <a:lnTo>
                    <a:pt x="88" y="97"/>
                  </a:lnTo>
                  <a:lnTo>
                    <a:pt x="88" y="99"/>
                  </a:lnTo>
                  <a:lnTo>
                    <a:pt x="86" y="101"/>
                  </a:lnTo>
                  <a:lnTo>
                    <a:pt x="86" y="103"/>
                  </a:lnTo>
                  <a:lnTo>
                    <a:pt x="86" y="105"/>
                  </a:lnTo>
                  <a:lnTo>
                    <a:pt x="84" y="107"/>
                  </a:lnTo>
                  <a:lnTo>
                    <a:pt x="84" y="107"/>
                  </a:lnTo>
                  <a:lnTo>
                    <a:pt x="86" y="109"/>
                  </a:lnTo>
                  <a:lnTo>
                    <a:pt x="86" y="109"/>
                  </a:lnTo>
                  <a:lnTo>
                    <a:pt x="86" y="111"/>
                  </a:lnTo>
                  <a:lnTo>
                    <a:pt x="86" y="113"/>
                  </a:lnTo>
                  <a:lnTo>
                    <a:pt x="86" y="113"/>
                  </a:lnTo>
                  <a:lnTo>
                    <a:pt x="84" y="115"/>
                  </a:lnTo>
                  <a:lnTo>
                    <a:pt x="80" y="117"/>
                  </a:lnTo>
                  <a:lnTo>
                    <a:pt x="80" y="117"/>
                  </a:lnTo>
                  <a:lnTo>
                    <a:pt x="80" y="119"/>
                  </a:lnTo>
                  <a:lnTo>
                    <a:pt x="78" y="121"/>
                  </a:lnTo>
                  <a:lnTo>
                    <a:pt x="74" y="121"/>
                  </a:lnTo>
                  <a:lnTo>
                    <a:pt x="66" y="125"/>
                  </a:lnTo>
                  <a:lnTo>
                    <a:pt x="66" y="125"/>
                  </a:lnTo>
                  <a:lnTo>
                    <a:pt x="62" y="130"/>
                  </a:lnTo>
                  <a:lnTo>
                    <a:pt x="62" y="132"/>
                  </a:lnTo>
                  <a:lnTo>
                    <a:pt x="57" y="132"/>
                  </a:lnTo>
                  <a:lnTo>
                    <a:pt x="33" y="136"/>
                  </a:lnTo>
                  <a:lnTo>
                    <a:pt x="31" y="138"/>
                  </a:lnTo>
                  <a:lnTo>
                    <a:pt x="29" y="142"/>
                  </a:lnTo>
                  <a:lnTo>
                    <a:pt x="27" y="146"/>
                  </a:lnTo>
                  <a:lnTo>
                    <a:pt x="27" y="150"/>
                  </a:lnTo>
                  <a:lnTo>
                    <a:pt x="27" y="156"/>
                  </a:lnTo>
                  <a:lnTo>
                    <a:pt x="27" y="158"/>
                  </a:lnTo>
                  <a:lnTo>
                    <a:pt x="27" y="160"/>
                  </a:lnTo>
                  <a:lnTo>
                    <a:pt x="29" y="162"/>
                  </a:lnTo>
                  <a:lnTo>
                    <a:pt x="31" y="162"/>
                  </a:lnTo>
                  <a:lnTo>
                    <a:pt x="31" y="164"/>
                  </a:lnTo>
                  <a:lnTo>
                    <a:pt x="35" y="166"/>
                  </a:lnTo>
                  <a:lnTo>
                    <a:pt x="39" y="170"/>
                  </a:lnTo>
                  <a:lnTo>
                    <a:pt x="41" y="175"/>
                  </a:lnTo>
                  <a:lnTo>
                    <a:pt x="41" y="179"/>
                  </a:lnTo>
                  <a:lnTo>
                    <a:pt x="41" y="183"/>
                  </a:lnTo>
                  <a:lnTo>
                    <a:pt x="39" y="187"/>
                  </a:lnTo>
                  <a:lnTo>
                    <a:pt x="33" y="197"/>
                  </a:lnTo>
                  <a:lnTo>
                    <a:pt x="31" y="199"/>
                  </a:lnTo>
                  <a:lnTo>
                    <a:pt x="31" y="201"/>
                  </a:lnTo>
                  <a:lnTo>
                    <a:pt x="31" y="203"/>
                  </a:lnTo>
                  <a:lnTo>
                    <a:pt x="31" y="207"/>
                  </a:lnTo>
                  <a:lnTo>
                    <a:pt x="31" y="209"/>
                  </a:lnTo>
                  <a:lnTo>
                    <a:pt x="29" y="216"/>
                  </a:lnTo>
                  <a:lnTo>
                    <a:pt x="27" y="218"/>
                  </a:lnTo>
                  <a:lnTo>
                    <a:pt x="25" y="220"/>
                  </a:lnTo>
                  <a:lnTo>
                    <a:pt x="21" y="222"/>
                  </a:lnTo>
                  <a:lnTo>
                    <a:pt x="18" y="222"/>
                  </a:lnTo>
                  <a:lnTo>
                    <a:pt x="14" y="224"/>
                  </a:lnTo>
                  <a:lnTo>
                    <a:pt x="12" y="226"/>
                  </a:lnTo>
                  <a:lnTo>
                    <a:pt x="8" y="228"/>
                  </a:lnTo>
                  <a:lnTo>
                    <a:pt x="6" y="230"/>
                  </a:lnTo>
                  <a:lnTo>
                    <a:pt x="6" y="230"/>
                  </a:lnTo>
                  <a:lnTo>
                    <a:pt x="6" y="232"/>
                  </a:lnTo>
                  <a:lnTo>
                    <a:pt x="6" y="232"/>
                  </a:lnTo>
                  <a:lnTo>
                    <a:pt x="6" y="234"/>
                  </a:lnTo>
                  <a:lnTo>
                    <a:pt x="8" y="234"/>
                  </a:lnTo>
                  <a:lnTo>
                    <a:pt x="10" y="236"/>
                  </a:lnTo>
                  <a:lnTo>
                    <a:pt x="10" y="238"/>
                  </a:lnTo>
                  <a:lnTo>
                    <a:pt x="10" y="242"/>
                  </a:lnTo>
                  <a:lnTo>
                    <a:pt x="10" y="244"/>
                  </a:lnTo>
                  <a:lnTo>
                    <a:pt x="10" y="246"/>
                  </a:lnTo>
                  <a:lnTo>
                    <a:pt x="10" y="248"/>
                  </a:lnTo>
                  <a:lnTo>
                    <a:pt x="10" y="248"/>
                  </a:lnTo>
                  <a:lnTo>
                    <a:pt x="6" y="250"/>
                  </a:lnTo>
                  <a:lnTo>
                    <a:pt x="2" y="252"/>
                  </a:lnTo>
                  <a:lnTo>
                    <a:pt x="2" y="259"/>
                  </a:lnTo>
                  <a:lnTo>
                    <a:pt x="0" y="265"/>
                  </a:lnTo>
                  <a:lnTo>
                    <a:pt x="0" y="269"/>
                  </a:lnTo>
                  <a:lnTo>
                    <a:pt x="0" y="273"/>
                  </a:lnTo>
                  <a:lnTo>
                    <a:pt x="4" y="291"/>
                  </a:lnTo>
                  <a:lnTo>
                    <a:pt x="4" y="291"/>
                  </a:lnTo>
                  <a:lnTo>
                    <a:pt x="6" y="293"/>
                  </a:lnTo>
                  <a:lnTo>
                    <a:pt x="8" y="296"/>
                  </a:lnTo>
                  <a:lnTo>
                    <a:pt x="8" y="296"/>
                  </a:lnTo>
                  <a:lnTo>
                    <a:pt x="8" y="298"/>
                  </a:lnTo>
                  <a:lnTo>
                    <a:pt x="8" y="298"/>
                  </a:lnTo>
                  <a:lnTo>
                    <a:pt x="8" y="300"/>
                  </a:lnTo>
                  <a:lnTo>
                    <a:pt x="8" y="302"/>
                  </a:lnTo>
                  <a:lnTo>
                    <a:pt x="8" y="304"/>
                  </a:lnTo>
                  <a:lnTo>
                    <a:pt x="8" y="306"/>
                  </a:lnTo>
                  <a:lnTo>
                    <a:pt x="10" y="306"/>
                  </a:lnTo>
                  <a:lnTo>
                    <a:pt x="10" y="308"/>
                  </a:lnTo>
                  <a:lnTo>
                    <a:pt x="10" y="310"/>
                  </a:lnTo>
                  <a:lnTo>
                    <a:pt x="14" y="310"/>
                  </a:lnTo>
                  <a:lnTo>
                    <a:pt x="14" y="312"/>
                  </a:lnTo>
                  <a:lnTo>
                    <a:pt x="14" y="314"/>
                  </a:lnTo>
                  <a:lnTo>
                    <a:pt x="14" y="316"/>
                  </a:lnTo>
                  <a:lnTo>
                    <a:pt x="16" y="318"/>
                  </a:lnTo>
                  <a:lnTo>
                    <a:pt x="18" y="322"/>
                  </a:lnTo>
                  <a:lnTo>
                    <a:pt x="41" y="339"/>
                  </a:lnTo>
                  <a:lnTo>
                    <a:pt x="43" y="341"/>
                  </a:lnTo>
                  <a:lnTo>
                    <a:pt x="43" y="343"/>
                  </a:lnTo>
                  <a:lnTo>
                    <a:pt x="43" y="345"/>
                  </a:lnTo>
                  <a:lnTo>
                    <a:pt x="45" y="347"/>
                  </a:lnTo>
                  <a:lnTo>
                    <a:pt x="45" y="347"/>
                  </a:lnTo>
                  <a:lnTo>
                    <a:pt x="66" y="359"/>
                  </a:lnTo>
                  <a:lnTo>
                    <a:pt x="68" y="361"/>
                  </a:lnTo>
                  <a:lnTo>
                    <a:pt x="70" y="363"/>
                  </a:lnTo>
                  <a:lnTo>
                    <a:pt x="74" y="367"/>
                  </a:lnTo>
                  <a:lnTo>
                    <a:pt x="74" y="369"/>
                  </a:lnTo>
                  <a:lnTo>
                    <a:pt x="76" y="371"/>
                  </a:lnTo>
                  <a:lnTo>
                    <a:pt x="76" y="373"/>
                  </a:lnTo>
                  <a:lnTo>
                    <a:pt x="76" y="375"/>
                  </a:lnTo>
                  <a:lnTo>
                    <a:pt x="76" y="377"/>
                  </a:lnTo>
                  <a:lnTo>
                    <a:pt x="76" y="380"/>
                  </a:lnTo>
                  <a:lnTo>
                    <a:pt x="78" y="382"/>
                  </a:lnTo>
                  <a:lnTo>
                    <a:pt x="78" y="382"/>
                  </a:lnTo>
                  <a:lnTo>
                    <a:pt x="78" y="384"/>
                  </a:lnTo>
                  <a:lnTo>
                    <a:pt x="78" y="384"/>
                  </a:lnTo>
                  <a:lnTo>
                    <a:pt x="78" y="386"/>
                  </a:lnTo>
                  <a:lnTo>
                    <a:pt x="78" y="388"/>
                  </a:lnTo>
                  <a:lnTo>
                    <a:pt x="78" y="388"/>
                  </a:lnTo>
                  <a:lnTo>
                    <a:pt x="80" y="390"/>
                  </a:lnTo>
                  <a:lnTo>
                    <a:pt x="80" y="392"/>
                  </a:lnTo>
                  <a:lnTo>
                    <a:pt x="80" y="394"/>
                  </a:lnTo>
                  <a:lnTo>
                    <a:pt x="84" y="400"/>
                  </a:lnTo>
                  <a:lnTo>
                    <a:pt x="86" y="404"/>
                  </a:lnTo>
                  <a:lnTo>
                    <a:pt x="90" y="404"/>
                  </a:lnTo>
                  <a:lnTo>
                    <a:pt x="94" y="402"/>
                  </a:lnTo>
                  <a:lnTo>
                    <a:pt x="98" y="396"/>
                  </a:lnTo>
                  <a:lnTo>
                    <a:pt x="102" y="394"/>
                  </a:lnTo>
                  <a:lnTo>
                    <a:pt x="105" y="394"/>
                  </a:lnTo>
                  <a:lnTo>
                    <a:pt x="107" y="396"/>
                  </a:lnTo>
                  <a:lnTo>
                    <a:pt x="109" y="396"/>
                  </a:lnTo>
                  <a:lnTo>
                    <a:pt x="111" y="396"/>
                  </a:lnTo>
                  <a:lnTo>
                    <a:pt x="115" y="398"/>
                  </a:lnTo>
                  <a:lnTo>
                    <a:pt x="125" y="402"/>
                  </a:lnTo>
                  <a:lnTo>
                    <a:pt x="127" y="404"/>
                  </a:lnTo>
                  <a:lnTo>
                    <a:pt x="129" y="406"/>
                  </a:lnTo>
                  <a:lnTo>
                    <a:pt x="129" y="408"/>
                  </a:lnTo>
                  <a:lnTo>
                    <a:pt x="127" y="412"/>
                  </a:lnTo>
                  <a:lnTo>
                    <a:pt x="127" y="414"/>
                  </a:lnTo>
                  <a:lnTo>
                    <a:pt x="125" y="414"/>
                  </a:lnTo>
                  <a:lnTo>
                    <a:pt x="125" y="416"/>
                  </a:lnTo>
                  <a:lnTo>
                    <a:pt x="125" y="418"/>
                  </a:lnTo>
                  <a:lnTo>
                    <a:pt x="125" y="423"/>
                  </a:lnTo>
                  <a:lnTo>
                    <a:pt x="125" y="429"/>
                  </a:lnTo>
                  <a:lnTo>
                    <a:pt x="125" y="431"/>
                  </a:lnTo>
                  <a:lnTo>
                    <a:pt x="121" y="439"/>
                  </a:lnTo>
                  <a:lnTo>
                    <a:pt x="117" y="451"/>
                  </a:lnTo>
                  <a:lnTo>
                    <a:pt x="115" y="457"/>
                  </a:lnTo>
                  <a:lnTo>
                    <a:pt x="113" y="461"/>
                  </a:lnTo>
                  <a:lnTo>
                    <a:pt x="113" y="466"/>
                  </a:lnTo>
                  <a:lnTo>
                    <a:pt x="115" y="470"/>
                  </a:lnTo>
                  <a:lnTo>
                    <a:pt x="115" y="472"/>
                  </a:lnTo>
                  <a:lnTo>
                    <a:pt x="115" y="474"/>
                  </a:lnTo>
                  <a:lnTo>
                    <a:pt x="117" y="474"/>
                  </a:lnTo>
                  <a:lnTo>
                    <a:pt x="117" y="476"/>
                  </a:lnTo>
                  <a:lnTo>
                    <a:pt x="121" y="478"/>
                  </a:lnTo>
                  <a:lnTo>
                    <a:pt x="123" y="480"/>
                  </a:lnTo>
                  <a:lnTo>
                    <a:pt x="125" y="482"/>
                  </a:lnTo>
                  <a:lnTo>
                    <a:pt x="125" y="482"/>
                  </a:lnTo>
                  <a:lnTo>
                    <a:pt x="127" y="484"/>
                  </a:lnTo>
                  <a:lnTo>
                    <a:pt x="127" y="486"/>
                  </a:lnTo>
                  <a:lnTo>
                    <a:pt x="131" y="486"/>
                  </a:lnTo>
                  <a:lnTo>
                    <a:pt x="133" y="488"/>
                  </a:lnTo>
                  <a:lnTo>
                    <a:pt x="135" y="492"/>
                  </a:lnTo>
                  <a:lnTo>
                    <a:pt x="139" y="494"/>
                  </a:lnTo>
                  <a:lnTo>
                    <a:pt x="141" y="494"/>
                  </a:lnTo>
                  <a:lnTo>
                    <a:pt x="148" y="498"/>
                  </a:lnTo>
                  <a:lnTo>
                    <a:pt x="148" y="498"/>
                  </a:lnTo>
                  <a:lnTo>
                    <a:pt x="152" y="498"/>
                  </a:lnTo>
                  <a:lnTo>
                    <a:pt x="152" y="498"/>
                  </a:lnTo>
                  <a:lnTo>
                    <a:pt x="156" y="498"/>
                  </a:lnTo>
                  <a:lnTo>
                    <a:pt x="158" y="500"/>
                  </a:lnTo>
                  <a:lnTo>
                    <a:pt x="164" y="505"/>
                  </a:lnTo>
                  <a:lnTo>
                    <a:pt x="166" y="507"/>
                  </a:lnTo>
                  <a:lnTo>
                    <a:pt x="172" y="509"/>
                  </a:lnTo>
                  <a:lnTo>
                    <a:pt x="174" y="511"/>
                  </a:lnTo>
                  <a:lnTo>
                    <a:pt x="176" y="513"/>
                  </a:lnTo>
                  <a:lnTo>
                    <a:pt x="178" y="519"/>
                  </a:lnTo>
                  <a:lnTo>
                    <a:pt x="180" y="521"/>
                  </a:lnTo>
                  <a:lnTo>
                    <a:pt x="191" y="523"/>
                  </a:lnTo>
                  <a:lnTo>
                    <a:pt x="193" y="525"/>
                  </a:lnTo>
                  <a:lnTo>
                    <a:pt x="193" y="527"/>
                  </a:lnTo>
                  <a:lnTo>
                    <a:pt x="193" y="527"/>
                  </a:lnTo>
                  <a:lnTo>
                    <a:pt x="193" y="529"/>
                  </a:lnTo>
                  <a:lnTo>
                    <a:pt x="193" y="531"/>
                  </a:lnTo>
                  <a:lnTo>
                    <a:pt x="193" y="533"/>
                  </a:lnTo>
                  <a:lnTo>
                    <a:pt x="193" y="535"/>
                  </a:lnTo>
                  <a:lnTo>
                    <a:pt x="193" y="537"/>
                  </a:lnTo>
                  <a:lnTo>
                    <a:pt x="193" y="539"/>
                  </a:lnTo>
                  <a:lnTo>
                    <a:pt x="197" y="543"/>
                  </a:lnTo>
                  <a:lnTo>
                    <a:pt x="199" y="546"/>
                  </a:lnTo>
                  <a:lnTo>
                    <a:pt x="201" y="550"/>
                  </a:lnTo>
                  <a:lnTo>
                    <a:pt x="203" y="554"/>
                  </a:lnTo>
                  <a:lnTo>
                    <a:pt x="201" y="558"/>
                  </a:lnTo>
                  <a:lnTo>
                    <a:pt x="199" y="562"/>
                  </a:lnTo>
                  <a:lnTo>
                    <a:pt x="197" y="564"/>
                  </a:lnTo>
                  <a:lnTo>
                    <a:pt x="197" y="568"/>
                  </a:lnTo>
                  <a:lnTo>
                    <a:pt x="197" y="570"/>
                  </a:lnTo>
                  <a:lnTo>
                    <a:pt x="199" y="570"/>
                  </a:lnTo>
                  <a:lnTo>
                    <a:pt x="199" y="570"/>
                  </a:lnTo>
                  <a:lnTo>
                    <a:pt x="201" y="570"/>
                  </a:lnTo>
                  <a:lnTo>
                    <a:pt x="201" y="572"/>
                  </a:lnTo>
                  <a:lnTo>
                    <a:pt x="201" y="574"/>
                  </a:lnTo>
                  <a:lnTo>
                    <a:pt x="203" y="576"/>
                  </a:lnTo>
                  <a:lnTo>
                    <a:pt x="205" y="578"/>
                  </a:lnTo>
                  <a:lnTo>
                    <a:pt x="209" y="584"/>
                  </a:lnTo>
                  <a:lnTo>
                    <a:pt x="209" y="587"/>
                  </a:lnTo>
                  <a:lnTo>
                    <a:pt x="209" y="591"/>
                  </a:lnTo>
                  <a:lnTo>
                    <a:pt x="211" y="591"/>
                  </a:lnTo>
                  <a:lnTo>
                    <a:pt x="215" y="595"/>
                  </a:lnTo>
                  <a:lnTo>
                    <a:pt x="219" y="595"/>
                  </a:lnTo>
                  <a:lnTo>
                    <a:pt x="221" y="595"/>
                  </a:lnTo>
                  <a:lnTo>
                    <a:pt x="221" y="595"/>
                  </a:lnTo>
                  <a:lnTo>
                    <a:pt x="221" y="593"/>
                  </a:lnTo>
                  <a:lnTo>
                    <a:pt x="219" y="593"/>
                  </a:lnTo>
                  <a:lnTo>
                    <a:pt x="219" y="591"/>
                  </a:lnTo>
                  <a:lnTo>
                    <a:pt x="217" y="591"/>
                  </a:lnTo>
                  <a:lnTo>
                    <a:pt x="217" y="589"/>
                  </a:lnTo>
                  <a:lnTo>
                    <a:pt x="217" y="587"/>
                  </a:lnTo>
                  <a:lnTo>
                    <a:pt x="219" y="587"/>
                  </a:lnTo>
                  <a:lnTo>
                    <a:pt x="221" y="587"/>
                  </a:lnTo>
                  <a:lnTo>
                    <a:pt x="221" y="587"/>
                  </a:lnTo>
                  <a:lnTo>
                    <a:pt x="221" y="589"/>
                  </a:lnTo>
                  <a:lnTo>
                    <a:pt x="223" y="591"/>
                  </a:lnTo>
                  <a:lnTo>
                    <a:pt x="223" y="591"/>
                  </a:lnTo>
                  <a:lnTo>
                    <a:pt x="225" y="593"/>
                  </a:lnTo>
                  <a:lnTo>
                    <a:pt x="225" y="593"/>
                  </a:lnTo>
                  <a:lnTo>
                    <a:pt x="227" y="595"/>
                  </a:lnTo>
                  <a:lnTo>
                    <a:pt x="227" y="595"/>
                  </a:lnTo>
                  <a:lnTo>
                    <a:pt x="227" y="597"/>
                  </a:lnTo>
                  <a:lnTo>
                    <a:pt x="227" y="597"/>
                  </a:lnTo>
                  <a:lnTo>
                    <a:pt x="229" y="597"/>
                  </a:lnTo>
                  <a:lnTo>
                    <a:pt x="229" y="597"/>
                  </a:lnTo>
                  <a:lnTo>
                    <a:pt x="231" y="597"/>
                  </a:lnTo>
                  <a:lnTo>
                    <a:pt x="231" y="597"/>
                  </a:lnTo>
                  <a:lnTo>
                    <a:pt x="234" y="597"/>
                  </a:lnTo>
                  <a:lnTo>
                    <a:pt x="229" y="593"/>
                  </a:lnTo>
                  <a:lnTo>
                    <a:pt x="229" y="591"/>
                  </a:lnTo>
                  <a:lnTo>
                    <a:pt x="227" y="589"/>
                  </a:lnTo>
                  <a:lnTo>
                    <a:pt x="229" y="584"/>
                  </a:lnTo>
                  <a:lnTo>
                    <a:pt x="231" y="580"/>
                  </a:lnTo>
                  <a:lnTo>
                    <a:pt x="236" y="576"/>
                  </a:lnTo>
                  <a:lnTo>
                    <a:pt x="236" y="574"/>
                  </a:lnTo>
                  <a:lnTo>
                    <a:pt x="238" y="572"/>
                  </a:lnTo>
                  <a:lnTo>
                    <a:pt x="242" y="570"/>
                  </a:lnTo>
                  <a:lnTo>
                    <a:pt x="246" y="568"/>
                  </a:lnTo>
                  <a:lnTo>
                    <a:pt x="250" y="568"/>
                  </a:lnTo>
                  <a:lnTo>
                    <a:pt x="275" y="578"/>
                  </a:lnTo>
                  <a:lnTo>
                    <a:pt x="281" y="580"/>
                  </a:lnTo>
                  <a:lnTo>
                    <a:pt x="285" y="582"/>
                  </a:lnTo>
                  <a:lnTo>
                    <a:pt x="289" y="580"/>
                  </a:lnTo>
                  <a:lnTo>
                    <a:pt x="291" y="578"/>
                  </a:lnTo>
                  <a:lnTo>
                    <a:pt x="291" y="574"/>
                  </a:lnTo>
                  <a:lnTo>
                    <a:pt x="291" y="570"/>
                  </a:lnTo>
                  <a:lnTo>
                    <a:pt x="289" y="568"/>
                  </a:lnTo>
                  <a:lnTo>
                    <a:pt x="287" y="564"/>
                  </a:lnTo>
                  <a:lnTo>
                    <a:pt x="285" y="560"/>
                  </a:lnTo>
                  <a:lnTo>
                    <a:pt x="283" y="556"/>
                  </a:lnTo>
                  <a:lnTo>
                    <a:pt x="283" y="552"/>
                  </a:lnTo>
                  <a:lnTo>
                    <a:pt x="285" y="548"/>
                  </a:lnTo>
                  <a:lnTo>
                    <a:pt x="285" y="546"/>
                  </a:lnTo>
                  <a:lnTo>
                    <a:pt x="285" y="546"/>
                  </a:lnTo>
                  <a:lnTo>
                    <a:pt x="287" y="543"/>
                  </a:lnTo>
                  <a:lnTo>
                    <a:pt x="289" y="543"/>
                  </a:lnTo>
                  <a:lnTo>
                    <a:pt x="293" y="543"/>
                  </a:lnTo>
                  <a:lnTo>
                    <a:pt x="295" y="543"/>
                  </a:lnTo>
                  <a:lnTo>
                    <a:pt x="299" y="539"/>
                  </a:lnTo>
                  <a:lnTo>
                    <a:pt x="313" y="535"/>
                  </a:lnTo>
                  <a:lnTo>
                    <a:pt x="318" y="533"/>
                  </a:lnTo>
                  <a:lnTo>
                    <a:pt x="318" y="529"/>
                  </a:lnTo>
                  <a:lnTo>
                    <a:pt x="315" y="525"/>
                  </a:lnTo>
                  <a:lnTo>
                    <a:pt x="311" y="523"/>
                  </a:lnTo>
                  <a:lnTo>
                    <a:pt x="311" y="523"/>
                  </a:lnTo>
                  <a:lnTo>
                    <a:pt x="309" y="519"/>
                  </a:lnTo>
                  <a:lnTo>
                    <a:pt x="309" y="517"/>
                  </a:lnTo>
                  <a:lnTo>
                    <a:pt x="309" y="515"/>
                  </a:lnTo>
                  <a:lnTo>
                    <a:pt x="309" y="513"/>
                  </a:lnTo>
                  <a:lnTo>
                    <a:pt x="311" y="511"/>
                  </a:lnTo>
                  <a:lnTo>
                    <a:pt x="315" y="507"/>
                  </a:lnTo>
                  <a:lnTo>
                    <a:pt x="318" y="505"/>
                  </a:lnTo>
                  <a:lnTo>
                    <a:pt x="318" y="502"/>
                  </a:lnTo>
                  <a:lnTo>
                    <a:pt x="318" y="500"/>
                  </a:lnTo>
                  <a:lnTo>
                    <a:pt x="318" y="498"/>
                  </a:lnTo>
                  <a:lnTo>
                    <a:pt x="315" y="498"/>
                  </a:lnTo>
                  <a:lnTo>
                    <a:pt x="313" y="498"/>
                  </a:lnTo>
                  <a:lnTo>
                    <a:pt x="313" y="498"/>
                  </a:lnTo>
                  <a:lnTo>
                    <a:pt x="313" y="496"/>
                  </a:lnTo>
                  <a:lnTo>
                    <a:pt x="313" y="496"/>
                  </a:lnTo>
                  <a:lnTo>
                    <a:pt x="313" y="496"/>
                  </a:lnTo>
                  <a:lnTo>
                    <a:pt x="315" y="496"/>
                  </a:lnTo>
                  <a:lnTo>
                    <a:pt x="318" y="496"/>
                  </a:lnTo>
                  <a:lnTo>
                    <a:pt x="318" y="496"/>
                  </a:lnTo>
                  <a:lnTo>
                    <a:pt x="318" y="494"/>
                  </a:lnTo>
                  <a:lnTo>
                    <a:pt x="311" y="490"/>
                  </a:lnTo>
                  <a:lnTo>
                    <a:pt x="311" y="490"/>
                  </a:lnTo>
                  <a:lnTo>
                    <a:pt x="313" y="490"/>
                  </a:lnTo>
                  <a:lnTo>
                    <a:pt x="315" y="490"/>
                  </a:lnTo>
                  <a:lnTo>
                    <a:pt x="315" y="488"/>
                  </a:lnTo>
                  <a:lnTo>
                    <a:pt x="318" y="488"/>
                  </a:lnTo>
                  <a:lnTo>
                    <a:pt x="315" y="486"/>
                  </a:lnTo>
                  <a:lnTo>
                    <a:pt x="315" y="486"/>
                  </a:lnTo>
                  <a:lnTo>
                    <a:pt x="315" y="484"/>
                  </a:lnTo>
                  <a:lnTo>
                    <a:pt x="315" y="482"/>
                  </a:lnTo>
                  <a:lnTo>
                    <a:pt x="315" y="482"/>
                  </a:lnTo>
                  <a:lnTo>
                    <a:pt x="315" y="480"/>
                  </a:lnTo>
                  <a:lnTo>
                    <a:pt x="315" y="478"/>
                  </a:lnTo>
                  <a:lnTo>
                    <a:pt x="315" y="478"/>
                  </a:lnTo>
                  <a:lnTo>
                    <a:pt x="315" y="476"/>
                  </a:lnTo>
                  <a:lnTo>
                    <a:pt x="315" y="474"/>
                  </a:lnTo>
                  <a:lnTo>
                    <a:pt x="313" y="472"/>
                  </a:lnTo>
                  <a:lnTo>
                    <a:pt x="315" y="472"/>
                  </a:lnTo>
                  <a:lnTo>
                    <a:pt x="318" y="472"/>
                  </a:lnTo>
                  <a:lnTo>
                    <a:pt x="318" y="470"/>
                  </a:lnTo>
                  <a:lnTo>
                    <a:pt x="320" y="470"/>
                  </a:lnTo>
                  <a:lnTo>
                    <a:pt x="322" y="468"/>
                  </a:lnTo>
                  <a:lnTo>
                    <a:pt x="320" y="468"/>
                  </a:lnTo>
                  <a:lnTo>
                    <a:pt x="318" y="468"/>
                  </a:lnTo>
                  <a:lnTo>
                    <a:pt x="315" y="468"/>
                  </a:lnTo>
                  <a:lnTo>
                    <a:pt x="318" y="466"/>
                  </a:lnTo>
                  <a:lnTo>
                    <a:pt x="320" y="464"/>
                  </a:lnTo>
                  <a:lnTo>
                    <a:pt x="320" y="464"/>
                  </a:lnTo>
                  <a:lnTo>
                    <a:pt x="322" y="461"/>
                  </a:lnTo>
                  <a:lnTo>
                    <a:pt x="322" y="461"/>
                  </a:lnTo>
                  <a:lnTo>
                    <a:pt x="322" y="459"/>
                  </a:lnTo>
                  <a:lnTo>
                    <a:pt x="322" y="459"/>
                  </a:lnTo>
                  <a:lnTo>
                    <a:pt x="320" y="457"/>
                  </a:lnTo>
                  <a:lnTo>
                    <a:pt x="320" y="457"/>
                  </a:lnTo>
                  <a:lnTo>
                    <a:pt x="318" y="455"/>
                  </a:lnTo>
                  <a:lnTo>
                    <a:pt x="318" y="455"/>
                  </a:lnTo>
                  <a:lnTo>
                    <a:pt x="318" y="455"/>
                  </a:lnTo>
                  <a:lnTo>
                    <a:pt x="318" y="453"/>
                  </a:lnTo>
                  <a:lnTo>
                    <a:pt x="318" y="453"/>
                  </a:lnTo>
                  <a:lnTo>
                    <a:pt x="318" y="451"/>
                  </a:lnTo>
                  <a:lnTo>
                    <a:pt x="318" y="451"/>
                  </a:lnTo>
                  <a:lnTo>
                    <a:pt x="320" y="449"/>
                  </a:lnTo>
                  <a:lnTo>
                    <a:pt x="320" y="449"/>
                  </a:lnTo>
                  <a:lnTo>
                    <a:pt x="320" y="447"/>
                  </a:lnTo>
                  <a:lnTo>
                    <a:pt x="320" y="445"/>
                  </a:lnTo>
                  <a:lnTo>
                    <a:pt x="322" y="445"/>
                  </a:lnTo>
                  <a:lnTo>
                    <a:pt x="322" y="445"/>
                  </a:lnTo>
                  <a:lnTo>
                    <a:pt x="324" y="447"/>
                  </a:lnTo>
                  <a:lnTo>
                    <a:pt x="324" y="447"/>
                  </a:lnTo>
                  <a:lnTo>
                    <a:pt x="324" y="445"/>
                  </a:lnTo>
                  <a:lnTo>
                    <a:pt x="324" y="443"/>
                  </a:lnTo>
                  <a:lnTo>
                    <a:pt x="326" y="443"/>
                  </a:lnTo>
                  <a:lnTo>
                    <a:pt x="326" y="443"/>
                  </a:lnTo>
                  <a:lnTo>
                    <a:pt x="326" y="443"/>
                  </a:lnTo>
                  <a:lnTo>
                    <a:pt x="326" y="443"/>
                  </a:lnTo>
                  <a:lnTo>
                    <a:pt x="328" y="445"/>
                  </a:lnTo>
                  <a:lnTo>
                    <a:pt x="328" y="445"/>
                  </a:lnTo>
                  <a:lnTo>
                    <a:pt x="328" y="445"/>
                  </a:lnTo>
                  <a:lnTo>
                    <a:pt x="328" y="443"/>
                  </a:lnTo>
                  <a:lnTo>
                    <a:pt x="328" y="443"/>
                  </a:lnTo>
                  <a:lnTo>
                    <a:pt x="328" y="441"/>
                  </a:lnTo>
                  <a:lnTo>
                    <a:pt x="330" y="439"/>
                  </a:lnTo>
                  <a:lnTo>
                    <a:pt x="330" y="437"/>
                  </a:lnTo>
                  <a:lnTo>
                    <a:pt x="330" y="437"/>
                  </a:lnTo>
                  <a:lnTo>
                    <a:pt x="330" y="435"/>
                  </a:lnTo>
                  <a:lnTo>
                    <a:pt x="332" y="435"/>
                  </a:lnTo>
                  <a:lnTo>
                    <a:pt x="332" y="435"/>
                  </a:lnTo>
                  <a:lnTo>
                    <a:pt x="334" y="433"/>
                  </a:lnTo>
                  <a:lnTo>
                    <a:pt x="336" y="431"/>
                  </a:lnTo>
                  <a:lnTo>
                    <a:pt x="336" y="429"/>
                  </a:lnTo>
                  <a:lnTo>
                    <a:pt x="334" y="427"/>
                  </a:lnTo>
                  <a:lnTo>
                    <a:pt x="334" y="427"/>
                  </a:lnTo>
                  <a:lnTo>
                    <a:pt x="336" y="425"/>
                  </a:lnTo>
                  <a:lnTo>
                    <a:pt x="338" y="423"/>
                  </a:lnTo>
                  <a:lnTo>
                    <a:pt x="340" y="423"/>
                  </a:lnTo>
                  <a:lnTo>
                    <a:pt x="340" y="421"/>
                  </a:lnTo>
                  <a:lnTo>
                    <a:pt x="340" y="421"/>
                  </a:lnTo>
                  <a:lnTo>
                    <a:pt x="342" y="421"/>
                  </a:lnTo>
                  <a:lnTo>
                    <a:pt x="342" y="421"/>
                  </a:lnTo>
                  <a:lnTo>
                    <a:pt x="342" y="421"/>
                  </a:lnTo>
                  <a:lnTo>
                    <a:pt x="342" y="421"/>
                  </a:lnTo>
                  <a:lnTo>
                    <a:pt x="342" y="418"/>
                  </a:lnTo>
                  <a:lnTo>
                    <a:pt x="340" y="416"/>
                  </a:lnTo>
                  <a:lnTo>
                    <a:pt x="340" y="414"/>
                  </a:lnTo>
                  <a:lnTo>
                    <a:pt x="340" y="412"/>
                  </a:lnTo>
                  <a:lnTo>
                    <a:pt x="342" y="412"/>
                  </a:lnTo>
                  <a:lnTo>
                    <a:pt x="342" y="410"/>
                  </a:lnTo>
                  <a:lnTo>
                    <a:pt x="344" y="410"/>
                  </a:lnTo>
                  <a:lnTo>
                    <a:pt x="342" y="410"/>
                  </a:lnTo>
                  <a:lnTo>
                    <a:pt x="344" y="410"/>
                  </a:lnTo>
                  <a:lnTo>
                    <a:pt x="344" y="410"/>
                  </a:lnTo>
                  <a:lnTo>
                    <a:pt x="344" y="408"/>
                  </a:lnTo>
                  <a:lnTo>
                    <a:pt x="344" y="408"/>
                  </a:lnTo>
                  <a:lnTo>
                    <a:pt x="344" y="406"/>
                  </a:lnTo>
                  <a:lnTo>
                    <a:pt x="344" y="404"/>
                  </a:lnTo>
                  <a:lnTo>
                    <a:pt x="344" y="402"/>
                  </a:lnTo>
                  <a:lnTo>
                    <a:pt x="346" y="402"/>
                  </a:lnTo>
                  <a:lnTo>
                    <a:pt x="346" y="400"/>
                  </a:lnTo>
                  <a:lnTo>
                    <a:pt x="348" y="400"/>
                  </a:lnTo>
                  <a:lnTo>
                    <a:pt x="348" y="400"/>
                  </a:lnTo>
                  <a:lnTo>
                    <a:pt x="350" y="400"/>
                  </a:lnTo>
                  <a:lnTo>
                    <a:pt x="350" y="392"/>
                  </a:lnTo>
                  <a:lnTo>
                    <a:pt x="350" y="388"/>
                  </a:lnTo>
                  <a:lnTo>
                    <a:pt x="348" y="384"/>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L</a:t>
              </a:r>
            </a:p>
          </p:txBody>
        </p:sp>
        <p:sp>
          <p:nvSpPr>
            <p:cNvPr id="279" name="Freeform 42">
              <a:extLst>
                <a:ext uri="{FF2B5EF4-FFF2-40B4-BE49-F238E27FC236}">
                  <a16:creationId xmlns:a16="http://schemas.microsoft.com/office/drawing/2014/main" id="{41A45AF7-79A6-A113-A598-9AC1E675A232}"/>
                </a:ext>
              </a:extLst>
            </p:cNvPr>
            <p:cNvSpPr>
              <a:spLocks/>
            </p:cNvSpPr>
            <p:nvPr/>
          </p:nvSpPr>
          <p:spPr bwMode="auto">
            <a:xfrm>
              <a:off x="1337" y="82"/>
              <a:ext cx="512" cy="783"/>
            </a:xfrm>
            <a:custGeom>
              <a:avLst/>
              <a:gdLst>
                <a:gd name="T0" fmla="*/ 487 w 512"/>
                <a:gd name="T1" fmla="*/ 766 h 783"/>
                <a:gd name="T2" fmla="*/ 258 w 512"/>
                <a:gd name="T3" fmla="*/ 756 h 783"/>
                <a:gd name="T4" fmla="*/ 16 w 512"/>
                <a:gd name="T5" fmla="*/ 723 h 783"/>
                <a:gd name="T6" fmla="*/ 26 w 512"/>
                <a:gd name="T7" fmla="*/ 557 h 783"/>
                <a:gd name="T8" fmla="*/ 39 w 512"/>
                <a:gd name="T9" fmla="*/ 512 h 783"/>
                <a:gd name="T10" fmla="*/ 45 w 512"/>
                <a:gd name="T11" fmla="*/ 494 h 783"/>
                <a:gd name="T12" fmla="*/ 33 w 512"/>
                <a:gd name="T13" fmla="*/ 482 h 783"/>
                <a:gd name="T14" fmla="*/ 24 w 512"/>
                <a:gd name="T15" fmla="*/ 465 h 783"/>
                <a:gd name="T16" fmla="*/ 41 w 512"/>
                <a:gd name="T17" fmla="*/ 441 h 783"/>
                <a:gd name="T18" fmla="*/ 63 w 512"/>
                <a:gd name="T19" fmla="*/ 408 h 783"/>
                <a:gd name="T20" fmla="*/ 98 w 512"/>
                <a:gd name="T21" fmla="*/ 359 h 783"/>
                <a:gd name="T22" fmla="*/ 82 w 512"/>
                <a:gd name="T23" fmla="*/ 324 h 783"/>
                <a:gd name="T24" fmla="*/ 72 w 512"/>
                <a:gd name="T25" fmla="*/ 273 h 783"/>
                <a:gd name="T26" fmla="*/ 98 w 512"/>
                <a:gd name="T27" fmla="*/ 80 h 783"/>
                <a:gd name="T28" fmla="*/ 176 w 512"/>
                <a:gd name="T29" fmla="*/ 70 h 783"/>
                <a:gd name="T30" fmla="*/ 180 w 512"/>
                <a:gd name="T31" fmla="*/ 127 h 783"/>
                <a:gd name="T32" fmla="*/ 190 w 512"/>
                <a:gd name="T33" fmla="*/ 143 h 783"/>
                <a:gd name="T34" fmla="*/ 186 w 512"/>
                <a:gd name="T35" fmla="*/ 160 h 783"/>
                <a:gd name="T36" fmla="*/ 190 w 512"/>
                <a:gd name="T37" fmla="*/ 170 h 783"/>
                <a:gd name="T38" fmla="*/ 201 w 512"/>
                <a:gd name="T39" fmla="*/ 187 h 783"/>
                <a:gd name="T40" fmla="*/ 217 w 512"/>
                <a:gd name="T41" fmla="*/ 203 h 783"/>
                <a:gd name="T42" fmla="*/ 231 w 512"/>
                <a:gd name="T43" fmla="*/ 225 h 783"/>
                <a:gd name="T44" fmla="*/ 239 w 512"/>
                <a:gd name="T45" fmla="*/ 240 h 783"/>
                <a:gd name="T46" fmla="*/ 250 w 512"/>
                <a:gd name="T47" fmla="*/ 254 h 783"/>
                <a:gd name="T48" fmla="*/ 260 w 512"/>
                <a:gd name="T49" fmla="*/ 256 h 783"/>
                <a:gd name="T50" fmla="*/ 268 w 512"/>
                <a:gd name="T51" fmla="*/ 264 h 783"/>
                <a:gd name="T52" fmla="*/ 282 w 512"/>
                <a:gd name="T53" fmla="*/ 266 h 783"/>
                <a:gd name="T54" fmla="*/ 278 w 512"/>
                <a:gd name="T55" fmla="*/ 279 h 783"/>
                <a:gd name="T56" fmla="*/ 276 w 512"/>
                <a:gd name="T57" fmla="*/ 285 h 783"/>
                <a:gd name="T58" fmla="*/ 268 w 512"/>
                <a:gd name="T59" fmla="*/ 301 h 783"/>
                <a:gd name="T60" fmla="*/ 268 w 512"/>
                <a:gd name="T61" fmla="*/ 314 h 783"/>
                <a:gd name="T62" fmla="*/ 264 w 512"/>
                <a:gd name="T63" fmla="*/ 322 h 783"/>
                <a:gd name="T64" fmla="*/ 266 w 512"/>
                <a:gd name="T65" fmla="*/ 334 h 783"/>
                <a:gd name="T66" fmla="*/ 264 w 512"/>
                <a:gd name="T67" fmla="*/ 348 h 783"/>
                <a:gd name="T68" fmla="*/ 254 w 512"/>
                <a:gd name="T69" fmla="*/ 355 h 783"/>
                <a:gd name="T70" fmla="*/ 256 w 512"/>
                <a:gd name="T71" fmla="*/ 367 h 783"/>
                <a:gd name="T72" fmla="*/ 252 w 512"/>
                <a:gd name="T73" fmla="*/ 377 h 783"/>
                <a:gd name="T74" fmla="*/ 268 w 512"/>
                <a:gd name="T75" fmla="*/ 387 h 783"/>
                <a:gd name="T76" fmla="*/ 278 w 512"/>
                <a:gd name="T77" fmla="*/ 383 h 783"/>
                <a:gd name="T78" fmla="*/ 291 w 512"/>
                <a:gd name="T79" fmla="*/ 375 h 783"/>
                <a:gd name="T80" fmla="*/ 295 w 512"/>
                <a:gd name="T81" fmla="*/ 369 h 783"/>
                <a:gd name="T82" fmla="*/ 309 w 512"/>
                <a:gd name="T83" fmla="*/ 383 h 783"/>
                <a:gd name="T84" fmla="*/ 311 w 512"/>
                <a:gd name="T85" fmla="*/ 396 h 783"/>
                <a:gd name="T86" fmla="*/ 311 w 512"/>
                <a:gd name="T87" fmla="*/ 412 h 783"/>
                <a:gd name="T88" fmla="*/ 319 w 512"/>
                <a:gd name="T89" fmla="*/ 426 h 783"/>
                <a:gd name="T90" fmla="*/ 325 w 512"/>
                <a:gd name="T91" fmla="*/ 437 h 783"/>
                <a:gd name="T92" fmla="*/ 325 w 512"/>
                <a:gd name="T93" fmla="*/ 453 h 783"/>
                <a:gd name="T94" fmla="*/ 336 w 512"/>
                <a:gd name="T95" fmla="*/ 469 h 783"/>
                <a:gd name="T96" fmla="*/ 352 w 512"/>
                <a:gd name="T97" fmla="*/ 478 h 783"/>
                <a:gd name="T98" fmla="*/ 356 w 512"/>
                <a:gd name="T99" fmla="*/ 488 h 783"/>
                <a:gd name="T100" fmla="*/ 358 w 512"/>
                <a:gd name="T101" fmla="*/ 498 h 783"/>
                <a:gd name="T102" fmla="*/ 362 w 512"/>
                <a:gd name="T103" fmla="*/ 510 h 783"/>
                <a:gd name="T104" fmla="*/ 371 w 512"/>
                <a:gd name="T105" fmla="*/ 510 h 783"/>
                <a:gd name="T106" fmla="*/ 399 w 512"/>
                <a:gd name="T107" fmla="*/ 510 h 783"/>
                <a:gd name="T108" fmla="*/ 412 w 512"/>
                <a:gd name="T109" fmla="*/ 504 h 783"/>
                <a:gd name="T110" fmla="*/ 430 w 512"/>
                <a:gd name="T111" fmla="*/ 506 h 783"/>
                <a:gd name="T112" fmla="*/ 450 w 512"/>
                <a:gd name="T113" fmla="*/ 510 h 783"/>
                <a:gd name="T114" fmla="*/ 477 w 512"/>
                <a:gd name="T115" fmla="*/ 510 h 783"/>
                <a:gd name="T116" fmla="*/ 477 w 512"/>
                <a:gd name="T117" fmla="*/ 504 h 783"/>
                <a:gd name="T118" fmla="*/ 481 w 512"/>
                <a:gd name="T119" fmla="*/ 496 h 783"/>
                <a:gd name="T120" fmla="*/ 493 w 512"/>
                <a:gd name="T121" fmla="*/ 496 h 783"/>
                <a:gd name="T122" fmla="*/ 502 w 512"/>
                <a:gd name="T123" fmla="*/ 51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783">
                  <a:moveTo>
                    <a:pt x="512" y="521"/>
                  </a:moveTo>
                  <a:lnTo>
                    <a:pt x="510" y="537"/>
                  </a:lnTo>
                  <a:lnTo>
                    <a:pt x="508" y="553"/>
                  </a:lnTo>
                  <a:lnTo>
                    <a:pt x="506" y="568"/>
                  </a:lnTo>
                  <a:lnTo>
                    <a:pt x="506" y="584"/>
                  </a:lnTo>
                  <a:lnTo>
                    <a:pt x="504" y="600"/>
                  </a:lnTo>
                  <a:lnTo>
                    <a:pt x="502" y="617"/>
                  </a:lnTo>
                  <a:lnTo>
                    <a:pt x="500" y="633"/>
                  </a:lnTo>
                  <a:lnTo>
                    <a:pt x="498" y="650"/>
                  </a:lnTo>
                  <a:lnTo>
                    <a:pt x="498" y="666"/>
                  </a:lnTo>
                  <a:lnTo>
                    <a:pt x="495" y="682"/>
                  </a:lnTo>
                  <a:lnTo>
                    <a:pt x="493" y="699"/>
                  </a:lnTo>
                  <a:lnTo>
                    <a:pt x="491" y="715"/>
                  </a:lnTo>
                  <a:lnTo>
                    <a:pt x="491" y="732"/>
                  </a:lnTo>
                  <a:lnTo>
                    <a:pt x="489" y="750"/>
                  </a:lnTo>
                  <a:lnTo>
                    <a:pt x="487" y="766"/>
                  </a:lnTo>
                  <a:lnTo>
                    <a:pt x="485" y="783"/>
                  </a:lnTo>
                  <a:lnTo>
                    <a:pt x="471" y="781"/>
                  </a:lnTo>
                  <a:lnTo>
                    <a:pt x="455" y="779"/>
                  </a:lnTo>
                  <a:lnTo>
                    <a:pt x="440" y="777"/>
                  </a:lnTo>
                  <a:lnTo>
                    <a:pt x="424" y="777"/>
                  </a:lnTo>
                  <a:lnTo>
                    <a:pt x="409" y="775"/>
                  </a:lnTo>
                  <a:lnTo>
                    <a:pt x="393" y="773"/>
                  </a:lnTo>
                  <a:lnTo>
                    <a:pt x="379" y="771"/>
                  </a:lnTo>
                  <a:lnTo>
                    <a:pt x="364" y="769"/>
                  </a:lnTo>
                  <a:lnTo>
                    <a:pt x="348" y="766"/>
                  </a:lnTo>
                  <a:lnTo>
                    <a:pt x="334" y="766"/>
                  </a:lnTo>
                  <a:lnTo>
                    <a:pt x="317" y="764"/>
                  </a:lnTo>
                  <a:lnTo>
                    <a:pt x="303" y="762"/>
                  </a:lnTo>
                  <a:lnTo>
                    <a:pt x="287" y="760"/>
                  </a:lnTo>
                  <a:lnTo>
                    <a:pt x="272" y="758"/>
                  </a:lnTo>
                  <a:lnTo>
                    <a:pt x="258" y="756"/>
                  </a:lnTo>
                  <a:lnTo>
                    <a:pt x="242" y="754"/>
                  </a:lnTo>
                  <a:lnTo>
                    <a:pt x="227" y="752"/>
                  </a:lnTo>
                  <a:lnTo>
                    <a:pt x="211" y="750"/>
                  </a:lnTo>
                  <a:lnTo>
                    <a:pt x="196" y="748"/>
                  </a:lnTo>
                  <a:lnTo>
                    <a:pt x="182" y="746"/>
                  </a:lnTo>
                  <a:lnTo>
                    <a:pt x="166" y="744"/>
                  </a:lnTo>
                  <a:lnTo>
                    <a:pt x="151" y="742"/>
                  </a:lnTo>
                  <a:lnTo>
                    <a:pt x="137" y="740"/>
                  </a:lnTo>
                  <a:lnTo>
                    <a:pt x="121" y="738"/>
                  </a:lnTo>
                  <a:lnTo>
                    <a:pt x="106" y="736"/>
                  </a:lnTo>
                  <a:lnTo>
                    <a:pt x="92" y="734"/>
                  </a:lnTo>
                  <a:lnTo>
                    <a:pt x="76" y="732"/>
                  </a:lnTo>
                  <a:lnTo>
                    <a:pt x="61" y="730"/>
                  </a:lnTo>
                  <a:lnTo>
                    <a:pt x="47" y="728"/>
                  </a:lnTo>
                  <a:lnTo>
                    <a:pt x="31" y="726"/>
                  </a:lnTo>
                  <a:lnTo>
                    <a:pt x="16" y="723"/>
                  </a:lnTo>
                  <a:lnTo>
                    <a:pt x="0" y="719"/>
                  </a:lnTo>
                  <a:lnTo>
                    <a:pt x="2" y="709"/>
                  </a:lnTo>
                  <a:lnTo>
                    <a:pt x="4" y="699"/>
                  </a:lnTo>
                  <a:lnTo>
                    <a:pt x="6" y="689"/>
                  </a:lnTo>
                  <a:lnTo>
                    <a:pt x="8" y="676"/>
                  </a:lnTo>
                  <a:lnTo>
                    <a:pt x="10" y="666"/>
                  </a:lnTo>
                  <a:lnTo>
                    <a:pt x="10" y="656"/>
                  </a:lnTo>
                  <a:lnTo>
                    <a:pt x="12" y="646"/>
                  </a:lnTo>
                  <a:lnTo>
                    <a:pt x="14" y="633"/>
                  </a:lnTo>
                  <a:lnTo>
                    <a:pt x="16" y="623"/>
                  </a:lnTo>
                  <a:lnTo>
                    <a:pt x="18" y="613"/>
                  </a:lnTo>
                  <a:lnTo>
                    <a:pt x="18" y="603"/>
                  </a:lnTo>
                  <a:lnTo>
                    <a:pt x="20" y="590"/>
                  </a:lnTo>
                  <a:lnTo>
                    <a:pt x="22" y="580"/>
                  </a:lnTo>
                  <a:lnTo>
                    <a:pt x="24" y="570"/>
                  </a:lnTo>
                  <a:lnTo>
                    <a:pt x="26" y="557"/>
                  </a:lnTo>
                  <a:lnTo>
                    <a:pt x="26" y="547"/>
                  </a:lnTo>
                  <a:lnTo>
                    <a:pt x="29" y="543"/>
                  </a:lnTo>
                  <a:lnTo>
                    <a:pt x="29" y="533"/>
                  </a:lnTo>
                  <a:lnTo>
                    <a:pt x="29" y="533"/>
                  </a:lnTo>
                  <a:lnTo>
                    <a:pt x="29" y="533"/>
                  </a:lnTo>
                  <a:lnTo>
                    <a:pt x="29" y="531"/>
                  </a:lnTo>
                  <a:lnTo>
                    <a:pt x="29" y="529"/>
                  </a:lnTo>
                  <a:lnTo>
                    <a:pt x="31" y="527"/>
                  </a:lnTo>
                  <a:lnTo>
                    <a:pt x="33" y="527"/>
                  </a:lnTo>
                  <a:lnTo>
                    <a:pt x="35" y="525"/>
                  </a:lnTo>
                  <a:lnTo>
                    <a:pt x="35" y="523"/>
                  </a:lnTo>
                  <a:lnTo>
                    <a:pt x="37" y="521"/>
                  </a:lnTo>
                  <a:lnTo>
                    <a:pt x="37" y="516"/>
                  </a:lnTo>
                  <a:lnTo>
                    <a:pt x="39" y="512"/>
                  </a:lnTo>
                  <a:lnTo>
                    <a:pt x="39" y="512"/>
                  </a:lnTo>
                  <a:lnTo>
                    <a:pt x="39" y="512"/>
                  </a:lnTo>
                  <a:lnTo>
                    <a:pt x="41" y="510"/>
                  </a:lnTo>
                  <a:lnTo>
                    <a:pt x="41" y="510"/>
                  </a:lnTo>
                  <a:lnTo>
                    <a:pt x="41" y="506"/>
                  </a:lnTo>
                  <a:lnTo>
                    <a:pt x="39" y="504"/>
                  </a:lnTo>
                  <a:lnTo>
                    <a:pt x="39" y="502"/>
                  </a:lnTo>
                  <a:lnTo>
                    <a:pt x="39" y="500"/>
                  </a:lnTo>
                  <a:lnTo>
                    <a:pt x="41" y="500"/>
                  </a:lnTo>
                  <a:lnTo>
                    <a:pt x="41" y="500"/>
                  </a:lnTo>
                  <a:lnTo>
                    <a:pt x="43" y="500"/>
                  </a:lnTo>
                  <a:lnTo>
                    <a:pt x="43" y="500"/>
                  </a:lnTo>
                  <a:lnTo>
                    <a:pt x="43" y="498"/>
                  </a:lnTo>
                  <a:lnTo>
                    <a:pt x="45" y="498"/>
                  </a:lnTo>
                  <a:lnTo>
                    <a:pt x="45" y="496"/>
                  </a:lnTo>
                  <a:lnTo>
                    <a:pt x="45" y="496"/>
                  </a:lnTo>
                  <a:lnTo>
                    <a:pt x="45" y="496"/>
                  </a:lnTo>
                  <a:lnTo>
                    <a:pt x="45" y="494"/>
                  </a:lnTo>
                  <a:lnTo>
                    <a:pt x="45" y="494"/>
                  </a:lnTo>
                  <a:lnTo>
                    <a:pt x="45" y="492"/>
                  </a:lnTo>
                  <a:lnTo>
                    <a:pt x="43" y="490"/>
                  </a:lnTo>
                  <a:lnTo>
                    <a:pt x="41" y="490"/>
                  </a:lnTo>
                  <a:lnTo>
                    <a:pt x="41" y="490"/>
                  </a:lnTo>
                  <a:lnTo>
                    <a:pt x="41" y="488"/>
                  </a:lnTo>
                  <a:lnTo>
                    <a:pt x="41" y="486"/>
                  </a:lnTo>
                  <a:lnTo>
                    <a:pt x="41" y="486"/>
                  </a:lnTo>
                  <a:lnTo>
                    <a:pt x="41" y="484"/>
                  </a:lnTo>
                  <a:lnTo>
                    <a:pt x="41" y="484"/>
                  </a:lnTo>
                  <a:lnTo>
                    <a:pt x="39" y="484"/>
                  </a:lnTo>
                  <a:lnTo>
                    <a:pt x="37" y="484"/>
                  </a:lnTo>
                  <a:lnTo>
                    <a:pt x="35" y="484"/>
                  </a:lnTo>
                  <a:lnTo>
                    <a:pt x="33" y="484"/>
                  </a:lnTo>
                  <a:lnTo>
                    <a:pt x="33" y="482"/>
                  </a:lnTo>
                  <a:lnTo>
                    <a:pt x="33" y="482"/>
                  </a:lnTo>
                  <a:lnTo>
                    <a:pt x="33" y="480"/>
                  </a:lnTo>
                  <a:lnTo>
                    <a:pt x="31" y="480"/>
                  </a:lnTo>
                  <a:lnTo>
                    <a:pt x="31" y="480"/>
                  </a:lnTo>
                  <a:lnTo>
                    <a:pt x="29" y="482"/>
                  </a:lnTo>
                  <a:lnTo>
                    <a:pt x="29" y="482"/>
                  </a:lnTo>
                  <a:lnTo>
                    <a:pt x="29" y="482"/>
                  </a:lnTo>
                  <a:lnTo>
                    <a:pt x="24" y="480"/>
                  </a:lnTo>
                  <a:lnTo>
                    <a:pt x="24" y="478"/>
                  </a:lnTo>
                  <a:lnTo>
                    <a:pt x="24" y="475"/>
                  </a:lnTo>
                  <a:lnTo>
                    <a:pt x="24" y="475"/>
                  </a:lnTo>
                  <a:lnTo>
                    <a:pt x="24" y="473"/>
                  </a:lnTo>
                  <a:lnTo>
                    <a:pt x="24" y="473"/>
                  </a:lnTo>
                  <a:lnTo>
                    <a:pt x="24" y="471"/>
                  </a:lnTo>
                  <a:lnTo>
                    <a:pt x="24" y="469"/>
                  </a:lnTo>
                  <a:lnTo>
                    <a:pt x="24" y="467"/>
                  </a:lnTo>
                  <a:lnTo>
                    <a:pt x="24" y="465"/>
                  </a:lnTo>
                  <a:lnTo>
                    <a:pt x="26" y="463"/>
                  </a:lnTo>
                  <a:lnTo>
                    <a:pt x="26" y="461"/>
                  </a:lnTo>
                  <a:lnTo>
                    <a:pt x="26" y="459"/>
                  </a:lnTo>
                  <a:lnTo>
                    <a:pt x="26" y="459"/>
                  </a:lnTo>
                  <a:lnTo>
                    <a:pt x="29" y="457"/>
                  </a:lnTo>
                  <a:lnTo>
                    <a:pt x="29" y="457"/>
                  </a:lnTo>
                  <a:lnTo>
                    <a:pt x="29" y="457"/>
                  </a:lnTo>
                  <a:lnTo>
                    <a:pt x="29" y="455"/>
                  </a:lnTo>
                  <a:lnTo>
                    <a:pt x="31" y="455"/>
                  </a:lnTo>
                  <a:lnTo>
                    <a:pt x="31" y="455"/>
                  </a:lnTo>
                  <a:lnTo>
                    <a:pt x="33" y="455"/>
                  </a:lnTo>
                  <a:lnTo>
                    <a:pt x="35" y="453"/>
                  </a:lnTo>
                  <a:lnTo>
                    <a:pt x="35" y="451"/>
                  </a:lnTo>
                  <a:lnTo>
                    <a:pt x="37" y="447"/>
                  </a:lnTo>
                  <a:lnTo>
                    <a:pt x="37" y="445"/>
                  </a:lnTo>
                  <a:lnTo>
                    <a:pt x="41" y="441"/>
                  </a:lnTo>
                  <a:lnTo>
                    <a:pt x="43" y="437"/>
                  </a:lnTo>
                  <a:lnTo>
                    <a:pt x="45" y="435"/>
                  </a:lnTo>
                  <a:lnTo>
                    <a:pt x="45" y="435"/>
                  </a:lnTo>
                  <a:lnTo>
                    <a:pt x="51" y="432"/>
                  </a:lnTo>
                  <a:lnTo>
                    <a:pt x="53" y="430"/>
                  </a:lnTo>
                  <a:lnTo>
                    <a:pt x="53" y="428"/>
                  </a:lnTo>
                  <a:lnTo>
                    <a:pt x="59" y="424"/>
                  </a:lnTo>
                  <a:lnTo>
                    <a:pt x="61" y="420"/>
                  </a:lnTo>
                  <a:lnTo>
                    <a:pt x="61" y="418"/>
                  </a:lnTo>
                  <a:lnTo>
                    <a:pt x="63" y="414"/>
                  </a:lnTo>
                  <a:lnTo>
                    <a:pt x="63" y="412"/>
                  </a:lnTo>
                  <a:lnTo>
                    <a:pt x="63" y="412"/>
                  </a:lnTo>
                  <a:lnTo>
                    <a:pt x="63" y="410"/>
                  </a:lnTo>
                  <a:lnTo>
                    <a:pt x="63" y="410"/>
                  </a:lnTo>
                  <a:lnTo>
                    <a:pt x="63" y="408"/>
                  </a:lnTo>
                  <a:lnTo>
                    <a:pt x="63" y="408"/>
                  </a:lnTo>
                  <a:lnTo>
                    <a:pt x="65" y="406"/>
                  </a:lnTo>
                  <a:lnTo>
                    <a:pt x="76" y="396"/>
                  </a:lnTo>
                  <a:lnTo>
                    <a:pt x="78" y="391"/>
                  </a:lnTo>
                  <a:lnTo>
                    <a:pt x="80" y="385"/>
                  </a:lnTo>
                  <a:lnTo>
                    <a:pt x="82" y="383"/>
                  </a:lnTo>
                  <a:lnTo>
                    <a:pt x="82" y="383"/>
                  </a:lnTo>
                  <a:lnTo>
                    <a:pt x="82" y="379"/>
                  </a:lnTo>
                  <a:lnTo>
                    <a:pt x="84" y="377"/>
                  </a:lnTo>
                  <a:lnTo>
                    <a:pt x="84" y="375"/>
                  </a:lnTo>
                  <a:lnTo>
                    <a:pt x="88" y="371"/>
                  </a:lnTo>
                  <a:lnTo>
                    <a:pt x="90" y="369"/>
                  </a:lnTo>
                  <a:lnTo>
                    <a:pt x="94" y="365"/>
                  </a:lnTo>
                  <a:lnTo>
                    <a:pt x="94" y="363"/>
                  </a:lnTo>
                  <a:lnTo>
                    <a:pt x="94" y="361"/>
                  </a:lnTo>
                  <a:lnTo>
                    <a:pt x="96" y="359"/>
                  </a:lnTo>
                  <a:lnTo>
                    <a:pt x="98" y="359"/>
                  </a:lnTo>
                  <a:lnTo>
                    <a:pt x="100" y="357"/>
                  </a:lnTo>
                  <a:lnTo>
                    <a:pt x="102" y="355"/>
                  </a:lnTo>
                  <a:lnTo>
                    <a:pt x="102" y="353"/>
                  </a:lnTo>
                  <a:lnTo>
                    <a:pt x="102" y="350"/>
                  </a:lnTo>
                  <a:lnTo>
                    <a:pt x="102" y="348"/>
                  </a:lnTo>
                  <a:lnTo>
                    <a:pt x="100" y="342"/>
                  </a:lnTo>
                  <a:lnTo>
                    <a:pt x="100" y="338"/>
                  </a:lnTo>
                  <a:lnTo>
                    <a:pt x="98" y="336"/>
                  </a:lnTo>
                  <a:lnTo>
                    <a:pt x="98" y="334"/>
                  </a:lnTo>
                  <a:lnTo>
                    <a:pt x="96" y="334"/>
                  </a:lnTo>
                  <a:lnTo>
                    <a:pt x="94" y="332"/>
                  </a:lnTo>
                  <a:lnTo>
                    <a:pt x="90" y="330"/>
                  </a:lnTo>
                  <a:lnTo>
                    <a:pt x="88" y="328"/>
                  </a:lnTo>
                  <a:lnTo>
                    <a:pt x="88" y="326"/>
                  </a:lnTo>
                  <a:lnTo>
                    <a:pt x="82" y="324"/>
                  </a:lnTo>
                  <a:lnTo>
                    <a:pt x="82" y="324"/>
                  </a:lnTo>
                  <a:lnTo>
                    <a:pt x="82" y="322"/>
                  </a:lnTo>
                  <a:lnTo>
                    <a:pt x="78" y="316"/>
                  </a:lnTo>
                  <a:lnTo>
                    <a:pt x="76" y="309"/>
                  </a:lnTo>
                  <a:lnTo>
                    <a:pt x="76" y="307"/>
                  </a:lnTo>
                  <a:lnTo>
                    <a:pt x="76" y="305"/>
                  </a:lnTo>
                  <a:lnTo>
                    <a:pt x="76" y="301"/>
                  </a:lnTo>
                  <a:lnTo>
                    <a:pt x="72" y="295"/>
                  </a:lnTo>
                  <a:lnTo>
                    <a:pt x="72" y="295"/>
                  </a:lnTo>
                  <a:lnTo>
                    <a:pt x="74" y="293"/>
                  </a:lnTo>
                  <a:lnTo>
                    <a:pt x="76" y="291"/>
                  </a:lnTo>
                  <a:lnTo>
                    <a:pt x="76" y="289"/>
                  </a:lnTo>
                  <a:lnTo>
                    <a:pt x="76" y="287"/>
                  </a:lnTo>
                  <a:lnTo>
                    <a:pt x="76" y="285"/>
                  </a:lnTo>
                  <a:lnTo>
                    <a:pt x="76" y="279"/>
                  </a:lnTo>
                  <a:lnTo>
                    <a:pt x="74" y="277"/>
                  </a:lnTo>
                  <a:lnTo>
                    <a:pt x="72" y="273"/>
                  </a:lnTo>
                  <a:lnTo>
                    <a:pt x="69" y="266"/>
                  </a:lnTo>
                  <a:lnTo>
                    <a:pt x="69" y="266"/>
                  </a:lnTo>
                  <a:lnTo>
                    <a:pt x="69" y="264"/>
                  </a:lnTo>
                  <a:lnTo>
                    <a:pt x="72" y="260"/>
                  </a:lnTo>
                  <a:lnTo>
                    <a:pt x="72" y="258"/>
                  </a:lnTo>
                  <a:lnTo>
                    <a:pt x="74" y="242"/>
                  </a:lnTo>
                  <a:lnTo>
                    <a:pt x="78" y="225"/>
                  </a:lnTo>
                  <a:lnTo>
                    <a:pt x="80" y="209"/>
                  </a:lnTo>
                  <a:lnTo>
                    <a:pt x="82" y="193"/>
                  </a:lnTo>
                  <a:lnTo>
                    <a:pt x="84" y="176"/>
                  </a:lnTo>
                  <a:lnTo>
                    <a:pt x="86" y="160"/>
                  </a:lnTo>
                  <a:lnTo>
                    <a:pt x="88" y="143"/>
                  </a:lnTo>
                  <a:lnTo>
                    <a:pt x="92" y="127"/>
                  </a:lnTo>
                  <a:lnTo>
                    <a:pt x="94" y="113"/>
                  </a:lnTo>
                  <a:lnTo>
                    <a:pt x="96" y="96"/>
                  </a:lnTo>
                  <a:lnTo>
                    <a:pt x="98" y="80"/>
                  </a:lnTo>
                  <a:lnTo>
                    <a:pt x="100" y="64"/>
                  </a:lnTo>
                  <a:lnTo>
                    <a:pt x="104" y="47"/>
                  </a:lnTo>
                  <a:lnTo>
                    <a:pt x="106" y="31"/>
                  </a:lnTo>
                  <a:lnTo>
                    <a:pt x="108" y="16"/>
                  </a:lnTo>
                  <a:lnTo>
                    <a:pt x="110" y="0"/>
                  </a:lnTo>
                  <a:lnTo>
                    <a:pt x="119" y="0"/>
                  </a:lnTo>
                  <a:lnTo>
                    <a:pt x="135" y="4"/>
                  </a:lnTo>
                  <a:lnTo>
                    <a:pt x="151" y="6"/>
                  </a:lnTo>
                  <a:lnTo>
                    <a:pt x="168" y="8"/>
                  </a:lnTo>
                  <a:lnTo>
                    <a:pt x="184" y="10"/>
                  </a:lnTo>
                  <a:lnTo>
                    <a:pt x="184" y="10"/>
                  </a:lnTo>
                  <a:lnTo>
                    <a:pt x="182" y="23"/>
                  </a:lnTo>
                  <a:lnTo>
                    <a:pt x="180" y="35"/>
                  </a:lnTo>
                  <a:lnTo>
                    <a:pt x="180" y="47"/>
                  </a:lnTo>
                  <a:lnTo>
                    <a:pt x="178" y="57"/>
                  </a:lnTo>
                  <a:lnTo>
                    <a:pt x="176" y="70"/>
                  </a:lnTo>
                  <a:lnTo>
                    <a:pt x="174" y="82"/>
                  </a:lnTo>
                  <a:lnTo>
                    <a:pt x="172" y="94"/>
                  </a:lnTo>
                  <a:lnTo>
                    <a:pt x="170" y="107"/>
                  </a:lnTo>
                  <a:lnTo>
                    <a:pt x="170" y="111"/>
                  </a:lnTo>
                  <a:lnTo>
                    <a:pt x="170" y="111"/>
                  </a:lnTo>
                  <a:lnTo>
                    <a:pt x="170" y="113"/>
                  </a:lnTo>
                  <a:lnTo>
                    <a:pt x="172" y="115"/>
                  </a:lnTo>
                  <a:lnTo>
                    <a:pt x="174" y="117"/>
                  </a:lnTo>
                  <a:lnTo>
                    <a:pt x="174" y="119"/>
                  </a:lnTo>
                  <a:lnTo>
                    <a:pt x="176" y="121"/>
                  </a:lnTo>
                  <a:lnTo>
                    <a:pt x="176" y="123"/>
                  </a:lnTo>
                  <a:lnTo>
                    <a:pt x="176" y="123"/>
                  </a:lnTo>
                  <a:lnTo>
                    <a:pt x="178" y="123"/>
                  </a:lnTo>
                  <a:lnTo>
                    <a:pt x="178" y="125"/>
                  </a:lnTo>
                  <a:lnTo>
                    <a:pt x="178" y="125"/>
                  </a:lnTo>
                  <a:lnTo>
                    <a:pt x="180" y="127"/>
                  </a:lnTo>
                  <a:lnTo>
                    <a:pt x="180" y="127"/>
                  </a:lnTo>
                  <a:lnTo>
                    <a:pt x="182" y="129"/>
                  </a:lnTo>
                  <a:lnTo>
                    <a:pt x="182" y="129"/>
                  </a:lnTo>
                  <a:lnTo>
                    <a:pt x="182" y="129"/>
                  </a:lnTo>
                  <a:lnTo>
                    <a:pt x="182" y="131"/>
                  </a:lnTo>
                  <a:lnTo>
                    <a:pt x="184" y="135"/>
                  </a:lnTo>
                  <a:lnTo>
                    <a:pt x="184" y="137"/>
                  </a:lnTo>
                  <a:lnTo>
                    <a:pt x="184" y="137"/>
                  </a:lnTo>
                  <a:lnTo>
                    <a:pt x="186" y="139"/>
                  </a:lnTo>
                  <a:lnTo>
                    <a:pt x="186" y="139"/>
                  </a:lnTo>
                  <a:lnTo>
                    <a:pt x="186" y="139"/>
                  </a:lnTo>
                  <a:lnTo>
                    <a:pt x="186" y="141"/>
                  </a:lnTo>
                  <a:lnTo>
                    <a:pt x="186" y="141"/>
                  </a:lnTo>
                  <a:lnTo>
                    <a:pt x="188" y="141"/>
                  </a:lnTo>
                  <a:lnTo>
                    <a:pt x="190" y="143"/>
                  </a:lnTo>
                  <a:lnTo>
                    <a:pt x="190" y="143"/>
                  </a:lnTo>
                  <a:lnTo>
                    <a:pt x="190" y="146"/>
                  </a:lnTo>
                  <a:lnTo>
                    <a:pt x="190" y="146"/>
                  </a:lnTo>
                  <a:lnTo>
                    <a:pt x="190" y="148"/>
                  </a:lnTo>
                  <a:lnTo>
                    <a:pt x="190" y="150"/>
                  </a:lnTo>
                  <a:lnTo>
                    <a:pt x="190" y="150"/>
                  </a:lnTo>
                  <a:lnTo>
                    <a:pt x="192" y="154"/>
                  </a:lnTo>
                  <a:lnTo>
                    <a:pt x="192" y="154"/>
                  </a:lnTo>
                  <a:lnTo>
                    <a:pt x="192" y="156"/>
                  </a:lnTo>
                  <a:lnTo>
                    <a:pt x="192" y="156"/>
                  </a:lnTo>
                  <a:lnTo>
                    <a:pt x="190" y="158"/>
                  </a:lnTo>
                  <a:lnTo>
                    <a:pt x="190" y="158"/>
                  </a:lnTo>
                  <a:lnTo>
                    <a:pt x="190" y="158"/>
                  </a:lnTo>
                  <a:lnTo>
                    <a:pt x="190" y="158"/>
                  </a:lnTo>
                  <a:lnTo>
                    <a:pt x="188" y="158"/>
                  </a:lnTo>
                  <a:lnTo>
                    <a:pt x="188" y="160"/>
                  </a:lnTo>
                  <a:lnTo>
                    <a:pt x="186" y="160"/>
                  </a:lnTo>
                  <a:lnTo>
                    <a:pt x="186" y="160"/>
                  </a:lnTo>
                  <a:lnTo>
                    <a:pt x="188" y="160"/>
                  </a:lnTo>
                  <a:lnTo>
                    <a:pt x="190" y="162"/>
                  </a:lnTo>
                  <a:lnTo>
                    <a:pt x="190" y="162"/>
                  </a:lnTo>
                  <a:lnTo>
                    <a:pt x="190" y="164"/>
                  </a:lnTo>
                  <a:lnTo>
                    <a:pt x="190" y="166"/>
                  </a:lnTo>
                  <a:lnTo>
                    <a:pt x="190" y="166"/>
                  </a:lnTo>
                  <a:lnTo>
                    <a:pt x="190" y="166"/>
                  </a:lnTo>
                  <a:lnTo>
                    <a:pt x="192" y="168"/>
                  </a:lnTo>
                  <a:lnTo>
                    <a:pt x="192" y="168"/>
                  </a:lnTo>
                  <a:lnTo>
                    <a:pt x="192" y="168"/>
                  </a:lnTo>
                  <a:lnTo>
                    <a:pt x="192" y="170"/>
                  </a:lnTo>
                  <a:lnTo>
                    <a:pt x="192" y="170"/>
                  </a:lnTo>
                  <a:lnTo>
                    <a:pt x="192" y="170"/>
                  </a:lnTo>
                  <a:lnTo>
                    <a:pt x="192" y="170"/>
                  </a:lnTo>
                  <a:lnTo>
                    <a:pt x="190" y="170"/>
                  </a:lnTo>
                  <a:lnTo>
                    <a:pt x="188" y="170"/>
                  </a:lnTo>
                  <a:lnTo>
                    <a:pt x="186" y="170"/>
                  </a:lnTo>
                  <a:lnTo>
                    <a:pt x="186" y="170"/>
                  </a:lnTo>
                  <a:lnTo>
                    <a:pt x="186" y="170"/>
                  </a:lnTo>
                  <a:lnTo>
                    <a:pt x="186" y="170"/>
                  </a:lnTo>
                  <a:lnTo>
                    <a:pt x="186" y="170"/>
                  </a:lnTo>
                  <a:lnTo>
                    <a:pt x="186" y="172"/>
                  </a:lnTo>
                  <a:lnTo>
                    <a:pt x="186" y="172"/>
                  </a:lnTo>
                  <a:lnTo>
                    <a:pt x="188" y="172"/>
                  </a:lnTo>
                  <a:lnTo>
                    <a:pt x="190" y="174"/>
                  </a:lnTo>
                  <a:lnTo>
                    <a:pt x="196" y="178"/>
                  </a:lnTo>
                  <a:lnTo>
                    <a:pt x="196" y="178"/>
                  </a:lnTo>
                  <a:lnTo>
                    <a:pt x="199" y="182"/>
                  </a:lnTo>
                  <a:lnTo>
                    <a:pt x="199" y="184"/>
                  </a:lnTo>
                  <a:lnTo>
                    <a:pt x="201" y="187"/>
                  </a:lnTo>
                  <a:lnTo>
                    <a:pt x="201" y="187"/>
                  </a:lnTo>
                  <a:lnTo>
                    <a:pt x="201" y="189"/>
                  </a:lnTo>
                  <a:lnTo>
                    <a:pt x="201" y="189"/>
                  </a:lnTo>
                  <a:lnTo>
                    <a:pt x="203" y="189"/>
                  </a:lnTo>
                  <a:lnTo>
                    <a:pt x="207" y="191"/>
                  </a:lnTo>
                  <a:lnTo>
                    <a:pt x="213" y="193"/>
                  </a:lnTo>
                  <a:lnTo>
                    <a:pt x="213" y="195"/>
                  </a:lnTo>
                  <a:lnTo>
                    <a:pt x="213" y="195"/>
                  </a:lnTo>
                  <a:lnTo>
                    <a:pt x="215" y="197"/>
                  </a:lnTo>
                  <a:lnTo>
                    <a:pt x="215" y="197"/>
                  </a:lnTo>
                  <a:lnTo>
                    <a:pt x="215" y="199"/>
                  </a:lnTo>
                  <a:lnTo>
                    <a:pt x="215" y="199"/>
                  </a:lnTo>
                  <a:lnTo>
                    <a:pt x="217" y="199"/>
                  </a:lnTo>
                  <a:lnTo>
                    <a:pt x="217" y="199"/>
                  </a:lnTo>
                  <a:lnTo>
                    <a:pt x="217" y="201"/>
                  </a:lnTo>
                  <a:lnTo>
                    <a:pt x="217" y="201"/>
                  </a:lnTo>
                  <a:lnTo>
                    <a:pt x="217" y="203"/>
                  </a:lnTo>
                  <a:lnTo>
                    <a:pt x="217" y="203"/>
                  </a:lnTo>
                  <a:lnTo>
                    <a:pt x="219" y="203"/>
                  </a:lnTo>
                  <a:lnTo>
                    <a:pt x="219" y="203"/>
                  </a:lnTo>
                  <a:lnTo>
                    <a:pt x="219" y="205"/>
                  </a:lnTo>
                  <a:lnTo>
                    <a:pt x="219" y="205"/>
                  </a:lnTo>
                  <a:lnTo>
                    <a:pt x="221" y="207"/>
                  </a:lnTo>
                  <a:lnTo>
                    <a:pt x="223" y="207"/>
                  </a:lnTo>
                  <a:lnTo>
                    <a:pt x="223" y="211"/>
                  </a:lnTo>
                  <a:lnTo>
                    <a:pt x="225" y="213"/>
                  </a:lnTo>
                  <a:lnTo>
                    <a:pt x="231" y="221"/>
                  </a:lnTo>
                  <a:lnTo>
                    <a:pt x="231" y="221"/>
                  </a:lnTo>
                  <a:lnTo>
                    <a:pt x="231" y="223"/>
                  </a:lnTo>
                  <a:lnTo>
                    <a:pt x="231" y="223"/>
                  </a:lnTo>
                  <a:lnTo>
                    <a:pt x="231" y="223"/>
                  </a:lnTo>
                  <a:lnTo>
                    <a:pt x="231" y="225"/>
                  </a:lnTo>
                  <a:lnTo>
                    <a:pt x="231" y="225"/>
                  </a:lnTo>
                  <a:lnTo>
                    <a:pt x="233" y="225"/>
                  </a:lnTo>
                  <a:lnTo>
                    <a:pt x="235" y="225"/>
                  </a:lnTo>
                  <a:lnTo>
                    <a:pt x="235" y="228"/>
                  </a:lnTo>
                  <a:lnTo>
                    <a:pt x="235" y="228"/>
                  </a:lnTo>
                  <a:lnTo>
                    <a:pt x="237" y="230"/>
                  </a:lnTo>
                  <a:lnTo>
                    <a:pt x="237" y="232"/>
                  </a:lnTo>
                  <a:lnTo>
                    <a:pt x="237" y="232"/>
                  </a:lnTo>
                  <a:lnTo>
                    <a:pt x="239" y="234"/>
                  </a:lnTo>
                  <a:lnTo>
                    <a:pt x="239" y="234"/>
                  </a:lnTo>
                  <a:lnTo>
                    <a:pt x="239" y="234"/>
                  </a:lnTo>
                  <a:lnTo>
                    <a:pt x="239" y="234"/>
                  </a:lnTo>
                  <a:lnTo>
                    <a:pt x="239" y="236"/>
                  </a:lnTo>
                  <a:lnTo>
                    <a:pt x="239" y="236"/>
                  </a:lnTo>
                  <a:lnTo>
                    <a:pt x="239" y="236"/>
                  </a:lnTo>
                  <a:lnTo>
                    <a:pt x="239" y="238"/>
                  </a:lnTo>
                  <a:lnTo>
                    <a:pt x="239" y="240"/>
                  </a:lnTo>
                  <a:lnTo>
                    <a:pt x="239" y="240"/>
                  </a:lnTo>
                  <a:lnTo>
                    <a:pt x="239" y="242"/>
                  </a:lnTo>
                  <a:lnTo>
                    <a:pt x="239" y="242"/>
                  </a:lnTo>
                  <a:lnTo>
                    <a:pt x="242" y="244"/>
                  </a:lnTo>
                  <a:lnTo>
                    <a:pt x="244" y="244"/>
                  </a:lnTo>
                  <a:lnTo>
                    <a:pt x="244" y="246"/>
                  </a:lnTo>
                  <a:lnTo>
                    <a:pt x="246" y="246"/>
                  </a:lnTo>
                  <a:lnTo>
                    <a:pt x="246" y="248"/>
                  </a:lnTo>
                  <a:lnTo>
                    <a:pt x="248" y="248"/>
                  </a:lnTo>
                  <a:lnTo>
                    <a:pt x="250" y="250"/>
                  </a:lnTo>
                  <a:lnTo>
                    <a:pt x="250" y="250"/>
                  </a:lnTo>
                  <a:lnTo>
                    <a:pt x="250" y="250"/>
                  </a:lnTo>
                  <a:lnTo>
                    <a:pt x="250" y="250"/>
                  </a:lnTo>
                  <a:lnTo>
                    <a:pt x="250" y="252"/>
                  </a:lnTo>
                  <a:lnTo>
                    <a:pt x="250" y="252"/>
                  </a:lnTo>
                  <a:lnTo>
                    <a:pt x="250" y="254"/>
                  </a:lnTo>
                  <a:lnTo>
                    <a:pt x="250" y="254"/>
                  </a:lnTo>
                  <a:lnTo>
                    <a:pt x="250" y="256"/>
                  </a:lnTo>
                  <a:lnTo>
                    <a:pt x="250" y="256"/>
                  </a:lnTo>
                  <a:lnTo>
                    <a:pt x="250" y="256"/>
                  </a:lnTo>
                  <a:lnTo>
                    <a:pt x="250" y="256"/>
                  </a:lnTo>
                  <a:lnTo>
                    <a:pt x="252" y="256"/>
                  </a:lnTo>
                  <a:lnTo>
                    <a:pt x="254" y="254"/>
                  </a:lnTo>
                  <a:lnTo>
                    <a:pt x="254" y="254"/>
                  </a:lnTo>
                  <a:lnTo>
                    <a:pt x="256" y="254"/>
                  </a:lnTo>
                  <a:lnTo>
                    <a:pt x="256" y="254"/>
                  </a:lnTo>
                  <a:lnTo>
                    <a:pt x="256" y="254"/>
                  </a:lnTo>
                  <a:lnTo>
                    <a:pt x="256" y="254"/>
                  </a:lnTo>
                  <a:lnTo>
                    <a:pt x="258" y="254"/>
                  </a:lnTo>
                  <a:lnTo>
                    <a:pt x="260" y="256"/>
                  </a:lnTo>
                  <a:lnTo>
                    <a:pt x="260" y="256"/>
                  </a:lnTo>
                  <a:lnTo>
                    <a:pt x="260" y="256"/>
                  </a:lnTo>
                  <a:lnTo>
                    <a:pt x="260" y="258"/>
                  </a:lnTo>
                  <a:lnTo>
                    <a:pt x="260" y="258"/>
                  </a:lnTo>
                  <a:lnTo>
                    <a:pt x="258" y="260"/>
                  </a:lnTo>
                  <a:lnTo>
                    <a:pt x="258" y="260"/>
                  </a:lnTo>
                  <a:lnTo>
                    <a:pt x="258" y="260"/>
                  </a:lnTo>
                  <a:lnTo>
                    <a:pt x="258" y="260"/>
                  </a:lnTo>
                  <a:lnTo>
                    <a:pt x="258" y="262"/>
                  </a:lnTo>
                  <a:lnTo>
                    <a:pt x="258" y="262"/>
                  </a:lnTo>
                  <a:lnTo>
                    <a:pt x="260" y="262"/>
                  </a:lnTo>
                  <a:lnTo>
                    <a:pt x="262" y="264"/>
                  </a:lnTo>
                  <a:lnTo>
                    <a:pt x="262" y="264"/>
                  </a:lnTo>
                  <a:lnTo>
                    <a:pt x="264" y="266"/>
                  </a:lnTo>
                  <a:lnTo>
                    <a:pt x="264" y="266"/>
                  </a:lnTo>
                  <a:lnTo>
                    <a:pt x="266" y="266"/>
                  </a:lnTo>
                  <a:lnTo>
                    <a:pt x="268" y="264"/>
                  </a:lnTo>
                  <a:lnTo>
                    <a:pt x="268" y="264"/>
                  </a:lnTo>
                  <a:lnTo>
                    <a:pt x="268" y="264"/>
                  </a:lnTo>
                  <a:lnTo>
                    <a:pt x="270" y="266"/>
                  </a:lnTo>
                  <a:lnTo>
                    <a:pt x="270" y="266"/>
                  </a:lnTo>
                  <a:lnTo>
                    <a:pt x="270" y="266"/>
                  </a:lnTo>
                  <a:lnTo>
                    <a:pt x="272" y="266"/>
                  </a:lnTo>
                  <a:lnTo>
                    <a:pt x="272" y="266"/>
                  </a:lnTo>
                  <a:lnTo>
                    <a:pt x="274" y="264"/>
                  </a:lnTo>
                  <a:lnTo>
                    <a:pt x="274" y="264"/>
                  </a:lnTo>
                  <a:lnTo>
                    <a:pt x="280" y="264"/>
                  </a:lnTo>
                  <a:lnTo>
                    <a:pt x="280" y="264"/>
                  </a:lnTo>
                  <a:lnTo>
                    <a:pt x="280" y="264"/>
                  </a:lnTo>
                  <a:lnTo>
                    <a:pt x="282" y="264"/>
                  </a:lnTo>
                  <a:lnTo>
                    <a:pt x="282" y="264"/>
                  </a:lnTo>
                  <a:lnTo>
                    <a:pt x="282" y="266"/>
                  </a:lnTo>
                  <a:lnTo>
                    <a:pt x="282" y="266"/>
                  </a:lnTo>
                  <a:lnTo>
                    <a:pt x="282" y="266"/>
                  </a:lnTo>
                  <a:lnTo>
                    <a:pt x="282" y="269"/>
                  </a:lnTo>
                  <a:lnTo>
                    <a:pt x="282" y="271"/>
                  </a:lnTo>
                  <a:lnTo>
                    <a:pt x="280" y="271"/>
                  </a:lnTo>
                  <a:lnTo>
                    <a:pt x="280" y="273"/>
                  </a:lnTo>
                  <a:lnTo>
                    <a:pt x="280" y="273"/>
                  </a:lnTo>
                  <a:lnTo>
                    <a:pt x="280" y="273"/>
                  </a:lnTo>
                  <a:lnTo>
                    <a:pt x="280" y="273"/>
                  </a:lnTo>
                  <a:lnTo>
                    <a:pt x="280" y="275"/>
                  </a:lnTo>
                  <a:lnTo>
                    <a:pt x="280" y="275"/>
                  </a:lnTo>
                  <a:lnTo>
                    <a:pt x="280" y="275"/>
                  </a:lnTo>
                  <a:lnTo>
                    <a:pt x="278" y="277"/>
                  </a:lnTo>
                  <a:lnTo>
                    <a:pt x="278" y="277"/>
                  </a:lnTo>
                  <a:lnTo>
                    <a:pt x="278" y="277"/>
                  </a:lnTo>
                  <a:lnTo>
                    <a:pt x="278" y="277"/>
                  </a:lnTo>
                  <a:lnTo>
                    <a:pt x="278" y="279"/>
                  </a:lnTo>
                  <a:lnTo>
                    <a:pt x="278" y="279"/>
                  </a:lnTo>
                  <a:lnTo>
                    <a:pt x="280" y="279"/>
                  </a:lnTo>
                  <a:lnTo>
                    <a:pt x="278" y="279"/>
                  </a:lnTo>
                  <a:lnTo>
                    <a:pt x="278" y="281"/>
                  </a:lnTo>
                  <a:lnTo>
                    <a:pt x="278" y="281"/>
                  </a:lnTo>
                  <a:lnTo>
                    <a:pt x="278" y="281"/>
                  </a:lnTo>
                  <a:lnTo>
                    <a:pt x="278" y="281"/>
                  </a:lnTo>
                  <a:lnTo>
                    <a:pt x="274" y="281"/>
                  </a:lnTo>
                  <a:lnTo>
                    <a:pt x="274" y="281"/>
                  </a:lnTo>
                  <a:lnTo>
                    <a:pt x="274" y="281"/>
                  </a:lnTo>
                  <a:lnTo>
                    <a:pt x="274" y="283"/>
                  </a:lnTo>
                  <a:lnTo>
                    <a:pt x="274" y="283"/>
                  </a:lnTo>
                  <a:lnTo>
                    <a:pt x="274" y="283"/>
                  </a:lnTo>
                  <a:lnTo>
                    <a:pt x="274" y="283"/>
                  </a:lnTo>
                  <a:lnTo>
                    <a:pt x="276" y="285"/>
                  </a:lnTo>
                  <a:lnTo>
                    <a:pt x="276" y="285"/>
                  </a:lnTo>
                  <a:lnTo>
                    <a:pt x="276" y="285"/>
                  </a:lnTo>
                  <a:lnTo>
                    <a:pt x="276" y="285"/>
                  </a:lnTo>
                  <a:lnTo>
                    <a:pt x="276" y="287"/>
                  </a:lnTo>
                  <a:lnTo>
                    <a:pt x="276" y="287"/>
                  </a:lnTo>
                  <a:lnTo>
                    <a:pt x="276" y="287"/>
                  </a:lnTo>
                  <a:lnTo>
                    <a:pt x="276" y="289"/>
                  </a:lnTo>
                  <a:lnTo>
                    <a:pt x="272" y="291"/>
                  </a:lnTo>
                  <a:lnTo>
                    <a:pt x="272" y="293"/>
                  </a:lnTo>
                  <a:lnTo>
                    <a:pt x="272" y="293"/>
                  </a:lnTo>
                  <a:lnTo>
                    <a:pt x="272" y="295"/>
                  </a:lnTo>
                  <a:lnTo>
                    <a:pt x="272" y="297"/>
                  </a:lnTo>
                  <a:lnTo>
                    <a:pt x="272" y="297"/>
                  </a:lnTo>
                  <a:lnTo>
                    <a:pt x="272" y="297"/>
                  </a:lnTo>
                  <a:lnTo>
                    <a:pt x="272" y="297"/>
                  </a:lnTo>
                  <a:lnTo>
                    <a:pt x="270" y="299"/>
                  </a:lnTo>
                  <a:lnTo>
                    <a:pt x="268" y="301"/>
                  </a:lnTo>
                  <a:lnTo>
                    <a:pt x="268" y="301"/>
                  </a:lnTo>
                  <a:lnTo>
                    <a:pt x="268" y="303"/>
                  </a:lnTo>
                  <a:lnTo>
                    <a:pt x="268" y="303"/>
                  </a:lnTo>
                  <a:lnTo>
                    <a:pt x="268" y="303"/>
                  </a:lnTo>
                  <a:lnTo>
                    <a:pt x="268" y="303"/>
                  </a:lnTo>
                  <a:lnTo>
                    <a:pt x="268" y="305"/>
                  </a:lnTo>
                  <a:lnTo>
                    <a:pt x="266" y="305"/>
                  </a:lnTo>
                  <a:lnTo>
                    <a:pt x="266" y="305"/>
                  </a:lnTo>
                  <a:lnTo>
                    <a:pt x="266" y="305"/>
                  </a:lnTo>
                  <a:lnTo>
                    <a:pt x="268" y="307"/>
                  </a:lnTo>
                  <a:lnTo>
                    <a:pt x="268" y="307"/>
                  </a:lnTo>
                  <a:lnTo>
                    <a:pt x="268" y="309"/>
                  </a:lnTo>
                  <a:lnTo>
                    <a:pt x="268" y="309"/>
                  </a:lnTo>
                  <a:lnTo>
                    <a:pt x="268" y="312"/>
                  </a:lnTo>
                  <a:lnTo>
                    <a:pt x="268" y="312"/>
                  </a:lnTo>
                  <a:lnTo>
                    <a:pt x="268" y="314"/>
                  </a:lnTo>
                  <a:lnTo>
                    <a:pt x="268" y="314"/>
                  </a:lnTo>
                  <a:lnTo>
                    <a:pt x="268" y="314"/>
                  </a:lnTo>
                  <a:lnTo>
                    <a:pt x="266" y="314"/>
                  </a:lnTo>
                  <a:lnTo>
                    <a:pt x="266" y="314"/>
                  </a:lnTo>
                  <a:lnTo>
                    <a:pt x="266" y="314"/>
                  </a:lnTo>
                  <a:lnTo>
                    <a:pt x="264" y="314"/>
                  </a:lnTo>
                  <a:lnTo>
                    <a:pt x="262" y="314"/>
                  </a:lnTo>
                  <a:lnTo>
                    <a:pt x="262" y="316"/>
                  </a:lnTo>
                  <a:lnTo>
                    <a:pt x="262" y="316"/>
                  </a:lnTo>
                  <a:lnTo>
                    <a:pt x="262" y="316"/>
                  </a:lnTo>
                  <a:lnTo>
                    <a:pt x="262" y="316"/>
                  </a:lnTo>
                  <a:lnTo>
                    <a:pt x="262" y="316"/>
                  </a:lnTo>
                  <a:lnTo>
                    <a:pt x="262" y="318"/>
                  </a:lnTo>
                  <a:lnTo>
                    <a:pt x="264" y="320"/>
                  </a:lnTo>
                  <a:lnTo>
                    <a:pt x="264" y="322"/>
                  </a:lnTo>
                  <a:lnTo>
                    <a:pt x="264" y="322"/>
                  </a:lnTo>
                  <a:lnTo>
                    <a:pt x="264" y="322"/>
                  </a:lnTo>
                  <a:lnTo>
                    <a:pt x="264" y="324"/>
                  </a:lnTo>
                  <a:lnTo>
                    <a:pt x="264" y="324"/>
                  </a:lnTo>
                  <a:lnTo>
                    <a:pt x="264" y="324"/>
                  </a:lnTo>
                  <a:lnTo>
                    <a:pt x="262" y="326"/>
                  </a:lnTo>
                  <a:lnTo>
                    <a:pt x="262" y="326"/>
                  </a:lnTo>
                  <a:lnTo>
                    <a:pt x="262" y="328"/>
                  </a:lnTo>
                  <a:lnTo>
                    <a:pt x="262" y="328"/>
                  </a:lnTo>
                  <a:lnTo>
                    <a:pt x="262" y="328"/>
                  </a:lnTo>
                  <a:lnTo>
                    <a:pt x="262" y="330"/>
                  </a:lnTo>
                  <a:lnTo>
                    <a:pt x="262" y="330"/>
                  </a:lnTo>
                  <a:lnTo>
                    <a:pt x="262" y="330"/>
                  </a:lnTo>
                  <a:lnTo>
                    <a:pt x="262" y="332"/>
                  </a:lnTo>
                  <a:lnTo>
                    <a:pt x="262" y="332"/>
                  </a:lnTo>
                  <a:lnTo>
                    <a:pt x="262" y="332"/>
                  </a:lnTo>
                  <a:lnTo>
                    <a:pt x="264" y="334"/>
                  </a:lnTo>
                  <a:lnTo>
                    <a:pt x="266" y="334"/>
                  </a:lnTo>
                  <a:lnTo>
                    <a:pt x="266" y="334"/>
                  </a:lnTo>
                  <a:lnTo>
                    <a:pt x="268" y="336"/>
                  </a:lnTo>
                  <a:lnTo>
                    <a:pt x="268" y="336"/>
                  </a:lnTo>
                  <a:lnTo>
                    <a:pt x="266" y="336"/>
                  </a:lnTo>
                  <a:lnTo>
                    <a:pt x="266" y="338"/>
                  </a:lnTo>
                  <a:lnTo>
                    <a:pt x="266" y="338"/>
                  </a:lnTo>
                  <a:lnTo>
                    <a:pt x="266" y="340"/>
                  </a:lnTo>
                  <a:lnTo>
                    <a:pt x="266" y="340"/>
                  </a:lnTo>
                  <a:lnTo>
                    <a:pt x="266" y="340"/>
                  </a:lnTo>
                  <a:lnTo>
                    <a:pt x="266" y="340"/>
                  </a:lnTo>
                  <a:lnTo>
                    <a:pt x="266" y="342"/>
                  </a:lnTo>
                  <a:lnTo>
                    <a:pt x="266" y="344"/>
                  </a:lnTo>
                  <a:lnTo>
                    <a:pt x="266" y="344"/>
                  </a:lnTo>
                  <a:lnTo>
                    <a:pt x="266" y="346"/>
                  </a:lnTo>
                  <a:lnTo>
                    <a:pt x="266" y="346"/>
                  </a:lnTo>
                  <a:lnTo>
                    <a:pt x="264" y="348"/>
                  </a:lnTo>
                  <a:lnTo>
                    <a:pt x="264" y="348"/>
                  </a:lnTo>
                  <a:lnTo>
                    <a:pt x="264" y="348"/>
                  </a:lnTo>
                  <a:lnTo>
                    <a:pt x="262" y="348"/>
                  </a:lnTo>
                  <a:lnTo>
                    <a:pt x="260" y="348"/>
                  </a:lnTo>
                  <a:lnTo>
                    <a:pt x="260" y="348"/>
                  </a:lnTo>
                  <a:lnTo>
                    <a:pt x="258" y="348"/>
                  </a:lnTo>
                  <a:lnTo>
                    <a:pt x="258" y="348"/>
                  </a:lnTo>
                  <a:lnTo>
                    <a:pt x="258" y="348"/>
                  </a:lnTo>
                  <a:lnTo>
                    <a:pt x="258" y="348"/>
                  </a:lnTo>
                  <a:lnTo>
                    <a:pt x="258" y="350"/>
                  </a:lnTo>
                  <a:lnTo>
                    <a:pt x="256" y="350"/>
                  </a:lnTo>
                  <a:lnTo>
                    <a:pt x="256" y="353"/>
                  </a:lnTo>
                  <a:lnTo>
                    <a:pt x="256" y="353"/>
                  </a:lnTo>
                  <a:lnTo>
                    <a:pt x="254" y="353"/>
                  </a:lnTo>
                  <a:lnTo>
                    <a:pt x="254" y="353"/>
                  </a:lnTo>
                  <a:lnTo>
                    <a:pt x="254" y="355"/>
                  </a:lnTo>
                  <a:lnTo>
                    <a:pt x="254" y="355"/>
                  </a:lnTo>
                  <a:lnTo>
                    <a:pt x="252" y="355"/>
                  </a:lnTo>
                  <a:lnTo>
                    <a:pt x="254" y="357"/>
                  </a:lnTo>
                  <a:lnTo>
                    <a:pt x="254" y="357"/>
                  </a:lnTo>
                  <a:lnTo>
                    <a:pt x="254" y="359"/>
                  </a:lnTo>
                  <a:lnTo>
                    <a:pt x="254" y="359"/>
                  </a:lnTo>
                  <a:lnTo>
                    <a:pt x="254" y="359"/>
                  </a:lnTo>
                  <a:lnTo>
                    <a:pt x="256" y="361"/>
                  </a:lnTo>
                  <a:lnTo>
                    <a:pt x="256" y="363"/>
                  </a:lnTo>
                  <a:lnTo>
                    <a:pt x="256" y="363"/>
                  </a:lnTo>
                  <a:lnTo>
                    <a:pt x="256" y="365"/>
                  </a:lnTo>
                  <a:lnTo>
                    <a:pt x="256" y="365"/>
                  </a:lnTo>
                  <a:lnTo>
                    <a:pt x="256" y="365"/>
                  </a:lnTo>
                  <a:lnTo>
                    <a:pt x="256" y="367"/>
                  </a:lnTo>
                  <a:lnTo>
                    <a:pt x="256" y="367"/>
                  </a:lnTo>
                  <a:lnTo>
                    <a:pt x="256" y="367"/>
                  </a:lnTo>
                  <a:lnTo>
                    <a:pt x="256" y="367"/>
                  </a:lnTo>
                  <a:lnTo>
                    <a:pt x="256" y="367"/>
                  </a:lnTo>
                  <a:lnTo>
                    <a:pt x="254" y="369"/>
                  </a:lnTo>
                  <a:lnTo>
                    <a:pt x="252" y="369"/>
                  </a:lnTo>
                  <a:lnTo>
                    <a:pt x="252" y="371"/>
                  </a:lnTo>
                  <a:lnTo>
                    <a:pt x="252" y="371"/>
                  </a:lnTo>
                  <a:lnTo>
                    <a:pt x="252" y="371"/>
                  </a:lnTo>
                  <a:lnTo>
                    <a:pt x="252" y="373"/>
                  </a:lnTo>
                  <a:lnTo>
                    <a:pt x="252" y="373"/>
                  </a:lnTo>
                  <a:lnTo>
                    <a:pt x="252" y="373"/>
                  </a:lnTo>
                  <a:lnTo>
                    <a:pt x="252" y="375"/>
                  </a:lnTo>
                  <a:lnTo>
                    <a:pt x="252" y="375"/>
                  </a:lnTo>
                  <a:lnTo>
                    <a:pt x="250" y="375"/>
                  </a:lnTo>
                  <a:lnTo>
                    <a:pt x="250" y="377"/>
                  </a:lnTo>
                  <a:lnTo>
                    <a:pt x="250" y="377"/>
                  </a:lnTo>
                  <a:lnTo>
                    <a:pt x="252" y="377"/>
                  </a:lnTo>
                  <a:lnTo>
                    <a:pt x="254" y="377"/>
                  </a:lnTo>
                  <a:lnTo>
                    <a:pt x="256" y="379"/>
                  </a:lnTo>
                  <a:lnTo>
                    <a:pt x="258" y="379"/>
                  </a:lnTo>
                  <a:lnTo>
                    <a:pt x="260" y="381"/>
                  </a:lnTo>
                  <a:lnTo>
                    <a:pt x="260" y="381"/>
                  </a:lnTo>
                  <a:lnTo>
                    <a:pt x="260" y="381"/>
                  </a:lnTo>
                  <a:lnTo>
                    <a:pt x="260" y="383"/>
                  </a:lnTo>
                  <a:lnTo>
                    <a:pt x="260" y="383"/>
                  </a:lnTo>
                  <a:lnTo>
                    <a:pt x="262" y="383"/>
                  </a:lnTo>
                  <a:lnTo>
                    <a:pt x="264" y="385"/>
                  </a:lnTo>
                  <a:lnTo>
                    <a:pt x="264" y="387"/>
                  </a:lnTo>
                  <a:lnTo>
                    <a:pt x="264" y="387"/>
                  </a:lnTo>
                  <a:lnTo>
                    <a:pt x="266" y="387"/>
                  </a:lnTo>
                  <a:lnTo>
                    <a:pt x="266" y="387"/>
                  </a:lnTo>
                  <a:lnTo>
                    <a:pt x="268" y="387"/>
                  </a:lnTo>
                  <a:lnTo>
                    <a:pt x="268" y="387"/>
                  </a:lnTo>
                  <a:lnTo>
                    <a:pt x="268" y="387"/>
                  </a:lnTo>
                  <a:lnTo>
                    <a:pt x="270" y="387"/>
                  </a:lnTo>
                  <a:lnTo>
                    <a:pt x="272" y="387"/>
                  </a:lnTo>
                  <a:lnTo>
                    <a:pt x="272" y="387"/>
                  </a:lnTo>
                  <a:lnTo>
                    <a:pt x="272" y="387"/>
                  </a:lnTo>
                  <a:lnTo>
                    <a:pt x="272" y="385"/>
                  </a:lnTo>
                  <a:lnTo>
                    <a:pt x="274" y="383"/>
                  </a:lnTo>
                  <a:lnTo>
                    <a:pt x="274" y="383"/>
                  </a:lnTo>
                  <a:lnTo>
                    <a:pt x="274" y="383"/>
                  </a:lnTo>
                  <a:lnTo>
                    <a:pt x="274" y="383"/>
                  </a:lnTo>
                  <a:lnTo>
                    <a:pt x="274" y="383"/>
                  </a:lnTo>
                  <a:lnTo>
                    <a:pt x="276" y="383"/>
                  </a:lnTo>
                  <a:lnTo>
                    <a:pt x="276" y="383"/>
                  </a:lnTo>
                  <a:lnTo>
                    <a:pt x="278" y="383"/>
                  </a:lnTo>
                  <a:lnTo>
                    <a:pt x="278" y="383"/>
                  </a:lnTo>
                  <a:lnTo>
                    <a:pt x="278" y="383"/>
                  </a:lnTo>
                  <a:lnTo>
                    <a:pt x="280" y="381"/>
                  </a:lnTo>
                  <a:lnTo>
                    <a:pt x="285" y="381"/>
                  </a:lnTo>
                  <a:lnTo>
                    <a:pt x="285" y="381"/>
                  </a:lnTo>
                  <a:lnTo>
                    <a:pt x="285" y="381"/>
                  </a:lnTo>
                  <a:lnTo>
                    <a:pt x="285" y="379"/>
                  </a:lnTo>
                  <a:lnTo>
                    <a:pt x="285" y="379"/>
                  </a:lnTo>
                  <a:lnTo>
                    <a:pt x="287" y="379"/>
                  </a:lnTo>
                  <a:lnTo>
                    <a:pt x="287" y="379"/>
                  </a:lnTo>
                  <a:lnTo>
                    <a:pt x="287" y="377"/>
                  </a:lnTo>
                  <a:lnTo>
                    <a:pt x="289" y="377"/>
                  </a:lnTo>
                  <a:lnTo>
                    <a:pt x="289" y="377"/>
                  </a:lnTo>
                  <a:lnTo>
                    <a:pt x="289" y="377"/>
                  </a:lnTo>
                  <a:lnTo>
                    <a:pt x="289" y="375"/>
                  </a:lnTo>
                  <a:lnTo>
                    <a:pt x="289" y="375"/>
                  </a:lnTo>
                  <a:lnTo>
                    <a:pt x="291" y="375"/>
                  </a:lnTo>
                  <a:lnTo>
                    <a:pt x="291" y="375"/>
                  </a:lnTo>
                  <a:lnTo>
                    <a:pt x="291" y="375"/>
                  </a:lnTo>
                  <a:lnTo>
                    <a:pt x="291" y="373"/>
                  </a:lnTo>
                  <a:lnTo>
                    <a:pt x="293" y="373"/>
                  </a:lnTo>
                  <a:lnTo>
                    <a:pt x="295" y="373"/>
                  </a:lnTo>
                  <a:lnTo>
                    <a:pt x="295" y="373"/>
                  </a:lnTo>
                  <a:lnTo>
                    <a:pt x="295" y="373"/>
                  </a:lnTo>
                  <a:lnTo>
                    <a:pt x="295" y="373"/>
                  </a:lnTo>
                  <a:lnTo>
                    <a:pt x="295" y="371"/>
                  </a:lnTo>
                  <a:lnTo>
                    <a:pt x="295" y="371"/>
                  </a:lnTo>
                  <a:lnTo>
                    <a:pt x="295" y="371"/>
                  </a:lnTo>
                  <a:lnTo>
                    <a:pt x="295" y="371"/>
                  </a:lnTo>
                  <a:lnTo>
                    <a:pt x="295" y="369"/>
                  </a:lnTo>
                  <a:lnTo>
                    <a:pt x="295" y="369"/>
                  </a:lnTo>
                  <a:lnTo>
                    <a:pt x="295" y="369"/>
                  </a:lnTo>
                  <a:lnTo>
                    <a:pt x="295" y="369"/>
                  </a:lnTo>
                  <a:lnTo>
                    <a:pt x="295" y="369"/>
                  </a:lnTo>
                  <a:lnTo>
                    <a:pt x="297" y="369"/>
                  </a:lnTo>
                  <a:lnTo>
                    <a:pt x="297" y="369"/>
                  </a:lnTo>
                  <a:lnTo>
                    <a:pt x="301" y="371"/>
                  </a:lnTo>
                  <a:lnTo>
                    <a:pt x="303" y="373"/>
                  </a:lnTo>
                  <a:lnTo>
                    <a:pt x="303" y="375"/>
                  </a:lnTo>
                  <a:lnTo>
                    <a:pt x="303" y="375"/>
                  </a:lnTo>
                  <a:lnTo>
                    <a:pt x="303" y="375"/>
                  </a:lnTo>
                  <a:lnTo>
                    <a:pt x="303" y="377"/>
                  </a:lnTo>
                  <a:lnTo>
                    <a:pt x="303" y="377"/>
                  </a:lnTo>
                  <a:lnTo>
                    <a:pt x="307" y="379"/>
                  </a:lnTo>
                  <a:lnTo>
                    <a:pt x="309" y="379"/>
                  </a:lnTo>
                  <a:lnTo>
                    <a:pt x="309" y="379"/>
                  </a:lnTo>
                  <a:lnTo>
                    <a:pt x="309" y="381"/>
                  </a:lnTo>
                  <a:lnTo>
                    <a:pt x="309" y="381"/>
                  </a:lnTo>
                  <a:lnTo>
                    <a:pt x="309" y="381"/>
                  </a:lnTo>
                  <a:lnTo>
                    <a:pt x="309" y="383"/>
                  </a:lnTo>
                  <a:lnTo>
                    <a:pt x="309" y="383"/>
                  </a:lnTo>
                  <a:lnTo>
                    <a:pt x="309" y="383"/>
                  </a:lnTo>
                  <a:lnTo>
                    <a:pt x="309" y="385"/>
                  </a:lnTo>
                  <a:lnTo>
                    <a:pt x="307" y="385"/>
                  </a:lnTo>
                  <a:lnTo>
                    <a:pt x="307" y="387"/>
                  </a:lnTo>
                  <a:lnTo>
                    <a:pt x="307" y="387"/>
                  </a:lnTo>
                  <a:lnTo>
                    <a:pt x="307" y="387"/>
                  </a:lnTo>
                  <a:lnTo>
                    <a:pt x="307" y="389"/>
                  </a:lnTo>
                  <a:lnTo>
                    <a:pt x="311" y="389"/>
                  </a:lnTo>
                  <a:lnTo>
                    <a:pt x="311" y="391"/>
                  </a:lnTo>
                  <a:lnTo>
                    <a:pt x="311" y="391"/>
                  </a:lnTo>
                  <a:lnTo>
                    <a:pt x="311" y="391"/>
                  </a:lnTo>
                  <a:lnTo>
                    <a:pt x="311" y="391"/>
                  </a:lnTo>
                  <a:lnTo>
                    <a:pt x="311" y="394"/>
                  </a:lnTo>
                  <a:lnTo>
                    <a:pt x="311" y="396"/>
                  </a:lnTo>
                  <a:lnTo>
                    <a:pt x="311" y="396"/>
                  </a:lnTo>
                  <a:lnTo>
                    <a:pt x="309" y="396"/>
                  </a:lnTo>
                  <a:lnTo>
                    <a:pt x="309" y="398"/>
                  </a:lnTo>
                  <a:lnTo>
                    <a:pt x="309" y="398"/>
                  </a:lnTo>
                  <a:lnTo>
                    <a:pt x="309" y="398"/>
                  </a:lnTo>
                  <a:lnTo>
                    <a:pt x="309" y="398"/>
                  </a:lnTo>
                  <a:lnTo>
                    <a:pt x="309" y="400"/>
                  </a:lnTo>
                  <a:lnTo>
                    <a:pt x="309" y="400"/>
                  </a:lnTo>
                  <a:lnTo>
                    <a:pt x="309" y="402"/>
                  </a:lnTo>
                  <a:lnTo>
                    <a:pt x="311" y="404"/>
                  </a:lnTo>
                  <a:lnTo>
                    <a:pt x="313" y="404"/>
                  </a:lnTo>
                  <a:lnTo>
                    <a:pt x="313" y="404"/>
                  </a:lnTo>
                  <a:lnTo>
                    <a:pt x="313" y="406"/>
                  </a:lnTo>
                  <a:lnTo>
                    <a:pt x="311" y="408"/>
                  </a:lnTo>
                  <a:lnTo>
                    <a:pt x="311" y="410"/>
                  </a:lnTo>
                  <a:lnTo>
                    <a:pt x="311" y="410"/>
                  </a:lnTo>
                  <a:lnTo>
                    <a:pt x="311" y="412"/>
                  </a:lnTo>
                  <a:lnTo>
                    <a:pt x="311" y="412"/>
                  </a:lnTo>
                  <a:lnTo>
                    <a:pt x="311" y="412"/>
                  </a:lnTo>
                  <a:lnTo>
                    <a:pt x="313" y="412"/>
                  </a:lnTo>
                  <a:lnTo>
                    <a:pt x="313" y="414"/>
                  </a:lnTo>
                  <a:lnTo>
                    <a:pt x="315" y="414"/>
                  </a:lnTo>
                  <a:lnTo>
                    <a:pt x="315" y="416"/>
                  </a:lnTo>
                  <a:lnTo>
                    <a:pt x="315" y="416"/>
                  </a:lnTo>
                  <a:lnTo>
                    <a:pt x="315" y="418"/>
                  </a:lnTo>
                  <a:lnTo>
                    <a:pt x="315" y="418"/>
                  </a:lnTo>
                  <a:lnTo>
                    <a:pt x="315" y="418"/>
                  </a:lnTo>
                  <a:lnTo>
                    <a:pt x="317" y="420"/>
                  </a:lnTo>
                  <a:lnTo>
                    <a:pt x="317" y="422"/>
                  </a:lnTo>
                  <a:lnTo>
                    <a:pt x="319" y="422"/>
                  </a:lnTo>
                  <a:lnTo>
                    <a:pt x="319" y="424"/>
                  </a:lnTo>
                  <a:lnTo>
                    <a:pt x="319" y="424"/>
                  </a:lnTo>
                  <a:lnTo>
                    <a:pt x="319" y="426"/>
                  </a:lnTo>
                  <a:lnTo>
                    <a:pt x="321" y="426"/>
                  </a:lnTo>
                  <a:lnTo>
                    <a:pt x="321" y="426"/>
                  </a:lnTo>
                  <a:lnTo>
                    <a:pt x="321" y="428"/>
                  </a:lnTo>
                  <a:lnTo>
                    <a:pt x="321" y="428"/>
                  </a:lnTo>
                  <a:lnTo>
                    <a:pt x="321" y="428"/>
                  </a:lnTo>
                  <a:lnTo>
                    <a:pt x="321" y="430"/>
                  </a:lnTo>
                  <a:lnTo>
                    <a:pt x="321" y="430"/>
                  </a:lnTo>
                  <a:lnTo>
                    <a:pt x="321" y="430"/>
                  </a:lnTo>
                  <a:lnTo>
                    <a:pt x="321" y="432"/>
                  </a:lnTo>
                  <a:lnTo>
                    <a:pt x="321" y="432"/>
                  </a:lnTo>
                  <a:lnTo>
                    <a:pt x="323" y="432"/>
                  </a:lnTo>
                  <a:lnTo>
                    <a:pt x="325" y="432"/>
                  </a:lnTo>
                  <a:lnTo>
                    <a:pt x="325" y="432"/>
                  </a:lnTo>
                  <a:lnTo>
                    <a:pt x="325" y="435"/>
                  </a:lnTo>
                  <a:lnTo>
                    <a:pt x="325" y="437"/>
                  </a:lnTo>
                  <a:lnTo>
                    <a:pt x="325" y="437"/>
                  </a:lnTo>
                  <a:lnTo>
                    <a:pt x="328" y="441"/>
                  </a:lnTo>
                  <a:lnTo>
                    <a:pt x="330" y="441"/>
                  </a:lnTo>
                  <a:lnTo>
                    <a:pt x="330" y="445"/>
                  </a:lnTo>
                  <a:lnTo>
                    <a:pt x="330" y="445"/>
                  </a:lnTo>
                  <a:lnTo>
                    <a:pt x="330" y="447"/>
                  </a:lnTo>
                  <a:lnTo>
                    <a:pt x="330" y="447"/>
                  </a:lnTo>
                  <a:lnTo>
                    <a:pt x="330" y="447"/>
                  </a:lnTo>
                  <a:lnTo>
                    <a:pt x="330" y="449"/>
                  </a:lnTo>
                  <a:lnTo>
                    <a:pt x="330" y="451"/>
                  </a:lnTo>
                  <a:lnTo>
                    <a:pt x="328" y="451"/>
                  </a:lnTo>
                  <a:lnTo>
                    <a:pt x="328" y="451"/>
                  </a:lnTo>
                  <a:lnTo>
                    <a:pt x="328" y="451"/>
                  </a:lnTo>
                  <a:lnTo>
                    <a:pt x="325" y="453"/>
                  </a:lnTo>
                  <a:lnTo>
                    <a:pt x="325" y="453"/>
                  </a:lnTo>
                  <a:lnTo>
                    <a:pt x="325" y="453"/>
                  </a:lnTo>
                  <a:lnTo>
                    <a:pt x="325" y="453"/>
                  </a:lnTo>
                  <a:lnTo>
                    <a:pt x="325" y="453"/>
                  </a:lnTo>
                  <a:lnTo>
                    <a:pt x="325" y="455"/>
                  </a:lnTo>
                  <a:lnTo>
                    <a:pt x="325" y="455"/>
                  </a:lnTo>
                  <a:lnTo>
                    <a:pt x="328" y="455"/>
                  </a:lnTo>
                  <a:lnTo>
                    <a:pt x="328" y="457"/>
                  </a:lnTo>
                  <a:lnTo>
                    <a:pt x="328" y="459"/>
                  </a:lnTo>
                  <a:lnTo>
                    <a:pt x="328" y="461"/>
                  </a:lnTo>
                  <a:lnTo>
                    <a:pt x="328" y="461"/>
                  </a:lnTo>
                  <a:lnTo>
                    <a:pt x="330" y="463"/>
                  </a:lnTo>
                  <a:lnTo>
                    <a:pt x="334" y="465"/>
                  </a:lnTo>
                  <a:lnTo>
                    <a:pt x="334" y="465"/>
                  </a:lnTo>
                  <a:lnTo>
                    <a:pt x="334" y="465"/>
                  </a:lnTo>
                  <a:lnTo>
                    <a:pt x="334" y="467"/>
                  </a:lnTo>
                  <a:lnTo>
                    <a:pt x="334" y="469"/>
                  </a:lnTo>
                  <a:lnTo>
                    <a:pt x="336" y="469"/>
                  </a:lnTo>
                  <a:lnTo>
                    <a:pt x="336" y="469"/>
                  </a:lnTo>
                  <a:lnTo>
                    <a:pt x="338" y="469"/>
                  </a:lnTo>
                  <a:lnTo>
                    <a:pt x="338" y="469"/>
                  </a:lnTo>
                  <a:lnTo>
                    <a:pt x="338" y="469"/>
                  </a:lnTo>
                  <a:lnTo>
                    <a:pt x="340" y="467"/>
                  </a:lnTo>
                  <a:lnTo>
                    <a:pt x="340" y="467"/>
                  </a:lnTo>
                  <a:lnTo>
                    <a:pt x="342" y="467"/>
                  </a:lnTo>
                  <a:lnTo>
                    <a:pt x="342" y="467"/>
                  </a:lnTo>
                  <a:lnTo>
                    <a:pt x="344" y="467"/>
                  </a:lnTo>
                  <a:lnTo>
                    <a:pt x="346" y="467"/>
                  </a:lnTo>
                  <a:lnTo>
                    <a:pt x="346" y="469"/>
                  </a:lnTo>
                  <a:lnTo>
                    <a:pt x="348" y="471"/>
                  </a:lnTo>
                  <a:lnTo>
                    <a:pt x="350" y="473"/>
                  </a:lnTo>
                  <a:lnTo>
                    <a:pt x="350" y="473"/>
                  </a:lnTo>
                  <a:lnTo>
                    <a:pt x="350" y="475"/>
                  </a:lnTo>
                  <a:lnTo>
                    <a:pt x="352" y="475"/>
                  </a:lnTo>
                  <a:lnTo>
                    <a:pt x="352" y="478"/>
                  </a:lnTo>
                  <a:lnTo>
                    <a:pt x="352" y="478"/>
                  </a:lnTo>
                  <a:lnTo>
                    <a:pt x="352" y="478"/>
                  </a:lnTo>
                  <a:lnTo>
                    <a:pt x="352" y="478"/>
                  </a:lnTo>
                  <a:lnTo>
                    <a:pt x="352" y="480"/>
                  </a:lnTo>
                  <a:lnTo>
                    <a:pt x="352" y="480"/>
                  </a:lnTo>
                  <a:lnTo>
                    <a:pt x="352" y="480"/>
                  </a:lnTo>
                  <a:lnTo>
                    <a:pt x="354" y="480"/>
                  </a:lnTo>
                  <a:lnTo>
                    <a:pt x="354" y="482"/>
                  </a:lnTo>
                  <a:lnTo>
                    <a:pt x="354" y="482"/>
                  </a:lnTo>
                  <a:lnTo>
                    <a:pt x="354" y="482"/>
                  </a:lnTo>
                  <a:lnTo>
                    <a:pt x="354" y="484"/>
                  </a:lnTo>
                  <a:lnTo>
                    <a:pt x="354" y="484"/>
                  </a:lnTo>
                  <a:lnTo>
                    <a:pt x="356" y="486"/>
                  </a:lnTo>
                  <a:lnTo>
                    <a:pt x="356" y="486"/>
                  </a:lnTo>
                  <a:lnTo>
                    <a:pt x="356" y="488"/>
                  </a:lnTo>
                  <a:lnTo>
                    <a:pt x="356" y="488"/>
                  </a:lnTo>
                  <a:lnTo>
                    <a:pt x="356" y="488"/>
                  </a:lnTo>
                  <a:lnTo>
                    <a:pt x="356" y="488"/>
                  </a:lnTo>
                  <a:lnTo>
                    <a:pt x="356" y="490"/>
                  </a:lnTo>
                  <a:lnTo>
                    <a:pt x="354" y="490"/>
                  </a:lnTo>
                  <a:lnTo>
                    <a:pt x="354" y="490"/>
                  </a:lnTo>
                  <a:lnTo>
                    <a:pt x="354" y="490"/>
                  </a:lnTo>
                  <a:lnTo>
                    <a:pt x="354" y="490"/>
                  </a:lnTo>
                  <a:lnTo>
                    <a:pt x="354" y="492"/>
                  </a:lnTo>
                  <a:lnTo>
                    <a:pt x="354" y="492"/>
                  </a:lnTo>
                  <a:lnTo>
                    <a:pt x="356" y="494"/>
                  </a:lnTo>
                  <a:lnTo>
                    <a:pt x="356" y="494"/>
                  </a:lnTo>
                  <a:lnTo>
                    <a:pt x="356" y="496"/>
                  </a:lnTo>
                  <a:lnTo>
                    <a:pt x="356" y="496"/>
                  </a:lnTo>
                  <a:lnTo>
                    <a:pt x="356" y="496"/>
                  </a:lnTo>
                  <a:lnTo>
                    <a:pt x="356" y="498"/>
                  </a:lnTo>
                  <a:lnTo>
                    <a:pt x="358" y="498"/>
                  </a:lnTo>
                  <a:lnTo>
                    <a:pt x="358" y="498"/>
                  </a:lnTo>
                  <a:lnTo>
                    <a:pt x="358" y="500"/>
                  </a:lnTo>
                  <a:lnTo>
                    <a:pt x="358" y="500"/>
                  </a:lnTo>
                  <a:lnTo>
                    <a:pt x="358" y="502"/>
                  </a:lnTo>
                  <a:lnTo>
                    <a:pt x="356" y="502"/>
                  </a:lnTo>
                  <a:lnTo>
                    <a:pt x="356" y="502"/>
                  </a:lnTo>
                  <a:lnTo>
                    <a:pt x="356" y="504"/>
                  </a:lnTo>
                  <a:lnTo>
                    <a:pt x="358" y="504"/>
                  </a:lnTo>
                  <a:lnTo>
                    <a:pt x="358" y="504"/>
                  </a:lnTo>
                  <a:lnTo>
                    <a:pt x="358" y="506"/>
                  </a:lnTo>
                  <a:lnTo>
                    <a:pt x="358" y="506"/>
                  </a:lnTo>
                  <a:lnTo>
                    <a:pt x="358" y="508"/>
                  </a:lnTo>
                  <a:lnTo>
                    <a:pt x="360" y="508"/>
                  </a:lnTo>
                  <a:lnTo>
                    <a:pt x="360" y="508"/>
                  </a:lnTo>
                  <a:lnTo>
                    <a:pt x="360" y="508"/>
                  </a:lnTo>
                  <a:lnTo>
                    <a:pt x="362" y="510"/>
                  </a:lnTo>
                  <a:lnTo>
                    <a:pt x="362" y="510"/>
                  </a:lnTo>
                  <a:lnTo>
                    <a:pt x="362" y="512"/>
                  </a:lnTo>
                  <a:lnTo>
                    <a:pt x="366" y="512"/>
                  </a:lnTo>
                  <a:lnTo>
                    <a:pt x="366" y="514"/>
                  </a:lnTo>
                  <a:lnTo>
                    <a:pt x="366" y="514"/>
                  </a:lnTo>
                  <a:lnTo>
                    <a:pt x="369" y="516"/>
                  </a:lnTo>
                  <a:lnTo>
                    <a:pt x="369" y="516"/>
                  </a:lnTo>
                  <a:lnTo>
                    <a:pt x="371" y="516"/>
                  </a:lnTo>
                  <a:lnTo>
                    <a:pt x="371" y="516"/>
                  </a:lnTo>
                  <a:lnTo>
                    <a:pt x="371" y="516"/>
                  </a:lnTo>
                  <a:lnTo>
                    <a:pt x="371" y="516"/>
                  </a:lnTo>
                  <a:lnTo>
                    <a:pt x="371" y="512"/>
                  </a:lnTo>
                  <a:lnTo>
                    <a:pt x="371" y="512"/>
                  </a:lnTo>
                  <a:lnTo>
                    <a:pt x="371" y="512"/>
                  </a:lnTo>
                  <a:lnTo>
                    <a:pt x="371" y="512"/>
                  </a:lnTo>
                  <a:lnTo>
                    <a:pt x="371" y="510"/>
                  </a:lnTo>
                  <a:lnTo>
                    <a:pt x="371" y="510"/>
                  </a:lnTo>
                  <a:lnTo>
                    <a:pt x="373" y="510"/>
                  </a:lnTo>
                  <a:lnTo>
                    <a:pt x="377" y="506"/>
                  </a:lnTo>
                  <a:lnTo>
                    <a:pt x="377" y="506"/>
                  </a:lnTo>
                  <a:lnTo>
                    <a:pt x="379" y="506"/>
                  </a:lnTo>
                  <a:lnTo>
                    <a:pt x="381" y="506"/>
                  </a:lnTo>
                  <a:lnTo>
                    <a:pt x="381" y="504"/>
                  </a:lnTo>
                  <a:lnTo>
                    <a:pt x="383" y="504"/>
                  </a:lnTo>
                  <a:lnTo>
                    <a:pt x="383" y="504"/>
                  </a:lnTo>
                  <a:lnTo>
                    <a:pt x="385" y="506"/>
                  </a:lnTo>
                  <a:lnTo>
                    <a:pt x="395" y="508"/>
                  </a:lnTo>
                  <a:lnTo>
                    <a:pt x="395" y="508"/>
                  </a:lnTo>
                  <a:lnTo>
                    <a:pt x="395" y="508"/>
                  </a:lnTo>
                  <a:lnTo>
                    <a:pt x="397" y="510"/>
                  </a:lnTo>
                  <a:lnTo>
                    <a:pt x="397" y="510"/>
                  </a:lnTo>
                  <a:lnTo>
                    <a:pt x="399" y="510"/>
                  </a:lnTo>
                  <a:lnTo>
                    <a:pt x="401" y="510"/>
                  </a:lnTo>
                  <a:lnTo>
                    <a:pt x="401" y="510"/>
                  </a:lnTo>
                  <a:lnTo>
                    <a:pt x="403" y="510"/>
                  </a:lnTo>
                  <a:lnTo>
                    <a:pt x="403" y="512"/>
                  </a:lnTo>
                  <a:lnTo>
                    <a:pt x="403" y="512"/>
                  </a:lnTo>
                  <a:lnTo>
                    <a:pt x="403" y="512"/>
                  </a:lnTo>
                  <a:lnTo>
                    <a:pt x="405" y="512"/>
                  </a:lnTo>
                  <a:lnTo>
                    <a:pt x="405" y="512"/>
                  </a:lnTo>
                  <a:lnTo>
                    <a:pt x="407" y="512"/>
                  </a:lnTo>
                  <a:lnTo>
                    <a:pt x="407" y="512"/>
                  </a:lnTo>
                  <a:lnTo>
                    <a:pt x="407" y="512"/>
                  </a:lnTo>
                  <a:lnTo>
                    <a:pt x="409" y="508"/>
                  </a:lnTo>
                  <a:lnTo>
                    <a:pt x="409" y="506"/>
                  </a:lnTo>
                  <a:lnTo>
                    <a:pt x="412" y="506"/>
                  </a:lnTo>
                  <a:lnTo>
                    <a:pt x="412" y="504"/>
                  </a:lnTo>
                  <a:lnTo>
                    <a:pt x="412" y="504"/>
                  </a:lnTo>
                  <a:lnTo>
                    <a:pt x="414" y="504"/>
                  </a:lnTo>
                  <a:lnTo>
                    <a:pt x="414" y="504"/>
                  </a:lnTo>
                  <a:lnTo>
                    <a:pt x="416" y="504"/>
                  </a:lnTo>
                  <a:lnTo>
                    <a:pt x="416" y="504"/>
                  </a:lnTo>
                  <a:lnTo>
                    <a:pt x="418" y="504"/>
                  </a:lnTo>
                  <a:lnTo>
                    <a:pt x="418" y="502"/>
                  </a:lnTo>
                  <a:lnTo>
                    <a:pt x="418" y="502"/>
                  </a:lnTo>
                  <a:lnTo>
                    <a:pt x="420" y="502"/>
                  </a:lnTo>
                  <a:lnTo>
                    <a:pt x="420" y="502"/>
                  </a:lnTo>
                  <a:lnTo>
                    <a:pt x="422" y="504"/>
                  </a:lnTo>
                  <a:lnTo>
                    <a:pt x="422" y="504"/>
                  </a:lnTo>
                  <a:lnTo>
                    <a:pt x="422" y="504"/>
                  </a:lnTo>
                  <a:lnTo>
                    <a:pt x="424" y="504"/>
                  </a:lnTo>
                  <a:lnTo>
                    <a:pt x="426" y="504"/>
                  </a:lnTo>
                  <a:lnTo>
                    <a:pt x="428" y="506"/>
                  </a:lnTo>
                  <a:lnTo>
                    <a:pt x="430" y="506"/>
                  </a:lnTo>
                  <a:lnTo>
                    <a:pt x="430" y="506"/>
                  </a:lnTo>
                  <a:lnTo>
                    <a:pt x="438" y="506"/>
                  </a:lnTo>
                  <a:lnTo>
                    <a:pt x="440" y="506"/>
                  </a:lnTo>
                  <a:lnTo>
                    <a:pt x="440" y="506"/>
                  </a:lnTo>
                  <a:lnTo>
                    <a:pt x="442" y="506"/>
                  </a:lnTo>
                  <a:lnTo>
                    <a:pt x="442" y="506"/>
                  </a:lnTo>
                  <a:lnTo>
                    <a:pt x="442" y="506"/>
                  </a:lnTo>
                  <a:lnTo>
                    <a:pt x="444" y="506"/>
                  </a:lnTo>
                  <a:lnTo>
                    <a:pt x="444" y="506"/>
                  </a:lnTo>
                  <a:lnTo>
                    <a:pt x="448" y="506"/>
                  </a:lnTo>
                  <a:lnTo>
                    <a:pt x="448" y="506"/>
                  </a:lnTo>
                  <a:lnTo>
                    <a:pt x="450" y="508"/>
                  </a:lnTo>
                  <a:lnTo>
                    <a:pt x="450" y="508"/>
                  </a:lnTo>
                  <a:lnTo>
                    <a:pt x="450" y="508"/>
                  </a:lnTo>
                  <a:lnTo>
                    <a:pt x="450" y="510"/>
                  </a:lnTo>
                  <a:lnTo>
                    <a:pt x="450" y="510"/>
                  </a:lnTo>
                  <a:lnTo>
                    <a:pt x="452" y="510"/>
                  </a:lnTo>
                  <a:lnTo>
                    <a:pt x="452" y="510"/>
                  </a:lnTo>
                  <a:lnTo>
                    <a:pt x="452" y="510"/>
                  </a:lnTo>
                  <a:lnTo>
                    <a:pt x="455" y="510"/>
                  </a:lnTo>
                  <a:lnTo>
                    <a:pt x="455" y="510"/>
                  </a:lnTo>
                  <a:lnTo>
                    <a:pt x="457" y="510"/>
                  </a:lnTo>
                  <a:lnTo>
                    <a:pt x="459" y="510"/>
                  </a:lnTo>
                  <a:lnTo>
                    <a:pt x="459" y="510"/>
                  </a:lnTo>
                  <a:lnTo>
                    <a:pt x="463" y="508"/>
                  </a:lnTo>
                  <a:lnTo>
                    <a:pt x="463" y="508"/>
                  </a:lnTo>
                  <a:lnTo>
                    <a:pt x="473" y="508"/>
                  </a:lnTo>
                  <a:lnTo>
                    <a:pt x="473" y="508"/>
                  </a:lnTo>
                  <a:lnTo>
                    <a:pt x="475" y="510"/>
                  </a:lnTo>
                  <a:lnTo>
                    <a:pt x="477" y="510"/>
                  </a:lnTo>
                  <a:lnTo>
                    <a:pt x="477" y="510"/>
                  </a:lnTo>
                  <a:lnTo>
                    <a:pt x="477" y="510"/>
                  </a:lnTo>
                  <a:lnTo>
                    <a:pt x="479" y="510"/>
                  </a:lnTo>
                  <a:lnTo>
                    <a:pt x="479" y="510"/>
                  </a:lnTo>
                  <a:lnTo>
                    <a:pt x="481" y="510"/>
                  </a:lnTo>
                  <a:lnTo>
                    <a:pt x="481" y="510"/>
                  </a:lnTo>
                  <a:lnTo>
                    <a:pt x="481" y="510"/>
                  </a:lnTo>
                  <a:lnTo>
                    <a:pt x="479" y="510"/>
                  </a:lnTo>
                  <a:lnTo>
                    <a:pt x="477" y="508"/>
                  </a:lnTo>
                  <a:lnTo>
                    <a:pt x="477" y="508"/>
                  </a:lnTo>
                  <a:lnTo>
                    <a:pt x="477" y="508"/>
                  </a:lnTo>
                  <a:lnTo>
                    <a:pt x="477" y="508"/>
                  </a:lnTo>
                  <a:lnTo>
                    <a:pt x="477" y="508"/>
                  </a:lnTo>
                  <a:lnTo>
                    <a:pt x="477" y="506"/>
                  </a:lnTo>
                  <a:lnTo>
                    <a:pt x="477" y="506"/>
                  </a:lnTo>
                  <a:lnTo>
                    <a:pt x="477" y="506"/>
                  </a:lnTo>
                  <a:lnTo>
                    <a:pt x="477" y="504"/>
                  </a:lnTo>
                  <a:lnTo>
                    <a:pt x="477" y="504"/>
                  </a:lnTo>
                  <a:lnTo>
                    <a:pt x="477" y="504"/>
                  </a:lnTo>
                  <a:lnTo>
                    <a:pt x="477" y="502"/>
                  </a:lnTo>
                  <a:lnTo>
                    <a:pt x="477" y="502"/>
                  </a:lnTo>
                  <a:lnTo>
                    <a:pt x="479" y="500"/>
                  </a:lnTo>
                  <a:lnTo>
                    <a:pt x="479" y="500"/>
                  </a:lnTo>
                  <a:lnTo>
                    <a:pt x="479" y="500"/>
                  </a:lnTo>
                  <a:lnTo>
                    <a:pt x="481" y="500"/>
                  </a:lnTo>
                  <a:lnTo>
                    <a:pt x="481" y="500"/>
                  </a:lnTo>
                  <a:lnTo>
                    <a:pt x="481" y="498"/>
                  </a:lnTo>
                  <a:lnTo>
                    <a:pt x="481" y="498"/>
                  </a:lnTo>
                  <a:lnTo>
                    <a:pt x="481" y="498"/>
                  </a:lnTo>
                  <a:lnTo>
                    <a:pt x="481" y="498"/>
                  </a:lnTo>
                  <a:lnTo>
                    <a:pt x="481" y="496"/>
                  </a:lnTo>
                  <a:lnTo>
                    <a:pt x="481" y="496"/>
                  </a:lnTo>
                  <a:lnTo>
                    <a:pt x="481" y="496"/>
                  </a:lnTo>
                  <a:lnTo>
                    <a:pt x="481" y="496"/>
                  </a:lnTo>
                  <a:lnTo>
                    <a:pt x="481" y="494"/>
                  </a:lnTo>
                  <a:lnTo>
                    <a:pt x="481" y="494"/>
                  </a:lnTo>
                  <a:lnTo>
                    <a:pt x="481" y="494"/>
                  </a:lnTo>
                  <a:lnTo>
                    <a:pt x="483" y="494"/>
                  </a:lnTo>
                  <a:lnTo>
                    <a:pt x="483" y="492"/>
                  </a:lnTo>
                  <a:lnTo>
                    <a:pt x="483" y="492"/>
                  </a:lnTo>
                  <a:lnTo>
                    <a:pt x="485" y="492"/>
                  </a:lnTo>
                  <a:lnTo>
                    <a:pt x="487" y="492"/>
                  </a:lnTo>
                  <a:lnTo>
                    <a:pt x="487" y="492"/>
                  </a:lnTo>
                  <a:lnTo>
                    <a:pt x="489" y="490"/>
                  </a:lnTo>
                  <a:lnTo>
                    <a:pt x="489" y="490"/>
                  </a:lnTo>
                  <a:lnTo>
                    <a:pt x="489" y="490"/>
                  </a:lnTo>
                  <a:lnTo>
                    <a:pt x="491" y="490"/>
                  </a:lnTo>
                  <a:lnTo>
                    <a:pt x="493" y="492"/>
                  </a:lnTo>
                  <a:lnTo>
                    <a:pt x="493" y="494"/>
                  </a:lnTo>
                  <a:lnTo>
                    <a:pt x="493" y="496"/>
                  </a:lnTo>
                  <a:lnTo>
                    <a:pt x="498" y="500"/>
                  </a:lnTo>
                  <a:lnTo>
                    <a:pt x="498" y="502"/>
                  </a:lnTo>
                  <a:lnTo>
                    <a:pt x="498" y="502"/>
                  </a:lnTo>
                  <a:lnTo>
                    <a:pt x="500" y="502"/>
                  </a:lnTo>
                  <a:lnTo>
                    <a:pt x="500" y="502"/>
                  </a:lnTo>
                  <a:lnTo>
                    <a:pt x="500" y="504"/>
                  </a:lnTo>
                  <a:lnTo>
                    <a:pt x="500" y="504"/>
                  </a:lnTo>
                  <a:lnTo>
                    <a:pt x="500" y="504"/>
                  </a:lnTo>
                  <a:lnTo>
                    <a:pt x="500" y="506"/>
                  </a:lnTo>
                  <a:lnTo>
                    <a:pt x="500" y="506"/>
                  </a:lnTo>
                  <a:lnTo>
                    <a:pt x="500" y="508"/>
                  </a:lnTo>
                  <a:lnTo>
                    <a:pt x="500" y="508"/>
                  </a:lnTo>
                  <a:lnTo>
                    <a:pt x="500" y="508"/>
                  </a:lnTo>
                  <a:lnTo>
                    <a:pt x="500" y="508"/>
                  </a:lnTo>
                  <a:lnTo>
                    <a:pt x="502" y="510"/>
                  </a:lnTo>
                  <a:lnTo>
                    <a:pt x="502" y="510"/>
                  </a:lnTo>
                  <a:lnTo>
                    <a:pt x="504" y="510"/>
                  </a:lnTo>
                  <a:lnTo>
                    <a:pt x="504" y="512"/>
                  </a:lnTo>
                  <a:lnTo>
                    <a:pt x="506" y="514"/>
                  </a:lnTo>
                  <a:lnTo>
                    <a:pt x="508" y="516"/>
                  </a:lnTo>
                  <a:lnTo>
                    <a:pt x="508" y="519"/>
                  </a:lnTo>
                  <a:lnTo>
                    <a:pt x="512" y="521"/>
                  </a:lnTo>
                  <a:lnTo>
                    <a:pt x="512" y="521"/>
                  </a:lnTo>
                  <a:close/>
                </a:path>
              </a:pathLst>
            </a:custGeom>
            <a:solidFill>
              <a:schemeClr val="accent1"/>
            </a:solidFill>
            <a:ln w="3175" cap="rnd">
              <a:solidFill>
                <a:schemeClr val="bg1"/>
              </a:solidFill>
              <a:prstDash val="solid"/>
              <a:round/>
              <a:headEnd/>
              <a:tailEnd/>
            </a:ln>
          </p:spPr>
          <p:txBody>
            <a:bodyPr vert="horz" wrap="square" lIns="0" tIns="0" rIns="0" bIns="240000" numCol="1" anchor="b"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ID</a:t>
              </a:r>
            </a:p>
          </p:txBody>
        </p:sp>
        <p:sp>
          <p:nvSpPr>
            <p:cNvPr id="280" name="Freeform 43">
              <a:extLst>
                <a:ext uri="{FF2B5EF4-FFF2-40B4-BE49-F238E27FC236}">
                  <a16:creationId xmlns:a16="http://schemas.microsoft.com/office/drawing/2014/main" id="{BB19B3AD-AEA6-1AB2-51C8-943BA27B6F0C}"/>
                </a:ext>
              </a:extLst>
            </p:cNvPr>
            <p:cNvSpPr>
              <a:spLocks/>
            </p:cNvSpPr>
            <p:nvPr/>
          </p:nvSpPr>
          <p:spPr bwMode="auto">
            <a:xfrm>
              <a:off x="3001" y="723"/>
              <a:ext cx="534" cy="330"/>
            </a:xfrm>
            <a:custGeom>
              <a:avLst/>
              <a:gdLst>
                <a:gd name="T0" fmla="*/ 504 w 534"/>
                <a:gd name="T1" fmla="*/ 113 h 330"/>
                <a:gd name="T2" fmla="*/ 516 w 534"/>
                <a:gd name="T3" fmla="*/ 130 h 330"/>
                <a:gd name="T4" fmla="*/ 530 w 534"/>
                <a:gd name="T5" fmla="*/ 140 h 330"/>
                <a:gd name="T6" fmla="*/ 532 w 534"/>
                <a:gd name="T7" fmla="*/ 169 h 330"/>
                <a:gd name="T8" fmla="*/ 522 w 534"/>
                <a:gd name="T9" fmla="*/ 183 h 330"/>
                <a:gd name="T10" fmla="*/ 522 w 534"/>
                <a:gd name="T11" fmla="*/ 193 h 330"/>
                <a:gd name="T12" fmla="*/ 502 w 534"/>
                <a:gd name="T13" fmla="*/ 205 h 330"/>
                <a:gd name="T14" fmla="*/ 463 w 534"/>
                <a:gd name="T15" fmla="*/ 230 h 330"/>
                <a:gd name="T16" fmla="*/ 475 w 534"/>
                <a:gd name="T17" fmla="*/ 250 h 330"/>
                <a:gd name="T18" fmla="*/ 467 w 534"/>
                <a:gd name="T19" fmla="*/ 283 h 330"/>
                <a:gd name="T20" fmla="*/ 450 w 534"/>
                <a:gd name="T21" fmla="*/ 304 h 330"/>
                <a:gd name="T22" fmla="*/ 444 w 534"/>
                <a:gd name="T23" fmla="*/ 314 h 330"/>
                <a:gd name="T24" fmla="*/ 442 w 534"/>
                <a:gd name="T25" fmla="*/ 330 h 330"/>
                <a:gd name="T26" fmla="*/ 432 w 534"/>
                <a:gd name="T27" fmla="*/ 322 h 330"/>
                <a:gd name="T28" fmla="*/ 428 w 534"/>
                <a:gd name="T29" fmla="*/ 318 h 330"/>
                <a:gd name="T30" fmla="*/ 422 w 534"/>
                <a:gd name="T31" fmla="*/ 314 h 330"/>
                <a:gd name="T32" fmla="*/ 416 w 534"/>
                <a:gd name="T33" fmla="*/ 308 h 330"/>
                <a:gd name="T34" fmla="*/ 303 w 534"/>
                <a:gd name="T35" fmla="*/ 316 h 330"/>
                <a:gd name="T36" fmla="*/ 141 w 534"/>
                <a:gd name="T37" fmla="*/ 324 h 330"/>
                <a:gd name="T38" fmla="*/ 80 w 534"/>
                <a:gd name="T39" fmla="*/ 328 h 330"/>
                <a:gd name="T40" fmla="*/ 80 w 534"/>
                <a:gd name="T41" fmla="*/ 328 h 330"/>
                <a:gd name="T42" fmla="*/ 74 w 534"/>
                <a:gd name="T43" fmla="*/ 320 h 330"/>
                <a:gd name="T44" fmla="*/ 74 w 534"/>
                <a:gd name="T45" fmla="*/ 310 h 330"/>
                <a:gd name="T46" fmla="*/ 74 w 534"/>
                <a:gd name="T47" fmla="*/ 296 h 330"/>
                <a:gd name="T48" fmla="*/ 69 w 534"/>
                <a:gd name="T49" fmla="*/ 283 h 330"/>
                <a:gd name="T50" fmla="*/ 69 w 534"/>
                <a:gd name="T51" fmla="*/ 279 h 330"/>
                <a:gd name="T52" fmla="*/ 69 w 534"/>
                <a:gd name="T53" fmla="*/ 267 h 330"/>
                <a:gd name="T54" fmla="*/ 67 w 534"/>
                <a:gd name="T55" fmla="*/ 253 h 330"/>
                <a:gd name="T56" fmla="*/ 63 w 534"/>
                <a:gd name="T57" fmla="*/ 236 h 330"/>
                <a:gd name="T58" fmla="*/ 57 w 534"/>
                <a:gd name="T59" fmla="*/ 230 h 330"/>
                <a:gd name="T60" fmla="*/ 51 w 534"/>
                <a:gd name="T61" fmla="*/ 228 h 330"/>
                <a:gd name="T62" fmla="*/ 49 w 534"/>
                <a:gd name="T63" fmla="*/ 214 h 330"/>
                <a:gd name="T64" fmla="*/ 51 w 534"/>
                <a:gd name="T65" fmla="*/ 201 h 330"/>
                <a:gd name="T66" fmla="*/ 45 w 534"/>
                <a:gd name="T67" fmla="*/ 187 h 330"/>
                <a:gd name="T68" fmla="*/ 33 w 534"/>
                <a:gd name="T69" fmla="*/ 166 h 330"/>
                <a:gd name="T70" fmla="*/ 26 w 534"/>
                <a:gd name="T71" fmla="*/ 152 h 330"/>
                <a:gd name="T72" fmla="*/ 20 w 534"/>
                <a:gd name="T73" fmla="*/ 130 h 330"/>
                <a:gd name="T74" fmla="*/ 12 w 534"/>
                <a:gd name="T75" fmla="*/ 119 h 330"/>
                <a:gd name="T76" fmla="*/ 10 w 534"/>
                <a:gd name="T77" fmla="*/ 115 h 330"/>
                <a:gd name="T78" fmla="*/ 10 w 534"/>
                <a:gd name="T79" fmla="*/ 111 h 330"/>
                <a:gd name="T80" fmla="*/ 0 w 534"/>
                <a:gd name="T81" fmla="*/ 103 h 330"/>
                <a:gd name="T82" fmla="*/ 4 w 534"/>
                <a:gd name="T83" fmla="*/ 95 h 330"/>
                <a:gd name="T84" fmla="*/ 6 w 534"/>
                <a:gd name="T85" fmla="*/ 91 h 330"/>
                <a:gd name="T86" fmla="*/ 8 w 534"/>
                <a:gd name="T87" fmla="*/ 85 h 330"/>
                <a:gd name="T88" fmla="*/ 10 w 534"/>
                <a:gd name="T89" fmla="*/ 76 h 330"/>
                <a:gd name="T90" fmla="*/ 10 w 534"/>
                <a:gd name="T91" fmla="*/ 72 h 330"/>
                <a:gd name="T92" fmla="*/ 14 w 534"/>
                <a:gd name="T93" fmla="*/ 62 h 330"/>
                <a:gd name="T94" fmla="*/ 10 w 534"/>
                <a:gd name="T95" fmla="*/ 52 h 330"/>
                <a:gd name="T96" fmla="*/ 4 w 534"/>
                <a:gd name="T97" fmla="*/ 52 h 330"/>
                <a:gd name="T98" fmla="*/ 4 w 534"/>
                <a:gd name="T99" fmla="*/ 48 h 330"/>
                <a:gd name="T100" fmla="*/ 8 w 534"/>
                <a:gd name="T101" fmla="*/ 44 h 330"/>
                <a:gd name="T102" fmla="*/ 2 w 534"/>
                <a:gd name="T103" fmla="*/ 31 h 330"/>
                <a:gd name="T104" fmla="*/ 2 w 534"/>
                <a:gd name="T105" fmla="*/ 23 h 330"/>
                <a:gd name="T106" fmla="*/ 170 w 534"/>
                <a:gd name="T107" fmla="*/ 17 h 330"/>
                <a:gd name="T108" fmla="*/ 379 w 534"/>
                <a:gd name="T109" fmla="*/ 5 h 330"/>
                <a:gd name="T110" fmla="*/ 434 w 534"/>
                <a:gd name="T111" fmla="*/ 7 h 330"/>
                <a:gd name="T112" fmla="*/ 446 w 534"/>
                <a:gd name="T113" fmla="*/ 21 h 330"/>
                <a:gd name="T114" fmla="*/ 444 w 534"/>
                <a:gd name="T115" fmla="*/ 52 h 330"/>
                <a:gd name="T116" fmla="*/ 450 w 534"/>
                <a:gd name="T117" fmla="*/ 72 h 330"/>
                <a:gd name="T118" fmla="*/ 483 w 534"/>
                <a:gd name="T119" fmla="*/ 85 h 330"/>
                <a:gd name="T120" fmla="*/ 489 w 534"/>
                <a:gd name="T121" fmla="*/ 99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4" h="330">
                  <a:moveTo>
                    <a:pt x="489" y="99"/>
                  </a:moveTo>
                  <a:lnTo>
                    <a:pt x="487" y="103"/>
                  </a:lnTo>
                  <a:lnTo>
                    <a:pt x="489" y="103"/>
                  </a:lnTo>
                  <a:lnTo>
                    <a:pt x="491" y="105"/>
                  </a:lnTo>
                  <a:lnTo>
                    <a:pt x="493" y="105"/>
                  </a:lnTo>
                  <a:lnTo>
                    <a:pt x="493" y="107"/>
                  </a:lnTo>
                  <a:lnTo>
                    <a:pt x="498" y="109"/>
                  </a:lnTo>
                  <a:lnTo>
                    <a:pt x="504" y="113"/>
                  </a:lnTo>
                  <a:lnTo>
                    <a:pt x="508" y="115"/>
                  </a:lnTo>
                  <a:lnTo>
                    <a:pt x="510" y="119"/>
                  </a:lnTo>
                  <a:lnTo>
                    <a:pt x="510" y="117"/>
                  </a:lnTo>
                  <a:lnTo>
                    <a:pt x="510" y="123"/>
                  </a:lnTo>
                  <a:lnTo>
                    <a:pt x="510" y="125"/>
                  </a:lnTo>
                  <a:lnTo>
                    <a:pt x="514" y="128"/>
                  </a:lnTo>
                  <a:lnTo>
                    <a:pt x="516" y="130"/>
                  </a:lnTo>
                  <a:lnTo>
                    <a:pt x="516" y="130"/>
                  </a:lnTo>
                  <a:lnTo>
                    <a:pt x="518" y="130"/>
                  </a:lnTo>
                  <a:lnTo>
                    <a:pt x="524" y="134"/>
                  </a:lnTo>
                  <a:lnTo>
                    <a:pt x="526" y="134"/>
                  </a:lnTo>
                  <a:lnTo>
                    <a:pt x="528" y="138"/>
                  </a:lnTo>
                  <a:lnTo>
                    <a:pt x="528" y="138"/>
                  </a:lnTo>
                  <a:lnTo>
                    <a:pt x="530" y="138"/>
                  </a:lnTo>
                  <a:lnTo>
                    <a:pt x="530" y="138"/>
                  </a:lnTo>
                  <a:lnTo>
                    <a:pt x="530" y="140"/>
                  </a:lnTo>
                  <a:lnTo>
                    <a:pt x="530" y="142"/>
                  </a:lnTo>
                  <a:lnTo>
                    <a:pt x="532" y="142"/>
                  </a:lnTo>
                  <a:lnTo>
                    <a:pt x="534" y="146"/>
                  </a:lnTo>
                  <a:lnTo>
                    <a:pt x="534" y="148"/>
                  </a:lnTo>
                  <a:lnTo>
                    <a:pt x="534" y="152"/>
                  </a:lnTo>
                  <a:lnTo>
                    <a:pt x="532" y="156"/>
                  </a:lnTo>
                  <a:lnTo>
                    <a:pt x="532" y="162"/>
                  </a:lnTo>
                  <a:lnTo>
                    <a:pt x="532" y="169"/>
                  </a:lnTo>
                  <a:lnTo>
                    <a:pt x="530" y="171"/>
                  </a:lnTo>
                  <a:lnTo>
                    <a:pt x="530" y="171"/>
                  </a:lnTo>
                  <a:lnTo>
                    <a:pt x="528" y="173"/>
                  </a:lnTo>
                  <a:lnTo>
                    <a:pt x="526" y="175"/>
                  </a:lnTo>
                  <a:lnTo>
                    <a:pt x="524" y="177"/>
                  </a:lnTo>
                  <a:lnTo>
                    <a:pt x="524" y="179"/>
                  </a:lnTo>
                  <a:lnTo>
                    <a:pt x="522" y="181"/>
                  </a:lnTo>
                  <a:lnTo>
                    <a:pt x="522" y="183"/>
                  </a:lnTo>
                  <a:lnTo>
                    <a:pt x="522" y="185"/>
                  </a:lnTo>
                  <a:lnTo>
                    <a:pt x="520" y="187"/>
                  </a:lnTo>
                  <a:lnTo>
                    <a:pt x="520" y="187"/>
                  </a:lnTo>
                  <a:lnTo>
                    <a:pt x="522" y="189"/>
                  </a:lnTo>
                  <a:lnTo>
                    <a:pt x="522" y="189"/>
                  </a:lnTo>
                  <a:lnTo>
                    <a:pt x="522" y="191"/>
                  </a:lnTo>
                  <a:lnTo>
                    <a:pt x="522" y="193"/>
                  </a:lnTo>
                  <a:lnTo>
                    <a:pt x="522" y="193"/>
                  </a:lnTo>
                  <a:lnTo>
                    <a:pt x="520" y="195"/>
                  </a:lnTo>
                  <a:lnTo>
                    <a:pt x="516" y="197"/>
                  </a:lnTo>
                  <a:lnTo>
                    <a:pt x="516" y="197"/>
                  </a:lnTo>
                  <a:lnTo>
                    <a:pt x="516" y="199"/>
                  </a:lnTo>
                  <a:lnTo>
                    <a:pt x="514" y="201"/>
                  </a:lnTo>
                  <a:lnTo>
                    <a:pt x="510" y="201"/>
                  </a:lnTo>
                  <a:lnTo>
                    <a:pt x="502" y="205"/>
                  </a:lnTo>
                  <a:lnTo>
                    <a:pt x="502" y="205"/>
                  </a:lnTo>
                  <a:lnTo>
                    <a:pt x="498" y="210"/>
                  </a:lnTo>
                  <a:lnTo>
                    <a:pt x="498" y="212"/>
                  </a:lnTo>
                  <a:lnTo>
                    <a:pt x="493" y="212"/>
                  </a:lnTo>
                  <a:lnTo>
                    <a:pt x="469" y="216"/>
                  </a:lnTo>
                  <a:lnTo>
                    <a:pt x="467" y="218"/>
                  </a:lnTo>
                  <a:lnTo>
                    <a:pt x="465" y="222"/>
                  </a:lnTo>
                  <a:lnTo>
                    <a:pt x="463" y="226"/>
                  </a:lnTo>
                  <a:lnTo>
                    <a:pt x="463" y="230"/>
                  </a:lnTo>
                  <a:lnTo>
                    <a:pt x="463" y="236"/>
                  </a:lnTo>
                  <a:lnTo>
                    <a:pt x="463" y="238"/>
                  </a:lnTo>
                  <a:lnTo>
                    <a:pt x="463" y="240"/>
                  </a:lnTo>
                  <a:lnTo>
                    <a:pt x="465" y="242"/>
                  </a:lnTo>
                  <a:lnTo>
                    <a:pt x="467" y="242"/>
                  </a:lnTo>
                  <a:lnTo>
                    <a:pt x="467" y="244"/>
                  </a:lnTo>
                  <a:lnTo>
                    <a:pt x="471" y="246"/>
                  </a:lnTo>
                  <a:lnTo>
                    <a:pt x="475" y="250"/>
                  </a:lnTo>
                  <a:lnTo>
                    <a:pt x="477" y="255"/>
                  </a:lnTo>
                  <a:lnTo>
                    <a:pt x="477" y="259"/>
                  </a:lnTo>
                  <a:lnTo>
                    <a:pt x="477" y="263"/>
                  </a:lnTo>
                  <a:lnTo>
                    <a:pt x="475" y="267"/>
                  </a:lnTo>
                  <a:lnTo>
                    <a:pt x="469" y="277"/>
                  </a:lnTo>
                  <a:lnTo>
                    <a:pt x="467" y="279"/>
                  </a:lnTo>
                  <a:lnTo>
                    <a:pt x="467" y="281"/>
                  </a:lnTo>
                  <a:lnTo>
                    <a:pt x="467" y="283"/>
                  </a:lnTo>
                  <a:lnTo>
                    <a:pt x="467" y="287"/>
                  </a:lnTo>
                  <a:lnTo>
                    <a:pt x="467" y="289"/>
                  </a:lnTo>
                  <a:lnTo>
                    <a:pt x="465" y="296"/>
                  </a:lnTo>
                  <a:lnTo>
                    <a:pt x="463" y="298"/>
                  </a:lnTo>
                  <a:lnTo>
                    <a:pt x="461" y="300"/>
                  </a:lnTo>
                  <a:lnTo>
                    <a:pt x="457" y="302"/>
                  </a:lnTo>
                  <a:lnTo>
                    <a:pt x="454" y="302"/>
                  </a:lnTo>
                  <a:lnTo>
                    <a:pt x="450" y="304"/>
                  </a:lnTo>
                  <a:lnTo>
                    <a:pt x="448" y="306"/>
                  </a:lnTo>
                  <a:lnTo>
                    <a:pt x="444" y="308"/>
                  </a:lnTo>
                  <a:lnTo>
                    <a:pt x="442" y="310"/>
                  </a:lnTo>
                  <a:lnTo>
                    <a:pt x="442" y="310"/>
                  </a:lnTo>
                  <a:lnTo>
                    <a:pt x="442" y="312"/>
                  </a:lnTo>
                  <a:lnTo>
                    <a:pt x="442" y="312"/>
                  </a:lnTo>
                  <a:lnTo>
                    <a:pt x="442" y="314"/>
                  </a:lnTo>
                  <a:lnTo>
                    <a:pt x="444" y="314"/>
                  </a:lnTo>
                  <a:lnTo>
                    <a:pt x="446" y="316"/>
                  </a:lnTo>
                  <a:lnTo>
                    <a:pt x="446" y="318"/>
                  </a:lnTo>
                  <a:lnTo>
                    <a:pt x="446" y="322"/>
                  </a:lnTo>
                  <a:lnTo>
                    <a:pt x="446" y="324"/>
                  </a:lnTo>
                  <a:lnTo>
                    <a:pt x="446" y="326"/>
                  </a:lnTo>
                  <a:lnTo>
                    <a:pt x="446" y="328"/>
                  </a:lnTo>
                  <a:lnTo>
                    <a:pt x="446" y="328"/>
                  </a:lnTo>
                  <a:lnTo>
                    <a:pt x="442" y="330"/>
                  </a:lnTo>
                  <a:lnTo>
                    <a:pt x="440" y="330"/>
                  </a:lnTo>
                  <a:lnTo>
                    <a:pt x="438" y="330"/>
                  </a:lnTo>
                  <a:lnTo>
                    <a:pt x="436" y="328"/>
                  </a:lnTo>
                  <a:lnTo>
                    <a:pt x="434" y="326"/>
                  </a:lnTo>
                  <a:lnTo>
                    <a:pt x="432" y="324"/>
                  </a:lnTo>
                  <a:lnTo>
                    <a:pt x="432" y="324"/>
                  </a:lnTo>
                  <a:lnTo>
                    <a:pt x="432" y="324"/>
                  </a:lnTo>
                  <a:lnTo>
                    <a:pt x="432" y="322"/>
                  </a:lnTo>
                  <a:lnTo>
                    <a:pt x="432" y="322"/>
                  </a:lnTo>
                  <a:lnTo>
                    <a:pt x="432" y="322"/>
                  </a:lnTo>
                  <a:lnTo>
                    <a:pt x="430" y="320"/>
                  </a:lnTo>
                  <a:lnTo>
                    <a:pt x="428" y="320"/>
                  </a:lnTo>
                  <a:lnTo>
                    <a:pt x="428" y="320"/>
                  </a:lnTo>
                  <a:lnTo>
                    <a:pt x="428" y="320"/>
                  </a:lnTo>
                  <a:lnTo>
                    <a:pt x="428" y="318"/>
                  </a:lnTo>
                  <a:lnTo>
                    <a:pt x="428" y="318"/>
                  </a:lnTo>
                  <a:lnTo>
                    <a:pt x="426" y="318"/>
                  </a:lnTo>
                  <a:lnTo>
                    <a:pt x="426" y="318"/>
                  </a:lnTo>
                  <a:lnTo>
                    <a:pt x="426" y="318"/>
                  </a:lnTo>
                  <a:lnTo>
                    <a:pt x="426" y="318"/>
                  </a:lnTo>
                  <a:lnTo>
                    <a:pt x="426" y="316"/>
                  </a:lnTo>
                  <a:lnTo>
                    <a:pt x="424" y="316"/>
                  </a:lnTo>
                  <a:lnTo>
                    <a:pt x="422" y="314"/>
                  </a:lnTo>
                  <a:lnTo>
                    <a:pt x="422" y="314"/>
                  </a:lnTo>
                  <a:lnTo>
                    <a:pt x="420" y="314"/>
                  </a:lnTo>
                  <a:lnTo>
                    <a:pt x="420" y="314"/>
                  </a:lnTo>
                  <a:lnTo>
                    <a:pt x="420" y="312"/>
                  </a:lnTo>
                  <a:lnTo>
                    <a:pt x="418" y="312"/>
                  </a:lnTo>
                  <a:lnTo>
                    <a:pt x="418" y="310"/>
                  </a:lnTo>
                  <a:lnTo>
                    <a:pt x="418" y="310"/>
                  </a:lnTo>
                  <a:lnTo>
                    <a:pt x="416" y="308"/>
                  </a:lnTo>
                  <a:lnTo>
                    <a:pt x="416" y="308"/>
                  </a:lnTo>
                  <a:lnTo>
                    <a:pt x="416" y="306"/>
                  </a:lnTo>
                  <a:lnTo>
                    <a:pt x="411" y="308"/>
                  </a:lnTo>
                  <a:lnTo>
                    <a:pt x="403" y="308"/>
                  </a:lnTo>
                  <a:lnTo>
                    <a:pt x="383" y="310"/>
                  </a:lnTo>
                  <a:lnTo>
                    <a:pt x="364" y="310"/>
                  </a:lnTo>
                  <a:lnTo>
                    <a:pt x="344" y="312"/>
                  </a:lnTo>
                  <a:lnTo>
                    <a:pt x="323" y="314"/>
                  </a:lnTo>
                  <a:lnTo>
                    <a:pt x="303" y="316"/>
                  </a:lnTo>
                  <a:lnTo>
                    <a:pt x="282" y="316"/>
                  </a:lnTo>
                  <a:lnTo>
                    <a:pt x="262" y="318"/>
                  </a:lnTo>
                  <a:lnTo>
                    <a:pt x="241" y="320"/>
                  </a:lnTo>
                  <a:lnTo>
                    <a:pt x="223" y="320"/>
                  </a:lnTo>
                  <a:lnTo>
                    <a:pt x="203" y="322"/>
                  </a:lnTo>
                  <a:lnTo>
                    <a:pt x="182" y="322"/>
                  </a:lnTo>
                  <a:lnTo>
                    <a:pt x="162" y="324"/>
                  </a:lnTo>
                  <a:lnTo>
                    <a:pt x="141" y="324"/>
                  </a:lnTo>
                  <a:lnTo>
                    <a:pt x="121" y="326"/>
                  </a:lnTo>
                  <a:lnTo>
                    <a:pt x="100" y="326"/>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6"/>
                  </a:lnTo>
                  <a:lnTo>
                    <a:pt x="80" y="324"/>
                  </a:lnTo>
                  <a:lnTo>
                    <a:pt x="80" y="322"/>
                  </a:lnTo>
                  <a:lnTo>
                    <a:pt x="78" y="320"/>
                  </a:lnTo>
                  <a:lnTo>
                    <a:pt x="74" y="320"/>
                  </a:lnTo>
                  <a:lnTo>
                    <a:pt x="72" y="318"/>
                  </a:lnTo>
                  <a:lnTo>
                    <a:pt x="72" y="316"/>
                  </a:lnTo>
                  <a:lnTo>
                    <a:pt x="72" y="316"/>
                  </a:lnTo>
                  <a:lnTo>
                    <a:pt x="72" y="314"/>
                  </a:lnTo>
                  <a:lnTo>
                    <a:pt x="72" y="314"/>
                  </a:lnTo>
                  <a:lnTo>
                    <a:pt x="72" y="312"/>
                  </a:lnTo>
                  <a:lnTo>
                    <a:pt x="72" y="312"/>
                  </a:lnTo>
                  <a:lnTo>
                    <a:pt x="74" y="310"/>
                  </a:lnTo>
                  <a:lnTo>
                    <a:pt x="74" y="308"/>
                  </a:lnTo>
                  <a:lnTo>
                    <a:pt x="74" y="308"/>
                  </a:lnTo>
                  <a:lnTo>
                    <a:pt x="74" y="306"/>
                  </a:lnTo>
                  <a:lnTo>
                    <a:pt x="74" y="304"/>
                  </a:lnTo>
                  <a:lnTo>
                    <a:pt x="74" y="302"/>
                  </a:lnTo>
                  <a:lnTo>
                    <a:pt x="74" y="300"/>
                  </a:lnTo>
                  <a:lnTo>
                    <a:pt x="74" y="298"/>
                  </a:lnTo>
                  <a:lnTo>
                    <a:pt x="74" y="296"/>
                  </a:lnTo>
                  <a:lnTo>
                    <a:pt x="74" y="291"/>
                  </a:lnTo>
                  <a:lnTo>
                    <a:pt x="72" y="291"/>
                  </a:lnTo>
                  <a:lnTo>
                    <a:pt x="74" y="289"/>
                  </a:lnTo>
                  <a:lnTo>
                    <a:pt x="74" y="287"/>
                  </a:lnTo>
                  <a:lnTo>
                    <a:pt x="72" y="287"/>
                  </a:lnTo>
                  <a:lnTo>
                    <a:pt x="72" y="285"/>
                  </a:lnTo>
                  <a:lnTo>
                    <a:pt x="69" y="285"/>
                  </a:lnTo>
                  <a:lnTo>
                    <a:pt x="69" y="283"/>
                  </a:lnTo>
                  <a:lnTo>
                    <a:pt x="69" y="283"/>
                  </a:lnTo>
                  <a:lnTo>
                    <a:pt x="69" y="281"/>
                  </a:lnTo>
                  <a:lnTo>
                    <a:pt x="69" y="281"/>
                  </a:lnTo>
                  <a:lnTo>
                    <a:pt x="69" y="281"/>
                  </a:lnTo>
                  <a:lnTo>
                    <a:pt x="69" y="279"/>
                  </a:lnTo>
                  <a:lnTo>
                    <a:pt x="69" y="279"/>
                  </a:lnTo>
                  <a:lnTo>
                    <a:pt x="69" y="279"/>
                  </a:lnTo>
                  <a:lnTo>
                    <a:pt x="69" y="279"/>
                  </a:lnTo>
                  <a:lnTo>
                    <a:pt x="69" y="279"/>
                  </a:lnTo>
                  <a:lnTo>
                    <a:pt x="69" y="277"/>
                  </a:lnTo>
                  <a:lnTo>
                    <a:pt x="69" y="275"/>
                  </a:lnTo>
                  <a:lnTo>
                    <a:pt x="69" y="273"/>
                  </a:lnTo>
                  <a:lnTo>
                    <a:pt x="69" y="269"/>
                  </a:lnTo>
                  <a:lnTo>
                    <a:pt x="69" y="269"/>
                  </a:lnTo>
                  <a:lnTo>
                    <a:pt x="72" y="267"/>
                  </a:lnTo>
                  <a:lnTo>
                    <a:pt x="69" y="267"/>
                  </a:lnTo>
                  <a:lnTo>
                    <a:pt x="65" y="265"/>
                  </a:lnTo>
                  <a:lnTo>
                    <a:pt x="65" y="265"/>
                  </a:lnTo>
                  <a:lnTo>
                    <a:pt x="65" y="263"/>
                  </a:lnTo>
                  <a:lnTo>
                    <a:pt x="65" y="259"/>
                  </a:lnTo>
                  <a:lnTo>
                    <a:pt x="65" y="257"/>
                  </a:lnTo>
                  <a:lnTo>
                    <a:pt x="67" y="255"/>
                  </a:lnTo>
                  <a:lnTo>
                    <a:pt x="69" y="253"/>
                  </a:lnTo>
                  <a:lnTo>
                    <a:pt x="67" y="253"/>
                  </a:lnTo>
                  <a:lnTo>
                    <a:pt x="67" y="253"/>
                  </a:lnTo>
                  <a:lnTo>
                    <a:pt x="63" y="250"/>
                  </a:lnTo>
                  <a:lnTo>
                    <a:pt x="61" y="250"/>
                  </a:lnTo>
                  <a:lnTo>
                    <a:pt x="63" y="244"/>
                  </a:lnTo>
                  <a:lnTo>
                    <a:pt x="63" y="242"/>
                  </a:lnTo>
                  <a:lnTo>
                    <a:pt x="63" y="238"/>
                  </a:lnTo>
                  <a:lnTo>
                    <a:pt x="63" y="236"/>
                  </a:lnTo>
                  <a:lnTo>
                    <a:pt x="63" y="236"/>
                  </a:lnTo>
                  <a:lnTo>
                    <a:pt x="61" y="236"/>
                  </a:lnTo>
                  <a:lnTo>
                    <a:pt x="59" y="236"/>
                  </a:lnTo>
                  <a:lnTo>
                    <a:pt x="57" y="236"/>
                  </a:lnTo>
                  <a:lnTo>
                    <a:pt x="57" y="234"/>
                  </a:lnTo>
                  <a:lnTo>
                    <a:pt x="57" y="234"/>
                  </a:lnTo>
                  <a:lnTo>
                    <a:pt x="57" y="232"/>
                  </a:lnTo>
                  <a:lnTo>
                    <a:pt x="57" y="230"/>
                  </a:lnTo>
                  <a:lnTo>
                    <a:pt x="57" y="230"/>
                  </a:lnTo>
                  <a:lnTo>
                    <a:pt x="57" y="230"/>
                  </a:lnTo>
                  <a:lnTo>
                    <a:pt x="57" y="228"/>
                  </a:lnTo>
                  <a:lnTo>
                    <a:pt x="57" y="228"/>
                  </a:lnTo>
                  <a:lnTo>
                    <a:pt x="55" y="228"/>
                  </a:lnTo>
                  <a:lnTo>
                    <a:pt x="55" y="228"/>
                  </a:lnTo>
                  <a:lnTo>
                    <a:pt x="53" y="230"/>
                  </a:lnTo>
                  <a:lnTo>
                    <a:pt x="53" y="230"/>
                  </a:lnTo>
                  <a:lnTo>
                    <a:pt x="51" y="228"/>
                  </a:lnTo>
                  <a:lnTo>
                    <a:pt x="51" y="226"/>
                  </a:lnTo>
                  <a:lnTo>
                    <a:pt x="51" y="224"/>
                  </a:lnTo>
                  <a:lnTo>
                    <a:pt x="51" y="224"/>
                  </a:lnTo>
                  <a:lnTo>
                    <a:pt x="49" y="222"/>
                  </a:lnTo>
                  <a:lnTo>
                    <a:pt x="49" y="220"/>
                  </a:lnTo>
                  <a:lnTo>
                    <a:pt x="49" y="218"/>
                  </a:lnTo>
                  <a:lnTo>
                    <a:pt x="49" y="214"/>
                  </a:lnTo>
                  <a:lnTo>
                    <a:pt x="49" y="214"/>
                  </a:lnTo>
                  <a:lnTo>
                    <a:pt x="49" y="212"/>
                  </a:lnTo>
                  <a:lnTo>
                    <a:pt x="49" y="212"/>
                  </a:lnTo>
                  <a:lnTo>
                    <a:pt x="49" y="210"/>
                  </a:lnTo>
                  <a:lnTo>
                    <a:pt x="49" y="210"/>
                  </a:lnTo>
                  <a:lnTo>
                    <a:pt x="49" y="207"/>
                  </a:lnTo>
                  <a:lnTo>
                    <a:pt x="49" y="205"/>
                  </a:lnTo>
                  <a:lnTo>
                    <a:pt x="51" y="203"/>
                  </a:lnTo>
                  <a:lnTo>
                    <a:pt x="51" y="201"/>
                  </a:lnTo>
                  <a:lnTo>
                    <a:pt x="49" y="199"/>
                  </a:lnTo>
                  <a:lnTo>
                    <a:pt x="45" y="195"/>
                  </a:lnTo>
                  <a:lnTo>
                    <a:pt x="45" y="195"/>
                  </a:lnTo>
                  <a:lnTo>
                    <a:pt x="43" y="191"/>
                  </a:lnTo>
                  <a:lnTo>
                    <a:pt x="43" y="191"/>
                  </a:lnTo>
                  <a:lnTo>
                    <a:pt x="43" y="189"/>
                  </a:lnTo>
                  <a:lnTo>
                    <a:pt x="43" y="187"/>
                  </a:lnTo>
                  <a:lnTo>
                    <a:pt x="45" y="187"/>
                  </a:lnTo>
                  <a:lnTo>
                    <a:pt x="43" y="183"/>
                  </a:lnTo>
                  <a:lnTo>
                    <a:pt x="39" y="179"/>
                  </a:lnTo>
                  <a:lnTo>
                    <a:pt x="37" y="179"/>
                  </a:lnTo>
                  <a:lnTo>
                    <a:pt x="35" y="175"/>
                  </a:lnTo>
                  <a:lnTo>
                    <a:pt x="33" y="173"/>
                  </a:lnTo>
                  <a:lnTo>
                    <a:pt x="33" y="171"/>
                  </a:lnTo>
                  <a:lnTo>
                    <a:pt x="33" y="169"/>
                  </a:lnTo>
                  <a:lnTo>
                    <a:pt x="33" y="166"/>
                  </a:lnTo>
                  <a:lnTo>
                    <a:pt x="31" y="164"/>
                  </a:lnTo>
                  <a:lnTo>
                    <a:pt x="28" y="164"/>
                  </a:lnTo>
                  <a:lnTo>
                    <a:pt x="26" y="162"/>
                  </a:lnTo>
                  <a:lnTo>
                    <a:pt x="26" y="160"/>
                  </a:lnTo>
                  <a:lnTo>
                    <a:pt x="26" y="158"/>
                  </a:lnTo>
                  <a:lnTo>
                    <a:pt x="26" y="156"/>
                  </a:lnTo>
                  <a:lnTo>
                    <a:pt x="26" y="154"/>
                  </a:lnTo>
                  <a:lnTo>
                    <a:pt x="26" y="152"/>
                  </a:lnTo>
                  <a:lnTo>
                    <a:pt x="26" y="150"/>
                  </a:lnTo>
                  <a:lnTo>
                    <a:pt x="24" y="148"/>
                  </a:lnTo>
                  <a:lnTo>
                    <a:pt x="24" y="148"/>
                  </a:lnTo>
                  <a:lnTo>
                    <a:pt x="24" y="146"/>
                  </a:lnTo>
                  <a:lnTo>
                    <a:pt x="20" y="142"/>
                  </a:lnTo>
                  <a:lnTo>
                    <a:pt x="22" y="138"/>
                  </a:lnTo>
                  <a:lnTo>
                    <a:pt x="22" y="134"/>
                  </a:lnTo>
                  <a:lnTo>
                    <a:pt x="20" y="130"/>
                  </a:lnTo>
                  <a:lnTo>
                    <a:pt x="20" y="128"/>
                  </a:lnTo>
                  <a:lnTo>
                    <a:pt x="18" y="128"/>
                  </a:lnTo>
                  <a:lnTo>
                    <a:pt x="14" y="128"/>
                  </a:lnTo>
                  <a:lnTo>
                    <a:pt x="14" y="123"/>
                  </a:lnTo>
                  <a:lnTo>
                    <a:pt x="14" y="121"/>
                  </a:lnTo>
                  <a:lnTo>
                    <a:pt x="12" y="121"/>
                  </a:lnTo>
                  <a:lnTo>
                    <a:pt x="12" y="121"/>
                  </a:lnTo>
                  <a:lnTo>
                    <a:pt x="12" y="119"/>
                  </a:lnTo>
                  <a:lnTo>
                    <a:pt x="12" y="119"/>
                  </a:lnTo>
                  <a:lnTo>
                    <a:pt x="12" y="119"/>
                  </a:lnTo>
                  <a:lnTo>
                    <a:pt x="12" y="117"/>
                  </a:lnTo>
                  <a:lnTo>
                    <a:pt x="12" y="117"/>
                  </a:lnTo>
                  <a:lnTo>
                    <a:pt x="12" y="117"/>
                  </a:lnTo>
                  <a:lnTo>
                    <a:pt x="10" y="117"/>
                  </a:lnTo>
                  <a:lnTo>
                    <a:pt x="10" y="115"/>
                  </a:lnTo>
                  <a:lnTo>
                    <a:pt x="10" y="115"/>
                  </a:lnTo>
                  <a:lnTo>
                    <a:pt x="8" y="115"/>
                  </a:lnTo>
                  <a:lnTo>
                    <a:pt x="8" y="115"/>
                  </a:lnTo>
                  <a:lnTo>
                    <a:pt x="10" y="115"/>
                  </a:lnTo>
                  <a:lnTo>
                    <a:pt x="10" y="113"/>
                  </a:lnTo>
                  <a:lnTo>
                    <a:pt x="10" y="113"/>
                  </a:lnTo>
                  <a:lnTo>
                    <a:pt x="10" y="113"/>
                  </a:lnTo>
                  <a:lnTo>
                    <a:pt x="10" y="113"/>
                  </a:lnTo>
                  <a:lnTo>
                    <a:pt x="10" y="111"/>
                  </a:lnTo>
                  <a:lnTo>
                    <a:pt x="10" y="111"/>
                  </a:lnTo>
                  <a:lnTo>
                    <a:pt x="8" y="111"/>
                  </a:lnTo>
                  <a:lnTo>
                    <a:pt x="4" y="107"/>
                  </a:lnTo>
                  <a:lnTo>
                    <a:pt x="4" y="107"/>
                  </a:lnTo>
                  <a:lnTo>
                    <a:pt x="2" y="107"/>
                  </a:lnTo>
                  <a:lnTo>
                    <a:pt x="2" y="105"/>
                  </a:lnTo>
                  <a:lnTo>
                    <a:pt x="2" y="103"/>
                  </a:lnTo>
                  <a:lnTo>
                    <a:pt x="0" y="103"/>
                  </a:lnTo>
                  <a:lnTo>
                    <a:pt x="2" y="101"/>
                  </a:lnTo>
                  <a:lnTo>
                    <a:pt x="2" y="101"/>
                  </a:lnTo>
                  <a:lnTo>
                    <a:pt x="2" y="99"/>
                  </a:lnTo>
                  <a:lnTo>
                    <a:pt x="4" y="97"/>
                  </a:lnTo>
                  <a:lnTo>
                    <a:pt x="4" y="97"/>
                  </a:lnTo>
                  <a:lnTo>
                    <a:pt x="4" y="95"/>
                  </a:lnTo>
                  <a:lnTo>
                    <a:pt x="4" y="95"/>
                  </a:lnTo>
                  <a:lnTo>
                    <a:pt x="4" y="95"/>
                  </a:lnTo>
                  <a:lnTo>
                    <a:pt x="4" y="95"/>
                  </a:lnTo>
                  <a:lnTo>
                    <a:pt x="4" y="93"/>
                  </a:lnTo>
                  <a:lnTo>
                    <a:pt x="4" y="93"/>
                  </a:lnTo>
                  <a:lnTo>
                    <a:pt x="4" y="93"/>
                  </a:lnTo>
                  <a:lnTo>
                    <a:pt x="6" y="93"/>
                  </a:lnTo>
                  <a:lnTo>
                    <a:pt x="6" y="93"/>
                  </a:lnTo>
                  <a:lnTo>
                    <a:pt x="6" y="93"/>
                  </a:lnTo>
                  <a:lnTo>
                    <a:pt x="6" y="91"/>
                  </a:lnTo>
                  <a:lnTo>
                    <a:pt x="6" y="91"/>
                  </a:lnTo>
                  <a:lnTo>
                    <a:pt x="6" y="89"/>
                  </a:lnTo>
                  <a:lnTo>
                    <a:pt x="8" y="89"/>
                  </a:lnTo>
                  <a:lnTo>
                    <a:pt x="8" y="89"/>
                  </a:lnTo>
                  <a:lnTo>
                    <a:pt x="8" y="89"/>
                  </a:lnTo>
                  <a:lnTo>
                    <a:pt x="8" y="89"/>
                  </a:lnTo>
                  <a:lnTo>
                    <a:pt x="8" y="87"/>
                  </a:lnTo>
                  <a:lnTo>
                    <a:pt x="8" y="85"/>
                  </a:lnTo>
                  <a:lnTo>
                    <a:pt x="8" y="82"/>
                  </a:lnTo>
                  <a:lnTo>
                    <a:pt x="8" y="82"/>
                  </a:lnTo>
                  <a:lnTo>
                    <a:pt x="10" y="80"/>
                  </a:lnTo>
                  <a:lnTo>
                    <a:pt x="10" y="80"/>
                  </a:lnTo>
                  <a:lnTo>
                    <a:pt x="10" y="80"/>
                  </a:lnTo>
                  <a:lnTo>
                    <a:pt x="10" y="78"/>
                  </a:lnTo>
                  <a:lnTo>
                    <a:pt x="10" y="76"/>
                  </a:lnTo>
                  <a:lnTo>
                    <a:pt x="10" y="76"/>
                  </a:lnTo>
                  <a:lnTo>
                    <a:pt x="10" y="76"/>
                  </a:lnTo>
                  <a:lnTo>
                    <a:pt x="10" y="76"/>
                  </a:lnTo>
                  <a:lnTo>
                    <a:pt x="10" y="74"/>
                  </a:lnTo>
                  <a:lnTo>
                    <a:pt x="12" y="74"/>
                  </a:lnTo>
                  <a:lnTo>
                    <a:pt x="10" y="74"/>
                  </a:lnTo>
                  <a:lnTo>
                    <a:pt x="10" y="72"/>
                  </a:lnTo>
                  <a:lnTo>
                    <a:pt x="10" y="72"/>
                  </a:lnTo>
                  <a:lnTo>
                    <a:pt x="10" y="72"/>
                  </a:lnTo>
                  <a:lnTo>
                    <a:pt x="10" y="72"/>
                  </a:lnTo>
                  <a:lnTo>
                    <a:pt x="10" y="70"/>
                  </a:lnTo>
                  <a:lnTo>
                    <a:pt x="12" y="68"/>
                  </a:lnTo>
                  <a:lnTo>
                    <a:pt x="14" y="68"/>
                  </a:lnTo>
                  <a:lnTo>
                    <a:pt x="14" y="68"/>
                  </a:lnTo>
                  <a:lnTo>
                    <a:pt x="14" y="62"/>
                  </a:lnTo>
                  <a:lnTo>
                    <a:pt x="14" y="62"/>
                  </a:lnTo>
                  <a:lnTo>
                    <a:pt x="14" y="62"/>
                  </a:lnTo>
                  <a:lnTo>
                    <a:pt x="14" y="60"/>
                  </a:lnTo>
                  <a:lnTo>
                    <a:pt x="14" y="60"/>
                  </a:lnTo>
                  <a:lnTo>
                    <a:pt x="12" y="56"/>
                  </a:lnTo>
                  <a:lnTo>
                    <a:pt x="12" y="54"/>
                  </a:lnTo>
                  <a:lnTo>
                    <a:pt x="12" y="54"/>
                  </a:lnTo>
                  <a:lnTo>
                    <a:pt x="12" y="54"/>
                  </a:lnTo>
                  <a:lnTo>
                    <a:pt x="12" y="52"/>
                  </a:lnTo>
                  <a:lnTo>
                    <a:pt x="10" y="52"/>
                  </a:lnTo>
                  <a:lnTo>
                    <a:pt x="10" y="54"/>
                  </a:lnTo>
                  <a:lnTo>
                    <a:pt x="10" y="54"/>
                  </a:lnTo>
                  <a:lnTo>
                    <a:pt x="8" y="52"/>
                  </a:lnTo>
                  <a:lnTo>
                    <a:pt x="6" y="52"/>
                  </a:lnTo>
                  <a:lnTo>
                    <a:pt x="6" y="52"/>
                  </a:lnTo>
                  <a:lnTo>
                    <a:pt x="6" y="52"/>
                  </a:lnTo>
                  <a:lnTo>
                    <a:pt x="4" y="52"/>
                  </a:lnTo>
                  <a:lnTo>
                    <a:pt x="4" y="52"/>
                  </a:lnTo>
                  <a:lnTo>
                    <a:pt x="4" y="52"/>
                  </a:lnTo>
                  <a:lnTo>
                    <a:pt x="4" y="50"/>
                  </a:lnTo>
                  <a:lnTo>
                    <a:pt x="6" y="50"/>
                  </a:lnTo>
                  <a:lnTo>
                    <a:pt x="6" y="50"/>
                  </a:lnTo>
                  <a:lnTo>
                    <a:pt x="6" y="50"/>
                  </a:lnTo>
                  <a:lnTo>
                    <a:pt x="6" y="48"/>
                  </a:lnTo>
                  <a:lnTo>
                    <a:pt x="4" y="48"/>
                  </a:lnTo>
                  <a:lnTo>
                    <a:pt x="4" y="48"/>
                  </a:lnTo>
                  <a:lnTo>
                    <a:pt x="4" y="46"/>
                  </a:lnTo>
                  <a:lnTo>
                    <a:pt x="4" y="46"/>
                  </a:lnTo>
                  <a:lnTo>
                    <a:pt x="4" y="46"/>
                  </a:lnTo>
                  <a:lnTo>
                    <a:pt x="6" y="46"/>
                  </a:lnTo>
                  <a:lnTo>
                    <a:pt x="6" y="46"/>
                  </a:lnTo>
                  <a:lnTo>
                    <a:pt x="6" y="46"/>
                  </a:lnTo>
                  <a:lnTo>
                    <a:pt x="6" y="46"/>
                  </a:lnTo>
                  <a:lnTo>
                    <a:pt x="8" y="44"/>
                  </a:lnTo>
                  <a:lnTo>
                    <a:pt x="8" y="41"/>
                  </a:lnTo>
                  <a:lnTo>
                    <a:pt x="8" y="35"/>
                  </a:lnTo>
                  <a:lnTo>
                    <a:pt x="6" y="35"/>
                  </a:lnTo>
                  <a:lnTo>
                    <a:pt x="6" y="35"/>
                  </a:lnTo>
                  <a:lnTo>
                    <a:pt x="6" y="33"/>
                  </a:lnTo>
                  <a:lnTo>
                    <a:pt x="4" y="33"/>
                  </a:lnTo>
                  <a:lnTo>
                    <a:pt x="4" y="31"/>
                  </a:lnTo>
                  <a:lnTo>
                    <a:pt x="2" y="31"/>
                  </a:lnTo>
                  <a:lnTo>
                    <a:pt x="2" y="29"/>
                  </a:lnTo>
                  <a:lnTo>
                    <a:pt x="2" y="29"/>
                  </a:lnTo>
                  <a:lnTo>
                    <a:pt x="2" y="27"/>
                  </a:lnTo>
                  <a:lnTo>
                    <a:pt x="2" y="27"/>
                  </a:lnTo>
                  <a:lnTo>
                    <a:pt x="2" y="25"/>
                  </a:lnTo>
                  <a:lnTo>
                    <a:pt x="2" y="25"/>
                  </a:lnTo>
                  <a:lnTo>
                    <a:pt x="2" y="25"/>
                  </a:lnTo>
                  <a:lnTo>
                    <a:pt x="2" y="23"/>
                  </a:lnTo>
                  <a:lnTo>
                    <a:pt x="2" y="23"/>
                  </a:lnTo>
                  <a:lnTo>
                    <a:pt x="14" y="23"/>
                  </a:lnTo>
                  <a:lnTo>
                    <a:pt x="39" y="23"/>
                  </a:lnTo>
                  <a:lnTo>
                    <a:pt x="65" y="21"/>
                  </a:lnTo>
                  <a:lnTo>
                    <a:pt x="92" y="21"/>
                  </a:lnTo>
                  <a:lnTo>
                    <a:pt x="119" y="19"/>
                  </a:lnTo>
                  <a:lnTo>
                    <a:pt x="143" y="17"/>
                  </a:lnTo>
                  <a:lnTo>
                    <a:pt x="170" y="17"/>
                  </a:lnTo>
                  <a:lnTo>
                    <a:pt x="196" y="15"/>
                  </a:lnTo>
                  <a:lnTo>
                    <a:pt x="223" y="13"/>
                  </a:lnTo>
                  <a:lnTo>
                    <a:pt x="248" y="13"/>
                  </a:lnTo>
                  <a:lnTo>
                    <a:pt x="274" y="11"/>
                  </a:lnTo>
                  <a:lnTo>
                    <a:pt x="301" y="9"/>
                  </a:lnTo>
                  <a:lnTo>
                    <a:pt x="328" y="7"/>
                  </a:lnTo>
                  <a:lnTo>
                    <a:pt x="352" y="5"/>
                  </a:lnTo>
                  <a:lnTo>
                    <a:pt x="379" y="5"/>
                  </a:lnTo>
                  <a:lnTo>
                    <a:pt x="405" y="3"/>
                  </a:lnTo>
                  <a:lnTo>
                    <a:pt x="432" y="0"/>
                  </a:lnTo>
                  <a:lnTo>
                    <a:pt x="432" y="0"/>
                  </a:lnTo>
                  <a:lnTo>
                    <a:pt x="432" y="0"/>
                  </a:lnTo>
                  <a:lnTo>
                    <a:pt x="432" y="3"/>
                  </a:lnTo>
                  <a:lnTo>
                    <a:pt x="432" y="5"/>
                  </a:lnTo>
                  <a:lnTo>
                    <a:pt x="432" y="5"/>
                  </a:lnTo>
                  <a:lnTo>
                    <a:pt x="434" y="7"/>
                  </a:lnTo>
                  <a:lnTo>
                    <a:pt x="434" y="9"/>
                  </a:lnTo>
                  <a:lnTo>
                    <a:pt x="434" y="9"/>
                  </a:lnTo>
                  <a:lnTo>
                    <a:pt x="434" y="13"/>
                  </a:lnTo>
                  <a:lnTo>
                    <a:pt x="436" y="13"/>
                  </a:lnTo>
                  <a:lnTo>
                    <a:pt x="436" y="13"/>
                  </a:lnTo>
                  <a:lnTo>
                    <a:pt x="444" y="15"/>
                  </a:lnTo>
                  <a:lnTo>
                    <a:pt x="446" y="17"/>
                  </a:lnTo>
                  <a:lnTo>
                    <a:pt x="446" y="21"/>
                  </a:lnTo>
                  <a:lnTo>
                    <a:pt x="444" y="25"/>
                  </a:lnTo>
                  <a:lnTo>
                    <a:pt x="442" y="31"/>
                  </a:lnTo>
                  <a:lnTo>
                    <a:pt x="440" y="35"/>
                  </a:lnTo>
                  <a:lnTo>
                    <a:pt x="442" y="41"/>
                  </a:lnTo>
                  <a:lnTo>
                    <a:pt x="442" y="46"/>
                  </a:lnTo>
                  <a:lnTo>
                    <a:pt x="442" y="50"/>
                  </a:lnTo>
                  <a:lnTo>
                    <a:pt x="442" y="52"/>
                  </a:lnTo>
                  <a:lnTo>
                    <a:pt x="444" y="52"/>
                  </a:lnTo>
                  <a:lnTo>
                    <a:pt x="444" y="58"/>
                  </a:lnTo>
                  <a:lnTo>
                    <a:pt x="444" y="60"/>
                  </a:lnTo>
                  <a:lnTo>
                    <a:pt x="446" y="60"/>
                  </a:lnTo>
                  <a:lnTo>
                    <a:pt x="448" y="64"/>
                  </a:lnTo>
                  <a:lnTo>
                    <a:pt x="448" y="64"/>
                  </a:lnTo>
                  <a:lnTo>
                    <a:pt x="450" y="66"/>
                  </a:lnTo>
                  <a:lnTo>
                    <a:pt x="450" y="72"/>
                  </a:lnTo>
                  <a:lnTo>
                    <a:pt x="450" y="72"/>
                  </a:lnTo>
                  <a:lnTo>
                    <a:pt x="454" y="78"/>
                  </a:lnTo>
                  <a:lnTo>
                    <a:pt x="454" y="80"/>
                  </a:lnTo>
                  <a:lnTo>
                    <a:pt x="457" y="80"/>
                  </a:lnTo>
                  <a:lnTo>
                    <a:pt x="461" y="82"/>
                  </a:lnTo>
                  <a:lnTo>
                    <a:pt x="475" y="82"/>
                  </a:lnTo>
                  <a:lnTo>
                    <a:pt x="479" y="85"/>
                  </a:lnTo>
                  <a:lnTo>
                    <a:pt x="481" y="85"/>
                  </a:lnTo>
                  <a:lnTo>
                    <a:pt x="483" y="85"/>
                  </a:lnTo>
                  <a:lnTo>
                    <a:pt x="483" y="87"/>
                  </a:lnTo>
                  <a:lnTo>
                    <a:pt x="485" y="91"/>
                  </a:lnTo>
                  <a:lnTo>
                    <a:pt x="487" y="93"/>
                  </a:lnTo>
                  <a:lnTo>
                    <a:pt x="489" y="95"/>
                  </a:lnTo>
                  <a:lnTo>
                    <a:pt x="489" y="97"/>
                  </a:lnTo>
                  <a:lnTo>
                    <a:pt x="489" y="97"/>
                  </a:lnTo>
                  <a:lnTo>
                    <a:pt x="489" y="99"/>
                  </a:lnTo>
                  <a:lnTo>
                    <a:pt x="489" y="99"/>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A</a:t>
              </a:r>
            </a:p>
          </p:txBody>
        </p:sp>
        <p:sp>
          <p:nvSpPr>
            <p:cNvPr id="281" name="Freeform 44">
              <a:extLst>
                <a:ext uri="{FF2B5EF4-FFF2-40B4-BE49-F238E27FC236}">
                  <a16:creationId xmlns:a16="http://schemas.microsoft.com/office/drawing/2014/main" id="{EB2D8D50-22A6-663F-3BBA-C4AC355E370A}"/>
                </a:ext>
              </a:extLst>
            </p:cNvPr>
            <p:cNvSpPr>
              <a:spLocks noEditPoints="1"/>
            </p:cNvSpPr>
            <p:nvPr/>
          </p:nvSpPr>
          <p:spPr bwMode="auto">
            <a:xfrm>
              <a:off x="3435" y="2477"/>
              <a:ext cx="645" cy="391"/>
            </a:xfrm>
            <a:custGeom>
              <a:avLst/>
              <a:gdLst>
                <a:gd name="T0" fmla="*/ 485 w 645"/>
                <a:gd name="T1" fmla="*/ 161 h 391"/>
                <a:gd name="T2" fmla="*/ 471 w 645"/>
                <a:gd name="T3" fmla="*/ 153 h 391"/>
                <a:gd name="T4" fmla="*/ 457 w 645"/>
                <a:gd name="T5" fmla="*/ 155 h 391"/>
                <a:gd name="T6" fmla="*/ 438 w 645"/>
                <a:gd name="T7" fmla="*/ 147 h 391"/>
                <a:gd name="T8" fmla="*/ 426 w 645"/>
                <a:gd name="T9" fmla="*/ 143 h 391"/>
                <a:gd name="T10" fmla="*/ 426 w 645"/>
                <a:gd name="T11" fmla="*/ 168 h 391"/>
                <a:gd name="T12" fmla="*/ 440 w 645"/>
                <a:gd name="T13" fmla="*/ 170 h 391"/>
                <a:gd name="T14" fmla="*/ 448 w 645"/>
                <a:gd name="T15" fmla="*/ 190 h 391"/>
                <a:gd name="T16" fmla="*/ 469 w 645"/>
                <a:gd name="T17" fmla="*/ 194 h 391"/>
                <a:gd name="T18" fmla="*/ 502 w 645"/>
                <a:gd name="T19" fmla="*/ 180 h 391"/>
                <a:gd name="T20" fmla="*/ 422 w 645"/>
                <a:gd name="T21" fmla="*/ 204 h 391"/>
                <a:gd name="T22" fmla="*/ 635 w 645"/>
                <a:gd name="T23" fmla="*/ 313 h 391"/>
                <a:gd name="T24" fmla="*/ 612 w 645"/>
                <a:gd name="T25" fmla="*/ 295 h 391"/>
                <a:gd name="T26" fmla="*/ 561 w 645"/>
                <a:gd name="T27" fmla="*/ 252 h 391"/>
                <a:gd name="T28" fmla="*/ 545 w 645"/>
                <a:gd name="T29" fmla="*/ 245 h 391"/>
                <a:gd name="T30" fmla="*/ 522 w 645"/>
                <a:gd name="T31" fmla="*/ 233 h 391"/>
                <a:gd name="T32" fmla="*/ 524 w 645"/>
                <a:gd name="T33" fmla="*/ 262 h 391"/>
                <a:gd name="T34" fmla="*/ 504 w 645"/>
                <a:gd name="T35" fmla="*/ 284 h 391"/>
                <a:gd name="T36" fmla="*/ 506 w 645"/>
                <a:gd name="T37" fmla="*/ 309 h 391"/>
                <a:gd name="T38" fmla="*/ 512 w 645"/>
                <a:gd name="T39" fmla="*/ 325 h 391"/>
                <a:gd name="T40" fmla="*/ 514 w 645"/>
                <a:gd name="T41" fmla="*/ 370 h 391"/>
                <a:gd name="T42" fmla="*/ 526 w 645"/>
                <a:gd name="T43" fmla="*/ 381 h 391"/>
                <a:gd name="T44" fmla="*/ 547 w 645"/>
                <a:gd name="T45" fmla="*/ 387 h 391"/>
                <a:gd name="T46" fmla="*/ 575 w 645"/>
                <a:gd name="T47" fmla="*/ 358 h 391"/>
                <a:gd name="T48" fmla="*/ 608 w 645"/>
                <a:gd name="T49" fmla="*/ 348 h 391"/>
                <a:gd name="T50" fmla="*/ 643 w 645"/>
                <a:gd name="T51" fmla="*/ 323 h 391"/>
                <a:gd name="T52" fmla="*/ 410 w 645"/>
                <a:gd name="T53" fmla="*/ 127 h 391"/>
                <a:gd name="T54" fmla="*/ 389 w 645"/>
                <a:gd name="T55" fmla="*/ 123 h 391"/>
                <a:gd name="T56" fmla="*/ 362 w 645"/>
                <a:gd name="T57" fmla="*/ 123 h 391"/>
                <a:gd name="T58" fmla="*/ 354 w 645"/>
                <a:gd name="T59" fmla="*/ 123 h 391"/>
                <a:gd name="T60" fmla="*/ 354 w 645"/>
                <a:gd name="T61" fmla="*/ 137 h 391"/>
                <a:gd name="T62" fmla="*/ 403 w 645"/>
                <a:gd name="T63" fmla="*/ 139 h 391"/>
                <a:gd name="T64" fmla="*/ 111 w 645"/>
                <a:gd name="T65" fmla="*/ 8 h 391"/>
                <a:gd name="T66" fmla="*/ 98 w 645"/>
                <a:gd name="T67" fmla="*/ 2 h 391"/>
                <a:gd name="T68" fmla="*/ 72 w 645"/>
                <a:gd name="T69" fmla="*/ 6 h 391"/>
                <a:gd name="T70" fmla="*/ 53 w 645"/>
                <a:gd name="T71" fmla="*/ 22 h 391"/>
                <a:gd name="T72" fmla="*/ 68 w 645"/>
                <a:gd name="T73" fmla="*/ 34 h 391"/>
                <a:gd name="T74" fmla="*/ 94 w 645"/>
                <a:gd name="T75" fmla="*/ 45 h 391"/>
                <a:gd name="T76" fmla="*/ 108 w 645"/>
                <a:gd name="T77" fmla="*/ 26 h 391"/>
                <a:gd name="T78" fmla="*/ 12 w 645"/>
                <a:gd name="T79" fmla="*/ 32 h 391"/>
                <a:gd name="T80" fmla="*/ 4 w 645"/>
                <a:gd name="T81" fmla="*/ 53 h 391"/>
                <a:gd name="T82" fmla="*/ 16 w 645"/>
                <a:gd name="T83" fmla="*/ 41 h 391"/>
                <a:gd name="T84" fmla="*/ 301 w 645"/>
                <a:gd name="T85" fmla="*/ 104 h 391"/>
                <a:gd name="T86" fmla="*/ 293 w 645"/>
                <a:gd name="T87" fmla="*/ 92 h 391"/>
                <a:gd name="T88" fmla="*/ 285 w 645"/>
                <a:gd name="T89" fmla="*/ 90 h 391"/>
                <a:gd name="T90" fmla="*/ 278 w 645"/>
                <a:gd name="T91" fmla="*/ 75 h 391"/>
                <a:gd name="T92" fmla="*/ 268 w 645"/>
                <a:gd name="T93" fmla="*/ 63 h 391"/>
                <a:gd name="T94" fmla="*/ 252 w 645"/>
                <a:gd name="T95" fmla="*/ 75 h 391"/>
                <a:gd name="T96" fmla="*/ 233 w 645"/>
                <a:gd name="T97" fmla="*/ 79 h 391"/>
                <a:gd name="T98" fmla="*/ 246 w 645"/>
                <a:gd name="T99" fmla="*/ 100 h 391"/>
                <a:gd name="T100" fmla="*/ 256 w 645"/>
                <a:gd name="T101" fmla="*/ 112 h 391"/>
                <a:gd name="T102" fmla="*/ 264 w 645"/>
                <a:gd name="T103" fmla="*/ 102 h 391"/>
                <a:gd name="T104" fmla="*/ 272 w 645"/>
                <a:gd name="T105" fmla="*/ 102 h 391"/>
                <a:gd name="T106" fmla="*/ 278 w 645"/>
                <a:gd name="T107" fmla="*/ 108 h 391"/>
                <a:gd name="T108" fmla="*/ 293 w 645"/>
                <a:gd name="T109" fmla="*/ 114 h 391"/>
                <a:gd name="T110" fmla="*/ 401 w 645"/>
                <a:gd name="T111" fmla="*/ 161 h 391"/>
                <a:gd name="T112" fmla="*/ 385 w 645"/>
                <a:gd name="T113" fmla="*/ 170 h 391"/>
                <a:gd name="T114" fmla="*/ 407 w 645"/>
                <a:gd name="T115" fmla="*/ 166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5" h="391">
                  <a:moveTo>
                    <a:pt x="502" y="180"/>
                  </a:moveTo>
                  <a:lnTo>
                    <a:pt x="504" y="174"/>
                  </a:lnTo>
                  <a:lnTo>
                    <a:pt x="502" y="170"/>
                  </a:lnTo>
                  <a:lnTo>
                    <a:pt x="496" y="168"/>
                  </a:lnTo>
                  <a:lnTo>
                    <a:pt x="494" y="166"/>
                  </a:lnTo>
                  <a:lnTo>
                    <a:pt x="487" y="166"/>
                  </a:lnTo>
                  <a:lnTo>
                    <a:pt x="487" y="164"/>
                  </a:lnTo>
                  <a:lnTo>
                    <a:pt x="485" y="161"/>
                  </a:lnTo>
                  <a:lnTo>
                    <a:pt x="485" y="161"/>
                  </a:lnTo>
                  <a:lnTo>
                    <a:pt x="481" y="159"/>
                  </a:lnTo>
                  <a:lnTo>
                    <a:pt x="479" y="159"/>
                  </a:lnTo>
                  <a:lnTo>
                    <a:pt x="477" y="157"/>
                  </a:lnTo>
                  <a:lnTo>
                    <a:pt x="477" y="157"/>
                  </a:lnTo>
                  <a:lnTo>
                    <a:pt x="475" y="155"/>
                  </a:lnTo>
                  <a:lnTo>
                    <a:pt x="473" y="153"/>
                  </a:lnTo>
                  <a:lnTo>
                    <a:pt x="471" y="155"/>
                  </a:lnTo>
                  <a:lnTo>
                    <a:pt x="471" y="153"/>
                  </a:lnTo>
                  <a:lnTo>
                    <a:pt x="471" y="153"/>
                  </a:lnTo>
                  <a:lnTo>
                    <a:pt x="471" y="153"/>
                  </a:lnTo>
                  <a:lnTo>
                    <a:pt x="471" y="153"/>
                  </a:lnTo>
                  <a:lnTo>
                    <a:pt x="469" y="153"/>
                  </a:lnTo>
                  <a:lnTo>
                    <a:pt x="467" y="153"/>
                  </a:lnTo>
                  <a:lnTo>
                    <a:pt x="465" y="153"/>
                  </a:lnTo>
                  <a:lnTo>
                    <a:pt x="463" y="153"/>
                  </a:lnTo>
                  <a:lnTo>
                    <a:pt x="461" y="153"/>
                  </a:lnTo>
                  <a:lnTo>
                    <a:pt x="457" y="155"/>
                  </a:lnTo>
                  <a:lnTo>
                    <a:pt x="457" y="155"/>
                  </a:lnTo>
                  <a:lnTo>
                    <a:pt x="453" y="157"/>
                  </a:lnTo>
                  <a:lnTo>
                    <a:pt x="451" y="157"/>
                  </a:lnTo>
                  <a:lnTo>
                    <a:pt x="448" y="157"/>
                  </a:lnTo>
                  <a:lnTo>
                    <a:pt x="446" y="157"/>
                  </a:lnTo>
                  <a:lnTo>
                    <a:pt x="446" y="159"/>
                  </a:lnTo>
                  <a:lnTo>
                    <a:pt x="444" y="157"/>
                  </a:lnTo>
                  <a:lnTo>
                    <a:pt x="440" y="149"/>
                  </a:lnTo>
                  <a:lnTo>
                    <a:pt x="440" y="149"/>
                  </a:lnTo>
                  <a:lnTo>
                    <a:pt x="438" y="147"/>
                  </a:lnTo>
                  <a:lnTo>
                    <a:pt x="434" y="143"/>
                  </a:lnTo>
                  <a:lnTo>
                    <a:pt x="432" y="143"/>
                  </a:lnTo>
                  <a:lnTo>
                    <a:pt x="432" y="141"/>
                  </a:lnTo>
                  <a:lnTo>
                    <a:pt x="430" y="141"/>
                  </a:lnTo>
                  <a:lnTo>
                    <a:pt x="430" y="141"/>
                  </a:lnTo>
                  <a:lnTo>
                    <a:pt x="430" y="143"/>
                  </a:lnTo>
                  <a:lnTo>
                    <a:pt x="428" y="143"/>
                  </a:lnTo>
                  <a:lnTo>
                    <a:pt x="428" y="143"/>
                  </a:lnTo>
                  <a:lnTo>
                    <a:pt x="426" y="143"/>
                  </a:lnTo>
                  <a:lnTo>
                    <a:pt x="426" y="143"/>
                  </a:lnTo>
                  <a:lnTo>
                    <a:pt x="426" y="145"/>
                  </a:lnTo>
                  <a:lnTo>
                    <a:pt x="426" y="145"/>
                  </a:lnTo>
                  <a:lnTo>
                    <a:pt x="426" y="145"/>
                  </a:lnTo>
                  <a:lnTo>
                    <a:pt x="424" y="145"/>
                  </a:lnTo>
                  <a:lnTo>
                    <a:pt x="424" y="145"/>
                  </a:lnTo>
                  <a:lnTo>
                    <a:pt x="422" y="147"/>
                  </a:lnTo>
                  <a:lnTo>
                    <a:pt x="418" y="155"/>
                  </a:lnTo>
                  <a:lnTo>
                    <a:pt x="426" y="168"/>
                  </a:lnTo>
                  <a:lnTo>
                    <a:pt x="426" y="168"/>
                  </a:lnTo>
                  <a:lnTo>
                    <a:pt x="428" y="168"/>
                  </a:lnTo>
                  <a:lnTo>
                    <a:pt x="430" y="168"/>
                  </a:lnTo>
                  <a:lnTo>
                    <a:pt x="432" y="170"/>
                  </a:lnTo>
                  <a:lnTo>
                    <a:pt x="436" y="172"/>
                  </a:lnTo>
                  <a:lnTo>
                    <a:pt x="438" y="172"/>
                  </a:lnTo>
                  <a:lnTo>
                    <a:pt x="438" y="172"/>
                  </a:lnTo>
                  <a:lnTo>
                    <a:pt x="440" y="172"/>
                  </a:lnTo>
                  <a:lnTo>
                    <a:pt x="440" y="170"/>
                  </a:lnTo>
                  <a:lnTo>
                    <a:pt x="444" y="170"/>
                  </a:lnTo>
                  <a:lnTo>
                    <a:pt x="444" y="172"/>
                  </a:lnTo>
                  <a:lnTo>
                    <a:pt x="446" y="172"/>
                  </a:lnTo>
                  <a:lnTo>
                    <a:pt x="446" y="174"/>
                  </a:lnTo>
                  <a:lnTo>
                    <a:pt x="446" y="176"/>
                  </a:lnTo>
                  <a:lnTo>
                    <a:pt x="446" y="176"/>
                  </a:lnTo>
                  <a:lnTo>
                    <a:pt x="448" y="178"/>
                  </a:lnTo>
                  <a:lnTo>
                    <a:pt x="448" y="180"/>
                  </a:lnTo>
                  <a:lnTo>
                    <a:pt x="448" y="190"/>
                  </a:lnTo>
                  <a:lnTo>
                    <a:pt x="451" y="194"/>
                  </a:lnTo>
                  <a:lnTo>
                    <a:pt x="453" y="196"/>
                  </a:lnTo>
                  <a:lnTo>
                    <a:pt x="459" y="196"/>
                  </a:lnTo>
                  <a:lnTo>
                    <a:pt x="461" y="194"/>
                  </a:lnTo>
                  <a:lnTo>
                    <a:pt x="463" y="194"/>
                  </a:lnTo>
                  <a:lnTo>
                    <a:pt x="463" y="194"/>
                  </a:lnTo>
                  <a:lnTo>
                    <a:pt x="463" y="194"/>
                  </a:lnTo>
                  <a:lnTo>
                    <a:pt x="465" y="194"/>
                  </a:lnTo>
                  <a:lnTo>
                    <a:pt x="469" y="194"/>
                  </a:lnTo>
                  <a:lnTo>
                    <a:pt x="475" y="190"/>
                  </a:lnTo>
                  <a:lnTo>
                    <a:pt x="477" y="190"/>
                  </a:lnTo>
                  <a:lnTo>
                    <a:pt x="481" y="190"/>
                  </a:lnTo>
                  <a:lnTo>
                    <a:pt x="483" y="190"/>
                  </a:lnTo>
                  <a:lnTo>
                    <a:pt x="485" y="190"/>
                  </a:lnTo>
                  <a:lnTo>
                    <a:pt x="487" y="190"/>
                  </a:lnTo>
                  <a:lnTo>
                    <a:pt x="496" y="186"/>
                  </a:lnTo>
                  <a:lnTo>
                    <a:pt x="500" y="184"/>
                  </a:lnTo>
                  <a:lnTo>
                    <a:pt x="502" y="180"/>
                  </a:lnTo>
                  <a:close/>
                  <a:moveTo>
                    <a:pt x="436" y="194"/>
                  </a:moveTo>
                  <a:lnTo>
                    <a:pt x="434" y="192"/>
                  </a:lnTo>
                  <a:lnTo>
                    <a:pt x="432" y="194"/>
                  </a:lnTo>
                  <a:lnTo>
                    <a:pt x="430" y="194"/>
                  </a:lnTo>
                  <a:lnTo>
                    <a:pt x="426" y="196"/>
                  </a:lnTo>
                  <a:lnTo>
                    <a:pt x="422" y="198"/>
                  </a:lnTo>
                  <a:lnTo>
                    <a:pt x="420" y="200"/>
                  </a:lnTo>
                  <a:lnTo>
                    <a:pt x="420" y="202"/>
                  </a:lnTo>
                  <a:lnTo>
                    <a:pt x="422" y="204"/>
                  </a:lnTo>
                  <a:lnTo>
                    <a:pt x="424" y="204"/>
                  </a:lnTo>
                  <a:lnTo>
                    <a:pt x="428" y="202"/>
                  </a:lnTo>
                  <a:lnTo>
                    <a:pt x="428" y="202"/>
                  </a:lnTo>
                  <a:lnTo>
                    <a:pt x="434" y="202"/>
                  </a:lnTo>
                  <a:lnTo>
                    <a:pt x="436" y="202"/>
                  </a:lnTo>
                  <a:lnTo>
                    <a:pt x="438" y="200"/>
                  </a:lnTo>
                  <a:lnTo>
                    <a:pt x="436" y="200"/>
                  </a:lnTo>
                  <a:lnTo>
                    <a:pt x="436" y="194"/>
                  </a:lnTo>
                  <a:close/>
                  <a:moveTo>
                    <a:pt x="635" y="313"/>
                  </a:moveTo>
                  <a:lnTo>
                    <a:pt x="629" y="311"/>
                  </a:lnTo>
                  <a:lnTo>
                    <a:pt x="625" y="307"/>
                  </a:lnTo>
                  <a:lnTo>
                    <a:pt x="625" y="305"/>
                  </a:lnTo>
                  <a:lnTo>
                    <a:pt x="623" y="299"/>
                  </a:lnTo>
                  <a:lnTo>
                    <a:pt x="623" y="297"/>
                  </a:lnTo>
                  <a:lnTo>
                    <a:pt x="620" y="295"/>
                  </a:lnTo>
                  <a:lnTo>
                    <a:pt x="618" y="295"/>
                  </a:lnTo>
                  <a:lnTo>
                    <a:pt x="612" y="297"/>
                  </a:lnTo>
                  <a:lnTo>
                    <a:pt x="612" y="295"/>
                  </a:lnTo>
                  <a:lnTo>
                    <a:pt x="610" y="293"/>
                  </a:lnTo>
                  <a:lnTo>
                    <a:pt x="610" y="284"/>
                  </a:lnTo>
                  <a:lnTo>
                    <a:pt x="610" y="280"/>
                  </a:lnTo>
                  <a:lnTo>
                    <a:pt x="610" y="278"/>
                  </a:lnTo>
                  <a:lnTo>
                    <a:pt x="600" y="268"/>
                  </a:lnTo>
                  <a:lnTo>
                    <a:pt x="596" y="266"/>
                  </a:lnTo>
                  <a:lnTo>
                    <a:pt x="580" y="258"/>
                  </a:lnTo>
                  <a:lnTo>
                    <a:pt x="567" y="254"/>
                  </a:lnTo>
                  <a:lnTo>
                    <a:pt x="561" y="252"/>
                  </a:lnTo>
                  <a:lnTo>
                    <a:pt x="557" y="250"/>
                  </a:lnTo>
                  <a:lnTo>
                    <a:pt x="555" y="248"/>
                  </a:lnTo>
                  <a:lnTo>
                    <a:pt x="555" y="250"/>
                  </a:lnTo>
                  <a:lnTo>
                    <a:pt x="553" y="250"/>
                  </a:lnTo>
                  <a:lnTo>
                    <a:pt x="551" y="250"/>
                  </a:lnTo>
                  <a:lnTo>
                    <a:pt x="551" y="250"/>
                  </a:lnTo>
                  <a:lnTo>
                    <a:pt x="549" y="248"/>
                  </a:lnTo>
                  <a:lnTo>
                    <a:pt x="547" y="248"/>
                  </a:lnTo>
                  <a:lnTo>
                    <a:pt x="545" y="245"/>
                  </a:lnTo>
                  <a:lnTo>
                    <a:pt x="543" y="243"/>
                  </a:lnTo>
                  <a:lnTo>
                    <a:pt x="534" y="241"/>
                  </a:lnTo>
                  <a:lnTo>
                    <a:pt x="534" y="239"/>
                  </a:lnTo>
                  <a:lnTo>
                    <a:pt x="534" y="239"/>
                  </a:lnTo>
                  <a:lnTo>
                    <a:pt x="534" y="237"/>
                  </a:lnTo>
                  <a:lnTo>
                    <a:pt x="534" y="237"/>
                  </a:lnTo>
                  <a:lnTo>
                    <a:pt x="532" y="237"/>
                  </a:lnTo>
                  <a:lnTo>
                    <a:pt x="530" y="235"/>
                  </a:lnTo>
                  <a:lnTo>
                    <a:pt x="522" y="233"/>
                  </a:lnTo>
                  <a:lnTo>
                    <a:pt x="518" y="233"/>
                  </a:lnTo>
                  <a:lnTo>
                    <a:pt x="516" y="235"/>
                  </a:lnTo>
                  <a:lnTo>
                    <a:pt x="514" y="239"/>
                  </a:lnTo>
                  <a:lnTo>
                    <a:pt x="514" y="243"/>
                  </a:lnTo>
                  <a:lnTo>
                    <a:pt x="514" y="248"/>
                  </a:lnTo>
                  <a:lnTo>
                    <a:pt x="516" y="252"/>
                  </a:lnTo>
                  <a:lnTo>
                    <a:pt x="522" y="260"/>
                  </a:lnTo>
                  <a:lnTo>
                    <a:pt x="524" y="260"/>
                  </a:lnTo>
                  <a:lnTo>
                    <a:pt x="524" y="262"/>
                  </a:lnTo>
                  <a:lnTo>
                    <a:pt x="524" y="264"/>
                  </a:lnTo>
                  <a:lnTo>
                    <a:pt x="524" y="266"/>
                  </a:lnTo>
                  <a:lnTo>
                    <a:pt x="520" y="268"/>
                  </a:lnTo>
                  <a:lnTo>
                    <a:pt x="518" y="268"/>
                  </a:lnTo>
                  <a:lnTo>
                    <a:pt x="514" y="276"/>
                  </a:lnTo>
                  <a:lnTo>
                    <a:pt x="514" y="276"/>
                  </a:lnTo>
                  <a:lnTo>
                    <a:pt x="510" y="280"/>
                  </a:lnTo>
                  <a:lnTo>
                    <a:pt x="506" y="282"/>
                  </a:lnTo>
                  <a:lnTo>
                    <a:pt x="504" y="284"/>
                  </a:lnTo>
                  <a:lnTo>
                    <a:pt x="504" y="286"/>
                  </a:lnTo>
                  <a:lnTo>
                    <a:pt x="502" y="286"/>
                  </a:lnTo>
                  <a:lnTo>
                    <a:pt x="500" y="289"/>
                  </a:lnTo>
                  <a:lnTo>
                    <a:pt x="498" y="291"/>
                  </a:lnTo>
                  <a:lnTo>
                    <a:pt x="496" y="295"/>
                  </a:lnTo>
                  <a:lnTo>
                    <a:pt x="498" y="299"/>
                  </a:lnTo>
                  <a:lnTo>
                    <a:pt x="500" y="303"/>
                  </a:lnTo>
                  <a:lnTo>
                    <a:pt x="502" y="305"/>
                  </a:lnTo>
                  <a:lnTo>
                    <a:pt x="506" y="309"/>
                  </a:lnTo>
                  <a:lnTo>
                    <a:pt x="506" y="313"/>
                  </a:lnTo>
                  <a:lnTo>
                    <a:pt x="506" y="315"/>
                  </a:lnTo>
                  <a:lnTo>
                    <a:pt x="508" y="317"/>
                  </a:lnTo>
                  <a:lnTo>
                    <a:pt x="508" y="319"/>
                  </a:lnTo>
                  <a:lnTo>
                    <a:pt x="508" y="321"/>
                  </a:lnTo>
                  <a:lnTo>
                    <a:pt x="510" y="325"/>
                  </a:lnTo>
                  <a:lnTo>
                    <a:pt x="510" y="325"/>
                  </a:lnTo>
                  <a:lnTo>
                    <a:pt x="512" y="325"/>
                  </a:lnTo>
                  <a:lnTo>
                    <a:pt x="512" y="325"/>
                  </a:lnTo>
                  <a:lnTo>
                    <a:pt x="512" y="325"/>
                  </a:lnTo>
                  <a:lnTo>
                    <a:pt x="512" y="327"/>
                  </a:lnTo>
                  <a:lnTo>
                    <a:pt x="512" y="327"/>
                  </a:lnTo>
                  <a:lnTo>
                    <a:pt x="514" y="338"/>
                  </a:lnTo>
                  <a:lnTo>
                    <a:pt x="516" y="340"/>
                  </a:lnTo>
                  <a:lnTo>
                    <a:pt x="516" y="342"/>
                  </a:lnTo>
                  <a:lnTo>
                    <a:pt x="516" y="342"/>
                  </a:lnTo>
                  <a:lnTo>
                    <a:pt x="514" y="362"/>
                  </a:lnTo>
                  <a:lnTo>
                    <a:pt x="514" y="370"/>
                  </a:lnTo>
                  <a:lnTo>
                    <a:pt x="514" y="375"/>
                  </a:lnTo>
                  <a:lnTo>
                    <a:pt x="516" y="375"/>
                  </a:lnTo>
                  <a:lnTo>
                    <a:pt x="516" y="375"/>
                  </a:lnTo>
                  <a:lnTo>
                    <a:pt x="516" y="377"/>
                  </a:lnTo>
                  <a:lnTo>
                    <a:pt x="518" y="379"/>
                  </a:lnTo>
                  <a:lnTo>
                    <a:pt x="518" y="379"/>
                  </a:lnTo>
                  <a:lnTo>
                    <a:pt x="518" y="381"/>
                  </a:lnTo>
                  <a:lnTo>
                    <a:pt x="522" y="379"/>
                  </a:lnTo>
                  <a:lnTo>
                    <a:pt x="526" y="381"/>
                  </a:lnTo>
                  <a:lnTo>
                    <a:pt x="532" y="383"/>
                  </a:lnTo>
                  <a:lnTo>
                    <a:pt x="537" y="385"/>
                  </a:lnTo>
                  <a:lnTo>
                    <a:pt x="539" y="387"/>
                  </a:lnTo>
                  <a:lnTo>
                    <a:pt x="541" y="391"/>
                  </a:lnTo>
                  <a:lnTo>
                    <a:pt x="541" y="391"/>
                  </a:lnTo>
                  <a:lnTo>
                    <a:pt x="543" y="391"/>
                  </a:lnTo>
                  <a:lnTo>
                    <a:pt x="545" y="389"/>
                  </a:lnTo>
                  <a:lnTo>
                    <a:pt x="547" y="389"/>
                  </a:lnTo>
                  <a:lnTo>
                    <a:pt x="547" y="387"/>
                  </a:lnTo>
                  <a:lnTo>
                    <a:pt x="553" y="381"/>
                  </a:lnTo>
                  <a:lnTo>
                    <a:pt x="555" y="375"/>
                  </a:lnTo>
                  <a:lnTo>
                    <a:pt x="555" y="373"/>
                  </a:lnTo>
                  <a:lnTo>
                    <a:pt x="561" y="366"/>
                  </a:lnTo>
                  <a:lnTo>
                    <a:pt x="563" y="366"/>
                  </a:lnTo>
                  <a:lnTo>
                    <a:pt x="569" y="364"/>
                  </a:lnTo>
                  <a:lnTo>
                    <a:pt x="569" y="362"/>
                  </a:lnTo>
                  <a:lnTo>
                    <a:pt x="573" y="360"/>
                  </a:lnTo>
                  <a:lnTo>
                    <a:pt x="575" y="358"/>
                  </a:lnTo>
                  <a:lnTo>
                    <a:pt x="577" y="358"/>
                  </a:lnTo>
                  <a:lnTo>
                    <a:pt x="577" y="358"/>
                  </a:lnTo>
                  <a:lnTo>
                    <a:pt x="582" y="354"/>
                  </a:lnTo>
                  <a:lnTo>
                    <a:pt x="586" y="352"/>
                  </a:lnTo>
                  <a:lnTo>
                    <a:pt x="586" y="350"/>
                  </a:lnTo>
                  <a:lnTo>
                    <a:pt x="588" y="350"/>
                  </a:lnTo>
                  <a:lnTo>
                    <a:pt x="598" y="350"/>
                  </a:lnTo>
                  <a:lnTo>
                    <a:pt x="600" y="350"/>
                  </a:lnTo>
                  <a:lnTo>
                    <a:pt x="608" y="348"/>
                  </a:lnTo>
                  <a:lnTo>
                    <a:pt x="612" y="346"/>
                  </a:lnTo>
                  <a:lnTo>
                    <a:pt x="614" y="346"/>
                  </a:lnTo>
                  <a:lnTo>
                    <a:pt x="616" y="344"/>
                  </a:lnTo>
                  <a:lnTo>
                    <a:pt x="618" y="344"/>
                  </a:lnTo>
                  <a:lnTo>
                    <a:pt x="631" y="336"/>
                  </a:lnTo>
                  <a:lnTo>
                    <a:pt x="631" y="334"/>
                  </a:lnTo>
                  <a:lnTo>
                    <a:pt x="641" y="329"/>
                  </a:lnTo>
                  <a:lnTo>
                    <a:pt x="641" y="327"/>
                  </a:lnTo>
                  <a:lnTo>
                    <a:pt x="643" y="323"/>
                  </a:lnTo>
                  <a:lnTo>
                    <a:pt x="643" y="321"/>
                  </a:lnTo>
                  <a:lnTo>
                    <a:pt x="645" y="319"/>
                  </a:lnTo>
                  <a:lnTo>
                    <a:pt x="635" y="313"/>
                  </a:lnTo>
                  <a:close/>
                  <a:moveTo>
                    <a:pt x="418" y="127"/>
                  </a:moveTo>
                  <a:lnTo>
                    <a:pt x="414" y="127"/>
                  </a:lnTo>
                  <a:lnTo>
                    <a:pt x="412" y="127"/>
                  </a:lnTo>
                  <a:lnTo>
                    <a:pt x="412" y="127"/>
                  </a:lnTo>
                  <a:lnTo>
                    <a:pt x="410" y="127"/>
                  </a:lnTo>
                  <a:lnTo>
                    <a:pt x="410" y="127"/>
                  </a:lnTo>
                  <a:lnTo>
                    <a:pt x="410" y="127"/>
                  </a:lnTo>
                  <a:lnTo>
                    <a:pt x="407" y="127"/>
                  </a:lnTo>
                  <a:lnTo>
                    <a:pt x="407" y="127"/>
                  </a:lnTo>
                  <a:lnTo>
                    <a:pt x="405" y="127"/>
                  </a:lnTo>
                  <a:lnTo>
                    <a:pt x="405" y="127"/>
                  </a:lnTo>
                  <a:lnTo>
                    <a:pt x="397" y="127"/>
                  </a:lnTo>
                  <a:lnTo>
                    <a:pt x="395" y="127"/>
                  </a:lnTo>
                  <a:lnTo>
                    <a:pt x="393" y="127"/>
                  </a:lnTo>
                  <a:lnTo>
                    <a:pt x="389" y="123"/>
                  </a:lnTo>
                  <a:lnTo>
                    <a:pt x="387" y="123"/>
                  </a:lnTo>
                  <a:lnTo>
                    <a:pt x="387" y="123"/>
                  </a:lnTo>
                  <a:lnTo>
                    <a:pt x="387" y="125"/>
                  </a:lnTo>
                  <a:lnTo>
                    <a:pt x="387" y="125"/>
                  </a:lnTo>
                  <a:lnTo>
                    <a:pt x="385" y="125"/>
                  </a:lnTo>
                  <a:lnTo>
                    <a:pt x="381" y="125"/>
                  </a:lnTo>
                  <a:lnTo>
                    <a:pt x="379" y="123"/>
                  </a:lnTo>
                  <a:lnTo>
                    <a:pt x="362" y="123"/>
                  </a:lnTo>
                  <a:lnTo>
                    <a:pt x="362" y="123"/>
                  </a:lnTo>
                  <a:lnTo>
                    <a:pt x="360" y="120"/>
                  </a:lnTo>
                  <a:lnTo>
                    <a:pt x="358" y="120"/>
                  </a:lnTo>
                  <a:lnTo>
                    <a:pt x="358" y="120"/>
                  </a:lnTo>
                  <a:lnTo>
                    <a:pt x="356" y="120"/>
                  </a:lnTo>
                  <a:lnTo>
                    <a:pt x="356" y="120"/>
                  </a:lnTo>
                  <a:lnTo>
                    <a:pt x="354" y="120"/>
                  </a:lnTo>
                  <a:lnTo>
                    <a:pt x="354" y="120"/>
                  </a:lnTo>
                  <a:lnTo>
                    <a:pt x="354" y="123"/>
                  </a:lnTo>
                  <a:lnTo>
                    <a:pt x="354" y="123"/>
                  </a:lnTo>
                  <a:lnTo>
                    <a:pt x="354" y="125"/>
                  </a:lnTo>
                  <a:lnTo>
                    <a:pt x="350" y="127"/>
                  </a:lnTo>
                  <a:lnTo>
                    <a:pt x="350" y="129"/>
                  </a:lnTo>
                  <a:lnTo>
                    <a:pt x="348" y="131"/>
                  </a:lnTo>
                  <a:lnTo>
                    <a:pt x="348" y="133"/>
                  </a:lnTo>
                  <a:lnTo>
                    <a:pt x="348" y="135"/>
                  </a:lnTo>
                  <a:lnTo>
                    <a:pt x="350" y="135"/>
                  </a:lnTo>
                  <a:lnTo>
                    <a:pt x="352" y="137"/>
                  </a:lnTo>
                  <a:lnTo>
                    <a:pt x="354" y="137"/>
                  </a:lnTo>
                  <a:lnTo>
                    <a:pt x="356" y="135"/>
                  </a:lnTo>
                  <a:lnTo>
                    <a:pt x="358" y="135"/>
                  </a:lnTo>
                  <a:lnTo>
                    <a:pt x="367" y="135"/>
                  </a:lnTo>
                  <a:lnTo>
                    <a:pt x="377" y="135"/>
                  </a:lnTo>
                  <a:lnTo>
                    <a:pt x="379" y="135"/>
                  </a:lnTo>
                  <a:lnTo>
                    <a:pt x="389" y="139"/>
                  </a:lnTo>
                  <a:lnTo>
                    <a:pt x="395" y="141"/>
                  </a:lnTo>
                  <a:lnTo>
                    <a:pt x="399" y="141"/>
                  </a:lnTo>
                  <a:lnTo>
                    <a:pt x="403" y="139"/>
                  </a:lnTo>
                  <a:lnTo>
                    <a:pt x="407" y="139"/>
                  </a:lnTo>
                  <a:lnTo>
                    <a:pt x="414" y="135"/>
                  </a:lnTo>
                  <a:lnTo>
                    <a:pt x="416" y="133"/>
                  </a:lnTo>
                  <a:lnTo>
                    <a:pt x="418" y="127"/>
                  </a:lnTo>
                  <a:lnTo>
                    <a:pt x="418" y="127"/>
                  </a:lnTo>
                  <a:close/>
                  <a:moveTo>
                    <a:pt x="113" y="10"/>
                  </a:moveTo>
                  <a:lnTo>
                    <a:pt x="111" y="10"/>
                  </a:lnTo>
                  <a:lnTo>
                    <a:pt x="111" y="10"/>
                  </a:lnTo>
                  <a:lnTo>
                    <a:pt x="111" y="8"/>
                  </a:lnTo>
                  <a:lnTo>
                    <a:pt x="111" y="6"/>
                  </a:lnTo>
                  <a:lnTo>
                    <a:pt x="108" y="6"/>
                  </a:lnTo>
                  <a:lnTo>
                    <a:pt x="106" y="4"/>
                  </a:lnTo>
                  <a:lnTo>
                    <a:pt x="104" y="2"/>
                  </a:lnTo>
                  <a:lnTo>
                    <a:pt x="102" y="2"/>
                  </a:lnTo>
                  <a:lnTo>
                    <a:pt x="100" y="2"/>
                  </a:lnTo>
                  <a:lnTo>
                    <a:pt x="100" y="0"/>
                  </a:lnTo>
                  <a:lnTo>
                    <a:pt x="98" y="2"/>
                  </a:lnTo>
                  <a:lnTo>
                    <a:pt x="98" y="2"/>
                  </a:lnTo>
                  <a:lnTo>
                    <a:pt x="96" y="2"/>
                  </a:lnTo>
                  <a:lnTo>
                    <a:pt x="88" y="4"/>
                  </a:lnTo>
                  <a:lnTo>
                    <a:pt x="86" y="4"/>
                  </a:lnTo>
                  <a:lnTo>
                    <a:pt x="86" y="2"/>
                  </a:lnTo>
                  <a:lnTo>
                    <a:pt x="84" y="2"/>
                  </a:lnTo>
                  <a:lnTo>
                    <a:pt x="82" y="2"/>
                  </a:lnTo>
                  <a:lnTo>
                    <a:pt x="80" y="2"/>
                  </a:lnTo>
                  <a:lnTo>
                    <a:pt x="78" y="2"/>
                  </a:lnTo>
                  <a:lnTo>
                    <a:pt x="72" y="6"/>
                  </a:lnTo>
                  <a:lnTo>
                    <a:pt x="61" y="12"/>
                  </a:lnTo>
                  <a:lnTo>
                    <a:pt x="61" y="12"/>
                  </a:lnTo>
                  <a:lnTo>
                    <a:pt x="61" y="12"/>
                  </a:lnTo>
                  <a:lnTo>
                    <a:pt x="61" y="12"/>
                  </a:lnTo>
                  <a:lnTo>
                    <a:pt x="61" y="14"/>
                  </a:lnTo>
                  <a:lnTo>
                    <a:pt x="59" y="14"/>
                  </a:lnTo>
                  <a:lnTo>
                    <a:pt x="55" y="20"/>
                  </a:lnTo>
                  <a:lnTo>
                    <a:pt x="55" y="22"/>
                  </a:lnTo>
                  <a:lnTo>
                    <a:pt x="53" y="22"/>
                  </a:lnTo>
                  <a:lnTo>
                    <a:pt x="55" y="26"/>
                  </a:lnTo>
                  <a:lnTo>
                    <a:pt x="55" y="28"/>
                  </a:lnTo>
                  <a:lnTo>
                    <a:pt x="57" y="28"/>
                  </a:lnTo>
                  <a:lnTo>
                    <a:pt x="57" y="30"/>
                  </a:lnTo>
                  <a:lnTo>
                    <a:pt x="59" y="30"/>
                  </a:lnTo>
                  <a:lnTo>
                    <a:pt x="61" y="32"/>
                  </a:lnTo>
                  <a:lnTo>
                    <a:pt x="63" y="32"/>
                  </a:lnTo>
                  <a:lnTo>
                    <a:pt x="65" y="34"/>
                  </a:lnTo>
                  <a:lnTo>
                    <a:pt x="68" y="34"/>
                  </a:lnTo>
                  <a:lnTo>
                    <a:pt x="70" y="34"/>
                  </a:lnTo>
                  <a:lnTo>
                    <a:pt x="72" y="36"/>
                  </a:lnTo>
                  <a:lnTo>
                    <a:pt x="76" y="41"/>
                  </a:lnTo>
                  <a:lnTo>
                    <a:pt x="76" y="41"/>
                  </a:lnTo>
                  <a:lnTo>
                    <a:pt x="78" y="41"/>
                  </a:lnTo>
                  <a:lnTo>
                    <a:pt x="80" y="41"/>
                  </a:lnTo>
                  <a:lnTo>
                    <a:pt x="86" y="41"/>
                  </a:lnTo>
                  <a:lnTo>
                    <a:pt x="90" y="43"/>
                  </a:lnTo>
                  <a:lnTo>
                    <a:pt x="94" y="45"/>
                  </a:lnTo>
                  <a:lnTo>
                    <a:pt x="100" y="41"/>
                  </a:lnTo>
                  <a:lnTo>
                    <a:pt x="106" y="34"/>
                  </a:lnTo>
                  <a:lnTo>
                    <a:pt x="106" y="32"/>
                  </a:lnTo>
                  <a:lnTo>
                    <a:pt x="106" y="32"/>
                  </a:lnTo>
                  <a:lnTo>
                    <a:pt x="106" y="32"/>
                  </a:lnTo>
                  <a:lnTo>
                    <a:pt x="108" y="32"/>
                  </a:lnTo>
                  <a:lnTo>
                    <a:pt x="108" y="30"/>
                  </a:lnTo>
                  <a:lnTo>
                    <a:pt x="108" y="28"/>
                  </a:lnTo>
                  <a:lnTo>
                    <a:pt x="108" y="26"/>
                  </a:lnTo>
                  <a:lnTo>
                    <a:pt x="106" y="24"/>
                  </a:lnTo>
                  <a:lnTo>
                    <a:pt x="111" y="18"/>
                  </a:lnTo>
                  <a:lnTo>
                    <a:pt x="113" y="12"/>
                  </a:lnTo>
                  <a:lnTo>
                    <a:pt x="113" y="12"/>
                  </a:lnTo>
                  <a:lnTo>
                    <a:pt x="113" y="10"/>
                  </a:lnTo>
                  <a:close/>
                  <a:moveTo>
                    <a:pt x="18" y="26"/>
                  </a:moveTo>
                  <a:lnTo>
                    <a:pt x="16" y="28"/>
                  </a:lnTo>
                  <a:lnTo>
                    <a:pt x="16" y="28"/>
                  </a:lnTo>
                  <a:lnTo>
                    <a:pt x="12" y="32"/>
                  </a:lnTo>
                  <a:lnTo>
                    <a:pt x="12" y="32"/>
                  </a:lnTo>
                  <a:lnTo>
                    <a:pt x="10" y="34"/>
                  </a:lnTo>
                  <a:lnTo>
                    <a:pt x="10" y="36"/>
                  </a:lnTo>
                  <a:lnTo>
                    <a:pt x="6" y="36"/>
                  </a:lnTo>
                  <a:lnTo>
                    <a:pt x="2" y="43"/>
                  </a:lnTo>
                  <a:lnTo>
                    <a:pt x="0" y="45"/>
                  </a:lnTo>
                  <a:lnTo>
                    <a:pt x="0" y="49"/>
                  </a:lnTo>
                  <a:lnTo>
                    <a:pt x="0" y="51"/>
                  </a:lnTo>
                  <a:lnTo>
                    <a:pt x="4" y="53"/>
                  </a:lnTo>
                  <a:lnTo>
                    <a:pt x="4" y="53"/>
                  </a:lnTo>
                  <a:lnTo>
                    <a:pt x="6" y="53"/>
                  </a:lnTo>
                  <a:lnTo>
                    <a:pt x="6" y="51"/>
                  </a:lnTo>
                  <a:lnTo>
                    <a:pt x="8" y="49"/>
                  </a:lnTo>
                  <a:lnTo>
                    <a:pt x="8" y="47"/>
                  </a:lnTo>
                  <a:lnTo>
                    <a:pt x="12" y="43"/>
                  </a:lnTo>
                  <a:lnTo>
                    <a:pt x="12" y="43"/>
                  </a:lnTo>
                  <a:lnTo>
                    <a:pt x="16" y="43"/>
                  </a:lnTo>
                  <a:lnTo>
                    <a:pt x="16" y="41"/>
                  </a:lnTo>
                  <a:lnTo>
                    <a:pt x="18" y="41"/>
                  </a:lnTo>
                  <a:lnTo>
                    <a:pt x="20" y="38"/>
                  </a:lnTo>
                  <a:lnTo>
                    <a:pt x="20" y="36"/>
                  </a:lnTo>
                  <a:lnTo>
                    <a:pt x="20" y="32"/>
                  </a:lnTo>
                  <a:lnTo>
                    <a:pt x="22" y="30"/>
                  </a:lnTo>
                  <a:lnTo>
                    <a:pt x="25" y="28"/>
                  </a:lnTo>
                  <a:lnTo>
                    <a:pt x="22" y="26"/>
                  </a:lnTo>
                  <a:lnTo>
                    <a:pt x="18" y="26"/>
                  </a:lnTo>
                  <a:close/>
                  <a:moveTo>
                    <a:pt x="301" y="104"/>
                  </a:moveTo>
                  <a:lnTo>
                    <a:pt x="301" y="102"/>
                  </a:lnTo>
                  <a:lnTo>
                    <a:pt x="301" y="100"/>
                  </a:lnTo>
                  <a:lnTo>
                    <a:pt x="301" y="98"/>
                  </a:lnTo>
                  <a:lnTo>
                    <a:pt x="299" y="98"/>
                  </a:lnTo>
                  <a:lnTo>
                    <a:pt x="297" y="98"/>
                  </a:lnTo>
                  <a:lnTo>
                    <a:pt x="297" y="96"/>
                  </a:lnTo>
                  <a:lnTo>
                    <a:pt x="297" y="94"/>
                  </a:lnTo>
                  <a:lnTo>
                    <a:pt x="299" y="92"/>
                  </a:lnTo>
                  <a:lnTo>
                    <a:pt x="293" y="92"/>
                  </a:lnTo>
                  <a:lnTo>
                    <a:pt x="291" y="92"/>
                  </a:lnTo>
                  <a:lnTo>
                    <a:pt x="295" y="96"/>
                  </a:lnTo>
                  <a:lnTo>
                    <a:pt x="293" y="96"/>
                  </a:lnTo>
                  <a:lnTo>
                    <a:pt x="291" y="96"/>
                  </a:lnTo>
                  <a:lnTo>
                    <a:pt x="291" y="96"/>
                  </a:lnTo>
                  <a:lnTo>
                    <a:pt x="291" y="96"/>
                  </a:lnTo>
                  <a:lnTo>
                    <a:pt x="287" y="92"/>
                  </a:lnTo>
                  <a:lnTo>
                    <a:pt x="285" y="92"/>
                  </a:lnTo>
                  <a:lnTo>
                    <a:pt x="285" y="90"/>
                  </a:lnTo>
                  <a:lnTo>
                    <a:pt x="283" y="86"/>
                  </a:lnTo>
                  <a:lnTo>
                    <a:pt x="283" y="86"/>
                  </a:lnTo>
                  <a:lnTo>
                    <a:pt x="283" y="86"/>
                  </a:lnTo>
                  <a:lnTo>
                    <a:pt x="285" y="86"/>
                  </a:lnTo>
                  <a:lnTo>
                    <a:pt x="285" y="84"/>
                  </a:lnTo>
                  <a:lnTo>
                    <a:pt x="285" y="82"/>
                  </a:lnTo>
                  <a:lnTo>
                    <a:pt x="283" y="82"/>
                  </a:lnTo>
                  <a:lnTo>
                    <a:pt x="281" y="79"/>
                  </a:lnTo>
                  <a:lnTo>
                    <a:pt x="278" y="75"/>
                  </a:lnTo>
                  <a:lnTo>
                    <a:pt x="276" y="73"/>
                  </a:lnTo>
                  <a:lnTo>
                    <a:pt x="276" y="71"/>
                  </a:lnTo>
                  <a:lnTo>
                    <a:pt x="274" y="69"/>
                  </a:lnTo>
                  <a:lnTo>
                    <a:pt x="272" y="67"/>
                  </a:lnTo>
                  <a:lnTo>
                    <a:pt x="272" y="65"/>
                  </a:lnTo>
                  <a:lnTo>
                    <a:pt x="270" y="65"/>
                  </a:lnTo>
                  <a:lnTo>
                    <a:pt x="268" y="63"/>
                  </a:lnTo>
                  <a:lnTo>
                    <a:pt x="268" y="63"/>
                  </a:lnTo>
                  <a:lnTo>
                    <a:pt x="268" y="63"/>
                  </a:lnTo>
                  <a:lnTo>
                    <a:pt x="268" y="63"/>
                  </a:lnTo>
                  <a:lnTo>
                    <a:pt x="262" y="65"/>
                  </a:lnTo>
                  <a:lnTo>
                    <a:pt x="260" y="67"/>
                  </a:lnTo>
                  <a:lnTo>
                    <a:pt x="258" y="69"/>
                  </a:lnTo>
                  <a:lnTo>
                    <a:pt x="258" y="71"/>
                  </a:lnTo>
                  <a:lnTo>
                    <a:pt x="256" y="71"/>
                  </a:lnTo>
                  <a:lnTo>
                    <a:pt x="256" y="71"/>
                  </a:lnTo>
                  <a:lnTo>
                    <a:pt x="252" y="73"/>
                  </a:lnTo>
                  <a:lnTo>
                    <a:pt x="252" y="75"/>
                  </a:lnTo>
                  <a:lnTo>
                    <a:pt x="252" y="75"/>
                  </a:lnTo>
                  <a:lnTo>
                    <a:pt x="252" y="77"/>
                  </a:lnTo>
                  <a:lnTo>
                    <a:pt x="250" y="77"/>
                  </a:lnTo>
                  <a:lnTo>
                    <a:pt x="248" y="77"/>
                  </a:lnTo>
                  <a:lnTo>
                    <a:pt x="246" y="77"/>
                  </a:lnTo>
                  <a:lnTo>
                    <a:pt x="240" y="75"/>
                  </a:lnTo>
                  <a:lnTo>
                    <a:pt x="238" y="77"/>
                  </a:lnTo>
                  <a:lnTo>
                    <a:pt x="235" y="77"/>
                  </a:lnTo>
                  <a:lnTo>
                    <a:pt x="233" y="79"/>
                  </a:lnTo>
                  <a:lnTo>
                    <a:pt x="238" y="84"/>
                  </a:lnTo>
                  <a:lnTo>
                    <a:pt x="238" y="86"/>
                  </a:lnTo>
                  <a:lnTo>
                    <a:pt x="235" y="88"/>
                  </a:lnTo>
                  <a:lnTo>
                    <a:pt x="238" y="90"/>
                  </a:lnTo>
                  <a:lnTo>
                    <a:pt x="240" y="92"/>
                  </a:lnTo>
                  <a:lnTo>
                    <a:pt x="242" y="92"/>
                  </a:lnTo>
                  <a:lnTo>
                    <a:pt x="242" y="94"/>
                  </a:lnTo>
                  <a:lnTo>
                    <a:pt x="244" y="98"/>
                  </a:lnTo>
                  <a:lnTo>
                    <a:pt x="246" y="100"/>
                  </a:lnTo>
                  <a:lnTo>
                    <a:pt x="248" y="102"/>
                  </a:lnTo>
                  <a:lnTo>
                    <a:pt x="250" y="102"/>
                  </a:lnTo>
                  <a:lnTo>
                    <a:pt x="250" y="102"/>
                  </a:lnTo>
                  <a:lnTo>
                    <a:pt x="250" y="104"/>
                  </a:lnTo>
                  <a:lnTo>
                    <a:pt x="252" y="112"/>
                  </a:lnTo>
                  <a:lnTo>
                    <a:pt x="254" y="112"/>
                  </a:lnTo>
                  <a:lnTo>
                    <a:pt x="254" y="112"/>
                  </a:lnTo>
                  <a:lnTo>
                    <a:pt x="254" y="112"/>
                  </a:lnTo>
                  <a:lnTo>
                    <a:pt x="256" y="112"/>
                  </a:lnTo>
                  <a:lnTo>
                    <a:pt x="258" y="110"/>
                  </a:lnTo>
                  <a:lnTo>
                    <a:pt x="262" y="110"/>
                  </a:lnTo>
                  <a:lnTo>
                    <a:pt x="266" y="110"/>
                  </a:lnTo>
                  <a:lnTo>
                    <a:pt x="268" y="110"/>
                  </a:lnTo>
                  <a:lnTo>
                    <a:pt x="268" y="106"/>
                  </a:lnTo>
                  <a:lnTo>
                    <a:pt x="266" y="106"/>
                  </a:lnTo>
                  <a:lnTo>
                    <a:pt x="264" y="104"/>
                  </a:lnTo>
                  <a:lnTo>
                    <a:pt x="262" y="102"/>
                  </a:lnTo>
                  <a:lnTo>
                    <a:pt x="264" y="102"/>
                  </a:lnTo>
                  <a:lnTo>
                    <a:pt x="266" y="104"/>
                  </a:lnTo>
                  <a:lnTo>
                    <a:pt x="268" y="104"/>
                  </a:lnTo>
                  <a:lnTo>
                    <a:pt x="266" y="100"/>
                  </a:lnTo>
                  <a:lnTo>
                    <a:pt x="268" y="102"/>
                  </a:lnTo>
                  <a:lnTo>
                    <a:pt x="270" y="102"/>
                  </a:lnTo>
                  <a:lnTo>
                    <a:pt x="270" y="100"/>
                  </a:lnTo>
                  <a:lnTo>
                    <a:pt x="270" y="100"/>
                  </a:lnTo>
                  <a:lnTo>
                    <a:pt x="272" y="102"/>
                  </a:lnTo>
                  <a:lnTo>
                    <a:pt x="272" y="102"/>
                  </a:lnTo>
                  <a:lnTo>
                    <a:pt x="272" y="104"/>
                  </a:lnTo>
                  <a:lnTo>
                    <a:pt x="272" y="104"/>
                  </a:lnTo>
                  <a:lnTo>
                    <a:pt x="270" y="104"/>
                  </a:lnTo>
                  <a:lnTo>
                    <a:pt x="270" y="106"/>
                  </a:lnTo>
                  <a:lnTo>
                    <a:pt x="270" y="108"/>
                  </a:lnTo>
                  <a:lnTo>
                    <a:pt x="272" y="108"/>
                  </a:lnTo>
                  <a:lnTo>
                    <a:pt x="274" y="108"/>
                  </a:lnTo>
                  <a:lnTo>
                    <a:pt x="276" y="106"/>
                  </a:lnTo>
                  <a:lnTo>
                    <a:pt x="278" y="108"/>
                  </a:lnTo>
                  <a:lnTo>
                    <a:pt x="281" y="108"/>
                  </a:lnTo>
                  <a:lnTo>
                    <a:pt x="281" y="110"/>
                  </a:lnTo>
                  <a:lnTo>
                    <a:pt x="281" y="110"/>
                  </a:lnTo>
                  <a:lnTo>
                    <a:pt x="283" y="112"/>
                  </a:lnTo>
                  <a:lnTo>
                    <a:pt x="285" y="114"/>
                  </a:lnTo>
                  <a:lnTo>
                    <a:pt x="287" y="114"/>
                  </a:lnTo>
                  <a:lnTo>
                    <a:pt x="289" y="116"/>
                  </a:lnTo>
                  <a:lnTo>
                    <a:pt x="291" y="116"/>
                  </a:lnTo>
                  <a:lnTo>
                    <a:pt x="293" y="114"/>
                  </a:lnTo>
                  <a:lnTo>
                    <a:pt x="295" y="114"/>
                  </a:lnTo>
                  <a:lnTo>
                    <a:pt x="299" y="112"/>
                  </a:lnTo>
                  <a:lnTo>
                    <a:pt x="301" y="116"/>
                  </a:lnTo>
                  <a:lnTo>
                    <a:pt x="301" y="114"/>
                  </a:lnTo>
                  <a:lnTo>
                    <a:pt x="307" y="110"/>
                  </a:lnTo>
                  <a:lnTo>
                    <a:pt x="307" y="108"/>
                  </a:lnTo>
                  <a:lnTo>
                    <a:pt x="301" y="104"/>
                  </a:lnTo>
                  <a:close/>
                  <a:moveTo>
                    <a:pt x="403" y="161"/>
                  </a:moveTo>
                  <a:lnTo>
                    <a:pt x="401" y="161"/>
                  </a:lnTo>
                  <a:lnTo>
                    <a:pt x="399" y="161"/>
                  </a:lnTo>
                  <a:lnTo>
                    <a:pt x="393" y="155"/>
                  </a:lnTo>
                  <a:lnTo>
                    <a:pt x="381" y="155"/>
                  </a:lnTo>
                  <a:lnTo>
                    <a:pt x="377" y="157"/>
                  </a:lnTo>
                  <a:lnTo>
                    <a:pt x="379" y="161"/>
                  </a:lnTo>
                  <a:lnTo>
                    <a:pt x="383" y="164"/>
                  </a:lnTo>
                  <a:lnTo>
                    <a:pt x="385" y="166"/>
                  </a:lnTo>
                  <a:lnTo>
                    <a:pt x="385" y="168"/>
                  </a:lnTo>
                  <a:lnTo>
                    <a:pt x="385" y="170"/>
                  </a:lnTo>
                  <a:lnTo>
                    <a:pt x="385" y="174"/>
                  </a:lnTo>
                  <a:lnTo>
                    <a:pt x="387" y="176"/>
                  </a:lnTo>
                  <a:lnTo>
                    <a:pt x="389" y="178"/>
                  </a:lnTo>
                  <a:lnTo>
                    <a:pt x="393" y="178"/>
                  </a:lnTo>
                  <a:lnTo>
                    <a:pt x="399" y="176"/>
                  </a:lnTo>
                  <a:lnTo>
                    <a:pt x="403" y="174"/>
                  </a:lnTo>
                  <a:lnTo>
                    <a:pt x="405" y="170"/>
                  </a:lnTo>
                  <a:lnTo>
                    <a:pt x="407" y="168"/>
                  </a:lnTo>
                  <a:lnTo>
                    <a:pt x="407" y="166"/>
                  </a:lnTo>
                  <a:lnTo>
                    <a:pt x="405" y="166"/>
                  </a:lnTo>
                  <a:lnTo>
                    <a:pt x="403" y="161"/>
                  </a:lnTo>
                  <a:close/>
                </a:path>
              </a:pathLst>
            </a:custGeom>
            <a:solidFill>
              <a:schemeClr val="bg1">
                <a:lumMod val="75000"/>
              </a:schemeClr>
            </a:solidFill>
            <a:ln w="3175" cap="flat">
              <a:solidFill>
                <a:schemeClr val="bg1"/>
              </a:solidFill>
              <a:prstDash val="solid"/>
              <a:miter lim="800000"/>
              <a:headEnd/>
              <a:tailEnd/>
            </a:ln>
          </p:spPr>
          <p:txBody>
            <a:bodyPr vert="horz" wrap="square" lIns="0" tIns="0" rIns="72000" bIns="72000" numCol="1" anchor="b"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HI</a:t>
              </a:r>
            </a:p>
          </p:txBody>
        </p:sp>
        <p:sp>
          <p:nvSpPr>
            <p:cNvPr id="282" name="Freeform 45">
              <a:extLst>
                <a:ext uri="{FF2B5EF4-FFF2-40B4-BE49-F238E27FC236}">
                  <a16:creationId xmlns:a16="http://schemas.microsoft.com/office/drawing/2014/main" id="{49B5C63E-5942-A7FE-D29A-757FD3D66F74}"/>
                </a:ext>
              </a:extLst>
            </p:cNvPr>
            <p:cNvSpPr>
              <a:spLocks noEditPoints="1"/>
            </p:cNvSpPr>
            <p:nvPr/>
          </p:nvSpPr>
          <p:spPr bwMode="auto">
            <a:xfrm>
              <a:off x="4002" y="1545"/>
              <a:ext cx="475" cy="480"/>
            </a:xfrm>
            <a:custGeom>
              <a:avLst/>
              <a:gdLst>
                <a:gd name="T0" fmla="*/ 437 w 475"/>
                <a:gd name="T1" fmla="*/ 416 h 480"/>
                <a:gd name="T2" fmla="*/ 471 w 475"/>
                <a:gd name="T3" fmla="*/ 283 h 480"/>
                <a:gd name="T4" fmla="*/ 451 w 475"/>
                <a:gd name="T5" fmla="*/ 281 h 480"/>
                <a:gd name="T6" fmla="*/ 443 w 475"/>
                <a:gd name="T7" fmla="*/ 269 h 480"/>
                <a:gd name="T8" fmla="*/ 434 w 475"/>
                <a:gd name="T9" fmla="*/ 246 h 480"/>
                <a:gd name="T10" fmla="*/ 424 w 475"/>
                <a:gd name="T11" fmla="*/ 234 h 480"/>
                <a:gd name="T12" fmla="*/ 412 w 475"/>
                <a:gd name="T13" fmla="*/ 222 h 480"/>
                <a:gd name="T14" fmla="*/ 408 w 475"/>
                <a:gd name="T15" fmla="*/ 209 h 480"/>
                <a:gd name="T16" fmla="*/ 389 w 475"/>
                <a:gd name="T17" fmla="*/ 185 h 480"/>
                <a:gd name="T18" fmla="*/ 363 w 475"/>
                <a:gd name="T19" fmla="*/ 166 h 480"/>
                <a:gd name="T20" fmla="*/ 353 w 475"/>
                <a:gd name="T21" fmla="*/ 158 h 480"/>
                <a:gd name="T22" fmla="*/ 340 w 475"/>
                <a:gd name="T23" fmla="*/ 138 h 480"/>
                <a:gd name="T24" fmla="*/ 310 w 475"/>
                <a:gd name="T25" fmla="*/ 115 h 480"/>
                <a:gd name="T26" fmla="*/ 283 w 475"/>
                <a:gd name="T27" fmla="*/ 97 h 480"/>
                <a:gd name="T28" fmla="*/ 267 w 475"/>
                <a:gd name="T29" fmla="*/ 82 h 480"/>
                <a:gd name="T30" fmla="*/ 232 w 475"/>
                <a:gd name="T31" fmla="*/ 51 h 480"/>
                <a:gd name="T32" fmla="*/ 203 w 475"/>
                <a:gd name="T33" fmla="*/ 29 h 480"/>
                <a:gd name="T34" fmla="*/ 211 w 475"/>
                <a:gd name="T35" fmla="*/ 13 h 480"/>
                <a:gd name="T36" fmla="*/ 207 w 475"/>
                <a:gd name="T37" fmla="*/ 2 h 480"/>
                <a:gd name="T38" fmla="*/ 121 w 475"/>
                <a:gd name="T39" fmla="*/ 17 h 480"/>
                <a:gd name="T40" fmla="*/ 23 w 475"/>
                <a:gd name="T41" fmla="*/ 29 h 480"/>
                <a:gd name="T42" fmla="*/ 15 w 475"/>
                <a:gd name="T43" fmla="*/ 80 h 480"/>
                <a:gd name="T44" fmla="*/ 49 w 475"/>
                <a:gd name="T45" fmla="*/ 193 h 480"/>
                <a:gd name="T46" fmla="*/ 66 w 475"/>
                <a:gd name="T47" fmla="*/ 246 h 480"/>
                <a:gd name="T48" fmla="*/ 76 w 475"/>
                <a:gd name="T49" fmla="*/ 267 h 480"/>
                <a:gd name="T50" fmla="*/ 92 w 475"/>
                <a:gd name="T51" fmla="*/ 293 h 480"/>
                <a:gd name="T52" fmla="*/ 94 w 475"/>
                <a:gd name="T53" fmla="*/ 308 h 480"/>
                <a:gd name="T54" fmla="*/ 101 w 475"/>
                <a:gd name="T55" fmla="*/ 316 h 480"/>
                <a:gd name="T56" fmla="*/ 94 w 475"/>
                <a:gd name="T57" fmla="*/ 326 h 480"/>
                <a:gd name="T58" fmla="*/ 92 w 475"/>
                <a:gd name="T59" fmla="*/ 347 h 480"/>
                <a:gd name="T60" fmla="*/ 99 w 475"/>
                <a:gd name="T61" fmla="*/ 386 h 480"/>
                <a:gd name="T62" fmla="*/ 101 w 475"/>
                <a:gd name="T63" fmla="*/ 412 h 480"/>
                <a:gd name="T64" fmla="*/ 107 w 475"/>
                <a:gd name="T65" fmla="*/ 439 h 480"/>
                <a:gd name="T66" fmla="*/ 115 w 475"/>
                <a:gd name="T67" fmla="*/ 455 h 480"/>
                <a:gd name="T68" fmla="*/ 135 w 475"/>
                <a:gd name="T69" fmla="*/ 480 h 480"/>
                <a:gd name="T70" fmla="*/ 219 w 475"/>
                <a:gd name="T71" fmla="*/ 474 h 480"/>
                <a:gd name="T72" fmla="*/ 336 w 475"/>
                <a:gd name="T73" fmla="*/ 463 h 480"/>
                <a:gd name="T74" fmla="*/ 373 w 475"/>
                <a:gd name="T75" fmla="*/ 463 h 480"/>
                <a:gd name="T76" fmla="*/ 377 w 475"/>
                <a:gd name="T77" fmla="*/ 474 h 480"/>
                <a:gd name="T78" fmla="*/ 389 w 475"/>
                <a:gd name="T79" fmla="*/ 480 h 480"/>
                <a:gd name="T80" fmla="*/ 394 w 475"/>
                <a:gd name="T81" fmla="*/ 457 h 480"/>
                <a:gd name="T82" fmla="*/ 389 w 475"/>
                <a:gd name="T83" fmla="*/ 443 h 480"/>
                <a:gd name="T84" fmla="*/ 391 w 475"/>
                <a:gd name="T85" fmla="*/ 433 h 480"/>
                <a:gd name="T86" fmla="*/ 396 w 475"/>
                <a:gd name="T87" fmla="*/ 429 h 480"/>
                <a:gd name="T88" fmla="*/ 414 w 475"/>
                <a:gd name="T89" fmla="*/ 433 h 480"/>
                <a:gd name="T90" fmla="*/ 432 w 475"/>
                <a:gd name="T91" fmla="*/ 435 h 480"/>
                <a:gd name="T92" fmla="*/ 434 w 475"/>
                <a:gd name="T93" fmla="*/ 420 h 480"/>
                <a:gd name="T94" fmla="*/ 434 w 475"/>
                <a:gd name="T95" fmla="*/ 414 h 480"/>
                <a:gd name="T96" fmla="*/ 437 w 475"/>
                <a:gd name="T97" fmla="*/ 398 h 480"/>
                <a:gd name="T98" fmla="*/ 439 w 475"/>
                <a:gd name="T99" fmla="*/ 394 h 480"/>
                <a:gd name="T100" fmla="*/ 437 w 475"/>
                <a:gd name="T101" fmla="*/ 377 h 480"/>
                <a:gd name="T102" fmla="*/ 449 w 475"/>
                <a:gd name="T103" fmla="*/ 369 h 480"/>
                <a:gd name="T104" fmla="*/ 443 w 475"/>
                <a:gd name="T105" fmla="*/ 365 h 480"/>
                <a:gd name="T106" fmla="*/ 443 w 475"/>
                <a:gd name="T107" fmla="*/ 355 h 480"/>
                <a:gd name="T108" fmla="*/ 451 w 475"/>
                <a:gd name="T109" fmla="*/ 340 h 480"/>
                <a:gd name="T110" fmla="*/ 439 w 475"/>
                <a:gd name="T111" fmla="*/ 340 h 480"/>
                <a:gd name="T112" fmla="*/ 449 w 475"/>
                <a:gd name="T113" fmla="*/ 330 h 480"/>
                <a:gd name="T114" fmla="*/ 451 w 475"/>
                <a:gd name="T115" fmla="*/ 324 h 480"/>
                <a:gd name="T116" fmla="*/ 443 w 475"/>
                <a:gd name="T117" fmla="*/ 318 h 480"/>
                <a:gd name="T118" fmla="*/ 459 w 475"/>
                <a:gd name="T119" fmla="*/ 308 h 480"/>
                <a:gd name="T120" fmla="*/ 455 w 475"/>
                <a:gd name="T121" fmla="*/ 302 h 480"/>
                <a:gd name="T122" fmla="*/ 465 w 475"/>
                <a:gd name="T123" fmla="*/ 291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5" h="480">
                  <a:moveTo>
                    <a:pt x="441" y="424"/>
                  </a:moveTo>
                  <a:lnTo>
                    <a:pt x="441" y="424"/>
                  </a:lnTo>
                  <a:lnTo>
                    <a:pt x="443" y="420"/>
                  </a:lnTo>
                  <a:lnTo>
                    <a:pt x="443" y="416"/>
                  </a:lnTo>
                  <a:lnTo>
                    <a:pt x="443" y="412"/>
                  </a:lnTo>
                  <a:lnTo>
                    <a:pt x="443" y="410"/>
                  </a:lnTo>
                  <a:lnTo>
                    <a:pt x="443" y="406"/>
                  </a:lnTo>
                  <a:lnTo>
                    <a:pt x="441" y="404"/>
                  </a:lnTo>
                  <a:lnTo>
                    <a:pt x="441" y="404"/>
                  </a:lnTo>
                  <a:lnTo>
                    <a:pt x="441" y="408"/>
                  </a:lnTo>
                  <a:lnTo>
                    <a:pt x="437" y="412"/>
                  </a:lnTo>
                  <a:lnTo>
                    <a:pt x="437" y="416"/>
                  </a:lnTo>
                  <a:lnTo>
                    <a:pt x="437" y="416"/>
                  </a:lnTo>
                  <a:lnTo>
                    <a:pt x="439" y="418"/>
                  </a:lnTo>
                  <a:lnTo>
                    <a:pt x="439" y="420"/>
                  </a:lnTo>
                  <a:lnTo>
                    <a:pt x="439" y="420"/>
                  </a:lnTo>
                  <a:lnTo>
                    <a:pt x="439" y="422"/>
                  </a:lnTo>
                  <a:lnTo>
                    <a:pt x="441" y="431"/>
                  </a:lnTo>
                  <a:lnTo>
                    <a:pt x="443" y="431"/>
                  </a:lnTo>
                  <a:lnTo>
                    <a:pt x="443" y="431"/>
                  </a:lnTo>
                  <a:lnTo>
                    <a:pt x="443" y="429"/>
                  </a:lnTo>
                  <a:lnTo>
                    <a:pt x="441" y="424"/>
                  </a:lnTo>
                  <a:close/>
                  <a:moveTo>
                    <a:pt x="473" y="283"/>
                  </a:moveTo>
                  <a:lnTo>
                    <a:pt x="471" y="283"/>
                  </a:lnTo>
                  <a:lnTo>
                    <a:pt x="471" y="283"/>
                  </a:lnTo>
                  <a:lnTo>
                    <a:pt x="469" y="283"/>
                  </a:lnTo>
                  <a:lnTo>
                    <a:pt x="469" y="283"/>
                  </a:lnTo>
                  <a:lnTo>
                    <a:pt x="469" y="283"/>
                  </a:lnTo>
                  <a:lnTo>
                    <a:pt x="467" y="283"/>
                  </a:lnTo>
                  <a:lnTo>
                    <a:pt x="465" y="283"/>
                  </a:lnTo>
                  <a:lnTo>
                    <a:pt x="465" y="283"/>
                  </a:lnTo>
                  <a:lnTo>
                    <a:pt x="463" y="281"/>
                  </a:lnTo>
                  <a:lnTo>
                    <a:pt x="463" y="281"/>
                  </a:lnTo>
                  <a:lnTo>
                    <a:pt x="459" y="279"/>
                  </a:lnTo>
                  <a:lnTo>
                    <a:pt x="457" y="279"/>
                  </a:lnTo>
                  <a:lnTo>
                    <a:pt x="451" y="281"/>
                  </a:lnTo>
                  <a:lnTo>
                    <a:pt x="451" y="281"/>
                  </a:lnTo>
                  <a:lnTo>
                    <a:pt x="449" y="277"/>
                  </a:lnTo>
                  <a:lnTo>
                    <a:pt x="447" y="277"/>
                  </a:lnTo>
                  <a:lnTo>
                    <a:pt x="447" y="277"/>
                  </a:lnTo>
                  <a:lnTo>
                    <a:pt x="447" y="277"/>
                  </a:lnTo>
                  <a:lnTo>
                    <a:pt x="445" y="275"/>
                  </a:lnTo>
                  <a:lnTo>
                    <a:pt x="445" y="275"/>
                  </a:lnTo>
                  <a:lnTo>
                    <a:pt x="445" y="275"/>
                  </a:lnTo>
                  <a:lnTo>
                    <a:pt x="445" y="275"/>
                  </a:lnTo>
                  <a:lnTo>
                    <a:pt x="443" y="271"/>
                  </a:lnTo>
                  <a:lnTo>
                    <a:pt x="443" y="271"/>
                  </a:lnTo>
                  <a:lnTo>
                    <a:pt x="443" y="269"/>
                  </a:lnTo>
                  <a:lnTo>
                    <a:pt x="443" y="267"/>
                  </a:lnTo>
                  <a:lnTo>
                    <a:pt x="443" y="267"/>
                  </a:lnTo>
                  <a:lnTo>
                    <a:pt x="443" y="265"/>
                  </a:lnTo>
                  <a:lnTo>
                    <a:pt x="443" y="263"/>
                  </a:lnTo>
                  <a:lnTo>
                    <a:pt x="443" y="263"/>
                  </a:lnTo>
                  <a:lnTo>
                    <a:pt x="443" y="261"/>
                  </a:lnTo>
                  <a:lnTo>
                    <a:pt x="443" y="258"/>
                  </a:lnTo>
                  <a:lnTo>
                    <a:pt x="443" y="256"/>
                  </a:lnTo>
                  <a:lnTo>
                    <a:pt x="443" y="254"/>
                  </a:lnTo>
                  <a:lnTo>
                    <a:pt x="441" y="254"/>
                  </a:lnTo>
                  <a:lnTo>
                    <a:pt x="439" y="254"/>
                  </a:lnTo>
                  <a:lnTo>
                    <a:pt x="434" y="246"/>
                  </a:lnTo>
                  <a:lnTo>
                    <a:pt x="434" y="242"/>
                  </a:lnTo>
                  <a:lnTo>
                    <a:pt x="434" y="240"/>
                  </a:lnTo>
                  <a:lnTo>
                    <a:pt x="432" y="240"/>
                  </a:lnTo>
                  <a:lnTo>
                    <a:pt x="430" y="240"/>
                  </a:lnTo>
                  <a:lnTo>
                    <a:pt x="430" y="238"/>
                  </a:lnTo>
                  <a:lnTo>
                    <a:pt x="430" y="238"/>
                  </a:lnTo>
                  <a:lnTo>
                    <a:pt x="428" y="236"/>
                  </a:lnTo>
                  <a:lnTo>
                    <a:pt x="428" y="236"/>
                  </a:lnTo>
                  <a:lnTo>
                    <a:pt x="426" y="236"/>
                  </a:lnTo>
                  <a:lnTo>
                    <a:pt x="426" y="236"/>
                  </a:lnTo>
                  <a:lnTo>
                    <a:pt x="426" y="236"/>
                  </a:lnTo>
                  <a:lnTo>
                    <a:pt x="424" y="234"/>
                  </a:lnTo>
                  <a:lnTo>
                    <a:pt x="424" y="234"/>
                  </a:lnTo>
                  <a:lnTo>
                    <a:pt x="422" y="232"/>
                  </a:lnTo>
                  <a:lnTo>
                    <a:pt x="422" y="232"/>
                  </a:lnTo>
                  <a:lnTo>
                    <a:pt x="418" y="232"/>
                  </a:lnTo>
                  <a:lnTo>
                    <a:pt x="416" y="232"/>
                  </a:lnTo>
                  <a:lnTo>
                    <a:pt x="416" y="232"/>
                  </a:lnTo>
                  <a:lnTo>
                    <a:pt x="414" y="230"/>
                  </a:lnTo>
                  <a:lnTo>
                    <a:pt x="412" y="228"/>
                  </a:lnTo>
                  <a:lnTo>
                    <a:pt x="412" y="228"/>
                  </a:lnTo>
                  <a:lnTo>
                    <a:pt x="412" y="226"/>
                  </a:lnTo>
                  <a:lnTo>
                    <a:pt x="412" y="224"/>
                  </a:lnTo>
                  <a:lnTo>
                    <a:pt x="412" y="222"/>
                  </a:lnTo>
                  <a:lnTo>
                    <a:pt x="412" y="222"/>
                  </a:lnTo>
                  <a:lnTo>
                    <a:pt x="412" y="222"/>
                  </a:lnTo>
                  <a:lnTo>
                    <a:pt x="410" y="222"/>
                  </a:lnTo>
                  <a:lnTo>
                    <a:pt x="410" y="220"/>
                  </a:lnTo>
                  <a:lnTo>
                    <a:pt x="410" y="220"/>
                  </a:lnTo>
                  <a:lnTo>
                    <a:pt x="410" y="217"/>
                  </a:lnTo>
                  <a:lnTo>
                    <a:pt x="410" y="217"/>
                  </a:lnTo>
                  <a:lnTo>
                    <a:pt x="410" y="215"/>
                  </a:lnTo>
                  <a:lnTo>
                    <a:pt x="410" y="213"/>
                  </a:lnTo>
                  <a:lnTo>
                    <a:pt x="408" y="213"/>
                  </a:lnTo>
                  <a:lnTo>
                    <a:pt x="408" y="211"/>
                  </a:lnTo>
                  <a:lnTo>
                    <a:pt x="408" y="209"/>
                  </a:lnTo>
                  <a:lnTo>
                    <a:pt x="408" y="207"/>
                  </a:lnTo>
                  <a:lnTo>
                    <a:pt x="406" y="205"/>
                  </a:lnTo>
                  <a:lnTo>
                    <a:pt x="400" y="197"/>
                  </a:lnTo>
                  <a:lnTo>
                    <a:pt x="398" y="197"/>
                  </a:lnTo>
                  <a:lnTo>
                    <a:pt x="398" y="195"/>
                  </a:lnTo>
                  <a:lnTo>
                    <a:pt x="398" y="191"/>
                  </a:lnTo>
                  <a:lnTo>
                    <a:pt x="398" y="189"/>
                  </a:lnTo>
                  <a:lnTo>
                    <a:pt x="396" y="187"/>
                  </a:lnTo>
                  <a:lnTo>
                    <a:pt x="396" y="187"/>
                  </a:lnTo>
                  <a:lnTo>
                    <a:pt x="394" y="185"/>
                  </a:lnTo>
                  <a:lnTo>
                    <a:pt x="391" y="185"/>
                  </a:lnTo>
                  <a:lnTo>
                    <a:pt x="389" y="185"/>
                  </a:lnTo>
                  <a:lnTo>
                    <a:pt x="387" y="183"/>
                  </a:lnTo>
                  <a:lnTo>
                    <a:pt x="383" y="181"/>
                  </a:lnTo>
                  <a:lnTo>
                    <a:pt x="375" y="179"/>
                  </a:lnTo>
                  <a:lnTo>
                    <a:pt x="371" y="176"/>
                  </a:lnTo>
                  <a:lnTo>
                    <a:pt x="371" y="176"/>
                  </a:lnTo>
                  <a:lnTo>
                    <a:pt x="369" y="172"/>
                  </a:lnTo>
                  <a:lnTo>
                    <a:pt x="369" y="170"/>
                  </a:lnTo>
                  <a:lnTo>
                    <a:pt x="367" y="170"/>
                  </a:lnTo>
                  <a:lnTo>
                    <a:pt x="365" y="170"/>
                  </a:lnTo>
                  <a:lnTo>
                    <a:pt x="363" y="170"/>
                  </a:lnTo>
                  <a:lnTo>
                    <a:pt x="361" y="168"/>
                  </a:lnTo>
                  <a:lnTo>
                    <a:pt x="363" y="166"/>
                  </a:lnTo>
                  <a:lnTo>
                    <a:pt x="363" y="166"/>
                  </a:lnTo>
                  <a:lnTo>
                    <a:pt x="363" y="164"/>
                  </a:lnTo>
                  <a:lnTo>
                    <a:pt x="361" y="164"/>
                  </a:lnTo>
                  <a:lnTo>
                    <a:pt x="361" y="162"/>
                  </a:lnTo>
                  <a:lnTo>
                    <a:pt x="361" y="162"/>
                  </a:lnTo>
                  <a:lnTo>
                    <a:pt x="361" y="162"/>
                  </a:lnTo>
                  <a:lnTo>
                    <a:pt x="359" y="160"/>
                  </a:lnTo>
                  <a:lnTo>
                    <a:pt x="359" y="162"/>
                  </a:lnTo>
                  <a:lnTo>
                    <a:pt x="359" y="162"/>
                  </a:lnTo>
                  <a:lnTo>
                    <a:pt x="359" y="162"/>
                  </a:lnTo>
                  <a:lnTo>
                    <a:pt x="357" y="162"/>
                  </a:lnTo>
                  <a:lnTo>
                    <a:pt x="353" y="158"/>
                  </a:lnTo>
                  <a:lnTo>
                    <a:pt x="353" y="156"/>
                  </a:lnTo>
                  <a:lnTo>
                    <a:pt x="353" y="156"/>
                  </a:lnTo>
                  <a:lnTo>
                    <a:pt x="350" y="154"/>
                  </a:lnTo>
                  <a:lnTo>
                    <a:pt x="350" y="152"/>
                  </a:lnTo>
                  <a:lnTo>
                    <a:pt x="353" y="152"/>
                  </a:lnTo>
                  <a:lnTo>
                    <a:pt x="353" y="150"/>
                  </a:lnTo>
                  <a:lnTo>
                    <a:pt x="350" y="150"/>
                  </a:lnTo>
                  <a:lnTo>
                    <a:pt x="350" y="148"/>
                  </a:lnTo>
                  <a:lnTo>
                    <a:pt x="350" y="146"/>
                  </a:lnTo>
                  <a:lnTo>
                    <a:pt x="346" y="144"/>
                  </a:lnTo>
                  <a:lnTo>
                    <a:pt x="344" y="142"/>
                  </a:lnTo>
                  <a:lnTo>
                    <a:pt x="340" y="138"/>
                  </a:lnTo>
                  <a:lnTo>
                    <a:pt x="336" y="138"/>
                  </a:lnTo>
                  <a:lnTo>
                    <a:pt x="336" y="136"/>
                  </a:lnTo>
                  <a:lnTo>
                    <a:pt x="330" y="136"/>
                  </a:lnTo>
                  <a:lnTo>
                    <a:pt x="328" y="136"/>
                  </a:lnTo>
                  <a:lnTo>
                    <a:pt x="326" y="133"/>
                  </a:lnTo>
                  <a:lnTo>
                    <a:pt x="324" y="133"/>
                  </a:lnTo>
                  <a:lnTo>
                    <a:pt x="322" y="129"/>
                  </a:lnTo>
                  <a:lnTo>
                    <a:pt x="322" y="127"/>
                  </a:lnTo>
                  <a:lnTo>
                    <a:pt x="320" y="125"/>
                  </a:lnTo>
                  <a:lnTo>
                    <a:pt x="318" y="121"/>
                  </a:lnTo>
                  <a:lnTo>
                    <a:pt x="316" y="119"/>
                  </a:lnTo>
                  <a:lnTo>
                    <a:pt x="310" y="115"/>
                  </a:lnTo>
                  <a:lnTo>
                    <a:pt x="305" y="113"/>
                  </a:lnTo>
                  <a:lnTo>
                    <a:pt x="301" y="111"/>
                  </a:lnTo>
                  <a:lnTo>
                    <a:pt x="299" y="111"/>
                  </a:lnTo>
                  <a:lnTo>
                    <a:pt x="295" y="109"/>
                  </a:lnTo>
                  <a:lnTo>
                    <a:pt x="293" y="107"/>
                  </a:lnTo>
                  <a:lnTo>
                    <a:pt x="291" y="105"/>
                  </a:lnTo>
                  <a:lnTo>
                    <a:pt x="289" y="103"/>
                  </a:lnTo>
                  <a:lnTo>
                    <a:pt x="289" y="103"/>
                  </a:lnTo>
                  <a:lnTo>
                    <a:pt x="287" y="103"/>
                  </a:lnTo>
                  <a:lnTo>
                    <a:pt x="285" y="103"/>
                  </a:lnTo>
                  <a:lnTo>
                    <a:pt x="285" y="101"/>
                  </a:lnTo>
                  <a:lnTo>
                    <a:pt x="283" y="97"/>
                  </a:lnTo>
                  <a:lnTo>
                    <a:pt x="281" y="95"/>
                  </a:lnTo>
                  <a:lnTo>
                    <a:pt x="281" y="95"/>
                  </a:lnTo>
                  <a:lnTo>
                    <a:pt x="279" y="92"/>
                  </a:lnTo>
                  <a:lnTo>
                    <a:pt x="277" y="90"/>
                  </a:lnTo>
                  <a:lnTo>
                    <a:pt x="277" y="88"/>
                  </a:lnTo>
                  <a:lnTo>
                    <a:pt x="275" y="88"/>
                  </a:lnTo>
                  <a:lnTo>
                    <a:pt x="275" y="86"/>
                  </a:lnTo>
                  <a:lnTo>
                    <a:pt x="273" y="86"/>
                  </a:lnTo>
                  <a:lnTo>
                    <a:pt x="271" y="84"/>
                  </a:lnTo>
                  <a:lnTo>
                    <a:pt x="269" y="84"/>
                  </a:lnTo>
                  <a:lnTo>
                    <a:pt x="269" y="82"/>
                  </a:lnTo>
                  <a:lnTo>
                    <a:pt x="267" y="82"/>
                  </a:lnTo>
                  <a:lnTo>
                    <a:pt x="264" y="72"/>
                  </a:lnTo>
                  <a:lnTo>
                    <a:pt x="262" y="70"/>
                  </a:lnTo>
                  <a:lnTo>
                    <a:pt x="256" y="64"/>
                  </a:lnTo>
                  <a:lnTo>
                    <a:pt x="256" y="62"/>
                  </a:lnTo>
                  <a:lnTo>
                    <a:pt x="254" y="60"/>
                  </a:lnTo>
                  <a:lnTo>
                    <a:pt x="252" y="56"/>
                  </a:lnTo>
                  <a:lnTo>
                    <a:pt x="252" y="54"/>
                  </a:lnTo>
                  <a:lnTo>
                    <a:pt x="248" y="51"/>
                  </a:lnTo>
                  <a:lnTo>
                    <a:pt x="242" y="54"/>
                  </a:lnTo>
                  <a:lnTo>
                    <a:pt x="238" y="54"/>
                  </a:lnTo>
                  <a:lnTo>
                    <a:pt x="234" y="54"/>
                  </a:lnTo>
                  <a:lnTo>
                    <a:pt x="232" y="51"/>
                  </a:lnTo>
                  <a:lnTo>
                    <a:pt x="232" y="49"/>
                  </a:lnTo>
                  <a:lnTo>
                    <a:pt x="230" y="47"/>
                  </a:lnTo>
                  <a:lnTo>
                    <a:pt x="226" y="45"/>
                  </a:lnTo>
                  <a:lnTo>
                    <a:pt x="224" y="45"/>
                  </a:lnTo>
                  <a:lnTo>
                    <a:pt x="221" y="43"/>
                  </a:lnTo>
                  <a:lnTo>
                    <a:pt x="221" y="41"/>
                  </a:lnTo>
                  <a:lnTo>
                    <a:pt x="221" y="41"/>
                  </a:lnTo>
                  <a:lnTo>
                    <a:pt x="219" y="43"/>
                  </a:lnTo>
                  <a:lnTo>
                    <a:pt x="215" y="41"/>
                  </a:lnTo>
                  <a:lnTo>
                    <a:pt x="207" y="37"/>
                  </a:lnTo>
                  <a:lnTo>
                    <a:pt x="203" y="35"/>
                  </a:lnTo>
                  <a:lnTo>
                    <a:pt x="203" y="29"/>
                  </a:lnTo>
                  <a:lnTo>
                    <a:pt x="205" y="27"/>
                  </a:lnTo>
                  <a:lnTo>
                    <a:pt x="205" y="27"/>
                  </a:lnTo>
                  <a:lnTo>
                    <a:pt x="205" y="25"/>
                  </a:lnTo>
                  <a:lnTo>
                    <a:pt x="205" y="25"/>
                  </a:lnTo>
                  <a:lnTo>
                    <a:pt x="205" y="25"/>
                  </a:lnTo>
                  <a:lnTo>
                    <a:pt x="205" y="23"/>
                  </a:lnTo>
                  <a:lnTo>
                    <a:pt x="207" y="21"/>
                  </a:lnTo>
                  <a:lnTo>
                    <a:pt x="207" y="21"/>
                  </a:lnTo>
                  <a:lnTo>
                    <a:pt x="209" y="19"/>
                  </a:lnTo>
                  <a:lnTo>
                    <a:pt x="209" y="19"/>
                  </a:lnTo>
                  <a:lnTo>
                    <a:pt x="209" y="17"/>
                  </a:lnTo>
                  <a:lnTo>
                    <a:pt x="211" y="13"/>
                  </a:lnTo>
                  <a:lnTo>
                    <a:pt x="211" y="10"/>
                  </a:lnTo>
                  <a:lnTo>
                    <a:pt x="211" y="10"/>
                  </a:lnTo>
                  <a:lnTo>
                    <a:pt x="215" y="6"/>
                  </a:lnTo>
                  <a:lnTo>
                    <a:pt x="215" y="6"/>
                  </a:lnTo>
                  <a:lnTo>
                    <a:pt x="219" y="4"/>
                  </a:lnTo>
                  <a:lnTo>
                    <a:pt x="219" y="4"/>
                  </a:lnTo>
                  <a:lnTo>
                    <a:pt x="219" y="2"/>
                  </a:lnTo>
                  <a:lnTo>
                    <a:pt x="219" y="2"/>
                  </a:lnTo>
                  <a:lnTo>
                    <a:pt x="219" y="0"/>
                  </a:lnTo>
                  <a:lnTo>
                    <a:pt x="219" y="0"/>
                  </a:lnTo>
                  <a:lnTo>
                    <a:pt x="213" y="0"/>
                  </a:lnTo>
                  <a:lnTo>
                    <a:pt x="207" y="2"/>
                  </a:lnTo>
                  <a:lnTo>
                    <a:pt x="201" y="2"/>
                  </a:lnTo>
                  <a:lnTo>
                    <a:pt x="193" y="4"/>
                  </a:lnTo>
                  <a:lnTo>
                    <a:pt x="187" y="4"/>
                  </a:lnTo>
                  <a:lnTo>
                    <a:pt x="181" y="6"/>
                  </a:lnTo>
                  <a:lnTo>
                    <a:pt x="174" y="8"/>
                  </a:lnTo>
                  <a:lnTo>
                    <a:pt x="168" y="8"/>
                  </a:lnTo>
                  <a:lnTo>
                    <a:pt x="160" y="10"/>
                  </a:lnTo>
                  <a:lnTo>
                    <a:pt x="148" y="13"/>
                  </a:lnTo>
                  <a:lnTo>
                    <a:pt x="142" y="13"/>
                  </a:lnTo>
                  <a:lnTo>
                    <a:pt x="133" y="15"/>
                  </a:lnTo>
                  <a:lnTo>
                    <a:pt x="127" y="15"/>
                  </a:lnTo>
                  <a:lnTo>
                    <a:pt x="121" y="17"/>
                  </a:lnTo>
                  <a:lnTo>
                    <a:pt x="115" y="17"/>
                  </a:lnTo>
                  <a:lnTo>
                    <a:pt x="107" y="19"/>
                  </a:lnTo>
                  <a:lnTo>
                    <a:pt x="99" y="19"/>
                  </a:lnTo>
                  <a:lnTo>
                    <a:pt x="92" y="19"/>
                  </a:lnTo>
                  <a:lnTo>
                    <a:pt x="90" y="19"/>
                  </a:lnTo>
                  <a:lnTo>
                    <a:pt x="88" y="19"/>
                  </a:lnTo>
                  <a:lnTo>
                    <a:pt x="78" y="21"/>
                  </a:lnTo>
                  <a:lnTo>
                    <a:pt x="66" y="23"/>
                  </a:lnTo>
                  <a:lnTo>
                    <a:pt x="56" y="25"/>
                  </a:lnTo>
                  <a:lnTo>
                    <a:pt x="43" y="25"/>
                  </a:lnTo>
                  <a:lnTo>
                    <a:pt x="33" y="27"/>
                  </a:lnTo>
                  <a:lnTo>
                    <a:pt x="23" y="29"/>
                  </a:lnTo>
                  <a:lnTo>
                    <a:pt x="11" y="29"/>
                  </a:lnTo>
                  <a:lnTo>
                    <a:pt x="0" y="31"/>
                  </a:lnTo>
                  <a:lnTo>
                    <a:pt x="0" y="31"/>
                  </a:lnTo>
                  <a:lnTo>
                    <a:pt x="0" y="33"/>
                  </a:lnTo>
                  <a:lnTo>
                    <a:pt x="2" y="37"/>
                  </a:lnTo>
                  <a:lnTo>
                    <a:pt x="2" y="41"/>
                  </a:lnTo>
                  <a:lnTo>
                    <a:pt x="4" y="45"/>
                  </a:lnTo>
                  <a:lnTo>
                    <a:pt x="6" y="51"/>
                  </a:lnTo>
                  <a:lnTo>
                    <a:pt x="8" y="58"/>
                  </a:lnTo>
                  <a:lnTo>
                    <a:pt x="11" y="64"/>
                  </a:lnTo>
                  <a:lnTo>
                    <a:pt x="13" y="72"/>
                  </a:lnTo>
                  <a:lnTo>
                    <a:pt x="15" y="80"/>
                  </a:lnTo>
                  <a:lnTo>
                    <a:pt x="19" y="88"/>
                  </a:lnTo>
                  <a:lnTo>
                    <a:pt x="21" y="99"/>
                  </a:lnTo>
                  <a:lnTo>
                    <a:pt x="23" y="107"/>
                  </a:lnTo>
                  <a:lnTo>
                    <a:pt x="27" y="117"/>
                  </a:lnTo>
                  <a:lnTo>
                    <a:pt x="29" y="127"/>
                  </a:lnTo>
                  <a:lnTo>
                    <a:pt x="33" y="138"/>
                  </a:lnTo>
                  <a:lnTo>
                    <a:pt x="35" y="146"/>
                  </a:lnTo>
                  <a:lnTo>
                    <a:pt x="39" y="156"/>
                  </a:lnTo>
                  <a:lnTo>
                    <a:pt x="41" y="166"/>
                  </a:lnTo>
                  <a:lnTo>
                    <a:pt x="45" y="174"/>
                  </a:lnTo>
                  <a:lnTo>
                    <a:pt x="47" y="185"/>
                  </a:lnTo>
                  <a:lnTo>
                    <a:pt x="49" y="193"/>
                  </a:lnTo>
                  <a:lnTo>
                    <a:pt x="54" y="201"/>
                  </a:lnTo>
                  <a:lnTo>
                    <a:pt x="56" y="209"/>
                  </a:lnTo>
                  <a:lnTo>
                    <a:pt x="58" y="215"/>
                  </a:lnTo>
                  <a:lnTo>
                    <a:pt x="60" y="222"/>
                  </a:lnTo>
                  <a:lnTo>
                    <a:pt x="62" y="228"/>
                  </a:lnTo>
                  <a:lnTo>
                    <a:pt x="62" y="234"/>
                  </a:lnTo>
                  <a:lnTo>
                    <a:pt x="64" y="236"/>
                  </a:lnTo>
                  <a:lnTo>
                    <a:pt x="66" y="240"/>
                  </a:lnTo>
                  <a:lnTo>
                    <a:pt x="66" y="242"/>
                  </a:lnTo>
                  <a:lnTo>
                    <a:pt x="66" y="242"/>
                  </a:lnTo>
                  <a:lnTo>
                    <a:pt x="66" y="246"/>
                  </a:lnTo>
                  <a:lnTo>
                    <a:pt x="66" y="246"/>
                  </a:lnTo>
                  <a:lnTo>
                    <a:pt x="70" y="254"/>
                  </a:lnTo>
                  <a:lnTo>
                    <a:pt x="70" y="258"/>
                  </a:lnTo>
                  <a:lnTo>
                    <a:pt x="72" y="258"/>
                  </a:lnTo>
                  <a:lnTo>
                    <a:pt x="72" y="258"/>
                  </a:lnTo>
                  <a:lnTo>
                    <a:pt x="72" y="261"/>
                  </a:lnTo>
                  <a:lnTo>
                    <a:pt x="72" y="261"/>
                  </a:lnTo>
                  <a:lnTo>
                    <a:pt x="74" y="263"/>
                  </a:lnTo>
                  <a:lnTo>
                    <a:pt x="76" y="263"/>
                  </a:lnTo>
                  <a:lnTo>
                    <a:pt x="74" y="265"/>
                  </a:lnTo>
                  <a:lnTo>
                    <a:pt x="76" y="265"/>
                  </a:lnTo>
                  <a:lnTo>
                    <a:pt x="76" y="267"/>
                  </a:lnTo>
                  <a:lnTo>
                    <a:pt x="76" y="267"/>
                  </a:lnTo>
                  <a:lnTo>
                    <a:pt x="78" y="271"/>
                  </a:lnTo>
                  <a:lnTo>
                    <a:pt x="80" y="273"/>
                  </a:lnTo>
                  <a:lnTo>
                    <a:pt x="80" y="275"/>
                  </a:lnTo>
                  <a:lnTo>
                    <a:pt x="80" y="277"/>
                  </a:lnTo>
                  <a:lnTo>
                    <a:pt x="80" y="277"/>
                  </a:lnTo>
                  <a:lnTo>
                    <a:pt x="82" y="277"/>
                  </a:lnTo>
                  <a:lnTo>
                    <a:pt x="82" y="279"/>
                  </a:lnTo>
                  <a:lnTo>
                    <a:pt x="82" y="279"/>
                  </a:lnTo>
                  <a:lnTo>
                    <a:pt x="88" y="287"/>
                  </a:lnTo>
                  <a:lnTo>
                    <a:pt x="90" y="289"/>
                  </a:lnTo>
                  <a:lnTo>
                    <a:pt x="90" y="289"/>
                  </a:lnTo>
                  <a:lnTo>
                    <a:pt x="92" y="293"/>
                  </a:lnTo>
                  <a:lnTo>
                    <a:pt x="92" y="295"/>
                  </a:lnTo>
                  <a:lnTo>
                    <a:pt x="94" y="297"/>
                  </a:lnTo>
                  <a:lnTo>
                    <a:pt x="94" y="297"/>
                  </a:lnTo>
                  <a:lnTo>
                    <a:pt x="94" y="299"/>
                  </a:lnTo>
                  <a:lnTo>
                    <a:pt x="94" y="299"/>
                  </a:lnTo>
                  <a:lnTo>
                    <a:pt x="94" y="299"/>
                  </a:lnTo>
                  <a:lnTo>
                    <a:pt x="94" y="299"/>
                  </a:lnTo>
                  <a:lnTo>
                    <a:pt x="94" y="302"/>
                  </a:lnTo>
                  <a:lnTo>
                    <a:pt x="94" y="302"/>
                  </a:lnTo>
                  <a:lnTo>
                    <a:pt x="94" y="304"/>
                  </a:lnTo>
                  <a:lnTo>
                    <a:pt x="94" y="304"/>
                  </a:lnTo>
                  <a:lnTo>
                    <a:pt x="94" y="308"/>
                  </a:lnTo>
                  <a:lnTo>
                    <a:pt x="94" y="308"/>
                  </a:lnTo>
                  <a:lnTo>
                    <a:pt x="97" y="310"/>
                  </a:lnTo>
                  <a:lnTo>
                    <a:pt x="101" y="312"/>
                  </a:lnTo>
                  <a:lnTo>
                    <a:pt x="103" y="312"/>
                  </a:lnTo>
                  <a:lnTo>
                    <a:pt x="103" y="314"/>
                  </a:lnTo>
                  <a:lnTo>
                    <a:pt x="103" y="314"/>
                  </a:lnTo>
                  <a:lnTo>
                    <a:pt x="103" y="314"/>
                  </a:lnTo>
                  <a:lnTo>
                    <a:pt x="105" y="314"/>
                  </a:lnTo>
                  <a:lnTo>
                    <a:pt x="103" y="316"/>
                  </a:lnTo>
                  <a:lnTo>
                    <a:pt x="103" y="316"/>
                  </a:lnTo>
                  <a:lnTo>
                    <a:pt x="103" y="316"/>
                  </a:lnTo>
                  <a:lnTo>
                    <a:pt x="101" y="316"/>
                  </a:lnTo>
                  <a:lnTo>
                    <a:pt x="103" y="318"/>
                  </a:lnTo>
                  <a:lnTo>
                    <a:pt x="103" y="320"/>
                  </a:lnTo>
                  <a:lnTo>
                    <a:pt x="101" y="320"/>
                  </a:lnTo>
                  <a:lnTo>
                    <a:pt x="101" y="320"/>
                  </a:lnTo>
                  <a:lnTo>
                    <a:pt x="99" y="320"/>
                  </a:lnTo>
                  <a:lnTo>
                    <a:pt x="99" y="320"/>
                  </a:lnTo>
                  <a:lnTo>
                    <a:pt x="99" y="322"/>
                  </a:lnTo>
                  <a:lnTo>
                    <a:pt x="99" y="322"/>
                  </a:lnTo>
                  <a:lnTo>
                    <a:pt x="99" y="324"/>
                  </a:lnTo>
                  <a:lnTo>
                    <a:pt x="97" y="324"/>
                  </a:lnTo>
                  <a:lnTo>
                    <a:pt x="94" y="324"/>
                  </a:lnTo>
                  <a:lnTo>
                    <a:pt x="94" y="326"/>
                  </a:lnTo>
                  <a:lnTo>
                    <a:pt x="94" y="326"/>
                  </a:lnTo>
                  <a:lnTo>
                    <a:pt x="92" y="326"/>
                  </a:lnTo>
                  <a:lnTo>
                    <a:pt x="92" y="330"/>
                  </a:lnTo>
                  <a:lnTo>
                    <a:pt x="92" y="332"/>
                  </a:lnTo>
                  <a:lnTo>
                    <a:pt x="92" y="334"/>
                  </a:lnTo>
                  <a:lnTo>
                    <a:pt x="92" y="336"/>
                  </a:lnTo>
                  <a:lnTo>
                    <a:pt x="92" y="338"/>
                  </a:lnTo>
                  <a:lnTo>
                    <a:pt x="92" y="340"/>
                  </a:lnTo>
                  <a:lnTo>
                    <a:pt x="92" y="342"/>
                  </a:lnTo>
                  <a:lnTo>
                    <a:pt x="92" y="345"/>
                  </a:lnTo>
                  <a:lnTo>
                    <a:pt x="92" y="345"/>
                  </a:lnTo>
                  <a:lnTo>
                    <a:pt x="92" y="347"/>
                  </a:lnTo>
                  <a:lnTo>
                    <a:pt x="92" y="349"/>
                  </a:lnTo>
                  <a:lnTo>
                    <a:pt x="90" y="353"/>
                  </a:lnTo>
                  <a:lnTo>
                    <a:pt x="88" y="357"/>
                  </a:lnTo>
                  <a:lnTo>
                    <a:pt x="88" y="361"/>
                  </a:lnTo>
                  <a:lnTo>
                    <a:pt x="88" y="361"/>
                  </a:lnTo>
                  <a:lnTo>
                    <a:pt x="88" y="363"/>
                  </a:lnTo>
                  <a:lnTo>
                    <a:pt x="88" y="363"/>
                  </a:lnTo>
                  <a:lnTo>
                    <a:pt x="88" y="365"/>
                  </a:lnTo>
                  <a:lnTo>
                    <a:pt x="88" y="367"/>
                  </a:lnTo>
                  <a:lnTo>
                    <a:pt x="92" y="379"/>
                  </a:lnTo>
                  <a:lnTo>
                    <a:pt x="94" y="381"/>
                  </a:lnTo>
                  <a:lnTo>
                    <a:pt x="99" y="386"/>
                  </a:lnTo>
                  <a:lnTo>
                    <a:pt x="99" y="386"/>
                  </a:lnTo>
                  <a:lnTo>
                    <a:pt x="99" y="388"/>
                  </a:lnTo>
                  <a:lnTo>
                    <a:pt x="99" y="392"/>
                  </a:lnTo>
                  <a:lnTo>
                    <a:pt x="101" y="392"/>
                  </a:lnTo>
                  <a:lnTo>
                    <a:pt x="101" y="394"/>
                  </a:lnTo>
                  <a:lnTo>
                    <a:pt x="101" y="396"/>
                  </a:lnTo>
                  <a:lnTo>
                    <a:pt x="101" y="398"/>
                  </a:lnTo>
                  <a:lnTo>
                    <a:pt x="101" y="400"/>
                  </a:lnTo>
                  <a:lnTo>
                    <a:pt x="101" y="402"/>
                  </a:lnTo>
                  <a:lnTo>
                    <a:pt x="101" y="404"/>
                  </a:lnTo>
                  <a:lnTo>
                    <a:pt x="101" y="408"/>
                  </a:lnTo>
                  <a:lnTo>
                    <a:pt x="101" y="412"/>
                  </a:lnTo>
                  <a:lnTo>
                    <a:pt x="101" y="420"/>
                  </a:lnTo>
                  <a:lnTo>
                    <a:pt x="101" y="420"/>
                  </a:lnTo>
                  <a:lnTo>
                    <a:pt x="99" y="422"/>
                  </a:lnTo>
                  <a:lnTo>
                    <a:pt x="99" y="424"/>
                  </a:lnTo>
                  <a:lnTo>
                    <a:pt x="99" y="424"/>
                  </a:lnTo>
                  <a:lnTo>
                    <a:pt x="101" y="427"/>
                  </a:lnTo>
                  <a:lnTo>
                    <a:pt x="101" y="429"/>
                  </a:lnTo>
                  <a:lnTo>
                    <a:pt x="101" y="433"/>
                  </a:lnTo>
                  <a:lnTo>
                    <a:pt x="101" y="433"/>
                  </a:lnTo>
                  <a:lnTo>
                    <a:pt x="103" y="435"/>
                  </a:lnTo>
                  <a:lnTo>
                    <a:pt x="105" y="435"/>
                  </a:lnTo>
                  <a:lnTo>
                    <a:pt x="107" y="439"/>
                  </a:lnTo>
                  <a:lnTo>
                    <a:pt x="111" y="443"/>
                  </a:lnTo>
                  <a:lnTo>
                    <a:pt x="113" y="447"/>
                  </a:lnTo>
                  <a:lnTo>
                    <a:pt x="113" y="449"/>
                  </a:lnTo>
                  <a:lnTo>
                    <a:pt x="113" y="449"/>
                  </a:lnTo>
                  <a:lnTo>
                    <a:pt x="113" y="451"/>
                  </a:lnTo>
                  <a:lnTo>
                    <a:pt x="113" y="451"/>
                  </a:lnTo>
                  <a:lnTo>
                    <a:pt x="113" y="451"/>
                  </a:lnTo>
                  <a:lnTo>
                    <a:pt x="113" y="453"/>
                  </a:lnTo>
                  <a:lnTo>
                    <a:pt x="113" y="453"/>
                  </a:lnTo>
                  <a:lnTo>
                    <a:pt x="113" y="453"/>
                  </a:lnTo>
                  <a:lnTo>
                    <a:pt x="115" y="455"/>
                  </a:lnTo>
                  <a:lnTo>
                    <a:pt x="115" y="455"/>
                  </a:lnTo>
                  <a:lnTo>
                    <a:pt x="117" y="457"/>
                  </a:lnTo>
                  <a:lnTo>
                    <a:pt x="117" y="459"/>
                  </a:lnTo>
                  <a:lnTo>
                    <a:pt x="119" y="459"/>
                  </a:lnTo>
                  <a:lnTo>
                    <a:pt x="119" y="463"/>
                  </a:lnTo>
                  <a:lnTo>
                    <a:pt x="121" y="465"/>
                  </a:lnTo>
                  <a:lnTo>
                    <a:pt x="121" y="470"/>
                  </a:lnTo>
                  <a:lnTo>
                    <a:pt x="123" y="476"/>
                  </a:lnTo>
                  <a:lnTo>
                    <a:pt x="129" y="480"/>
                  </a:lnTo>
                  <a:lnTo>
                    <a:pt x="129" y="480"/>
                  </a:lnTo>
                  <a:lnTo>
                    <a:pt x="131" y="480"/>
                  </a:lnTo>
                  <a:lnTo>
                    <a:pt x="133" y="480"/>
                  </a:lnTo>
                  <a:lnTo>
                    <a:pt x="135" y="480"/>
                  </a:lnTo>
                  <a:lnTo>
                    <a:pt x="138" y="480"/>
                  </a:lnTo>
                  <a:lnTo>
                    <a:pt x="142" y="480"/>
                  </a:lnTo>
                  <a:lnTo>
                    <a:pt x="146" y="480"/>
                  </a:lnTo>
                  <a:lnTo>
                    <a:pt x="152" y="478"/>
                  </a:lnTo>
                  <a:lnTo>
                    <a:pt x="158" y="478"/>
                  </a:lnTo>
                  <a:lnTo>
                    <a:pt x="164" y="478"/>
                  </a:lnTo>
                  <a:lnTo>
                    <a:pt x="172" y="478"/>
                  </a:lnTo>
                  <a:lnTo>
                    <a:pt x="181" y="476"/>
                  </a:lnTo>
                  <a:lnTo>
                    <a:pt x="191" y="476"/>
                  </a:lnTo>
                  <a:lnTo>
                    <a:pt x="199" y="476"/>
                  </a:lnTo>
                  <a:lnTo>
                    <a:pt x="209" y="474"/>
                  </a:lnTo>
                  <a:lnTo>
                    <a:pt x="219" y="474"/>
                  </a:lnTo>
                  <a:lnTo>
                    <a:pt x="230" y="474"/>
                  </a:lnTo>
                  <a:lnTo>
                    <a:pt x="240" y="472"/>
                  </a:lnTo>
                  <a:lnTo>
                    <a:pt x="250" y="472"/>
                  </a:lnTo>
                  <a:lnTo>
                    <a:pt x="260" y="470"/>
                  </a:lnTo>
                  <a:lnTo>
                    <a:pt x="271" y="470"/>
                  </a:lnTo>
                  <a:lnTo>
                    <a:pt x="281" y="467"/>
                  </a:lnTo>
                  <a:lnTo>
                    <a:pt x="291" y="467"/>
                  </a:lnTo>
                  <a:lnTo>
                    <a:pt x="301" y="467"/>
                  </a:lnTo>
                  <a:lnTo>
                    <a:pt x="310" y="465"/>
                  </a:lnTo>
                  <a:lnTo>
                    <a:pt x="320" y="465"/>
                  </a:lnTo>
                  <a:lnTo>
                    <a:pt x="328" y="465"/>
                  </a:lnTo>
                  <a:lnTo>
                    <a:pt x="336" y="463"/>
                  </a:lnTo>
                  <a:lnTo>
                    <a:pt x="344" y="463"/>
                  </a:lnTo>
                  <a:lnTo>
                    <a:pt x="350" y="463"/>
                  </a:lnTo>
                  <a:lnTo>
                    <a:pt x="357" y="461"/>
                  </a:lnTo>
                  <a:lnTo>
                    <a:pt x="361" y="461"/>
                  </a:lnTo>
                  <a:lnTo>
                    <a:pt x="367" y="461"/>
                  </a:lnTo>
                  <a:lnTo>
                    <a:pt x="369" y="461"/>
                  </a:lnTo>
                  <a:lnTo>
                    <a:pt x="373" y="461"/>
                  </a:lnTo>
                  <a:lnTo>
                    <a:pt x="373" y="461"/>
                  </a:lnTo>
                  <a:lnTo>
                    <a:pt x="373" y="461"/>
                  </a:lnTo>
                  <a:lnTo>
                    <a:pt x="373" y="461"/>
                  </a:lnTo>
                  <a:lnTo>
                    <a:pt x="373" y="463"/>
                  </a:lnTo>
                  <a:lnTo>
                    <a:pt x="373" y="463"/>
                  </a:lnTo>
                  <a:lnTo>
                    <a:pt x="373" y="463"/>
                  </a:lnTo>
                  <a:lnTo>
                    <a:pt x="373" y="463"/>
                  </a:lnTo>
                  <a:lnTo>
                    <a:pt x="373" y="463"/>
                  </a:lnTo>
                  <a:lnTo>
                    <a:pt x="377" y="467"/>
                  </a:lnTo>
                  <a:lnTo>
                    <a:pt x="377" y="467"/>
                  </a:lnTo>
                  <a:lnTo>
                    <a:pt x="377" y="467"/>
                  </a:lnTo>
                  <a:lnTo>
                    <a:pt x="377" y="470"/>
                  </a:lnTo>
                  <a:lnTo>
                    <a:pt x="377" y="470"/>
                  </a:lnTo>
                  <a:lnTo>
                    <a:pt x="377" y="470"/>
                  </a:lnTo>
                  <a:lnTo>
                    <a:pt x="377" y="470"/>
                  </a:lnTo>
                  <a:lnTo>
                    <a:pt x="377" y="472"/>
                  </a:lnTo>
                  <a:lnTo>
                    <a:pt x="377" y="474"/>
                  </a:lnTo>
                  <a:lnTo>
                    <a:pt x="377" y="474"/>
                  </a:lnTo>
                  <a:lnTo>
                    <a:pt x="377" y="474"/>
                  </a:lnTo>
                  <a:lnTo>
                    <a:pt x="379" y="476"/>
                  </a:lnTo>
                  <a:lnTo>
                    <a:pt x="381" y="480"/>
                  </a:lnTo>
                  <a:lnTo>
                    <a:pt x="381" y="480"/>
                  </a:lnTo>
                  <a:lnTo>
                    <a:pt x="381" y="480"/>
                  </a:lnTo>
                  <a:lnTo>
                    <a:pt x="381" y="480"/>
                  </a:lnTo>
                  <a:lnTo>
                    <a:pt x="383" y="480"/>
                  </a:lnTo>
                  <a:lnTo>
                    <a:pt x="383" y="480"/>
                  </a:lnTo>
                  <a:lnTo>
                    <a:pt x="387" y="480"/>
                  </a:lnTo>
                  <a:lnTo>
                    <a:pt x="387" y="480"/>
                  </a:lnTo>
                  <a:lnTo>
                    <a:pt x="389" y="480"/>
                  </a:lnTo>
                  <a:lnTo>
                    <a:pt x="391" y="480"/>
                  </a:lnTo>
                  <a:lnTo>
                    <a:pt x="391" y="480"/>
                  </a:lnTo>
                  <a:lnTo>
                    <a:pt x="394" y="478"/>
                  </a:lnTo>
                  <a:lnTo>
                    <a:pt x="394" y="478"/>
                  </a:lnTo>
                  <a:lnTo>
                    <a:pt x="394" y="478"/>
                  </a:lnTo>
                  <a:lnTo>
                    <a:pt x="394" y="478"/>
                  </a:lnTo>
                  <a:lnTo>
                    <a:pt x="394" y="476"/>
                  </a:lnTo>
                  <a:lnTo>
                    <a:pt x="394" y="474"/>
                  </a:lnTo>
                  <a:lnTo>
                    <a:pt x="394" y="472"/>
                  </a:lnTo>
                  <a:lnTo>
                    <a:pt x="394" y="472"/>
                  </a:lnTo>
                  <a:lnTo>
                    <a:pt x="394" y="463"/>
                  </a:lnTo>
                  <a:lnTo>
                    <a:pt x="394" y="457"/>
                  </a:lnTo>
                  <a:lnTo>
                    <a:pt x="394" y="455"/>
                  </a:lnTo>
                  <a:lnTo>
                    <a:pt x="394" y="455"/>
                  </a:lnTo>
                  <a:lnTo>
                    <a:pt x="394" y="453"/>
                  </a:lnTo>
                  <a:lnTo>
                    <a:pt x="394" y="453"/>
                  </a:lnTo>
                  <a:lnTo>
                    <a:pt x="391" y="451"/>
                  </a:lnTo>
                  <a:lnTo>
                    <a:pt x="389" y="451"/>
                  </a:lnTo>
                  <a:lnTo>
                    <a:pt x="389" y="449"/>
                  </a:lnTo>
                  <a:lnTo>
                    <a:pt x="389" y="449"/>
                  </a:lnTo>
                  <a:lnTo>
                    <a:pt x="389" y="447"/>
                  </a:lnTo>
                  <a:lnTo>
                    <a:pt x="389" y="447"/>
                  </a:lnTo>
                  <a:lnTo>
                    <a:pt x="389" y="445"/>
                  </a:lnTo>
                  <a:lnTo>
                    <a:pt x="389" y="443"/>
                  </a:lnTo>
                  <a:lnTo>
                    <a:pt x="389" y="443"/>
                  </a:lnTo>
                  <a:lnTo>
                    <a:pt x="389" y="441"/>
                  </a:lnTo>
                  <a:lnTo>
                    <a:pt x="389" y="439"/>
                  </a:lnTo>
                  <a:lnTo>
                    <a:pt x="389" y="439"/>
                  </a:lnTo>
                  <a:lnTo>
                    <a:pt x="389" y="439"/>
                  </a:lnTo>
                  <a:lnTo>
                    <a:pt x="389" y="437"/>
                  </a:lnTo>
                  <a:lnTo>
                    <a:pt x="389" y="437"/>
                  </a:lnTo>
                  <a:lnTo>
                    <a:pt x="389" y="437"/>
                  </a:lnTo>
                  <a:lnTo>
                    <a:pt x="389" y="435"/>
                  </a:lnTo>
                  <a:lnTo>
                    <a:pt x="389" y="435"/>
                  </a:lnTo>
                  <a:lnTo>
                    <a:pt x="389" y="435"/>
                  </a:lnTo>
                  <a:lnTo>
                    <a:pt x="391" y="433"/>
                  </a:lnTo>
                  <a:lnTo>
                    <a:pt x="391" y="433"/>
                  </a:lnTo>
                  <a:lnTo>
                    <a:pt x="391" y="433"/>
                  </a:lnTo>
                  <a:lnTo>
                    <a:pt x="394" y="433"/>
                  </a:lnTo>
                  <a:lnTo>
                    <a:pt x="394" y="433"/>
                  </a:lnTo>
                  <a:lnTo>
                    <a:pt x="394" y="433"/>
                  </a:lnTo>
                  <a:lnTo>
                    <a:pt x="394" y="433"/>
                  </a:lnTo>
                  <a:lnTo>
                    <a:pt x="394" y="431"/>
                  </a:lnTo>
                  <a:lnTo>
                    <a:pt x="394" y="431"/>
                  </a:lnTo>
                  <a:lnTo>
                    <a:pt x="394" y="431"/>
                  </a:lnTo>
                  <a:lnTo>
                    <a:pt x="394" y="431"/>
                  </a:lnTo>
                  <a:lnTo>
                    <a:pt x="394" y="429"/>
                  </a:lnTo>
                  <a:lnTo>
                    <a:pt x="396" y="429"/>
                  </a:lnTo>
                  <a:lnTo>
                    <a:pt x="396" y="429"/>
                  </a:lnTo>
                  <a:lnTo>
                    <a:pt x="398" y="429"/>
                  </a:lnTo>
                  <a:lnTo>
                    <a:pt x="398" y="429"/>
                  </a:lnTo>
                  <a:lnTo>
                    <a:pt x="398" y="429"/>
                  </a:lnTo>
                  <a:lnTo>
                    <a:pt x="400" y="429"/>
                  </a:lnTo>
                  <a:lnTo>
                    <a:pt x="400" y="429"/>
                  </a:lnTo>
                  <a:lnTo>
                    <a:pt x="402" y="429"/>
                  </a:lnTo>
                  <a:lnTo>
                    <a:pt x="404" y="431"/>
                  </a:lnTo>
                  <a:lnTo>
                    <a:pt x="412" y="433"/>
                  </a:lnTo>
                  <a:lnTo>
                    <a:pt x="412" y="433"/>
                  </a:lnTo>
                  <a:lnTo>
                    <a:pt x="414" y="433"/>
                  </a:lnTo>
                  <a:lnTo>
                    <a:pt x="414" y="433"/>
                  </a:lnTo>
                  <a:lnTo>
                    <a:pt x="416" y="433"/>
                  </a:lnTo>
                  <a:lnTo>
                    <a:pt x="416" y="433"/>
                  </a:lnTo>
                  <a:lnTo>
                    <a:pt x="418" y="433"/>
                  </a:lnTo>
                  <a:lnTo>
                    <a:pt x="418" y="433"/>
                  </a:lnTo>
                  <a:lnTo>
                    <a:pt x="424" y="435"/>
                  </a:lnTo>
                  <a:lnTo>
                    <a:pt x="424" y="435"/>
                  </a:lnTo>
                  <a:lnTo>
                    <a:pt x="426" y="435"/>
                  </a:lnTo>
                  <a:lnTo>
                    <a:pt x="426" y="435"/>
                  </a:lnTo>
                  <a:lnTo>
                    <a:pt x="428" y="435"/>
                  </a:lnTo>
                  <a:lnTo>
                    <a:pt x="428" y="435"/>
                  </a:lnTo>
                  <a:lnTo>
                    <a:pt x="432" y="435"/>
                  </a:lnTo>
                  <a:lnTo>
                    <a:pt x="432" y="435"/>
                  </a:lnTo>
                  <a:lnTo>
                    <a:pt x="437" y="433"/>
                  </a:lnTo>
                  <a:lnTo>
                    <a:pt x="439" y="433"/>
                  </a:lnTo>
                  <a:lnTo>
                    <a:pt x="439" y="433"/>
                  </a:lnTo>
                  <a:lnTo>
                    <a:pt x="439" y="433"/>
                  </a:lnTo>
                  <a:lnTo>
                    <a:pt x="439" y="429"/>
                  </a:lnTo>
                  <a:lnTo>
                    <a:pt x="439" y="427"/>
                  </a:lnTo>
                  <a:lnTo>
                    <a:pt x="437" y="427"/>
                  </a:lnTo>
                  <a:lnTo>
                    <a:pt x="437" y="424"/>
                  </a:lnTo>
                  <a:lnTo>
                    <a:pt x="437" y="424"/>
                  </a:lnTo>
                  <a:lnTo>
                    <a:pt x="434" y="422"/>
                  </a:lnTo>
                  <a:lnTo>
                    <a:pt x="434" y="420"/>
                  </a:lnTo>
                  <a:lnTo>
                    <a:pt x="434" y="420"/>
                  </a:lnTo>
                  <a:lnTo>
                    <a:pt x="432" y="420"/>
                  </a:lnTo>
                  <a:lnTo>
                    <a:pt x="432" y="418"/>
                  </a:lnTo>
                  <a:lnTo>
                    <a:pt x="434" y="418"/>
                  </a:lnTo>
                  <a:lnTo>
                    <a:pt x="434" y="418"/>
                  </a:lnTo>
                  <a:lnTo>
                    <a:pt x="437" y="418"/>
                  </a:lnTo>
                  <a:lnTo>
                    <a:pt x="437" y="418"/>
                  </a:lnTo>
                  <a:lnTo>
                    <a:pt x="437" y="418"/>
                  </a:lnTo>
                  <a:lnTo>
                    <a:pt x="437" y="416"/>
                  </a:lnTo>
                  <a:lnTo>
                    <a:pt x="434" y="416"/>
                  </a:lnTo>
                  <a:lnTo>
                    <a:pt x="434" y="416"/>
                  </a:lnTo>
                  <a:lnTo>
                    <a:pt x="434" y="414"/>
                  </a:lnTo>
                  <a:lnTo>
                    <a:pt x="434" y="414"/>
                  </a:lnTo>
                  <a:lnTo>
                    <a:pt x="434" y="412"/>
                  </a:lnTo>
                  <a:lnTo>
                    <a:pt x="434" y="412"/>
                  </a:lnTo>
                  <a:lnTo>
                    <a:pt x="439" y="408"/>
                  </a:lnTo>
                  <a:lnTo>
                    <a:pt x="439" y="406"/>
                  </a:lnTo>
                  <a:lnTo>
                    <a:pt x="437" y="406"/>
                  </a:lnTo>
                  <a:lnTo>
                    <a:pt x="434" y="406"/>
                  </a:lnTo>
                  <a:lnTo>
                    <a:pt x="432" y="406"/>
                  </a:lnTo>
                  <a:lnTo>
                    <a:pt x="432" y="404"/>
                  </a:lnTo>
                  <a:lnTo>
                    <a:pt x="437" y="404"/>
                  </a:lnTo>
                  <a:lnTo>
                    <a:pt x="437" y="402"/>
                  </a:lnTo>
                  <a:lnTo>
                    <a:pt x="437" y="400"/>
                  </a:lnTo>
                  <a:lnTo>
                    <a:pt x="437" y="398"/>
                  </a:lnTo>
                  <a:lnTo>
                    <a:pt x="432" y="396"/>
                  </a:lnTo>
                  <a:lnTo>
                    <a:pt x="430" y="394"/>
                  </a:lnTo>
                  <a:lnTo>
                    <a:pt x="432" y="394"/>
                  </a:lnTo>
                  <a:lnTo>
                    <a:pt x="434" y="396"/>
                  </a:lnTo>
                  <a:lnTo>
                    <a:pt x="439" y="398"/>
                  </a:lnTo>
                  <a:lnTo>
                    <a:pt x="439" y="400"/>
                  </a:lnTo>
                  <a:lnTo>
                    <a:pt x="441" y="400"/>
                  </a:lnTo>
                  <a:lnTo>
                    <a:pt x="441" y="392"/>
                  </a:lnTo>
                  <a:lnTo>
                    <a:pt x="441" y="388"/>
                  </a:lnTo>
                  <a:lnTo>
                    <a:pt x="439" y="390"/>
                  </a:lnTo>
                  <a:lnTo>
                    <a:pt x="439" y="392"/>
                  </a:lnTo>
                  <a:lnTo>
                    <a:pt x="439" y="394"/>
                  </a:lnTo>
                  <a:lnTo>
                    <a:pt x="437" y="394"/>
                  </a:lnTo>
                  <a:lnTo>
                    <a:pt x="434" y="392"/>
                  </a:lnTo>
                  <a:lnTo>
                    <a:pt x="432" y="390"/>
                  </a:lnTo>
                  <a:lnTo>
                    <a:pt x="432" y="390"/>
                  </a:lnTo>
                  <a:lnTo>
                    <a:pt x="432" y="388"/>
                  </a:lnTo>
                  <a:lnTo>
                    <a:pt x="437" y="390"/>
                  </a:lnTo>
                  <a:lnTo>
                    <a:pt x="437" y="388"/>
                  </a:lnTo>
                  <a:lnTo>
                    <a:pt x="434" y="386"/>
                  </a:lnTo>
                  <a:lnTo>
                    <a:pt x="434" y="381"/>
                  </a:lnTo>
                  <a:lnTo>
                    <a:pt x="434" y="379"/>
                  </a:lnTo>
                  <a:lnTo>
                    <a:pt x="434" y="379"/>
                  </a:lnTo>
                  <a:lnTo>
                    <a:pt x="437" y="377"/>
                  </a:lnTo>
                  <a:lnTo>
                    <a:pt x="437" y="379"/>
                  </a:lnTo>
                  <a:lnTo>
                    <a:pt x="439" y="386"/>
                  </a:lnTo>
                  <a:lnTo>
                    <a:pt x="439" y="386"/>
                  </a:lnTo>
                  <a:lnTo>
                    <a:pt x="439" y="386"/>
                  </a:lnTo>
                  <a:lnTo>
                    <a:pt x="441" y="386"/>
                  </a:lnTo>
                  <a:lnTo>
                    <a:pt x="443" y="383"/>
                  </a:lnTo>
                  <a:lnTo>
                    <a:pt x="445" y="381"/>
                  </a:lnTo>
                  <a:lnTo>
                    <a:pt x="447" y="375"/>
                  </a:lnTo>
                  <a:lnTo>
                    <a:pt x="449" y="375"/>
                  </a:lnTo>
                  <a:lnTo>
                    <a:pt x="449" y="375"/>
                  </a:lnTo>
                  <a:lnTo>
                    <a:pt x="449" y="371"/>
                  </a:lnTo>
                  <a:lnTo>
                    <a:pt x="449" y="369"/>
                  </a:lnTo>
                  <a:lnTo>
                    <a:pt x="447" y="369"/>
                  </a:lnTo>
                  <a:lnTo>
                    <a:pt x="443" y="367"/>
                  </a:lnTo>
                  <a:lnTo>
                    <a:pt x="443" y="367"/>
                  </a:lnTo>
                  <a:lnTo>
                    <a:pt x="439" y="367"/>
                  </a:lnTo>
                  <a:lnTo>
                    <a:pt x="434" y="367"/>
                  </a:lnTo>
                  <a:lnTo>
                    <a:pt x="430" y="365"/>
                  </a:lnTo>
                  <a:lnTo>
                    <a:pt x="428" y="363"/>
                  </a:lnTo>
                  <a:lnTo>
                    <a:pt x="428" y="363"/>
                  </a:lnTo>
                  <a:lnTo>
                    <a:pt x="428" y="363"/>
                  </a:lnTo>
                  <a:lnTo>
                    <a:pt x="430" y="363"/>
                  </a:lnTo>
                  <a:lnTo>
                    <a:pt x="432" y="365"/>
                  </a:lnTo>
                  <a:lnTo>
                    <a:pt x="443" y="365"/>
                  </a:lnTo>
                  <a:lnTo>
                    <a:pt x="447" y="365"/>
                  </a:lnTo>
                  <a:lnTo>
                    <a:pt x="447" y="363"/>
                  </a:lnTo>
                  <a:lnTo>
                    <a:pt x="447" y="361"/>
                  </a:lnTo>
                  <a:lnTo>
                    <a:pt x="445" y="359"/>
                  </a:lnTo>
                  <a:lnTo>
                    <a:pt x="443" y="357"/>
                  </a:lnTo>
                  <a:lnTo>
                    <a:pt x="441" y="355"/>
                  </a:lnTo>
                  <a:lnTo>
                    <a:pt x="441" y="355"/>
                  </a:lnTo>
                  <a:lnTo>
                    <a:pt x="441" y="355"/>
                  </a:lnTo>
                  <a:lnTo>
                    <a:pt x="443" y="353"/>
                  </a:lnTo>
                  <a:lnTo>
                    <a:pt x="443" y="353"/>
                  </a:lnTo>
                  <a:lnTo>
                    <a:pt x="443" y="353"/>
                  </a:lnTo>
                  <a:lnTo>
                    <a:pt x="443" y="355"/>
                  </a:lnTo>
                  <a:lnTo>
                    <a:pt x="445" y="355"/>
                  </a:lnTo>
                  <a:lnTo>
                    <a:pt x="445" y="357"/>
                  </a:lnTo>
                  <a:lnTo>
                    <a:pt x="445" y="357"/>
                  </a:lnTo>
                  <a:lnTo>
                    <a:pt x="447" y="357"/>
                  </a:lnTo>
                  <a:lnTo>
                    <a:pt x="447" y="359"/>
                  </a:lnTo>
                  <a:lnTo>
                    <a:pt x="447" y="357"/>
                  </a:lnTo>
                  <a:lnTo>
                    <a:pt x="449" y="357"/>
                  </a:lnTo>
                  <a:lnTo>
                    <a:pt x="447" y="357"/>
                  </a:lnTo>
                  <a:lnTo>
                    <a:pt x="447" y="355"/>
                  </a:lnTo>
                  <a:lnTo>
                    <a:pt x="453" y="345"/>
                  </a:lnTo>
                  <a:lnTo>
                    <a:pt x="453" y="340"/>
                  </a:lnTo>
                  <a:lnTo>
                    <a:pt x="451" y="340"/>
                  </a:lnTo>
                  <a:lnTo>
                    <a:pt x="447" y="342"/>
                  </a:lnTo>
                  <a:lnTo>
                    <a:pt x="443" y="347"/>
                  </a:lnTo>
                  <a:lnTo>
                    <a:pt x="443" y="347"/>
                  </a:lnTo>
                  <a:lnTo>
                    <a:pt x="445" y="345"/>
                  </a:lnTo>
                  <a:lnTo>
                    <a:pt x="445" y="342"/>
                  </a:lnTo>
                  <a:lnTo>
                    <a:pt x="443" y="342"/>
                  </a:lnTo>
                  <a:lnTo>
                    <a:pt x="443" y="342"/>
                  </a:lnTo>
                  <a:lnTo>
                    <a:pt x="441" y="342"/>
                  </a:lnTo>
                  <a:lnTo>
                    <a:pt x="441" y="342"/>
                  </a:lnTo>
                  <a:lnTo>
                    <a:pt x="439" y="342"/>
                  </a:lnTo>
                  <a:lnTo>
                    <a:pt x="439" y="340"/>
                  </a:lnTo>
                  <a:lnTo>
                    <a:pt x="439" y="340"/>
                  </a:lnTo>
                  <a:lnTo>
                    <a:pt x="441" y="340"/>
                  </a:lnTo>
                  <a:lnTo>
                    <a:pt x="441" y="338"/>
                  </a:lnTo>
                  <a:lnTo>
                    <a:pt x="443" y="338"/>
                  </a:lnTo>
                  <a:lnTo>
                    <a:pt x="445" y="338"/>
                  </a:lnTo>
                  <a:lnTo>
                    <a:pt x="447" y="338"/>
                  </a:lnTo>
                  <a:lnTo>
                    <a:pt x="449" y="338"/>
                  </a:lnTo>
                  <a:lnTo>
                    <a:pt x="451" y="334"/>
                  </a:lnTo>
                  <a:lnTo>
                    <a:pt x="449" y="334"/>
                  </a:lnTo>
                  <a:lnTo>
                    <a:pt x="447" y="332"/>
                  </a:lnTo>
                  <a:lnTo>
                    <a:pt x="445" y="330"/>
                  </a:lnTo>
                  <a:lnTo>
                    <a:pt x="447" y="330"/>
                  </a:lnTo>
                  <a:lnTo>
                    <a:pt x="449" y="330"/>
                  </a:lnTo>
                  <a:lnTo>
                    <a:pt x="451" y="332"/>
                  </a:lnTo>
                  <a:lnTo>
                    <a:pt x="451" y="332"/>
                  </a:lnTo>
                  <a:lnTo>
                    <a:pt x="453" y="336"/>
                  </a:lnTo>
                  <a:lnTo>
                    <a:pt x="453" y="338"/>
                  </a:lnTo>
                  <a:lnTo>
                    <a:pt x="453" y="336"/>
                  </a:lnTo>
                  <a:lnTo>
                    <a:pt x="455" y="336"/>
                  </a:lnTo>
                  <a:lnTo>
                    <a:pt x="455" y="328"/>
                  </a:lnTo>
                  <a:lnTo>
                    <a:pt x="455" y="326"/>
                  </a:lnTo>
                  <a:lnTo>
                    <a:pt x="455" y="324"/>
                  </a:lnTo>
                  <a:lnTo>
                    <a:pt x="453" y="322"/>
                  </a:lnTo>
                  <a:lnTo>
                    <a:pt x="451" y="324"/>
                  </a:lnTo>
                  <a:lnTo>
                    <a:pt x="451" y="324"/>
                  </a:lnTo>
                  <a:lnTo>
                    <a:pt x="453" y="326"/>
                  </a:lnTo>
                  <a:lnTo>
                    <a:pt x="453" y="326"/>
                  </a:lnTo>
                  <a:lnTo>
                    <a:pt x="447" y="328"/>
                  </a:lnTo>
                  <a:lnTo>
                    <a:pt x="445" y="328"/>
                  </a:lnTo>
                  <a:lnTo>
                    <a:pt x="449" y="324"/>
                  </a:lnTo>
                  <a:lnTo>
                    <a:pt x="449" y="322"/>
                  </a:lnTo>
                  <a:lnTo>
                    <a:pt x="445" y="320"/>
                  </a:lnTo>
                  <a:lnTo>
                    <a:pt x="443" y="320"/>
                  </a:lnTo>
                  <a:lnTo>
                    <a:pt x="441" y="320"/>
                  </a:lnTo>
                  <a:lnTo>
                    <a:pt x="441" y="318"/>
                  </a:lnTo>
                  <a:lnTo>
                    <a:pt x="441" y="318"/>
                  </a:lnTo>
                  <a:lnTo>
                    <a:pt x="443" y="318"/>
                  </a:lnTo>
                  <a:lnTo>
                    <a:pt x="443" y="318"/>
                  </a:lnTo>
                  <a:lnTo>
                    <a:pt x="445" y="318"/>
                  </a:lnTo>
                  <a:lnTo>
                    <a:pt x="447" y="320"/>
                  </a:lnTo>
                  <a:lnTo>
                    <a:pt x="451" y="320"/>
                  </a:lnTo>
                  <a:lnTo>
                    <a:pt x="455" y="318"/>
                  </a:lnTo>
                  <a:lnTo>
                    <a:pt x="455" y="318"/>
                  </a:lnTo>
                  <a:lnTo>
                    <a:pt x="457" y="316"/>
                  </a:lnTo>
                  <a:lnTo>
                    <a:pt x="459" y="312"/>
                  </a:lnTo>
                  <a:lnTo>
                    <a:pt x="459" y="310"/>
                  </a:lnTo>
                  <a:lnTo>
                    <a:pt x="459" y="308"/>
                  </a:lnTo>
                  <a:lnTo>
                    <a:pt x="459" y="308"/>
                  </a:lnTo>
                  <a:lnTo>
                    <a:pt x="459" y="308"/>
                  </a:lnTo>
                  <a:lnTo>
                    <a:pt x="455" y="306"/>
                  </a:lnTo>
                  <a:lnTo>
                    <a:pt x="455" y="306"/>
                  </a:lnTo>
                  <a:lnTo>
                    <a:pt x="451" y="306"/>
                  </a:lnTo>
                  <a:lnTo>
                    <a:pt x="451" y="306"/>
                  </a:lnTo>
                  <a:lnTo>
                    <a:pt x="455" y="304"/>
                  </a:lnTo>
                  <a:lnTo>
                    <a:pt x="455" y="302"/>
                  </a:lnTo>
                  <a:lnTo>
                    <a:pt x="453" y="302"/>
                  </a:lnTo>
                  <a:lnTo>
                    <a:pt x="451" y="299"/>
                  </a:lnTo>
                  <a:lnTo>
                    <a:pt x="453" y="299"/>
                  </a:lnTo>
                  <a:lnTo>
                    <a:pt x="453" y="299"/>
                  </a:lnTo>
                  <a:lnTo>
                    <a:pt x="455" y="299"/>
                  </a:lnTo>
                  <a:lnTo>
                    <a:pt x="455" y="302"/>
                  </a:lnTo>
                  <a:lnTo>
                    <a:pt x="455" y="302"/>
                  </a:lnTo>
                  <a:lnTo>
                    <a:pt x="457" y="302"/>
                  </a:lnTo>
                  <a:lnTo>
                    <a:pt x="461" y="302"/>
                  </a:lnTo>
                  <a:lnTo>
                    <a:pt x="463" y="304"/>
                  </a:lnTo>
                  <a:lnTo>
                    <a:pt x="465" y="304"/>
                  </a:lnTo>
                  <a:lnTo>
                    <a:pt x="467" y="302"/>
                  </a:lnTo>
                  <a:lnTo>
                    <a:pt x="469" y="297"/>
                  </a:lnTo>
                  <a:lnTo>
                    <a:pt x="467" y="297"/>
                  </a:lnTo>
                  <a:lnTo>
                    <a:pt x="465" y="295"/>
                  </a:lnTo>
                  <a:lnTo>
                    <a:pt x="465" y="293"/>
                  </a:lnTo>
                  <a:lnTo>
                    <a:pt x="465" y="293"/>
                  </a:lnTo>
                  <a:lnTo>
                    <a:pt x="465" y="291"/>
                  </a:lnTo>
                  <a:lnTo>
                    <a:pt x="465" y="291"/>
                  </a:lnTo>
                  <a:lnTo>
                    <a:pt x="467" y="289"/>
                  </a:lnTo>
                  <a:lnTo>
                    <a:pt x="467" y="289"/>
                  </a:lnTo>
                  <a:lnTo>
                    <a:pt x="467" y="289"/>
                  </a:lnTo>
                  <a:lnTo>
                    <a:pt x="469" y="291"/>
                  </a:lnTo>
                  <a:lnTo>
                    <a:pt x="469" y="291"/>
                  </a:lnTo>
                  <a:lnTo>
                    <a:pt x="469" y="293"/>
                  </a:lnTo>
                  <a:lnTo>
                    <a:pt x="473" y="289"/>
                  </a:lnTo>
                  <a:lnTo>
                    <a:pt x="475" y="285"/>
                  </a:lnTo>
                  <a:lnTo>
                    <a:pt x="473" y="283"/>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GA</a:t>
              </a:r>
            </a:p>
          </p:txBody>
        </p:sp>
        <p:sp>
          <p:nvSpPr>
            <p:cNvPr id="283" name="Freeform 46">
              <a:extLst>
                <a:ext uri="{FF2B5EF4-FFF2-40B4-BE49-F238E27FC236}">
                  <a16:creationId xmlns:a16="http://schemas.microsoft.com/office/drawing/2014/main" id="{1D99F841-B7B4-F81A-2F82-78A240922801}"/>
                </a:ext>
              </a:extLst>
            </p:cNvPr>
            <p:cNvSpPr>
              <a:spLocks noEditPoints="1"/>
            </p:cNvSpPr>
            <p:nvPr/>
          </p:nvSpPr>
          <p:spPr bwMode="auto">
            <a:xfrm>
              <a:off x="3875" y="1974"/>
              <a:ext cx="807" cy="705"/>
            </a:xfrm>
            <a:custGeom>
              <a:avLst/>
              <a:gdLst>
                <a:gd name="T0" fmla="*/ 248 w 807"/>
                <a:gd name="T1" fmla="*/ 164 h 705"/>
                <a:gd name="T2" fmla="*/ 95 w 807"/>
                <a:gd name="T3" fmla="*/ 104 h 705"/>
                <a:gd name="T4" fmla="*/ 574 w 807"/>
                <a:gd name="T5" fmla="*/ 461 h 705"/>
                <a:gd name="T6" fmla="*/ 768 w 807"/>
                <a:gd name="T7" fmla="*/ 379 h 705"/>
                <a:gd name="T8" fmla="*/ 670 w 807"/>
                <a:gd name="T9" fmla="*/ 207 h 705"/>
                <a:gd name="T10" fmla="*/ 695 w 807"/>
                <a:gd name="T11" fmla="*/ 245 h 705"/>
                <a:gd name="T12" fmla="*/ 594 w 807"/>
                <a:gd name="T13" fmla="*/ 73 h 705"/>
                <a:gd name="T14" fmla="*/ 572 w 807"/>
                <a:gd name="T15" fmla="*/ 6 h 705"/>
                <a:gd name="T16" fmla="*/ 518 w 807"/>
                <a:gd name="T17" fmla="*/ 4 h 705"/>
                <a:gd name="T18" fmla="*/ 508 w 807"/>
                <a:gd name="T19" fmla="*/ 51 h 705"/>
                <a:gd name="T20" fmla="*/ 326 w 807"/>
                <a:gd name="T21" fmla="*/ 47 h 705"/>
                <a:gd name="T22" fmla="*/ 2 w 807"/>
                <a:gd name="T23" fmla="*/ 53 h 705"/>
                <a:gd name="T24" fmla="*/ 27 w 807"/>
                <a:gd name="T25" fmla="*/ 120 h 705"/>
                <a:gd name="T26" fmla="*/ 47 w 807"/>
                <a:gd name="T27" fmla="*/ 92 h 705"/>
                <a:gd name="T28" fmla="*/ 72 w 807"/>
                <a:gd name="T29" fmla="*/ 104 h 705"/>
                <a:gd name="T30" fmla="*/ 117 w 807"/>
                <a:gd name="T31" fmla="*/ 98 h 705"/>
                <a:gd name="T32" fmla="*/ 127 w 807"/>
                <a:gd name="T33" fmla="*/ 100 h 705"/>
                <a:gd name="T34" fmla="*/ 185 w 807"/>
                <a:gd name="T35" fmla="*/ 110 h 705"/>
                <a:gd name="T36" fmla="*/ 207 w 807"/>
                <a:gd name="T37" fmla="*/ 125 h 705"/>
                <a:gd name="T38" fmla="*/ 224 w 807"/>
                <a:gd name="T39" fmla="*/ 145 h 705"/>
                <a:gd name="T40" fmla="*/ 271 w 807"/>
                <a:gd name="T41" fmla="*/ 157 h 705"/>
                <a:gd name="T42" fmla="*/ 312 w 807"/>
                <a:gd name="T43" fmla="*/ 123 h 705"/>
                <a:gd name="T44" fmla="*/ 371 w 807"/>
                <a:gd name="T45" fmla="*/ 118 h 705"/>
                <a:gd name="T46" fmla="*/ 434 w 807"/>
                <a:gd name="T47" fmla="*/ 176 h 705"/>
                <a:gd name="T48" fmla="*/ 480 w 807"/>
                <a:gd name="T49" fmla="*/ 204 h 705"/>
                <a:gd name="T50" fmla="*/ 494 w 807"/>
                <a:gd name="T51" fmla="*/ 270 h 705"/>
                <a:gd name="T52" fmla="*/ 500 w 807"/>
                <a:gd name="T53" fmla="*/ 340 h 705"/>
                <a:gd name="T54" fmla="*/ 502 w 807"/>
                <a:gd name="T55" fmla="*/ 309 h 705"/>
                <a:gd name="T56" fmla="*/ 525 w 807"/>
                <a:gd name="T57" fmla="*/ 344 h 705"/>
                <a:gd name="T58" fmla="*/ 523 w 807"/>
                <a:gd name="T59" fmla="*/ 373 h 705"/>
                <a:gd name="T60" fmla="*/ 568 w 807"/>
                <a:gd name="T61" fmla="*/ 430 h 705"/>
                <a:gd name="T62" fmla="*/ 586 w 807"/>
                <a:gd name="T63" fmla="*/ 407 h 705"/>
                <a:gd name="T64" fmla="*/ 607 w 807"/>
                <a:gd name="T65" fmla="*/ 438 h 705"/>
                <a:gd name="T66" fmla="*/ 615 w 807"/>
                <a:gd name="T67" fmla="*/ 481 h 705"/>
                <a:gd name="T68" fmla="*/ 639 w 807"/>
                <a:gd name="T69" fmla="*/ 512 h 705"/>
                <a:gd name="T70" fmla="*/ 686 w 807"/>
                <a:gd name="T71" fmla="*/ 547 h 705"/>
                <a:gd name="T72" fmla="*/ 697 w 807"/>
                <a:gd name="T73" fmla="*/ 586 h 705"/>
                <a:gd name="T74" fmla="*/ 750 w 807"/>
                <a:gd name="T75" fmla="*/ 575 h 705"/>
                <a:gd name="T76" fmla="*/ 768 w 807"/>
                <a:gd name="T77" fmla="*/ 561 h 705"/>
                <a:gd name="T78" fmla="*/ 682 w 807"/>
                <a:gd name="T79" fmla="*/ 217 h 705"/>
                <a:gd name="T80" fmla="*/ 738 w 807"/>
                <a:gd name="T81" fmla="*/ 334 h 705"/>
                <a:gd name="T82" fmla="*/ 799 w 807"/>
                <a:gd name="T83" fmla="*/ 698 h 705"/>
                <a:gd name="T84" fmla="*/ 490 w 807"/>
                <a:gd name="T85" fmla="*/ 233 h 705"/>
                <a:gd name="T86" fmla="*/ 486 w 807"/>
                <a:gd name="T87" fmla="*/ 219 h 705"/>
                <a:gd name="T88" fmla="*/ 473 w 807"/>
                <a:gd name="T89" fmla="*/ 194 h 705"/>
                <a:gd name="T90" fmla="*/ 647 w 807"/>
                <a:gd name="T91" fmla="*/ 664 h 705"/>
                <a:gd name="T92" fmla="*/ 615 w 807"/>
                <a:gd name="T93" fmla="*/ 668 h 705"/>
                <a:gd name="T94" fmla="*/ 662 w 807"/>
                <a:gd name="T95" fmla="*/ 520 h 705"/>
                <a:gd name="T96" fmla="*/ 654 w 807"/>
                <a:gd name="T97" fmla="*/ 520 h 705"/>
                <a:gd name="T98" fmla="*/ 541 w 807"/>
                <a:gd name="T99" fmla="*/ 672 h 705"/>
                <a:gd name="T100" fmla="*/ 584 w 807"/>
                <a:gd name="T101" fmla="*/ 463 h 705"/>
                <a:gd name="T102" fmla="*/ 668 w 807"/>
                <a:gd name="T103" fmla="*/ 645 h 705"/>
                <a:gd name="T104" fmla="*/ 662 w 807"/>
                <a:gd name="T105" fmla="*/ 657 h 705"/>
                <a:gd name="T106" fmla="*/ 713 w 807"/>
                <a:gd name="T107" fmla="*/ 575 h 705"/>
                <a:gd name="T108" fmla="*/ 516 w 807"/>
                <a:gd name="T109" fmla="*/ 358 h 705"/>
                <a:gd name="T110" fmla="*/ 676 w 807"/>
                <a:gd name="T111" fmla="*/ 647 h 705"/>
                <a:gd name="T112" fmla="*/ 742 w 807"/>
                <a:gd name="T113" fmla="*/ 584 h 705"/>
                <a:gd name="T114" fmla="*/ 766 w 807"/>
                <a:gd name="T115" fmla="*/ 580 h 705"/>
                <a:gd name="T116" fmla="*/ 781 w 807"/>
                <a:gd name="T117" fmla="*/ 561 h 705"/>
                <a:gd name="T118" fmla="*/ 680 w 807"/>
                <a:gd name="T119" fmla="*/ 637 h 705"/>
                <a:gd name="T120" fmla="*/ 738 w 807"/>
                <a:gd name="T121" fmla="*/ 606 h 705"/>
                <a:gd name="T122" fmla="*/ 717 w 807"/>
                <a:gd name="T123" fmla="*/ 631 h 705"/>
                <a:gd name="T124" fmla="*/ 764 w 807"/>
                <a:gd name="T125" fmla="*/ 5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7" h="705">
                  <a:moveTo>
                    <a:pt x="295" y="143"/>
                  </a:moveTo>
                  <a:lnTo>
                    <a:pt x="293" y="145"/>
                  </a:lnTo>
                  <a:lnTo>
                    <a:pt x="289" y="147"/>
                  </a:lnTo>
                  <a:lnTo>
                    <a:pt x="289" y="149"/>
                  </a:lnTo>
                  <a:lnTo>
                    <a:pt x="293" y="147"/>
                  </a:lnTo>
                  <a:lnTo>
                    <a:pt x="295" y="145"/>
                  </a:lnTo>
                  <a:lnTo>
                    <a:pt x="297" y="143"/>
                  </a:lnTo>
                  <a:lnTo>
                    <a:pt x="295" y="143"/>
                  </a:lnTo>
                  <a:lnTo>
                    <a:pt x="295" y="143"/>
                  </a:lnTo>
                  <a:close/>
                  <a:moveTo>
                    <a:pt x="285" y="151"/>
                  </a:moveTo>
                  <a:lnTo>
                    <a:pt x="285" y="153"/>
                  </a:lnTo>
                  <a:lnTo>
                    <a:pt x="283" y="155"/>
                  </a:lnTo>
                  <a:lnTo>
                    <a:pt x="283" y="155"/>
                  </a:lnTo>
                  <a:lnTo>
                    <a:pt x="283" y="155"/>
                  </a:lnTo>
                  <a:lnTo>
                    <a:pt x="281" y="155"/>
                  </a:lnTo>
                  <a:lnTo>
                    <a:pt x="281" y="155"/>
                  </a:lnTo>
                  <a:lnTo>
                    <a:pt x="281" y="157"/>
                  </a:lnTo>
                  <a:lnTo>
                    <a:pt x="281" y="157"/>
                  </a:lnTo>
                  <a:lnTo>
                    <a:pt x="281" y="157"/>
                  </a:lnTo>
                  <a:lnTo>
                    <a:pt x="279" y="157"/>
                  </a:lnTo>
                  <a:lnTo>
                    <a:pt x="260" y="170"/>
                  </a:lnTo>
                  <a:lnTo>
                    <a:pt x="258" y="172"/>
                  </a:lnTo>
                  <a:lnTo>
                    <a:pt x="256" y="172"/>
                  </a:lnTo>
                  <a:lnTo>
                    <a:pt x="252" y="172"/>
                  </a:lnTo>
                  <a:lnTo>
                    <a:pt x="250" y="172"/>
                  </a:lnTo>
                  <a:lnTo>
                    <a:pt x="254" y="172"/>
                  </a:lnTo>
                  <a:lnTo>
                    <a:pt x="256" y="172"/>
                  </a:lnTo>
                  <a:lnTo>
                    <a:pt x="260" y="172"/>
                  </a:lnTo>
                  <a:lnTo>
                    <a:pt x="262" y="172"/>
                  </a:lnTo>
                  <a:lnTo>
                    <a:pt x="269" y="168"/>
                  </a:lnTo>
                  <a:lnTo>
                    <a:pt x="271" y="166"/>
                  </a:lnTo>
                  <a:lnTo>
                    <a:pt x="279" y="159"/>
                  </a:lnTo>
                  <a:lnTo>
                    <a:pt x="283" y="155"/>
                  </a:lnTo>
                  <a:lnTo>
                    <a:pt x="285" y="153"/>
                  </a:lnTo>
                  <a:lnTo>
                    <a:pt x="285" y="153"/>
                  </a:lnTo>
                  <a:lnTo>
                    <a:pt x="287" y="151"/>
                  </a:lnTo>
                  <a:lnTo>
                    <a:pt x="287" y="151"/>
                  </a:lnTo>
                  <a:lnTo>
                    <a:pt x="287" y="151"/>
                  </a:lnTo>
                  <a:lnTo>
                    <a:pt x="285" y="151"/>
                  </a:lnTo>
                  <a:close/>
                  <a:moveTo>
                    <a:pt x="252" y="166"/>
                  </a:moveTo>
                  <a:lnTo>
                    <a:pt x="252" y="164"/>
                  </a:lnTo>
                  <a:lnTo>
                    <a:pt x="250" y="164"/>
                  </a:lnTo>
                  <a:lnTo>
                    <a:pt x="250" y="164"/>
                  </a:lnTo>
                  <a:lnTo>
                    <a:pt x="248" y="164"/>
                  </a:lnTo>
                  <a:lnTo>
                    <a:pt x="246" y="164"/>
                  </a:lnTo>
                  <a:lnTo>
                    <a:pt x="244" y="166"/>
                  </a:lnTo>
                  <a:lnTo>
                    <a:pt x="244" y="166"/>
                  </a:lnTo>
                  <a:lnTo>
                    <a:pt x="240" y="166"/>
                  </a:lnTo>
                  <a:lnTo>
                    <a:pt x="240" y="166"/>
                  </a:lnTo>
                  <a:lnTo>
                    <a:pt x="242" y="168"/>
                  </a:lnTo>
                  <a:lnTo>
                    <a:pt x="244" y="168"/>
                  </a:lnTo>
                  <a:lnTo>
                    <a:pt x="244" y="168"/>
                  </a:lnTo>
                  <a:lnTo>
                    <a:pt x="244" y="170"/>
                  </a:lnTo>
                  <a:lnTo>
                    <a:pt x="246" y="170"/>
                  </a:lnTo>
                  <a:lnTo>
                    <a:pt x="246" y="170"/>
                  </a:lnTo>
                  <a:lnTo>
                    <a:pt x="248" y="170"/>
                  </a:lnTo>
                  <a:lnTo>
                    <a:pt x="250" y="170"/>
                  </a:lnTo>
                  <a:lnTo>
                    <a:pt x="250" y="170"/>
                  </a:lnTo>
                  <a:lnTo>
                    <a:pt x="250" y="168"/>
                  </a:lnTo>
                  <a:lnTo>
                    <a:pt x="250" y="168"/>
                  </a:lnTo>
                  <a:lnTo>
                    <a:pt x="250" y="166"/>
                  </a:lnTo>
                  <a:lnTo>
                    <a:pt x="252" y="166"/>
                  </a:lnTo>
                  <a:close/>
                  <a:moveTo>
                    <a:pt x="95" y="104"/>
                  </a:moveTo>
                  <a:lnTo>
                    <a:pt x="92" y="106"/>
                  </a:lnTo>
                  <a:lnTo>
                    <a:pt x="92" y="106"/>
                  </a:lnTo>
                  <a:lnTo>
                    <a:pt x="90" y="106"/>
                  </a:lnTo>
                  <a:lnTo>
                    <a:pt x="80" y="110"/>
                  </a:lnTo>
                  <a:lnTo>
                    <a:pt x="76" y="110"/>
                  </a:lnTo>
                  <a:lnTo>
                    <a:pt x="74" y="110"/>
                  </a:lnTo>
                  <a:lnTo>
                    <a:pt x="72" y="110"/>
                  </a:lnTo>
                  <a:lnTo>
                    <a:pt x="72" y="112"/>
                  </a:lnTo>
                  <a:lnTo>
                    <a:pt x="68" y="112"/>
                  </a:lnTo>
                  <a:lnTo>
                    <a:pt x="62" y="114"/>
                  </a:lnTo>
                  <a:lnTo>
                    <a:pt x="58" y="116"/>
                  </a:lnTo>
                  <a:lnTo>
                    <a:pt x="47" y="118"/>
                  </a:lnTo>
                  <a:lnTo>
                    <a:pt x="39" y="120"/>
                  </a:lnTo>
                  <a:lnTo>
                    <a:pt x="37" y="120"/>
                  </a:lnTo>
                  <a:lnTo>
                    <a:pt x="43" y="120"/>
                  </a:lnTo>
                  <a:lnTo>
                    <a:pt x="105" y="106"/>
                  </a:lnTo>
                  <a:lnTo>
                    <a:pt x="105" y="106"/>
                  </a:lnTo>
                  <a:lnTo>
                    <a:pt x="105" y="106"/>
                  </a:lnTo>
                  <a:lnTo>
                    <a:pt x="105" y="106"/>
                  </a:lnTo>
                  <a:lnTo>
                    <a:pt x="105" y="106"/>
                  </a:lnTo>
                  <a:lnTo>
                    <a:pt x="107" y="106"/>
                  </a:lnTo>
                  <a:lnTo>
                    <a:pt x="107" y="106"/>
                  </a:lnTo>
                  <a:lnTo>
                    <a:pt x="109" y="104"/>
                  </a:lnTo>
                  <a:lnTo>
                    <a:pt x="99" y="104"/>
                  </a:lnTo>
                  <a:lnTo>
                    <a:pt x="95" y="104"/>
                  </a:lnTo>
                  <a:close/>
                  <a:moveTo>
                    <a:pt x="783" y="516"/>
                  </a:moveTo>
                  <a:lnTo>
                    <a:pt x="783" y="518"/>
                  </a:lnTo>
                  <a:lnTo>
                    <a:pt x="783" y="518"/>
                  </a:lnTo>
                  <a:lnTo>
                    <a:pt x="783" y="518"/>
                  </a:lnTo>
                  <a:lnTo>
                    <a:pt x="785" y="518"/>
                  </a:lnTo>
                  <a:lnTo>
                    <a:pt x="785" y="516"/>
                  </a:lnTo>
                  <a:lnTo>
                    <a:pt x="785" y="510"/>
                  </a:lnTo>
                  <a:lnTo>
                    <a:pt x="785" y="510"/>
                  </a:lnTo>
                  <a:lnTo>
                    <a:pt x="785" y="510"/>
                  </a:lnTo>
                  <a:lnTo>
                    <a:pt x="783" y="510"/>
                  </a:lnTo>
                  <a:lnTo>
                    <a:pt x="783" y="512"/>
                  </a:lnTo>
                  <a:lnTo>
                    <a:pt x="783" y="512"/>
                  </a:lnTo>
                  <a:lnTo>
                    <a:pt x="783" y="512"/>
                  </a:lnTo>
                  <a:lnTo>
                    <a:pt x="783" y="514"/>
                  </a:lnTo>
                  <a:lnTo>
                    <a:pt x="783" y="514"/>
                  </a:lnTo>
                  <a:lnTo>
                    <a:pt x="783" y="514"/>
                  </a:lnTo>
                  <a:lnTo>
                    <a:pt x="783" y="514"/>
                  </a:lnTo>
                  <a:lnTo>
                    <a:pt x="783" y="514"/>
                  </a:lnTo>
                  <a:lnTo>
                    <a:pt x="783" y="514"/>
                  </a:lnTo>
                  <a:lnTo>
                    <a:pt x="783" y="514"/>
                  </a:lnTo>
                  <a:lnTo>
                    <a:pt x="783" y="514"/>
                  </a:lnTo>
                  <a:lnTo>
                    <a:pt x="783" y="514"/>
                  </a:lnTo>
                  <a:lnTo>
                    <a:pt x="783" y="516"/>
                  </a:lnTo>
                  <a:lnTo>
                    <a:pt x="783" y="516"/>
                  </a:lnTo>
                  <a:close/>
                  <a:moveTo>
                    <a:pt x="592" y="467"/>
                  </a:moveTo>
                  <a:lnTo>
                    <a:pt x="590" y="465"/>
                  </a:lnTo>
                  <a:lnTo>
                    <a:pt x="588" y="465"/>
                  </a:lnTo>
                  <a:lnTo>
                    <a:pt x="588" y="465"/>
                  </a:lnTo>
                  <a:lnTo>
                    <a:pt x="588" y="465"/>
                  </a:lnTo>
                  <a:lnTo>
                    <a:pt x="586" y="467"/>
                  </a:lnTo>
                  <a:lnTo>
                    <a:pt x="584" y="467"/>
                  </a:lnTo>
                  <a:lnTo>
                    <a:pt x="582" y="467"/>
                  </a:lnTo>
                  <a:lnTo>
                    <a:pt x="582" y="467"/>
                  </a:lnTo>
                  <a:lnTo>
                    <a:pt x="580" y="467"/>
                  </a:lnTo>
                  <a:lnTo>
                    <a:pt x="578" y="465"/>
                  </a:lnTo>
                  <a:lnTo>
                    <a:pt x="576" y="463"/>
                  </a:lnTo>
                  <a:lnTo>
                    <a:pt x="576" y="461"/>
                  </a:lnTo>
                  <a:lnTo>
                    <a:pt x="576" y="461"/>
                  </a:lnTo>
                  <a:lnTo>
                    <a:pt x="574" y="459"/>
                  </a:lnTo>
                  <a:lnTo>
                    <a:pt x="574" y="459"/>
                  </a:lnTo>
                  <a:lnTo>
                    <a:pt x="574" y="459"/>
                  </a:lnTo>
                  <a:lnTo>
                    <a:pt x="574" y="459"/>
                  </a:lnTo>
                  <a:lnTo>
                    <a:pt x="572" y="459"/>
                  </a:lnTo>
                  <a:lnTo>
                    <a:pt x="574" y="461"/>
                  </a:lnTo>
                  <a:lnTo>
                    <a:pt x="576" y="465"/>
                  </a:lnTo>
                  <a:lnTo>
                    <a:pt x="576" y="467"/>
                  </a:lnTo>
                  <a:lnTo>
                    <a:pt x="578" y="467"/>
                  </a:lnTo>
                  <a:lnTo>
                    <a:pt x="578" y="467"/>
                  </a:lnTo>
                  <a:lnTo>
                    <a:pt x="584" y="471"/>
                  </a:lnTo>
                  <a:lnTo>
                    <a:pt x="584" y="471"/>
                  </a:lnTo>
                  <a:lnTo>
                    <a:pt x="584" y="471"/>
                  </a:lnTo>
                  <a:lnTo>
                    <a:pt x="586" y="471"/>
                  </a:lnTo>
                  <a:lnTo>
                    <a:pt x="588" y="469"/>
                  </a:lnTo>
                  <a:lnTo>
                    <a:pt x="590" y="467"/>
                  </a:lnTo>
                  <a:lnTo>
                    <a:pt x="592" y="467"/>
                  </a:lnTo>
                  <a:lnTo>
                    <a:pt x="592" y="467"/>
                  </a:lnTo>
                  <a:lnTo>
                    <a:pt x="592" y="467"/>
                  </a:lnTo>
                  <a:close/>
                  <a:moveTo>
                    <a:pt x="781" y="473"/>
                  </a:moveTo>
                  <a:lnTo>
                    <a:pt x="781" y="471"/>
                  </a:lnTo>
                  <a:lnTo>
                    <a:pt x="781" y="471"/>
                  </a:lnTo>
                  <a:lnTo>
                    <a:pt x="781" y="467"/>
                  </a:lnTo>
                  <a:lnTo>
                    <a:pt x="781" y="450"/>
                  </a:lnTo>
                  <a:lnTo>
                    <a:pt x="781" y="448"/>
                  </a:lnTo>
                  <a:lnTo>
                    <a:pt x="781" y="446"/>
                  </a:lnTo>
                  <a:lnTo>
                    <a:pt x="781" y="444"/>
                  </a:lnTo>
                  <a:lnTo>
                    <a:pt x="779" y="442"/>
                  </a:lnTo>
                  <a:lnTo>
                    <a:pt x="779" y="440"/>
                  </a:lnTo>
                  <a:lnTo>
                    <a:pt x="781" y="436"/>
                  </a:lnTo>
                  <a:lnTo>
                    <a:pt x="779" y="422"/>
                  </a:lnTo>
                  <a:lnTo>
                    <a:pt x="779" y="422"/>
                  </a:lnTo>
                  <a:lnTo>
                    <a:pt x="779" y="418"/>
                  </a:lnTo>
                  <a:lnTo>
                    <a:pt x="777" y="405"/>
                  </a:lnTo>
                  <a:lnTo>
                    <a:pt x="777" y="401"/>
                  </a:lnTo>
                  <a:lnTo>
                    <a:pt x="774" y="401"/>
                  </a:lnTo>
                  <a:lnTo>
                    <a:pt x="774" y="399"/>
                  </a:lnTo>
                  <a:lnTo>
                    <a:pt x="774" y="397"/>
                  </a:lnTo>
                  <a:lnTo>
                    <a:pt x="774" y="395"/>
                  </a:lnTo>
                  <a:lnTo>
                    <a:pt x="770" y="385"/>
                  </a:lnTo>
                  <a:lnTo>
                    <a:pt x="770" y="385"/>
                  </a:lnTo>
                  <a:lnTo>
                    <a:pt x="768" y="383"/>
                  </a:lnTo>
                  <a:lnTo>
                    <a:pt x="766" y="383"/>
                  </a:lnTo>
                  <a:lnTo>
                    <a:pt x="764" y="383"/>
                  </a:lnTo>
                  <a:lnTo>
                    <a:pt x="764" y="383"/>
                  </a:lnTo>
                  <a:lnTo>
                    <a:pt x="766" y="381"/>
                  </a:lnTo>
                  <a:lnTo>
                    <a:pt x="766" y="381"/>
                  </a:lnTo>
                  <a:lnTo>
                    <a:pt x="768" y="381"/>
                  </a:lnTo>
                  <a:lnTo>
                    <a:pt x="768" y="379"/>
                  </a:lnTo>
                  <a:lnTo>
                    <a:pt x="768" y="379"/>
                  </a:lnTo>
                  <a:lnTo>
                    <a:pt x="766" y="375"/>
                  </a:lnTo>
                  <a:lnTo>
                    <a:pt x="762" y="368"/>
                  </a:lnTo>
                  <a:lnTo>
                    <a:pt x="760" y="364"/>
                  </a:lnTo>
                  <a:lnTo>
                    <a:pt x="758" y="364"/>
                  </a:lnTo>
                  <a:lnTo>
                    <a:pt x="758" y="362"/>
                  </a:lnTo>
                  <a:lnTo>
                    <a:pt x="754" y="360"/>
                  </a:lnTo>
                  <a:lnTo>
                    <a:pt x="754" y="360"/>
                  </a:lnTo>
                  <a:lnTo>
                    <a:pt x="750" y="356"/>
                  </a:lnTo>
                  <a:lnTo>
                    <a:pt x="750" y="356"/>
                  </a:lnTo>
                  <a:lnTo>
                    <a:pt x="748" y="358"/>
                  </a:lnTo>
                  <a:lnTo>
                    <a:pt x="746" y="358"/>
                  </a:lnTo>
                  <a:lnTo>
                    <a:pt x="744" y="356"/>
                  </a:lnTo>
                  <a:lnTo>
                    <a:pt x="744" y="356"/>
                  </a:lnTo>
                  <a:lnTo>
                    <a:pt x="742" y="354"/>
                  </a:lnTo>
                  <a:lnTo>
                    <a:pt x="740" y="354"/>
                  </a:lnTo>
                  <a:lnTo>
                    <a:pt x="742" y="354"/>
                  </a:lnTo>
                  <a:lnTo>
                    <a:pt x="742" y="354"/>
                  </a:lnTo>
                  <a:lnTo>
                    <a:pt x="744" y="354"/>
                  </a:lnTo>
                  <a:lnTo>
                    <a:pt x="744" y="354"/>
                  </a:lnTo>
                  <a:lnTo>
                    <a:pt x="746" y="356"/>
                  </a:lnTo>
                  <a:lnTo>
                    <a:pt x="750" y="356"/>
                  </a:lnTo>
                  <a:lnTo>
                    <a:pt x="752" y="356"/>
                  </a:lnTo>
                  <a:lnTo>
                    <a:pt x="752" y="358"/>
                  </a:lnTo>
                  <a:lnTo>
                    <a:pt x="752" y="356"/>
                  </a:lnTo>
                  <a:lnTo>
                    <a:pt x="731" y="325"/>
                  </a:lnTo>
                  <a:lnTo>
                    <a:pt x="725" y="311"/>
                  </a:lnTo>
                  <a:lnTo>
                    <a:pt x="684" y="250"/>
                  </a:lnTo>
                  <a:lnTo>
                    <a:pt x="682" y="245"/>
                  </a:lnTo>
                  <a:lnTo>
                    <a:pt x="678" y="241"/>
                  </a:lnTo>
                  <a:lnTo>
                    <a:pt x="676" y="235"/>
                  </a:lnTo>
                  <a:lnTo>
                    <a:pt x="674" y="233"/>
                  </a:lnTo>
                  <a:lnTo>
                    <a:pt x="670" y="223"/>
                  </a:lnTo>
                  <a:lnTo>
                    <a:pt x="670" y="219"/>
                  </a:lnTo>
                  <a:lnTo>
                    <a:pt x="668" y="217"/>
                  </a:lnTo>
                  <a:lnTo>
                    <a:pt x="666" y="213"/>
                  </a:lnTo>
                  <a:lnTo>
                    <a:pt x="666" y="211"/>
                  </a:lnTo>
                  <a:lnTo>
                    <a:pt x="666" y="211"/>
                  </a:lnTo>
                  <a:lnTo>
                    <a:pt x="664" y="209"/>
                  </a:lnTo>
                  <a:lnTo>
                    <a:pt x="660" y="198"/>
                  </a:lnTo>
                  <a:lnTo>
                    <a:pt x="662" y="198"/>
                  </a:lnTo>
                  <a:lnTo>
                    <a:pt x="666" y="202"/>
                  </a:lnTo>
                  <a:lnTo>
                    <a:pt x="670" y="202"/>
                  </a:lnTo>
                  <a:lnTo>
                    <a:pt x="672" y="204"/>
                  </a:lnTo>
                  <a:lnTo>
                    <a:pt x="670" y="207"/>
                  </a:lnTo>
                  <a:lnTo>
                    <a:pt x="670" y="209"/>
                  </a:lnTo>
                  <a:lnTo>
                    <a:pt x="670" y="207"/>
                  </a:lnTo>
                  <a:lnTo>
                    <a:pt x="670" y="209"/>
                  </a:lnTo>
                  <a:lnTo>
                    <a:pt x="670" y="211"/>
                  </a:lnTo>
                  <a:lnTo>
                    <a:pt x="670" y="213"/>
                  </a:lnTo>
                  <a:lnTo>
                    <a:pt x="670" y="215"/>
                  </a:lnTo>
                  <a:lnTo>
                    <a:pt x="672" y="217"/>
                  </a:lnTo>
                  <a:lnTo>
                    <a:pt x="674" y="217"/>
                  </a:lnTo>
                  <a:lnTo>
                    <a:pt x="680" y="217"/>
                  </a:lnTo>
                  <a:lnTo>
                    <a:pt x="680" y="217"/>
                  </a:lnTo>
                  <a:lnTo>
                    <a:pt x="682" y="217"/>
                  </a:lnTo>
                  <a:lnTo>
                    <a:pt x="682" y="215"/>
                  </a:lnTo>
                  <a:lnTo>
                    <a:pt x="680" y="215"/>
                  </a:lnTo>
                  <a:lnTo>
                    <a:pt x="680" y="213"/>
                  </a:lnTo>
                  <a:lnTo>
                    <a:pt x="682" y="213"/>
                  </a:lnTo>
                  <a:lnTo>
                    <a:pt x="682" y="213"/>
                  </a:lnTo>
                  <a:lnTo>
                    <a:pt x="682" y="215"/>
                  </a:lnTo>
                  <a:lnTo>
                    <a:pt x="682" y="215"/>
                  </a:lnTo>
                  <a:lnTo>
                    <a:pt x="684" y="213"/>
                  </a:lnTo>
                  <a:lnTo>
                    <a:pt x="686" y="215"/>
                  </a:lnTo>
                  <a:lnTo>
                    <a:pt x="688" y="215"/>
                  </a:lnTo>
                  <a:lnTo>
                    <a:pt x="688" y="217"/>
                  </a:lnTo>
                  <a:lnTo>
                    <a:pt x="690" y="221"/>
                  </a:lnTo>
                  <a:lnTo>
                    <a:pt x="690" y="225"/>
                  </a:lnTo>
                  <a:lnTo>
                    <a:pt x="690" y="239"/>
                  </a:lnTo>
                  <a:lnTo>
                    <a:pt x="693" y="258"/>
                  </a:lnTo>
                  <a:lnTo>
                    <a:pt x="695" y="262"/>
                  </a:lnTo>
                  <a:lnTo>
                    <a:pt x="699" y="268"/>
                  </a:lnTo>
                  <a:lnTo>
                    <a:pt x="707" y="278"/>
                  </a:lnTo>
                  <a:lnTo>
                    <a:pt x="707" y="282"/>
                  </a:lnTo>
                  <a:lnTo>
                    <a:pt x="711" y="284"/>
                  </a:lnTo>
                  <a:lnTo>
                    <a:pt x="711" y="284"/>
                  </a:lnTo>
                  <a:lnTo>
                    <a:pt x="713" y="286"/>
                  </a:lnTo>
                  <a:lnTo>
                    <a:pt x="715" y="291"/>
                  </a:lnTo>
                  <a:lnTo>
                    <a:pt x="715" y="286"/>
                  </a:lnTo>
                  <a:lnTo>
                    <a:pt x="705" y="276"/>
                  </a:lnTo>
                  <a:lnTo>
                    <a:pt x="703" y="270"/>
                  </a:lnTo>
                  <a:lnTo>
                    <a:pt x="701" y="270"/>
                  </a:lnTo>
                  <a:lnTo>
                    <a:pt x="699" y="266"/>
                  </a:lnTo>
                  <a:lnTo>
                    <a:pt x="695" y="256"/>
                  </a:lnTo>
                  <a:lnTo>
                    <a:pt x="695" y="250"/>
                  </a:lnTo>
                  <a:lnTo>
                    <a:pt x="695" y="248"/>
                  </a:lnTo>
                  <a:lnTo>
                    <a:pt x="693" y="248"/>
                  </a:lnTo>
                  <a:lnTo>
                    <a:pt x="695" y="245"/>
                  </a:lnTo>
                  <a:lnTo>
                    <a:pt x="693" y="235"/>
                  </a:lnTo>
                  <a:lnTo>
                    <a:pt x="693" y="235"/>
                  </a:lnTo>
                  <a:lnTo>
                    <a:pt x="693" y="235"/>
                  </a:lnTo>
                  <a:lnTo>
                    <a:pt x="693" y="233"/>
                  </a:lnTo>
                  <a:lnTo>
                    <a:pt x="695" y="233"/>
                  </a:lnTo>
                  <a:lnTo>
                    <a:pt x="695" y="231"/>
                  </a:lnTo>
                  <a:lnTo>
                    <a:pt x="695" y="231"/>
                  </a:lnTo>
                  <a:lnTo>
                    <a:pt x="697" y="229"/>
                  </a:lnTo>
                  <a:lnTo>
                    <a:pt x="697" y="227"/>
                  </a:lnTo>
                  <a:lnTo>
                    <a:pt x="695" y="225"/>
                  </a:lnTo>
                  <a:lnTo>
                    <a:pt x="690" y="219"/>
                  </a:lnTo>
                  <a:lnTo>
                    <a:pt x="684" y="211"/>
                  </a:lnTo>
                  <a:lnTo>
                    <a:pt x="678" y="204"/>
                  </a:lnTo>
                  <a:lnTo>
                    <a:pt x="670" y="194"/>
                  </a:lnTo>
                  <a:lnTo>
                    <a:pt x="654" y="176"/>
                  </a:lnTo>
                  <a:lnTo>
                    <a:pt x="654" y="174"/>
                  </a:lnTo>
                  <a:lnTo>
                    <a:pt x="652" y="172"/>
                  </a:lnTo>
                  <a:lnTo>
                    <a:pt x="650" y="172"/>
                  </a:lnTo>
                  <a:lnTo>
                    <a:pt x="650" y="170"/>
                  </a:lnTo>
                  <a:lnTo>
                    <a:pt x="650" y="168"/>
                  </a:lnTo>
                  <a:lnTo>
                    <a:pt x="637" y="153"/>
                  </a:lnTo>
                  <a:lnTo>
                    <a:pt x="629" y="137"/>
                  </a:lnTo>
                  <a:lnTo>
                    <a:pt x="621" y="127"/>
                  </a:lnTo>
                  <a:lnTo>
                    <a:pt x="615" y="118"/>
                  </a:lnTo>
                  <a:lnTo>
                    <a:pt x="615" y="118"/>
                  </a:lnTo>
                  <a:lnTo>
                    <a:pt x="615" y="116"/>
                  </a:lnTo>
                  <a:lnTo>
                    <a:pt x="613" y="114"/>
                  </a:lnTo>
                  <a:lnTo>
                    <a:pt x="613" y="112"/>
                  </a:lnTo>
                  <a:lnTo>
                    <a:pt x="609" y="106"/>
                  </a:lnTo>
                  <a:lnTo>
                    <a:pt x="607" y="100"/>
                  </a:lnTo>
                  <a:lnTo>
                    <a:pt x="604" y="100"/>
                  </a:lnTo>
                  <a:lnTo>
                    <a:pt x="604" y="98"/>
                  </a:lnTo>
                  <a:lnTo>
                    <a:pt x="602" y="94"/>
                  </a:lnTo>
                  <a:lnTo>
                    <a:pt x="602" y="92"/>
                  </a:lnTo>
                  <a:lnTo>
                    <a:pt x="602" y="92"/>
                  </a:lnTo>
                  <a:lnTo>
                    <a:pt x="602" y="92"/>
                  </a:lnTo>
                  <a:lnTo>
                    <a:pt x="600" y="90"/>
                  </a:lnTo>
                  <a:lnTo>
                    <a:pt x="600" y="90"/>
                  </a:lnTo>
                  <a:lnTo>
                    <a:pt x="600" y="90"/>
                  </a:lnTo>
                  <a:lnTo>
                    <a:pt x="600" y="88"/>
                  </a:lnTo>
                  <a:lnTo>
                    <a:pt x="600" y="88"/>
                  </a:lnTo>
                  <a:lnTo>
                    <a:pt x="598" y="88"/>
                  </a:lnTo>
                  <a:lnTo>
                    <a:pt x="598" y="86"/>
                  </a:lnTo>
                  <a:lnTo>
                    <a:pt x="594" y="73"/>
                  </a:lnTo>
                  <a:lnTo>
                    <a:pt x="592" y="65"/>
                  </a:lnTo>
                  <a:lnTo>
                    <a:pt x="592" y="63"/>
                  </a:lnTo>
                  <a:lnTo>
                    <a:pt x="588" y="59"/>
                  </a:lnTo>
                  <a:lnTo>
                    <a:pt x="588" y="59"/>
                  </a:lnTo>
                  <a:lnTo>
                    <a:pt x="582" y="47"/>
                  </a:lnTo>
                  <a:lnTo>
                    <a:pt x="582" y="43"/>
                  </a:lnTo>
                  <a:lnTo>
                    <a:pt x="582" y="38"/>
                  </a:lnTo>
                  <a:lnTo>
                    <a:pt x="582" y="36"/>
                  </a:lnTo>
                  <a:lnTo>
                    <a:pt x="580" y="36"/>
                  </a:lnTo>
                  <a:lnTo>
                    <a:pt x="580" y="36"/>
                  </a:lnTo>
                  <a:lnTo>
                    <a:pt x="580" y="34"/>
                  </a:lnTo>
                  <a:lnTo>
                    <a:pt x="580" y="32"/>
                  </a:lnTo>
                  <a:lnTo>
                    <a:pt x="578" y="30"/>
                  </a:lnTo>
                  <a:lnTo>
                    <a:pt x="578" y="30"/>
                  </a:lnTo>
                  <a:lnTo>
                    <a:pt x="578" y="28"/>
                  </a:lnTo>
                  <a:lnTo>
                    <a:pt x="576" y="28"/>
                  </a:lnTo>
                  <a:lnTo>
                    <a:pt x="576" y="28"/>
                  </a:lnTo>
                  <a:lnTo>
                    <a:pt x="576" y="28"/>
                  </a:lnTo>
                  <a:lnTo>
                    <a:pt x="574" y="26"/>
                  </a:lnTo>
                  <a:lnTo>
                    <a:pt x="574" y="26"/>
                  </a:lnTo>
                  <a:lnTo>
                    <a:pt x="572" y="24"/>
                  </a:lnTo>
                  <a:lnTo>
                    <a:pt x="572" y="24"/>
                  </a:lnTo>
                  <a:lnTo>
                    <a:pt x="570" y="22"/>
                  </a:lnTo>
                  <a:lnTo>
                    <a:pt x="568" y="22"/>
                  </a:lnTo>
                  <a:lnTo>
                    <a:pt x="568" y="20"/>
                  </a:lnTo>
                  <a:lnTo>
                    <a:pt x="568" y="18"/>
                  </a:lnTo>
                  <a:lnTo>
                    <a:pt x="568" y="16"/>
                  </a:lnTo>
                  <a:lnTo>
                    <a:pt x="568" y="14"/>
                  </a:lnTo>
                  <a:lnTo>
                    <a:pt x="568" y="14"/>
                  </a:lnTo>
                  <a:lnTo>
                    <a:pt x="570" y="14"/>
                  </a:lnTo>
                  <a:lnTo>
                    <a:pt x="570" y="16"/>
                  </a:lnTo>
                  <a:lnTo>
                    <a:pt x="570" y="16"/>
                  </a:lnTo>
                  <a:lnTo>
                    <a:pt x="572" y="16"/>
                  </a:lnTo>
                  <a:lnTo>
                    <a:pt x="572" y="20"/>
                  </a:lnTo>
                  <a:lnTo>
                    <a:pt x="572" y="22"/>
                  </a:lnTo>
                  <a:lnTo>
                    <a:pt x="574" y="22"/>
                  </a:lnTo>
                  <a:lnTo>
                    <a:pt x="574" y="24"/>
                  </a:lnTo>
                  <a:lnTo>
                    <a:pt x="574" y="20"/>
                  </a:lnTo>
                  <a:lnTo>
                    <a:pt x="572" y="12"/>
                  </a:lnTo>
                  <a:lnTo>
                    <a:pt x="572" y="8"/>
                  </a:lnTo>
                  <a:lnTo>
                    <a:pt x="572" y="6"/>
                  </a:lnTo>
                  <a:lnTo>
                    <a:pt x="572" y="6"/>
                  </a:lnTo>
                  <a:lnTo>
                    <a:pt x="572" y="6"/>
                  </a:lnTo>
                  <a:lnTo>
                    <a:pt x="572" y="6"/>
                  </a:lnTo>
                  <a:lnTo>
                    <a:pt x="572" y="6"/>
                  </a:lnTo>
                  <a:lnTo>
                    <a:pt x="570" y="6"/>
                  </a:lnTo>
                  <a:lnTo>
                    <a:pt x="570" y="6"/>
                  </a:lnTo>
                  <a:lnTo>
                    <a:pt x="568" y="6"/>
                  </a:lnTo>
                  <a:lnTo>
                    <a:pt x="568" y="6"/>
                  </a:lnTo>
                  <a:lnTo>
                    <a:pt x="566" y="6"/>
                  </a:lnTo>
                  <a:lnTo>
                    <a:pt x="566" y="4"/>
                  </a:lnTo>
                  <a:lnTo>
                    <a:pt x="566" y="4"/>
                  </a:lnTo>
                  <a:lnTo>
                    <a:pt x="564" y="4"/>
                  </a:lnTo>
                  <a:lnTo>
                    <a:pt x="559" y="6"/>
                  </a:lnTo>
                  <a:lnTo>
                    <a:pt x="559" y="6"/>
                  </a:lnTo>
                  <a:lnTo>
                    <a:pt x="555" y="6"/>
                  </a:lnTo>
                  <a:lnTo>
                    <a:pt x="555" y="6"/>
                  </a:lnTo>
                  <a:lnTo>
                    <a:pt x="553" y="6"/>
                  </a:lnTo>
                  <a:lnTo>
                    <a:pt x="553" y="6"/>
                  </a:lnTo>
                  <a:lnTo>
                    <a:pt x="551" y="6"/>
                  </a:lnTo>
                  <a:lnTo>
                    <a:pt x="551" y="6"/>
                  </a:lnTo>
                  <a:lnTo>
                    <a:pt x="545" y="4"/>
                  </a:lnTo>
                  <a:lnTo>
                    <a:pt x="545" y="4"/>
                  </a:lnTo>
                  <a:lnTo>
                    <a:pt x="543" y="4"/>
                  </a:lnTo>
                  <a:lnTo>
                    <a:pt x="543" y="4"/>
                  </a:lnTo>
                  <a:lnTo>
                    <a:pt x="541" y="4"/>
                  </a:lnTo>
                  <a:lnTo>
                    <a:pt x="541" y="4"/>
                  </a:lnTo>
                  <a:lnTo>
                    <a:pt x="539" y="4"/>
                  </a:lnTo>
                  <a:lnTo>
                    <a:pt x="539" y="4"/>
                  </a:lnTo>
                  <a:lnTo>
                    <a:pt x="531" y="2"/>
                  </a:lnTo>
                  <a:lnTo>
                    <a:pt x="529" y="0"/>
                  </a:lnTo>
                  <a:lnTo>
                    <a:pt x="527" y="0"/>
                  </a:lnTo>
                  <a:lnTo>
                    <a:pt x="527" y="0"/>
                  </a:lnTo>
                  <a:lnTo>
                    <a:pt x="525" y="0"/>
                  </a:lnTo>
                  <a:lnTo>
                    <a:pt x="525" y="0"/>
                  </a:lnTo>
                  <a:lnTo>
                    <a:pt x="525" y="0"/>
                  </a:lnTo>
                  <a:lnTo>
                    <a:pt x="523" y="0"/>
                  </a:lnTo>
                  <a:lnTo>
                    <a:pt x="523" y="0"/>
                  </a:lnTo>
                  <a:lnTo>
                    <a:pt x="521" y="0"/>
                  </a:lnTo>
                  <a:lnTo>
                    <a:pt x="521" y="2"/>
                  </a:lnTo>
                  <a:lnTo>
                    <a:pt x="521" y="2"/>
                  </a:lnTo>
                  <a:lnTo>
                    <a:pt x="521" y="2"/>
                  </a:lnTo>
                  <a:lnTo>
                    <a:pt x="521" y="2"/>
                  </a:lnTo>
                  <a:lnTo>
                    <a:pt x="521" y="4"/>
                  </a:lnTo>
                  <a:lnTo>
                    <a:pt x="521" y="4"/>
                  </a:lnTo>
                  <a:lnTo>
                    <a:pt x="521" y="4"/>
                  </a:lnTo>
                  <a:lnTo>
                    <a:pt x="521" y="4"/>
                  </a:lnTo>
                  <a:lnTo>
                    <a:pt x="518" y="4"/>
                  </a:lnTo>
                  <a:lnTo>
                    <a:pt x="518" y="4"/>
                  </a:lnTo>
                  <a:lnTo>
                    <a:pt x="518" y="4"/>
                  </a:lnTo>
                  <a:lnTo>
                    <a:pt x="516" y="6"/>
                  </a:lnTo>
                  <a:lnTo>
                    <a:pt x="516" y="6"/>
                  </a:lnTo>
                  <a:lnTo>
                    <a:pt x="516" y="6"/>
                  </a:lnTo>
                  <a:lnTo>
                    <a:pt x="516" y="8"/>
                  </a:lnTo>
                  <a:lnTo>
                    <a:pt x="516" y="8"/>
                  </a:lnTo>
                  <a:lnTo>
                    <a:pt x="516" y="8"/>
                  </a:lnTo>
                  <a:lnTo>
                    <a:pt x="516" y="10"/>
                  </a:lnTo>
                  <a:lnTo>
                    <a:pt x="516" y="10"/>
                  </a:lnTo>
                  <a:lnTo>
                    <a:pt x="516" y="10"/>
                  </a:lnTo>
                  <a:lnTo>
                    <a:pt x="516" y="12"/>
                  </a:lnTo>
                  <a:lnTo>
                    <a:pt x="516" y="14"/>
                  </a:lnTo>
                  <a:lnTo>
                    <a:pt x="516" y="14"/>
                  </a:lnTo>
                  <a:lnTo>
                    <a:pt x="516" y="16"/>
                  </a:lnTo>
                  <a:lnTo>
                    <a:pt x="516" y="18"/>
                  </a:lnTo>
                  <a:lnTo>
                    <a:pt x="516" y="18"/>
                  </a:lnTo>
                  <a:lnTo>
                    <a:pt x="516" y="20"/>
                  </a:lnTo>
                  <a:lnTo>
                    <a:pt x="516" y="20"/>
                  </a:lnTo>
                  <a:lnTo>
                    <a:pt x="516" y="22"/>
                  </a:lnTo>
                  <a:lnTo>
                    <a:pt x="518" y="22"/>
                  </a:lnTo>
                  <a:lnTo>
                    <a:pt x="521" y="24"/>
                  </a:lnTo>
                  <a:lnTo>
                    <a:pt x="521" y="24"/>
                  </a:lnTo>
                  <a:lnTo>
                    <a:pt x="521" y="26"/>
                  </a:lnTo>
                  <a:lnTo>
                    <a:pt x="521" y="26"/>
                  </a:lnTo>
                  <a:lnTo>
                    <a:pt x="521" y="28"/>
                  </a:lnTo>
                  <a:lnTo>
                    <a:pt x="521" y="34"/>
                  </a:lnTo>
                  <a:lnTo>
                    <a:pt x="521" y="43"/>
                  </a:lnTo>
                  <a:lnTo>
                    <a:pt x="521" y="43"/>
                  </a:lnTo>
                  <a:lnTo>
                    <a:pt x="521" y="45"/>
                  </a:lnTo>
                  <a:lnTo>
                    <a:pt x="521" y="47"/>
                  </a:lnTo>
                  <a:lnTo>
                    <a:pt x="521" y="49"/>
                  </a:lnTo>
                  <a:lnTo>
                    <a:pt x="521" y="49"/>
                  </a:lnTo>
                  <a:lnTo>
                    <a:pt x="521" y="49"/>
                  </a:lnTo>
                  <a:lnTo>
                    <a:pt x="521" y="49"/>
                  </a:lnTo>
                  <a:lnTo>
                    <a:pt x="518" y="51"/>
                  </a:lnTo>
                  <a:lnTo>
                    <a:pt x="518" y="51"/>
                  </a:lnTo>
                  <a:lnTo>
                    <a:pt x="516" y="51"/>
                  </a:lnTo>
                  <a:lnTo>
                    <a:pt x="514" y="51"/>
                  </a:lnTo>
                  <a:lnTo>
                    <a:pt x="514" y="51"/>
                  </a:lnTo>
                  <a:lnTo>
                    <a:pt x="510" y="51"/>
                  </a:lnTo>
                  <a:lnTo>
                    <a:pt x="510" y="51"/>
                  </a:lnTo>
                  <a:lnTo>
                    <a:pt x="508" y="51"/>
                  </a:lnTo>
                  <a:lnTo>
                    <a:pt x="508" y="51"/>
                  </a:lnTo>
                  <a:lnTo>
                    <a:pt x="508" y="51"/>
                  </a:lnTo>
                  <a:lnTo>
                    <a:pt x="508" y="51"/>
                  </a:lnTo>
                  <a:lnTo>
                    <a:pt x="506" y="47"/>
                  </a:lnTo>
                  <a:lnTo>
                    <a:pt x="504" y="45"/>
                  </a:lnTo>
                  <a:lnTo>
                    <a:pt x="504" y="45"/>
                  </a:lnTo>
                  <a:lnTo>
                    <a:pt x="504" y="45"/>
                  </a:lnTo>
                  <a:lnTo>
                    <a:pt x="504" y="43"/>
                  </a:lnTo>
                  <a:lnTo>
                    <a:pt x="504" y="41"/>
                  </a:lnTo>
                  <a:lnTo>
                    <a:pt x="504" y="41"/>
                  </a:lnTo>
                  <a:lnTo>
                    <a:pt x="504" y="41"/>
                  </a:lnTo>
                  <a:lnTo>
                    <a:pt x="504" y="41"/>
                  </a:lnTo>
                  <a:lnTo>
                    <a:pt x="504" y="38"/>
                  </a:lnTo>
                  <a:lnTo>
                    <a:pt x="504" y="38"/>
                  </a:lnTo>
                  <a:lnTo>
                    <a:pt x="504" y="38"/>
                  </a:lnTo>
                  <a:lnTo>
                    <a:pt x="500" y="34"/>
                  </a:lnTo>
                  <a:lnTo>
                    <a:pt x="500" y="34"/>
                  </a:lnTo>
                  <a:lnTo>
                    <a:pt x="500" y="34"/>
                  </a:lnTo>
                  <a:lnTo>
                    <a:pt x="500" y="34"/>
                  </a:lnTo>
                  <a:lnTo>
                    <a:pt x="500" y="34"/>
                  </a:lnTo>
                  <a:lnTo>
                    <a:pt x="500" y="32"/>
                  </a:lnTo>
                  <a:lnTo>
                    <a:pt x="500" y="32"/>
                  </a:lnTo>
                  <a:lnTo>
                    <a:pt x="500" y="32"/>
                  </a:lnTo>
                  <a:lnTo>
                    <a:pt x="500" y="32"/>
                  </a:lnTo>
                  <a:lnTo>
                    <a:pt x="496" y="32"/>
                  </a:lnTo>
                  <a:lnTo>
                    <a:pt x="494" y="32"/>
                  </a:lnTo>
                  <a:lnTo>
                    <a:pt x="488" y="32"/>
                  </a:lnTo>
                  <a:lnTo>
                    <a:pt x="484" y="32"/>
                  </a:lnTo>
                  <a:lnTo>
                    <a:pt x="477" y="34"/>
                  </a:lnTo>
                  <a:lnTo>
                    <a:pt x="471" y="34"/>
                  </a:lnTo>
                  <a:lnTo>
                    <a:pt x="463" y="34"/>
                  </a:lnTo>
                  <a:lnTo>
                    <a:pt x="455" y="36"/>
                  </a:lnTo>
                  <a:lnTo>
                    <a:pt x="447" y="36"/>
                  </a:lnTo>
                  <a:lnTo>
                    <a:pt x="437" y="36"/>
                  </a:lnTo>
                  <a:lnTo>
                    <a:pt x="428" y="38"/>
                  </a:lnTo>
                  <a:lnTo>
                    <a:pt x="418" y="38"/>
                  </a:lnTo>
                  <a:lnTo>
                    <a:pt x="408" y="38"/>
                  </a:lnTo>
                  <a:lnTo>
                    <a:pt x="398" y="41"/>
                  </a:lnTo>
                  <a:lnTo>
                    <a:pt x="387" y="41"/>
                  </a:lnTo>
                  <a:lnTo>
                    <a:pt x="377" y="43"/>
                  </a:lnTo>
                  <a:lnTo>
                    <a:pt x="367" y="43"/>
                  </a:lnTo>
                  <a:lnTo>
                    <a:pt x="357" y="45"/>
                  </a:lnTo>
                  <a:lnTo>
                    <a:pt x="346" y="45"/>
                  </a:lnTo>
                  <a:lnTo>
                    <a:pt x="336" y="45"/>
                  </a:lnTo>
                  <a:lnTo>
                    <a:pt x="326" y="47"/>
                  </a:lnTo>
                  <a:lnTo>
                    <a:pt x="318" y="47"/>
                  </a:lnTo>
                  <a:lnTo>
                    <a:pt x="308" y="47"/>
                  </a:lnTo>
                  <a:lnTo>
                    <a:pt x="299" y="49"/>
                  </a:lnTo>
                  <a:lnTo>
                    <a:pt x="291" y="49"/>
                  </a:lnTo>
                  <a:lnTo>
                    <a:pt x="285" y="49"/>
                  </a:lnTo>
                  <a:lnTo>
                    <a:pt x="279" y="49"/>
                  </a:lnTo>
                  <a:lnTo>
                    <a:pt x="273" y="51"/>
                  </a:lnTo>
                  <a:lnTo>
                    <a:pt x="269" y="51"/>
                  </a:lnTo>
                  <a:lnTo>
                    <a:pt x="265" y="51"/>
                  </a:lnTo>
                  <a:lnTo>
                    <a:pt x="262" y="51"/>
                  </a:lnTo>
                  <a:lnTo>
                    <a:pt x="260" y="51"/>
                  </a:lnTo>
                  <a:lnTo>
                    <a:pt x="258" y="51"/>
                  </a:lnTo>
                  <a:lnTo>
                    <a:pt x="256" y="51"/>
                  </a:lnTo>
                  <a:lnTo>
                    <a:pt x="256" y="51"/>
                  </a:lnTo>
                  <a:lnTo>
                    <a:pt x="250" y="47"/>
                  </a:lnTo>
                  <a:lnTo>
                    <a:pt x="248" y="41"/>
                  </a:lnTo>
                  <a:lnTo>
                    <a:pt x="248" y="36"/>
                  </a:lnTo>
                  <a:lnTo>
                    <a:pt x="246" y="34"/>
                  </a:lnTo>
                  <a:lnTo>
                    <a:pt x="246" y="30"/>
                  </a:lnTo>
                  <a:lnTo>
                    <a:pt x="244" y="30"/>
                  </a:lnTo>
                  <a:lnTo>
                    <a:pt x="244" y="28"/>
                  </a:lnTo>
                  <a:lnTo>
                    <a:pt x="242" y="26"/>
                  </a:lnTo>
                  <a:lnTo>
                    <a:pt x="242" y="26"/>
                  </a:lnTo>
                  <a:lnTo>
                    <a:pt x="240" y="24"/>
                  </a:lnTo>
                  <a:lnTo>
                    <a:pt x="240" y="24"/>
                  </a:lnTo>
                  <a:lnTo>
                    <a:pt x="240" y="24"/>
                  </a:lnTo>
                  <a:lnTo>
                    <a:pt x="240" y="22"/>
                  </a:lnTo>
                  <a:lnTo>
                    <a:pt x="226" y="24"/>
                  </a:lnTo>
                  <a:lnTo>
                    <a:pt x="211" y="26"/>
                  </a:lnTo>
                  <a:lnTo>
                    <a:pt x="195" y="28"/>
                  </a:lnTo>
                  <a:lnTo>
                    <a:pt x="181" y="30"/>
                  </a:lnTo>
                  <a:lnTo>
                    <a:pt x="166" y="32"/>
                  </a:lnTo>
                  <a:lnTo>
                    <a:pt x="152" y="34"/>
                  </a:lnTo>
                  <a:lnTo>
                    <a:pt x="138" y="36"/>
                  </a:lnTo>
                  <a:lnTo>
                    <a:pt x="123" y="38"/>
                  </a:lnTo>
                  <a:lnTo>
                    <a:pt x="109" y="41"/>
                  </a:lnTo>
                  <a:lnTo>
                    <a:pt x="95" y="43"/>
                  </a:lnTo>
                  <a:lnTo>
                    <a:pt x="78" y="43"/>
                  </a:lnTo>
                  <a:lnTo>
                    <a:pt x="64" y="45"/>
                  </a:lnTo>
                  <a:lnTo>
                    <a:pt x="49" y="47"/>
                  </a:lnTo>
                  <a:lnTo>
                    <a:pt x="35" y="49"/>
                  </a:lnTo>
                  <a:lnTo>
                    <a:pt x="21" y="51"/>
                  </a:lnTo>
                  <a:lnTo>
                    <a:pt x="6" y="53"/>
                  </a:lnTo>
                  <a:lnTo>
                    <a:pt x="2" y="53"/>
                  </a:lnTo>
                  <a:lnTo>
                    <a:pt x="2" y="55"/>
                  </a:lnTo>
                  <a:lnTo>
                    <a:pt x="2" y="59"/>
                  </a:lnTo>
                  <a:lnTo>
                    <a:pt x="2" y="59"/>
                  </a:lnTo>
                  <a:lnTo>
                    <a:pt x="0" y="63"/>
                  </a:lnTo>
                  <a:lnTo>
                    <a:pt x="0" y="65"/>
                  </a:lnTo>
                  <a:lnTo>
                    <a:pt x="0" y="65"/>
                  </a:lnTo>
                  <a:lnTo>
                    <a:pt x="0" y="67"/>
                  </a:lnTo>
                  <a:lnTo>
                    <a:pt x="0" y="67"/>
                  </a:lnTo>
                  <a:lnTo>
                    <a:pt x="0" y="67"/>
                  </a:lnTo>
                  <a:lnTo>
                    <a:pt x="2" y="69"/>
                  </a:lnTo>
                  <a:lnTo>
                    <a:pt x="2" y="71"/>
                  </a:lnTo>
                  <a:lnTo>
                    <a:pt x="8" y="75"/>
                  </a:lnTo>
                  <a:lnTo>
                    <a:pt x="8" y="75"/>
                  </a:lnTo>
                  <a:lnTo>
                    <a:pt x="11" y="79"/>
                  </a:lnTo>
                  <a:lnTo>
                    <a:pt x="13" y="79"/>
                  </a:lnTo>
                  <a:lnTo>
                    <a:pt x="15" y="82"/>
                  </a:lnTo>
                  <a:lnTo>
                    <a:pt x="23" y="86"/>
                  </a:lnTo>
                  <a:lnTo>
                    <a:pt x="23" y="86"/>
                  </a:lnTo>
                  <a:lnTo>
                    <a:pt x="23" y="86"/>
                  </a:lnTo>
                  <a:lnTo>
                    <a:pt x="23" y="88"/>
                  </a:lnTo>
                  <a:lnTo>
                    <a:pt x="23" y="88"/>
                  </a:lnTo>
                  <a:lnTo>
                    <a:pt x="23" y="92"/>
                  </a:lnTo>
                  <a:lnTo>
                    <a:pt x="23" y="96"/>
                  </a:lnTo>
                  <a:lnTo>
                    <a:pt x="21" y="98"/>
                  </a:lnTo>
                  <a:lnTo>
                    <a:pt x="21" y="100"/>
                  </a:lnTo>
                  <a:lnTo>
                    <a:pt x="21" y="100"/>
                  </a:lnTo>
                  <a:lnTo>
                    <a:pt x="23" y="102"/>
                  </a:lnTo>
                  <a:lnTo>
                    <a:pt x="25" y="106"/>
                  </a:lnTo>
                  <a:lnTo>
                    <a:pt x="25" y="106"/>
                  </a:lnTo>
                  <a:lnTo>
                    <a:pt x="25" y="106"/>
                  </a:lnTo>
                  <a:lnTo>
                    <a:pt x="27" y="108"/>
                  </a:lnTo>
                  <a:lnTo>
                    <a:pt x="27" y="108"/>
                  </a:lnTo>
                  <a:lnTo>
                    <a:pt x="29" y="108"/>
                  </a:lnTo>
                  <a:lnTo>
                    <a:pt x="31" y="108"/>
                  </a:lnTo>
                  <a:lnTo>
                    <a:pt x="31" y="108"/>
                  </a:lnTo>
                  <a:lnTo>
                    <a:pt x="31" y="110"/>
                  </a:lnTo>
                  <a:lnTo>
                    <a:pt x="31" y="110"/>
                  </a:lnTo>
                  <a:lnTo>
                    <a:pt x="31" y="112"/>
                  </a:lnTo>
                  <a:lnTo>
                    <a:pt x="29" y="112"/>
                  </a:lnTo>
                  <a:lnTo>
                    <a:pt x="27" y="114"/>
                  </a:lnTo>
                  <a:lnTo>
                    <a:pt x="25" y="118"/>
                  </a:lnTo>
                  <a:lnTo>
                    <a:pt x="25" y="118"/>
                  </a:lnTo>
                  <a:lnTo>
                    <a:pt x="27" y="118"/>
                  </a:lnTo>
                  <a:lnTo>
                    <a:pt x="27" y="120"/>
                  </a:lnTo>
                  <a:lnTo>
                    <a:pt x="25" y="120"/>
                  </a:lnTo>
                  <a:lnTo>
                    <a:pt x="25" y="123"/>
                  </a:lnTo>
                  <a:lnTo>
                    <a:pt x="23" y="123"/>
                  </a:lnTo>
                  <a:lnTo>
                    <a:pt x="21" y="123"/>
                  </a:lnTo>
                  <a:lnTo>
                    <a:pt x="21" y="125"/>
                  </a:lnTo>
                  <a:lnTo>
                    <a:pt x="23" y="125"/>
                  </a:lnTo>
                  <a:lnTo>
                    <a:pt x="23" y="125"/>
                  </a:lnTo>
                  <a:lnTo>
                    <a:pt x="21" y="125"/>
                  </a:lnTo>
                  <a:lnTo>
                    <a:pt x="19" y="127"/>
                  </a:lnTo>
                  <a:lnTo>
                    <a:pt x="19" y="127"/>
                  </a:lnTo>
                  <a:lnTo>
                    <a:pt x="19" y="127"/>
                  </a:lnTo>
                  <a:lnTo>
                    <a:pt x="17" y="129"/>
                  </a:lnTo>
                  <a:lnTo>
                    <a:pt x="17" y="129"/>
                  </a:lnTo>
                  <a:lnTo>
                    <a:pt x="17" y="129"/>
                  </a:lnTo>
                  <a:lnTo>
                    <a:pt x="17" y="129"/>
                  </a:lnTo>
                  <a:lnTo>
                    <a:pt x="19" y="129"/>
                  </a:lnTo>
                  <a:lnTo>
                    <a:pt x="21" y="129"/>
                  </a:lnTo>
                  <a:lnTo>
                    <a:pt x="21" y="127"/>
                  </a:lnTo>
                  <a:lnTo>
                    <a:pt x="35" y="123"/>
                  </a:lnTo>
                  <a:lnTo>
                    <a:pt x="37" y="120"/>
                  </a:lnTo>
                  <a:lnTo>
                    <a:pt x="35" y="120"/>
                  </a:lnTo>
                  <a:lnTo>
                    <a:pt x="37" y="118"/>
                  </a:lnTo>
                  <a:lnTo>
                    <a:pt x="39" y="118"/>
                  </a:lnTo>
                  <a:lnTo>
                    <a:pt x="39" y="118"/>
                  </a:lnTo>
                  <a:lnTo>
                    <a:pt x="39" y="116"/>
                  </a:lnTo>
                  <a:lnTo>
                    <a:pt x="39" y="114"/>
                  </a:lnTo>
                  <a:lnTo>
                    <a:pt x="39" y="112"/>
                  </a:lnTo>
                  <a:lnTo>
                    <a:pt x="41" y="112"/>
                  </a:lnTo>
                  <a:lnTo>
                    <a:pt x="43" y="112"/>
                  </a:lnTo>
                  <a:lnTo>
                    <a:pt x="45" y="110"/>
                  </a:lnTo>
                  <a:lnTo>
                    <a:pt x="45" y="108"/>
                  </a:lnTo>
                  <a:lnTo>
                    <a:pt x="45" y="108"/>
                  </a:lnTo>
                  <a:lnTo>
                    <a:pt x="45" y="108"/>
                  </a:lnTo>
                  <a:lnTo>
                    <a:pt x="45" y="108"/>
                  </a:lnTo>
                  <a:lnTo>
                    <a:pt x="47" y="108"/>
                  </a:lnTo>
                  <a:lnTo>
                    <a:pt x="49" y="104"/>
                  </a:lnTo>
                  <a:lnTo>
                    <a:pt x="49" y="102"/>
                  </a:lnTo>
                  <a:lnTo>
                    <a:pt x="47" y="100"/>
                  </a:lnTo>
                  <a:lnTo>
                    <a:pt x="45" y="98"/>
                  </a:lnTo>
                  <a:lnTo>
                    <a:pt x="45" y="98"/>
                  </a:lnTo>
                  <a:lnTo>
                    <a:pt x="45" y="94"/>
                  </a:lnTo>
                  <a:lnTo>
                    <a:pt x="45" y="92"/>
                  </a:lnTo>
                  <a:lnTo>
                    <a:pt x="45" y="92"/>
                  </a:lnTo>
                  <a:lnTo>
                    <a:pt x="47" y="92"/>
                  </a:lnTo>
                  <a:lnTo>
                    <a:pt x="47" y="94"/>
                  </a:lnTo>
                  <a:lnTo>
                    <a:pt x="49" y="94"/>
                  </a:lnTo>
                  <a:lnTo>
                    <a:pt x="49" y="94"/>
                  </a:lnTo>
                  <a:lnTo>
                    <a:pt x="49" y="96"/>
                  </a:lnTo>
                  <a:lnTo>
                    <a:pt x="49" y="96"/>
                  </a:lnTo>
                  <a:lnTo>
                    <a:pt x="49" y="98"/>
                  </a:lnTo>
                  <a:lnTo>
                    <a:pt x="52" y="98"/>
                  </a:lnTo>
                  <a:lnTo>
                    <a:pt x="54" y="98"/>
                  </a:lnTo>
                  <a:lnTo>
                    <a:pt x="54" y="100"/>
                  </a:lnTo>
                  <a:lnTo>
                    <a:pt x="54" y="102"/>
                  </a:lnTo>
                  <a:lnTo>
                    <a:pt x="54" y="104"/>
                  </a:lnTo>
                  <a:lnTo>
                    <a:pt x="54" y="104"/>
                  </a:lnTo>
                  <a:lnTo>
                    <a:pt x="56" y="106"/>
                  </a:lnTo>
                  <a:lnTo>
                    <a:pt x="56" y="106"/>
                  </a:lnTo>
                  <a:lnTo>
                    <a:pt x="58" y="104"/>
                  </a:lnTo>
                  <a:lnTo>
                    <a:pt x="58" y="100"/>
                  </a:lnTo>
                  <a:lnTo>
                    <a:pt x="58" y="98"/>
                  </a:lnTo>
                  <a:lnTo>
                    <a:pt x="60" y="92"/>
                  </a:lnTo>
                  <a:lnTo>
                    <a:pt x="60" y="92"/>
                  </a:lnTo>
                  <a:lnTo>
                    <a:pt x="60" y="90"/>
                  </a:lnTo>
                  <a:lnTo>
                    <a:pt x="58" y="88"/>
                  </a:lnTo>
                  <a:lnTo>
                    <a:pt x="60" y="90"/>
                  </a:lnTo>
                  <a:lnTo>
                    <a:pt x="62" y="92"/>
                  </a:lnTo>
                  <a:lnTo>
                    <a:pt x="64" y="94"/>
                  </a:lnTo>
                  <a:lnTo>
                    <a:pt x="64" y="92"/>
                  </a:lnTo>
                  <a:lnTo>
                    <a:pt x="66" y="92"/>
                  </a:lnTo>
                  <a:lnTo>
                    <a:pt x="66" y="92"/>
                  </a:lnTo>
                  <a:lnTo>
                    <a:pt x="66" y="94"/>
                  </a:lnTo>
                  <a:lnTo>
                    <a:pt x="62" y="94"/>
                  </a:lnTo>
                  <a:lnTo>
                    <a:pt x="62" y="96"/>
                  </a:lnTo>
                  <a:lnTo>
                    <a:pt x="62" y="98"/>
                  </a:lnTo>
                  <a:lnTo>
                    <a:pt x="62" y="98"/>
                  </a:lnTo>
                  <a:lnTo>
                    <a:pt x="62" y="100"/>
                  </a:lnTo>
                  <a:lnTo>
                    <a:pt x="62" y="100"/>
                  </a:lnTo>
                  <a:lnTo>
                    <a:pt x="64" y="100"/>
                  </a:lnTo>
                  <a:lnTo>
                    <a:pt x="64" y="100"/>
                  </a:lnTo>
                  <a:lnTo>
                    <a:pt x="66" y="102"/>
                  </a:lnTo>
                  <a:lnTo>
                    <a:pt x="66" y="102"/>
                  </a:lnTo>
                  <a:lnTo>
                    <a:pt x="68" y="102"/>
                  </a:lnTo>
                  <a:lnTo>
                    <a:pt x="70" y="102"/>
                  </a:lnTo>
                  <a:lnTo>
                    <a:pt x="72" y="102"/>
                  </a:lnTo>
                  <a:lnTo>
                    <a:pt x="74" y="104"/>
                  </a:lnTo>
                  <a:lnTo>
                    <a:pt x="74" y="106"/>
                  </a:lnTo>
                  <a:lnTo>
                    <a:pt x="72" y="104"/>
                  </a:lnTo>
                  <a:lnTo>
                    <a:pt x="70" y="104"/>
                  </a:lnTo>
                  <a:lnTo>
                    <a:pt x="68" y="104"/>
                  </a:lnTo>
                  <a:lnTo>
                    <a:pt x="64" y="110"/>
                  </a:lnTo>
                  <a:lnTo>
                    <a:pt x="62" y="110"/>
                  </a:lnTo>
                  <a:lnTo>
                    <a:pt x="58" y="110"/>
                  </a:lnTo>
                  <a:lnTo>
                    <a:pt x="52" y="112"/>
                  </a:lnTo>
                  <a:lnTo>
                    <a:pt x="47" y="114"/>
                  </a:lnTo>
                  <a:lnTo>
                    <a:pt x="47" y="114"/>
                  </a:lnTo>
                  <a:lnTo>
                    <a:pt x="47" y="116"/>
                  </a:lnTo>
                  <a:lnTo>
                    <a:pt x="47" y="116"/>
                  </a:lnTo>
                  <a:lnTo>
                    <a:pt x="52" y="116"/>
                  </a:lnTo>
                  <a:lnTo>
                    <a:pt x="60" y="112"/>
                  </a:lnTo>
                  <a:lnTo>
                    <a:pt x="74" y="108"/>
                  </a:lnTo>
                  <a:lnTo>
                    <a:pt x="80" y="108"/>
                  </a:lnTo>
                  <a:lnTo>
                    <a:pt x="82" y="106"/>
                  </a:lnTo>
                  <a:lnTo>
                    <a:pt x="84" y="106"/>
                  </a:lnTo>
                  <a:lnTo>
                    <a:pt x="86" y="106"/>
                  </a:lnTo>
                  <a:lnTo>
                    <a:pt x="92" y="104"/>
                  </a:lnTo>
                  <a:lnTo>
                    <a:pt x="101" y="104"/>
                  </a:lnTo>
                  <a:lnTo>
                    <a:pt x="101" y="104"/>
                  </a:lnTo>
                  <a:lnTo>
                    <a:pt x="101" y="102"/>
                  </a:lnTo>
                  <a:lnTo>
                    <a:pt x="101" y="102"/>
                  </a:lnTo>
                  <a:lnTo>
                    <a:pt x="103" y="102"/>
                  </a:lnTo>
                  <a:lnTo>
                    <a:pt x="105" y="100"/>
                  </a:lnTo>
                  <a:lnTo>
                    <a:pt x="105" y="98"/>
                  </a:lnTo>
                  <a:lnTo>
                    <a:pt x="107" y="98"/>
                  </a:lnTo>
                  <a:lnTo>
                    <a:pt x="107" y="98"/>
                  </a:lnTo>
                  <a:lnTo>
                    <a:pt x="109" y="98"/>
                  </a:lnTo>
                  <a:lnTo>
                    <a:pt x="109" y="98"/>
                  </a:lnTo>
                  <a:lnTo>
                    <a:pt x="111" y="96"/>
                  </a:lnTo>
                  <a:lnTo>
                    <a:pt x="111" y="96"/>
                  </a:lnTo>
                  <a:lnTo>
                    <a:pt x="111" y="92"/>
                  </a:lnTo>
                  <a:lnTo>
                    <a:pt x="109" y="92"/>
                  </a:lnTo>
                  <a:lnTo>
                    <a:pt x="111" y="92"/>
                  </a:lnTo>
                  <a:lnTo>
                    <a:pt x="111" y="94"/>
                  </a:lnTo>
                  <a:lnTo>
                    <a:pt x="113" y="94"/>
                  </a:lnTo>
                  <a:lnTo>
                    <a:pt x="113" y="92"/>
                  </a:lnTo>
                  <a:lnTo>
                    <a:pt x="113" y="92"/>
                  </a:lnTo>
                  <a:lnTo>
                    <a:pt x="115" y="92"/>
                  </a:lnTo>
                  <a:lnTo>
                    <a:pt x="117" y="92"/>
                  </a:lnTo>
                  <a:lnTo>
                    <a:pt x="115" y="94"/>
                  </a:lnTo>
                  <a:lnTo>
                    <a:pt x="115" y="96"/>
                  </a:lnTo>
                  <a:lnTo>
                    <a:pt x="117" y="98"/>
                  </a:lnTo>
                  <a:lnTo>
                    <a:pt x="117" y="98"/>
                  </a:lnTo>
                  <a:lnTo>
                    <a:pt x="119" y="96"/>
                  </a:lnTo>
                  <a:lnTo>
                    <a:pt x="119" y="96"/>
                  </a:lnTo>
                  <a:lnTo>
                    <a:pt x="121" y="94"/>
                  </a:lnTo>
                  <a:lnTo>
                    <a:pt x="123" y="94"/>
                  </a:lnTo>
                  <a:lnTo>
                    <a:pt x="127" y="92"/>
                  </a:lnTo>
                  <a:lnTo>
                    <a:pt x="129" y="92"/>
                  </a:lnTo>
                  <a:lnTo>
                    <a:pt x="133" y="92"/>
                  </a:lnTo>
                  <a:lnTo>
                    <a:pt x="135" y="92"/>
                  </a:lnTo>
                  <a:lnTo>
                    <a:pt x="135" y="90"/>
                  </a:lnTo>
                  <a:lnTo>
                    <a:pt x="138" y="94"/>
                  </a:lnTo>
                  <a:lnTo>
                    <a:pt x="140" y="94"/>
                  </a:lnTo>
                  <a:lnTo>
                    <a:pt x="140" y="94"/>
                  </a:lnTo>
                  <a:lnTo>
                    <a:pt x="142" y="92"/>
                  </a:lnTo>
                  <a:lnTo>
                    <a:pt x="144" y="94"/>
                  </a:lnTo>
                  <a:lnTo>
                    <a:pt x="142" y="94"/>
                  </a:lnTo>
                  <a:lnTo>
                    <a:pt x="142" y="94"/>
                  </a:lnTo>
                  <a:lnTo>
                    <a:pt x="142" y="96"/>
                  </a:lnTo>
                  <a:lnTo>
                    <a:pt x="146" y="100"/>
                  </a:lnTo>
                  <a:lnTo>
                    <a:pt x="146" y="100"/>
                  </a:lnTo>
                  <a:lnTo>
                    <a:pt x="146" y="100"/>
                  </a:lnTo>
                  <a:lnTo>
                    <a:pt x="146" y="102"/>
                  </a:lnTo>
                  <a:lnTo>
                    <a:pt x="146" y="102"/>
                  </a:lnTo>
                  <a:lnTo>
                    <a:pt x="144" y="102"/>
                  </a:lnTo>
                  <a:lnTo>
                    <a:pt x="144" y="102"/>
                  </a:lnTo>
                  <a:lnTo>
                    <a:pt x="138" y="100"/>
                  </a:lnTo>
                  <a:lnTo>
                    <a:pt x="135" y="98"/>
                  </a:lnTo>
                  <a:lnTo>
                    <a:pt x="133" y="98"/>
                  </a:lnTo>
                  <a:lnTo>
                    <a:pt x="133" y="98"/>
                  </a:lnTo>
                  <a:lnTo>
                    <a:pt x="131" y="98"/>
                  </a:lnTo>
                  <a:lnTo>
                    <a:pt x="131" y="100"/>
                  </a:lnTo>
                  <a:lnTo>
                    <a:pt x="133" y="100"/>
                  </a:lnTo>
                  <a:lnTo>
                    <a:pt x="135" y="100"/>
                  </a:lnTo>
                  <a:lnTo>
                    <a:pt x="135" y="100"/>
                  </a:lnTo>
                  <a:lnTo>
                    <a:pt x="135" y="102"/>
                  </a:lnTo>
                  <a:lnTo>
                    <a:pt x="135" y="102"/>
                  </a:lnTo>
                  <a:lnTo>
                    <a:pt x="133" y="102"/>
                  </a:lnTo>
                  <a:lnTo>
                    <a:pt x="129" y="102"/>
                  </a:lnTo>
                  <a:lnTo>
                    <a:pt x="129" y="102"/>
                  </a:lnTo>
                  <a:lnTo>
                    <a:pt x="127" y="100"/>
                  </a:lnTo>
                  <a:lnTo>
                    <a:pt x="127" y="98"/>
                  </a:lnTo>
                  <a:lnTo>
                    <a:pt x="127" y="98"/>
                  </a:lnTo>
                  <a:lnTo>
                    <a:pt x="127" y="98"/>
                  </a:lnTo>
                  <a:lnTo>
                    <a:pt x="127" y="98"/>
                  </a:lnTo>
                  <a:lnTo>
                    <a:pt x="127" y="100"/>
                  </a:lnTo>
                  <a:lnTo>
                    <a:pt x="125" y="102"/>
                  </a:lnTo>
                  <a:lnTo>
                    <a:pt x="125" y="102"/>
                  </a:lnTo>
                  <a:lnTo>
                    <a:pt x="125" y="104"/>
                  </a:lnTo>
                  <a:lnTo>
                    <a:pt x="119" y="102"/>
                  </a:lnTo>
                  <a:lnTo>
                    <a:pt x="111" y="104"/>
                  </a:lnTo>
                  <a:lnTo>
                    <a:pt x="109" y="104"/>
                  </a:lnTo>
                  <a:lnTo>
                    <a:pt x="109" y="104"/>
                  </a:lnTo>
                  <a:lnTo>
                    <a:pt x="109" y="104"/>
                  </a:lnTo>
                  <a:lnTo>
                    <a:pt x="109" y="104"/>
                  </a:lnTo>
                  <a:lnTo>
                    <a:pt x="111" y="106"/>
                  </a:lnTo>
                  <a:lnTo>
                    <a:pt x="123" y="106"/>
                  </a:lnTo>
                  <a:lnTo>
                    <a:pt x="140" y="108"/>
                  </a:lnTo>
                  <a:lnTo>
                    <a:pt x="152" y="110"/>
                  </a:lnTo>
                  <a:lnTo>
                    <a:pt x="162" y="114"/>
                  </a:lnTo>
                  <a:lnTo>
                    <a:pt x="172" y="116"/>
                  </a:lnTo>
                  <a:lnTo>
                    <a:pt x="185" y="125"/>
                  </a:lnTo>
                  <a:lnTo>
                    <a:pt x="187" y="125"/>
                  </a:lnTo>
                  <a:lnTo>
                    <a:pt x="185" y="123"/>
                  </a:lnTo>
                  <a:lnTo>
                    <a:pt x="185" y="123"/>
                  </a:lnTo>
                  <a:lnTo>
                    <a:pt x="185" y="123"/>
                  </a:lnTo>
                  <a:lnTo>
                    <a:pt x="187" y="123"/>
                  </a:lnTo>
                  <a:lnTo>
                    <a:pt x="187" y="123"/>
                  </a:lnTo>
                  <a:lnTo>
                    <a:pt x="185" y="120"/>
                  </a:lnTo>
                  <a:lnTo>
                    <a:pt x="183" y="120"/>
                  </a:lnTo>
                  <a:lnTo>
                    <a:pt x="183" y="118"/>
                  </a:lnTo>
                  <a:lnTo>
                    <a:pt x="185" y="116"/>
                  </a:lnTo>
                  <a:lnTo>
                    <a:pt x="183" y="114"/>
                  </a:lnTo>
                  <a:lnTo>
                    <a:pt x="181" y="114"/>
                  </a:lnTo>
                  <a:lnTo>
                    <a:pt x="181" y="114"/>
                  </a:lnTo>
                  <a:lnTo>
                    <a:pt x="178" y="112"/>
                  </a:lnTo>
                  <a:lnTo>
                    <a:pt x="176" y="114"/>
                  </a:lnTo>
                  <a:lnTo>
                    <a:pt x="174" y="114"/>
                  </a:lnTo>
                  <a:lnTo>
                    <a:pt x="174" y="114"/>
                  </a:lnTo>
                  <a:lnTo>
                    <a:pt x="172" y="114"/>
                  </a:lnTo>
                  <a:lnTo>
                    <a:pt x="172" y="112"/>
                  </a:lnTo>
                  <a:lnTo>
                    <a:pt x="172" y="110"/>
                  </a:lnTo>
                  <a:lnTo>
                    <a:pt x="174" y="108"/>
                  </a:lnTo>
                  <a:lnTo>
                    <a:pt x="176" y="108"/>
                  </a:lnTo>
                  <a:lnTo>
                    <a:pt x="178" y="108"/>
                  </a:lnTo>
                  <a:lnTo>
                    <a:pt x="178" y="106"/>
                  </a:lnTo>
                  <a:lnTo>
                    <a:pt x="181" y="104"/>
                  </a:lnTo>
                  <a:lnTo>
                    <a:pt x="183" y="106"/>
                  </a:lnTo>
                  <a:lnTo>
                    <a:pt x="183" y="108"/>
                  </a:lnTo>
                  <a:lnTo>
                    <a:pt x="185" y="110"/>
                  </a:lnTo>
                  <a:lnTo>
                    <a:pt x="185" y="112"/>
                  </a:lnTo>
                  <a:lnTo>
                    <a:pt x="185" y="112"/>
                  </a:lnTo>
                  <a:lnTo>
                    <a:pt x="187" y="110"/>
                  </a:lnTo>
                  <a:lnTo>
                    <a:pt x="187" y="110"/>
                  </a:lnTo>
                  <a:lnTo>
                    <a:pt x="187" y="108"/>
                  </a:lnTo>
                  <a:lnTo>
                    <a:pt x="189" y="108"/>
                  </a:lnTo>
                  <a:lnTo>
                    <a:pt x="191" y="108"/>
                  </a:lnTo>
                  <a:lnTo>
                    <a:pt x="191" y="108"/>
                  </a:lnTo>
                  <a:lnTo>
                    <a:pt x="191" y="108"/>
                  </a:lnTo>
                  <a:lnTo>
                    <a:pt x="193" y="108"/>
                  </a:lnTo>
                  <a:lnTo>
                    <a:pt x="195" y="102"/>
                  </a:lnTo>
                  <a:lnTo>
                    <a:pt x="195" y="102"/>
                  </a:lnTo>
                  <a:lnTo>
                    <a:pt x="197" y="102"/>
                  </a:lnTo>
                  <a:lnTo>
                    <a:pt x="197" y="104"/>
                  </a:lnTo>
                  <a:lnTo>
                    <a:pt x="199" y="106"/>
                  </a:lnTo>
                  <a:lnTo>
                    <a:pt x="197" y="106"/>
                  </a:lnTo>
                  <a:lnTo>
                    <a:pt x="195" y="110"/>
                  </a:lnTo>
                  <a:lnTo>
                    <a:pt x="191" y="110"/>
                  </a:lnTo>
                  <a:lnTo>
                    <a:pt x="191" y="110"/>
                  </a:lnTo>
                  <a:lnTo>
                    <a:pt x="187" y="116"/>
                  </a:lnTo>
                  <a:lnTo>
                    <a:pt x="185" y="118"/>
                  </a:lnTo>
                  <a:lnTo>
                    <a:pt x="187" y="118"/>
                  </a:lnTo>
                  <a:lnTo>
                    <a:pt x="187" y="118"/>
                  </a:lnTo>
                  <a:lnTo>
                    <a:pt x="187" y="120"/>
                  </a:lnTo>
                  <a:lnTo>
                    <a:pt x="191" y="120"/>
                  </a:lnTo>
                  <a:lnTo>
                    <a:pt x="193" y="120"/>
                  </a:lnTo>
                  <a:lnTo>
                    <a:pt x="193" y="123"/>
                  </a:lnTo>
                  <a:lnTo>
                    <a:pt x="195" y="123"/>
                  </a:lnTo>
                  <a:lnTo>
                    <a:pt x="197" y="123"/>
                  </a:lnTo>
                  <a:lnTo>
                    <a:pt x="199" y="125"/>
                  </a:lnTo>
                  <a:lnTo>
                    <a:pt x="201" y="125"/>
                  </a:lnTo>
                  <a:lnTo>
                    <a:pt x="201" y="125"/>
                  </a:lnTo>
                  <a:lnTo>
                    <a:pt x="201" y="125"/>
                  </a:lnTo>
                  <a:lnTo>
                    <a:pt x="201" y="123"/>
                  </a:lnTo>
                  <a:lnTo>
                    <a:pt x="201" y="123"/>
                  </a:lnTo>
                  <a:lnTo>
                    <a:pt x="203" y="123"/>
                  </a:lnTo>
                  <a:lnTo>
                    <a:pt x="203" y="123"/>
                  </a:lnTo>
                  <a:lnTo>
                    <a:pt x="205" y="120"/>
                  </a:lnTo>
                  <a:lnTo>
                    <a:pt x="207" y="120"/>
                  </a:lnTo>
                  <a:lnTo>
                    <a:pt x="207" y="120"/>
                  </a:lnTo>
                  <a:lnTo>
                    <a:pt x="205" y="123"/>
                  </a:lnTo>
                  <a:lnTo>
                    <a:pt x="205" y="125"/>
                  </a:lnTo>
                  <a:lnTo>
                    <a:pt x="207" y="125"/>
                  </a:lnTo>
                  <a:lnTo>
                    <a:pt x="207" y="125"/>
                  </a:lnTo>
                  <a:lnTo>
                    <a:pt x="209" y="127"/>
                  </a:lnTo>
                  <a:lnTo>
                    <a:pt x="209" y="129"/>
                  </a:lnTo>
                  <a:lnTo>
                    <a:pt x="209" y="131"/>
                  </a:lnTo>
                  <a:lnTo>
                    <a:pt x="211" y="131"/>
                  </a:lnTo>
                  <a:lnTo>
                    <a:pt x="211" y="131"/>
                  </a:lnTo>
                  <a:lnTo>
                    <a:pt x="213" y="129"/>
                  </a:lnTo>
                  <a:lnTo>
                    <a:pt x="213" y="127"/>
                  </a:lnTo>
                  <a:lnTo>
                    <a:pt x="213" y="129"/>
                  </a:lnTo>
                  <a:lnTo>
                    <a:pt x="213" y="129"/>
                  </a:lnTo>
                  <a:lnTo>
                    <a:pt x="213" y="129"/>
                  </a:lnTo>
                  <a:lnTo>
                    <a:pt x="215" y="129"/>
                  </a:lnTo>
                  <a:lnTo>
                    <a:pt x="217" y="129"/>
                  </a:lnTo>
                  <a:lnTo>
                    <a:pt x="217" y="129"/>
                  </a:lnTo>
                  <a:lnTo>
                    <a:pt x="217" y="131"/>
                  </a:lnTo>
                  <a:lnTo>
                    <a:pt x="217" y="131"/>
                  </a:lnTo>
                  <a:lnTo>
                    <a:pt x="215" y="131"/>
                  </a:lnTo>
                  <a:lnTo>
                    <a:pt x="215" y="133"/>
                  </a:lnTo>
                  <a:lnTo>
                    <a:pt x="213" y="133"/>
                  </a:lnTo>
                  <a:lnTo>
                    <a:pt x="209" y="133"/>
                  </a:lnTo>
                  <a:lnTo>
                    <a:pt x="207" y="131"/>
                  </a:lnTo>
                  <a:lnTo>
                    <a:pt x="205" y="129"/>
                  </a:lnTo>
                  <a:lnTo>
                    <a:pt x="203" y="127"/>
                  </a:lnTo>
                  <a:lnTo>
                    <a:pt x="197" y="127"/>
                  </a:lnTo>
                  <a:lnTo>
                    <a:pt x="197" y="125"/>
                  </a:lnTo>
                  <a:lnTo>
                    <a:pt x="191" y="123"/>
                  </a:lnTo>
                  <a:lnTo>
                    <a:pt x="189" y="125"/>
                  </a:lnTo>
                  <a:lnTo>
                    <a:pt x="191" y="125"/>
                  </a:lnTo>
                  <a:lnTo>
                    <a:pt x="197" y="129"/>
                  </a:lnTo>
                  <a:lnTo>
                    <a:pt x="197" y="129"/>
                  </a:lnTo>
                  <a:lnTo>
                    <a:pt x="211" y="137"/>
                  </a:lnTo>
                  <a:lnTo>
                    <a:pt x="209" y="137"/>
                  </a:lnTo>
                  <a:lnTo>
                    <a:pt x="207" y="137"/>
                  </a:lnTo>
                  <a:lnTo>
                    <a:pt x="203" y="135"/>
                  </a:lnTo>
                  <a:lnTo>
                    <a:pt x="203" y="133"/>
                  </a:lnTo>
                  <a:lnTo>
                    <a:pt x="201" y="133"/>
                  </a:lnTo>
                  <a:lnTo>
                    <a:pt x="203" y="135"/>
                  </a:lnTo>
                  <a:lnTo>
                    <a:pt x="203" y="135"/>
                  </a:lnTo>
                  <a:lnTo>
                    <a:pt x="203" y="135"/>
                  </a:lnTo>
                  <a:lnTo>
                    <a:pt x="203" y="137"/>
                  </a:lnTo>
                  <a:lnTo>
                    <a:pt x="207" y="139"/>
                  </a:lnTo>
                  <a:lnTo>
                    <a:pt x="217" y="141"/>
                  </a:lnTo>
                  <a:lnTo>
                    <a:pt x="219" y="143"/>
                  </a:lnTo>
                  <a:lnTo>
                    <a:pt x="221" y="145"/>
                  </a:lnTo>
                  <a:lnTo>
                    <a:pt x="224" y="145"/>
                  </a:lnTo>
                  <a:lnTo>
                    <a:pt x="224" y="147"/>
                  </a:lnTo>
                  <a:lnTo>
                    <a:pt x="226" y="149"/>
                  </a:lnTo>
                  <a:lnTo>
                    <a:pt x="228" y="153"/>
                  </a:lnTo>
                  <a:lnTo>
                    <a:pt x="230" y="155"/>
                  </a:lnTo>
                  <a:lnTo>
                    <a:pt x="230" y="164"/>
                  </a:lnTo>
                  <a:lnTo>
                    <a:pt x="230" y="164"/>
                  </a:lnTo>
                  <a:lnTo>
                    <a:pt x="232" y="164"/>
                  </a:lnTo>
                  <a:lnTo>
                    <a:pt x="230" y="166"/>
                  </a:lnTo>
                  <a:lnTo>
                    <a:pt x="230" y="166"/>
                  </a:lnTo>
                  <a:lnTo>
                    <a:pt x="228" y="168"/>
                  </a:lnTo>
                  <a:lnTo>
                    <a:pt x="228" y="168"/>
                  </a:lnTo>
                  <a:lnTo>
                    <a:pt x="226" y="168"/>
                  </a:lnTo>
                  <a:lnTo>
                    <a:pt x="224" y="164"/>
                  </a:lnTo>
                  <a:lnTo>
                    <a:pt x="221" y="161"/>
                  </a:lnTo>
                  <a:lnTo>
                    <a:pt x="221" y="159"/>
                  </a:lnTo>
                  <a:lnTo>
                    <a:pt x="221" y="157"/>
                  </a:lnTo>
                  <a:lnTo>
                    <a:pt x="219" y="149"/>
                  </a:lnTo>
                  <a:lnTo>
                    <a:pt x="219" y="149"/>
                  </a:lnTo>
                  <a:lnTo>
                    <a:pt x="219" y="151"/>
                  </a:lnTo>
                  <a:lnTo>
                    <a:pt x="219" y="155"/>
                  </a:lnTo>
                  <a:lnTo>
                    <a:pt x="221" y="166"/>
                  </a:lnTo>
                  <a:lnTo>
                    <a:pt x="224" y="166"/>
                  </a:lnTo>
                  <a:lnTo>
                    <a:pt x="226" y="168"/>
                  </a:lnTo>
                  <a:lnTo>
                    <a:pt x="228" y="168"/>
                  </a:lnTo>
                  <a:lnTo>
                    <a:pt x="230" y="166"/>
                  </a:lnTo>
                  <a:lnTo>
                    <a:pt x="232" y="166"/>
                  </a:lnTo>
                  <a:lnTo>
                    <a:pt x="234" y="166"/>
                  </a:lnTo>
                  <a:lnTo>
                    <a:pt x="236" y="166"/>
                  </a:lnTo>
                  <a:lnTo>
                    <a:pt x="248" y="161"/>
                  </a:lnTo>
                  <a:lnTo>
                    <a:pt x="250" y="159"/>
                  </a:lnTo>
                  <a:lnTo>
                    <a:pt x="258" y="159"/>
                  </a:lnTo>
                  <a:lnTo>
                    <a:pt x="260" y="159"/>
                  </a:lnTo>
                  <a:lnTo>
                    <a:pt x="260" y="155"/>
                  </a:lnTo>
                  <a:lnTo>
                    <a:pt x="262" y="155"/>
                  </a:lnTo>
                  <a:lnTo>
                    <a:pt x="265" y="153"/>
                  </a:lnTo>
                  <a:lnTo>
                    <a:pt x="267" y="151"/>
                  </a:lnTo>
                  <a:lnTo>
                    <a:pt x="267" y="151"/>
                  </a:lnTo>
                  <a:lnTo>
                    <a:pt x="269" y="149"/>
                  </a:lnTo>
                  <a:lnTo>
                    <a:pt x="269" y="149"/>
                  </a:lnTo>
                  <a:lnTo>
                    <a:pt x="271" y="149"/>
                  </a:lnTo>
                  <a:lnTo>
                    <a:pt x="269" y="155"/>
                  </a:lnTo>
                  <a:lnTo>
                    <a:pt x="269" y="155"/>
                  </a:lnTo>
                  <a:lnTo>
                    <a:pt x="269" y="157"/>
                  </a:lnTo>
                  <a:lnTo>
                    <a:pt x="271" y="157"/>
                  </a:lnTo>
                  <a:lnTo>
                    <a:pt x="271" y="155"/>
                  </a:lnTo>
                  <a:lnTo>
                    <a:pt x="273" y="155"/>
                  </a:lnTo>
                  <a:lnTo>
                    <a:pt x="275" y="153"/>
                  </a:lnTo>
                  <a:lnTo>
                    <a:pt x="275" y="153"/>
                  </a:lnTo>
                  <a:lnTo>
                    <a:pt x="277" y="151"/>
                  </a:lnTo>
                  <a:lnTo>
                    <a:pt x="279" y="149"/>
                  </a:lnTo>
                  <a:lnTo>
                    <a:pt x="281" y="149"/>
                  </a:lnTo>
                  <a:lnTo>
                    <a:pt x="283" y="149"/>
                  </a:lnTo>
                  <a:lnTo>
                    <a:pt x="287" y="143"/>
                  </a:lnTo>
                  <a:lnTo>
                    <a:pt x="289" y="141"/>
                  </a:lnTo>
                  <a:lnTo>
                    <a:pt x="293" y="139"/>
                  </a:lnTo>
                  <a:lnTo>
                    <a:pt x="297" y="135"/>
                  </a:lnTo>
                  <a:lnTo>
                    <a:pt x="301" y="131"/>
                  </a:lnTo>
                  <a:lnTo>
                    <a:pt x="303" y="133"/>
                  </a:lnTo>
                  <a:lnTo>
                    <a:pt x="303" y="133"/>
                  </a:lnTo>
                  <a:lnTo>
                    <a:pt x="305" y="131"/>
                  </a:lnTo>
                  <a:lnTo>
                    <a:pt x="308" y="131"/>
                  </a:lnTo>
                  <a:lnTo>
                    <a:pt x="312" y="131"/>
                  </a:lnTo>
                  <a:lnTo>
                    <a:pt x="316" y="131"/>
                  </a:lnTo>
                  <a:lnTo>
                    <a:pt x="316" y="133"/>
                  </a:lnTo>
                  <a:lnTo>
                    <a:pt x="316" y="133"/>
                  </a:lnTo>
                  <a:lnTo>
                    <a:pt x="314" y="133"/>
                  </a:lnTo>
                  <a:lnTo>
                    <a:pt x="316" y="131"/>
                  </a:lnTo>
                  <a:lnTo>
                    <a:pt x="318" y="129"/>
                  </a:lnTo>
                  <a:lnTo>
                    <a:pt x="316" y="127"/>
                  </a:lnTo>
                  <a:lnTo>
                    <a:pt x="314" y="127"/>
                  </a:lnTo>
                  <a:lnTo>
                    <a:pt x="308" y="127"/>
                  </a:lnTo>
                  <a:lnTo>
                    <a:pt x="308" y="127"/>
                  </a:lnTo>
                  <a:lnTo>
                    <a:pt x="305" y="125"/>
                  </a:lnTo>
                  <a:lnTo>
                    <a:pt x="305" y="125"/>
                  </a:lnTo>
                  <a:lnTo>
                    <a:pt x="303" y="125"/>
                  </a:lnTo>
                  <a:lnTo>
                    <a:pt x="305" y="123"/>
                  </a:lnTo>
                  <a:lnTo>
                    <a:pt x="308" y="123"/>
                  </a:lnTo>
                  <a:lnTo>
                    <a:pt x="310" y="123"/>
                  </a:lnTo>
                  <a:lnTo>
                    <a:pt x="312" y="125"/>
                  </a:lnTo>
                  <a:lnTo>
                    <a:pt x="314" y="125"/>
                  </a:lnTo>
                  <a:lnTo>
                    <a:pt x="316" y="125"/>
                  </a:lnTo>
                  <a:lnTo>
                    <a:pt x="316" y="125"/>
                  </a:lnTo>
                  <a:lnTo>
                    <a:pt x="314" y="123"/>
                  </a:lnTo>
                  <a:lnTo>
                    <a:pt x="314" y="120"/>
                  </a:lnTo>
                  <a:lnTo>
                    <a:pt x="314" y="123"/>
                  </a:lnTo>
                  <a:lnTo>
                    <a:pt x="312" y="123"/>
                  </a:lnTo>
                  <a:lnTo>
                    <a:pt x="312" y="123"/>
                  </a:lnTo>
                  <a:lnTo>
                    <a:pt x="312" y="123"/>
                  </a:lnTo>
                  <a:lnTo>
                    <a:pt x="312" y="120"/>
                  </a:lnTo>
                  <a:lnTo>
                    <a:pt x="312" y="120"/>
                  </a:lnTo>
                  <a:lnTo>
                    <a:pt x="312" y="120"/>
                  </a:lnTo>
                  <a:lnTo>
                    <a:pt x="312" y="120"/>
                  </a:lnTo>
                  <a:lnTo>
                    <a:pt x="312" y="118"/>
                  </a:lnTo>
                  <a:lnTo>
                    <a:pt x="312" y="118"/>
                  </a:lnTo>
                  <a:lnTo>
                    <a:pt x="312" y="118"/>
                  </a:lnTo>
                  <a:lnTo>
                    <a:pt x="312" y="118"/>
                  </a:lnTo>
                  <a:lnTo>
                    <a:pt x="312" y="118"/>
                  </a:lnTo>
                  <a:lnTo>
                    <a:pt x="312" y="116"/>
                  </a:lnTo>
                  <a:lnTo>
                    <a:pt x="314" y="116"/>
                  </a:lnTo>
                  <a:lnTo>
                    <a:pt x="316" y="114"/>
                  </a:lnTo>
                  <a:lnTo>
                    <a:pt x="318" y="114"/>
                  </a:lnTo>
                  <a:lnTo>
                    <a:pt x="320" y="114"/>
                  </a:lnTo>
                  <a:lnTo>
                    <a:pt x="320" y="112"/>
                  </a:lnTo>
                  <a:lnTo>
                    <a:pt x="320" y="112"/>
                  </a:lnTo>
                  <a:lnTo>
                    <a:pt x="322" y="110"/>
                  </a:lnTo>
                  <a:lnTo>
                    <a:pt x="322" y="110"/>
                  </a:lnTo>
                  <a:lnTo>
                    <a:pt x="322" y="110"/>
                  </a:lnTo>
                  <a:lnTo>
                    <a:pt x="322" y="110"/>
                  </a:lnTo>
                  <a:lnTo>
                    <a:pt x="324" y="110"/>
                  </a:lnTo>
                  <a:lnTo>
                    <a:pt x="322" y="110"/>
                  </a:lnTo>
                  <a:lnTo>
                    <a:pt x="324" y="110"/>
                  </a:lnTo>
                  <a:lnTo>
                    <a:pt x="326" y="110"/>
                  </a:lnTo>
                  <a:lnTo>
                    <a:pt x="326" y="108"/>
                  </a:lnTo>
                  <a:lnTo>
                    <a:pt x="326" y="108"/>
                  </a:lnTo>
                  <a:lnTo>
                    <a:pt x="326" y="108"/>
                  </a:lnTo>
                  <a:lnTo>
                    <a:pt x="328" y="108"/>
                  </a:lnTo>
                  <a:lnTo>
                    <a:pt x="328" y="108"/>
                  </a:lnTo>
                  <a:lnTo>
                    <a:pt x="328" y="108"/>
                  </a:lnTo>
                  <a:lnTo>
                    <a:pt x="328" y="108"/>
                  </a:lnTo>
                  <a:lnTo>
                    <a:pt x="328" y="110"/>
                  </a:lnTo>
                  <a:lnTo>
                    <a:pt x="330" y="110"/>
                  </a:lnTo>
                  <a:lnTo>
                    <a:pt x="330" y="110"/>
                  </a:lnTo>
                  <a:lnTo>
                    <a:pt x="332" y="108"/>
                  </a:lnTo>
                  <a:lnTo>
                    <a:pt x="338" y="108"/>
                  </a:lnTo>
                  <a:lnTo>
                    <a:pt x="342" y="106"/>
                  </a:lnTo>
                  <a:lnTo>
                    <a:pt x="344" y="106"/>
                  </a:lnTo>
                  <a:lnTo>
                    <a:pt x="351" y="110"/>
                  </a:lnTo>
                  <a:lnTo>
                    <a:pt x="361" y="114"/>
                  </a:lnTo>
                  <a:lnTo>
                    <a:pt x="365" y="116"/>
                  </a:lnTo>
                  <a:lnTo>
                    <a:pt x="367" y="114"/>
                  </a:lnTo>
                  <a:lnTo>
                    <a:pt x="369" y="116"/>
                  </a:lnTo>
                  <a:lnTo>
                    <a:pt x="371" y="118"/>
                  </a:lnTo>
                  <a:lnTo>
                    <a:pt x="373" y="118"/>
                  </a:lnTo>
                  <a:lnTo>
                    <a:pt x="373" y="118"/>
                  </a:lnTo>
                  <a:lnTo>
                    <a:pt x="377" y="120"/>
                  </a:lnTo>
                  <a:lnTo>
                    <a:pt x="379" y="123"/>
                  </a:lnTo>
                  <a:lnTo>
                    <a:pt x="379" y="123"/>
                  </a:lnTo>
                  <a:lnTo>
                    <a:pt x="383" y="127"/>
                  </a:lnTo>
                  <a:lnTo>
                    <a:pt x="385" y="129"/>
                  </a:lnTo>
                  <a:lnTo>
                    <a:pt x="385" y="129"/>
                  </a:lnTo>
                  <a:lnTo>
                    <a:pt x="387" y="129"/>
                  </a:lnTo>
                  <a:lnTo>
                    <a:pt x="387" y="129"/>
                  </a:lnTo>
                  <a:lnTo>
                    <a:pt x="387" y="131"/>
                  </a:lnTo>
                  <a:lnTo>
                    <a:pt x="389" y="133"/>
                  </a:lnTo>
                  <a:lnTo>
                    <a:pt x="389" y="135"/>
                  </a:lnTo>
                  <a:lnTo>
                    <a:pt x="389" y="137"/>
                  </a:lnTo>
                  <a:lnTo>
                    <a:pt x="391" y="137"/>
                  </a:lnTo>
                  <a:lnTo>
                    <a:pt x="394" y="139"/>
                  </a:lnTo>
                  <a:lnTo>
                    <a:pt x="396" y="141"/>
                  </a:lnTo>
                  <a:lnTo>
                    <a:pt x="400" y="141"/>
                  </a:lnTo>
                  <a:lnTo>
                    <a:pt x="400" y="141"/>
                  </a:lnTo>
                  <a:lnTo>
                    <a:pt x="402" y="143"/>
                  </a:lnTo>
                  <a:lnTo>
                    <a:pt x="402" y="143"/>
                  </a:lnTo>
                  <a:lnTo>
                    <a:pt x="404" y="143"/>
                  </a:lnTo>
                  <a:lnTo>
                    <a:pt x="406" y="143"/>
                  </a:lnTo>
                  <a:lnTo>
                    <a:pt x="408" y="143"/>
                  </a:lnTo>
                  <a:lnTo>
                    <a:pt x="408" y="145"/>
                  </a:lnTo>
                  <a:lnTo>
                    <a:pt x="410" y="147"/>
                  </a:lnTo>
                  <a:lnTo>
                    <a:pt x="410" y="149"/>
                  </a:lnTo>
                  <a:lnTo>
                    <a:pt x="410" y="151"/>
                  </a:lnTo>
                  <a:lnTo>
                    <a:pt x="408" y="153"/>
                  </a:lnTo>
                  <a:lnTo>
                    <a:pt x="410" y="155"/>
                  </a:lnTo>
                  <a:lnTo>
                    <a:pt x="410" y="155"/>
                  </a:lnTo>
                  <a:lnTo>
                    <a:pt x="410" y="157"/>
                  </a:lnTo>
                  <a:lnTo>
                    <a:pt x="410" y="159"/>
                  </a:lnTo>
                  <a:lnTo>
                    <a:pt x="412" y="159"/>
                  </a:lnTo>
                  <a:lnTo>
                    <a:pt x="414" y="159"/>
                  </a:lnTo>
                  <a:lnTo>
                    <a:pt x="414" y="159"/>
                  </a:lnTo>
                  <a:lnTo>
                    <a:pt x="420" y="166"/>
                  </a:lnTo>
                  <a:lnTo>
                    <a:pt x="422" y="166"/>
                  </a:lnTo>
                  <a:lnTo>
                    <a:pt x="426" y="166"/>
                  </a:lnTo>
                  <a:lnTo>
                    <a:pt x="428" y="168"/>
                  </a:lnTo>
                  <a:lnTo>
                    <a:pt x="430" y="170"/>
                  </a:lnTo>
                  <a:lnTo>
                    <a:pt x="432" y="172"/>
                  </a:lnTo>
                  <a:lnTo>
                    <a:pt x="434" y="176"/>
                  </a:lnTo>
                  <a:lnTo>
                    <a:pt x="434" y="176"/>
                  </a:lnTo>
                  <a:lnTo>
                    <a:pt x="437" y="178"/>
                  </a:lnTo>
                  <a:lnTo>
                    <a:pt x="437" y="178"/>
                  </a:lnTo>
                  <a:lnTo>
                    <a:pt x="437" y="180"/>
                  </a:lnTo>
                  <a:lnTo>
                    <a:pt x="437" y="180"/>
                  </a:lnTo>
                  <a:lnTo>
                    <a:pt x="439" y="180"/>
                  </a:lnTo>
                  <a:lnTo>
                    <a:pt x="441" y="182"/>
                  </a:lnTo>
                  <a:lnTo>
                    <a:pt x="443" y="182"/>
                  </a:lnTo>
                  <a:lnTo>
                    <a:pt x="445" y="182"/>
                  </a:lnTo>
                  <a:lnTo>
                    <a:pt x="445" y="182"/>
                  </a:lnTo>
                  <a:lnTo>
                    <a:pt x="447" y="184"/>
                  </a:lnTo>
                  <a:lnTo>
                    <a:pt x="447" y="184"/>
                  </a:lnTo>
                  <a:lnTo>
                    <a:pt x="445" y="186"/>
                  </a:lnTo>
                  <a:lnTo>
                    <a:pt x="447" y="188"/>
                  </a:lnTo>
                  <a:lnTo>
                    <a:pt x="447" y="188"/>
                  </a:lnTo>
                  <a:lnTo>
                    <a:pt x="449" y="188"/>
                  </a:lnTo>
                  <a:lnTo>
                    <a:pt x="449" y="188"/>
                  </a:lnTo>
                  <a:lnTo>
                    <a:pt x="449" y="190"/>
                  </a:lnTo>
                  <a:lnTo>
                    <a:pt x="449" y="190"/>
                  </a:lnTo>
                  <a:lnTo>
                    <a:pt x="451" y="190"/>
                  </a:lnTo>
                  <a:lnTo>
                    <a:pt x="453" y="190"/>
                  </a:lnTo>
                  <a:lnTo>
                    <a:pt x="453" y="190"/>
                  </a:lnTo>
                  <a:lnTo>
                    <a:pt x="455" y="190"/>
                  </a:lnTo>
                  <a:lnTo>
                    <a:pt x="455" y="190"/>
                  </a:lnTo>
                  <a:lnTo>
                    <a:pt x="459" y="188"/>
                  </a:lnTo>
                  <a:lnTo>
                    <a:pt x="459" y="188"/>
                  </a:lnTo>
                  <a:lnTo>
                    <a:pt x="461" y="188"/>
                  </a:lnTo>
                  <a:lnTo>
                    <a:pt x="463" y="190"/>
                  </a:lnTo>
                  <a:lnTo>
                    <a:pt x="465" y="190"/>
                  </a:lnTo>
                  <a:lnTo>
                    <a:pt x="467" y="188"/>
                  </a:lnTo>
                  <a:lnTo>
                    <a:pt x="467" y="188"/>
                  </a:lnTo>
                  <a:lnTo>
                    <a:pt x="469" y="190"/>
                  </a:lnTo>
                  <a:lnTo>
                    <a:pt x="469" y="190"/>
                  </a:lnTo>
                  <a:lnTo>
                    <a:pt x="469" y="188"/>
                  </a:lnTo>
                  <a:lnTo>
                    <a:pt x="471" y="188"/>
                  </a:lnTo>
                  <a:lnTo>
                    <a:pt x="471" y="190"/>
                  </a:lnTo>
                  <a:lnTo>
                    <a:pt x="473" y="192"/>
                  </a:lnTo>
                  <a:lnTo>
                    <a:pt x="473" y="192"/>
                  </a:lnTo>
                  <a:lnTo>
                    <a:pt x="475" y="194"/>
                  </a:lnTo>
                  <a:lnTo>
                    <a:pt x="473" y="194"/>
                  </a:lnTo>
                  <a:lnTo>
                    <a:pt x="475" y="196"/>
                  </a:lnTo>
                  <a:lnTo>
                    <a:pt x="480" y="198"/>
                  </a:lnTo>
                  <a:lnTo>
                    <a:pt x="480" y="198"/>
                  </a:lnTo>
                  <a:lnTo>
                    <a:pt x="480" y="202"/>
                  </a:lnTo>
                  <a:lnTo>
                    <a:pt x="480" y="204"/>
                  </a:lnTo>
                  <a:lnTo>
                    <a:pt x="480" y="204"/>
                  </a:lnTo>
                  <a:lnTo>
                    <a:pt x="480" y="204"/>
                  </a:lnTo>
                  <a:lnTo>
                    <a:pt x="482" y="207"/>
                  </a:lnTo>
                  <a:lnTo>
                    <a:pt x="482" y="207"/>
                  </a:lnTo>
                  <a:lnTo>
                    <a:pt x="482" y="209"/>
                  </a:lnTo>
                  <a:lnTo>
                    <a:pt x="482" y="211"/>
                  </a:lnTo>
                  <a:lnTo>
                    <a:pt x="488" y="215"/>
                  </a:lnTo>
                  <a:lnTo>
                    <a:pt x="488" y="215"/>
                  </a:lnTo>
                  <a:lnTo>
                    <a:pt x="488" y="215"/>
                  </a:lnTo>
                  <a:lnTo>
                    <a:pt x="490" y="215"/>
                  </a:lnTo>
                  <a:lnTo>
                    <a:pt x="492" y="215"/>
                  </a:lnTo>
                  <a:lnTo>
                    <a:pt x="492" y="217"/>
                  </a:lnTo>
                  <a:lnTo>
                    <a:pt x="492" y="217"/>
                  </a:lnTo>
                  <a:lnTo>
                    <a:pt x="494" y="223"/>
                  </a:lnTo>
                  <a:lnTo>
                    <a:pt x="494" y="223"/>
                  </a:lnTo>
                  <a:lnTo>
                    <a:pt x="494" y="227"/>
                  </a:lnTo>
                  <a:lnTo>
                    <a:pt x="492" y="225"/>
                  </a:lnTo>
                  <a:lnTo>
                    <a:pt x="490" y="223"/>
                  </a:lnTo>
                  <a:lnTo>
                    <a:pt x="490" y="225"/>
                  </a:lnTo>
                  <a:lnTo>
                    <a:pt x="490" y="227"/>
                  </a:lnTo>
                  <a:lnTo>
                    <a:pt x="492" y="229"/>
                  </a:lnTo>
                  <a:lnTo>
                    <a:pt x="492" y="229"/>
                  </a:lnTo>
                  <a:lnTo>
                    <a:pt x="492" y="231"/>
                  </a:lnTo>
                  <a:lnTo>
                    <a:pt x="494" y="231"/>
                  </a:lnTo>
                  <a:lnTo>
                    <a:pt x="494" y="231"/>
                  </a:lnTo>
                  <a:lnTo>
                    <a:pt x="494" y="231"/>
                  </a:lnTo>
                  <a:lnTo>
                    <a:pt x="496" y="235"/>
                  </a:lnTo>
                  <a:lnTo>
                    <a:pt x="496" y="235"/>
                  </a:lnTo>
                  <a:lnTo>
                    <a:pt x="496" y="237"/>
                  </a:lnTo>
                  <a:lnTo>
                    <a:pt x="496" y="237"/>
                  </a:lnTo>
                  <a:lnTo>
                    <a:pt x="496" y="239"/>
                  </a:lnTo>
                  <a:lnTo>
                    <a:pt x="496" y="239"/>
                  </a:lnTo>
                  <a:lnTo>
                    <a:pt x="496" y="239"/>
                  </a:lnTo>
                  <a:lnTo>
                    <a:pt x="496" y="241"/>
                  </a:lnTo>
                  <a:lnTo>
                    <a:pt x="496" y="241"/>
                  </a:lnTo>
                  <a:lnTo>
                    <a:pt x="496" y="243"/>
                  </a:lnTo>
                  <a:lnTo>
                    <a:pt x="496" y="254"/>
                  </a:lnTo>
                  <a:lnTo>
                    <a:pt x="496" y="256"/>
                  </a:lnTo>
                  <a:lnTo>
                    <a:pt x="496" y="258"/>
                  </a:lnTo>
                  <a:lnTo>
                    <a:pt x="496" y="264"/>
                  </a:lnTo>
                  <a:lnTo>
                    <a:pt x="496" y="268"/>
                  </a:lnTo>
                  <a:lnTo>
                    <a:pt x="496" y="268"/>
                  </a:lnTo>
                  <a:lnTo>
                    <a:pt x="496" y="268"/>
                  </a:lnTo>
                  <a:lnTo>
                    <a:pt x="494" y="270"/>
                  </a:lnTo>
                  <a:lnTo>
                    <a:pt x="492" y="280"/>
                  </a:lnTo>
                  <a:lnTo>
                    <a:pt x="494" y="278"/>
                  </a:lnTo>
                  <a:lnTo>
                    <a:pt x="494" y="278"/>
                  </a:lnTo>
                  <a:lnTo>
                    <a:pt x="494" y="278"/>
                  </a:lnTo>
                  <a:lnTo>
                    <a:pt x="494" y="280"/>
                  </a:lnTo>
                  <a:lnTo>
                    <a:pt x="494" y="282"/>
                  </a:lnTo>
                  <a:lnTo>
                    <a:pt x="492" y="284"/>
                  </a:lnTo>
                  <a:lnTo>
                    <a:pt x="492" y="289"/>
                  </a:lnTo>
                  <a:lnTo>
                    <a:pt x="492" y="289"/>
                  </a:lnTo>
                  <a:lnTo>
                    <a:pt x="490" y="291"/>
                  </a:lnTo>
                  <a:lnTo>
                    <a:pt x="490" y="291"/>
                  </a:lnTo>
                  <a:lnTo>
                    <a:pt x="490" y="293"/>
                  </a:lnTo>
                  <a:lnTo>
                    <a:pt x="490" y="295"/>
                  </a:lnTo>
                  <a:lnTo>
                    <a:pt x="490" y="295"/>
                  </a:lnTo>
                  <a:lnTo>
                    <a:pt x="492" y="299"/>
                  </a:lnTo>
                  <a:lnTo>
                    <a:pt x="492" y="301"/>
                  </a:lnTo>
                  <a:lnTo>
                    <a:pt x="494" y="301"/>
                  </a:lnTo>
                  <a:lnTo>
                    <a:pt x="492" y="303"/>
                  </a:lnTo>
                  <a:lnTo>
                    <a:pt x="492" y="303"/>
                  </a:lnTo>
                  <a:lnTo>
                    <a:pt x="492" y="307"/>
                  </a:lnTo>
                  <a:lnTo>
                    <a:pt x="492" y="317"/>
                  </a:lnTo>
                  <a:lnTo>
                    <a:pt x="490" y="325"/>
                  </a:lnTo>
                  <a:lnTo>
                    <a:pt x="490" y="323"/>
                  </a:lnTo>
                  <a:lnTo>
                    <a:pt x="490" y="321"/>
                  </a:lnTo>
                  <a:lnTo>
                    <a:pt x="490" y="321"/>
                  </a:lnTo>
                  <a:lnTo>
                    <a:pt x="490" y="319"/>
                  </a:lnTo>
                  <a:lnTo>
                    <a:pt x="490" y="319"/>
                  </a:lnTo>
                  <a:lnTo>
                    <a:pt x="488" y="321"/>
                  </a:lnTo>
                  <a:lnTo>
                    <a:pt x="488" y="323"/>
                  </a:lnTo>
                  <a:lnTo>
                    <a:pt x="488" y="325"/>
                  </a:lnTo>
                  <a:lnTo>
                    <a:pt x="488" y="327"/>
                  </a:lnTo>
                  <a:lnTo>
                    <a:pt x="490" y="329"/>
                  </a:lnTo>
                  <a:lnTo>
                    <a:pt x="490" y="332"/>
                  </a:lnTo>
                  <a:lnTo>
                    <a:pt x="492" y="334"/>
                  </a:lnTo>
                  <a:lnTo>
                    <a:pt x="498" y="340"/>
                  </a:lnTo>
                  <a:lnTo>
                    <a:pt x="500" y="342"/>
                  </a:lnTo>
                  <a:lnTo>
                    <a:pt x="502" y="344"/>
                  </a:lnTo>
                  <a:lnTo>
                    <a:pt x="502" y="346"/>
                  </a:lnTo>
                  <a:lnTo>
                    <a:pt x="504" y="348"/>
                  </a:lnTo>
                  <a:lnTo>
                    <a:pt x="504" y="348"/>
                  </a:lnTo>
                  <a:lnTo>
                    <a:pt x="504" y="346"/>
                  </a:lnTo>
                  <a:lnTo>
                    <a:pt x="504" y="344"/>
                  </a:lnTo>
                  <a:lnTo>
                    <a:pt x="502" y="342"/>
                  </a:lnTo>
                  <a:lnTo>
                    <a:pt x="500" y="340"/>
                  </a:lnTo>
                  <a:lnTo>
                    <a:pt x="494" y="334"/>
                  </a:lnTo>
                  <a:lnTo>
                    <a:pt x="492" y="334"/>
                  </a:lnTo>
                  <a:lnTo>
                    <a:pt x="494" y="332"/>
                  </a:lnTo>
                  <a:lnTo>
                    <a:pt x="496" y="332"/>
                  </a:lnTo>
                  <a:lnTo>
                    <a:pt x="500" y="336"/>
                  </a:lnTo>
                  <a:lnTo>
                    <a:pt x="502" y="336"/>
                  </a:lnTo>
                  <a:lnTo>
                    <a:pt x="504" y="340"/>
                  </a:lnTo>
                  <a:lnTo>
                    <a:pt x="504" y="340"/>
                  </a:lnTo>
                  <a:lnTo>
                    <a:pt x="506" y="340"/>
                  </a:lnTo>
                  <a:lnTo>
                    <a:pt x="506" y="340"/>
                  </a:lnTo>
                  <a:lnTo>
                    <a:pt x="506" y="342"/>
                  </a:lnTo>
                  <a:lnTo>
                    <a:pt x="508" y="344"/>
                  </a:lnTo>
                  <a:lnTo>
                    <a:pt x="508" y="344"/>
                  </a:lnTo>
                  <a:lnTo>
                    <a:pt x="508" y="344"/>
                  </a:lnTo>
                  <a:lnTo>
                    <a:pt x="510" y="344"/>
                  </a:lnTo>
                  <a:lnTo>
                    <a:pt x="512" y="342"/>
                  </a:lnTo>
                  <a:lnTo>
                    <a:pt x="512" y="340"/>
                  </a:lnTo>
                  <a:lnTo>
                    <a:pt x="512" y="338"/>
                  </a:lnTo>
                  <a:lnTo>
                    <a:pt x="512" y="338"/>
                  </a:lnTo>
                  <a:lnTo>
                    <a:pt x="512" y="334"/>
                  </a:lnTo>
                  <a:lnTo>
                    <a:pt x="512" y="334"/>
                  </a:lnTo>
                  <a:lnTo>
                    <a:pt x="512" y="332"/>
                  </a:lnTo>
                  <a:lnTo>
                    <a:pt x="514" y="329"/>
                  </a:lnTo>
                  <a:lnTo>
                    <a:pt x="514" y="329"/>
                  </a:lnTo>
                  <a:lnTo>
                    <a:pt x="514" y="327"/>
                  </a:lnTo>
                  <a:lnTo>
                    <a:pt x="512" y="325"/>
                  </a:lnTo>
                  <a:lnTo>
                    <a:pt x="512" y="325"/>
                  </a:lnTo>
                  <a:lnTo>
                    <a:pt x="514" y="323"/>
                  </a:lnTo>
                  <a:lnTo>
                    <a:pt x="516" y="321"/>
                  </a:lnTo>
                  <a:lnTo>
                    <a:pt x="512" y="323"/>
                  </a:lnTo>
                  <a:lnTo>
                    <a:pt x="508" y="321"/>
                  </a:lnTo>
                  <a:lnTo>
                    <a:pt x="504" y="319"/>
                  </a:lnTo>
                  <a:lnTo>
                    <a:pt x="500" y="319"/>
                  </a:lnTo>
                  <a:lnTo>
                    <a:pt x="502" y="317"/>
                  </a:lnTo>
                  <a:lnTo>
                    <a:pt x="506" y="315"/>
                  </a:lnTo>
                  <a:lnTo>
                    <a:pt x="506" y="313"/>
                  </a:lnTo>
                  <a:lnTo>
                    <a:pt x="504" y="315"/>
                  </a:lnTo>
                  <a:lnTo>
                    <a:pt x="502" y="315"/>
                  </a:lnTo>
                  <a:lnTo>
                    <a:pt x="502" y="313"/>
                  </a:lnTo>
                  <a:lnTo>
                    <a:pt x="502" y="313"/>
                  </a:lnTo>
                  <a:lnTo>
                    <a:pt x="502" y="313"/>
                  </a:lnTo>
                  <a:lnTo>
                    <a:pt x="502" y="311"/>
                  </a:lnTo>
                  <a:lnTo>
                    <a:pt x="502" y="311"/>
                  </a:lnTo>
                  <a:lnTo>
                    <a:pt x="502" y="309"/>
                  </a:lnTo>
                  <a:lnTo>
                    <a:pt x="502" y="309"/>
                  </a:lnTo>
                  <a:lnTo>
                    <a:pt x="502" y="307"/>
                  </a:lnTo>
                  <a:lnTo>
                    <a:pt x="506" y="311"/>
                  </a:lnTo>
                  <a:lnTo>
                    <a:pt x="506" y="309"/>
                  </a:lnTo>
                  <a:lnTo>
                    <a:pt x="506" y="309"/>
                  </a:lnTo>
                  <a:lnTo>
                    <a:pt x="506" y="309"/>
                  </a:lnTo>
                  <a:lnTo>
                    <a:pt x="506" y="309"/>
                  </a:lnTo>
                  <a:lnTo>
                    <a:pt x="508" y="311"/>
                  </a:lnTo>
                  <a:lnTo>
                    <a:pt x="510" y="311"/>
                  </a:lnTo>
                  <a:lnTo>
                    <a:pt x="510" y="313"/>
                  </a:lnTo>
                  <a:lnTo>
                    <a:pt x="510" y="313"/>
                  </a:lnTo>
                  <a:lnTo>
                    <a:pt x="510" y="315"/>
                  </a:lnTo>
                  <a:lnTo>
                    <a:pt x="512" y="313"/>
                  </a:lnTo>
                  <a:lnTo>
                    <a:pt x="514" y="313"/>
                  </a:lnTo>
                  <a:lnTo>
                    <a:pt x="516" y="315"/>
                  </a:lnTo>
                  <a:lnTo>
                    <a:pt x="518" y="317"/>
                  </a:lnTo>
                  <a:lnTo>
                    <a:pt x="518" y="323"/>
                  </a:lnTo>
                  <a:lnTo>
                    <a:pt x="518" y="325"/>
                  </a:lnTo>
                  <a:lnTo>
                    <a:pt x="521" y="327"/>
                  </a:lnTo>
                  <a:lnTo>
                    <a:pt x="521" y="327"/>
                  </a:lnTo>
                  <a:lnTo>
                    <a:pt x="525" y="327"/>
                  </a:lnTo>
                  <a:lnTo>
                    <a:pt x="525" y="325"/>
                  </a:lnTo>
                  <a:lnTo>
                    <a:pt x="525" y="325"/>
                  </a:lnTo>
                  <a:lnTo>
                    <a:pt x="525" y="323"/>
                  </a:lnTo>
                  <a:lnTo>
                    <a:pt x="523" y="319"/>
                  </a:lnTo>
                  <a:lnTo>
                    <a:pt x="523" y="317"/>
                  </a:lnTo>
                  <a:lnTo>
                    <a:pt x="525" y="317"/>
                  </a:lnTo>
                  <a:lnTo>
                    <a:pt x="527" y="315"/>
                  </a:lnTo>
                  <a:lnTo>
                    <a:pt x="527" y="315"/>
                  </a:lnTo>
                  <a:lnTo>
                    <a:pt x="529" y="315"/>
                  </a:lnTo>
                  <a:lnTo>
                    <a:pt x="531" y="321"/>
                  </a:lnTo>
                  <a:lnTo>
                    <a:pt x="533" y="325"/>
                  </a:lnTo>
                  <a:lnTo>
                    <a:pt x="533" y="327"/>
                  </a:lnTo>
                  <a:lnTo>
                    <a:pt x="533" y="329"/>
                  </a:lnTo>
                  <a:lnTo>
                    <a:pt x="531" y="332"/>
                  </a:lnTo>
                  <a:lnTo>
                    <a:pt x="531" y="334"/>
                  </a:lnTo>
                  <a:lnTo>
                    <a:pt x="527" y="336"/>
                  </a:lnTo>
                  <a:lnTo>
                    <a:pt x="527" y="338"/>
                  </a:lnTo>
                  <a:lnTo>
                    <a:pt x="527" y="340"/>
                  </a:lnTo>
                  <a:lnTo>
                    <a:pt x="527" y="340"/>
                  </a:lnTo>
                  <a:lnTo>
                    <a:pt x="525" y="342"/>
                  </a:lnTo>
                  <a:lnTo>
                    <a:pt x="525" y="342"/>
                  </a:lnTo>
                  <a:lnTo>
                    <a:pt x="525" y="344"/>
                  </a:lnTo>
                  <a:lnTo>
                    <a:pt x="525" y="344"/>
                  </a:lnTo>
                  <a:lnTo>
                    <a:pt x="523" y="346"/>
                  </a:lnTo>
                  <a:lnTo>
                    <a:pt x="521" y="348"/>
                  </a:lnTo>
                  <a:lnTo>
                    <a:pt x="521" y="352"/>
                  </a:lnTo>
                  <a:lnTo>
                    <a:pt x="521" y="354"/>
                  </a:lnTo>
                  <a:lnTo>
                    <a:pt x="518" y="354"/>
                  </a:lnTo>
                  <a:lnTo>
                    <a:pt x="518" y="356"/>
                  </a:lnTo>
                  <a:lnTo>
                    <a:pt x="518" y="356"/>
                  </a:lnTo>
                  <a:lnTo>
                    <a:pt x="518" y="358"/>
                  </a:lnTo>
                  <a:lnTo>
                    <a:pt x="518" y="356"/>
                  </a:lnTo>
                  <a:lnTo>
                    <a:pt x="521" y="356"/>
                  </a:lnTo>
                  <a:lnTo>
                    <a:pt x="521" y="358"/>
                  </a:lnTo>
                  <a:lnTo>
                    <a:pt x="518" y="358"/>
                  </a:lnTo>
                  <a:lnTo>
                    <a:pt x="516" y="360"/>
                  </a:lnTo>
                  <a:lnTo>
                    <a:pt x="514" y="360"/>
                  </a:lnTo>
                  <a:lnTo>
                    <a:pt x="516" y="360"/>
                  </a:lnTo>
                  <a:lnTo>
                    <a:pt x="518" y="362"/>
                  </a:lnTo>
                  <a:lnTo>
                    <a:pt x="518" y="362"/>
                  </a:lnTo>
                  <a:lnTo>
                    <a:pt x="521" y="362"/>
                  </a:lnTo>
                  <a:lnTo>
                    <a:pt x="518" y="362"/>
                  </a:lnTo>
                  <a:lnTo>
                    <a:pt x="514" y="362"/>
                  </a:lnTo>
                  <a:lnTo>
                    <a:pt x="512" y="362"/>
                  </a:lnTo>
                  <a:lnTo>
                    <a:pt x="512" y="364"/>
                  </a:lnTo>
                  <a:lnTo>
                    <a:pt x="512" y="364"/>
                  </a:lnTo>
                  <a:lnTo>
                    <a:pt x="512" y="364"/>
                  </a:lnTo>
                  <a:lnTo>
                    <a:pt x="514" y="364"/>
                  </a:lnTo>
                  <a:lnTo>
                    <a:pt x="514" y="364"/>
                  </a:lnTo>
                  <a:lnTo>
                    <a:pt x="514" y="364"/>
                  </a:lnTo>
                  <a:lnTo>
                    <a:pt x="514" y="364"/>
                  </a:lnTo>
                  <a:lnTo>
                    <a:pt x="514" y="366"/>
                  </a:lnTo>
                  <a:lnTo>
                    <a:pt x="514" y="366"/>
                  </a:lnTo>
                  <a:lnTo>
                    <a:pt x="514" y="368"/>
                  </a:lnTo>
                  <a:lnTo>
                    <a:pt x="512" y="366"/>
                  </a:lnTo>
                  <a:lnTo>
                    <a:pt x="510" y="366"/>
                  </a:lnTo>
                  <a:lnTo>
                    <a:pt x="508" y="366"/>
                  </a:lnTo>
                  <a:lnTo>
                    <a:pt x="508" y="364"/>
                  </a:lnTo>
                  <a:lnTo>
                    <a:pt x="506" y="362"/>
                  </a:lnTo>
                  <a:lnTo>
                    <a:pt x="506" y="362"/>
                  </a:lnTo>
                  <a:lnTo>
                    <a:pt x="506" y="364"/>
                  </a:lnTo>
                  <a:lnTo>
                    <a:pt x="508" y="368"/>
                  </a:lnTo>
                  <a:lnTo>
                    <a:pt x="510" y="368"/>
                  </a:lnTo>
                  <a:lnTo>
                    <a:pt x="512" y="370"/>
                  </a:lnTo>
                  <a:lnTo>
                    <a:pt x="516" y="370"/>
                  </a:lnTo>
                  <a:lnTo>
                    <a:pt x="521" y="373"/>
                  </a:lnTo>
                  <a:lnTo>
                    <a:pt x="523" y="373"/>
                  </a:lnTo>
                  <a:lnTo>
                    <a:pt x="523" y="375"/>
                  </a:lnTo>
                  <a:lnTo>
                    <a:pt x="525" y="379"/>
                  </a:lnTo>
                  <a:lnTo>
                    <a:pt x="527" y="383"/>
                  </a:lnTo>
                  <a:lnTo>
                    <a:pt x="529" y="385"/>
                  </a:lnTo>
                  <a:lnTo>
                    <a:pt x="527" y="385"/>
                  </a:lnTo>
                  <a:lnTo>
                    <a:pt x="527" y="385"/>
                  </a:lnTo>
                  <a:lnTo>
                    <a:pt x="527" y="385"/>
                  </a:lnTo>
                  <a:lnTo>
                    <a:pt x="527" y="385"/>
                  </a:lnTo>
                  <a:lnTo>
                    <a:pt x="527" y="385"/>
                  </a:lnTo>
                  <a:lnTo>
                    <a:pt x="527" y="387"/>
                  </a:lnTo>
                  <a:lnTo>
                    <a:pt x="529" y="389"/>
                  </a:lnTo>
                  <a:lnTo>
                    <a:pt x="529" y="391"/>
                  </a:lnTo>
                  <a:lnTo>
                    <a:pt x="531" y="393"/>
                  </a:lnTo>
                  <a:lnTo>
                    <a:pt x="533" y="393"/>
                  </a:lnTo>
                  <a:lnTo>
                    <a:pt x="531" y="391"/>
                  </a:lnTo>
                  <a:lnTo>
                    <a:pt x="533" y="391"/>
                  </a:lnTo>
                  <a:lnTo>
                    <a:pt x="533" y="393"/>
                  </a:lnTo>
                  <a:lnTo>
                    <a:pt x="535" y="393"/>
                  </a:lnTo>
                  <a:lnTo>
                    <a:pt x="535" y="395"/>
                  </a:lnTo>
                  <a:lnTo>
                    <a:pt x="535" y="395"/>
                  </a:lnTo>
                  <a:lnTo>
                    <a:pt x="533" y="395"/>
                  </a:lnTo>
                  <a:lnTo>
                    <a:pt x="533" y="393"/>
                  </a:lnTo>
                  <a:lnTo>
                    <a:pt x="533" y="395"/>
                  </a:lnTo>
                  <a:lnTo>
                    <a:pt x="537" y="399"/>
                  </a:lnTo>
                  <a:lnTo>
                    <a:pt x="539" y="403"/>
                  </a:lnTo>
                  <a:lnTo>
                    <a:pt x="549" y="420"/>
                  </a:lnTo>
                  <a:lnTo>
                    <a:pt x="551" y="422"/>
                  </a:lnTo>
                  <a:lnTo>
                    <a:pt x="551" y="422"/>
                  </a:lnTo>
                  <a:lnTo>
                    <a:pt x="551" y="422"/>
                  </a:lnTo>
                  <a:lnTo>
                    <a:pt x="553" y="422"/>
                  </a:lnTo>
                  <a:lnTo>
                    <a:pt x="551" y="422"/>
                  </a:lnTo>
                  <a:lnTo>
                    <a:pt x="551" y="418"/>
                  </a:lnTo>
                  <a:lnTo>
                    <a:pt x="549" y="418"/>
                  </a:lnTo>
                  <a:lnTo>
                    <a:pt x="553" y="420"/>
                  </a:lnTo>
                  <a:lnTo>
                    <a:pt x="557" y="428"/>
                  </a:lnTo>
                  <a:lnTo>
                    <a:pt x="559" y="430"/>
                  </a:lnTo>
                  <a:lnTo>
                    <a:pt x="561" y="430"/>
                  </a:lnTo>
                  <a:lnTo>
                    <a:pt x="561" y="430"/>
                  </a:lnTo>
                  <a:lnTo>
                    <a:pt x="564" y="430"/>
                  </a:lnTo>
                  <a:lnTo>
                    <a:pt x="564" y="430"/>
                  </a:lnTo>
                  <a:lnTo>
                    <a:pt x="566" y="430"/>
                  </a:lnTo>
                  <a:lnTo>
                    <a:pt x="566" y="430"/>
                  </a:lnTo>
                  <a:lnTo>
                    <a:pt x="566" y="430"/>
                  </a:lnTo>
                  <a:lnTo>
                    <a:pt x="568" y="430"/>
                  </a:lnTo>
                  <a:lnTo>
                    <a:pt x="568" y="430"/>
                  </a:lnTo>
                  <a:lnTo>
                    <a:pt x="568" y="430"/>
                  </a:lnTo>
                  <a:lnTo>
                    <a:pt x="568" y="430"/>
                  </a:lnTo>
                  <a:lnTo>
                    <a:pt x="570" y="430"/>
                  </a:lnTo>
                  <a:lnTo>
                    <a:pt x="570" y="432"/>
                  </a:lnTo>
                  <a:lnTo>
                    <a:pt x="570" y="430"/>
                  </a:lnTo>
                  <a:lnTo>
                    <a:pt x="570" y="430"/>
                  </a:lnTo>
                  <a:lnTo>
                    <a:pt x="570" y="428"/>
                  </a:lnTo>
                  <a:lnTo>
                    <a:pt x="570" y="428"/>
                  </a:lnTo>
                  <a:lnTo>
                    <a:pt x="572" y="430"/>
                  </a:lnTo>
                  <a:lnTo>
                    <a:pt x="572" y="432"/>
                  </a:lnTo>
                  <a:lnTo>
                    <a:pt x="574" y="432"/>
                  </a:lnTo>
                  <a:lnTo>
                    <a:pt x="574" y="430"/>
                  </a:lnTo>
                  <a:lnTo>
                    <a:pt x="574" y="428"/>
                  </a:lnTo>
                  <a:lnTo>
                    <a:pt x="572" y="424"/>
                  </a:lnTo>
                  <a:lnTo>
                    <a:pt x="570" y="420"/>
                  </a:lnTo>
                  <a:lnTo>
                    <a:pt x="570" y="420"/>
                  </a:lnTo>
                  <a:lnTo>
                    <a:pt x="568" y="420"/>
                  </a:lnTo>
                  <a:lnTo>
                    <a:pt x="566" y="416"/>
                  </a:lnTo>
                  <a:lnTo>
                    <a:pt x="566" y="416"/>
                  </a:lnTo>
                  <a:lnTo>
                    <a:pt x="564" y="416"/>
                  </a:lnTo>
                  <a:lnTo>
                    <a:pt x="564" y="416"/>
                  </a:lnTo>
                  <a:lnTo>
                    <a:pt x="559" y="411"/>
                  </a:lnTo>
                  <a:lnTo>
                    <a:pt x="559" y="411"/>
                  </a:lnTo>
                  <a:lnTo>
                    <a:pt x="557" y="409"/>
                  </a:lnTo>
                  <a:lnTo>
                    <a:pt x="559" y="409"/>
                  </a:lnTo>
                  <a:lnTo>
                    <a:pt x="561" y="411"/>
                  </a:lnTo>
                  <a:lnTo>
                    <a:pt x="564" y="414"/>
                  </a:lnTo>
                  <a:lnTo>
                    <a:pt x="566" y="414"/>
                  </a:lnTo>
                  <a:lnTo>
                    <a:pt x="568" y="414"/>
                  </a:lnTo>
                  <a:lnTo>
                    <a:pt x="568" y="414"/>
                  </a:lnTo>
                  <a:lnTo>
                    <a:pt x="568" y="416"/>
                  </a:lnTo>
                  <a:lnTo>
                    <a:pt x="570" y="416"/>
                  </a:lnTo>
                  <a:lnTo>
                    <a:pt x="572" y="418"/>
                  </a:lnTo>
                  <a:lnTo>
                    <a:pt x="572" y="418"/>
                  </a:lnTo>
                  <a:lnTo>
                    <a:pt x="572" y="416"/>
                  </a:lnTo>
                  <a:lnTo>
                    <a:pt x="574" y="416"/>
                  </a:lnTo>
                  <a:lnTo>
                    <a:pt x="574" y="416"/>
                  </a:lnTo>
                  <a:lnTo>
                    <a:pt x="574" y="414"/>
                  </a:lnTo>
                  <a:lnTo>
                    <a:pt x="576" y="414"/>
                  </a:lnTo>
                  <a:lnTo>
                    <a:pt x="578" y="414"/>
                  </a:lnTo>
                  <a:lnTo>
                    <a:pt x="580" y="411"/>
                  </a:lnTo>
                  <a:lnTo>
                    <a:pt x="584" y="409"/>
                  </a:lnTo>
                  <a:lnTo>
                    <a:pt x="586" y="407"/>
                  </a:lnTo>
                  <a:lnTo>
                    <a:pt x="586" y="407"/>
                  </a:lnTo>
                  <a:lnTo>
                    <a:pt x="586" y="411"/>
                  </a:lnTo>
                  <a:lnTo>
                    <a:pt x="586" y="411"/>
                  </a:lnTo>
                  <a:lnTo>
                    <a:pt x="584" y="411"/>
                  </a:lnTo>
                  <a:lnTo>
                    <a:pt x="582" y="414"/>
                  </a:lnTo>
                  <a:lnTo>
                    <a:pt x="578" y="416"/>
                  </a:lnTo>
                  <a:lnTo>
                    <a:pt x="576" y="418"/>
                  </a:lnTo>
                  <a:lnTo>
                    <a:pt x="578" y="420"/>
                  </a:lnTo>
                  <a:lnTo>
                    <a:pt x="580" y="422"/>
                  </a:lnTo>
                  <a:lnTo>
                    <a:pt x="580" y="422"/>
                  </a:lnTo>
                  <a:lnTo>
                    <a:pt x="582" y="422"/>
                  </a:lnTo>
                  <a:lnTo>
                    <a:pt x="582" y="426"/>
                  </a:lnTo>
                  <a:lnTo>
                    <a:pt x="582" y="428"/>
                  </a:lnTo>
                  <a:lnTo>
                    <a:pt x="582" y="440"/>
                  </a:lnTo>
                  <a:lnTo>
                    <a:pt x="582" y="442"/>
                  </a:lnTo>
                  <a:lnTo>
                    <a:pt x="582" y="444"/>
                  </a:lnTo>
                  <a:lnTo>
                    <a:pt x="586" y="448"/>
                  </a:lnTo>
                  <a:lnTo>
                    <a:pt x="586" y="448"/>
                  </a:lnTo>
                  <a:lnTo>
                    <a:pt x="586" y="452"/>
                  </a:lnTo>
                  <a:lnTo>
                    <a:pt x="586" y="452"/>
                  </a:lnTo>
                  <a:lnTo>
                    <a:pt x="586" y="455"/>
                  </a:lnTo>
                  <a:lnTo>
                    <a:pt x="588" y="457"/>
                  </a:lnTo>
                  <a:lnTo>
                    <a:pt x="588" y="459"/>
                  </a:lnTo>
                  <a:lnTo>
                    <a:pt x="590" y="459"/>
                  </a:lnTo>
                  <a:lnTo>
                    <a:pt x="592" y="457"/>
                  </a:lnTo>
                  <a:lnTo>
                    <a:pt x="592" y="455"/>
                  </a:lnTo>
                  <a:lnTo>
                    <a:pt x="594" y="457"/>
                  </a:lnTo>
                  <a:lnTo>
                    <a:pt x="594" y="457"/>
                  </a:lnTo>
                  <a:lnTo>
                    <a:pt x="596" y="455"/>
                  </a:lnTo>
                  <a:lnTo>
                    <a:pt x="596" y="455"/>
                  </a:lnTo>
                  <a:lnTo>
                    <a:pt x="596" y="455"/>
                  </a:lnTo>
                  <a:lnTo>
                    <a:pt x="598" y="446"/>
                  </a:lnTo>
                  <a:lnTo>
                    <a:pt x="600" y="444"/>
                  </a:lnTo>
                  <a:lnTo>
                    <a:pt x="602" y="440"/>
                  </a:lnTo>
                  <a:lnTo>
                    <a:pt x="604" y="438"/>
                  </a:lnTo>
                  <a:lnTo>
                    <a:pt x="604" y="436"/>
                  </a:lnTo>
                  <a:lnTo>
                    <a:pt x="607" y="436"/>
                  </a:lnTo>
                  <a:lnTo>
                    <a:pt x="609" y="434"/>
                  </a:lnTo>
                  <a:lnTo>
                    <a:pt x="611" y="434"/>
                  </a:lnTo>
                  <a:lnTo>
                    <a:pt x="611" y="436"/>
                  </a:lnTo>
                  <a:lnTo>
                    <a:pt x="611" y="436"/>
                  </a:lnTo>
                  <a:lnTo>
                    <a:pt x="609" y="438"/>
                  </a:lnTo>
                  <a:lnTo>
                    <a:pt x="609" y="438"/>
                  </a:lnTo>
                  <a:lnTo>
                    <a:pt x="607" y="438"/>
                  </a:lnTo>
                  <a:lnTo>
                    <a:pt x="607" y="438"/>
                  </a:lnTo>
                  <a:lnTo>
                    <a:pt x="607" y="440"/>
                  </a:lnTo>
                  <a:lnTo>
                    <a:pt x="604" y="440"/>
                  </a:lnTo>
                  <a:lnTo>
                    <a:pt x="602" y="444"/>
                  </a:lnTo>
                  <a:lnTo>
                    <a:pt x="600" y="446"/>
                  </a:lnTo>
                  <a:lnTo>
                    <a:pt x="602" y="448"/>
                  </a:lnTo>
                  <a:lnTo>
                    <a:pt x="600" y="452"/>
                  </a:lnTo>
                  <a:lnTo>
                    <a:pt x="598" y="455"/>
                  </a:lnTo>
                  <a:lnTo>
                    <a:pt x="596" y="459"/>
                  </a:lnTo>
                  <a:lnTo>
                    <a:pt x="596" y="459"/>
                  </a:lnTo>
                  <a:lnTo>
                    <a:pt x="596" y="459"/>
                  </a:lnTo>
                  <a:lnTo>
                    <a:pt x="594" y="459"/>
                  </a:lnTo>
                  <a:lnTo>
                    <a:pt x="594" y="459"/>
                  </a:lnTo>
                  <a:lnTo>
                    <a:pt x="592" y="459"/>
                  </a:lnTo>
                  <a:lnTo>
                    <a:pt x="592" y="459"/>
                  </a:lnTo>
                  <a:lnTo>
                    <a:pt x="592" y="459"/>
                  </a:lnTo>
                  <a:lnTo>
                    <a:pt x="592" y="461"/>
                  </a:lnTo>
                  <a:lnTo>
                    <a:pt x="592" y="463"/>
                  </a:lnTo>
                  <a:lnTo>
                    <a:pt x="592" y="463"/>
                  </a:lnTo>
                  <a:lnTo>
                    <a:pt x="594" y="463"/>
                  </a:lnTo>
                  <a:lnTo>
                    <a:pt x="594" y="463"/>
                  </a:lnTo>
                  <a:lnTo>
                    <a:pt x="594" y="463"/>
                  </a:lnTo>
                  <a:lnTo>
                    <a:pt x="596" y="463"/>
                  </a:lnTo>
                  <a:lnTo>
                    <a:pt x="600" y="465"/>
                  </a:lnTo>
                  <a:lnTo>
                    <a:pt x="602" y="463"/>
                  </a:lnTo>
                  <a:lnTo>
                    <a:pt x="604" y="463"/>
                  </a:lnTo>
                  <a:lnTo>
                    <a:pt x="604" y="465"/>
                  </a:lnTo>
                  <a:lnTo>
                    <a:pt x="604" y="465"/>
                  </a:lnTo>
                  <a:lnTo>
                    <a:pt x="604" y="465"/>
                  </a:lnTo>
                  <a:lnTo>
                    <a:pt x="607" y="463"/>
                  </a:lnTo>
                  <a:lnTo>
                    <a:pt x="604" y="461"/>
                  </a:lnTo>
                  <a:lnTo>
                    <a:pt x="604" y="459"/>
                  </a:lnTo>
                  <a:lnTo>
                    <a:pt x="604" y="461"/>
                  </a:lnTo>
                  <a:lnTo>
                    <a:pt x="609" y="463"/>
                  </a:lnTo>
                  <a:lnTo>
                    <a:pt x="609" y="465"/>
                  </a:lnTo>
                  <a:lnTo>
                    <a:pt x="611" y="467"/>
                  </a:lnTo>
                  <a:lnTo>
                    <a:pt x="611" y="473"/>
                  </a:lnTo>
                  <a:lnTo>
                    <a:pt x="611" y="473"/>
                  </a:lnTo>
                  <a:lnTo>
                    <a:pt x="611" y="473"/>
                  </a:lnTo>
                  <a:lnTo>
                    <a:pt x="609" y="473"/>
                  </a:lnTo>
                  <a:lnTo>
                    <a:pt x="611" y="475"/>
                  </a:lnTo>
                  <a:lnTo>
                    <a:pt x="615" y="479"/>
                  </a:lnTo>
                  <a:lnTo>
                    <a:pt x="615" y="479"/>
                  </a:lnTo>
                  <a:lnTo>
                    <a:pt x="615" y="481"/>
                  </a:lnTo>
                  <a:lnTo>
                    <a:pt x="615" y="483"/>
                  </a:lnTo>
                  <a:lnTo>
                    <a:pt x="617" y="491"/>
                  </a:lnTo>
                  <a:lnTo>
                    <a:pt x="619" y="500"/>
                  </a:lnTo>
                  <a:lnTo>
                    <a:pt x="621" y="500"/>
                  </a:lnTo>
                  <a:lnTo>
                    <a:pt x="619" y="498"/>
                  </a:lnTo>
                  <a:lnTo>
                    <a:pt x="619" y="498"/>
                  </a:lnTo>
                  <a:lnTo>
                    <a:pt x="619" y="495"/>
                  </a:lnTo>
                  <a:lnTo>
                    <a:pt x="621" y="495"/>
                  </a:lnTo>
                  <a:lnTo>
                    <a:pt x="623" y="502"/>
                  </a:lnTo>
                  <a:lnTo>
                    <a:pt x="625" y="506"/>
                  </a:lnTo>
                  <a:lnTo>
                    <a:pt x="627" y="506"/>
                  </a:lnTo>
                  <a:lnTo>
                    <a:pt x="627" y="508"/>
                  </a:lnTo>
                  <a:lnTo>
                    <a:pt x="627" y="510"/>
                  </a:lnTo>
                  <a:lnTo>
                    <a:pt x="629" y="510"/>
                  </a:lnTo>
                  <a:lnTo>
                    <a:pt x="629" y="510"/>
                  </a:lnTo>
                  <a:lnTo>
                    <a:pt x="631" y="510"/>
                  </a:lnTo>
                  <a:lnTo>
                    <a:pt x="633" y="510"/>
                  </a:lnTo>
                  <a:lnTo>
                    <a:pt x="635" y="510"/>
                  </a:lnTo>
                  <a:lnTo>
                    <a:pt x="635" y="512"/>
                  </a:lnTo>
                  <a:lnTo>
                    <a:pt x="633" y="512"/>
                  </a:lnTo>
                  <a:lnTo>
                    <a:pt x="633" y="514"/>
                  </a:lnTo>
                  <a:lnTo>
                    <a:pt x="633" y="514"/>
                  </a:lnTo>
                  <a:lnTo>
                    <a:pt x="631" y="514"/>
                  </a:lnTo>
                  <a:lnTo>
                    <a:pt x="629" y="514"/>
                  </a:lnTo>
                  <a:lnTo>
                    <a:pt x="629" y="512"/>
                  </a:lnTo>
                  <a:lnTo>
                    <a:pt x="627" y="514"/>
                  </a:lnTo>
                  <a:lnTo>
                    <a:pt x="629" y="516"/>
                  </a:lnTo>
                  <a:lnTo>
                    <a:pt x="629" y="518"/>
                  </a:lnTo>
                  <a:lnTo>
                    <a:pt x="631" y="518"/>
                  </a:lnTo>
                  <a:lnTo>
                    <a:pt x="631" y="518"/>
                  </a:lnTo>
                  <a:lnTo>
                    <a:pt x="631" y="518"/>
                  </a:lnTo>
                  <a:lnTo>
                    <a:pt x="631" y="518"/>
                  </a:lnTo>
                  <a:lnTo>
                    <a:pt x="631" y="518"/>
                  </a:lnTo>
                  <a:lnTo>
                    <a:pt x="631" y="518"/>
                  </a:lnTo>
                  <a:lnTo>
                    <a:pt x="633" y="516"/>
                  </a:lnTo>
                  <a:lnTo>
                    <a:pt x="633" y="516"/>
                  </a:lnTo>
                  <a:lnTo>
                    <a:pt x="633" y="516"/>
                  </a:lnTo>
                  <a:lnTo>
                    <a:pt x="633" y="516"/>
                  </a:lnTo>
                  <a:lnTo>
                    <a:pt x="635" y="516"/>
                  </a:lnTo>
                  <a:lnTo>
                    <a:pt x="635" y="516"/>
                  </a:lnTo>
                  <a:lnTo>
                    <a:pt x="637" y="516"/>
                  </a:lnTo>
                  <a:lnTo>
                    <a:pt x="637" y="516"/>
                  </a:lnTo>
                  <a:lnTo>
                    <a:pt x="637" y="514"/>
                  </a:lnTo>
                  <a:lnTo>
                    <a:pt x="639" y="512"/>
                  </a:lnTo>
                  <a:lnTo>
                    <a:pt x="639" y="514"/>
                  </a:lnTo>
                  <a:lnTo>
                    <a:pt x="641" y="514"/>
                  </a:lnTo>
                  <a:lnTo>
                    <a:pt x="641" y="514"/>
                  </a:lnTo>
                  <a:lnTo>
                    <a:pt x="643" y="514"/>
                  </a:lnTo>
                  <a:lnTo>
                    <a:pt x="643" y="516"/>
                  </a:lnTo>
                  <a:lnTo>
                    <a:pt x="643" y="516"/>
                  </a:lnTo>
                  <a:lnTo>
                    <a:pt x="643" y="516"/>
                  </a:lnTo>
                  <a:lnTo>
                    <a:pt x="643" y="516"/>
                  </a:lnTo>
                  <a:lnTo>
                    <a:pt x="643" y="516"/>
                  </a:lnTo>
                  <a:lnTo>
                    <a:pt x="645" y="516"/>
                  </a:lnTo>
                  <a:lnTo>
                    <a:pt x="645" y="514"/>
                  </a:lnTo>
                  <a:lnTo>
                    <a:pt x="645" y="514"/>
                  </a:lnTo>
                  <a:lnTo>
                    <a:pt x="647" y="516"/>
                  </a:lnTo>
                  <a:lnTo>
                    <a:pt x="650" y="516"/>
                  </a:lnTo>
                  <a:lnTo>
                    <a:pt x="652" y="516"/>
                  </a:lnTo>
                  <a:lnTo>
                    <a:pt x="652" y="518"/>
                  </a:lnTo>
                  <a:lnTo>
                    <a:pt x="654" y="516"/>
                  </a:lnTo>
                  <a:lnTo>
                    <a:pt x="654" y="516"/>
                  </a:lnTo>
                  <a:lnTo>
                    <a:pt x="656" y="518"/>
                  </a:lnTo>
                  <a:lnTo>
                    <a:pt x="658" y="518"/>
                  </a:lnTo>
                  <a:lnTo>
                    <a:pt x="658" y="518"/>
                  </a:lnTo>
                  <a:lnTo>
                    <a:pt x="662" y="518"/>
                  </a:lnTo>
                  <a:lnTo>
                    <a:pt x="662" y="520"/>
                  </a:lnTo>
                  <a:lnTo>
                    <a:pt x="666" y="520"/>
                  </a:lnTo>
                  <a:lnTo>
                    <a:pt x="668" y="522"/>
                  </a:lnTo>
                  <a:lnTo>
                    <a:pt x="670" y="524"/>
                  </a:lnTo>
                  <a:lnTo>
                    <a:pt x="670" y="526"/>
                  </a:lnTo>
                  <a:lnTo>
                    <a:pt x="668" y="528"/>
                  </a:lnTo>
                  <a:lnTo>
                    <a:pt x="668" y="528"/>
                  </a:lnTo>
                  <a:lnTo>
                    <a:pt x="670" y="530"/>
                  </a:lnTo>
                  <a:lnTo>
                    <a:pt x="670" y="530"/>
                  </a:lnTo>
                  <a:lnTo>
                    <a:pt x="672" y="532"/>
                  </a:lnTo>
                  <a:lnTo>
                    <a:pt x="672" y="532"/>
                  </a:lnTo>
                  <a:lnTo>
                    <a:pt x="674" y="532"/>
                  </a:lnTo>
                  <a:lnTo>
                    <a:pt x="676" y="532"/>
                  </a:lnTo>
                  <a:lnTo>
                    <a:pt x="676" y="534"/>
                  </a:lnTo>
                  <a:lnTo>
                    <a:pt x="678" y="536"/>
                  </a:lnTo>
                  <a:lnTo>
                    <a:pt x="678" y="536"/>
                  </a:lnTo>
                  <a:lnTo>
                    <a:pt x="678" y="539"/>
                  </a:lnTo>
                  <a:lnTo>
                    <a:pt x="680" y="541"/>
                  </a:lnTo>
                  <a:lnTo>
                    <a:pt x="682" y="547"/>
                  </a:lnTo>
                  <a:lnTo>
                    <a:pt x="684" y="547"/>
                  </a:lnTo>
                  <a:lnTo>
                    <a:pt x="684" y="547"/>
                  </a:lnTo>
                  <a:lnTo>
                    <a:pt x="686" y="547"/>
                  </a:lnTo>
                  <a:lnTo>
                    <a:pt x="688" y="547"/>
                  </a:lnTo>
                  <a:lnTo>
                    <a:pt x="688" y="547"/>
                  </a:lnTo>
                  <a:lnTo>
                    <a:pt x="688" y="549"/>
                  </a:lnTo>
                  <a:lnTo>
                    <a:pt x="688" y="549"/>
                  </a:lnTo>
                  <a:lnTo>
                    <a:pt x="686" y="551"/>
                  </a:lnTo>
                  <a:lnTo>
                    <a:pt x="686" y="553"/>
                  </a:lnTo>
                  <a:lnTo>
                    <a:pt x="690" y="555"/>
                  </a:lnTo>
                  <a:lnTo>
                    <a:pt x="693" y="559"/>
                  </a:lnTo>
                  <a:lnTo>
                    <a:pt x="693" y="561"/>
                  </a:lnTo>
                  <a:lnTo>
                    <a:pt x="695" y="563"/>
                  </a:lnTo>
                  <a:lnTo>
                    <a:pt x="695" y="563"/>
                  </a:lnTo>
                  <a:lnTo>
                    <a:pt x="695" y="565"/>
                  </a:lnTo>
                  <a:lnTo>
                    <a:pt x="701" y="567"/>
                  </a:lnTo>
                  <a:lnTo>
                    <a:pt x="705" y="567"/>
                  </a:lnTo>
                  <a:lnTo>
                    <a:pt x="705" y="567"/>
                  </a:lnTo>
                  <a:lnTo>
                    <a:pt x="707" y="567"/>
                  </a:lnTo>
                  <a:lnTo>
                    <a:pt x="711" y="567"/>
                  </a:lnTo>
                  <a:lnTo>
                    <a:pt x="713" y="569"/>
                  </a:lnTo>
                  <a:lnTo>
                    <a:pt x="719" y="573"/>
                  </a:lnTo>
                  <a:lnTo>
                    <a:pt x="719" y="575"/>
                  </a:lnTo>
                  <a:lnTo>
                    <a:pt x="719" y="577"/>
                  </a:lnTo>
                  <a:lnTo>
                    <a:pt x="717" y="580"/>
                  </a:lnTo>
                  <a:lnTo>
                    <a:pt x="715" y="580"/>
                  </a:lnTo>
                  <a:lnTo>
                    <a:pt x="713" y="582"/>
                  </a:lnTo>
                  <a:lnTo>
                    <a:pt x="711" y="580"/>
                  </a:lnTo>
                  <a:lnTo>
                    <a:pt x="711" y="580"/>
                  </a:lnTo>
                  <a:lnTo>
                    <a:pt x="713" y="580"/>
                  </a:lnTo>
                  <a:lnTo>
                    <a:pt x="713" y="580"/>
                  </a:lnTo>
                  <a:lnTo>
                    <a:pt x="713" y="580"/>
                  </a:lnTo>
                  <a:lnTo>
                    <a:pt x="713" y="577"/>
                  </a:lnTo>
                  <a:lnTo>
                    <a:pt x="705" y="575"/>
                  </a:lnTo>
                  <a:lnTo>
                    <a:pt x="705" y="575"/>
                  </a:lnTo>
                  <a:lnTo>
                    <a:pt x="703" y="575"/>
                  </a:lnTo>
                  <a:lnTo>
                    <a:pt x="701" y="571"/>
                  </a:lnTo>
                  <a:lnTo>
                    <a:pt x="701" y="571"/>
                  </a:lnTo>
                  <a:lnTo>
                    <a:pt x="699" y="571"/>
                  </a:lnTo>
                  <a:lnTo>
                    <a:pt x="699" y="569"/>
                  </a:lnTo>
                  <a:lnTo>
                    <a:pt x="697" y="569"/>
                  </a:lnTo>
                  <a:lnTo>
                    <a:pt x="697" y="569"/>
                  </a:lnTo>
                  <a:lnTo>
                    <a:pt x="697" y="569"/>
                  </a:lnTo>
                  <a:lnTo>
                    <a:pt x="695" y="573"/>
                  </a:lnTo>
                  <a:lnTo>
                    <a:pt x="695" y="577"/>
                  </a:lnTo>
                  <a:lnTo>
                    <a:pt x="695" y="582"/>
                  </a:lnTo>
                  <a:lnTo>
                    <a:pt x="697" y="586"/>
                  </a:lnTo>
                  <a:lnTo>
                    <a:pt x="699" y="588"/>
                  </a:lnTo>
                  <a:lnTo>
                    <a:pt x="705" y="592"/>
                  </a:lnTo>
                  <a:lnTo>
                    <a:pt x="705" y="592"/>
                  </a:lnTo>
                  <a:lnTo>
                    <a:pt x="711" y="590"/>
                  </a:lnTo>
                  <a:lnTo>
                    <a:pt x="713" y="588"/>
                  </a:lnTo>
                  <a:lnTo>
                    <a:pt x="717" y="588"/>
                  </a:lnTo>
                  <a:lnTo>
                    <a:pt x="721" y="586"/>
                  </a:lnTo>
                  <a:lnTo>
                    <a:pt x="723" y="586"/>
                  </a:lnTo>
                  <a:lnTo>
                    <a:pt x="723" y="584"/>
                  </a:lnTo>
                  <a:lnTo>
                    <a:pt x="725" y="584"/>
                  </a:lnTo>
                  <a:lnTo>
                    <a:pt x="727" y="582"/>
                  </a:lnTo>
                  <a:lnTo>
                    <a:pt x="729" y="582"/>
                  </a:lnTo>
                  <a:lnTo>
                    <a:pt x="731" y="582"/>
                  </a:lnTo>
                  <a:lnTo>
                    <a:pt x="731" y="584"/>
                  </a:lnTo>
                  <a:lnTo>
                    <a:pt x="731" y="584"/>
                  </a:lnTo>
                  <a:lnTo>
                    <a:pt x="731" y="584"/>
                  </a:lnTo>
                  <a:lnTo>
                    <a:pt x="734" y="584"/>
                  </a:lnTo>
                  <a:lnTo>
                    <a:pt x="734" y="584"/>
                  </a:lnTo>
                  <a:lnTo>
                    <a:pt x="734" y="582"/>
                  </a:lnTo>
                  <a:lnTo>
                    <a:pt x="734" y="584"/>
                  </a:lnTo>
                  <a:lnTo>
                    <a:pt x="734" y="584"/>
                  </a:lnTo>
                  <a:lnTo>
                    <a:pt x="736" y="584"/>
                  </a:lnTo>
                  <a:lnTo>
                    <a:pt x="736" y="584"/>
                  </a:lnTo>
                  <a:lnTo>
                    <a:pt x="736" y="584"/>
                  </a:lnTo>
                  <a:lnTo>
                    <a:pt x="736" y="584"/>
                  </a:lnTo>
                  <a:lnTo>
                    <a:pt x="736" y="582"/>
                  </a:lnTo>
                  <a:lnTo>
                    <a:pt x="736" y="582"/>
                  </a:lnTo>
                  <a:lnTo>
                    <a:pt x="738" y="584"/>
                  </a:lnTo>
                  <a:lnTo>
                    <a:pt x="740" y="584"/>
                  </a:lnTo>
                  <a:lnTo>
                    <a:pt x="740" y="584"/>
                  </a:lnTo>
                  <a:lnTo>
                    <a:pt x="742" y="582"/>
                  </a:lnTo>
                  <a:lnTo>
                    <a:pt x="744" y="580"/>
                  </a:lnTo>
                  <a:lnTo>
                    <a:pt x="744" y="580"/>
                  </a:lnTo>
                  <a:lnTo>
                    <a:pt x="746" y="580"/>
                  </a:lnTo>
                  <a:lnTo>
                    <a:pt x="746" y="580"/>
                  </a:lnTo>
                  <a:lnTo>
                    <a:pt x="748" y="580"/>
                  </a:lnTo>
                  <a:lnTo>
                    <a:pt x="746" y="580"/>
                  </a:lnTo>
                  <a:lnTo>
                    <a:pt x="746" y="577"/>
                  </a:lnTo>
                  <a:lnTo>
                    <a:pt x="746" y="577"/>
                  </a:lnTo>
                  <a:lnTo>
                    <a:pt x="746" y="577"/>
                  </a:lnTo>
                  <a:lnTo>
                    <a:pt x="750" y="575"/>
                  </a:lnTo>
                  <a:lnTo>
                    <a:pt x="750" y="575"/>
                  </a:lnTo>
                  <a:lnTo>
                    <a:pt x="750" y="575"/>
                  </a:lnTo>
                  <a:lnTo>
                    <a:pt x="750" y="575"/>
                  </a:lnTo>
                  <a:lnTo>
                    <a:pt x="750" y="575"/>
                  </a:lnTo>
                  <a:lnTo>
                    <a:pt x="750" y="575"/>
                  </a:lnTo>
                  <a:lnTo>
                    <a:pt x="752" y="575"/>
                  </a:lnTo>
                  <a:lnTo>
                    <a:pt x="752" y="571"/>
                  </a:lnTo>
                  <a:lnTo>
                    <a:pt x="752" y="569"/>
                  </a:lnTo>
                  <a:lnTo>
                    <a:pt x="754" y="569"/>
                  </a:lnTo>
                  <a:lnTo>
                    <a:pt x="758" y="569"/>
                  </a:lnTo>
                  <a:lnTo>
                    <a:pt x="758" y="567"/>
                  </a:lnTo>
                  <a:lnTo>
                    <a:pt x="760" y="569"/>
                  </a:lnTo>
                  <a:lnTo>
                    <a:pt x="760" y="569"/>
                  </a:lnTo>
                  <a:lnTo>
                    <a:pt x="760" y="569"/>
                  </a:lnTo>
                  <a:lnTo>
                    <a:pt x="758" y="569"/>
                  </a:lnTo>
                  <a:lnTo>
                    <a:pt x="758" y="569"/>
                  </a:lnTo>
                  <a:lnTo>
                    <a:pt x="758" y="571"/>
                  </a:lnTo>
                  <a:lnTo>
                    <a:pt x="758" y="571"/>
                  </a:lnTo>
                  <a:lnTo>
                    <a:pt x="758" y="571"/>
                  </a:lnTo>
                  <a:lnTo>
                    <a:pt x="760" y="571"/>
                  </a:lnTo>
                  <a:lnTo>
                    <a:pt x="760" y="573"/>
                  </a:lnTo>
                  <a:lnTo>
                    <a:pt x="760" y="573"/>
                  </a:lnTo>
                  <a:lnTo>
                    <a:pt x="762" y="571"/>
                  </a:lnTo>
                  <a:lnTo>
                    <a:pt x="764" y="571"/>
                  </a:lnTo>
                  <a:lnTo>
                    <a:pt x="766" y="573"/>
                  </a:lnTo>
                  <a:lnTo>
                    <a:pt x="766" y="575"/>
                  </a:lnTo>
                  <a:lnTo>
                    <a:pt x="766" y="575"/>
                  </a:lnTo>
                  <a:lnTo>
                    <a:pt x="766" y="573"/>
                  </a:lnTo>
                  <a:lnTo>
                    <a:pt x="764" y="571"/>
                  </a:lnTo>
                  <a:lnTo>
                    <a:pt x="762" y="571"/>
                  </a:lnTo>
                  <a:lnTo>
                    <a:pt x="760" y="571"/>
                  </a:lnTo>
                  <a:lnTo>
                    <a:pt x="762" y="569"/>
                  </a:lnTo>
                  <a:lnTo>
                    <a:pt x="764" y="567"/>
                  </a:lnTo>
                  <a:lnTo>
                    <a:pt x="764" y="567"/>
                  </a:lnTo>
                  <a:lnTo>
                    <a:pt x="764" y="569"/>
                  </a:lnTo>
                  <a:lnTo>
                    <a:pt x="766" y="569"/>
                  </a:lnTo>
                  <a:lnTo>
                    <a:pt x="768" y="571"/>
                  </a:lnTo>
                  <a:lnTo>
                    <a:pt x="770" y="573"/>
                  </a:lnTo>
                  <a:lnTo>
                    <a:pt x="770" y="571"/>
                  </a:lnTo>
                  <a:lnTo>
                    <a:pt x="768" y="571"/>
                  </a:lnTo>
                  <a:lnTo>
                    <a:pt x="768" y="569"/>
                  </a:lnTo>
                  <a:lnTo>
                    <a:pt x="768" y="567"/>
                  </a:lnTo>
                  <a:lnTo>
                    <a:pt x="768" y="567"/>
                  </a:lnTo>
                  <a:lnTo>
                    <a:pt x="768" y="563"/>
                  </a:lnTo>
                  <a:lnTo>
                    <a:pt x="768" y="563"/>
                  </a:lnTo>
                  <a:lnTo>
                    <a:pt x="768" y="563"/>
                  </a:lnTo>
                  <a:lnTo>
                    <a:pt x="768" y="561"/>
                  </a:lnTo>
                  <a:lnTo>
                    <a:pt x="772" y="555"/>
                  </a:lnTo>
                  <a:lnTo>
                    <a:pt x="777" y="553"/>
                  </a:lnTo>
                  <a:lnTo>
                    <a:pt x="777" y="551"/>
                  </a:lnTo>
                  <a:lnTo>
                    <a:pt x="774" y="551"/>
                  </a:lnTo>
                  <a:lnTo>
                    <a:pt x="772" y="549"/>
                  </a:lnTo>
                  <a:lnTo>
                    <a:pt x="772" y="549"/>
                  </a:lnTo>
                  <a:lnTo>
                    <a:pt x="772" y="547"/>
                  </a:lnTo>
                  <a:lnTo>
                    <a:pt x="772" y="545"/>
                  </a:lnTo>
                  <a:lnTo>
                    <a:pt x="772" y="545"/>
                  </a:lnTo>
                  <a:lnTo>
                    <a:pt x="772" y="545"/>
                  </a:lnTo>
                  <a:lnTo>
                    <a:pt x="772" y="543"/>
                  </a:lnTo>
                  <a:lnTo>
                    <a:pt x="770" y="541"/>
                  </a:lnTo>
                  <a:lnTo>
                    <a:pt x="770" y="539"/>
                  </a:lnTo>
                  <a:lnTo>
                    <a:pt x="770" y="536"/>
                  </a:lnTo>
                  <a:lnTo>
                    <a:pt x="772" y="534"/>
                  </a:lnTo>
                  <a:lnTo>
                    <a:pt x="772" y="532"/>
                  </a:lnTo>
                  <a:lnTo>
                    <a:pt x="772" y="528"/>
                  </a:lnTo>
                  <a:lnTo>
                    <a:pt x="772" y="526"/>
                  </a:lnTo>
                  <a:lnTo>
                    <a:pt x="774" y="522"/>
                  </a:lnTo>
                  <a:lnTo>
                    <a:pt x="774" y="518"/>
                  </a:lnTo>
                  <a:lnTo>
                    <a:pt x="774" y="514"/>
                  </a:lnTo>
                  <a:lnTo>
                    <a:pt x="774" y="514"/>
                  </a:lnTo>
                  <a:lnTo>
                    <a:pt x="777" y="512"/>
                  </a:lnTo>
                  <a:lnTo>
                    <a:pt x="777" y="512"/>
                  </a:lnTo>
                  <a:lnTo>
                    <a:pt x="779" y="512"/>
                  </a:lnTo>
                  <a:lnTo>
                    <a:pt x="779" y="512"/>
                  </a:lnTo>
                  <a:lnTo>
                    <a:pt x="781" y="510"/>
                  </a:lnTo>
                  <a:lnTo>
                    <a:pt x="779" y="506"/>
                  </a:lnTo>
                  <a:lnTo>
                    <a:pt x="781" y="502"/>
                  </a:lnTo>
                  <a:lnTo>
                    <a:pt x="781" y="498"/>
                  </a:lnTo>
                  <a:lnTo>
                    <a:pt x="783" y="493"/>
                  </a:lnTo>
                  <a:lnTo>
                    <a:pt x="783" y="493"/>
                  </a:lnTo>
                  <a:lnTo>
                    <a:pt x="783" y="493"/>
                  </a:lnTo>
                  <a:lnTo>
                    <a:pt x="785" y="498"/>
                  </a:lnTo>
                  <a:lnTo>
                    <a:pt x="785" y="502"/>
                  </a:lnTo>
                  <a:lnTo>
                    <a:pt x="785" y="506"/>
                  </a:lnTo>
                  <a:lnTo>
                    <a:pt x="787" y="506"/>
                  </a:lnTo>
                  <a:lnTo>
                    <a:pt x="783" y="475"/>
                  </a:lnTo>
                  <a:lnTo>
                    <a:pt x="781" y="473"/>
                  </a:lnTo>
                  <a:close/>
                  <a:moveTo>
                    <a:pt x="686" y="221"/>
                  </a:moveTo>
                  <a:lnTo>
                    <a:pt x="686" y="219"/>
                  </a:lnTo>
                  <a:lnTo>
                    <a:pt x="684" y="215"/>
                  </a:lnTo>
                  <a:lnTo>
                    <a:pt x="684" y="215"/>
                  </a:lnTo>
                  <a:lnTo>
                    <a:pt x="682" y="217"/>
                  </a:lnTo>
                  <a:lnTo>
                    <a:pt x="680" y="219"/>
                  </a:lnTo>
                  <a:lnTo>
                    <a:pt x="678" y="219"/>
                  </a:lnTo>
                  <a:lnTo>
                    <a:pt x="678" y="221"/>
                  </a:lnTo>
                  <a:lnTo>
                    <a:pt x="678" y="223"/>
                  </a:lnTo>
                  <a:lnTo>
                    <a:pt x="676" y="223"/>
                  </a:lnTo>
                  <a:lnTo>
                    <a:pt x="676" y="225"/>
                  </a:lnTo>
                  <a:lnTo>
                    <a:pt x="676" y="229"/>
                  </a:lnTo>
                  <a:lnTo>
                    <a:pt x="678" y="231"/>
                  </a:lnTo>
                  <a:lnTo>
                    <a:pt x="680" y="239"/>
                  </a:lnTo>
                  <a:lnTo>
                    <a:pt x="680" y="241"/>
                  </a:lnTo>
                  <a:lnTo>
                    <a:pt x="682" y="243"/>
                  </a:lnTo>
                  <a:lnTo>
                    <a:pt x="688" y="254"/>
                  </a:lnTo>
                  <a:lnTo>
                    <a:pt x="690" y="256"/>
                  </a:lnTo>
                  <a:lnTo>
                    <a:pt x="688" y="254"/>
                  </a:lnTo>
                  <a:lnTo>
                    <a:pt x="688" y="252"/>
                  </a:lnTo>
                  <a:lnTo>
                    <a:pt x="686" y="250"/>
                  </a:lnTo>
                  <a:lnTo>
                    <a:pt x="686" y="250"/>
                  </a:lnTo>
                  <a:lnTo>
                    <a:pt x="686" y="248"/>
                  </a:lnTo>
                  <a:lnTo>
                    <a:pt x="686" y="245"/>
                  </a:lnTo>
                  <a:lnTo>
                    <a:pt x="684" y="233"/>
                  </a:lnTo>
                  <a:lnTo>
                    <a:pt x="684" y="229"/>
                  </a:lnTo>
                  <a:lnTo>
                    <a:pt x="686" y="221"/>
                  </a:lnTo>
                  <a:close/>
                  <a:moveTo>
                    <a:pt x="690" y="258"/>
                  </a:moveTo>
                  <a:lnTo>
                    <a:pt x="693" y="258"/>
                  </a:lnTo>
                  <a:lnTo>
                    <a:pt x="693" y="260"/>
                  </a:lnTo>
                  <a:lnTo>
                    <a:pt x="693" y="260"/>
                  </a:lnTo>
                  <a:lnTo>
                    <a:pt x="693" y="260"/>
                  </a:lnTo>
                  <a:lnTo>
                    <a:pt x="693" y="260"/>
                  </a:lnTo>
                  <a:lnTo>
                    <a:pt x="693" y="258"/>
                  </a:lnTo>
                  <a:lnTo>
                    <a:pt x="690" y="256"/>
                  </a:lnTo>
                  <a:lnTo>
                    <a:pt x="690" y="256"/>
                  </a:lnTo>
                  <a:lnTo>
                    <a:pt x="690" y="256"/>
                  </a:lnTo>
                  <a:lnTo>
                    <a:pt x="690" y="258"/>
                  </a:lnTo>
                  <a:close/>
                  <a:moveTo>
                    <a:pt x="721" y="301"/>
                  </a:moveTo>
                  <a:lnTo>
                    <a:pt x="723" y="303"/>
                  </a:lnTo>
                  <a:lnTo>
                    <a:pt x="723" y="305"/>
                  </a:lnTo>
                  <a:lnTo>
                    <a:pt x="725" y="305"/>
                  </a:lnTo>
                  <a:lnTo>
                    <a:pt x="725" y="307"/>
                  </a:lnTo>
                  <a:lnTo>
                    <a:pt x="727" y="311"/>
                  </a:lnTo>
                  <a:lnTo>
                    <a:pt x="727" y="313"/>
                  </a:lnTo>
                  <a:lnTo>
                    <a:pt x="729" y="313"/>
                  </a:lnTo>
                  <a:lnTo>
                    <a:pt x="729" y="315"/>
                  </a:lnTo>
                  <a:lnTo>
                    <a:pt x="736" y="332"/>
                  </a:lnTo>
                  <a:lnTo>
                    <a:pt x="738" y="334"/>
                  </a:lnTo>
                  <a:lnTo>
                    <a:pt x="740" y="336"/>
                  </a:lnTo>
                  <a:lnTo>
                    <a:pt x="740" y="336"/>
                  </a:lnTo>
                  <a:lnTo>
                    <a:pt x="740" y="336"/>
                  </a:lnTo>
                  <a:lnTo>
                    <a:pt x="742" y="338"/>
                  </a:lnTo>
                  <a:lnTo>
                    <a:pt x="742" y="338"/>
                  </a:lnTo>
                  <a:lnTo>
                    <a:pt x="750" y="350"/>
                  </a:lnTo>
                  <a:lnTo>
                    <a:pt x="752" y="354"/>
                  </a:lnTo>
                  <a:lnTo>
                    <a:pt x="754" y="356"/>
                  </a:lnTo>
                  <a:lnTo>
                    <a:pt x="756" y="358"/>
                  </a:lnTo>
                  <a:lnTo>
                    <a:pt x="756" y="358"/>
                  </a:lnTo>
                  <a:lnTo>
                    <a:pt x="756" y="358"/>
                  </a:lnTo>
                  <a:lnTo>
                    <a:pt x="754" y="356"/>
                  </a:lnTo>
                  <a:lnTo>
                    <a:pt x="731" y="315"/>
                  </a:lnTo>
                  <a:lnTo>
                    <a:pt x="729" y="313"/>
                  </a:lnTo>
                  <a:lnTo>
                    <a:pt x="729" y="311"/>
                  </a:lnTo>
                  <a:lnTo>
                    <a:pt x="729" y="309"/>
                  </a:lnTo>
                  <a:lnTo>
                    <a:pt x="727" y="307"/>
                  </a:lnTo>
                  <a:lnTo>
                    <a:pt x="721" y="301"/>
                  </a:lnTo>
                  <a:lnTo>
                    <a:pt x="719" y="297"/>
                  </a:lnTo>
                  <a:lnTo>
                    <a:pt x="717" y="293"/>
                  </a:lnTo>
                  <a:lnTo>
                    <a:pt x="717" y="291"/>
                  </a:lnTo>
                  <a:lnTo>
                    <a:pt x="717" y="291"/>
                  </a:lnTo>
                  <a:lnTo>
                    <a:pt x="717" y="291"/>
                  </a:lnTo>
                  <a:lnTo>
                    <a:pt x="717" y="291"/>
                  </a:lnTo>
                  <a:lnTo>
                    <a:pt x="717" y="291"/>
                  </a:lnTo>
                  <a:lnTo>
                    <a:pt x="717" y="291"/>
                  </a:lnTo>
                  <a:lnTo>
                    <a:pt x="717" y="291"/>
                  </a:lnTo>
                  <a:lnTo>
                    <a:pt x="715" y="291"/>
                  </a:lnTo>
                  <a:lnTo>
                    <a:pt x="715" y="291"/>
                  </a:lnTo>
                  <a:lnTo>
                    <a:pt x="717" y="295"/>
                  </a:lnTo>
                  <a:lnTo>
                    <a:pt x="721" y="301"/>
                  </a:lnTo>
                  <a:close/>
                  <a:moveTo>
                    <a:pt x="787" y="705"/>
                  </a:moveTo>
                  <a:lnTo>
                    <a:pt x="789" y="705"/>
                  </a:lnTo>
                  <a:lnTo>
                    <a:pt x="789" y="705"/>
                  </a:lnTo>
                  <a:lnTo>
                    <a:pt x="789" y="705"/>
                  </a:lnTo>
                  <a:lnTo>
                    <a:pt x="787" y="705"/>
                  </a:lnTo>
                  <a:close/>
                  <a:moveTo>
                    <a:pt x="797" y="700"/>
                  </a:moveTo>
                  <a:lnTo>
                    <a:pt x="797" y="698"/>
                  </a:lnTo>
                  <a:lnTo>
                    <a:pt x="797" y="698"/>
                  </a:lnTo>
                  <a:lnTo>
                    <a:pt x="797" y="700"/>
                  </a:lnTo>
                  <a:close/>
                  <a:moveTo>
                    <a:pt x="799" y="698"/>
                  </a:moveTo>
                  <a:lnTo>
                    <a:pt x="799" y="698"/>
                  </a:lnTo>
                  <a:lnTo>
                    <a:pt x="799" y="698"/>
                  </a:lnTo>
                  <a:lnTo>
                    <a:pt x="799" y="698"/>
                  </a:lnTo>
                  <a:close/>
                  <a:moveTo>
                    <a:pt x="803" y="694"/>
                  </a:moveTo>
                  <a:lnTo>
                    <a:pt x="805" y="694"/>
                  </a:lnTo>
                  <a:lnTo>
                    <a:pt x="803" y="694"/>
                  </a:lnTo>
                  <a:lnTo>
                    <a:pt x="803" y="694"/>
                  </a:lnTo>
                  <a:close/>
                  <a:moveTo>
                    <a:pt x="807" y="694"/>
                  </a:moveTo>
                  <a:lnTo>
                    <a:pt x="807" y="694"/>
                  </a:lnTo>
                  <a:lnTo>
                    <a:pt x="807" y="694"/>
                  </a:lnTo>
                  <a:lnTo>
                    <a:pt x="807" y="694"/>
                  </a:lnTo>
                  <a:close/>
                  <a:moveTo>
                    <a:pt x="494" y="243"/>
                  </a:moveTo>
                  <a:lnTo>
                    <a:pt x="494" y="243"/>
                  </a:lnTo>
                  <a:lnTo>
                    <a:pt x="494" y="243"/>
                  </a:lnTo>
                  <a:lnTo>
                    <a:pt x="494" y="243"/>
                  </a:lnTo>
                  <a:lnTo>
                    <a:pt x="494" y="243"/>
                  </a:lnTo>
                  <a:lnTo>
                    <a:pt x="494" y="243"/>
                  </a:lnTo>
                  <a:lnTo>
                    <a:pt x="494" y="243"/>
                  </a:lnTo>
                  <a:lnTo>
                    <a:pt x="494" y="243"/>
                  </a:lnTo>
                  <a:lnTo>
                    <a:pt x="494" y="243"/>
                  </a:lnTo>
                  <a:lnTo>
                    <a:pt x="494" y="243"/>
                  </a:lnTo>
                  <a:close/>
                  <a:moveTo>
                    <a:pt x="492" y="219"/>
                  </a:moveTo>
                  <a:lnTo>
                    <a:pt x="492" y="219"/>
                  </a:lnTo>
                  <a:lnTo>
                    <a:pt x="492" y="219"/>
                  </a:lnTo>
                  <a:lnTo>
                    <a:pt x="492" y="219"/>
                  </a:lnTo>
                  <a:lnTo>
                    <a:pt x="492" y="219"/>
                  </a:lnTo>
                  <a:lnTo>
                    <a:pt x="492" y="219"/>
                  </a:lnTo>
                  <a:lnTo>
                    <a:pt x="492" y="219"/>
                  </a:lnTo>
                  <a:lnTo>
                    <a:pt x="492" y="217"/>
                  </a:lnTo>
                  <a:lnTo>
                    <a:pt x="492" y="217"/>
                  </a:lnTo>
                  <a:lnTo>
                    <a:pt x="490" y="217"/>
                  </a:lnTo>
                  <a:lnTo>
                    <a:pt x="490" y="217"/>
                  </a:lnTo>
                  <a:lnTo>
                    <a:pt x="490" y="217"/>
                  </a:lnTo>
                  <a:lnTo>
                    <a:pt x="490" y="219"/>
                  </a:lnTo>
                  <a:lnTo>
                    <a:pt x="492" y="219"/>
                  </a:lnTo>
                  <a:close/>
                  <a:moveTo>
                    <a:pt x="492" y="231"/>
                  </a:moveTo>
                  <a:lnTo>
                    <a:pt x="492" y="231"/>
                  </a:lnTo>
                  <a:lnTo>
                    <a:pt x="492" y="231"/>
                  </a:lnTo>
                  <a:lnTo>
                    <a:pt x="494" y="231"/>
                  </a:lnTo>
                  <a:lnTo>
                    <a:pt x="494" y="231"/>
                  </a:lnTo>
                  <a:lnTo>
                    <a:pt x="492" y="231"/>
                  </a:lnTo>
                  <a:close/>
                  <a:moveTo>
                    <a:pt x="490" y="233"/>
                  </a:moveTo>
                  <a:lnTo>
                    <a:pt x="490" y="233"/>
                  </a:lnTo>
                  <a:lnTo>
                    <a:pt x="490" y="233"/>
                  </a:lnTo>
                  <a:lnTo>
                    <a:pt x="490" y="233"/>
                  </a:lnTo>
                  <a:lnTo>
                    <a:pt x="490" y="233"/>
                  </a:lnTo>
                  <a:lnTo>
                    <a:pt x="490" y="233"/>
                  </a:lnTo>
                  <a:lnTo>
                    <a:pt x="490" y="233"/>
                  </a:lnTo>
                  <a:lnTo>
                    <a:pt x="490" y="233"/>
                  </a:lnTo>
                  <a:lnTo>
                    <a:pt x="490" y="233"/>
                  </a:lnTo>
                  <a:lnTo>
                    <a:pt x="490" y="235"/>
                  </a:lnTo>
                  <a:lnTo>
                    <a:pt x="490" y="235"/>
                  </a:lnTo>
                  <a:lnTo>
                    <a:pt x="492" y="235"/>
                  </a:lnTo>
                  <a:lnTo>
                    <a:pt x="492" y="235"/>
                  </a:lnTo>
                  <a:lnTo>
                    <a:pt x="492" y="235"/>
                  </a:lnTo>
                  <a:lnTo>
                    <a:pt x="492" y="233"/>
                  </a:lnTo>
                  <a:lnTo>
                    <a:pt x="492" y="233"/>
                  </a:lnTo>
                  <a:lnTo>
                    <a:pt x="492" y="233"/>
                  </a:lnTo>
                  <a:lnTo>
                    <a:pt x="490" y="233"/>
                  </a:lnTo>
                  <a:close/>
                  <a:moveTo>
                    <a:pt x="492" y="237"/>
                  </a:moveTo>
                  <a:lnTo>
                    <a:pt x="492" y="235"/>
                  </a:lnTo>
                  <a:lnTo>
                    <a:pt x="492" y="237"/>
                  </a:lnTo>
                  <a:lnTo>
                    <a:pt x="492" y="237"/>
                  </a:lnTo>
                  <a:lnTo>
                    <a:pt x="492" y="237"/>
                  </a:lnTo>
                  <a:close/>
                  <a:moveTo>
                    <a:pt x="490" y="227"/>
                  </a:moveTo>
                  <a:lnTo>
                    <a:pt x="490" y="227"/>
                  </a:lnTo>
                  <a:lnTo>
                    <a:pt x="488" y="227"/>
                  </a:lnTo>
                  <a:lnTo>
                    <a:pt x="488" y="229"/>
                  </a:lnTo>
                  <a:lnTo>
                    <a:pt x="488" y="229"/>
                  </a:lnTo>
                  <a:lnTo>
                    <a:pt x="490" y="229"/>
                  </a:lnTo>
                  <a:lnTo>
                    <a:pt x="490" y="229"/>
                  </a:lnTo>
                  <a:lnTo>
                    <a:pt x="488" y="229"/>
                  </a:lnTo>
                  <a:lnTo>
                    <a:pt x="488" y="231"/>
                  </a:lnTo>
                  <a:lnTo>
                    <a:pt x="490" y="231"/>
                  </a:lnTo>
                  <a:lnTo>
                    <a:pt x="490" y="231"/>
                  </a:lnTo>
                  <a:lnTo>
                    <a:pt x="490" y="229"/>
                  </a:lnTo>
                  <a:lnTo>
                    <a:pt x="490" y="229"/>
                  </a:lnTo>
                  <a:lnTo>
                    <a:pt x="490" y="227"/>
                  </a:lnTo>
                  <a:close/>
                  <a:moveTo>
                    <a:pt x="492" y="241"/>
                  </a:moveTo>
                  <a:lnTo>
                    <a:pt x="492" y="241"/>
                  </a:lnTo>
                  <a:lnTo>
                    <a:pt x="492" y="239"/>
                  </a:lnTo>
                  <a:lnTo>
                    <a:pt x="492" y="241"/>
                  </a:lnTo>
                  <a:close/>
                  <a:moveTo>
                    <a:pt x="486" y="219"/>
                  </a:moveTo>
                  <a:lnTo>
                    <a:pt x="484" y="219"/>
                  </a:lnTo>
                  <a:lnTo>
                    <a:pt x="484" y="219"/>
                  </a:lnTo>
                  <a:lnTo>
                    <a:pt x="486" y="219"/>
                  </a:lnTo>
                  <a:lnTo>
                    <a:pt x="486" y="219"/>
                  </a:lnTo>
                  <a:lnTo>
                    <a:pt x="486" y="219"/>
                  </a:lnTo>
                  <a:lnTo>
                    <a:pt x="486" y="219"/>
                  </a:lnTo>
                  <a:lnTo>
                    <a:pt x="486" y="219"/>
                  </a:lnTo>
                  <a:lnTo>
                    <a:pt x="486" y="219"/>
                  </a:lnTo>
                  <a:lnTo>
                    <a:pt x="486" y="219"/>
                  </a:lnTo>
                  <a:lnTo>
                    <a:pt x="486" y="219"/>
                  </a:lnTo>
                  <a:lnTo>
                    <a:pt x="486" y="219"/>
                  </a:lnTo>
                  <a:close/>
                  <a:moveTo>
                    <a:pt x="486" y="225"/>
                  </a:moveTo>
                  <a:lnTo>
                    <a:pt x="486" y="225"/>
                  </a:lnTo>
                  <a:lnTo>
                    <a:pt x="484" y="225"/>
                  </a:lnTo>
                  <a:lnTo>
                    <a:pt x="486" y="225"/>
                  </a:lnTo>
                  <a:lnTo>
                    <a:pt x="486" y="225"/>
                  </a:lnTo>
                  <a:lnTo>
                    <a:pt x="486" y="225"/>
                  </a:lnTo>
                  <a:lnTo>
                    <a:pt x="486" y="225"/>
                  </a:lnTo>
                  <a:lnTo>
                    <a:pt x="486" y="225"/>
                  </a:lnTo>
                  <a:lnTo>
                    <a:pt x="488" y="225"/>
                  </a:lnTo>
                  <a:lnTo>
                    <a:pt x="486" y="225"/>
                  </a:lnTo>
                  <a:lnTo>
                    <a:pt x="486" y="225"/>
                  </a:lnTo>
                  <a:close/>
                  <a:moveTo>
                    <a:pt x="484" y="221"/>
                  </a:moveTo>
                  <a:lnTo>
                    <a:pt x="484" y="221"/>
                  </a:lnTo>
                  <a:lnTo>
                    <a:pt x="484" y="221"/>
                  </a:lnTo>
                  <a:lnTo>
                    <a:pt x="484" y="221"/>
                  </a:lnTo>
                  <a:lnTo>
                    <a:pt x="484" y="221"/>
                  </a:lnTo>
                  <a:close/>
                  <a:moveTo>
                    <a:pt x="490" y="219"/>
                  </a:moveTo>
                  <a:lnTo>
                    <a:pt x="490" y="219"/>
                  </a:lnTo>
                  <a:lnTo>
                    <a:pt x="490" y="219"/>
                  </a:lnTo>
                  <a:lnTo>
                    <a:pt x="490" y="219"/>
                  </a:lnTo>
                  <a:lnTo>
                    <a:pt x="488" y="219"/>
                  </a:lnTo>
                  <a:lnTo>
                    <a:pt x="488" y="219"/>
                  </a:lnTo>
                  <a:lnTo>
                    <a:pt x="488" y="219"/>
                  </a:lnTo>
                  <a:lnTo>
                    <a:pt x="488" y="219"/>
                  </a:lnTo>
                  <a:lnTo>
                    <a:pt x="488" y="219"/>
                  </a:lnTo>
                  <a:lnTo>
                    <a:pt x="488" y="219"/>
                  </a:lnTo>
                  <a:lnTo>
                    <a:pt x="490" y="219"/>
                  </a:lnTo>
                  <a:close/>
                  <a:moveTo>
                    <a:pt x="484" y="229"/>
                  </a:moveTo>
                  <a:lnTo>
                    <a:pt x="484" y="229"/>
                  </a:lnTo>
                  <a:lnTo>
                    <a:pt x="484" y="227"/>
                  </a:lnTo>
                  <a:lnTo>
                    <a:pt x="484" y="227"/>
                  </a:lnTo>
                  <a:lnTo>
                    <a:pt x="484" y="229"/>
                  </a:lnTo>
                  <a:close/>
                  <a:moveTo>
                    <a:pt x="473" y="194"/>
                  </a:moveTo>
                  <a:lnTo>
                    <a:pt x="471" y="196"/>
                  </a:lnTo>
                  <a:lnTo>
                    <a:pt x="471" y="196"/>
                  </a:lnTo>
                  <a:lnTo>
                    <a:pt x="471" y="196"/>
                  </a:lnTo>
                  <a:lnTo>
                    <a:pt x="471" y="196"/>
                  </a:lnTo>
                  <a:lnTo>
                    <a:pt x="473" y="196"/>
                  </a:lnTo>
                  <a:lnTo>
                    <a:pt x="473" y="196"/>
                  </a:lnTo>
                  <a:lnTo>
                    <a:pt x="473" y="196"/>
                  </a:lnTo>
                  <a:lnTo>
                    <a:pt x="473" y="194"/>
                  </a:lnTo>
                  <a:close/>
                  <a:moveTo>
                    <a:pt x="451" y="194"/>
                  </a:moveTo>
                  <a:lnTo>
                    <a:pt x="449" y="194"/>
                  </a:lnTo>
                  <a:lnTo>
                    <a:pt x="449" y="194"/>
                  </a:lnTo>
                  <a:lnTo>
                    <a:pt x="449" y="194"/>
                  </a:lnTo>
                  <a:lnTo>
                    <a:pt x="449" y="196"/>
                  </a:lnTo>
                  <a:lnTo>
                    <a:pt x="449" y="196"/>
                  </a:lnTo>
                  <a:lnTo>
                    <a:pt x="451" y="194"/>
                  </a:lnTo>
                  <a:lnTo>
                    <a:pt x="451" y="194"/>
                  </a:lnTo>
                  <a:lnTo>
                    <a:pt x="451" y="194"/>
                  </a:lnTo>
                  <a:lnTo>
                    <a:pt x="451" y="194"/>
                  </a:lnTo>
                  <a:close/>
                  <a:moveTo>
                    <a:pt x="488" y="217"/>
                  </a:moveTo>
                  <a:lnTo>
                    <a:pt x="488" y="217"/>
                  </a:lnTo>
                  <a:lnTo>
                    <a:pt x="490" y="217"/>
                  </a:lnTo>
                  <a:lnTo>
                    <a:pt x="490" y="217"/>
                  </a:lnTo>
                  <a:lnTo>
                    <a:pt x="490" y="217"/>
                  </a:lnTo>
                  <a:lnTo>
                    <a:pt x="488" y="217"/>
                  </a:lnTo>
                  <a:lnTo>
                    <a:pt x="488" y="215"/>
                  </a:lnTo>
                  <a:lnTo>
                    <a:pt x="488" y="215"/>
                  </a:lnTo>
                  <a:lnTo>
                    <a:pt x="488" y="215"/>
                  </a:lnTo>
                  <a:lnTo>
                    <a:pt x="488" y="217"/>
                  </a:lnTo>
                  <a:lnTo>
                    <a:pt x="488" y="217"/>
                  </a:lnTo>
                  <a:lnTo>
                    <a:pt x="488" y="217"/>
                  </a:lnTo>
                  <a:close/>
                  <a:moveTo>
                    <a:pt x="488" y="235"/>
                  </a:moveTo>
                  <a:lnTo>
                    <a:pt x="488" y="235"/>
                  </a:lnTo>
                  <a:lnTo>
                    <a:pt x="488" y="235"/>
                  </a:lnTo>
                  <a:lnTo>
                    <a:pt x="488" y="235"/>
                  </a:lnTo>
                  <a:lnTo>
                    <a:pt x="488" y="235"/>
                  </a:lnTo>
                  <a:lnTo>
                    <a:pt x="488" y="235"/>
                  </a:lnTo>
                  <a:lnTo>
                    <a:pt x="488" y="235"/>
                  </a:lnTo>
                  <a:close/>
                  <a:moveTo>
                    <a:pt x="652" y="661"/>
                  </a:moveTo>
                  <a:lnTo>
                    <a:pt x="652" y="659"/>
                  </a:lnTo>
                  <a:lnTo>
                    <a:pt x="652" y="659"/>
                  </a:lnTo>
                  <a:lnTo>
                    <a:pt x="652" y="659"/>
                  </a:lnTo>
                  <a:lnTo>
                    <a:pt x="652" y="659"/>
                  </a:lnTo>
                  <a:lnTo>
                    <a:pt x="652" y="659"/>
                  </a:lnTo>
                  <a:lnTo>
                    <a:pt x="650" y="661"/>
                  </a:lnTo>
                  <a:lnTo>
                    <a:pt x="647" y="664"/>
                  </a:lnTo>
                  <a:lnTo>
                    <a:pt x="647" y="664"/>
                  </a:lnTo>
                  <a:lnTo>
                    <a:pt x="645" y="664"/>
                  </a:lnTo>
                  <a:lnTo>
                    <a:pt x="645" y="664"/>
                  </a:lnTo>
                  <a:lnTo>
                    <a:pt x="645" y="666"/>
                  </a:lnTo>
                  <a:lnTo>
                    <a:pt x="645" y="664"/>
                  </a:lnTo>
                  <a:lnTo>
                    <a:pt x="645" y="666"/>
                  </a:lnTo>
                  <a:lnTo>
                    <a:pt x="647" y="664"/>
                  </a:lnTo>
                  <a:lnTo>
                    <a:pt x="650" y="664"/>
                  </a:lnTo>
                  <a:lnTo>
                    <a:pt x="650"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4" y="661"/>
                  </a:lnTo>
                  <a:lnTo>
                    <a:pt x="654" y="661"/>
                  </a:lnTo>
                  <a:lnTo>
                    <a:pt x="652" y="661"/>
                  </a:lnTo>
                  <a:close/>
                  <a:moveTo>
                    <a:pt x="645" y="518"/>
                  </a:moveTo>
                  <a:lnTo>
                    <a:pt x="645" y="518"/>
                  </a:lnTo>
                  <a:lnTo>
                    <a:pt x="645" y="518"/>
                  </a:lnTo>
                  <a:lnTo>
                    <a:pt x="645" y="518"/>
                  </a:lnTo>
                  <a:lnTo>
                    <a:pt x="645" y="520"/>
                  </a:lnTo>
                  <a:lnTo>
                    <a:pt x="645" y="520"/>
                  </a:lnTo>
                  <a:lnTo>
                    <a:pt x="645" y="520"/>
                  </a:lnTo>
                  <a:lnTo>
                    <a:pt x="645" y="518"/>
                  </a:lnTo>
                  <a:close/>
                  <a:moveTo>
                    <a:pt x="615" y="664"/>
                  </a:moveTo>
                  <a:lnTo>
                    <a:pt x="613" y="664"/>
                  </a:lnTo>
                  <a:lnTo>
                    <a:pt x="613" y="664"/>
                  </a:lnTo>
                  <a:lnTo>
                    <a:pt x="613" y="666"/>
                  </a:lnTo>
                  <a:lnTo>
                    <a:pt x="613" y="664"/>
                  </a:lnTo>
                  <a:lnTo>
                    <a:pt x="613" y="664"/>
                  </a:lnTo>
                  <a:lnTo>
                    <a:pt x="615" y="666"/>
                  </a:lnTo>
                  <a:lnTo>
                    <a:pt x="615" y="666"/>
                  </a:lnTo>
                  <a:lnTo>
                    <a:pt x="617" y="666"/>
                  </a:lnTo>
                  <a:lnTo>
                    <a:pt x="617" y="668"/>
                  </a:lnTo>
                  <a:lnTo>
                    <a:pt x="617" y="666"/>
                  </a:lnTo>
                  <a:lnTo>
                    <a:pt x="615" y="666"/>
                  </a:lnTo>
                  <a:lnTo>
                    <a:pt x="615" y="664"/>
                  </a:lnTo>
                  <a:close/>
                  <a:moveTo>
                    <a:pt x="615" y="668"/>
                  </a:moveTo>
                  <a:lnTo>
                    <a:pt x="615" y="670"/>
                  </a:lnTo>
                  <a:lnTo>
                    <a:pt x="615" y="668"/>
                  </a:lnTo>
                  <a:lnTo>
                    <a:pt x="617" y="668"/>
                  </a:lnTo>
                  <a:lnTo>
                    <a:pt x="615" y="668"/>
                  </a:lnTo>
                  <a:lnTo>
                    <a:pt x="615" y="668"/>
                  </a:lnTo>
                  <a:close/>
                  <a:moveTo>
                    <a:pt x="613" y="670"/>
                  </a:moveTo>
                  <a:lnTo>
                    <a:pt x="613" y="670"/>
                  </a:lnTo>
                  <a:lnTo>
                    <a:pt x="613" y="670"/>
                  </a:lnTo>
                  <a:lnTo>
                    <a:pt x="613" y="670"/>
                  </a:lnTo>
                  <a:lnTo>
                    <a:pt x="613" y="670"/>
                  </a:lnTo>
                  <a:lnTo>
                    <a:pt x="613" y="670"/>
                  </a:lnTo>
                  <a:lnTo>
                    <a:pt x="613" y="670"/>
                  </a:lnTo>
                  <a:lnTo>
                    <a:pt x="613" y="670"/>
                  </a:lnTo>
                  <a:lnTo>
                    <a:pt x="613" y="670"/>
                  </a:lnTo>
                  <a:close/>
                  <a:moveTo>
                    <a:pt x="660" y="655"/>
                  </a:moveTo>
                  <a:lnTo>
                    <a:pt x="660" y="655"/>
                  </a:lnTo>
                  <a:lnTo>
                    <a:pt x="660" y="655"/>
                  </a:lnTo>
                  <a:lnTo>
                    <a:pt x="658" y="657"/>
                  </a:lnTo>
                  <a:lnTo>
                    <a:pt x="656" y="657"/>
                  </a:lnTo>
                  <a:lnTo>
                    <a:pt x="656" y="657"/>
                  </a:lnTo>
                  <a:lnTo>
                    <a:pt x="656" y="657"/>
                  </a:lnTo>
                  <a:lnTo>
                    <a:pt x="656" y="657"/>
                  </a:lnTo>
                  <a:lnTo>
                    <a:pt x="654" y="657"/>
                  </a:lnTo>
                  <a:lnTo>
                    <a:pt x="654" y="657"/>
                  </a:lnTo>
                  <a:lnTo>
                    <a:pt x="654" y="659"/>
                  </a:lnTo>
                  <a:lnTo>
                    <a:pt x="654" y="659"/>
                  </a:lnTo>
                  <a:lnTo>
                    <a:pt x="656" y="659"/>
                  </a:lnTo>
                  <a:lnTo>
                    <a:pt x="656" y="659"/>
                  </a:lnTo>
                  <a:lnTo>
                    <a:pt x="654" y="661"/>
                  </a:lnTo>
                  <a:lnTo>
                    <a:pt x="654" y="661"/>
                  </a:lnTo>
                  <a:lnTo>
                    <a:pt x="654" y="661"/>
                  </a:lnTo>
                  <a:lnTo>
                    <a:pt x="654" y="661"/>
                  </a:lnTo>
                  <a:lnTo>
                    <a:pt x="660" y="657"/>
                  </a:lnTo>
                  <a:lnTo>
                    <a:pt x="660" y="657"/>
                  </a:lnTo>
                  <a:lnTo>
                    <a:pt x="660" y="655"/>
                  </a:lnTo>
                  <a:close/>
                  <a:moveTo>
                    <a:pt x="664" y="526"/>
                  </a:moveTo>
                  <a:lnTo>
                    <a:pt x="664" y="526"/>
                  </a:lnTo>
                  <a:lnTo>
                    <a:pt x="664" y="526"/>
                  </a:lnTo>
                  <a:lnTo>
                    <a:pt x="664" y="524"/>
                  </a:lnTo>
                  <a:lnTo>
                    <a:pt x="664" y="524"/>
                  </a:lnTo>
                  <a:lnTo>
                    <a:pt x="664" y="524"/>
                  </a:lnTo>
                  <a:lnTo>
                    <a:pt x="666" y="524"/>
                  </a:lnTo>
                  <a:lnTo>
                    <a:pt x="666" y="524"/>
                  </a:lnTo>
                  <a:lnTo>
                    <a:pt x="666" y="522"/>
                  </a:lnTo>
                  <a:lnTo>
                    <a:pt x="664" y="522"/>
                  </a:lnTo>
                  <a:lnTo>
                    <a:pt x="664" y="522"/>
                  </a:lnTo>
                  <a:lnTo>
                    <a:pt x="662" y="520"/>
                  </a:lnTo>
                  <a:lnTo>
                    <a:pt x="662" y="520"/>
                  </a:lnTo>
                  <a:lnTo>
                    <a:pt x="660" y="520"/>
                  </a:lnTo>
                  <a:lnTo>
                    <a:pt x="658" y="520"/>
                  </a:lnTo>
                  <a:lnTo>
                    <a:pt x="658" y="522"/>
                  </a:lnTo>
                  <a:lnTo>
                    <a:pt x="660" y="522"/>
                  </a:lnTo>
                  <a:lnTo>
                    <a:pt x="660" y="524"/>
                  </a:lnTo>
                  <a:lnTo>
                    <a:pt x="660" y="524"/>
                  </a:lnTo>
                  <a:lnTo>
                    <a:pt x="660" y="524"/>
                  </a:lnTo>
                  <a:lnTo>
                    <a:pt x="662" y="524"/>
                  </a:lnTo>
                  <a:lnTo>
                    <a:pt x="662" y="526"/>
                  </a:lnTo>
                  <a:lnTo>
                    <a:pt x="664" y="526"/>
                  </a:lnTo>
                  <a:close/>
                  <a:moveTo>
                    <a:pt x="666" y="524"/>
                  </a:moveTo>
                  <a:lnTo>
                    <a:pt x="664" y="524"/>
                  </a:lnTo>
                  <a:lnTo>
                    <a:pt x="664" y="526"/>
                  </a:lnTo>
                  <a:lnTo>
                    <a:pt x="666" y="526"/>
                  </a:lnTo>
                  <a:lnTo>
                    <a:pt x="668" y="526"/>
                  </a:lnTo>
                  <a:lnTo>
                    <a:pt x="668" y="524"/>
                  </a:lnTo>
                  <a:lnTo>
                    <a:pt x="668" y="524"/>
                  </a:lnTo>
                  <a:lnTo>
                    <a:pt x="666" y="524"/>
                  </a:lnTo>
                  <a:lnTo>
                    <a:pt x="666" y="524"/>
                  </a:lnTo>
                  <a:lnTo>
                    <a:pt x="666" y="524"/>
                  </a:lnTo>
                  <a:lnTo>
                    <a:pt x="666" y="524"/>
                  </a:lnTo>
                  <a:lnTo>
                    <a:pt x="666" y="524"/>
                  </a:lnTo>
                  <a:close/>
                  <a:moveTo>
                    <a:pt x="611" y="668"/>
                  </a:moveTo>
                  <a:lnTo>
                    <a:pt x="613" y="668"/>
                  </a:lnTo>
                  <a:lnTo>
                    <a:pt x="611" y="668"/>
                  </a:lnTo>
                  <a:lnTo>
                    <a:pt x="611" y="668"/>
                  </a:lnTo>
                  <a:close/>
                  <a:moveTo>
                    <a:pt x="647" y="516"/>
                  </a:moveTo>
                  <a:lnTo>
                    <a:pt x="647" y="516"/>
                  </a:lnTo>
                  <a:lnTo>
                    <a:pt x="645" y="516"/>
                  </a:lnTo>
                  <a:lnTo>
                    <a:pt x="645" y="518"/>
                  </a:lnTo>
                  <a:lnTo>
                    <a:pt x="645" y="518"/>
                  </a:lnTo>
                  <a:lnTo>
                    <a:pt x="647" y="518"/>
                  </a:lnTo>
                  <a:lnTo>
                    <a:pt x="647" y="518"/>
                  </a:lnTo>
                  <a:lnTo>
                    <a:pt x="647" y="520"/>
                  </a:lnTo>
                  <a:lnTo>
                    <a:pt x="647" y="522"/>
                  </a:lnTo>
                  <a:lnTo>
                    <a:pt x="647" y="522"/>
                  </a:lnTo>
                  <a:lnTo>
                    <a:pt x="650" y="520"/>
                  </a:lnTo>
                  <a:lnTo>
                    <a:pt x="650" y="518"/>
                  </a:lnTo>
                  <a:lnTo>
                    <a:pt x="647" y="518"/>
                  </a:lnTo>
                  <a:lnTo>
                    <a:pt x="647" y="518"/>
                  </a:lnTo>
                  <a:lnTo>
                    <a:pt x="647" y="518"/>
                  </a:lnTo>
                  <a:lnTo>
                    <a:pt x="647" y="518"/>
                  </a:lnTo>
                  <a:lnTo>
                    <a:pt x="647" y="516"/>
                  </a:lnTo>
                  <a:close/>
                  <a:moveTo>
                    <a:pt x="654" y="520"/>
                  </a:moveTo>
                  <a:lnTo>
                    <a:pt x="654" y="522"/>
                  </a:lnTo>
                  <a:lnTo>
                    <a:pt x="654" y="520"/>
                  </a:lnTo>
                  <a:lnTo>
                    <a:pt x="656" y="522"/>
                  </a:lnTo>
                  <a:lnTo>
                    <a:pt x="656" y="522"/>
                  </a:lnTo>
                  <a:lnTo>
                    <a:pt x="656" y="522"/>
                  </a:lnTo>
                  <a:lnTo>
                    <a:pt x="658" y="524"/>
                  </a:lnTo>
                  <a:lnTo>
                    <a:pt x="658" y="522"/>
                  </a:lnTo>
                  <a:lnTo>
                    <a:pt x="658" y="522"/>
                  </a:lnTo>
                  <a:lnTo>
                    <a:pt x="658" y="522"/>
                  </a:lnTo>
                  <a:lnTo>
                    <a:pt x="658" y="522"/>
                  </a:lnTo>
                  <a:lnTo>
                    <a:pt x="656" y="520"/>
                  </a:lnTo>
                  <a:lnTo>
                    <a:pt x="656" y="518"/>
                  </a:lnTo>
                  <a:lnTo>
                    <a:pt x="656" y="518"/>
                  </a:lnTo>
                  <a:lnTo>
                    <a:pt x="654" y="518"/>
                  </a:lnTo>
                  <a:lnTo>
                    <a:pt x="654" y="520"/>
                  </a:lnTo>
                  <a:lnTo>
                    <a:pt x="652" y="520"/>
                  </a:lnTo>
                  <a:lnTo>
                    <a:pt x="652" y="520"/>
                  </a:lnTo>
                  <a:lnTo>
                    <a:pt x="652" y="522"/>
                  </a:lnTo>
                  <a:lnTo>
                    <a:pt x="652" y="522"/>
                  </a:lnTo>
                  <a:lnTo>
                    <a:pt x="652" y="522"/>
                  </a:lnTo>
                  <a:lnTo>
                    <a:pt x="652" y="522"/>
                  </a:lnTo>
                  <a:lnTo>
                    <a:pt x="652" y="522"/>
                  </a:lnTo>
                  <a:lnTo>
                    <a:pt x="652" y="522"/>
                  </a:lnTo>
                  <a:lnTo>
                    <a:pt x="652" y="522"/>
                  </a:lnTo>
                  <a:lnTo>
                    <a:pt x="652" y="520"/>
                  </a:lnTo>
                  <a:lnTo>
                    <a:pt x="652" y="520"/>
                  </a:lnTo>
                  <a:lnTo>
                    <a:pt x="654" y="520"/>
                  </a:lnTo>
                  <a:close/>
                  <a:moveTo>
                    <a:pt x="635" y="518"/>
                  </a:moveTo>
                  <a:lnTo>
                    <a:pt x="633" y="518"/>
                  </a:lnTo>
                  <a:lnTo>
                    <a:pt x="633" y="520"/>
                  </a:lnTo>
                  <a:lnTo>
                    <a:pt x="631" y="520"/>
                  </a:lnTo>
                  <a:lnTo>
                    <a:pt x="631" y="520"/>
                  </a:lnTo>
                  <a:lnTo>
                    <a:pt x="631" y="520"/>
                  </a:lnTo>
                  <a:lnTo>
                    <a:pt x="633" y="522"/>
                  </a:lnTo>
                  <a:lnTo>
                    <a:pt x="633" y="522"/>
                  </a:lnTo>
                  <a:lnTo>
                    <a:pt x="633" y="522"/>
                  </a:lnTo>
                  <a:lnTo>
                    <a:pt x="633" y="522"/>
                  </a:lnTo>
                  <a:lnTo>
                    <a:pt x="633" y="522"/>
                  </a:lnTo>
                  <a:lnTo>
                    <a:pt x="635" y="522"/>
                  </a:lnTo>
                  <a:lnTo>
                    <a:pt x="635" y="522"/>
                  </a:lnTo>
                  <a:lnTo>
                    <a:pt x="637" y="520"/>
                  </a:lnTo>
                  <a:lnTo>
                    <a:pt x="635" y="518"/>
                  </a:lnTo>
                  <a:lnTo>
                    <a:pt x="635" y="518"/>
                  </a:lnTo>
                  <a:close/>
                  <a:moveTo>
                    <a:pt x="541" y="672"/>
                  </a:moveTo>
                  <a:lnTo>
                    <a:pt x="541" y="672"/>
                  </a:lnTo>
                  <a:lnTo>
                    <a:pt x="541" y="672"/>
                  </a:lnTo>
                  <a:lnTo>
                    <a:pt x="541" y="672"/>
                  </a:lnTo>
                  <a:close/>
                  <a:moveTo>
                    <a:pt x="541" y="672"/>
                  </a:moveTo>
                  <a:lnTo>
                    <a:pt x="541" y="672"/>
                  </a:lnTo>
                  <a:lnTo>
                    <a:pt x="541" y="672"/>
                  </a:lnTo>
                  <a:lnTo>
                    <a:pt x="541" y="672"/>
                  </a:lnTo>
                  <a:close/>
                  <a:moveTo>
                    <a:pt x="541" y="672"/>
                  </a:moveTo>
                  <a:lnTo>
                    <a:pt x="541" y="672"/>
                  </a:lnTo>
                  <a:lnTo>
                    <a:pt x="541" y="672"/>
                  </a:lnTo>
                  <a:lnTo>
                    <a:pt x="541" y="672"/>
                  </a:lnTo>
                  <a:close/>
                  <a:moveTo>
                    <a:pt x="535" y="672"/>
                  </a:moveTo>
                  <a:lnTo>
                    <a:pt x="535" y="672"/>
                  </a:lnTo>
                  <a:lnTo>
                    <a:pt x="535" y="672"/>
                  </a:lnTo>
                  <a:lnTo>
                    <a:pt x="535" y="672"/>
                  </a:lnTo>
                  <a:close/>
                  <a:moveTo>
                    <a:pt x="523" y="381"/>
                  </a:moveTo>
                  <a:lnTo>
                    <a:pt x="518" y="377"/>
                  </a:lnTo>
                  <a:lnTo>
                    <a:pt x="514" y="373"/>
                  </a:lnTo>
                  <a:lnTo>
                    <a:pt x="514" y="373"/>
                  </a:lnTo>
                  <a:lnTo>
                    <a:pt x="514" y="373"/>
                  </a:lnTo>
                  <a:lnTo>
                    <a:pt x="512" y="370"/>
                  </a:lnTo>
                  <a:lnTo>
                    <a:pt x="512" y="373"/>
                  </a:lnTo>
                  <a:lnTo>
                    <a:pt x="514" y="375"/>
                  </a:lnTo>
                  <a:lnTo>
                    <a:pt x="514" y="375"/>
                  </a:lnTo>
                  <a:lnTo>
                    <a:pt x="516" y="377"/>
                  </a:lnTo>
                  <a:lnTo>
                    <a:pt x="521" y="381"/>
                  </a:lnTo>
                  <a:lnTo>
                    <a:pt x="523" y="381"/>
                  </a:lnTo>
                  <a:lnTo>
                    <a:pt x="523" y="381"/>
                  </a:lnTo>
                  <a:lnTo>
                    <a:pt x="523" y="381"/>
                  </a:lnTo>
                  <a:lnTo>
                    <a:pt x="523" y="381"/>
                  </a:lnTo>
                  <a:close/>
                  <a:moveTo>
                    <a:pt x="578" y="444"/>
                  </a:moveTo>
                  <a:lnTo>
                    <a:pt x="576" y="442"/>
                  </a:lnTo>
                  <a:lnTo>
                    <a:pt x="574" y="442"/>
                  </a:lnTo>
                  <a:lnTo>
                    <a:pt x="574" y="442"/>
                  </a:lnTo>
                  <a:lnTo>
                    <a:pt x="574" y="442"/>
                  </a:lnTo>
                  <a:lnTo>
                    <a:pt x="572" y="442"/>
                  </a:lnTo>
                  <a:lnTo>
                    <a:pt x="574" y="444"/>
                  </a:lnTo>
                  <a:lnTo>
                    <a:pt x="576" y="448"/>
                  </a:lnTo>
                  <a:lnTo>
                    <a:pt x="578" y="450"/>
                  </a:lnTo>
                  <a:lnTo>
                    <a:pt x="578" y="452"/>
                  </a:lnTo>
                  <a:lnTo>
                    <a:pt x="580" y="455"/>
                  </a:lnTo>
                  <a:lnTo>
                    <a:pt x="582" y="461"/>
                  </a:lnTo>
                  <a:lnTo>
                    <a:pt x="584" y="463"/>
                  </a:lnTo>
                  <a:lnTo>
                    <a:pt x="584" y="463"/>
                  </a:lnTo>
                  <a:lnTo>
                    <a:pt x="584" y="463"/>
                  </a:lnTo>
                  <a:lnTo>
                    <a:pt x="586" y="463"/>
                  </a:lnTo>
                  <a:lnTo>
                    <a:pt x="586" y="461"/>
                  </a:lnTo>
                  <a:lnTo>
                    <a:pt x="584" y="455"/>
                  </a:lnTo>
                  <a:lnTo>
                    <a:pt x="582" y="455"/>
                  </a:lnTo>
                  <a:lnTo>
                    <a:pt x="580" y="452"/>
                  </a:lnTo>
                  <a:lnTo>
                    <a:pt x="580" y="450"/>
                  </a:lnTo>
                  <a:lnTo>
                    <a:pt x="580" y="446"/>
                  </a:lnTo>
                  <a:lnTo>
                    <a:pt x="578" y="444"/>
                  </a:lnTo>
                  <a:close/>
                  <a:moveTo>
                    <a:pt x="611" y="670"/>
                  </a:moveTo>
                  <a:lnTo>
                    <a:pt x="611" y="670"/>
                  </a:lnTo>
                  <a:lnTo>
                    <a:pt x="611" y="670"/>
                  </a:lnTo>
                  <a:lnTo>
                    <a:pt x="611" y="670"/>
                  </a:lnTo>
                  <a:lnTo>
                    <a:pt x="611" y="670"/>
                  </a:lnTo>
                  <a:close/>
                  <a:moveTo>
                    <a:pt x="543" y="670"/>
                  </a:moveTo>
                  <a:lnTo>
                    <a:pt x="543" y="670"/>
                  </a:lnTo>
                  <a:lnTo>
                    <a:pt x="541" y="670"/>
                  </a:lnTo>
                  <a:lnTo>
                    <a:pt x="543" y="670"/>
                  </a:lnTo>
                  <a:lnTo>
                    <a:pt x="543" y="670"/>
                  </a:lnTo>
                  <a:lnTo>
                    <a:pt x="543" y="670"/>
                  </a:lnTo>
                  <a:lnTo>
                    <a:pt x="543" y="670"/>
                  </a:lnTo>
                  <a:lnTo>
                    <a:pt x="543" y="670"/>
                  </a:lnTo>
                  <a:lnTo>
                    <a:pt x="543" y="670"/>
                  </a:lnTo>
                  <a:close/>
                  <a:moveTo>
                    <a:pt x="611" y="668"/>
                  </a:moveTo>
                  <a:lnTo>
                    <a:pt x="611" y="668"/>
                  </a:lnTo>
                  <a:lnTo>
                    <a:pt x="611" y="668"/>
                  </a:lnTo>
                  <a:lnTo>
                    <a:pt x="611" y="668"/>
                  </a:lnTo>
                  <a:close/>
                  <a:moveTo>
                    <a:pt x="570" y="450"/>
                  </a:moveTo>
                  <a:lnTo>
                    <a:pt x="568" y="446"/>
                  </a:lnTo>
                  <a:lnTo>
                    <a:pt x="566" y="444"/>
                  </a:lnTo>
                  <a:lnTo>
                    <a:pt x="566" y="442"/>
                  </a:lnTo>
                  <a:lnTo>
                    <a:pt x="566" y="442"/>
                  </a:lnTo>
                  <a:lnTo>
                    <a:pt x="566" y="442"/>
                  </a:lnTo>
                  <a:lnTo>
                    <a:pt x="566" y="442"/>
                  </a:lnTo>
                  <a:lnTo>
                    <a:pt x="568" y="448"/>
                  </a:lnTo>
                  <a:lnTo>
                    <a:pt x="568" y="450"/>
                  </a:lnTo>
                  <a:lnTo>
                    <a:pt x="570" y="452"/>
                  </a:lnTo>
                  <a:lnTo>
                    <a:pt x="570" y="452"/>
                  </a:lnTo>
                  <a:lnTo>
                    <a:pt x="570" y="452"/>
                  </a:lnTo>
                  <a:lnTo>
                    <a:pt x="570" y="450"/>
                  </a:lnTo>
                  <a:close/>
                  <a:moveTo>
                    <a:pt x="670" y="645"/>
                  </a:moveTo>
                  <a:lnTo>
                    <a:pt x="668" y="645"/>
                  </a:lnTo>
                  <a:lnTo>
                    <a:pt x="668" y="645"/>
                  </a:lnTo>
                  <a:lnTo>
                    <a:pt x="668" y="645"/>
                  </a:lnTo>
                  <a:lnTo>
                    <a:pt x="668" y="645"/>
                  </a:lnTo>
                  <a:lnTo>
                    <a:pt x="668" y="645"/>
                  </a:lnTo>
                  <a:lnTo>
                    <a:pt x="668" y="645"/>
                  </a:lnTo>
                  <a:lnTo>
                    <a:pt x="668" y="645"/>
                  </a:lnTo>
                  <a:lnTo>
                    <a:pt x="668" y="645"/>
                  </a:lnTo>
                  <a:lnTo>
                    <a:pt x="668" y="645"/>
                  </a:lnTo>
                  <a:lnTo>
                    <a:pt x="668" y="645"/>
                  </a:lnTo>
                  <a:lnTo>
                    <a:pt x="668" y="647"/>
                  </a:lnTo>
                  <a:lnTo>
                    <a:pt x="668" y="647"/>
                  </a:lnTo>
                  <a:lnTo>
                    <a:pt x="668" y="647"/>
                  </a:lnTo>
                  <a:lnTo>
                    <a:pt x="668" y="647"/>
                  </a:lnTo>
                  <a:lnTo>
                    <a:pt x="668" y="647"/>
                  </a:lnTo>
                  <a:lnTo>
                    <a:pt x="668" y="647"/>
                  </a:lnTo>
                  <a:lnTo>
                    <a:pt x="668" y="647"/>
                  </a:lnTo>
                  <a:lnTo>
                    <a:pt x="668" y="649"/>
                  </a:lnTo>
                  <a:lnTo>
                    <a:pt x="668" y="649"/>
                  </a:lnTo>
                  <a:lnTo>
                    <a:pt x="668" y="649"/>
                  </a:lnTo>
                  <a:lnTo>
                    <a:pt x="670" y="649"/>
                  </a:lnTo>
                  <a:lnTo>
                    <a:pt x="672" y="649"/>
                  </a:lnTo>
                  <a:lnTo>
                    <a:pt x="672" y="649"/>
                  </a:lnTo>
                  <a:lnTo>
                    <a:pt x="672" y="651"/>
                  </a:lnTo>
                  <a:lnTo>
                    <a:pt x="672" y="651"/>
                  </a:lnTo>
                  <a:lnTo>
                    <a:pt x="670" y="649"/>
                  </a:lnTo>
                  <a:lnTo>
                    <a:pt x="670" y="649"/>
                  </a:lnTo>
                  <a:lnTo>
                    <a:pt x="670" y="649"/>
                  </a:lnTo>
                  <a:lnTo>
                    <a:pt x="666" y="649"/>
                  </a:lnTo>
                  <a:lnTo>
                    <a:pt x="666" y="649"/>
                  </a:lnTo>
                  <a:lnTo>
                    <a:pt x="666" y="649"/>
                  </a:lnTo>
                  <a:lnTo>
                    <a:pt x="666" y="649"/>
                  </a:lnTo>
                  <a:lnTo>
                    <a:pt x="666" y="649"/>
                  </a:lnTo>
                  <a:lnTo>
                    <a:pt x="668" y="651"/>
                  </a:lnTo>
                  <a:lnTo>
                    <a:pt x="670" y="651"/>
                  </a:lnTo>
                  <a:lnTo>
                    <a:pt x="668" y="651"/>
                  </a:lnTo>
                  <a:lnTo>
                    <a:pt x="668" y="653"/>
                  </a:lnTo>
                  <a:lnTo>
                    <a:pt x="668" y="653"/>
                  </a:lnTo>
                  <a:lnTo>
                    <a:pt x="668" y="653"/>
                  </a:lnTo>
                  <a:lnTo>
                    <a:pt x="666" y="655"/>
                  </a:lnTo>
                  <a:lnTo>
                    <a:pt x="664" y="653"/>
                  </a:lnTo>
                  <a:lnTo>
                    <a:pt x="664" y="653"/>
                  </a:lnTo>
                  <a:lnTo>
                    <a:pt x="664" y="653"/>
                  </a:lnTo>
                  <a:lnTo>
                    <a:pt x="664" y="655"/>
                  </a:lnTo>
                  <a:lnTo>
                    <a:pt x="662" y="657"/>
                  </a:lnTo>
                  <a:lnTo>
                    <a:pt x="662" y="657"/>
                  </a:lnTo>
                  <a:lnTo>
                    <a:pt x="662" y="657"/>
                  </a:lnTo>
                  <a:lnTo>
                    <a:pt x="662" y="657"/>
                  </a:lnTo>
                  <a:lnTo>
                    <a:pt x="668" y="653"/>
                  </a:lnTo>
                  <a:lnTo>
                    <a:pt x="672" y="653"/>
                  </a:lnTo>
                  <a:lnTo>
                    <a:pt x="674" y="649"/>
                  </a:lnTo>
                  <a:lnTo>
                    <a:pt x="674" y="649"/>
                  </a:lnTo>
                  <a:lnTo>
                    <a:pt x="670" y="645"/>
                  </a:lnTo>
                  <a:close/>
                  <a:moveTo>
                    <a:pt x="564" y="434"/>
                  </a:moveTo>
                  <a:lnTo>
                    <a:pt x="561" y="432"/>
                  </a:lnTo>
                  <a:lnTo>
                    <a:pt x="561" y="432"/>
                  </a:lnTo>
                  <a:lnTo>
                    <a:pt x="561" y="432"/>
                  </a:lnTo>
                  <a:lnTo>
                    <a:pt x="561" y="432"/>
                  </a:lnTo>
                  <a:lnTo>
                    <a:pt x="561" y="432"/>
                  </a:lnTo>
                  <a:lnTo>
                    <a:pt x="561" y="432"/>
                  </a:lnTo>
                  <a:lnTo>
                    <a:pt x="561" y="434"/>
                  </a:lnTo>
                  <a:lnTo>
                    <a:pt x="564" y="440"/>
                  </a:lnTo>
                  <a:lnTo>
                    <a:pt x="564" y="442"/>
                  </a:lnTo>
                  <a:lnTo>
                    <a:pt x="564" y="442"/>
                  </a:lnTo>
                  <a:lnTo>
                    <a:pt x="564" y="442"/>
                  </a:lnTo>
                  <a:lnTo>
                    <a:pt x="564" y="438"/>
                  </a:lnTo>
                  <a:lnTo>
                    <a:pt x="564" y="436"/>
                  </a:lnTo>
                  <a:lnTo>
                    <a:pt x="564" y="434"/>
                  </a:lnTo>
                  <a:close/>
                  <a:moveTo>
                    <a:pt x="701" y="571"/>
                  </a:moveTo>
                  <a:lnTo>
                    <a:pt x="701" y="571"/>
                  </a:lnTo>
                  <a:lnTo>
                    <a:pt x="701" y="571"/>
                  </a:lnTo>
                  <a:lnTo>
                    <a:pt x="703" y="569"/>
                  </a:lnTo>
                  <a:lnTo>
                    <a:pt x="703" y="569"/>
                  </a:lnTo>
                  <a:lnTo>
                    <a:pt x="703" y="569"/>
                  </a:lnTo>
                  <a:lnTo>
                    <a:pt x="701" y="569"/>
                  </a:lnTo>
                  <a:lnTo>
                    <a:pt x="701" y="569"/>
                  </a:lnTo>
                  <a:lnTo>
                    <a:pt x="699" y="569"/>
                  </a:lnTo>
                  <a:lnTo>
                    <a:pt x="699" y="569"/>
                  </a:lnTo>
                  <a:lnTo>
                    <a:pt x="699" y="569"/>
                  </a:lnTo>
                  <a:lnTo>
                    <a:pt x="699" y="569"/>
                  </a:lnTo>
                  <a:lnTo>
                    <a:pt x="699" y="569"/>
                  </a:lnTo>
                  <a:lnTo>
                    <a:pt x="701" y="571"/>
                  </a:lnTo>
                  <a:close/>
                  <a:moveTo>
                    <a:pt x="713" y="575"/>
                  </a:moveTo>
                  <a:lnTo>
                    <a:pt x="715" y="575"/>
                  </a:lnTo>
                  <a:lnTo>
                    <a:pt x="715" y="575"/>
                  </a:lnTo>
                  <a:lnTo>
                    <a:pt x="715" y="575"/>
                  </a:lnTo>
                  <a:lnTo>
                    <a:pt x="713" y="575"/>
                  </a:lnTo>
                  <a:lnTo>
                    <a:pt x="713" y="575"/>
                  </a:lnTo>
                  <a:lnTo>
                    <a:pt x="713" y="575"/>
                  </a:lnTo>
                  <a:lnTo>
                    <a:pt x="713" y="575"/>
                  </a:lnTo>
                  <a:lnTo>
                    <a:pt x="713" y="575"/>
                  </a:lnTo>
                  <a:lnTo>
                    <a:pt x="713" y="575"/>
                  </a:lnTo>
                  <a:close/>
                  <a:moveTo>
                    <a:pt x="715" y="580"/>
                  </a:moveTo>
                  <a:lnTo>
                    <a:pt x="717" y="580"/>
                  </a:lnTo>
                  <a:lnTo>
                    <a:pt x="717" y="580"/>
                  </a:lnTo>
                  <a:lnTo>
                    <a:pt x="717" y="577"/>
                  </a:lnTo>
                  <a:lnTo>
                    <a:pt x="717" y="577"/>
                  </a:lnTo>
                  <a:lnTo>
                    <a:pt x="717" y="577"/>
                  </a:lnTo>
                  <a:lnTo>
                    <a:pt x="717" y="577"/>
                  </a:lnTo>
                  <a:lnTo>
                    <a:pt x="717" y="577"/>
                  </a:lnTo>
                  <a:lnTo>
                    <a:pt x="717" y="577"/>
                  </a:lnTo>
                  <a:lnTo>
                    <a:pt x="717" y="577"/>
                  </a:lnTo>
                  <a:lnTo>
                    <a:pt x="717" y="577"/>
                  </a:lnTo>
                  <a:lnTo>
                    <a:pt x="717" y="577"/>
                  </a:lnTo>
                  <a:lnTo>
                    <a:pt x="715" y="580"/>
                  </a:lnTo>
                  <a:close/>
                  <a:moveTo>
                    <a:pt x="705" y="571"/>
                  </a:moveTo>
                  <a:lnTo>
                    <a:pt x="707" y="569"/>
                  </a:lnTo>
                  <a:lnTo>
                    <a:pt x="707" y="569"/>
                  </a:lnTo>
                  <a:lnTo>
                    <a:pt x="705" y="569"/>
                  </a:lnTo>
                  <a:lnTo>
                    <a:pt x="705" y="569"/>
                  </a:lnTo>
                  <a:lnTo>
                    <a:pt x="703" y="569"/>
                  </a:lnTo>
                  <a:lnTo>
                    <a:pt x="705" y="571"/>
                  </a:lnTo>
                  <a:lnTo>
                    <a:pt x="705" y="571"/>
                  </a:lnTo>
                  <a:lnTo>
                    <a:pt x="705" y="571"/>
                  </a:lnTo>
                  <a:close/>
                  <a:moveTo>
                    <a:pt x="703" y="571"/>
                  </a:moveTo>
                  <a:lnTo>
                    <a:pt x="703" y="573"/>
                  </a:lnTo>
                  <a:lnTo>
                    <a:pt x="705" y="575"/>
                  </a:lnTo>
                  <a:lnTo>
                    <a:pt x="705" y="575"/>
                  </a:lnTo>
                  <a:lnTo>
                    <a:pt x="707" y="573"/>
                  </a:lnTo>
                  <a:lnTo>
                    <a:pt x="707" y="573"/>
                  </a:lnTo>
                  <a:lnTo>
                    <a:pt x="707" y="571"/>
                  </a:lnTo>
                  <a:lnTo>
                    <a:pt x="707" y="571"/>
                  </a:lnTo>
                  <a:lnTo>
                    <a:pt x="707" y="571"/>
                  </a:lnTo>
                  <a:lnTo>
                    <a:pt x="705" y="571"/>
                  </a:lnTo>
                  <a:lnTo>
                    <a:pt x="703" y="571"/>
                  </a:lnTo>
                  <a:lnTo>
                    <a:pt x="703" y="571"/>
                  </a:lnTo>
                  <a:close/>
                  <a:moveTo>
                    <a:pt x="703" y="567"/>
                  </a:moveTo>
                  <a:lnTo>
                    <a:pt x="703" y="567"/>
                  </a:lnTo>
                  <a:lnTo>
                    <a:pt x="701" y="567"/>
                  </a:lnTo>
                  <a:lnTo>
                    <a:pt x="699" y="567"/>
                  </a:lnTo>
                  <a:lnTo>
                    <a:pt x="699" y="567"/>
                  </a:lnTo>
                  <a:lnTo>
                    <a:pt x="699" y="567"/>
                  </a:lnTo>
                  <a:lnTo>
                    <a:pt x="699" y="567"/>
                  </a:lnTo>
                  <a:lnTo>
                    <a:pt x="703" y="567"/>
                  </a:lnTo>
                  <a:close/>
                  <a:moveTo>
                    <a:pt x="516" y="358"/>
                  </a:moveTo>
                  <a:lnTo>
                    <a:pt x="516" y="358"/>
                  </a:lnTo>
                  <a:lnTo>
                    <a:pt x="516" y="358"/>
                  </a:lnTo>
                  <a:lnTo>
                    <a:pt x="516" y="358"/>
                  </a:lnTo>
                  <a:lnTo>
                    <a:pt x="516" y="358"/>
                  </a:lnTo>
                  <a:lnTo>
                    <a:pt x="516" y="358"/>
                  </a:lnTo>
                  <a:lnTo>
                    <a:pt x="516" y="358"/>
                  </a:lnTo>
                  <a:lnTo>
                    <a:pt x="518" y="358"/>
                  </a:lnTo>
                  <a:lnTo>
                    <a:pt x="518" y="358"/>
                  </a:lnTo>
                  <a:lnTo>
                    <a:pt x="518" y="358"/>
                  </a:lnTo>
                  <a:lnTo>
                    <a:pt x="518" y="358"/>
                  </a:lnTo>
                  <a:lnTo>
                    <a:pt x="518" y="358"/>
                  </a:lnTo>
                  <a:lnTo>
                    <a:pt x="518" y="358"/>
                  </a:lnTo>
                  <a:lnTo>
                    <a:pt x="518" y="358"/>
                  </a:lnTo>
                  <a:lnTo>
                    <a:pt x="518" y="358"/>
                  </a:lnTo>
                  <a:lnTo>
                    <a:pt x="516" y="358"/>
                  </a:lnTo>
                  <a:close/>
                  <a:moveTo>
                    <a:pt x="717" y="575"/>
                  </a:moveTo>
                  <a:lnTo>
                    <a:pt x="719" y="575"/>
                  </a:lnTo>
                  <a:lnTo>
                    <a:pt x="719" y="577"/>
                  </a:lnTo>
                  <a:lnTo>
                    <a:pt x="719" y="577"/>
                  </a:lnTo>
                  <a:lnTo>
                    <a:pt x="719" y="575"/>
                  </a:lnTo>
                  <a:lnTo>
                    <a:pt x="719" y="575"/>
                  </a:lnTo>
                  <a:lnTo>
                    <a:pt x="719" y="573"/>
                  </a:lnTo>
                  <a:lnTo>
                    <a:pt x="717" y="573"/>
                  </a:lnTo>
                  <a:lnTo>
                    <a:pt x="717" y="573"/>
                  </a:lnTo>
                  <a:lnTo>
                    <a:pt x="717" y="575"/>
                  </a:lnTo>
                  <a:lnTo>
                    <a:pt x="717" y="575"/>
                  </a:lnTo>
                  <a:lnTo>
                    <a:pt x="717" y="575"/>
                  </a:lnTo>
                  <a:close/>
                  <a:moveTo>
                    <a:pt x="674" y="645"/>
                  </a:moveTo>
                  <a:lnTo>
                    <a:pt x="674" y="643"/>
                  </a:lnTo>
                  <a:lnTo>
                    <a:pt x="674" y="643"/>
                  </a:lnTo>
                  <a:lnTo>
                    <a:pt x="674" y="643"/>
                  </a:lnTo>
                  <a:lnTo>
                    <a:pt x="672" y="643"/>
                  </a:lnTo>
                  <a:lnTo>
                    <a:pt x="672" y="643"/>
                  </a:lnTo>
                  <a:lnTo>
                    <a:pt x="672" y="643"/>
                  </a:lnTo>
                  <a:lnTo>
                    <a:pt x="672" y="645"/>
                  </a:lnTo>
                  <a:lnTo>
                    <a:pt x="672" y="645"/>
                  </a:lnTo>
                  <a:lnTo>
                    <a:pt x="672" y="647"/>
                  </a:lnTo>
                  <a:lnTo>
                    <a:pt x="672" y="647"/>
                  </a:lnTo>
                  <a:lnTo>
                    <a:pt x="672" y="647"/>
                  </a:lnTo>
                  <a:lnTo>
                    <a:pt x="674" y="647"/>
                  </a:lnTo>
                  <a:lnTo>
                    <a:pt x="674" y="647"/>
                  </a:lnTo>
                  <a:lnTo>
                    <a:pt x="674" y="647"/>
                  </a:lnTo>
                  <a:lnTo>
                    <a:pt x="674" y="647"/>
                  </a:lnTo>
                  <a:lnTo>
                    <a:pt x="676" y="647"/>
                  </a:lnTo>
                  <a:lnTo>
                    <a:pt x="676" y="647"/>
                  </a:lnTo>
                  <a:lnTo>
                    <a:pt x="676" y="647"/>
                  </a:lnTo>
                  <a:lnTo>
                    <a:pt x="676" y="645"/>
                  </a:lnTo>
                  <a:lnTo>
                    <a:pt x="674" y="645"/>
                  </a:lnTo>
                  <a:close/>
                  <a:moveTo>
                    <a:pt x="496" y="254"/>
                  </a:moveTo>
                  <a:lnTo>
                    <a:pt x="496" y="254"/>
                  </a:lnTo>
                  <a:lnTo>
                    <a:pt x="496" y="254"/>
                  </a:lnTo>
                  <a:lnTo>
                    <a:pt x="496" y="254"/>
                  </a:lnTo>
                  <a:lnTo>
                    <a:pt x="496" y="252"/>
                  </a:lnTo>
                  <a:lnTo>
                    <a:pt x="496" y="252"/>
                  </a:lnTo>
                  <a:lnTo>
                    <a:pt x="496" y="252"/>
                  </a:lnTo>
                  <a:lnTo>
                    <a:pt x="496" y="252"/>
                  </a:lnTo>
                  <a:lnTo>
                    <a:pt x="496" y="254"/>
                  </a:lnTo>
                  <a:close/>
                  <a:moveTo>
                    <a:pt x="758" y="575"/>
                  </a:moveTo>
                  <a:lnTo>
                    <a:pt x="758" y="575"/>
                  </a:lnTo>
                  <a:lnTo>
                    <a:pt x="758" y="575"/>
                  </a:lnTo>
                  <a:lnTo>
                    <a:pt x="756" y="575"/>
                  </a:lnTo>
                  <a:lnTo>
                    <a:pt x="756" y="575"/>
                  </a:lnTo>
                  <a:lnTo>
                    <a:pt x="756" y="575"/>
                  </a:lnTo>
                  <a:lnTo>
                    <a:pt x="758" y="575"/>
                  </a:lnTo>
                  <a:lnTo>
                    <a:pt x="758" y="575"/>
                  </a:lnTo>
                  <a:close/>
                  <a:moveTo>
                    <a:pt x="746" y="586"/>
                  </a:moveTo>
                  <a:lnTo>
                    <a:pt x="746" y="584"/>
                  </a:lnTo>
                  <a:lnTo>
                    <a:pt x="744" y="584"/>
                  </a:lnTo>
                  <a:lnTo>
                    <a:pt x="744" y="586"/>
                  </a:lnTo>
                  <a:lnTo>
                    <a:pt x="746" y="586"/>
                  </a:lnTo>
                  <a:lnTo>
                    <a:pt x="746" y="586"/>
                  </a:lnTo>
                  <a:close/>
                  <a:moveTo>
                    <a:pt x="748" y="608"/>
                  </a:moveTo>
                  <a:lnTo>
                    <a:pt x="748" y="608"/>
                  </a:lnTo>
                  <a:lnTo>
                    <a:pt x="748" y="608"/>
                  </a:lnTo>
                  <a:lnTo>
                    <a:pt x="748" y="608"/>
                  </a:lnTo>
                  <a:close/>
                  <a:moveTo>
                    <a:pt x="748" y="586"/>
                  </a:moveTo>
                  <a:lnTo>
                    <a:pt x="748" y="586"/>
                  </a:lnTo>
                  <a:lnTo>
                    <a:pt x="748" y="586"/>
                  </a:lnTo>
                  <a:lnTo>
                    <a:pt x="748" y="586"/>
                  </a:lnTo>
                  <a:lnTo>
                    <a:pt x="748" y="586"/>
                  </a:lnTo>
                  <a:lnTo>
                    <a:pt x="748" y="586"/>
                  </a:lnTo>
                  <a:lnTo>
                    <a:pt x="748" y="588"/>
                  </a:lnTo>
                  <a:lnTo>
                    <a:pt x="748" y="588"/>
                  </a:lnTo>
                  <a:lnTo>
                    <a:pt x="748" y="586"/>
                  </a:lnTo>
                  <a:lnTo>
                    <a:pt x="748" y="586"/>
                  </a:lnTo>
                  <a:lnTo>
                    <a:pt x="748" y="586"/>
                  </a:lnTo>
                  <a:close/>
                  <a:moveTo>
                    <a:pt x="742" y="584"/>
                  </a:moveTo>
                  <a:lnTo>
                    <a:pt x="742" y="584"/>
                  </a:lnTo>
                  <a:lnTo>
                    <a:pt x="742" y="584"/>
                  </a:lnTo>
                  <a:lnTo>
                    <a:pt x="742" y="584"/>
                  </a:lnTo>
                  <a:close/>
                  <a:moveTo>
                    <a:pt x="746" y="612"/>
                  </a:moveTo>
                  <a:lnTo>
                    <a:pt x="746" y="612"/>
                  </a:lnTo>
                  <a:lnTo>
                    <a:pt x="744" y="614"/>
                  </a:lnTo>
                  <a:lnTo>
                    <a:pt x="744" y="614"/>
                  </a:lnTo>
                  <a:lnTo>
                    <a:pt x="746" y="614"/>
                  </a:lnTo>
                  <a:lnTo>
                    <a:pt x="746" y="612"/>
                  </a:lnTo>
                  <a:lnTo>
                    <a:pt x="748" y="612"/>
                  </a:lnTo>
                  <a:lnTo>
                    <a:pt x="748" y="610"/>
                  </a:lnTo>
                  <a:lnTo>
                    <a:pt x="748" y="610"/>
                  </a:lnTo>
                  <a:lnTo>
                    <a:pt x="746" y="612"/>
                  </a:lnTo>
                  <a:close/>
                  <a:moveTo>
                    <a:pt x="754" y="602"/>
                  </a:moveTo>
                  <a:lnTo>
                    <a:pt x="754" y="604"/>
                  </a:lnTo>
                  <a:lnTo>
                    <a:pt x="752" y="608"/>
                  </a:lnTo>
                  <a:lnTo>
                    <a:pt x="752" y="606"/>
                  </a:lnTo>
                  <a:lnTo>
                    <a:pt x="754" y="604"/>
                  </a:lnTo>
                  <a:lnTo>
                    <a:pt x="754" y="604"/>
                  </a:lnTo>
                  <a:lnTo>
                    <a:pt x="754" y="602"/>
                  </a:lnTo>
                  <a:lnTo>
                    <a:pt x="754" y="602"/>
                  </a:lnTo>
                  <a:close/>
                  <a:moveTo>
                    <a:pt x="750" y="586"/>
                  </a:moveTo>
                  <a:lnTo>
                    <a:pt x="750" y="586"/>
                  </a:lnTo>
                  <a:lnTo>
                    <a:pt x="750" y="584"/>
                  </a:lnTo>
                  <a:lnTo>
                    <a:pt x="748" y="582"/>
                  </a:lnTo>
                  <a:lnTo>
                    <a:pt x="748" y="582"/>
                  </a:lnTo>
                  <a:lnTo>
                    <a:pt x="748" y="584"/>
                  </a:lnTo>
                  <a:lnTo>
                    <a:pt x="748" y="584"/>
                  </a:lnTo>
                  <a:lnTo>
                    <a:pt x="750" y="586"/>
                  </a:lnTo>
                  <a:close/>
                  <a:moveTo>
                    <a:pt x="781" y="553"/>
                  </a:moveTo>
                  <a:lnTo>
                    <a:pt x="779" y="555"/>
                  </a:lnTo>
                  <a:lnTo>
                    <a:pt x="777" y="559"/>
                  </a:lnTo>
                  <a:lnTo>
                    <a:pt x="774" y="559"/>
                  </a:lnTo>
                  <a:lnTo>
                    <a:pt x="772" y="561"/>
                  </a:lnTo>
                  <a:lnTo>
                    <a:pt x="772" y="561"/>
                  </a:lnTo>
                  <a:lnTo>
                    <a:pt x="772" y="563"/>
                  </a:lnTo>
                  <a:lnTo>
                    <a:pt x="772" y="563"/>
                  </a:lnTo>
                  <a:lnTo>
                    <a:pt x="774" y="563"/>
                  </a:lnTo>
                  <a:lnTo>
                    <a:pt x="774" y="565"/>
                  </a:lnTo>
                  <a:lnTo>
                    <a:pt x="774" y="567"/>
                  </a:lnTo>
                  <a:lnTo>
                    <a:pt x="770" y="571"/>
                  </a:lnTo>
                  <a:lnTo>
                    <a:pt x="770" y="577"/>
                  </a:lnTo>
                  <a:lnTo>
                    <a:pt x="766" y="577"/>
                  </a:lnTo>
                  <a:lnTo>
                    <a:pt x="766" y="580"/>
                  </a:lnTo>
                  <a:lnTo>
                    <a:pt x="766" y="580"/>
                  </a:lnTo>
                  <a:lnTo>
                    <a:pt x="766" y="580"/>
                  </a:lnTo>
                  <a:lnTo>
                    <a:pt x="766" y="577"/>
                  </a:lnTo>
                  <a:lnTo>
                    <a:pt x="766" y="577"/>
                  </a:lnTo>
                  <a:lnTo>
                    <a:pt x="768" y="580"/>
                  </a:lnTo>
                  <a:lnTo>
                    <a:pt x="768" y="580"/>
                  </a:lnTo>
                  <a:lnTo>
                    <a:pt x="768" y="582"/>
                  </a:lnTo>
                  <a:lnTo>
                    <a:pt x="768" y="580"/>
                  </a:lnTo>
                  <a:lnTo>
                    <a:pt x="768" y="580"/>
                  </a:lnTo>
                  <a:lnTo>
                    <a:pt x="768" y="580"/>
                  </a:lnTo>
                  <a:lnTo>
                    <a:pt x="768" y="580"/>
                  </a:lnTo>
                  <a:lnTo>
                    <a:pt x="768" y="582"/>
                  </a:lnTo>
                  <a:lnTo>
                    <a:pt x="768" y="582"/>
                  </a:lnTo>
                  <a:lnTo>
                    <a:pt x="768" y="584"/>
                  </a:lnTo>
                  <a:lnTo>
                    <a:pt x="766" y="584"/>
                  </a:lnTo>
                  <a:lnTo>
                    <a:pt x="764" y="584"/>
                  </a:lnTo>
                  <a:lnTo>
                    <a:pt x="764" y="586"/>
                  </a:lnTo>
                  <a:lnTo>
                    <a:pt x="764" y="588"/>
                  </a:lnTo>
                  <a:lnTo>
                    <a:pt x="762" y="590"/>
                  </a:lnTo>
                  <a:lnTo>
                    <a:pt x="762" y="592"/>
                  </a:lnTo>
                  <a:lnTo>
                    <a:pt x="760" y="594"/>
                  </a:lnTo>
                  <a:lnTo>
                    <a:pt x="760" y="594"/>
                  </a:lnTo>
                  <a:lnTo>
                    <a:pt x="760" y="594"/>
                  </a:lnTo>
                  <a:lnTo>
                    <a:pt x="758" y="598"/>
                  </a:lnTo>
                  <a:lnTo>
                    <a:pt x="758" y="598"/>
                  </a:lnTo>
                  <a:lnTo>
                    <a:pt x="756" y="600"/>
                  </a:lnTo>
                  <a:lnTo>
                    <a:pt x="756" y="600"/>
                  </a:lnTo>
                  <a:lnTo>
                    <a:pt x="756" y="602"/>
                  </a:lnTo>
                  <a:lnTo>
                    <a:pt x="756" y="602"/>
                  </a:lnTo>
                  <a:lnTo>
                    <a:pt x="756" y="602"/>
                  </a:lnTo>
                  <a:lnTo>
                    <a:pt x="758" y="600"/>
                  </a:lnTo>
                  <a:lnTo>
                    <a:pt x="760" y="598"/>
                  </a:lnTo>
                  <a:lnTo>
                    <a:pt x="762" y="594"/>
                  </a:lnTo>
                  <a:lnTo>
                    <a:pt x="764" y="590"/>
                  </a:lnTo>
                  <a:lnTo>
                    <a:pt x="766" y="588"/>
                  </a:lnTo>
                  <a:lnTo>
                    <a:pt x="766" y="586"/>
                  </a:lnTo>
                  <a:lnTo>
                    <a:pt x="766" y="586"/>
                  </a:lnTo>
                  <a:lnTo>
                    <a:pt x="768" y="586"/>
                  </a:lnTo>
                  <a:lnTo>
                    <a:pt x="768" y="584"/>
                  </a:lnTo>
                  <a:lnTo>
                    <a:pt x="774" y="575"/>
                  </a:lnTo>
                  <a:lnTo>
                    <a:pt x="774" y="575"/>
                  </a:lnTo>
                  <a:lnTo>
                    <a:pt x="774" y="573"/>
                  </a:lnTo>
                  <a:lnTo>
                    <a:pt x="774" y="569"/>
                  </a:lnTo>
                  <a:lnTo>
                    <a:pt x="777" y="565"/>
                  </a:lnTo>
                  <a:lnTo>
                    <a:pt x="781" y="561"/>
                  </a:lnTo>
                  <a:lnTo>
                    <a:pt x="781" y="559"/>
                  </a:lnTo>
                  <a:lnTo>
                    <a:pt x="781" y="559"/>
                  </a:lnTo>
                  <a:lnTo>
                    <a:pt x="781" y="557"/>
                  </a:lnTo>
                  <a:lnTo>
                    <a:pt x="781" y="557"/>
                  </a:lnTo>
                  <a:lnTo>
                    <a:pt x="781" y="555"/>
                  </a:lnTo>
                  <a:lnTo>
                    <a:pt x="781" y="555"/>
                  </a:lnTo>
                  <a:lnTo>
                    <a:pt x="783" y="555"/>
                  </a:lnTo>
                  <a:lnTo>
                    <a:pt x="783" y="555"/>
                  </a:lnTo>
                  <a:lnTo>
                    <a:pt x="783" y="553"/>
                  </a:lnTo>
                  <a:lnTo>
                    <a:pt x="781" y="553"/>
                  </a:lnTo>
                  <a:lnTo>
                    <a:pt x="781" y="553"/>
                  </a:lnTo>
                  <a:close/>
                  <a:moveTo>
                    <a:pt x="754" y="577"/>
                  </a:moveTo>
                  <a:lnTo>
                    <a:pt x="752" y="577"/>
                  </a:lnTo>
                  <a:lnTo>
                    <a:pt x="752" y="577"/>
                  </a:lnTo>
                  <a:lnTo>
                    <a:pt x="752" y="577"/>
                  </a:lnTo>
                  <a:lnTo>
                    <a:pt x="752" y="580"/>
                  </a:lnTo>
                  <a:lnTo>
                    <a:pt x="752" y="580"/>
                  </a:lnTo>
                  <a:lnTo>
                    <a:pt x="754" y="577"/>
                  </a:lnTo>
                  <a:close/>
                  <a:moveTo>
                    <a:pt x="748" y="588"/>
                  </a:moveTo>
                  <a:lnTo>
                    <a:pt x="750" y="590"/>
                  </a:lnTo>
                  <a:lnTo>
                    <a:pt x="750" y="588"/>
                  </a:lnTo>
                  <a:lnTo>
                    <a:pt x="750" y="588"/>
                  </a:lnTo>
                  <a:lnTo>
                    <a:pt x="748" y="588"/>
                  </a:lnTo>
                  <a:close/>
                  <a:moveTo>
                    <a:pt x="742" y="598"/>
                  </a:moveTo>
                  <a:lnTo>
                    <a:pt x="744" y="598"/>
                  </a:lnTo>
                  <a:lnTo>
                    <a:pt x="742" y="598"/>
                  </a:lnTo>
                  <a:lnTo>
                    <a:pt x="742" y="598"/>
                  </a:lnTo>
                  <a:close/>
                  <a:moveTo>
                    <a:pt x="746" y="586"/>
                  </a:moveTo>
                  <a:lnTo>
                    <a:pt x="746" y="586"/>
                  </a:lnTo>
                  <a:lnTo>
                    <a:pt x="748" y="588"/>
                  </a:lnTo>
                  <a:lnTo>
                    <a:pt x="746" y="586"/>
                  </a:lnTo>
                  <a:close/>
                  <a:moveTo>
                    <a:pt x="697" y="641"/>
                  </a:moveTo>
                  <a:lnTo>
                    <a:pt x="695" y="643"/>
                  </a:lnTo>
                  <a:lnTo>
                    <a:pt x="697" y="643"/>
                  </a:lnTo>
                  <a:lnTo>
                    <a:pt x="697" y="643"/>
                  </a:lnTo>
                  <a:lnTo>
                    <a:pt x="697" y="643"/>
                  </a:lnTo>
                  <a:lnTo>
                    <a:pt x="697" y="641"/>
                  </a:lnTo>
                  <a:lnTo>
                    <a:pt x="697" y="641"/>
                  </a:lnTo>
                  <a:close/>
                  <a:moveTo>
                    <a:pt x="684" y="639"/>
                  </a:moveTo>
                  <a:lnTo>
                    <a:pt x="680" y="637"/>
                  </a:lnTo>
                  <a:lnTo>
                    <a:pt x="680" y="637"/>
                  </a:lnTo>
                  <a:lnTo>
                    <a:pt x="680" y="637"/>
                  </a:lnTo>
                  <a:lnTo>
                    <a:pt x="680" y="637"/>
                  </a:lnTo>
                  <a:lnTo>
                    <a:pt x="680" y="637"/>
                  </a:lnTo>
                  <a:lnTo>
                    <a:pt x="678" y="637"/>
                  </a:lnTo>
                  <a:lnTo>
                    <a:pt x="680" y="637"/>
                  </a:lnTo>
                  <a:lnTo>
                    <a:pt x="680" y="637"/>
                  </a:lnTo>
                  <a:lnTo>
                    <a:pt x="678" y="637"/>
                  </a:lnTo>
                  <a:lnTo>
                    <a:pt x="686" y="645"/>
                  </a:lnTo>
                  <a:lnTo>
                    <a:pt x="688" y="647"/>
                  </a:lnTo>
                  <a:lnTo>
                    <a:pt x="688" y="647"/>
                  </a:lnTo>
                  <a:lnTo>
                    <a:pt x="688" y="647"/>
                  </a:lnTo>
                  <a:lnTo>
                    <a:pt x="690" y="645"/>
                  </a:lnTo>
                  <a:lnTo>
                    <a:pt x="688" y="641"/>
                  </a:lnTo>
                  <a:lnTo>
                    <a:pt x="684" y="639"/>
                  </a:lnTo>
                  <a:close/>
                  <a:moveTo>
                    <a:pt x="678" y="643"/>
                  </a:moveTo>
                  <a:lnTo>
                    <a:pt x="678" y="645"/>
                  </a:lnTo>
                  <a:lnTo>
                    <a:pt x="678" y="645"/>
                  </a:lnTo>
                  <a:lnTo>
                    <a:pt x="678" y="645"/>
                  </a:lnTo>
                  <a:lnTo>
                    <a:pt x="678" y="645"/>
                  </a:lnTo>
                  <a:lnTo>
                    <a:pt x="678" y="645"/>
                  </a:lnTo>
                  <a:lnTo>
                    <a:pt x="678" y="645"/>
                  </a:lnTo>
                  <a:lnTo>
                    <a:pt x="678" y="647"/>
                  </a:lnTo>
                  <a:lnTo>
                    <a:pt x="678" y="647"/>
                  </a:lnTo>
                  <a:lnTo>
                    <a:pt x="680" y="647"/>
                  </a:lnTo>
                  <a:lnTo>
                    <a:pt x="680" y="645"/>
                  </a:lnTo>
                  <a:lnTo>
                    <a:pt x="678" y="645"/>
                  </a:lnTo>
                  <a:lnTo>
                    <a:pt x="678" y="643"/>
                  </a:lnTo>
                  <a:close/>
                  <a:moveTo>
                    <a:pt x="680" y="647"/>
                  </a:moveTo>
                  <a:lnTo>
                    <a:pt x="682" y="647"/>
                  </a:lnTo>
                  <a:lnTo>
                    <a:pt x="682" y="647"/>
                  </a:lnTo>
                  <a:lnTo>
                    <a:pt x="682" y="645"/>
                  </a:lnTo>
                  <a:lnTo>
                    <a:pt x="682" y="645"/>
                  </a:lnTo>
                  <a:lnTo>
                    <a:pt x="680" y="647"/>
                  </a:lnTo>
                  <a:close/>
                  <a:moveTo>
                    <a:pt x="690" y="639"/>
                  </a:moveTo>
                  <a:lnTo>
                    <a:pt x="688" y="639"/>
                  </a:lnTo>
                  <a:lnTo>
                    <a:pt x="688" y="641"/>
                  </a:lnTo>
                  <a:lnTo>
                    <a:pt x="688" y="641"/>
                  </a:lnTo>
                  <a:lnTo>
                    <a:pt x="688" y="641"/>
                  </a:lnTo>
                  <a:lnTo>
                    <a:pt x="690" y="641"/>
                  </a:lnTo>
                  <a:lnTo>
                    <a:pt x="690" y="643"/>
                  </a:lnTo>
                  <a:lnTo>
                    <a:pt x="690" y="641"/>
                  </a:lnTo>
                  <a:lnTo>
                    <a:pt x="690" y="641"/>
                  </a:lnTo>
                  <a:lnTo>
                    <a:pt x="690" y="639"/>
                  </a:lnTo>
                  <a:close/>
                  <a:moveTo>
                    <a:pt x="738" y="606"/>
                  </a:moveTo>
                  <a:lnTo>
                    <a:pt x="738" y="606"/>
                  </a:lnTo>
                  <a:lnTo>
                    <a:pt x="738" y="606"/>
                  </a:lnTo>
                  <a:lnTo>
                    <a:pt x="738" y="606"/>
                  </a:lnTo>
                  <a:close/>
                  <a:moveTo>
                    <a:pt x="740" y="616"/>
                  </a:moveTo>
                  <a:lnTo>
                    <a:pt x="740" y="616"/>
                  </a:lnTo>
                  <a:lnTo>
                    <a:pt x="740" y="616"/>
                  </a:lnTo>
                  <a:lnTo>
                    <a:pt x="740" y="618"/>
                  </a:lnTo>
                  <a:lnTo>
                    <a:pt x="740" y="618"/>
                  </a:lnTo>
                  <a:lnTo>
                    <a:pt x="740" y="618"/>
                  </a:lnTo>
                  <a:lnTo>
                    <a:pt x="738" y="616"/>
                  </a:lnTo>
                  <a:lnTo>
                    <a:pt x="738" y="616"/>
                  </a:lnTo>
                  <a:lnTo>
                    <a:pt x="738" y="616"/>
                  </a:lnTo>
                  <a:lnTo>
                    <a:pt x="738" y="616"/>
                  </a:lnTo>
                  <a:lnTo>
                    <a:pt x="736" y="620"/>
                  </a:lnTo>
                  <a:lnTo>
                    <a:pt x="734" y="620"/>
                  </a:lnTo>
                  <a:lnTo>
                    <a:pt x="734" y="620"/>
                  </a:lnTo>
                  <a:lnTo>
                    <a:pt x="734" y="620"/>
                  </a:lnTo>
                  <a:lnTo>
                    <a:pt x="738" y="620"/>
                  </a:lnTo>
                  <a:lnTo>
                    <a:pt x="740" y="620"/>
                  </a:lnTo>
                  <a:lnTo>
                    <a:pt x="740" y="618"/>
                  </a:lnTo>
                  <a:lnTo>
                    <a:pt x="740" y="618"/>
                  </a:lnTo>
                  <a:lnTo>
                    <a:pt x="740" y="618"/>
                  </a:lnTo>
                  <a:lnTo>
                    <a:pt x="740" y="616"/>
                  </a:lnTo>
                  <a:lnTo>
                    <a:pt x="740" y="616"/>
                  </a:lnTo>
                  <a:close/>
                  <a:moveTo>
                    <a:pt x="729" y="598"/>
                  </a:moveTo>
                  <a:lnTo>
                    <a:pt x="729" y="598"/>
                  </a:lnTo>
                  <a:lnTo>
                    <a:pt x="729" y="598"/>
                  </a:lnTo>
                  <a:lnTo>
                    <a:pt x="729" y="598"/>
                  </a:lnTo>
                  <a:close/>
                  <a:moveTo>
                    <a:pt x="717" y="631"/>
                  </a:moveTo>
                  <a:lnTo>
                    <a:pt x="717" y="631"/>
                  </a:lnTo>
                  <a:lnTo>
                    <a:pt x="715" y="633"/>
                  </a:lnTo>
                  <a:lnTo>
                    <a:pt x="711" y="635"/>
                  </a:lnTo>
                  <a:lnTo>
                    <a:pt x="709" y="637"/>
                  </a:lnTo>
                  <a:lnTo>
                    <a:pt x="709" y="637"/>
                  </a:lnTo>
                  <a:lnTo>
                    <a:pt x="709" y="637"/>
                  </a:lnTo>
                  <a:lnTo>
                    <a:pt x="711" y="635"/>
                  </a:lnTo>
                  <a:lnTo>
                    <a:pt x="713" y="635"/>
                  </a:lnTo>
                  <a:lnTo>
                    <a:pt x="713" y="637"/>
                  </a:lnTo>
                  <a:lnTo>
                    <a:pt x="713" y="637"/>
                  </a:lnTo>
                  <a:lnTo>
                    <a:pt x="713" y="637"/>
                  </a:lnTo>
                  <a:lnTo>
                    <a:pt x="713" y="637"/>
                  </a:lnTo>
                  <a:lnTo>
                    <a:pt x="713" y="637"/>
                  </a:lnTo>
                  <a:lnTo>
                    <a:pt x="715" y="635"/>
                  </a:lnTo>
                  <a:lnTo>
                    <a:pt x="715" y="635"/>
                  </a:lnTo>
                  <a:lnTo>
                    <a:pt x="717" y="633"/>
                  </a:lnTo>
                  <a:lnTo>
                    <a:pt x="717" y="633"/>
                  </a:lnTo>
                  <a:lnTo>
                    <a:pt x="717" y="631"/>
                  </a:lnTo>
                  <a:lnTo>
                    <a:pt x="717" y="631"/>
                  </a:lnTo>
                  <a:close/>
                  <a:moveTo>
                    <a:pt x="727" y="625"/>
                  </a:moveTo>
                  <a:lnTo>
                    <a:pt x="727" y="625"/>
                  </a:lnTo>
                  <a:lnTo>
                    <a:pt x="725" y="627"/>
                  </a:lnTo>
                  <a:lnTo>
                    <a:pt x="717" y="633"/>
                  </a:lnTo>
                  <a:lnTo>
                    <a:pt x="719" y="633"/>
                  </a:lnTo>
                  <a:lnTo>
                    <a:pt x="719" y="633"/>
                  </a:lnTo>
                  <a:lnTo>
                    <a:pt x="725" y="629"/>
                  </a:lnTo>
                  <a:lnTo>
                    <a:pt x="725" y="627"/>
                  </a:lnTo>
                  <a:lnTo>
                    <a:pt x="727" y="627"/>
                  </a:lnTo>
                  <a:lnTo>
                    <a:pt x="727" y="627"/>
                  </a:lnTo>
                  <a:lnTo>
                    <a:pt x="727" y="627"/>
                  </a:lnTo>
                  <a:lnTo>
                    <a:pt x="727" y="625"/>
                  </a:lnTo>
                  <a:lnTo>
                    <a:pt x="727" y="625"/>
                  </a:lnTo>
                  <a:close/>
                  <a:moveTo>
                    <a:pt x="740" y="596"/>
                  </a:moveTo>
                  <a:lnTo>
                    <a:pt x="740" y="594"/>
                  </a:lnTo>
                  <a:lnTo>
                    <a:pt x="740" y="594"/>
                  </a:lnTo>
                  <a:lnTo>
                    <a:pt x="740" y="596"/>
                  </a:lnTo>
                  <a:lnTo>
                    <a:pt x="740" y="596"/>
                  </a:lnTo>
                  <a:close/>
                  <a:moveTo>
                    <a:pt x="785" y="536"/>
                  </a:moveTo>
                  <a:lnTo>
                    <a:pt x="785" y="536"/>
                  </a:lnTo>
                  <a:lnTo>
                    <a:pt x="785" y="536"/>
                  </a:lnTo>
                  <a:lnTo>
                    <a:pt x="785" y="536"/>
                  </a:lnTo>
                  <a:lnTo>
                    <a:pt x="785" y="545"/>
                  </a:lnTo>
                  <a:lnTo>
                    <a:pt x="783" y="545"/>
                  </a:lnTo>
                  <a:lnTo>
                    <a:pt x="783" y="547"/>
                  </a:lnTo>
                  <a:lnTo>
                    <a:pt x="783" y="547"/>
                  </a:lnTo>
                  <a:lnTo>
                    <a:pt x="783" y="547"/>
                  </a:lnTo>
                  <a:lnTo>
                    <a:pt x="783" y="547"/>
                  </a:lnTo>
                  <a:lnTo>
                    <a:pt x="783" y="547"/>
                  </a:lnTo>
                  <a:lnTo>
                    <a:pt x="783" y="547"/>
                  </a:lnTo>
                  <a:lnTo>
                    <a:pt x="783" y="547"/>
                  </a:lnTo>
                  <a:lnTo>
                    <a:pt x="783" y="547"/>
                  </a:lnTo>
                  <a:lnTo>
                    <a:pt x="785" y="545"/>
                  </a:lnTo>
                  <a:lnTo>
                    <a:pt x="785" y="543"/>
                  </a:lnTo>
                  <a:lnTo>
                    <a:pt x="785" y="541"/>
                  </a:lnTo>
                  <a:lnTo>
                    <a:pt x="785" y="539"/>
                  </a:lnTo>
                  <a:lnTo>
                    <a:pt x="785" y="539"/>
                  </a:lnTo>
                  <a:lnTo>
                    <a:pt x="785" y="536"/>
                  </a:lnTo>
                  <a:lnTo>
                    <a:pt x="785" y="536"/>
                  </a:lnTo>
                  <a:lnTo>
                    <a:pt x="785" y="536"/>
                  </a:lnTo>
                  <a:close/>
                  <a:moveTo>
                    <a:pt x="764" y="582"/>
                  </a:moveTo>
                  <a:lnTo>
                    <a:pt x="764" y="582"/>
                  </a:lnTo>
                  <a:lnTo>
                    <a:pt x="764" y="582"/>
                  </a:lnTo>
                  <a:lnTo>
                    <a:pt x="764" y="582"/>
                  </a:lnTo>
                  <a:lnTo>
                    <a:pt x="764" y="584"/>
                  </a:lnTo>
                  <a:lnTo>
                    <a:pt x="762" y="584"/>
                  </a:lnTo>
                  <a:lnTo>
                    <a:pt x="762" y="584"/>
                  </a:lnTo>
                  <a:lnTo>
                    <a:pt x="764" y="584"/>
                  </a:lnTo>
                  <a:lnTo>
                    <a:pt x="764" y="582"/>
                  </a:lnTo>
                  <a:lnTo>
                    <a:pt x="764" y="58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192000" bIns="0" numCol="1" anchor="ctr"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 FL</a:t>
              </a:r>
            </a:p>
          </p:txBody>
        </p:sp>
        <p:sp>
          <p:nvSpPr>
            <p:cNvPr id="284" name="Freeform 47">
              <a:extLst>
                <a:ext uri="{FF2B5EF4-FFF2-40B4-BE49-F238E27FC236}">
                  <a16:creationId xmlns:a16="http://schemas.microsoft.com/office/drawing/2014/main" id="{96D3EAB8-9827-E9D2-5A81-79C4F75A71D8}"/>
                </a:ext>
              </a:extLst>
            </p:cNvPr>
            <p:cNvSpPr>
              <a:spLocks/>
            </p:cNvSpPr>
            <p:nvPr/>
          </p:nvSpPr>
          <p:spPr bwMode="auto">
            <a:xfrm>
              <a:off x="4750" y="912"/>
              <a:ext cx="92" cy="150"/>
            </a:xfrm>
            <a:custGeom>
              <a:avLst/>
              <a:gdLst>
                <a:gd name="T0" fmla="*/ 26 w 92"/>
                <a:gd name="T1" fmla="*/ 6 h 150"/>
                <a:gd name="T2" fmla="*/ 24 w 92"/>
                <a:gd name="T3" fmla="*/ 12 h 150"/>
                <a:gd name="T4" fmla="*/ 18 w 92"/>
                <a:gd name="T5" fmla="*/ 21 h 150"/>
                <a:gd name="T6" fmla="*/ 18 w 92"/>
                <a:gd name="T7" fmla="*/ 25 h 150"/>
                <a:gd name="T8" fmla="*/ 20 w 92"/>
                <a:gd name="T9" fmla="*/ 29 h 150"/>
                <a:gd name="T10" fmla="*/ 24 w 92"/>
                <a:gd name="T11" fmla="*/ 33 h 150"/>
                <a:gd name="T12" fmla="*/ 22 w 92"/>
                <a:gd name="T13" fmla="*/ 39 h 150"/>
                <a:gd name="T14" fmla="*/ 26 w 92"/>
                <a:gd name="T15" fmla="*/ 43 h 150"/>
                <a:gd name="T16" fmla="*/ 35 w 92"/>
                <a:gd name="T17" fmla="*/ 51 h 150"/>
                <a:gd name="T18" fmla="*/ 37 w 92"/>
                <a:gd name="T19" fmla="*/ 51 h 150"/>
                <a:gd name="T20" fmla="*/ 43 w 92"/>
                <a:gd name="T21" fmla="*/ 59 h 150"/>
                <a:gd name="T22" fmla="*/ 47 w 92"/>
                <a:gd name="T23" fmla="*/ 72 h 150"/>
                <a:gd name="T24" fmla="*/ 49 w 92"/>
                <a:gd name="T25" fmla="*/ 76 h 150"/>
                <a:gd name="T26" fmla="*/ 51 w 92"/>
                <a:gd name="T27" fmla="*/ 80 h 150"/>
                <a:gd name="T28" fmla="*/ 57 w 92"/>
                <a:gd name="T29" fmla="*/ 88 h 150"/>
                <a:gd name="T30" fmla="*/ 59 w 92"/>
                <a:gd name="T31" fmla="*/ 92 h 150"/>
                <a:gd name="T32" fmla="*/ 74 w 92"/>
                <a:gd name="T33" fmla="*/ 102 h 150"/>
                <a:gd name="T34" fmla="*/ 80 w 92"/>
                <a:gd name="T35" fmla="*/ 100 h 150"/>
                <a:gd name="T36" fmla="*/ 86 w 92"/>
                <a:gd name="T37" fmla="*/ 117 h 150"/>
                <a:gd name="T38" fmla="*/ 82 w 92"/>
                <a:gd name="T39" fmla="*/ 111 h 150"/>
                <a:gd name="T40" fmla="*/ 80 w 92"/>
                <a:gd name="T41" fmla="*/ 117 h 150"/>
                <a:gd name="T42" fmla="*/ 78 w 92"/>
                <a:gd name="T43" fmla="*/ 117 h 150"/>
                <a:gd name="T44" fmla="*/ 78 w 92"/>
                <a:gd name="T45" fmla="*/ 117 h 150"/>
                <a:gd name="T46" fmla="*/ 82 w 92"/>
                <a:gd name="T47" fmla="*/ 119 h 150"/>
                <a:gd name="T48" fmla="*/ 76 w 92"/>
                <a:gd name="T49" fmla="*/ 123 h 150"/>
                <a:gd name="T50" fmla="*/ 76 w 92"/>
                <a:gd name="T51" fmla="*/ 125 h 150"/>
                <a:gd name="T52" fmla="*/ 76 w 92"/>
                <a:gd name="T53" fmla="*/ 127 h 150"/>
                <a:gd name="T54" fmla="*/ 82 w 92"/>
                <a:gd name="T55" fmla="*/ 123 h 150"/>
                <a:gd name="T56" fmla="*/ 84 w 92"/>
                <a:gd name="T57" fmla="*/ 125 h 150"/>
                <a:gd name="T58" fmla="*/ 86 w 92"/>
                <a:gd name="T59" fmla="*/ 121 h 150"/>
                <a:gd name="T60" fmla="*/ 86 w 92"/>
                <a:gd name="T61" fmla="*/ 119 h 150"/>
                <a:gd name="T62" fmla="*/ 88 w 92"/>
                <a:gd name="T63" fmla="*/ 127 h 150"/>
                <a:gd name="T64" fmla="*/ 92 w 92"/>
                <a:gd name="T65" fmla="*/ 133 h 150"/>
                <a:gd name="T66" fmla="*/ 90 w 92"/>
                <a:gd name="T67" fmla="*/ 137 h 150"/>
                <a:gd name="T68" fmla="*/ 88 w 92"/>
                <a:gd name="T69" fmla="*/ 137 h 150"/>
                <a:gd name="T70" fmla="*/ 82 w 92"/>
                <a:gd name="T71" fmla="*/ 139 h 150"/>
                <a:gd name="T72" fmla="*/ 63 w 92"/>
                <a:gd name="T73" fmla="*/ 143 h 150"/>
                <a:gd name="T74" fmla="*/ 43 w 92"/>
                <a:gd name="T75" fmla="*/ 148 h 150"/>
                <a:gd name="T76" fmla="*/ 35 w 92"/>
                <a:gd name="T77" fmla="*/ 139 h 150"/>
                <a:gd name="T78" fmla="*/ 28 w 92"/>
                <a:gd name="T79" fmla="*/ 117 h 150"/>
                <a:gd name="T80" fmla="*/ 22 w 92"/>
                <a:gd name="T81" fmla="*/ 94 h 150"/>
                <a:gd name="T82" fmla="*/ 16 w 92"/>
                <a:gd name="T83" fmla="*/ 72 h 150"/>
                <a:gd name="T84" fmla="*/ 8 w 92"/>
                <a:gd name="T85" fmla="*/ 47 h 150"/>
                <a:gd name="T86" fmla="*/ 2 w 92"/>
                <a:gd name="T87" fmla="*/ 25 h 150"/>
                <a:gd name="T88" fmla="*/ 2 w 92"/>
                <a:gd name="T89" fmla="*/ 18 h 150"/>
                <a:gd name="T90" fmla="*/ 6 w 92"/>
                <a:gd name="T91" fmla="*/ 6 h 150"/>
                <a:gd name="T92" fmla="*/ 10 w 92"/>
                <a:gd name="T93" fmla="*/ 2 h 150"/>
                <a:gd name="T94" fmla="*/ 16 w 92"/>
                <a:gd name="T95" fmla="*/ 0 h 150"/>
                <a:gd name="T96" fmla="*/ 26 w 92"/>
                <a:gd name="T97" fmla="*/ 0 h 150"/>
                <a:gd name="T98" fmla="*/ 28 w 92"/>
                <a:gd name="T99" fmla="*/ 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150">
                  <a:moveTo>
                    <a:pt x="28" y="2"/>
                  </a:moveTo>
                  <a:lnTo>
                    <a:pt x="28" y="2"/>
                  </a:lnTo>
                  <a:lnTo>
                    <a:pt x="26" y="6"/>
                  </a:lnTo>
                  <a:lnTo>
                    <a:pt x="24" y="6"/>
                  </a:lnTo>
                  <a:lnTo>
                    <a:pt x="24" y="10"/>
                  </a:lnTo>
                  <a:lnTo>
                    <a:pt x="24" y="12"/>
                  </a:lnTo>
                  <a:lnTo>
                    <a:pt x="22" y="18"/>
                  </a:lnTo>
                  <a:lnTo>
                    <a:pt x="20" y="18"/>
                  </a:lnTo>
                  <a:lnTo>
                    <a:pt x="18" y="21"/>
                  </a:lnTo>
                  <a:lnTo>
                    <a:pt x="18" y="23"/>
                  </a:lnTo>
                  <a:lnTo>
                    <a:pt x="18" y="23"/>
                  </a:lnTo>
                  <a:lnTo>
                    <a:pt x="18" y="25"/>
                  </a:lnTo>
                  <a:lnTo>
                    <a:pt x="18" y="25"/>
                  </a:lnTo>
                  <a:lnTo>
                    <a:pt x="18" y="27"/>
                  </a:lnTo>
                  <a:lnTo>
                    <a:pt x="20" y="29"/>
                  </a:lnTo>
                  <a:lnTo>
                    <a:pt x="22" y="29"/>
                  </a:lnTo>
                  <a:lnTo>
                    <a:pt x="24" y="31"/>
                  </a:lnTo>
                  <a:lnTo>
                    <a:pt x="24" y="33"/>
                  </a:lnTo>
                  <a:lnTo>
                    <a:pt x="24" y="35"/>
                  </a:lnTo>
                  <a:lnTo>
                    <a:pt x="22" y="37"/>
                  </a:lnTo>
                  <a:lnTo>
                    <a:pt x="22" y="39"/>
                  </a:lnTo>
                  <a:lnTo>
                    <a:pt x="24" y="41"/>
                  </a:lnTo>
                  <a:lnTo>
                    <a:pt x="26" y="43"/>
                  </a:lnTo>
                  <a:lnTo>
                    <a:pt x="26" y="43"/>
                  </a:lnTo>
                  <a:lnTo>
                    <a:pt x="28" y="45"/>
                  </a:lnTo>
                  <a:lnTo>
                    <a:pt x="33" y="51"/>
                  </a:lnTo>
                  <a:lnTo>
                    <a:pt x="35" y="51"/>
                  </a:lnTo>
                  <a:lnTo>
                    <a:pt x="35" y="51"/>
                  </a:lnTo>
                  <a:lnTo>
                    <a:pt x="37" y="51"/>
                  </a:lnTo>
                  <a:lnTo>
                    <a:pt x="37" y="51"/>
                  </a:lnTo>
                  <a:lnTo>
                    <a:pt x="39" y="53"/>
                  </a:lnTo>
                  <a:lnTo>
                    <a:pt x="43" y="57"/>
                  </a:lnTo>
                  <a:lnTo>
                    <a:pt x="43" y="59"/>
                  </a:lnTo>
                  <a:lnTo>
                    <a:pt x="45" y="61"/>
                  </a:lnTo>
                  <a:lnTo>
                    <a:pt x="45" y="70"/>
                  </a:lnTo>
                  <a:lnTo>
                    <a:pt x="47" y="72"/>
                  </a:lnTo>
                  <a:lnTo>
                    <a:pt x="47" y="72"/>
                  </a:lnTo>
                  <a:lnTo>
                    <a:pt x="47" y="74"/>
                  </a:lnTo>
                  <a:lnTo>
                    <a:pt x="49" y="76"/>
                  </a:lnTo>
                  <a:lnTo>
                    <a:pt x="49" y="78"/>
                  </a:lnTo>
                  <a:lnTo>
                    <a:pt x="49" y="78"/>
                  </a:lnTo>
                  <a:lnTo>
                    <a:pt x="51" y="80"/>
                  </a:lnTo>
                  <a:lnTo>
                    <a:pt x="53" y="82"/>
                  </a:lnTo>
                  <a:lnTo>
                    <a:pt x="57" y="86"/>
                  </a:lnTo>
                  <a:lnTo>
                    <a:pt x="57" y="88"/>
                  </a:lnTo>
                  <a:lnTo>
                    <a:pt x="59" y="90"/>
                  </a:lnTo>
                  <a:lnTo>
                    <a:pt x="59" y="92"/>
                  </a:lnTo>
                  <a:lnTo>
                    <a:pt x="59" y="92"/>
                  </a:lnTo>
                  <a:lnTo>
                    <a:pt x="65" y="96"/>
                  </a:lnTo>
                  <a:lnTo>
                    <a:pt x="72" y="100"/>
                  </a:lnTo>
                  <a:lnTo>
                    <a:pt x="74" y="102"/>
                  </a:lnTo>
                  <a:lnTo>
                    <a:pt x="78" y="102"/>
                  </a:lnTo>
                  <a:lnTo>
                    <a:pt x="80" y="102"/>
                  </a:lnTo>
                  <a:lnTo>
                    <a:pt x="80" y="100"/>
                  </a:lnTo>
                  <a:lnTo>
                    <a:pt x="82" y="102"/>
                  </a:lnTo>
                  <a:lnTo>
                    <a:pt x="86" y="113"/>
                  </a:lnTo>
                  <a:lnTo>
                    <a:pt x="86" y="117"/>
                  </a:lnTo>
                  <a:lnTo>
                    <a:pt x="86" y="117"/>
                  </a:lnTo>
                  <a:lnTo>
                    <a:pt x="84" y="113"/>
                  </a:lnTo>
                  <a:lnTo>
                    <a:pt x="82" y="111"/>
                  </a:lnTo>
                  <a:lnTo>
                    <a:pt x="78" y="113"/>
                  </a:lnTo>
                  <a:lnTo>
                    <a:pt x="78" y="113"/>
                  </a:lnTo>
                  <a:lnTo>
                    <a:pt x="80" y="117"/>
                  </a:lnTo>
                  <a:lnTo>
                    <a:pt x="80" y="117"/>
                  </a:lnTo>
                  <a:lnTo>
                    <a:pt x="80" y="117"/>
                  </a:lnTo>
                  <a:lnTo>
                    <a:pt x="78" y="117"/>
                  </a:lnTo>
                  <a:lnTo>
                    <a:pt x="78" y="117"/>
                  </a:lnTo>
                  <a:lnTo>
                    <a:pt x="78" y="117"/>
                  </a:lnTo>
                  <a:lnTo>
                    <a:pt x="78" y="117"/>
                  </a:lnTo>
                  <a:lnTo>
                    <a:pt x="80" y="117"/>
                  </a:lnTo>
                  <a:lnTo>
                    <a:pt x="80" y="119"/>
                  </a:lnTo>
                  <a:lnTo>
                    <a:pt x="82" y="119"/>
                  </a:lnTo>
                  <a:lnTo>
                    <a:pt x="84" y="119"/>
                  </a:lnTo>
                  <a:lnTo>
                    <a:pt x="82" y="121"/>
                  </a:lnTo>
                  <a:lnTo>
                    <a:pt x="76" y="123"/>
                  </a:lnTo>
                  <a:lnTo>
                    <a:pt x="76" y="125"/>
                  </a:lnTo>
                  <a:lnTo>
                    <a:pt x="78" y="125"/>
                  </a:lnTo>
                  <a:lnTo>
                    <a:pt x="76" y="125"/>
                  </a:lnTo>
                  <a:lnTo>
                    <a:pt x="76" y="127"/>
                  </a:lnTo>
                  <a:lnTo>
                    <a:pt x="76" y="127"/>
                  </a:lnTo>
                  <a:lnTo>
                    <a:pt x="76" y="127"/>
                  </a:lnTo>
                  <a:lnTo>
                    <a:pt x="78" y="127"/>
                  </a:lnTo>
                  <a:lnTo>
                    <a:pt x="80" y="125"/>
                  </a:lnTo>
                  <a:lnTo>
                    <a:pt x="82" y="123"/>
                  </a:lnTo>
                  <a:lnTo>
                    <a:pt x="82" y="125"/>
                  </a:lnTo>
                  <a:lnTo>
                    <a:pt x="84" y="125"/>
                  </a:lnTo>
                  <a:lnTo>
                    <a:pt x="84" y="125"/>
                  </a:lnTo>
                  <a:lnTo>
                    <a:pt x="86" y="125"/>
                  </a:lnTo>
                  <a:lnTo>
                    <a:pt x="86" y="123"/>
                  </a:lnTo>
                  <a:lnTo>
                    <a:pt x="86" y="121"/>
                  </a:lnTo>
                  <a:lnTo>
                    <a:pt x="86" y="121"/>
                  </a:lnTo>
                  <a:lnTo>
                    <a:pt x="86" y="121"/>
                  </a:lnTo>
                  <a:lnTo>
                    <a:pt x="86" y="119"/>
                  </a:lnTo>
                  <a:lnTo>
                    <a:pt x="88" y="121"/>
                  </a:lnTo>
                  <a:lnTo>
                    <a:pt x="88" y="121"/>
                  </a:lnTo>
                  <a:lnTo>
                    <a:pt x="88" y="127"/>
                  </a:lnTo>
                  <a:lnTo>
                    <a:pt x="90" y="129"/>
                  </a:lnTo>
                  <a:lnTo>
                    <a:pt x="90" y="131"/>
                  </a:lnTo>
                  <a:lnTo>
                    <a:pt x="92" y="133"/>
                  </a:lnTo>
                  <a:lnTo>
                    <a:pt x="92" y="137"/>
                  </a:lnTo>
                  <a:lnTo>
                    <a:pt x="90" y="137"/>
                  </a:lnTo>
                  <a:lnTo>
                    <a:pt x="90" y="137"/>
                  </a:lnTo>
                  <a:lnTo>
                    <a:pt x="90" y="135"/>
                  </a:lnTo>
                  <a:lnTo>
                    <a:pt x="90" y="135"/>
                  </a:lnTo>
                  <a:lnTo>
                    <a:pt x="88" y="137"/>
                  </a:lnTo>
                  <a:lnTo>
                    <a:pt x="88" y="137"/>
                  </a:lnTo>
                  <a:lnTo>
                    <a:pt x="86" y="137"/>
                  </a:lnTo>
                  <a:lnTo>
                    <a:pt x="82" y="139"/>
                  </a:lnTo>
                  <a:lnTo>
                    <a:pt x="76" y="139"/>
                  </a:lnTo>
                  <a:lnTo>
                    <a:pt x="69" y="141"/>
                  </a:lnTo>
                  <a:lnTo>
                    <a:pt x="63" y="143"/>
                  </a:lnTo>
                  <a:lnTo>
                    <a:pt x="57" y="143"/>
                  </a:lnTo>
                  <a:lnTo>
                    <a:pt x="49" y="146"/>
                  </a:lnTo>
                  <a:lnTo>
                    <a:pt x="43" y="148"/>
                  </a:lnTo>
                  <a:lnTo>
                    <a:pt x="37" y="150"/>
                  </a:lnTo>
                  <a:lnTo>
                    <a:pt x="35" y="143"/>
                  </a:lnTo>
                  <a:lnTo>
                    <a:pt x="35" y="139"/>
                  </a:lnTo>
                  <a:lnTo>
                    <a:pt x="33" y="131"/>
                  </a:lnTo>
                  <a:lnTo>
                    <a:pt x="31" y="123"/>
                  </a:lnTo>
                  <a:lnTo>
                    <a:pt x="28" y="117"/>
                  </a:lnTo>
                  <a:lnTo>
                    <a:pt x="26" y="109"/>
                  </a:lnTo>
                  <a:lnTo>
                    <a:pt x="24" y="100"/>
                  </a:lnTo>
                  <a:lnTo>
                    <a:pt x="22" y="94"/>
                  </a:lnTo>
                  <a:lnTo>
                    <a:pt x="20" y="86"/>
                  </a:lnTo>
                  <a:lnTo>
                    <a:pt x="18" y="78"/>
                  </a:lnTo>
                  <a:lnTo>
                    <a:pt x="16" y="72"/>
                  </a:lnTo>
                  <a:lnTo>
                    <a:pt x="14" y="64"/>
                  </a:lnTo>
                  <a:lnTo>
                    <a:pt x="12" y="55"/>
                  </a:lnTo>
                  <a:lnTo>
                    <a:pt x="8" y="47"/>
                  </a:lnTo>
                  <a:lnTo>
                    <a:pt x="6" y="41"/>
                  </a:lnTo>
                  <a:lnTo>
                    <a:pt x="4" y="33"/>
                  </a:lnTo>
                  <a:lnTo>
                    <a:pt x="2" y="25"/>
                  </a:lnTo>
                  <a:lnTo>
                    <a:pt x="0" y="18"/>
                  </a:lnTo>
                  <a:lnTo>
                    <a:pt x="2" y="18"/>
                  </a:lnTo>
                  <a:lnTo>
                    <a:pt x="2" y="18"/>
                  </a:lnTo>
                  <a:lnTo>
                    <a:pt x="2" y="14"/>
                  </a:lnTo>
                  <a:lnTo>
                    <a:pt x="4" y="10"/>
                  </a:lnTo>
                  <a:lnTo>
                    <a:pt x="6" y="6"/>
                  </a:lnTo>
                  <a:lnTo>
                    <a:pt x="6" y="6"/>
                  </a:lnTo>
                  <a:lnTo>
                    <a:pt x="8" y="4"/>
                  </a:lnTo>
                  <a:lnTo>
                    <a:pt x="10" y="2"/>
                  </a:lnTo>
                  <a:lnTo>
                    <a:pt x="12" y="2"/>
                  </a:lnTo>
                  <a:lnTo>
                    <a:pt x="14" y="0"/>
                  </a:lnTo>
                  <a:lnTo>
                    <a:pt x="16" y="0"/>
                  </a:lnTo>
                  <a:lnTo>
                    <a:pt x="20" y="0"/>
                  </a:lnTo>
                  <a:lnTo>
                    <a:pt x="24" y="0"/>
                  </a:lnTo>
                  <a:lnTo>
                    <a:pt x="26" y="0"/>
                  </a:lnTo>
                  <a:lnTo>
                    <a:pt x="28" y="2"/>
                  </a:lnTo>
                  <a:lnTo>
                    <a:pt x="28" y="2"/>
                  </a:lnTo>
                  <a:lnTo>
                    <a:pt x="28" y="2"/>
                  </a:lnTo>
                  <a:close/>
                </a:path>
              </a:pathLst>
            </a:custGeom>
            <a:solidFill>
              <a:schemeClr val="accent1"/>
            </a:solidFill>
            <a:ln w="3175" cap="rnd">
              <a:solidFill>
                <a:schemeClr val="bg1"/>
              </a:solidFill>
              <a:prstDash val="solid"/>
              <a:round/>
              <a:headEnd/>
              <a:tailEnd/>
            </a:ln>
          </p:spPr>
          <p:txBody>
            <a:bodyPr vert="horz" wrap="square" lIns="0" tIns="19200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 b="0" i="0" u="none" strike="noStrike" kern="1200" cap="none" spc="0" normalizeH="0" baseline="0" noProof="0">
                  <a:ln>
                    <a:noFill/>
                  </a:ln>
                  <a:solidFill>
                    <a:schemeClr val="bg1"/>
                  </a:solidFill>
                  <a:effectLst/>
                  <a:uLnTx/>
                  <a:uFillTx/>
                  <a:latin typeface="Arial" panose="020B0604020202020204" pitchFamily="34" charset="0"/>
                  <a:ea typeface="+mn-ea"/>
                  <a:cs typeface="+mn-cs"/>
                </a:rPr>
                <a:t>DE</a:t>
              </a:r>
            </a:p>
          </p:txBody>
        </p:sp>
        <p:sp>
          <p:nvSpPr>
            <p:cNvPr id="285" name="Freeform 48">
              <a:extLst>
                <a:ext uri="{FF2B5EF4-FFF2-40B4-BE49-F238E27FC236}">
                  <a16:creationId xmlns:a16="http://schemas.microsoft.com/office/drawing/2014/main" id="{57F9F0EA-EF2B-280E-1CBB-9FDFCF5BB80A}"/>
                </a:ext>
              </a:extLst>
            </p:cNvPr>
            <p:cNvSpPr>
              <a:spLocks/>
            </p:cNvSpPr>
            <p:nvPr/>
          </p:nvSpPr>
          <p:spPr bwMode="auto">
            <a:xfrm>
              <a:off x="4658" y="1027"/>
              <a:ext cx="16" cy="20"/>
            </a:xfrm>
            <a:custGeom>
              <a:avLst/>
              <a:gdLst>
                <a:gd name="T0" fmla="*/ 12 w 16"/>
                <a:gd name="T1" fmla="*/ 20 h 20"/>
                <a:gd name="T2" fmla="*/ 10 w 16"/>
                <a:gd name="T3" fmla="*/ 18 h 20"/>
                <a:gd name="T4" fmla="*/ 10 w 16"/>
                <a:gd name="T5" fmla="*/ 12 h 20"/>
                <a:gd name="T6" fmla="*/ 6 w 16"/>
                <a:gd name="T7" fmla="*/ 10 h 20"/>
                <a:gd name="T8" fmla="*/ 6 w 16"/>
                <a:gd name="T9" fmla="*/ 10 h 20"/>
                <a:gd name="T10" fmla="*/ 4 w 16"/>
                <a:gd name="T11" fmla="*/ 10 h 20"/>
                <a:gd name="T12" fmla="*/ 2 w 16"/>
                <a:gd name="T13" fmla="*/ 8 h 20"/>
                <a:gd name="T14" fmla="*/ 0 w 16"/>
                <a:gd name="T15" fmla="*/ 8 h 20"/>
                <a:gd name="T16" fmla="*/ 6 w 16"/>
                <a:gd name="T17" fmla="*/ 0 h 20"/>
                <a:gd name="T18" fmla="*/ 16 w 16"/>
                <a:gd name="T19" fmla="*/ 10 h 20"/>
                <a:gd name="T20" fmla="*/ 12 w 16"/>
                <a:gd name="T21" fmla="*/ 20 h 20"/>
                <a:gd name="T22" fmla="*/ 12 w 16"/>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0">
                  <a:moveTo>
                    <a:pt x="12" y="20"/>
                  </a:moveTo>
                  <a:lnTo>
                    <a:pt x="10" y="18"/>
                  </a:lnTo>
                  <a:lnTo>
                    <a:pt x="10" y="12"/>
                  </a:lnTo>
                  <a:lnTo>
                    <a:pt x="6" y="10"/>
                  </a:lnTo>
                  <a:lnTo>
                    <a:pt x="6" y="10"/>
                  </a:lnTo>
                  <a:lnTo>
                    <a:pt x="4" y="10"/>
                  </a:lnTo>
                  <a:lnTo>
                    <a:pt x="2" y="8"/>
                  </a:lnTo>
                  <a:lnTo>
                    <a:pt x="0" y="8"/>
                  </a:lnTo>
                  <a:lnTo>
                    <a:pt x="6" y="0"/>
                  </a:lnTo>
                  <a:lnTo>
                    <a:pt x="16" y="10"/>
                  </a:lnTo>
                  <a:lnTo>
                    <a:pt x="12" y="20"/>
                  </a:lnTo>
                  <a:lnTo>
                    <a:pt x="12" y="20"/>
                  </a:lnTo>
                  <a:close/>
                </a:path>
              </a:pathLst>
            </a:custGeom>
            <a:solidFill>
              <a:srgbClr val="FFFFFF"/>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86" name="Freeform 49">
              <a:extLst>
                <a:ext uri="{FF2B5EF4-FFF2-40B4-BE49-F238E27FC236}">
                  <a16:creationId xmlns:a16="http://schemas.microsoft.com/office/drawing/2014/main" id="{32A0D8DB-3C61-F2A1-7DFF-3934DEA6FBAB}"/>
                </a:ext>
              </a:extLst>
            </p:cNvPr>
            <p:cNvSpPr>
              <a:spLocks/>
            </p:cNvSpPr>
            <p:nvPr/>
          </p:nvSpPr>
          <p:spPr bwMode="auto">
            <a:xfrm>
              <a:off x="4881" y="615"/>
              <a:ext cx="149" cy="141"/>
            </a:xfrm>
            <a:custGeom>
              <a:avLst/>
              <a:gdLst>
                <a:gd name="T0" fmla="*/ 139 w 149"/>
                <a:gd name="T1" fmla="*/ 18 h 141"/>
                <a:gd name="T2" fmla="*/ 145 w 149"/>
                <a:gd name="T3" fmla="*/ 41 h 141"/>
                <a:gd name="T4" fmla="*/ 149 w 149"/>
                <a:gd name="T5" fmla="*/ 61 h 141"/>
                <a:gd name="T6" fmla="*/ 149 w 149"/>
                <a:gd name="T7" fmla="*/ 70 h 141"/>
                <a:gd name="T8" fmla="*/ 147 w 149"/>
                <a:gd name="T9" fmla="*/ 72 h 141"/>
                <a:gd name="T10" fmla="*/ 143 w 149"/>
                <a:gd name="T11" fmla="*/ 70 h 141"/>
                <a:gd name="T12" fmla="*/ 129 w 149"/>
                <a:gd name="T13" fmla="*/ 74 h 141"/>
                <a:gd name="T14" fmla="*/ 127 w 149"/>
                <a:gd name="T15" fmla="*/ 80 h 141"/>
                <a:gd name="T16" fmla="*/ 119 w 149"/>
                <a:gd name="T17" fmla="*/ 82 h 141"/>
                <a:gd name="T18" fmla="*/ 110 w 149"/>
                <a:gd name="T19" fmla="*/ 84 h 141"/>
                <a:gd name="T20" fmla="*/ 108 w 149"/>
                <a:gd name="T21" fmla="*/ 82 h 141"/>
                <a:gd name="T22" fmla="*/ 106 w 149"/>
                <a:gd name="T23" fmla="*/ 78 h 141"/>
                <a:gd name="T24" fmla="*/ 108 w 149"/>
                <a:gd name="T25" fmla="*/ 82 h 141"/>
                <a:gd name="T26" fmla="*/ 108 w 149"/>
                <a:gd name="T27" fmla="*/ 88 h 141"/>
                <a:gd name="T28" fmla="*/ 100 w 149"/>
                <a:gd name="T29" fmla="*/ 90 h 141"/>
                <a:gd name="T30" fmla="*/ 96 w 149"/>
                <a:gd name="T31" fmla="*/ 92 h 141"/>
                <a:gd name="T32" fmla="*/ 94 w 149"/>
                <a:gd name="T33" fmla="*/ 92 h 141"/>
                <a:gd name="T34" fmla="*/ 84 w 149"/>
                <a:gd name="T35" fmla="*/ 94 h 141"/>
                <a:gd name="T36" fmla="*/ 82 w 149"/>
                <a:gd name="T37" fmla="*/ 96 h 141"/>
                <a:gd name="T38" fmla="*/ 76 w 149"/>
                <a:gd name="T39" fmla="*/ 96 h 141"/>
                <a:gd name="T40" fmla="*/ 72 w 149"/>
                <a:gd name="T41" fmla="*/ 98 h 141"/>
                <a:gd name="T42" fmla="*/ 65 w 149"/>
                <a:gd name="T43" fmla="*/ 96 h 141"/>
                <a:gd name="T44" fmla="*/ 63 w 149"/>
                <a:gd name="T45" fmla="*/ 98 h 141"/>
                <a:gd name="T46" fmla="*/ 57 w 149"/>
                <a:gd name="T47" fmla="*/ 106 h 141"/>
                <a:gd name="T48" fmla="*/ 53 w 149"/>
                <a:gd name="T49" fmla="*/ 111 h 141"/>
                <a:gd name="T50" fmla="*/ 51 w 149"/>
                <a:gd name="T51" fmla="*/ 113 h 141"/>
                <a:gd name="T52" fmla="*/ 47 w 149"/>
                <a:gd name="T53" fmla="*/ 115 h 141"/>
                <a:gd name="T54" fmla="*/ 43 w 149"/>
                <a:gd name="T55" fmla="*/ 117 h 141"/>
                <a:gd name="T56" fmla="*/ 43 w 149"/>
                <a:gd name="T57" fmla="*/ 117 h 141"/>
                <a:gd name="T58" fmla="*/ 41 w 149"/>
                <a:gd name="T59" fmla="*/ 119 h 141"/>
                <a:gd name="T60" fmla="*/ 39 w 149"/>
                <a:gd name="T61" fmla="*/ 121 h 141"/>
                <a:gd name="T62" fmla="*/ 35 w 149"/>
                <a:gd name="T63" fmla="*/ 123 h 141"/>
                <a:gd name="T64" fmla="*/ 33 w 149"/>
                <a:gd name="T65" fmla="*/ 127 h 141"/>
                <a:gd name="T66" fmla="*/ 24 w 149"/>
                <a:gd name="T67" fmla="*/ 133 h 141"/>
                <a:gd name="T68" fmla="*/ 20 w 149"/>
                <a:gd name="T69" fmla="*/ 137 h 141"/>
                <a:gd name="T70" fmla="*/ 14 w 149"/>
                <a:gd name="T71" fmla="*/ 137 h 141"/>
                <a:gd name="T72" fmla="*/ 12 w 149"/>
                <a:gd name="T73" fmla="*/ 139 h 141"/>
                <a:gd name="T74" fmla="*/ 10 w 149"/>
                <a:gd name="T75" fmla="*/ 139 h 141"/>
                <a:gd name="T76" fmla="*/ 4 w 149"/>
                <a:gd name="T77" fmla="*/ 133 h 141"/>
                <a:gd name="T78" fmla="*/ 16 w 149"/>
                <a:gd name="T79" fmla="*/ 121 h 141"/>
                <a:gd name="T80" fmla="*/ 16 w 149"/>
                <a:gd name="T81" fmla="*/ 113 h 141"/>
                <a:gd name="T82" fmla="*/ 12 w 149"/>
                <a:gd name="T83" fmla="*/ 102 h 141"/>
                <a:gd name="T84" fmla="*/ 8 w 149"/>
                <a:gd name="T85" fmla="*/ 82 h 141"/>
                <a:gd name="T86" fmla="*/ 6 w 149"/>
                <a:gd name="T87" fmla="*/ 63 h 141"/>
                <a:gd name="T88" fmla="*/ 2 w 149"/>
                <a:gd name="T89" fmla="*/ 45 h 141"/>
                <a:gd name="T90" fmla="*/ 10 w 149"/>
                <a:gd name="T91" fmla="*/ 27 h 141"/>
                <a:gd name="T92" fmla="*/ 45 w 149"/>
                <a:gd name="T93" fmla="*/ 20 h 141"/>
                <a:gd name="T94" fmla="*/ 57 w 149"/>
                <a:gd name="T95" fmla="*/ 20 h 141"/>
                <a:gd name="T96" fmla="*/ 72 w 149"/>
                <a:gd name="T97" fmla="*/ 14 h 141"/>
                <a:gd name="T98" fmla="*/ 90 w 149"/>
                <a:gd name="T99" fmla="*/ 10 h 141"/>
                <a:gd name="T100" fmla="*/ 133 w 149"/>
                <a:gd name="T10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 h="141">
                  <a:moveTo>
                    <a:pt x="133" y="0"/>
                  </a:moveTo>
                  <a:lnTo>
                    <a:pt x="135" y="6"/>
                  </a:lnTo>
                  <a:lnTo>
                    <a:pt x="137" y="12"/>
                  </a:lnTo>
                  <a:lnTo>
                    <a:pt x="139" y="18"/>
                  </a:lnTo>
                  <a:lnTo>
                    <a:pt x="141" y="24"/>
                  </a:lnTo>
                  <a:lnTo>
                    <a:pt x="141" y="31"/>
                  </a:lnTo>
                  <a:lnTo>
                    <a:pt x="143" y="37"/>
                  </a:lnTo>
                  <a:lnTo>
                    <a:pt x="145" y="41"/>
                  </a:lnTo>
                  <a:lnTo>
                    <a:pt x="147" y="47"/>
                  </a:lnTo>
                  <a:lnTo>
                    <a:pt x="147" y="51"/>
                  </a:lnTo>
                  <a:lnTo>
                    <a:pt x="147" y="55"/>
                  </a:lnTo>
                  <a:lnTo>
                    <a:pt x="149" y="61"/>
                  </a:lnTo>
                  <a:lnTo>
                    <a:pt x="149" y="61"/>
                  </a:lnTo>
                  <a:lnTo>
                    <a:pt x="147" y="63"/>
                  </a:lnTo>
                  <a:lnTo>
                    <a:pt x="147" y="65"/>
                  </a:lnTo>
                  <a:lnTo>
                    <a:pt x="149" y="70"/>
                  </a:lnTo>
                  <a:lnTo>
                    <a:pt x="149" y="72"/>
                  </a:lnTo>
                  <a:lnTo>
                    <a:pt x="147" y="74"/>
                  </a:lnTo>
                  <a:lnTo>
                    <a:pt x="145" y="72"/>
                  </a:lnTo>
                  <a:lnTo>
                    <a:pt x="147" y="72"/>
                  </a:lnTo>
                  <a:lnTo>
                    <a:pt x="147" y="72"/>
                  </a:lnTo>
                  <a:lnTo>
                    <a:pt x="145" y="72"/>
                  </a:lnTo>
                  <a:lnTo>
                    <a:pt x="145" y="70"/>
                  </a:lnTo>
                  <a:lnTo>
                    <a:pt x="143" y="70"/>
                  </a:lnTo>
                  <a:lnTo>
                    <a:pt x="139" y="72"/>
                  </a:lnTo>
                  <a:lnTo>
                    <a:pt x="137" y="72"/>
                  </a:lnTo>
                  <a:lnTo>
                    <a:pt x="133" y="76"/>
                  </a:lnTo>
                  <a:lnTo>
                    <a:pt x="129" y="74"/>
                  </a:lnTo>
                  <a:lnTo>
                    <a:pt x="129" y="76"/>
                  </a:lnTo>
                  <a:lnTo>
                    <a:pt x="129" y="78"/>
                  </a:lnTo>
                  <a:lnTo>
                    <a:pt x="129" y="78"/>
                  </a:lnTo>
                  <a:lnTo>
                    <a:pt x="127" y="80"/>
                  </a:lnTo>
                  <a:lnTo>
                    <a:pt x="123" y="78"/>
                  </a:lnTo>
                  <a:lnTo>
                    <a:pt x="121" y="80"/>
                  </a:lnTo>
                  <a:lnTo>
                    <a:pt x="121" y="82"/>
                  </a:lnTo>
                  <a:lnTo>
                    <a:pt x="119" y="82"/>
                  </a:lnTo>
                  <a:lnTo>
                    <a:pt x="115" y="86"/>
                  </a:lnTo>
                  <a:lnTo>
                    <a:pt x="113" y="84"/>
                  </a:lnTo>
                  <a:lnTo>
                    <a:pt x="110" y="84"/>
                  </a:lnTo>
                  <a:lnTo>
                    <a:pt x="110" y="84"/>
                  </a:lnTo>
                  <a:lnTo>
                    <a:pt x="108" y="84"/>
                  </a:lnTo>
                  <a:lnTo>
                    <a:pt x="108" y="84"/>
                  </a:lnTo>
                  <a:lnTo>
                    <a:pt x="108" y="82"/>
                  </a:lnTo>
                  <a:lnTo>
                    <a:pt x="108" y="82"/>
                  </a:lnTo>
                  <a:lnTo>
                    <a:pt x="108" y="80"/>
                  </a:lnTo>
                  <a:lnTo>
                    <a:pt x="108" y="80"/>
                  </a:lnTo>
                  <a:lnTo>
                    <a:pt x="106" y="80"/>
                  </a:lnTo>
                  <a:lnTo>
                    <a:pt x="106" y="78"/>
                  </a:lnTo>
                  <a:lnTo>
                    <a:pt x="104" y="78"/>
                  </a:lnTo>
                  <a:lnTo>
                    <a:pt x="104" y="80"/>
                  </a:lnTo>
                  <a:lnTo>
                    <a:pt x="106" y="82"/>
                  </a:lnTo>
                  <a:lnTo>
                    <a:pt x="108" y="82"/>
                  </a:lnTo>
                  <a:lnTo>
                    <a:pt x="108" y="86"/>
                  </a:lnTo>
                  <a:lnTo>
                    <a:pt x="108" y="86"/>
                  </a:lnTo>
                  <a:lnTo>
                    <a:pt x="108" y="86"/>
                  </a:lnTo>
                  <a:lnTo>
                    <a:pt x="108" y="88"/>
                  </a:lnTo>
                  <a:lnTo>
                    <a:pt x="106" y="88"/>
                  </a:lnTo>
                  <a:lnTo>
                    <a:pt x="102" y="88"/>
                  </a:lnTo>
                  <a:lnTo>
                    <a:pt x="100" y="88"/>
                  </a:lnTo>
                  <a:lnTo>
                    <a:pt x="100" y="90"/>
                  </a:lnTo>
                  <a:lnTo>
                    <a:pt x="98" y="90"/>
                  </a:lnTo>
                  <a:lnTo>
                    <a:pt x="98" y="92"/>
                  </a:lnTo>
                  <a:lnTo>
                    <a:pt x="96" y="92"/>
                  </a:lnTo>
                  <a:lnTo>
                    <a:pt x="96" y="92"/>
                  </a:lnTo>
                  <a:lnTo>
                    <a:pt x="96" y="92"/>
                  </a:lnTo>
                  <a:lnTo>
                    <a:pt x="96" y="92"/>
                  </a:lnTo>
                  <a:lnTo>
                    <a:pt x="96" y="92"/>
                  </a:lnTo>
                  <a:lnTo>
                    <a:pt x="94" y="92"/>
                  </a:lnTo>
                  <a:lnTo>
                    <a:pt x="92" y="92"/>
                  </a:lnTo>
                  <a:lnTo>
                    <a:pt x="90" y="92"/>
                  </a:lnTo>
                  <a:lnTo>
                    <a:pt x="84" y="94"/>
                  </a:lnTo>
                  <a:lnTo>
                    <a:pt x="84" y="94"/>
                  </a:lnTo>
                  <a:lnTo>
                    <a:pt x="84" y="96"/>
                  </a:lnTo>
                  <a:lnTo>
                    <a:pt x="84" y="96"/>
                  </a:lnTo>
                  <a:lnTo>
                    <a:pt x="82" y="96"/>
                  </a:lnTo>
                  <a:lnTo>
                    <a:pt x="82" y="96"/>
                  </a:lnTo>
                  <a:lnTo>
                    <a:pt x="80" y="96"/>
                  </a:lnTo>
                  <a:lnTo>
                    <a:pt x="80" y="96"/>
                  </a:lnTo>
                  <a:lnTo>
                    <a:pt x="78" y="96"/>
                  </a:lnTo>
                  <a:lnTo>
                    <a:pt x="76" y="96"/>
                  </a:lnTo>
                  <a:lnTo>
                    <a:pt x="76" y="96"/>
                  </a:lnTo>
                  <a:lnTo>
                    <a:pt x="74" y="98"/>
                  </a:lnTo>
                  <a:lnTo>
                    <a:pt x="74" y="98"/>
                  </a:lnTo>
                  <a:lnTo>
                    <a:pt x="72" y="98"/>
                  </a:lnTo>
                  <a:lnTo>
                    <a:pt x="67" y="100"/>
                  </a:lnTo>
                  <a:lnTo>
                    <a:pt x="65" y="98"/>
                  </a:lnTo>
                  <a:lnTo>
                    <a:pt x="65" y="98"/>
                  </a:lnTo>
                  <a:lnTo>
                    <a:pt x="65" y="96"/>
                  </a:lnTo>
                  <a:lnTo>
                    <a:pt x="63" y="96"/>
                  </a:lnTo>
                  <a:lnTo>
                    <a:pt x="63" y="96"/>
                  </a:lnTo>
                  <a:lnTo>
                    <a:pt x="63" y="98"/>
                  </a:lnTo>
                  <a:lnTo>
                    <a:pt x="63" y="98"/>
                  </a:lnTo>
                  <a:lnTo>
                    <a:pt x="61" y="102"/>
                  </a:lnTo>
                  <a:lnTo>
                    <a:pt x="59" y="104"/>
                  </a:lnTo>
                  <a:lnTo>
                    <a:pt x="59" y="106"/>
                  </a:lnTo>
                  <a:lnTo>
                    <a:pt x="57" y="106"/>
                  </a:lnTo>
                  <a:lnTo>
                    <a:pt x="55" y="106"/>
                  </a:lnTo>
                  <a:lnTo>
                    <a:pt x="55" y="108"/>
                  </a:lnTo>
                  <a:lnTo>
                    <a:pt x="55" y="108"/>
                  </a:lnTo>
                  <a:lnTo>
                    <a:pt x="53" y="111"/>
                  </a:lnTo>
                  <a:lnTo>
                    <a:pt x="53" y="111"/>
                  </a:lnTo>
                  <a:lnTo>
                    <a:pt x="51" y="113"/>
                  </a:lnTo>
                  <a:lnTo>
                    <a:pt x="51" y="113"/>
                  </a:lnTo>
                  <a:lnTo>
                    <a:pt x="51" y="113"/>
                  </a:lnTo>
                  <a:lnTo>
                    <a:pt x="51" y="115"/>
                  </a:lnTo>
                  <a:lnTo>
                    <a:pt x="49" y="115"/>
                  </a:lnTo>
                  <a:lnTo>
                    <a:pt x="49" y="115"/>
                  </a:lnTo>
                  <a:lnTo>
                    <a:pt x="47" y="115"/>
                  </a:lnTo>
                  <a:lnTo>
                    <a:pt x="47" y="113"/>
                  </a:lnTo>
                  <a:lnTo>
                    <a:pt x="47" y="115"/>
                  </a:lnTo>
                  <a:lnTo>
                    <a:pt x="45" y="117"/>
                  </a:lnTo>
                  <a:lnTo>
                    <a:pt x="43" y="117"/>
                  </a:lnTo>
                  <a:lnTo>
                    <a:pt x="43" y="117"/>
                  </a:lnTo>
                  <a:lnTo>
                    <a:pt x="43" y="117"/>
                  </a:lnTo>
                  <a:lnTo>
                    <a:pt x="43" y="117"/>
                  </a:lnTo>
                  <a:lnTo>
                    <a:pt x="43" y="117"/>
                  </a:lnTo>
                  <a:lnTo>
                    <a:pt x="43" y="117"/>
                  </a:lnTo>
                  <a:lnTo>
                    <a:pt x="43" y="117"/>
                  </a:lnTo>
                  <a:lnTo>
                    <a:pt x="43" y="119"/>
                  </a:lnTo>
                  <a:lnTo>
                    <a:pt x="41" y="119"/>
                  </a:lnTo>
                  <a:lnTo>
                    <a:pt x="41" y="121"/>
                  </a:lnTo>
                  <a:lnTo>
                    <a:pt x="41" y="121"/>
                  </a:lnTo>
                  <a:lnTo>
                    <a:pt x="39" y="121"/>
                  </a:lnTo>
                  <a:lnTo>
                    <a:pt x="39" y="121"/>
                  </a:lnTo>
                  <a:lnTo>
                    <a:pt x="37" y="121"/>
                  </a:lnTo>
                  <a:lnTo>
                    <a:pt x="37" y="121"/>
                  </a:lnTo>
                  <a:lnTo>
                    <a:pt x="37" y="123"/>
                  </a:lnTo>
                  <a:lnTo>
                    <a:pt x="35" y="123"/>
                  </a:lnTo>
                  <a:lnTo>
                    <a:pt x="35" y="123"/>
                  </a:lnTo>
                  <a:lnTo>
                    <a:pt x="33" y="125"/>
                  </a:lnTo>
                  <a:lnTo>
                    <a:pt x="33" y="125"/>
                  </a:lnTo>
                  <a:lnTo>
                    <a:pt x="33" y="127"/>
                  </a:lnTo>
                  <a:lnTo>
                    <a:pt x="29" y="129"/>
                  </a:lnTo>
                  <a:lnTo>
                    <a:pt x="29" y="129"/>
                  </a:lnTo>
                  <a:lnTo>
                    <a:pt x="24" y="133"/>
                  </a:lnTo>
                  <a:lnTo>
                    <a:pt x="24" y="133"/>
                  </a:lnTo>
                  <a:lnTo>
                    <a:pt x="22" y="133"/>
                  </a:lnTo>
                  <a:lnTo>
                    <a:pt x="22" y="135"/>
                  </a:lnTo>
                  <a:lnTo>
                    <a:pt x="20" y="135"/>
                  </a:lnTo>
                  <a:lnTo>
                    <a:pt x="20" y="137"/>
                  </a:lnTo>
                  <a:lnTo>
                    <a:pt x="18" y="137"/>
                  </a:lnTo>
                  <a:lnTo>
                    <a:pt x="18" y="139"/>
                  </a:lnTo>
                  <a:lnTo>
                    <a:pt x="16" y="137"/>
                  </a:lnTo>
                  <a:lnTo>
                    <a:pt x="14" y="137"/>
                  </a:lnTo>
                  <a:lnTo>
                    <a:pt x="14" y="139"/>
                  </a:lnTo>
                  <a:lnTo>
                    <a:pt x="14" y="139"/>
                  </a:lnTo>
                  <a:lnTo>
                    <a:pt x="12" y="141"/>
                  </a:lnTo>
                  <a:lnTo>
                    <a:pt x="12" y="139"/>
                  </a:lnTo>
                  <a:lnTo>
                    <a:pt x="12" y="139"/>
                  </a:lnTo>
                  <a:lnTo>
                    <a:pt x="10" y="139"/>
                  </a:lnTo>
                  <a:lnTo>
                    <a:pt x="10" y="139"/>
                  </a:lnTo>
                  <a:lnTo>
                    <a:pt x="10" y="139"/>
                  </a:lnTo>
                  <a:lnTo>
                    <a:pt x="10" y="137"/>
                  </a:lnTo>
                  <a:lnTo>
                    <a:pt x="8" y="135"/>
                  </a:lnTo>
                  <a:lnTo>
                    <a:pt x="4" y="133"/>
                  </a:lnTo>
                  <a:lnTo>
                    <a:pt x="4" y="133"/>
                  </a:lnTo>
                  <a:lnTo>
                    <a:pt x="4" y="131"/>
                  </a:lnTo>
                  <a:lnTo>
                    <a:pt x="8" y="129"/>
                  </a:lnTo>
                  <a:lnTo>
                    <a:pt x="12" y="125"/>
                  </a:lnTo>
                  <a:lnTo>
                    <a:pt x="16" y="121"/>
                  </a:lnTo>
                  <a:lnTo>
                    <a:pt x="18" y="117"/>
                  </a:lnTo>
                  <a:lnTo>
                    <a:pt x="20" y="117"/>
                  </a:lnTo>
                  <a:lnTo>
                    <a:pt x="18" y="115"/>
                  </a:lnTo>
                  <a:lnTo>
                    <a:pt x="16" y="113"/>
                  </a:lnTo>
                  <a:lnTo>
                    <a:pt x="16" y="111"/>
                  </a:lnTo>
                  <a:lnTo>
                    <a:pt x="14" y="108"/>
                  </a:lnTo>
                  <a:lnTo>
                    <a:pt x="12" y="106"/>
                  </a:lnTo>
                  <a:lnTo>
                    <a:pt x="12" y="102"/>
                  </a:lnTo>
                  <a:lnTo>
                    <a:pt x="12" y="98"/>
                  </a:lnTo>
                  <a:lnTo>
                    <a:pt x="10" y="92"/>
                  </a:lnTo>
                  <a:lnTo>
                    <a:pt x="10" y="88"/>
                  </a:lnTo>
                  <a:lnTo>
                    <a:pt x="8" y="82"/>
                  </a:lnTo>
                  <a:lnTo>
                    <a:pt x="8" y="78"/>
                  </a:lnTo>
                  <a:lnTo>
                    <a:pt x="8" y="74"/>
                  </a:lnTo>
                  <a:lnTo>
                    <a:pt x="6" y="67"/>
                  </a:lnTo>
                  <a:lnTo>
                    <a:pt x="6" y="63"/>
                  </a:lnTo>
                  <a:lnTo>
                    <a:pt x="4" y="59"/>
                  </a:lnTo>
                  <a:lnTo>
                    <a:pt x="4" y="53"/>
                  </a:lnTo>
                  <a:lnTo>
                    <a:pt x="2" y="49"/>
                  </a:lnTo>
                  <a:lnTo>
                    <a:pt x="2" y="45"/>
                  </a:lnTo>
                  <a:lnTo>
                    <a:pt x="2" y="39"/>
                  </a:lnTo>
                  <a:lnTo>
                    <a:pt x="0" y="35"/>
                  </a:lnTo>
                  <a:lnTo>
                    <a:pt x="0" y="29"/>
                  </a:lnTo>
                  <a:lnTo>
                    <a:pt x="10" y="27"/>
                  </a:lnTo>
                  <a:lnTo>
                    <a:pt x="18" y="24"/>
                  </a:lnTo>
                  <a:lnTo>
                    <a:pt x="29" y="22"/>
                  </a:lnTo>
                  <a:lnTo>
                    <a:pt x="39" y="20"/>
                  </a:lnTo>
                  <a:lnTo>
                    <a:pt x="45" y="20"/>
                  </a:lnTo>
                  <a:lnTo>
                    <a:pt x="49" y="18"/>
                  </a:lnTo>
                  <a:lnTo>
                    <a:pt x="53" y="18"/>
                  </a:lnTo>
                  <a:lnTo>
                    <a:pt x="55" y="20"/>
                  </a:lnTo>
                  <a:lnTo>
                    <a:pt x="57" y="20"/>
                  </a:lnTo>
                  <a:lnTo>
                    <a:pt x="57" y="18"/>
                  </a:lnTo>
                  <a:lnTo>
                    <a:pt x="67" y="14"/>
                  </a:lnTo>
                  <a:lnTo>
                    <a:pt x="70" y="14"/>
                  </a:lnTo>
                  <a:lnTo>
                    <a:pt x="72" y="14"/>
                  </a:lnTo>
                  <a:lnTo>
                    <a:pt x="72" y="14"/>
                  </a:lnTo>
                  <a:lnTo>
                    <a:pt x="74" y="14"/>
                  </a:lnTo>
                  <a:lnTo>
                    <a:pt x="78" y="12"/>
                  </a:lnTo>
                  <a:lnTo>
                    <a:pt x="90" y="10"/>
                  </a:lnTo>
                  <a:lnTo>
                    <a:pt x="100" y="6"/>
                  </a:lnTo>
                  <a:lnTo>
                    <a:pt x="113" y="4"/>
                  </a:lnTo>
                  <a:lnTo>
                    <a:pt x="125" y="2"/>
                  </a:lnTo>
                  <a:lnTo>
                    <a:pt x="133" y="0"/>
                  </a:lnTo>
                  <a:lnTo>
                    <a:pt x="133" y="0"/>
                  </a:lnTo>
                  <a:lnTo>
                    <a:pt x="133" y="0"/>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48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CT</a:t>
              </a:r>
            </a:p>
          </p:txBody>
        </p:sp>
        <p:sp>
          <p:nvSpPr>
            <p:cNvPr id="287" name="Freeform 50">
              <a:extLst>
                <a:ext uri="{FF2B5EF4-FFF2-40B4-BE49-F238E27FC236}">
                  <a16:creationId xmlns:a16="http://schemas.microsoft.com/office/drawing/2014/main" id="{313CD7F9-32C5-33B3-9FE0-FC8D15427208}"/>
                </a:ext>
              </a:extLst>
            </p:cNvPr>
            <p:cNvSpPr>
              <a:spLocks/>
            </p:cNvSpPr>
            <p:nvPr/>
          </p:nvSpPr>
          <p:spPr bwMode="auto">
            <a:xfrm>
              <a:off x="1943" y="986"/>
              <a:ext cx="614" cy="457"/>
            </a:xfrm>
            <a:custGeom>
              <a:avLst/>
              <a:gdLst>
                <a:gd name="T0" fmla="*/ 612 w 614"/>
                <a:gd name="T1" fmla="*/ 153 h 457"/>
                <a:gd name="T2" fmla="*/ 612 w 614"/>
                <a:gd name="T3" fmla="*/ 184 h 457"/>
                <a:gd name="T4" fmla="*/ 612 w 614"/>
                <a:gd name="T5" fmla="*/ 215 h 457"/>
                <a:gd name="T6" fmla="*/ 612 w 614"/>
                <a:gd name="T7" fmla="*/ 246 h 457"/>
                <a:gd name="T8" fmla="*/ 610 w 614"/>
                <a:gd name="T9" fmla="*/ 274 h 457"/>
                <a:gd name="T10" fmla="*/ 610 w 614"/>
                <a:gd name="T11" fmla="*/ 305 h 457"/>
                <a:gd name="T12" fmla="*/ 610 w 614"/>
                <a:gd name="T13" fmla="*/ 336 h 457"/>
                <a:gd name="T14" fmla="*/ 610 w 614"/>
                <a:gd name="T15" fmla="*/ 365 h 457"/>
                <a:gd name="T16" fmla="*/ 608 w 614"/>
                <a:gd name="T17" fmla="*/ 395 h 457"/>
                <a:gd name="T18" fmla="*/ 608 w 614"/>
                <a:gd name="T19" fmla="*/ 426 h 457"/>
                <a:gd name="T20" fmla="*/ 608 w 614"/>
                <a:gd name="T21" fmla="*/ 457 h 457"/>
                <a:gd name="T22" fmla="*/ 576 w 614"/>
                <a:gd name="T23" fmla="*/ 455 h 457"/>
                <a:gd name="T24" fmla="*/ 545 w 614"/>
                <a:gd name="T25" fmla="*/ 455 h 457"/>
                <a:gd name="T26" fmla="*/ 506 w 614"/>
                <a:gd name="T27" fmla="*/ 453 h 457"/>
                <a:gd name="T28" fmla="*/ 457 w 614"/>
                <a:gd name="T29" fmla="*/ 453 h 457"/>
                <a:gd name="T30" fmla="*/ 408 w 614"/>
                <a:gd name="T31" fmla="*/ 451 h 457"/>
                <a:gd name="T32" fmla="*/ 358 w 614"/>
                <a:gd name="T33" fmla="*/ 449 h 457"/>
                <a:gd name="T34" fmla="*/ 309 w 614"/>
                <a:gd name="T35" fmla="*/ 447 h 457"/>
                <a:gd name="T36" fmla="*/ 260 w 614"/>
                <a:gd name="T37" fmla="*/ 442 h 457"/>
                <a:gd name="T38" fmla="*/ 211 w 614"/>
                <a:gd name="T39" fmla="*/ 440 h 457"/>
                <a:gd name="T40" fmla="*/ 162 w 614"/>
                <a:gd name="T41" fmla="*/ 438 h 457"/>
                <a:gd name="T42" fmla="*/ 113 w 614"/>
                <a:gd name="T43" fmla="*/ 434 h 457"/>
                <a:gd name="T44" fmla="*/ 66 w 614"/>
                <a:gd name="T45" fmla="*/ 430 h 457"/>
                <a:gd name="T46" fmla="*/ 16 w 614"/>
                <a:gd name="T47" fmla="*/ 426 h 457"/>
                <a:gd name="T48" fmla="*/ 2 w 614"/>
                <a:gd name="T49" fmla="*/ 399 h 457"/>
                <a:gd name="T50" fmla="*/ 4 w 614"/>
                <a:gd name="T51" fmla="*/ 358 h 457"/>
                <a:gd name="T52" fmla="*/ 8 w 614"/>
                <a:gd name="T53" fmla="*/ 319 h 457"/>
                <a:gd name="T54" fmla="*/ 10 w 614"/>
                <a:gd name="T55" fmla="*/ 278 h 457"/>
                <a:gd name="T56" fmla="*/ 14 w 614"/>
                <a:gd name="T57" fmla="*/ 238 h 457"/>
                <a:gd name="T58" fmla="*/ 19 w 614"/>
                <a:gd name="T59" fmla="*/ 199 h 457"/>
                <a:gd name="T60" fmla="*/ 21 w 614"/>
                <a:gd name="T61" fmla="*/ 158 h 457"/>
                <a:gd name="T62" fmla="*/ 25 w 614"/>
                <a:gd name="T63" fmla="*/ 119 h 457"/>
                <a:gd name="T64" fmla="*/ 27 w 614"/>
                <a:gd name="T65" fmla="*/ 78 h 457"/>
                <a:gd name="T66" fmla="*/ 31 w 614"/>
                <a:gd name="T67" fmla="*/ 39 h 457"/>
                <a:gd name="T68" fmla="*/ 35 w 614"/>
                <a:gd name="T69" fmla="*/ 0 h 457"/>
                <a:gd name="T70" fmla="*/ 74 w 614"/>
                <a:gd name="T71" fmla="*/ 2 h 457"/>
                <a:gd name="T72" fmla="*/ 113 w 614"/>
                <a:gd name="T73" fmla="*/ 4 h 457"/>
                <a:gd name="T74" fmla="*/ 152 w 614"/>
                <a:gd name="T75" fmla="*/ 8 h 457"/>
                <a:gd name="T76" fmla="*/ 191 w 614"/>
                <a:gd name="T77" fmla="*/ 10 h 457"/>
                <a:gd name="T78" fmla="*/ 229 w 614"/>
                <a:gd name="T79" fmla="*/ 12 h 457"/>
                <a:gd name="T80" fmla="*/ 268 w 614"/>
                <a:gd name="T81" fmla="*/ 14 h 457"/>
                <a:gd name="T82" fmla="*/ 307 w 614"/>
                <a:gd name="T83" fmla="*/ 16 h 457"/>
                <a:gd name="T84" fmla="*/ 346 w 614"/>
                <a:gd name="T85" fmla="*/ 18 h 457"/>
                <a:gd name="T86" fmla="*/ 385 w 614"/>
                <a:gd name="T87" fmla="*/ 20 h 457"/>
                <a:gd name="T88" fmla="*/ 424 w 614"/>
                <a:gd name="T89" fmla="*/ 22 h 457"/>
                <a:gd name="T90" fmla="*/ 459 w 614"/>
                <a:gd name="T91" fmla="*/ 24 h 457"/>
                <a:gd name="T92" fmla="*/ 490 w 614"/>
                <a:gd name="T93" fmla="*/ 24 h 457"/>
                <a:gd name="T94" fmla="*/ 518 w 614"/>
                <a:gd name="T95" fmla="*/ 26 h 457"/>
                <a:gd name="T96" fmla="*/ 549 w 614"/>
                <a:gd name="T97" fmla="*/ 26 h 457"/>
                <a:gd name="T98" fmla="*/ 578 w 614"/>
                <a:gd name="T99" fmla="*/ 26 h 457"/>
                <a:gd name="T100" fmla="*/ 608 w 614"/>
                <a:gd name="T101" fmla="*/ 28 h 457"/>
                <a:gd name="T102" fmla="*/ 614 w 614"/>
                <a:gd name="T103" fmla="*/ 41 h 457"/>
                <a:gd name="T104" fmla="*/ 614 w 614"/>
                <a:gd name="T105" fmla="*/ 61 h 457"/>
                <a:gd name="T106" fmla="*/ 614 w 614"/>
                <a:gd name="T107" fmla="*/ 82 h 457"/>
                <a:gd name="T108" fmla="*/ 614 w 614"/>
                <a:gd name="T109" fmla="*/ 100 h 457"/>
                <a:gd name="T110" fmla="*/ 612 w 614"/>
                <a:gd name="T111" fmla="*/ 121 h 457"/>
                <a:gd name="T112" fmla="*/ 612 w 614"/>
                <a:gd name="T113" fmla="*/ 135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 h="457">
                  <a:moveTo>
                    <a:pt x="612" y="135"/>
                  </a:moveTo>
                  <a:lnTo>
                    <a:pt x="612" y="145"/>
                  </a:lnTo>
                  <a:lnTo>
                    <a:pt x="612" y="153"/>
                  </a:lnTo>
                  <a:lnTo>
                    <a:pt x="612" y="164"/>
                  </a:lnTo>
                  <a:lnTo>
                    <a:pt x="612" y="174"/>
                  </a:lnTo>
                  <a:lnTo>
                    <a:pt x="612" y="184"/>
                  </a:lnTo>
                  <a:lnTo>
                    <a:pt x="612" y="194"/>
                  </a:lnTo>
                  <a:lnTo>
                    <a:pt x="612" y="205"/>
                  </a:lnTo>
                  <a:lnTo>
                    <a:pt x="612" y="215"/>
                  </a:lnTo>
                  <a:lnTo>
                    <a:pt x="612" y="225"/>
                  </a:lnTo>
                  <a:lnTo>
                    <a:pt x="612" y="235"/>
                  </a:lnTo>
                  <a:lnTo>
                    <a:pt x="612" y="246"/>
                  </a:lnTo>
                  <a:lnTo>
                    <a:pt x="610" y="254"/>
                  </a:lnTo>
                  <a:lnTo>
                    <a:pt x="610" y="264"/>
                  </a:lnTo>
                  <a:lnTo>
                    <a:pt x="610" y="274"/>
                  </a:lnTo>
                  <a:lnTo>
                    <a:pt x="610" y="285"/>
                  </a:lnTo>
                  <a:lnTo>
                    <a:pt x="610" y="295"/>
                  </a:lnTo>
                  <a:lnTo>
                    <a:pt x="610" y="305"/>
                  </a:lnTo>
                  <a:lnTo>
                    <a:pt x="610" y="315"/>
                  </a:lnTo>
                  <a:lnTo>
                    <a:pt x="610" y="326"/>
                  </a:lnTo>
                  <a:lnTo>
                    <a:pt x="610" y="336"/>
                  </a:lnTo>
                  <a:lnTo>
                    <a:pt x="610" y="346"/>
                  </a:lnTo>
                  <a:lnTo>
                    <a:pt x="610" y="354"/>
                  </a:lnTo>
                  <a:lnTo>
                    <a:pt x="610" y="365"/>
                  </a:lnTo>
                  <a:lnTo>
                    <a:pt x="610" y="375"/>
                  </a:lnTo>
                  <a:lnTo>
                    <a:pt x="610" y="385"/>
                  </a:lnTo>
                  <a:lnTo>
                    <a:pt x="608" y="395"/>
                  </a:lnTo>
                  <a:lnTo>
                    <a:pt x="608" y="406"/>
                  </a:lnTo>
                  <a:lnTo>
                    <a:pt x="608" y="416"/>
                  </a:lnTo>
                  <a:lnTo>
                    <a:pt x="608" y="426"/>
                  </a:lnTo>
                  <a:lnTo>
                    <a:pt x="608" y="436"/>
                  </a:lnTo>
                  <a:lnTo>
                    <a:pt x="608" y="447"/>
                  </a:lnTo>
                  <a:lnTo>
                    <a:pt x="608" y="457"/>
                  </a:lnTo>
                  <a:lnTo>
                    <a:pt x="598" y="457"/>
                  </a:lnTo>
                  <a:lnTo>
                    <a:pt x="588" y="455"/>
                  </a:lnTo>
                  <a:lnTo>
                    <a:pt x="576" y="455"/>
                  </a:lnTo>
                  <a:lnTo>
                    <a:pt x="565" y="455"/>
                  </a:lnTo>
                  <a:lnTo>
                    <a:pt x="555" y="455"/>
                  </a:lnTo>
                  <a:lnTo>
                    <a:pt x="545" y="455"/>
                  </a:lnTo>
                  <a:lnTo>
                    <a:pt x="533" y="455"/>
                  </a:lnTo>
                  <a:lnTo>
                    <a:pt x="522" y="455"/>
                  </a:lnTo>
                  <a:lnTo>
                    <a:pt x="506" y="453"/>
                  </a:lnTo>
                  <a:lnTo>
                    <a:pt x="490" y="453"/>
                  </a:lnTo>
                  <a:lnTo>
                    <a:pt x="473" y="453"/>
                  </a:lnTo>
                  <a:lnTo>
                    <a:pt x="457" y="453"/>
                  </a:lnTo>
                  <a:lnTo>
                    <a:pt x="440" y="451"/>
                  </a:lnTo>
                  <a:lnTo>
                    <a:pt x="424" y="451"/>
                  </a:lnTo>
                  <a:lnTo>
                    <a:pt x="408" y="451"/>
                  </a:lnTo>
                  <a:lnTo>
                    <a:pt x="391" y="449"/>
                  </a:lnTo>
                  <a:lnTo>
                    <a:pt x="375" y="449"/>
                  </a:lnTo>
                  <a:lnTo>
                    <a:pt x="358" y="449"/>
                  </a:lnTo>
                  <a:lnTo>
                    <a:pt x="342" y="447"/>
                  </a:lnTo>
                  <a:lnTo>
                    <a:pt x="326" y="447"/>
                  </a:lnTo>
                  <a:lnTo>
                    <a:pt x="309" y="447"/>
                  </a:lnTo>
                  <a:lnTo>
                    <a:pt x="293" y="444"/>
                  </a:lnTo>
                  <a:lnTo>
                    <a:pt x="277" y="444"/>
                  </a:lnTo>
                  <a:lnTo>
                    <a:pt x="260" y="442"/>
                  </a:lnTo>
                  <a:lnTo>
                    <a:pt x="244" y="442"/>
                  </a:lnTo>
                  <a:lnTo>
                    <a:pt x="227" y="442"/>
                  </a:lnTo>
                  <a:lnTo>
                    <a:pt x="211" y="440"/>
                  </a:lnTo>
                  <a:lnTo>
                    <a:pt x="195" y="440"/>
                  </a:lnTo>
                  <a:lnTo>
                    <a:pt x="178" y="438"/>
                  </a:lnTo>
                  <a:lnTo>
                    <a:pt x="162" y="438"/>
                  </a:lnTo>
                  <a:lnTo>
                    <a:pt x="145" y="436"/>
                  </a:lnTo>
                  <a:lnTo>
                    <a:pt x="129" y="436"/>
                  </a:lnTo>
                  <a:lnTo>
                    <a:pt x="113" y="434"/>
                  </a:lnTo>
                  <a:lnTo>
                    <a:pt x="96" y="432"/>
                  </a:lnTo>
                  <a:lnTo>
                    <a:pt x="80" y="432"/>
                  </a:lnTo>
                  <a:lnTo>
                    <a:pt x="66" y="430"/>
                  </a:lnTo>
                  <a:lnTo>
                    <a:pt x="49" y="430"/>
                  </a:lnTo>
                  <a:lnTo>
                    <a:pt x="33" y="428"/>
                  </a:lnTo>
                  <a:lnTo>
                    <a:pt x="16" y="426"/>
                  </a:lnTo>
                  <a:lnTo>
                    <a:pt x="0" y="426"/>
                  </a:lnTo>
                  <a:lnTo>
                    <a:pt x="0" y="412"/>
                  </a:lnTo>
                  <a:lnTo>
                    <a:pt x="2" y="399"/>
                  </a:lnTo>
                  <a:lnTo>
                    <a:pt x="2" y="385"/>
                  </a:lnTo>
                  <a:lnTo>
                    <a:pt x="4" y="373"/>
                  </a:lnTo>
                  <a:lnTo>
                    <a:pt x="4" y="358"/>
                  </a:lnTo>
                  <a:lnTo>
                    <a:pt x="6" y="346"/>
                  </a:lnTo>
                  <a:lnTo>
                    <a:pt x="6" y="332"/>
                  </a:lnTo>
                  <a:lnTo>
                    <a:pt x="8" y="319"/>
                  </a:lnTo>
                  <a:lnTo>
                    <a:pt x="8" y="305"/>
                  </a:lnTo>
                  <a:lnTo>
                    <a:pt x="10" y="291"/>
                  </a:lnTo>
                  <a:lnTo>
                    <a:pt x="10" y="278"/>
                  </a:lnTo>
                  <a:lnTo>
                    <a:pt x="12" y="264"/>
                  </a:lnTo>
                  <a:lnTo>
                    <a:pt x="14" y="252"/>
                  </a:lnTo>
                  <a:lnTo>
                    <a:pt x="14" y="238"/>
                  </a:lnTo>
                  <a:lnTo>
                    <a:pt x="16" y="225"/>
                  </a:lnTo>
                  <a:lnTo>
                    <a:pt x="16" y="211"/>
                  </a:lnTo>
                  <a:lnTo>
                    <a:pt x="19" y="199"/>
                  </a:lnTo>
                  <a:lnTo>
                    <a:pt x="19" y="184"/>
                  </a:lnTo>
                  <a:lnTo>
                    <a:pt x="21" y="172"/>
                  </a:lnTo>
                  <a:lnTo>
                    <a:pt x="21" y="158"/>
                  </a:lnTo>
                  <a:lnTo>
                    <a:pt x="23" y="145"/>
                  </a:lnTo>
                  <a:lnTo>
                    <a:pt x="23" y="131"/>
                  </a:lnTo>
                  <a:lnTo>
                    <a:pt x="25" y="119"/>
                  </a:lnTo>
                  <a:lnTo>
                    <a:pt x="25" y="104"/>
                  </a:lnTo>
                  <a:lnTo>
                    <a:pt x="27" y="92"/>
                  </a:lnTo>
                  <a:lnTo>
                    <a:pt x="27" y="78"/>
                  </a:lnTo>
                  <a:lnTo>
                    <a:pt x="29" y="65"/>
                  </a:lnTo>
                  <a:lnTo>
                    <a:pt x="31" y="51"/>
                  </a:lnTo>
                  <a:lnTo>
                    <a:pt x="31" y="39"/>
                  </a:lnTo>
                  <a:lnTo>
                    <a:pt x="33" y="24"/>
                  </a:lnTo>
                  <a:lnTo>
                    <a:pt x="33" y="12"/>
                  </a:lnTo>
                  <a:lnTo>
                    <a:pt x="35" y="0"/>
                  </a:lnTo>
                  <a:lnTo>
                    <a:pt x="47" y="0"/>
                  </a:lnTo>
                  <a:lnTo>
                    <a:pt x="59" y="2"/>
                  </a:lnTo>
                  <a:lnTo>
                    <a:pt x="74" y="2"/>
                  </a:lnTo>
                  <a:lnTo>
                    <a:pt x="86" y="4"/>
                  </a:lnTo>
                  <a:lnTo>
                    <a:pt x="98" y="4"/>
                  </a:lnTo>
                  <a:lnTo>
                    <a:pt x="113" y="4"/>
                  </a:lnTo>
                  <a:lnTo>
                    <a:pt x="125" y="6"/>
                  </a:lnTo>
                  <a:lnTo>
                    <a:pt x="137" y="6"/>
                  </a:lnTo>
                  <a:lnTo>
                    <a:pt x="152" y="8"/>
                  </a:lnTo>
                  <a:lnTo>
                    <a:pt x="164" y="8"/>
                  </a:lnTo>
                  <a:lnTo>
                    <a:pt x="176" y="10"/>
                  </a:lnTo>
                  <a:lnTo>
                    <a:pt x="191" y="10"/>
                  </a:lnTo>
                  <a:lnTo>
                    <a:pt x="203" y="12"/>
                  </a:lnTo>
                  <a:lnTo>
                    <a:pt x="215" y="12"/>
                  </a:lnTo>
                  <a:lnTo>
                    <a:pt x="229" y="12"/>
                  </a:lnTo>
                  <a:lnTo>
                    <a:pt x="242" y="14"/>
                  </a:lnTo>
                  <a:lnTo>
                    <a:pt x="254" y="14"/>
                  </a:lnTo>
                  <a:lnTo>
                    <a:pt x="268" y="14"/>
                  </a:lnTo>
                  <a:lnTo>
                    <a:pt x="281" y="16"/>
                  </a:lnTo>
                  <a:lnTo>
                    <a:pt x="293" y="16"/>
                  </a:lnTo>
                  <a:lnTo>
                    <a:pt x="307" y="16"/>
                  </a:lnTo>
                  <a:lnTo>
                    <a:pt x="320" y="18"/>
                  </a:lnTo>
                  <a:lnTo>
                    <a:pt x="332" y="18"/>
                  </a:lnTo>
                  <a:lnTo>
                    <a:pt x="346" y="18"/>
                  </a:lnTo>
                  <a:lnTo>
                    <a:pt x="358" y="20"/>
                  </a:lnTo>
                  <a:lnTo>
                    <a:pt x="371" y="20"/>
                  </a:lnTo>
                  <a:lnTo>
                    <a:pt x="385" y="20"/>
                  </a:lnTo>
                  <a:lnTo>
                    <a:pt x="397" y="22"/>
                  </a:lnTo>
                  <a:lnTo>
                    <a:pt x="412" y="22"/>
                  </a:lnTo>
                  <a:lnTo>
                    <a:pt x="424" y="22"/>
                  </a:lnTo>
                  <a:lnTo>
                    <a:pt x="436" y="22"/>
                  </a:lnTo>
                  <a:lnTo>
                    <a:pt x="451" y="24"/>
                  </a:lnTo>
                  <a:lnTo>
                    <a:pt x="459" y="24"/>
                  </a:lnTo>
                  <a:lnTo>
                    <a:pt x="469" y="24"/>
                  </a:lnTo>
                  <a:lnTo>
                    <a:pt x="479" y="24"/>
                  </a:lnTo>
                  <a:lnTo>
                    <a:pt x="490" y="24"/>
                  </a:lnTo>
                  <a:lnTo>
                    <a:pt x="500" y="24"/>
                  </a:lnTo>
                  <a:lnTo>
                    <a:pt x="508" y="24"/>
                  </a:lnTo>
                  <a:lnTo>
                    <a:pt x="518" y="26"/>
                  </a:lnTo>
                  <a:lnTo>
                    <a:pt x="528" y="26"/>
                  </a:lnTo>
                  <a:lnTo>
                    <a:pt x="539" y="26"/>
                  </a:lnTo>
                  <a:lnTo>
                    <a:pt x="549" y="26"/>
                  </a:lnTo>
                  <a:lnTo>
                    <a:pt x="557" y="26"/>
                  </a:lnTo>
                  <a:lnTo>
                    <a:pt x="567" y="26"/>
                  </a:lnTo>
                  <a:lnTo>
                    <a:pt x="578" y="26"/>
                  </a:lnTo>
                  <a:lnTo>
                    <a:pt x="588" y="26"/>
                  </a:lnTo>
                  <a:lnTo>
                    <a:pt x="598" y="28"/>
                  </a:lnTo>
                  <a:lnTo>
                    <a:pt x="608" y="28"/>
                  </a:lnTo>
                  <a:lnTo>
                    <a:pt x="614" y="28"/>
                  </a:lnTo>
                  <a:lnTo>
                    <a:pt x="614" y="35"/>
                  </a:lnTo>
                  <a:lnTo>
                    <a:pt x="614" y="41"/>
                  </a:lnTo>
                  <a:lnTo>
                    <a:pt x="614" y="47"/>
                  </a:lnTo>
                  <a:lnTo>
                    <a:pt x="614" y="55"/>
                  </a:lnTo>
                  <a:lnTo>
                    <a:pt x="614" y="61"/>
                  </a:lnTo>
                  <a:lnTo>
                    <a:pt x="614" y="67"/>
                  </a:lnTo>
                  <a:lnTo>
                    <a:pt x="614" y="74"/>
                  </a:lnTo>
                  <a:lnTo>
                    <a:pt x="614" y="82"/>
                  </a:lnTo>
                  <a:lnTo>
                    <a:pt x="614" y="88"/>
                  </a:lnTo>
                  <a:lnTo>
                    <a:pt x="614" y="94"/>
                  </a:lnTo>
                  <a:lnTo>
                    <a:pt x="614" y="100"/>
                  </a:lnTo>
                  <a:lnTo>
                    <a:pt x="614" y="108"/>
                  </a:lnTo>
                  <a:lnTo>
                    <a:pt x="614" y="115"/>
                  </a:lnTo>
                  <a:lnTo>
                    <a:pt x="612" y="121"/>
                  </a:lnTo>
                  <a:lnTo>
                    <a:pt x="612" y="127"/>
                  </a:lnTo>
                  <a:lnTo>
                    <a:pt x="612" y="135"/>
                  </a:lnTo>
                  <a:lnTo>
                    <a:pt x="612" y="135"/>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CO</a:t>
              </a:r>
            </a:p>
          </p:txBody>
        </p:sp>
        <p:sp>
          <p:nvSpPr>
            <p:cNvPr id="288" name="Freeform 51">
              <a:extLst>
                <a:ext uri="{FF2B5EF4-FFF2-40B4-BE49-F238E27FC236}">
                  <a16:creationId xmlns:a16="http://schemas.microsoft.com/office/drawing/2014/main" id="{B9CC598E-04DB-2A8E-476A-B4B0416C89DF}"/>
                </a:ext>
              </a:extLst>
            </p:cNvPr>
            <p:cNvSpPr>
              <a:spLocks noEditPoints="1"/>
            </p:cNvSpPr>
            <p:nvPr/>
          </p:nvSpPr>
          <p:spPr bwMode="auto">
            <a:xfrm>
              <a:off x="711" y="693"/>
              <a:ext cx="760" cy="1125"/>
            </a:xfrm>
            <a:custGeom>
              <a:avLst/>
              <a:gdLst>
                <a:gd name="T0" fmla="*/ 350 w 760"/>
                <a:gd name="T1" fmla="*/ 1061 h 1125"/>
                <a:gd name="T2" fmla="*/ 260 w 760"/>
                <a:gd name="T3" fmla="*/ 998 h 1125"/>
                <a:gd name="T4" fmla="*/ 359 w 760"/>
                <a:gd name="T5" fmla="*/ 1004 h 1125"/>
                <a:gd name="T6" fmla="*/ 223 w 760"/>
                <a:gd name="T7" fmla="*/ 908 h 1125"/>
                <a:gd name="T8" fmla="*/ 234 w 760"/>
                <a:gd name="T9" fmla="*/ 918 h 1125"/>
                <a:gd name="T10" fmla="*/ 201 w 760"/>
                <a:gd name="T11" fmla="*/ 903 h 1125"/>
                <a:gd name="T12" fmla="*/ 242 w 760"/>
                <a:gd name="T13" fmla="*/ 906 h 1125"/>
                <a:gd name="T14" fmla="*/ 756 w 760"/>
                <a:gd name="T15" fmla="*/ 955 h 1125"/>
                <a:gd name="T16" fmla="*/ 741 w 760"/>
                <a:gd name="T17" fmla="*/ 934 h 1125"/>
                <a:gd name="T18" fmla="*/ 725 w 760"/>
                <a:gd name="T19" fmla="*/ 895 h 1125"/>
                <a:gd name="T20" fmla="*/ 518 w 760"/>
                <a:gd name="T21" fmla="*/ 617 h 1125"/>
                <a:gd name="T22" fmla="*/ 354 w 760"/>
                <a:gd name="T23" fmla="*/ 260 h 1125"/>
                <a:gd name="T24" fmla="*/ 178 w 760"/>
                <a:gd name="T25" fmla="*/ 28 h 1125"/>
                <a:gd name="T26" fmla="*/ 49 w 760"/>
                <a:gd name="T27" fmla="*/ 35 h 1125"/>
                <a:gd name="T28" fmla="*/ 37 w 760"/>
                <a:gd name="T29" fmla="*/ 90 h 1125"/>
                <a:gd name="T30" fmla="*/ 33 w 760"/>
                <a:gd name="T31" fmla="*/ 125 h 1125"/>
                <a:gd name="T32" fmla="*/ 12 w 760"/>
                <a:gd name="T33" fmla="*/ 139 h 1125"/>
                <a:gd name="T34" fmla="*/ 2 w 760"/>
                <a:gd name="T35" fmla="*/ 180 h 1125"/>
                <a:gd name="T36" fmla="*/ 33 w 760"/>
                <a:gd name="T37" fmla="*/ 246 h 1125"/>
                <a:gd name="T38" fmla="*/ 27 w 760"/>
                <a:gd name="T39" fmla="*/ 311 h 1125"/>
                <a:gd name="T40" fmla="*/ 57 w 760"/>
                <a:gd name="T41" fmla="*/ 387 h 1125"/>
                <a:gd name="T42" fmla="*/ 72 w 760"/>
                <a:gd name="T43" fmla="*/ 428 h 1125"/>
                <a:gd name="T44" fmla="*/ 66 w 760"/>
                <a:gd name="T45" fmla="*/ 434 h 1125"/>
                <a:gd name="T46" fmla="*/ 84 w 760"/>
                <a:gd name="T47" fmla="*/ 453 h 1125"/>
                <a:gd name="T48" fmla="*/ 100 w 760"/>
                <a:gd name="T49" fmla="*/ 455 h 1125"/>
                <a:gd name="T50" fmla="*/ 125 w 760"/>
                <a:gd name="T51" fmla="*/ 444 h 1125"/>
                <a:gd name="T52" fmla="*/ 152 w 760"/>
                <a:gd name="T53" fmla="*/ 451 h 1125"/>
                <a:gd name="T54" fmla="*/ 166 w 760"/>
                <a:gd name="T55" fmla="*/ 453 h 1125"/>
                <a:gd name="T56" fmla="*/ 178 w 760"/>
                <a:gd name="T57" fmla="*/ 451 h 1125"/>
                <a:gd name="T58" fmla="*/ 178 w 760"/>
                <a:gd name="T59" fmla="*/ 453 h 1125"/>
                <a:gd name="T60" fmla="*/ 164 w 760"/>
                <a:gd name="T61" fmla="*/ 457 h 1125"/>
                <a:gd name="T62" fmla="*/ 109 w 760"/>
                <a:gd name="T63" fmla="*/ 455 h 1125"/>
                <a:gd name="T64" fmla="*/ 123 w 760"/>
                <a:gd name="T65" fmla="*/ 490 h 1125"/>
                <a:gd name="T66" fmla="*/ 121 w 760"/>
                <a:gd name="T67" fmla="*/ 506 h 1125"/>
                <a:gd name="T68" fmla="*/ 105 w 760"/>
                <a:gd name="T69" fmla="*/ 492 h 1125"/>
                <a:gd name="T70" fmla="*/ 94 w 760"/>
                <a:gd name="T71" fmla="*/ 473 h 1125"/>
                <a:gd name="T72" fmla="*/ 94 w 760"/>
                <a:gd name="T73" fmla="*/ 528 h 1125"/>
                <a:gd name="T74" fmla="*/ 133 w 760"/>
                <a:gd name="T75" fmla="*/ 571 h 1125"/>
                <a:gd name="T76" fmla="*/ 125 w 760"/>
                <a:gd name="T77" fmla="*/ 604 h 1125"/>
                <a:gd name="T78" fmla="*/ 119 w 760"/>
                <a:gd name="T79" fmla="*/ 635 h 1125"/>
                <a:gd name="T80" fmla="*/ 143 w 760"/>
                <a:gd name="T81" fmla="*/ 676 h 1125"/>
                <a:gd name="T82" fmla="*/ 172 w 760"/>
                <a:gd name="T83" fmla="*/ 733 h 1125"/>
                <a:gd name="T84" fmla="*/ 182 w 760"/>
                <a:gd name="T85" fmla="*/ 768 h 1125"/>
                <a:gd name="T86" fmla="*/ 197 w 760"/>
                <a:gd name="T87" fmla="*/ 809 h 1125"/>
                <a:gd name="T88" fmla="*/ 195 w 760"/>
                <a:gd name="T89" fmla="*/ 844 h 1125"/>
                <a:gd name="T90" fmla="*/ 266 w 760"/>
                <a:gd name="T91" fmla="*/ 875 h 1125"/>
                <a:gd name="T92" fmla="*/ 305 w 760"/>
                <a:gd name="T93" fmla="*/ 899 h 1125"/>
                <a:gd name="T94" fmla="*/ 332 w 760"/>
                <a:gd name="T95" fmla="*/ 924 h 1125"/>
                <a:gd name="T96" fmla="*/ 373 w 760"/>
                <a:gd name="T97" fmla="*/ 959 h 1125"/>
                <a:gd name="T98" fmla="*/ 383 w 760"/>
                <a:gd name="T99" fmla="*/ 965 h 1125"/>
                <a:gd name="T100" fmla="*/ 445 w 760"/>
                <a:gd name="T101" fmla="*/ 1020 h 1125"/>
                <a:gd name="T102" fmla="*/ 459 w 760"/>
                <a:gd name="T103" fmla="*/ 1092 h 1125"/>
                <a:gd name="T104" fmla="*/ 459 w 760"/>
                <a:gd name="T105" fmla="*/ 1094 h 1125"/>
                <a:gd name="T106" fmla="*/ 533 w 760"/>
                <a:gd name="T107" fmla="*/ 1117 h 1125"/>
                <a:gd name="T108" fmla="*/ 674 w 760"/>
                <a:gd name="T109" fmla="*/ 1123 h 1125"/>
                <a:gd name="T110" fmla="*/ 711 w 760"/>
                <a:gd name="T111" fmla="*/ 1098 h 1125"/>
                <a:gd name="T112" fmla="*/ 694 w 760"/>
                <a:gd name="T113" fmla="*/ 1049 h 1125"/>
                <a:gd name="T114" fmla="*/ 719 w 760"/>
                <a:gd name="T115" fmla="*/ 1018 h 1125"/>
                <a:gd name="T116" fmla="*/ 725 w 760"/>
                <a:gd name="T117" fmla="*/ 990 h 1125"/>
                <a:gd name="T118" fmla="*/ 53 w 760"/>
                <a:gd name="T119" fmla="*/ 471 h 1125"/>
                <a:gd name="T120" fmla="*/ 109 w 760"/>
                <a:gd name="T121" fmla="*/ 469 h 1125"/>
                <a:gd name="T122" fmla="*/ 289 w 760"/>
                <a:gd name="T123" fmla="*/ 922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1125">
                  <a:moveTo>
                    <a:pt x="354" y="1057"/>
                  </a:moveTo>
                  <a:lnTo>
                    <a:pt x="352" y="1053"/>
                  </a:lnTo>
                  <a:lnTo>
                    <a:pt x="348" y="1049"/>
                  </a:lnTo>
                  <a:lnTo>
                    <a:pt x="346" y="1047"/>
                  </a:lnTo>
                  <a:lnTo>
                    <a:pt x="346" y="1043"/>
                  </a:lnTo>
                  <a:lnTo>
                    <a:pt x="346" y="1043"/>
                  </a:lnTo>
                  <a:lnTo>
                    <a:pt x="346" y="1041"/>
                  </a:lnTo>
                  <a:lnTo>
                    <a:pt x="344" y="1041"/>
                  </a:lnTo>
                  <a:lnTo>
                    <a:pt x="344" y="1039"/>
                  </a:lnTo>
                  <a:lnTo>
                    <a:pt x="344" y="1039"/>
                  </a:lnTo>
                  <a:lnTo>
                    <a:pt x="344" y="1037"/>
                  </a:lnTo>
                  <a:lnTo>
                    <a:pt x="342" y="1037"/>
                  </a:lnTo>
                  <a:lnTo>
                    <a:pt x="342" y="1037"/>
                  </a:lnTo>
                  <a:lnTo>
                    <a:pt x="340" y="1039"/>
                  </a:lnTo>
                  <a:lnTo>
                    <a:pt x="342" y="1043"/>
                  </a:lnTo>
                  <a:lnTo>
                    <a:pt x="344" y="1045"/>
                  </a:lnTo>
                  <a:lnTo>
                    <a:pt x="344" y="1049"/>
                  </a:lnTo>
                  <a:lnTo>
                    <a:pt x="346" y="1055"/>
                  </a:lnTo>
                  <a:lnTo>
                    <a:pt x="348" y="1059"/>
                  </a:lnTo>
                  <a:lnTo>
                    <a:pt x="350" y="1061"/>
                  </a:lnTo>
                  <a:lnTo>
                    <a:pt x="352" y="1061"/>
                  </a:lnTo>
                  <a:lnTo>
                    <a:pt x="352" y="1063"/>
                  </a:lnTo>
                  <a:lnTo>
                    <a:pt x="354" y="1063"/>
                  </a:lnTo>
                  <a:lnTo>
                    <a:pt x="354" y="1063"/>
                  </a:lnTo>
                  <a:lnTo>
                    <a:pt x="354" y="1063"/>
                  </a:lnTo>
                  <a:lnTo>
                    <a:pt x="356" y="1063"/>
                  </a:lnTo>
                  <a:lnTo>
                    <a:pt x="359" y="1063"/>
                  </a:lnTo>
                  <a:lnTo>
                    <a:pt x="359" y="1063"/>
                  </a:lnTo>
                  <a:lnTo>
                    <a:pt x="361" y="1063"/>
                  </a:lnTo>
                  <a:lnTo>
                    <a:pt x="356" y="1059"/>
                  </a:lnTo>
                  <a:lnTo>
                    <a:pt x="354" y="1057"/>
                  </a:lnTo>
                  <a:close/>
                  <a:moveTo>
                    <a:pt x="268" y="1000"/>
                  </a:moveTo>
                  <a:lnTo>
                    <a:pt x="264" y="998"/>
                  </a:lnTo>
                  <a:lnTo>
                    <a:pt x="264" y="998"/>
                  </a:lnTo>
                  <a:lnTo>
                    <a:pt x="264" y="996"/>
                  </a:lnTo>
                  <a:lnTo>
                    <a:pt x="262" y="996"/>
                  </a:lnTo>
                  <a:lnTo>
                    <a:pt x="262" y="996"/>
                  </a:lnTo>
                  <a:lnTo>
                    <a:pt x="260" y="996"/>
                  </a:lnTo>
                  <a:lnTo>
                    <a:pt x="258" y="996"/>
                  </a:lnTo>
                  <a:lnTo>
                    <a:pt x="260" y="998"/>
                  </a:lnTo>
                  <a:lnTo>
                    <a:pt x="262" y="1002"/>
                  </a:lnTo>
                  <a:lnTo>
                    <a:pt x="264" y="1004"/>
                  </a:lnTo>
                  <a:lnTo>
                    <a:pt x="266" y="1004"/>
                  </a:lnTo>
                  <a:lnTo>
                    <a:pt x="270" y="1004"/>
                  </a:lnTo>
                  <a:lnTo>
                    <a:pt x="270" y="1002"/>
                  </a:lnTo>
                  <a:lnTo>
                    <a:pt x="268" y="1000"/>
                  </a:lnTo>
                  <a:close/>
                  <a:moveTo>
                    <a:pt x="369" y="1000"/>
                  </a:moveTo>
                  <a:lnTo>
                    <a:pt x="361" y="996"/>
                  </a:lnTo>
                  <a:lnTo>
                    <a:pt x="361" y="996"/>
                  </a:lnTo>
                  <a:lnTo>
                    <a:pt x="354" y="992"/>
                  </a:lnTo>
                  <a:lnTo>
                    <a:pt x="352" y="990"/>
                  </a:lnTo>
                  <a:lnTo>
                    <a:pt x="350" y="990"/>
                  </a:lnTo>
                  <a:lnTo>
                    <a:pt x="350" y="992"/>
                  </a:lnTo>
                  <a:lnTo>
                    <a:pt x="350" y="994"/>
                  </a:lnTo>
                  <a:lnTo>
                    <a:pt x="352" y="994"/>
                  </a:lnTo>
                  <a:lnTo>
                    <a:pt x="354" y="996"/>
                  </a:lnTo>
                  <a:lnTo>
                    <a:pt x="356" y="996"/>
                  </a:lnTo>
                  <a:lnTo>
                    <a:pt x="359" y="998"/>
                  </a:lnTo>
                  <a:lnTo>
                    <a:pt x="359" y="1000"/>
                  </a:lnTo>
                  <a:lnTo>
                    <a:pt x="359" y="1004"/>
                  </a:lnTo>
                  <a:lnTo>
                    <a:pt x="359" y="1006"/>
                  </a:lnTo>
                  <a:lnTo>
                    <a:pt x="359" y="1008"/>
                  </a:lnTo>
                  <a:lnTo>
                    <a:pt x="361" y="1010"/>
                  </a:lnTo>
                  <a:lnTo>
                    <a:pt x="363" y="1010"/>
                  </a:lnTo>
                  <a:lnTo>
                    <a:pt x="363" y="1010"/>
                  </a:lnTo>
                  <a:lnTo>
                    <a:pt x="365" y="1010"/>
                  </a:lnTo>
                  <a:lnTo>
                    <a:pt x="367" y="1010"/>
                  </a:lnTo>
                  <a:lnTo>
                    <a:pt x="367" y="1010"/>
                  </a:lnTo>
                  <a:lnTo>
                    <a:pt x="369" y="1012"/>
                  </a:lnTo>
                  <a:lnTo>
                    <a:pt x="371" y="1012"/>
                  </a:lnTo>
                  <a:lnTo>
                    <a:pt x="373" y="1012"/>
                  </a:lnTo>
                  <a:lnTo>
                    <a:pt x="373" y="1010"/>
                  </a:lnTo>
                  <a:lnTo>
                    <a:pt x="369" y="1002"/>
                  </a:lnTo>
                  <a:lnTo>
                    <a:pt x="369" y="1000"/>
                  </a:lnTo>
                  <a:close/>
                  <a:moveTo>
                    <a:pt x="232" y="912"/>
                  </a:moveTo>
                  <a:lnTo>
                    <a:pt x="232" y="910"/>
                  </a:lnTo>
                  <a:lnTo>
                    <a:pt x="232" y="908"/>
                  </a:lnTo>
                  <a:lnTo>
                    <a:pt x="229" y="908"/>
                  </a:lnTo>
                  <a:lnTo>
                    <a:pt x="229" y="908"/>
                  </a:lnTo>
                  <a:lnTo>
                    <a:pt x="223" y="908"/>
                  </a:lnTo>
                  <a:lnTo>
                    <a:pt x="221" y="908"/>
                  </a:lnTo>
                  <a:lnTo>
                    <a:pt x="221" y="908"/>
                  </a:lnTo>
                  <a:lnTo>
                    <a:pt x="219" y="908"/>
                  </a:lnTo>
                  <a:lnTo>
                    <a:pt x="217" y="908"/>
                  </a:lnTo>
                  <a:lnTo>
                    <a:pt x="215" y="906"/>
                  </a:lnTo>
                  <a:lnTo>
                    <a:pt x="213" y="908"/>
                  </a:lnTo>
                  <a:lnTo>
                    <a:pt x="213" y="910"/>
                  </a:lnTo>
                  <a:lnTo>
                    <a:pt x="215" y="912"/>
                  </a:lnTo>
                  <a:lnTo>
                    <a:pt x="217" y="914"/>
                  </a:lnTo>
                  <a:lnTo>
                    <a:pt x="217" y="916"/>
                  </a:lnTo>
                  <a:lnTo>
                    <a:pt x="217" y="918"/>
                  </a:lnTo>
                  <a:lnTo>
                    <a:pt x="219" y="920"/>
                  </a:lnTo>
                  <a:lnTo>
                    <a:pt x="221" y="920"/>
                  </a:lnTo>
                  <a:lnTo>
                    <a:pt x="223" y="920"/>
                  </a:lnTo>
                  <a:lnTo>
                    <a:pt x="223" y="920"/>
                  </a:lnTo>
                  <a:lnTo>
                    <a:pt x="225" y="920"/>
                  </a:lnTo>
                  <a:lnTo>
                    <a:pt x="225" y="920"/>
                  </a:lnTo>
                  <a:lnTo>
                    <a:pt x="227" y="920"/>
                  </a:lnTo>
                  <a:lnTo>
                    <a:pt x="227" y="920"/>
                  </a:lnTo>
                  <a:lnTo>
                    <a:pt x="234" y="918"/>
                  </a:lnTo>
                  <a:lnTo>
                    <a:pt x="236" y="918"/>
                  </a:lnTo>
                  <a:lnTo>
                    <a:pt x="236" y="916"/>
                  </a:lnTo>
                  <a:lnTo>
                    <a:pt x="236" y="914"/>
                  </a:lnTo>
                  <a:lnTo>
                    <a:pt x="234" y="914"/>
                  </a:lnTo>
                  <a:lnTo>
                    <a:pt x="232" y="912"/>
                  </a:lnTo>
                  <a:close/>
                  <a:moveTo>
                    <a:pt x="207" y="903"/>
                  </a:moveTo>
                  <a:lnTo>
                    <a:pt x="207" y="901"/>
                  </a:lnTo>
                  <a:lnTo>
                    <a:pt x="207" y="901"/>
                  </a:lnTo>
                  <a:lnTo>
                    <a:pt x="205" y="901"/>
                  </a:lnTo>
                  <a:lnTo>
                    <a:pt x="205" y="899"/>
                  </a:lnTo>
                  <a:lnTo>
                    <a:pt x="205" y="899"/>
                  </a:lnTo>
                  <a:lnTo>
                    <a:pt x="203" y="897"/>
                  </a:lnTo>
                  <a:lnTo>
                    <a:pt x="203" y="899"/>
                  </a:lnTo>
                  <a:lnTo>
                    <a:pt x="201" y="899"/>
                  </a:lnTo>
                  <a:lnTo>
                    <a:pt x="199" y="899"/>
                  </a:lnTo>
                  <a:lnTo>
                    <a:pt x="197" y="901"/>
                  </a:lnTo>
                  <a:lnTo>
                    <a:pt x="197" y="901"/>
                  </a:lnTo>
                  <a:lnTo>
                    <a:pt x="197" y="901"/>
                  </a:lnTo>
                  <a:lnTo>
                    <a:pt x="199" y="901"/>
                  </a:lnTo>
                  <a:lnTo>
                    <a:pt x="201" y="903"/>
                  </a:lnTo>
                  <a:lnTo>
                    <a:pt x="203" y="903"/>
                  </a:lnTo>
                  <a:lnTo>
                    <a:pt x="209" y="906"/>
                  </a:lnTo>
                  <a:lnTo>
                    <a:pt x="209" y="903"/>
                  </a:lnTo>
                  <a:lnTo>
                    <a:pt x="207" y="903"/>
                  </a:lnTo>
                  <a:close/>
                  <a:moveTo>
                    <a:pt x="275" y="914"/>
                  </a:moveTo>
                  <a:lnTo>
                    <a:pt x="275" y="914"/>
                  </a:lnTo>
                  <a:lnTo>
                    <a:pt x="272" y="912"/>
                  </a:lnTo>
                  <a:lnTo>
                    <a:pt x="270" y="914"/>
                  </a:lnTo>
                  <a:lnTo>
                    <a:pt x="266" y="916"/>
                  </a:lnTo>
                  <a:lnTo>
                    <a:pt x="266" y="916"/>
                  </a:lnTo>
                  <a:lnTo>
                    <a:pt x="266" y="916"/>
                  </a:lnTo>
                  <a:lnTo>
                    <a:pt x="258" y="912"/>
                  </a:lnTo>
                  <a:lnTo>
                    <a:pt x="256" y="910"/>
                  </a:lnTo>
                  <a:lnTo>
                    <a:pt x="252" y="910"/>
                  </a:lnTo>
                  <a:lnTo>
                    <a:pt x="252" y="910"/>
                  </a:lnTo>
                  <a:lnTo>
                    <a:pt x="248" y="906"/>
                  </a:lnTo>
                  <a:lnTo>
                    <a:pt x="244" y="906"/>
                  </a:lnTo>
                  <a:lnTo>
                    <a:pt x="244" y="906"/>
                  </a:lnTo>
                  <a:lnTo>
                    <a:pt x="244" y="906"/>
                  </a:lnTo>
                  <a:lnTo>
                    <a:pt x="242" y="906"/>
                  </a:lnTo>
                  <a:lnTo>
                    <a:pt x="242" y="908"/>
                  </a:lnTo>
                  <a:lnTo>
                    <a:pt x="242" y="908"/>
                  </a:lnTo>
                  <a:lnTo>
                    <a:pt x="244" y="908"/>
                  </a:lnTo>
                  <a:lnTo>
                    <a:pt x="244" y="910"/>
                  </a:lnTo>
                  <a:lnTo>
                    <a:pt x="246" y="910"/>
                  </a:lnTo>
                  <a:lnTo>
                    <a:pt x="246" y="912"/>
                  </a:lnTo>
                  <a:lnTo>
                    <a:pt x="244" y="914"/>
                  </a:lnTo>
                  <a:lnTo>
                    <a:pt x="246" y="916"/>
                  </a:lnTo>
                  <a:lnTo>
                    <a:pt x="250" y="918"/>
                  </a:lnTo>
                  <a:lnTo>
                    <a:pt x="252" y="920"/>
                  </a:lnTo>
                  <a:lnTo>
                    <a:pt x="272" y="920"/>
                  </a:lnTo>
                  <a:lnTo>
                    <a:pt x="275" y="918"/>
                  </a:lnTo>
                  <a:lnTo>
                    <a:pt x="277" y="918"/>
                  </a:lnTo>
                  <a:lnTo>
                    <a:pt x="277" y="916"/>
                  </a:lnTo>
                  <a:lnTo>
                    <a:pt x="277" y="916"/>
                  </a:lnTo>
                  <a:lnTo>
                    <a:pt x="275" y="914"/>
                  </a:lnTo>
                  <a:close/>
                  <a:moveTo>
                    <a:pt x="760" y="959"/>
                  </a:moveTo>
                  <a:lnTo>
                    <a:pt x="760" y="959"/>
                  </a:lnTo>
                  <a:lnTo>
                    <a:pt x="758" y="957"/>
                  </a:lnTo>
                  <a:lnTo>
                    <a:pt x="756" y="955"/>
                  </a:lnTo>
                  <a:lnTo>
                    <a:pt x="756" y="953"/>
                  </a:lnTo>
                  <a:lnTo>
                    <a:pt x="754" y="953"/>
                  </a:lnTo>
                  <a:lnTo>
                    <a:pt x="748" y="947"/>
                  </a:lnTo>
                  <a:lnTo>
                    <a:pt x="746" y="944"/>
                  </a:lnTo>
                  <a:lnTo>
                    <a:pt x="746" y="944"/>
                  </a:lnTo>
                  <a:lnTo>
                    <a:pt x="744" y="942"/>
                  </a:lnTo>
                  <a:lnTo>
                    <a:pt x="744" y="942"/>
                  </a:lnTo>
                  <a:lnTo>
                    <a:pt x="744" y="942"/>
                  </a:lnTo>
                  <a:lnTo>
                    <a:pt x="744" y="940"/>
                  </a:lnTo>
                  <a:lnTo>
                    <a:pt x="744" y="940"/>
                  </a:lnTo>
                  <a:lnTo>
                    <a:pt x="741" y="940"/>
                  </a:lnTo>
                  <a:lnTo>
                    <a:pt x="741" y="940"/>
                  </a:lnTo>
                  <a:lnTo>
                    <a:pt x="741" y="940"/>
                  </a:lnTo>
                  <a:lnTo>
                    <a:pt x="739" y="940"/>
                  </a:lnTo>
                  <a:lnTo>
                    <a:pt x="739" y="938"/>
                  </a:lnTo>
                  <a:lnTo>
                    <a:pt x="739" y="938"/>
                  </a:lnTo>
                  <a:lnTo>
                    <a:pt x="739" y="936"/>
                  </a:lnTo>
                  <a:lnTo>
                    <a:pt x="739" y="936"/>
                  </a:lnTo>
                  <a:lnTo>
                    <a:pt x="739" y="934"/>
                  </a:lnTo>
                  <a:lnTo>
                    <a:pt x="741" y="934"/>
                  </a:lnTo>
                  <a:lnTo>
                    <a:pt x="739" y="932"/>
                  </a:lnTo>
                  <a:lnTo>
                    <a:pt x="739" y="932"/>
                  </a:lnTo>
                  <a:lnTo>
                    <a:pt x="739" y="930"/>
                  </a:lnTo>
                  <a:lnTo>
                    <a:pt x="739" y="928"/>
                  </a:lnTo>
                  <a:lnTo>
                    <a:pt x="737" y="928"/>
                  </a:lnTo>
                  <a:lnTo>
                    <a:pt x="737" y="926"/>
                  </a:lnTo>
                  <a:lnTo>
                    <a:pt x="737" y="926"/>
                  </a:lnTo>
                  <a:lnTo>
                    <a:pt x="737" y="922"/>
                  </a:lnTo>
                  <a:lnTo>
                    <a:pt x="737" y="922"/>
                  </a:lnTo>
                  <a:lnTo>
                    <a:pt x="737" y="922"/>
                  </a:lnTo>
                  <a:lnTo>
                    <a:pt x="737" y="920"/>
                  </a:lnTo>
                  <a:lnTo>
                    <a:pt x="733" y="908"/>
                  </a:lnTo>
                  <a:lnTo>
                    <a:pt x="731" y="908"/>
                  </a:lnTo>
                  <a:lnTo>
                    <a:pt x="729" y="906"/>
                  </a:lnTo>
                  <a:lnTo>
                    <a:pt x="727" y="903"/>
                  </a:lnTo>
                  <a:lnTo>
                    <a:pt x="729" y="901"/>
                  </a:lnTo>
                  <a:lnTo>
                    <a:pt x="727" y="899"/>
                  </a:lnTo>
                  <a:lnTo>
                    <a:pt x="727" y="897"/>
                  </a:lnTo>
                  <a:lnTo>
                    <a:pt x="727" y="895"/>
                  </a:lnTo>
                  <a:lnTo>
                    <a:pt x="725" y="895"/>
                  </a:lnTo>
                  <a:lnTo>
                    <a:pt x="725" y="895"/>
                  </a:lnTo>
                  <a:lnTo>
                    <a:pt x="723" y="893"/>
                  </a:lnTo>
                  <a:lnTo>
                    <a:pt x="725" y="881"/>
                  </a:lnTo>
                  <a:lnTo>
                    <a:pt x="725" y="879"/>
                  </a:lnTo>
                  <a:lnTo>
                    <a:pt x="711" y="862"/>
                  </a:lnTo>
                  <a:lnTo>
                    <a:pt x="696" y="844"/>
                  </a:lnTo>
                  <a:lnTo>
                    <a:pt x="682" y="828"/>
                  </a:lnTo>
                  <a:lnTo>
                    <a:pt x="668" y="809"/>
                  </a:lnTo>
                  <a:lnTo>
                    <a:pt x="655" y="795"/>
                  </a:lnTo>
                  <a:lnTo>
                    <a:pt x="643" y="778"/>
                  </a:lnTo>
                  <a:lnTo>
                    <a:pt x="631" y="764"/>
                  </a:lnTo>
                  <a:lnTo>
                    <a:pt x="619" y="748"/>
                  </a:lnTo>
                  <a:lnTo>
                    <a:pt x="608" y="731"/>
                  </a:lnTo>
                  <a:lnTo>
                    <a:pt x="596" y="717"/>
                  </a:lnTo>
                  <a:lnTo>
                    <a:pt x="584" y="701"/>
                  </a:lnTo>
                  <a:lnTo>
                    <a:pt x="572" y="686"/>
                  </a:lnTo>
                  <a:lnTo>
                    <a:pt x="559" y="668"/>
                  </a:lnTo>
                  <a:lnTo>
                    <a:pt x="545" y="651"/>
                  </a:lnTo>
                  <a:lnTo>
                    <a:pt x="531" y="635"/>
                  </a:lnTo>
                  <a:lnTo>
                    <a:pt x="518" y="617"/>
                  </a:lnTo>
                  <a:lnTo>
                    <a:pt x="504" y="600"/>
                  </a:lnTo>
                  <a:lnTo>
                    <a:pt x="492" y="584"/>
                  </a:lnTo>
                  <a:lnTo>
                    <a:pt x="477" y="565"/>
                  </a:lnTo>
                  <a:lnTo>
                    <a:pt x="465" y="549"/>
                  </a:lnTo>
                  <a:lnTo>
                    <a:pt x="449" y="528"/>
                  </a:lnTo>
                  <a:lnTo>
                    <a:pt x="432" y="508"/>
                  </a:lnTo>
                  <a:lnTo>
                    <a:pt x="414" y="487"/>
                  </a:lnTo>
                  <a:lnTo>
                    <a:pt x="397" y="467"/>
                  </a:lnTo>
                  <a:lnTo>
                    <a:pt x="381" y="446"/>
                  </a:lnTo>
                  <a:lnTo>
                    <a:pt x="365" y="424"/>
                  </a:lnTo>
                  <a:lnTo>
                    <a:pt x="348" y="403"/>
                  </a:lnTo>
                  <a:lnTo>
                    <a:pt x="332" y="383"/>
                  </a:lnTo>
                  <a:lnTo>
                    <a:pt x="332" y="381"/>
                  </a:lnTo>
                  <a:lnTo>
                    <a:pt x="332" y="377"/>
                  </a:lnTo>
                  <a:lnTo>
                    <a:pt x="336" y="356"/>
                  </a:lnTo>
                  <a:lnTo>
                    <a:pt x="340" y="338"/>
                  </a:lnTo>
                  <a:lnTo>
                    <a:pt x="344" y="317"/>
                  </a:lnTo>
                  <a:lnTo>
                    <a:pt x="346" y="299"/>
                  </a:lnTo>
                  <a:lnTo>
                    <a:pt x="350" y="280"/>
                  </a:lnTo>
                  <a:lnTo>
                    <a:pt x="354" y="260"/>
                  </a:lnTo>
                  <a:lnTo>
                    <a:pt x="356" y="242"/>
                  </a:lnTo>
                  <a:lnTo>
                    <a:pt x="361" y="221"/>
                  </a:lnTo>
                  <a:lnTo>
                    <a:pt x="365" y="203"/>
                  </a:lnTo>
                  <a:lnTo>
                    <a:pt x="369" y="184"/>
                  </a:lnTo>
                  <a:lnTo>
                    <a:pt x="371" y="164"/>
                  </a:lnTo>
                  <a:lnTo>
                    <a:pt x="375" y="145"/>
                  </a:lnTo>
                  <a:lnTo>
                    <a:pt x="379" y="127"/>
                  </a:lnTo>
                  <a:lnTo>
                    <a:pt x="381" y="106"/>
                  </a:lnTo>
                  <a:lnTo>
                    <a:pt x="385" y="88"/>
                  </a:lnTo>
                  <a:lnTo>
                    <a:pt x="389" y="69"/>
                  </a:lnTo>
                  <a:lnTo>
                    <a:pt x="369" y="65"/>
                  </a:lnTo>
                  <a:lnTo>
                    <a:pt x="346" y="61"/>
                  </a:lnTo>
                  <a:lnTo>
                    <a:pt x="326" y="57"/>
                  </a:lnTo>
                  <a:lnTo>
                    <a:pt x="305" y="53"/>
                  </a:lnTo>
                  <a:lnTo>
                    <a:pt x="283" y="49"/>
                  </a:lnTo>
                  <a:lnTo>
                    <a:pt x="262" y="45"/>
                  </a:lnTo>
                  <a:lnTo>
                    <a:pt x="242" y="41"/>
                  </a:lnTo>
                  <a:lnTo>
                    <a:pt x="221" y="37"/>
                  </a:lnTo>
                  <a:lnTo>
                    <a:pt x="199" y="33"/>
                  </a:lnTo>
                  <a:lnTo>
                    <a:pt x="178" y="28"/>
                  </a:lnTo>
                  <a:lnTo>
                    <a:pt x="158" y="22"/>
                  </a:lnTo>
                  <a:lnTo>
                    <a:pt x="137" y="18"/>
                  </a:lnTo>
                  <a:lnTo>
                    <a:pt x="115" y="14"/>
                  </a:lnTo>
                  <a:lnTo>
                    <a:pt x="94" y="10"/>
                  </a:lnTo>
                  <a:lnTo>
                    <a:pt x="74" y="6"/>
                  </a:lnTo>
                  <a:lnTo>
                    <a:pt x="53" y="0"/>
                  </a:lnTo>
                  <a:lnTo>
                    <a:pt x="53" y="0"/>
                  </a:lnTo>
                  <a:lnTo>
                    <a:pt x="51" y="0"/>
                  </a:lnTo>
                  <a:lnTo>
                    <a:pt x="51" y="2"/>
                  </a:lnTo>
                  <a:lnTo>
                    <a:pt x="51" y="4"/>
                  </a:lnTo>
                  <a:lnTo>
                    <a:pt x="51" y="4"/>
                  </a:lnTo>
                  <a:lnTo>
                    <a:pt x="49" y="14"/>
                  </a:lnTo>
                  <a:lnTo>
                    <a:pt x="47" y="16"/>
                  </a:lnTo>
                  <a:lnTo>
                    <a:pt x="45" y="18"/>
                  </a:lnTo>
                  <a:lnTo>
                    <a:pt x="41" y="22"/>
                  </a:lnTo>
                  <a:lnTo>
                    <a:pt x="41" y="22"/>
                  </a:lnTo>
                  <a:lnTo>
                    <a:pt x="43" y="24"/>
                  </a:lnTo>
                  <a:lnTo>
                    <a:pt x="47" y="26"/>
                  </a:lnTo>
                  <a:lnTo>
                    <a:pt x="49" y="33"/>
                  </a:lnTo>
                  <a:lnTo>
                    <a:pt x="49" y="35"/>
                  </a:lnTo>
                  <a:lnTo>
                    <a:pt x="49" y="37"/>
                  </a:lnTo>
                  <a:lnTo>
                    <a:pt x="49" y="39"/>
                  </a:lnTo>
                  <a:lnTo>
                    <a:pt x="49" y="41"/>
                  </a:lnTo>
                  <a:lnTo>
                    <a:pt x="51" y="43"/>
                  </a:lnTo>
                  <a:lnTo>
                    <a:pt x="51" y="43"/>
                  </a:lnTo>
                  <a:lnTo>
                    <a:pt x="49" y="47"/>
                  </a:lnTo>
                  <a:lnTo>
                    <a:pt x="49" y="47"/>
                  </a:lnTo>
                  <a:lnTo>
                    <a:pt x="49" y="49"/>
                  </a:lnTo>
                  <a:lnTo>
                    <a:pt x="51" y="49"/>
                  </a:lnTo>
                  <a:lnTo>
                    <a:pt x="51" y="49"/>
                  </a:lnTo>
                  <a:lnTo>
                    <a:pt x="51" y="51"/>
                  </a:lnTo>
                  <a:lnTo>
                    <a:pt x="51" y="51"/>
                  </a:lnTo>
                  <a:lnTo>
                    <a:pt x="49" y="55"/>
                  </a:lnTo>
                  <a:lnTo>
                    <a:pt x="49" y="61"/>
                  </a:lnTo>
                  <a:lnTo>
                    <a:pt x="49" y="65"/>
                  </a:lnTo>
                  <a:lnTo>
                    <a:pt x="45" y="71"/>
                  </a:lnTo>
                  <a:lnTo>
                    <a:pt x="45" y="76"/>
                  </a:lnTo>
                  <a:lnTo>
                    <a:pt x="41" y="82"/>
                  </a:lnTo>
                  <a:lnTo>
                    <a:pt x="39" y="86"/>
                  </a:lnTo>
                  <a:lnTo>
                    <a:pt x="37" y="90"/>
                  </a:lnTo>
                  <a:lnTo>
                    <a:pt x="35" y="90"/>
                  </a:lnTo>
                  <a:lnTo>
                    <a:pt x="35" y="92"/>
                  </a:lnTo>
                  <a:lnTo>
                    <a:pt x="35" y="94"/>
                  </a:lnTo>
                  <a:lnTo>
                    <a:pt x="35" y="96"/>
                  </a:lnTo>
                  <a:lnTo>
                    <a:pt x="33" y="98"/>
                  </a:lnTo>
                  <a:lnTo>
                    <a:pt x="35" y="102"/>
                  </a:lnTo>
                  <a:lnTo>
                    <a:pt x="37" y="104"/>
                  </a:lnTo>
                  <a:lnTo>
                    <a:pt x="35" y="106"/>
                  </a:lnTo>
                  <a:lnTo>
                    <a:pt x="27" y="121"/>
                  </a:lnTo>
                  <a:lnTo>
                    <a:pt x="23" y="127"/>
                  </a:lnTo>
                  <a:lnTo>
                    <a:pt x="21" y="129"/>
                  </a:lnTo>
                  <a:lnTo>
                    <a:pt x="23" y="127"/>
                  </a:lnTo>
                  <a:lnTo>
                    <a:pt x="25" y="127"/>
                  </a:lnTo>
                  <a:lnTo>
                    <a:pt x="29" y="121"/>
                  </a:lnTo>
                  <a:lnTo>
                    <a:pt x="29" y="121"/>
                  </a:lnTo>
                  <a:lnTo>
                    <a:pt x="33" y="121"/>
                  </a:lnTo>
                  <a:lnTo>
                    <a:pt x="35" y="121"/>
                  </a:lnTo>
                  <a:lnTo>
                    <a:pt x="35" y="123"/>
                  </a:lnTo>
                  <a:lnTo>
                    <a:pt x="35" y="123"/>
                  </a:lnTo>
                  <a:lnTo>
                    <a:pt x="33" y="125"/>
                  </a:lnTo>
                  <a:lnTo>
                    <a:pt x="31" y="125"/>
                  </a:lnTo>
                  <a:lnTo>
                    <a:pt x="29" y="125"/>
                  </a:lnTo>
                  <a:lnTo>
                    <a:pt x="27" y="125"/>
                  </a:lnTo>
                  <a:lnTo>
                    <a:pt x="27" y="127"/>
                  </a:lnTo>
                  <a:lnTo>
                    <a:pt x="23" y="129"/>
                  </a:lnTo>
                  <a:lnTo>
                    <a:pt x="23" y="131"/>
                  </a:lnTo>
                  <a:lnTo>
                    <a:pt x="21" y="135"/>
                  </a:lnTo>
                  <a:lnTo>
                    <a:pt x="19" y="137"/>
                  </a:lnTo>
                  <a:lnTo>
                    <a:pt x="19" y="135"/>
                  </a:lnTo>
                  <a:lnTo>
                    <a:pt x="16" y="133"/>
                  </a:lnTo>
                  <a:lnTo>
                    <a:pt x="16" y="133"/>
                  </a:lnTo>
                  <a:lnTo>
                    <a:pt x="19" y="131"/>
                  </a:lnTo>
                  <a:lnTo>
                    <a:pt x="19" y="131"/>
                  </a:lnTo>
                  <a:lnTo>
                    <a:pt x="14" y="133"/>
                  </a:lnTo>
                  <a:lnTo>
                    <a:pt x="12" y="135"/>
                  </a:lnTo>
                  <a:lnTo>
                    <a:pt x="12" y="139"/>
                  </a:lnTo>
                  <a:lnTo>
                    <a:pt x="12" y="139"/>
                  </a:lnTo>
                  <a:lnTo>
                    <a:pt x="12" y="139"/>
                  </a:lnTo>
                  <a:lnTo>
                    <a:pt x="12" y="139"/>
                  </a:lnTo>
                  <a:lnTo>
                    <a:pt x="12" y="139"/>
                  </a:lnTo>
                  <a:lnTo>
                    <a:pt x="10" y="139"/>
                  </a:lnTo>
                  <a:lnTo>
                    <a:pt x="10" y="139"/>
                  </a:lnTo>
                  <a:lnTo>
                    <a:pt x="10" y="141"/>
                  </a:lnTo>
                  <a:lnTo>
                    <a:pt x="10" y="141"/>
                  </a:lnTo>
                  <a:lnTo>
                    <a:pt x="6" y="145"/>
                  </a:lnTo>
                  <a:lnTo>
                    <a:pt x="6" y="147"/>
                  </a:lnTo>
                  <a:lnTo>
                    <a:pt x="4" y="149"/>
                  </a:lnTo>
                  <a:lnTo>
                    <a:pt x="2" y="151"/>
                  </a:lnTo>
                  <a:lnTo>
                    <a:pt x="2" y="153"/>
                  </a:lnTo>
                  <a:lnTo>
                    <a:pt x="2" y="155"/>
                  </a:lnTo>
                  <a:lnTo>
                    <a:pt x="0" y="158"/>
                  </a:lnTo>
                  <a:lnTo>
                    <a:pt x="0" y="158"/>
                  </a:lnTo>
                  <a:lnTo>
                    <a:pt x="0" y="160"/>
                  </a:lnTo>
                  <a:lnTo>
                    <a:pt x="0" y="162"/>
                  </a:lnTo>
                  <a:lnTo>
                    <a:pt x="2" y="170"/>
                  </a:lnTo>
                  <a:lnTo>
                    <a:pt x="2" y="172"/>
                  </a:lnTo>
                  <a:lnTo>
                    <a:pt x="0" y="176"/>
                  </a:lnTo>
                  <a:lnTo>
                    <a:pt x="0" y="178"/>
                  </a:lnTo>
                  <a:lnTo>
                    <a:pt x="0" y="180"/>
                  </a:lnTo>
                  <a:lnTo>
                    <a:pt x="2" y="180"/>
                  </a:lnTo>
                  <a:lnTo>
                    <a:pt x="10" y="192"/>
                  </a:lnTo>
                  <a:lnTo>
                    <a:pt x="14" y="196"/>
                  </a:lnTo>
                  <a:lnTo>
                    <a:pt x="14" y="199"/>
                  </a:lnTo>
                  <a:lnTo>
                    <a:pt x="16" y="205"/>
                  </a:lnTo>
                  <a:lnTo>
                    <a:pt x="16" y="205"/>
                  </a:lnTo>
                  <a:lnTo>
                    <a:pt x="16" y="207"/>
                  </a:lnTo>
                  <a:lnTo>
                    <a:pt x="16" y="209"/>
                  </a:lnTo>
                  <a:lnTo>
                    <a:pt x="19" y="209"/>
                  </a:lnTo>
                  <a:lnTo>
                    <a:pt x="19" y="209"/>
                  </a:lnTo>
                  <a:lnTo>
                    <a:pt x="21" y="211"/>
                  </a:lnTo>
                  <a:lnTo>
                    <a:pt x="23" y="213"/>
                  </a:lnTo>
                  <a:lnTo>
                    <a:pt x="31" y="233"/>
                  </a:lnTo>
                  <a:lnTo>
                    <a:pt x="31" y="235"/>
                  </a:lnTo>
                  <a:lnTo>
                    <a:pt x="29" y="240"/>
                  </a:lnTo>
                  <a:lnTo>
                    <a:pt x="31" y="242"/>
                  </a:lnTo>
                  <a:lnTo>
                    <a:pt x="31" y="244"/>
                  </a:lnTo>
                  <a:lnTo>
                    <a:pt x="31" y="244"/>
                  </a:lnTo>
                  <a:lnTo>
                    <a:pt x="31" y="244"/>
                  </a:lnTo>
                  <a:lnTo>
                    <a:pt x="33" y="246"/>
                  </a:lnTo>
                  <a:lnTo>
                    <a:pt x="33" y="246"/>
                  </a:lnTo>
                  <a:lnTo>
                    <a:pt x="33" y="248"/>
                  </a:lnTo>
                  <a:lnTo>
                    <a:pt x="33" y="250"/>
                  </a:lnTo>
                  <a:lnTo>
                    <a:pt x="31" y="256"/>
                  </a:lnTo>
                  <a:lnTo>
                    <a:pt x="31" y="264"/>
                  </a:lnTo>
                  <a:lnTo>
                    <a:pt x="31" y="264"/>
                  </a:lnTo>
                  <a:lnTo>
                    <a:pt x="29" y="264"/>
                  </a:lnTo>
                  <a:lnTo>
                    <a:pt x="29" y="266"/>
                  </a:lnTo>
                  <a:lnTo>
                    <a:pt x="27" y="272"/>
                  </a:lnTo>
                  <a:lnTo>
                    <a:pt x="25" y="278"/>
                  </a:lnTo>
                  <a:lnTo>
                    <a:pt x="23" y="283"/>
                  </a:lnTo>
                  <a:lnTo>
                    <a:pt x="23" y="287"/>
                  </a:lnTo>
                  <a:lnTo>
                    <a:pt x="23" y="289"/>
                  </a:lnTo>
                  <a:lnTo>
                    <a:pt x="23" y="289"/>
                  </a:lnTo>
                  <a:lnTo>
                    <a:pt x="23" y="291"/>
                  </a:lnTo>
                  <a:lnTo>
                    <a:pt x="23" y="293"/>
                  </a:lnTo>
                  <a:lnTo>
                    <a:pt x="23" y="299"/>
                  </a:lnTo>
                  <a:lnTo>
                    <a:pt x="23" y="301"/>
                  </a:lnTo>
                  <a:lnTo>
                    <a:pt x="25" y="301"/>
                  </a:lnTo>
                  <a:lnTo>
                    <a:pt x="27" y="309"/>
                  </a:lnTo>
                  <a:lnTo>
                    <a:pt x="27" y="311"/>
                  </a:lnTo>
                  <a:lnTo>
                    <a:pt x="25" y="313"/>
                  </a:lnTo>
                  <a:lnTo>
                    <a:pt x="25" y="315"/>
                  </a:lnTo>
                  <a:lnTo>
                    <a:pt x="25" y="317"/>
                  </a:lnTo>
                  <a:lnTo>
                    <a:pt x="25" y="319"/>
                  </a:lnTo>
                  <a:lnTo>
                    <a:pt x="25" y="321"/>
                  </a:lnTo>
                  <a:lnTo>
                    <a:pt x="23" y="324"/>
                  </a:lnTo>
                  <a:lnTo>
                    <a:pt x="23" y="324"/>
                  </a:lnTo>
                  <a:lnTo>
                    <a:pt x="21" y="326"/>
                  </a:lnTo>
                  <a:lnTo>
                    <a:pt x="21" y="328"/>
                  </a:lnTo>
                  <a:lnTo>
                    <a:pt x="23" y="332"/>
                  </a:lnTo>
                  <a:lnTo>
                    <a:pt x="27" y="340"/>
                  </a:lnTo>
                  <a:lnTo>
                    <a:pt x="31" y="344"/>
                  </a:lnTo>
                  <a:lnTo>
                    <a:pt x="31" y="346"/>
                  </a:lnTo>
                  <a:lnTo>
                    <a:pt x="31" y="346"/>
                  </a:lnTo>
                  <a:lnTo>
                    <a:pt x="33" y="348"/>
                  </a:lnTo>
                  <a:lnTo>
                    <a:pt x="35" y="352"/>
                  </a:lnTo>
                  <a:lnTo>
                    <a:pt x="37" y="354"/>
                  </a:lnTo>
                  <a:lnTo>
                    <a:pt x="47" y="377"/>
                  </a:lnTo>
                  <a:lnTo>
                    <a:pt x="49" y="381"/>
                  </a:lnTo>
                  <a:lnTo>
                    <a:pt x="57" y="387"/>
                  </a:lnTo>
                  <a:lnTo>
                    <a:pt x="59" y="391"/>
                  </a:lnTo>
                  <a:lnTo>
                    <a:pt x="62" y="397"/>
                  </a:lnTo>
                  <a:lnTo>
                    <a:pt x="64" y="399"/>
                  </a:lnTo>
                  <a:lnTo>
                    <a:pt x="62" y="406"/>
                  </a:lnTo>
                  <a:lnTo>
                    <a:pt x="62" y="408"/>
                  </a:lnTo>
                  <a:lnTo>
                    <a:pt x="62" y="406"/>
                  </a:lnTo>
                  <a:lnTo>
                    <a:pt x="64" y="403"/>
                  </a:lnTo>
                  <a:lnTo>
                    <a:pt x="68" y="408"/>
                  </a:lnTo>
                  <a:lnTo>
                    <a:pt x="68" y="410"/>
                  </a:lnTo>
                  <a:lnTo>
                    <a:pt x="68" y="412"/>
                  </a:lnTo>
                  <a:lnTo>
                    <a:pt x="68" y="414"/>
                  </a:lnTo>
                  <a:lnTo>
                    <a:pt x="68" y="414"/>
                  </a:lnTo>
                  <a:lnTo>
                    <a:pt x="70" y="418"/>
                  </a:lnTo>
                  <a:lnTo>
                    <a:pt x="72" y="424"/>
                  </a:lnTo>
                  <a:lnTo>
                    <a:pt x="76" y="430"/>
                  </a:lnTo>
                  <a:lnTo>
                    <a:pt x="76" y="432"/>
                  </a:lnTo>
                  <a:lnTo>
                    <a:pt x="76" y="434"/>
                  </a:lnTo>
                  <a:lnTo>
                    <a:pt x="76" y="432"/>
                  </a:lnTo>
                  <a:lnTo>
                    <a:pt x="74" y="430"/>
                  </a:lnTo>
                  <a:lnTo>
                    <a:pt x="72" y="428"/>
                  </a:lnTo>
                  <a:lnTo>
                    <a:pt x="72" y="424"/>
                  </a:lnTo>
                  <a:lnTo>
                    <a:pt x="72" y="422"/>
                  </a:lnTo>
                  <a:lnTo>
                    <a:pt x="68" y="418"/>
                  </a:lnTo>
                  <a:lnTo>
                    <a:pt x="66" y="416"/>
                  </a:lnTo>
                  <a:lnTo>
                    <a:pt x="68" y="422"/>
                  </a:lnTo>
                  <a:lnTo>
                    <a:pt x="68" y="424"/>
                  </a:lnTo>
                  <a:lnTo>
                    <a:pt x="62" y="434"/>
                  </a:lnTo>
                  <a:lnTo>
                    <a:pt x="59" y="438"/>
                  </a:lnTo>
                  <a:lnTo>
                    <a:pt x="57" y="440"/>
                  </a:lnTo>
                  <a:lnTo>
                    <a:pt x="59" y="440"/>
                  </a:lnTo>
                  <a:lnTo>
                    <a:pt x="62" y="440"/>
                  </a:lnTo>
                  <a:lnTo>
                    <a:pt x="62" y="440"/>
                  </a:lnTo>
                  <a:lnTo>
                    <a:pt x="62" y="440"/>
                  </a:lnTo>
                  <a:lnTo>
                    <a:pt x="62" y="440"/>
                  </a:lnTo>
                  <a:lnTo>
                    <a:pt x="64" y="438"/>
                  </a:lnTo>
                  <a:lnTo>
                    <a:pt x="64" y="438"/>
                  </a:lnTo>
                  <a:lnTo>
                    <a:pt x="66" y="436"/>
                  </a:lnTo>
                  <a:lnTo>
                    <a:pt x="66" y="436"/>
                  </a:lnTo>
                  <a:lnTo>
                    <a:pt x="66" y="436"/>
                  </a:lnTo>
                  <a:lnTo>
                    <a:pt x="66" y="434"/>
                  </a:lnTo>
                  <a:lnTo>
                    <a:pt x="66" y="434"/>
                  </a:lnTo>
                  <a:lnTo>
                    <a:pt x="66" y="434"/>
                  </a:lnTo>
                  <a:lnTo>
                    <a:pt x="66" y="432"/>
                  </a:lnTo>
                  <a:lnTo>
                    <a:pt x="68" y="432"/>
                  </a:lnTo>
                  <a:lnTo>
                    <a:pt x="68" y="432"/>
                  </a:lnTo>
                  <a:lnTo>
                    <a:pt x="68" y="436"/>
                  </a:lnTo>
                  <a:lnTo>
                    <a:pt x="70" y="438"/>
                  </a:lnTo>
                  <a:lnTo>
                    <a:pt x="76" y="442"/>
                  </a:lnTo>
                  <a:lnTo>
                    <a:pt x="76" y="442"/>
                  </a:lnTo>
                  <a:lnTo>
                    <a:pt x="76" y="442"/>
                  </a:lnTo>
                  <a:lnTo>
                    <a:pt x="78" y="444"/>
                  </a:lnTo>
                  <a:lnTo>
                    <a:pt x="78" y="449"/>
                  </a:lnTo>
                  <a:lnTo>
                    <a:pt x="78" y="449"/>
                  </a:lnTo>
                  <a:lnTo>
                    <a:pt x="80" y="451"/>
                  </a:lnTo>
                  <a:lnTo>
                    <a:pt x="80" y="451"/>
                  </a:lnTo>
                  <a:lnTo>
                    <a:pt x="82" y="455"/>
                  </a:lnTo>
                  <a:lnTo>
                    <a:pt x="84" y="455"/>
                  </a:lnTo>
                  <a:lnTo>
                    <a:pt x="84" y="455"/>
                  </a:lnTo>
                  <a:lnTo>
                    <a:pt x="84" y="455"/>
                  </a:lnTo>
                  <a:lnTo>
                    <a:pt x="84" y="453"/>
                  </a:lnTo>
                  <a:lnTo>
                    <a:pt x="88" y="457"/>
                  </a:lnTo>
                  <a:lnTo>
                    <a:pt x="90" y="461"/>
                  </a:lnTo>
                  <a:lnTo>
                    <a:pt x="92" y="463"/>
                  </a:lnTo>
                  <a:lnTo>
                    <a:pt x="94" y="465"/>
                  </a:lnTo>
                  <a:lnTo>
                    <a:pt x="96" y="465"/>
                  </a:lnTo>
                  <a:lnTo>
                    <a:pt x="96" y="467"/>
                  </a:lnTo>
                  <a:lnTo>
                    <a:pt x="98" y="467"/>
                  </a:lnTo>
                  <a:lnTo>
                    <a:pt x="100" y="465"/>
                  </a:lnTo>
                  <a:lnTo>
                    <a:pt x="100" y="465"/>
                  </a:lnTo>
                  <a:lnTo>
                    <a:pt x="100" y="463"/>
                  </a:lnTo>
                  <a:lnTo>
                    <a:pt x="100" y="461"/>
                  </a:lnTo>
                  <a:lnTo>
                    <a:pt x="100" y="461"/>
                  </a:lnTo>
                  <a:lnTo>
                    <a:pt x="102" y="461"/>
                  </a:lnTo>
                  <a:lnTo>
                    <a:pt x="102" y="463"/>
                  </a:lnTo>
                  <a:lnTo>
                    <a:pt x="102" y="463"/>
                  </a:lnTo>
                  <a:lnTo>
                    <a:pt x="105" y="461"/>
                  </a:lnTo>
                  <a:lnTo>
                    <a:pt x="102" y="459"/>
                  </a:lnTo>
                  <a:lnTo>
                    <a:pt x="100" y="457"/>
                  </a:lnTo>
                  <a:lnTo>
                    <a:pt x="100" y="455"/>
                  </a:lnTo>
                  <a:lnTo>
                    <a:pt x="100" y="455"/>
                  </a:lnTo>
                  <a:lnTo>
                    <a:pt x="102" y="453"/>
                  </a:lnTo>
                  <a:lnTo>
                    <a:pt x="102" y="453"/>
                  </a:lnTo>
                  <a:lnTo>
                    <a:pt x="100" y="453"/>
                  </a:lnTo>
                  <a:lnTo>
                    <a:pt x="102" y="451"/>
                  </a:lnTo>
                  <a:lnTo>
                    <a:pt x="102" y="451"/>
                  </a:lnTo>
                  <a:lnTo>
                    <a:pt x="105" y="451"/>
                  </a:lnTo>
                  <a:lnTo>
                    <a:pt x="105" y="449"/>
                  </a:lnTo>
                  <a:lnTo>
                    <a:pt x="102" y="446"/>
                  </a:lnTo>
                  <a:lnTo>
                    <a:pt x="102" y="444"/>
                  </a:lnTo>
                  <a:lnTo>
                    <a:pt x="105" y="438"/>
                  </a:lnTo>
                  <a:lnTo>
                    <a:pt x="105" y="436"/>
                  </a:lnTo>
                  <a:lnTo>
                    <a:pt x="107" y="436"/>
                  </a:lnTo>
                  <a:lnTo>
                    <a:pt x="109" y="436"/>
                  </a:lnTo>
                  <a:lnTo>
                    <a:pt x="111" y="434"/>
                  </a:lnTo>
                  <a:lnTo>
                    <a:pt x="113" y="432"/>
                  </a:lnTo>
                  <a:lnTo>
                    <a:pt x="121" y="438"/>
                  </a:lnTo>
                  <a:lnTo>
                    <a:pt x="123" y="440"/>
                  </a:lnTo>
                  <a:lnTo>
                    <a:pt x="123" y="442"/>
                  </a:lnTo>
                  <a:lnTo>
                    <a:pt x="123" y="442"/>
                  </a:lnTo>
                  <a:lnTo>
                    <a:pt x="125" y="444"/>
                  </a:lnTo>
                  <a:lnTo>
                    <a:pt x="127" y="444"/>
                  </a:lnTo>
                  <a:lnTo>
                    <a:pt x="131" y="449"/>
                  </a:lnTo>
                  <a:lnTo>
                    <a:pt x="133" y="449"/>
                  </a:lnTo>
                  <a:lnTo>
                    <a:pt x="133" y="449"/>
                  </a:lnTo>
                  <a:lnTo>
                    <a:pt x="135" y="449"/>
                  </a:lnTo>
                  <a:lnTo>
                    <a:pt x="139" y="446"/>
                  </a:lnTo>
                  <a:lnTo>
                    <a:pt x="139" y="444"/>
                  </a:lnTo>
                  <a:lnTo>
                    <a:pt x="139" y="444"/>
                  </a:lnTo>
                  <a:lnTo>
                    <a:pt x="141" y="442"/>
                  </a:lnTo>
                  <a:lnTo>
                    <a:pt x="141" y="442"/>
                  </a:lnTo>
                  <a:lnTo>
                    <a:pt x="141" y="440"/>
                  </a:lnTo>
                  <a:lnTo>
                    <a:pt x="143" y="440"/>
                  </a:lnTo>
                  <a:lnTo>
                    <a:pt x="146" y="440"/>
                  </a:lnTo>
                  <a:lnTo>
                    <a:pt x="148" y="440"/>
                  </a:lnTo>
                  <a:lnTo>
                    <a:pt x="148" y="442"/>
                  </a:lnTo>
                  <a:lnTo>
                    <a:pt x="148" y="442"/>
                  </a:lnTo>
                  <a:lnTo>
                    <a:pt x="146" y="446"/>
                  </a:lnTo>
                  <a:lnTo>
                    <a:pt x="150" y="449"/>
                  </a:lnTo>
                  <a:lnTo>
                    <a:pt x="154" y="449"/>
                  </a:lnTo>
                  <a:lnTo>
                    <a:pt x="152" y="451"/>
                  </a:lnTo>
                  <a:lnTo>
                    <a:pt x="152" y="451"/>
                  </a:lnTo>
                  <a:lnTo>
                    <a:pt x="152" y="451"/>
                  </a:lnTo>
                  <a:lnTo>
                    <a:pt x="152" y="453"/>
                  </a:lnTo>
                  <a:lnTo>
                    <a:pt x="154" y="453"/>
                  </a:lnTo>
                  <a:lnTo>
                    <a:pt x="156" y="453"/>
                  </a:lnTo>
                  <a:lnTo>
                    <a:pt x="156" y="453"/>
                  </a:lnTo>
                  <a:lnTo>
                    <a:pt x="156" y="451"/>
                  </a:lnTo>
                  <a:lnTo>
                    <a:pt x="158" y="451"/>
                  </a:lnTo>
                  <a:lnTo>
                    <a:pt x="160" y="453"/>
                  </a:lnTo>
                  <a:lnTo>
                    <a:pt x="162" y="453"/>
                  </a:lnTo>
                  <a:lnTo>
                    <a:pt x="166" y="453"/>
                  </a:lnTo>
                  <a:lnTo>
                    <a:pt x="166" y="451"/>
                  </a:lnTo>
                  <a:lnTo>
                    <a:pt x="170" y="449"/>
                  </a:lnTo>
                  <a:lnTo>
                    <a:pt x="172" y="446"/>
                  </a:lnTo>
                  <a:lnTo>
                    <a:pt x="172" y="446"/>
                  </a:lnTo>
                  <a:lnTo>
                    <a:pt x="172" y="449"/>
                  </a:lnTo>
                  <a:lnTo>
                    <a:pt x="170" y="451"/>
                  </a:lnTo>
                  <a:lnTo>
                    <a:pt x="170" y="451"/>
                  </a:lnTo>
                  <a:lnTo>
                    <a:pt x="168" y="453"/>
                  </a:lnTo>
                  <a:lnTo>
                    <a:pt x="166" y="453"/>
                  </a:lnTo>
                  <a:lnTo>
                    <a:pt x="166" y="453"/>
                  </a:lnTo>
                  <a:lnTo>
                    <a:pt x="164" y="453"/>
                  </a:lnTo>
                  <a:lnTo>
                    <a:pt x="164" y="453"/>
                  </a:lnTo>
                  <a:lnTo>
                    <a:pt x="164" y="455"/>
                  </a:lnTo>
                  <a:lnTo>
                    <a:pt x="164" y="455"/>
                  </a:lnTo>
                  <a:lnTo>
                    <a:pt x="164" y="455"/>
                  </a:lnTo>
                  <a:lnTo>
                    <a:pt x="164" y="457"/>
                  </a:lnTo>
                  <a:lnTo>
                    <a:pt x="168" y="457"/>
                  </a:lnTo>
                  <a:lnTo>
                    <a:pt x="170" y="457"/>
                  </a:lnTo>
                  <a:lnTo>
                    <a:pt x="172" y="455"/>
                  </a:lnTo>
                  <a:lnTo>
                    <a:pt x="172" y="453"/>
                  </a:lnTo>
                  <a:lnTo>
                    <a:pt x="172" y="453"/>
                  </a:lnTo>
                  <a:lnTo>
                    <a:pt x="174" y="451"/>
                  </a:lnTo>
                  <a:lnTo>
                    <a:pt x="174" y="451"/>
                  </a:lnTo>
                  <a:lnTo>
                    <a:pt x="174" y="453"/>
                  </a:lnTo>
                  <a:lnTo>
                    <a:pt x="174" y="453"/>
                  </a:lnTo>
                  <a:lnTo>
                    <a:pt x="176" y="453"/>
                  </a:lnTo>
                  <a:lnTo>
                    <a:pt x="176" y="453"/>
                  </a:lnTo>
                  <a:lnTo>
                    <a:pt x="176" y="451"/>
                  </a:lnTo>
                  <a:lnTo>
                    <a:pt x="178" y="451"/>
                  </a:lnTo>
                  <a:lnTo>
                    <a:pt x="180" y="453"/>
                  </a:lnTo>
                  <a:lnTo>
                    <a:pt x="180" y="453"/>
                  </a:lnTo>
                  <a:lnTo>
                    <a:pt x="182" y="453"/>
                  </a:lnTo>
                  <a:lnTo>
                    <a:pt x="186" y="459"/>
                  </a:lnTo>
                  <a:lnTo>
                    <a:pt x="189" y="461"/>
                  </a:lnTo>
                  <a:lnTo>
                    <a:pt x="189" y="461"/>
                  </a:lnTo>
                  <a:lnTo>
                    <a:pt x="191" y="463"/>
                  </a:lnTo>
                  <a:lnTo>
                    <a:pt x="191" y="465"/>
                  </a:lnTo>
                  <a:lnTo>
                    <a:pt x="191" y="465"/>
                  </a:lnTo>
                  <a:lnTo>
                    <a:pt x="189" y="465"/>
                  </a:lnTo>
                  <a:lnTo>
                    <a:pt x="189" y="463"/>
                  </a:lnTo>
                  <a:lnTo>
                    <a:pt x="186" y="461"/>
                  </a:lnTo>
                  <a:lnTo>
                    <a:pt x="186" y="459"/>
                  </a:lnTo>
                  <a:lnTo>
                    <a:pt x="184" y="459"/>
                  </a:lnTo>
                  <a:lnTo>
                    <a:pt x="182" y="459"/>
                  </a:lnTo>
                  <a:lnTo>
                    <a:pt x="180" y="455"/>
                  </a:lnTo>
                  <a:lnTo>
                    <a:pt x="180" y="455"/>
                  </a:lnTo>
                  <a:lnTo>
                    <a:pt x="180" y="455"/>
                  </a:lnTo>
                  <a:lnTo>
                    <a:pt x="180" y="453"/>
                  </a:lnTo>
                  <a:lnTo>
                    <a:pt x="178" y="453"/>
                  </a:lnTo>
                  <a:lnTo>
                    <a:pt x="178" y="453"/>
                  </a:lnTo>
                  <a:lnTo>
                    <a:pt x="178" y="453"/>
                  </a:lnTo>
                  <a:lnTo>
                    <a:pt x="176" y="453"/>
                  </a:lnTo>
                  <a:lnTo>
                    <a:pt x="176" y="453"/>
                  </a:lnTo>
                  <a:lnTo>
                    <a:pt x="174" y="453"/>
                  </a:lnTo>
                  <a:lnTo>
                    <a:pt x="174" y="453"/>
                  </a:lnTo>
                  <a:lnTo>
                    <a:pt x="172" y="455"/>
                  </a:lnTo>
                  <a:lnTo>
                    <a:pt x="172" y="455"/>
                  </a:lnTo>
                  <a:lnTo>
                    <a:pt x="172" y="455"/>
                  </a:lnTo>
                  <a:lnTo>
                    <a:pt x="172" y="457"/>
                  </a:lnTo>
                  <a:lnTo>
                    <a:pt x="172" y="457"/>
                  </a:lnTo>
                  <a:lnTo>
                    <a:pt x="170" y="457"/>
                  </a:lnTo>
                  <a:lnTo>
                    <a:pt x="170" y="457"/>
                  </a:lnTo>
                  <a:lnTo>
                    <a:pt x="168" y="457"/>
                  </a:lnTo>
                  <a:lnTo>
                    <a:pt x="168" y="459"/>
                  </a:lnTo>
                  <a:lnTo>
                    <a:pt x="168" y="459"/>
                  </a:lnTo>
                  <a:lnTo>
                    <a:pt x="170" y="459"/>
                  </a:lnTo>
                  <a:lnTo>
                    <a:pt x="170" y="461"/>
                  </a:lnTo>
                  <a:lnTo>
                    <a:pt x="168" y="459"/>
                  </a:lnTo>
                  <a:lnTo>
                    <a:pt x="164" y="457"/>
                  </a:lnTo>
                  <a:lnTo>
                    <a:pt x="154" y="455"/>
                  </a:lnTo>
                  <a:lnTo>
                    <a:pt x="150" y="453"/>
                  </a:lnTo>
                  <a:lnTo>
                    <a:pt x="139" y="449"/>
                  </a:lnTo>
                  <a:lnTo>
                    <a:pt x="139" y="449"/>
                  </a:lnTo>
                  <a:lnTo>
                    <a:pt x="133" y="451"/>
                  </a:lnTo>
                  <a:lnTo>
                    <a:pt x="131" y="451"/>
                  </a:lnTo>
                  <a:lnTo>
                    <a:pt x="131" y="451"/>
                  </a:lnTo>
                  <a:lnTo>
                    <a:pt x="127" y="446"/>
                  </a:lnTo>
                  <a:lnTo>
                    <a:pt x="125" y="446"/>
                  </a:lnTo>
                  <a:lnTo>
                    <a:pt x="125" y="446"/>
                  </a:lnTo>
                  <a:lnTo>
                    <a:pt x="123" y="446"/>
                  </a:lnTo>
                  <a:lnTo>
                    <a:pt x="117" y="451"/>
                  </a:lnTo>
                  <a:lnTo>
                    <a:pt x="117" y="451"/>
                  </a:lnTo>
                  <a:lnTo>
                    <a:pt x="115" y="451"/>
                  </a:lnTo>
                  <a:lnTo>
                    <a:pt x="115" y="451"/>
                  </a:lnTo>
                  <a:lnTo>
                    <a:pt x="115" y="449"/>
                  </a:lnTo>
                  <a:lnTo>
                    <a:pt x="113" y="449"/>
                  </a:lnTo>
                  <a:lnTo>
                    <a:pt x="113" y="451"/>
                  </a:lnTo>
                  <a:lnTo>
                    <a:pt x="111" y="453"/>
                  </a:lnTo>
                  <a:lnTo>
                    <a:pt x="109" y="455"/>
                  </a:lnTo>
                  <a:lnTo>
                    <a:pt x="109" y="455"/>
                  </a:lnTo>
                  <a:lnTo>
                    <a:pt x="109" y="459"/>
                  </a:lnTo>
                  <a:lnTo>
                    <a:pt x="113" y="461"/>
                  </a:lnTo>
                  <a:lnTo>
                    <a:pt x="115" y="463"/>
                  </a:lnTo>
                  <a:lnTo>
                    <a:pt x="115" y="467"/>
                  </a:lnTo>
                  <a:lnTo>
                    <a:pt x="113" y="471"/>
                  </a:lnTo>
                  <a:lnTo>
                    <a:pt x="113" y="473"/>
                  </a:lnTo>
                  <a:lnTo>
                    <a:pt x="113" y="475"/>
                  </a:lnTo>
                  <a:lnTo>
                    <a:pt x="115" y="475"/>
                  </a:lnTo>
                  <a:lnTo>
                    <a:pt x="119" y="479"/>
                  </a:lnTo>
                  <a:lnTo>
                    <a:pt x="121" y="479"/>
                  </a:lnTo>
                  <a:lnTo>
                    <a:pt x="117" y="481"/>
                  </a:lnTo>
                  <a:lnTo>
                    <a:pt x="117" y="481"/>
                  </a:lnTo>
                  <a:lnTo>
                    <a:pt x="119" y="481"/>
                  </a:lnTo>
                  <a:lnTo>
                    <a:pt x="117" y="483"/>
                  </a:lnTo>
                  <a:lnTo>
                    <a:pt x="119" y="483"/>
                  </a:lnTo>
                  <a:lnTo>
                    <a:pt x="121" y="483"/>
                  </a:lnTo>
                  <a:lnTo>
                    <a:pt x="121" y="483"/>
                  </a:lnTo>
                  <a:lnTo>
                    <a:pt x="121" y="485"/>
                  </a:lnTo>
                  <a:lnTo>
                    <a:pt x="123" y="490"/>
                  </a:lnTo>
                  <a:lnTo>
                    <a:pt x="123" y="502"/>
                  </a:lnTo>
                  <a:lnTo>
                    <a:pt x="125" y="506"/>
                  </a:lnTo>
                  <a:lnTo>
                    <a:pt x="125" y="506"/>
                  </a:lnTo>
                  <a:lnTo>
                    <a:pt x="127" y="508"/>
                  </a:lnTo>
                  <a:lnTo>
                    <a:pt x="127" y="508"/>
                  </a:lnTo>
                  <a:lnTo>
                    <a:pt x="129" y="508"/>
                  </a:lnTo>
                  <a:lnTo>
                    <a:pt x="129" y="510"/>
                  </a:lnTo>
                  <a:lnTo>
                    <a:pt x="129" y="510"/>
                  </a:lnTo>
                  <a:lnTo>
                    <a:pt x="129" y="510"/>
                  </a:lnTo>
                  <a:lnTo>
                    <a:pt x="129" y="510"/>
                  </a:lnTo>
                  <a:lnTo>
                    <a:pt x="129" y="512"/>
                  </a:lnTo>
                  <a:lnTo>
                    <a:pt x="129" y="512"/>
                  </a:lnTo>
                  <a:lnTo>
                    <a:pt x="131" y="512"/>
                  </a:lnTo>
                  <a:lnTo>
                    <a:pt x="129" y="514"/>
                  </a:lnTo>
                  <a:lnTo>
                    <a:pt x="127" y="514"/>
                  </a:lnTo>
                  <a:lnTo>
                    <a:pt x="125" y="512"/>
                  </a:lnTo>
                  <a:lnTo>
                    <a:pt x="123" y="512"/>
                  </a:lnTo>
                  <a:lnTo>
                    <a:pt x="123" y="510"/>
                  </a:lnTo>
                  <a:lnTo>
                    <a:pt x="123" y="508"/>
                  </a:lnTo>
                  <a:lnTo>
                    <a:pt x="121" y="506"/>
                  </a:lnTo>
                  <a:lnTo>
                    <a:pt x="121" y="506"/>
                  </a:lnTo>
                  <a:lnTo>
                    <a:pt x="119" y="506"/>
                  </a:lnTo>
                  <a:lnTo>
                    <a:pt x="119" y="504"/>
                  </a:lnTo>
                  <a:lnTo>
                    <a:pt x="119" y="504"/>
                  </a:lnTo>
                  <a:lnTo>
                    <a:pt x="117" y="504"/>
                  </a:lnTo>
                  <a:lnTo>
                    <a:pt x="117" y="504"/>
                  </a:lnTo>
                  <a:lnTo>
                    <a:pt x="117" y="502"/>
                  </a:lnTo>
                  <a:lnTo>
                    <a:pt x="115" y="502"/>
                  </a:lnTo>
                  <a:lnTo>
                    <a:pt x="115" y="500"/>
                  </a:lnTo>
                  <a:lnTo>
                    <a:pt x="115" y="500"/>
                  </a:lnTo>
                  <a:lnTo>
                    <a:pt x="113" y="500"/>
                  </a:lnTo>
                  <a:lnTo>
                    <a:pt x="113" y="498"/>
                  </a:lnTo>
                  <a:lnTo>
                    <a:pt x="113" y="498"/>
                  </a:lnTo>
                  <a:lnTo>
                    <a:pt x="111" y="498"/>
                  </a:lnTo>
                  <a:lnTo>
                    <a:pt x="109" y="496"/>
                  </a:lnTo>
                  <a:lnTo>
                    <a:pt x="109" y="494"/>
                  </a:lnTo>
                  <a:lnTo>
                    <a:pt x="109" y="494"/>
                  </a:lnTo>
                  <a:lnTo>
                    <a:pt x="107" y="494"/>
                  </a:lnTo>
                  <a:lnTo>
                    <a:pt x="105" y="494"/>
                  </a:lnTo>
                  <a:lnTo>
                    <a:pt x="105" y="492"/>
                  </a:lnTo>
                  <a:lnTo>
                    <a:pt x="105" y="492"/>
                  </a:lnTo>
                  <a:lnTo>
                    <a:pt x="105" y="490"/>
                  </a:lnTo>
                  <a:lnTo>
                    <a:pt x="105" y="490"/>
                  </a:lnTo>
                  <a:lnTo>
                    <a:pt x="105" y="487"/>
                  </a:lnTo>
                  <a:lnTo>
                    <a:pt x="105" y="487"/>
                  </a:lnTo>
                  <a:lnTo>
                    <a:pt x="107" y="479"/>
                  </a:lnTo>
                  <a:lnTo>
                    <a:pt x="107" y="479"/>
                  </a:lnTo>
                  <a:lnTo>
                    <a:pt x="107" y="479"/>
                  </a:lnTo>
                  <a:lnTo>
                    <a:pt x="109" y="479"/>
                  </a:lnTo>
                  <a:lnTo>
                    <a:pt x="107" y="479"/>
                  </a:lnTo>
                  <a:lnTo>
                    <a:pt x="107" y="477"/>
                  </a:lnTo>
                  <a:lnTo>
                    <a:pt x="107" y="477"/>
                  </a:lnTo>
                  <a:lnTo>
                    <a:pt x="107" y="475"/>
                  </a:lnTo>
                  <a:lnTo>
                    <a:pt x="107" y="471"/>
                  </a:lnTo>
                  <a:lnTo>
                    <a:pt x="107" y="471"/>
                  </a:lnTo>
                  <a:lnTo>
                    <a:pt x="105" y="469"/>
                  </a:lnTo>
                  <a:lnTo>
                    <a:pt x="100" y="469"/>
                  </a:lnTo>
                  <a:lnTo>
                    <a:pt x="98" y="469"/>
                  </a:lnTo>
                  <a:lnTo>
                    <a:pt x="98" y="469"/>
                  </a:lnTo>
                  <a:lnTo>
                    <a:pt x="94" y="473"/>
                  </a:lnTo>
                  <a:lnTo>
                    <a:pt x="94" y="477"/>
                  </a:lnTo>
                  <a:lnTo>
                    <a:pt x="94" y="483"/>
                  </a:lnTo>
                  <a:lnTo>
                    <a:pt x="94" y="487"/>
                  </a:lnTo>
                  <a:lnTo>
                    <a:pt x="94" y="490"/>
                  </a:lnTo>
                  <a:lnTo>
                    <a:pt x="92" y="492"/>
                  </a:lnTo>
                  <a:lnTo>
                    <a:pt x="90" y="494"/>
                  </a:lnTo>
                  <a:lnTo>
                    <a:pt x="90" y="500"/>
                  </a:lnTo>
                  <a:lnTo>
                    <a:pt x="90" y="500"/>
                  </a:lnTo>
                  <a:lnTo>
                    <a:pt x="92" y="500"/>
                  </a:lnTo>
                  <a:lnTo>
                    <a:pt x="92" y="500"/>
                  </a:lnTo>
                  <a:lnTo>
                    <a:pt x="94" y="502"/>
                  </a:lnTo>
                  <a:lnTo>
                    <a:pt x="94" y="504"/>
                  </a:lnTo>
                  <a:lnTo>
                    <a:pt x="94" y="508"/>
                  </a:lnTo>
                  <a:lnTo>
                    <a:pt x="96" y="510"/>
                  </a:lnTo>
                  <a:lnTo>
                    <a:pt x="96" y="512"/>
                  </a:lnTo>
                  <a:lnTo>
                    <a:pt x="96" y="514"/>
                  </a:lnTo>
                  <a:lnTo>
                    <a:pt x="96" y="516"/>
                  </a:lnTo>
                  <a:lnTo>
                    <a:pt x="96" y="518"/>
                  </a:lnTo>
                  <a:lnTo>
                    <a:pt x="94" y="524"/>
                  </a:lnTo>
                  <a:lnTo>
                    <a:pt x="94" y="528"/>
                  </a:lnTo>
                  <a:lnTo>
                    <a:pt x="92" y="531"/>
                  </a:lnTo>
                  <a:lnTo>
                    <a:pt x="94" y="537"/>
                  </a:lnTo>
                  <a:lnTo>
                    <a:pt x="96" y="539"/>
                  </a:lnTo>
                  <a:lnTo>
                    <a:pt x="96" y="541"/>
                  </a:lnTo>
                  <a:lnTo>
                    <a:pt x="96" y="543"/>
                  </a:lnTo>
                  <a:lnTo>
                    <a:pt x="96" y="543"/>
                  </a:lnTo>
                  <a:lnTo>
                    <a:pt x="102" y="549"/>
                  </a:lnTo>
                  <a:lnTo>
                    <a:pt x="105" y="555"/>
                  </a:lnTo>
                  <a:lnTo>
                    <a:pt x="107" y="559"/>
                  </a:lnTo>
                  <a:lnTo>
                    <a:pt x="113" y="565"/>
                  </a:lnTo>
                  <a:lnTo>
                    <a:pt x="115" y="565"/>
                  </a:lnTo>
                  <a:lnTo>
                    <a:pt x="117" y="565"/>
                  </a:lnTo>
                  <a:lnTo>
                    <a:pt x="119" y="565"/>
                  </a:lnTo>
                  <a:lnTo>
                    <a:pt x="121" y="565"/>
                  </a:lnTo>
                  <a:lnTo>
                    <a:pt x="123" y="565"/>
                  </a:lnTo>
                  <a:lnTo>
                    <a:pt x="123" y="567"/>
                  </a:lnTo>
                  <a:lnTo>
                    <a:pt x="127" y="565"/>
                  </a:lnTo>
                  <a:lnTo>
                    <a:pt x="129" y="567"/>
                  </a:lnTo>
                  <a:lnTo>
                    <a:pt x="131" y="567"/>
                  </a:lnTo>
                  <a:lnTo>
                    <a:pt x="133" y="571"/>
                  </a:lnTo>
                  <a:lnTo>
                    <a:pt x="135" y="582"/>
                  </a:lnTo>
                  <a:lnTo>
                    <a:pt x="137" y="586"/>
                  </a:lnTo>
                  <a:lnTo>
                    <a:pt x="135" y="592"/>
                  </a:lnTo>
                  <a:lnTo>
                    <a:pt x="135" y="592"/>
                  </a:lnTo>
                  <a:lnTo>
                    <a:pt x="135" y="592"/>
                  </a:lnTo>
                  <a:lnTo>
                    <a:pt x="137" y="592"/>
                  </a:lnTo>
                  <a:lnTo>
                    <a:pt x="137" y="592"/>
                  </a:lnTo>
                  <a:lnTo>
                    <a:pt x="137" y="592"/>
                  </a:lnTo>
                  <a:lnTo>
                    <a:pt x="137" y="594"/>
                  </a:lnTo>
                  <a:lnTo>
                    <a:pt x="137" y="594"/>
                  </a:lnTo>
                  <a:lnTo>
                    <a:pt x="137" y="594"/>
                  </a:lnTo>
                  <a:lnTo>
                    <a:pt x="135" y="594"/>
                  </a:lnTo>
                  <a:lnTo>
                    <a:pt x="133" y="594"/>
                  </a:lnTo>
                  <a:lnTo>
                    <a:pt x="133" y="594"/>
                  </a:lnTo>
                  <a:lnTo>
                    <a:pt x="131" y="600"/>
                  </a:lnTo>
                  <a:lnTo>
                    <a:pt x="131" y="602"/>
                  </a:lnTo>
                  <a:lnTo>
                    <a:pt x="129" y="602"/>
                  </a:lnTo>
                  <a:lnTo>
                    <a:pt x="127" y="604"/>
                  </a:lnTo>
                  <a:lnTo>
                    <a:pt x="125" y="604"/>
                  </a:lnTo>
                  <a:lnTo>
                    <a:pt x="125" y="604"/>
                  </a:lnTo>
                  <a:lnTo>
                    <a:pt x="123" y="602"/>
                  </a:lnTo>
                  <a:lnTo>
                    <a:pt x="121" y="602"/>
                  </a:lnTo>
                  <a:lnTo>
                    <a:pt x="121" y="602"/>
                  </a:lnTo>
                  <a:lnTo>
                    <a:pt x="119" y="604"/>
                  </a:lnTo>
                  <a:lnTo>
                    <a:pt x="117" y="606"/>
                  </a:lnTo>
                  <a:lnTo>
                    <a:pt x="117" y="608"/>
                  </a:lnTo>
                  <a:lnTo>
                    <a:pt x="119" y="608"/>
                  </a:lnTo>
                  <a:lnTo>
                    <a:pt x="119" y="610"/>
                  </a:lnTo>
                  <a:lnTo>
                    <a:pt x="121" y="610"/>
                  </a:lnTo>
                  <a:lnTo>
                    <a:pt x="121" y="612"/>
                  </a:lnTo>
                  <a:lnTo>
                    <a:pt x="119" y="612"/>
                  </a:lnTo>
                  <a:lnTo>
                    <a:pt x="117" y="612"/>
                  </a:lnTo>
                  <a:lnTo>
                    <a:pt x="117" y="615"/>
                  </a:lnTo>
                  <a:lnTo>
                    <a:pt x="117" y="617"/>
                  </a:lnTo>
                  <a:lnTo>
                    <a:pt x="119" y="621"/>
                  </a:lnTo>
                  <a:lnTo>
                    <a:pt x="119" y="627"/>
                  </a:lnTo>
                  <a:lnTo>
                    <a:pt x="117" y="631"/>
                  </a:lnTo>
                  <a:lnTo>
                    <a:pt x="117" y="631"/>
                  </a:lnTo>
                  <a:lnTo>
                    <a:pt x="119" y="635"/>
                  </a:lnTo>
                  <a:lnTo>
                    <a:pt x="119" y="635"/>
                  </a:lnTo>
                  <a:lnTo>
                    <a:pt x="119" y="637"/>
                  </a:lnTo>
                  <a:lnTo>
                    <a:pt x="119" y="637"/>
                  </a:lnTo>
                  <a:lnTo>
                    <a:pt x="119" y="639"/>
                  </a:lnTo>
                  <a:lnTo>
                    <a:pt x="119" y="639"/>
                  </a:lnTo>
                  <a:lnTo>
                    <a:pt x="121" y="639"/>
                  </a:lnTo>
                  <a:lnTo>
                    <a:pt x="121" y="641"/>
                  </a:lnTo>
                  <a:lnTo>
                    <a:pt x="121" y="643"/>
                  </a:lnTo>
                  <a:lnTo>
                    <a:pt x="121" y="643"/>
                  </a:lnTo>
                  <a:lnTo>
                    <a:pt x="121" y="645"/>
                  </a:lnTo>
                  <a:lnTo>
                    <a:pt x="123" y="645"/>
                  </a:lnTo>
                  <a:lnTo>
                    <a:pt x="125" y="647"/>
                  </a:lnTo>
                  <a:lnTo>
                    <a:pt x="131" y="653"/>
                  </a:lnTo>
                  <a:lnTo>
                    <a:pt x="133" y="658"/>
                  </a:lnTo>
                  <a:lnTo>
                    <a:pt x="137" y="666"/>
                  </a:lnTo>
                  <a:lnTo>
                    <a:pt x="137" y="670"/>
                  </a:lnTo>
                  <a:lnTo>
                    <a:pt x="137" y="672"/>
                  </a:lnTo>
                  <a:lnTo>
                    <a:pt x="139" y="672"/>
                  </a:lnTo>
                  <a:lnTo>
                    <a:pt x="141" y="674"/>
                  </a:lnTo>
                  <a:lnTo>
                    <a:pt x="143" y="674"/>
                  </a:lnTo>
                  <a:lnTo>
                    <a:pt x="143" y="676"/>
                  </a:lnTo>
                  <a:lnTo>
                    <a:pt x="146" y="678"/>
                  </a:lnTo>
                  <a:lnTo>
                    <a:pt x="146" y="680"/>
                  </a:lnTo>
                  <a:lnTo>
                    <a:pt x="146" y="682"/>
                  </a:lnTo>
                  <a:lnTo>
                    <a:pt x="146" y="684"/>
                  </a:lnTo>
                  <a:lnTo>
                    <a:pt x="146" y="686"/>
                  </a:lnTo>
                  <a:lnTo>
                    <a:pt x="146" y="688"/>
                  </a:lnTo>
                  <a:lnTo>
                    <a:pt x="148" y="690"/>
                  </a:lnTo>
                  <a:lnTo>
                    <a:pt x="150" y="694"/>
                  </a:lnTo>
                  <a:lnTo>
                    <a:pt x="150" y="697"/>
                  </a:lnTo>
                  <a:lnTo>
                    <a:pt x="152" y="699"/>
                  </a:lnTo>
                  <a:lnTo>
                    <a:pt x="154" y="701"/>
                  </a:lnTo>
                  <a:lnTo>
                    <a:pt x="156" y="703"/>
                  </a:lnTo>
                  <a:lnTo>
                    <a:pt x="156" y="709"/>
                  </a:lnTo>
                  <a:lnTo>
                    <a:pt x="158" y="715"/>
                  </a:lnTo>
                  <a:lnTo>
                    <a:pt x="158" y="717"/>
                  </a:lnTo>
                  <a:lnTo>
                    <a:pt x="164" y="719"/>
                  </a:lnTo>
                  <a:lnTo>
                    <a:pt x="166" y="721"/>
                  </a:lnTo>
                  <a:lnTo>
                    <a:pt x="168" y="723"/>
                  </a:lnTo>
                  <a:lnTo>
                    <a:pt x="170" y="729"/>
                  </a:lnTo>
                  <a:lnTo>
                    <a:pt x="172" y="733"/>
                  </a:lnTo>
                  <a:lnTo>
                    <a:pt x="174" y="737"/>
                  </a:lnTo>
                  <a:lnTo>
                    <a:pt x="176" y="740"/>
                  </a:lnTo>
                  <a:lnTo>
                    <a:pt x="178" y="742"/>
                  </a:lnTo>
                  <a:lnTo>
                    <a:pt x="184" y="744"/>
                  </a:lnTo>
                  <a:lnTo>
                    <a:pt x="186" y="746"/>
                  </a:lnTo>
                  <a:lnTo>
                    <a:pt x="186" y="748"/>
                  </a:lnTo>
                  <a:lnTo>
                    <a:pt x="186" y="750"/>
                  </a:lnTo>
                  <a:lnTo>
                    <a:pt x="186" y="752"/>
                  </a:lnTo>
                  <a:lnTo>
                    <a:pt x="186" y="754"/>
                  </a:lnTo>
                  <a:lnTo>
                    <a:pt x="189" y="756"/>
                  </a:lnTo>
                  <a:lnTo>
                    <a:pt x="189" y="758"/>
                  </a:lnTo>
                  <a:lnTo>
                    <a:pt x="189" y="758"/>
                  </a:lnTo>
                  <a:lnTo>
                    <a:pt x="186" y="758"/>
                  </a:lnTo>
                  <a:lnTo>
                    <a:pt x="186" y="758"/>
                  </a:lnTo>
                  <a:lnTo>
                    <a:pt x="186" y="756"/>
                  </a:lnTo>
                  <a:lnTo>
                    <a:pt x="186" y="754"/>
                  </a:lnTo>
                  <a:lnTo>
                    <a:pt x="182" y="762"/>
                  </a:lnTo>
                  <a:lnTo>
                    <a:pt x="182" y="764"/>
                  </a:lnTo>
                  <a:lnTo>
                    <a:pt x="182" y="766"/>
                  </a:lnTo>
                  <a:lnTo>
                    <a:pt x="182" y="768"/>
                  </a:lnTo>
                  <a:lnTo>
                    <a:pt x="184" y="770"/>
                  </a:lnTo>
                  <a:lnTo>
                    <a:pt x="189" y="774"/>
                  </a:lnTo>
                  <a:lnTo>
                    <a:pt x="191" y="776"/>
                  </a:lnTo>
                  <a:lnTo>
                    <a:pt x="191" y="776"/>
                  </a:lnTo>
                  <a:lnTo>
                    <a:pt x="193" y="776"/>
                  </a:lnTo>
                  <a:lnTo>
                    <a:pt x="195" y="776"/>
                  </a:lnTo>
                  <a:lnTo>
                    <a:pt x="197" y="776"/>
                  </a:lnTo>
                  <a:lnTo>
                    <a:pt x="197" y="776"/>
                  </a:lnTo>
                  <a:lnTo>
                    <a:pt x="199" y="778"/>
                  </a:lnTo>
                  <a:lnTo>
                    <a:pt x="199" y="778"/>
                  </a:lnTo>
                  <a:lnTo>
                    <a:pt x="201" y="781"/>
                  </a:lnTo>
                  <a:lnTo>
                    <a:pt x="201" y="781"/>
                  </a:lnTo>
                  <a:lnTo>
                    <a:pt x="201" y="785"/>
                  </a:lnTo>
                  <a:lnTo>
                    <a:pt x="201" y="789"/>
                  </a:lnTo>
                  <a:lnTo>
                    <a:pt x="199" y="793"/>
                  </a:lnTo>
                  <a:lnTo>
                    <a:pt x="199" y="797"/>
                  </a:lnTo>
                  <a:lnTo>
                    <a:pt x="195" y="803"/>
                  </a:lnTo>
                  <a:lnTo>
                    <a:pt x="193" y="805"/>
                  </a:lnTo>
                  <a:lnTo>
                    <a:pt x="195" y="805"/>
                  </a:lnTo>
                  <a:lnTo>
                    <a:pt x="197" y="809"/>
                  </a:lnTo>
                  <a:lnTo>
                    <a:pt x="197" y="809"/>
                  </a:lnTo>
                  <a:lnTo>
                    <a:pt x="197" y="811"/>
                  </a:lnTo>
                  <a:lnTo>
                    <a:pt x="197" y="811"/>
                  </a:lnTo>
                  <a:lnTo>
                    <a:pt x="197" y="813"/>
                  </a:lnTo>
                  <a:lnTo>
                    <a:pt x="197" y="815"/>
                  </a:lnTo>
                  <a:lnTo>
                    <a:pt x="195" y="819"/>
                  </a:lnTo>
                  <a:lnTo>
                    <a:pt x="193" y="822"/>
                  </a:lnTo>
                  <a:lnTo>
                    <a:pt x="195" y="824"/>
                  </a:lnTo>
                  <a:lnTo>
                    <a:pt x="195" y="826"/>
                  </a:lnTo>
                  <a:lnTo>
                    <a:pt x="195" y="828"/>
                  </a:lnTo>
                  <a:lnTo>
                    <a:pt x="195" y="830"/>
                  </a:lnTo>
                  <a:lnTo>
                    <a:pt x="193" y="832"/>
                  </a:lnTo>
                  <a:lnTo>
                    <a:pt x="193" y="834"/>
                  </a:lnTo>
                  <a:lnTo>
                    <a:pt x="191" y="834"/>
                  </a:lnTo>
                  <a:lnTo>
                    <a:pt x="191" y="838"/>
                  </a:lnTo>
                  <a:lnTo>
                    <a:pt x="189" y="840"/>
                  </a:lnTo>
                  <a:lnTo>
                    <a:pt x="189" y="840"/>
                  </a:lnTo>
                  <a:lnTo>
                    <a:pt x="191" y="842"/>
                  </a:lnTo>
                  <a:lnTo>
                    <a:pt x="193" y="844"/>
                  </a:lnTo>
                  <a:lnTo>
                    <a:pt x="195" y="844"/>
                  </a:lnTo>
                  <a:lnTo>
                    <a:pt x="197" y="844"/>
                  </a:lnTo>
                  <a:lnTo>
                    <a:pt x="199" y="848"/>
                  </a:lnTo>
                  <a:lnTo>
                    <a:pt x="201" y="852"/>
                  </a:lnTo>
                  <a:lnTo>
                    <a:pt x="203" y="856"/>
                  </a:lnTo>
                  <a:lnTo>
                    <a:pt x="207" y="856"/>
                  </a:lnTo>
                  <a:lnTo>
                    <a:pt x="215" y="856"/>
                  </a:lnTo>
                  <a:lnTo>
                    <a:pt x="227" y="858"/>
                  </a:lnTo>
                  <a:lnTo>
                    <a:pt x="232" y="860"/>
                  </a:lnTo>
                  <a:lnTo>
                    <a:pt x="236" y="862"/>
                  </a:lnTo>
                  <a:lnTo>
                    <a:pt x="240" y="862"/>
                  </a:lnTo>
                  <a:lnTo>
                    <a:pt x="246" y="865"/>
                  </a:lnTo>
                  <a:lnTo>
                    <a:pt x="254" y="871"/>
                  </a:lnTo>
                  <a:lnTo>
                    <a:pt x="256" y="871"/>
                  </a:lnTo>
                  <a:lnTo>
                    <a:pt x="258" y="871"/>
                  </a:lnTo>
                  <a:lnTo>
                    <a:pt x="260" y="871"/>
                  </a:lnTo>
                  <a:lnTo>
                    <a:pt x="260" y="871"/>
                  </a:lnTo>
                  <a:lnTo>
                    <a:pt x="262" y="873"/>
                  </a:lnTo>
                  <a:lnTo>
                    <a:pt x="264" y="873"/>
                  </a:lnTo>
                  <a:lnTo>
                    <a:pt x="266" y="875"/>
                  </a:lnTo>
                  <a:lnTo>
                    <a:pt x="266" y="875"/>
                  </a:lnTo>
                  <a:lnTo>
                    <a:pt x="268" y="875"/>
                  </a:lnTo>
                  <a:lnTo>
                    <a:pt x="268" y="875"/>
                  </a:lnTo>
                  <a:lnTo>
                    <a:pt x="270" y="873"/>
                  </a:lnTo>
                  <a:lnTo>
                    <a:pt x="275" y="873"/>
                  </a:lnTo>
                  <a:lnTo>
                    <a:pt x="277" y="875"/>
                  </a:lnTo>
                  <a:lnTo>
                    <a:pt x="279" y="875"/>
                  </a:lnTo>
                  <a:lnTo>
                    <a:pt x="279" y="875"/>
                  </a:lnTo>
                  <a:lnTo>
                    <a:pt x="281" y="875"/>
                  </a:lnTo>
                  <a:lnTo>
                    <a:pt x="283" y="877"/>
                  </a:lnTo>
                  <a:lnTo>
                    <a:pt x="287" y="881"/>
                  </a:lnTo>
                  <a:lnTo>
                    <a:pt x="291" y="883"/>
                  </a:lnTo>
                  <a:lnTo>
                    <a:pt x="299" y="893"/>
                  </a:lnTo>
                  <a:lnTo>
                    <a:pt x="301" y="895"/>
                  </a:lnTo>
                  <a:lnTo>
                    <a:pt x="303" y="895"/>
                  </a:lnTo>
                  <a:lnTo>
                    <a:pt x="303" y="895"/>
                  </a:lnTo>
                  <a:lnTo>
                    <a:pt x="303" y="895"/>
                  </a:lnTo>
                  <a:lnTo>
                    <a:pt x="305" y="897"/>
                  </a:lnTo>
                  <a:lnTo>
                    <a:pt x="303" y="897"/>
                  </a:lnTo>
                  <a:lnTo>
                    <a:pt x="303" y="899"/>
                  </a:lnTo>
                  <a:lnTo>
                    <a:pt x="305" y="899"/>
                  </a:lnTo>
                  <a:lnTo>
                    <a:pt x="305" y="901"/>
                  </a:lnTo>
                  <a:lnTo>
                    <a:pt x="305" y="901"/>
                  </a:lnTo>
                  <a:lnTo>
                    <a:pt x="305" y="903"/>
                  </a:lnTo>
                  <a:lnTo>
                    <a:pt x="305" y="906"/>
                  </a:lnTo>
                  <a:lnTo>
                    <a:pt x="305" y="906"/>
                  </a:lnTo>
                  <a:lnTo>
                    <a:pt x="305" y="908"/>
                  </a:lnTo>
                  <a:lnTo>
                    <a:pt x="307" y="908"/>
                  </a:lnTo>
                  <a:lnTo>
                    <a:pt x="307" y="908"/>
                  </a:lnTo>
                  <a:lnTo>
                    <a:pt x="307" y="910"/>
                  </a:lnTo>
                  <a:lnTo>
                    <a:pt x="307" y="910"/>
                  </a:lnTo>
                  <a:lnTo>
                    <a:pt x="311" y="914"/>
                  </a:lnTo>
                  <a:lnTo>
                    <a:pt x="313" y="916"/>
                  </a:lnTo>
                  <a:lnTo>
                    <a:pt x="315" y="916"/>
                  </a:lnTo>
                  <a:lnTo>
                    <a:pt x="315" y="916"/>
                  </a:lnTo>
                  <a:lnTo>
                    <a:pt x="313" y="916"/>
                  </a:lnTo>
                  <a:lnTo>
                    <a:pt x="313" y="916"/>
                  </a:lnTo>
                  <a:lnTo>
                    <a:pt x="313" y="914"/>
                  </a:lnTo>
                  <a:lnTo>
                    <a:pt x="315" y="916"/>
                  </a:lnTo>
                  <a:lnTo>
                    <a:pt x="324" y="920"/>
                  </a:lnTo>
                  <a:lnTo>
                    <a:pt x="332" y="924"/>
                  </a:lnTo>
                  <a:lnTo>
                    <a:pt x="336" y="926"/>
                  </a:lnTo>
                  <a:lnTo>
                    <a:pt x="338" y="928"/>
                  </a:lnTo>
                  <a:lnTo>
                    <a:pt x="340" y="930"/>
                  </a:lnTo>
                  <a:lnTo>
                    <a:pt x="342" y="930"/>
                  </a:lnTo>
                  <a:lnTo>
                    <a:pt x="344" y="928"/>
                  </a:lnTo>
                  <a:lnTo>
                    <a:pt x="356" y="930"/>
                  </a:lnTo>
                  <a:lnTo>
                    <a:pt x="359" y="930"/>
                  </a:lnTo>
                  <a:lnTo>
                    <a:pt x="359" y="930"/>
                  </a:lnTo>
                  <a:lnTo>
                    <a:pt x="359" y="930"/>
                  </a:lnTo>
                  <a:lnTo>
                    <a:pt x="361" y="930"/>
                  </a:lnTo>
                  <a:lnTo>
                    <a:pt x="363" y="930"/>
                  </a:lnTo>
                  <a:lnTo>
                    <a:pt x="365" y="930"/>
                  </a:lnTo>
                  <a:lnTo>
                    <a:pt x="367" y="932"/>
                  </a:lnTo>
                  <a:lnTo>
                    <a:pt x="369" y="936"/>
                  </a:lnTo>
                  <a:lnTo>
                    <a:pt x="371" y="942"/>
                  </a:lnTo>
                  <a:lnTo>
                    <a:pt x="373" y="947"/>
                  </a:lnTo>
                  <a:lnTo>
                    <a:pt x="373" y="951"/>
                  </a:lnTo>
                  <a:lnTo>
                    <a:pt x="375" y="953"/>
                  </a:lnTo>
                  <a:lnTo>
                    <a:pt x="373" y="955"/>
                  </a:lnTo>
                  <a:lnTo>
                    <a:pt x="373" y="959"/>
                  </a:lnTo>
                  <a:lnTo>
                    <a:pt x="373" y="959"/>
                  </a:lnTo>
                  <a:lnTo>
                    <a:pt x="371" y="961"/>
                  </a:lnTo>
                  <a:lnTo>
                    <a:pt x="371" y="963"/>
                  </a:lnTo>
                  <a:lnTo>
                    <a:pt x="371" y="965"/>
                  </a:lnTo>
                  <a:lnTo>
                    <a:pt x="373" y="965"/>
                  </a:lnTo>
                  <a:lnTo>
                    <a:pt x="373" y="967"/>
                  </a:lnTo>
                  <a:lnTo>
                    <a:pt x="373" y="967"/>
                  </a:lnTo>
                  <a:lnTo>
                    <a:pt x="375" y="967"/>
                  </a:lnTo>
                  <a:lnTo>
                    <a:pt x="375" y="965"/>
                  </a:lnTo>
                  <a:lnTo>
                    <a:pt x="377" y="967"/>
                  </a:lnTo>
                  <a:lnTo>
                    <a:pt x="377" y="969"/>
                  </a:lnTo>
                  <a:lnTo>
                    <a:pt x="377" y="969"/>
                  </a:lnTo>
                  <a:lnTo>
                    <a:pt x="379" y="969"/>
                  </a:lnTo>
                  <a:lnTo>
                    <a:pt x="379" y="971"/>
                  </a:lnTo>
                  <a:lnTo>
                    <a:pt x="381" y="971"/>
                  </a:lnTo>
                  <a:lnTo>
                    <a:pt x="381" y="971"/>
                  </a:lnTo>
                  <a:lnTo>
                    <a:pt x="383" y="969"/>
                  </a:lnTo>
                  <a:lnTo>
                    <a:pt x="383" y="969"/>
                  </a:lnTo>
                  <a:lnTo>
                    <a:pt x="383" y="969"/>
                  </a:lnTo>
                  <a:lnTo>
                    <a:pt x="383" y="965"/>
                  </a:lnTo>
                  <a:lnTo>
                    <a:pt x="385" y="965"/>
                  </a:lnTo>
                  <a:lnTo>
                    <a:pt x="385" y="965"/>
                  </a:lnTo>
                  <a:lnTo>
                    <a:pt x="387" y="965"/>
                  </a:lnTo>
                  <a:lnTo>
                    <a:pt x="387" y="965"/>
                  </a:lnTo>
                  <a:lnTo>
                    <a:pt x="387" y="965"/>
                  </a:lnTo>
                  <a:lnTo>
                    <a:pt x="389" y="965"/>
                  </a:lnTo>
                  <a:lnTo>
                    <a:pt x="391" y="967"/>
                  </a:lnTo>
                  <a:lnTo>
                    <a:pt x="393" y="967"/>
                  </a:lnTo>
                  <a:lnTo>
                    <a:pt x="395" y="967"/>
                  </a:lnTo>
                  <a:lnTo>
                    <a:pt x="397" y="967"/>
                  </a:lnTo>
                  <a:lnTo>
                    <a:pt x="408" y="981"/>
                  </a:lnTo>
                  <a:lnTo>
                    <a:pt x="410" y="985"/>
                  </a:lnTo>
                  <a:lnTo>
                    <a:pt x="420" y="992"/>
                  </a:lnTo>
                  <a:lnTo>
                    <a:pt x="424" y="996"/>
                  </a:lnTo>
                  <a:lnTo>
                    <a:pt x="426" y="1002"/>
                  </a:lnTo>
                  <a:lnTo>
                    <a:pt x="428" y="1002"/>
                  </a:lnTo>
                  <a:lnTo>
                    <a:pt x="432" y="1006"/>
                  </a:lnTo>
                  <a:lnTo>
                    <a:pt x="432" y="1008"/>
                  </a:lnTo>
                  <a:lnTo>
                    <a:pt x="436" y="1014"/>
                  </a:lnTo>
                  <a:lnTo>
                    <a:pt x="445" y="1020"/>
                  </a:lnTo>
                  <a:lnTo>
                    <a:pt x="455" y="1041"/>
                  </a:lnTo>
                  <a:lnTo>
                    <a:pt x="457" y="1051"/>
                  </a:lnTo>
                  <a:lnTo>
                    <a:pt x="459" y="1057"/>
                  </a:lnTo>
                  <a:lnTo>
                    <a:pt x="459" y="1059"/>
                  </a:lnTo>
                  <a:lnTo>
                    <a:pt x="459" y="1061"/>
                  </a:lnTo>
                  <a:lnTo>
                    <a:pt x="459" y="1072"/>
                  </a:lnTo>
                  <a:lnTo>
                    <a:pt x="459" y="1074"/>
                  </a:lnTo>
                  <a:lnTo>
                    <a:pt x="459" y="1076"/>
                  </a:lnTo>
                  <a:lnTo>
                    <a:pt x="457" y="1076"/>
                  </a:lnTo>
                  <a:lnTo>
                    <a:pt x="457" y="1078"/>
                  </a:lnTo>
                  <a:lnTo>
                    <a:pt x="455" y="1080"/>
                  </a:lnTo>
                  <a:lnTo>
                    <a:pt x="457" y="1084"/>
                  </a:lnTo>
                  <a:lnTo>
                    <a:pt x="457" y="1086"/>
                  </a:lnTo>
                  <a:lnTo>
                    <a:pt x="457" y="1088"/>
                  </a:lnTo>
                  <a:lnTo>
                    <a:pt x="455" y="1092"/>
                  </a:lnTo>
                  <a:lnTo>
                    <a:pt x="455" y="1092"/>
                  </a:lnTo>
                  <a:lnTo>
                    <a:pt x="457" y="1094"/>
                  </a:lnTo>
                  <a:lnTo>
                    <a:pt x="457" y="1096"/>
                  </a:lnTo>
                  <a:lnTo>
                    <a:pt x="457" y="1096"/>
                  </a:lnTo>
                  <a:lnTo>
                    <a:pt x="459" y="1092"/>
                  </a:lnTo>
                  <a:lnTo>
                    <a:pt x="459" y="1092"/>
                  </a:lnTo>
                  <a:lnTo>
                    <a:pt x="461" y="1090"/>
                  </a:lnTo>
                  <a:lnTo>
                    <a:pt x="461" y="1090"/>
                  </a:lnTo>
                  <a:lnTo>
                    <a:pt x="463" y="1092"/>
                  </a:lnTo>
                  <a:lnTo>
                    <a:pt x="463" y="1092"/>
                  </a:lnTo>
                  <a:lnTo>
                    <a:pt x="465" y="1094"/>
                  </a:lnTo>
                  <a:lnTo>
                    <a:pt x="467" y="1094"/>
                  </a:lnTo>
                  <a:lnTo>
                    <a:pt x="467" y="1098"/>
                  </a:lnTo>
                  <a:lnTo>
                    <a:pt x="469" y="1100"/>
                  </a:lnTo>
                  <a:lnTo>
                    <a:pt x="469" y="1102"/>
                  </a:lnTo>
                  <a:lnTo>
                    <a:pt x="467" y="1102"/>
                  </a:lnTo>
                  <a:lnTo>
                    <a:pt x="467" y="1102"/>
                  </a:lnTo>
                  <a:lnTo>
                    <a:pt x="467" y="1100"/>
                  </a:lnTo>
                  <a:lnTo>
                    <a:pt x="465" y="1098"/>
                  </a:lnTo>
                  <a:lnTo>
                    <a:pt x="465" y="1096"/>
                  </a:lnTo>
                  <a:lnTo>
                    <a:pt x="463" y="1094"/>
                  </a:lnTo>
                  <a:lnTo>
                    <a:pt x="463" y="1094"/>
                  </a:lnTo>
                  <a:lnTo>
                    <a:pt x="463" y="1092"/>
                  </a:lnTo>
                  <a:lnTo>
                    <a:pt x="461" y="1092"/>
                  </a:lnTo>
                  <a:lnTo>
                    <a:pt x="459" y="1094"/>
                  </a:lnTo>
                  <a:lnTo>
                    <a:pt x="459" y="1094"/>
                  </a:lnTo>
                  <a:lnTo>
                    <a:pt x="461" y="1094"/>
                  </a:lnTo>
                  <a:lnTo>
                    <a:pt x="463" y="1096"/>
                  </a:lnTo>
                  <a:lnTo>
                    <a:pt x="465" y="1100"/>
                  </a:lnTo>
                  <a:lnTo>
                    <a:pt x="465" y="1102"/>
                  </a:lnTo>
                  <a:lnTo>
                    <a:pt x="465" y="1106"/>
                  </a:lnTo>
                  <a:lnTo>
                    <a:pt x="465" y="1108"/>
                  </a:lnTo>
                  <a:lnTo>
                    <a:pt x="465" y="1110"/>
                  </a:lnTo>
                  <a:lnTo>
                    <a:pt x="465" y="1113"/>
                  </a:lnTo>
                  <a:lnTo>
                    <a:pt x="465" y="1113"/>
                  </a:lnTo>
                  <a:lnTo>
                    <a:pt x="471" y="1113"/>
                  </a:lnTo>
                  <a:lnTo>
                    <a:pt x="479" y="1113"/>
                  </a:lnTo>
                  <a:lnTo>
                    <a:pt x="485" y="1113"/>
                  </a:lnTo>
                  <a:lnTo>
                    <a:pt x="492" y="1115"/>
                  </a:lnTo>
                  <a:lnTo>
                    <a:pt x="498" y="1115"/>
                  </a:lnTo>
                  <a:lnTo>
                    <a:pt x="506" y="1115"/>
                  </a:lnTo>
                  <a:lnTo>
                    <a:pt x="512" y="1115"/>
                  </a:lnTo>
                  <a:lnTo>
                    <a:pt x="518" y="1115"/>
                  </a:lnTo>
                  <a:lnTo>
                    <a:pt x="526" y="1117"/>
                  </a:lnTo>
                  <a:lnTo>
                    <a:pt x="533" y="1117"/>
                  </a:lnTo>
                  <a:lnTo>
                    <a:pt x="539" y="1117"/>
                  </a:lnTo>
                  <a:lnTo>
                    <a:pt x="545" y="1117"/>
                  </a:lnTo>
                  <a:lnTo>
                    <a:pt x="553" y="1117"/>
                  </a:lnTo>
                  <a:lnTo>
                    <a:pt x="559" y="1117"/>
                  </a:lnTo>
                  <a:lnTo>
                    <a:pt x="565" y="1119"/>
                  </a:lnTo>
                  <a:lnTo>
                    <a:pt x="580" y="1119"/>
                  </a:lnTo>
                  <a:lnTo>
                    <a:pt x="586" y="1119"/>
                  </a:lnTo>
                  <a:lnTo>
                    <a:pt x="592" y="1119"/>
                  </a:lnTo>
                  <a:lnTo>
                    <a:pt x="600" y="1121"/>
                  </a:lnTo>
                  <a:lnTo>
                    <a:pt x="606" y="1121"/>
                  </a:lnTo>
                  <a:lnTo>
                    <a:pt x="612" y="1121"/>
                  </a:lnTo>
                  <a:lnTo>
                    <a:pt x="619" y="1121"/>
                  </a:lnTo>
                  <a:lnTo>
                    <a:pt x="627" y="1121"/>
                  </a:lnTo>
                  <a:lnTo>
                    <a:pt x="633" y="1121"/>
                  </a:lnTo>
                  <a:lnTo>
                    <a:pt x="639" y="1123"/>
                  </a:lnTo>
                  <a:lnTo>
                    <a:pt x="647" y="1123"/>
                  </a:lnTo>
                  <a:lnTo>
                    <a:pt x="653" y="1123"/>
                  </a:lnTo>
                  <a:lnTo>
                    <a:pt x="660" y="1123"/>
                  </a:lnTo>
                  <a:lnTo>
                    <a:pt x="666" y="1123"/>
                  </a:lnTo>
                  <a:lnTo>
                    <a:pt x="674" y="1123"/>
                  </a:lnTo>
                  <a:lnTo>
                    <a:pt x="680" y="1123"/>
                  </a:lnTo>
                  <a:lnTo>
                    <a:pt x="684" y="1123"/>
                  </a:lnTo>
                  <a:lnTo>
                    <a:pt x="684" y="1125"/>
                  </a:lnTo>
                  <a:lnTo>
                    <a:pt x="684" y="1123"/>
                  </a:lnTo>
                  <a:lnTo>
                    <a:pt x="688" y="1121"/>
                  </a:lnTo>
                  <a:lnTo>
                    <a:pt x="696" y="1123"/>
                  </a:lnTo>
                  <a:lnTo>
                    <a:pt x="701" y="1123"/>
                  </a:lnTo>
                  <a:lnTo>
                    <a:pt x="703" y="1123"/>
                  </a:lnTo>
                  <a:lnTo>
                    <a:pt x="703" y="1121"/>
                  </a:lnTo>
                  <a:lnTo>
                    <a:pt x="703" y="1119"/>
                  </a:lnTo>
                  <a:lnTo>
                    <a:pt x="703" y="1117"/>
                  </a:lnTo>
                  <a:lnTo>
                    <a:pt x="705" y="1115"/>
                  </a:lnTo>
                  <a:lnTo>
                    <a:pt x="709" y="1113"/>
                  </a:lnTo>
                  <a:lnTo>
                    <a:pt x="709" y="1113"/>
                  </a:lnTo>
                  <a:lnTo>
                    <a:pt x="711" y="1110"/>
                  </a:lnTo>
                  <a:lnTo>
                    <a:pt x="709" y="1102"/>
                  </a:lnTo>
                  <a:lnTo>
                    <a:pt x="709" y="1100"/>
                  </a:lnTo>
                  <a:lnTo>
                    <a:pt x="711" y="1100"/>
                  </a:lnTo>
                  <a:lnTo>
                    <a:pt x="711" y="1098"/>
                  </a:lnTo>
                  <a:lnTo>
                    <a:pt x="711" y="1098"/>
                  </a:lnTo>
                  <a:lnTo>
                    <a:pt x="709" y="1094"/>
                  </a:lnTo>
                  <a:lnTo>
                    <a:pt x="705" y="1092"/>
                  </a:lnTo>
                  <a:lnTo>
                    <a:pt x="696" y="1090"/>
                  </a:lnTo>
                  <a:lnTo>
                    <a:pt x="694" y="1088"/>
                  </a:lnTo>
                  <a:lnTo>
                    <a:pt x="692" y="1084"/>
                  </a:lnTo>
                  <a:lnTo>
                    <a:pt x="692" y="1080"/>
                  </a:lnTo>
                  <a:lnTo>
                    <a:pt x="694" y="1076"/>
                  </a:lnTo>
                  <a:lnTo>
                    <a:pt x="694" y="1072"/>
                  </a:lnTo>
                  <a:lnTo>
                    <a:pt x="694" y="1065"/>
                  </a:lnTo>
                  <a:lnTo>
                    <a:pt x="694" y="1063"/>
                  </a:lnTo>
                  <a:lnTo>
                    <a:pt x="692" y="1061"/>
                  </a:lnTo>
                  <a:lnTo>
                    <a:pt x="692" y="1059"/>
                  </a:lnTo>
                  <a:lnTo>
                    <a:pt x="694" y="1055"/>
                  </a:lnTo>
                  <a:lnTo>
                    <a:pt x="694" y="1055"/>
                  </a:lnTo>
                  <a:lnTo>
                    <a:pt x="694" y="1053"/>
                  </a:lnTo>
                  <a:lnTo>
                    <a:pt x="694" y="1053"/>
                  </a:lnTo>
                  <a:lnTo>
                    <a:pt x="694" y="1051"/>
                  </a:lnTo>
                  <a:lnTo>
                    <a:pt x="694" y="1051"/>
                  </a:lnTo>
                  <a:lnTo>
                    <a:pt x="692" y="1049"/>
                  </a:lnTo>
                  <a:lnTo>
                    <a:pt x="694" y="1049"/>
                  </a:lnTo>
                  <a:lnTo>
                    <a:pt x="698" y="1049"/>
                  </a:lnTo>
                  <a:lnTo>
                    <a:pt x="701" y="1049"/>
                  </a:lnTo>
                  <a:lnTo>
                    <a:pt x="703" y="1047"/>
                  </a:lnTo>
                  <a:lnTo>
                    <a:pt x="707" y="1041"/>
                  </a:lnTo>
                  <a:lnTo>
                    <a:pt x="709" y="1039"/>
                  </a:lnTo>
                  <a:lnTo>
                    <a:pt x="709" y="1039"/>
                  </a:lnTo>
                  <a:lnTo>
                    <a:pt x="711" y="1037"/>
                  </a:lnTo>
                  <a:lnTo>
                    <a:pt x="713" y="1035"/>
                  </a:lnTo>
                  <a:lnTo>
                    <a:pt x="713" y="1035"/>
                  </a:lnTo>
                  <a:lnTo>
                    <a:pt x="713" y="1033"/>
                  </a:lnTo>
                  <a:lnTo>
                    <a:pt x="713" y="1031"/>
                  </a:lnTo>
                  <a:lnTo>
                    <a:pt x="713" y="1028"/>
                  </a:lnTo>
                  <a:lnTo>
                    <a:pt x="715" y="1028"/>
                  </a:lnTo>
                  <a:lnTo>
                    <a:pt x="715" y="1028"/>
                  </a:lnTo>
                  <a:lnTo>
                    <a:pt x="715" y="1026"/>
                  </a:lnTo>
                  <a:lnTo>
                    <a:pt x="715" y="1024"/>
                  </a:lnTo>
                  <a:lnTo>
                    <a:pt x="715" y="1022"/>
                  </a:lnTo>
                  <a:lnTo>
                    <a:pt x="717" y="1020"/>
                  </a:lnTo>
                  <a:lnTo>
                    <a:pt x="719" y="1020"/>
                  </a:lnTo>
                  <a:lnTo>
                    <a:pt x="719" y="1018"/>
                  </a:lnTo>
                  <a:lnTo>
                    <a:pt x="719" y="1016"/>
                  </a:lnTo>
                  <a:lnTo>
                    <a:pt x="719" y="1014"/>
                  </a:lnTo>
                  <a:lnTo>
                    <a:pt x="719" y="1014"/>
                  </a:lnTo>
                  <a:lnTo>
                    <a:pt x="719" y="1014"/>
                  </a:lnTo>
                  <a:lnTo>
                    <a:pt x="719" y="1012"/>
                  </a:lnTo>
                  <a:lnTo>
                    <a:pt x="719" y="1012"/>
                  </a:lnTo>
                  <a:lnTo>
                    <a:pt x="719" y="1010"/>
                  </a:lnTo>
                  <a:lnTo>
                    <a:pt x="719" y="1010"/>
                  </a:lnTo>
                  <a:lnTo>
                    <a:pt x="719" y="1006"/>
                  </a:lnTo>
                  <a:lnTo>
                    <a:pt x="719" y="1004"/>
                  </a:lnTo>
                  <a:lnTo>
                    <a:pt x="719" y="1002"/>
                  </a:lnTo>
                  <a:lnTo>
                    <a:pt x="721" y="1002"/>
                  </a:lnTo>
                  <a:lnTo>
                    <a:pt x="721" y="1000"/>
                  </a:lnTo>
                  <a:lnTo>
                    <a:pt x="721" y="1000"/>
                  </a:lnTo>
                  <a:lnTo>
                    <a:pt x="719" y="998"/>
                  </a:lnTo>
                  <a:lnTo>
                    <a:pt x="719" y="996"/>
                  </a:lnTo>
                  <a:lnTo>
                    <a:pt x="719" y="996"/>
                  </a:lnTo>
                  <a:lnTo>
                    <a:pt x="719" y="992"/>
                  </a:lnTo>
                  <a:lnTo>
                    <a:pt x="721" y="992"/>
                  </a:lnTo>
                  <a:lnTo>
                    <a:pt x="725" y="990"/>
                  </a:lnTo>
                  <a:lnTo>
                    <a:pt x="727" y="988"/>
                  </a:lnTo>
                  <a:lnTo>
                    <a:pt x="729" y="988"/>
                  </a:lnTo>
                  <a:lnTo>
                    <a:pt x="729" y="985"/>
                  </a:lnTo>
                  <a:lnTo>
                    <a:pt x="731" y="979"/>
                  </a:lnTo>
                  <a:lnTo>
                    <a:pt x="733" y="977"/>
                  </a:lnTo>
                  <a:lnTo>
                    <a:pt x="733" y="977"/>
                  </a:lnTo>
                  <a:lnTo>
                    <a:pt x="737" y="977"/>
                  </a:lnTo>
                  <a:lnTo>
                    <a:pt x="748" y="971"/>
                  </a:lnTo>
                  <a:lnTo>
                    <a:pt x="750" y="971"/>
                  </a:lnTo>
                  <a:lnTo>
                    <a:pt x="752" y="967"/>
                  </a:lnTo>
                  <a:lnTo>
                    <a:pt x="756" y="965"/>
                  </a:lnTo>
                  <a:lnTo>
                    <a:pt x="758" y="963"/>
                  </a:lnTo>
                  <a:lnTo>
                    <a:pt x="760" y="961"/>
                  </a:lnTo>
                  <a:lnTo>
                    <a:pt x="760" y="959"/>
                  </a:lnTo>
                  <a:close/>
                  <a:moveTo>
                    <a:pt x="53" y="471"/>
                  </a:moveTo>
                  <a:lnTo>
                    <a:pt x="53" y="471"/>
                  </a:lnTo>
                  <a:lnTo>
                    <a:pt x="53" y="471"/>
                  </a:lnTo>
                  <a:lnTo>
                    <a:pt x="53" y="471"/>
                  </a:lnTo>
                  <a:lnTo>
                    <a:pt x="53" y="471"/>
                  </a:lnTo>
                  <a:lnTo>
                    <a:pt x="53" y="471"/>
                  </a:lnTo>
                  <a:lnTo>
                    <a:pt x="53" y="471"/>
                  </a:lnTo>
                  <a:lnTo>
                    <a:pt x="53" y="471"/>
                  </a:lnTo>
                  <a:lnTo>
                    <a:pt x="53" y="471"/>
                  </a:lnTo>
                  <a:lnTo>
                    <a:pt x="53" y="471"/>
                  </a:lnTo>
                  <a:close/>
                  <a:moveTo>
                    <a:pt x="105" y="463"/>
                  </a:moveTo>
                  <a:lnTo>
                    <a:pt x="105" y="463"/>
                  </a:lnTo>
                  <a:lnTo>
                    <a:pt x="105" y="463"/>
                  </a:lnTo>
                  <a:lnTo>
                    <a:pt x="105" y="463"/>
                  </a:lnTo>
                  <a:lnTo>
                    <a:pt x="102" y="463"/>
                  </a:lnTo>
                  <a:lnTo>
                    <a:pt x="102" y="463"/>
                  </a:lnTo>
                  <a:lnTo>
                    <a:pt x="102" y="463"/>
                  </a:lnTo>
                  <a:lnTo>
                    <a:pt x="105" y="465"/>
                  </a:lnTo>
                  <a:lnTo>
                    <a:pt x="105" y="465"/>
                  </a:lnTo>
                  <a:lnTo>
                    <a:pt x="105" y="463"/>
                  </a:lnTo>
                  <a:lnTo>
                    <a:pt x="105" y="463"/>
                  </a:lnTo>
                  <a:lnTo>
                    <a:pt x="105" y="463"/>
                  </a:lnTo>
                  <a:lnTo>
                    <a:pt x="105" y="463"/>
                  </a:lnTo>
                  <a:close/>
                  <a:moveTo>
                    <a:pt x="109" y="467"/>
                  </a:moveTo>
                  <a:lnTo>
                    <a:pt x="109" y="469"/>
                  </a:lnTo>
                  <a:lnTo>
                    <a:pt x="109" y="469"/>
                  </a:lnTo>
                  <a:lnTo>
                    <a:pt x="109" y="471"/>
                  </a:lnTo>
                  <a:lnTo>
                    <a:pt x="109" y="469"/>
                  </a:lnTo>
                  <a:lnTo>
                    <a:pt x="109" y="469"/>
                  </a:lnTo>
                  <a:lnTo>
                    <a:pt x="109" y="469"/>
                  </a:lnTo>
                  <a:lnTo>
                    <a:pt x="109" y="469"/>
                  </a:lnTo>
                  <a:lnTo>
                    <a:pt x="109" y="467"/>
                  </a:lnTo>
                  <a:lnTo>
                    <a:pt x="109" y="467"/>
                  </a:lnTo>
                  <a:lnTo>
                    <a:pt x="109" y="467"/>
                  </a:lnTo>
                  <a:lnTo>
                    <a:pt x="109" y="467"/>
                  </a:lnTo>
                  <a:close/>
                  <a:moveTo>
                    <a:pt x="289" y="920"/>
                  </a:moveTo>
                  <a:lnTo>
                    <a:pt x="287" y="920"/>
                  </a:lnTo>
                  <a:lnTo>
                    <a:pt x="287" y="920"/>
                  </a:lnTo>
                  <a:lnTo>
                    <a:pt x="285" y="920"/>
                  </a:lnTo>
                  <a:lnTo>
                    <a:pt x="285" y="920"/>
                  </a:lnTo>
                  <a:lnTo>
                    <a:pt x="285" y="920"/>
                  </a:lnTo>
                  <a:lnTo>
                    <a:pt x="285" y="920"/>
                  </a:lnTo>
                  <a:lnTo>
                    <a:pt x="287" y="920"/>
                  </a:lnTo>
                  <a:lnTo>
                    <a:pt x="287" y="920"/>
                  </a:lnTo>
                  <a:lnTo>
                    <a:pt x="289" y="922"/>
                  </a:lnTo>
                  <a:lnTo>
                    <a:pt x="289" y="922"/>
                  </a:lnTo>
                  <a:lnTo>
                    <a:pt x="289" y="920"/>
                  </a:lnTo>
                  <a:lnTo>
                    <a:pt x="289" y="920"/>
                  </a:lnTo>
                  <a:close/>
                  <a:moveTo>
                    <a:pt x="311" y="981"/>
                  </a:moveTo>
                  <a:lnTo>
                    <a:pt x="311" y="981"/>
                  </a:lnTo>
                  <a:lnTo>
                    <a:pt x="309" y="981"/>
                  </a:lnTo>
                  <a:lnTo>
                    <a:pt x="309" y="981"/>
                  </a:lnTo>
                  <a:lnTo>
                    <a:pt x="309" y="983"/>
                  </a:lnTo>
                  <a:lnTo>
                    <a:pt x="309" y="983"/>
                  </a:lnTo>
                  <a:lnTo>
                    <a:pt x="309" y="983"/>
                  </a:lnTo>
                  <a:lnTo>
                    <a:pt x="309" y="983"/>
                  </a:lnTo>
                  <a:lnTo>
                    <a:pt x="309" y="983"/>
                  </a:lnTo>
                  <a:lnTo>
                    <a:pt x="311" y="983"/>
                  </a:lnTo>
                  <a:lnTo>
                    <a:pt x="311" y="981"/>
                  </a:lnTo>
                  <a:lnTo>
                    <a:pt x="311" y="981"/>
                  </a:lnTo>
                  <a:lnTo>
                    <a:pt x="311" y="981"/>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288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CA</a:t>
              </a:r>
            </a:p>
          </p:txBody>
        </p:sp>
        <p:sp>
          <p:nvSpPr>
            <p:cNvPr id="289" name="Freeform 52">
              <a:extLst>
                <a:ext uri="{FF2B5EF4-FFF2-40B4-BE49-F238E27FC236}">
                  <a16:creationId xmlns:a16="http://schemas.microsoft.com/office/drawing/2014/main" id="{5E94F9EA-0476-C5CB-E1BF-E497BD1A867E}"/>
                </a:ext>
              </a:extLst>
            </p:cNvPr>
            <p:cNvSpPr>
              <a:spLocks/>
            </p:cNvSpPr>
            <p:nvPr/>
          </p:nvSpPr>
          <p:spPr bwMode="auto">
            <a:xfrm>
              <a:off x="1380" y="1367"/>
              <a:ext cx="563" cy="654"/>
            </a:xfrm>
            <a:custGeom>
              <a:avLst/>
              <a:gdLst>
                <a:gd name="T0" fmla="*/ 545 w 563"/>
                <a:gd name="T1" fmla="*/ 254 h 654"/>
                <a:gd name="T2" fmla="*/ 534 w 563"/>
                <a:gd name="T3" fmla="*/ 387 h 654"/>
                <a:gd name="T4" fmla="*/ 524 w 563"/>
                <a:gd name="T5" fmla="*/ 520 h 654"/>
                <a:gd name="T6" fmla="*/ 512 w 563"/>
                <a:gd name="T7" fmla="*/ 654 h 654"/>
                <a:gd name="T8" fmla="*/ 512 w 563"/>
                <a:gd name="T9" fmla="*/ 654 h 654"/>
                <a:gd name="T10" fmla="*/ 512 w 563"/>
                <a:gd name="T11" fmla="*/ 654 h 654"/>
                <a:gd name="T12" fmla="*/ 512 w 563"/>
                <a:gd name="T13" fmla="*/ 654 h 654"/>
                <a:gd name="T14" fmla="*/ 512 w 563"/>
                <a:gd name="T15" fmla="*/ 654 h 654"/>
                <a:gd name="T16" fmla="*/ 502 w 563"/>
                <a:gd name="T17" fmla="*/ 654 h 654"/>
                <a:gd name="T18" fmla="*/ 475 w 563"/>
                <a:gd name="T19" fmla="*/ 652 h 654"/>
                <a:gd name="T20" fmla="*/ 448 w 563"/>
                <a:gd name="T21" fmla="*/ 650 h 654"/>
                <a:gd name="T22" fmla="*/ 420 w 563"/>
                <a:gd name="T23" fmla="*/ 645 h 654"/>
                <a:gd name="T24" fmla="*/ 393 w 563"/>
                <a:gd name="T25" fmla="*/ 643 h 654"/>
                <a:gd name="T26" fmla="*/ 364 w 563"/>
                <a:gd name="T27" fmla="*/ 641 h 654"/>
                <a:gd name="T28" fmla="*/ 338 w 563"/>
                <a:gd name="T29" fmla="*/ 639 h 654"/>
                <a:gd name="T30" fmla="*/ 307 w 563"/>
                <a:gd name="T31" fmla="*/ 627 h 654"/>
                <a:gd name="T32" fmla="*/ 180 w 563"/>
                <a:gd name="T33" fmla="*/ 564 h 654"/>
                <a:gd name="T34" fmla="*/ 0 w 563"/>
                <a:gd name="T35" fmla="*/ 471 h 654"/>
                <a:gd name="T36" fmla="*/ 4 w 563"/>
                <a:gd name="T37" fmla="*/ 459 h 654"/>
                <a:gd name="T38" fmla="*/ 10 w 563"/>
                <a:gd name="T39" fmla="*/ 453 h 654"/>
                <a:gd name="T40" fmla="*/ 31 w 563"/>
                <a:gd name="T41" fmla="*/ 447 h 654"/>
                <a:gd name="T42" fmla="*/ 37 w 563"/>
                <a:gd name="T43" fmla="*/ 428 h 654"/>
                <a:gd name="T44" fmla="*/ 24 w 563"/>
                <a:gd name="T45" fmla="*/ 416 h 654"/>
                <a:gd name="T46" fmla="*/ 22 w 563"/>
                <a:gd name="T47" fmla="*/ 389 h 654"/>
                <a:gd name="T48" fmla="*/ 22 w 563"/>
                <a:gd name="T49" fmla="*/ 377 h 654"/>
                <a:gd name="T50" fmla="*/ 35 w 563"/>
                <a:gd name="T51" fmla="*/ 367 h 654"/>
                <a:gd name="T52" fmla="*/ 41 w 563"/>
                <a:gd name="T53" fmla="*/ 357 h 654"/>
                <a:gd name="T54" fmla="*/ 45 w 563"/>
                <a:gd name="T55" fmla="*/ 346 h 654"/>
                <a:gd name="T56" fmla="*/ 47 w 563"/>
                <a:gd name="T57" fmla="*/ 338 h 654"/>
                <a:gd name="T58" fmla="*/ 49 w 563"/>
                <a:gd name="T59" fmla="*/ 328 h 654"/>
                <a:gd name="T60" fmla="*/ 49 w 563"/>
                <a:gd name="T61" fmla="*/ 318 h 654"/>
                <a:gd name="T62" fmla="*/ 61 w 563"/>
                <a:gd name="T63" fmla="*/ 303 h 654"/>
                <a:gd name="T64" fmla="*/ 88 w 563"/>
                <a:gd name="T65" fmla="*/ 287 h 654"/>
                <a:gd name="T66" fmla="*/ 76 w 563"/>
                <a:gd name="T67" fmla="*/ 273 h 654"/>
                <a:gd name="T68" fmla="*/ 72 w 563"/>
                <a:gd name="T69" fmla="*/ 266 h 654"/>
                <a:gd name="T70" fmla="*/ 67 w 563"/>
                <a:gd name="T71" fmla="*/ 262 h 654"/>
                <a:gd name="T72" fmla="*/ 67 w 563"/>
                <a:gd name="T73" fmla="*/ 254 h 654"/>
                <a:gd name="T74" fmla="*/ 65 w 563"/>
                <a:gd name="T75" fmla="*/ 246 h 654"/>
                <a:gd name="T76" fmla="*/ 55 w 563"/>
                <a:gd name="T77" fmla="*/ 223 h 654"/>
                <a:gd name="T78" fmla="*/ 53 w 563"/>
                <a:gd name="T79" fmla="*/ 205 h 654"/>
                <a:gd name="T80" fmla="*/ 53 w 563"/>
                <a:gd name="T81" fmla="*/ 191 h 654"/>
                <a:gd name="T82" fmla="*/ 61 w 563"/>
                <a:gd name="T83" fmla="*/ 184 h 654"/>
                <a:gd name="T84" fmla="*/ 57 w 563"/>
                <a:gd name="T85" fmla="*/ 156 h 654"/>
                <a:gd name="T86" fmla="*/ 57 w 563"/>
                <a:gd name="T87" fmla="*/ 127 h 654"/>
                <a:gd name="T88" fmla="*/ 61 w 563"/>
                <a:gd name="T89" fmla="*/ 111 h 654"/>
                <a:gd name="T90" fmla="*/ 59 w 563"/>
                <a:gd name="T91" fmla="*/ 92 h 654"/>
                <a:gd name="T92" fmla="*/ 61 w 563"/>
                <a:gd name="T93" fmla="*/ 86 h 654"/>
                <a:gd name="T94" fmla="*/ 82 w 563"/>
                <a:gd name="T95" fmla="*/ 86 h 654"/>
                <a:gd name="T96" fmla="*/ 86 w 563"/>
                <a:gd name="T97" fmla="*/ 88 h 654"/>
                <a:gd name="T98" fmla="*/ 92 w 563"/>
                <a:gd name="T99" fmla="*/ 86 h 654"/>
                <a:gd name="T100" fmla="*/ 96 w 563"/>
                <a:gd name="T101" fmla="*/ 96 h 654"/>
                <a:gd name="T102" fmla="*/ 110 w 563"/>
                <a:gd name="T103" fmla="*/ 100 h 654"/>
                <a:gd name="T104" fmla="*/ 121 w 563"/>
                <a:gd name="T105" fmla="*/ 82 h 654"/>
                <a:gd name="T106" fmla="*/ 125 w 563"/>
                <a:gd name="T107" fmla="*/ 53 h 654"/>
                <a:gd name="T108" fmla="*/ 131 w 563"/>
                <a:gd name="T109" fmla="*/ 6 h 654"/>
                <a:gd name="T110" fmla="*/ 186 w 563"/>
                <a:gd name="T111" fmla="*/ 6 h 654"/>
                <a:gd name="T112" fmla="*/ 280 w 563"/>
                <a:gd name="T113" fmla="*/ 16 h 654"/>
                <a:gd name="T114" fmla="*/ 373 w 563"/>
                <a:gd name="T115" fmla="*/ 27 h 654"/>
                <a:gd name="T116" fmla="*/ 469 w 563"/>
                <a:gd name="T117" fmla="*/ 37 h 654"/>
                <a:gd name="T118" fmla="*/ 563 w 563"/>
                <a:gd name="T119" fmla="*/ 45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3" h="654">
                  <a:moveTo>
                    <a:pt x="555" y="139"/>
                  </a:moveTo>
                  <a:lnTo>
                    <a:pt x="553" y="158"/>
                  </a:lnTo>
                  <a:lnTo>
                    <a:pt x="551" y="178"/>
                  </a:lnTo>
                  <a:lnTo>
                    <a:pt x="551" y="197"/>
                  </a:lnTo>
                  <a:lnTo>
                    <a:pt x="549" y="215"/>
                  </a:lnTo>
                  <a:lnTo>
                    <a:pt x="547" y="236"/>
                  </a:lnTo>
                  <a:lnTo>
                    <a:pt x="545" y="254"/>
                  </a:lnTo>
                  <a:lnTo>
                    <a:pt x="543" y="273"/>
                  </a:lnTo>
                  <a:lnTo>
                    <a:pt x="543" y="291"/>
                  </a:lnTo>
                  <a:lnTo>
                    <a:pt x="541" y="311"/>
                  </a:lnTo>
                  <a:lnTo>
                    <a:pt x="538" y="330"/>
                  </a:lnTo>
                  <a:lnTo>
                    <a:pt x="536" y="348"/>
                  </a:lnTo>
                  <a:lnTo>
                    <a:pt x="536" y="369"/>
                  </a:lnTo>
                  <a:lnTo>
                    <a:pt x="534" y="387"/>
                  </a:lnTo>
                  <a:lnTo>
                    <a:pt x="532" y="406"/>
                  </a:lnTo>
                  <a:lnTo>
                    <a:pt x="530" y="424"/>
                  </a:lnTo>
                  <a:lnTo>
                    <a:pt x="530" y="445"/>
                  </a:lnTo>
                  <a:lnTo>
                    <a:pt x="528" y="463"/>
                  </a:lnTo>
                  <a:lnTo>
                    <a:pt x="526" y="482"/>
                  </a:lnTo>
                  <a:lnTo>
                    <a:pt x="524" y="502"/>
                  </a:lnTo>
                  <a:lnTo>
                    <a:pt x="524" y="520"/>
                  </a:lnTo>
                  <a:lnTo>
                    <a:pt x="522" y="539"/>
                  </a:lnTo>
                  <a:lnTo>
                    <a:pt x="520" y="557"/>
                  </a:lnTo>
                  <a:lnTo>
                    <a:pt x="518" y="578"/>
                  </a:lnTo>
                  <a:lnTo>
                    <a:pt x="518" y="596"/>
                  </a:lnTo>
                  <a:lnTo>
                    <a:pt x="516" y="615"/>
                  </a:lnTo>
                  <a:lnTo>
                    <a:pt x="514" y="635"/>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0" y="654"/>
                  </a:lnTo>
                  <a:lnTo>
                    <a:pt x="506" y="654"/>
                  </a:lnTo>
                  <a:lnTo>
                    <a:pt x="502" y="654"/>
                  </a:lnTo>
                  <a:lnTo>
                    <a:pt x="498" y="654"/>
                  </a:lnTo>
                  <a:lnTo>
                    <a:pt x="495" y="654"/>
                  </a:lnTo>
                  <a:lnTo>
                    <a:pt x="491" y="652"/>
                  </a:lnTo>
                  <a:lnTo>
                    <a:pt x="487" y="652"/>
                  </a:lnTo>
                  <a:lnTo>
                    <a:pt x="483" y="652"/>
                  </a:lnTo>
                  <a:lnTo>
                    <a:pt x="479" y="652"/>
                  </a:lnTo>
                  <a:lnTo>
                    <a:pt x="475" y="652"/>
                  </a:lnTo>
                  <a:lnTo>
                    <a:pt x="471" y="652"/>
                  </a:lnTo>
                  <a:lnTo>
                    <a:pt x="467" y="650"/>
                  </a:lnTo>
                  <a:lnTo>
                    <a:pt x="463" y="650"/>
                  </a:lnTo>
                  <a:lnTo>
                    <a:pt x="459" y="650"/>
                  </a:lnTo>
                  <a:lnTo>
                    <a:pt x="455" y="650"/>
                  </a:lnTo>
                  <a:lnTo>
                    <a:pt x="450" y="650"/>
                  </a:lnTo>
                  <a:lnTo>
                    <a:pt x="448" y="650"/>
                  </a:lnTo>
                  <a:lnTo>
                    <a:pt x="444" y="648"/>
                  </a:lnTo>
                  <a:lnTo>
                    <a:pt x="440" y="648"/>
                  </a:lnTo>
                  <a:lnTo>
                    <a:pt x="436" y="648"/>
                  </a:lnTo>
                  <a:lnTo>
                    <a:pt x="432" y="648"/>
                  </a:lnTo>
                  <a:lnTo>
                    <a:pt x="428" y="648"/>
                  </a:lnTo>
                  <a:lnTo>
                    <a:pt x="424" y="648"/>
                  </a:lnTo>
                  <a:lnTo>
                    <a:pt x="420" y="645"/>
                  </a:lnTo>
                  <a:lnTo>
                    <a:pt x="416" y="645"/>
                  </a:lnTo>
                  <a:lnTo>
                    <a:pt x="412" y="645"/>
                  </a:lnTo>
                  <a:lnTo>
                    <a:pt x="407" y="645"/>
                  </a:lnTo>
                  <a:lnTo>
                    <a:pt x="403" y="645"/>
                  </a:lnTo>
                  <a:lnTo>
                    <a:pt x="399" y="643"/>
                  </a:lnTo>
                  <a:lnTo>
                    <a:pt x="397" y="643"/>
                  </a:lnTo>
                  <a:lnTo>
                    <a:pt x="393" y="643"/>
                  </a:lnTo>
                  <a:lnTo>
                    <a:pt x="389" y="643"/>
                  </a:lnTo>
                  <a:lnTo>
                    <a:pt x="385" y="643"/>
                  </a:lnTo>
                  <a:lnTo>
                    <a:pt x="381" y="643"/>
                  </a:lnTo>
                  <a:lnTo>
                    <a:pt x="377" y="641"/>
                  </a:lnTo>
                  <a:lnTo>
                    <a:pt x="373" y="641"/>
                  </a:lnTo>
                  <a:lnTo>
                    <a:pt x="369" y="641"/>
                  </a:lnTo>
                  <a:lnTo>
                    <a:pt x="364" y="641"/>
                  </a:lnTo>
                  <a:lnTo>
                    <a:pt x="360" y="641"/>
                  </a:lnTo>
                  <a:lnTo>
                    <a:pt x="356" y="639"/>
                  </a:lnTo>
                  <a:lnTo>
                    <a:pt x="354" y="639"/>
                  </a:lnTo>
                  <a:lnTo>
                    <a:pt x="350" y="639"/>
                  </a:lnTo>
                  <a:lnTo>
                    <a:pt x="346" y="639"/>
                  </a:lnTo>
                  <a:lnTo>
                    <a:pt x="342" y="639"/>
                  </a:lnTo>
                  <a:lnTo>
                    <a:pt x="338" y="639"/>
                  </a:lnTo>
                  <a:lnTo>
                    <a:pt x="332" y="637"/>
                  </a:lnTo>
                  <a:lnTo>
                    <a:pt x="328" y="637"/>
                  </a:lnTo>
                  <a:lnTo>
                    <a:pt x="323" y="635"/>
                  </a:lnTo>
                  <a:lnTo>
                    <a:pt x="319" y="633"/>
                  </a:lnTo>
                  <a:lnTo>
                    <a:pt x="315" y="631"/>
                  </a:lnTo>
                  <a:lnTo>
                    <a:pt x="311" y="629"/>
                  </a:lnTo>
                  <a:lnTo>
                    <a:pt x="307" y="627"/>
                  </a:lnTo>
                  <a:lnTo>
                    <a:pt x="301" y="625"/>
                  </a:lnTo>
                  <a:lnTo>
                    <a:pt x="297" y="621"/>
                  </a:lnTo>
                  <a:lnTo>
                    <a:pt x="293" y="619"/>
                  </a:lnTo>
                  <a:lnTo>
                    <a:pt x="289" y="617"/>
                  </a:lnTo>
                  <a:lnTo>
                    <a:pt x="252" y="600"/>
                  </a:lnTo>
                  <a:lnTo>
                    <a:pt x="217" y="582"/>
                  </a:lnTo>
                  <a:lnTo>
                    <a:pt x="180" y="564"/>
                  </a:lnTo>
                  <a:lnTo>
                    <a:pt x="145" y="547"/>
                  </a:lnTo>
                  <a:lnTo>
                    <a:pt x="108" y="529"/>
                  </a:lnTo>
                  <a:lnTo>
                    <a:pt x="74" y="510"/>
                  </a:lnTo>
                  <a:lnTo>
                    <a:pt x="39" y="492"/>
                  </a:lnTo>
                  <a:lnTo>
                    <a:pt x="4" y="473"/>
                  </a:lnTo>
                  <a:lnTo>
                    <a:pt x="0" y="471"/>
                  </a:lnTo>
                  <a:lnTo>
                    <a:pt x="0" y="471"/>
                  </a:lnTo>
                  <a:lnTo>
                    <a:pt x="0" y="471"/>
                  </a:lnTo>
                  <a:lnTo>
                    <a:pt x="0" y="471"/>
                  </a:lnTo>
                  <a:lnTo>
                    <a:pt x="0" y="471"/>
                  </a:lnTo>
                  <a:lnTo>
                    <a:pt x="2" y="465"/>
                  </a:lnTo>
                  <a:lnTo>
                    <a:pt x="4" y="463"/>
                  </a:lnTo>
                  <a:lnTo>
                    <a:pt x="2" y="461"/>
                  </a:lnTo>
                  <a:lnTo>
                    <a:pt x="4" y="459"/>
                  </a:lnTo>
                  <a:lnTo>
                    <a:pt x="6" y="459"/>
                  </a:lnTo>
                  <a:lnTo>
                    <a:pt x="6" y="459"/>
                  </a:lnTo>
                  <a:lnTo>
                    <a:pt x="8" y="457"/>
                  </a:lnTo>
                  <a:lnTo>
                    <a:pt x="8" y="457"/>
                  </a:lnTo>
                  <a:lnTo>
                    <a:pt x="8" y="457"/>
                  </a:lnTo>
                  <a:lnTo>
                    <a:pt x="10" y="455"/>
                  </a:lnTo>
                  <a:lnTo>
                    <a:pt x="10" y="453"/>
                  </a:lnTo>
                  <a:lnTo>
                    <a:pt x="12" y="451"/>
                  </a:lnTo>
                  <a:lnTo>
                    <a:pt x="12" y="449"/>
                  </a:lnTo>
                  <a:lnTo>
                    <a:pt x="16" y="447"/>
                  </a:lnTo>
                  <a:lnTo>
                    <a:pt x="24" y="449"/>
                  </a:lnTo>
                  <a:lnTo>
                    <a:pt x="29" y="449"/>
                  </a:lnTo>
                  <a:lnTo>
                    <a:pt x="31" y="449"/>
                  </a:lnTo>
                  <a:lnTo>
                    <a:pt x="31" y="447"/>
                  </a:lnTo>
                  <a:lnTo>
                    <a:pt x="31" y="445"/>
                  </a:lnTo>
                  <a:lnTo>
                    <a:pt x="31" y="443"/>
                  </a:lnTo>
                  <a:lnTo>
                    <a:pt x="33" y="441"/>
                  </a:lnTo>
                  <a:lnTo>
                    <a:pt x="37" y="439"/>
                  </a:lnTo>
                  <a:lnTo>
                    <a:pt x="37" y="439"/>
                  </a:lnTo>
                  <a:lnTo>
                    <a:pt x="39" y="436"/>
                  </a:lnTo>
                  <a:lnTo>
                    <a:pt x="37" y="428"/>
                  </a:lnTo>
                  <a:lnTo>
                    <a:pt x="37" y="426"/>
                  </a:lnTo>
                  <a:lnTo>
                    <a:pt x="39" y="426"/>
                  </a:lnTo>
                  <a:lnTo>
                    <a:pt x="39" y="424"/>
                  </a:lnTo>
                  <a:lnTo>
                    <a:pt x="39" y="424"/>
                  </a:lnTo>
                  <a:lnTo>
                    <a:pt x="37" y="420"/>
                  </a:lnTo>
                  <a:lnTo>
                    <a:pt x="33" y="418"/>
                  </a:lnTo>
                  <a:lnTo>
                    <a:pt x="24" y="416"/>
                  </a:lnTo>
                  <a:lnTo>
                    <a:pt x="22" y="414"/>
                  </a:lnTo>
                  <a:lnTo>
                    <a:pt x="20" y="410"/>
                  </a:lnTo>
                  <a:lnTo>
                    <a:pt x="20" y="406"/>
                  </a:lnTo>
                  <a:lnTo>
                    <a:pt x="22" y="402"/>
                  </a:lnTo>
                  <a:lnTo>
                    <a:pt x="22" y="398"/>
                  </a:lnTo>
                  <a:lnTo>
                    <a:pt x="22" y="391"/>
                  </a:lnTo>
                  <a:lnTo>
                    <a:pt x="22" y="389"/>
                  </a:lnTo>
                  <a:lnTo>
                    <a:pt x="20" y="387"/>
                  </a:lnTo>
                  <a:lnTo>
                    <a:pt x="20" y="385"/>
                  </a:lnTo>
                  <a:lnTo>
                    <a:pt x="22" y="381"/>
                  </a:lnTo>
                  <a:lnTo>
                    <a:pt x="22" y="381"/>
                  </a:lnTo>
                  <a:lnTo>
                    <a:pt x="22" y="379"/>
                  </a:lnTo>
                  <a:lnTo>
                    <a:pt x="22" y="379"/>
                  </a:lnTo>
                  <a:lnTo>
                    <a:pt x="22" y="377"/>
                  </a:lnTo>
                  <a:lnTo>
                    <a:pt x="22" y="377"/>
                  </a:lnTo>
                  <a:lnTo>
                    <a:pt x="20" y="375"/>
                  </a:lnTo>
                  <a:lnTo>
                    <a:pt x="22" y="375"/>
                  </a:lnTo>
                  <a:lnTo>
                    <a:pt x="26" y="375"/>
                  </a:lnTo>
                  <a:lnTo>
                    <a:pt x="29" y="375"/>
                  </a:lnTo>
                  <a:lnTo>
                    <a:pt x="31" y="373"/>
                  </a:lnTo>
                  <a:lnTo>
                    <a:pt x="35" y="367"/>
                  </a:lnTo>
                  <a:lnTo>
                    <a:pt x="37" y="365"/>
                  </a:lnTo>
                  <a:lnTo>
                    <a:pt x="37" y="365"/>
                  </a:lnTo>
                  <a:lnTo>
                    <a:pt x="39" y="363"/>
                  </a:lnTo>
                  <a:lnTo>
                    <a:pt x="41" y="361"/>
                  </a:lnTo>
                  <a:lnTo>
                    <a:pt x="41" y="361"/>
                  </a:lnTo>
                  <a:lnTo>
                    <a:pt x="41" y="359"/>
                  </a:lnTo>
                  <a:lnTo>
                    <a:pt x="41" y="357"/>
                  </a:lnTo>
                  <a:lnTo>
                    <a:pt x="41" y="354"/>
                  </a:lnTo>
                  <a:lnTo>
                    <a:pt x="43" y="354"/>
                  </a:lnTo>
                  <a:lnTo>
                    <a:pt x="43" y="354"/>
                  </a:lnTo>
                  <a:lnTo>
                    <a:pt x="43" y="352"/>
                  </a:lnTo>
                  <a:lnTo>
                    <a:pt x="43" y="350"/>
                  </a:lnTo>
                  <a:lnTo>
                    <a:pt x="43" y="348"/>
                  </a:lnTo>
                  <a:lnTo>
                    <a:pt x="45" y="346"/>
                  </a:lnTo>
                  <a:lnTo>
                    <a:pt x="47" y="346"/>
                  </a:lnTo>
                  <a:lnTo>
                    <a:pt x="47" y="344"/>
                  </a:lnTo>
                  <a:lnTo>
                    <a:pt x="47" y="342"/>
                  </a:lnTo>
                  <a:lnTo>
                    <a:pt x="47" y="340"/>
                  </a:lnTo>
                  <a:lnTo>
                    <a:pt x="47" y="340"/>
                  </a:lnTo>
                  <a:lnTo>
                    <a:pt x="47" y="340"/>
                  </a:lnTo>
                  <a:lnTo>
                    <a:pt x="47" y="338"/>
                  </a:lnTo>
                  <a:lnTo>
                    <a:pt x="47" y="338"/>
                  </a:lnTo>
                  <a:lnTo>
                    <a:pt x="47" y="336"/>
                  </a:lnTo>
                  <a:lnTo>
                    <a:pt x="47" y="336"/>
                  </a:lnTo>
                  <a:lnTo>
                    <a:pt x="47" y="332"/>
                  </a:lnTo>
                  <a:lnTo>
                    <a:pt x="47" y="330"/>
                  </a:lnTo>
                  <a:lnTo>
                    <a:pt x="47" y="328"/>
                  </a:lnTo>
                  <a:lnTo>
                    <a:pt x="49" y="328"/>
                  </a:lnTo>
                  <a:lnTo>
                    <a:pt x="49" y="326"/>
                  </a:lnTo>
                  <a:lnTo>
                    <a:pt x="49" y="326"/>
                  </a:lnTo>
                  <a:lnTo>
                    <a:pt x="47" y="324"/>
                  </a:lnTo>
                  <a:lnTo>
                    <a:pt x="47" y="322"/>
                  </a:lnTo>
                  <a:lnTo>
                    <a:pt x="47" y="322"/>
                  </a:lnTo>
                  <a:lnTo>
                    <a:pt x="47" y="318"/>
                  </a:lnTo>
                  <a:lnTo>
                    <a:pt x="49" y="318"/>
                  </a:lnTo>
                  <a:lnTo>
                    <a:pt x="53" y="316"/>
                  </a:lnTo>
                  <a:lnTo>
                    <a:pt x="55" y="314"/>
                  </a:lnTo>
                  <a:lnTo>
                    <a:pt x="57" y="314"/>
                  </a:lnTo>
                  <a:lnTo>
                    <a:pt x="57" y="311"/>
                  </a:lnTo>
                  <a:lnTo>
                    <a:pt x="59" y="305"/>
                  </a:lnTo>
                  <a:lnTo>
                    <a:pt x="61" y="303"/>
                  </a:lnTo>
                  <a:lnTo>
                    <a:pt x="61" y="303"/>
                  </a:lnTo>
                  <a:lnTo>
                    <a:pt x="65" y="303"/>
                  </a:lnTo>
                  <a:lnTo>
                    <a:pt x="76" y="297"/>
                  </a:lnTo>
                  <a:lnTo>
                    <a:pt x="78" y="297"/>
                  </a:lnTo>
                  <a:lnTo>
                    <a:pt x="80" y="293"/>
                  </a:lnTo>
                  <a:lnTo>
                    <a:pt x="84" y="291"/>
                  </a:lnTo>
                  <a:lnTo>
                    <a:pt x="86" y="289"/>
                  </a:lnTo>
                  <a:lnTo>
                    <a:pt x="88" y="287"/>
                  </a:lnTo>
                  <a:lnTo>
                    <a:pt x="88" y="285"/>
                  </a:lnTo>
                  <a:lnTo>
                    <a:pt x="88" y="285"/>
                  </a:lnTo>
                  <a:lnTo>
                    <a:pt x="86" y="283"/>
                  </a:lnTo>
                  <a:lnTo>
                    <a:pt x="84" y="281"/>
                  </a:lnTo>
                  <a:lnTo>
                    <a:pt x="84" y="279"/>
                  </a:lnTo>
                  <a:lnTo>
                    <a:pt x="82" y="279"/>
                  </a:lnTo>
                  <a:lnTo>
                    <a:pt x="76" y="273"/>
                  </a:lnTo>
                  <a:lnTo>
                    <a:pt x="74" y="270"/>
                  </a:lnTo>
                  <a:lnTo>
                    <a:pt x="74" y="270"/>
                  </a:lnTo>
                  <a:lnTo>
                    <a:pt x="72" y="268"/>
                  </a:lnTo>
                  <a:lnTo>
                    <a:pt x="72" y="268"/>
                  </a:lnTo>
                  <a:lnTo>
                    <a:pt x="72" y="268"/>
                  </a:lnTo>
                  <a:lnTo>
                    <a:pt x="72" y="266"/>
                  </a:lnTo>
                  <a:lnTo>
                    <a:pt x="72" y="266"/>
                  </a:lnTo>
                  <a:lnTo>
                    <a:pt x="69" y="266"/>
                  </a:lnTo>
                  <a:lnTo>
                    <a:pt x="69" y="266"/>
                  </a:lnTo>
                  <a:lnTo>
                    <a:pt x="69" y="266"/>
                  </a:lnTo>
                  <a:lnTo>
                    <a:pt x="67" y="266"/>
                  </a:lnTo>
                  <a:lnTo>
                    <a:pt x="67" y="264"/>
                  </a:lnTo>
                  <a:lnTo>
                    <a:pt x="67" y="264"/>
                  </a:lnTo>
                  <a:lnTo>
                    <a:pt x="67" y="262"/>
                  </a:lnTo>
                  <a:lnTo>
                    <a:pt x="67" y="262"/>
                  </a:lnTo>
                  <a:lnTo>
                    <a:pt x="67" y="260"/>
                  </a:lnTo>
                  <a:lnTo>
                    <a:pt x="69" y="260"/>
                  </a:lnTo>
                  <a:lnTo>
                    <a:pt x="67" y="258"/>
                  </a:lnTo>
                  <a:lnTo>
                    <a:pt x="67" y="258"/>
                  </a:lnTo>
                  <a:lnTo>
                    <a:pt x="67" y="256"/>
                  </a:lnTo>
                  <a:lnTo>
                    <a:pt x="67" y="254"/>
                  </a:lnTo>
                  <a:lnTo>
                    <a:pt x="65" y="254"/>
                  </a:lnTo>
                  <a:lnTo>
                    <a:pt x="65" y="252"/>
                  </a:lnTo>
                  <a:lnTo>
                    <a:pt x="65" y="252"/>
                  </a:lnTo>
                  <a:lnTo>
                    <a:pt x="65" y="248"/>
                  </a:lnTo>
                  <a:lnTo>
                    <a:pt x="65" y="248"/>
                  </a:lnTo>
                  <a:lnTo>
                    <a:pt x="65" y="248"/>
                  </a:lnTo>
                  <a:lnTo>
                    <a:pt x="65" y="246"/>
                  </a:lnTo>
                  <a:lnTo>
                    <a:pt x="61" y="234"/>
                  </a:lnTo>
                  <a:lnTo>
                    <a:pt x="59" y="234"/>
                  </a:lnTo>
                  <a:lnTo>
                    <a:pt x="57" y="232"/>
                  </a:lnTo>
                  <a:lnTo>
                    <a:pt x="55" y="229"/>
                  </a:lnTo>
                  <a:lnTo>
                    <a:pt x="57" y="227"/>
                  </a:lnTo>
                  <a:lnTo>
                    <a:pt x="55" y="225"/>
                  </a:lnTo>
                  <a:lnTo>
                    <a:pt x="55" y="223"/>
                  </a:lnTo>
                  <a:lnTo>
                    <a:pt x="55" y="221"/>
                  </a:lnTo>
                  <a:lnTo>
                    <a:pt x="53" y="221"/>
                  </a:lnTo>
                  <a:lnTo>
                    <a:pt x="53" y="221"/>
                  </a:lnTo>
                  <a:lnTo>
                    <a:pt x="51" y="219"/>
                  </a:lnTo>
                  <a:lnTo>
                    <a:pt x="53" y="207"/>
                  </a:lnTo>
                  <a:lnTo>
                    <a:pt x="53" y="205"/>
                  </a:lnTo>
                  <a:lnTo>
                    <a:pt x="53" y="205"/>
                  </a:lnTo>
                  <a:lnTo>
                    <a:pt x="53" y="201"/>
                  </a:lnTo>
                  <a:lnTo>
                    <a:pt x="55" y="199"/>
                  </a:lnTo>
                  <a:lnTo>
                    <a:pt x="55" y="197"/>
                  </a:lnTo>
                  <a:lnTo>
                    <a:pt x="55" y="197"/>
                  </a:lnTo>
                  <a:lnTo>
                    <a:pt x="53" y="195"/>
                  </a:lnTo>
                  <a:lnTo>
                    <a:pt x="53" y="193"/>
                  </a:lnTo>
                  <a:lnTo>
                    <a:pt x="53" y="191"/>
                  </a:lnTo>
                  <a:lnTo>
                    <a:pt x="55" y="191"/>
                  </a:lnTo>
                  <a:lnTo>
                    <a:pt x="55" y="191"/>
                  </a:lnTo>
                  <a:lnTo>
                    <a:pt x="57" y="191"/>
                  </a:lnTo>
                  <a:lnTo>
                    <a:pt x="59" y="191"/>
                  </a:lnTo>
                  <a:lnTo>
                    <a:pt x="59" y="191"/>
                  </a:lnTo>
                  <a:lnTo>
                    <a:pt x="59" y="186"/>
                  </a:lnTo>
                  <a:lnTo>
                    <a:pt x="61" y="184"/>
                  </a:lnTo>
                  <a:lnTo>
                    <a:pt x="61" y="180"/>
                  </a:lnTo>
                  <a:lnTo>
                    <a:pt x="59" y="174"/>
                  </a:lnTo>
                  <a:lnTo>
                    <a:pt x="61" y="172"/>
                  </a:lnTo>
                  <a:lnTo>
                    <a:pt x="61" y="168"/>
                  </a:lnTo>
                  <a:lnTo>
                    <a:pt x="61" y="166"/>
                  </a:lnTo>
                  <a:lnTo>
                    <a:pt x="59" y="160"/>
                  </a:lnTo>
                  <a:lnTo>
                    <a:pt x="57" y="156"/>
                  </a:lnTo>
                  <a:lnTo>
                    <a:pt x="57" y="152"/>
                  </a:lnTo>
                  <a:lnTo>
                    <a:pt x="59" y="145"/>
                  </a:lnTo>
                  <a:lnTo>
                    <a:pt x="59" y="141"/>
                  </a:lnTo>
                  <a:lnTo>
                    <a:pt x="59" y="139"/>
                  </a:lnTo>
                  <a:lnTo>
                    <a:pt x="59" y="137"/>
                  </a:lnTo>
                  <a:lnTo>
                    <a:pt x="57" y="129"/>
                  </a:lnTo>
                  <a:lnTo>
                    <a:pt x="57" y="127"/>
                  </a:lnTo>
                  <a:lnTo>
                    <a:pt x="57" y="123"/>
                  </a:lnTo>
                  <a:lnTo>
                    <a:pt x="59" y="117"/>
                  </a:lnTo>
                  <a:lnTo>
                    <a:pt x="59" y="117"/>
                  </a:lnTo>
                  <a:lnTo>
                    <a:pt x="61" y="113"/>
                  </a:lnTo>
                  <a:lnTo>
                    <a:pt x="61" y="113"/>
                  </a:lnTo>
                  <a:lnTo>
                    <a:pt x="61" y="111"/>
                  </a:lnTo>
                  <a:lnTo>
                    <a:pt x="61" y="111"/>
                  </a:lnTo>
                  <a:lnTo>
                    <a:pt x="59" y="104"/>
                  </a:lnTo>
                  <a:lnTo>
                    <a:pt x="57" y="102"/>
                  </a:lnTo>
                  <a:lnTo>
                    <a:pt x="57" y="100"/>
                  </a:lnTo>
                  <a:lnTo>
                    <a:pt x="57" y="96"/>
                  </a:lnTo>
                  <a:lnTo>
                    <a:pt x="59" y="96"/>
                  </a:lnTo>
                  <a:lnTo>
                    <a:pt x="59" y="94"/>
                  </a:lnTo>
                  <a:lnTo>
                    <a:pt x="59" y="92"/>
                  </a:lnTo>
                  <a:lnTo>
                    <a:pt x="59" y="90"/>
                  </a:lnTo>
                  <a:lnTo>
                    <a:pt x="59" y="90"/>
                  </a:lnTo>
                  <a:lnTo>
                    <a:pt x="59" y="88"/>
                  </a:lnTo>
                  <a:lnTo>
                    <a:pt x="61" y="88"/>
                  </a:lnTo>
                  <a:lnTo>
                    <a:pt x="61" y="88"/>
                  </a:lnTo>
                  <a:lnTo>
                    <a:pt x="61" y="86"/>
                  </a:lnTo>
                  <a:lnTo>
                    <a:pt x="61" y="86"/>
                  </a:lnTo>
                  <a:lnTo>
                    <a:pt x="65" y="86"/>
                  </a:lnTo>
                  <a:lnTo>
                    <a:pt x="67" y="84"/>
                  </a:lnTo>
                  <a:lnTo>
                    <a:pt x="74" y="84"/>
                  </a:lnTo>
                  <a:lnTo>
                    <a:pt x="76" y="84"/>
                  </a:lnTo>
                  <a:lnTo>
                    <a:pt x="76" y="84"/>
                  </a:lnTo>
                  <a:lnTo>
                    <a:pt x="76" y="84"/>
                  </a:lnTo>
                  <a:lnTo>
                    <a:pt x="82" y="86"/>
                  </a:lnTo>
                  <a:lnTo>
                    <a:pt x="82" y="86"/>
                  </a:lnTo>
                  <a:lnTo>
                    <a:pt x="82" y="86"/>
                  </a:lnTo>
                  <a:lnTo>
                    <a:pt x="82" y="86"/>
                  </a:lnTo>
                  <a:lnTo>
                    <a:pt x="84" y="88"/>
                  </a:lnTo>
                  <a:lnTo>
                    <a:pt x="84" y="88"/>
                  </a:lnTo>
                  <a:lnTo>
                    <a:pt x="84" y="88"/>
                  </a:lnTo>
                  <a:lnTo>
                    <a:pt x="86" y="88"/>
                  </a:lnTo>
                  <a:lnTo>
                    <a:pt x="86" y="88"/>
                  </a:lnTo>
                  <a:lnTo>
                    <a:pt x="86" y="88"/>
                  </a:lnTo>
                  <a:lnTo>
                    <a:pt x="90" y="86"/>
                  </a:lnTo>
                  <a:lnTo>
                    <a:pt x="90" y="86"/>
                  </a:lnTo>
                  <a:lnTo>
                    <a:pt x="90" y="86"/>
                  </a:lnTo>
                  <a:lnTo>
                    <a:pt x="90" y="86"/>
                  </a:lnTo>
                  <a:lnTo>
                    <a:pt x="92" y="86"/>
                  </a:lnTo>
                  <a:lnTo>
                    <a:pt x="92" y="86"/>
                  </a:lnTo>
                  <a:lnTo>
                    <a:pt x="92" y="88"/>
                  </a:lnTo>
                  <a:lnTo>
                    <a:pt x="94" y="88"/>
                  </a:lnTo>
                  <a:lnTo>
                    <a:pt x="94" y="88"/>
                  </a:lnTo>
                  <a:lnTo>
                    <a:pt x="94" y="90"/>
                  </a:lnTo>
                  <a:lnTo>
                    <a:pt x="96" y="90"/>
                  </a:lnTo>
                  <a:lnTo>
                    <a:pt x="96" y="96"/>
                  </a:lnTo>
                  <a:lnTo>
                    <a:pt x="98" y="96"/>
                  </a:lnTo>
                  <a:lnTo>
                    <a:pt x="98" y="98"/>
                  </a:lnTo>
                  <a:lnTo>
                    <a:pt x="100" y="100"/>
                  </a:lnTo>
                  <a:lnTo>
                    <a:pt x="102" y="102"/>
                  </a:lnTo>
                  <a:lnTo>
                    <a:pt x="104" y="102"/>
                  </a:lnTo>
                  <a:lnTo>
                    <a:pt x="108" y="102"/>
                  </a:lnTo>
                  <a:lnTo>
                    <a:pt x="110" y="100"/>
                  </a:lnTo>
                  <a:lnTo>
                    <a:pt x="113" y="96"/>
                  </a:lnTo>
                  <a:lnTo>
                    <a:pt x="115" y="92"/>
                  </a:lnTo>
                  <a:lnTo>
                    <a:pt x="117" y="88"/>
                  </a:lnTo>
                  <a:lnTo>
                    <a:pt x="119" y="86"/>
                  </a:lnTo>
                  <a:lnTo>
                    <a:pt x="121" y="84"/>
                  </a:lnTo>
                  <a:lnTo>
                    <a:pt x="121" y="84"/>
                  </a:lnTo>
                  <a:lnTo>
                    <a:pt x="121" y="82"/>
                  </a:lnTo>
                  <a:lnTo>
                    <a:pt x="121" y="78"/>
                  </a:lnTo>
                  <a:lnTo>
                    <a:pt x="121" y="78"/>
                  </a:lnTo>
                  <a:lnTo>
                    <a:pt x="123" y="76"/>
                  </a:lnTo>
                  <a:lnTo>
                    <a:pt x="123" y="72"/>
                  </a:lnTo>
                  <a:lnTo>
                    <a:pt x="123" y="66"/>
                  </a:lnTo>
                  <a:lnTo>
                    <a:pt x="125" y="59"/>
                  </a:lnTo>
                  <a:lnTo>
                    <a:pt x="125" y="53"/>
                  </a:lnTo>
                  <a:lnTo>
                    <a:pt x="125" y="45"/>
                  </a:lnTo>
                  <a:lnTo>
                    <a:pt x="127" y="39"/>
                  </a:lnTo>
                  <a:lnTo>
                    <a:pt x="127" y="31"/>
                  </a:lnTo>
                  <a:lnTo>
                    <a:pt x="129" y="25"/>
                  </a:lnTo>
                  <a:lnTo>
                    <a:pt x="129" y="18"/>
                  </a:lnTo>
                  <a:lnTo>
                    <a:pt x="131" y="12"/>
                  </a:lnTo>
                  <a:lnTo>
                    <a:pt x="131" y="6"/>
                  </a:lnTo>
                  <a:lnTo>
                    <a:pt x="131" y="2"/>
                  </a:lnTo>
                  <a:lnTo>
                    <a:pt x="131" y="0"/>
                  </a:lnTo>
                  <a:lnTo>
                    <a:pt x="131" y="0"/>
                  </a:lnTo>
                  <a:lnTo>
                    <a:pt x="145" y="0"/>
                  </a:lnTo>
                  <a:lnTo>
                    <a:pt x="158" y="2"/>
                  </a:lnTo>
                  <a:lnTo>
                    <a:pt x="172" y="4"/>
                  </a:lnTo>
                  <a:lnTo>
                    <a:pt x="186" y="6"/>
                  </a:lnTo>
                  <a:lnTo>
                    <a:pt x="199" y="8"/>
                  </a:lnTo>
                  <a:lnTo>
                    <a:pt x="213" y="8"/>
                  </a:lnTo>
                  <a:lnTo>
                    <a:pt x="225" y="10"/>
                  </a:lnTo>
                  <a:lnTo>
                    <a:pt x="239" y="12"/>
                  </a:lnTo>
                  <a:lnTo>
                    <a:pt x="252" y="14"/>
                  </a:lnTo>
                  <a:lnTo>
                    <a:pt x="266" y="16"/>
                  </a:lnTo>
                  <a:lnTo>
                    <a:pt x="280" y="16"/>
                  </a:lnTo>
                  <a:lnTo>
                    <a:pt x="293" y="18"/>
                  </a:lnTo>
                  <a:lnTo>
                    <a:pt x="307" y="20"/>
                  </a:lnTo>
                  <a:lnTo>
                    <a:pt x="319" y="20"/>
                  </a:lnTo>
                  <a:lnTo>
                    <a:pt x="334" y="23"/>
                  </a:lnTo>
                  <a:lnTo>
                    <a:pt x="346" y="25"/>
                  </a:lnTo>
                  <a:lnTo>
                    <a:pt x="360" y="27"/>
                  </a:lnTo>
                  <a:lnTo>
                    <a:pt x="373" y="27"/>
                  </a:lnTo>
                  <a:lnTo>
                    <a:pt x="387" y="29"/>
                  </a:lnTo>
                  <a:lnTo>
                    <a:pt x="401" y="31"/>
                  </a:lnTo>
                  <a:lnTo>
                    <a:pt x="414" y="31"/>
                  </a:lnTo>
                  <a:lnTo>
                    <a:pt x="428" y="33"/>
                  </a:lnTo>
                  <a:lnTo>
                    <a:pt x="440" y="33"/>
                  </a:lnTo>
                  <a:lnTo>
                    <a:pt x="455" y="35"/>
                  </a:lnTo>
                  <a:lnTo>
                    <a:pt x="469" y="37"/>
                  </a:lnTo>
                  <a:lnTo>
                    <a:pt x="481" y="37"/>
                  </a:lnTo>
                  <a:lnTo>
                    <a:pt x="495" y="39"/>
                  </a:lnTo>
                  <a:lnTo>
                    <a:pt x="508" y="39"/>
                  </a:lnTo>
                  <a:lnTo>
                    <a:pt x="522" y="41"/>
                  </a:lnTo>
                  <a:lnTo>
                    <a:pt x="534" y="43"/>
                  </a:lnTo>
                  <a:lnTo>
                    <a:pt x="549" y="43"/>
                  </a:lnTo>
                  <a:lnTo>
                    <a:pt x="563" y="45"/>
                  </a:lnTo>
                  <a:lnTo>
                    <a:pt x="561" y="63"/>
                  </a:lnTo>
                  <a:lnTo>
                    <a:pt x="559" y="82"/>
                  </a:lnTo>
                  <a:lnTo>
                    <a:pt x="557" y="102"/>
                  </a:lnTo>
                  <a:lnTo>
                    <a:pt x="557" y="121"/>
                  </a:lnTo>
                  <a:lnTo>
                    <a:pt x="555" y="139"/>
                  </a:lnTo>
                  <a:lnTo>
                    <a:pt x="555" y="139"/>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Z</a:t>
              </a:r>
            </a:p>
          </p:txBody>
        </p:sp>
        <p:sp>
          <p:nvSpPr>
            <p:cNvPr id="290" name="Freeform 53">
              <a:extLst>
                <a:ext uri="{FF2B5EF4-FFF2-40B4-BE49-F238E27FC236}">
                  <a16:creationId xmlns:a16="http://schemas.microsoft.com/office/drawing/2014/main" id="{835D6118-BAB2-9C65-FF3A-20D22B572894}"/>
                </a:ext>
              </a:extLst>
            </p:cNvPr>
            <p:cNvSpPr>
              <a:spLocks/>
            </p:cNvSpPr>
            <p:nvPr/>
          </p:nvSpPr>
          <p:spPr bwMode="auto">
            <a:xfrm>
              <a:off x="3200" y="1459"/>
              <a:ext cx="437" cy="400"/>
            </a:xfrm>
            <a:custGeom>
              <a:avLst/>
              <a:gdLst>
                <a:gd name="T0" fmla="*/ 437 w 437"/>
                <a:gd name="T1" fmla="*/ 62 h 400"/>
                <a:gd name="T2" fmla="*/ 428 w 437"/>
                <a:gd name="T3" fmla="*/ 64 h 400"/>
                <a:gd name="T4" fmla="*/ 414 w 437"/>
                <a:gd name="T5" fmla="*/ 82 h 400"/>
                <a:gd name="T6" fmla="*/ 416 w 437"/>
                <a:gd name="T7" fmla="*/ 94 h 400"/>
                <a:gd name="T8" fmla="*/ 416 w 437"/>
                <a:gd name="T9" fmla="*/ 103 h 400"/>
                <a:gd name="T10" fmla="*/ 410 w 437"/>
                <a:gd name="T11" fmla="*/ 111 h 400"/>
                <a:gd name="T12" fmla="*/ 404 w 437"/>
                <a:gd name="T13" fmla="*/ 129 h 400"/>
                <a:gd name="T14" fmla="*/ 404 w 437"/>
                <a:gd name="T15" fmla="*/ 148 h 400"/>
                <a:gd name="T16" fmla="*/ 398 w 437"/>
                <a:gd name="T17" fmla="*/ 156 h 400"/>
                <a:gd name="T18" fmla="*/ 390 w 437"/>
                <a:gd name="T19" fmla="*/ 162 h 400"/>
                <a:gd name="T20" fmla="*/ 377 w 437"/>
                <a:gd name="T21" fmla="*/ 183 h 400"/>
                <a:gd name="T22" fmla="*/ 377 w 437"/>
                <a:gd name="T23" fmla="*/ 193 h 400"/>
                <a:gd name="T24" fmla="*/ 369 w 437"/>
                <a:gd name="T25" fmla="*/ 199 h 400"/>
                <a:gd name="T26" fmla="*/ 367 w 437"/>
                <a:gd name="T27" fmla="*/ 230 h 400"/>
                <a:gd name="T28" fmla="*/ 355 w 437"/>
                <a:gd name="T29" fmla="*/ 232 h 400"/>
                <a:gd name="T30" fmla="*/ 357 w 437"/>
                <a:gd name="T31" fmla="*/ 240 h 400"/>
                <a:gd name="T32" fmla="*/ 351 w 437"/>
                <a:gd name="T33" fmla="*/ 242 h 400"/>
                <a:gd name="T34" fmla="*/ 340 w 437"/>
                <a:gd name="T35" fmla="*/ 256 h 400"/>
                <a:gd name="T36" fmla="*/ 345 w 437"/>
                <a:gd name="T37" fmla="*/ 271 h 400"/>
                <a:gd name="T38" fmla="*/ 330 w 437"/>
                <a:gd name="T39" fmla="*/ 277 h 400"/>
                <a:gd name="T40" fmla="*/ 334 w 437"/>
                <a:gd name="T41" fmla="*/ 285 h 400"/>
                <a:gd name="T42" fmla="*/ 334 w 437"/>
                <a:gd name="T43" fmla="*/ 297 h 400"/>
                <a:gd name="T44" fmla="*/ 326 w 437"/>
                <a:gd name="T45" fmla="*/ 303 h 400"/>
                <a:gd name="T46" fmla="*/ 326 w 437"/>
                <a:gd name="T47" fmla="*/ 314 h 400"/>
                <a:gd name="T48" fmla="*/ 322 w 437"/>
                <a:gd name="T49" fmla="*/ 322 h 400"/>
                <a:gd name="T50" fmla="*/ 328 w 437"/>
                <a:gd name="T51" fmla="*/ 330 h 400"/>
                <a:gd name="T52" fmla="*/ 328 w 437"/>
                <a:gd name="T53" fmla="*/ 347 h 400"/>
                <a:gd name="T54" fmla="*/ 334 w 437"/>
                <a:gd name="T55" fmla="*/ 355 h 400"/>
                <a:gd name="T56" fmla="*/ 332 w 437"/>
                <a:gd name="T57" fmla="*/ 369 h 400"/>
                <a:gd name="T58" fmla="*/ 297 w 437"/>
                <a:gd name="T59" fmla="*/ 385 h 400"/>
                <a:gd name="T60" fmla="*/ 201 w 437"/>
                <a:gd name="T61" fmla="*/ 392 h 400"/>
                <a:gd name="T62" fmla="*/ 103 w 437"/>
                <a:gd name="T63" fmla="*/ 398 h 400"/>
                <a:gd name="T64" fmla="*/ 68 w 437"/>
                <a:gd name="T65" fmla="*/ 349 h 400"/>
                <a:gd name="T66" fmla="*/ 62 w 437"/>
                <a:gd name="T67" fmla="*/ 340 h 400"/>
                <a:gd name="T68" fmla="*/ 52 w 437"/>
                <a:gd name="T69" fmla="*/ 340 h 400"/>
                <a:gd name="T70" fmla="*/ 41 w 437"/>
                <a:gd name="T71" fmla="*/ 342 h 400"/>
                <a:gd name="T72" fmla="*/ 35 w 437"/>
                <a:gd name="T73" fmla="*/ 340 h 400"/>
                <a:gd name="T74" fmla="*/ 27 w 437"/>
                <a:gd name="T75" fmla="*/ 310 h 400"/>
                <a:gd name="T76" fmla="*/ 23 w 437"/>
                <a:gd name="T77" fmla="*/ 170 h 400"/>
                <a:gd name="T78" fmla="*/ 9 w 437"/>
                <a:gd name="T79" fmla="*/ 72 h 400"/>
                <a:gd name="T80" fmla="*/ 72 w 437"/>
                <a:gd name="T81" fmla="*/ 23 h 400"/>
                <a:gd name="T82" fmla="*/ 215 w 437"/>
                <a:gd name="T83" fmla="*/ 15 h 400"/>
                <a:gd name="T84" fmla="*/ 359 w 437"/>
                <a:gd name="T85" fmla="*/ 2 h 400"/>
                <a:gd name="T86" fmla="*/ 390 w 437"/>
                <a:gd name="T87" fmla="*/ 4 h 400"/>
                <a:gd name="T88" fmla="*/ 392 w 437"/>
                <a:gd name="T89" fmla="*/ 6 h 400"/>
                <a:gd name="T90" fmla="*/ 396 w 437"/>
                <a:gd name="T91" fmla="*/ 10 h 400"/>
                <a:gd name="T92" fmla="*/ 398 w 437"/>
                <a:gd name="T93" fmla="*/ 15 h 400"/>
                <a:gd name="T94" fmla="*/ 400 w 437"/>
                <a:gd name="T95" fmla="*/ 23 h 400"/>
                <a:gd name="T96" fmla="*/ 398 w 437"/>
                <a:gd name="T97" fmla="*/ 25 h 400"/>
                <a:gd name="T98" fmla="*/ 394 w 437"/>
                <a:gd name="T99" fmla="*/ 29 h 400"/>
                <a:gd name="T100" fmla="*/ 390 w 437"/>
                <a:gd name="T101" fmla="*/ 33 h 400"/>
                <a:gd name="T102" fmla="*/ 385 w 437"/>
                <a:gd name="T103" fmla="*/ 37 h 400"/>
                <a:gd name="T104" fmla="*/ 385 w 437"/>
                <a:gd name="T105" fmla="*/ 41 h 400"/>
                <a:gd name="T106" fmla="*/ 381 w 437"/>
                <a:gd name="T107" fmla="*/ 43 h 400"/>
                <a:gd name="T108" fmla="*/ 375 w 437"/>
                <a:gd name="T109" fmla="*/ 56 h 400"/>
                <a:gd name="T110" fmla="*/ 394 w 437"/>
                <a:gd name="T111" fmla="*/ 56 h 400"/>
                <a:gd name="T112" fmla="*/ 431 w 437"/>
                <a:gd name="T113" fmla="*/ 4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7" h="400">
                  <a:moveTo>
                    <a:pt x="433" y="49"/>
                  </a:moveTo>
                  <a:lnTo>
                    <a:pt x="433" y="51"/>
                  </a:lnTo>
                  <a:lnTo>
                    <a:pt x="433" y="53"/>
                  </a:lnTo>
                  <a:lnTo>
                    <a:pt x="437" y="56"/>
                  </a:lnTo>
                  <a:lnTo>
                    <a:pt x="437" y="60"/>
                  </a:lnTo>
                  <a:lnTo>
                    <a:pt x="437" y="62"/>
                  </a:lnTo>
                  <a:lnTo>
                    <a:pt x="437" y="62"/>
                  </a:lnTo>
                  <a:lnTo>
                    <a:pt x="433" y="60"/>
                  </a:lnTo>
                  <a:lnTo>
                    <a:pt x="431" y="60"/>
                  </a:lnTo>
                  <a:lnTo>
                    <a:pt x="428" y="60"/>
                  </a:lnTo>
                  <a:lnTo>
                    <a:pt x="428" y="62"/>
                  </a:lnTo>
                  <a:lnTo>
                    <a:pt x="428" y="64"/>
                  </a:lnTo>
                  <a:lnTo>
                    <a:pt x="431" y="66"/>
                  </a:lnTo>
                  <a:lnTo>
                    <a:pt x="433" y="66"/>
                  </a:lnTo>
                  <a:lnTo>
                    <a:pt x="433" y="68"/>
                  </a:lnTo>
                  <a:lnTo>
                    <a:pt x="428" y="74"/>
                  </a:lnTo>
                  <a:lnTo>
                    <a:pt x="416" y="80"/>
                  </a:lnTo>
                  <a:lnTo>
                    <a:pt x="414" y="82"/>
                  </a:lnTo>
                  <a:lnTo>
                    <a:pt x="414" y="84"/>
                  </a:lnTo>
                  <a:lnTo>
                    <a:pt x="416" y="86"/>
                  </a:lnTo>
                  <a:lnTo>
                    <a:pt x="418" y="88"/>
                  </a:lnTo>
                  <a:lnTo>
                    <a:pt x="418" y="90"/>
                  </a:lnTo>
                  <a:lnTo>
                    <a:pt x="418" y="92"/>
                  </a:lnTo>
                  <a:lnTo>
                    <a:pt x="416" y="94"/>
                  </a:lnTo>
                  <a:lnTo>
                    <a:pt x="416" y="94"/>
                  </a:lnTo>
                  <a:lnTo>
                    <a:pt x="416" y="96"/>
                  </a:lnTo>
                  <a:lnTo>
                    <a:pt x="418" y="99"/>
                  </a:lnTo>
                  <a:lnTo>
                    <a:pt x="418" y="101"/>
                  </a:lnTo>
                  <a:lnTo>
                    <a:pt x="418" y="103"/>
                  </a:lnTo>
                  <a:lnTo>
                    <a:pt x="416" y="103"/>
                  </a:lnTo>
                  <a:lnTo>
                    <a:pt x="414" y="103"/>
                  </a:lnTo>
                  <a:lnTo>
                    <a:pt x="412" y="105"/>
                  </a:lnTo>
                  <a:lnTo>
                    <a:pt x="412" y="105"/>
                  </a:lnTo>
                  <a:lnTo>
                    <a:pt x="410" y="107"/>
                  </a:lnTo>
                  <a:lnTo>
                    <a:pt x="412" y="109"/>
                  </a:lnTo>
                  <a:lnTo>
                    <a:pt x="410" y="111"/>
                  </a:lnTo>
                  <a:lnTo>
                    <a:pt x="410" y="113"/>
                  </a:lnTo>
                  <a:lnTo>
                    <a:pt x="408" y="115"/>
                  </a:lnTo>
                  <a:lnTo>
                    <a:pt x="404" y="119"/>
                  </a:lnTo>
                  <a:lnTo>
                    <a:pt x="404" y="121"/>
                  </a:lnTo>
                  <a:lnTo>
                    <a:pt x="404" y="123"/>
                  </a:lnTo>
                  <a:lnTo>
                    <a:pt x="404" y="129"/>
                  </a:lnTo>
                  <a:lnTo>
                    <a:pt x="404" y="131"/>
                  </a:lnTo>
                  <a:lnTo>
                    <a:pt x="406" y="135"/>
                  </a:lnTo>
                  <a:lnTo>
                    <a:pt x="408" y="140"/>
                  </a:lnTo>
                  <a:lnTo>
                    <a:pt x="408" y="144"/>
                  </a:lnTo>
                  <a:lnTo>
                    <a:pt x="406" y="148"/>
                  </a:lnTo>
                  <a:lnTo>
                    <a:pt x="404" y="148"/>
                  </a:lnTo>
                  <a:lnTo>
                    <a:pt x="402" y="148"/>
                  </a:lnTo>
                  <a:lnTo>
                    <a:pt x="400" y="148"/>
                  </a:lnTo>
                  <a:lnTo>
                    <a:pt x="400" y="150"/>
                  </a:lnTo>
                  <a:lnTo>
                    <a:pt x="400" y="152"/>
                  </a:lnTo>
                  <a:lnTo>
                    <a:pt x="400" y="154"/>
                  </a:lnTo>
                  <a:lnTo>
                    <a:pt x="398" y="156"/>
                  </a:lnTo>
                  <a:lnTo>
                    <a:pt x="398" y="156"/>
                  </a:lnTo>
                  <a:lnTo>
                    <a:pt x="394" y="158"/>
                  </a:lnTo>
                  <a:lnTo>
                    <a:pt x="392" y="160"/>
                  </a:lnTo>
                  <a:lnTo>
                    <a:pt x="390" y="160"/>
                  </a:lnTo>
                  <a:lnTo>
                    <a:pt x="390" y="162"/>
                  </a:lnTo>
                  <a:lnTo>
                    <a:pt x="390" y="162"/>
                  </a:lnTo>
                  <a:lnTo>
                    <a:pt x="392" y="162"/>
                  </a:lnTo>
                  <a:lnTo>
                    <a:pt x="394" y="166"/>
                  </a:lnTo>
                  <a:lnTo>
                    <a:pt x="394" y="170"/>
                  </a:lnTo>
                  <a:lnTo>
                    <a:pt x="392" y="174"/>
                  </a:lnTo>
                  <a:lnTo>
                    <a:pt x="388" y="176"/>
                  </a:lnTo>
                  <a:lnTo>
                    <a:pt x="377" y="183"/>
                  </a:lnTo>
                  <a:lnTo>
                    <a:pt x="377" y="183"/>
                  </a:lnTo>
                  <a:lnTo>
                    <a:pt x="377" y="185"/>
                  </a:lnTo>
                  <a:lnTo>
                    <a:pt x="379" y="187"/>
                  </a:lnTo>
                  <a:lnTo>
                    <a:pt x="379" y="189"/>
                  </a:lnTo>
                  <a:lnTo>
                    <a:pt x="377" y="191"/>
                  </a:lnTo>
                  <a:lnTo>
                    <a:pt x="377" y="193"/>
                  </a:lnTo>
                  <a:lnTo>
                    <a:pt x="375" y="193"/>
                  </a:lnTo>
                  <a:lnTo>
                    <a:pt x="373" y="193"/>
                  </a:lnTo>
                  <a:lnTo>
                    <a:pt x="371" y="191"/>
                  </a:lnTo>
                  <a:lnTo>
                    <a:pt x="371" y="193"/>
                  </a:lnTo>
                  <a:lnTo>
                    <a:pt x="369" y="195"/>
                  </a:lnTo>
                  <a:lnTo>
                    <a:pt x="369" y="199"/>
                  </a:lnTo>
                  <a:lnTo>
                    <a:pt x="369" y="203"/>
                  </a:lnTo>
                  <a:lnTo>
                    <a:pt x="371" y="209"/>
                  </a:lnTo>
                  <a:lnTo>
                    <a:pt x="371" y="219"/>
                  </a:lnTo>
                  <a:lnTo>
                    <a:pt x="371" y="224"/>
                  </a:lnTo>
                  <a:lnTo>
                    <a:pt x="371" y="226"/>
                  </a:lnTo>
                  <a:lnTo>
                    <a:pt x="367" y="230"/>
                  </a:lnTo>
                  <a:lnTo>
                    <a:pt x="365" y="232"/>
                  </a:lnTo>
                  <a:lnTo>
                    <a:pt x="363" y="232"/>
                  </a:lnTo>
                  <a:lnTo>
                    <a:pt x="359" y="234"/>
                  </a:lnTo>
                  <a:lnTo>
                    <a:pt x="357" y="234"/>
                  </a:lnTo>
                  <a:lnTo>
                    <a:pt x="357" y="234"/>
                  </a:lnTo>
                  <a:lnTo>
                    <a:pt x="355" y="232"/>
                  </a:lnTo>
                  <a:lnTo>
                    <a:pt x="355" y="234"/>
                  </a:lnTo>
                  <a:lnTo>
                    <a:pt x="355" y="234"/>
                  </a:lnTo>
                  <a:lnTo>
                    <a:pt x="357" y="236"/>
                  </a:lnTo>
                  <a:lnTo>
                    <a:pt x="357" y="238"/>
                  </a:lnTo>
                  <a:lnTo>
                    <a:pt x="357" y="238"/>
                  </a:lnTo>
                  <a:lnTo>
                    <a:pt x="357" y="240"/>
                  </a:lnTo>
                  <a:lnTo>
                    <a:pt x="357" y="242"/>
                  </a:lnTo>
                  <a:lnTo>
                    <a:pt x="355" y="242"/>
                  </a:lnTo>
                  <a:lnTo>
                    <a:pt x="355" y="244"/>
                  </a:lnTo>
                  <a:lnTo>
                    <a:pt x="355" y="244"/>
                  </a:lnTo>
                  <a:lnTo>
                    <a:pt x="353" y="242"/>
                  </a:lnTo>
                  <a:lnTo>
                    <a:pt x="351" y="242"/>
                  </a:lnTo>
                  <a:lnTo>
                    <a:pt x="351" y="242"/>
                  </a:lnTo>
                  <a:lnTo>
                    <a:pt x="351" y="244"/>
                  </a:lnTo>
                  <a:lnTo>
                    <a:pt x="349" y="252"/>
                  </a:lnTo>
                  <a:lnTo>
                    <a:pt x="347" y="252"/>
                  </a:lnTo>
                  <a:lnTo>
                    <a:pt x="347" y="254"/>
                  </a:lnTo>
                  <a:lnTo>
                    <a:pt x="340" y="256"/>
                  </a:lnTo>
                  <a:lnTo>
                    <a:pt x="340" y="258"/>
                  </a:lnTo>
                  <a:lnTo>
                    <a:pt x="340" y="260"/>
                  </a:lnTo>
                  <a:lnTo>
                    <a:pt x="347" y="262"/>
                  </a:lnTo>
                  <a:lnTo>
                    <a:pt x="349" y="267"/>
                  </a:lnTo>
                  <a:lnTo>
                    <a:pt x="347" y="269"/>
                  </a:lnTo>
                  <a:lnTo>
                    <a:pt x="345" y="271"/>
                  </a:lnTo>
                  <a:lnTo>
                    <a:pt x="345" y="271"/>
                  </a:lnTo>
                  <a:lnTo>
                    <a:pt x="342" y="271"/>
                  </a:lnTo>
                  <a:lnTo>
                    <a:pt x="340" y="271"/>
                  </a:lnTo>
                  <a:lnTo>
                    <a:pt x="334" y="275"/>
                  </a:lnTo>
                  <a:lnTo>
                    <a:pt x="330" y="277"/>
                  </a:lnTo>
                  <a:lnTo>
                    <a:pt x="330" y="277"/>
                  </a:lnTo>
                  <a:lnTo>
                    <a:pt x="330" y="279"/>
                  </a:lnTo>
                  <a:lnTo>
                    <a:pt x="330" y="279"/>
                  </a:lnTo>
                  <a:lnTo>
                    <a:pt x="332" y="279"/>
                  </a:lnTo>
                  <a:lnTo>
                    <a:pt x="334" y="281"/>
                  </a:lnTo>
                  <a:lnTo>
                    <a:pt x="334" y="283"/>
                  </a:lnTo>
                  <a:lnTo>
                    <a:pt x="334" y="285"/>
                  </a:lnTo>
                  <a:lnTo>
                    <a:pt x="332" y="287"/>
                  </a:lnTo>
                  <a:lnTo>
                    <a:pt x="334" y="291"/>
                  </a:lnTo>
                  <a:lnTo>
                    <a:pt x="334" y="293"/>
                  </a:lnTo>
                  <a:lnTo>
                    <a:pt x="334" y="295"/>
                  </a:lnTo>
                  <a:lnTo>
                    <a:pt x="334" y="297"/>
                  </a:lnTo>
                  <a:lnTo>
                    <a:pt x="334" y="297"/>
                  </a:lnTo>
                  <a:lnTo>
                    <a:pt x="330" y="299"/>
                  </a:lnTo>
                  <a:lnTo>
                    <a:pt x="330" y="299"/>
                  </a:lnTo>
                  <a:lnTo>
                    <a:pt x="330" y="299"/>
                  </a:lnTo>
                  <a:lnTo>
                    <a:pt x="328" y="301"/>
                  </a:lnTo>
                  <a:lnTo>
                    <a:pt x="326" y="301"/>
                  </a:lnTo>
                  <a:lnTo>
                    <a:pt x="326" y="303"/>
                  </a:lnTo>
                  <a:lnTo>
                    <a:pt x="324" y="308"/>
                  </a:lnTo>
                  <a:lnTo>
                    <a:pt x="322" y="310"/>
                  </a:lnTo>
                  <a:lnTo>
                    <a:pt x="320" y="310"/>
                  </a:lnTo>
                  <a:lnTo>
                    <a:pt x="320" y="312"/>
                  </a:lnTo>
                  <a:lnTo>
                    <a:pt x="322" y="314"/>
                  </a:lnTo>
                  <a:lnTo>
                    <a:pt x="326" y="314"/>
                  </a:lnTo>
                  <a:lnTo>
                    <a:pt x="328" y="316"/>
                  </a:lnTo>
                  <a:lnTo>
                    <a:pt x="328" y="318"/>
                  </a:lnTo>
                  <a:lnTo>
                    <a:pt x="328" y="320"/>
                  </a:lnTo>
                  <a:lnTo>
                    <a:pt x="326" y="322"/>
                  </a:lnTo>
                  <a:lnTo>
                    <a:pt x="324" y="322"/>
                  </a:lnTo>
                  <a:lnTo>
                    <a:pt x="322" y="322"/>
                  </a:lnTo>
                  <a:lnTo>
                    <a:pt x="320" y="324"/>
                  </a:lnTo>
                  <a:lnTo>
                    <a:pt x="320" y="326"/>
                  </a:lnTo>
                  <a:lnTo>
                    <a:pt x="322" y="326"/>
                  </a:lnTo>
                  <a:lnTo>
                    <a:pt x="324" y="328"/>
                  </a:lnTo>
                  <a:lnTo>
                    <a:pt x="326" y="328"/>
                  </a:lnTo>
                  <a:lnTo>
                    <a:pt x="328" y="330"/>
                  </a:lnTo>
                  <a:lnTo>
                    <a:pt x="330" y="332"/>
                  </a:lnTo>
                  <a:lnTo>
                    <a:pt x="330" y="334"/>
                  </a:lnTo>
                  <a:lnTo>
                    <a:pt x="332" y="336"/>
                  </a:lnTo>
                  <a:lnTo>
                    <a:pt x="332" y="340"/>
                  </a:lnTo>
                  <a:lnTo>
                    <a:pt x="330" y="342"/>
                  </a:lnTo>
                  <a:lnTo>
                    <a:pt x="328" y="347"/>
                  </a:lnTo>
                  <a:lnTo>
                    <a:pt x="328" y="349"/>
                  </a:lnTo>
                  <a:lnTo>
                    <a:pt x="328" y="351"/>
                  </a:lnTo>
                  <a:lnTo>
                    <a:pt x="330" y="351"/>
                  </a:lnTo>
                  <a:lnTo>
                    <a:pt x="332" y="353"/>
                  </a:lnTo>
                  <a:lnTo>
                    <a:pt x="334" y="353"/>
                  </a:lnTo>
                  <a:lnTo>
                    <a:pt x="334" y="355"/>
                  </a:lnTo>
                  <a:lnTo>
                    <a:pt x="334" y="361"/>
                  </a:lnTo>
                  <a:lnTo>
                    <a:pt x="336" y="363"/>
                  </a:lnTo>
                  <a:lnTo>
                    <a:pt x="336" y="365"/>
                  </a:lnTo>
                  <a:lnTo>
                    <a:pt x="336" y="367"/>
                  </a:lnTo>
                  <a:lnTo>
                    <a:pt x="334" y="369"/>
                  </a:lnTo>
                  <a:lnTo>
                    <a:pt x="332" y="369"/>
                  </a:lnTo>
                  <a:lnTo>
                    <a:pt x="332" y="369"/>
                  </a:lnTo>
                  <a:lnTo>
                    <a:pt x="330" y="371"/>
                  </a:lnTo>
                  <a:lnTo>
                    <a:pt x="332" y="381"/>
                  </a:lnTo>
                  <a:lnTo>
                    <a:pt x="330" y="383"/>
                  </a:lnTo>
                  <a:lnTo>
                    <a:pt x="314" y="383"/>
                  </a:lnTo>
                  <a:lnTo>
                    <a:pt x="297" y="385"/>
                  </a:lnTo>
                  <a:lnTo>
                    <a:pt x="281" y="385"/>
                  </a:lnTo>
                  <a:lnTo>
                    <a:pt x="265" y="388"/>
                  </a:lnTo>
                  <a:lnTo>
                    <a:pt x="250" y="390"/>
                  </a:lnTo>
                  <a:lnTo>
                    <a:pt x="234" y="390"/>
                  </a:lnTo>
                  <a:lnTo>
                    <a:pt x="218" y="392"/>
                  </a:lnTo>
                  <a:lnTo>
                    <a:pt x="201" y="392"/>
                  </a:lnTo>
                  <a:lnTo>
                    <a:pt x="185" y="394"/>
                  </a:lnTo>
                  <a:lnTo>
                    <a:pt x="168" y="394"/>
                  </a:lnTo>
                  <a:lnTo>
                    <a:pt x="152" y="396"/>
                  </a:lnTo>
                  <a:lnTo>
                    <a:pt x="136" y="396"/>
                  </a:lnTo>
                  <a:lnTo>
                    <a:pt x="119" y="398"/>
                  </a:lnTo>
                  <a:lnTo>
                    <a:pt x="103" y="398"/>
                  </a:lnTo>
                  <a:lnTo>
                    <a:pt x="89" y="400"/>
                  </a:lnTo>
                  <a:lnTo>
                    <a:pt x="72" y="400"/>
                  </a:lnTo>
                  <a:lnTo>
                    <a:pt x="70" y="388"/>
                  </a:lnTo>
                  <a:lnTo>
                    <a:pt x="70" y="375"/>
                  </a:lnTo>
                  <a:lnTo>
                    <a:pt x="68" y="361"/>
                  </a:lnTo>
                  <a:lnTo>
                    <a:pt x="68" y="349"/>
                  </a:lnTo>
                  <a:lnTo>
                    <a:pt x="68" y="342"/>
                  </a:lnTo>
                  <a:lnTo>
                    <a:pt x="68" y="342"/>
                  </a:lnTo>
                  <a:lnTo>
                    <a:pt x="66" y="340"/>
                  </a:lnTo>
                  <a:lnTo>
                    <a:pt x="66" y="340"/>
                  </a:lnTo>
                  <a:lnTo>
                    <a:pt x="62" y="338"/>
                  </a:lnTo>
                  <a:lnTo>
                    <a:pt x="62" y="340"/>
                  </a:lnTo>
                  <a:lnTo>
                    <a:pt x="60" y="340"/>
                  </a:lnTo>
                  <a:lnTo>
                    <a:pt x="58" y="340"/>
                  </a:lnTo>
                  <a:lnTo>
                    <a:pt x="54" y="338"/>
                  </a:lnTo>
                  <a:lnTo>
                    <a:pt x="54" y="338"/>
                  </a:lnTo>
                  <a:lnTo>
                    <a:pt x="52" y="340"/>
                  </a:lnTo>
                  <a:lnTo>
                    <a:pt x="52" y="340"/>
                  </a:lnTo>
                  <a:lnTo>
                    <a:pt x="45" y="338"/>
                  </a:lnTo>
                  <a:lnTo>
                    <a:pt x="45" y="338"/>
                  </a:lnTo>
                  <a:lnTo>
                    <a:pt x="43" y="340"/>
                  </a:lnTo>
                  <a:lnTo>
                    <a:pt x="43" y="342"/>
                  </a:lnTo>
                  <a:lnTo>
                    <a:pt x="43" y="342"/>
                  </a:lnTo>
                  <a:lnTo>
                    <a:pt x="41" y="342"/>
                  </a:lnTo>
                  <a:lnTo>
                    <a:pt x="39" y="342"/>
                  </a:lnTo>
                  <a:lnTo>
                    <a:pt x="37" y="342"/>
                  </a:lnTo>
                  <a:lnTo>
                    <a:pt x="37" y="340"/>
                  </a:lnTo>
                  <a:lnTo>
                    <a:pt x="37" y="340"/>
                  </a:lnTo>
                  <a:lnTo>
                    <a:pt x="37" y="340"/>
                  </a:lnTo>
                  <a:lnTo>
                    <a:pt x="35" y="340"/>
                  </a:lnTo>
                  <a:lnTo>
                    <a:pt x="33" y="338"/>
                  </a:lnTo>
                  <a:lnTo>
                    <a:pt x="31" y="338"/>
                  </a:lnTo>
                  <a:lnTo>
                    <a:pt x="31" y="336"/>
                  </a:lnTo>
                  <a:lnTo>
                    <a:pt x="29" y="334"/>
                  </a:lnTo>
                  <a:lnTo>
                    <a:pt x="27" y="334"/>
                  </a:lnTo>
                  <a:lnTo>
                    <a:pt x="27" y="310"/>
                  </a:lnTo>
                  <a:lnTo>
                    <a:pt x="27" y="287"/>
                  </a:lnTo>
                  <a:lnTo>
                    <a:pt x="25" y="262"/>
                  </a:lnTo>
                  <a:lnTo>
                    <a:pt x="25" y="240"/>
                  </a:lnTo>
                  <a:lnTo>
                    <a:pt x="25" y="215"/>
                  </a:lnTo>
                  <a:lnTo>
                    <a:pt x="23" y="193"/>
                  </a:lnTo>
                  <a:lnTo>
                    <a:pt x="23" y="170"/>
                  </a:lnTo>
                  <a:lnTo>
                    <a:pt x="23" y="146"/>
                  </a:lnTo>
                  <a:lnTo>
                    <a:pt x="19" y="131"/>
                  </a:lnTo>
                  <a:lnTo>
                    <a:pt x="17" y="117"/>
                  </a:lnTo>
                  <a:lnTo>
                    <a:pt x="15" y="101"/>
                  </a:lnTo>
                  <a:lnTo>
                    <a:pt x="13" y="86"/>
                  </a:lnTo>
                  <a:lnTo>
                    <a:pt x="9" y="72"/>
                  </a:lnTo>
                  <a:lnTo>
                    <a:pt x="7" y="58"/>
                  </a:lnTo>
                  <a:lnTo>
                    <a:pt x="5" y="41"/>
                  </a:lnTo>
                  <a:lnTo>
                    <a:pt x="0" y="27"/>
                  </a:lnTo>
                  <a:lnTo>
                    <a:pt x="25" y="25"/>
                  </a:lnTo>
                  <a:lnTo>
                    <a:pt x="50" y="25"/>
                  </a:lnTo>
                  <a:lnTo>
                    <a:pt x="72" y="23"/>
                  </a:lnTo>
                  <a:lnTo>
                    <a:pt x="97" y="23"/>
                  </a:lnTo>
                  <a:lnTo>
                    <a:pt x="121" y="21"/>
                  </a:lnTo>
                  <a:lnTo>
                    <a:pt x="144" y="19"/>
                  </a:lnTo>
                  <a:lnTo>
                    <a:pt x="168" y="17"/>
                  </a:lnTo>
                  <a:lnTo>
                    <a:pt x="193" y="17"/>
                  </a:lnTo>
                  <a:lnTo>
                    <a:pt x="215" y="15"/>
                  </a:lnTo>
                  <a:lnTo>
                    <a:pt x="240" y="12"/>
                  </a:lnTo>
                  <a:lnTo>
                    <a:pt x="263" y="10"/>
                  </a:lnTo>
                  <a:lnTo>
                    <a:pt x="287" y="8"/>
                  </a:lnTo>
                  <a:lnTo>
                    <a:pt x="312" y="6"/>
                  </a:lnTo>
                  <a:lnTo>
                    <a:pt x="334" y="4"/>
                  </a:lnTo>
                  <a:lnTo>
                    <a:pt x="359" y="2"/>
                  </a:lnTo>
                  <a:lnTo>
                    <a:pt x="383" y="0"/>
                  </a:lnTo>
                  <a:lnTo>
                    <a:pt x="390" y="0"/>
                  </a:lnTo>
                  <a:lnTo>
                    <a:pt x="390" y="0"/>
                  </a:lnTo>
                  <a:lnTo>
                    <a:pt x="390" y="0"/>
                  </a:lnTo>
                  <a:lnTo>
                    <a:pt x="390" y="2"/>
                  </a:lnTo>
                  <a:lnTo>
                    <a:pt x="390" y="4"/>
                  </a:lnTo>
                  <a:lnTo>
                    <a:pt x="392" y="4"/>
                  </a:lnTo>
                  <a:lnTo>
                    <a:pt x="392" y="4"/>
                  </a:lnTo>
                  <a:lnTo>
                    <a:pt x="392" y="4"/>
                  </a:lnTo>
                  <a:lnTo>
                    <a:pt x="392" y="4"/>
                  </a:lnTo>
                  <a:lnTo>
                    <a:pt x="392" y="6"/>
                  </a:lnTo>
                  <a:lnTo>
                    <a:pt x="392" y="6"/>
                  </a:lnTo>
                  <a:lnTo>
                    <a:pt x="392" y="8"/>
                  </a:lnTo>
                  <a:lnTo>
                    <a:pt x="394" y="8"/>
                  </a:lnTo>
                  <a:lnTo>
                    <a:pt x="394" y="8"/>
                  </a:lnTo>
                  <a:lnTo>
                    <a:pt x="394" y="8"/>
                  </a:lnTo>
                  <a:lnTo>
                    <a:pt x="394" y="10"/>
                  </a:lnTo>
                  <a:lnTo>
                    <a:pt x="396" y="10"/>
                  </a:lnTo>
                  <a:lnTo>
                    <a:pt x="398" y="10"/>
                  </a:lnTo>
                  <a:lnTo>
                    <a:pt x="398" y="12"/>
                  </a:lnTo>
                  <a:lnTo>
                    <a:pt x="398" y="12"/>
                  </a:lnTo>
                  <a:lnTo>
                    <a:pt x="398" y="12"/>
                  </a:lnTo>
                  <a:lnTo>
                    <a:pt x="398" y="12"/>
                  </a:lnTo>
                  <a:lnTo>
                    <a:pt x="398" y="15"/>
                  </a:lnTo>
                  <a:lnTo>
                    <a:pt x="398" y="15"/>
                  </a:lnTo>
                  <a:lnTo>
                    <a:pt x="398" y="15"/>
                  </a:lnTo>
                  <a:lnTo>
                    <a:pt x="398" y="17"/>
                  </a:lnTo>
                  <a:lnTo>
                    <a:pt x="398" y="19"/>
                  </a:lnTo>
                  <a:lnTo>
                    <a:pt x="400" y="21"/>
                  </a:lnTo>
                  <a:lnTo>
                    <a:pt x="400" y="23"/>
                  </a:lnTo>
                  <a:lnTo>
                    <a:pt x="400" y="23"/>
                  </a:lnTo>
                  <a:lnTo>
                    <a:pt x="398" y="23"/>
                  </a:lnTo>
                  <a:lnTo>
                    <a:pt x="398" y="23"/>
                  </a:lnTo>
                  <a:lnTo>
                    <a:pt x="398" y="25"/>
                  </a:lnTo>
                  <a:lnTo>
                    <a:pt x="398" y="25"/>
                  </a:lnTo>
                  <a:lnTo>
                    <a:pt x="398" y="25"/>
                  </a:lnTo>
                  <a:lnTo>
                    <a:pt x="398" y="25"/>
                  </a:lnTo>
                  <a:lnTo>
                    <a:pt x="396" y="25"/>
                  </a:lnTo>
                  <a:lnTo>
                    <a:pt x="394" y="27"/>
                  </a:lnTo>
                  <a:lnTo>
                    <a:pt x="394" y="27"/>
                  </a:lnTo>
                  <a:lnTo>
                    <a:pt x="394" y="27"/>
                  </a:lnTo>
                  <a:lnTo>
                    <a:pt x="394" y="29"/>
                  </a:lnTo>
                  <a:lnTo>
                    <a:pt x="394" y="29"/>
                  </a:lnTo>
                  <a:lnTo>
                    <a:pt x="394" y="31"/>
                  </a:lnTo>
                  <a:lnTo>
                    <a:pt x="394" y="31"/>
                  </a:lnTo>
                  <a:lnTo>
                    <a:pt x="394" y="31"/>
                  </a:lnTo>
                  <a:lnTo>
                    <a:pt x="390" y="33"/>
                  </a:lnTo>
                  <a:lnTo>
                    <a:pt x="390" y="33"/>
                  </a:lnTo>
                  <a:lnTo>
                    <a:pt x="388" y="35"/>
                  </a:lnTo>
                  <a:lnTo>
                    <a:pt x="388" y="35"/>
                  </a:lnTo>
                  <a:lnTo>
                    <a:pt x="385" y="35"/>
                  </a:lnTo>
                  <a:lnTo>
                    <a:pt x="385" y="35"/>
                  </a:lnTo>
                  <a:lnTo>
                    <a:pt x="385" y="35"/>
                  </a:lnTo>
                  <a:lnTo>
                    <a:pt x="385" y="37"/>
                  </a:lnTo>
                  <a:lnTo>
                    <a:pt x="385" y="37"/>
                  </a:lnTo>
                  <a:lnTo>
                    <a:pt x="385" y="39"/>
                  </a:lnTo>
                  <a:lnTo>
                    <a:pt x="385" y="39"/>
                  </a:lnTo>
                  <a:lnTo>
                    <a:pt x="385" y="39"/>
                  </a:lnTo>
                  <a:lnTo>
                    <a:pt x="385" y="39"/>
                  </a:lnTo>
                  <a:lnTo>
                    <a:pt x="385" y="41"/>
                  </a:lnTo>
                  <a:lnTo>
                    <a:pt x="383" y="41"/>
                  </a:lnTo>
                  <a:lnTo>
                    <a:pt x="383" y="41"/>
                  </a:lnTo>
                  <a:lnTo>
                    <a:pt x="383" y="41"/>
                  </a:lnTo>
                  <a:lnTo>
                    <a:pt x="381" y="41"/>
                  </a:lnTo>
                  <a:lnTo>
                    <a:pt x="381" y="41"/>
                  </a:lnTo>
                  <a:lnTo>
                    <a:pt x="381" y="43"/>
                  </a:lnTo>
                  <a:lnTo>
                    <a:pt x="381" y="43"/>
                  </a:lnTo>
                  <a:lnTo>
                    <a:pt x="379" y="43"/>
                  </a:lnTo>
                  <a:lnTo>
                    <a:pt x="379" y="45"/>
                  </a:lnTo>
                  <a:lnTo>
                    <a:pt x="377" y="47"/>
                  </a:lnTo>
                  <a:lnTo>
                    <a:pt x="377" y="49"/>
                  </a:lnTo>
                  <a:lnTo>
                    <a:pt x="375" y="56"/>
                  </a:lnTo>
                  <a:lnTo>
                    <a:pt x="375" y="56"/>
                  </a:lnTo>
                  <a:lnTo>
                    <a:pt x="375" y="56"/>
                  </a:lnTo>
                  <a:lnTo>
                    <a:pt x="375" y="58"/>
                  </a:lnTo>
                  <a:lnTo>
                    <a:pt x="375" y="58"/>
                  </a:lnTo>
                  <a:lnTo>
                    <a:pt x="381" y="56"/>
                  </a:lnTo>
                  <a:lnTo>
                    <a:pt x="394" y="56"/>
                  </a:lnTo>
                  <a:lnTo>
                    <a:pt x="406" y="53"/>
                  </a:lnTo>
                  <a:lnTo>
                    <a:pt x="418" y="51"/>
                  </a:lnTo>
                  <a:lnTo>
                    <a:pt x="431" y="51"/>
                  </a:lnTo>
                  <a:lnTo>
                    <a:pt x="431" y="51"/>
                  </a:lnTo>
                  <a:lnTo>
                    <a:pt x="431" y="49"/>
                  </a:lnTo>
                  <a:lnTo>
                    <a:pt x="431" y="49"/>
                  </a:lnTo>
                  <a:lnTo>
                    <a:pt x="433" y="49"/>
                  </a:lnTo>
                  <a:lnTo>
                    <a:pt x="433" y="49"/>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R</a:t>
              </a:r>
            </a:p>
          </p:txBody>
        </p:sp>
        <p:sp>
          <p:nvSpPr>
            <p:cNvPr id="291" name="Freeform 54">
              <a:extLst>
                <a:ext uri="{FF2B5EF4-FFF2-40B4-BE49-F238E27FC236}">
                  <a16:creationId xmlns:a16="http://schemas.microsoft.com/office/drawing/2014/main" id="{39CD9BCE-45D6-884F-2227-3372A5E4A5E8}"/>
                </a:ext>
              </a:extLst>
            </p:cNvPr>
            <p:cNvSpPr>
              <a:spLocks noEditPoints="1"/>
            </p:cNvSpPr>
            <p:nvPr/>
          </p:nvSpPr>
          <p:spPr bwMode="auto">
            <a:xfrm>
              <a:off x="3776" y="1576"/>
              <a:ext cx="340" cy="539"/>
            </a:xfrm>
            <a:custGeom>
              <a:avLst/>
              <a:gdLst>
                <a:gd name="T0" fmla="*/ 45 w 340"/>
                <a:gd name="T1" fmla="*/ 539 h 539"/>
                <a:gd name="T2" fmla="*/ 340 w 340"/>
                <a:gd name="T3" fmla="*/ 418 h 539"/>
                <a:gd name="T4" fmla="*/ 328 w 340"/>
                <a:gd name="T5" fmla="*/ 402 h 539"/>
                <a:gd name="T6" fmla="*/ 328 w 340"/>
                <a:gd name="T7" fmla="*/ 389 h 539"/>
                <a:gd name="T8" fmla="*/ 328 w 340"/>
                <a:gd name="T9" fmla="*/ 365 h 539"/>
                <a:gd name="T10" fmla="*/ 321 w 340"/>
                <a:gd name="T11" fmla="*/ 350 h 539"/>
                <a:gd name="T12" fmla="*/ 315 w 340"/>
                <a:gd name="T13" fmla="*/ 330 h 539"/>
                <a:gd name="T14" fmla="*/ 319 w 340"/>
                <a:gd name="T15" fmla="*/ 311 h 539"/>
                <a:gd name="T16" fmla="*/ 319 w 340"/>
                <a:gd name="T17" fmla="*/ 295 h 539"/>
                <a:gd name="T18" fmla="*/ 326 w 340"/>
                <a:gd name="T19" fmla="*/ 291 h 539"/>
                <a:gd name="T20" fmla="*/ 328 w 340"/>
                <a:gd name="T21" fmla="*/ 285 h 539"/>
                <a:gd name="T22" fmla="*/ 330 w 340"/>
                <a:gd name="T23" fmla="*/ 283 h 539"/>
                <a:gd name="T24" fmla="*/ 321 w 340"/>
                <a:gd name="T25" fmla="*/ 273 h 539"/>
                <a:gd name="T26" fmla="*/ 319 w 340"/>
                <a:gd name="T27" fmla="*/ 262 h 539"/>
                <a:gd name="T28" fmla="*/ 307 w 340"/>
                <a:gd name="T29" fmla="*/ 246 h 539"/>
                <a:gd name="T30" fmla="*/ 303 w 340"/>
                <a:gd name="T31" fmla="*/ 234 h 539"/>
                <a:gd name="T32" fmla="*/ 299 w 340"/>
                <a:gd name="T33" fmla="*/ 227 h 539"/>
                <a:gd name="T34" fmla="*/ 293 w 340"/>
                <a:gd name="T35" fmla="*/ 209 h 539"/>
                <a:gd name="T36" fmla="*/ 281 w 340"/>
                <a:gd name="T37" fmla="*/ 170 h 539"/>
                <a:gd name="T38" fmla="*/ 260 w 340"/>
                <a:gd name="T39" fmla="*/ 107 h 539"/>
                <a:gd name="T40" fmla="*/ 240 w 340"/>
                <a:gd name="T41" fmla="*/ 41 h 539"/>
                <a:gd name="T42" fmla="*/ 227 w 340"/>
                <a:gd name="T43" fmla="*/ 2 h 539"/>
                <a:gd name="T44" fmla="*/ 158 w 340"/>
                <a:gd name="T45" fmla="*/ 8 h 539"/>
                <a:gd name="T46" fmla="*/ 59 w 340"/>
                <a:gd name="T47" fmla="*/ 18 h 539"/>
                <a:gd name="T48" fmla="*/ 2 w 340"/>
                <a:gd name="T49" fmla="*/ 27 h 539"/>
                <a:gd name="T50" fmla="*/ 10 w 340"/>
                <a:gd name="T51" fmla="*/ 45 h 539"/>
                <a:gd name="T52" fmla="*/ 10 w 340"/>
                <a:gd name="T53" fmla="*/ 117 h 539"/>
                <a:gd name="T54" fmla="*/ 10 w 340"/>
                <a:gd name="T55" fmla="*/ 234 h 539"/>
                <a:gd name="T56" fmla="*/ 10 w 340"/>
                <a:gd name="T57" fmla="*/ 324 h 539"/>
                <a:gd name="T58" fmla="*/ 10 w 340"/>
                <a:gd name="T59" fmla="*/ 365 h 539"/>
                <a:gd name="T60" fmla="*/ 22 w 340"/>
                <a:gd name="T61" fmla="*/ 445 h 539"/>
                <a:gd name="T62" fmla="*/ 35 w 340"/>
                <a:gd name="T63" fmla="*/ 525 h 539"/>
                <a:gd name="T64" fmla="*/ 43 w 340"/>
                <a:gd name="T65" fmla="*/ 523 h 539"/>
                <a:gd name="T66" fmla="*/ 53 w 340"/>
                <a:gd name="T67" fmla="*/ 527 h 539"/>
                <a:gd name="T68" fmla="*/ 59 w 340"/>
                <a:gd name="T69" fmla="*/ 529 h 539"/>
                <a:gd name="T70" fmla="*/ 61 w 340"/>
                <a:gd name="T71" fmla="*/ 506 h 539"/>
                <a:gd name="T72" fmla="*/ 63 w 340"/>
                <a:gd name="T73" fmla="*/ 498 h 539"/>
                <a:gd name="T74" fmla="*/ 63 w 340"/>
                <a:gd name="T75" fmla="*/ 488 h 539"/>
                <a:gd name="T76" fmla="*/ 68 w 340"/>
                <a:gd name="T77" fmla="*/ 486 h 539"/>
                <a:gd name="T78" fmla="*/ 74 w 340"/>
                <a:gd name="T79" fmla="*/ 490 h 539"/>
                <a:gd name="T80" fmla="*/ 76 w 340"/>
                <a:gd name="T81" fmla="*/ 510 h 539"/>
                <a:gd name="T82" fmla="*/ 80 w 340"/>
                <a:gd name="T83" fmla="*/ 516 h 539"/>
                <a:gd name="T84" fmla="*/ 86 w 340"/>
                <a:gd name="T85" fmla="*/ 518 h 539"/>
                <a:gd name="T86" fmla="*/ 88 w 340"/>
                <a:gd name="T87" fmla="*/ 521 h 539"/>
                <a:gd name="T88" fmla="*/ 84 w 340"/>
                <a:gd name="T89" fmla="*/ 535 h 539"/>
                <a:gd name="T90" fmla="*/ 72 w 340"/>
                <a:gd name="T91" fmla="*/ 537 h 539"/>
                <a:gd name="T92" fmla="*/ 113 w 340"/>
                <a:gd name="T93" fmla="*/ 525 h 539"/>
                <a:gd name="T94" fmla="*/ 108 w 340"/>
                <a:gd name="T95" fmla="*/ 521 h 539"/>
                <a:gd name="T96" fmla="*/ 113 w 340"/>
                <a:gd name="T97" fmla="*/ 523 h 539"/>
                <a:gd name="T98" fmla="*/ 121 w 340"/>
                <a:gd name="T99" fmla="*/ 516 h 539"/>
                <a:gd name="T100" fmla="*/ 125 w 340"/>
                <a:gd name="T101" fmla="*/ 506 h 539"/>
                <a:gd name="T102" fmla="*/ 121 w 340"/>
                <a:gd name="T103" fmla="*/ 498 h 539"/>
                <a:gd name="T104" fmla="*/ 123 w 340"/>
                <a:gd name="T105" fmla="*/ 484 h 539"/>
                <a:gd name="T106" fmla="*/ 108 w 340"/>
                <a:gd name="T107" fmla="*/ 473 h 539"/>
                <a:gd name="T108" fmla="*/ 100 w 340"/>
                <a:gd name="T109" fmla="*/ 463 h 539"/>
                <a:gd name="T110" fmla="*/ 121 w 340"/>
                <a:gd name="T111" fmla="*/ 449 h 539"/>
                <a:gd name="T112" fmla="*/ 223 w 340"/>
                <a:gd name="T113" fmla="*/ 436 h 539"/>
                <a:gd name="T114" fmla="*/ 326 w 340"/>
                <a:gd name="T115" fmla="*/ 42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539">
                  <a:moveTo>
                    <a:pt x="63" y="533"/>
                  </a:moveTo>
                  <a:lnTo>
                    <a:pt x="61" y="535"/>
                  </a:lnTo>
                  <a:lnTo>
                    <a:pt x="61" y="535"/>
                  </a:lnTo>
                  <a:lnTo>
                    <a:pt x="61" y="535"/>
                  </a:lnTo>
                  <a:lnTo>
                    <a:pt x="59" y="535"/>
                  </a:lnTo>
                  <a:lnTo>
                    <a:pt x="53" y="537"/>
                  </a:lnTo>
                  <a:lnTo>
                    <a:pt x="45" y="539"/>
                  </a:lnTo>
                  <a:lnTo>
                    <a:pt x="45" y="539"/>
                  </a:lnTo>
                  <a:lnTo>
                    <a:pt x="65" y="537"/>
                  </a:lnTo>
                  <a:lnTo>
                    <a:pt x="65" y="537"/>
                  </a:lnTo>
                  <a:lnTo>
                    <a:pt x="68" y="535"/>
                  </a:lnTo>
                  <a:lnTo>
                    <a:pt x="68" y="535"/>
                  </a:lnTo>
                  <a:lnTo>
                    <a:pt x="63" y="533"/>
                  </a:lnTo>
                  <a:close/>
                  <a:moveTo>
                    <a:pt x="340" y="418"/>
                  </a:moveTo>
                  <a:lnTo>
                    <a:pt x="340" y="416"/>
                  </a:lnTo>
                  <a:lnTo>
                    <a:pt x="338" y="412"/>
                  </a:lnTo>
                  <a:lnTo>
                    <a:pt x="334" y="408"/>
                  </a:lnTo>
                  <a:lnTo>
                    <a:pt x="332" y="404"/>
                  </a:lnTo>
                  <a:lnTo>
                    <a:pt x="330" y="404"/>
                  </a:lnTo>
                  <a:lnTo>
                    <a:pt x="328" y="402"/>
                  </a:lnTo>
                  <a:lnTo>
                    <a:pt x="328" y="402"/>
                  </a:lnTo>
                  <a:lnTo>
                    <a:pt x="328" y="398"/>
                  </a:lnTo>
                  <a:lnTo>
                    <a:pt x="328" y="396"/>
                  </a:lnTo>
                  <a:lnTo>
                    <a:pt x="326" y="393"/>
                  </a:lnTo>
                  <a:lnTo>
                    <a:pt x="326" y="393"/>
                  </a:lnTo>
                  <a:lnTo>
                    <a:pt x="326" y="391"/>
                  </a:lnTo>
                  <a:lnTo>
                    <a:pt x="328" y="389"/>
                  </a:lnTo>
                  <a:lnTo>
                    <a:pt x="328" y="389"/>
                  </a:lnTo>
                  <a:lnTo>
                    <a:pt x="328" y="381"/>
                  </a:lnTo>
                  <a:lnTo>
                    <a:pt x="328" y="377"/>
                  </a:lnTo>
                  <a:lnTo>
                    <a:pt x="328" y="373"/>
                  </a:lnTo>
                  <a:lnTo>
                    <a:pt x="328" y="371"/>
                  </a:lnTo>
                  <a:lnTo>
                    <a:pt x="328" y="369"/>
                  </a:lnTo>
                  <a:lnTo>
                    <a:pt x="328" y="367"/>
                  </a:lnTo>
                  <a:lnTo>
                    <a:pt x="328" y="365"/>
                  </a:lnTo>
                  <a:lnTo>
                    <a:pt x="328" y="363"/>
                  </a:lnTo>
                  <a:lnTo>
                    <a:pt x="328" y="361"/>
                  </a:lnTo>
                  <a:lnTo>
                    <a:pt x="326" y="361"/>
                  </a:lnTo>
                  <a:lnTo>
                    <a:pt x="326" y="357"/>
                  </a:lnTo>
                  <a:lnTo>
                    <a:pt x="326" y="355"/>
                  </a:lnTo>
                  <a:lnTo>
                    <a:pt x="326" y="355"/>
                  </a:lnTo>
                  <a:lnTo>
                    <a:pt x="321" y="350"/>
                  </a:lnTo>
                  <a:lnTo>
                    <a:pt x="319" y="348"/>
                  </a:lnTo>
                  <a:lnTo>
                    <a:pt x="315" y="336"/>
                  </a:lnTo>
                  <a:lnTo>
                    <a:pt x="315" y="334"/>
                  </a:lnTo>
                  <a:lnTo>
                    <a:pt x="315" y="332"/>
                  </a:lnTo>
                  <a:lnTo>
                    <a:pt x="315" y="332"/>
                  </a:lnTo>
                  <a:lnTo>
                    <a:pt x="315" y="330"/>
                  </a:lnTo>
                  <a:lnTo>
                    <a:pt x="315" y="330"/>
                  </a:lnTo>
                  <a:lnTo>
                    <a:pt x="315" y="326"/>
                  </a:lnTo>
                  <a:lnTo>
                    <a:pt x="317" y="322"/>
                  </a:lnTo>
                  <a:lnTo>
                    <a:pt x="319" y="318"/>
                  </a:lnTo>
                  <a:lnTo>
                    <a:pt x="319" y="316"/>
                  </a:lnTo>
                  <a:lnTo>
                    <a:pt x="319" y="314"/>
                  </a:lnTo>
                  <a:lnTo>
                    <a:pt x="319" y="314"/>
                  </a:lnTo>
                  <a:lnTo>
                    <a:pt x="319" y="311"/>
                  </a:lnTo>
                  <a:lnTo>
                    <a:pt x="319" y="309"/>
                  </a:lnTo>
                  <a:lnTo>
                    <a:pt x="319" y="307"/>
                  </a:lnTo>
                  <a:lnTo>
                    <a:pt x="319" y="305"/>
                  </a:lnTo>
                  <a:lnTo>
                    <a:pt x="319" y="303"/>
                  </a:lnTo>
                  <a:lnTo>
                    <a:pt x="319" y="301"/>
                  </a:lnTo>
                  <a:lnTo>
                    <a:pt x="319" y="299"/>
                  </a:lnTo>
                  <a:lnTo>
                    <a:pt x="319" y="295"/>
                  </a:lnTo>
                  <a:lnTo>
                    <a:pt x="321" y="295"/>
                  </a:lnTo>
                  <a:lnTo>
                    <a:pt x="321" y="295"/>
                  </a:lnTo>
                  <a:lnTo>
                    <a:pt x="321" y="293"/>
                  </a:lnTo>
                  <a:lnTo>
                    <a:pt x="324" y="293"/>
                  </a:lnTo>
                  <a:lnTo>
                    <a:pt x="326" y="293"/>
                  </a:lnTo>
                  <a:lnTo>
                    <a:pt x="326" y="291"/>
                  </a:lnTo>
                  <a:lnTo>
                    <a:pt x="326" y="291"/>
                  </a:lnTo>
                  <a:lnTo>
                    <a:pt x="326" y="289"/>
                  </a:lnTo>
                  <a:lnTo>
                    <a:pt x="326" y="289"/>
                  </a:lnTo>
                  <a:lnTo>
                    <a:pt x="328" y="289"/>
                  </a:lnTo>
                  <a:lnTo>
                    <a:pt x="328" y="289"/>
                  </a:lnTo>
                  <a:lnTo>
                    <a:pt x="330" y="289"/>
                  </a:lnTo>
                  <a:lnTo>
                    <a:pt x="330" y="287"/>
                  </a:lnTo>
                  <a:lnTo>
                    <a:pt x="328" y="285"/>
                  </a:lnTo>
                  <a:lnTo>
                    <a:pt x="330" y="285"/>
                  </a:lnTo>
                  <a:lnTo>
                    <a:pt x="330" y="285"/>
                  </a:lnTo>
                  <a:lnTo>
                    <a:pt x="330" y="285"/>
                  </a:lnTo>
                  <a:lnTo>
                    <a:pt x="332" y="283"/>
                  </a:lnTo>
                  <a:lnTo>
                    <a:pt x="330" y="283"/>
                  </a:lnTo>
                  <a:lnTo>
                    <a:pt x="330" y="283"/>
                  </a:lnTo>
                  <a:lnTo>
                    <a:pt x="330" y="283"/>
                  </a:lnTo>
                  <a:lnTo>
                    <a:pt x="330" y="281"/>
                  </a:lnTo>
                  <a:lnTo>
                    <a:pt x="328" y="281"/>
                  </a:lnTo>
                  <a:lnTo>
                    <a:pt x="324" y="279"/>
                  </a:lnTo>
                  <a:lnTo>
                    <a:pt x="321" y="277"/>
                  </a:lnTo>
                  <a:lnTo>
                    <a:pt x="321" y="277"/>
                  </a:lnTo>
                  <a:lnTo>
                    <a:pt x="321" y="273"/>
                  </a:lnTo>
                  <a:lnTo>
                    <a:pt x="321" y="273"/>
                  </a:lnTo>
                  <a:lnTo>
                    <a:pt x="321" y="271"/>
                  </a:lnTo>
                  <a:lnTo>
                    <a:pt x="321" y="271"/>
                  </a:lnTo>
                  <a:lnTo>
                    <a:pt x="321" y="268"/>
                  </a:lnTo>
                  <a:lnTo>
                    <a:pt x="321" y="266"/>
                  </a:lnTo>
                  <a:lnTo>
                    <a:pt x="321" y="266"/>
                  </a:lnTo>
                  <a:lnTo>
                    <a:pt x="319" y="264"/>
                  </a:lnTo>
                  <a:lnTo>
                    <a:pt x="319" y="262"/>
                  </a:lnTo>
                  <a:lnTo>
                    <a:pt x="317" y="258"/>
                  </a:lnTo>
                  <a:lnTo>
                    <a:pt x="317" y="258"/>
                  </a:lnTo>
                  <a:lnTo>
                    <a:pt x="315" y="256"/>
                  </a:lnTo>
                  <a:lnTo>
                    <a:pt x="309" y="248"/>
                  </a:lnTo>
                  <a:lnTo>
                    <a:pt x="309" y="248"/>
                  </a:lnTo>
                  <a:lnTo>
                    <a:pt x="309" y="246"/>
                  </a:lnTo>
                  <a:lnTo>
                    <a:pt x="307" y="246"/>
                  </a:lnTo>
                  <a:lnTo>
                    <a:pt x="307" y="246"/>
                  </a:lnTo>
                  <a:lnTo>
                    <a:pt x="307" y="244"/>
                  </a:lnTo>
                  <a:lnTo>
                    <a:pt x="307" y="242"/>
                  </a:lnTo>
                  <a:lnTo>
                    <a:pt x="305" y="240"/>
                  </a:lnTo>
                  <a:lnTo>
                    <a:pt x="303" y="236"/>
                  </a:lnTo>
                  <a:lnTo>
                    <a:pt x="303" y="236"/>
                  </a:lnTo>
                  <a:lnTo>
                    <a:pt x="303" y="234"/>
                  </a:lnTo>
                  <a:lnTo>
                    <a:pt x="301" y="234"/>
                  </a:lnTo>
                  <a:lnTo>
                    <a:pt x="303" y="232"/>
                  </a:lnTo>
                  <a:lnTo>
                    <a:pt x="301" y="232"/>
                  </a:lnTo>
                  <a:lnTo>
                    <a:pt x="299" y="230"/>
                  </a:lnTo>
                  <a:lnTo>
                    <a:pt x="299" y="230"/>
                  </a:lnTo>
                  <a:lnTo>
                    <a:pt x="299" y="227"/>
                  </a:lnTo>
                  <a:lnTo>
                    <a:pt x="299" y="227"/>
                  </a:lnTo>
                  <a:lnTo>
                    <a:pt x="297" y="227"/>
                  </a:lnTo>
                  <a:lnTo>
                    <a:pt x="297" y="223"/>
                  </a:lnTo>
                  <a:lnTo>
                    <a:pt x="293" y="215"/>
                  </a:lnTo>
                  <a:lnTo>
                    <a:pt x="293" y="215"/>
                  </a:lnTo>
                  <a:lnTo>
                    <a:pt x="293" y="211"/>
                  </a:lnTo>
                  <a:lnTo>
                    <a:pt x="293" y="211"/>
                  </a:lnTo>
                  <a:lnTo>
                    <a:pt x="293" y="209"/>
                  </a:lnTo>
                  <a:lnTo>
                    <a:pt x="291" y="205"/>
                  </a:lnTo>
                  <a:lnTo>
                    <a:pt x="289" y="203"/>
                  </a:lnTo>
                  <a:lnTo>
                    <a:pt x="289" y="197"/>
                  </a:lnTo>
                  <a:lnTo>
                    <a:pt x="287" y="191"/>
                  </a:lnTo>
                  <a:lnTo>
                    <a:pt x="285" y="184"/>
                  </a:lnTo>
                  <a:lnTo>
                    <a:pt x="283" y="178"/>
                  </a:lnTo>
                  <a:lnTo>
                    <a:pt x="281" y="170"/>
                  </a:lnTo>
                  <a:lnTo>
                    <a:pt x="276" y="162"/>
                  </a:lnTo>
                  <a:lnTo>
                    <a:pt x="274" y="154"/>
                  </a:lnTo>
                  <a:lnTo>
                    <a:pt x="272" y="143"/>
                  </a:lnTo>
                  <a:lnTo>
                    <a:pt x="268" y="135"/>
                  </a:lnTo>
                  <a:lnTo>
                    <a:pt x="266" y="125"/>
                  </a:lnTo>
                  <a:lnTo>
                    <a:pt x="262" y="115"/>
                  </a:lnTo>
                  <a:lnTo>
                    <a:pt x="260" y="107"/>
                  </a:lnTo>
                  <a:lnTo>
                    <a:pt x="256" y="96"/>
                  </a:lnTo>
                  <a:lnTo>
                    <a:pt x="254" y="86"/>
                  </a:lnTo>
                  <a:lnTo>
                    <a:pt x="250" y="76"/>
                  </a:lnTo>
                  <a:lnTo>
                    <a:pt x="248" y="68"/>
                  </a:lnTo>
                  <a:lnTo>
                    <a:pt x="246" y="57"/>
                  </a:lnTo>
                  <a:lnTo>
                    <a:pt x="242" y="49"/>
                  </a:lnTo>
                  <a:lnTo>
                    <a:pt x="240" y="41"/>
                  </a:lnTo>
                  <a:lnTo>
                    <a:pt x="238" y="33"/>
                  </a:lnTo>
                  <a:lnTo>
                    <a:pt x="235" y="27"/>
                  </a:lnTo>
                  <a:lnTo>
                    <a:pt x="233" y="20"/>
                  </a:lnTo>
                  <a:lnTo>
                    <a:pt x="231" y="14"/>
                  </a:lnTo>
                  <a:lnTo>
                    <a:pt x="229" y="10"/>
                  </a:lnTo>
                  <a:lnTo>
                    <a:pt x="229" y="6"/>
                  </a:lnTo>
                  <a:lnTo>
                    <a:pt x="227" y="2"/>
                  </a:lnTo>
                  <a:lnTo>
                    <a:pt x="227" y="0"/>
                  </a:lnTo>
                  <a:lnTo>
                    <a:pt x="227" y="0"/>
                  </a:lnTo>
                  <a:lnTo>
                    <a:pt x="213" y="2"/>
                  </a:lnTo>
                  <a:lnTo>
                    <a:pt x="199" y="4"/>
                  </a:lnTo>
                  <a:lnTo>
                    <a:pt x="186" y="4"/>
                  </a:lnTo>
                  <a:lnTo>
                    <a:pt x="172" y="6"/>
                  </a:lnTo>
                  <a:lnTo>
                    <a:pt x="158" y="8"/>
                  </a:lnTo>
                  <a:lnTo>
                    <a:pt x="143" y="10"/>
                  </a:lnTo>
                  <a:lnTo>
                    <a:pt x="129" y="12"/>
                  </a:lnTo>
                  <a:lnTo>
                    <a:pt x="117" y="12"/>
                  </a:lnTo>
                  <a:lnTo>
                    <a:pt x="102" y="14"/>
                  </a:lnTo>
                  <a:lnTo>
                    <a:pt x="88" y="16"/>
                  </a:lnTo>
                  <a:lnTo>
                    <a:pt x="74" y="16"/>
                  </a:lnTo>
                  <a:lnTo>
                    <a:pt x="59" y="18"/>
                  </a:lnTo>
                  <a:lnTo>
                    <a:pt x="47" y="20"/>
                  </a:lnTo>
                  <a:lnTo>
                    <a:pt x="33" y="20"/>
                  </a:lnTo>
                  <a:lnTo>
                    <a:pt x="18" y="23"/>
                  </a:lnTo>
                  <a:lnTo>
                    <a:pt x="4" y="25"/>
                  </a:lnTo>
                  <a:lnTo>
                    <a:pt x="2" y="25"/>
                  </a:lnTo>
                  <a:lnTo>
                    <a:pt x="0" y="25"/>
                  </a:lnTo>
                  <a:lnTo>
                    <a:pt x="2" y="27"/>
                  </a:lnTo>
                  <a:lnTo>
                    <a:pt x="4" y="31"/>
                  </a:lnTo>
                  <a:lnTo>
                    <a:pt x="6" y="35"/>
                  </a:lnTo>
                  <a:lnTo>
                    <a:pt x="10" y="37"/>
                  </a:lnTo>
                  <a:lnTo>
                    <a:pt x="10" y="37"/>
                  </a:lnTo>
                  <a:lnTo>
                    <a:pt x="10" y="37"/>
                  </a:lnTo>
                  <a:lnTo>
                    <a:pt x="10" y="43"/>
                  </a:lnTo>
                  <a:lnTo>
                    <a:pt x="10" y="45"/>
                  </a:lnTo>
                  <a:lnTo>
                    <a:pt x="10" y="55"/>
                  </a:lnTo>
                  <a:lnTo>
                    <a:pt x="10" y="64"/>
                  </a:lnTo>
                  <a:lnTo>
                    <a:pt x="10" y="72"/>
                  </a:lnTo>
                  <a:lnTo>
                    <a:pt x="10" y="82"/>
                  </a:lnTo>
                  <a:lnTo>
                    <a:pt x="10" y="92"/>
                  </a:lnTo>
                  <a:lnTo>
                    <a:pt x="10" y="105"/>
                  </a:lnTo>
                  <a:lnTo>
                    <a:pt x="10" y="117"/>
                  </a:lnTo>
                  <a:lnTo>
                    <a:pt x="10" y="129"/>
                  </a:lnTo>
                  <a:lnTo>
                    <a:pt x="10" y="143"/>
                  </a:lnTo>
                  <a:lnTo>
                    <a:pt x="10" y="158"/>
                  </a:lnTo>
                  <a:lnTo>
                    <a:pt x="10" y="172"/>
                  </a:lnTo>
                  <a:lnTo>
                    <a:pt x="10" y="189"/>
                  </a:lnTo>
                  <a:lnTo>
                    <a:pt x="10" y="217"/>
                  </a:lnTo>
                  <a:lnTo>
                    <a:pt x="10" y="234"/>
                  </a:lnTo>
                  <a:lnTo>
                    <a:pt x="10" y="248"/>
                  </a:lnTo>
                  <a:lnTo>
                    <a:pt x="10" y="262"/>
                  </a:lnTo>
                  <a:lnTo>
                    <a:pt x="10" y="277"/>
                  </a:lnTo>
                  <a:lnTo>
                    <a:pt x="10" y="289"/>
                  </a:lnTo>
                  <a:lnTo>
                    <a:pt x="10" y="301"/>
                  </a:lnTo>
                  <a:lnTo>
                    <a:pt x="10" y="314"/>
                  </a:lnTo>
                  <a:lnTo>
                    <a:pt x="10" y="324"/>
                  </a:lnTo>
                  <a:lnTo>
                    <a:pt x="10" y="334"/>
                  </a:lnTo>
                  <a:lnTo>
                    <a:pt x="10" y="342"/>
                  </a:lnTo>
                  <a:lnTo>
                    <a:pt x="10" y="350"/>
                  </a:lnTo>
                  <a:lnTo>
                    <a:pt x="10" y="357"/>
                  </a:lnTo>
                  <a:lnTo>
                    <a:pt x="10" y="361"/>
                  </a:lnTo>
                  <a:lnTo>
                    <a:pt x="10" y="363"/>
                  </a:lnTo>
                  <a:lnTo>
                    <a:pt x="10" y="365"/>
                  </a:lnTo>
                  <a:lnTo>
                    <a:pt x="12" y="373"/>
                  </a:lnTo>
                  <a:lnTo>
                    <a:pt x="12" y="383"/>
                  </a:lnTo>
                  <a:lnTo>
                    <a:pt x="14" y="393"/>
                  </a:lnTo>
                  <a:lnTo>
                    <a:pt x="16" y="404"/>
                  </a:lnTo>
                  <a:lnTo>
                    <a:pt x="18" y="414"/>
                  </a:lnTo>
                  <a:lnTo>
                    <a:pt x="18" y="424"/>
                  </a:lnTo>
                  <a:lnTo>
                    <a:pt x="22" y="445"/>
                  </a:lnTo>
                  <a:lnTo>
                    <a:pt x="22" y="455"/>
                  </a:lnTo>
                  <a:lnTo>
                    <a:pt x="25" y="463"/>
                  </a:lnTo>
                  <a:lnTo>
                    <a:pt x="27" y="473"/>
                  </a:lnTo>
                  <a:lnTo>
                    <a:pt x="29" y="484"/>
                  </a:lnTo>
                  <a:lnTo>
                    <a:pt x="31" y="494"/>
                  </a:lnTo>
                  <a:lnTo>
                    <a:pt x="31" y="504"/>
                  </a:lnTo>
                  <a:lnTo>
                    <a:pt x="35" y="525"/>
                  </a:lnTo>
                  <a:lnTo>
                    <a:pt x="37" y="523"/>
                  </a:lnTo>
                  <a:lnTo>
                    <a:pt x="39" y="523"/>
                  </a:lnTo>
                  <a:lnTo>
                    <a:pt x="41" y="523"/>
                  </a:lnTo>
                  <a:lnTo>
                    <a:pt x="43" y="525"/>
                  </a:lnTo>
                  <a:lnTo>
                    <a:pt x="43" y="525"/>
                  </a:lnTo>
                  <a:lnTo>
                    <a:pt x="43" y="523"/>
                  </a:lnTo>
                  <a:lnTo>
                    <a:pt x="43" y="523"/>
                  </a:lnTo>
                  <a:lnTo>
                    <a:pt x="43" y="523"/>
                  </a:lnTo>
                  <a:lnTo>
                    <a:pt x="43" y="523"/>
                  </a:lnTo>
                  <a:lnTo>
                    <a:pt x="45" y="523"/>
                  </a:lnTo>
                  <a:lnTo>
                    <a:pt x="51" y="523"/>
                  </a:lnTo>
                  <a:lnTo>
                    <a:pt x="55" y="525"/>
                  </a:lnTo>
                  <a:lnTo>
                    <a:pt x="53" y="527"/>
                  </a:lnTo>
                  <a:lnTo>
                    <a:pt x="53" y="527"/>
                  </a:lnTo>
                  <a:lnTo>
                    <a:pt x="55" y="529"/>
                  </a:lnTo>
                  <a:lnTo>
                    <a:pt x="57" y="529"/>
                  </a:lnTo>
                  <a:lnTo>
                    <a:pt x="57" y="529"/>
                  </a:lnTo>
                  <a:lnTo>
                    <a:pt x="59" y="527"/>
                  </a:lnTo>
                  <a:lnTo>
                    <a:pt x="59" y="529"/>
                  </a:lnTo>
                  <a:lnTo>
                    <a:pt x="59" y="529"/>
                  </a:lnTo>
                  <a:lnTo>
                    <a:pt x="59" y="529"/>
                  </a:lnTo>
                  <a:lnTo>
                    <a:pt x="61" y="529"/>
                  </a:lnTo>
                  <a:lnTo>
                    <a:pt x="61" y="527"/>
                  </a:lnTo>
                  <a:lnTo>
                    <a:pt x="61" y="518"/>
                  </a:lnTo>
                  <a:lnTo>
                    <a:pt x="61" y="514"/>
                  </a:lnTo>
                  <a:lnTo>
                    <a:pt x="61" y="512"/>
                  </a:lnTo>
                  <a:lnTo>
                    <a:pt x="61" y="508"/>
                  </a:lnTo>
                  <a:lnTo>
                    <a:pt x="61" y="506"/>
                  </a:lnTo>
                  <a:lnTo>
                    <a:pt x="61" y="506"/>
                  </a:lnTo>
                  <a:lnTo>
                    <a:pt x="61" y="504"/>
                  </a:lnTo>
                  <a:lnTo>
                    <a:pt x="61" y="504"/>
                  </a:lnTo>
                  <a:lnTo>
                    <a:pt x="61" y="502"/>
                  </a:lnTo>
                  <a:lnTo>
                    <a:pt x="61" y="500"/>
                  </a:lnTo>
                  <a:lnTo>
                    <a:pt x="61" y="500"/>
                  </a:lnTo>
                  <a:lnTo>
                    <a:pt x="63" y="498"/>
                  </a:lnTo>
                  <a:lnTo>
                    <a:pt x="63" y="498"/>
                  </a:lnTo>
                  <a:lnTo>
                    <a:pt x="63" y="496"/>
                  </a:lnTo>
                  <a:lnTo>
                    <a:pt x="63" y="494"/>
                  </a:lnTo>
                  <a:lnTo>
                    <a:pt x="63" y="492"/>
                  </a:lnTo>
                  <a:lnTo>
                    <a:pt x="63" y="492"/>
                  </a:lnTo>
                  <a:lnTo>
                    <a:pt x="65" y="490"/>
                  </a:lnTo>
                  <a:lnTo>
                    <a:pt x="63" y="488"/>
                  </a:lnTo>
                  <a:lnTo>
                    <a:pt x="65" y="488"/>
                  </a:lnTo>
                  <a:lnTo>
                    <a:pt x="65" y="486"/>
                  </a:lnTo>
                  <a:lnTo>
                    <a:pt x="65" y="484"/>
                  </a:lnTo>
                  <a:lnTo>
                    <a:pt x="65" y="484"/>
                  </a:lnTo>
                  <a:lnTo>
                    <a:pt x="65" y="484"/>
                  </a:lnTo>
                  <a:lnTo>
                    <a:pt x="68" y="484"/>
                  </a:lnTo>
                  <a:lnTo>
                    <a:pt x="68" y="486"/>
                  </a:lnTo>
                  <a:lnTo>
                    <a:pt x="68" y="488"/>
                  </a:lnTo>
                  <a:lnTo>
                    <a:pt x="68" y="488"/>
                  </a:lnTo>
                  <a:lnTo>
                    <a:pt x="68" y="488"/>
                  </a:lnTo>
                  <a:lnTo>
                    <a:pt x="70" y="488"/>
                  </a:lnTo>
                  <a:lnTo>
                    <a:pt x="70" y="488"/>
                  </a:lnTo>
                  <a:lnTo>
                    <a:pt x="72" y="490"/>
                  </a:lnTo>
                  <a:lnTo>
                    <a:pt x="74" y="490"/>
                  </a:lnTo>
                  <a:lnTo>
                    <a:pt x="78" y="498"/>
                  </a:lnTo>
                  <a:lnTo>
                    <a:pt x="78" y="500"/>
                  </a:lnTo>
                  <a:lnTo>
                    <a:pt x="78" y="502"/>
                  </a:lnTo>
                  <a:lnTo>
                    <a:pt x="78" y="504"/>
                  </a:lnTo>
                  <a:lnTo>
                    <a:pt x="76" y="506"/>
                  </a:lnTo>
                  <a:lnTo>
                    <a:pt x="76" y="508"/>
                  </a:lnTo>
                  <a:lnTo>
                    <a:pt x="76" y="510"/>
                  </a:lnTo>
                  <a:lnTo>
                    <a:pt x="76" y="510"/>
                  </a:lnTo>
                  <a:lnTo>
                    <a:pt x="78" y="510"/>
                  </a:lnTo>
                  <a:lnTo>
                    <a:pt x="78" y="512"/>
                  </a:lnTo>
                  <a:lnTo>
                    <a:pt x="78" y="512"/>
                  </a:lnTo>
                  <a:lnTo>
                    <a:pt x="78" y="514"/>
                  </a:lnTo>
                  <a:lnTo>
                    <a:pt x="80" y="516"/>
                  </a:lnTo>
                  <a:lnTo>
                    <a:pt x="80" y="516"/>
                  </a:lnTo>
                  <a:lnTo>
                    <a:pt x="80" y="518"/>
                  </a:lnTo>
                  <a:lnTo>
                    <a:pt x="82" y="518"/>
                  </a:lnTo>
                  <a:lnTo>
                    <a:pt x="82" y="518"/>
                  </a:lnTo>
                  <a:lnTo>
                    <a:pt x="84" y="518"/>
                  </a:lnTo>
                  <a:lnTo>
                    <a:pt x="84" y="518"/>
                  </a:lnTo>
                  <a:lnTo>
                    <a:pt x="86" y="518"/>
                  </a:lnTo>
                  <a:lnTo>
                    <a:pt x="86" y="518"/>
                  </a:lnTo>
                  <a:lnTo>
                    <a:pt x="86" y="518"/>
                  </a:lnTo>
                  <a:lnTo>
                    <a:pt x="86" y="516"/>
                  </a:lnTo>
                  <a:lnTo>
                    <a:pt x="86" y="516"/>
                  </a:lnTo>
                  <a:lnTo>
                    <a:pt x="88" y="516"/>
                  </a:lnTo>
                  <a:lnTo>
                    <a:pt x="88" y="516"/>
                  </a:lnTo>
                  <a:lnTo>
                    <a:pt x="88" y="516"/>
                  </a:lnTo>
                  <a:lnTo>
                    <a:pt x="88" y="521"/>
                  </a:lnTo>
                  <a:lnTo>
                    <a:pt x="88" y="521"/>
                  </a:lnTo>
                  <a:lnTo>
                    <a:pt x="88" y="523"/>
                  </a:lnTo>
                  <a:lnTo>
                    <a:pt x="94" y="527"/>
                  </a:lnTo>
                  <a:lnTo>
                    <a:pt x="94" y="529"/>
                  </a:lnTo>
                  <a:lnTo>
                    <a:pt x="92" y="531"/>
                  </a:lnTo>
                  <a:lnTo>
                    <a:pt x="88" y="533"/>
                  </a:lnTo>
                  <a:lnTo>
                    <a:pt x="84" y="535"/>
                  </a:lnTo>
                  <a:lnTo>
                    <a:pt x="82" y="535"/>
                  </a:lnTo>
                  <a:lnTo>
                    <a:pt x="80" y="533"/>
                  </a:lnTo>
                  <a:lnTo>
                    <a:pt x="78" y="533"/>
                  </a:lnTo>
                  <a:lnTo>
                    <a:pt x="78" y="535"/>
                  </a:lnTo>
                  <a:lnTo>
                    <a:pt x="78" y="535"/>
                  </a:lnTo>
                  <a:lnTo>
                    <a:pt x="74" y="535"/>
                  </a:lnTo>
                  <a:lnTo>
                    <a:pt x="72" y="537"/>
                  </a:lnTo>
                  <a:lnTo>
                    <a:pt x="72" y="539"/>
                  </a:lnTo>
                  <a:lnTo>
                    <a:pt x="74" y="537"/>
                  </a:lnTo>
                  <a:lnTo>
                    <a:pt x="82" y="535"/>
                  </a:lnTo>
                  <a:lnTo>
                    <a:pt x="94" y="535"/>
                  </a:lnTo>
                  <a:lnTo>
                    <a:pt x="104" y="531"/>
                  </a:lnTo>
                  <a:lnTo>
                    <a:pt x="111" y="529"/>
                  </a:lnTo>
                  <a:lnTo>
                    <a:pt x="113" y="525"/>
                  </a:lnTo>
                  <a:lnTo>
                    <a:pt x="113" y="525"/>
                  </a:lnTo>
                  <a:lnTo>
                    <a:pt x="111" y="525"/>
                  </a:lnTo>
                  <a:lnTo>
                    <a:pt x="111" y="525"/>
                  </a:lnTo>
                  <a:lnTo>
                    <a:pt x="108" y="525"/>
                  </a:lnTo>
                  <a:lnTo>
                    <a:pt x="108" y="523"/>
                  </a:lnTo>
                  <a:lnTo>
                    <a:pt x="108" y="523"/>
                  </a:lnTo>
                  <a:lnTo>
                    <a:pt x="108" y="521"/>
                  </a:lnTo>
                  <a:lnTo>
                    <a:pt x="108" y="518"/>
                  </a:lnTo>
                  <a:lnTo>
                    <a:pt x="108" y="518"/>
                  </a:lnTo>
                  <a:lnTo>
                    <a:pt x="108" y="521"/>
                  </a:lnTo>
                  <a:lnTo>
                    <a:pt x="111" y="521"/>
                  </a:lnTo>
                  <a:lnTo>
                    <a:pt x="111" y="523"/>
                  </a:lnTo>
                  <a:lnTo>
                    <a:pt x="111" y="523"/>
                  </a:lnTo>
                  <a:lnTo>
                    <a:pt x="113" y="523"/>
                  </a:lnTo>
                  <a:lnTo>
                    <a:pt x="113" y="523"/>
                  </a:lnTo>
                  <a:lnTo>
                    <a:pt x="115" y="523"/>
                  </a:lnTo>
                  <a:lnTo>
                    <a:pt x="117" y="521"/>
                  </a:lnTo>
                  <a:lnTo>
                    <a:pt x="117" y="518"/>
                  </a:lnTo>
                  <a:lnTo>
                    <a:pt x="119" y="518"/>
                  </a:lnTo>
                  <a:lnTo>
                    <a:pt x="121" y="518"/>
                  </a:lnTo>
                  <a:lnTo>
                    <a:pt x="121" y="516"/>
                  </a:lnTo>
                  <a:lnTo>
                    <a:pt x="123" y="514"/>
                  </a:lnTo>
                  <a:lnTo>
                    <a:pt x="123" y="512"/>
                  </a:lnTo>
                  <a:lnTo>
                    <a:pt x="127" y="508"/>
                  </a:lnTo>
                  <a:lnTo>
                    <a:pt x="127" y="508"/>
                  </a:lnTo>
                  <a:lnTo>
                    <a:pt x="127" y="508"/>
                  </a:lnTo>
                  <a:lnTo>
                    <a:pt x="127" y="506"/>
                  </a:lnTo>
                  <a:lnTo>
                    <a:pt x="125" y="506"/>
                  </a:lnTo>
                  <a:lnTo>
                    <a:pt x="125" y="506"/>
                  </a:lnTo>
                  <a:lnTo>
                    <a:pt x="123" y="504"/>
                  </a:lnTo>
                  <a:lnTo>
                    <a:pt x="123" y="504"/>
                  </a:lnTo>
                  <a:lnTo>
                    <a:pt x="125" y="504"/>
                  </a:lnTo>
                  <a:lnTo>
                    <a:pt x="125" y="504"/>
                  </a:lnTo>
                  <a:lnTo>
                    <a:pt x="123" y="500"/>
                  </a:lnTo>
                  <a:lnTo>
                    <a:pt x="121" y="498"/>
                  </a:lnTo>
                  <a:lnTo>
                    <a:pt x="121" y="498"/>
                  </a:lnTo>
                  <a:lnTo>
                    <a:pt x="121" y="496"/>
                  </a:lnTo>
                  <a:lnTo>
                    <a:pt x="123" y="494"/>
                  </a:lnTo>
                  <a:lnTo>
                    <a:pt x="123" y="490"/>
                  </a:lnTo>
                  <a:lnTo>
                    <a:pt x="123" y="486"/>
                  </a:lnTo>
                  <a:lnTo>
                    <a:pt x="123" y="486"/>
                  </a:lnTo>
                  <a:lnTo>
                    <a:pt x="123" y="484"/>
                  </a:lnTo>
                  <a:lnTo>
                    <a:pt x="123" y="484"/>
                  </a:lnTo>
                  <a:lnTo>
                    <a:pt x="123" y="484"/>
                  </a:lnTo>
                  <a:lnTo>
                    <a:pt x="115" y="480"/>
                  </a:lnTo>
                  <a:lnTo>
                    <a:pt x="113" y="477"/>
                  </a:lnTo>
                  <a:lnTo>
                    <a:pt x="111" y="477"/>
                  </a:lnTo>
                  <a:lnTo>
                    <a:pt x="108" y="473"/>
                  </a:lnTo>
                  <a:lnTo>
                    <a:pt x="108" y="473"/>
                  </a:lnTo>
                  <a:lnTo>
                    <a:pt x="102" y="469"/>
                  </a:lnTo>
                  <a:lnTo>
                    <a:pt x="102" y="467"/>
                  </a:lnTo>
                  <a:lnTo>
                    <a:pt x="100" y="465"/>
                  </a:lnTo>
                  <a:lnTo>
                    <a:pt x="100" y="465"/>
                  </a:lnTo>
                  <a:lnTo>
                    <a:pt x="100" y="465"/>
                  </a:lnTo>
                  <a:lnTo>
                    <a:pt x="100" y="463"/>
                  </a:lnTo>
                  <a:lnTo>
                    <a:pt x="100" y="463"/>
                  </a:lnTo>
                  <a:lnTo>
                    <a:pt x="100" y="461"/>
                  </a:lnTo>
                  <a:lnTo>
                    <a:pt x="102" y="457"/>
                  </a:lnTo>
                  <a:lnTo>
                    <a:pt x="102" y="457"/>
                  </a:lnTo>
                  <a:lnTo>
                    <a:pt x="102" y="453"/>
                  </a:lnTo>
                  <a:lnTo>
                    <a:pt x="102" y="451"/>
                  </a:lnTo>
                  <a:lnTo>
                    <a:pt x="106" y="451"/>
                  </a:lnTo>
                  <a:lnTo>
                    <a:pt x="121" y="449"/>
                  </a:lnTo>
                  <a:lnTo>
                    <a:pt x="135" y="447"/>
                  </a:lnTo>
                  <a:lnTo>
                    <a:pt x="149" y="445"/>
                  </a:lnTo>
                  <a:lnTo>
                    <a:pt x="164" y="443"/>
                  </a:lnTo>
                  <a:lnTo>
                    <a:pt x="178" y="441"/>
                  </a:lnTo>
                  <a:lnTo>
                    <a:pt x="195" y="441"/>
                  </a:lnTo>
                  <a:lnTo>
                    <a:pt x="209" y="439"/>
                  </a:lnTo>
                  <a:lnTo>
                    <a:pt x="223" y="436"/>
                  </a:lnTo>
                  <a:lnTo>
                    <a:pt x="238" y="434"/>
                  </a:lnTo>
                  <a:lnTo>
                    <a:pt x="252" y="432"/>
                  </a:lnTo>
                  <a:lnTo>
                    <a:pt x="266" y="430"/>
                  </a:lnTo>
                  <a:lnTo>
                    <a:pt x="281" y="428"/>
                  </a:lnTo>
                  <a:lnTo>
                    <a:pt x="295" y="426"/>
                  </a:lnTo>
                  <a:lnTo>
                    <a:pt x="311" y="424"/>
                  </a:lnTo>
                  <a:lnTo>
                    <a:pt x="326" y="422"/>
                  </a:lnTo>
                  <a:lnTo>
                    <a:pt x="340" y="420"/>
                  </a:lnTo>
                  <a:lnTo>
                    <a:pt x="340" y="420"/>
                  </a:lnTo>
                  <a:lnTo>
                    <a:pt x="340" y="420"/>
                  </a:lnTo>
                  <a:lnTo>
                    <a:pt x="340" y="418"/>
                  </a:lnTo>
                  <a:lnTo>
                    <a:pt x="340" y="41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L</a:t>
              </a:r>
            </a:p>
          </p:txBody>
        </p:sp>
        <p:sp>
          <p:nvSpPr>
            <p:cNvPr id="292" name="Freeform 55">
              <a:extLst>
                <a:ext uri="{FF2B5EF4-FFF2-40B4-BE49-F238E27FC236}">
                  <a16:creationId xmlns:a16="http://schemas.microsoft.com/office/drawing/2014/main" id="{B083E85F-5575-54A3-7862-C03B8A32C15E}"/>
                </a:ext>
              </a:extLst>
            </p:cNvPr>
            <p:cNvSpPr>
              <a:spLocks noEditPoints="1"/>
            </p:cNvSpPr>
            <p:nvPr/>
          </p:nvSpPr>
          <p:spPr bwMode="auto">
            <a:xfrm>
              <a:off x="-261" y="2004"/>
              <a:ext cx="1708" cy="918"/>
            </a:xfrm>
            <a:custGeom>
              <a:avLst/>
              <a:gdLst>
                <a:gd name="T0" fmla="*/ 672 w 1708"/>
                <a:gd name="T1" fmla="*/ 871 h 918"/>
                <a:gd name="T2" fmla="*/ 649 w 1708"/>
                <a:gd name="T3" fmla="*/ 369 h 918"/>
                <a:gd name="T4" fmla="*/ 614 w 1708"/>
                <a:gd name="T5" fmla="*/ 879 h 918"/>
                <a:gd name="T6" fmla="*/ 789 w 1708"/>
                <a:gd name="T7" fmla="*/ 838 h 918"/>
                <a:gd name="T8" fmla="*/ 854 w 1708"/>
                <a:gd name="T9" fmla="*/ 850 h 918"/>
                <a:gd name="T10" fmla="*/ 729 w 1708"/>
                <a:gd name="T11" fmla="*/ 832 h 918"/>
                <a:gd name="T12" fmla="*/ 229 w 1708"/>
                <a:gd name="T13" fmla="*/ 883 h 918"/>
                <a:gd name="T14" fmla="*/ 295 w 1708"/>
                <a:gd name="T15" fmla="*/ 896 h 918"/>
                <a:gd name="T16" fmla="*/ 6 w 1708"/>
                <a:gd name="T17" fmla="*/ 711 h 918"/>
                <a:gd name="T18" fmla="*/ 522 w 1708"/>
                <a:gd name="T19" fmla="*/ 908 h 918"/>
                <a:gd name="T20" fmla="*/ 561 w 1708"/>
                <a:gd name="T21" fmla="*/ 910 h 918"/>
                <a:gd name="T22" fmla="*/ 387 w 1708"/>
                <a:gd name="T23" fmla="*/ 914 h 918"/>
                <a:gd name="T24" fmla="*/ 1624 w 1708"/>
                <a:gd name="T25" fmla="*/ 682 h 918"/>
                <a:gd name="T26" fmla="*/ 1221 w 1708"/>
                <a:gd name="T27" fmla="*/ 57 h 918"/>
                <a:gd name="T28" fmla="*/ 1040 w 1708"/>
                <a:gd name="T29" fmla="*/ 37 h 918"/>
                <a:gd name="T30" fmla="*/ 922 w 1708"/>
                <a:gd name="T31" fmla="*/ 31 h 918"/>
                <a:gd name="T32" fmla="*/ 846 w 1708"/>
                <a:gd name="T33" fmla="*/ 84 h 918"/>
                <a:gd name="T34" fmla="*/ 862 w 1708"/>
                <a:gd name="T35" fmla="*/ 244 h 918"/>
                <a:gd name="T36" fmla="*/ 782 w 1708"/>
                <a:gd name="T37" fmla="*/ 238 h 918"/>
                <a:gd name="T38" fmla="*/ 813 w 1708"/>
                <a:gd name="T39" fmla="*/ 344 h 918"/>
                <a:gd name="T40" fmla="*/ 770 w 1708"/>
                <a:gd name="T41" fmla="*/ 416 h 918"/>
                <a:gd name="T42" fmla="*/ 748 w 1708"/>
                <a:gd name="T43" fmla="*/ 488 h 918"/>
                <a:gd name="T44" fmla="*/ 733 w 1708"/>
                <a:gd name="T45" fmla="*/ 541 h 918"/>
                <a:gd name="T46" fmla="*/ 803 w 1708"/>
                <a:gd name="T47" fmla="*/ 629 h 918"/>
                <a:gd name="T48" fmla="*/ 881 w 1708"/>
                <a:gd name="T49" fmla="*/ 654 h 918"/>
                <a:gd name="T50" fmla="*/ 897 w 1708"/>
                <a:gd name="T51" fmla="*/ 725 h 918"/>
                <a:gd name="T52" fmla="*/ 739 w 1708"/>
                <a:gd name="T53" fmla="*/ 840 h 918"/>
                <a:gd name="T54" fmla="*/ 834 w 1708"/>
                <a:gd name="T55" fmla="*/ 807 h 918"/>
                <a:gd name="T56" fmla="*/ 885 w 1708"/>
                <a:gd name="T57" fmla="*/ 785 h 918"/>
                <a:gd name="T58" fmla="*/ 963 w 1708"/>
                <a:gd name="T59" fmla="*/ 719 h 918"/>
                <a:gd name="T60" fmla="*/ 1012 w 1708"/>
                <a:gd name="T61" fmla="*/ 627 h 918"/>
                <a:gd name="T62" fmla="*/ 1116 w 1708"/>
                <a:gd name="T63" fmla="*/ 514 h 918"/>
                <a:gd name="T64" fmla="*/ 1106 w 1708"/>
                <a:gd name="T65" fmla="*/ 615 h 918"/>
                <a:gd name="T66" fmla="*/ 1159 w 1708"/>
                <a:gd name="T67" fmla="*/ 572 h 918"/>
                <a:gd name="T68" fmla="*/ 1163 w 1708"/>
                <a:gd name="T69" fmla="*/ 535 h 918"/>
                <a:gd name="T70" fmla="*/ 1212 w 1708"/>
                <a:gd name="T71" fmla="*/ 541 h 918"/>
                <a:gd name="T72" fmla="*/ 1380 w 1708"/>
                <a:gd name="T73" fmla="*/ 559 h 918"/>
                <a:gd name="T74" fmla="*/ 1485 w 1708"/>
                <a:gd name="T75" fmla="*/ 619 h 918"/>
                <a:gd name="T76" fmla="*/ 1491 w 1708"/>
                <a:gd name="T77" fmla="*/ 586 h 918"/>
                <a:gd name="T78" fmla="*/ 1548 w 1708"/>
                <a:gd name="T79" fmla="*/ 594 h 918"/>
                <a:gd name="T80" fmla="*/ 1600 w 1708"/>
                <a:gd name="T81" fmla="*/ 652 h 918"/>
                <a:gd name="T82" fmla="*/ 1690 w 1708"/>
                <a:gd name="T83" fmla="*/ 728 h 918"/>
                <a:gd name="T84" fmla="*/ 840 w 1708"/>
                <a:gd name="T85" fmla="*/ 654 h 918"/>
                <a:gd name="T86" fmla="*/ 1602 w 1708"/>
                <a:gd name="T87" fmla="*/ 725 h 918"/>
                <a:gd name="T88" fmla="*/ 1606 w 1708"/>
                <a:gd name="T89" fmla="*/ 744 h 918"/>
                <a:gd name="T90" fmla="*/ 1636 w 1708"/>
                <a:gd name="T91" fmla="*/ 723 h 918"/>
                <a:gd name="T92" fmla="*/ 1630 w 1708"/>
                <a:gd name="T93" fmla="*/ 740 h 918"/>
                <a:gd name="T94" fmla="*/ 1636 w 1708"/>
                <a:gd name="T95" fmla="*/ 766 h 918"/>
                <a:gd name="T96" fmla="*/ 723 w 1708"/>
                <a:gd name="T97" fmla="*/ 459 h 918"/>
                <a:gd name="T98" fmla="*/ 1634 w 1708"/>
                <a:gd name="T99" fmla="*/ 695 h 918"/>
                <a:gd name="T100" fmla="*/ 1053 w 1708"/>
                <a:gd name="T101" fmla="*/ 691 h 918"/>
                <a:gd name="T102" fmla="*/ 1165 w 1708"/>
                <a:gd name="T103" fmla="*/ 539 h 918"/>
                <a:gd name="T104" fmla="*/ 1030 w 1708"/>
                <a:gd name="T105" fmla="*/ 705 h 918"/>
                <a:gd name="T106" fmla="*/ 1028 w 1708"/>
                <a:gd name="T107" fmla="*/ 709 h 918"/>
                <a:gd name="T108" fmla="*/ 1014 w 1708"/>
                <a:gd name="T109" fmla="*/ 754 h 918"/>
                <a:gd name="T110" fmla="*/ 1491 w 1708"/>
                <a:gd name="T111" fmla="*/ 639 h 918"/>
                <a:gd name="T112" fmla="*/ 1497 w 1708"/>
                <a:gd name="T113" fmla="*/ 621 h 918"/>
                <a:gd name="T114" fmla="*/ 1557 w 1708"/>
                <a:gd name="T115" fmla="*/ 652 h 918"/>
                <a:gd name="T116" fmla="*/ 1579 w 1708"/>
                <a:gd name="T117" fmla="*/ 725 h 918"/>
                <a:gd name="T118" fmla="*/ 1577 w 1708"/>
                <a:gd name="T119" fmla="*/ 674 h 918"/>
                <a:gd name="T120" fmla="*/ 1524 w 1708"/>
                <a:gd name="T121" fmla="*/ 666 h 918"/>
                <a:gd name="T122" fmla="*/ 1542 w 1708"/>
                <a:gd name="T123" fmla="*/ 689 h 918"/>
                <a:gd name="T124" fmla="*/ 1178 w 1708"/>
                <a:gd name="T125" fmla="*/ 594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8" h="918">
                  <a:moveTo>
                    <a:pt x="694" y="258"/>
                  </a:moveTo>
                  <a:lnTo>
                    <a:pt x="696" y="258"/>
                  </a:lnTo>
                  <a:lnTo>
                    <a:pt x="696" y="258"/>
                  </a:lnTo>
                  <a:lnTo>
                    <a:pt x="696" y="256"/>
                  </a:lnTo>
                  <a:lnTo>
                    <a:pt x="696" y="256"/>
                  </a:lnTo>
                  <a:lnTo>
                    <a:pt x="696" y="256"/>
                  </a:lnTo>
                  <a:lnTo>
                    <a:pt x="694" y="256"/>
                  </a:lnTo>
                  <a:lnTo>
                    <a:pt x="694" y="256"/>
                  </a:lnTo>
                  <a:lnTo>
                    <a:pt x="694" y="258"/>
                  </a:lnTo>
                  <a:lnTo>
                    <a:pt x="694" y="258"/>
                  </a:lnTo>
                  <a:close/>
                  <a:moveTo>
                    <a:pt x="684" y="568"/>
                  </a:moveTo>
                  <a:lnTo>
                    <a:pt x="684" y="568"/>
                  </a:lnTo>
                  <a:lnTo>
                    <a:pt x="684" y="568"/>
                  </a:lnTo>
                  <a:lnTo>
                    <a:pt x="686" y="570"/>
                  </a:lnTo>
                  <a:lnTo>
                    <a:pt x="686" y="570"/>
                  </a:lnTo>
                  <a:lnTo>
                    <a:pt x="686" y="570"/>
                  </a:lnTo>
                  <a:lnTo>
                    <a:pt x="688" y="570"/>
                  </a:lnTo>
                  <a:lnTo>
                    <a:pt x="688" y="570"/>
                  </a:lnTo>
                  <a:lnTo>
                    <a:pt x="688" y="570"/>
                  </a:lnTo>
                  <a:lnTo>
                    <a:pt x="690" y="570"/>
                  </a:lnTo>
                  <a:lnTo>
                    <a:pt x="690" y="570"/>
                  </a:lnTo>
                  <a:lnTo>
                    <a:pt x="690" y="570"/>
                  </a:lnTo>
                  <a:lnTo>
                    <a:pt x="692" y="572"/>
                  </a:lnTo>
                  <a:lnTo>
                    <a:pt x="692" y="572"/>
                  </a:lnTo>
                  <a:lnTo>
                    <a:pt x="694" y="572"/>
                  </a:lnTo>
                  <a:lnTo>
                    <a:pt x="694" y="574"/>
                  </a:lnTo>
                  <a:lnTo>
                    <a:pt x="694" y="574"/>
                  </a:lnTo>
                  <a:lnTo>
                    <a:pt x="694" y="574"/>
                  </a:lnTo>
                  <a:lnTo>
                    <a:pt x="696" y="576"/>
                  </a:lnTo>
                  <a:lnTo>
                    <a:pt x="696" y="576"/>
                  </a:lnTo>
                  <a:lnTo>
                    <a:pt x="696" y="576"/>
                  </a:lnTo>
                  <a:lnTo>
                    <a:pt x="696" y="576"/>
                  </a:lnTo>
                  <a:lnTo>
                    <a:pt x="698" y="576"/>
                  </a:lnTo>
                  <a:lnTo>
                    <a:pt x="698" y="576"/>
                  </a:lnTo>
                  <a:lnTo>
                    <a:pt x="698" y="576"/>
                  </a:lnTo>
                  <a:lnTo>
                    <a:pt x="698" y="574"/>
                  </a:lnTo>
                  <a:lnTo>
                    <a:pt x="698" y="574"/>
                  </a:lnTo>
                  <a:lnTo>
                    <a:pt x="696" y="574"/>
                  </a:lnTo>
                  <a:lnTo>
                    <a:pt x="696" y="574"/>
                  </a:lnTo>
                  <a:lnTo>
                    <a:pt x="694" y="572"/>
                  </a:lnTo>
                  <a:lnTo>
                    <a:pt x="694" y="572"/>
                  </a:lnTo>
                  <a:lnTo>
                    <a:pt x="694" y="572"/>
                  </a:lnTo>
                  <a:lnTo>
                    <a:pt x="696" y="572"/>
                  </a:lnTo>
                  <a:lnTo>
                    <a:pt x="698" y="572"/>
                  </a:lnTo>
                  <a:lnTo>
                    <a:pt x="698" y="572"/>
                  </a:lnTo>
                  <a:lnTo>
                    <a:pt x="700" y="572"/>
                  </a:lnTo>
                  <a:lnTo>
                    <a:pt x="700" y="572"/>
                  </a:lnTo>
                  <a:lnTo>
                    <a:pt x="700" y="572"/>
                  </a:lnTo>
                  <a:lnTo>
                    <a:pt x="703" y="572"/>
                  </a:lnTo>
                  <a:lnTo>
                    <a:pt x="703" y="572"/>
                  </a:lnTo>
                  <a:lnTo>
                    <a:pt x="703" y="570"/>
                  </a:lnTo>
                  <a:lnTo>
                    <a:pt x="703" y="570"/>
                  </a:lnTo>
                  <a:lnTo>
                    <a:pt x="703" y="570"/>
                  </a:lnTo>
                  <a:lnTo>
                    <a:pt x="703" y="572"/>
                  </a:lnTo>
                  <a:lnTo>
                    <a:pt x="703" y="572"/>
                  </a:lnTo>
                  <a:lnTo>
                    <a:pt x="705" y="572"/>
                  </a:lnTo>
                  <a:lnTo>
                    <a:pt x="705" y="572"/>
                  </a:lnTo>
                  <a:lnTo>
                    <a:pt x="709" y="572"/>
                  </a:lnTo>
                  <a:lnTo>
                    <a:pt x="709" y="570"/>
                  </a:lnTo>
                  <a:lnTo>
                    <a:pt x="709" y="570"/>
                  </a:lnTo>
                  <a:lnTo>
                    <a:pt x="709" y="570"/>
                  </a:lnTo>
                  <a:lnTo>
                    <a:pt x="709" y="570"/>
                  </a:lnTo>
                  <a:lnTo>
                    <a:pt x="709" y="572"/>
                  </a:lnTo>
                  <a:lnTo>
                    <a:pt x="711" y="572"/>
                  </a:lnTo>
                  <a:lnTo>
                    <a:pt x="713" y="572"/>
                  </a:lnTo>
                  <a:lnTo>
                    <a:pt x="713" y="572"/>
                  </a:lnTo>
                  <a:lnTo>
                    <a:pt x="713" y="572"/>
                  </a:lnTo>
                  <a:lnTo>
                    <a:pt x="713" y="570"/>
                  </a:lnTo>
                  <a:lnTo>
                    <a:pt x="713" y="570"/>
                  </a:lnTo>
                  <a:lnTo>
                    <a:pt x="713" y="570"/>
                  </a:lnTo>
                  <a:lnTo>
                    <a:pt x="713" y="570"/>
                  </a:lnTo>
                  <a:lnTo>
                    <a:pt x="713" y="570"/>
                  </a:lnTo>
                  <a:lnTo>
                    <a:pt x="713" y="570"/>
                  </a:lnTo>
                  <a:lnTo>
                    <a:pt x="713" y="570"/>
                  </a:lnTo>
                  <a:lnTo>
                    <a:pt x="713" y="568"/>
                  </a:lnTo>
                  <a:lnTo>
                    <a:pt x="715" y="568"/>
                  </a:lnTo>
                  <a:lnTo>
                    <a:pt x="715" y="568"/>
                  </a:lnTo>
                  <a:lnTo>
                    <a:pt x="715" y="568"/>
                  </a:lnTo>
                  <a:lnTo>
                    <a:pt x="713" y="568"/>
                  </a:lnTo>
                  <a:lnTo>
                    <a:pt x="713" y="568"/>
                  </a:lnTo>
                  <a:lnTo>
                    <a:pt x="713" y="568"/>
                  </a:lnTo>
                  <a:lnTo>
                    <a:pt x="713" y="568"/>
                  </a:lnTo>
                  <a:lnTo>
                    <a:pt x="713" y="568"/>
                  </a:lnTo>
                  <a:lnTo>
                    <a:pt x="713" y="566"/>
                  </a:lnTo>
                  <a:lnTo>
                    <a:pt x="713" y="566"/>
                  </a:lnTo>
                  <a:lnTo>
                    <a:pt x="713" y="566"/>
                  </a:lnTo>
                  <a:lnTo>
                    <a:pt x="713" y="566"/>
                  </a:lnTo>
                  <a:lnTo>
                    <a:pt x="713" y="566"/>
                  </a:lnTo>
                  <a:lnTo>
                    <a:pt x="711" y="564"/>
                  </a:lnTo>
                  <a:lnTo>
                    <a:pt x="711" y="564"/>
                  </a:lnTo>
                  <a:lnTo>
                    <a:pt x="711" y="564"/>
                  </a:lnTo>
                  <a:lnTo>
                    <a:pt x="711" y="564"/>
                  </a:lnTo>
                  <a:lnTo>
                    <a:pt x="711" y="562"/>
                  </a:lnTo>
                  <a:lnTo>
                    <a:pt x="713" y="562"/>
                  </a:lnTo>
                  <a:lnTo>
                    <a:pt x="713" y="559"/>
                  </a:lnTo>
                  <a:lnTo>
                    <a:pt x="713" y="559"/>
                  </a:lnTo>
                  <a:lnTo>
                    <a:pt x="713" y="559"/>
                  </a:lnTo>
                  <a:lnTo>
                    <a:pt x="713" y="559"/>
                  </a:lnTo>
                  <a:lnTo>
                    <a:pt x="713" y="559"/>
                  </a:lnTo>
                  <a:lnTo>
                    <a:pt x="713" y="559"/>
                  </a:lnTo>
                  <a:lnTo>
                    <a:pt x="713" y="559"/>
                  </a:lnTo>
                  <a:lnTo>
                    <a:pt x="713" y="559"/>
                  </a:lnTo>
                  <a:lnTo>
                    <a:pt x="713" y="557"/>
                  </a:lnTo>
                  <a:lnTo>
                    <a:pt x="713" y="557"/>
                  </a:lnTo>
                  <a:lnTo>
                    <a:pt x="711" y="557"/>
                  </a:lnTo>
                  <a:lnTo>
                    <a:pt x="711" y="557"/>
                  </a:lnTo>
                  <a:lnTo>
                    <a:pt x="711" y="557"/>
                  </a:lnTo>
                  <a:lnTo>
                    <a:pt x="711" y="557"/>
                  </a:lnTo>
                  <a:lnTo>
                    <a:pt x="713" y="555"/>
                  </a:lnTo>
                  <a:lnTo>
                    <a:pt x="713" y="555"/>
                  </a:lnTo>
                  <a:lnTo>
                    <a:pt x="713" y="553"/>
                  </a:lnTo>
                  <a:lnTo>
                    <a:pt x="713" y="553"/>
                  </a:lnTo>
                  <a:lnTo>
                    <a:pt x="713" y="553"/>
                  </a:lnTo>
                  <a:lnTo>
                    <a:pt x="713" y="553"/>
                  </a:lnTo>
                  <a:lnTo>
                    <a:pt x="713" y="551"/>
                  </a:lnTo>
                  <a:lnTo>
                    <a:pt x="713" y="551"/>
                  </a:lnTo>
                  <a:lnTo>
                    <a:pt x="713" y="551"/>
                  </a:lnTo>
                  <a:lnTo>
                    <a:pt x="713" y="551"/>
                  </a:lnTo>
                  <a:lnTo>
                    <a:pt x="713" y="551"/>
                  </a:lnTo>
                  <a:lnTo>
                    <a:pt x="713" y="551"/>
                  </a:lnTo>
                  <a:lnTo>
                    <a:pt x="713" y="549"/>
                  </a:lnTo>
                  <a:lnTo>
                    <a:pt x="713" y="549"/>
                  </a:lnTo>
                  <a:lnTo>
                    <a:pt x="713" y="549"/>
                  </a:lnTo>
                  <a:lnTo>
                    <a:pt x="713" y="549"/>
                  </a:lnTo>
                  <a:lnTo>
                    <a:pt x="711" y="549"/>
                  </a:lnTo>
                  <a:lnTo>
                    <a:pt x="711" y="549"/>
                  </a:lnTo>
                  <a:lnTo>
                    <a:pt x="711" y="549"/>
                  </a:lnTo>
                  <a:lnTo>
                    <a:pt x="711" y="547"/>
                  </a:lnTo>
                  <a:lnTo>
                    <a:pt x="709" y="547"/>
                  </a:lnTo>
                  <a:lnTo>
                    <a:pt x="709" y="547"/>
                  </a:lnTo>
                  <a:lnTo>
                    <a:pt x="709" y="549"/>
                  </a:lnTo>
                  <a:lnTo>
                    <a:pt x="707" y="549"/>
                  </a:lnTo>
                  <a:lnTo>
                    <a:pt x="705" y="547"/>
                  </a:lnTo>
                  <a:lnTo>
                    <a:pt x="705" y="547"/>
                  </a:lnTo>
                  <a:lnTo>
                    <a:pt x="705" y="547"/>
                  </a:lnTo>
                  <a:lnTo>
                    <a:pt x="705" y="547"/>
                  </a:lnTo>
                  <a:lnTo>
                    <a:pt x="705" y="547"/>
                  </a:lnTo>
                  <a:lnTo>
                    <a:pt x="705" y="547"/>
                  </a:lnTo>
                  <a:lnTo>
                    <a:pt x="705" y="545"/>
                  </a:lnTo>
                  <a:lnTo>
                    <a:pt x="705" y="545"/>
                  </a:lnTo>
                  <a:lnTo>
                    <a:pt x="705" y="545"/>
                  </a:lnTo>
                  <a:lnTo>
                    <a:pt x="705" y="543"/>
                  </a:lnTo>
                  <a:lnTo>
                    <a:pt x="705" y="543"/>
                  </a:lnTo>
                  <a:lnTo>
                    <a:pt x="705" y="543"/>
                  </a:lnTo>
                  <a:lnTo>
                    <a:pt x="703" y="543"/>
                  </a:lnTo>
                  <a:lnTo>
                    <a:pt x="703" y="541"/>
                  </a:lnTo>
                  <a:lnTo>
                    <a:pt x="703" y="543"/>
                  </a:lnTo>
                  <a:lnTo>
                    <a:pt x="703" y="543"/>
                  </a:lnTo>
                  <a:lnTo>
                    <a:pt x="703" y="545"/>
                  </a:lnTo>
                  <a:lnTo>
                    <a:pt x="703" y="545"/>
                  </a:lnTo>
                  <a:lnTo>
                    <a:pt x="703" y="545"/>
                  </a:lnTo>
                  <a:lnTo>
                    <a:pt x="703" y="545"/>
                  </a:lnTo>
                  <a:lnTo>
                    <a:pt x="703" y="543"/>
                  </a:lnTo>
                  <a:lnTo>
                    <a:pt x="698" y="543"/>
                  </a:lnTo>
                  <a:lnTo>
                    <a:pt x="696" y="545"/>
                  </a:lnTo>
                  <a:lnTo>
                    <a:pt x="696" y="545"/>
                  </a:lnTo>
                  <a:lnTo>
                    <a:pt x="696" y="545"/>
                  </a:lnTo>
                  <a:lnTo>
                    <a:pt x="696" y="545"/>
                  </a:lnTo>
                  <a:lnTo>
                    <a:pt x="696" y="545"/>
                  </a:lnTo>
                  <a:lnTo>
                    <a:pt x="696" y="543"/>
                  </a:lnTo>
                  <a:lnTo>
                    <a:pt x="694" y="543"/>
                  </a:lnTo>
                  <a:lnTo>
                    <a:pt x="692" y="543"/>
                  </a:lnTo>
                  <a:lnTo>
                    <a:pt x="692" y="545"/>
                  </a:lnTo>
                  <a:lnTo>
                    <a:pt x="692" y="545"/>
                  </a:lnTo>
                  <a:lnTo>
                    <a:pt x="690" y="545"/>
                  </a:lnTo>
                  <a:lnTo>
                    <a:pt x="690" y="545"/>
                  </a:lnTo>
                  <a:lnTo>
                    <a:pt x="690" y="545"/>
                  </a:lnTo>
                  <a:lnTo>
                    <a:pt x="688" y="545"/>
                  </a:lnTo>
                  <a:lnTo>
                    <a:pt x="688" y="545"/>
                  </a:lnTo>
                  <a:lnTo>
                    <a:pt x="686" y="545"/>
                  </a:lnTo>
                  <a:lnTo>
                    <a:pt x="686" y="547"/>
                  </a:lnTo>
                  <a:lnTo>
                    <a:pt x="686" y="547"/>
                  </a:lnTo>
                  <a:lnTo>
                    <a:pt x="684" y="547"/>
                  </a:lnTo>
                  <a:lnTo>
                    <a:pt x="684" y="547"/>
                  </a:lnTo>
                  <a:lnTo>
                    <a:pt x="684" y="547"/>
                  </a:lnTo>
                  <a:lnTo>
                    <a:pt x="684" y="547"/>
                  </a:lnTo>
                  <a:lnTo>
                    <a:pt x="684" y="549"/>
                  </a:lnTo>
                  <a:lnTo>
                    <a:pt x="682" y="549"/>
                  </a:lnTo>
                  <a:lnTo>
                    <a:pt x="676" y="547"/>
                  </a:lnTo>
                  <a:lnTo>
                    <a:pt x="674" y="547"/>
                  </a:lnTo>
                  <a:lnTo>
                    <a:pt x="674" y="547"/>
                  </a:lnTo>
                  <a:lnTo>
                    <a:pt x="672" y="547"/>
                  </a:lnTo>
                  <a:lnTo>
                    <a:pt x="672" y="547"/>
                  </a:lnTo>
                  <a:lnTo>
                    <a:pt x="672" y="547"/>
                  </a:lnTo>
                  <a:lnTo>
                    <a:pt x="672" y="547"/>
                  </a:lnTo>
                  <a:lnTo>
                    <a:pt x="672" y="547"/>
                  </a:lnTo>
                  <a:lnTo>
                    <a:pt x="672" y="547"/>
                  </a:lnTo>
                  <a:lnTo>
                    <a:pt x="670" y="547"/>
                  </a:lnTo>
                  <a:lnTo>
                    <a:pt x="668" y="547"/>
                  </a:lnTo>
                  <a:lnTo>
                    <a:pt x="668" y="547"/>
                  </a:lnTo>
                  <a:lnTo>
                    <a:pt x="668" y="547"/>
                  </a:lnTo>
                  <a:lnTo>
                    <a:pt x="670" y="551"/>
                  </a:lnTo>
                  <a:lnTo>
                    <a:pt x="670" y="551"/>
                  </a:lnTo>
                  <a:lnTo>
                    <a:pt x="670" y="551"/>
                  </a:lnTo>
                  <a:lnTo>
                    <a:pt x="670" y="553"/>
                  </a:lnTo>
                  <a:lnTo>
                    <a:pt x="670" y="553"/>
                  </a:lnTo>
                  <a:lnTo>
                    <a:pt x="670" y="553"/>
                  </a:lnTo>
                  <a:lnTo>
                    <a:pt x="670" y="555"/>
                  </a:lnTo>
                  <a:lnTo>
                    <a:pt x="670" y="555"/>
                  </a:lnTo>
                  <a:lnTo>
                    <a:pt x="672" y="555"/>
                  </a:lnTo>
                  <a:lnTo>
                    <a:pt x="672" y="553"/>
                  </a:lnTo>
                  <a:lnTo>
                    <a:pt x="672" y="553"/>
                  </a:lnTo>
                  <a:lnTo>
                    <a:pt x="672" y="555"/>
                  </a:lnTo>
                  <a:lnTo>
                    <a:pt x="672" y="557"/>
                  </a:lnTo>
                  <a:lnTo>
                    <a:pt x="672" y="557"/>
                  </a:lnTo>
                  <a:lnTo>
                    <a:pt x="674" y="557"/>
                  </a:lnTo>
                  <a:lnTo>
                    <a:pt x="674" y="559"/>
                  </a:lnTo>
                  <a:lnTo>
                    <a:pt x="674" y="559"/>
                  </a:lnTo>
                  <a:lnTo>
                    <a:pt x="674" y="559"/>
                  </a:lnTo>
                  <a:lnTo>
                    <a:pt x="676" y="559"/>
                  </a:lnTo>
                  <a:lnTo>
                    <a:pt x="676" y="559"/>
                  </a:lnTo>
                  <a:lnTo>
                    <a:pt x="676" y="559"/>
                  </a:lnTo>
                  <a:lnTo>
                    <a:pt x="676" y="559"/>
                  </a:lnTo>
                  <a:lnTo>
                    <a:pt x="676" y="559"/>
                  </a:lnTo>
                  <a:lnTo>
                    <a:pt x="676" y="559"/>
                  </a:lnTo>
                  <a:lnTo>
                    <a:pt x="676" y="559"/>
                  </a:lnTo>
                  <a:lnTo>
                    <a:pt x="676" y="559"/>
                  </a:lnTo>
                  <a:lnTo>
                    <a:pt x="676" y="559"/>
                  </a:lnTo>
                  <a:lnTo>
                    <a:pt x="676" y="559"/>
                  </a:lnTo>
                  <a:lnTo>
                    <a:pt x="678" y="559"/>
                  </a:lnTo>
                  <a:lnTo>
                    <a:pt x="678" y="559"/>
                  </a:lnTo>
                  <a:lnTo>
                    <a:pt x="678" y="559"/>
                  </a:lnTo>
                  <a:lnTo>
                    <a:pt x="676" y="559"/>
                  </a:lnTo>
                  <a:lnTo>
                    <a:pt x="682" y="566"/>
                  </a:lnTo>
                  <a:lnTo>
                    <a:pt x="682" y="566"/>
                  </a:lnTo>
                  <a:lnTo>
                    <a:pt x="684" y="568"/>
                  </a:lnTo>
                  <a:close/>
                  <a:moveTo>
                    <a:pt x="655" y="867"/>
                  </a:moveTo>
                  <a:lnTo>
                    <a:pt x="653" y="867"/>
                  </a:lnTo>
                  <a:lnTo>
                    <a:pt x="653" y="867"/>
                  </a:lnTo>
                  <a:lnTo>
                    <a:pt x="653" y="867"/>
                  </a:lnTo>
                  <a:lnTo>
                    <a:pt x="653" y="867"/>
                  </a:lnTo>
                  <a:lnTo>
                    <a:pt x="655" y="867"/>
                  </a:lnTo>
                  <a:lnTo>
                    <a:pt x="655" y="867"/>
                  </a:lnTo>
                  <a:lnTo>
                    <a:pt x="655" y="865"/>
                  </a:lnTo>
                  <a:lnTo>
                    <a:pt x="653" y="865"/>
                  </a:lnTo>
                  <a:lnTo>
                    <a:pt x="653" y="865"/>
                  </a:lnTo>
                  <a:lnTo>
                    <a:pt x="653" y="865"/>
                  </a:lnTo>
                  <a:lnTo>
                    <a:pt x="653" y="865"/>
                  </a:lnTo>
                  <a:lnTo>
                    <a:pt x="651" y="865"/>
                  </a:lnTo>
                  <a:lnTo>
                    <a:pt x="651" y="863"/>
                  </a:lnTo>
                  <a:lnTo>
                    <a:pt x="651" y="863"/>
                  </a:lnTo>
                  <a:lnTo>
                    <a:pt x="651" y="863"/>
                  </a:lnTo>
                  <a:lnTo>
                    <a:pt x="651" y="863"/>
                  </a:lnTo>
                  <a:lnTo>
                    <a:pt x="651" y="863"/>
                  </a:lnTo>
                  <a:lnTo>
                    <a:pt x="651" y="861"/>
                  </a:lnTo>
                  <a:lnTo>
                    <a:pt x="649" y="861"/>
                  </a:lnTo>
                  <a:lnTo>
                    <a:pt x="649" y="861"/>
                  </a:lnTo>
                  <a:lnTo>
                    <a:pt x="647" y="863"/>
                  </a:lnTo>
                  <a:lnTo>
                    <a:pt x="645" y="863"/>
                  </a:lnTo>
                  <a:lnTo>
                    <a:pt x="645" y="863"/>
                  </a:lnTo>
                  <a:lnTo>
                    <a:pt x="645" y="863"/>
                  </a:lnTo>
                  <a:lnTo>
                    <a:pt x="645" y="865"/>
                  </a:lnTo>
                  <a:lnTo>
                    <a:pt x="645" y="865"/>
                  </a:lnTo>
                  <a:lnTo>
                    <a:pt x="645" y="865"/>
                  </a:lnTo>
                  <a:lnTo>
                    <a:pt x="643" y="865"/>
                  </a:lnTo>
                  <a:lnTo>
                    <a:pt x="645" y="867"/>
                  </a:lnTo>
                  <a:lnTo>
                    <a:pt x="645" y="869"/>
                  </a:lnTo>
                  <a:lnTo>
                    <a:pt x="645" y="869"/>
                  </a:lnTo>
                  <a:lnTo>
                    <a:pt x="645" y="871"/>
                  </a:lnTo>
                  <a:lnTo>
                    <a:pt x="647" y="871"/>
                  </a:lnTo>
                  <a:lnTo>
                    <a:pt x="647" y="869"/>
                  </a:lnTo>
                  <a:lnTo>
                    <a:pt x="647" y="869"/>
                  </a:lnTo>
                  <a:lnTo>
                    <a:pt x="647" y="869"/>
                  </a:lnTo>
                  <a:lnTo>
                    <a:pt x="649" y="869"/>
                  </a:lnTo>
                  <a:lnTo>
                    <a:pt x="649" y="869"/>
                  </a:lnTo>
                  <a:lnTo>
                    <a:pt x="649" y="869"/>
                  </a:lnTo>
                  <a:lnTo>
                    <a:pt x="649" y="871"/>
                  </a:lnTo>
                  <a:lnTo>
                    <a:pt x="649" y="871"/>
                  </a:lnTo>
                  <a:lnTo>
                    <a:pt x="649" y="871"/>
                  </a:lnTo>
                  <a:lnTo>
                    <a:pt x="651" y="871"/>
                  </a:lnTo>
                  <a:lnTo>
                    <a:pt x="651" y="869"/>
                  </a:lnTo>
                  <a:lnTo>
                    <a:pt x="651" y="869"/>
                  </a:lnTo>
                  <a:lnTo>
                    <a:pt x="653" y="869"/>
                  </a:lnTo>
                  <a:lnTo>
                    <a:pt x="653" y="871"/>
                  </a:lnTo>
                  <a:lnTo>
                    <a:pt x="653" y="871"/>
                  </a:lnTo>
                  <a:lnTo>
                    <a:pt x="653" y="871"/>
                  </a:lnTo>
                  <a:lnTo>
                    <a:pt x="657" y="869"/>
                  </a:lnTo>
                  <a:lnTo>
                    <a:pt x="657" y="869"/>
                  </a:lnTo>
                  <a:lnTo>
                    <a:pt x="657" y="869"/>
                  </a:lnTo>
                  <a:lnTo>
                    <a:pt x="657" y="869"/>
                  </a:lnTo>
                  <a:lnTo>
                    <a:pt x="657" y="867"/>
                  </a:lnTo>
                  <a:lnTo>
                    <a:pt x="655" y="867"/>
                  </a:lnTo>
                  <a:close/>
                  <a:moveTo>
                    <a:pt x="680" y="871"/>
                  </a:moveTo>
                  <a:lnTo>
                    <a:pt x="680" y="871"/>
                  </a:lnTo>
                  <a:lnTo>
                    <a:pt x="680" y="871"/>
                  </a:lnTo>
                  <a:lnTo>
                    <a:pt x="678" y="871"/>
                  </a:lnTo>
                  <a:lnTo>
                    <a:pt x="678" y="871"/>
                  </a:lnTo>
                  <a:lnTo>
                    <a:pt x="678" y="871"/>
                  </a:lnTo>
                  <a:lnTo>
                    <a:pt x="676" y="871"/>
                  </a:lnTo>
                  <a:lnTo>
                    <a:pt x="676" y="873"/>
                  </a:lnTo>
                  <a:lnTo>
                    <a:pt x="676" y="871"/>
                  </a:lnTo>
                  <a:lnTo>
                    <a:pt x="676" y="871"/>
                  </a:lnTo>
                  <a:lnTo>
                    <a:pt x="676" y="871"/>
                  </a:lnTo>
                  <a:lnTo>
                    <a:pt x="676" y="871"/>
                  </a:lnTo>
                  <a:lnTo>
                    <a:pt x="676" y="871"/>
                  </a:lnTo>
                  <a:lnTo>
                    <a:pt x="674" y="871"/>
                  </a:lnTo>
                  <a:lnTo>
                    <a:pt x="674" y="871"/>
                  </a:lnTo>
                  <a:lnTo>
                    <a:pt x="674" y="871"/>
                  </a:lnTo>
                  <a:lnTo>
                    <a:pt x="674" y="871"/>
                  </a:lnTo>
                  <a:lnTo>
                    <a:pt x="674" y="871"/>
                  </a:lnTo>
                  <a:lnTo>
                    <a:pt x="674" y="871"/>
                  </a:lnTo>
                  <a:lnTo>
                    <a:pt x="674" y="871"/>
                  </a:lnTo>
                  <a:lnTo>
                    <a:pt x="674" y="871"/>
                  </a:lnTo>
                  <a:lnTo>
                    <a:pt x="672" y="871"/>
                  </a:lnTo>
                  <a:lnTo>
                    <a:pt x="672" y="871"/>
                  </a:lnTo>
                  <a:lnTo>
                    <a:pt x="672" y="871"/>
                  </a:lnTo>
                  <a:lnTo>
                    <a:pt x="672" y="871"/>
                  </a:lnTo>
                  <a:lnTo>
                    <a:pt x="672" y="871"/>
                  </a:lnTo>
                  <a:lnTo>
                    <a:pt x="672" y="871"/>
                  </a:lnTo>
                  <a:lnTo>
                    <a:pt x="672" y="871"/>
                  </a:lnTo>
                  <a:lnTo>
                    <a:pt x="670" y="873"/>
                  </a:lnTo>
                  <a:lnTo>
                    <a:pt x="672" y="873"/>
                  </a:lnTo>
                  <a:lnTo>
                    <a:pt x="674" y="873"/>
                  </a:lnTo>
                  <a:lnTo>
                    <a:pt x="674" y="873"/>
                  </a:lnTo>
                  <a:lnTo>
                    <a:pt x="674" y="873"/>
                  </a:lnTo>
                  <a:lnTo>
                    <a:pt x="674" y="873"/>
                  </a:lnTo>
                  <a:lnTo>
                    <a:pt x="674" y="873"/>
                  </a:lnTo>
                  <a:lnTo>
                    <a:pt x="674" y="873"/>
                  </a:lnTo>
                  <a:lnTo>
                    <a:pt x="674" y="873"/>
                  </a:lnTo>
                  <a:lnTo>
                    <a:pt x="676" y="873"/>
                  </a:lnTo>
                  <a:lnTo>
                    <a:pt x="678" y="875"/>
                  </a:lnTo>
                  <a:lnTo>
                    <a:pt x="678" y="873"/>
                  </a:lnTo>
                  <a:lnTo>
                    <a:pt x="678" y="873"/>
                  </a:lnTo>
                  <a:lnTo>
                    <a:pt x="680" y="873"/>
                  </a:lnTo>
                  <a:lnTo>
                    <a:pt x="680" y="873"/>
                  </a:lnTo>
                  <a:lnTo>
                    <a:pt x="680" y="871"/>
                  </a:lnTo>
                  <a:lnTo>
                    <a:pt x="680" y="871"/>
                  </a:lnTo>
                  <a:close/>
                  <a:moveTo>
                    <a:pt x="662" y="873"/>
                  </a:moveTo>
                  <a:lnTo>
                    <a:pt x="662" y="873"/>
                  </a:lnTo>
                  <a:lnTo>
                    <a:pt x="662" y="871"/>
                  </a:lnTo>
                  <a:lnTo>
                    <a:pt x="662" y="871"/>
                  </a:lnTo>
                  <a:lnTo>
                    <a:pt x="662" y="871"/>
                  </a:lnTo>
                  <a:lnTo>
                    <a:pt x="660" y="873"/>
                  </a:lnTo>
                  <a:lnTo>
                    <a:pt x="660" y="873"/>
                  </a:lnTo>
                  <a:lnTo>
                    <a:pt x="660" y="873"/>
                  </a:lnTo>
                  <a:lnTo>
                    <a:pt x="660" y="873"/>
                  </a:lnTo>
                  <a:lnTo>
                    <a:pt x="662" y="873"/>
                  </a:lnTo>
                  <a:lnTo>
                    <a:pt x="662" y="873"/>
                  </a:lnTo>
                  <a:lnTo>
                    <a:pt x="662" y="873"/>
                  </a:lnTo>
                  <a:lnTo>
                    <a:pt x="662" y="873"/>
                  </a:lnTo>
                  <a:lnTo>
                    <a:pt x="662" y="873"/>
                  </a:lnTo>
                  <a:close/>
                  <a:moveTo>
                    <a:pt x="662" y="869"/>
                  </a:moveTo>
                  <a:lnTo>
                    <a:pt x="662" y="869"/>
                  </a:lnTo>
                  <a:lnTo>
                    <a:pt x="662" y="867"/>
                  </a:lnTo>
                  <a:lnTo>
                    <a:pt x="662" y="867"/>
                  </a:lnTo>
                  <a:lnTo>
                    <a:pt x="662" y="867"/>
                  </a:lnTo>
                  <a:lnTo>
                    <a:pt x="662" y="867"/>
                  </a:lnTo>
                  <a:lnTo>
                    <a:pt x="664" y="867"/>
                  </a:lnTo>
                  <a:lnTo>
                    <a:pt x="664" y="867"/>
                  </a:lnTo>
                  <a:lnTo>
                    <a:pt x="664" y="867"/>
                  </a:lnTo>
                  <a:lnTo>
                    <a:pt x="664" y="867"/>
                  </a:lnTo>
                  <a:lnTo>
                    <a:pt x="664" y="867"/>
                  </a:lnTo>
                  <a:lnTo>
                    <a:pt x="664" y="867"/>
                  </a:lnTo>
                  <a:lnTo>
                    <a:pt x="666" y="867"/>
                  </a:lnTo>
                  <a:lnTo>
                    <a:pt x="666" y="867"/>
                  </a:lnTo>
                  <a:lnTo>
                    <a:pt x="666" y="865"/>
                  </a:lnTo>
                  <a:lnTo>
                    <a:pt x="666" y="865"/>
                  </a:lnTo>
                  <a:lnTo>
                    <a:pt x="662" y="863"/>
                  </a:lnTo>
                  <a:lnTo>
                    <a:pt x="662" y="863"/>
                  </a:lnTo>
                  <a:lnTo>
                    <a:pt x="664" y="863"/>
                  </a:lnTo>
                  <a:lnTo>
                    <a:pt x="662" y="863"/>
                  </a:lnTo>
                  <a:lnTo>
                    <a:pt x="662" y="863"/>
                  </a:lnTo>
                  <a:lnTo>
                    <a:pt x="662" y="863"/>
                  </a:lnTo>
                  <a:lnTo>
                    <a:pt x="662" y="863"/>
                  </a:lnTo>
                  <a:lnTo>
                    <a:pt x="664" y="861"/>
                  </a:lnTo>
                  <a:lnTo>
                    <a:pt x="664" y="861"/>
                  </a:lnTo>
                  <a:lnTo>
                    <a:pt x="664" y="861"/>
                  </a:lnTo>
                  <a:lnTo>
                    <a:pt x="664" y="861"/>
                  </a:lnTo>
                  <a:lnTo>
                    <a:pt x="664" y="861"/>
                  </a:lnTo>
                  <a:lnTo>
                    <a:pt x="664" y="861"/>
                  </a:lnTo>
                  <a:lnTo>
                    <a:pt x="664" y="861"/>
                  </a:lnTo>
                  <a:lnTo>
                    <a:pt x="664" y="861"/>
                  </a:lnTo>
                  <a:lnTo>
                    <a:pt x="662" y="861"/>
                  </a:lnTo>
                  <a:lnTo>
                    <a:pt x="662" y="861"/>
                  </a:lnTo>
                  <a:lnTo>
                    <a:pt x="662" y="861"/>
                  </a:lnTo>
                  <a:lnTo>
                    <a:pt x="662" y="861"/>
                  </a:lnTo>
                  <a:lnTo>
                    <a:pt x="662" y="861"/>
                  </a:lnTo>
                  <a:lnTo>
                    <a:pt x="662" y="861"/>
                  </a:lnTo>
                  <a:lnTo>
                    <a:pt x="662" y="861"/>
                  </a:lnTo>
                  <a:lnTo>
                    <a:pt x="662" y="861"/>
                  </a:lnTo>
                  <a:lnTo>
                    <a:pt x="662" y="859"/>
                  </a:lnTo>
                  <a:lnTo>
                    <a:pt x="662" y="859"/>
                  </a:lnTo>
                  <a:lnTo>
                    <a:pt x="660" y="859"/>
                  </a:lnTo>
                  <a:lnTo>
                    <a:pt x="660" y="861"/>
                  </a:lnTo>
                  <a:lnTo>
                    <a:pt x="660" y="861"/>
                  </a:lnTo>
                  <a:lnTo>
                    <a:pt x="660" y="861"/>
                  </a:lnTo>
                  <a:lnTo>
                    <a:pt x="660" y="861"/>
                  </a:lnTo>
                  <a:lnTo>
                    <a:pt x="660" y="861"/>
                  </a:lnTo>
                  <a:lnTo>
                    <a:pt x="660" y="861"/>
                  </a:lnTo>
                  <a:lnTo>
                    <a:pt x="657" y="863"/>
                  </a:lnTo>
                  <a:lnTo>
                    <a:pt x="662" y="863"/>
                  </a:lnTo>
                  <a:lnTo>
                    <a:pt x="662" y="863"/>
                  </a:lnTo>
                  <a:lnTo>
                    <a:pt x="662" y="863"/>
                  </a:lnTo>
                  <a:lnTo>
                    <a:pt x="660" y="865"/>
                  </a:lnTo>
                  <a:lnTo>
                    <a:pt x="660" y="865"/>
                  </a:lnTo>
                  <a:lnTo>
                    <a:pt x="660" y="865"/>
                  </a:lnTo>
                  <a:lnTo>
                    <a:pt x="660" y="867"/>
                  </a:lnTo>
                  <a:lnTo>
                    <a:pt x="660" y="867"/>
                  </a:lnTo>
                  <a:lnTo>
                    <a:pt x="660" y="867"/>
                  </a:lnTo>
                  <a:lnTo>
                    <a:pt x="660" y="869"/>
                  </a:lnTo>
                  <a:lnTo>
                    <a:pt x="660" y="869"/>
                  </a:lnTo>
                  <a:lnTo>
                    <a:pt x="662" y="869"/>
                  </a:lnTo>
                  <a:close/>
                  <a:moveTo>
                    <a:pt x="670" y="873"/>
                  </a:moveTo>
                  <a:lnTo>
                    <a:pt x="670" y="871"/>
                  </a:lnTo>
                  <a:lnTo>
                    <a:pt x="666" y="871"/>
                  </a:lnTo>
                  <a:lnTo>
                    <a:pt x="664" y="871"/>
                  </a:lnTo>
                  <a:lnTo>
                    <a:pt x="664" y="871"/>
                  </a:lnTo>
                  <a:lnTo>
                    <a:pt x="666" y="871"/>
                  </a:lnTo>
                  <a:lnTo>
                    <a:pt x="666" y="873"/>
                  </a:lnTo>
                  <a:lnTo>
                    <a:pt x="668" y="873"/>
                  </a:lnTo>
                  <a:lnTo>
                    <a:pt x="668" y="873"/>
                  </a:lnTo>
                  <a:lnTo>
                    <a:pt x="668" y="873"/>
                  </a:lnTo>
                  <a:lnTo>
                    <a:pt x="668" y="875"/>
                  </a:lnTo>
                  <a:lnTo>
                    <a:pt x="668" y="873"/>
                  </a:lnTo>
                  <a:lnTo>
                    <a:pt x="668" y="873"/>
                  </a:lnTo>
                  <a:lnTo>
                    <a:pt x="670" y="873"/>
                  </a:lnTo>
                  <a:lnTo>
                    <a:pt x="670" y="873"/>
                  </a:lnTo>
                  <a:lnTo>
                    <a:pt x="670" y="873"/>
                  </a:lnTo>
                  <a:lnTo>
                    <a:pt x="670" y="873"/>
                  </a:lnTo>
                  <a:lnTo>
                    <a:pt x="670" y="873"/>
                  </a:lnTo>
                  <a:lnTo>
                    <a:pt x="670" y="873"/>
                  </a:lnTo>
                  <a:lnTo>
                    <a:pt x="670" y="873"/>
                  </a:lnTo>
                  <a:close/>
                  <a:moveTo>
                    <a:pt x="643" y="873"/>
                  </a:moveTo>
                  <a:lnTo>
                    <a:pt x="643" y="873"/>
                  </a:lnTo>
                  <a:lnTo>
                    <a:pt x="641" y="871"/>
                  </a:lnTo>
                  <a:lnTo>
                    <a:pt x="641" y="873"/>
                  </a:lnTo>
                  <a:lnTo>
                    <a:pt x="641" y="873"/>
                  </a:lnTo>
                  <a:lnTo>
                    <a:pt x="641" y="873"/>
                  </a:lnTo>
                  <a:lnTo>
                    <a:pt x="641" y="873"/>
                  </a:lnTo>
                  <a:lnTo>
                    <a:pt x="641" y="873"/>
                  </a:lnTo>
                  <a:lnTo>
                    <a:pt x="641" y="873"/>
                  </a:lnTo>
                  <a:lnTo>
                    <a:pt x="643" y="875"/>
                  </a:lnTo>
                  <a:lnTo>
                    <a:pt x="643" y="873"/>
                  </a:lnTo>
                  <a:lnTo>
                    <a:pt x="643" y="873"/>
                  </a:lnTo>
                  <a:lnTo>
                    <a:pt x="643" y="873"/>
                  </a:lnTo>
                  <a:lnTo>
                    <a:pt x="643" y="873"/>
                  </a:lnTo>
                  <a:close/>
                  <a:moveTo>
                    <a:pt x="627" y="367"/>
                  </a:moveTo>
                  <a:lnTo>
                    <a:pt x="633" y="371"/>
                  </a:lnTo>
                  <a:lnTo>
                    <a:pt x="633" y="375"/>
                  </a:lnTo>
                  <a:lnTo>
                    <a:pt x="635" y="377"/>
                  </a:lnTo>
                  <a:lnTo>
                    <a:pt x="633" y="373"/>
                  </a:lnTo>
                  <a:lnTo>
                    <a:pt x="633" y="371"/>
                  </a:lnTo>
                  <a:lnTo>
                    <a:pt x="627" y="367"/>
                  </a:lnTo>
                  <a:close/>
                  <a:moveTo>
                    <a:pt x="641" y="385"/>
                  </a:moveTo>
                  <a:lnTo>
                    <a:pt x="643" y="385"/>
                  </a:lnTo>
                  <a:lnTo>
                    <a:pt x="643" y="387"/>
                  </a:lnTo>
                  <a:lnTo>
                    <a:pt x="643" y="389"/>
                  </a:lnTo>
                  <a:lnTo>
                    <a:pt x="643" y="387"/>
                  </a:lnTo>
                  <a:lnTo>
                    <a:pt x="641" y="385"/>
                  </a:lnTo>
                  <a:close/>
                  <a:moveTo>
                    <a:pt x="602" y="359"/>
                  </a:moveTo>
                  <a:lnTo>
                    <a:pt x="604" y="361"/>
                  </a:lnTo>
                  <a:lnTo>
                    <a:pt x="604" y="363"/>
                  </a:lnTo>
                  <a:lnTo>
                    <a:pt x="604" y="363"/>
                  </a:lnTo>
                  <a:lnTo>
                    <a:pt x="606" y="363"/>
                  </a:lnTo>
                  <a:lnTo>
                    <a:pt x="606" y="365"/>
                  </a:lnTo>
                  <a:lnTo>
                    <a:pt x="606" y="365"/>
                  </a:lnTo>
                  <a:lnTo>
                    <a:pt x="606" y="365"/>
                  </a:lnTo>
                  <a:lnTo>
                    <a:pt x="608" y="365"/>
                  </a:lnTo>
                  <a:lnTo>
                    <a:pt x="608" y="365"/>
                  </a:lnTo>
                  <a:lnTo>
                    <a:pt x="608" y="365"/>
                  </a:lnTo>
                  <a:lnTo>
                    <a:pt x="608" y="365"/>
                  </a:lnTo>
                  <a:lnTo>
                    <a:pt x="610" y="367"/>
                  </a:lnTo>
                  <a:lnTo>
                    <a:pt x="610" y="367"/>
                  </a:lnTo>
                  <a:lnTo>
                    <a:pt x="612" y="367"/>
                  </a:lnTo>
                  <a:lnTo>
                    <a:pt x="612" y="365"/>
                  </a:lnTo>
                  <a:lnTo>
                    <a:pt x="612" y="365"/>
                  </a:lnTo>
                  <a:lnTo>
                    <a:pt x="614" y="365"/>
                  </a:lnTo>
                  <a:lnTo>
                    <a:pt x="614" y="365"/>
                  </a:lnTo>
                  <a:lnTo>
                    <a:pt x="614" y="365"/>
                  </a:lnTo>
                  <a:lnTo>
                    <a:pt x="614" y="365"/>
                  </a:lnTo>
                  <a:lnTo>
                    <a:pt x="617" y="365"/>
                  </a:lnTo>
                  <a:lnTo>
                    <a:pt x="619" y="363"/>
                  </a:lnTo>
                  <a:lnTo>
                    <a:pt x="619" y="363"/>
                  </a:lnTo>
                  <a:lnTo>
                    <a:pt x="619" y="363"/>
                  </a:lnTo>
                  <a:lnTo>
                    <a:pt x="621" y="363"/>
                  </a:lnTo>
                  <a:lnTo>
                    <a:pt x="621" y="363"/>
                  </a:lnTo>
                  <a:lnTo>
                    <a:pt x="621" y="363"/>
                  </a:lnTo>
                  <a:lnTo>
                    <a:pt x="621" y="363"/>
                  </a:lnTo>
                  <a:lnTo>
                    <a:pt x="625" y="363"/>
                  </a:lnTo>
                  <a:lnTo>
                    <a:pt x="625" y="363"/>
                  </a:lnTo>
                  <a:lnTo>
                    <a:pt x="625" y="363"/>
                  </a:lnTo>
                  <a:lnTo>
                    <a:pt x="625" y="365"/>
                  </a:lnTo>
                  <a:lnTo>
                    <a:pt x="627" y="365"/>
                  </a:lnTo>
                  <a:lnTo>
                    <a:pt x="627" y="365"/>
                  </a:lnTo>
                  <a:lnTo>
                    <a:pt x="627" y="365"/>
                  </a:lnTo>
                  <a:lnTo>
                    <a:pt x="629" y="367"/>
                  </a:lnTo>
                  <a:lnTo>
                    <a:pt x="629" y="367"/>
                  </a:lnTo>
                  <a:lnTo>
                    <a:pt x="629" y="367"/>
                  </a:lnTo>
                  <a:lnTo>
                    <a:pt x="629" y="367"/>
                  </a:lnTo>
                  <a:lnTo>
                    <a:pt x="629" y="367"/>
                  </a:lnTo>
                  <a:lnTo>
                    <a:pt x="631" y="367"/>
                  </a:lnTo>
                  <a:lnTo>
                    <a:pt x="633" y="371"/>
                  </a:lnTo>
                  <a:lnTo>
                    <a:pt x="633" y="371"/>
                  </a:lnTo>
                  <a:lnTo>
                    <a:pt x="635" y="373"/>
                  </a:lnTo>
                  <a:lnTo>
                    <a:pt x="637" y="375"/>
                  </a:lnTo>
                  <a:lnTo>
                    <a:pt x="637" y="375"/>
                  </a:lnTo>
                  <a:lnTo>
                    <a:pt x="637" y="375"/>
                  </a:lnTo>
                  <a:lnTo>
                    <a:pt x="637" y="375"/>
                  </a:lnTo>
                  <a:lnTo>
                    <a:pt x="637" y="377"/>
                  </a:lnTo>
                  <a:lnTo>
                    <a:pt x="637" y="377"/>
                  </a:lnTo>
                  <a:lnTo>
                    <a:pt x="637" y="377"/>
                  </a:lnTo>
                  <a:lnTo>
                    <a:pt x="637" y="379"/>
                  </a:lnTo>
                  <a:lnTo>
                    <a:pt x="637" y="379"/>
                  </a:lnTo>
                  <a:lnTo>
                    <a:pt x="637" y="379"/>
                  </a:lnTo>
                  <a:lnTo>
                    <a:pt x="635" y="379"/>
                  </a:lnTo>
                  <a:lnTo>
                    <a:pt x="635" y="379"/>
                  </a:lnTo>
                  <a:lnTo>
                    <a:pt x="635" y="379"/>
                  </a:lnTo>
                  <a:lnTo>
                    <a:pt x="635" y="379"/>
                  </a:lnTo>
                  <a:lnTo>
                    <a:pt x="637" y="381"/>
                  </a:lnTo>
                  <a:lnTo>
                    <a:pt x="637" y="381"/>
                  </a:lnTo>
                  <a:lnTo>
                    <a:pt x="637" y="381"/>
                  </a:lnTo>
                  <a:lnTo>
                    <a:pt x="639" y="381"/>
                  </a:lnTo>
                  <a:lnTo>
                    <a:pt x="639" y="379"/>
                  </a:lnTo>
                  <a:lnTo>
                    <a:pt x="639" y="381"/>
                  </a:lnTo>
                  <a:lnTo>
                    <a:pt x="639" y="381"/>
                  </a:lnTo>
                  <a:lnTo>
                    <a:pt x="639" y="381"/>
                  </a:lnTo>
                  <a:lnTo>
                    <a:pt x="639" y="381"/>
                  </a:lnTo>
                  <a:lnTo>
                    <a:pt x="639" y="381"/>
                  </a:lnTo>
                  <a:lnTo>
                    <a:pt x="639" y="381"/>
                  </a:lnTo>
                  <a:lnTo>
                    <a:pt x="639" y="381"/>
                  </a:lnTo>
                  <a:lnTo>
                    <a:pt x="641" y="383"/>
                  </a:lnTo>
                  <a:lnTo>
                    <a:pt x="641" y="383"/>
                  </a:lnTo>
                  <a:lnTo>
                    <a:pt x="641" y="383"/>
                  </a:lnTo>
                  <a:lnTo>
                    <a:pt x="643" y="385"/>
                  </a:lnTo>
                  <a:lnTo>
                    <a:pt x="645" y="385"/>
                  </a:lnTo>
                  <a:lnTo>
                    <a:pt x="645" y="387"/>
                  </a:lnTo>
                  <a:lnTo>
                    <a:pt x="645" y="389"/>
                  </a:lnTo>
                  <a:lnTo>
                    <a:pt x="645" y="389"/>
                  </a:lnTo>
                  <a:lnTo>
                    <a:pt x="645" y="389"/>
                  </a:lnTo>
                  <a:lnTo>
                    <a:pt x="645" y="389"/>
                  </a:lnTo>
                  <a:lnTo>
                    <a:pt x="645" y="391"/>
                  </a:lnTo>
                  <a:lnTo>
                    <a:pt x="645" y="391"/>
                  </a:lnTo>
                  <a:lnTo>
                    <a:pt x="645" y="391"/>
                  </a:lnTo>
                  <a:lnTo>
                    <a:pt x="645" y="391"/>
                  </a:lnTo>
                  <a:lnTo>
                    <a:pt x="645" y="391"/>
                  </a:lnTo>
                  <a:lnTo>
                    <a:pt x="645" y="393"/>
                  </a:lnTo>
                  <a:lnTo>
                    <a:pt x="645" y="393"/>
                  </a:lnTo>
                  <a:lnTo>
                    <a:pt x="643" y="393"/>
                  </a:lnTo>
                  <a:lnTo>
                    <a:pt x="645" y="393"/>
                  </a:lnTo>
                  <a:lnTo>
                    <a:pt x="645" y="396"/>
                  </a:lnTo>
                  <a:lnTo>
                    <a:pt x="645" y="396"/>
                  </a:lnTo>
                  <a:lnTo>
                    <a:pt x="645" y="396"/>
                  </a:lnTo>
                  <a:lnTo>
                    <a:pt x="647" y="396"/>
                  </a:lnTo>
                  <a:lnTo>
                    <a:pt x="647" y="393"/>
                  </a:lnTo>
                  <a:lnTo>
                    <a:pt x="647" y="393"/>
                  </a:lnTo>
                  <a:lnTo>
                    <a:pt x="649" y="393"/>
                  </a:lnTo>
                  <a:lnTo>
                    <a:pt x="649" y="393"/>
                  </a:lnTo>
                  <a:lnTo>
                    <a:pt x="649" y="393"/>
                  </a:lnTo>
                  <a:lnTo>
                    <a:pt x="649" y="391"/>
                  </a:lnTo>
                  <a:lnTo>
                    <a:pt x="649" y="391"/>
                  </a:lnTo>
                  <a:lnTo>
                    <a:pt x="649" y="391"/>
                  </a:lnTo>
                  <a:lnTo>
                    <a:pt x="649" y="389"/>
                  </a:lnTo>
                  <a:lnTo>
                    <a:pt x="649" y="389"/>
                  </a:lnTo>
                  <a:lnTo>
                    <a:pt x="651" y="389"/>
                  </a:lnTo>
                  <a:lnTo>
                    <a:pt x="651" y="389"/>
                  </a:lnTo>
                  <a:lnTo>
                    <a:pt x="653" y="389"/>
                  </a:lnTo>
                  <a:lnTo>
                    <a:pt x="653" y="387"/>
                  </a:lnTo>
                  <a:lnTo>
                    <a:pt x="653" y="387"/>
                  </a:lnTo>
                  <a:lnTo>
                    <a:pt x="653" y="387"/>
                  </a:lnTo>
                  <a:lnTo>
                    <a:pt x="653" y="387"/>
                  </a:lnTo>
                  <a:lnTo>
                    <a:pt x="655" y="385"/>
                  </a:lnTo>
                  <a:lnTo>
                    <a:pt x="657" y="385"/>
                  </a:lnTo>
                  <a:lnTo>
                    <a:pt x="662" y="385"/>
                  </a:lnTo>
                  <a:lnTo>
                    <a:pt x="660" y="385"/>
                  </a:lnTo>
                  <a:lnTo>
                    <a:pt x="660" y="385"/>
                  </a:lnTo>
                  <a:lnTo>
                    <a:pt x="657" y="385"/>
                  </a:lnTo>
                  <a:lnTo>
                    <a:pt x="657" y="385"/>
                  </a:lnTo>
                  <a:lnTo>
                    <a:pt x="655" y="387"/>
                  </a:lnTo>
                  <a:lnTo>
                    <a:pt x="657" y="385"/>
                  </a:lnTo>
                  <a:lnTo>
                    <a:pt x="664" y="387"/>
                  </a:lnTo>
                  <a:lnTo>
                    <a:pt x="664" y="387"/>
                  </a:lnTo>
                  <a:lnTo>
                    <a:pt x="664" y="387"/>
                  </a:lnTo>
                  <a:lnTo>
                    <a:pt x="664" y="387"/>
                  </a:lnTo>
                  <a:lnTo>
                    <a:pt x="668" y="389"/>
                  </a:lnTo>
                  <a:lnTo>
                    <a:pt x="668" y="389"/>
                  </a:lnTo>
                  <a:lnTo>
                    <a:pt x="670" y="387"/>
                  </a:lnTo>
                  <a:lnTo>
                    <a:pt x="670" y="385"/>
                  </a:lnTo>
                  <a:lnTo>
                    <a:pt x="672" y="385"/>
                  </a:lnTo>
                  <a:lnTo>
                    <a:pt x="670" y="383"/>
                  </a:lnTo>
                  <a:lnTo>
                    <a:pt x="672" y="383"/>
                  </a:lnTo>
                  <a:lnTo>
                    <a:pt x="672" y="383"/>
                  </a:lnTo>
                  <a:lnTo>
                    <a:pt x="672" y="383"/>
                  </a:lnTo>
                  <a:lnTo>
                    <a:pt x="672" y="381"/>
                  </a:lnTo>
                  <a:lnTo>
                    <a:pt x="666" y="379"/>
                  </a:lnTo>
                  <a:lnTo>
                    <a:pt x="666" y="379"/>
                  </a:lnTo>
                  <a:lnTo>
                    <a:pt x="666" y="379"/>
                  </a:lnTo>
                  <a:lnTo>
                    <a:pt x="664" y="379"/>
                  </a:lnTo>
                  <a:lnTo>
                    <a:pt x="662" y="377"/>
                  </a:lnTo>
                  <a:lnTo>
                    <a:pt x="662" y="377"/>
                  </a:lnTo>
                  <a:lnTo>
                    <a:pt x="662" y="379"/>
                  </a:lnTo>
                  <a:lnTo>
                    <a:pt x="664" y="379"/>
                  </a:lnTo>
                  <a:lnTo>
                    <a:pt x="664" y="379"/>
                  </a:lnTo>
                  <a:lnTo>
                    <a:pt x="664" y="381"/>
                  </a:lnTo>
                  <a:lnTo>
                    <a:pt x="662" y="381"/>
                  </a:lnTo>
                  <a:lnTo>
                    <a:pt x="662" y="381"/>
                  </a:lnTo>
                  <a:lnTo>
                    <a:pt x="660" y="379"/>
                  </a:lnTo>
                  <a:lnTo>
                    <a:pt x="660" y="377"/>
                  </a:lnTo>
                  <a:lnTo>
                    <a:pt x="660" y="377"/>
                  </a:lnTo>
                  <a:lnTo>
                    <a:pt x="657" y="377"/>
                  </a:lnTo>
                  <a:lnTo>
                    <a:pt x="655" y="375"/>
                  </a:lnTo>
                  <a:lnTo>
                    <a:pt x="655" y="375"/>
                  </a:lnTo>
                  <a:lnTo>
                    <a:pt x="655" y="377"/>
                  </a:lnTo>
                  <a:lnTo>
                    <a:pt x="655" y="377"/>
                  </a:lnTo>
                  <a:lnTo>
                    <a:pt x="655" y="377"/>
                  </a:lnTo>
                  <a:lnTo>
                    <a:pt x="653" y="375"/>
                  </a:lnTo>
                  <a:lnTo>
                    <a:pt x="653" y="375"/>
                  </a:lnTo>
                  <a:lnTo>
                    <a:pt x="653" y="375"/>
                  </a:lnTo>
                  <a:lnTo>
                    <a:pt x="653" y="373"/>
                  </a:lnTo>
                  <a:lnTo>
                    <a:pt x="653" y="371"/>
                  </a:lnTo>
                  <a:lnTo>
                    <a:pt x="651" y="371"/>
                  </a:lnTo>
                  <a:lnTo>
                    <a:pt x="649" y="371"/>
                  </a:lnTo>
                  <a:lnTo>
                    <a:pt x="647" y="369"/>
                  </a:lnTo>
                  <a:lnTo>
                    <a:pt x="649" y="369"/>
                  </a:lnTo>
                  <a:lnTo>
                    <a:pt x="649" y="369"/>
                  </a:lnTo>
                  <a:lnTo>
                    <a:pt x="649" y="369"/>
                  </a:lnTo>
                  <a:lnTo>
                    <a:pt x="647" y="369"/>
                  </a:lnTo>
                  <a:lnTo>
                    <a:pt x="647" y="369"/>
                  </a:lnTo>
                  <a:lnTo>
                    <a:pt x="645" y="367"/>
                  </a:lnTo>
                  <a:lnTo>
                    <a:pt x="643" y="365"/>
                  </a:lnTo>
                  <a:lnTo>
                    <a:pt x="643" y="365"/>
                  </a:lnTo>
                  <a:lnTo>
                    <a:pt x="643" y="367"/>
                  </a:lnTo>
                  <a:lnTo>
                    <a:pt x="643" y="365"/>
                  </a:lnTo>
                  <a:lnTo>
                    <a:pt x="643" y="365"/>
                  </a:lnTo>
                  <a:lnTo>
                    <a:pt x="645" y="365"/>
                  </a:lnTo>
                  <a:lnTo>
                    <a:pt x="645" y="363"/>
                  </a:lnTo>
                  <a:lnTo>
                    <a:pt x="645" y="363"/>
                  </a:lnTo>
                  <a:lnTo>
                    <a:pt x="645" y="363"/>
                  </a:lnTo>
                  <a:lnTo>
                    <a:pt x="645" y="363"/>
                  </a:lnTo>
                  <a:lnTo>
                    <a:pt x="645" y="363"/>
                  </a:lnTo>
                  <a:lnTo>
                    <a:pt x="645" y="361"/>
                  </a:lnTo>
                  <a:lnTo>
                    <a:pt x="645" y="361"/>
                  </a:lnTo>
                  <a:lnTo>
                    <a:pt x="645" y="359"/>
                  </a:lnTo>
                  <a:lnTo>
                    <a:pt x="643" y="359"/>
                  </a:lnTo>
                  <a:lnTo>
                    <a:pt x="643" y="359"/>
                  </a:lnTo>
                  <a:lnTo>
                    <a:pt x="643" y="359"/>
                  </a:lnTo>
                  <a:lnTo>
                    <a:pt x="641" y="357"/>
                  </a:lnTo>
                  <a:lnTo>
                    <a:pt x="641" y="355"/>
                  </a:lnTo>
                  <a:lnTo>
                    <a:pt x="641" y="355"/>
                  </a:lnTo>
                  <a:lnTo>
                    <a:pt x="641" y="355"/>
                  </a:lnTo>
                  <a:lnTo>
                    <a:pt x="641" y="355"/>
                  </a:lnTo>
                  <a:lnTo>
                    <a:pt x="641" y="355"/>
                  </a:lnTo>
                  <a:lnTo>
                    <a:pt x="639" y="355"/>
                  </a:lnTo>
                  <a:lnTo>
                    <a:pt x="639" y="355"/>
                  </a:lnTo>
                  <a:lnTo>
                    <a:pt x="639" y="355"/>
                  </a:lnTo>
                  <a:lnTo>
                    <a:pt x="637" y="352"/>
                  </a:lnTo>
                  <a:lnTo>
                    <a:pt x="637" y="352"/>
                  </a:lnTo>
                  <a:lnTo>
                    <a:pt x="637" y="352"/>
                  </a:lnTo>
                  <a:lnTo>
                    <a:pt x="637" y="352"/>
                  </a:lnTo>
                  <a:lnTo>
                    <a:pt x="633" y="355"/>
                  </a:lnTo>
                  <a:lnTo>
                    <a:pt x="633" y="355"/>
                  </a:lnTo>
                  <a:lnTo>
                    <a:pt x="633" y="352"/>
                  </a:lnTo>
                  <a:lnTo>
                    <a:pt x="633" y="352"/>
                  </a:lnTo>
                  <a:lnTo>
                    <a:pt x="631" y="355"/>
                  </a:lnTo>
                  <a:lnTo>
                    <a:pt x="629" y="355"/>
                  </a:lnTo>
                  <a:lnTo>
                    <a:pt x="627" y="357"/>
                  </a:lnTo>
                  <a:lnTo>
                    <a:pt x="627" y="357"/>
                  </a:lnTo>
                  <a:lnTo>
                    <a:pt x="625" y="357"/>
                  </a:lnTo>
                  <a:lnTo>
                    <a:pt x="625" y="357"/>
                  </a:lnTo>
                  <a:lnTo>
                    <a:pt x="625" y="357"/>
                  </a:lnTo>
                  <a:lnTo>
                    <a:pt x="625" y="357"/>
                  </a:lnTo>
                  <a:lnTo>
                    <a:pt x="625" y="357"/>
                  </a:lnTo>
                  <a:lnTo>
                    <a:pt x="621" y="355"/>
                  </a:lnTo>
                  <a:lnTo>
                    <a:pt x="621" y="355"/>
                  </a:lnTo>
                  <a:lnTo>
                    <a:pt x="621" y="355"/>
                  </a:lnTo>
                  <a:lnTo>
                    <a:pt x="621" y="355"/>
                  </a:lnTo>
                  <a:lnTo>
                    <a:pt x="621" y="355"/>
                  </a:lnTo>
                  <a:lnTo>
                    <a:pt x="621" y="355"/>
                  </a:lnTo>
                  <a:lnTo>
                    <a:pt x="621" y="355"/>
                  </a:lnTo>
                  <a:lnTo>
                    <a:pt x="621" y="355"/>
                  </a:lnTo>
                  <a:lnTo>
                    <a:pt x="621" y="355"/>
                  </a:lnTo>
                  <a:lnTo>
                    <a:pt x="617" y="350"/>
                  </a:lnTo>
                  <a:lnTo>
                    <a:pt x="617" y="350"/>
                  </a:lnTo>
                  <a:lnTo>
                    <a:pt x="617" y="350"/>
                  </a:lnTo>
                  <a:lnTo>
                    <a:pt x="617" y="352"/>
                  </a:lnTo>
                  <a:lnTo>
                    <a:pt x="617" y="352"/>
                  </a:lnTo>
                  <a:lnTo>
                    <a:pt x="617" y="352"/>
                  </a:lnTo>
                  <a:lnTo>
                    <a:pt x="612" y="352"/>
                  </a:lnTo>
                  <a:lnTo>
                    <a:pt x="612" y="352"/>
                  </a:lnTo>
                  <a:lnTo>
                    <a:pt x="612" y="350"/>
                  </a:lnTo>
                  <a:lnTo>
                    <a:pt x="612" y="350"/>
                  </a:lnTo>
                  <a:lnTo>
                    <a:pt x="612" y="350"/>
                  </a:lnTo>
                  <a:lnTo>
                    <a:pt x="612" y="350"/>
                  </a:lnTo>
                  <a:lnTo>
                    <a:pt x="612" y="350"/>
                  </a:lnTo>
                  <a:lnTo>
                    <a:pt x="612" y="350"/>
                  </a:lnTo>
                  <a:lnTo>
                    <a:pt x="612" y="348"/>
                  </a:lnTo>
                  <a:lnTo>
                    <a:pt x="614" y="348"/>
                  </a:lnTo>
                  <a:lnTo>
                    <a:pt x="614" y="350"/>
                  </a:lnTo>
                  <a:lnTo>
                    <a:pt x="614" y="350"/>
                  </a:lnTo>
                  <a:lnTo>
                    <a:pt x="614" y="350"/>
                  </a:lnTo>
                  <a:lnTo>
                    <a:pt x="614" y="348"/>
                  </a:lnTo>
                  <a:lnTo>
                    <a:pt x="610" y="346"/>
                  </a:lnTo>
                  <a:lnTo>
                    <a:pt x="610" y="346"/>
                  </a:lnTo>
                  <a:lnTo>
                    <a:pt x="610" y="346"/>
                  </a:lnTo>
                  <a:lnTo>
                    <a:pt x="610" y="344"/>
                  </a:lnTo>
                  <a:lnTo>
                    <a:pt x="610" y="344"/>
                  </a:lnTo>
                  <a:lnTo>
                    <a:pt x="612" y="344"/>
                  </a:lnTo>
                  <a:lnTo>
                    <a:pt x="612" y="342"/>
                  </a:lnTo>
                  <a:lnTo>
                    <a:pt x="612" y="342"/>
                  </a:lnTo>
                  <a:lnTo>
                    <a:pt x="612" y="342"/>
                  </a:lnTo>
                  <a:lnTo>
                    <a:pt x="610" y="340"/>
                  </a:lnTo>
                  <a:lnTo>
                    <a:pt x="610" y="342"/>
                  </a:lnTo>
                  <a:lnTo>
                    <a:pt x="610" y="340"/>
                  </a:lnTo>
                  <a:lnTo>
                    <a:pt x="610" y="340"/>
                  </a:lnTo>
                  <a:lnTo>
                    <a:pt x="610" y="340"/>
                  </a:lnTo>
                  <a:lnTo>
                    <a:pt x="610" y="340"/>
                  </a:lnTo>
                  <a:lnTo>
                    <a:pt x="610" y="342"/>
                  </a:lnTo>
                  <a:lnTo>
                    <a:pt x="610" y="342"/>
                  </a:lnTo>
                  <a:lnTo>
                    <a:pt x="610" y="342"/>
                  </a:lnTo>
                  <a:lnTo>
                    <a:pt x="610" y="342"/>
                  </a:lnTo>
                  <a:lnTo>
                    <a:pt x="610" y="342"/>
                  </a:lnTo>
                  <a:lnTo>
                    <a:pt x="608" y="344"/>
                  </a:lnTo>
                  <a:lnTo>
                    <a:pt x="608" y="344"/>
                  </a:lnTo>
                  <a:lnTo>
                    <a:pt x="608" y="346"/>
                  </a:lnTo>
                  <a:lnTo>
                    <a:pt x="608" y="346"/>
                  </a:lnTo>
                  <a:lnTo>
                    <a:pt x="608" y="346"/>
                  </a:lnTo>
                  <a:lnTo>
                    <a:pt x="606" y="348"/>
                  </a:lnTo>
                  <a:lnTo>
                    <a:pt x="606" y="348"/>
                  </a:lnTo>
                  <a:lnTo>
                    <a:pt x="606" y="348"/>
                  </a:lnTo>
                  <a:lnTo>
                    <a:pt x="606" y="348"/>
                  </a:lnTo>
                  <a:lnTo>
                    <a:pt x="606" y="348"/>
                  </a:lnTo>
                  <a:lnTo>
                    <a:pt x="606" y="348"/>
                  </a:lnTo>
                  <a:lnTo>
                    <a:pt x="606" y="348"/>
                  </a:lnTo>
                  <a:lnTo>
                    <a:pt x="606" y="348"/>
                  </a:lnTo>
                  <a:lnTo>
                    <a:pt x="606" y="350"/>
                  </a:lnTo>
                  <a:lnTo>
                    <a:pt x="606" y="350"/>
                  </a:lnTo>
                  <a:lnTo>
                    <a:pt x="606" y="350"/>
                  </a:lnTo>
                  <a:lnTo>
                    <a:pt x="604" y="350"/>
                  </a:lnTo>
                  <a:lnTo>
                    <a:pt x="604" y="350"/>
                  </a:lnTo>
                  <a:lnTo>
                    <a:pt x="604" y="350"/>
                  </a:lnTo>
                  <a:lnTo>
                    <a:pt x="604" y="352"/>
                  </a:lnTo>
                  <a:lnTo>
                    <a:pt x="604" y="352"/>
                  </a:lnTo>
                  <a:lnTo>
                    <a:pt x="604" y="352"/>
                  </a:lnTo>
                  <a:lnTo>
                    <a:pt x="604" y="355"/>
                  </a:lnTo>
                  <a:lnTo>
                    <a:pt x="604" y="355"/>
                  </a:lnTo>
                  <a:lnTo>
                    <a:pt x="604" y="355"/>
                  </a:lnTo>
                  <a:lnTo>
                    <a:pt x="604" y="355"/>
                  </a:lnTo>
                  <a:lnTo>
                    <a:pt x="604" y="355"/>
                  </a:lnTo>
                  <a:lnTo>
                    <a:pt x="604" y="355"/>
                  </a:lnTo>
                  <a:lnTo>
                    <a:pt x="604" y="357"/>
                  </a:lnTo>
                  <a:lnTo>
                    <a:pt x="604" y="357"/>
                  </a:lnTo>
                  <a:lnTo>
                    <a:pt x="602" y="357"/>
                  </a:lnTo>
                  <a:lnTo>
                    <a:pt x="602" y="359"/>
                  </a:lnTo>
                  <a:close/>
                  <a:moveTo>
                    <a:pt x="623" y="363"/>
                  </a:moveTo>
                  <a:lnTo>
                    <a:pt x="627" y="367"/>
                  </a:lnTo>
                  <a:lnTo>
                    <a:pt x="621" y="363"/>
                  </a:lnTo>
                  <a:lnTo>
                    <a:pt x="621" y="363"/>
                  </a:lnTo>
                  <a:lnTo>
                    <a:pt x="621" y="363"/>
                  </a:lnTo>
                  <a:lnTo>
                    <a:pt x="623" y="363"/>
                  </a:lnTo>
                  <a:close/>
                  <a:moveTo>
                    <a:pt x="623" y="355"/>
                  </a:moveTo>
                  <a:lnTo>
                    <a:pt x="623" y="355"/>
                  </a:lnTo>
                  <a:lnTo>
                    <a:pt x="623" y="355"/>
                  </a:lnTo>
                  <a:lnTo>
                    <a:pt x="623" y="355"/>
                  </a:lnTo>
                  <a:close/>
                  <a:moveTo>
                    <a:pt x="621" y="355"/>
                  </a:moveTo>
                  <a:lnTo>
                    <a:pt x="621" y="355"/>
                  </a:lnTo>
                  <a:lnTo>
                    <a:pt x="623" y="355"/>
                  </a:lnTo>
                  <a:lnTo>
                    <a:pt x="621" y="355"/>
                  </a:lnTo>
                  <a:close/>
                  <a:moveTo>
                    <a:pt x="653" y="375"/>
                  </a:moveTo>
                  <a:lnTo>
                    <a:pt x="653" y="375"/>
                  </a:lnTo>
                  <a:lnTo>
                    <a:pt x="655" y="375"/>
                  </a:lnTo>
                  <a:lnTo>
                    <a:pt x="655" y="375"/>
                  </a:lnTo>
                  <a:lnTo>
                    <a:pt x="655" y="375"/>
                  </a:lnTo>
                  <a:lnTo>
                    <a:pt x="653" y="375"/>
                  </a:lnTo>
                  <a:close/>
                  <a:moveTo>
                    <a:pt x="635" y="885"/>
                  </a:moveTo>
                  <a:lnTo>
                    <a:pt x="635" y="883"/>
                  </a:lnTo>
                  <a:lnTo>
                    <a:pt x="635" y="883"/>
                  </a:lnTo>
                  <a:lnTo>
                    <a:pt x="635" y="883"/>
                  </a:lnTo>
                  <a:lnTo>
                    <a:pt x="635" y="881"/>
                  </a:lnTo>
                  <a:lnTo>
                    <a:pt x="635" y="881"/>
                  </a:lnTo>
                  <a:lnTo>
                    <a:pt x="635" y="881"/>
                  </a:lnTo>
                  <a:lnTo>
                    <a:pt x="633" y="881"/>
                  </a:lnTo>
                  <a:lnTo>
                    <a:pt x="633" y="883"/>
                  </a:lnTo>
                  <a:lnTo>
                    <a:pt x="633" y="883"/>
                  </a:lnTo>
                  <a:lnTo>
                    <a:pt x="633" y="885"/>
                  </a:lnTo>
                  <a:lnTo>
                    <a:pt x="633" y="883"/>
                  </a:lnTo>
                  <a:lnTo>
                    <a:pt x="633" y="883"/>
                  </a:lnTo>
                  <a:lnTo>
                    <a:pt x="633" y="883"/>
                  </a:lnTo>
                  <a:lnTo>
                    <a:pt x="633" y="883"/>
                  </a:lnTo>
                  <a:lnTo>
                    <a:pt x="633" y="883"/>
                  </a:lnTo>
                  <a:lnTo>
                    <a:pt x="631" y="883"/>
                  </a:lnTo>
                  <a:lnTo>
                    <a:pt x="631" y="883"/>
                  </a:lnTo>
                  <a:lnTo>
                    <a:pt x="631" y="883"/>
                  </a:lnTo>
                  <a:lnTo>
                    <a:pt x="631" y="883"/>
                  </a:lnTo>
                  <a:lnTo>
                    <a:pt x="631" y="883"/>
                  </a:lnTo>
                  <a:lnTo>
                    <a:pt x="629" y="883"/>
                  </a:lnTo>
                  <a:lnTo>
                    <a:pt x="629" y="883"/>
                  </a:lnTo>
                  <a:lnTo>
                    <a:pt x="629" y="885"/>
                  </a:lnTo>
                  <a:lnTo>
                    <a:pt x="629" y="885"/>
                  </a:lnTo>
                  <a:lnTo>
                    <a:pt x="629" y="885"/>
                  </a:lnTo>
                  <a:lnTo>
                    <a:pt x="629" y="885"/>
                  </a:lnTo>
                  <a:lnTo>
                    <a:pt x="629" y="883"/>
                  </a:lnTo>
                  <a:lnTo>
                    <a:pt x="629" y="883"/>
                  </a:lnTo>
                  <a:lnTo>
                    <a:pt x="629" y="883"/>
                  </a:lnTo>
                  <a:lnTo>
                    <a:pt x="627" y="885"/>
                  </a:lnTo>
                  <a:lnTo>
                    <a:pt x="627" y="885"/>
                  </a:lnTo>
                  <a:lnTo>
                    <a:pt x="627" y="885"/>
                  </a:lnTo>
                  <a:lnTo>
                    <a:pt x="627" y="883"/>
                  </a:lnTo>
                  <a:lnTo>
                    <a:pt x="627" y="883"/>
                  </a:lnTo>
                  <a:lnTo>
                    <a:pt x="627" y="883"/>
                  </a:lnTo>
                  <a:lnTo>
                    <a:pt x="629" y="881"/>
                  </a:lnTo>
                  <a:lnTo>
                    <a:pt x="629" y="881"/>
                  </a:lnTo>
                  <a:lnTo>
                    <a:pt x="629" y="881"/>
                  </a:lnTo>
                  <a:lnTo>
                    <a:pt x="629" y="881"/>
                  </a:lnTo>
                  <a:lnTo>
                    <a:pt x="629" y="881"/>
                  </a:lnTo>
                  <a:lnTo>
                    <a:pt x="629" y="881"/>
                  </a:lnTo>
                  <a:lnTo>
                    <a:pt x="629" y="879"/>
                  </a:lnTo>
                  <a:lnTo>
                    <a:pt x="629" y="881"/>
                  </a:lnTo>
                  <a:lnTo>
                    <a:pt x="633" y="879"/>
                  </a:lnTo>
                  <a:lnTo>
                    <a:pt x="633" y="879"/>
                  </a:lnTo>
                  <a:lnTo>
                    <a:pt x="633" y="879"/>
                  </a:lnTo>
                  <a:lnTo>
                    <a:pt x="633" y="879"/>
                  </a:lnTo>
                  <a:lnTo>
                    <a:pt x="633" y="879"/>
                  </a:lnTo>
                  <a:lnTo>
                    <a:pt x="633" y="879"/>
                  </a:lnTo>
                  <a:lnTo>
                    <a:pt x="635" y="877"/>
                  </a:lnTo>
                  <a:lnTo>
                    <a:pt x="635" y="877"/>
                  </a:lnTo>
                  <a:lnTo>
                    <a:pt x="635" y="877"/>
                  </a:lnTo>
                  <a:lnTo>
                    <a:pt x="635" y="877"/>
                  </a:lnTo>
                  <a:lnTo>
                    <a:pt x="635" y="877"/>
                  </a:lnTo>
                  <a:lnTo>
                    <a:pt x="635" y="877"/>
                  </a:lnTo>
                  <a:lnTo>
                    <a:pt x="635" y="877"/>
                  </a:lnTo>
                  <a:lnTo>
                    <a:pt x="635" y="877"/>
                  </a:lnTo>
                  <a:lnTo>
                    <a:pt x="637" y="877"/>
                  </a:lnTo>
                  <a:lnTo>
                    <a:pt x="637" y="877"/>
                  </a:lnTo>
                  <a:lnTo>
                    <a:pt x="637" y="877"/>
                  </a:lnTo>
                  <a:lnTo>
                    <a:pt x="639" y="877"/>
                  </a:lnTo>
                  <a:lnTo>
                    <a:pt x="639" y="877"/>
                  </a:lnTo>
                  <a:lnTo>
                    <a:pt x="639" y="875"/>
                  </a:lnTo>
                  <a:lnTo>
                    <a:pt x="639" y="875"/>
                  </a:lnTo>
                  <a:lnTo>
                    <a:pt x="639" y="875"/>
                  </a:lnTo>
                  <a:lnTo>
                    <a:pt x="639" y="875"/>
                  </a:lnTo>
                  <a:lnTo>
                    <a:pt x="639" y="875"/>
                  </a:lnTo>
                  <a:lnTo>
                    <a:pt x="637" y="875"/>
                  </a:lnTo>
                  <a:lnTo>
                    <a:pt x="639" y="875"/>
                  </a:lnTo>
                  <a:lnTo>
                    <a:pt x="639" y="875"/>
                  </a:lnTo>
                  <a:lnTo>
                    <a:pt x="639" y="873"/>
                  </a:lnTo>
                  <a:lnTo>
                    <a:pt x="639" y="873"/>
                  </a:lnTo>
                  <a:lnTo>
                    <a:pt x="637" y="873"/>
                  </a:lnTo>
                  <a:lnTo>
                    <a:pt x="637" y="873"/>
                  </a:lnTo>
                  <a:lnTo>
                    <a:pt x="637" y="873"/>
                  </a:lnTo>
                  <a:lnTo>
                    <a:pt x="635" y="873"/>
                  </a:lnTo>
                  <a:lnTo>
                    <a:pt x="635" y="873"/>
                  </a:lnTo>
                  <a:lnTo>
                    <a:pt x="635" y="871"/>
                  </a:lnTo>
                  <a:lnTo>
                    <a:pt x="635" y="871"/>
                  </a:lnTo>
                  <a:lnTo>
                    <a:pt x="635" y="871"/>
                  </a:lnTo>
                  <a:lnTo>
                    <a:pt x="635" y="871"/>
                  </a:lnTo>
                  <a:lnTo>
                    <a:pt x="635" y="871"/>
                  </a:lnTo>
                  <a:lnTo>
                    <a:pt x="633" y="873"/>
                  </a:lnTo>
                  <a:lnTo>
                    <a:pt x="633" y="873"/>
                  </a:lnTo>
                  <a:lnTo>
                    <a:pt x="633" y="873"/>
                  </a:lnTo>
                  <a:lnTo>
                    <a:pt x="633" y="873"/>
                  </a:lnTo>
                  <a:lnTo>
                    <a:pt x="633" y="873"/>
                  </a:lnTo>
                  <a:lnTo>
                    <a:pt x="633" y="873"/>
                  </a:lnTo>
                  <a:lnTo>
                    <a:pt x="631" y="875"/>
                  </a:lnTo>
                  <a:lnTo>
                    <a:pt x="631" y="875"/>
                  </a:lnTo>
                  <a:lnTo>
                    <a:pt x="631" y="875"/>
                  </a:lnTo>
                  <a:lnTo>
                    <a:pt x="631" y="875"/>
                  </a:lnTo>
                  <a:lnTo>
                    <a:pt x="627" y="877"/>
                  </a:lnTo>
                  <a:lnTo>
                    <a:pt x="627" y="877"/>
                  </a:lnTo>
                  <a:lnTo>
                    <a:pt x="627" y="877"/>
                  </a:lnTo>
                  <a:lnTo>
                    <a:pt x="629" y="875"/>
                  </a:lnTo>
                  <a:lnTo>
                    <a:pt x="627" y="875"/>
                  </a:lnTo>
                  <a:lnTo>
                    <a:pt x="627" y="875"/>
                  </a:lnTo>
                  <a:lnTo>
                    <a:pt x="627" y="875"/>
                  </a:lnTo>
                  <a:lnTo>
                    <a:pt x="627" y="875"/>
                  </a:lnTo>
                  <a:lnTo>
                    <a:pt x="627" y="875"/>
                  </a:lnTo>
                  <a:lnTo>
                    <a:pt x="627" y="873"/>
                  </a:lnTo>
                  <a:lnTo>
                    <a:pt x="627" y="873"/>
                  </a:lnTo>
                  <a:lnTo>
                    <a:pt x="627" y="873"/>
                  </a:lnTo>
                  <a:lnTo>
                    <a:pt x="627" y="873"/>
                  </a:lnTo>
                  <a:lnTo>
                    <a:pt x="627" y="873"/>
                  </a:lnTo>
                  <a:lnTo>
                    <a:pt x="627" y="873"/>
                  </a:lnTo>
                  <a:lnTo>
                    <a:pt x="627" y="873"/>
                  </a:lnTo>
                  <a:lnTo>
                    <a:pt x="627" y="871"/>
                  </a:lnTo>
                  <a:lnTo>
                    <a:pt x="627" y="871"/>
                  </a:lnTo>
                  <a:lnTo>
                    <a:pt x="627" y="871"/>
                  </a:lnTo>
                  <a:lnTo>
                    <a:pt x="629" y="871"/>
                  </a:lnTo>
                  <a:lnTo>
                    <a:pt x="629" y="869"/>
                  </a:lnTo>
                  <a:lnTo>
                    <a:pt x="627" y="869"/>
                  </a:lnTo>
                  <a:lnTo>
                    <a:pt x="627" y="869"/>
                  </a:lnTo>
                  <a:lnTo>
                    <a:pt x="625" y="869"/>
                  </a:lnTo>
                  <a:lnTo>
                    <a:pt x="625" y="869"/>
                  </a:lnTo>
                  <a:lnTo>
                    <a:pt x="625" y="869"/>
                  </a:lnTo>
                  <a:lnTo>
                    <a:pt x="625" y="869"/>
                  </a:lnTo>
                  <a:lnTo>
                    <a:pt x="625" y="869"/>
                  </a:lnTo>
                  <a:lnTo>
                    <a:pt x="625" y="869"/>
                  </a:lnTo>
                  <a:lnTo>
                    <a:pt x="625" y="869"/>
                  </a:lnTo>
                  <a:lnTo>
                    <a:pt x="625" y="869"/>
                  </a:lnTo>
                  <a:lnTo>
                    <a:pt x="625" y="867"/>
                  </a:lnTo>
                  <a:lnTo>
                    <a:pt x="623" y="869"/>
                  </a:lnTo>
                  <a:lnTo>
                    <a:pt x="621" y="869"/>
                  </a:lnTo>
                  <a:lnTo>
                    <a:pt x="621" y="869"/>
                  </a:lnTo>
                  <a:lnTo>
                    <a:pt x="621" y="869"/>
                  </a:lnTo>
                  <a:lnTo>
                    <a:pt x="619" y="869"/>
                  </a:lnTo>
                  <a:lnTo>
                    <a:pt x="619" y="869"/>
                  </a:lnTo>
                  <a:lnTo>
                    <a:pt x="619" y="869"/>
                  </a:lnTo>
                  <a:lnTo>
                    <a:pt x="617" y="869"/>
                  </a:lnTo>
                  <a:lnTo>
                    <a:pt x="617" y="869"/>
                  </a:lnTo>
                  <a:lnTo>
                    <a:pt x="614" y="869"/>
                  </a:lnTo>
                  <a:lnTo>
                    <a:pt x="614" y="869"/>
                  </a:lnTo>
                  <a:lnTo>
                    <a:pt x="614" y="869"/>
                  </a:lnTo>
                  <a:lnTo>
                    <a:pt x="612" y="871"/>
                  </a:lnTo>
                  <a:lnTo>
                    <a:pt x="612" y="871"/>
                  </a:lnTo>
                  <a:lnTo>
                    <a:pt x="612" y="873"/>
                  </a:lnTo>
                  <a:lnTo>
                    <a:pt x="610" y="873"/>
                  </a:lnTo>
                  <a:lnTo>
                    <a:pt x="610" y="873"/>
                  </a:lnTo>
                  <a:lnTo>
                    <a:pt x="610" y="873"/>
                  </a:lnTo>
                  <a:lnTo>
                    <a:pt x="610" y="873"/>
                  </a:lnTo>
                  <a:lnTo>
                    <a:pt x="610" y="873"/>
                  </a:lnTo>
                  <a:lnTo>
                    <a:pt x="610" y="873"/>
                  </a:lnTo>
                  <a:lnTo>
                    <a:pt x="610" y="875"/>
                  </a:lnTo>
                  <a:lnTo>
                    <a:pt x="610" y="875"/>
                  </a:lnTo>
                  <a:lnTo>
                    <a:pt x="610" y="875"/>
                  </a:lnTo>
                  <a:lnTo>
                    <a:pt x="610" y="875"/>
                  </a:lnTo>
                  <a:lnTo>
                    <a:pt x="610" y="875"/>
                  </a:lnTo>
                  <a:lnTo>
                    <a:pt x="612" y="875"/>
                  </a:lnTo>
                  <a:lnTo>
                    <a:pt x="612" y="875"/>
                  </a:lnTo>
                  <a:lnTo>
                    <a:pt x="612" y="875"/>
                  </a:lnTo>
                  <a:lnTo>
                    <a:pt x="612" y="875"/>
                  </a:lnTo>
                  <a:lnTo>
                    <a:pt x="612" y="875"/>
                  </a:lnTo>
                  <a:lnTo>
                    <a:pt x="610" y="877"/>
                  </a:lnTo>
                  <a:lnTo>
                    <a:pt x="612" y="879"/>
                  </a:lnTo>
                  <a:lnTo>
                    <a:pt x="614" y="879"/>
                  </a:lnTo>
                  <a:lnTo>
                    <a:pt x="614" y="879"/>
                  </a:lnTo>
                  <a:lnTo>
                    <a:pt x="614" y="879"/>
                  </a:lnTo>
                  <a:lnTo>
                    <a:pt x="617" y="879"/>
                  </a:lnTo>
                  <a:lnTo>
                    <a:pt x="617" y="879"/>
                  </a:lnTo>
                  <a:lnTo>
                    <a:pt x="617" y="879"/>
                  </a:lnTo>
                  <a:lnTo>
                    <a:pt x="619" y="881"/>
                  </a:lnTo>
                  <a:lnTo>
                    <a:pt x="623" y="883"/>
                  </a:lnTo>
                  <a:lnTo>
                    <a:pt x="623" y="883"/>
                  </a:lnTo>
                  <a:lnTo>
                    <a:pt x="623" y="883"/>
                  </a:lnTo>
                  <a:lnTo>
                    <a:pt x="621" y="883"/>
                  </a:lnTo>
                  <a:lnTo>
                    <a:pt x="621" y="883"/>
                  </a:lnTo>
                  <a:lnTo>
                    <a:pt x="621" y="883"/>
                  </a:lnTo>
                  <a:lnTo>
                    <a:pt x="621" y="883"/>
                  </a:lnTo>
                  <a:lnTo>
                    <a:pt x="621" y="883"/>
                  </a:lnTo>
                  <a:lnTo>
                    <a:pt x="621" y="883"/>
                  </a:lnTo>
                  <a:lnTo>
                    <a:pt x="621" y="883"/>
                  </a:lnTo>
                  <a:lnTo>
                    <a:pt x="621" y="883"/>
                  </a:lnTo>
                  <a:lnTo>
                    <a:pt x="619" y="883"/>
                  </a:lnTo>
                  <a:lnTo>
                    <a:pt x="619" y="883"/>
                  </a:lnTo>
                  <a:lnTo>
                    <a:pt x="619" y="887"/>
                  </a:lnTo>
                  <a:lnTo>
                    <a:pt x="619" y="885"/>
                  </a:lnTo>
                  <a:lnTo>
                    <a:pt x="619" y="885"/>
                  </a:lnTo>
                  <a:lnTo>
                    <a:pt x="617" y="885"/>
                  </a:lnTo>
                  <a:lnTo>
                    <a:pt x="617" y="885"/>
                  </a:lnTo>
                  <a:lnTo>
                    <a:pt x="617" y="887"/>
                  </a:lnTo>
                  <a:lnTo>
                    <a:pt x="617" y="885"/>
                  </a:lnTo>
                  <a:lnTo>
                    <a:pt x="617" y="885"/>
                  </a:lnTo>
                  <a:lnTo>
                    <a:pt x="617" y="883"/>
                  </a:lnTo>
                  <a:lnTo>
                    <a:pt x="617" y="883"/>
                  </a:lnTo>
                  <a:lnTo>
                    <a:pt x="617" y="881"/>
                  </a:lnTo>
                  <a:lnTo>
                    <a:pt x="614" y="881"/>
                  </a:lnTo>
                  <a:lnTo>
                    <a:pt x="612" y="881"/>
                  </a:lnTo>
                  <a:lnTo>
                    <a:pt x="612" y="881"/>
                  </a:lnTo>
                  <a:lnTo>
                    <a:pt x="610" y="883"/>
                  </a:lnTo>
                  <a:lnTo>
                    <a:pt x="610" y="883"/>
                  </a:lnTo>
                  <a:lnTo>
                    <a:pt x="612" y="883"/>
                  </a:lnTo>
                  <a:lnTo>
                    <a:pt x="612" y="885"/>
                  </a:lnTo>
                  <a:lnTo>
                    <a:pt x="612" y="885"/>
                  </a:lnTo>
                  <a:lnTo>
                    <a:pt x="612" y="885"/>
                  </a:lnTo>
                  <a:lnTo>
                    <a:pt x="610" y="885"/>
                  </a:lnTo>
                  <a:lnTo>
                    <a:pt x="610" y="885"/>
                  </a:lnTo>
                  <a:lnTo>
                    <a:pt x="610" y="887"/>
                  </a:lnTo>
                  <a:lnTo>
                    <a:pt x="610" y="887"/>
                  </a:lnTo>
                  <a:lnTo>
                    <a:pt x="610" y="887"/>
                  </a:lnTo>
                  <a:lnTo>
                    <a:pt x="610" y="887"/>
                  </a:lnTo>
                  <a:lnTo>
                    <a:pt x="610" y="887"/>
                  </a:lnTo>
                  <a:lnTo>
                    <a:pt x="610" y="887"/>
                  </a:lnTo>
                  <a:lnTo>
                    <a:pt x="610" y="885"/>
                  </a:lnTo>
                  <a:lnTo>
                    <a:pt x="610" y="885"/>
                  </a:lnTo>
                  <a:lnTo>
                    <a:pt x="610" y="885"/>
                  </a:lnTo>
                  <a:lnTo>
                    <a:pt x="608" y="885"/>
                  </a:lnTo>
                  <a:lnTo>
                    <a:pt x="608" y="885"/>
                  </a:lnTo>
                  <a:lnTo>
                    <a:pt x="608" y="885"/>
                  </a:lnTo>
                  <a:lnTo>
                    <a:pt x="608" y="887"/>
                  </a:lnTo>
                  <a:lnTo>
                    <a:pt x="608" y="887"/>
                  </a:lnTo>
                  <a:lnTo>
                    <a:pt x="608" y="887"/>
                  </a:lnTo>
                  <a:lnTo>
                    <a:pt x="608" y="887"/>
                  </a:lnTo>
                  <a:lnTo>
                    <a:pt x="608" y="887"/>
                  </a:lnTo>
                  <a:lnTo>
                    <a:pt x="608" y="889"/>
                  </a:lnTo>
                  <a:lnTo>
                    <a:pt x="608" y="889"/>
                  </a:lnTo>
                  <a:lnTo>
                    <a:pt x="608" y="889"/>
                  </a:lnTo>
                  <a:lnTo>
                    <a:pt x="610" y="889"/>
                  </a:lnTo>
                  <a:lnTo>
                    <a:pt x="612" y="889"/>
                  </a:lnTo>
                  <a:lnTo>
                    <a:pt x="612" y="889"/>
                  </a:lnTo>
                  <a:lnTo>
                    <a:pt x="612" y="891"/>
                  </a:lnTo>
                  <a:lnTo>
                    <a:pt x="612" y="891"/>
                  </a:lnTo>
                  <a:lnTo>
                    <a:pt x="610" y="891"/>
                  </a:lnTo>
                  <a:lnTo>
                    <a:pt x="608" y="891"/>
                  </a:lnTo>
                  <a:lnTo>
                    <a:pt x="606" y="889"/>
                  </a:lnTo>
                  <a:lnTo>
                    <a:pt x="606" y="889"/>
                  </a:lnTo>
                  <a:lnTo>
                    <a:pt x="606" y="889"/>
                  </a:lnTo>
                  <a:lnTo>
                    <a:pt x="606" y="891"/>
                  </a:lnTo>
                  <a:lnTo>
                    <a:pt x="606" y="891"/>
                  </a:lnTo>
                  <a:lnTo>
                    <a:pt x="606" y="891"/>
                  </a:lnTo>
                  <a:lnTo>
                    <a:pt x="606" y="891"/>
                  </a:lnTo>
                  <a:lnTo>
                    <a:pt x="606" y="891"/>
                  </a:lnTo>
                  <a:lnTo>
                    <a:pt x="606" y="891"/>
                  </a:lnTo>
                  <a:lnTo>
                    <a:pt x="606" y="891"/>
                  </a:lnTo>
                  <a:lnTo>
                    <a:pt x="606" y="891"/>
                  </a:lnTo>
                  <a:lnTo>
                    <a:pt x="606" y="891"/>
                  </a:lnTo>
                  <a:lnTo>
                    <a:pt x="606" y="894"/>
                  </a:lnTo>
                  <a:lnTo>
                    <a:pt x="604" y="894"/>
                  </a:lnTo>
                  <a:lnTo>
                    <a:pt x="604" y="894"/>
                  </a:lnTo>
                  <a:lnTo>
                    <a:pt x="602" y="891"/>
                  </a:lnTo>
                  <a:lnTo>
                    <a:pt x="602" y="891"/>
                  </a:lnTo>
                  <a:lnTo>
                    <a:pt x="602" y="894"/>
                  </a:lnTo>
                  <a:lnTo>
                    <a:pt x="602" y="894"/>
                  </a:lnTo>
                  <a:lnTo>
                    <a:pt x="602" y="894"/>
                  </a:lnTo>
                  <a:lnTo>
                    <a:pt x="600" y="894"/>
                  </a:lnTo>
                  <a:lnTo>
                    <a:pt x="600" y="894"/>
                  </a:lnTo>
                  <a:lnTo>
                    <a:pt x="600" y="894"/>
                  </a:lnTo>
                  <a:lnTo>
                    <a:pt x="600" y="894"/>
                  </a:lnTo>
                  <a:lnTo>
                    <a:pt x="598" y="894"/>
                  </a:lnTo>
                  <a:lnTo>
                    <a:pt x="598" y="894"/>
                  </a:lnTo>
                  <a:lnTo>
                    <a:pt x="598" y="894"/>
                  </a:lnTo>
                  <a:lnTo>
                    <a:pt x="598" y="894"/>
                  </a:lnTo>
                  <a:lnTo>
                    <a:pt x="598" y="894"/>
                  </a:lnTo>
                  <a:lnTo>
                    <a:pt x="598" y="894"/>
                  </a:lnTo>
                  <a:lnTo>
                    <a:pt x="596" y="894"/>
                  </a:lnTo>
                  <a:lnTo>
                    <a:pt x="596" y="894"/>
                  </a:lnTo>
                  <a:lnTo>
                    <a:pt x="596" y="894"/>
                  </a:lnTo>
                  <a:lnTo>
                    <a:pt x="596" y="894"/>
                  </a:lnTo>
                  <a:lnTo>
                    <a:pt x="596" y="894"/>
                  </a:lnTo>
                  <a:lnTo>
                    <a:pt x="594" y="894"/>
                  </a:lnTo>
                  <a:lnTo>
                    <a:pt x="594" y="894"/>
                  </a:lnTo>
                  <a:lnTo>
                    <a:pt x="596" y="896"/>
                  </a:lnTo>
                  <a:lnTo>
                    <a:pt x="596" y="896"/>
                  </a:lnTo>
                  <a:lnTo>
                    <a:pt x="594" y="896"/>
                  </a:lnTo>
                  <a:lnTo>
                    <a:pt x="594" y="894"/>
                  </a:lnTo>
                  <a:lnTo>
                    <a:pt x="592" y="894"/>
                  </a:lnTo>
                  <a:lnTo>
                    <a:pt x="592" y="896"/>
                  </a:lnTo>
                  <a:lnTo>
                    <a:pt x="592" y="896"/>
                  </a:lnTo>
                  <a:lnTo>
                    <a:pt x="590" y="894"/>
                  </a:lnTo>
                  <a:lnTo>
                    <a:pt x="590" y="896"/>
                  </a:lnTo>
                  <a:lnTo>
                    <a:pt x="590" y="894"/>
                  </a:lnTo>
                  <a:lnTo>
                    <a:pt x="590" y="894"/>
                  </a:lnTo>
                  <a:lnTo>
                    <a:pt x="588" y="894"/>
                  </a:lnTo>
                  <a:lnTo>
                    <a:pt x="588" y="894"/>
                  </a:lnTo>
                  <a:lnTo>
                    <a:pt x="584" y="898"/>
                  </a:lnTo>
                  <a:lnTo>
                    <a:pt x="584" y="898"/>
                  </a:lnTo>
                  <a:lnTo>
                    <a:pt x="584" y="898"/>
                  </a:lnTo>
                  <a:lnTo>
                    <a:pt x="584" y="898"/>
                  </a:lnTo>
                  <a:lnTo>
                    <a:pt x="584" y="898"/>
                  </a:lnTo>
                  <a:lnTo>
                    <a:pt x="584" y="898"/>
                  </a:lnTo>
                  <a:lnTo>
                    <a:pt x="584" y="898"/>
                  </a:lnTo>
                  <a:lnTo>
                    <a:pt x="586" y="898"/>
                  </a:lnTo>
                  <a:lnTo>
                    <a:pt x="586" y="898"/>
                  </a:lnTo>
                  <a:lnTo>
                    <a:pt x="586" y="900"/>
                  </a:lnTo>
                  <a:lnTo>
                    <a:pt x="588" y="900"/>
                  </a:lnTo>
                  <a:lnTo>
                    <a:pt x="588" y="900"/>
                  </a:lnTo>
                  <a:lnTo>
                    <a:pt x="588" y="902"/>
                  </a:lnTo>
                  <a:lnTo>
                    <a:pt x="590" y="900"/>
                  </a:lnTo>
                  <a:lnTo>
                    <a:pt x="590" y="900"/>
                  </a:lnTo>
                  <a:lnTo>
                    <a:pt x="590" y="900"/>
                  </a:lnTo>
                  <a:lnTo>
                    <a:pt x="590" y="900"/>
                  </a:lnTo>
                  <a:lnTo>
                    <a:pt x="590" y="900"/>
                  </a:lnTo>
                  <a:lnTo>
                    <a:pt x="592" y="900"/>
                  </a:lnTo>
                  <a:lnTo>
                    <a:pt x="592" y="900"/>
                  </a:lnTo>
                  <a:lnTo>
                    <a:pt x="592" y="900"/>
                  </a:lnTo>
                  <a:lnTo>
                    <a:pt x="594" y="900"/>
                  </a:lnTo>
                  <a:lnTo>
                    <a:pt x="594" y="902"/>
                  </a:lnTo>
                  <a:lnTo>
                    <a:pt x="594" y="902"/>
                  </a:lnTo>
                  <a:lnTo>
                    <a:pt x="594" y="902"/>
                  </a:lnTo>
                  <a:lnTo>
                    <a:pt x="594" y="900"/>
                  </a:lnTo>
                  <a:lnTo>
                    <a:pt x="594" y="900"/>
                  </a:lnTo>
                  <a:lnTo>
                    <a:pt x="596" y="900"/>
                  </a:lnTo>
                  <a:lnTo>
                    <a:pt x="596" y="900"/>
                  </a:lnTo>
                  <a:lnTo>
                    <a:pt x="596" y="900"/>
                  </a:lnTo>
                  <a:lnTo>
                    <a:pt x="596" y="898"/>
                  </a:lnTo>
                  <a:lnTo>
                    <a:pt x="596" y="898"/>
                  </a:lnTo>
                  <a:lnTo>
                    <a:pt x="598" y="898"/>
                  </a:lnTo>
                  <a:lnTo>
                    <a:pt x="598" y="898"/>
                  </a:lnTo>
                  <a:lnTo>
                    <a:pt x="600" y="900"/>
                  </a:lnTo>
                  <a:lnTo>
                    <a:pt x="600" y="898"/>
                  </a:lnTo>
                  <a:lnTo>
                    <a:pt x="600" y="898"/>
                  </a:lnTo>
                  <a:lnTo>
                    <a:pt x="602" y="898"/>
                  </a:lnTo>
                  <a:lnTo>
                    <a:pt x="602" y="898"/>
                  </a:lnTo>
                  <a:lnTo>
                    <a:pt x="602" y="898"/>
                  </a:lnTo>
                  <a:lnTo>
                    <a:pt x="604" y="898"/>
                  </a:lnTo>
                  <a:lnTo>
                    <a:pt x="606" y="896"/>
                  </a:lnTo>
                  <a:lnTo>
                    <a:pt x="606" y="896"/>
                  </a:lnTo>
                  <a:lnTo>
                    <a:pt x="608" y="896"/>
                  </a:lnTo>
                  <a:lnTo>
                    <a:pt x="608" y="896"/>
                  </a:lnTo>
                  <a:lnTo>
                    <a:pt x="610" y="896"/>
                  </a:lnTo>
                  <a:lnTo>
                    <a:pt x="612" y="896"/>
                  </a:lnTo>
                  <a:lnTo>
                    <a:pt x="610" y="896"/>
                  </a:lnTo>
                  <a:lnTo>
                    <a:pt x="610" y="896"/>
                  </a:lnTo>
                  <a:lnTo>
                    <a:pt x="612" y="896"/>
                  </a:lnTo>
                  <a:lnTo>
                    <a:pt x="612" y="896"/>
                  </a:lnTo>
                  <a:lnTo>
                    <a:pt x="612" y="896"/>
                  </a:lnTo>
                  <a:lnTo>
                    <a:pt x="612" y="894"/>
                  </a:lnTo>
                  <a:lnTo>
                    <a:pt x="612" y="894"/>
                  </a:lnTo>
                  <a:lnTo>
                    <a:pt x="612" y="896"/>
                  </a:lnTo>
                  <a:lnTo>
                    <a:pt x="612" y="896"/>
                  </a:lnTo>
                  <a:lnTo>
                    <a:pt x="612" y="896"/>
                  </a:lnTo>
                  <a:lnTo>
                    <a:pt x="614" y="896"/>
                  </a:lnTo>
                  <a:lnTo>
                    <a:pt x="614" y="894"/>
                  </a:lnTo>
                  <a:lnTo>
                    <a:pt x="614" y="894"/>
                  </a:lnTo>
                  <a:lnTo>
                    <a:pt x="614" y="894"/>
                  </a:lnTo>
                  <a:lnTo>
                    <a:pt x="617" y="896"/>
                  </a:lnTo>
                  <a:lnTo>
                    <a:pt x="617" y="896"/>
                  </a:lnTo>
                  <a:lnTo>
                    <a:pt x="617" y="896"/>
                  </a:lnTo>
                  <a:lnTo>
                    <a:pt x="617" y="896"/>
                  </a:lnTo>
                  <a:lnTo>
                    <a:pt x="617" y="896"/>
                  </a:lnTo>
                  <a:lnTo>
                    <a:pt x="617" y="896"/>
                  </a:lnTo>
                  <a:lnTo>
                    <a:pt x="617" y="896"/>
                  </a:lnTo>
                  <a:lnTo>
                    <a:pt x="617" y="896"/>
                  </a:lnTo>
                  <a:lnTo>
                    <a:pt x="619" y="896"/>
                  </a:lnTo>
                  <a:lnTo>
                    <a:pt x="619" y="896"/>
                  </a:lnTo>
                  <a:lnTo>
                    <a:pt x="619" y="896"/>
                  </a:lnTo>
                  <a:lnTo>
                    <a:pt x="619" y="896"/>
                  </a:lnTo>
                  <a:lnTo>
                    <a:pt x="619" y="894"/>
                  </a:lnTo>
                  <a:lnTo>
                    <a:pt x="619" y="891"/>
                  </a:lnTo>
                  <a:lnTo>
                    <a:pt x="619" y="891"/>
                  </a:lnTo>
                  <a:lnTo>
                    <a:pt x="619" y="889"/>
                  </a:lnTo>
                  <a:lnTo>
                    <a:pt x="619" y="891"/>
                  </a:lnTo>
                  <a:lnTo>
                    <a:pt x="619" y="891"/>
                  </a:lnTo>
                  <a:lnTo>
                    <a:pt x="619" y="894"/>
                  </a:lnTo>
                  <a:lnTo>
                    <a:pt x="621" y="894"/>
                  </a:lnTo>
                  <a:lnTo>
                    <a:pt x="621" y="894"/>
                  </a:lnTo>
                  <a:lnTo>
                    <a:pt x="621" y="894"/>
                  </a:lnTo>
                  <a:lnTo>
                    <a:pt x="621" y="894"/>
                  </a:lnTo>
                  <a:lnTo>
                    <a:pt x="621" y="896"/>
                  </a:lnTo>
                  <a:lnTo>
                    <a:pt x="623" y="896"/>
                  </a:lnTo>
                  <a:lnTo>
                    <a:pt x="623" y="894"/>
                  </a:lnTo>
                  <a:lnTo>
                    <a:pt x="623" y="894"/>
                  </a:lnTo>
                  <a:lnTo>
                    <a:pt x="621" y="894"/>
                  </a:lnTo>
                  <a:lnTo>
                    <a:pt x="621" y="894"/>
                  </a:lnTo>
                  <a:lnTo>
                    <a:pt x="621" y="891"/>
                  </a:lnTo>
                  <a:lnTo>
                    <a:pt x="621" y="891"/>
                  </a:lnTo>
                  <a:lnTo>
                    <a:pt x="623" y="894"/>
                  </a:lnTo>
                  <a:lnTo>
                    <a:pt x="623" y="894"/>
                  </a:lnTo>
                  <a:lnTo>
                    <a:pt x="623" y="891"/>
                  </a:lnTo>
                  <a:lnTo>
                    <a:pt x="623" y="889"/>
                  </a:lnTo>
                  <a:lnTo>
                    <a:pt x="623" y="889"/>
                  </a:lnTo>
                  <a:lnTo>
                    <a:pt x="625" y="891"/>
                  </a:lnTo>
                  <a:lnTo>
                    <a:pt x="625" y="894"/>
                  </a:lnTo>
                  <a:lnTo>
                    <a:pt x="625" y="891"/>
                  </a:lnTo>
                  <a:lnTo>
                    <a:pt x="625" y="889"/>
                  </a:lnTo>
                  <a:lnTo>
                    <a:pt x="627" y="889"/>
                  </a:lnTo>
                  <a:lnTo>
                    <a:pt x="627" y="891"/>
                  </a:lnTo>
                  <a:lnTo>
                    <a:pt x="627" y="889"/>
                  </a:lnTo>
                  <a:lnTo>
                    <a:pt x="627" y="889"/>
                  </a:lnTo>
                  <a:lnTo>
                    <a:pt x="627" y="889"/>
                  </a:lnTo>
                  <a:lnTo>
                    <a:pt x="627" y="889"/>
                  </a:lnTo>
                  <a:lnTo>
                    <a:pt x="627" y="889"/>
                  </a:lnTo>
                  <a:lnTo>
                    <a:pt x="629" y="887"/>
                  </a:lnTo>
                  <a:lnTo>
                    <a:pt x="629" y="887"/>
                  </a:lnTo>
                  <a:lnTo>
                    <a:pt x="629" y="887"/>
                  </a:lnTo>
                  <a:lnTo>
                    <a:pt x="631" y="887"/>
                  </a:lnTo>
                  <a:lnTo>
                    <a:pt x="631" y="887"/>
                  </a:lnTo>
                  <a:lnTo>
                    <a:pt x="631" y="887"/>
                  </a:lnTo>
                  <a:lnTo>
                    <a:pt x="631" y="887"/>
                  </a:lnTo>
                  <a:lnTo>
                    <a:pt x="631" y="887"/>
                  </a:lnTo>
                  <a:lnTo>
                    <a:pt x="633" y="887"/>
                  </a:lnTo>
                  <a:lnTo>
                    <a:pt x="635" y="887"/>
                  </a:lnTo>
                  <a:lnTo>
                    <a:pt x="635" y="887"/>
                  </a:lnTo>
                  <a:lnTo>
                    <a:pt x="635" y="885"/>
                  </a:lnTo>
                  <a:lnTo>
                    <a:pt x="635" y="885"/>
                  </a:lnTo>
                  <a:lnTo>
                    <a:pt x="635" y="885"/>
                  </a:lnTo>
                  <a:lnTo>
                    <a:pt x="635" y="885"/>
                  </a:lnTo>
                  <a:lnTo>
                    <a:pt x="635" y="885"/>
                  </a:lnTo>
                  <a:close/>
                  <a:moveTo>
                    <a:pt x="643" y="389"/>
                  </a:moveTo>
                  <a:lnTo>
                    <a:pt x="643" y="389"/>
                  </a:lnTo>
                  <a:lnTo>
                    <a:pt x="645" y="391"/>
                  </a:lnTo>
                  <a:lnTo>
                    <a:pt x="643" y="389"/>
                  </a:lnTo>
                  <a:lnTo>
                    <a:pt x="643" y="389"/>
                  </a:lnTo>
                  <a:close/>
                  <a:moveTo>
                    <a:pt x="641" y="879"/>
                  </a:moveTo>
                  <a:lnTo>
                    <a:pt x="641" y="879"/>
                  </a:lnTo>
                  <a:lnTo>
                    <a:pt x="641" y="879"/>
                  </a:lnTo>
                  <a:lnTo>
                    <a:pt x="641" y="879"/>
                  </a:lnTo>
                  <a:lnTo>
                    <a:pt x="641" y="879"/>
                  </a:lnTo>
                  <a:lnTo>
                    <a:pt x="639" y="879"/>
                  </a:lnTo>
                  <a:lnTo>
                    <a:pt x="639" y="879"/>
                  </a:lnTo>
                  <a:lnTo>
                    <a:pt x="639" y="879"/>
                  </a:lnTo>
                  <a:lnTo>
                    <a:pt x="639" y="881"/>
                  </a:lnTo>
                  <a:lnTo>
                    <a:pt x="637" y="883"/>
                  </a:lnTo>
                  <a:lnTo>
                    <a:pt x="637" y="883"/>
                  </a:lnTo>
                  <a:lnTo>
                    <a:pt x="637" y="881"/>
                  </a:lnTo>
                  <a:lnTo>
                    <a:pt x="637" y="881"/>
                  </a:lnTo>
                  <a:lnTo>
                    <a:pt x="637" y="881"/>
                  </a:lnTo>
                  <a:lnTo>
                    <a:pt x="637" y="881"/>
                  </a:lnTo>
                  <a:lnTo>
                    <a:pt x="637" y="881"/>
                  </a:lnTo>
                  <a:lnTo>
                    <a:pt x="637" y="881"/>
                  </a:lnTo>
                  <a:lnTo>
                    <a:pt x="637" y="881"/>
                  </a:lnTo>
                  <a:lnTo>
                    <a:pt x="635" y="881"/>
                  </a:lnTo>
                  <a:lnTo>
                    <a:pt x="635" y="881"/>
                  </a:lnTo>
                  <a:lnTo>
                    <a:pt x="635" y="883"/>
                  </a:lnTo>
                  <a:lnTo>
                    <a:pt x="635" y="883"/>
                  </a:lnTo>
                  <a:lnTo>
                    <a:pt x="635" y="883"/>
                  </a:lnTo>
                  <a:lnTo>
                    <a:pt x="637" y="885"/>
                  </a:lnTo>
                  <a:lnTo>
                    <a:pt x="637" y="885"/>
                  </a:lnTo>
                  <a:lnTo>
                    <a:pt x="637" y="885"/>
                  </a:lnTo>
                  <a:lnTo>
                    <a:pt x="637" y="885"/>
                  </a:lnTo>
                  <a:lnTo>
                    <a:pt x="639" y="885"/>
                  </a:lnTo>
                  <a:lnTo>
                    <a:pt x="639" y="885"/>
                  </a:lnTo>
                  <a:lnTo>
                    <a:pt x="639" y="885"/>
                  </a:lnTo>
                  <a:lnTo>
                    <a:pt x="639" y="883"/>
                  </a:lnTo>
                  <a:lnTo>
                    <a:pt x="639" y="883"/>
                  </a:lnTo>
                  <a:lnTo>
                    <a:pt x="639" y="883"/>
                  </a:lnTo>
                  <a:lnTo>
                    <a:pt x="641" y="883"/>
                  </a:lnTo>
                  <a:lnTo>
                    <a:pt x="641" y="883"/>
                  </a:lnTo>
                  <a:lnTo>
                    <a:pt x="641" y="883"/>
                  </a:lnTo>
                  <a:lnTo>
                    <a:pt x="641" y="883"/>
                  </a:lnTo>
                  <a:lnTo>
                    <a:pt x="641" y="881"/>
                  </a:lnTo>
                  <a:lnTo>
                    <a:pt x="641" y="881"/>
                  </a:lnTo>
                  <a:lnTo>
                    <a:pt x="641" y="881"/>
                  </a:lnTo>
                  <a:lnTo>
                    <a:pt x="641" y="881"/>
                  </a:lnTo>
                  <a:lnTo>
                    <a:pt x="641" y="881"/>
                  </a:lnTo>
                  <a:lnTo>
                    <a:pt x="641" y="881"/>
                  </a:lnTo>
                  <a:lnTo>
                    <a:pt x="641" y="881"/>
                  </a:lnTo>
                  <a:lnTo>
                    <a:pt x="643" y="879"/>
                  </a:lnTo>
                  <a:lnTo>
                    <a:pt x="641" y="879"/>
                  </a:lnTo>
                  <a:lnTo>
                    <a:pt x="641" y="879"/>
                  </a:lnTo>
                  <a:close/>
                  <a:moveTo>
                    <a:pt x="786" y="836"/>
                  </a:moveTo>
                  <a:lnTo>
                    <a:pt x="786" y="834"/>
                  </a:lnTo>
                  <a:lnTo>
                    <a:pt x="786" y="834"/>
                  </a:lnTo>
                  <a:lnTo>
                    <a:pt x="786" y="836"/>
                  </a:lnTo>
                  <a:lnTo>
                    <a:pt x="786" y="836"/>
                  </a:lnTo>
                  <a:lnTo>
                    <a:pt x="786" y="836"/>
                  </a:lnTo>
                  <a:lnTo>
                    <a:pt x="786" y="836"/>
                  </a:lnTo>
                  <a:lnTo>
                    <a:pt x="786" y="836"/>
                  </a:lnTo>
                  <a:lnTo>
                    <a:pt x="786" y="836"/>
                  </a:lnTo>
                  <a:lnTo>
                    <a:pt x="786" y="838"/>
                  </a:lnTo>
                  <a:lnTo>
                    <a:pt x="786" y="838"/>
                  </a:lnTo>
                  <a:lnTo>
                    <a:pt x="789" y="838"/>
                  </a:lnTo>
                  <a:lnTo>
                    <a:pt x="789" y="838"/>
                  </a:lnTo>
                  <a:lnTo>
                    <a:pt x="789" y="836"/>
                  </a:lnTo>
                  <a:lnTo>
                    <a:pt x="789" y="836"/>
                  </a:lnTo>
                  <a:lnTo>
                    <a:pt x="786" y="836"/>
                  </a:lnTo>
                  <a:close/>
                  <a:moveTo>
                    <a:pt x="834" y="830"/>
                  </a:moveTo>
                  <a:lnTo>
                    <a:pt x="834" y="830"/>
                  </a:lnTo>
                  <a:lnTo>
                    <a:pt x="834" y="830"/>
                  </a:lnTo>
                  <a:lnTo>
                    <a:pt x="834" y="828"/>
                  </a:lnTo>
                  <a:lnTo>
                    <a:pt x="834" y="828"/>
                  </a:lnTo>
                  <a:lnTo>
                    <a:pt x="834" y="828"/>
                  </a:lnTo>
                  <a:lnTo>
                    <a:pt x="834" y="828"/>
                  </a:lnTo>
                  <a:lnTo>
                    <a:pt x="834" y="828"/>
                  </a:lnTo>
                  <a:lnTo>
                    <a:pt x="834" y="828"/>
                  </a:lnTo>
                  <a:lnTo>
                    <a:pt x="832" y="828"/>
                  </a:lnTo>
                  <a:lnTo>
                    <a:pt x="832" y="828"/>
                  </a:lnTo>
                  <a:lnTo>
                    <a:pt x="832" y="828"/>
                  </a:lnTo>
                  <a:lnTo>
                    <a:pt x="832" y="828"/>
                  </a:lnTo>
                  <a:lnTo>
                    <a:pt x="832" y="830"/>
                  </a:lnTo>
                  <a:lnTo>
                    <a:pt x="834" y="830"/>
                  </a:lnTo>
                  <a:close/>
                  <a:moveTo>
                    <a:pt x="827" y="824"/>
                  </a:moveTo>
                  <a:lnTo>
                    <a:pt x="827" y="824"/>
                  </a:lnTo>
                  <a:lnTo>
                    <a:pt x="827" y="824"/>
                  </a:lnTo>
                  <a:lnTo>
                    <a:pt x="827" y="824"/>
                  </a:lnTo>
                  <a:lnTo>
                    <a:pt x="827" y="824"/>
                  </a:lnTo>
                  <a:lnTo>
                    <a:pt x="830" y="824"/>
                  </a:lnTo>
                  <a:lnTo>
                    <a:pt x="830" y="824"/>
                  </a:lnTo>
                  <a:lnTo>
                    <a:pt x="830" y="824"/>
                  </a:lnTo>
                  <a:lnTo>
                    <a:pt x="830" y="826"/>
                  </a:lnTo>
                  <a:lnTo>
                    <a:pt x="830" y="826"/>
                  </a:lnTo>
                  <a:lnTo>
                    <a:pt x="832" y="826"/>
                  </a:lnTo>
                  <a:lnTo>
                    <a:pt x="832" y="824"/>
                  </a:lnTo>
                  <a:lnTo>
                    <a:pt x="832" y="824"/>
                  </a:lnTo>
                  <a:lnTo>
                    <a:pt x="832" y="824"/>
                  </a:lnTo>
                  <a:lnTo>
                    <a:pt x="832" y="822"/>
                  </a:lnTo>
                  <a:lnTo>
                    <a:pt x="832" y="822"/>
                  </a:lnTo>
                  <a:lnTo>
                    <a:pt x="830" y="822"/>
                  </a:lnTo>
                  <a:lnTo>
                    <a:pt x="830" y="822"/>
                  </a:lnTo>
                  <a:lnTo>
                    <a:pt x="830" y="822"/>
                  </a:lnTo>
                  <a:lnTo>
                    <a:pt x="830" y="822"/>
                  </a:lnTo>
                  <a:lnTo>
                    <a:pt x="830" y="822"/>
                  </a:lnTo>
                  <a:lnTo>
                    <a:pt x="830" y="822"/>
                  </a:lnTo>
                  <a:lnTo>
                    <a:pt x="830" y="822"/>
                  </a:lnTo>
                  <a:lnTo>
                    <a:pt x="827" y="822"/>
                  </a:lnTo>
                  <a:lnTo>
                    <a:pt x="827" y="822"/>
                  </a:lnTo>
                  <a:lnTo>
                    <a:pt x="827" y="822"/>
                  </a:lnTo>
                  <a:lnTo>
                    <a:pt x="825" y="822"/>
                  </a:lnTo>
                  <a:lnTo>
                    <a:pt x="825" y="824"/>
                  </a:lnTo>
                  <a:lnTo>
                    <a:pt x="825" y="824"/>
                  </a:lnTo>
                  <a:lnTo>
                    <a:pt x="825" y="824"/>
                  </a:lnTo>
                  <a:lnTo>
                    <a:pt x="825" y="824"/>
                  </a:lnTo>
                  <a:lnTo>
                    <a:pt x="827" y="824"/>
                  </a:lnTo>
                  <a:close/>
                  <a:moveTo>
                    <a:pt x="789" y="828"/>
                  </a:moveTo>
                  <a:lnTo>
                    <a:pt x="786" y="828"/>
                  </a:lnTo>
                  <a:lnTo>
                    <a:pt x="786" y="828"/>
                  </a:lnTo>
                  <a:lnTo>
                    <a:pt x="784" y="828"/>
                  </a:lnTo>
                  <a:lnTo>
                    <a:pt x="784" y="830"/>
                  </a:lnTo>
                  <a:lnTo>
                    <a:pt x="784" y="830"/>
                  </a:lnTo>
                  <a:lnTo>
                    <a:pt x="784" y="830"/>
                  </a:lnTo>
                  <a:lnTo>
                    <a:pt x="786" y="830"/>
                  </a:lnTo>
                  <a:lnTo>
                    <a:pt x="786" y="830"/>
                  </a:lnTo>
                  <a:lnTo>
                    <a:pt x="786" y="830"/>
                  </a:lnTo>
                  <a:lnTo>
                    <a:pt x="789" y="830"/>
                  </a:lnTo>
                  <a:lnTo>
                    <a:pt x="789" y="830"/>
                  </a:lnTo>
                  <a:lnTo>
                    <a:pt x="789" y="830"/>
                  </a:lnTo>
                  <a:lnTo>
                    <a:pt x="789" y="828"/>
                  </a:lnTo>
                  <a:lnTo>
                    <a:pt x="789" y="828"/>
                  </a:lnTo>
                  <a:lnTo>
                    <a:pt x="789" y="828"/>
                  </a:lnTo>
                  <a:close/>
                  <a:moveTo>
                    <a:pt x="825" y="826"/>
                  </a:moveTo>
                  <a:lnTo>
                    <a:pt x="823" y="826"/>
                  </a:lnTo>
                  <a:lnTo>
                    <a:pt x="823" y="826"/>
                  </a:lnTo>
                  <a:lnTo>
                    <a:pt x="821" y="826"/>
                  </a:lnTo>
                  <a:lnTo>
                    <a:pt x="821" y="826"/>
                  </a:lnTo>
                  <a:lnTo>
                    <a:pt x="821" y="826"/>
                  </a:lnTo>
                  <a:lnTo>
                    <a:pt x="819" y="826"/>
                  </a:lnTo>
                  <a:lnTo>
                    <a:pt x="819" y="826"/>
                  </a:lnTo>
                  <a:lnTo>
                    <a:pt x="819" y="828"/>
                  </a:lnTo>
                  <a:lnTo>
                    <a:pt x="819" y="828"/>
                  </a:lnTo>
                  <a:lnTo>
                    <a:pt x="819" y="828"/>
                  </a:lnTo>
                  <a:lnTo>
                    <a:pt x="819" y="828"/>
                  </a:lnTo>
                  <a:lnTo>
                    <a:pt x="823" y="830"/>
                  </a:lnTo>
                  <a:lnTo>
                    <a:pt x="823" y="832"/>
                  </a:lnTo>
                  <a:lnTo>
                    <a:pt x="823" y="832"/>
                  </a:lnTo>
                  <a:lnTo>
                    <a:pt x="823" y="832"/>
                  </a:lnTo>
                  <a:lnTo>
                    <a:pt x="825" y="832"/>
                  </a:lnTo>
                  <a:lnTo>
                    <a:pt x="825" y="830"/>
                  </a:lnTo>
                  <a:lnTo>
                    <a:pt x="825" y="830"/>
                  </a:lnTo>
                  <a:lnTo>
                    <a:pt x="825" y="828"/>
                  </a:lnTo>
                  <a:lnTo>
                    <a:pt x="825" y="826"/>
                  </a:lnTo>
                  <a:lnTo>
                    <a:pt x="825" y="826"/>
                  </a:lnTo>
                  <a:lnTo>
                    <a:pt x="825" y="826"/>
                  </a:lnTo>
                  <a:close/>
                  <a:moveTo>
                    <a:pt x="795" y="832"/>
                  </a:moveTo>
                  <a:lnTo>
                    <a:pt x="795" y="830"/>
                  </a:lnTo>
                  <a:lnTo>
                    <a:pt x="795" y="830"/>
                  </a:lnTo>
                  <a:lnTo>
                    <a:pt x="795" y="830"/>
                  </a:lnTo>
                  <a:lnTo>
                    <a:pt x="795" y="830"/>
                  </a:lnTo>
                  <a:lnTo>
                    <a:pt x="795" y="830"/>
                  </a:lnTo>
                  <a:lnTo>
                    <a:pt x="793" y="830"/>
                  </a:lnTo>
                  <a:lnTo>
                    <a:pt x="793" y="830"/>
                  </a:lnTo>
                  <a:lnTo>
                    <a:pt x="793" y="830"/>
                  </a:lnTo>
                  <a:lnTo>
                    <a:pt x="793" y="832"/>
                  </a:lnTo>
                  <a:lnTo>
                    <a:pt x="793" y="832"/>
                  </a:lnTo>
                  <a:lnTo>
                    <a:pt x="795" y="832"/>
                  </a:lnTo>
                  <a:lnTo>
                    <a:pt x="795" y="834"/>
                  </a:lnTo>
                  <a:lnTo>
                    <a:pt x="795" y="834"/>
                  </a:lnTo>
                  <a:lnTo>
                    <a:pt x="795" y="832"/>
                  </a:lnTo>
                  <a:lnTo>
                    <a:pt x="795" y="832"/>
                  </a:lnTo>
                  <a:lnTo>
                    <a:pt x="795" y="832"/>
                  </a:lnTo>
                  <a:lnTo>
                    <a:pt x="795" y="832"/>
                  </a:lnTo>
                  <a:lnTo>
                    <a:pt x="795" y="832"/>
                  </a:lnTo>
                  <a:close/>
                  <a:moveTo>
                    <a:pt x="819" y="834"/>
                  </a:moveTo>
                  <a:lnTo>
                    <a:pt x="819" y="834"/>
                  </a:lnTo>
                  <a:lnTo>
                    <a:pt x="819" y="834"/>
                  </a:lnTo>
                  <a:lnTo>
                    <a:pt x="819" y="834"/>
                  </a:lnTo>
                  <a:lnTo>
                    <a:pt x="819" y="832"/>
                  </a:lnTo>
                  <a:lnTo>
                    <a:pt x="819" y="832"/>
                  </a:lnTo>
                  <a:lnTo>
                    <a:pt x="819" y="832"/>
                  </a:lnTo>
                  <a:lnTo>
                    <a:pt x="817" y="832"/>
                  </a:lnTo>
                  <a:lnTo>
                    <a:pt x="817" y="832"/>
                  </a:lnTo>
                  <a:lnTo>
                    <a:pt x="819" y="832"/>
                  </a:lnTo>
                  <a:lnTo>
                    <a:pt x="819" y="832"/>
                  </a:lnTo>
                  <a:lnTo>
                    <a:pt x="819" y="830"/>
                  </a:lnTo>
                  <a:lnTo>
                    <a:pt x="817" y="830"/>
                  </a:lnTo>
                  <a:lnTo>
                    <a:pt x="817" y="830"/>
                  </a:lnTo>
                  <a:lnTo>
                    <a:pt x="817" y="830"/>
                  </a:lnTo>
                  <a:lnTo>
                    <a:pt x="817" y="828"/>
                  </a:lnTo>
                  <a:lnTo>
                    <a:pt x="817" y="828"/>
                  </a:lnTo>
                  <a:lnTo>
                    <a:pt x="819" y="826"/>
                  </a:lnTo>
                  <a:lnTo>
                    <a:pt x="819" y="826"/>
                  </a:lnTo>
                  <a:lnTo>
                    <a:pt x="819" y="824"/>
                  </a:lnTo>
                  <a:lnTo>
                    <a:pt x="819" y="824"/>
                  </a:lnTo>
                  <a:lnTo>
                    <a:pt x="819" y="824"/>
                  </a:lnTo>
                  <a:lnTo>
                    <a:pt x="817" y="824"/>
                  </a:lnTo>
                  <a:lnTo>
                    <a:pt x="817" y="824"/>
                  </a:lnTo>
                  <a:lnTo>
                    <a:pt x="817" y="826"/>
                  </a:lnTo>
                  <a:lnTo>
                    <a:pt x="817" y="826"/>
                  </a:lnTo>
                  <a:lnTo>
                    <a:pt x="817" y="828"/>
                  </a:lnTo>
                  <a:lnTo>
                    <a:pt x="817" y="828"/>
                  </a:lnTo>
                  <a:lnTo>
                    <a:pt x="817" y="826"/>
                  </a:lnTo>
                  <a:lnTo>
                    <a:pt x="815" y="826"/>
                  </a:lnTo>
                  <a:lnTo>
                    <a:pt x="815" y="826"/>
                  </a:lnTo>
                  <a:lnTo>
                    <a:pt x="815" y="828"/>
                  </a:lnTo>
                  <a:lnTo>
                    <a:pt x="815" y="828"/>
                  </a:lnTo>
                  <a:lnTo>
                    <a:pt x="815" y="828"/>
                  </a:lnTo>
                  <a:lnTo>
                    <a:pt x="815" y="828"/>
                  </a:lnTo>
                  <a:lnTo>
                    <a:pt x="815" y="828"/>
                  </a:lnTo>
                  <a:lnTo>
                    <a:pt x="815" y="828"/>
                  </a:lnTo>
                  <a:lnTo>
                    <a:pt x="815" y="826"/>
                  </a:lnTo>
                  <a:lnTo>
                    <a:pt x="815" y="826"/>
                  </a:lnTo>
                  <a:lnTo>
                    <a:pt x="815" y="824"/>
                  </a:lnTo>
                  <a:lnTo>
                    <a:pt x="815" y="822"/>
                  </a:lnTo>
                  <a:lnTo>
                    <a:pt x="813" y="822"/>
                  </a:lnTo>
                  <a:lnTo>
                    <a:pt x="813" y="824"/>
                  </a:lnTo>
                  <a:lnTo>
                    <a:pt x="811" y="824"/>
                  </a:lnTo>
                  <a:lnTo>
                    <a:pt x="809" y="826"/>
                  </a:lnTo>
                  <a:lnTo>
                    <a:pt x="809" y="826"/>
                  </a:lnTo>
                  <a:lnTo>
                    <a:pt x="809" y="828"/>
                  </a:lnTo>
                  <a:lnTo>
                    <a:pt x="809" y="828"/>
                  </a:lnTo>
                  <a:lnTo>
                    <a:pt x="809" y="830"/>
                  </a:lnTo>
                  <a:lnTo>
                    <a:pt x="809" y="830"/>
                  </a:lnTo>
                  <a:lnTo>
                    <a:pt x="809" y="830"/>
                  </a:lnTo>
                  <a:lnTo>
                    <a:pt x="809" y="830"/>
                  </a:lnTo>
                  <a:lnTo>
                    <a:pt x="809" y="830"/>
                  </a:lnTo>
                  <a:lnTo>
                    <a:pt x="809" y="832"/>
                  </a:lnTo>
                  <a:lnTo>
                    <a:pt x="809" y="832"/>
                  </a:lnTo>
                  <a:lnTo>
                    <a:pt x="809" y="832"/>
                  </a:lnTo>
                  <a:lnTo>
                    <a:pt x="809" y="832"/>
                  </a:lnTo>
                  <a:lnTo>
                    <a:pt x="811" y="834"/>
                  </a:lnTo>
                  <a:lnTo>
                    <a:pt x="811" y="834"/>
                  </a:lnTo>
                  <a:lnTo>
                    <a:pt x="809" y="836"/>
                  </a:lnTo>
                  <a:lnTo>
                    <a:pt x="809" y="836"/>
                  </a:lnTo>
                  <a:lnTo>
                    <a:pt x="811" y="836"/>
                  </a:lnTo>
                  <a:lnTo>
                    <a:pt x="811" y="834"/>
                  </a:lnTo>
                  <a:lnTo>
                    <a:pt x="811" y="834"/>
                  </a:lnTo>
                  <a:lnTo>
                    <a:pt x="811" y="834"/>
                  </a:lnTo>
                  <a:lnTo>
                    <a:pt x="813" y="834"/>
                  </a:lnTo>
                  <a:lnTo>
                    <a:pt x="813" y="834"/>
                  </a:lnTo>
                  <a:lnTo>
                    <a:pt x="813" y="834"/>
                  </a:lnTo>
                  <a:lnTo>
                    <a:pt x="813" y="834"/>
                  </a:lnTo>
                  <a:lnTo>
                    <a:pt x="813" y="832"/>
                  </a:lnTo>
                  <a:lnTo>
                    <a:pt x="815" y="832"/>
                  </a:lnTo>
                  <a:lnTo>
                    <a:pt x="815" y="834"/>
                  </a:lnTo>
                  <a:lnTo>
                    <a:pt x="815" y="834"/>
                  </a:lnTo>
                  <a:lnTo>
                    <a:pt x="813" y="834"/>
                  </a:lnTo>
                  <a:lnTo>
                    <a:pt x="813" y="834"/>
                  </a:lnTo>
                  <a:lnTo>
                    <a:pt x="815" y="834"/>
                  </a:lnTo>
                  <a:lnTo>
                    <a:pt x="815" y="836"/>
                  </a:lnTo>
                  <a:lnTo>
                    <a:pt x="815" y="836"/>
                  </a:lnTo>
                  <a:lnTo>
                    <a:pt x="815" y="836"/>
                  </a:lnTo>
                  <a:lnTo>
                    <a:pt x="817" y="836"/>
                  </a:lnTo>
                  <a:lnTo>
                    <a:pt x="817" y="836"/>
                  </a:lnTo>
                  <a:lnTo>
                    <a:pt x="817" y="838"/>
                  </a:lnTo>
                  <a:lnTo>
                    <a:pt x="819" y="836"/>
                  </a:lnTo>
                  <a:lnTo>
                    <a:pt x="819" y="836"/>
                  </a:lnTo>
                  <a:lnTo>
                    <a:pt x="819" y="834"/>
                  </a:lnTo>
                  <a:lnTo>
                    <a:pt x="817" y="834"/>
                  </a:lnTo>
                  <a:lnTo>
                    <a:pt x="819" y="834"/>
                  </a:lnTo>
                  <a:lnTo>
                    <a:pt x="819" y="834"/>
                  </a:lnTo>
                  <a:lnTo>
                    <a:pt x="821" y="834"/>
                  </a:lnTo>
                  <a:lnTo>
                    <a:pt x="821" y="834"/>
                  </a:lnTo>
                  <a:lnTo>
                    <a:pt x="819" y="834"/>
                  </a:lnTo>
                  <a:close/>
                  <a:moveTo>
                    <a:pt x="838" y="836"/>
                  </a:moveTo>
                  <a:lnTo>
                    <a:pt x="838" y="838"/>
                  </a:lnTo>
                  <a:lnTo>
                    <a:pt x="838" y="838"/>
                  </a:lnTo>
                  <a:lnTo>
                    <a:pt x="836" y="838"/>
                  </a:lnTo>
                  <a:lnTo>
                    <a:pt x="838" y="836"/>
                  </a:lnTo>
                  <a:lnTo>
                    <a:pt x="838" y="834"/>
                  </a:lnTo>
                  <a:lnTo>
                    <a:pt x="838" y="834"/>
                  </a:lnTo>
                  <a:lnTo>
                    <a:pt x="838" y="834"/>
                  </a:lnTo>
                  <a:lnTo>
                    <a:pt x="838" y="832"/>
                  </a:lnTo>
                  <a:lnTo>
                    <a:pt x="838" y="832"/>
                  </a:lnTo>
                  <a:lnTo>
                    <a:pt x="838" y="832"/>
                  </a:lnTo>
                  <a:lnTo>
                    <a:pt x="838" y="830"/>
                  </a:lnTo>
                  <a:lnTo>
                    <a:pt x="838" y="832"/>
                  </a:lnTo>
                  <a:lnTo>
                    <a:pt x="836" y="832"/>
                  </a:lnTo>
                  <a:lnTo>
                    <a:pt x="836" y="832"/>
                  </a:lnTo>
                  <a:lnTo>
                    <a:pt x="836" y="834"/>
                  </a:lnTo>
                  <a:lnTo>
                    <a:pt x="836" y="834"/>
                  </a:lnTo>
                  <a:lnTo>
                    <a:pt x="836" y="834"/>
                  </a:lnTo>
                  <a:lnTo>
                    <a:pt x="836" y="834"/>
                  </a:lnTo>
                  <a:lnTo>
                    <a:pt x="836" y="834"/>
                  </a:lnTo>
                  <a:lnTo>
                    <a:pt x="836" y="834"/>
                  </a:lnTo>
                  <a:lnTo>
                    <a:pt x="836" y="834"/>
                  </a:lnTo>
                  <a:lnTo>
                    <a:pt x="836" y="834"/>
                  </a:lnTo>
                  <a:lnTo>
                    <a:pt x="836" y="836"/>
                  </a:lnTo>
                  <a:lnTo>
                    <a:pt x="836" y="836"/>
                  </a:lnTo>
                  <a:lnTo>
                    <a:pt x="832" y="834"/>
                  </a:lnTo>
                  <a:lnTo>
                    <a:pt x="834" y="836"/>
                  </a:lnTo>
                  <a:lnTo>
                    <a:pt x="834" y="838"/>
                  </a:lnTo>
                  <a:lnTo>
                    <a:pt x="834" y="840"/>
                  </a:lnTo>
                  <a:lnTo>
                    <a:pt x="834" y="840"/>
                  </a:lnTo>
                  <a:lnTo>
                    <a:pt x="834" y="840"/>
                  </a:lnTo>
                  <a:lnTo>
                    <a:pt x="834" y="840"/>
                  </a:lnTo>
                  <a:lnTo>
                    <a:pt x="834" y="840"/>
                  </a:lnTo>
                  <a:lnTo>
                    <a:pt x="834" y="840"/>
                  </a:lnTo>
                  <a:lnTo>
                    <a:pt x="834" y="840"/>
                  </a:lnTo>
                  <a:lnTo>
                    <a:pt x="832" y="840"/>
                  </a:lnTo>
                  <a:lnTo>
                    <a:pt x="832" y="838"/>
                  </a:lnTo>
                  <a:lnTo>
                    <a:pt x="832" y="838"/>
                  </a:lnTo>
                  <a:lnTo>
                    <a:pt x="832" y="838"/>
                  </a:lnTo>
                  <a:lnTo>
                    <a:pt x="832" y="838"/>
                  </a:lnTo>
                  <a:lnTo>
                    <a:pt x="832" y="838"/>
                  </a:lnTo>
                  <a:lnTo>
                    <a:pt x="832" y="836"/>
                  </a:lnTo>
                  <a:lnTo>
                    <a:pt x="830" y="838"/>
                  </a:lnTo>
                  <a:lnTo>
                    <a:pt x="832" y="838"/>
                  </a:lnTo>
                  <a:lnTo>
                    <a:pt x="832" y="840"/>
                  </a:lnTo>
                  <a:lnTo>
                    <a:pt x="832" y="840"/>
                  </a:lnTo>
                  <a:lnTo>
                    <a:pt x="832" y="840"/>
                  </a:lnTo>
                  <a:lnTo>
                    <a:pt x="830" y="838"/>
                  </a:lnTo>
                  <a:lnTo>
                    <a:pt x="830" y="838"/>
                  </a:lnTo>
                  <a:lnTo>
                    <a:pt x="827" y="838"/>
                  </a:lnTo>
                  <a:lnTo>
                    <a:pt x="827" y="840"/>
                  </a:lnTo>
                  <a:lnTo>
                    <a:pt x="830" y="840"/>
                  </a:lnTo>
                  <a:lnTo>
                    <a:pt x="830" y="840"/>
                  </a:lnTo>
                  <a:lnTo>
                    <a:pt x="830" y="840"/>
                  </a:lnTo>
                  <a:lnTo>
                    <a:pt x="830" y="840"/>
                  </a:lnTo>
                  <a:lnTo>
                    <a:pt x="830" y="842"/>
                  </a:lnTo>
                  <a:lnTo>
                    <a:pt x="830" y="842"/>
                  </a:lnTo>
                  <a:lnTo>
                    <a:pt x="830" y="842"/>
                  </a:lnTo>
                  <a:lnTo>
                    <a:pt x="830" y="842"/>
                  </a:lnTo>
                  <a:lnTo>
                    <a:pt x="830" y="842"/>
                  </a:lnTo>
                  <a:lnTo>
                    <a:pt x="832" y="842"/>
                  </a:lnTo>
                  <a:lnTo>
                    <a:pt x="832" y="844"/>
                  </a:lnTo>
                  <a:lnTo>
                    <a:pt x="830" y="844"/>
                  </a:lnTo>
                  <a:lnTo>
                    <a:pt x="830" y="844"/>
                  </a:lnTo>
                  <a:lnTo>
                    <a:pt x="830" y="844"/>
                  </a:lnTo>
                  <a:lnTo>
                    <a:pt x="827" y="848"/>
                  </a:lnTo>
                  <a:lnTo>
                    <a:pt x="827" y="848"/>
                  </a:lnTo>
                  <a:lnTo>
                    <a:pt x="825" y="848"/>
                  </a:lnTo>
                  <a:lnTo>
                    <a:pt x="825" y="848"/>
                  </a:lnTo>
                  <a:lnTo>
                    <a:pt x="825" y="850"/>
                  </a:lnTo>
                  <a:lnTo>
                    <a:pt x="825" y="850"/>
                  </a:lnTo>
                  <a:lnTo>
                    <a:pt x="825" y="850"/>
                  </a:lnTo>
                  <a:lnTo>
                    <a:pt x="827" y="853"/>
                  </a:lnTo>
                  <a:lnTo>
                    <a:pt x="827" y="850"/>
                  </a:lnTo>
                  <a:lnTo>
                    <a:pt x="827" y="848"/>
                  </a:lnTo>
                  <a:lnTo>
                    <a:pt x="830" y="848"/>
                  </a:lnTo>
                  <a:lnTo>
                    <a:pt x="830" y="846"/>
                  </a:lnTo>
                  <a:lnTo>
                    <a:pt x="832" y="846"/>
                  </a:lnTo>
                  <a:lnTo>
                    <a:pt x="832" y="844"/>
                  </a:lnTo>
                  <a:lnTo>
                    <a:pt x="834" y="842"/>
                  </a:lnTo>
                  <a:lnTo>
                    <a:pt x="834" y="842"/>
                  </a:lnTo>
                  <a:lnTo>
                    <a:pt x="834" y="842"/>
                  </a:lnTo>
                  <a:lnTo>
                    <a:pt x="834" y="842"/>
                  </a:lnTo>
                  <a:lnTo>
                    <a:pt x="836" y="842"/>
                  </a:lnTo>
                  <a:lnTo>
                    <a:pt x="836" y="842"/>
                  </a:lnTo>
                  <a:lnTo>
                    <a:pt x="836" y="842"/>
                  </a:lnTo>
                  <a:lnTo>
                    <a:pt x="834" y="840"/>
                  </a:lnTo>
                  <a:lnTo>
                    <a:pt x="836" y="840"/>
                  </a:lnTo>
                  <a:lnTo>
                    <a:pt x="836" y="838"/>
                  </a:lnTo>
                  <a:lnTo>
                    <a:pt x="836" y="838"/>
                  </a:lnTo>
                  <a:lnTo>
                    <a:pt x="836" y="840"/>
                  </a:lnTo>
                  <a:lnTo>
                    <a:pt x="836" y="840"/>
                  </a:lnTo>
                  <a:lnTo>
                    <a:pt x="838" y="840"/>
                  </a:lnTo>
                  <a:lnTo>
                    <a:pt x="838" y="840"/>
                  </a:lnTo>
                  <a:lnTo>
                    <a:pt x="838" y="840"/>
                  </a:lnTo>
                  <a:lnTo>
                    <a:pt x="838" y="840"/>
                  </a:lnTo>
                  <a:lnTo>
                    <a:pt x="838" y="840"/>
                  </a:lnTo>
                  <a:lnTo>
                    <a:pt x="838" y="840"/>
                  </a:lnTo>
                  <a:lnTo>
                    <a:pt x="838" y="838"/>
                  </a:lnTo>
                  <a:lnTo>
                    <a:pt x="838" y="838"/>
                  </a:lnTo>
                  <a:lnTo>
                    <a:pt x="840" y="838"/>
                  </a:lnTo>
                  <a:lnTo>
                    <a:pt x="840" y="838"/>
                  </a:lnTo>
                  <a:lnTo>
                    <a:pt x="840" y="836"/>
                  </a:lnTo>
                  <a:lnTo>
                    <a:pt x="838" y="836"/>
                  </a:lnTo>
                  <a:lnTo>
                    <a:pt x="838" y="836"/>
                  </a:lnTo>
                  <a:close/>
                  <a:moveTo>
                    <a:pt x="856" y="850"/>
                  </a:moveTo>
                  <a:lnTo>
                    <a:pt x="856" y="850"/>
                  </a:lnTo>
                  <a:lnTo>
                    <a:pt x="854" y="850"/>
                  </a:lnTo>
                  <a:lnTo>
                    <a:pt x="854" y="850"/>
                  </a:lnTo>
                  <a:lnTo>
                    <a:pt x="854" y="850"/>
                  </a:lnTo>
                  <a:lnTo>
                    <a:pt x="854" y="850"/>
                  </a:lnTo>
                  <a:lnTo>
                    <a:pt x="854" y="850"/>
                  </a:lnTo>
                  <a:lnTo>
                    <a:pt x="854" y="850"/>
                  </a:lnTo>
                  <a:lnTo>
                    <a:pt x="852" y="850"/>
                  </a:lnTo>
                  <a:lnTo>
                    <a:pt x="854" y="850"/>
                  </a:lnTo>
                  <a:lnTo>
                    <a:pt x="854" y="850"/>
                  </a:lnTo>
                  <a:lnTo>
                    <a:pt x="854" y="850"/>
                  </a:lnTo>
                  <a:lnTo>
                    <a:pt x="854" y="853"/>
                  </a:lnTo>
                  <a:lnTo>
                    <a:pt x="854" y="853"/>
                  </a:lnTo>
                  <a:lnTo>
                    <a:pt x="854" y="853"/>
                  </a:lnTo>
                  <a:lnTo>
                    <a:pt x="854" y="855"/>
                  </a:lnTo>
                  <a:lnTo>
                    <a:pt x="856" y="853"/>
                  </a:lnTo>
                  <a:lnTo>
                    <a:pt x="856" y="853"/>
                  </a:lnTo>
                  <a:lnTo>
                    <a:pt x="856" y="853"/>
                  </a:lnTo>
                  <a:lnTo>
                    <a:pt x="856" y="850"/>
                  </a:lnTo>
                  <a:lnTo>
                    <a:pt x="856" y="850"/>
                  </a:lnTo>
                  <a:close/>
                  <a:moveTo>
                    <a:pt x="858" y="805"/>
                  </a:moveTo>
                  <a:lnTo>
                    <a:pt x="856" y="805"/>
                  </a:lnTo>
                  <a:lnTo>
                    <a:pt x="856" y="805"/>
                  </a:lnTo>
                  <a:lnTo>
                    <a:pt x="856" y="807"/>
                  </a:lnTo>
                  <a:lnTo>
                    <a:pt x="856" y="807"/>
                  </a:lnTo>
                  <a:lnTo>
                    <a:pt x="856" y="807"/>
                  </a:lnTo>
                  <a:lnTo>
                    <a:pt x="856" y="807"/>
                  </a:lnTo>
                  <a:lnTo>
                    <a:pt x="858" y="807"/>
                  </a:lnTo>
                  <a:lnTo>
                    <a:pt x="858" y="807"/>
                  </a:lnTo>
                  <a:lnTo>
                    <a:pt x="858" y="807"/>
                  </a:lnTo>
                  <a:lnTo>
                    <a:pt x="858" y="805"/>
                  </a:lnTo>
                  <a:lnTo>
                    <a:pt x="858" y="805"/>
                  </a:lnTo>
                  <a:close/>
                  <a:moveTo>
                    <a:pt x="875" y="803"/>
                  </a:moveTo>
                  <a:lnTo>
                    <a:pt x="875" y="803"/>
                  </a:lnTo>
                  <a:lnTo>
                    <a:pt x="875" y="803"/>
                  </a:lnTo>
                  <a:lnTo>
                    <a:pt x="873" y="803"/>
                  </a:lnTo>
                  <a:lnTo>
                    <a:pt x="873" y="803"/>
                  </a:lnTo>
                  <a:lnTo>
                    <a:pt x="873" y="801"/>
                  </a:lnTo>
                  <a:lnTo>
                    <a:pt x="870" y="801"/>
                  </a:lnTo>
                  <a:lnTo>
                    <a:pt x="870" y="803"/>
                  </a:lnTo>
                  <a:lnTo>
                    <a:pt x="870" y="803"/>
                  </a:lnTo>
                  <a:lnTo>
                    <a:pt x="868" y="805"/>
                  </a:lnTo>
                  <a:lnTo>
                    <a:pt x="868" y="805"/>
                  </a:lnTo>
                  <a:lnTo>
                    <a:pt x="868" y="805"/>
                  </a:lnTo>
                  <a:lnTo>
                    <a:pt x="870" y="807"/>
                  </a:lnTo>
                  <a:lnTo>
                    <a:pt x="870" y="807"/>
                  </a:lnTo>
                  <a:lnTo>
                    <a:pt x="870" y="805"/>
                  </a:lnTo>
                  <a:lnTo>
                    <a:pt x="870" y="805"/>
                  </a:lnTo>
                  <a:lnTo>
                    <a:pt x="870" y="805"/>
                  </a:lnTo>
                  <a:lnTo>
                    <a:pt x="870" y="805"/>
                  </a:lnTo>
                  <a:lnTo>
                    <a:pt x="870" y="805"/>
                  </a:lnTo>
                  <a:lnTo>
                    <a:pt x="870" y="803"/>
                  </a:lnTo>
                  <a:lnTo>
                    <a:pt x="873" y="803"/>
                  </a:lnTo>
                  <a:lnTo>
                    <a:pt x="875" y="805"/>
                  </a:lnTo>
                  <a:lnTo>
                    <a:pt x="875" y="805"/>
                  </a:lnTo>
                  <a:lnTo>
                    <a:pt x="875" y="803"/>
                  </a:lnTo>
                  <a:close/>
                  <a:moveTo>
                    <a:pt x="852" y="846"/>
                  </a:moveTo>
                  <a:lnTo>
                    <a:pt x="852" y="846"/>
                  </a:lnTo>
                  <a:lnTo>
                    <a:pt x="852" y="846"/>
                  </a:lnTo>
                  <a:lnTo>
                    <a:pt x="852" y="846"/>
                  </a:lnTo>
                  <a:lnTo>
                    <a:pt x="852" y="846"/>
                  </a:lnTo>
                  <a:lnTo>
                    <a:pt x="852" y="846"/>
                  </a:lnTo>
                  <a:lnTo>
                    <a:pt x="852" y="844"/>
                  </a:lnTo>
                  <a:lnTo>
                    <a:pt x="852" y="846"/>
                  </a:lnTo>
                  <a:lnTo>
                    <a:pt x="852" y="844"/>
                  </a:lnTo>
                  <a:lnTo>
                    <a:pt x="852" y="844"/>
                  </a:lnTo>
                  <a:lnTo>
                    <a:pt x="854" y="844"/>
                  </a:lnTo>
                  <a:lnTo>
                    <a:pt x="852" y="844"/>
                  </a:lnTo>
                  <a:lnTo>
                    <a:pt x="852" y="844"/>
                  </a:lnTo>
                  <a:lnTo>
                    <a:pt x="850" y="844"/>
                  </a:lnTo>
                  <a:lnTo>
                    <a:pt x="850" y="844"/>
                  </a:lnTo>
                  <a:lnTo>
                    <a:pt x="850" y="844"/>
                  </a:lnTo>
                  <a:lnTo>
                    <a:pt x="850" y="844"/>
                  </a:lnTo>
                  <a:lnTo>
                    <a:pt x="850" y="844"/>
                  </a:lnTo>
                  <a:lnTo>
                    <a:pt x="848" y="846"/>
                  </a:lnTo>
                  <a:lnTo>
                    <a:pt x="850" y="846"/>
                  </a:lnTo>
                  <a:lnTo>
                    <a:pt x="850" y="846"/>
                  </a:lnTo>
                  <a:lnTo>
                    <a:pt x="850" y="848"/>
                  </a:lnTo>
                  <a:lnTo>
                    <a:pt x="850" y="848"/>
                  </a:lnTo>
                  <a:lnTo>
                    <a:pt x="850" y="848"/>
                  </a:lnTo>
                  <a:lnTo>
                    <a:pt x="850" y="848"/>
                  </a:lnTo>
                  <a:lnTo>
                    <a:pt x="850" y="848"/>
                  </a:lnTo>
                  <a:lnTo>
                    <a:pt x="850" y="848"/>
                  </a:lnTo>
                  <a:lnTo>
                    <a:pt x="850" y="848"/>
                  </a:lnTo>
                  <a:lnTo>
                    <a:pt x="850" y="848"/>
                  </a:lnTo>
                  <a:lnTo>
                    <a:pt x="850" y="850"/>
                  </a:lnTo>
                  <a:lnTo>
                    <a:pt x="850" y="850"/>
                  </a:lnTo>
                  <a:lnTo>
                    <a:pt x="852" y="850"/>
                  </a:lnTo>
                  <a:lnTo>
                    <a:pt x="852" y="848"/>
                  </a:lnTo>
                  <a:lnTo>
                    <a:pt x="852" y="846"/>
                  </a:lnTo>
                  <a:close/>
                  <a:moveTo>
                    <a:pt x="846" y="857"/>
                  </a:moveTo>
                  <a:lnTo>
                    <a:pt x="846" y="857"/>
                  </a:lnTo>
                  <a:lnTo>
                    <a:pt x="846" y="857"/>
                  </a:lnTo>
                  <a:lnTo>
                    <a:pt x="846" y="857"/>
                  </a:lnTo>
                  <a:lnTo>
                    <a:pt x="846" y="857"/>
                  </a:lnTo>
                  <a:lnTo>
                    <a:pt x="846" y="857"/>
                  </a:lnTo>
                  <a:lnTo>
                    <a:pt x="844" y="857"/>
                  </a:lnTo>
                  <a:lnTo>
                    <a:pt x="844" y="857"/>
                  </a:lnTo>
                  <a:lnTo>
                    <a:pt x="844" y="857"/>
                  </a:lnTo>
                  <a:lnTo>
                    <a:pt x="844" y="857"/>
                  </a:lnTo>
                  <a:lnTo>
                    <a:pt x="844" y="859"/>
                  </a:lnTo>
                  <a:lnTo>
                    <a:pt x="844" y="859"/>
                  </a:lnTo>
                  <a:lnTo>
                    <a:pt x="844" y="859"/>
                  </a:lnTo>
                  <a:lnTo>
                    <a:pt x="844" y="859"/>
                  </a:lnTo>
                  <a:lnTo>
                    <a:pt x="846" y="859"/>
                  </a:lnTo>
                  <a:lnTo>
                    <a:pt x="846" y="859"/>
                  </a:lnTo>
                  <a:lnTo>
                    <a:pt x="846" y="859"/>
                  </a:lnTo>
                  <a:lnTo>
                    <a:pt x="846" y="859"/>
                  </a:lnTo>
                  <a:lnTo>
                    <a:pt x="848" y="859"/>
                  </a:lnTo>
                  <a:lnTo>
                    <a:pt x="848" y="859"/>
                  </a:lnTo>
                  <a:lnTo>
                    <a:pt x="846" y="857"/>
                  </a:lnTo>
                  <a:close/>
                  <a:moveTo>
                    <a:pt x="705" y="301"/>
                  </a:moveTo>
                  <a:lnTo>
                    <a:pt x="705" y="301"/>
                  </a:lnTo>
                  <a:lnTo>
                    <a:pt x="705" y="301"/>
                  </a:lnTo>
                  <a:lnTo>
                    <a:pt x="705" y="301"/>
                  </a:lnTo>
                  <a:lnTo>
                    <a:pt x="705" y="299"/>
                  </a:lnTo>
                  <a:lnTo>
                    <a:pt x="705" y="301"/>
                  </a:lnTo>
                  <a:lnTo>
                    <a:pt x="705" y="301"/>
                  </a:lnTo>
                  <a:lnTo>
                    <a:pt x="705" y="301"/>
                  </a:lnTo>
                  <a:lnTo>
                    <a:pt x="705" y="301"/>
                  </a:lnTo>
                  <a:close/>
                  <a:moveTo>
                    <a:pt x="848" y="842"/>
                  </a:moveTo>
                  <a:lnTo>
                    <a:pt x="848" y="842"/>
                  </a:lnTo>
                  <a:lnTo>
                    <a:pt x="848" y="840"/>
                  </a:lnTo>
                  <a:lnTo>
                    <a:pt x="848" y="838"/>
                  </a:lnTo>
                  <a:lnTo>
                    <a:pt x="848" y="838"/>
                  </a:lnTo>
                  <a:lnTo>
                    <a:pt x="848" y="838"/>
                  </a:lnTo>
                  <a:lnTo>
                    <a:pt x="848" y="838"/>
                  </a:lnTo>
                  <a:lnTo>
                    <a:pt x="848" y="838"/>
                  </a:lnTo>
                  <a:lnTo>
                    <a:pt x="848" y="836"/>
                  </a:lnTo>
                  <a:lnTo>
                    <a:pt x="848" y="836"/>
                  </a:lnTo>
                  <a:lnTo>
                    <a:pt x="848" y="836"/>
                  </a:lnTo>
                  <a:lnTo>
                    <a:pt x="848" y="836"/>
                  </a:lnTo>
                  <a:lnTo>
                    <a:pt x="848" y="834"/>
                  </a:lnTo>
                  <a:lnTo>
                    <a:pt x="848" y="834"/>
                  </a:lnTo>
                  <a:lnTo>
                    <a:pt x="848" y="834"/>
                  </a:lnTo>
                  <a:lnTo>
                    <a:pt x="848" y="834"/>
                  </a:lnTo>
                  <a:lnTo>
                    <a:pt x="848" y="834"/>
                  </a:lnTo>
                  <a:lnTo>
                    <a:pt x="848" y="836"/>
                  </a:lnTo>
                  <a:lnTo>
                    <a:pt x="848" y="836"/>
                  </a:lnTo>
                  <a:lnTo>
                    <a:pt x="848" y="836"/>
                  </a:lnTo>
                  <a:lnTo>
                    <a:pt x="848" y="836"/>
                  </a:lnTo>
                  <a:lnTo>
                    <a:pt x="846" y="836"/>
                  </a:lnTo>
                  <a:lnTo>
                    <a:pt x="846" y="836"/>
                  </a:lnTo>
                  <a:lnTo>
                    <a:pt x="846" y="838"/>
                  </a:lnTo>
                  <a:lnTo>
                    <a:pt x="846" y="838"/>
                  </a:lnTo>
                  <a:lnTo>
                    <a:pt x="846" y="838"/>
                  </a:lnTo>
                  <a:lnTo>
                    <a:pt x="848" y="838"/>
                  </a:lnTo>
                  <a:lnTo>
                    <a:pt x="848" y="838"/>
                  </a:lnTo>
                  <a:lnTo>
                    <a:pt x="848" y="840"/>
                  </a:lnTo>
                  <a:lnTo>
                    <a:pt x="846" y="840"/>
                  </a:lnTo>
                  <a:lnTo>
                    <a:pt x="846" y="840"/>
                  </a:lnTo>
                  <a:lnTo>
                    <a:pt x="846" y="840"/>
                  </a:lnTo>
                  <a:lnTo>
                    <a:pt x="846" y="840"/>
                  </a:lnTo>
                  <a:lnTo>
                    <a:pt x="846" y="840"/>
                  </a:lnTo>
                  <a:lnTo>
                    <a:pt x="844" y="840"/>
                  </a:lnTo>
                  <a:lnTo>
                    <a:pt x="844" y="840"/>
                  </a:lnTo>
                  <a:lnTo>
                    <a:pt x="844" y="840"/>
                  </a:lnTo>
                  <a:lnTo>
                    <a:pt x="846" y="840"/>
                  </a:lnTo>
                  <a:lnTo>
                    <a:pt x="846" y="840"/>
                  </a:lnTo>
                  <a:lnTo>
                    <a:pt x="846" y="842"/>
                  </a:lnTo>
                  <a:lnTo>
                    <a:pt x="846" y="842"/>
                  </a:lnTo>
                  <a:lnTo>
                    <a:pt x="846" y="842"/>
                  </a:lnTo>
                  <a:lnTo>
                    <a:pt x="846" y="842"/>
                  </a:lnTo>
                  <a:lnTo>
                    <a:pt x="846" y="842"/>
                  </a:lnTo>
                  <a:lnTo>
                    <a:pt x="846" y="842"/>
                  </a:lnTo>
                  <a:lnTo>
                    <a:pt x="844" y="842"/>
                  </a:lnTo>
                  <a:lnTo>
                    <a:pt x="844" y="842"/>
                  </a:lnTo>
                  <a:lnTo>
                    <a:pt x="844" y="842"/>
                  </a:lnTo>
                  <a:lnTo>
                    <a:pt x="844" y="844"/>
                  </a:lnTo>
                  <a:lnTo>
                    <a:pt x="844" y="844"/>
                  </a:lnTo>
                  <a:lnTo>
                    <a:pt x="844" y="844"/>
                  </a:lnTo>
                  <a:lnTo>
                    <a:pt x="844" y="844"/>
                  </a:lnTo>
                  <a:lnTo>
                    <a:pt x="844" y="844"/>
                  </a:lnTo>
                  <a:lnTo>
                    <a:pt x="846" y="844"/>
                  </a:lnTo>
                  <a:lnTo>
                    <a:pt x="846" y="844"/>
                  </a:lnTo>
                  <a:lnTo>
                    <a:pt x="846" y="844"/>
                  </a:lnTo>
                  <a:lnTo>
                    <a:pt x="846" y="844"/>
                  </a:lnTo>
                  <a:lnTo>
                    <a:pt x="846" y="842"/>
                  </a:lnTo>
                  <a:lnTo>
                    <a:pt x="846" y="842"/>
                  </a:lnTo>
                  <a:lnTo>
                    <a:pt x="846" y="842"/>
                  </a:lnTo>
                  <a:lnTo>
                    <a:pt x="846" y="842"/>
                  </a:lnTo>
                  <a:lnTo>
                    <a:pt x="848" y="842"/>
                  </a:lnTo>
                  <a:lnTo>
                    <a:pt x="848" y="844"/>
                  </a:lnTo>
                  <a:lnTo>
                    <a:pt x="848" y="844"/>
                  </a:lnTo>
                  <a:lnTo>
                    <a:pt x="848" y="844"/>
                  </a:lnTo>
                  <a:lnTo>
                    <a:pt x="848" y="844"/>
                  </a:lnTo>
                  <a:lnTo>
                    <a:pt x="848" y="844"/>
                  </a:lnTo>
                  <a:lnTo>
                    <a:pt x="848" y="844"/>
                  </a:lnTo>
                  <a:lnTo>
                    <a:pt x="848" y="842"/>
                  </a:lnTo>
                  <a:close/>
                  <a:moveTo>
                    <a:pt x="754" y="867"/>
                  </a:moveTo>
                  <a:lnTo>
                    <a:pt x="754" y="865"/>
                  </a:lnTo>
                  <a:lnTo>
                    <a:pt x="754" y="865"/>
                  </a:lnTo>
                  <a:lnTo>
                    <a:pt x="754" y="865"/>
                  </a:lnTo>
                  <a:lnTo>
                    <a:pt x="754" y="865"/>
                  </a:lnTo>
                  <a:lnTo>
                    <a:pt x="752" y="865"/>
                  </a:lnTo>
                  <a:lnTo>
                    <a:pt x="752" y="865"/>
                  </a:lnTo>
                  <a:lnTo>
                    <a:pt x="752" y="865"/>
                  </a:lnTo>
                  <a:lnTo>
                    <a:pt x="752" y="865"/>
                  </a:lnTo>
                  <a:lnTo>
                    <a:pt x="750" y="865"/>
                  </a:lnTo>
                  <a:lnTo>
                    <a:pt x="750" y="863"/>
                  </a:lnTo>
                  <a:lnTo>
                    <a:pt x="748" y="863"/>
                  </a:lnTo>
                  <a:lnTo>
                    <a:pt x="748" y="863"/>
                  </a:lnTo>
                  <a:lnTo>
                    <a:pt x="746" y="863"/>
                  </a:lnTo>
                  <a:lnTo>
                    <a:pt x="746" y="863"/>
                  </a:lnTo>
                  <a:lnTo>
                    <a:pt x="746" y="863"/>
                  </a:lnTo>
                  <a:lnTo>
                    <a:pt x="746" y="863"/>
                  </a:lnTo>
                  <a:lnTo>
                    <a:pt x="746" y="865"/>
                  </a:lnTo>
                  <a:lnTo>
                    <a:pt x="746" y="865"/>
                  </a:lnTo>
                  <a:lnTo>
                    <a:pt x="746" y="867"/>
                  </a:lnTo>
                  <a:lnTo>
                    <a:pt x="748" y="867"/>
                  </a:lnTo>
                  <a:lnTo>
                    <a:pt x="748" y="867"/>
                  </a:lnTo>
                  <a:lnTo>
                    <a:pt x="748" y="867"/>
                  </a:lnTo>
                  <a:lnTo>
                    <a:pt x="750" y="869"/>
                  </a:lnTo>
                  <a:lnTo>
                    <a:pt x="750" y="869"/>
                  </a:lnTo>
                  <a:lnTo>
                    <a:pt x="752" y="869"/>
                  </a:lnTo>
                  <a:lnTo>
                    <a:pt x="752" y="869"/>
                  </a:lnTo>
                  <a:lnTo>
                    <a:pt x="752" y="869"/>
                  </a:lnTo>
                  <a:lnTo>
                    <a:pt x="752" y="869"/>
                  </a:lnTo>
                  <a:lnTo>
                    <a:pt x="752" y="869"/>
                  </a:lnTo>
                  <a:lnTo>
                    <a:pt x="752" y="869"/>
                  </a:lnTo>
                  <a:lnTo>
                    <a:pt x="750" y="869"/>
                  </a:lnTo>
                  <a:lnTo>
                    <a:pt x="754" y="869"/>
                  </a:lnTo>
                  <a:lnTo>
                    <a:pt x="754" y="869"/>
                  </a:lnTo>
                  <a:lnTo>
                    <a:pt x="754" y="869"/>
                  </a:lnTo>
                  <a:lnTo>
                    <a:pt x="754" y="867"/>
                  </a:lnTo>
                  <a:lnTo>
                    <a:pt x="754" y="867"/>
                  </a:lnTo>
                  <a:lnTo>
                    <a:pt x="754" y="867"/>
                  </a:lnTo>
                  <a:close/>
                  <a:moveTo>
                    <a:pt x="733" y="830"/>
                  </a:moveTo>
                  <a:lnTo>
                    <a:pt x="733" y="830"/>
                  </a:lnTo>
                  <a:lnTo>
                    <a:pt x="733" y="830"/>
                  </a:lnTo>
                  <a:lnTo>
                    <a:pt x="731" y="830"/>
                  </a:lnTo>
                  <a:lnTo>
                    <a:pt x="731" y="830"/>
                  </a:lnTo>
                  <a:lnTo>
                    <a:pt x="731" y="830"/>
                  </a:lnTo>
                  <a:lnTo>
                    <a:pt x="733" y="830"/>
                  </a:lnTo>
                  <a:lnTo>
                    <a:pt x="733" y="830"/>
                  </a:lnTo>
                  <a:lnTo>
                    <a:pt x="733" y="830"/>
                  </a:lnTo>
                  <a:lnTo>
                    <a:pt x="733" y="830"/>
                  </a:lnTo>
                  <a:lnTo>
                    <a:pt x="733" y="830"/>
                  </a:lnTo>
                  <a:lnTo>
                    <a:pt x="733" y="830"/>
                  </a:lnTo>
                  <a:lnTo>
                    <a:pt x="733" y="830"/>
                  </a:lnTo>
                  <a:lnTo>
                    <a:pt x="731" y="830"/>
                  </a:lnTo>
                  <a:lnTo>
                    <a:pt x="731" y="830"/>
                  </a:lnTo>
                  <a:lnTo>
                    <a:pt x="733" y="830"/>
                  </a:lnTo>
                  <a:close/>
                  <a:moveTo>
                    <a:pt x="586" y="865"/>
                  </a:moveTo>
                  <a:lnTo>
                    <a:pt x="584" y="863"/>
                  </a:lnTo>
                  <a:lnTo>
                    <a:pt x="584" y="863"/>
                  </a:lnTo>
                  <a:lnTo>
                    <a:pt x="584" y="865"/>
                  </a:lnTo>
                  <a:lnTo>
                    <a:pt x="586" y="865"/>
                  </a:lnTo>
                  <a:close/>
                  <a:moveTo>
                    <a:pt x="758" y="869"/>
                  </a:moveTo>
                  <a:lnTo>
                    <a:pt x="758" y="869"/>
                  </a:lnTo>
                  <a:lnTo>
                    <a:pt x="758" y="869"/>
                  </a:lnTo>
                  <a:lnTo>
                    <a:pt x="758" y="869"/>
                  </a:lnTo>
                  <a:lnTo>
                    <a:pt x="756" y="867"/>
                  </a:lnTo>
                  <a:lnTo>
                    <a:pt x="756" y="867"/>
                  </a:lnTo>
                  <a:lnTo>
                    <a:pt x="756" y="867"/>
                  </a:lnTo>
                  <a:lnTo>
                    <a:pt x="756" y="867"/>
                  </a:lnTo>
                  <a:lnTo>
                    <a:pt x="756" y="869"/>
                  </a:lnTo>
                  <a:lnTo>
                    <a:pt x="756" y="869"/>
                  </a:lnTo>
                  <a:lnTo>
                    <a:pt x="756" y="869"/>
                  </a:lnTo>
                  <a:lnTo>
                    <a:pt x="758" y="871"/>
                  </a:lnTo>
                  <a:lnTo>
                    <a:pt x="758" y="871"/>
                  </a:lnTo>
                  <a:lnTo>
                    <a:pt x="760" y="869"/>
                  </a:lnTo>
                  <a:lnTo>
                    <a:pt x="760" y="869"/>
                  </a:lnTo>
                  <a:lnTo>
                    <a:pt x="758" y="869"/>
                  </a:lnTo>
                  <a:lnTo>
                    <a:pt x="758" y="869"/>
                  </a:lnTo>
                  <a:close/>
                  <a:moveTo>
                    <a:pt x="684" y="867"/>
                  </a:moveTo>
                  <a:lnTo>
                    <a:pt x="684" y="867"/>
                  </a:lnTo>
                  <a:lnTo>
                    <a:pt x="682" y="869"/>
                  </a:lnTo>
                  <a:lnTo>
                    <a:pt x="682" y="869"/>
                  </a:lnTo>
                  <a:lnTo>
                    <a:pt x="682" y="869"/>
                  </a:lnTo>
                  <a:lnTo>
                    <a:pt x="684" y="869"/>
                  </a:lnTo>
                  <a:lnTo>
                    <a:pt x="686" y="869"/>
                  </a:lnTo>
                  <a:lnTo>
                    <a:pt x="686" y="869"/>
                  </a:lnTo>
                  <a:lnTo>
                    <a:pt x="686" y="867"/>
                  </a:lnTo>
                  <a:lnTo>
                    <a:pt x="684" y="867"/>
                  </a:lnTo>
                  <a:close/>
                  <a:moveTo>
                    <a:pt x="739" y="853"/>
                  </a:moveTo>
                  <a:lnTo>
                    <a:pt x="739" y="850"/>
                  </a:lnTo>
                  <a:lnTo>
                    <a:pt x="739" y="850"/>
                  </a:lnTo>
                  <a:lnTo>
                    <a:pt x="739" y="850"/>
                  </a:lnTo>
                  <a:lnTo>
                    <a:pt x="739" y="850"/>
                  </a:lnTo>
                  <a:lnTo>
                    <a:pt x="739" y="850"/>
                  </a:lnTo>
                  <a:lnTo>
                    <a:pt x="739" y="848"/>
                  </a:lnTo>
                  <a:lnTo>
                    <a:pt x="739" y="846"/>
                  </a:lnTo>
                  <a:lnTo>
                    <a:pt x="737" y="846"/>
                  </a:lnTo>
                  <a:lnTo>
                    <a:pt x="737" y="846"/>
                  </a:lnTo>
                  <a:lnTo>
                    <a:pt x="737" y="846"/>
                  </a:lnTo>
                  <a:lnTo>
                    <a:pt x="737" y="846"/>
                  </a:lnTo>
                  <a:lnTo>
                    <a:pt x="737" y="846"/>
                  </a:lnTo>
                  <a:lnTo>
                    <a:pt x="737" y="846"/>
                  </a:lnTo>
                  <a:lnTo>
                    <a:pt x="735" y="846"/>
                  </a:lnTo>
                  <a:lnTo>
                    <a:pt x="735" y="846"/>
                  </a:lnTo>
                  <a:lnTo>
                    <a:pt x="733" y="846"/>
                  </a:lnTo>
                  <a:lnTo>
                    <a:pt x="733" y="846"/>
                  </a:lnTo>
                  <a:lnTo>
                    <a:pt x="733" y="846"/>
                  </a:lnTo>
                  <a:lnTo>
                    <a:pt x="731" y="844"/>
                  </a:lnTo>
                  <a:lnTo>
                    <a:pt x="731" y="842"/>
                  </a:lnTo>
                  <a:lnTo>
                    <a:pt x="731" y="840"/>
                  </a:lnTo>
                  <a:lnTo>
                    <a:pt x="731" y="838"/>
                  </a:lnTo>
                  <a:lnTo>
                    <a:pt x="731" y="836"/>
                  </a:lnTo>
                  <a:lnTo>
                    <a:pt x="731" y="836"/>
                  </a:lnTo>
                  <a:lnTo>
                    <a:pt x="731" y="836"/>
                  </a:lnTo>
                  <a:lnTo>
                    <a:pt x="729" y="834"/>
                  </a:lnTo>
                  <a:lnTo>
                    <a:pt x="729" y="834"/>
                  </a:lnTo>
                  <a:lnTo>
                    <a:pt x="729" y="832"/>
                  </a:lnTo>
                  <a:lnTo>
                    <a:pt x="729" y="832"/>
                  </a:lnTo>
                  <a:lnTo>
                    <a:pt x="729" y="832"/>
                  </a:lnTo>
                  <a:lnTo>
                    <a:pt x="729" y="832"/>
                  </a:lnTo>
                  <a:lnTo>
                    <a:pt x="729" y="832"/>
                  </a:lnTo>
                  <a:lnTo>
                    <a:pt x="729" y="832"/>
                  </a:lnTo>
                  <a:lnTo>
                    <a:pt x="727" y="830"/>
                  </a:lnTo>
                  <a:lnTo>
                    <a:pt x="725" y="830"/>
                  </a:lnTo>
                  <a:lnTo>
                    <a:pt x="723" y="830"/>
                  </a:lnTo>
                  <a:lnTo>
                    <a:pt x="721" y="830"/>
                  </a:lnTo>
                  <a:lnTo>
                    <a:pt x="721" y="830"/>
                  </a:lnTo>
                  <a:lnTo>
                    <a:pt x="721" y="830"/>
                  </a:lnTo>
                  <a:lnTo>
                    <a:pt x="717" y="830"/>
                  </a:lnTo>
                  <a:lnTo>
                    <a:pt x="717" y="830"/>
                  </a:lnTo>
                  <a:lnTo>
                    <a:pt x="715" y="832"/>
                  </a:lnTo>
                  <a:lnTo>
                    <a:pt x="715" y="832"/>
                  </a:lnTo>
                  <a:lnTo>
                    <a:pt x="713" y="832"/>
                  </a:lnTo>
                  <a:lnTo>
                    <a:pt x="711" y="832"/>
                  </a:lnTo>
                  <a:lnTo>
                    <a:pt x="711" y="832"/>
                  </a:lnTo>
                  <a:lnTo>
                    <a:pt x="709" y="834"/>
                  </a:lnTo>
                  <a:lnTo>
                    <a:pt x="707" y="834"/>
                  </a:lnTo>
                  <a:lnTo>
                    <a:pt x="709" y="834"/>
                  </a:lnTo>
                  <a:lnTo>
                    <a:pt x="709" y="836"/>
                  </a:lnTo>
                  <a:lnTo>
                    <a:pt x="707" y="836"/>
                  </a:lnTo>
                  <a:lnTo>
                    <a:pt x="705" y="836"/>
                  </a:lnTo>
                  <a:lnTo>
                    <a:pt x="705" y="834"/>
                  </a:lnTo>
                  <a:lnTo>
                    <a:pt x="703" y="834"/>
                  </a:lnTo>
                  <a:lnTo>
                    <a:pt x="703" y="834"/>
                  </a:lnTo>
                  <a:lnTo>
                    <a:pt x="700" y="832"/>
                  </a:lnTo>
                  <a:lnTo>
                    <a:pt x="700" y="834"/>
                  </a:lnTo>
                  <a:lnTo>
                    <a:pt x="698" y="834"/>
                  </a:lnTo>
                  <a:lnTo>
                    <a:pt x="698" y="834"/>
                  </a:lnTo>
                  <a:lnTo>
                    <a:pt x="696" y="836"/>
                  </a:lnTo>
                  <a:lnTo>
                    <a:pt x="696" y="836"/>
                  </a:lnTo>
                  <a:lnTo>
                    <a:pt x="692" y="844"/>
                  </a:lnTo>
                  <a:lnTo>
                    <a:pt x="690" y="846"/>
                  </a:lnTo>
                  <a:lnTo>
                    <a:pt x="688" y="846"/>
                  </a:lnTo>
                  <a:lnTo>
                    <a:pt x="686" y="846"/>
                  </a:lnTo>
                  <a:lnTo>
                    <a:pt x="684" y="846"/>
                  </a:lnTo>
                  <a:lnTo>
                    <a:pt x="684" y="848"/>
                  </a:lnTo>
                  <a:lnTo>
                    <a:pt x="682" y="848"/>
                  </a:lnTo>
                  <a:lnTo>
                    <a:pt x="684" y="850"/>
                  </a:lnTo>
                  <a:lnTo>
                    <a:pt x="684" y="850"/>
                  </a:lnTo>
                  <a:lnTo>
                    <a:pt x="684" y="850"/>
                  </a:lnTo>
                  <a:lnTo>
                    <a:pt x="684" y="853"/>
                  </a:lnTo>
                  <a:lnTo>
                    <a:pt x="684" y="853"/>
                  </a:lnTo>
                  <a:lnTo>
                    <a:pt x="684" y="853"/>
                  </a:lnTo>
                  <a:lnTo>
                    <a:pt x="684" y="855"/>
                  </a:lnTo>
                  <a:lnTo>
                    <a:pt x="684" y="855"/>
                  </a:lnTo>
                  <a:lnTo>
                    <a:pt x="684" y="855"/>
                  </a:lnTo>
                  <a:lnTo>
                    <a:pt x="684" y="857"/>
                  </a:lnTo>
                  <a:lnTo>
                    <a:pt x="686" y="857"/>
                  </a:lnTo>
                  <a:lnTo>
                    <a:pt x="686" y="859"/>
                  </a:lnTo>
                  <a:lnTo>
                    <a:pt x="690" y="859"/>
                  </a:lnTo>
                  <a:lnTo>
                    <a:pt x="690" y="859"/>
                  </a:lnTo>
                  <a:lnTo>
                    <a:pt x="692" y="859"/>
                  </a:lnTo>
                  <a:lnTo>
                    <a:pt x="692" y="859"/>
                  </a:lnTo>
                  <a:lnTo>
                    <a:pt x="694" y="859"/>
                  </a:lnTo>
                  <a:lnTo>
                    <a:pt x="696" y="859"/>
                  </a:lnTo>
                  <a:lnTo>
                    <a:pt x="698" y="859"/>
                  </a:lnTo>
                  <a:lnTo>
                    <a:pt x="700" y="857"/>
                  </a:lnTo>
                  <a:lnTo>
                    <a:pt x="700" y="857"/>
                  </a:lnTo>
                  <a:lnTo>
                    <a:pt x="700" y="855"/>
                  </a:lnTo>
                  <a:lnTo>
                    <a:pt x="700" y="855"/>
                  </a:lnTo>
                  <a:lnTo>
                    <a:pt x="700" y="855"/>
                  </a:lnTo>
                  <a:lnTo>
                    <a:pt x="700" y="855"/>
                  </a:lnTo>
                  <a:lnTo>
                    <a:pt x="700" y="855"/>
                  </a:lnTo>
                  <a:lnTo>
                    <a:pt x="705" y="850"/>
                  </a:lnTo>
                  <a:lnTo>
                    <a:pt x="707" y="850"/>
                  </a:lnTo>
                  <a:lnTo>
                    <a:pt x="709" y="850"/>
                  </a:lnTo>
                  <a:lnTo>
                    <a:pt x="719" y="850"/>
                  </a:lnTo>
                  <a:lnTo>
                    <a:pt x="721" y="853"/>
                  </a:lnTo>
                  <a:lnTo>
                    <a:pt x="723" y="853"/>
                  </a:lnTo>
                  <a:lnTo>
                    <a:pt x="725" y="853"/>
                  </a:lnTo>
                  <a:lnTo>
                    <a:pt x="727" y="853"/>
                  </a:lnTo>
                  <a:lnTo>
                    <a:pt x="727" y="850"/>
                  </a:lnTo>
                  <a:lnTo>
                    <a:pt x="729" y="850"/>
                  </a:lnTo>
                  <a:lnTo>
                    <a:pt x="729" y="850"/>
                  </a:lnTo>
                  <a:lnTo>
                    <a:pt x="729" y="850"/>
                  </a:lnTo>
                  <a:lnTo>
                    <a:pt x="729" y="848"/>
                  </a:lnTo>
                  <a:lnTo>
                    <a:pt x="729" y="846"/>
                  </a:lnTo>
                  <a:lnTo>
                    <a:pt x="729" y="846"/>
                  </a:lnTo>
                  <a:lnTo>
                    <a:pt x="731" y="846"/>
                  </a:lnTo>
                  <a:lnTo>
                    <a:pt x="731" y="846"/>
                  </a:lnTo>
                  <a:lnTo>
                    <a:pt x="733" y="846"/>
                  </a:lnTo>
                  <a:lnTo>
                    <a:pt x="733" y="848"/>
                  </a:lnTo>
                  <a:lnTo>
                    <a:pt x="733" y="848"/>
                  </a:lnTo>
                  <a:lnTo>
                    <a:pt x="733" y="848"/>
                  </a:lnTo>
                  <a:lnTo>
                    <a:pt x="735" y="850"/>
                  </a:lnTo>
                  <a:lnTo>
                    <a:pt x="735" y="850"/>
                  </a:lnTo>
                  <a:lnTo>
                    <a:pt x="735" y="850"/>
                  </a:lnTo>
                  <a:lnTo>
                    <a:pt x="735" y="850"/>
                  </a:lnTo>
                  <a:lnTo>
                    <a:pt x="735" y="850"/>
                  </a:lnTo>
                  <a:lnTo>
                    <a:pt x="737" y="850"/>
                  </a:lnTo>
                  <a:lnTo>
                    <a:pt x="737" y="850"/>
                  </a:lnTo>
                  <a:lnTo>
                    <a:pt x="737" y="850"/>
                  </a:lnTo>
                  <a:lnTo>
                    <a:pt x="737" y="850"/>
                  </a:lnTo>
                  <a:lnTo>
                    <a:pt x="739" y="850"/>
                  </a:lnTo>
                  <a:lnTo>
                    <a:pt x="739" y="850"/>
                  </a:lnTo>
                  <a:lnTo>
                    <a:pt x="737" y="853"/>
                  </a:lnTo>
                  <a:lnTo>
                    <a:pt x="737" y="853"/>
                  </a:lnTo>
                  <a:lnTo>
                    <a:pt x="737" y="853"/>
                  </a:lnTo>
                  <a:lnTo>
                    <a:pt x="739" y="853"/>
                  </a:lnTo>
                  <a:lnTo>
                    <a:pt x="741" y="853"/>
                  </a:lnTo>
                  <a:lnTo>
                    <a:pt x="741" y="853"/>
                  </a:lnTo>
                  <a:lnTo>
                    <a:pt x="739" y="853"/>
                  </a:lnTo>
                  <a:close/>
                  <a:moveTo>
                    <a:pt x="748" y="840"/>
                  </a:moveTo>
                  <a:lnTo>
                    <a:pt x="748" y="840"/>
                  </a:lnTo>
                  <a:lnTo>
                    <a:pt x="748" y="840"/>
                  </a:lnTo>
                  <a:lnTo>
                    <a:pt x="748" y="842"/>
                  </a:lnTo>
                  <a:lnTo>
                    <a:pt x="748" y="842"/>
                  </a:lnTo>
                  <a:lnTo>
                    <a:pt x="748" y="840"/>
                  </a:lnTo>
                  <a:close/>
                  <a:moveTo>
                    <a:pt x="782" y="832"/>
                  </a:moveTo>
                  <a:lnTo>
                    <a:pt x="782" y="832"/>
                  </a:lnTo>
                  <a:lnTo>
                    <a:pt x="782" y="832"/>
                  </a:lnTo>
                  <a:lnTo>
                    <a:pt x="782" y="832"/>
                  </a:lnTo>
                  <a:lnTo>
                    <a:pt x="782" y="832"/>
                  </a:lnTo>
                  <a:lnTo>
                    <a:pt x="782" y="832"/>
                  </a:lnTo>
                  <a:lnTo>
                    <a:pt x="780" y="832"/>
                  </a:lnTo>
                  <a:lnTo>
                    <a:pt x="778" y="832"/>
                  </a:lnTo>
                  <a:lnTo>
                    <a:pt x="778" y="832"/>
                  </a:lnTo>
                  <a:lnTo>
                    <a:pt x="778" y="832"/>
                  </a:lnTo>
                  <a:lnTo>
                    <a:pt x="778" y="832"/>
                  </a:lnTo>
                  <a:lnTo>
                    <a:pt x="778" y="832"/>
                  </a:lnTo>
                  <a:lnTo>
                    <a:pt x="778" y="832"/>
                  </a:lnTo>
                  <a:lnTo>
                    <a:pt x="778" y="832"/>
                  </a:lnTo>
                  <a:lnTo>
                    <a:pt x="778" y="834"/>
                  </a:lnTo>
                  <a:lnTo>
                    <a:pt x="780" y="834"/>
                  </a:lnTo>
                  <a:lnTo>
                    <a:pt x="780" y="834"/>
                  </a:lnTo>
                  <a:lnTo>
                    <a:pt x="780" y="834"/>
                  </a:lnTo>
                  <a:lnTo>
                    <a:pt x="780" y="832"/>
                  </a:lnTo>
                  <a:lnTo>
                    <a:pt x="780" y="832"/>
                  </a:lnTo>
                  <a:lnTo>
                    <a:pt x="780" y="832"/>
                  </a:lnTo>
                  <a:lnTo>
                    <a:pt x="782" y="834"/>
                  </a:lnTo>
                  <a:lnTo>
                    <a:pt x="782" y="834"/>
                  </a:lnTo>
                  <a:lnTo>
                    <a:pt x="780" y="834"/>
                  </a:lnTo>
                  <a:lnTo>
                    <a:pt x="780" y="836"/>
                  </a:lnTo>
                  <a:lnTo>
                    <a:pt x="780" y="836"/>
                  </a:lnTo>
                  <a:lnTo>
                    <a:pt x="780" y="836"/>
                  </a:lnTo>
                  <a:lnTo>
                    <a:pt x="780" y="836"/>
                  </a:lnTo>
                  <a:lnTo>
                    <a:pt x="782" y="838"/>
                  </a:lnTo>
                  <a:lnTo>
                    <a:pt x="782" y="836"/>
                  </a:lnTo>
                  <a:lnTo>
                    <a:pt x="782" y="836"/>
                  </a:lnTo>
                  <a:lnTo>
                    <a:pt x="782" y="836"/>
                  </a:lnTo>
                  <a:lnTo>
                    <a:pt x="784" y="836"/>
                  </a:lnTo>
                  <a:lnTo>
                    <a:pt x="784" y="836"/>
                  </a:lnTo>
                  <a:lnTo>
                    <a:pt x="784" y="834"/>
                  </a:lnTo>
                  <a:lnTo>
                    <a:pt x="784" y="834"/>
                  </a:lnTo>
                  <a:lnTo>
                    <a:pt x="784" y="834"/>
                  </a:lnTo>
                  <a:lnTo>
                    <a:pt x="782" y="832"/>
                  </a:lnTo>
                  <a:close/>
                  <a:moveTo>
                    <a:pt x="778" y="840"/>
                  </a:moveTo>
                  <a:lnTo>
                    <a:pt x="776" y="838"/>
                  </a:lnTo>
                  <a:lnTo>
                    <a:pt x="776" y="838"/>
                  </a:lnTo>
                  <a:lnTo>
                    <a:pt x="776" y="838"/>
                  </a:lnTo>
                  <a:lnTo>
                    <a:pt x="776" y="838"/>
                  </a:lnTo>
                  <a:lnTo>
                    <a:pt x="778" y="840"/>
                  </a:lnTo>
                  <a:lnTo>
                    <a:pt x="778" y="840"/>
                  </a:lnTo>
                  <a:lnTo>
                    <a:pt x="778" y="840"/>
                  </a:lnTo>
                  <a:lnTo>
                    <a:pt x="778" y="840"/>
                  </a:lnTo>
                  <a:lnTo>
                    <a:pt x="778" y="840"/>
                  </a:lnTo>
                  <a:close/>
                  <a:moveTo>
                    <a:pt x="762" y="857"/>
                  </a:moveTo>
                  <a:lnTo>
                    <a:pt x="762" y="857"/>
                  </a:lnTo>
                  <a:lnTo>
                    <a:pt x="760" y="857"/>
                  </a:lnTo>
                  <a:lnTo>
                    <a:pt x="760" y="857"/>
                  </a:lnTo>
                  <a:lnTo>
                    <a:pt x="762" y="857"/>
                  </a:lnTo>
                  <a:lnTo>
                    <a:pt x="760" y="857"/>
                  </a:lnTo>
                  <a:lnTo>
                    <a:pt x="760" y="857"/>
                  </a:lnTo>
                  <a:lnTo>
                    <a:pt x="760" y="857"/>
                  </a:lnTo>
                  <a:lnTo>
                    <a:pt x="760" y="857"/>
                  </a:lnTo>
                  <a:lnTo>
                    <a:pt x="760" y="857"/>
                  </a:lnTo>
                  <a:lnTo>
                    <a:pt x="760" y="857"/>
                  </a:lnTo>
                  <a:lnTo>
                    <a:pt x="760" y="857"/>
                  </a:lnTo>
                  <a:lnTo>
                    <a:pt x="760" y="857"/>
                  </a:lnTo>
                  <a:lnTo>
                    <a:pt x="760" y="857"/>
                  </a:lnTo>
                  <a:lnTo>
                    <a:pt x="762" y="857"/>
                  </a:lnTo>
                  <a:lnTo>
                    <a:pt x="762" y="857"/>
                  </a:lnTo>
                  <a:lnTo>
                    <a:pt x="762" y="857"/>
                  </a:lnTo>
                  <a:lnTo>
                    <a:pt x="762" y="857"/>
                  </a:lnTo>
                  <a:lnTo>
                    <a:pt x="762" y="857"/>
                  </a:lnTo>
                  <a:lnTo>
                    <a:pt x="762" y="857"/>
                  </a:lnTo>
                  <a:close/>
                  <a:moveTo>
                    <a:pt x="776" y="836"/>
                  </a:moveTo>
                  <a:lnTo>
                    <a:pt x="776" y="836"/>
                  </a:lnTo>
                  <a:lnTo>
                    <a:pt x="776" y="836"/>
                  </a:lnTo>
                  <a:lnTo>
                    <a:pt x="776" y="836"/>
                  </a:lnTo>
                  <a:lnTo>
                    <a:pt x="776" y="838"/>
                  </a:lnTo>
                  <a:lnTo>
                    <a:pt x="776" y="838"/>
                  </a:lnTo>
                  <a:lnTo>
                    <a:pt x="776" y="836"/>
                  </a:lnTo>
                  <a:lnTo>
                    <a:pt x="776" y="836"/>
                  </a:lnTo>
                  <a:lnTo>
                    <a:pt x="776" y="836"/>
                  </a:lnTo>
                  <a:close/>
                  <a:moveTo>
                    <a:pt x="766" y="838"/>
                  </a:moveTo>
                  <a:lnTo>
                    <a:pt x="764" y="838"/>
                  </a:lnTo>
                  <a:lnTo>
                    <a:pt x="764" y="840"/>
                  </a:lnTo>
                  <a:lnTo>
                    <a:pt x="762" y="840"/>
                  </a:lnTo>
                  <a:lnTo>
                    <a:pt x="762" y="840"/>
                  </a:lnTo>
                  <a:lnTo>
                    <a:pt x="760" y="842"/>
                  </a:lnTo>
                  <a:lnTo>
                    <a:pt x="760" y="842"/>
                  </a:lnTo>
                  <a:lnTo>
                    <a:pt x="760" y="842"/>
                  </a:lnTo>
                  <a:lnTo>
                    <a:pt x="762" y="844"/>
                  </a:lnTo>
                  <a:lnTo>
                    <a:pt x="762" y="846"/>
                  </a:lnTo>
                  <a:lnTo>
                    <a:pt x="762" y="846"/>
                  </a:lnTo>
                  <a:lnTo>
                    <a:pt x="764" y="846"/>
                  </a:lnTo>
                  <a:lnTo>
                    <a:pt x="764" y="846"/>
                  </a:lnTo>
                  <a:lnTo>
                    <a:pt x="766" y="844"/>
                  </a:lnTo>
                  <a:lnTo>
                    <a:pt x="766" y="842"/>
                  </a:lnTo>
                  <a:lnTo>
                    <a:pt x="766" y="842"/>
                  </a:lnTo>
                  <a:lnTo>
                    <a:pt x="766" y="842"/>
                  </a:lnTo>
                  <a:lnTo>
                    <a:pt x="766" y="840"/>
                  </a:lnTo>
                  <a:lnTo>
                    <a:pt x="766" y="840"/>
                  </a:lnTo>
                  <a:lnTo>
                    <a:pt x="766" y="838"/>
                  </a:lnTo>
                  <a:close/>
                  <a:moveTo>
                    <a:pt x="27" y="738"/>
                  </a:moveTo>
                  <a:lnTo>
                    <a:pt x="23" y="738"/>
                  </a:lnTo>
                  <a:lnTo>
                    <a:pt x="23" y="738"/>
                  </a:lnTo>
                  <a:lnTo>
                    <a:pt x="23" y="738"/>
                  </a:lnTo>
                  <a:lnTo>
                    <a:pt x="23" y="738"/>
                  </a:lnTo>
                  <a:lnTo>
                    <a:pt x="21" y="738"/>
                  </a:lnTo>
                  <a:lnTo>
                    <a:pt x="21" y="738"/>
                  </a:lnTo>
                  <a:lnTo>
                    <a:pt x="21" y="738"/>
                  </a:lnTo>
                  <a:lnTo>
                    <a:pt x="21" y="738"/>
                  </a:lnTo>
                  <a:lnTo>
                    <a:pt x="21" y="738"/>
                  </a:lnTo>
                  <a:lnTo>
                    <a:pt x="18" y="738"/>
                  </a:lnTo>
                  <a:lnTo>
                    <a:pt x="18" y="738"/>
                  </a:lnTo>
                  <a:lnTo>
                    <a:pt x="18" y="738"/>
                  </a:lnTo>
                  <a:lnTo>
                    <a:pt x="16" y="738"/>
                  </a:lnTo>
                  <a:lnTo>
                    <a:pt x="16" y="738"/>
                  </a:lnTo>
                  <a:lnTo>
                    <a:pt x="16" y="738"/>
                  </a:lnTo>
                  <a:lnTo>
                    <a:pt x="16" y="738"/>
                  </a:lnTo>
                  <a:lnTo>
                    <a:pt x="14" y="738"/>
                  </a:lnTo>
                  <a:lnTo>
                    <a:pt x="14" y="738"/>
                  </a:lnTo>
                  <a:lnTo>
                    <a:pt x="14" y="738"/>
                  </a:lnTo>
                  <a:lnTo>
                    <a:pt x="14" y="738"/>
                  </a:lnTo>
                  <a:lnTo>
                    <a:pt x="16" y="740"/>
                  </a:lnTo>
                  <a:lnTo>
                    <a:pt x="18" y="742"/>
                  </a:lnTo>
                  <a:lnTo>
                    <a:pt x="21" y="742"/>
                  </a:lnTo>
                  <a:lnTo>
                    <a:pt x="21" y="742"/>
                  </a:lnTo>
                  <a:lnTo>
                    <a:pt x="21" y="744"/>
                  </a:lnTo>
                  <a:lnTo>
                    <a:pt x="21" y="744"/>
                  </a:lnTo>
                  <a:lnTo>
                    <a:pt x="21" y="744"/>
                  </a:lnTo>
                  <a:lnTo>
                    <a:pt x="21" y="744"/>
                  </a:lnTo>
                  <a:lnTo>
                    <a:pt x="21" y="744"/>
                  </a:lnTo>
                  <a:lnTo>
                    <a:pt x="21" y="744"/>
                  </a:lnTo>
                  <a:lnTo>
                    <a:pt x="21" y="744"/>
                  </a:lnTo>
                  <a:lnTo>
                    <a:pt x="21" y="744"/>
                  </a:lnTo>
                  <a:lnTo>
                    <a:pt x="21" y="744"/>
                  </a:lnTo>
                  <a:lnTo>
                    <a:pt x="23" y="746"/>
                  </a:lnTo>
                  <a:lnTo>
                    <a:pt x="23" y="744"/>
                  </a:lnTo>
                  <a:lnTo>
                    <a:pt x="23" y="744"/>
                  </a:lnTo>
                  <a:lnTo>
                    <a:pt x="23" y="742"/>
                  </a:lnTo>
                  <a:lnTo>
                    <a:pt x="23" y="742"/>
                  </a:lnTo>
                  <a:lnTo>
                    <a:pt x="25" y="740"/>
                  </a:lnTo>
                  <a:lnTo>
                    <a:pt x="25" y="740"/>
                  </a:lnTo>
                  <a:lnTo>
                    <a:pt x="27" y="740"/>
                  </a:lnTo>
                  <a:lnTo>
                    <a:pt x="27" y="740"/>
                  </a:lnTo>
                  <a:lnTo>
                    <a:pt x="27" y="738"/>
                  </a:lnTo>
                  <a:close/>
                  <a:moveTo>
                    <a:pt x="231" y="883"/>
                  </a:moveTo>
                  <a:lnTo>
                    <a:pt x="231" y="883"/>
                  </a:lnTo>
                  <a:lnTo>
                    <a:pt x="231" y="883"/>
                  </a:lnTo>
                  <a:lnTo>
                    <a:pt x="229" y="883"/>
                  </a:lnTo>
                  <a:lnTo>
                    <a:pt x="229" y="883"/>
                  </a:lnTo>
                  <a:lnTo>
                    <a:pt x="231" y="883"/>
                  </a:lnTo>
                  <a:lnTo>
                    <a:pt x="231" y="883"/>
                  </a:lnTo>
                  <a:lnTo>
                    <a:pt x="231" y="885"/>
                  </a:lnTo>
                  <a:lnTo>
                    <a:pt x="231" y="885"/>
                  </a:lnTo>
                  <a:lnTo>
                    <a:pt x="231" y="883"/>
                  </a:lnTo>
                  <a:lnTo>
                    <a:pt x="231" y="883"/>
                  </a:lnTo>
                  <a:lnTo>
                    <a:pt x="231" y="883"/>
                  </a:lnTo>
                  <a:close/>
                  <a:moveTo>
                    <a:pt x="315" y="898"/>
                  </a:moveTo>
                  <a:lnTo>
                    <a:pt x="315" y="898"/>
                  </a:lnTo>
                  <a:lnTo>
                    <a:pt x="315" y="900"/>
                  </a:lnTo>
                  <a:lnTo>
                    <a:pt x="313" y="898"/>
                  </a:lnTo>
                  <a:lnTo>
                    <a:pt x="313" y="898"/>
                  </a:lnTo>
                  <a:lnTo>
                    <a:pt x="315" y="898"/>
                  </a:lnTo>
                  <a:lnTo>
                    <a:pt x="315" y="898"/>
                  </a:lnTo>
                  <a:lnTo>
                    <a:pt x="315" y="898"/>
                  </a:lnTo>
                  <a:lnTo>
                    <a:pt x="315" y="898"/>
                  </a:lnTo>
                  <a:lnTo>
                    <a:pt x="315" y="898"/>
                  </a:lnTo>
                  <a:lnTo>
                    <a:pt x="313" y="898"/>
                  </a:lnTo>
                  <a:lnTo>
                    <a:pt x="313" y="898"/>
                  </a:lnTo>
                  <a:lnTo>
                    <a:pt x="311" y="898"/>
                  </a:lnTo>
                  <a:lnTo>
                    <a:pt x="311" y="898"/>
                  </a:lnTo>
                  <a:lnTo>
                    <a:pt x="315" y="900"/>
                  </a:lnTo>
                  <a:lnTo>
                    <a:pt x="315" y="900"/>
                  </a:lnTo>
                  <a:lnTo>
                    <a:pt x="315" y="900"/>
                  </a:lnTo>
                  <a:lnTo>
                    <a:pt x="315" y="900"/>
                  </a:lnTo>
                  <a:lnTo>
                    <a:pt x="315" y="900"/>
                  </a:lnTo>
                  <a:lnTo>
                    <a:pt x="315" y="898"/>
                  </a:lnTo>
                  <a:lnTo>
                    <a:pt x="315" y="898"/>
                  </a:lnTo>
                  <a:close/>
                  <a:moveTo>
                    <a:pt x="238" y="894"/>
                  </a:moveTo>
                  <a:lnTo>
                    <a:pt x="238" y="894"/>
                  </a:lnTo>
                  <a:lnTo>
                    <a:pt x="238" y="894"/>
                  </a:lnTo>
                  <a:lnTo>
                    <a:pt x="238" y="894"/>
                  </a:lnTo>
                  <a:lnTo>
                    <a:pt x="238" y="894"/>
                  </a:lnTo>
                  <a:lnTo>
                    <a:pt x="238" y="894"/>
                  </a:lnTo>
                  <a:close/>
                  <a:moveTo>
                    <a:pt x="225" y="883"/>
                  </a:moveTo>
                  <a:lnTo>
                    <a:pt x="223" y="883"/>
                  </a:lnTo>
                  <a:lnTo>
                    <a:pt x="223" y="883"/>
                  </a:lnTo>
                  <a:lnTo>
                    <a:pt x="223" y="883"/>
                  </a:lnTo>
                  <a:lnTo>
                    <a:pt x="223" y="881"/>
                  </a:lnTo>
                  <a:lnTo>
                    <a:pt x="223" y="881"/>
                  </a:lnTo>
                  <a:lnTo>
                    <a:pt x="223" y="881"/>
                  </a:lnTo>
                  <a:lnTo>
                    <a:pt x="223" y="881"/>
                  </a:lnTo>
                  <a:lnTo>
                    <a:pt x="223" y="881"/>
                  </a:lnTo>
                  <a:lnTo>
                    <a:pt x="223" y="883"/>
                  </a:lnTo>
                  <a:lnTo>
                    <a:pt x="223" y="883"/>
                  </a:lnTo>
                  <a:lnTo>
                    <a:pt x="223" y="883"/>
                  </a:lnTo>
                  <a:lnTo>
                    <a:pt x="223" y="883"/>
                  </a:lnTo>
                  <a:lnTo>
                    <a:pt x="223" y="883"/>
                  </a:lnTo>
                  <a:lnTo>
                    <a:pt x="225" y="883"/>
                  </a:lnTo>
                  <a:lnTo>
                    <a:pt x="225" y="885"/>
                  </a:lnTo>
                  <a:lnTo>
                    <a:pt x="225" y="883"/>
                  </a:lnTo>
                  <a:lnTo>
                    <a:pt x="225" y="883"/>
                  </a:lnTo>
                  <a:lnTo>
                    <a:pt x="225" y="883"/>
                  </a:lnTo>
                  <a:close/>
                  <a:moveTo>
                    <a:pt x="229" y="883"/>
                  </a:moveTo>
                  <a:lnTo>
                    <a:pt x="229" y="883"/>
                  </a:lnTo>
                  <a:lnTo>
                    <a:pt x="229" y="881"/>
                  </a:lnTo>
                  <a:lnTo>
                    <a:pt x="229" y="881"/>
                  </a:lnTo>
                  <a:lnTo>
                    <a:pt x="227" y="881"/>
                  </a:lnTo>
                  <a:lnTo>
                    <a:pt x="227" y="881"/>
                  </a:lnTo>
                  <a:lnTo>
                    <a:pt x="227" y="883"/>
                  </a:lnTo>
                  <a:lnTo>
                    <a:pt x="227" y="883"/>
                  </a:lnTo>
                  <a:lnTo>
                    <a:pt x="227" y="883"/>
                  </a:lnTo>
                  <a:lnTo>
                    <a:pt x="227" y="883"/>
                  </a:lnTo>
                  <a:lnTo>
                    <a:pt x="229" y="883"/>
                  </a:lnTo>
                  <a:lnTo>
                    <a:pt x="229" y="883"/>
                  </a:lnTo>
                  <a:lnTo>
                    <a:pt x="229" y="883"/>
                  </a:lnTo>
                  <a:lnTo>
                    <a:pt x="229" y="883"/>
                  </a:lnTo>
                  <a:lnTo>
                    <a:pt x="229" y="883"/>
                  </a:lnTo>
                  <a:lnTo>
                    <a:pt x="229" y="883"/>
                  </a:lnTo>
                  <a:lnTo>
                    <a:pt x="229" y="883"/>
                  </a:lnTo>
                  <a:close/>
                  <a:moveTo>
                    <a:pt x="260" y="883"/>
                  </a:moveTo>
                  <a:lnTo>
                    <a:pt x="260" y="883"/>
                  </a:lnTo>
                  <a:lnTo>
                    <a:pt x="262" y="883"/>
                  </a:lnTo>
                  <a:lnTo>
                    <a:pt x="262" y="883"/>
                  </a:lnTo>
                  <a:lnTo>
                    <a:pt x="264" y="883"/>
                  </a:lnTo>
                  <a:lnTo>
                    <a:pt x="264" y="883"/>
                  </a:lnTo>
                  <a:lnTo>
                    <a:pt x="264" y="883"/>
                  </a:lnTo>
                  <a:lnTo>
                    <a:pt x="264" y="883"/>
                  </a:lnTo>
                  <a:lnTo>
                    <a:pt x="262" y="881"/>
                  </a:lnTo>
                  <a:lnTo>
                    <a:pt x="258" y="881"/>
                  </a:lnTo>
                  <a:lnTo>
                    <a:pt x="258" y="879"/>
                  </a:lnTo>
                  <a:lnTo>
                    <a:pt x="256" y="879"/>
                  </a:lnTo>
                  <a:lnTo>
                    <a:pt x="258" y="879"/>
                  </a:lnTo>
                  <a:lnTo>
                    <a:pt x="258" y="877"/>
                  </a:lnTo>
                  <a:lnTo>
                    <a:pt x="258" y="877"/>
                  </a:lnTo>
                  <a:lnTo>
                    <a:pt x="256" y="877"/>
                  </a:lnTo>
                  <a:lnTo>
                    <a:pt x="256" y="875"/>
                  </a:lnTo>
                  <a:lnTo>
                    <a:pt x="256" y="875"/>
                  </a:lnTo>
                  <a:lnTo>
                    <a:pt x="250" y="873"/>
                  </a:lnTo>
                  <a:lnTo>
                    <a:pt x="250" y="873"/>
                  </a:lnTo>
                  <a:lnTo>
                    <a:pt x="248" y="875"/>
                  </a:lnTo>
                  <a:lnTo>
                    <a:pt x="248" y="875"/>
                  </a:lnTo>
                  <a:lnTo>
                    <a:pt x="250" y="879"/>
                  </a:lnTo>
                  <a:lnTo>
                    <a:pt x="250" y="879"/>
                  </a:lnTo>
                  <a:lnTo>
                    <a:pt x="250" y="881"/>
                  </a:lnTo>
                  <a:lnTo>
                    <a:pt x="252" y="881"/>
                  </a:lnTo>
                  <a:lnTo>
                    <a:pt x="252" y="881"/>
                  </a:lnTo>
                  <a:lnTo>
                    <a:pt x="254" y="883"/>
                  </a:lnTo>
                  <a:lnTo>
                    <a:pt x="252" y="883"/>
                  </a:lnTo>
                  <a:lnTo>
                    <a:pt x="252" y="885"/>
                  </a:lnTo>
                  <a:lnTo>
                    <a:pt x="252" y="885"/>
                  </a:lnTo>
                  <a:lnTo>
                    <a:pt x="252" y="885"/>
                  </a:lnTo>
                  <a:lnTo>
                    <a:pt x="250" y="885"/>
                  </a:lnTo>
                  <a:lnTo>
                    <a:pt x="250" y="885"/>
                  </a:lnTo>
                  <a:lnTo>
                    <a:pt x="250" y="885"/>
                  </a:lnTo>
                  <a:lnTo>
                    <a:pt x="248" y="885"/>
                  </a:lnTo>
                  <a:lnTo>
                    <a:pt x="248" y="885"/>
                  </a:lnTo>
                  <a:lnTo>
                    <a:pt x="248" y="885"/>
                  </a:lnTo>
                  <a:lnTo>
                    <a:pt x="248" y="887"/>
                  </a:lnTo>
                  <a:lnTo>
                    <a:pt x="248" y="887"/>
                  </a:lnTo>
                  <a:lnTo>
                    <a:pt x="248" y="887"/>
                  </a:lnTo>
                  <a:lnTo>
                    <a:pt x="250" y="887"/>
                  </a:lnTo>
                  <a:lnTo>
                    <a:pt x="250" y="889"/>
                  </a:lnTo>
                  <a:lnTo>
                    <a:pt x="250" y="889"/>
                  </a:lnTo>
                  <a:lnTo>
                    <a:pt x="250" y="889"/>
                  </a:lnTo>
                  <a:lnTo>
                    <a:pt x="250" y="891"/>
                  </a:lnTo>
                  <a:lnTo>
                    <a:pt x="250" y="891"/>
                  </a:lnTo>
                  <a:lnTo>
                    <a:pt x="250" y="891"/>
                  </a:lnTo>
                  <a:lnTo>
                    <a:pt x="252" y="891"/>
                  </a:lnTo>
                  <a:lnTo>
                    <a:pt x="252" y="891"/>
                  </a:lnTo>
                  <a:lnTo>
                    <a:pt x="252" y="891"/>
                  </a:lnTo>
                  <a:lnTo>
                    <a:pt x="252" y="889"/>
                  </a:lnTo>
                  <a:lnTo>
                    <a:pt x="252" y="889"/>
                  </a:lnTo>
                  <a:lnTo>
                    <a:pt x="252" y="889"/>
                  </a:lnTo>
                  <a:lnTo>
                    <a:pt x="252" y="887"/>
                  </a:lnTo>
                  <a:lnTo>
                    <a:pt x="252" y="887"/>
                  </a:lnTo>
                  <a:lnTo>
                    <a:pt x="254" y="887"/>
                  </a:lnTo>
                  <a:lnTo>
                    <a:pt x="254" y="887"/>
                  </a:lnTo>
                  <a:lnTo>
                    <a:pt x="254" y="887"/>
                  </a:lnTo>
                  <a:lnTo>
                    <a:pt x="254" y="887"/>
                  </a:lnTo>
                  <a:lnTo>
                    <a:pt x="254" y="889"/>
                  </a:lnTo>
                  <a:lnTo>
                    <a:pt x="256" y="889"/>
                  </a:lnTo>
                  <a:lnTo>
                    <a:pt x="256" y="887"/>
                  </a:lnTo>
                  <a:lnTo>
                    <a:pt x="256" y="887"/>
                  </a:lnTo>
                  <a:lnTo>
                    <a:pt x="256" y="887"/>
                  </a:lnTo>
                  <a:lnTo>
                    <a:pt x="258" y="885"/>
                  </a:lnTo>
                  <a:lnTo>
                    <a:pt x="258" y="885"/>
                  </a:lnTo>
                  <a:lnTo>
                    <a:pt x="258" y="885"/>
                  </a:lnTo>
                  <a:lnTo>
                    <a:pt x="258" y="885"/>
                  </a:lnTo>
                  <a:lnTo>
                    <a:pt x="258" y="883"/>
                  </a:lnTo>
                  <a:lnTo>
                    <a:pt x="258" y="883"/>
                  </a:lnTo>
                  <a:lnTo>
                    <a:pt x="258" y="883"/>
                  </a:lnTo>
                  <a:lnTo>
                    <a:pt x="260" y="883"/>
                  </a:lnTo>
                  <a:close/>
                  <a:moveTo>
                    <a:pt x="270" y="883"/>
                  </a:moveTo>
                  <a:lnTo>
                    <a:pt x="270" y="883"/>
                  </a:lnTo>
                  <a:lnTo>
                    <a:pt x="272" y="883"/>
                  </a:lnTo>
                  <a:lnTo>
                    <a:pt x="272" y="883"/>
                  </a:lnTo>
                  <a:lnTo>
                    <a:pt x="272" y="881"/>
                  </a:lnTo>
                  <a:lnTo>
                    <a:pt x="272" y="881"/>
                  </a:lnTo>
                  <a:lnTo>
                    <a:pt x="272" y="881"/>
                  </a:lnTo>
                  <a:lnTo>
                    <a:pt x="270" y="881"/>
                  </a:lnTo>
                  <a:lnTo>
                    <a:pt x="270" y="881"/>
                  </a:lnTo>
                  <a:lnTo>
                    <a:pt x="270" y="881"/>
                  </a:lnTo>
                  <a:lnTo>
                    <a:pt x="270" y="881"/>
                  </a:lnTo>
                  <a:lnTo>
                    <a:pt x="270" y="883"/>
                  </a:lnTo>
                  <a:lnTo>
                    <a:pt x="270" y="883"/>
                  </a:lnTo>
                  <a:close/>
                  <a:moveTo>
                    <a:pt x="303" y="898"/>
                  </a:moveTo>
                  <a:lnTo>
                    <a:pt x="305" y="898"/>
                  </a:lnTo>
                  <a:lnTo>
                    <a:pt x="305" y="898"/>
                  </a:lnTo>
                  <a:lnTo>
                    <a:pt x="305" y="898"/>
                  </a:lnTo>
                  <a:lnTo>
                    <a:pt x="305" y="896"/>
                  </a:lnTo>
                  <a:lnTo>
                    <a:pt x="303" y="896"/>
                  </a:lnTo>
                  <a:lnTo>
                    <a:pt x="303" y="896"/>
                  </a:lnTo>
                  <a:lnTo>
                    <a:pt x="301" y="896"/>
                  </a:lnTo>
                  <a:lnTo>
                    <a:pt x="301" y="898"/>
                  </a:lnTo>
                  <a:lnTo>
                    <a:pt x="301" y="898"/>
                  </a:lnTo>
                  <a:lnTo>
                    <a:pt x="301" y="898"/>
                  </a:lnTo>
                  <a:lnTo>
                    <a:pt x="301" y="898"/>
                  </a:lnTo>
                  <a:lnTo>
                    <a:pt x="301" y="898"/>
                  </a:lnTo>
                  <a:lnTo>
                    <a:pt x="301" y="900"/>
                  </a:lnTo>
                  <a:lnTo>
                    <a:pt x="301" y="902"/>
                  </a:lnTo>
                  <a:lnTo>
                    <a:pt x="301" y="902"/>
                  </a:lnTo>
                  <a:lnTo>
                    <a:pt x="301" y="902"/>
                  </a:lnTo>
                  <a:lnTo>
                    <a:pt x="301" y="902"/>
                  </a:lnTo>
                  <a:lnTo>
                    <a:pt x="301" y="902"/>
                  </a:lnTo>
                  <a:lnTo>
                    <a:pt x="301" y="902"/>
                  </a:lnTo>
                  <a:lnTo>
                    <a:pt x="301" y="902"/>
                  </a:lnTo>
                  <a:lnTo>
                    <a:pt x="303" y="902"/>
                  </a:lnTo>
                  <a:lnTo>
                    <a:pt x="303" y="902"/>
                  </a:lnTo>
                  <a:lnTo>
                    <a:pt x="303" y="902"/>
                  </a:lnTo>
                  <a:lnTo>
                    <a:pt x="303" y="902"/>
                  </a:lnTo>
                  <a:lnTo>
                    <a:pt x="303" y="902"/>
                  </a:lnTo>
                  <a:lnTo>
                    <a:pt x="303" y="902"/>
                  </a:lnTo>
                  <a:lnTo>
                    <a:pt x="305" y="902"/>
                  </a:lnTo>
                  <a:lnTo>
                    <a:pt x="305" y="902"/>
                  </a:lnTo>
                  <a:lnTo>
                    <a:pt x="305" y="902"/>
                  </a:lnTo>
                  <a:lnTo>
                    <a:pt x="305" y="902"/>
                  </a:lnTo>
                  <a:lnTo>
                    <a:pt x="305" y="900"/>
                  </a:lnTo>
                  <a:lnTo>
                    <a:pt x="305" y="900"/>
                  </a:lnTo>
                  <a:lnTo>
                    <a:pt x="305" y="900"/>
                  </a:lnTo>
                  <a:lnTo>
                    <a:pt x="305" y="900"/>
                  </a:lnTo>
                  <a:lnTo>
                    <a:pt x="305" y="900"/>
                  </a:lnTo>
                  <a:lnTo>
                    <a:pt x="305" y="900"/>
                  </a:lnTo>
                  <a:lnTo>
                    <a:pt x="305" y="898"/>
                  </a:lnTo>
                  <a:lnTo>
                    <a:pt x="305" y="898"/>
                  </a:lnTo>
                  <a:lnTo>
                    <a:pt x="303" y="900"/>
                  </a:lnTo>
                  <a:lnTo>
                    <a:pt x="303" y="898"/>
                  </a:lnTo>
                  <a:lnTo>
                    <a:pt x="303" y="898"/>
                  </a:lnTo>
                  <a:lnTo>
                    <a:pt x="303" y="898"/>
                  </a:lnTo>
                  <a:lnTo>
                    <a:pt x="303" y="898"/>
                  </a:lnTo>
                  <a:lnTo>
                    <a:pt x="303" y="898"/>
                  </a:lnTo>
                  <a:lnTo>
                    <a:pt x="303" y="898"/>
                  </a:lnTo>
                  <a:lnTo>
                    <a:pt x="303" y="898"/>
                  </a:lnTo>
                  <a:close/>
                  <a:moveTo>
                    <a:pt x="313" y="902"/>
                  </a:moveTo>
                  <a:lnTo>
                    <a:pt x="313" y="902"/>
                  </a:lnTo>
                  <a:lnTo>
                    <a:pt x="313" y="900"/>
                  </a:lnTo>
                  <a:lnTo>
                    <a:pt x="311" y="900"/>
                  </a:lnTo>
                  <a:lnTo>
                    <a:pt x="311" y="900"/>
                  </a:lnTo>
                  <a:lnTo>
                    <a:pt x="311" y="900"/>
                  </a:lnTo>
                  <a:lnTo>
                    <a:pt x="311" y="900"/>
                  </a:lnTo>
                  <a:lnTo>
                    <a:pt x="311" y="900"/>
                  </a:lnTo>
                  <a:lnTo>
                    <a:pt x="311" y="898"/>
                  </a:lnTo>
                  <a:lnTo>
                    <a:pt x="311" y="898"/>
                  </a:lnTo>
                  <a:lnTo>
                    <a:pt x="309" y="898"/>
                  </a:lnTo>
                  <a:lnTo>
                    <a:pt x="309" y="898"/>
                  </a:lnTo>
                  <a:lnTo>
                    <a:pt x="309" y="898"/>
                  </a:lnTo>
                  <a:lnTo>
                    <a:pt x="309" y="896"/>
                  </a:lnTo>
                  <a:lnTo>
                    <a:pt x="309" y="898"/>
                  </a:lnTo>
                  <a:lnTo>
                    <a:pt x="307" y="898"/>
                  </a:lnTo>
                  <a:lnTo>
                    <a:pt x="307" y="898"/>
                  </a:lnTo>
                  <a:lnTo>
                    <a:pt x="307" y="898"/>
                  </a:lnTo>
                  <a:lnTo>
                    <a:pt x="307" y="898"/>
                  </a:lnTo>
                  <a:lnTo>
                    <a:pt x="307" y="900"/>
                  </a:lnTo>
                  <a:lnTo>
                    <a:pt x="307" y="900"/>
                  </a:lnTo>
                  <a:lnTo>
                    <a:pt x="307" y="900"/>
                  </a:lnTo>
                  <a:lnTo>
                    <a:pt x="307" y="900"/>
                  </a:lnTo>
                  <a:lnTo>
                    <a:pt x="309" y="900"/>
                  </a:lnTo>
                  <a:lnTo>
                    <a:pt x="309" y="900"/>
                  </a:lnTo>
                  <a:lnTo>
                    <a:pt x="309" y="900"/>
                  </a:lnTo>
                  <a:lnTo>
                    <a:pt x="309" y="902"/>
                  </a:lnTo>
                  <a:lnTo>
                    <a:pt x="307" y="902"/>
                  </a:lnTo>
                  <a:lnTo>
                    <a:pt x="309" y="902"/>
                  </a:lnTo>
                  <a:lnTo>
                    <a:pt x="309" y="902"/>
                  </a:lnTo>
                  <a:lnTo>
                    <a:pt x="309" y="902"/>
                  </a:lnTo>
                  <a:lnTo>
                    <a:pt x="309" y="902"/>
                  </a:lnTo>
                  <a:lnTo>
                    <a:pt x="309" y="902"/>
                  </a:lnTo>
                  <a:lnTo>
                    <a:pt x="309" y="902"/>
                  </a:lnTo>
                  <a:lnTo>
                    <a:pt x="309" y="900"/>
                  </a:lnTo>
                  <a:lnTo>
                    <a:pt x="309" y="900"/>
                  </a:lnTo>
                  <a:lnTo>
                    <a:pt x="309" y="900"/>
                  </a:lnTo>
                  <a:lnTo>
                    <a:pt x="309" y="902"/>
                  </a:lnTo>
                  <a:lnTo>
                    <a:pt x="309" y="902"/>
                  </a:lnTo>
                  <a:lnTo>
                    <a:pt x="311" y="902"/>
                  </a:lnTo>
                  <a:lnTo>
                    <a:pt x="311" y="902"/>
                  </a:lnTo>
                  <a:lnTo>
                    <a:pt x="311" y="900"/>
                  </a:lnTo>
                  <a:lnTo>
                    <a:pt x="311" y="900"/>
                  </a:lnTo>
                  <a:lnTo>
                    <a:pt x="311" y="902"/>
                  </a:lnTo>
                  <a:lnTo>
                    <a:pt x="311" y="902"/>
                  </a:lnTo>
                  <a:lnTo>
                    <a:pt x="313" y="902"/>
                  </a:lnTo>
                  <a:lnTo>
                    <a:pt x="313" y="902"/>
                  </a:lnTo>
                  <a:lnTo>
                    <a:pt x="313" y="902"/>
                  </a:lnTo>
                  <a:lnTo>
                    <a:pt x="313" y="902"/>
                  </a:lnTo>
                  <a:lnTo>
                    <a:pt x="313" y="902"/>
                  </a:lnTo>
                  <a:lnTo>
                    <a:pt x="313" y="902"/>
                  </a:lnTo>
                  <a:close/>
                  <a:moveTo>
                    <a:pt x="283" y="887"/>
                  </a:moveTo>
                  <a:lnTo>
                    <a:pt x="283" y="887"/>
                  </a:lnTo>
                  <a:lnTo>
                    <a:pt x="283" y="887"/>
                  </a:lnTo>
                  <a:lnTo>
                    <a:pt x="283" y="887"/>
                  </a:lnTo>
                  <a:lnTo>
                    <a:pt x="283" y="887"/>
                  </a:lnTo>
                  <a:lnTo>
                    <a:pt x="283" y="885"/>
                  </a:lnTo>
                  <a:lnTo>
                    <a:pt x="283" y="885"/>
                  </a:lnTo>
                  <a:lnTo>
                    <a:pt x="283" y="885"/>
                  </a:lnTo>
                  <a:lnTo>
                    <a:pt x="281" y="883"/>
                  </a:lnTo>
                  <a:lnTo>
                    <a:pt x="281" y="883"/>
                  </a:lnTo>
                  <a:lnTo>
                    <a:pt x="279" y="883"/>
                  </a:lnTo>
                  <a:lnTo>
                    <a:pt x="279" y="885"/>
                  </a:lnTo>
                  <a:lnTo>
                    <a:pt x="279" y="885"/>
                  </a:lnTo>
                  <a:lnTo>
                    <a:pt x="279" y="885"/>
                  </a:lnTo>
                  <a:lnTo>
                    <a:pt x="279" y="885"/>
                  </a:lnTo>
                  <a:lnTo>
                    <a:pt x="277" y="889"/>
                  </a:lnTo>
                  <a:lnTo>
                    <a:pt x="274" y="889"/>
                  </a:lnTo>
                  <a:lnTo>
                    <a:pt x="270" y="889"/>
                  </a:lnTo>
                  <a:lnTo>
                    <a:pt x="268" y="889"/>
                  </a:lnTo>
                  <a:lnTo>
                    <a:pt x="268" y="889"/>
                  </a:lnTo>
                  <a:lnTo>
                    <a:pt x="268" y="889"/>
                  </a:lnTo>
                  <a:lnTo>
                    <a:pt x="268" y="889"/>
                  </a:lnTo>
                  <a:lnTo>
                    <a:pt x="266" y="889"/>
                  </a:lnTo>
                  <a:lnTo>
                    <a:pt x="266" y="889"/>
                  </a:lnTo>
                  <a:lnTo>
                    <a:pt x="266" y="889"/>
                  </a:lnTo>
                  <a:lnTo>
                    <a:pt x="266" y="889"/>
                  </a:lnTo>
                  <a:lnTo>
                    <a:pt x="266" y="889"/>
                  </a:lnTo>
                  <a:lnTo>
                    <a:pt x="266" y="889"/>
                  </a:lnTo>
                  <a:lnTo>
                    <a:pt x="264" y="889"/>
                  </a:lnTo>
                  <a:lnTo>
                    <a:pt x="264" y="889"/>
                  </a:lnTo>
                  <a:lnTo>
                    <a:pt x="262" y="887"/>
                  </a:lnTo>
                  <a:lnTo>
                    <a:pt x="262" y="887"/>
                  </a:lnTo>
                  <a:lnTo>
                    <a:pt x="262" y="887"/>
                  </a:lnTo>
                  <a:lnTo>
                    <a:pt x="260" y="889"/>
                  </a:lnTo>
                  <a:lnTo>
                    <a:pt x="260" y="889"/>
                  </a:lnTo>
                  <a:lnTo>
                    <a:pt x="260" y="889"/>
                  </a:lnTo>
                  <a:lnTo>
                    <a:pt x="260" y="889"/>
                  </a:lnTo>
                  <a:lnTo>
                    <a:pt x="260" y="889"/>
                  </a:lnTo>
                  <a:lnTo>
                    <a:pt x="260" y="889"/>
                  </a:lnTo>
                  <a:lnTo>
                    <a:pt x="260" y="891"/>
                  </a:lnTo>
                  <a:lnTo>
                    <a:pt x="260" y="891"/>
                  </a:lnTo>
                  <a:lnTo>
                    <a:pt x="260" y="891"/>
                  </a:lnTo>
                  <a:lnTo>
                    <a:pt x="260" y="891"/>
                  </a:lnTo>
                  <a:lnTo>
                    <a:pt x="260" y="891"/>
                  </a:lnTo>
                  <a:lnTo>
                    <a:pt x="262" y="889"/>
                  </a:lnTo>
                  <a:lnTo>
                    <a:pt x="262" y="889"/>
                  </a:lnTo>
                  <a:lnTo>
                    <a:pt x="264" y="891"/>
                  </a:lnTo>
                  <a:lnTo>
                    <a:pt x="266" y="891"/>
                  </a:lnTo>
                  <a:lnTo>
                    <a:pt x="266" y="891"/>
                  </a:lnTo>
                  <a:lnTo>
                    <a:pt x="266" y="891"/>
                  </a:lnTo>
                  <a:lnTo>
                    <a:pt x="268" y="891"/>
                  </a:lnTo>
                  <a:lnTo>
                    <a:pt x="268" y="891"/>
                  </a:lnTo>
                  <a:lnTo>
                    <a:pt x="270" y="891"/>
                  </a:lnTo>
                  <a:lnTo>
                    <a:pt x="270" y="891"/>
                  </a:lnTo>
                  <a:lnTo>
                    <a:pt x="270" y="891"/>
                  </a:lnTo>
                  <a:lnTo>
                    <a:pt x="270" y="894"/>
                  </a:lnTo>
                  <a:lnTo>
                    <a:pt x="270" y="894"/>
                  </a:lnTo>
                  <a:lnTo>
                    <a:pt x="270" y="894"/>
                  </a:lnTo>
                  <a:lnTo>
                    <a:pt x="270" y="894"/>
                  </a:lnTo>
                  <a:lnTo>
                    <a:pt x="270" y="894"/>
                  </a:lnTo>
                  <a:lnTo>
                    <a:pt x="272" y="894"/>
                  </a:lnTo>
                  <a:lnTo>
                    <a:pt x="272" y="896"/>
                  </a:lnTo>
                  <a:lnTo>
                    <a:pt x="272" y="896"/>
                  </a:lnTo>
                  <a:lnTo>
                    <a:pt x="274" y="894"/>
                  </a:lnTo>
                  <a:lnTo>
                    <a:pt x="274" y="896"/>
                  </a:lnTo>
                  <a:lnTo>
                    <a:pt x="274" y="896"/>
                  </a:lnTo>
                  <a:lnTo>
                    <a:pt x="274" y="894"/>
                  </a:lnTo>
                  <a:lnTo>
                    <a:pt x="274" y="894"/>
                  </a:lnTo>
                  <a:lnTo>
                    <a:pt x="274" y="894"/>
                  </a:lnTo>
                  <a:lnTo>
                    <a:pt x="274" y="894"/>
                  </a:lnTo>
                  <a:lnTo>
                    <a:pt x="277" y="896"/>
                  </a:lnTo>
                  <a:lnTo>
                    <a:pt x="277" y="894"/>
                  </a:lnTo>
                  <a:lnTo>
                    <a:pt x="279" y="894"/>
                  </a:lnTo>
                  <a:lnTo>
                    <a:pt x="279" y="891"/>
                  </a:lnTo>
                  <a:lnTo>
                    <a:pt x="279" y="891"/>
                  </a:lnTo>
                  <a:lnTo>
                    <a:pt x="279" y="889"/>
                  </a:lnTo>
                  <a:lnTo>
                    <a:pt x="281" y="889"/>
                  </a:lnTo>
                  <a:lnTo>
                    <a:pt x="281" y="887"/>
                  </a:lnTo>
                  <a:lnTo>
                    <a:pt x="283" y="887"/>
                  </a:lnTo>
                  <a:close/>
                  <a:moveTo>
                    <a:pt x="217" y="879"/>
                  </a:moveTo>
                  <a:lnTo>
                    <a:pt x="217" y="879"/>
                  </a:lnTo>
                  <a:lnTo>
                    <a:pt x="217" y="879"/>
                  </a:lnTo>
                  <a:lnTo>
                    <a:pt x="217" y="879"/>
                  </a:lnTo>
                  <a:lnTo>
                    <a:pt x="217" y="879"/>
                  </a:lnTo>
                  <a:lnTo>
                    <a:pt x="217" y="879"/>
                  </a:lnTo>
                  <a:lnTo>
                    <a:pt x="217" y="879"/>
                  </a:lnTo>
                  <a:lnTo>
                    <a:pt x="217" y="879"/>
                  </a:lnTo>
                  <a:lnTo>
                    <a:pt x="217" y="879"/>
                  </a:lnTo>
                  <a:lnTo>
                    <a:pt x="217" y="879"/>
                  </a:lnTo>
                  <a:close/>
                  <a:moveTo>
                    <a:pt x="299" y="900"/>
                  </a:moveTo>
                  <a:lnTo>
                    <a:pt x="299" y="900"/>
                  </a:lnTo>
                  <a:lnTo>
                    <a:pt x="299" y="898"/>
                  </a:lnTo>
                  <a:lnTo>
                    <a:pt x="301" y="898"/>
                  </a:lnTo>
                  <a:lnTo>
                    <a:pt x="301" y="898"/>
                  </a:lnTo>
                  <a:lnTo>
                    <a:pt x="301" y="898"/>
                  </a:lnTo>
                  <a:lnTo>
                    <a:pt x="301" y="898"/>
                  </a:lnTo>
                  <a:lnTo>
                    <a:pt x="301" y="896"/>
                  </a:lnTo>
                  <a:lnTo>
                    <a:pt x="301" y="896"/>
                  </a:lnTo>
                  <a:lnTo>
                    <a:pt x="299" y="896"/>
                  </a:lnTo>
                  <a:lnTo>
                    <a:pt x="299" y="896"/>
                  </a:lnTo>
                  <a:lnTo>
                    <a:pt x="299" y="896"/>
                  </a:lnTo>
                  <a:lnTo>
                    <a:pt x="299" y="896"/>
                  </a:lnTo>
                  <a:lnTo>
                    <a:pt x="299" y="896"/>
                  </a:lnTo>
                  <a:lnTo>
                    <a:pt x="299" y="896"/>
                  </a:lnTo>
                  <a:lnTo>
                    <a:pt x="297" y="896"/>
                  </a:lnTo>
                  <a:lnTo>
                    <a:pt x="297" y="896"/>
                  </a:lnTo>
                  <a:lnTo>
                    <a:pt x="297" y="896"/>
                  </a:lnTo>
                  <a:lnTo>
                    <a:pt x="295" y="896"/>
                  </a:lnTo>
                  <a:lnTo>
                    <a:pt x="295" y="894"/>
                  </a:lnTo>
                  <a:lnTo>
                    <a:pt x="295" y="894"/>
                  </a:lnTo>
                  <a:lnTo>
                    <a:pt x="295" y="894"/>
                  </a:lnTo>
                  <a:lnTo>
                    <a:pt x="297" y="894"/>
                  </a:lnTo>
                  <a:lnTo>
                    <a:pt x="295" y="894"/>
                  </a:lnTo>
                  <a:lnTo>
                    <a:pt x="295" y="894"/>
                  </a:lnTo>
                  <a:lnTo>
                    <a:pt x="295" y="894"/>
                  </a:lnTo>
                  <a:lnTo>
                    <a:pt x="295" y="891"/>
                  </a:lnTo>
                  <a:lnTo>
                    <a:pt x="297" y="891"/>
                  </a:lnTo>
                  <a:lnTo>
                    <a:pt x="297" y="891"/>
                  </a:lnTo>
                  <a:lnTo>
                    <a:pt x="297" y="891"/>
                  </a:lnTo>
                  <a:lnTo>
                    <a:pt x="297" y="891"/>
                  </a:lnTo>
                  <a:lnTo>
                    <a:pt x="299" y="891"/>
                  </a:lnTo>
                  <a:lnTo>
                    <a:pt x="299" y="891"/>
                  </a:lnTo>
                  <a:lnTo>
                    <a:pt x="299" y="889"/>
                  </a:lnTo>
                  <a:lnTo>
                    <a:pt x="299" y="889"/>
                  </a:lnTo>
                  <a:lnTo>
                    <a:pt x="299" y="889"/>
                  </a:lnTo>
                  <a:lnTo>
                    <a:pt x="299" y="887"/>
                  </a:lnTo>
                  <a:lnTo>
                    <a:pt x="299" y="887"/>
                  </a:lnTo>
                  <a:lnTo>
                    <a:pt x="299" y="887"/>
                  </a:lnTo>
                  <a:lnTo>
                    <a:pt x="299" y="887"/>
                  </a:lnTo>
                  <a:lnTo>
                    <a:pt x="299" y="887"/>
                  </a:lnTo>
                  <a:lnTo>
                    <a:pt x="297" y="887"/>
                  </a:lnTo>
                  <a:lnTo>
                    <a:pt x="297" y="887"/>
                  </a:lnTo>
                  <a:lnTo>
                    <a:pt x="297" y="887"/>
                  </a:lnTo>
                  <a:lnTo>
                    <a:pt x="297" y="889"/>
                  </a:lnTo>
                  <a:lnTo>
                    <a:pt x="295" y="887"/>
                  </a:lnTo>
                  <a:lnTo>
                    <a:pt x="295" y="887"/>
                  </a:lnTo>
                  <a:lnTo>
                    <a:pt x="295" y="887"/>
                  </a:lnTo>
                  <a:lnTo>
                    <a:pt x="293" y="887"/>
                  </a:lnTo>
                  <a:lnTo>
                    <a:pt x="293" y="887"/>
                  </a:lnTo>
                  <a:lnTo>
                    <a:pt x="293" y="887"/>
                  </a:lnTo>
                  <a:lnTo>
                    <a:pt x="291" y="887"/>
                  </a:lnTo>
                  <a:lnTo>
                    <a:pt x="291" y="889"/>
                  </a:lnTo>
                  <a:lnTo>
                    <a:pt x="291" y="891"/>
                  </a:lnTo>
                  <a:lnTo>
                    <a:pt x="293" y="891"/>
                  </a:lnTo>
                  <a:lnTo>
                    <a:pt x="291" y="891"/>
                  </a:lnTo>
                  <a:lnTo>
                    <a:pt x="291" y="891"/>
                  </a:lnTo>
                  <a:lnTo>
                    <a:pt x="291" y="891"/>
                  </a:lnTo>
                  <a:lnTo>
                    <a:pt x="291" y="894"/>
                  </a:lnTo>
                  <a:lnTo>
                    <a:pt x="291" y="894"/>
                  </a:lnTo>
                  <a:lnTo>
                    <a:pt x="291" y="894"/>
                  </a:lnTo>
                  <a:lnTo>
                    <a:pt x="291" y="896"/>
                  </a:lnTo>
                  <a:lnTo>
                    <a:pt x="291" y="896"/>
                  </a:lnTo>
                  <a:lnTo>
                    <a:pt x="291" y="896"/>
                  </a:lnTo>
                  <a:lnTo>
                    <a:pt x="289" y="896"/>
                  </a:lnTo>
                  <a:lnTo>
                    <a:pt x="287" y="894"/>
                  </a:lnTo>
                  <a:lnTo>
                    <a:pt x="287" y="894"/>
                  </a:lnTo>
                  <a:lnTo>
                    <a:pt x="287" y="894"/>
                  </a:lnTo>
                  <a:lnTo>
                    <a:pt x="287" y="891"/>
                  </a:lnTo>
                  <a:lnTo>
                    <a:pt x="287" y="891"/>
                  </a:lnTo>
                  <a:lnTo>
                    <a:pt x="287" y="894"/>
                  </a:lnTo>
                  <a:lnTo>
                    <a:pt x="285" y="894"/>
                  </a:lnTo>
                  <a:lnTo>
                    <a:pt x="285" y="894"/>
                  </a:lnTo>
                  <a:lnTo>
                    <a:pt x="285" y="896"/>
                  </a:lnTo>
                  <a:lnTo>
                    <a:pt x="287" y="896"/>
                  </a:lnTo>
                  <a:lnTo>
                    <a:pt x="287" y="896"/>
                  </a:lnTo>
                  <a:lnTo>
                    <a:pt x="289" y="896"/>
                  </a:lnTo>
                  <a:lnTo>
                    <a:pt x="287" y="896"/>
                  </a:lnTo>
                  <a:lnTo>
                    <a:pt x="287" y="896"/>
                  </a:lnTo>
                  <a:lnTo>
                    <a:pt x="287" y="896"/>
                  </a:lnTo>
                  <a:lnTo>
                    <a:pt x="287" y="896"/>
                  </a:lnTo>
                  <a:lnTo>
                    <a:pt x="287" y="896"/>
                  </a:lnTo>
                  <a:lnTo>
                    <a:pt x="285" y="896"/>
                  </a:lnTo>
                  <a:lnTo>
                    <a:pt x="285" y="896"/>
                  </a:lnTo>
                  <a:lnTo>
                    <a:pt x="285" y="898"/>
                  </a:lnTo>
                  <a:lnTo>
                    <a:pt x="285" y="898"/>
                  </a:lnTo>
                  <a:lnTo>
                    <a:pt x="285" y="898"/>
                  </a:lnTo>
                  <a:lnTo>
                    <a:pt x="281" y="900"/>
                  </a:lnTo>
                  <a:lnTo>
                    <a:pt x="281" y="900"/>
                  </a:lnTo>
                  <a:lnTo>
                    <a:pt x="281" y="902"/>
                  </a:lnTo>
                  <a:lnTo>
                    <a:pt x="281" y="902"/>
                  </a:lnTo>
                  <a:lnTo>
                    <a:pt x="281" y="902"/>
                  </a:lnTo>
                  <a:lnTo>
                    <a:pt x="281" y="902"/>
                  </a:lnTo>
                  <a:lnTo>
                    <a:pt x="283" y="902"/>
                  </a:lnTo>
                  <a:lnTo>
                    <a:pt x="283" y="902"/>
                  </a:lnTo>
                  <a:lnTo>
                    <a:pt x="283" y="902"/>
                  </a:lnTo>
                  <a:lnTo>
                    <a:pt x="283" y="902"/>
                  </a:lnTo>
                  <a:lnTo>
                    <a:pt x="287" y="898"/>
                  </a:lnTo>
                  <a:lnTo>
                    <a:pt x="287" y="898"/>
                  </a:lnTo>
                  <a:lnTo>
                    <a:pt x="287" y="900"/>
                  </a:lnTo>
                  <a:lnTo>
                    <a:pt x="287" y="900"/>
                  </a:lnTo>
                  <a:lnTo>
                    <a:pt x="287" y="902"/>
                  </a:lnTo>
                  <a:lnTo>
                    <a:pt x="287" y="902"/>
                  </a:lnTo>
                  <a:lnTo>
                    <a:pt x="287" y="902"/>
                  </a:lnTo>
                  <a:lnTo>
                    <a:pt x="285" y="902"/>
                  </a:lnTo>
                  <a:lnTo>
                    <a:pt x="285" y="902"/>
                  </a:lnTo>
                  <a:lnTo>
                    <a:pt x="285" y="904"/>
                  </a:lnTo>
                  <a:lnTo>
                    <a:pt x="285" y="904"/>
                  </a:lnTo>
                  <a:lnTo>
                    <a:pt x="287" y="904"/>
                  </a:lnTo>
                  <a:lnTo>
                    <a:pt x="287" y="904"/>
                  </a:lnTo>
                  <a:lnTo>
                    <a:pt x="287" y="902"/>
                  </a:lnTo>
                  <a:lnTo>
                    <a:pt x="289" y="904"/>
                  </a:lnTo>
                  <a:lnTo>
                    <a:pt x="289" y="904"/>
                  </a:lnTo>
                  <a:lnTo>
                    <a:pt x="289" y="904"/>
                  </a:lnTo>
                  <a:lnTo>
                    <a:pt x="289" y="902"/>
                  </a:lnTo>
                  <a:lnTo>
                    <a:pt x="289" y="902"/>
                  </a:lnTo>
                  <a:lnTo>
                    <a:pt x="289" y="902"/>
                  </a:lnTo>
                  <a:lnTo>
                    <a:pt x="289" y="902"/>
                  </a:lnTo>
                  <a:lnTo>
                    <a:pt x="289" y="900"/>
                  </a:lnTo>
                  <a:lnTo>
                    <a:pt x="291" y="902"/>
                  </a:lnTo>
                  <a:lnTo>
                    <a:pt x="291" y="902"/>
                  </a:lnTo>
                  <a:lnTo>
                    <a:pt x="291" y="902"/>
                  </a:lnTo>
                  <a:lnTo>
                    <a:pt x="291" y="902"/>
                  </a:lnTo>
                  <a:lnTo>
                    <a:pt x="291" y="902"/>
                  </a:lnTo>
                  <a:lnTo>
                    <a:pt x="291" y="902"/>
                  </a:lnTo>
                  <a:lnTo>
                    <a:pt x="293" y="902"/>
                  </a:lnTo>
                  <a:lnTo>
                    <a:pt x="293" y="902"/>
                  </a:lnTo>
                  <a:lnTo>
                    <a:pt x="293" y="902"/>
                  </a:lnTo>
                  <a:lnTo>
                    <a:pt x="293" y="902"/>
                  </a:lnTo>
                  <a:lnTo>
                    <a:pt x="293" y="902"/>
                  </a:lnTo>
                  <a:lnTo>
                    <a:pt x="293" y="902"/>
                  </a:lnTo>
                  <a:lnTo>
                    <a:pt x="293" y="902"/>
                  </a:lnTo>
                  <a:lnTo>
                    <a:pt x="297" y="900"/>
                  </a:lnTo>
                  <a:lnTo>
                    <a:pt x="297" y="900"/>
                  </a:lnTo>
                  <a:lnTo>
                    <a:pt x="297" y="902"/>
                  </a:lnTo>
                  <a:lnTo>
                    <a:pt x="299" y="902"/>
                  </a:lnTo>
                  <a:lnTo>
                    <a:pt x="299" y="902"/>
                  </a:lnTo>
                  <a:lnTo>
                    <a:pt x="299" y="900"/>
                  </a:lnTo>
                  <a:lnTo>
                    <a:pt x="299" y="900"/>
                  </a:lnTo>
                  <a:lnTo>
                    <a:pt x="299" y="900"/>
                  </a:lnTo>
                  <a:close/>
                  <a:moveTo>
                    <a:pt x="229" y="869"/>
                  </a:moveTo>
                  <a:lnTo>
                    <a:pt x="227" y="869"/>
                  </a:lnTo>
                  <a:lnTo>
                    <a:pt x="227" y="871"/>
                  </a:lnTo>
                  <a:lnTo>
                    <a:pt x="227" y="871"/>
                  </a:lnTo>
                  <a:lnTo>
                    <a:pt x="225" y="871"/>
                  </a:lnTo>
                  <a:lnTo>
                    <a:pt x="227" y="873"/>
                  </a:lnTo>
                  <a:lnTo>
                    <a:pt x="227" y="873"/>
                  </a:lnTo>
                  <a:lnTo>
                    <a:pt x="227" y="873"/>
                  </a:lnTo>
                  <a:lnTo>
                    <a:pt x="229" y="875"/>
                  </a:lnTo>
                  <a:lnTo>
                    <a:pt x="229" y="873"/>
                  </a:lnTo>
                  <a:lnTo>
                    <a:pt x="229" y="871"/>
                  </a:lnTo>
                  <a:lnTo>
                    <a:pt x="229" y="871"/>
                  </a:lnTo>
                  <a:lnTo>
                    <a:pt x="229" y="869"/>
                  </a:lnTo>
                  <a:close/>
                  <a:moveTo>
                    <a:pt x="86" y="777"/>
                  </a:moveTo>
                  <a:lnTo>
                    <a:pt x="84" y="777"/>
                  </a:lnTo>
                  <a:lnTo>
                    <a:pt x="84" y="775"/>
                  </a:lnTo>
                  <a:lnTo>
                    <a:pt x="84" y="777"/>
                  </a:lnTo>
                  <a:lnTo>
                    <a:pt x="84" y="779"/>
                  </a:lnTo>
                  <a:lnTo>
                    <a:pt x="86" y="779"/>
                  </a:lnTo>
                  <a:lnTo>
                    <a:pt x="86" y="779"/>
                  </a:lnTo>
                  <a:lnTo>
                    <a:pt x="86" y="777"/>
                  </a:lnTo>
                  <a:lnTo>
                    <a:pt x="86" y="777"/>
                  </a:lnTo>
                  <a:close/>
                  <a:moveTo>
                    <a:pt x="43" y="734"/>
                  </a:moveTo>
                  <a:lnTo>
                    <a:pt x="41" y="734"/>
                  </a:lnTo>
                  <a:lnTo>
                    <a:pt x="41" y="734"/>
                  </a:lnTo>
                  <a:lnTo>
                    <a:pt x="41" y="734"/>
                  </a:lnTo>
                  <a:lnTo>
                    <a:pt x="41" y="734"/>
                  </a:lnTo>
                  <a:lnTo>
                    <a:pt x="43" y="736"/>
                  </a:lnTo>
                  <a:lnTo>
                    <a:pt x="43" y="736"/>
                  </a:lnTo>
                  <a:lnTo>
                    <a:pt x="43" y="734"/>
                  </a:lnTo>
                  <a:close/>
                  <a:moveTo>
                    <a:pt x="215" y="889"/>
                  </a:moveTo>
                  <a:lnTo>
                    <a:pt x="215" y="889"/>
                  </a:lnTo>
                  <a:lnTo>
                    <a:pt x="215" y="889"/>
                  </a:lnTo>
                  <a:lnTo>
                    <a:pt x="215" y="889"/>
                  </a:lnTo>
                  <a:lnTo>
                    <a:pt x="215" y="891"/>
                  </a:lnTo>
                  <a:lnTo>
                    <a:pt x="213" y="891"/>
                  </a:lnTo>
                  <a:lnTo>
                    <a:pt x="213" y="891"/>
                  </a:lnTo>
                  <a:lnTo>
                    <a:pt x="213" y="894"/>
                  </a:lnTo>
                  <a:lnTo>
                    <a:pt x="213" y="894"/>
                  </a:lnTo>
                  <a:lnTo>
                    <a:pt x="215" y="891"/>
                  </a:lnTo>
                  <a:lnTo>
                    <a:pt x="215" y="891"/>
                  </a:lnTo>
                  <a:lnTo>
                    <a:pt x="217" y="891"/>
                  </a:lnTo>
                  <a:lnTo>
                    <a:pt x="217" y="891"/>
                  </a:lnTo>
                  <a:lnTo>
                    <a:pt x="217" y="889"/>
                  </a:lnTo>
                  <a:lnTo>
                    <a:pt x="215" y="889"/>
                  </a:lnTo>
                  <a:lnTo>
                    <a:pt x="215" y="889"/>
                  </a:lnTo>
                  <a:close/>
                  <a:moveTo>
                    <a:pt x="903" y="781"/>
                  </a:moveTo>
                  <a:lnTo>
                    <a:pt x="903" y="781"/>
                  </a:lnTo>
                  <a:lnTo>
                    <a:pt x="903" y="781"/>
                  </a:lnTo>
                  <a:lnTo>
                    <a:pt x="903" y="781"/>
                  </a:lnTo>
                  <a:lnTo>
                    <a:pt x="903" y="779"/>
                  </a:lnTo>
                  <a:lnTo>
                    <a:pt x="901" y="779"/>
                  </a:lnTo>
                  <a:lnTo>
                    <a:pt x="899" y="781"/>
                  </a:lnTo>
                  <a:lnTo>
                    <a:pt x="899" y="781"/>
                  </a:lnTo>
                  <a:lnTo>
                    <a:pt x="901" y="781"/>
                  </a:lnTo>
                  <a:lnTo>
                    <a:pt x="901" y="781"/>
                  </a:lnTo>
                  <a:lnTo>
                    <a:pt x="901" y="783"/>
                  </a:lnTo>
                  <a:lnTo>
                    <a:pt x="901" y="783"/>
                  </a:lnTo>
                  <a:lnTo>
                    <a:pt x="903" y="783"/>
                  </a:lnTo>
                  <a:lnTo>
                    <a:pt x="903" y="781"/>
                  </a:lnTo>
                  <a:lnTo>
                    <a:pt x="903" y="781"/>
                  </a:lnTo>
                  <a:lnTo>
                    <a:pt x="903" y="781"/>
                  </a:lnTo>
                  <a:lnTo>
                    <a:pt x="903" y="781"/>
                  </a:lnTo>
                  <a:close/>
                  <a:moveTo>
                    <a:pt x="150" y="834"/>
                  </a:moveTo>
                  <a:lnTo>
                    <a:pt x="150" y="834"/>
                  </a:lnTo>
                  <a:lnTo>
                    <a:pt x="152" y="834"/>
                  </a:lnTo>
                  <a:lnTo>
                    <a:pt x="152" y="834"/>
                  </a:lnTo>
                  <a:lnTo>
                    <a:pt x="152" y="834"/>
                  </a:lnTo>
                  <a:lnTo>
                    <a:pt x="152" y="834"/>
                  </a:lnTo>
                  <a:lnTo>
                    <a:pt x="152" y="834"/>
                  </a:lnTo>
                  <a:lnTo>
                    <a:pt x="154" y="832"/>
                  </a:lnTo>
                  <a:lnTo>
                    <a:pt x="154" y="832"/>
                  </a:lnTo>
                  <a:lnTo>
                    <a:pt x="154" y="832"/>
                  </a:lnTo>
                  <a:lnTo>
                    <a:pt x="154" y="832"/>
                  </a:lnTo>
                  <a:lnTo>
                    <a:pt x="154" y="830"/>
                  </a:lnTo>
                  <a:lnTo>
                    <a:pt x="152" y="830"/>
                  </a:lnTo>
                  <a:lnTo>
                    <a:pt x="152" y="830"/>
                  </a:lnTo>
                  <a:lnTo>
                    <a:pt x="152" y="830"/>
                  </a:lnTo>
                  <a:lnTo>
                    <a:pt x="152" y="828"/>
                  </a:lnTo>
                  <a:lnTo>
                    <a:pt x="152" y="830"/>
                  </a:lnTo>
                  <a:lnTo>
                    <a:pt x="152" y="828"/>
                  </a:lnTo>
                  <a:lnTo>
                    <a:pt x="152" y="828"/>
                  </a:lnTo>
                  <a:lnTo>
                    <a:pt x="150" y="830"/>
                  </a:lnTo>
                  <a:lnTo>
                    <a:pt x="150" y="830"/>
                  </a:lnTo>
                  <a:lnTo>
                    <a:pt x="150" y="830"/>
                  </a:lnTo>
                  <a:lnTo>
                    <a:pt x="150" y="830"/>
                  </a:lnTo>
                  <a:lnTo>
                    <a:pt x="150" y="832"/>
                  </a:lnTo>
                  <a:lnTo>
                    <a:pt x="150" y="832"/>
                  </a:lnTo>
                  <a:lnTo>
                    <a:pt x="150" y="834"/>
                  </a:lnTo>
                  <a:close/>
                  <a:moveTo>
                    <a:pt x="14" y="713"/>
                  </a:moveTo>
                  <a:lnTo>
                    <a:pt x="14" y="713"/>
                  </a:lnTo>
                  <a:lnTo>
                    <a:pt x="16" y="713"/>
                  </a:lnTo>
                  <a:lnTo>
                    <a:pt x="16" y="715"/>
                  </a:lnTo>
                  <a:lnTo>
                    <a:pt x="16" y="715"/>
                  </a:lnTo>
                  <a:lnTo>
                    <a:pt x="16" y="717"/>
                  </a:lnTo>
                  <a:lnTo>
                    <a:pt x="16" y="717"/>
                  </a:lnTo>
                  <a:lnTo>
                    <a:pt x="16" y="717"/>
                  </a:lnTo>
                  <a:lnTo>
                    <a:pt x="18" y="717"/>
                  </a:lnTo>
                  <a:lnTo>
                    <a:pt x="18" y="717"/>
                  </a:lnTo>
                  <a:lnTo>
                    <a:pt x="18" y="715"/>
                  </a:lnTo>
                  <a:lnTo>
                    <a:pt x="18" y="715"/>
                  </a:lnTo>
                  <a:lnTo>
                    <a:pt x="18" y="715"/>
                  </a:lnTo>
                  <a:lnTo>
                    <a:pt x="18" y="715"/>
                  </a:lnTo>
                  <a:lnTo>
                    <a:pt x="18" y="715"/>
                  </a:lnTo>
                  <a:lnTo>
                    <a:pt x="18" y="715"/>
                  </a:lnTo>
                  <a:lnTo>
                    <a:pt x="21" y="715"/>
                  </a:lnTo>
                  <a:lnTo>
                    <a:pt x="21" y="715"/>
                  </a:lnTo>
                  <a:lnTo>
                    <a:pt x="21" y="715"/>
                  </a:lnTo>
                  <a:lnTo>
                    <a:pt x="21" y="717"/>
                  </a:lnTo>
                  <a:lnTo>
                    <a:pt x="21" y="717"/>
                  </a:lnTo>
                  <a:lnTo>
                    <a:pt x="23" y="719"/>
                  </a:lnTo>
                  <a:lnTo>
                    <a:pt x="23" y="717"/>
                  </a:lnTo>
                  <a:lnTo>
                    <a:pt x="23" y="717"/>
                  </a:lnTo>
                  <a:lnTo>
                    <a:pt x="25" y="719"/>
                  </a:lnTo>
                  <a:lnTo>
                    <a:pt x="25" y="719"/>
                  </a:lnTo>
                  <a:lnTo>
                    <a:pt x="25" y="719"/>
                  </a:lnTo>
                  <a:lnTo>
                    <a:pt x="27" y="717"/>
                  </a:lnTo>
                  <a:lnTo>
                    <a:pt x="25" y="717"/>
                  </a:lnTo>
                  <a:lnTo>
                    <a:pt x="23" y="717"/>
                  </a:lnTo>
                  <a:lnTo>
                    <a:pt x="23" y="715"/>
                  </a:lnTo>
                  <a:lnTo>
                    <a:pt x="21" y="715"/>
                  </a:lnTo>
                  <a:lnTo>
                    <a:pt x="23" y="715"/>
                  </a:lnTo>
                  <a:lnTo>
                    <a:pt x="23" y="715"/>
                  </a:lnTo>
                  <a:lnTo>
                    <a:pt x="25" y="715"/>
                  </a:lnTo>
                  <a:lnTo>
                    <a:pt x="25" y="713"/>
                  </a:lnTo>
                  <a:lnTo>
                    <a:pt x="25" y="713"/>
                  </a:lnTo>
                  <a:lnTo>
                    <a:pt x="23" y="711"/>
                  </a:lnTo>
                  <a:lnTo>
                    <a:pt x="23" y="711"/>
                  </a:lnTo>
                  <a:lnTo>
                    <a:pt x="23" y="711"/>
                  </a:lnTo>
                  <a:lnTo>
                    <a:pt x="21" y="711"/>
                  </a:lnTo>
                  <a:lnTo>
                    <a:pt x="21" y="711"/>
                  </a:lnTo>
                  <a:lnTo>
                    <a:pt x="21" y="711"/>
                  </a:lnTo>
                  <a:lnTo>
                    <a:pt x="21" y="711"/>
                  </a:lnTo>
                  <a:lnTo>
                    <a:pt x="18" y="711"/>
                  </a:lnTo>
                  <a:lnTo>
                    <a:pt x="21" y="709"/>
                  </a:lnTo>
                  <a:lnTo>
                    <a:pt x="21" y="709"/>
                  </a:lnTo>
                  <a:lnTo>
                    <a:pt x="23" y="709"/>
                  </a:lnTo>
                  <a:lnTo>
                    <a:pt x="21" y="709"/>
                  </a:lnTo>
                  <a:lnTo>
                    <a:pt x="21" y="707"/>
                  </a:lnTo>
                  <a:lnTo>
                    <a:pt x="21" y="707"/>
                  </a:lnTo>
                  <a:lnTo>
                    <a:pt x="18" y="705"/>
                  </a:lnTo>
                  <a:lnTo>
                    <a:pt x="16" y="705"/>
                  </a:lnTo>
                  <a:lnTo>
                    <a:pt x="16" y="705"/>
                  </a:lnTo>
                  <a:lnTo>
                    <a:pt x="16" y="705"/>
                  </a:lnTo>
                  <a:lnTo>
                    <a:pt x="14" y="705"/>
                  </a:lnTo>
                  <a:lnTo>
                    <a:pt x="14" y="705"/>
                  </a:lnTo>
                  <a:lnTo>
                    <a:pt x="14" y="705"/>
                  </a:lnTo>
                  <a:lnTo>
                    <a:pt x="14" y="705"/>
                  </a:lnTo>
                  <a:lnTo>
                    <a:pt x="14" y="703"/>
                  </a:lnTo>
                  <a:lnTo>
                    <a:pt x="14" y="703"/>
                  </a:lnTo>
                  <a:lnTo>
                    <a:pt x="12" y="701"/>
                  </a:lnTo>
                  <a:lnTo>
                    <a:pt x="10" y="701"/>
                  </a:lnTo>
                  <a:lnTo>
                    <a:pt x="10" y="701"/>
                  </a:lnTo>
                  <a:lnTo>
                    <a:pt x="10" y="701"/>
                  </a:lnTo>
                  <a:lnTo>
                    <a:pt x="8" y="699"/>
                  </a:lnTo>
                  <a:lnTo>
                    <a:pt x="4" y="699"/>
                  </a:lnTo>
                  <a:lnTo>
                    <a:pt x="4" y="701"/>
                  </a:lnTo>
                  <a:lnTo>
                    <a:pt x="4" y="699"/>
                  </a:lnTo>
                  <a:lnTo>
                    <a:pt x="0" y="701"/>
                  </a:lnTo>
                  <a:lnTo>
                    <a:pt x="2" y="701"/>
                  </a:lnTo>
                  <a:lnTo>
                    <a:pt x="2" y="701"/>
                  </a:lnTo>
                  <a:lnTo>
                    <a:pt x="2" y="701"/>
                  </a:lnTo>
                  <a:lnTo>
                    <a:pt x="2" y="703"/>
                  </a:lnTo>
                  <a:lnTo>
                    <a:pt x="4" y="703"/>
                  </a:lnTo>
                  <a:lnTo>
                    <a:pt x="6" y="703"/>
                  </a:lnTo>
                  <a:lnTo>
                    <a:pt x="6" y="703"/>
                  </a:lnTo>
                  <a:lnTo>
                    <a:pt x="6" y="703"/>
                  </a:lnTo>
                  <a:lnTo>
                    <a:pt x="4" y="705"/>
                  </a:lnTo>
                  <a:lnTo>
                    <a:pt x="4" y="705"/>
                  </a:lnTo>
                  <a:lnTo>
                    <a:pt x="4" y="705"/>
                  </a:lnTo>
                  <a:lnTo>
                    <a:pt x="6" y="707"/>
                  </a:lnTo>
                  <a:lnTo>
                    <a:pt x="8" y="707"/>
                  </a:lnTo>
                  <a:lnTo>
                    <a:pt x="8" y="707"/>
                  </a:lnTo>
                  <a:lnTo>
                    <a:pt x="8" y="707"/>
                  </a:lnTo>
                  <a:lnTo>
                    <a:pt x="8" y="707"/>
                  </a:lnTo>
                  <a:lnTo>
                    <a:pt x="10" y="707"/>
                  </a:lnTo>
                  <a:lnTo>
                    <a:pt x="8" y="707"/>
                  </a:lnTo>
                  <a:lnTo>
                    <a:pt x="8" y="709"/>
                  </a:lnTo>
                  <a:lnTo>
                    <a:pt x="6" y="709"/>
                  </a:lnTo>
                  <a:lnTo>
                    <a:pt x="6" y="711"/>
                  </a:lnTo>
                  <a:lnTo>
                    <a:pt x="6" y="711"/>
                  </a:lnTo>
                  <a:lnTo>
                    <a:pt x="6" y="711"/>
                  </a:lnTo>
                  <a:lnTo>
                    <a:pt x="6" y="711"/>
                  </a:lnTo>
                  <a:lnTo>
                    <a:pt x="6" y="711"/>
                  </a:lnTo>
                  <a:lnTo>
                    <a:pt x="6" y="711"/>
                  </a:lnTo>
                  <a:lnTo>
                    <a:pt x="6" y="711"/>
                  </a:lnTo>
                  <a:lnTo>
                    <a:pt x="8" y="711"/>
                  </a:lnTo>
                  <a:lnTo>
                    <a:pt x="8" y="711"/>
                  </a:lnTo>
                  <a:lnTo>
                    <a:pt x="8" y="711"/>
                  </a:lnTo>
                  <a:lnTo>
                    <a:pt x="8" y="713"/>
                  </a:lnTo>
                  <a:lnTo>
                    <a:pt x="8" y="713"/>
                  </a:lnTo>
                  <a:lnTo>
                    <a:pt x="8" y="713"/>
                  </a:lnTo>
                  <a:lnTo>
                    <a:pt x="10" y="713"/>
                  </a:lnTo>
                  <a:lnTo>
                    <a:pt x="10" y="713"/>
                  </a:lnTo>
                  <a:lnTo>
                    <a:pt x="10" y="713"/>
                  </a:lnTo>
                  <a:lnTo>
                    <a:pt x="8" y="713"/>
                  </a:lnTo>
                  <a:lnTo>
                    <a:pt x="8" y="715"/>
                  </a:lnTo>
                  <a:lnTo>
                    <a:pt x="8" y="715"/>
                  </a:lnTo>
                  <a:lnTo>
                    <a:pt x="10" y="715"/>
                  </a:lnTo>
                  <a:lnTo>
                    <a:pt x="10" y="715"/>
                  </a:lnTo>
                  <a:lnTo>
                    <a:pt x="12" y="715"/>
                  </a:lnTo>
                  <a:lnTo>
                    <a:pt x="14" y="713"/>
                  </a:lnTo>
                  <a:lnTo>
                    <a:pt x="14" y="713"/>
                  </a:lnTo>
                  <a:close/>
                  <a:moveTo>
                    <a:pt x="188" y="844"/>
                  </a:moveTo>
                  <a:lnTo>
                    <a:pt x="188" y="844"/>
                  </a:lnTo>
                  <a:lnTo>
                    <a:pt x="186" y="842"/>
                  </a:lnTo>
                  <a:lnTo>
                    <a:pt x="186" y="842"/>
                  </a:lnTo>
                  <a:lnTo>
                    <a:pt x="186" y="842"/>
                  </a:lnTo>
                  <a:lnTo>
                    <a:pt x="186" y="842"/>
                  </a:lnTo>
                  <a:lnTo>
                    <a:pt x="186" y="842"/>
                  </a:lnTo>
                  <a:lnTo>
                    <a:pt x="186" y="842"/>
                  </a:lnTo>
                  <a:lnTo>
                    <a:pt x="186" y="842"/>
                  </a:lnTo>
                  <a:lnTo>
                    <a:pt x="186" y="840"/>
                  </a:lnTo>
                  <a:lnTo>
                    <a:pt x="184" y="842"/>
                  </a:lnTo>
                  <a:lnTo>
                    <a:pt x="184" y="842"/>
                  </a:lnTo>
                  <a:lnTo>
                    <a:pt x="184" y="842"/>
                  </a:lnTo>
                  <a:lnTo>
                    <a:pt x="182" y="842"/>
                  </a:lnTo>
                  <a:lnTo>
                    <a:pt x="182" y="842"/>
                  </a:lnTo>
                  <a:lnTo>
                    <a:pt x="182" y="842"/>
                  </a:lnTo>
                  <a:lnTo>
                    <a:pt x="180" y="842"/>
                  </a:lnTo>
                  <a:lnTo>
                    <a:pt x="180" y="842"/>
                  </a:lnTo>
                  <a:lnTo>
                    <a:pt x="180" y="842"/>
                  </a:lnTo>
                  <a:lnTo>
                    <a:pt x="180" y="842"/>
                  </a:lnTo>
                  <a:lnTo>
                    <a:pt x="180" y="844"/>
                  </a:lnTo>
                  <a:lnTo>
                    <a:pt x="180" y="844"/>
                  </a:lnTo>
                  <a:lnTo>
                    <a:pt x="180" y="844"/>
                  </a:lnTo>
                  <a:lnTo>
                    <a:pt x="180" y="844"/>
                  </a:lnTo>
                  <a:lnTo>
                    <a:pt x="180" y="844"/>
                  </a:lnTo>
                  <a:lnTo>
                    <a:pt x="180" y="846"/>
                  </a:lnTo>
                  <a:lnTo>
                    <a:pt x="180" y="846"/>
                  </a:lnTo>
                  <a:lnTo>
                    <a:pt x="180" y="846"/>
                  </a:lnTo>
                  <a:lnTo>
                    <a:pt x="180" y="848"/>
                  </a:lnTo>
                  <a:lnTo>
                    <a:pt x="182" y="848"/>
                  </a:lnTo>
                  <a:lnTo>
                    <a:pt x="184" y="848"/>
                  </a:lnTo>
                  <a:lnTo>
                    <a:pt x="184" y="848"/>
                  </a:lnTo>
                  <a:lnTo>
                    <a:pt x="186" y="848"/>
                  </a:lnTo>
                  <a:lnTo>
                    <a:pt x="186" y="848"/>
                  </a:lnTo>
                  <a:lnTo>
                    <a:pt x="186" y="848"/>
                  </a:lnTo>
                  <a:lnTo>
                    <a:pt x="188" y="846"/>
                  </a:lnTo>
                  <a:lnTo>
                    <a:pt x="188" y="846"/>
                  </a:lnTo>
                  <a:lnTo>
                    <a:pt x="188" y="846"/>
                  </a:lnTo>
                  <a:lnTo>
                    <a:pt x="188" y="846"/>
                  </a:lnTo>
                  <a:lnTo>
                    <a:pt x="188" y="846"/>
                  </a:lnTo>
                  <a:lnTo>
                    <a:pt x="188" y="846"/>
                  </a:lnTo>
                  <a:lnTo>
                    <a:pt x="188" y="844"/>
                  </a:lnTo>
                  <a:close/>
                  <a:moveTo>
                    <a:pt x="211" y="891"/>
                  </a:moveTo>
                  <a:lnTo>
                    <a:pt x="209" y="891"/>
                  </a:lnTo>
                  <a:lnTo>
                    <a:pt x="209" y="891"/>
                  </a:lnTo>
                  <a:lnTo>
                    <a:pt x="207" y="894"/>
                  </a:lnTo>
                  <a:lnTo>
                    <a:pt x="207" y="894"/>
                  </a:lnTo>
                  <a:lnTo>
                    <a:pt x="207" y="894"/>
                  </a:lnTo>
                  <a:lnTo>
                    <a:pt x="207" y="894"/>
                  </a:lnTo>
                  <a:lnTo>
                    <a:pt x="207" y="896"/>
                  </a:lnTo>
                  <a:lnTo>
                    <a:pt x="207" y="896"/>
                  </a:lnTo>
                  <a:lnTo>
                    <a:pt x="209" y="896"/>
                  </a:lnTo>
                  <a:lnTo>
                    <a:pt x="209" y="896"/>
                  </a:lnTo>
                  <a:lnTo>
                    <a:pt x="209" y="896"/>
                  </a:lnTo>
                  <a:lnTo>
                    <a:pt x="211" y="894"/>
                  </a:lnTo>
                  <a:lnTo>
                    <a:pt x="209" y="894"/>
                  </a:lnTo>
                  <a:lnTo>
                    <a:pt x="211" y="894"/>
                  </a:lnTo>
                  <a:lnTo>
                    <a:pt x="211" y="891"/>
                  </a:lnTo>
                  <a:close/>
                  <a:moveTo>
                    <a:pt x="143" y="834"/>
                  </a:moveTo>
                  <a:lnTo>
                    <a:pt x="143" y="834"/>
                  </a:lnTo>
                  <a:lnTo>
                    <a:pt x="141" y="834"/>
                  </a:lnTo>
                  <a:lnTo>
                    <a:pt x="141" y="834"/>
                  </a:lnTo>
                  <a:lnTo>
                    <a:pt x="141" y="834"/>
                  </a:lnTo>
                  <a:lnTo>
                    <a:pt x="141" y="832"/>
                  </a:lnTo>
                  <a:lnTo>
                    <a:pt x="139" y="832"/>
                  </a:lnTo>
                  <a:lnTo>
                    <a:pt x="139" y="832"/>
                  </a:lnTo>
                  <a:lnTo>
                    <a:pt x="139" y="834"/>
                  </a:lnTo>
                  <a:lnTo>
                    <a:pt x="141" y="834"/>
                  </a:lnTo>
                  <a:lnTo>
                    <a:pt x="141" y="834"/>
                  </a:lnTo>
                  <a:lnTo>
                    <a:pt x="141" y="836"/>
                  </a:lnTo>
                  <a:lnTo>
                    <a:pt x="141" y="836"/>
                  </a:lnTo>
                  <a:lnTo>
                    <a:pt x="141" y="836"/>
                  </a:lnTo>
                  <a:lnTo>
                    <a:pt x="141" y="838"/>
                  </a:lnTo>
                  <a:lnTo>
                    <a:pt x="143" y="838"/>
                  </a:lnTo>
                  <a:lnTo>
                    <a:pt x="143" y="838"/>
                  </a:lnTo>
                  <a:lnTo>
                    <a:pt x="143" y="838"/>
                  </a:lnTo>
                  <a:lnTo>
                    <a:pt x="143" y="836"/>
                  </a:lnTo>
                  <a:lnTo>
                    <a:pt x="143" y="834"/>
                  </a:lnTo>
                  <a:close/>
                  <a:moveTo>
                    <a:pt x="166" y="869"/>
                  </a:moveTo>
                  <a:lnTo>
                    <a:pt x="166" y="869"/>
                  </a:lnTo>
                  <a:lnTo>
                    <a:pt x="162" y="867"/>
                  </a:lnTo>
                  <a:lnTo>
                    <a:pt x="162" y="867"/>
                  </a:lnTo>
                  <a:lnTo>
                    <a:pt x="164" y="867"/>
                  </a:lnTo>
                  <a:lnTo>
                    <a:pt x="164" y="867"/>
                  </a:lnTo>
                  <a:lnTo>
                    <a:pt x="164" y="867"/>
                  </a:lnTo>
                  <a:lnTo>
                    <a:pt x="164" y="867"/>
                  </a:lnTo>
                  <a:lnTo>
                    <a:pt x="162" y="867"/>
                  </a:lnTo>
                  <a:lnTo>
                    <a:pt x="162" y="865"/>
                  </a:lnTo>
                  <a:lnTo>
                    <a:pt x="162" y="865"/>
                  </a:lnTo>
                  <a:lnTo>
                    <a:pt x="162" y="863"/>
                  </a:lnTo>
                  <a:lnTo>
                    <a:pt x="162" y="863"/>
                  </a:lnTo>
                  <a:lnTo>
                    <a:pt x="162" y="863"/>
                  </a:lnTo>
                  <a:lnTo>
                    <a:pt x="160" y="861"/>
                  </a:lnTo>
                  <a:lnTo>
                    <a:pt x="160" y="861"/>
                  </a:lnTo>
                  <a:lnTo>
                    <a:pt x="158" y="859"/>
                  </a:lnTo>
                  <a:lnTo>
                    <a:pt x="158" y="857"/>
                  </a:lnTo>
                  <a:lnTo>
                    <a:pt x="158" y="857"/>
                  </a:lnTo>
                  <a:lnTo>
                    <a:pt x="158" y="857"/>
                  </a:lnTo>
                  <a:lnTo>
                    <a:pt x="158" y="855"/>
                  </a:lnTo>
                  <a:lnTo>
                    <a:pt x="158" y="855"/>
                  </a:lnTo>
                  <a:lnTo>
                    <a:pt x="158" y="855"/>
                  </a:lnTo>
                  <a:lnTo>
                    <a:pt x="158" y="855"/>
                  </a:lnTo>
                  <a:lnTo>
                    <a:pt x="158" y="855"/>
                  </a:lnTo>
                  <a:lnTo>
                    <a:pt x="156" y="855"/>
                  </a:lnTo>
                  <a:lnTo>
                    <a:pt x="156" y="855"/>
                  </a:lnTo>
                  <a:lnTo>
                    <a:pt x="156" y="853"/>
                  </a:lnTo>
                  <a:lnTo>
                    <a:pt x="156" y="853"/>
                  </a:lnTo>
                  <a:lnTo>
                    <a:pt x="156" y="853"/>
                  </a:lnTo>
                  <a:lnTo>
                    <a:pt x="156" y="853"/>
                  </a:lnTo>
                  <a:lnTo>
                    <a:pt x="156" y="850"/>
                  </a:lnTo>
                  <a:lnTo>
                    <a:pt x="156" y="850"/>
                  </a:lnTo>
                  <a:lnTo>
                    <a:pt x="154" y="850"/>
                  </a:lnTo>
                  <a:lnTo>
                    <a:pt x="154" y="850"/>
                  </a:lnTo>
                  <a:lnTo>
                    <a:pt x="154" y="850"/>
                  </a:lnTo>
                  <a:lnTo>
                    <a:pt x="154" y="850"/>
                  </a:lnTo>
                  <a:lnTo>
                    <a:pt x="154" y="850"/>
                  </a:lnTo>
                  <a:lnTo>
                    <a:pt x="152" y="850"/>
                  </a:lnTo>
                  <a:lnTo>
                    <a:pt x="152" y="848"/>
                  </a:lnTo>
                  <a:lnTo>
                    <a:pt x="152" y="848"/>
                  </a:lnTo>
                  <a:lnTo>
                    <a:pt x="150" y="846"/>
                  </a:lnTo>
                  <a:lnTo>
                    <a:pt x="150" y="846"/>
                  </a:lnTo>
                  <a:lnTo>
                    <a:pt x="148" y="846"/>
                  </a:lnTo>
                  <a:lnTo>
                    <a:pt x="150" y="848"/>
                  </a:lnTo>
                  <a:lnTo>
                    <a:pt x="150" y="850"/>
                  </a:lnTo>
                  <a:lnTo>
                    <a:pt x="150" y="850"/>
                  </a:lnTo>
                  <a:lnTo>
                    <a:pt x="150" y="850"/>
                  </a:lnTo>
                  <a:lnTo>
                    <a:pt x="152" y="850"/>
                  </a:lnTo>
                  <a:lnTo>
                    <a:pt x="152" y="853"/>
                  </a:lnTo>
                  <a:lnTo>
                    <a:pt x="152" y="853"/>
                  </a:lnTo>
                  <a:lnTo>
                    <a:pt x="152" y="853"/>
                  </a:lnTo>
                  <a:lnTo>
                    <a:pt x="154" y="853"/>
                  </a:lnTo>
                  <a:lnTo>
                    <a:pt x="154" y="853"/>
                  </a:lnTo>
                  <a:lnTo>
                    <a:pt x="156" y="855"/>
                  </a:lnTo>
                  <a:lnTo>
                    <a:pt x="156" y="857"/>
                  </a:lnTo>
                  <a:lnTo>
                    <a:pt x="156" y="857"/>
                  </a:lnTo>
                  <a:lnTo>
                    <a:pt x="158" y="859"/>
                  </a:lnTo>
                  <a:lnTo>
                    <a:pt x="158" y="859"/>
                  </a:lnTo>
                  <a:lnTo>
                    <a:pt x="158" y="859"/>
                  </a:lnTo>
                  <a:lnTo>
                    <a:pt x="158" y="861"/>
                  </a:lnTo>
                  <a:lnTo>
                    <a:pt x="158" y="861"/>
                  </a:lnTo>
                  <a:lnTo>
                    <a:pt x="158" y="861"/>
                  </a:lnTo>
                  <a:lnTo>
                    <a:pt x="158" y="863"/>
                  </a:lnTo>
                  <a:lnTo>
                    <a:pt x="162" y="867"/>
                  </a:lnTo>
                  <a:lnTo>
                    <a:pt x="162" y="867"/>
                  </a:lnTo>
                  <a:lnTo>
                    <a:pt x="160" y="867"/>
                  </a:lnTo>
                  <a:lnTo>
                    <a:pt x="160" y="869"/>
                  </a:lnTo>
                  <a:lnTo>
                    <a:pt x="160" y="869"/>
                  </a:lnTo>
                  <a:lnTo>
                    <a:pt x="162" y="869"/>
                  </a:lnTo>
                  <a:lnTo>
                    <a:pt x="162" y="869"/>
                  </a:lnTo>
                  <a:lnTo>
                    <a:pt x="162" y="869"/>
                  </a:lnTo>
                  <a:lnTo>
                    <a:pt x="162" y="869"/>
                  </a:lnTo>
                  <a:lnTo>
                    <a:pt x="162" y="869"/>
                  </a:lnTo>
                  <a:lnTo>
                    <a:pt x="164" y="869"/>
                  </a:lnTo>
                  <a:lnTo>
                    <a:pt x="164" y="869"/>
                  </a:lnTo>
                  <a:lnTo>
                    <a:pt x="164" y="869"/>
                  </a:lnTo>
                  <a:lnTo>
                    <a:pt x="164" y="869"/>
                  </a:lnTo>
                  <a:lnTo>
                    <a:pt x="164" y="869"/>
                  </a:lnTo>
                  <a:lnTo>
                    <a:pt x="166" y="869"/>
                  </a:lnTo>
                  <a:lnTo>
                    <a:pt x="166" y="869"/>
                  </a:lnTo>
                  <a:lnTo>
                    <a:pt x="166" y="871"/>
                  </a:lnTo>
                  <a:lnTo>
                    <a:pt x="166" y="871"/>
                  </a:lnTo>
                  <a:lnTo>
                    <a:pt x="166" y="871"/>
                  </a:lnTo>
                  <a:lnTo>
                    <a:pt x="166" y="871"/>
                  </a:lnTo>
                  <a:lnTo>
                    <a:pt x="166" y="871"/>
                  </a:lnTo>
                  <a:lnTo>
                    <a:pt x="168" y="871"/>
                  </a:lnTo>
                  <a:lnTo>
                    <a:pt x="168" y="871"/>
                  </a:lnTo>
                  <a:lnTo>
                    <a:pt x="168" y="871"/>
                  </a:lnTo>
                  <a:lnTo>
                    <a:pt x="166" y="869"/>
                  </a:lnTo>
                  <a:close/>
                  <a:moveTo>
                    <a:pt x="129" y="812"/>
                  </a:moveTo>
                  <a:lnTo>
                    <a:pt x="129" y="812"/>
                  </a:lnTo>
                  <a:lnTo>
                    <a:pt x="127" y="812"/>
                  </a:lnTo>
                  <a:lnTo>
                    <a:pt x="127" y="812"/>
                  </a:lnTo>
                  <a:lnTo>
                    <a:pt x="125" y="812"/>
                  </a:lnTo>
                  <a:lnTo>
                    <a:pt x="123" y="814"/>
                  </a:lnTo>
                  <a:lnTo>
                    <a:pt x="123" y="816"/>
                  </a:lnTo>
                  <a:lnTo>
                    <a:pt x="123" y="816"/>
                  </a:lnTo>
                  <a:lnTo>
                    <a:pt x="121" y="816"/>
                  </a:lnTo>
                  <a:lnTo>
                    <a:pt x="121" y="816"/>
                  </a:lnTo>
                  <a:lnTo>
                    <a:pt x="121" y="816"/>
                  </a:lnTo>
                  <a:lnTo>
                    <a:pt x="121" y="816"/>
                  </a:lnTo>
                  <a:lnTo>
                    <a:pt x="119" y="816"/>
                  </a:lnTo>
                  <a:lnTo>
                    <a:pt x="119" y="816"/>
                  </a:lnTo>
                  <a:lnTo>
                    <a:pt x="119" y="816"/>
                  </a:lnTo>
                  <a:lnTo>
                    <a:pt x="117" y="816"/>
                  </a:lnTo>
                  <a:lnTo>
                    <a:pt x="117" y="816"/>
                  </a:lnTo>
                  <a:lnTo>
                    <a:pt x="117" y="816"/>
                  </a:lnTo>
                  <a:lnTo>
                    <a:pt x="115" y="816"/>
                  </a:lnTo>
                  <a:lnTo>
                    <a:pt x="115" y="816"/>
                  </a:lnTo>
                  <a:lnTo>
                    <a:pt x="113" y="816"/>
                  </a:lnTo>
                  <a:lnTo>
                    <a:pt x="113" y="818"/>
                  </a:lnTo>
                  <a:lnTo>
                    <a:pt x="113" y="820"/>
                  </a:lnTo>
                  <a:lnTo>
                    <a:pt x="113" y="820"/>
                  </a:lnTo>
                  <a:lnTo>
                    <a:pt x="113" y="820"/>
                  </a:lnTo>
                  <a:lnTo>
                    <a:pt x="113" y="820"/>
                  </a:lnTo>
                  <a:lnTo>
                    <a:pt x="113" y="822"/>
                  </a:lnTo>
                  <a:lnTo>
                    <a:pt x="113" y="822"/>
                  </a:lnTo>
                  <a:lnTo>
                    <a:pt x="115" y="820"/>
                  </a:lnTo>
                  <a:lnTo>
                    <a:pt x="115" y="820"/>
                  </a:lnTo>
                  <a:lnTo>
                    <a:pt x="117" y="818"/>
                  </a:lnTo>
                  <a:lnTo>
                    <a:pt x="117" y="818"/>
                  </a:lnTo>
                  <a:lnTo>
                    <a:pt x="117" y="818"/>
                  </a:lnTo>
                  <a:lnTo>
                    <a:pt x="119" y="818"/>
                  </a:lnTo>
                  <a:lnTo>
                    <a:pt x="121" y="818"/>
                  </a:lnTo>
                  <a:lnTo>
                    <a:pt x="119" y="818"/>
                  </a:lnTo>
                  <a:lnTo>
                    <a:pt x="119" y="820"/>
                  </a:lnTo>
                  <a:lnTo>
                    <a:pt x="121" y="820"/>
                  </a:lnTo>
                  <a:lnTo>
                    <a:pt x="121" y="818"/>
                  </a:lnTo>
                  <a:lnTo>
                    <a:pt x="121" y="818"/>
                  </a:lnTo>
                  <a:lnTo>
                    <a:pt x="121" y="818"/>
                  </a:lnTo>
                  <a:lnTo>
                    <a:pt x="123" y="820"/>
                  </a:lnTo>
                  <a:lnTo>
                    <a:pt x="123" y="820"/>
                  </a:lnTo>
                  <a:lnTo>
                    <a:pt x="123" y="820"/>
                  </a:lnTo>
                  <a:lnTo>
                    <a:pt x="123" y="820"/>
                  </a:lnTo>
                  <a:lnTo>
                    <a:pt x="123" y="820"/>
                  </a:lnTo>
                  <a:lnTo>
                    <a:pt x="123" y="820"/>
                  </a:lnTo>
                  <a:lnTo>
                    <a:pt x="123" y="820"/>
                  </a:lnTo>
                  <a:lnTo>
                    <a:pt x="125" y="820"/>
                  </a:lnTo>
                  <a:lnTo>
                    <a:pt x="125" y="820"/>
                  </a:lnTo>
                  <a:lnTo>
                    <a:pt x="125" y="820"/>
                  </a:lnTo>
                  <a:lnTo>
                    <a:pt x="125" y="820"/>
                  </a:lnTo>
                  <a:lnTo>
                    <a:pt x="123" y="818"/>
                  </a:lnTo>
                  <a:lnTo>
                    <a:pt x="123" y="818"/>
                  </a:lnTo>
                  <a:lnTo>
                    <a:pt x="123" y="818"/>
                  </a:lnTo>
                  <a:lnTo>
                    <a:pt x="125" y="818"/>
                  </a:lnTo>
                  <a:lnTo>
                    <a:pt x="125" y="816"/>
                  </a:lnTo>
                  <a:lnTo>
                    <a:pt x="127" y="816"/>
                  </a:lnTo>
                  <a:lnTo>
                    <a:pt x="127" y="816"/>
                  </a:lnTo>
                  <a:lnTo>
                    <a:pt x="127" y="816"/>
                  </a:lnTo>
                  <a:lnTo>
                    <a:pt x="127" y="814"/>
                  </a:lnTo>
                  <a:lnTo>
                    <a:pt x="129" y="814"/>
                  </a:lnTo>
                  <a:lnTo>
                    <a:pt x="129" y="814"/>
                  </a:lnTo>
                  <a:lnTo>
                    <a:pt x="129" y="814"/>
                  </a:lnTo>
                  <a:lnTo>
                    <a:pt x="129" y="814"/>
                  </a:lnTo>
                  <a:lnTo>
                    <a:pt x="129" y="814"/>
                  </a:lnTo>
                  <a:lnTo>
                    <a:pt x="129" y="812"/>
                  </a:lnTo>
                  <a:lnTo>
                    <a:pt x="129" y="812"/>
                  </a:lnTo>
                  <a:close/>
                  <a:moveTo>
                    <a:pt x="535" y="492"/>
                  </a:moveTo>
                  <a:lnTo>
                    <a:pt x="535" y="492"/>
                  </a:lnTo>
                  <a:lnTo>
                    <a:pt x="535" y="492"/>
                  </a:lnTo>
                  <a:lnTo>
                    <a:pt x="535" y="492"/>
                  </a:lnTo>
                  <a:lnTo>
                    <a:pt x="535" y="490"/>
                  </a:lnTo>
                  <a:lnTo>
                    <a:pt x="535" y="490"/>
                  </a:lnTo>
                  <a:lnTo>
                    <a:pt x="535" y="490"/>
                  </a:lnTo>
                  <a:lnTo>
                    <a:pt x="535" y="490"/>
                  </a:lnTo>
                  <a:lnTo>
                    <a:pt x="535" y="488"/>
                  </a:lnTo>
                  <a:lnTo>
                    <a:pt x="535" y="488"/>
                  </a:lnTo>
                  <a:lnTo>
                    <a:pt x="535" y="488"/>
                  </a:lnTo>
                  <a:lnTo>
                    <a:pt x="533" y="490"/>
                  </a:lnTo>
                  <a:lnTo>
                    <a:pt x="533" y="490"/>
                  </a:lnTo>
                  <a:lnTo>
                    <a:pt x="533" y="490"/>
                  </a:lnTo>
                  <a:lnTo>
                    <a:pt x="535" y="492"/>
                  </a:lnTo>
                  <a:close/>
                  <a:moveTo>
                    <a:pt x="522" y="906"/>
                  </a:moveTo>
                  <a:lnTo>
                    <a:pt x="522" y="906"/>
                  </a:lnTo>
                  <a:lnTo>
                    <a:pt x="522" y="906"/>
                  </a:lnTo>
                  <a:lnTo>
                    <a:pt x="522" y="906"/>
                  </a:lnTo>
                  <a:lnTo>
                    <a:pt x="522" y="906"/>
                  </a:lnTo>
                  <a:lnTo>
                    <a:pt x="522" y="906"/>
                  </a:lnTo>
                  <a:lnTo>
                    <a:pt x="520" y="906"/>
                  </a:lnTo>
                  <a:lnTo>
                    <a:pt x="520" y="906"/>
                  </a:lnTo>
                  <a:lnTo>
                    <a:pt x="520" y="906"/>
                  </a:lnTo>
                  <a:lnTo>
                    <a:pt x="520" y="904"/>
                  </a:lnTo>
                  <a:lnTo>
                    <a:pt x="520" y="904"/>
                  </a:lnTo>
                  <a:lnTo>
                    <a:pt x="518" y="904"/>
                  </a:lnTo>
                  <a:lnTo>
                    <a:pt x="518" y="904"/>
                  </a:lnTo>
                  <a:lnTo>
                    <a:pt x="516" y="904"/>
                  </a:lnTo>
                  <a:lnTo>
                    <a:pt x="516" y="906"/>
                  </a:lnTo>
                  <a:lnTo>
                    <a:pt x="516" y="906"/>
                  </a:lnTo>
                  <a:lnTo>
                    <a:pt x="514" y="906"/>
                  </a:lnTo>
                  <a:lnTo>
                    <a:pt x="514" y="904"/>
                  </a:lnTo>
                  <a:lnTo>
                    <a:pt x="514" y="904"/>
                  </a:lnTo>
                  <a:lnTo>
                    <a:pt x="512" y="906"/>
                  </a:lnTo>
                  <a:lnTo>
                    <a:pt x="512" y="906"/>
                  </a:lnTo>
                  <a:lnTo>
                    <a:pt x="512" y="906"/>
                  </a:lnTo>
                  <a:lnTo>
                    <a:pt x="512" y="908"/>
                  </a:lnTo>
                  <a:lnTo>
                    <a:pt x="512" y="908"/>
                  </a:lnTo>
                  <a:lnTo>
                    <a:pt x="512" y="908"/>
                  </a:lnTo>
                  <a:lnTo>
                    <a:pt x="512" y="908"/>
                  </a:lnTo>
                  <a:lnTo>
                    <a:pt x="514" y="908"/>
                  </a:lnTo>
                  <a:lnTo>
                    <a:pt x="514" y="908"/>
                  </a:lnTo>
                  <a:lnTo>
                    <a:pt x="514" y="908"/>
                  </a:lnTo>
                  <a:lnTo>
                    <a:pt x="516" y="908"/>
                  </a:lnTo>
                  <a:lnTo>
                    <a:pt x="516" y="908"/>
                  </a:lnTo>
                  <a:lnTo>
                    <a:pt x="518" y="908"/>
                  </a:lnTo>
                  <a:lnTo>
                    <a:pt x="518" y="910"/>
                  </a:lnTo>
                  <a:lnTo>
                    <a:pt x="520" y="910"/>
                  </a:lnTo>
                  <a:lnTo>
                    <a:pt x="520" y="910"/>
                  </a:lnTo>
                  <a:lnTo>
                    <a:pt x="520" y="910"/>
                  </a:lnTo>
                  <a:lnTo>
                    <a:pt x="520" y="910"/>
                  </a:lnTo>
                  <a:lnTo>
                    <a:pt x="520" y="910"/>
                  </a:lnTo>
                  <a:lnTo>
                    <a:pt x="522" y="908"/>
                  </a:lnTo>
                  <a:lnTo>
                    <a:pt x="522" y="908"/>
                  </a:lnTo>
                  <a:lnTo>
                    <a:pt x="522" y="908"/>
                  </a:lnTo>
                  <a:lnTo>
                    <a:pt x="522" y="908"/>
                  </a:lnTo>
                  <a:lnTo>
                    <a:pt x="522" y="906"/>
                  </a:lnTo>
                  <a:lnTo>
                    <a:pt x="522" y="906"/>
                  </a:lnTo>
                  <a:lnTo>
                    <a:pt x="522" y="906"/>
                  </a:lnTo>
                  <a:close/>
                  <a:moveTo>
                    <a:pt x="524" y="898"/>
                  </a:moveTo>
                  <a:lnTo>
                    <a:pt x="524" y="898"/>
                  </a:lnTo>
                  <a:lnTo>
                    <a:pt x="522" y="898"/>
                  </a:lnTo>
                  <a:lnTo>
                    <a:pt x="522" y="898"/>
                  </a:lnTo>
                  <a:lnTo>
                    <a:pt x="522" y="900"/>
                  </a:lnTo>
                  <a:lnTo>
                    <a:pt x="522" y="900"/>
                  </a:lnTo>
                  <a:lnTo>
                    <a:pt x="522" y="900"/>
                  </a:lnTo>
                  <a:lnTo>
                    <a:pt x="522" y="902"/>
                  </a:lnTo>
                  <a:lnTo>
                    <a:pt x="522" y="902"/>
                  </a:lnTo>
                  <a:lnTo>
                    <a:pt x="522" y="902"/>
                  </a:lnTo>
                  <a:lnTo>
                    <a:pt x="522" y="902"/>
                  </a:lnTo>
                  <a:lnTo>
                    <a:pt x="524" y="900"/>
                  </a:lnTo>
                  <a:lnTo>
                    <a:pt x="524" y="900"/>
                  </a:lnTo>
                  <a:lnTo>
                    <a:pt x="524" y="900"/>
                  </a:lnTo>
                  <a:lnTo>
                    <a:pt x="524" y="898"/>
                  </a:lnTo>
                  <a:lnTo>
                    <a:pt x="524" y="898"/>
                  </a:lnTo>
                  <a:lnTo>
                    <a:pt x="524" y="898"/>
                  </a:lnTo>
                  <a:close/>
                  <a:moveTo>
                    <a:pt x="567" y="719"/>
                  </a:moveTo>
                  <a:lnTo>
                    <a:pt x="567" y="719"/>
                  </a:lnTo>
                  <a:lnTo>
                    <a:pt x="567" y="719"/>
                  </a:lnTo>
                  <a:lnTo>
                    <a:pt x="569" y="721"/>
                  </a:lnTo>
                  <a:lnTo>
                    <a:pt x="569" y="721"/>
                  </a:lnTo>
                  <a:lnTo>
                    <a:pt x="571" y="721"/>
                  </a:lnTo>
                  <a:lnTo>
                    <a:pt x="571" y="719"/>
                  </a:lnTo>
                  <a:lnTo>
                    <a:pt x="573" y="719"/>
                  </a:lnTo>
                  <a:lnTo>
                    <a:pt x="573" y="719"/>
                  </a:lnTo>
                  <a:lnTo>
                    <a:pt x="571" y="717"/>
                  </a:lnTo>
                  <a:lnTo>
                    <a:pt x="571" y="717"/>
                  </a:lnTo>
                  <a:lnTo>
                    <a:pt x="571" y="717"/>
                  </a:lnTo>
                  <a:lnTo>
                    <a:pt x="569" y="717"/>
                  </a:lnTo>
                  <a:lnTo>
                    <a:pt x="567" y="715"/>
                  </a:lnTo>
                  <a:lnTo>
                    <a:pt x="565" y="715"/>
                  </a:lnTo>
                  <a:lnTo>
                    <a:pt x="565" y="717"/>
                  </a:lnTo>
                  <a:lnTo>
                    <a:pt x="567" y="719"/>
                  </a:lnTo>
                  <a:close/>
                  <a:moveTo>
                    <a:pt x="514" y="902"/>
                  </a:moveTo>
                  <a:lnTo>
                    <a:pt x="512" y="902"/>
                  </a:lnTo>
                  <a:lnTo>
                    <a:pt x="512" y="902"/>
                  </a:lnTo>
                  <a:lnTo>
                    <a:pt x="510" y="900"/>
                  </a:lnTo>
                  <a:lnTo>
                    <a:pt x="510" y="900"/>
                  </a:lnTo>
                  <a:lnTo>
                    <a:pt x="510" y="902"/>
                  </a:lnTo>
                  <a:lnTo>
                    <a:pt x="510" y="902"/>
                  </a:lnTo>
                  <a:lnTo>
                    <a:pt x="510" y="902"/>
                  </a:lnTo>
                  <a:lnTo>
                    <a:pt x="510" y="902"/>
                  </a:lnTo>
                  <a:lnTo>
                    <a:pt x="510" y="904"/>
                  </a:lnTo>
                  <a:lnTo>
                    <a:pt x="510" y="904"/>
                  </a:lnTo>
                  <a:lnTo>
                    <a:pt x="510" y="904"/>
                  </a:lnTo>
                  <a:lnTo>
                    <a:pt x="512" y="904"/>
                  </a:lnTo>
                  <a:lnTo>
                    <a:pt x="512" y="904"/>
                  </a:lnTo>
                  <a:lnTo>
                    <a:pt x="514" y="902"/>
                  </a:lnTo>
                  <a:close/>
                  <a:moveTo>
                    <a:pt x="510" y="908"/>
                  </a:moveTo>
                  <a:lnTo>
                    <a:pt x="508" y="908"/>
                  </a:lnTo>
                  <a:lnTo>
                    <a:pt x="508" y="908"/>
                  </a:lnTo>
                  <a:lnTo>
                    <a:pt x="508" y="908"/>
                  </a:lnTo>
                  <a:lnTo>
                    <a:pt x="508" y="906"/>
                  </a:lnTo>
                  <a:lnTo>
                    <a:pt x="506" y="906"/>
                  </a:lnTo>
                  <a:lnTo>
                    <a:pt x="506" y="906"/>
                  </a:lnTo>
                  <a:lnTo>
                    <a:pt x="506" y="908"/>
                  </a:lnTo>
                  <a:lnTo>
                    <a:pt x="506" y="908"/>
                  </a:lnTo>
                  <a:lnTo>
                    <a:pt x="506" y="908"/>
                  </a:lnTo>
                  <a:lnTo>
                    <a:pt x="506" y="908"/>
                  </a:lnTo>
                  <a:lnTo>
                    <a:pt x="506" y="910"/>
                  </a:lnTo>
                  <a:lnTo>
                    <a:pt x="508" y="910"/>
                  </a:lnTo>
                  <a:lnTo>
                    <a:pt x="510" y="910"/>
                  </a:lnTo>
                  <a:lnTo>
                    <a:pt x="510" y="910"/>
                  </a:lnTo>
                  <a:lnTo>
                    <a:pt x="510" y="910"/>
                  </a:lnTo>
                  <a:lnTo>
                    <a:pt x="510" y="910"/>
                  </a:lnTo>
                  <a:lnTo>
                    <a:pt x="510" y="908"/>
                  </a:lnTo>
                  <a:lnTo>
                    <a:pt x="510" y="908"/>
                  </a:lnTo>
                  <a:close/>
                  <a:moveTo>
                    <a:pt x="555" y="684"/>
                  </a:moveTo>
                  <a:lnTo>
                    <a:pt x="555" y="684"/>
                  </a:lnTo>
                  <a:lnTo>
                    <a:pt x="557" y="684"/>
                  </a:lnTo>
                  <a:lnTo>
                    <a:pt x="557" y="684"/>
                  </a:lnTo>
                  <a:lnTo>
                    <a:pt x="557" y="687"/>
                  </a:lnTo>
                  <a:lnTo>
                    <a:pt x="559" y="687"/>
                  </a:lnTo>
                  <a:lnTo>
                    <a:pt x="559" y="687"/>
                  </a:lnTo>
                  <a:lnTo>
                    <a:pt x="557" y="687"/>
                  </a:lnTo>
                  <a:lnTo>
                    <a:pt x="557" y="689"/>
                  </a:lnTo>
                  <a:lnTo>
                    <a:pt x="557" y="689"/>
                  </a:lnTo>
                  <a:lnTo>
                    <a:pt x="559" y="687"/>
                  </a:lnTo>
                  <a:lnTo>
                    <a:pt x="559" y="687"/>
                  </a:lnTo>
                  <a:lnTo>
                    <a:pt x="559" y="687"/>
                  </a:lnTo>
                  <a:lnTo>
                    <a:pt x="561" y="687"/>
                  </a:lnTo>
                  <a:lnTo>
                    <a:pt x="561" y="687"/>
                  </a:lnTo>
                  <a:lnTo>
                    <a:pt x="561" y="684"/>
                  </a:lnTo>
                  <a:lnTo>
                    <a:pt x="561" y="684"/>
                  </a:lnTo>
                  <a:lnTo>
                    <a:pt x="561" y="684"/>
                  </a:lnTo>
                  <a:lnTo>
                    <a:pt x="563" y="684"/>
                  </a:lnTo>
                  <a:lnTo>
                    <a:pt x="563" y="684"/>
                  </a:lnTo>
                  <a:lnTo>
                    <a:pt x="563" y="682"/>
                  </a:lnTo>
                  <a:lnTo>
                    <a:pt x="563" y="682"/>
                  </a:lnTo>
                  <a:lnTo>
                    <a:pt x="563" y="682"/>
                  </a:lnTo>
                  <a:lnTo>
                    <a:pt x="563" y="682"/>
                  </a:lnTo>
                  <a:lnTo>
                    <a:pt x="563" y="682"/>
                  </a:lnTo>
                  <a:lnTo>
                    <a:pt x="563" y="682"/>
                  </a:lnTo>
                  <a:lnTo>
                    <a:pt x="559" y="682"/>
                  </a:lnTo>
                  <a:lnTo>
                    <a:pt x="559" y="682"/>
                  </a:lnTo>
                  <a:lnTo>
                    <a:pt x="557" y="682"/>
                  </a:lnTo>
                  <a:lnTo>
                    <a:pt x="557" y="682"/>
                  </a:lnTo>
                  <a:lnTo>
                    <a:pt x="557" y="682"/>
                  </a:lnTo>
                  <a:lnTo>
                    <a:pt x="557" y="682"/>
                  </a:lnTo>
                  <a:lnTo>
                    <a:pt x="555" y="682"/>
                  </a:lnTo>
                  <a:lnTo>
                    <a:pt x="555" y="682"/>
                  </a:lnTo>
                  <a:lnTo>
                    <a:pt x="555" y="682"/>
                  </a:lnTo>
                  <a:lnTo>
                    <a:pt x="555" y="684"/>
                  </a:lnTo>
                  <a:lnTo>
                    <a:pt x="555" y="684"/>
                  </a:lnTo>
                  <a:lnTo>
                    <a:pt x="555" y="684"/>
                  </a:lnTo>
                  <a:close/>
                  <a:moveTo>
                    <a:pt x="492" y="908"/>
                  </a:moveTo>
                  <a:lnTo>
                    <a:pt x="492" y="908"/>
                  </a:lnTo>
                  <a:lnTo>
                    <a:pt x="492" y="908"/>
                  </a:lnTo>
                  <a:lnTo>
                    <a:pt x="492" y="908"/>
                  </a:lnTo>
                  <a:lnTo>
                    <a:pt x="492" y="908"/>
                  </a:lnTo>
                  <a:lnTo>
                    <a:pt x="490" y="908"/>
                  </a:lnTo>
                  <a:lnTo>
                    <a:pt x="490" y="908"/>
                  </a:lnTo>
                  <a:lnTo>
                    <a:pt x="490" y="908"/>
                  </a:lnTo>
                  <a:lnTo>
                    <a:pt x="490" y="908"/>
                  </a:lnTo>
                  <a:lnTo>
                    <a:pt x="487" y="908"/>
                  </a:lnTo>
                  <a:lnTo>
                    <a:pt x="487" y="908"/>
                  </a:lnTo>
                  <a:lnTo>
                    <a:pt x="487" y="908"/>
                  </a:lnTo>
                  <a:lnTo>
                    <a:pt x="487" y="908"/>
                  </a:lnTo>
                  <a:lnTo>
                    <a:pt x="487" y="908"/>
                  </a:lnTo>
                  <a:lnTo>
                    <a:pt x="487" y="908"/>
                  </a:lnTo>
                  <a:lnTo>
                    <a:pt x="483" y="910"/>
                  </a:lnTo>
                  <a:lnTo>
                    <a:pt x="483" y="912"/>
                  </a:lnTo>
                  <a:lnTo>
                    <a:pt x="483" y="914"/>
                  </a:lnTo>
                  <a:lnTo>
                    <a:pt x="483" y="914"/>
                  </a:lnTo>
                  <a:lnTo>
                    <a:pt x="483" y="914"/>
                  </a:lnTo>
                  <a:lnTo>
                    <a:pt x="483" y="914"/>
                  </a:lnTo>
                  <a:lnTo>
                    <a:pt x="485" y="914"/>
                  </a:lnTo>
                  <a:lnTo>
                    <a:pt x="485" y="914"/>
                  </a:lnTo>
                  <a:lnTo>
                    <a:pt x="485" y="912"/>
                  </a:lnTo>
                  <a:lnTo>
                    <a:pt x="487" y="912"/>
                  </a:lnTo>
                  <a:lnTo>
                    <a:pt x="490" y="912"/>
                  </a:lnTo>
                  <a:lnTo>
                    <a:pt x="490" y="914"/>
                  </a:lnTo>
                  <a:lnTo>
                    <a:pt x="490" y="912"/>
                  </a:lnTo>
                  <a:lnTo>
                    <a:pt x="492" y="912"/>
                  </a:lnTo>
                  <a:lnTo>
                    <a:pt x="492" y="910"/>
                  </a:lnTo>
                  <a:lnTo>
                    <a:pt x="494" y="910"/>
                  </a:lnTo>
                  <a:lnTo>
                    <a:pt x="494" y="910"/>
                  </a:lnTo>
                  <a:lnTo>
                    <a:pt x="494" y="910"/>
                  </a:lnTo>
                  <a:lnTo>
                    <a:pt x="494" y="910"/>
                  </a:lnTo>
                  <a:lnTo>
                    <a:pt x="492" y="908"/>
                  </a:lnTo>
                  <a:close/>
                  <a:moveTo>
                    <a:pt x="584" y="891"/>
                  </a:moveTo>
                  <a:lnTo>
                    <a:pt x="584" y="891"/>
                  </a:lnTo>
                  <a:lnTo>
                    <a:pt x="584" y="891"/>
                  </a:lnTo>
                  <a:lnTo>
                    <a:pt x="584" y="891"/>
                  </a:lnTo>
                  <a:lnTo>
                    <a:pt x="584" y="891"/>
                  </a:lnTo>
                  <a:lnTo>
                    <a:pt x="586" y="889"/>
                  </a:lnTo>
                  <a:lnTo>
                    <a:pt x="586" y="887"/>
                  </a:lnTo>
                  <a:lnTo>
                    <a:pt x="588" y="887"/>
                  </a:lnTo>
                  <a:lnTo>
                    <a:pt x="588" y="885"/>
                  </a:lnTo>
                  <a:lnTo>
                    <a:pt x="586" y="885"/>
                  </a:lnTo>
                  <a:lnTo>
                    <a:pt x="584" y="885"/>
                  </a:lnTo>
                  <a:lnTo>
                    <a:pt x="584" y="885"/>
                  </a:lnTo>
                  <a:lnTo>
                    <a:pt x="582" y="885"/>
                  </a:lnTo>
                  <a:lnTo>
                    <a:pt x="582" y="883"/>
                  </a:lnTo>
                  <a:lnTo>
                    <a:pt x="582" y="883"/>
                  </a:lnTo>
                  <a:lnTo>
                    <a:pt x="580" y="883"/>
                  </a:lnTo>
                  <a:lnTo>
                    <a:pt x="580" y="883"/>
                  </a:lnTo>
                  <a:lnTo>
                    <a:pt x="578" y="883"/>
                  </a:lnTo>
                  <a:lnTo>
                    <a:pt x="578" y="883"/>
                  </a:lnTo>
                  <a:lnTo>
                    <a:pt x="576" y="883"/>
                  </a:lnTo>
                  <a:lnTo>
                    <a:pt x="573" y="883"/>
                  </a:lnTo>
                  <a:lnTo>
                    <a:pt x="573" y="883"/>
                  </a:lnTo>
                  <a:lnTo>
                    <a:pt x="571" y="885"/>
                  </a:lnTo>
                  <a:lnTo>
                    <a:pt x="569" y="885"/>
                  </a:lnTo>
                  <a:lnTo>
                    <a:pt x="569" y="885"/>
                  </a:lnTo>
                  <a:lnTo>
                    <a:pt x="569" y="885"/>
                  </a:lnTo>
                  <a:lnTo>
                    <a:pt x="567" y="887"/>
                  </a:lnTo>
                  <a:lnTo>
                    <a:pt x="567" y="887"/>
                  </a:lnTo>
                  <a:lnTo>
                    <a:pt x="567" y="887"/>
                  </a:lnTo>
                  <a:lnTo>
                    <a:pt x="567" y="889"/>
                  </a:lnTo>
                  <a:lnTo>
                    <a:pt x="567" y="889"/>
                  </a:lnTo>
                  <a:lnTo>
                    <a:pt x="567" y="889"/>
                  </a:lnTo>
                  <a:lnTo>
                    <a:pt x="567" y="891"/>
                  </a:lnTo>
                  <a:lnTo>
                    <a:pt x="567" y="891"/>
                  </a:lnTo>
                  <a:lnTo>
                    <a:pt x="565" y="891"/>
                  </a:lnTo>
                  <a:lnTo>
                    <a:pt x="565" y="891"/>
                  </a:lnTo>
                  <a:lnTo>
                    <a:pt x="567" y="891"/>
                  </a:lnTo>
                  <a:lnTo>
                    <a:pt x="567" y="891"/>
                  </a:lnTo>
                  <a:lnTo>
                    <a:pt x="567" y="894"/>
                  </a:lnTo>
                  <a:lnTo>
                    <a:pt x="567" y="894"/>
                  </a:lnTo>
                  <a:lnTo>
                    <a:pt x="567" y="894"/>
                  </a:lnTo>
                  <a:lnTo>
                    <a:pt x="567" y="894"/>
                  </a:lnTo>
                  <a:lnTo>
                    <a:pt x="567" y="894"/>
                  </a:lnTo>
                  <a:lnTo>
                    <a:pt x="567" y="896"/>
                  </a:lnTo>
                  <a:lnTo>
                    <a:pt x="567" y="896"/>
                  </a:lnTo>
                  <a:lnTo>
                    <a:pt x="565" y="896"/>
                  </a:lnTo>
                  <a:lnTo>
                    <a:pt x="565" y="896"/>
                  </a:lnTo>
                  <a:lnTo>
                    <a:pt x="565" y="896"/>
                  </a:lnTo>
                  <a:lnTo>
                    <a:pt x="565" y="896"/>
                  </a:lnTo>
                  <a:lnTo>
                    <a:pt x="565" y="894"/>
                  </a:lnTo>
                  <a:lnTo>
                    <a:pt x="565" y="894"/>
                  </a:lnTo>
                  <a:lnTo>
                    <a:pt x="563" y="894"/>
                  </a:lnTo>
                  <a:lnTo>
                    <a:pt x="563" y="894"/>
                  </a:lnTo>
                  <a:lnTo>
                    <a:pt x="563" y="894"/>
                  </a:lnTo>
                  <a:lnTo>
                    <a:pt x="563" y="896"/>
                  </a:lnTo>
                  <a:lnTo>
                    <a:pt x="561" y="896"/>
                  </a:lnTo>
                  <a:lnTo>
                    <a:pt x="561" y="896"/>
                  </a:lnTo>
                  <a:lnTo>
                    <a:pt x="561" y="896"/>
                  </a:lnTo>
                  <a:lnTo>
                    <a:pt x="561" y="894"/>
                  </a:lnTo>
                  <a:lnTo>
                    <a:pt x="559" y="894"/>
                  </a:lnTo>
                  <a:lnTo>
                    <a:pt x="559" y="894"/>
                  </a:lnTo>
                  <a:lnTo>
                    <a:pt x="559" y="894"/>
                  </a:lnTo>
                  <a:lnTo>
                    <a:pt x="559" y="894"/>
                  </a:lnTo>
                  <a:lnTo>
                    <a:pt x="557" y="896"/>
                  </a:lnTo>
                  <a:lnTo>
                    <a:pt x="557" y="896"/>
                  </a:lnTo>
                  <a:lnTo>
                    <a:pt x="555" y="896"/>
                  </a:lnTo>
                  <a:lnTo>
                    <a:pt x="555" y="898"/>
                  </a:lnTo>
                  <a:lnTo>
                    <a:pt x="553" y="898"/>
                  </a:lnTo>
                  <a:lnTo>
                    <a:pt x="553" y="898"/>
                  </a:lnTo>
                  <a:lnTo>
                    <a:pt x="553" y="900"/>
                  </a:lnTo>
                  <a:lnTo>
                    <a:pt x="553" y="900"/>
                  </a:lnTo>
                  <a:lnTo>
                    <a:pt x="553" y="902"/>
                  </a:lnTo>
                  <a:lnTo>
                    <a:pt x="553" y="902"/>
                  </a:lnTo>
                  <a:lnTo>
                    <a:pt x="551" y="904"/>
                  </a:lnTo>
                  <a:lnTo>
                    <a:pt x="551" y="906"/>
                  </a:lnTo>
                  <a:lnTo>
                    <a:pt x="549" y="904"/>
                  </a:lnTo>
                  <a:lnTo>
                    <a:pt x="549" y="906"/>
                  </a:lnTo>
                  <a:lnTo>
                    <a:pt x="549" y="908"/>
                  </a:lnTo>
                  <a:lnTo>
                    <a:pt x="549" y="908"/>
                  </a:lnTo>
                  <a:lnTo>
                    <a:pt x="547" y="908"/>
                  </a:lnTo>
                  <a:lnTo>
                    <a:pt x="547" y="908"/>
                  </a:lnTo>
                  <a:lnTo>
                    <a:pt x="547" y="908"/>
                  </a:lnTo>
                  <a:lnTo>
                    <a:pt x="545" y="908"/>
                  </a:lnTo>
                  <a:lnTo>
                    <a:pt x="545" y="908"/>
                  </a:lnTo>
                  <a:lnTo>
                    <a:pt x="545" y="910"/>
                  </a:lnTo>
                  <a:lnTo>
                    <a:pt x="545" y="910"/>
                  </a:lnTo>
                  <a:lnTo>
                    <a:pt x="543" y="912"/>
                  </a:lnTo>
                  <a:lnTo>
                    <a:pt x="541" y="910"/>
                  </a:lnTo>
                  <a:lnTo>
                    <a:pt x="541" y="912"/>
                  </a:lnTo>
                  <a:lnTo>
                    <a:pt x="541" y="912"/>
                  </a:lnTo>
                  <a:lnTo>
                    <a:pt x="541" y="912"/>
                  </a:lnTo>
                  <a:lnTo>
                    <a:pt x="541" y="912"/>
                  </a:lnTo>
                  <a:lnTo>
                    <a:pt x="541" y="912"/>
                  </a:lnTo>
                  <a:lnTo>
                    <a:pt x="541" y="912"/>
                  </a:lnTo>
                  <a:lnTo>
                    <a:pt x="541" y="912"/>
                  </a:lnTo>
                  <a:lnTo>
                    <a:pt x="539" y="912"/>
                  </a:lnTo>
                  <a:lnTo>
                    <a:pt x="543" y="912"/>
                  </a:lnTo>
                  <a:lnTo>
                    <a:pt x="543" y="912"/>
                  </a:lnTo>
                  <a:lnTo>
                    <a:pt x="543" y="912"/>
                  </a:lnTo>
                  <a:lnTo>
                    <a:pt x="543" y="912"/>
                  </a:lnTo>
                  <a:lnTo>
                    <a:pt x="543" y="912"/>
                  </a:lnTo>
                  <a:lnTo>
                    <a:pt x="545" y="910"/>
                  </a:lnTo>
                  <a:lnTo>
                    <a:pt x="547" y="910"/>
                  </a:lnTo>
                  <a:lnTo>
                    <a:pt x="547" y="910"/>
                  </a:lnTo>
                  <a:lnTo>
                    <a:pt x="549" y="910"/>
                  </a:lnTo>
                  <a:lnTo>
                    <a:pt x="549" y="910"/>
                  </a:lnTo>
                  <a:lnTo>
                    <a:pt x="549" y="910"/>
                  </a:lnTo>
                  <a:lnTo>
                    <a:pt x="549" y="910"/>
                  </a:lnTo>
                  <a:lnTo>
                    <a:pt x="551" y="910"/>
                  </a:lnTo>
                  <a:lnTo>
                    <a:pt x="551" y="910"/>
                  </a:lnTo>
                  <a:lnTo>
                    <a:pt x="551" y="910"/>
                  </a:lnTo>
                  <a:lnTo>
                    <a:pt x="551" y="910"/>
                  </a:lnTo>
                  <a:lnTo>
                    <a:pt x="551" y="910"/>
                  </a:lnTo>
                  <a:lnTo>
                    <a:pt x="551" y="910"/>
                  </a:lnTo>
                  <a:lnTo>
                    <a:pt x="551" y="908"/>
                  </a:lnTo>
                  <a:lnTo>
                    <a:pt x="551" y="908"/>
                  </a:lnTo>
                  <a:lnTo>
                    <a:pt x="553" y="908"/>
                  </a:lnTo>
                  <a:lnTo>
                    <a:pt x="555" y="908"/>
                  </a:lnTo>
                  <a:lnTo>
                    <a:pt x="555" y="908"/>
                  </a:lnTo>
                  <a:lnTo>
                    <a:pt x="555" y="908"/>
                  </a:lnTo>
                  <a:lnTo>
                    <a:pt x="555" y="908"/>
                  </a:lnTo>
                  <a:lnTo>
                    <a:pt x="557" y="908"/>
                  </a:lnTo>
                  <a:lnTo>
                    <a:pt x="557" y="906"/>
                  </a:lnTo>
                  <a:lnTo>
                    <a:pt x="557" y="906"/>
                  </a:lnTo>
                  <a:lnTo>
                    <a:pt x="559" y="906"/>
                  </a:lnTo>
                  <a:lnTo>
                    <a:pt x="561" y="906"/>
                  </a:lnTo>
                  <a:lnTo>
                    <a:pt x="561" y="906"/>
                  </a:lnTo>
                  <a:lnTo>
                    <a:pt x="561" y="906"/>
                  </a:lnTo>
                  <a:lnTo>
                    <a:pt x="563" y="904"/>
                  </a:lnTo>
                  <a:lnTo>
                    <a:pt x="563" y="904"/>
                  </a:lnTo>
                  <a:lnTo>
                    <a:pt x="565" y="902"/>
                  </a:lnTo>
                  <a:lnTo>
                    <a:pt x="565" y="902"/>
                  </a:lnTo>
                  <a:lnTo>
                    <a:pt x="565" y="900"/>
                  </a:lnTo>
                  <a:lnTo>
                    <a:pt x="567" y="902"/>
                  </a:lnTo>
                  <a:lnTo>
                    <a:pt x="567" y="900"/>
                  </a:lnTo>
                  <a:lnTo>
                    <a:pt x="567" y="900"/>
                  </a:lnTo>
                  <a:lnTo>
                    <a:pt x="567" y="900"/>
                  </a:lnTo>
                  <a:lnTo>
                    <a:pt x="567" y="900"/>
                  </a:lnTo>
                  <a:lnTo>
                    <a:pt x="567" y="898"/>
                  </a:lnTo>
                  <a:lnTo>
                    <a:pt x="569" y="898"/>
                  </a:lnTo>
                  <a:lnTo>
                    <a:pt x="569" y="898"/>
                  </a:lnTo>
                  <a:lnTo>
                    <a:pt x="569" y="898"/>
                  </a:lnTo>
                  <a:lnTo>
                    <a:pt x="571" y="898"/>
                  </a:lnTo>
                  <a:lnTo>
                    <a:pt x="571" y="898"/>
                  </a:lnTo>
                  <a:lnTo>
                    <a:pt x="573" y="898"/>
                  </a:lnTo>
                  <a:lnTo>
                    <a:pt x="573" y="896"/>
                  </a:lnTo>
                  <a:lnTo>
                    <a:pt x="580" y="894"/>
                  </a:lnTo>
                  <a:lnTo>
                    <a:pt x="580" y="894"/>
                  </a:lnTo>
                  <a:lnTo>
                    <a:pt x="582" y="894"/>
                  </a:lnTo>
                  <a:lnTo>
                    <a:pt x="584" y="894"/>
                  </a:lnTo>
                  <a:lnTo>
                    <a:pt x="584" y="894"/>
                  </a:lnTo>
                  <a:lnTo>
                    <a:pt x="584" y="891"/>
                  </a:lnTo>
                  <a:close/>
                  <a:moveTo>
                    <a:pt x="561" y="908"/>
                  </a:moveTo>
                  <a:lnTo>
                    <a:pt x="561" y="908"/>
                  </a:lnTo>
                  <a:lnTo>
                    <a:pt x="561" y="908"/>
                  </a:lnTo>
                  <a:lnTo>
                    <a:pt x="561" y="910"/>
                  </a:lnTo>
                  <a:lnTo>
                    <a:pt x="561" y="910"/>
                  </a:lnTo>
                  <a:lnTo>
                    <a:pt x="561" y="910"/>
                  </a:lnTo>
                  <a:lnTo>
                    <a:pt x="561" y="910"/>
                  </a:lnTo>
                  <a:lnTo>
                    <a:pt x="561" y="910"/>
                  </a:lnTo>
                  <a:lnTo>
                    <a:pt x="561" y="910"/>
                  </a:lnTo>
                  <a:lnTo>
                    <a:pt x="561" y="910"/>
                  </a:lnTo>
                  <a:lnTo>
                    <a:pt x="561" y="908"/>
                  </a:lnTo>
                  <a:lnTo>
                    <a:pt x="561" y="908"/>
                  </a:lnTo>
                  <a:close/>
                  <a:moveTo>
                    <a:pt x="541" y="510"/>
                  </a:moveTo>
                  <a:lnTo>
                    <a:pt x="541" y="510"/>
                  </a:lnTo>
                  <a:lnTo>
                    <a:pt x="543" y="510"/>
                  </a:lnTo>
                  <a:lnTo>
                    <a:pt x="543" y="510"/>
                  </a:lnTo>
                  <a:lnTo>
                    <a:pt x="545" y="508"/>
                  </a:lnTo>
                  <a:lnTo>
                    <a:pt x="545" y="510"/>
                  </a:lnTo>
                  <a:lnTo>
                    <a:pt x="547" y="510"/>
                  </a:lnTo>
                  <a:lnTo>
                    <a:pt x="547" y="510"/>
                  </a:lnTo>
                  <a:lnTo>
                    <a:pt x="549" y="512"/>
                  </a:lnTo>
                  <a:lnTo>
                    <a:pt x="549" y="512"/>
                  </a:lnTo>
                  <a:lnTo>
                    <a:pt x="549" y="512"/>
                  </a:lnTo>
                  <a:lnTo>
                    <a:pt x="549" y="512"/>
                  </a:lnTo>
                  <a:lnTo>
                    <a:pt x="551" y="512"/>
                  </a:lnTo>
                  <a:lnTo>
                    <a:pt x="551" y="512"/>
                  </a:lnTo>
                  <a:lnTo>
                    <a:pt x="549" y="510"/>
                  </a:lnTo>
                  <a:lnTo>
                    <a:pt x="549" y="510"/>
                  </a:lnTo>
                  <a:lnTo>
                    <a:pt x="547" y="508"/>
                  </a:lnTo>
                  <a:lnTo>
                    <a:pt x="547" y="506"/>
                  </a:lnTo>
                  <a:lnTo>
                    <a:pt x="545" y="506"/>
                  </a:lnTo>
                  <a:lnTo>
                    <a:pt x="543" y="506"/>
                  </a:lnTo>
                  <a:lnTo>
                    <a:pt x="539" y="500"/>
                  </a:lnTo>
                  <a:lnTo>
                    <a:pt x="537" y="498"/>
                  </a:lnTo>
                  <a:lnTo>
                    <a:pt x="537" y="498"/>
                  </a:lnTo>
                  <a:lnTo>
                    <a:pt x="537" y="498"/>
                  </a:lnTo>
                  <a:lnTo>
                    <a:pt x="537" y="496"/>
                  </a:lnTo>
                  <a:lnTo>
                    <a:pt x="537" y="494"/>
                  </a:lnTo>
                  <a:lnTo>
                    <a:pt x="537" y="494"/>
                  </a:lnTo>
                  <a:lnTo>
                    <a:pt x="537" y="494"/>
                  </a:lnTo>
                  <a:lnTo>
                    <a:pt x="537" y="494"/>
                  </a:lnTo>
                  <a:lnTo>
                    <a:pt x="535" y="494"/>
                  </a:lnTo>
                  <a:lnTo>
                    <a:pt x="535" y="494"/>
                  </a:lnTo>
                  <a:lnTo>
                    <a:pt x="535" y="494"/>
                  </a:lnTo>
                  <a:lnTo>
                    <a:pt x="535" y="494"/>
                  </a:lnTo>
                  <a:lnTo>
                    <a:pt x="533" y="494"/>
                  </a:lnTo>
                  <a:lnTo>
                    <a:pt x="533" y="494"/>
                  </a:lnTo>
                  <a:lnTo>
                    <a:pt x="533" y="496"/>
                  </a:lnTo>
                  <a:lnTo>
                    <a:pt x="533" y="496"/>
                  </a:lnTo>
                  <a:lnTo>
                    <a:pt x="533" y="496"/>
                  </a:lnTo>
                  <a:lnTo>
                    <a:pt x="533" y="496"/>
                  </a:lnTo>
                  <a:lnTo>
                    <a:pt x="533" y="496"/>
                  </a:lnTo>
                  <a:lnTo>
                    <a:pt x="533" y="498"/>
                  </a:lnTo>
                  <a:lnTo>
                    <a:pt x="533" y="498"/>
                  </a:lnTo>
                  <a:lnTo>
                    <a:pt x="533" y="498"/>
                  </a:lnTo>
                  <a:lnTo>
                    <a:pt x="533" y="498"/>
                  </a:lnTo>
                  <a:lnTo>
                    <a:pt x="537" y="504"/>
                  </a:lnTo>
                  <a:lnTo>
                    <a:pt x="539" y="504"/>
                  </a:lnTo>
                  <a:lnTo>
                    <a:pt x="539" y="504"/>
                  </a:lnTo>
                  <a:lnTo>
                    <a:pt x="539" y="506"/>
                  </a:lnTo>
                  <a:lnTo>
                    <a:pt x="539" y="506"/>
                  </a:lnTo>
                  <a:lnTo>
                    <a:pt x="539" y="506"/>
                  </a:lnTo>
                  <a:lnTo>
                    <a:pt x="539" y="506"/>
                  </a:lnTo>
                  <a:lnTo>
                    <a:pt x="539" y="508"/>
                  </a:lnTo>
                  <a:lnTo>
                    <a:pt x="541" y="508"/>
                  </a:lnTo>
                  <a:lnTo>
                    <a:pt x="541" y="510"/>
                  </a:lnTo>
                  <a:close/>
                  <a:moveTo>
                    <a:pt x="537" y="914"/>
                  </a:moveTo>
                  <a:lnTo>
                    <a:pt x="535" y="914"/>
                  </a:lnTo>
                  <a:lnTo>
                    <a:pt x="535" y="914"/>
                  </a:lnTo>
                  <a:lnTo>
                    <a:pt x="535" y="914"/>
                  </a:lnTo>
                  <a:lnTo>
                    <a:pt x="535" y="914"/>
                  </a:lnTo>
                  <a:lnTo>
                    <a:pt x="535" y="914"/>
                  </a:lnTo>
                  <a:lnTo>
                    <a:pt x="537" y="914"/>
                  </a:lnTo>
                  <a:lnTo>
                    <a:pt x="537" y="914"/>
                  </a:lnTo>
                  <a:lnTo>
                    <a:pt x="537" y="914"/>
                  </a:lnTo>
                  <a:lnTo>
                    <a:pt x="537" y="914"/>
                  </a:lnTo>
                  <a:lnTo>
                    <a:pt x="537" y="914"/>
                  </a:lnTo>
                  <a:lnTo>
                    <a:pt x="537" y="914"/>
                  </a:lnTo>
                  <a:lnTo>
                    <a:pt x="537" y="914"/>
                  </a:lnTo>
                  <a:close/>
                  <a:moveTo>
                    <a:pt x="322" y="900"/>
                  </a:moveTo>
                  <a:lnTo>
                    <a:pt x="322" y="898"/>
                  </a:lnTo>
                  <a:lnTo>
                    <a:pt x="322" y="898"/>
                  </a:lnTo>
                  <a:lnTo>
                    <a:pt x="322" y="898"/>
                  </a:lnTo>
                  <a:lnTo>
                    <a:pt x="322" y="898"/>
                  </a:lnTo>
                  <a:lnTo>
                    <a:pt x="322" y="898"/>
                  </a:lnTo>
                  <a:lnTo>
                    <a:pt x="320" y="898"/>
                  </a:lnTo>
                  <a:lnTo>
                    <a:pt x="320" y="898"/>
                  </a:lnTo>
                  <a:lnTo>
                    <a:pt x="320" y="898"/>
                  </a:lnTo>
                  <a:lnTo>
                    <a:pt x="320" y="898"/>
                  </a:lnTo>
                  <a:lnTo>
                    <a:pt x="320" y="898"/>
                  </a:lnTo>
                  <a:lnTo>
                    <a:pt x="322" y="898"/>
                  </a:lnTo>
                  <a:lnTo>
                    <a:pt x="322" y="898"/>
                  </a:lnTo>
                  <a:lnTo>
                    <a:pt x="322" y="898"/>
                  </a:lnTo>
                  <a:lnTo>
                    <a:pt x="322" y="900"/>
                  </a:lnTo>
                  <a:lnTo>
                    <a:pt x="322" y="900"/>
                  </a:lnTo>
                  <a:lnTo>
                    <a:pt x="322" y="900"/>
                  </a:lnTo>
                  <a:lnTo>
                    <a:pt x="322" y="900"/>
                  </a:lnTo>
                  <a:lnTo>
                    <a:pt x="322" y="900"/>
                  </a:lnTo>
                  <a:lnTo>
                    <a:pt x="322" y="900"/>
                  </a:lnTo>
                  <a:close/>
                  <a:moveTo>
                    <a:pt x="313" y="894"/>
                  </a:moveTo>
                  <a:lnTo>
                    <a:pt x="313" y="894"/>
                  </a:lnTo>
                  <a:lnTo>
                    <a:pt x="313" y="894"/>
                  </a:lnTo>
                  <a:lnTo>
                    <a:pt x="311" y="894"/>
                  </a:lnTo>
                  <a:lnTo>
                    <a:pt x="311" y="894"/>
                  </a:lnTo>
                  <a:lnTo>
                    <a:pt x="311" y="894"/>
                  </a:lnTo>
                  <a:lnTo>
                    <a:pt x="311" y="894"/>
                  </a:lnTo>
                  <a:lnTo>
                    <a:pt x="311" y="894"/>
                  </a:lnTo>
                  <a:lnTo>
                    <a:pt x="313" y="894"/>
                  </a:lnTo>
                  <a:close/>
                  <a:moveTo>
                    <a:pt x="326" y="898"/>
                  </a:moveTo>
                  <a:lnTo>
                    <a:pt x="324" y="898"/>
                  </a:lnTo>
                  <a:lnTo>
                    <a:pt x="324" y="898"/>
                  </a:lnTo>
                  <a:lnTo>
                    <a:pt x="324" y="898"/>
                  </a:lnTo>
                  <a:lnTo>
                    <a:pt x="324" y="900"/>
                  </a:lnTo>
                  <a:lnTo>
                    <a:pt x="324" y="900"/>
                  </a:lnTo>
                  <a:lnTo>
                    <a:pt x="324" y="900"/>
                  </a:lnTo>
                  <a:lnTo>
                    <a:pt x="324" y="898"/>
                  </a:lnTo>
                  <a:lnTo>
                    <a:pt x="326" y="898"/>
                  </a:lnTo>
                  <a:lnTo>
                    <a:pt x="326" y="898"/>
                  </a:lnTo>
                  <a:lnTo>
                    <a:pt x="326" y="898"/>
                  </a:lnTo>
                  <a:lnTo>
                    <a:pt x="326" y="898"/>
                  </a:lnTo>
                  <a:lnTo>
                    <a:pt x="326" y="898"/>
                  </a:lnTo>
                  <a:close/>
                  <a:moveTo>
                    <a:pt x="334" y="900"/>
                  </a:moveTo>
                  <a:lnTo>
                    <a:pt x="334" y="900"/>
                  </a:lnTo>
                  <a:lnTo>
                    <a:pt x="332" y="900"/>
                  </a:lnTo>
                  <a:lnTo>
                    <a:pt x="334" y="900"/>
                  </a:lnTo>
                  <a:lnTo>
                    <a:pt x="334" y="900"/>
                  </a:lnTo>
                  <a:lnTo>
                    <a:pt x="334" y="900"/>
                  </a:lnTo>
                  <a:lnTo>
                    <a:pt x="334" y="900"/>
                  </a:lnTo>
                  <a:close/>
                  <a:moveTo>
                    <a:pt x="317" y="891"/>
                  </a:moveTo>
                  <a:lnTo>
                    <a:pt x="317" y="891"/>
                  </a:lnTo>
                  <a:lnTo>
                    <a:pt x="317" y="891"/>
                  </a:lnTo>
                  <a:lnTo>
                    <a:pt x="317" y="891"/>
                  </a:lnTo>
                  <a:lnTo>
                    <a:pt x="317" y="889"/>
                  </a:lnTo>
                  <a:lnTo>
                    <a:pt x="317" y="889"/>
                  </a:lnTo>
                  <a:lnTo>
                    <a:pt x="317" y="887"/>
                  </a:lnTo>
                  <a:lnTo>
                    <a:pt x="315" y="887"/>
                  </a:lnTo>
                  <a:lnTo>
                    <a:pt x="315" y="887"/>
                  </a:lnTo>
                  <a:lnTo>
                    <a:pt x="313" y="885"/>
                  </a:lnTo>
                  <a:lnTo>
                    <a:pt x="313" y="887"/>
                  </a:lnTo>
                  <a:lnTo>
                    <a:pt x="313" y="887"/>
                  </a:lnTo>
                  <a:lnTo>
                    <a:pt x="311" y="887"/>
                  </a:lnTo>
                  <a:lnTo>
                    <a:pt x="311" y="887"/>
                  </a:lnTo>
                  <a:lnTo>
                    <a:pt x="311" y="889"/>
                  </a:lnTo>
                  <a:lnTo>
                    <a:pt x="311" y="889"/>
                  </a:lnTo>
                  <a:lnTo>
                    <a:pt x="311" y="891"/>
                  </a:lnTo>
                  <a:lnTo>
                    <a:pt x="311" y="891"/>
                  </a:lnTo>
                  <a:lnTo>
                    <a:pt x="311" y="891"/>
                  </a:lnTo>
                  <a:lnTo>
                    <a:pt x="311" y="891"/>
                  </a:lnTo>
                  <a:lnTo>
                    <a:pt x="313" y="891"/>
                  </a:lnTo>
                  <a:lnTo>
                    <a:pt x="313" y="894"/>
                  </a:lnTo>
                  <a:lnTo>
                    <a:pt x="313" y="894"/>
                  </a:lnTo>
                  <a:lnTo>
                    <a:pt x="315" y="894"/>
                  </a:lnTo>
                  <a:lnTo>
                    <a:pt x="315" y="894"/>
                  </a:lnTo>
                  <a:lnTo>
                    <a:pt x="315" y="894"/>
                  </a:lnTo>
                  <a:lnTo>
                    <a:pt x="315" y="894"/>
                  </a:lnTo>
                  <a:lnTo>
                    <a:pt x="315" y="894"/>
                  </a:lnTo>
                  <a:lnTo>
                    <a:pt x="315" y="894"/>
                  </a:lnTo>
                  <a:lnTo>
                    <a:pt x="315" y="891"/>
                  </a:lnTo>
                  <a:lnTo>
                    <a:pt x="317" y="891"/>
                  </a:lnTo>
                  <a:lnTo>
                    <a:pt x="317" y="891"/>
                  </a:lnTo>
                  <a:close/>
                  <a:moveTo>
                    <a:pt x="322" y="896"/>
                  </a:moveTo>
                  <a:lnTo>
                    <a:pt x="322" y="896"/>
                  </a:lnTo>
                  <a:lnTo>
                    <a:pt x="322" y="896"/>
                  </a:lnTo>
                  <a:lnTo>
                    <a:pt x="322" y="896"/>
                  </a:lnTo>
                  <a:lnTo>
                    <a:pt x="320" y="896"/>
                  </a:lnTo>
                  <a:lnTo>
                    <a:pt x="320" y="894"/>
                  </a:lnTo>
                  <a:lnTo>
                    <a:pt x="320" y="896"/>
                  </a:lnTo>
                  <a:lnTo>
                    <a:pt x="320" y="896"/>
                  </a:lnTo>
                  <a:lnTo>
                    <a:pt x="320" y="896"/>
                  </a:lnTo>
                  <a:lnTo>
                    <a:pt x="320" y="896"/>
                  </a:lnTo>
                  <a:lnTo>
                    <a:pt x="320" y="896"/>
                  </a:lnTo>
                  <a:lnTo>
                    <a:pt x="320" y="894"/>
                  </a:lnTo>
                  <a:lnTo>
                    <a:pt x="317" y="894"/>
                  </a:lnTo>
                  <a:lnTo>
                    <a:pt x="317" y="896"/>
                  </a:lnTo>
                  <a:lnTo>
                    <a:pt x="320" y="896"/>
                  </a:lnTo>
                  <a:lnTo>
                    <a:pt x="320" y="896"/>
                  </a:lnTo>
                  <a:lnTo>
                    <a:pt x="322" y="896"/>
                  </a:lnTo>
                  <a:close/>
                  <a:moveTo>
                    <a:pt x="432" y="910"/>
                  </a:moveTo>
                  <a:lnTo>
                    <a:pt x="432" y="908"/>
                  </a:lnTo>
                  <a:lnTo>
                    <a:pt x="432" y="908"/>
                  </a:lnTo>
                  <a:lnTo>
                    <a:pt x="432" y="908"/>
                  </a:lnTo>
                  <a:lnTo>
                    <a:pt x="432" y="908"/>
                  </a:lnTo>
                  <a:lnTo>
                    <a:pt x="430" y="908"/>
                  </a:lnTo>
                  <a:lnTo>
                    <a:pt x="428" y="908"/>
                  </a:lnTo>
                  <a:lnTo>
                    <a:pt x="426" y="910"/>
                  </a:lnTo>
                  <a:lnTo>
                    <a:pt x="426" y="910"/>
                  </a:lnTo>
                  <a:lnTo>
                    <a:pt x="424" y="912"/>
                  </a:lnTo>
                  <a:lnTo>
                    <a:pt x="426" y="914"/>
                  </a:lnTo>
                  <a:lnTo>
                    <a:pt x="426" y="914"/>
                  </a:lnTo>
                  <a:lnTo>
                    <a:pt x="428" y="914"/>
                  </a:lnTo>
                  <a:lnTo>
                    <a:pt x="430" y="912"/>
                  </a:lnTo>
                  <a:lnTo>
                    <a:pt x="430" y="914"/>
                  </a:lnTo>
                  <a:lnTo>
                    <a:pt x="430" y="914"/>
                  </a:lnTo>
                  <a:lnTo>
                    <a:pt x="432" y="914"/>
                  </a:lnTo>
                  <a:lnTo>
                    <a:pt x="434" y="912"/>
                  </a:lnTo>
                  <a:lnTo>
                    <a:pt x="434" y="912"/>
                  </a:lnTo>
                  <a:lnTo>
                    <a:pt x="434" y="912"/>
                  </a:lnTo>
                  <a:lnTo>
                    <a:pt x="434" y="910"/>
                  </a:lnTo>
                  <a:lnTo>
                    <a:pt x="432" y="910"/>
                  </a:lnTo>
                  <a:close/>
                  <a:moveTo>
                    <a:pt x="469" y="912"/>
                  </a:moveTo>
                  <a:lnTo>
                    <a:pt x="469" y="912"/>
                  </a:lnTo>
                  <a:lnTo>
                    <a:pt x="467" y="912"/>
                  </a:lnTo>
                  <a:lnTo>
                    <a:pt x="467" y="914"/>
                  </a:lnTo>
                  <a:lnTo>
                    <a:pt x="469" y="914"/>
                  </a:lnTo>
                  <a:lnTo>
                    <a:pt x="469" y="914"/>
                  </a:lnTo>
                  <a:lnTo>
                    <a:pt x="471" y="914"/>
                  </a:lnTo>
                  <a:lnTo>
                    <a:pt x="471" y="914"/>
                  </a:lnTo>
                  <a:lnTo>
                    <a:pt x="471" y="914"/>
                  </a:lnTo>
                  <a:lnTo>
                    <a:pt x="471" y="912"/>
                  </a:lnTo>
                  <a:lnTo>
                    <a:pt x="471" y="912"/>
                  </a:lnTo>
                  <a:lnTo>
                    <a:pt x="469" y="912"/>
                  </a:lnTo>
                  <a:close/>
                  <a:moveTo>
                    <a:pt x="473" y="910"/>
                  </a:moveTo>
                  <a:lnTo>
                    <a:pt x="473" y="910"/>
                  </a:lnTo>
                  <a:lnTo>
                    <a:pt x="473" y="910"/>
                  </a:lnTo>
                  <a:lnTo>
                    <a:pt x="473" y="910"/>
                  </a:lnTo>
                  <a:lnTo>
                    <a:pt x="473" y="910"/>
                  </a:lnTo>
                  <a:lnTo>
                    <a:pt x="473" y="910"/>
                  </a:lnTo>
                  <a:lnTo>
                    <a:pt x="475" y="910"/>
                  </a:lnTo>
                  <a:lnTo>
                    <a:pt x="475" y="910"/>
                  </a:lnTo>
                  <a:lnTo>
                    <a:pt x="475" y="910"/>
                  </a:lnTo>
                  <a:lnTo>
                    <a:pt x="475" y="910"/>
                  </a:lnTo>
                  <a:lnTo>
                    <a:pt x="473" y="910"/>
                  </a:lnTo>
                  <a:lnTo>
                    <a:pt x="473" y="910"/>
                  </a:lnTo>
                  <a:close/>
                  <a:moveTo>
                    <a:pt x="334" y="889"/>
                  </a:moveTo>
                  <a:lnTo>
                    <a:pt x="334" y="889"/>
                  </a:lnTo>
                  <a:lnTo>
                    <a:pt x="334" y="889"/>
                  </a:lnTo>
                  <a:lnTo>
                    <a:pt x="334" y="889"/>
                  </a:lnTo>
                  <a:lnTo>
                    <a:pt x="334" y="889"/>
                  </a:lnTo>
                  <a:lnTo>
                    <a:pt x="334" y="889"/>
                  </a:lnTo>
                  <a:lnTo>
                    <a:pt x="334" y="889"/>
                  </a:lnTo>
                  <a:lnTo>
                    <a:pt x="334" y="889"/>
                  </a:lnTo>
                  <a:lnTo>
                    <a:pt x="334" y="889"/>
                  </a:lnTo>
                  <a:lnTo>
                    <a:pt x="336" y="889"/>
                  </a:lnTo>
                  <a:lnTo>
                    <a:pt x="334" y="889"/>
                  </a:lnTo>
                  <a:lnTo>
                    <a:pt x="334" y="889"/>
                  </a:lnTo>
                  <a:close/>
                  <a:moveTo>
                    <a:pt x="408" y="916"/>
                  </a:moveTo>
                  <a:lnTo>
                    <a:pt x="406" y="916"/>
                  </a:lnTo>
                  <a:lnTo>
                    <a:pt x="406" y="916"/>
                  </a:lnTo>
                  <a:lnTo>
                    <a:pt x="406" y="916"/>
                  </a:lnTo>
                  <a:lnTo>
                    <a:pt x="406" y="916"/>
                  </a:lnTo>
                  <a:lnTo>
                    <a:pt x="404" y="916"/>
                  </a:lnTo>
                  <a:lnTo>
                    <a:pt x="404" y="916"/>
                  </a:lnTo>
                  <a:lnTo>
                    <a:pt x="404" y="916"/>
                  </a:lnTo>
                  <a:lnTo>
                    <a:pt x="404" y="916"/>
                  </a:lnTo>
                  <a:lnTo>
                    <a:pt x="404" y="916"/>
                  </a:lnTo>
                  <a:lnTo>
                    <a:pt x="404" y="914"/>
                  </a:lnTo>
                  <a:lnTo>
                    <a:pt x="404" y="914"/>
                  </a:lnTo>
                  <a:lnTo>
                    <a:pt x="404" y="914"/>
                  </a:lnTo>
                  <a:lnTo>
                    <a:pt x="401" y="914"/>
                  </a:lnTo>
                  <a:lnTo>
                    <a:pt x="401" y="914"/>
                  </a:lnTo>
                  <a:lnTo>
                    <a:pt x="399" y="914"/>
                  </a:lnTo>
                  <a:lnTo>
                    <a:pt x="399" y="914"/>
                  </a:lnTo>
                  <a:lnTo>
                    <a:pt x="399" y="914"/>
                  </a:lnTo>
                  <a:lnTo>
                    <a:pt x="399" y="914"/>
                  </a:lnTo>
                  <a:lnTo>
                    <a:pt x="397" y="914"/>
                  </a:lnTo>
                  <a:lnTo>
                    <a:pt x="397" y="914"/>
                  </a:lnTo>
                  <a:lnTo>
                    <a:pt x="397" y="914"/>
                  </a:lnTo>
                  <a:lnTo>
                    <a:pt x="397" y="912"/>
                  </a:lnTo>
                  <a:lnTo>
                    <a:pt x="397" y="912"/>
                  </a:lnTo>
                  <a:lnTo>
                    <a:pt x="397" y="912"/>
                  </a:lnTo>
                  <a:lnTo>
                    <a:pt x="397" y="912"/>
                  </a:lnTo>
                  <a:lnTo>
                    <a:pt x="395" y="912"/>
                  </a:lnTo>
                  <a:lnTo>
                    <a:pt x="395" y="912"/>
                  </a:lnTo>
                  <a:lnTo>
                    <a:pt x="393" y="912"/>
                  </a:lnTo>
                  <a:lnTo>
                    <a:pt x="393" y="912"/>
                  </a:lnTo>
                  <a:lnTo>
                    <a:pt x="395" y="910"/>
                  </a:lnTo>
                  <a:lnTo>
                    <a:pt x="393" y="910"/>
                  </a:lnTo>
                  <a:lnTo>
                    <a:pt x="393" y="910"/>
                  </a:lnTo>
                  <a:lnTo>
                    <a:pt x="393" y="910"/>
                  </a:lnTo>
                  <a:lnTo>
                    <a:pt x="391" y="910"/>
                  </a:lnTo>
                  <a:lnTo>
                    <a:pt x="391" y="910"/>
                  </a:lnTo>
                  <a:lnTo>
                    <a:pt x="391" y="910"/>
                  </a:lnTo>
                  <a:lnTo>
                    <a:pt x="391" y="908"/>
                  </a:lnTo>
                  <a:lnTo>
                    <a:pt x="391" y="908"/>
                  </a:lnTo>
                  <a:lnTo>
                    <a:pt x="389" y="910"/>
                  </a:lnTo>
                  <a:lnTo>
                    <a:pt x="389" y="910"/>
                  </a:lnTo>
                  <a:lnTo>
                    <a:pt x="387" y="910"/>
                  </a:lnTo>
                  <a:lnTo>
                    <a:pt x="387" y="910"/>
                  </a:lnTo>
                  <a:lnTo>
                    <a:pt x="385" y="910"/>
                  </a:lnTo>
                  <a:lnTo>
                    <a:pt x="385" y="910"/>
                  </a:lnTo>
                  <a:lnTo>
                    <a:pt x="385" y="908"/>
                  </a:lnTo>
                  <a:lnTo>
                    <a:pt x="385" y="908"/>
                  </a:lnTo>
                  <a:lnTo>
                    <a:pt x="385" y="908"/>
                  </a:lnTo>
                  <a:lnTo>
                    <a:pt x="383" y="908"/>
                  </a:lnTo>
                  <a:lnTo>
                    <a:pt x="383" y="908"/>
                  </a:lnTo>
                  <a:lnTo>
                    <a:pt x="383" y="908"/>
                  </a:lnTo>
                  <a:lnTo>
                    <a:pt x="383" y="908"/>
                  </a:lnTo>
                  <a:lnTo>
                    <a:pt x="383" y="908"/>
                  </a:lnTo>
                  <a:lnTo>
                    <a:pt x="383" y="908"/>
                  </a:lnTo>
                  <a:lnTo>
                    <a:pt x="381" y="908"/>
                  </a:lnTo>
                  <a:lnTo>
                    <a:pt x="381" y="908"/>
                  </a:lnTo>
                  <a:lnTo>
                    <a:pt x="379" y="906"/>
                  </a:lnTo>
                  <a:lnTo>
                    <a:pt x="379" y="906"/>
                  </a:lnTo>
                  <a:lnTo>
                    <a:pt x="379" y="906"/>
                  </a:lnTo>
                  <a:lnTo>
                    <a:pt x="379" y="906"/>
                  </a:lnTo>
                  <a:lnTo>
                    <a:pt x="379" y="906"/>
                  </a:lnTo>
                  <a:lnTo>
                    <a:pt x="379" y="906"/>
                  </a:lnTo>
                  <a:lnTo>
                    <a:pt x="379" y="906"/>
                  </a:lnTo>
                  <a:lnTo>
                    <a:pt x="379" y="906"/>
                  </a:lnTo>
                  <a:lnTo>
                    <a:pt x="379" y="906"/>
                  </a:lnTo>
                  <a:lnTo>
                    <a:pt x="379" y="908"/>
                  </a:lnTo>
                  <a:lnTo>
                    <a:pt x="379" y="908"/>
                  </a:lnTo>
                  <a:lnTo>
                    <a:pt x="379" y="908"/>
                  </a:lnTo>
                  <a:lnTo>
                    <a:pt x="379" y="908"/>
                  </a:lnTo>
                  <a:lnTo>
                    <a:pt x="379" y="908"/>
                  </a:lnTo>
                  <a:lnTo>
                    <a:pt x="381" y="908"/>
                  </a:lnTo>
                  <a:lnTo>
                    <a:pt x="381" y="908"/>
                  </a:lnTo>
                  <a:lnTo>
                    <a:pt x="381" y="910"/>
                  </a:lnTo>
                  <a:lnTo>
                    <a:pt x="381" y="910"/>
                  </a:lnTo>
                  <a:lnTo>
                    <a:pt x="381" y="910"/>
                  </a:lnTo>
                  <a:lnTo>
                    <a:pt x="381" y="910"/>
                  </a:lnTo>
                  <a:lnTo>
                    <a:pt x="381" y="910"/>
                  </a:lnTo>
                  <a:lnTo>
                    <a:pt x="383" y="912"/>
                  </a:lnTo>
                  <a:lnTo>
                    <a:pt x="383" y="912"/>
                  </a:lnTo>
                  <a:lnTo>
                    <a:pt x="387" y="914"/>
                  </a:lnTo>
                  <a:lnTo>
                    <a:pt x="387" y="912"/>
                  </a:lnTo>
                  <a:lnTo>
                    <a:pt x="389" y="912"/>
                  </a:lnTo>
                  <a:lnTo>
                    <a:pt x="389" y="912"/>
                  </a:lnTo>
                  <a:lnTo>
                    <a:pt x="389" y="914"/>
                  </a:lnTo>
                  <a:lnTo>
                    <a:pt x="389" y="914"/>
                  </a:lnTo>
                  <a:lnTo>
                    <a:pt x="391" y="914"/>
                  </a:lnTo>
                  <a:lnTo>
                    <a:pt x="391" y="914"/>
                  </a:lnTo>
                  <a:lnTo>
                    <a:pt x="391" y="916"/>
                  </a:lnTo>
                  <a:lnTo>
                    <a:pt x="391" y="916"/>
                  </a:lnTo>
                  <a:lnTo>
                    <a:pt x="391" y="916"/>
                  </a:lnTo>
                  <a:lnTo>
                    <a:pt x="393" y="916"/>
                  </a:lnTo>
                  <a:lnTo>
                    <a:pt x="393" y="916"/>
                  </a:lnTo>
                  <a:lnTo>
                    <a:pt x="393" y="916"/>
                  </a:lnTo>
                  <a:lnTo>
                    <a:pt x="393" y="916"/>
                  </a:lnTo>
                  <a:lnTo>
                    <a:pt x="393" y="916"/>
                  </a:lnTo>
                  <a:lnTo>
                    <a:pt x="393" y="916"/>
                  </a:lnTo>
                  <a:lnTo>
                    <a:pt x="395" y="916"/>
                  </a:lnTo>
                  <a:lnTo>
                    <a:pt x="395" y="916"/>
                  </a:lnTo>
                  <a:lnTo>
                    <a:pt x="395" y="916"/>
                  </a:lnTo>
                  <a:lnTo>
                    <a:pt x="397" y="916"/>
                  </a:lnTo>
                  <a:lnTo>
                    <a:pt x="397" y="916"/>
                  </a:lnTo>
                  <a:lnTo>
                    <a:pt x="399" y="916"/>
                  </a:lnTo>
                  <a:lnTo>
                    <a:pt x="401" y="916"/>
                  </a:lnTo>
                  <a:lnTo>
                    <a:pt x="401" y="916"/>
                  </a:lnTo>
                  <a:lnTo>
                    <a:pt x="401" y="916"/>
                  </a:lnTo>
                  <a:lnTo>
                    <a:pt x="401" y="916"/>
                  </a:lnTo>
                  <a:lnTo>
                    <a:pt x="401" y="916"/>
                  </a:lnTo>
                  <a:lnTo>
                    <a:pt x="404" y="916"/>
                  </a:lnTo>
                  <a:lnTo>
                    <a:pt x="404" y="916"/>
                  </a:lnTo>
                  <a:lnTo>
                    <a:pt x="404" y="918"/>
                  </a:lnTo>
                  <a:lnTo>
                    <a:pt x="404" y="918"/>
                  </a:lnTo>
                  <a:lnTo>
                    <a:pt x="406" y="918"/>
                  </a:lnTo>
                  <a:lnTo>
                    <a:pt x="408" y="918"/>
                  </a:lnTo>
                  <a:lnTo>
                    <a:pt x="408" y="918"/>
                  </a:lnTo>
                  <a:lnTo>
                    <a:pt x="410" y="918"/>
                  </a:lnTo>
                  <a:lnTo>
                    <a:pt x="410" y="918"/>
                  </a:lnTo>
                  <a:lnTo>
                    <a:pt x="412" y="918"/>
                  </a:lnTo>
                  <a:lnTo>
                    <a:pt x="412" y="918"/>
                  </a:lnTo>
                  <a:lnTo>
                    <a:pt x="408" y="916"/>
                  </a:lnTo>
                  <a:lnTo>
                    <a:pt x="408" y="916"/>
                  </a:lnTo>
                  <a:close/>
                  <a:moveTo>
                    <a:pt x="377" y="904"/>
                  </a:moveTo>
                  <a:lnTo>
                    <a:pt x="375" y="904"/>
                  </a:lnTo>
                  <a:lnTo>
                    <a:pt x="375" y="902"/>
                  </a:lnTo>
                  <a:lnTo>
                    <a:pt x="375" y="902"/>
                  </a:lnTo>
                  <a:lnTo>
                    <a:pt x="375" y="900"/>
                  </a:lnTo>
                  <a:lnTo>
                    <a:pt x="377" y="900"/>
                  </a:lnTo>
                  <a:lnTo>
                    <a:pt x="379" y="902"/>
                  </a:lnTo>
                  <a:lnTo>
                    <a:pt x="381" y="900"/>
                  </a:lnTo>
                  <a:lnTo>
                    <a:pt x="381" y="900"/>
                  </a:lnTo>
                  <a:lnTo>
                    <a:pt x="381" y="900"/>
                  </a:lnTo>
                  <a:lnTo>
                    <a:pt x="381" y="900"/>
                  </a:lnTo>
                  <a:lnTo>
                    <a:pt x="381" y="900"/>
                  </a:lnTo>
                  <a:lnTo>
                    <a:pt x="381" y="900"/>
                  </a:lnTo>
                  <a:lnTo>
                    <a:pt x="381" y="900"/>
                  </a:lnTo>
                  <a:lnTo>
                    <a:pt x="383" y="900"/>
                  </a:lnTo>
                  <a:lnTo>
                    <a:pt x="383" y="898"/>
                  </a:lnTo>
                  <a:lnTo>
                    <a:pt x="383" y="898"/>
                  </a:lnTo>
                  <a:lnTo>
                    <a:pt x="383" y="898"/>
                  </a:lnTo>
                  <a:lnTo>
                    <a:pt x="383" y="896"/>
                  </a:lnTo>
                  <a:lnTo>
                    <a:pt x="383" y="896"/>
                  </a:lnTo>
                  <a:lnTo>
                    <a:pt x="383" y="896"/>
                  </a:lnTo>
                  <a:lnTo>
                    <a:pt x="381" y="894"/>
                  </a:lnTo>
                  <a:lnTo>
                    <a:pt x="381" y="894"/>
                  </a:lnTo>
                  <a:lnTo>
                    <a:pt x="381" y="891"/>
                  </a:lnTo>
                  <a:lnTo>
                    <a:pt x="381" y="894"/>
                  </a:lnTo>
                  <a:lnTo>
                    <a:pt x="381" y="891"/>
                  </a:lnTo>
                  <a:lnTo>
                    <a:pt x="379" y="891"/>
                  </a:lnTo>
                  <a:lnTo>
                    <a:pt x="379" y="891"/>
                  </a:lnTo>
                  <a:lnTo>
                    <a:pt x="379" y="891"/>
                  </a:lnTo>
                  <a:lnTo>
                    <a:pt x="377" y="891"/>
                  </a:lnTo>
                  <a:lnTo>
                    <a:pt x="375" y="891"/>
                  </a:lnTo>
                  <a:lnTo>
                    <a:pt x="375" y="891"/>
                  </a:lnTo>
                  <a:lnTo>
                    <a:pt x="375" y="891"/>
                  </a:lnTo>
                  <a:lnTo>
                    <a:pt x="375" y="891"/>
                  </a:lnTo>
                  <a:lnTo>
                    <a:pt x="373" y="891"/>
                  </a:lnTo>
                  <a:lnTo>
                    <a:pt x="373" y="891"/>
                  </a:lnTo>
                  <a:lnTo>
                    <a:pt x="373" y="891"/>
                  </a:lnTo>
                  <a:lnTo>
                    <a:pt x="373" y="894"/>
                  </a:lnTo>
                  <a:lnTo>
                    <a:pt x="371" y="894"/>
                  </a:lnTo>
                  <a:lnTo>
                    <a:pt x="369" y="894"/>
                  </a:lnTo>
                  <a:lnTo>
                    <a:pt x="369" y="894"/>
                  </a:lnTo>
                  <a:lnTo>
                    <a:pt x="369" y="894"/>
                  </a:lnTo>
                  <a:lnTo>
                    <a:pt x="371" y="896"/>
                  </a:lnTo>
                  <a:lnTo>
                    <a:pt x="371" y="896"/>
                  </a:lnTo>
                  <a:lnTo>
                    <a:pt x="371" y="896"/>
                  </a:lnTo>
                  <a:lnTo>
                    <a:pt x="373" y="894"/>
                  </a:lnTo>
                  <a:lnTo>
                    <a:pt x="373" y="894"/>
                  </a:lnTo>
                  <a:lnTo>
                    <a:pt x="373" y="896"/>
                  </a:lnTo>
                  <a:lnTo>
                    <a:pt x="373" y="896"/>
                  </a:lnTo>
                  <a:lnTo>
                    <a:pt x="373" y="896"/>
                  </a:lnTo>
                  <a:lnTo>
                    <a:pt x="373" y="896"/>
                  </a:lnTo>
                  <a:lnTo>
                    <a:pt x="373" y="898"/>
                  </a:lnTo>
                  <a:lnTo>
                    <a:pt x="375" y="898"/>
                  </a:lnTo>
                  <a:lnTo>
                    <a:pt x="375" y="898"/>
                  </a:lnTo>
                  <a:lnTo>
                    <a:pt x="375" y="898"/>
                  </a:lnTo>
                  <a:lnTo>
                    <a:pt x="375" y="900"/>
                  </a:lnTo>
                  <a:lnTo>
                    <a:pt x="373" y="898"/>
                  </a:lnTo>
                  <a:lnTo>
                    <a:pt x="373" y="900"/>
                  </a:lnTo>
                  <a:lnTo>
                    <a:pt x="373" y="900"/>
                  </a:lnTo>
                  <a:lnTo>
                    <a:pt x="373" y="900"/>
                  </a:lnTo>
                  <a:lnTo>
                    <a:pt x="373" y="900"/>
                  </a:lnTo>
                  <a:lnTo>
                    <a:pt x="373" y="900"/>
                  </a:lnTo>
                  <a:lnTo>
                    <a:pt x="371" y="900"/>
                  </a:lnTo>
                  <a:lnTo>
                    <a:pt x="371" y="900"/>
                  </a:lnTo>
                  <a:lnTo>
                    <a:pt x="371" y="900"/>
                  </a:lnTo>
                  <a:lnTo>
                    <a:pt x="371" y="900"/>
                  </a:lnTo>
                  <a:lnTo>
                    <a:pt x="369" y="900"/>
                  </a:lnTo>
                  <a:lnTo>
                    <a:pt x="367" y="898"/>
                  </a:lnTo>
                  <a:lnTo>
                    <a:pt x="367" y="898"/>
                  </a:lnTo>
                  <a:lnTo>
                    <a:pt x="369" y="900"/>
                  </a:lnTo>
                  <a:lnTo>
                    <a:pt x="369" y="900"/>
                  </a:lnTo>
                  <a:lnTo>
                    <a:pt x="369" y="900"/>
                  </a:lnTo>
                  <a:lnTo>
                    <a:pt x="369" y="900"/>
                  </a:lnTo>
                  <a:lnTo>
                    <a:pt x="367" y="900"/>
                  </a:lnTo>
                  <a:lnTo>
                    <a:pt x="367" y="900"/>
                  </a:lnTo>
                  <a:lnTo>
                    <a:pt x="363" y="900"/>
                  </a:lnTo>
                  <a:lnTo>
                    <a:pt x="365" y="900"/>
                  </a:lnTo>
                  <a:lnTo>
                    <a:pt x="365" y="900"/>
                  </a:lnTo>
                  <a:lnTo>
                    <a:pt x="365" y="900"/>
                  </a:lnTo>
                  <a:lnTo>
                    <a:pt x="363" y="900"/>
                  </a:lnTo>
                  <a:lnTo>
                    <a:pt x="365" y="900"/>
                  </a:lnTo>
                  <a:lnTo>
                    <a:pt x="365" y="900"/>
                  </a:lnTo>
                  <a:lnTo>
                    <a:pt x="365" y="900"/>
                  </a:lnTo>
                  <a:lnTo>
                    <a:pt x="365" y="902"/>
                  </a:lnTo>
                  <a:lnTo>
                    <a:pt x="365" y="902"/>
                  </a:lnTo>
                  <a:lnTo>
                    <a:pt x="363" y="902"/>
                  </a:lnTo>
                  <a:lnTo>
                    <a:pt x="363" y="900"/>
                  </a:lnTo>
                  <a:lnTo>
                    <a:pt x="363" y="902"/>
                  </a:lnTo>
                  <a:lnTo>
                    <a:pt x="360" y="902"/>
                  </a:lnTo>
                  <a:lnTo>
                    <a:pt x="360" y="902"/>
                  </a:lnTo>
                  <a:lnTo>
                    <a:pt x="363" y="902"/>
                  </a:lnTo>
                  <a:lnTo>
                    <a:pt x="360" y="902"/>
                  </a:lnTo>
                  <a:lnTo>
                    <a:pt x="360" y="902"/>
                  </a:lnTo>
                  <a:lnTo>
                    <a:pt x="358" y="902"/>
                  </a:lnTo>
                  <a:lnTo>
                    <a:pt x="358" y="900"/>
                  </a:lnTo>
                  <a:lnTo>
                    <a:pt x="356" y="900"/>
                  </a:lnTo>
                  <a:lnTo>
                    <a:pt x="356" y="900"/>
                  </a:lnTo>
                  <a:lnTo>
                    <a:pt x="356" y="902"/>
                  </a:lnTo>
                  <a:lnTo>
                    <a:pt x="354" y="902"/>
                  </a:lnTo>
                  <a:lnTo>
                    <a:pt x="354" y="902"/>
                  </a:lnTo>
                  <a:lnTo>
                    <a:pt x="354" y="900"/>
                  </a:lnTo>
                  <a:lnTo>
                    <a:pt x="354" y="900"/>
                  </a:lnTo>
                  <a:lnTo>
                    <a:pt x="354" y="900"/>
                  </a:lnTo>
                  <a:lnTo>
                    <a:pt x="352" y="900"/>
                  </a:lnTo>
                  <a:lnTo>
                    <a:pt x="352" y="900"/>
                  </a:lnTo>
                  <a:lnTo>
                    <a:pt x="352" y="900"/>
                  </a:lnTo>
                  <a:lnTo>
                    <a:pt x="352" y="898"/>
                  </a:lnTo>
                  <a:lnTo>
                    <a:pt x="352" y="900"/>
                  </a:lnTo>
                  <a:lnTo>
                    <a:pt x="350" y="900"/>
                  </a:lnTo>
                  <a:lnTo>
                    <a:pt x="350" y="900"/>
                  </a:lnTo>
                  <a:lnTo>
                    <a:pt x="350" y="900"/>
                  </a:lnTo>
                  <a:lnTo>
                    <a:pt x="350" y="900"/>
                  </a:lnTo>
                  <a:lnTo>
                    <a:pt x="348" y="900"/>
                  </a:lnTo>
                  <a:lnTo>
                    <a:pt x="348" y="900"/>
                  </a:lnTo>
                  <a:lnTo>
                    <a:pt x="348" y="900"/>
                  </a:lnTo>
                  <a:lnTo>
                    <a:pt x="348" y="900"/>
                  </a:lnTo>
                  <a:lnTo>
                    <a:pt x="348" y="900"/>
                  </a:lnTo>
                  <a:lnTo>
                    <a:pt x="348" y="900"/>
                  </a:lnTo>
                  <a:lnTo>
                    <a:pt x="348" y="900"/>
                  </a:lnTo>
                  <a:lnTo>
                    <a:pt x="348" y="900"/>
                  </a:lnTo>
                  <a:lnTo>
                    <a:pt x="348" y="900"/>
                  </a:lnTo>
                  <a:lnTo>
                    <a:pt x="348" y="900"/>
                  </a:lnTo>
                  <a:lnTo>
                    <a:pt x="348" y="900"/>
                  </a:lnTo>
                  <a:lnTo>
                    <a:pt x="348" y="902"/>
                  </a:lnTo>
                  <a:lnTo>
                    <a:pt x="346" y="902"/>
                  </a:lnTo>
                  <a:lnTo>
                    <a:pt x="346" y="902"/>
                  </a:lnTo>
                  <a:lnTo>
                    <a:pt x="346" y="902"/>
                  </a:lnTo>
                  <a:lnTo>
                    <a:pt x="346" y="900"/>
                  </a:lnTo>
                  <a:lnTo>
                    <a:pt x="346" y="900"/>
                  </a:lnTo>
                  <a:lnTo>
                    <a:pt x="344" y="900"/>
                  </a:lnTo>
                  <a:lnTo>
                    <a:pt x="344" y="900"/>
                  </a:lnTo>
                  <a:lnTo>
                    <a:pt x="344" y="900"/>
                  </a:lnTo>
                  <a:lnTo>
                    <a:pt x="344" y="900"/>
                  </a:lnTo>
                  <a:lnTo>
                    <a:pt x="344" y="900"/>
                  </a:lnTo>
                  <a:lnTo>
                    <a:pt x="344" y="900"/>
                  </a:lnTo>
                  <a:lnTo>
                    <a:pt x="342" y="900"/>
                  </a:lnTo>
                  <a:lnTo>
                    <a:pt x="342" y="900"/>
                  </a:lnTo>
                  <a:lnTo>
                    <a:pt x="338" y="900"/>
                  </a:lnTo>
                  <a:lnTo>
                    <a:pt x="338" y="900"/>
                  </a:lnTo>
                  <a:lnTo>
                    <a:pt x="338" y="900"/>
                  </a:lnTo>
                  <a:lnTo>
                    <a:pt x="346" y="902"/>
                  </a:lnTo>
                  <a:lnTo>
                    <a:pt x="348" y="902"/>
                  </a:lnTo>
                  <a:lnTo>
                    <a:pt x="348" y="902"/>
                  </a:lnTo>
                  <a:lnTo>
                    <a:pt x="348" y="902"/>
                  </a:lnTo>
                  <a:lnTo>
                    <a:pt x="350" y="902"/>
                  </a:lnTo>
                  <a:lnTo>
                    <a:pt x="350" y="902"/>
                  </a:lnTo>
                  <a:lnTo>
                    <a:pt x="350" y="902"/>
                  </a:lnTo>
                  <a:lnTo>
                    <a:pt x="352" y="902"/>
                  </a:lnTo>
                  <a:lnTo>
                    <a:pt x="354" y="904"/>
                  </a:lnTo>
                  <a:lnTo>
                    <a:pt x="354" y="904"/>
                  </a:lnTo>
                  <a:lnTo>
                    <a:pt x="354" y="906"/>
                  </a:lnTo>
                  <a:lnTo>
                    <a:pt x="356" y="906"/>
                  </a:lnTo>
                  <a:lnTo>
                    <a:pt x="356" y="906"/>
                  </a:lnTo>
                  <a:lnTo>
                    <a:pt x="356" y="904"/>
                  </a:lnTo>
                  <a:lnTo>
                    <a:pt x="356" y="904"/>
                  </a:lnTo>
                  <a:lnTo>
                    <a:pt x="356" y="904"/>
                  </a:lnTo>
                  <a:lnTo>
                    <a:pt x="356" y="904"/>
                  </a:lnTo>
                  <a:lnTo>
                    <a:pt x="356" y="904"/>
                  </a:lnTo>
                  <a:lnTo>
                    <a:pt x="356" y="904"/>
                  </a:lnTo>
                  <a:lnTo>
                    <a:pt x="358" y="906"/>
                  </a:lnTo>
                  <a:lnTo>
                    <a:pt x="358" y="906"/>
                  </a:lnTo>
                  <a:lnTo>
                    <a:pt x="358" y="906"/>
                  </a:lnTo>
                  <a:lnTo>
                    <a:pt x="360" y="906"/>
                  </a:lnTo>
                  <a:lnTo>
                    <a:pt x="360" y="906"/>
                  </a:lnTo>
                  <a:lnTo>
                    <a:pt x="360" y="906"/>
                  </a:lnTo>
                  <a:lnTo>
                    <a:pt x="363" y="906"/>
                  </a:lnTo>
                  <a:lnTo>
                    <a:pt x="363" y="906"/>
                  </a:lnTo>
                  <a:lnTo>
                    <a:pt x="363" y="906"/>
                  </a:lnTo>
                  <a:lnTo>
                    <a:pt x="363" y="906"/>
                  </a:lnTo>
                  <a:lnTo>
                    <a:pt x="363" y="906"/>
                  </a:lnTo>
                  <a:lnTo>
                    <a:pt x="363" y="906"/>
                  </a:lnTo>
                  <a:lnTo>
                    <a:pt x="363" y="904"/>
                  </a:lnTo>
                  <a:lnTo>
                    <a:pt x="363" y="906"/>
                  </a:lnTo>
                  <a:lnTo>
                    <a:pt x="363" y="906"/>
                  </a:lnTo>
                  <a:lnTo>
                    <a:pt x="363" y="906"/>
                  </a:lnTo>
                  <a:lnTo>
                    <a:pt x="363" y="906"/>
                  </a:lnTo>
                  <a:lnTo>
                    <a:pt x="363" y="904"/>
                  </a:lnTo>
                  <a:lnTo>
                    <a:pt x="363" y="904"/>
                  </a:lnTo>
                  <a:lnTo>
                    <a:pt x="363" y="904"/>
                  </a:lnTo>
                  <a:lnTo>
                    <a:pt x="365" y="904"/>
                  </a:lnTo>
                  <a:lnTo>
                    <a:pt x="365" y="906"/>
                  </a:lnTo>
                  <a:lnTo>
                    <a:pt x="365" y="904"/>
                  </a:lnTo>
                  <a:lnTo>
                    <a:pt x="365" y="906"/>
                  </a:lnTo>
                  <a:lnTo>
                    <a:pt x="365" y="906"/>
                  </a:lnTo>
                  <a:lnTo>
                    <a:pt x="365" y="906"/>
                  </a:lnTo>
                  <a:lnTo>
                    <a:pt x="367" y="908"/>
                  </a:lnTo>
                  <a:lnTo>
                    <a:pt x="367" y="906"/>
                  </a:lnTo>
                  <a:lnTo>
                    <a:pt x="367" y="904"/>
                  </a:lnTo>
                  <a:lnTo>
                    <a:pt x="369" y="904"/>
                  </a:lnTo>
                  <a:lnTo>
                    <a:pt x="369" y="904"/>
                  </a:lnTo>
                  <a:lnTo>
                    <a:pt x="367" y="904"/>
                  </a:lnTo>
                  <a:lnTo>
                    <a:pt x="367" y="904"/>
                  </a:lnTo>
                  <a:lnTo>
                    <a:pt x="367" y="904"/>
                  </a:lnTo>
                  <a:lnTo>
                    <a:pt x="367" y="904"/>
                  </a:lnTo>
                  <a:lnTo>
                    <a:pt x="367" y="904"/>
                  </a:lnTo>
                  <a:lnTo>
                    <a:pt x="369" y="904"/>
                  </a:lnTo>
                  <a:lnTo>
                    <a:pt x="369" y="904"/>
                  </a:lnTo>
                  <a:lnTo>
                    <a:pt x="369" y="904"/>
                  </a:lnTo>
                  <a:lnTo>
                    <a:pt x="371" y="904"/>
                  </a:lnTo>
                  <a:lnTo>
                    <a:pt x="371" y="904"/>
                  </a:lnTo>
                  <a:lnTo>
                    <a:pt x="371" y="904"/>
                  </a:lnTo>
                  <a:lnTo>
                    <a:pt x="371" y="906"/>
                  </a:lnTo>
                  <a:lnTo>
                    <a:pt x="371" y="906"/>
                  </a:lnTo>
                  <a:lnTo>
                    <a:pt x="373" y="906"/>
                  </a:lnTo>
                  <a:lnTo>
                    <a:pt x="373" y="906"/>
                  </a:lnTo>
                  <a:lnTo>
                    <a:pt x="373" y="906"/>
                  </a:lnTo>
                  <a:lnTo>
                    <a:pt x="373" y="906"/>
                  </a:lnTo>
                  <a:lnTo>
                    <a:pt x="373" y="906"/>
                  </a:lnTo>
                  <a:lnTo>
                    <a:pt x="373" y="904"/>
                  </a:lnTo>
                  <a:lnTo>
                    <a:pt x="373" y="906"/>
                  </a:lnTo>
                  <a:lnTo>
                    <a:pt x="375" y="906"/>
                  </a:lnTo>
                  <a:lnTo>
                    <a:pt x="375" y="906"/>
                  </a:lnTo>
                  <a:lnTo>
                    <a:pt x="375" y="906"/>
                  </a:lnTo>
                  <a:lnTo>
                    <a:pt x="375" y="906"/>
                  </a:lnTo>
                  <a:lnTo>
                    <a:pt x="375" y="906"/>
                  </a:lnTo>
                  <a:lnTo>
                    <a:pt x="375" y="906"/>
                  </a:lnTo>
                  <a:lnTo>
                    <a:pt x="377" y="906"/>
                  </a:lnTo>
                  <a:lnTo>
                    <a:pt x="377" y="906"/>
                  </a:lnTo>
                  <a:lnTo>
                    <a:pt x="377" y="906"/>
                  </a:lnTo>
                  <a:lnTo>
                    <a:pt x="377" y="906"/>
                  </a:lnTo>
                  <a:lnTo>
                    <a:pt x="377" y="904"/>
                  </a:lnTo>
                  <a:close/>
                  <a:moveTo>
                    <a:pt x="717" y="262"/>
                  </a:moveTo>
                  <a:lnTo>
                    <a:pt x="719" y="262"/>
                  </a:lnTo>
                  <a:lnTo>
                    <a:pt x="719" y="262"/>
                  </a:lnTo>
                  <a:lnTo>
                    <a:pt x="719" y="262"/>
                  </a:lnTo>
                  <a:lnTo>
                    <a:pt x="719" y="262"/>
                  </a:lnTo>
                  <a:lnTo>
                    <a:pt x="719" y="262"/>
                  </a:lnTo>
                  <a:lnTo>
                    <a:pt x="721" y="262"/>
                  </a:lnTo>
                  <a:lnTo>
                    <a:pt x="721" y="262"/>
                  </a:lnTo>
                  <a:lnTo>
                    <a:pt x="721" y="260"/>
                  </a:lnTo>
                  <a:lnTo>
                    <a:pt x="719" y="262"/>
                  </a:lnTo>
                  <a:lnTo>
                    <a:pt x="719" y="262"/>
                  </a:lnTo>
                  <a:lnTo>
                    <a:pt x="719" y="262"/>
                  </a:lnTo>
                  <a:lnTo>
                    <a:pt x="717" y="262"/>
                  </a:lnTo>
                  <a:lnTo>
                    <a:pt x="717" y="262"/>
                  </a:lnTo>
                  <a:close/>
                  <a:moveTo>
                    <a:pt x="1638" y="687"/>
                  </a:moveTo>
                  <a:lnTo>
                    <a:pt x="1638" y="687"/>
                  </a:lnTo>
                  <a:lnTo>
                    <a:pt x="1638" y="687"/>
                  </a:lnTo>
                  <a:lnTo>
                    <a:pt x="1638" y="684"/>
                  </a:lnTo>
                  <a:lnTo>
                    <a:pt x="1636" y="682"/>
                  </a:lnTo>
                  <a:lnTo>
                    <a:pt x="1634" y="680"/>
                  </a:lnTo>
                  <a:lnTo>
                    <a:pt x="1634" y="680"/>
                  </a:lnTo>
                  <a:lnTo>
                    <a:pt x="1634" y="680"/>
                  </a:lnTo>
                  <a:lnTo>
                    <a:pt x="1632" y="678"/>
                  </a:lnTo>
                  <a:lnTo>
                    <a:pt x="1632" y="680"/>
                  </a:lnTo>
                  <a:lnTo>
                    <a:pt x="1632" y="680"/>
                  </a:lnTo>
                  <a:lnTo>
                    <a:pt x="1632" y="680"/>
                  </a:lnTo>
                  <a:lnTo>
                    <a:pt x="1630" y="680"/>
                  </a:lnTo>
                  <a:lnTo>
                    <a:pt x="1630" y="680"/>
                  </a:lnTo>
                  <a:lnTo>
                    <a:pt x="1628" y="680"/>
                  </a:lnTo>
                  <a:lnTo>
                    <a:pt x="1628" y="678"/>
                  </a:lnTo>
                  <a:lnTo>
                    <a:pt x="1626" y="678"/>
                  </a:lnTo>
                  <a:lnTo>
                    <a:pt x="1626" y="676"/>
                  </a:lnTo>
                  <a:lnTo>
                    <a:pt x="1626" y="676"/>
                  </a:lnTo>
                  <a:lnTo>
                    <a:pt x="1624" y="676"/>
                  </a:lnTo>
                  <a:lnTo>
                    <a:pt x="1622" y="676"/>
                  </a:lnTo>
                  <a:lnTo>
                    <a:pt x="1622" y="676"/>
                  </a:lnTo>
                  <a:lnTo>
                    <a:pt x="1622" y="676"/>
                  </a:lnTo>
                  <a:lnTo>
                    <a:pt x="1624" y="678"/>
                  </a:lnTo>
                  <a:lnTo>
                    <a:pt x="1624" y="678"/>
                  </a:lnTo>
                  <a:lnTo>
                    <a:pt x="1624" y="678"/>
                  </a:lnTo>
                  <a:lnTo>
                    <a:pt x="1624" y="680"/>
                  </a:lnTo>
                  <a:lnTo>
                    <a:pt x="1624" y="680"/>
                  </a:lnTo>
                  <a:lnTo>
                    <a:pt x="1624" y="680"/>
                  </a:lnTo>
                  <a:lnTo>
                    <a:pt x="1624" y="680"/>
                  </a:lnTo>
                  <a:lnTo>
                    <a:pt x="1624" y="682"/>
                  </a:lnTo>
                  <a:lnTo>
                    <a:pt x="1624" y="682"/>
                  </a:lnTo>
                  <a:lnTo>
                    <a:pt x="1626" y="682"/>
                  </a:lnTo>
                  <a:lnTo>
                    <a:pt x="1626" y="682"/>
                  </a:lnTo>
                  <a:lnTo>
                    <a:pt x="1626" y="687"/>
                  </a:lnTo>
                  <a:lnTo>
                    <a:pt x="1626" y="687"/>
                  </a:lnTo>
                  <a:lnTo>
                    <a:pt x="1628" y="689"/>
                  </a:lnTo>
                  <a:lnTo>
                    <a:pt x="1630" y="689"/>
                  </a:lnTo>
                  <a:lnTo>
                    <a:pt x="1630" y="689"/>
                  </a:lnTo>
                  <a:lnTo>
                    <a:pt x="1632" y="689"/>
                  </a:lnTo>
                  <a:lnTo>
                    <a:pt x="1632" y="689"/>
                  </a:lnTo>
                  <a:lnTo>
                    <a:pt x="1634" y="691"/>
                  </a:lnTo>
                  <a:lnTo>
                    <a:pt x="1634" y="691"/>
                  </a:lnTo>
                  <a:lnTo>
                    <a:pt x="1634" y="691"/>
                  </a:lnTo>
                  <a:lnTo>
                    <a:pt x="1634" y="689"/>
                  </a:lnTo>
                  <a:lnTo>
                    <a:pt x="1634" y="689"/>
                  </a:lnTo>
                  <a:lnTo>
                    <a:pt x="1636" y="691"/>
                  </a:lnTo>
                  <a:lnTo>
                    <a:pt x="1636" y="691"/>
                  </a:lnTo>
                  <a:lnTo>
                    <a:pt x="1636" y="691"/>
                  </a:lnTo>
                  <a:lnTo>
                    <a:pt x="1636" y="691"/>
                  </a:lnTo>
                  <a:lnTo>
                    <a:pt x="1638" y="691"/>
                  </a:lnTo>
                  <a:lnTo>
                    <a:pt x="1638" y="691"/>
                  </a:lnTo>
                  <a:lnTo>
                    <a:pt x="1638" y="689"/>
                  </a:lnTo>
                  <a:lnTo>
                    <a:pt x="1638" y="687"/>
                  </a:lnTo>
                  <a:lnTo>
                    <a:pt x="1638" y="687"/>
                  </a:lnTo>
                  <a:lnTo>
                    <a:pt x="1638" y="687"/>
                  </a:lnTo>
                  <a:close/>
                  <a:moveTo>
                    <a:pt x="1049" y="584"/>
                  </a:moveTo>
                  <a:lnTo>
                    <a:pt x="1049" y="584"/>
                  </a:lnTo>
                  <a:lnTo>
                    <a:pt x="1049" y="584"/>
                  </a:lnTo>
                  <a:lnTo>
                    <a:pt x="1049" y="584"/>
                  </a:lnTo>
                  <a:lnTo>
                    <a:pt x="1049" y="584"/>
                  </a:lnTo>
                  <a:lnTo>
                    <a:pt x="1047" y="584"/>
                  </a:lnTo>
                  <a:lnTo>
                    <a:pt x="1049" y="584"/>
                  </a:lnTo>
                  <a:lnTo>
                    <a:pt x="1049" y="584"/>
                  </a:lnTo>
                  <a:lnTo>
                    <a:pt x="1049" y="586"/>
                  </a:lnTo>
                  <a:lnTo>
                    <a:pt x="1049" y="586"/>
                  </a:lnTo>
                  <a:lnTo>
                    <a:pt x="1051" y="586"/>
                  </a:lnTo>
                  <a:lnTo>
                    <a:pt x="1049" y="586"/>
                  </a:lnTo>
                  <a:lnTo>
                    <a:pt x="1049" y="584"/>
                  </a:lnTo>
                  <a:lnTo>
                    <a:pt x="1049" y="584"/>
                  </a:lnTo>
                  <a:close/>
                  <a:moveTo>
                    <a:pt x="1026" y="623"/>
                  </a:moveTo>
                  <a:lnTo>
                    <a:pt x="1026" y="625"/>
                  </a:lnTo>
                  <a:lnTo>
                    <a:pt x="1026" y="625"/>
                  </a:lnTo>
                  <a:lnTo>
                    <a:pt x="1026" y="625"/>
                  </a:lnTo>
                  <a:lnTo>
                    <a:pt x="1024" y="625"/>
                  </a:lnTo>
                  <a:lnTo>
                    <a:pt x="1024" y="625"/>
                  </a:lnTo>
                  <a:lnTo>
                    <a:pt x="1024" y="625"/>
                  </a:lnTo>
                  <a:lnTo>
                    <a:pt x="1024" y="627"/>
                  </a:lnTo>
                  <a:lnTo>
                    <a:pt x="1024" y="627"/>
                  </a:lnTo>
                  <a:lnTo>
                    <a:pt x="1024" y="627"/>
                  </a:lnTo>
                  <a:lnTo>
                    <a:pt x="1024" y="627"/>
                  </a:lnTo>
                  <a:lnTo>
                    <a:pt x="1024" y="627"/>
                  </a:lnTo>
                  <a:lnTo>
                    <a:pt x="1026" y="629"/>
                  </a:lnTo>
                  <a:lnTo>
                    <a:pt x="1028" y="627"/>
                  </a:lnTo>
                  <a:lnTo>
                    <a:pt x="1028" y="627"/>
                  </a:lnTo>
                  <a:lnTo>
                    <a:pt x="1030" y="627"/>
                  </a:lnTo>
                  <a:lnTo>
                    <a:pt x="1030" y="625"/>
                  </a:lnTo>
                  <a:lnTo>
                    <a:pt x="1028" y="623"/>
                  </a:lnTo>
                  <a:lnTo>
                    <a:pt x="1026" y="623"/>
                  </a:lnTo>
                  <a:close/>
                  <a:moveTo>
                    <a:pt x="1706" y="709"/>
                  </a:moveTo>
                  <a:lnTo>
                    <a:pt x="1706" y="709"/>
                  </a:lnTo>
                  <a:lnTo>
                    <a:pt x="1706" y="709"/>
                  </a:lnTo>
                  <a:lnTo>
                    <a:pt x="1704" y="705"/>
                  </a:lnTo>
                  <a:lnTo>
                    <a:pt x="1704" y="705"/>
                  </a:lnTo>
                  <a:lnTo>
                    <a:pt x="1704" y="705"/>
                  </a:lnTo>
                  <a:lnTo>
                    <a:pt x="1702" y="703"/>
                  </a:lnTo>
                  <a:lnTo>
                    <a:pt x="1702" y="703"/>
                  </a:lnTo>
                  <a:lnTo>
                    <a:pt x="1702" y="703"/>
                  </a:lnTo>
                  <a:lnTo>
                    <a:pt x="1700" y="701"/>
                  </a:lnTo>
                  <a:lnTo>
                    <a:pt x="1700" y="699"/>
                  </a:lnTo>
                  <a:lnTo>
                    <a:pt x="1700" y="699"/>
                  </a:lnTo>
                  <a:lnTo>
                    <a:pt x="1698" y="699"/>
                  </a:lnTo>
                  <a:lnTo>
                    <a:pt x="1698" y="697"/>
                  </a:lnTo>
                  <a:lnTo>
                    <a:pt x="1698" y="697"/>
                  </a:lnTo>
                  <a:lnTo>
                    <a:pt x="1698" y="695"/>
                  </a:lnTo>
                  <a:lnTo>
                    <a:pt x="1698" y="695"/>
                  </a:lnTo>
                  <a:lnTo>
                    <a:pt x="1698" y="693"/>
                  </a:lnTo>
                  <a:lnTo>
                    <a:pt x="1696" y="693"/>
                  </a:lnTo>
                  <a:lnTo>
                    <a:pt x="1696" y="693"/>
                  </a:lnTo>
                  <a:lnTo>
                    <a:pt x="1696" y="693"/>
                  </a:lnTo>
                  <a:lnTo>
                    <a:pt x="1696" y="691"/>
                  </a:lnTo>
                  <a:lnTo>
                    <a:pt x="1696" y="691"/>
                  </a:lnTo>
                  <a:lnTo>
                    <a:pt x="1696" y="691"/>
                  </a:lnTo>
                  <a:lnTo>
                    <a:pt x="1696" y="691"/>
                  </a:lnTo>
                  <a:lnTo>
                    <a:pt x="1696" y="691"/>
                  </a:lnTo>
                  <a:lnTo>
                    <a:pt x="1696" y="691"/>
                  </a:lnTo>
                  <a:lnTo>
                    <a:pt x="1696" y="689"/>
                  </a:lnTo>
                  <a:lnTo>
                    <a:pt x="1696" y="689"/>
                  </a:lnTo>
                  <a:lnTo>
                    <a:pt x="1696" y="687"/>
                  </a:lnTo>
                  <a:lnTo>
                    <a:pt x="1696" y="684"/>
                  </a:lnTo>
                  <a:lnTo>
                    <a:pt x="1696" y="682"/>
                  </a:lnTo>
                  <a:lnTo>
                    <a:pt x="1696" y="682"/>
                  </a:lnTo>
                  <a:lnTo>
                    <a:pt x="1696" y="680"/>
                  </a:lnTo>
                  <a:lnTo>
                    <a:pt x="1696" y="678"/>
                  </a:lnTo>
                  <a:lnTo>
                    <a:pt x="1694" y="676"/>
                  </a:lnTo>
                  <a:lnTo>
                    <a:pt x="1694" y="676"/>
                  </a:lnTo>
                  <a:lnTo>
                    <a:pt x="1694" y="674"/>
                  </a:lnTo>
                  <a:lnTo>
                    <a:pt x="1692" y="674"/>
                  </a:lnTo>
                  <a:lnTo>
                    <a:pt x="1692" y="672"/>
                  </a:lnTo>
                  <a:lnTo>
                    <a:pt x="1690" y="672"/>
                  </a:lnTo>
                  <a:lnTo>
                    <a:pt x="1688" y="674"/>
                  </a:lnTo>
                  <a:lnTo>
                    <a:pt x="1688" y="674"/>
                  </a:lnTo>
                  <a:lnTo>
                    <a:pt x="1686" y="674"/>
                  </a:lnTo>
                  <a:lnTo>
                    <a:pt x="1681" y="674"/>
                  </a:lnTo>
                  <a:lnTo>
                    <a:pt x="1681" y="674"/>
                  </a:lnTo>
                  <a:lnTo>
                    <a:pt x="1681" y="674"/>
                  </a:lnTo>
                  <a:lnTo>
                    <a:pt x="1679" y="672"/>
                  </a:lnTo>
                  <a:lnTo>
                    <a:pt x="1677" y="670"/>
                  </a:lnTo>
                  <a:lnTo>
                    <a:pt x="1677" y="670"/>
                  </a:lnTo>
                  <a:lnTo>
                    <a:pt x="1675" y="670"/>
                  </a:lnTo>
                  <a:lnTo>
                    <a:pt x="1673" y="670"/>
                  </a:lnTo>
                  <a:lnTo>
                    <a:pt x="1669" y="668"/>
                  </a:lnTo>
                  <a:lnTo>
                    <a:pt x="1665" y="668"/>
                  </a:lnTo>
                  <a:lnTo>
                    <a:pt x="1661" y="668"/>
                  </a:lnTo>
                  <a:lnTo>
                    <a:pt x="1659" y="668"/>
                  </a:lnTo>
                  <a:lnTo>
                    <a:pt x="1655" y="666"/>
                  </a:lnTo>
                  <a:lnTo>
                    <a:pt x="1651" y="666"/>
                  </a:lnTo>
                  <a:lnTo>
                    <a:pt x="1645" y="664"/>
                  </a:lnTo>
                  <a:lnTo>
                    <a:pt x="1643" y="664"/>
                  </a:lnTo>
                  <a:lnTo>
                    <a:pt x="1643" y="664"/>
                  </a:lnTo>
                  <a:lnTo>
                    <a:pt x="1643" y="664"/>
                  </a:lnTo>
                  <a:lnTo>
                    <a:pt x="1638" y="664"/>
                  </a:lnTo>
                  <a:lnTo>
                    <a:pt x="1636" y="666"/>
                  </a:lnTo>
                  <a:lnTo>
                    <a:pt x="1634" y="666"/>
                  </a:lnTo>
                  <a:lnTo>
                    <a:pt x="1634" y="666"/>
                  </a:lnTo>
                  <a:lnTo>
                    <a:pt x="1634" y="664"/>
                  </a:lnTo>
                  <a:lnTo>
                    <a:pt x="1634" y="662"/>
                  </a:lnTo>
                  <a:lnTo>
                    <a:pt x="1634" y="662"/>
                  </a:lnTo>
                  <a:lnTo>
                    <a:pt x="1632" y="660"/>
                  </a:lnTo>
                  <a:lnTo>
                    <a:pt x="1632" y="660"/>
                  </a:lnTo>
                  <a:lnTo>
                    <a:pt x="1630" y="660"/>
                  </a:lnTo>
                  <a:lnTo>
                    <a:pt x="1630" y="658"/>
                  </a:lnTo>
                  <a:lnTo>
                    <a:pt x="1630" y="658"/>
                  </a:lnTo>
                  <a:lnTo>
                    <a:pt x="1630" y="658"/>
                  </a:lnTo>
                  <a:lnTo>
                    <a:pt x="1630" y="656"/>
                  </a:lnTo>
                  <a:lnTo>
                    <a:pt x="1630" y="656"/>
                  </a:lnTo>
                  <a:lnTo>
                    <a:pt x="1624" y="656"/>
                  </a:lnTo>
                  <a:lnTo>
                    <a:pt x="1622" y="646"/>
                  </a:lnTo>
                  <a:lnTo>
                    <a:pt x="1618" y="646"/>
                  </a:lnTo>
                  <a:lnTo>
                    <a:pt x="1614" y="646"/>
                  </a:lnTo>
                  <a:lnTo>
                    <a:pt x="1614" y="643"/>
                  </a:lnTo>
                  <a:lnTo>
                    <a:pt x="1614" y="639"/>
                  </a:lnTo>
                  <a:lnTo>
                    <a:pt x="1612" y="635"/>
                  </a:lnTo>
                  <a:lnTo>
                    <a:pt x="1608" y="633"/>
                  </a:lnTo>
                  <a:lnTo>
                    <a:pt x="1604" y="631"/>
                  </a:lnTo>
                  <a:lnTo>
                    <a:pt x="1602" y="627"/>
                  </a:lnTo>
                  <a:lnTo>
                    <a:pt x="1598" y="625"/>
                  </a:lnTo>
                  <a:lnTo>
                    <a:pt x="1593" y="621"/>
                  </a:lnTo>
                  <a:lnTo>
                    <a:pt x="1589" y="615"/>
                  </a:lnTo>
                  <a:lnTo>
                    <a:pt x="1585" y="613"/>
                  </a:lnTo>
                  <a:lnTo>
                    <a:pt x="1579" y="607"/>
                  </a:lnTo>
                  <a:lnTo>
                    <a:pt x="1573" y="600"/>
                  </a:lnTo>
                  <a:lnTo>
                    <a:pt x="1567" y="594"/>
                  </a:lnTo>
                  <a:lnTo>
                    <a:pt x="1563" y="592"/>
                  </a:lnTo>
                  <a:lnTo>
                    <a:pt x="1565" y="588"/>
                  </a:lnTo>
                  <a:lnTo>
                    <a:pt x="1552" y="582"/>
                  </a:lnTo>
                  <a:lnTo>
                    <a:pt x="1546" y="578"/>
                  </a:lnTo>
                  <a:lnTo>
                    <a:pt x="1534" y="574"/>
                  </a:lnTo>
                  <a:lnTo>
                    <a:pt x="1532" y="572"/>
                  </a:lnTo>
                  <a:lnTo>
                    <a:pt x="1532" y="570"/>
                  </a:lnTo>
                  <a:lnTo>
                    <a:pt x="1530" y="570"/>
                  </a:lnTo>
                  <a:lnTo>
                    <a:pt x="1528" y="566"/>
                  </a:lnTo>
                  <a:lnTo>
                    <a:pt x="1524" y="564"/>
                  </a:lnTo>
                  <a:lnTo>
                    <a:pt x="1522" y="564"/>
                  </a:lnTo>
                  <a:lnTo>
                    <a:pt x="1518" y="562"/>
                  </a:lnTo>
                  <a:lnTo>
                    <a:pt x="1518" y="559"/>
                  </a:lnTo>
                  <a:lnTo>
                    <a:pt x="1509" y="559"/>
                  </a:lnTo>
                  <a:lnTo>
                    <a:pt x="1507" y="555"/>
                  </a:lnTo>
                  <a:lnTo>
                    <a:pt x="1507" y="553"/>
                  </a:lnTo>
                  <a:lnTo>
                    <a:pt x="1505" y="553"/>
                  </a:lnTo>
                  <a:lnTo>
                    <a:pt x="1505" y="551"/>
                  </a:lnTo>
                  <a:lnTo>
                    <a:pt x="1505" y="549"/>
                  </a:lnTo>
                  <a:lnTo>
                    <a:pt x="1503" y="545"/>
                  </a:lnTo>
                  <a:lnTo>
                    <a:pt x="1501" y="543"/>
                  </a:lnTo>
                  <a:lnTo>
                    <a:pt x="1499" y="543"/>
                  </a:lnTo>
                  <a:lnTo>
                    <a:pt x="1497" y="541"/>
                  </a:lnTo>
                  <a:lnTo>
                    <a:pt x="1497" y="539"/>
                  </a:lnTo>
                  <a:lnTo>
                    <a:pt x="1493" y="539"/>
                  </a:lnTo>
                  <a:lnTo>
                    <a:pt x="1489" y="537"/>
                  </a:lnTo>
                  <a:lnTo>
                    <a:pt x="1479" y="547"/>
                  </a:lnTo>
                  <a:lnTo>
                    <a:pt x="1475" y="549"/>
                  </a:lnTo>
                  <a:lnTo>
                    <a:pt x="1473" y="551"/>
                  </a:lnTo>
                  <a:lnTo>
                    <a:pt x="1471" y="553"/>
                  </a:lnTo>
                  <a:lnTo>
                    <a:pt x="1475" y="553"/>
                  </a:lnTo>
                  <a:lnTo>
                    <a:pt x="1475" y="555"/>
                  </a:lnTo>
                  <a:lnTo>
                    <a:pt x="1475" y="559"/>
                  </a:lnTo>
                  <a:lnTo>
                    <a:pt x="1471" y="562"/>
                  </a:lnTo>
                  <a:lnTo>
                    <a:pt x="1468" y="559"/>
                  </a:lnTo>
                  <a:lnTo>
                    <a:pt x="1473" y="570"/>
                  </a:lnTo>
                  <a:lnTo>
                    <a:pt x="1471" y="576"/>
                  </a:lnTo>
                  <a:lnTo>
                    <a:pt x="1464" y="578"/>
                  </a:lnTo>
                  <a:lnTo>
                    <a:pt x="1454" y="590"/>
                  </a:lnTo>
                  <a:lnTo>
                    <a:pt x="1452" y="594"/>
                  </a:lnTo>
                  <a:lnTo>
                    <a:pt x="1450" y="596"/>
                  </a:lnTo>
                  <a:lnTo>
                    <a:pt x="1450" y="590"/>
                  </a:lnTo>
                  <a:lnTo>
                    <a:pt x="1444" y="580"/>
                  </a:lnTo>
                  <a:lnTo>
                    <a:pt x="1430" y="570"/>
                  </a:lnTo>
                  <a:lnTo>
                    <a:pt x="1411" y="559"/>
                  </a:lnTo>
                  <a:lnTo>
                    <a:pt x="1409" y="557"/>
                  </a:lnTo>
                  <a:lnTo>
                    <a:pt x="1407" y="551"/>
                  </a:lnTo>
                  <a:lnTo>
                    <a:pt x="1397" y="549"/>
                  </a:lnTo>
                  <a:lnTo>
                    <a:pt x="1393" y="545"/>
                  </a:lnTo>
                  <a:lnTo>
                    <a:pt x="1393" y="533"/>
                  </a:lnTo>
                  <a:lnTo>
                    <a:pt x="1393" y="531"/>
                  </a:lnTo>
                  <a:lnTo>
                    <a:pt x="1376" y="535"/>
                  </a:lnTo>
                  <a:lnTo>
                    <a:pt x="1372" y="545"/>
                  </a:lnTo>
                  <a:lnTo>
                    <a:pt x="1358" y="541"/>
                  </a:lnTo>
                  <a:lnTo>
                    <a:pt x="1358" y="545"/>
                  </a:lnTo>
                  <a:lnTo>
                    <a:pt x="1344" y="543"/>
                  </a:lnTo>
                  <a:lnTo>
                    <a:pt x="1344" y="537"/>
                  </a:lnTo>
                  <a:lnTo>
                    <a:pt x="1342" y="529"/>
                  </a:lnTo>
                  <a:lnTo>
                    <a:pt x="1339" y="521"/>
                  </a:lnTo>
                  <a:lnTo>
                    <a:pt x="1337" y="514"/>
                  </a:lnTo>
                  <a:lnTo>
                    <a:pt x="1337" y="506"/>
                  </a:lnTo>
                  <a:lnTo>
                    <a:pt x="1335" y="498"/>
                  </a:lnTo>
                  <a:lnTo>
                    <a:pt x="1333" y="492"/>
                  </a:lnTo>
                  <a:lnTo>
                    <a:pt x="1333" y="484"/>
                  </a:lnTo>
                  <a:lnTo>
                    <a:pt x="1331" y="475"/>
                  </a:lnTo>
                  <a:lnTo>
                    <a:pt x="1327" y="461"/>
                  </a:lnTo>
                  <a:lnTo>
                    <a:pt x="1327" y="455"/>
                  </a:lnTo>
                  <a:lnTo>
                    <a:pt x="1325" y="447"/>
                  </a:lnTo>
                  <a:lnTo>
                    <a:pt x="1323" y="439"/>
                  </a:lnTo>
                  <a:lnTo>
                    <a:pt x="1321" y="432"/>
                  </a:lnTo>
                  <a:lnTo>
                    <a:pt x="1321" y="424"/>
                  </a:lnTo>
                  <a:lnTo>
                    <a:pt x="1319" y="416"/>
                  </a:lnTo>
                  <a:lnTo>
                    <a:pt x="1317" y="410"/>
                  </a:lnTo>
                  <a:lnTo>
                    <a:pt x="1317" y="402"/>
                  </a:lnTo>
                  <a:lnTo>
                    <a:pt x="1315" y="393"/>
                  </a:lnTo>
                  <a:lnTo>
                    <a:pt x="1313" y="387"/>
                  </a:lnTo>
                  <a:lnTo>
                    <a:pt x="1311" y="379"/>
                  </a:lnTo>
                  <a:lnTo>
                    <a:pt x="1311" y="371"/>
                  </a:lnTo>
                  <a:lnTo>
                    <a:pt x="1309" y="365"/>
                  </a:lnTo>
                  <a:lnTo>
                    <a:pt x="1307" y="357"/>
                  </a:lnTo>
                  <a:lnTo>
                    <a:pt x="1307" y="350"/>
                  </a:lnTo>
                  <a:lnTo>
                    <a:pt x="1305" y="342"/>
                  </a:lnTo>
                  <a:lnTo>
                    <a:pt x="1303" y="334"/>
                  </a:lnTo>
                  <a:lnTo>
                    <a:pt x="1301" y="328"/>
                  </a:lnTo>
                  <a:lnTo>
                    <a:pt x="1301" y="320"/>
                  </a:lnTo>
                  <a:lnTo>
                    <a:pt x="1294" y="289"/>
                  </a:lnTo>
                  <a:lnTo>
                    <a:pt x="1292" y="283"/>
                  </a:lnTo>
                  <a:lnTo>
                    <a:pt x="1290" y="268"/>
                  </a:lnTo>
                  <a:lnTo>
                    <a:pt x="1288" y="260"/>
                  </a:lnTo>
                  <a:lnTo>
                    <a:pt x="1284" y="246"/>
                  </a:lnTo>
                  <a:lnTo>
                    <a:pt x="1284" y="238"/>
                  </a:lnTo>
                  <a:lnTo>
                    <a:pt x="1282" y="230"/>
                  </a:lnTo>
                  <a:lnTo>
                    <a:pt x="1280" y="223"/>
                  </a:lnTo>
                  <a:lnTo>
                    <a:pt x="1280" y="215"/>
                  </a:lnTo>
                  <a:lnTo>
                    <a:pt x="1276" y="201"/>
                  </a:lnTo>
                  <a:lnTo>
                    <a:pt x="1274" y="193"/>
                  </a:lnTo>
                  <a:lnTo>
                    <a:pt x="1274" y="186"/>
                  </a:lnTo>
                  <a:lnTo>
                    <a:pt x="1272" y="178"/>
                  </a:lnTo>
                  <a:lnTo>
                    <a:pt x="1270" y="164"/>
                  </a:lnTo>
                  <a:lnTo>
                    <a:pt x="1268" y="156"/>
                  </a:lnTo>
                  <a:lnTo>
                    <a:pt x="1266" y="150"/>
                  </a:lnTo>
                  <a:lnTo>
                    <a:pt x="1264" y="133"/>
                  </a:lnTo>
                  <a:lnTo>
                    <a:pt x="1260" y="119"/>
                  </a:lnTo>
                  <a:lnTo>
                    <a:pt x="1260" y="113"/>
                  </a:lnTo>
                  <a:lnTo>
                    <a:pt x="1258" y="105"/>
                  </a:lnTo>
                  <a:lnTo>
                    <a:pt x="1256" y="98"/>
                  </a:lnTo>
                  <a:lnTo>
                    <a:pt x="1253" y="90"/>
                  </a:lnTo>
                  <a:lnTo>
                    <a:pt x="1253" y="82"/>
                  </a:lnTo>
                  <a:lnTo>
                    <a:pt x="1251" y="76"/>
                  </a:lnTo>
                  <a:lnTo>
                    <a:pt x="1249" y="68"/>
                  </a:lnTo>
                  <a:lnTo>
                    <a:pt x="1249" y="68"/>
                  </a:lnTo>
                  <a:lnTo>
                    <a:pt x="1243" y="68"/>
                  </a:lnTo>
                  <a:lnTo>
                    <a:pt x="1243" y="68"/>
                  </a:lnTo>
                  <a:lnTo>
                    <a:pt x="1245" y="68"/>
                  </a:lnTo>
                  <a:lnTo>
                    <a:pt x="1245" y="68"/>
                  </a:lnTo>
                  <a:lnTo>
                    <a:pt x="1245" y="68"/>
                  </a:lnTo>
                  <a:lnTo>
                    <a:pt x="1245" y="68"/>
                  </a:lnTo>
                  <a:lnTo>
                    <a:pt x="1245" y="68"/>
                  </a:lnTo>
                  <a:lnTo>
                    <a:pt x="1245" y="70"/>
                  </a:lnTo>
                  <a:lnTo>
                    <a:pt x="1245" y="70"/>
                  </a:lnTo>
                  <a:lnTo>
                    <a:pt x="1243" y="70"/>
                  </a:lnTo>
                  <a:lnTo>
                    <a:pt x="1241" y="70"/>
                  </a:lnTo>
                  <a:lnTo>
                    <a:pt x="1241" y="68"/>
                  </a:lnTo>
                  <a:lnTo>
                    <a:pt x="1241" y="68"/>
                  </a:lnTo>
                  <a:lnTo>
                    <a:pt x="1239" y="66"/>
                  </a:lnTo>
                  <a:lnTo>
                    <a:pt x="1239" y="66"/>
                  </a:lnTo>
                  <a:lnTo>
                    <a:pt x="1237" y="66"/>
                  </a:lnTo>
                  <a:lnTo>
                    <a:pt x="1233" y="64"/>
                  </a:lnTo>
                  <a:lnTo>
                    <a:pt x="1233" y="64"/>
                  </a:lnTo>
                  <a:lnTo>
                    <a:pt x="1231" y="64"/>
                  </a:lnTo>
                  <a:lnTo>
                    <a:pt x="1231" y="64"/>
                  </a:lnTo>
                  <a:lnTo>
                    <a:pt x="1231" y="64"/>
                  </a:lnTo>
                  <a:lnTo>
                    <a:pt x="1231" y="64"/>
                  </a:lnTo>
                  <a:lnTo>
                    <a:pt x="1231" y="64"/>
                  </a:lnTo>
                  <a:lnTo>
                    <a:pt x="1229" y="64"/>
                  </a:lnTo>
                  <a:lnTo>
                    <a:pt x="1229" y="61"/>
                  </a:lnTo>
                  <a:lnTo>
                    <a:pt x="1229" y="61"/>
                  </a:lnTo>
                  <a:lnTo>
                    <a:pt x="1225" y="61"/>
                  </a:lnTo>
                  <a:lnTo>
                    <a:pt x="1225" y="61"/>
                  </a:lnTo>
                  <a:lnTo>
                    <a:pt x="1225" y="61"/>
                  </a:lnTo>
                  <a:lnTo>
                    <a:pt x="1225" y="61"/>
                  </a:lnTo>
                  <a:lnTo>
                    <a:pt x="1223" y="61"/>
                  </a:lnTo>
                  <a:lnTo>
                    <a:pt x="1223" y="59"/>
                  </a:lnTo>
                  <a:lnTo>
                    <a:pt x="1223" y="59"/>
                  </a:lnTo>
                  <a:lnTo>
                    <a:pt x="1223" y="59"/>
                  </a:lnTo>
                  <a:lnTo>
                    <a:pt x="1223" y="59"/>
                  </a:lnTo>
                  <a:lnTo>
                    <a:pt x="1223" y="59"/>
                  </a:lnTo>
                  <a:lnTo>
                    <a:pt x="1223" y="59"/>
                  </a:lnTo>
                  <a:lnTo>
                    <a:pt x="1223" y="59"/>
                  </a:lnTo>
                  <a:lnTo>
                    <a:pt x="1223" y="59"/>
                  </a:lnTo>
                  <a:lnTo>
                    <a:pt x="1223" y="59"/>
                  </a:lnTo>
                  <a:lnTo>
                    <a:pt x="1223" y="59"/>
                  </a:lnTo>
                  <a:lnTo>
                    <a:pt x="1223" y="59"/>
                  </a:lnTo>
                  <a:lnTo>
                    <a:pt x="1221" y="57"/>
                  </a:lnTo>
                  <a:lnTo>
                    <a:pt x="1221" y="57"/>
                  </a:lnTo>
                  <a:lnTo>
                    <a:pt x="1221" y="57"/>
                  </a:lnTo>
                  <a:lnTo>
                    <a:pt x="1221" y="57"/>
                  </a:lnTo>
                  <a:lnTo>
                    <a:pt x="1221" y="57"/>
                  </a:lnTo>
                  <a:lnTo>
                    <a:pt x="1221" y="57"/>
                  </a:lnTo>
                  <a:lnTo>
                    <a:pt x="1221" y="57"/>
                  </a:lnTo>
                  <a:lnTo>
                    <a:pt x="1219" y="57"/>
                  </a:lnTo>
                  <a:lnTo>
                    <a:pt x="1219" y="55"/>
                  </a:lnTo>
                  <a:lnTo>
                    <a:pt x="1219" y="57"/>
                  </a:lnTo>
                  <a:lnTo>
                    <a:pt x="1219" y="57"/>
                  </a:lnTo>
                  <a:lnTo>
                    <a:pt x="1219" y="57"/>
                  </a:lnTo>
                  <a:lnTo>
                    <a:pt x="1219" y="57"/>
                  </a:lnTo>
                  <a:lnTo>
                    <a:pt x="1219" y="57"/>
                  </a:lnTo>
                  <a:lnTo>
                    <a:pt x="1219" y="55"/>
                  </a:lnTo>
                  <a:lnTo>
                    <a:pt x="1219" y="55"/>
                  </a:lnTo>
                  <a:lnTo>
                    <a:pt x="1217" y="55"/>
                  </a:lnTo>
                  <a:lnTo>
                    <a:pt x="1212" y="53"/>
                  </a:lnTo>
                  <a:lnTo>
                    <a:pt x="1210" y="53"/>
                  </a:lnTo>
                  <a:lnTo>
                    <a:pt x="1212" y="53"/>
                  </a:lnTo>
                  <a:lnTo>
                    <a:pt x="1210" y="53"/>
                  </a:lnTo>
                  <a:lnTo>
                    <a:pt x="1210" y="53"/>
                  </a:lnTo>
                  <a:lnTo>
                    <a:pt x="1210" y="53"/>
                  </a:lnTo>
                  <a:lnTo>
                    <a:pt x="1210" y="53"/>
                  </a:lnTo>
                  <a:lnTo>
                    <a:pt x="1210" y="53"/>
                  </a:lnTo>
                  <a:lnTo>
                    <a:pt x="1210" y="53"/>
                  </a:lnTo>
                  <a:lnTo>
                    <a:pt x="1210" y="53"/>
                  </a:lnTo>
                  <a:lnTo>
                    <a:pt x="1208" y="53"/>
                  </a:lnTo>
                  <a:lnTo>
                    <a:pt x="1208" y="53"/>
                  </a:lnTo>
                  <a:lnTo>
                    <a:pt x="1208" y="53"/>
                  </a:lnTo>
                  <a:lnTo>
                    <a:pt x="1206" y="53"/>
                  </a:lnTo>
                  <a:lnTo>
                    <a:pt x="1206" y="51"/>
                  </a:lnTo>
                  <a:lnTo>
                    <a:pt x="1206" y="51"/>
                  </a:lnTo>
                  <a:lnTo>
                    <a:pt x="1204" y="51"/>
                  </a:lnTo>
                  <a:lnTo>
                    <a:pt x="1204" y="51"/>
                  </a:lnTo>
                  <a:lnTo>
                    <a:pt x="1204" y="53"/>
                  </a:lnTo>
                  <a:lnTo>
                    <a:pt x="1204" y="53"/>
                  </a:lnTo>
                  <a:lnTo>
                    <a:pt x="1204" y="55"/>
                  </a:lnTo>
                  <a:lnTo>
                    <a:pt x="1206" y="55"/>
                  </a:lnTo>
                  <a:lnTo>
                    <a:pt x="1204" y="55"/>
                  </a:lnTo>
                  <a:lnTo>
                    <a:pt x="1204" y="55"/>
                  </a:lnTo>
                  <a:lnTo>
                    <a:pt x="1204" y="53"/>
                  </a:lnTo>
                  <a:lnTo>
                    <a:pt x="1204" y="53"/>
                  </a:lnTo>
                  <a:lnTo>
                    <a:pt x="1204" y="53"/>
                  </a:lnTo>
                  <a:lnTo>
                    <a:pt x="1200" y="53"/>
                  </a:lnTo>
                  <a:lnTo>
                    <a:pt x="1200" y="53"/>
                  </a:lnTo>
                  <a:lnTo>
                    <a:pt x="1200" y="53"/>
                  </a:lnTo>
                  <a:lnTo>
                    <a:pt x="1200" y="51"/>
                  </a:lnTo>
                  <a:lnTo>
                    <a:pt x="1200" y="53"/>
                  </a:lnTo>
                  <a:lnTo>
                    <a:pt x="1200" y="53"/>
                  </a:lnTo>
                  <a:lnTo>
                    <a:pt x="1200" y="53"/>
                  </a:lnTo>
                  <a:lnTo>
                    <a:pt x="1200" y="53"/>
                  </a:lnTo>
                  <a:lnTo>
                    <a:pt x="1200" y="53"/>
                  </a:lnTo>
                  <a:lnTo>
                    <a:pt x="1198" y="55"/>
                  </a:lnTo>
                  <a:lnTo>
                    <a:pt x="1198" y="53"/>
                  </a:lnTo>
                  <a:lnTo>
                    <a:pt x="1196" y="53"/>
                  </a:lnTo>
                  <a:lnTo>
                    <a:pt x="1196" y="53"/>
                  </a:lnTo>
                  <a:lnTo>
                    <a:pt x="1196" y="55"/>
                  </a:lnTo>
                  <a:lnTo>
                    <a:pt x="1194" y="55"/>
                  </a:lnTo>
                  <a:lnTo>
                    <a:pt x="1194" y="55"/>
                  </a:lnTo>
                  <a:lnTo>
                    <a:pt x="1194" y="55"/>
                  </a:lnTo>
                  <a:lnTo>
                    <a:pt x="1194" y="55"/>
                  </a:lnTo>
                  <a:lnTo>
                    <a:pt x="1194" y="55"/>
                  </a:lnTo>
                  <a:lnTo>
                    <a:pt x="1194" y="55"/>
                  </a:lnTo>
                  <a:lnTo>
                    <a:pt x="1194" y="55"/>
                  </a:lnTo>
                  <a:lnTo>
                    <a:pt x="1194" y="55"/>
                  </a:lnTo>
                  <a:lnTo>
                    <a:pt x="1192" y="55"/>
                  </a:lnTo>
                  <a:lnTo>
                    <a:pt x="1192" y="55"/>
                  </a:lnTo>
                  <a:lnTo>
                    <a:pt x="1192" y="55"/>
                  </a:lnTo>
                  <a:lnTo>
                    <a:pt x="1192" y="55"/>
                  </a:lnTo>
                  <a:lnTo>
                    <a:pt x="1192" y="55"/>
                  </a:lnTo>
                  <a:lnTo>
                    <a:pt x="1192" y="55"/>
                  </a:lnTo>
                  <a:lnTo>
                    <a:pt x="1192" y="57"/>
                  </a:lnTo>
                  <a:lnTo>
                    <a:pt x="1192" y="57"/>
                  </a:lnTo>
                  <a:lnTo>
                    <a:pt x="1192" y="59"/>
                  </a:lnTo>
                  <a:lnTo>
                    <a:pt x="1192" y="59"/>
                  </a:lnTo>
                  <a:lnTo>
                    <a:pt x="1192" y="61"/>
                  </a:lnTo>
                  <a:lnTo>
                    <a:pt x="1192" y="59"/>
                  </a:lnTo>
                  <a:lnTo>
                    <a:pt x="1192" y="59"/>
                  </a:lnTo>
                  <a:lnTo>
                    <a:pt x="1192" y="59"/>
                  </a:lnTo>
                  <a:lnTo>
                    <a:pt x="1192" y="59"/>
                  </a:lnTo>
                  <a:lnTo>
                    <a:pt x="1192" y="59"/>
                  </a:lnTo>
                  <a:lnTo>
                    <a:pt x="1192" y="57"/>
                  </a:lnTo>
                  <a:lnTo>
                    <a:pt x="1192" y="57"/>
                  </a:lnTo>
                  <a:lnTo>
                    <a:pt x="1192" y="57"/>
                  </a:lnTo>
                  <a:lnTo>
                    <a:pt x="1190" y="57"/>
                  </a:lnTo>
                  <a:lnTo>
                    <a:pt x="1190" y="57"/>
                  </a:lnTo>
                  <a:lnTo>
                    <a:pt x="1190" y="57"/>
                  </a:lnTo>
                  <a:lnTo>
                    <a:pt x="1190" y="57"/>
                  </a:lnTo>
                  <a:lnTo>
                    <a:pt x="1190" y="57"/>
                  </a:lnTo>
                  <a:lnTo>
                    <a:pt x="1186" y="59"/>
                  </a:lnTo>
                  <a:lnTo>
                    <a:pt x="1184" y="59"/>
                  </a:lnTo>
                  <a:lnTo>
                    <a:pt x="1184" y="61"/>
                  </a:lnTo>
                  <a:lnTo>
                    <a:pt x="1182" y="61"/>
                  </a:lnTo>
                  <a:lnTo>
                    <a:pt x="1180" y="64"/>
                  </a:lnTo>
                  <a:lnTo>
                    <a:pt x="1178" y="64"/>
                  </a:lnTo>
                  <a:lnTo>
                    <a:pt x="1178" y="61"/>
                  </a:lnTo>
                  <a:lnTo>
                    <a:pt x="1178" y="61"/>
                  </a:lnTo>
                  <a:lnTo>
                    <a:pt x="1176" y="64"/>
                  </a:lnTo>
                  <a:lnTo>
                    <a:pt x="1172" y="64"/>
                  </a:lnTo>
                  <a:lnTo>
                    <a:pt x="1169" y="64"/>
                  </a:lnTo>
                  <a:lnTo>
                    <a:pt x="1169" y="64"/>
                  </a:lnTo>
                  <a:lnTo>
                    <a:pt x="1172" y="61"/>
                  </a:lnTo>
                  <a:lnTo>
                    <a:pt x="1172" y="61"/>
                  </a:lnTo>
                  <a:lnTo>
                    <a:pt x="1172" y="61"/>
                  </a:lnTo>
                  <a:lnTo>
                    <a:pt x="1169" y="61"/>
                  </a:lnTo>
                  <a:lnTo>
                    <a:pt x="1167" y="61"/>
                  </a:lnTo>
                  <a:lnTo>
                    <a:pt x="1167" y="61"/>
                  </a:lnTo>
                  <a:lnTo>
                    <a:pt x="1167" y="61"/>
                  </a:lnTo>
                  <a:lnTo>
                    <a:pt x="1165" y="61"/>
                  </a:lnTo>
                  <a:lnTo>
                    <a:pt x="1165" y="59"/>
                  </a:lnTo>
                  <a:lnTo>
                    <a:pt x="1165" y="59"/>
                  </a:lnTo>
                  <a:lnTo>
                    <a:pt x="1165" y="59"/>
                  </a:lnTo>
                  <a:lnTo>
                    <a:pt x="1165" y="59"/>
                  </a:lnTo>
                  <a:lnTo>
                    <a:pt x="1163" y="59"/>
                  </a:lnTo>
                  <a:lnTo>
                    <a:pt x="1163" y="59"/>
                  </a:lnTo>
                  <a:lnTo>
                    <a:pt x="1163" y="59"/>
                  </a:lnTo>
                  <a:lnTo>
                    <a:pt x="1163" y="59"/>
                  </a:lnTo>
                  <a:lnTo>
                    <a:pt x="1163" y="59"/>
                  </a:lnTo>
                  <a:lnTo>
                    <a:pt x="1163" y="59"/>
                  </a:lnTo>
                  <a:lnTo>
                    <a:pt x="1163" y="59"/>
                  </a:lnTo>
                  <a:lnTo>
                    <a:pt x="1161" y="57"/>
                  </a:lnTo>
                  <a:lnTo>
                    <a:pt x="1161" y="57"/>
                  </a:lnTo>
                  <a:lnTo>
                    <a:pt x="1159" y="55"/>
                  </a:lnTo>
                  <a:lnTo>
                    <a:pt x="1157" y="55"/>
                  </a:lnTo>
                  <a:lnTo>
                    <a:pt x="1159" y="57"/>
                  </a:lnTo>
                  <a:lnTo>
                    <a:pt x="1157" y="57"/>
                  </a:lnTo>
                  <a:lnTo>
                    <a:pt x="1157" y="55"/>
                  </a:lnTo>
                  <a:lnTo>
                    <a:pt x="1157" y="55"/>
                  </a:lnTo>
                  <a:lnTo>
                    <a:pt x="1157" y="57"/>
                  </a:lnTo>
                  <a:lnTo>
                    <a:pt x="1157" y="57"/>
                  </a:lnTo>
                  <a:lnTo>
                    <a:pt x="1155" y="57"/>
                  </a:lnTo>
                  <a:lnTo>
                    <a:pt x="1151" y="55"/>
                  </a:lnTo>
                  <a:lnTo>
                    <a:pt x="1149" y="55"/>
                  </a:lnTo>
                  <a:lnTo>
                    <a:pt x="1143" y="57"/>
                  </a:lnTo>
                  <a:lnTo>
                    <a:pt x="1141" y="57"/>
                  </a:lnTo>
                  <a:lnTo>
                    <a:pt x="1141" y="57"/>
                  </a:lnTo>
                  <a:lnTo>
                    <a:pt x="1141" y="57"/>
                  </a:lnTo>
                  <a:lnTo>
                    <a:pt x="1137" y="59"/>
                  </a:lnTo>
                  <a:lnTo>
                    <a:pt x="1135" y="57"/>
                  </a:lnTo>
                  <a:lnTo>
                    <a:pt x="1135" y="57"/>
                  </a:lnTo>
                  <a:lnTo>
                    <a:pt x="1135" y="57"/>
                  </a:lnTo>
                  <a:lnTo>
                    <a:pt x="1135" y="57"/>
                  </a:lnTo>
                  <a:lnTo>
                    <a:pt x="1135" y="57"/>
                  </a:lnTo>
                  <a:lnTo>
                    <a:pt x="1135" y="57"/>
                  </a:lnTo>
                  <a:lnTo>
                    <a:pt x="1135" y="57"/>
                  </a:lnTo>
                  <a:lnTo>
                    <a:pt x="1131" y="57"/>
                  </a:lnTo>
                  <a:lnTo>
                    <a:pt x="1126" y="57"/>
                  </a:lnTo>
                  <a:lnTo>
                    <a:pt x="1124" y="57"/>
                  </a:lnTo>
                  <a:lnTo>
                    <a:pt x="1122" y="55"/>
                  </a:lnTo>
                  <a:lnTo>
                    <a:pt x="1124" y="55"/>
                  </a:lnTo>
                  <a:lnTo>
                    <a:pt x="1124" y="55"/>
                  </a:lnTo>
                  <a:lnTo>
                    <a:pt x="1124" y="55"/>
                  </a:lnTo>
                  <a:lnTo>
                    <a:pt x="1124" y="55"/>
                  </a:lnTo>
                  <a:lnTo>
                    <a:pt x="1122" y="55"/>
                  </a:lnTo>
                  <a:lnTo>
                    <a:pt x="1122" y="55"/>
                  </a:lnTo>
                  <a:lnTo>
                    <a:pt x="1122" y="55"/>
                  </a:lnTo>
                  <a:lnTo>
                    <a:pt x="1122" y="53"/>
                  </a:lnTo>
                  <a:lnTo>
                    <a:pt x="1122" y="53"/>
                  </a:lnTo>
                  <a:lnTo>
                    <a:pt x="1122" y="53"/>
                  </a:lnTo>
                  <a:lnTo>
                    <a:pt x="1122" y="53"/>
                  </a:lnTo>
                  <a:lnTo>
                    <a:pt x="1122" y="53"/>
                  </a:lnTo>
                  <a:lnTo>
                    <a:pt x="1122" y="53"/>
                  </a:lnTo>
                  <a:lnTo>
                    <a:pt x="1122" y="53"/>
                  </a:lnTo>
                  <a:lnTo>
                    <a:pt x="1120" y="53"/>
                  </a:lnTo>
                  <a:lnTo>
                    <a:pt x="1120" y="53"/>
                  </a:lnTo>
                  <a:lnTo>
                    <a:pt x="1120" y="53"/>
                  </a:lnTo>
                  <a:lnTo>
                    <a:pt x="1120" y="53"/>
                  </a:lnTo>
                  <a:lnTo>
                    <a:pt x="1120" y="53"/>
                  </a:lnTo>
                  <a:lnTo>
                    <a:pt x="1118" y="53"/>
                  </a:lnTo>
                  <a:lnTo>
                    <a:pt x="1118" y="53"/>
                  </a:lnTo>
                  <a:lnTo>
                    <a:pt x="1118" y="53"/>
                  </a:lnTo>
                  <a:lnTo>
                    <a:pt x="1118" y="53"/>
                  </a:lnTo>
                  <a:lnTo>
                    <a:pt x="1118" y="51"/>
                  </a:lnTo>
                  <a:lnTo>
                    <a:pt x="1116" y="51"/>
                  </a:lnTo>
                  <a:lnTo>
                    <a:pt x="1116" y="51"/>
                  </a:lnTo>
                  <a:lnTo>
                    <a:pt x="1114" y="51"/>
                  </a:lnTo>
                  <a:lnTo>
                    <a:pt x="1114" y="53"/>
                  </a:lnTo>
                  <a:lnTo>
                    <a:pt x="1112" y="53"/>
                  </a:lnTo>
                  <a:lnTo>
                    <a:pt x="1110" y="53"/>
                  </a:lnTo>
                  <a:lnTo>
                    <a:pt x="1110" y="51"/>
                  </a:lnTo>
                  <a:lnTo>
                    <a:pt x="1110" y="51"/>
                  </a:lnTo>
                  <a:lnTo>
                    <a:pt x="1110" y="51"/>
                  </a:lnTo>
                  <a:lnTo>
                    <a:pt x="1110" y="49"/>
                  </a:lnTo>
                  <a:lnTo>
                    <a:pt x="1108" y="49"/>
                  </a:lnTo>
                  <a:lnTo>
                    <a:pt x="1108" y="49"/>
                  </a:lnTo>
                  <a:lnTo>
                    <a:pt x="1108" y="49"/>
                  </a:lnTo>
                  <a:lnTo>
                    <a:pt x="1106" y="47"/>
                  </a:lnTo>
                  <a:lnTo>
                    <a:pt x="1106" y="47"/>
                  </a:lnTo>
                  <a:lnTo>
                    <a:pt x="1106" y="49"/>
                  </a:lnTo>
                  <a:lnTo>
                    <a:pt x="1104" y="49"/>
                  </a:lnTo>
                  <a:lnTo>
                    <a:pt x="1104" y="47"/>
                  </a:lnTo>
                  <a:lnTo>
                    <a:pt x="1102" y="47"/>
                  </a:lnTo>
                  <a:lnTo>
                    <a:pt x="1102" y="47"/>
                  </a:lnTo>
                  <a:lnTo>
                    <a:pt x="1102" y="47"/>
                  </a:lnTo>
                  <a:lnTo>
                    <a:pt x="1102" y="47"/>
                  </a:lnTo>
                  <a:lnTo>
                    <a:pt x="1102" y="47"/>
                  </a:lnTo>
                  <a:lnTo>
                    <a:pt x="1102" y="47"/>
                  </a:lnTo>
                  <a:lnTo>
                    <a:pt x="1102" y="47"/>
                  </a:lnTo>
                  <a:lnTo>
                    <a:pt x="1100" y="47"/>
                  </a:lnTo>
                  <a:lnTo>
                    <a:pt x="1096" y="45"/>
                  </a:lnTo>
                  <a:lnTo>
                    <a:pt x="1094" y="45"/>
                  </a:lnTo>
                  <a:lnTo>
                    <a:pt x="1096" y="45"/>
                  </a:lnTo>
                  <a:lnTo>
                    <a:pt x="1094" y="45"/>
                  </a:lnTo>
                  <a:lnTo>
                    <a:pt x="1092" y="45"/>
                  </a:lnTo>
                  <a:lnTo>
                    <a:pt x="1092" y="45"/>
                  </a:lnTo>
                  <a:lnTo>
                    <a:pt x="1092" y="45"/>
                  </a:lnTo>
                  <a:lnTo>
                    <a:pt x="1094" y="45"/>
                  </a:lnTo>
                  <a:lnTo>
                    <a:pt x="1094" y="45"/>
                  </a:lnTo>
                  <a:lnTo>
                    <a:pt x="1092" y="43"/>
                  </a:lnTo>
                  <a:lnTo>
                    <a:pt x="1092" y="43"/>
                  </a:lnTo>
                  <a:lnTo>
                    <a:pt x="1092" y="45"/>
                  </a:lnTo>
                  <a:lnTo>
                    <a:pt x="1088" y="45"/>
                  </a:lnTo>
                  <a:lnTo>
                    <a:pt x="1088" y="45"/>
                  </a:lnTo>
                  <a:lnTo>
                    <a:pt x="1088" y="45"/>
                  </a:lnTo>
                  <a:lnTo>
                    <a:pt x="1086" y="45"/>
                  </a:lnTo>
                  <a:lnTo>
                    <a:pt x="1086" y="45"/>
                  </a:lnTo>
                  <a:lnTo>
                    <a:pt x="1081" y="49"/>
                  </a:lnTo>
                  <a:lnTo>
                    <a:pt x="1079" y="49"/>
                  </a:lnTo>
                  <a:lnTo>
                    <a:pt x="1077" y="51"/>
                  </a:lnTo>
                  <a:lnTo>
                    <a:pt x="1075" y="51"/>
                  </a:lnTo>
                  <a:lnTo>
                    <a:pt x="1075" y="49"/>
                  </a:lnTo>
                  <a:lnTo>
                    <a:pt x="1077" y="47"/>
                  </a:lnTo>
                  <a:lnTo>
                    <a:pt x="1077" y="47"/>
                  </a:lnTo>
                  <a:lnTo>
                    <a:pt x="1077" y="47"/>
                  </a:lnTo>
                  <a:lnTo>
                    <a:pt x="1075" y="47"/>
                  </a:lnTo>
                  <a:lnTo>
                    <a:pt x="1075" y="47"/>
                  </a:lnTo>
                  <a:lnTo>
                    <a:pt x="1075" y="47"/>
                  </a:lnTo>
                  <a:lnTo>
                    <a:pt x="1075" y="47"/>
                  </a:lnTo>
                  <a:lnTo>
                    <a:pt x="1075" y="47"/>
                  </a:lnTo>
                  <a:lnTo>
                    <a:pt x="1073" y="45"/>
                  </a:lnTo>
                  <a:lnTo>
                    <a:pt x="1073" y="45"/>
                  </a:lnTo>
                  <a:lnTo>
                    <a:pt x="1073" y="45"/>
                  </a:lnTo>
                  <a:lnTo>
                    <a:pt x="1073" y="45"/>
                  </a:lnTo>
                  <a:lnTo>
                    <a:pt x="1073" y="47"/>
                  </a:lnTo>
                  <a:lnTo>
                    <a:pt x="1073" y="45"/>
                  </a:lnTo>
                  <a:lnTo>
                    <a:pt x="1073" y="45"/>
                  </a:lnTo>
                  <a:lnTo>
                    <a:pt x="1073" y="45"/>
                  </a:lnTo>
                  <a:lnTo>
                    <a:pt x="1069" y="47"/>
                  </a:lnTo>
                  <a:lnTo>
                    <a:pt x="1069" y="47"/>
                  </a:lnTo>
                  <a:lnTo>
                    <a:pt x="1069" y="47"/>
                  </a:lnTo>
                  <a:lnTo>
                    <a:pt x="1071" y="47"/>
                  </a:lnTo>
                  <a:lnTo>
                    <a:pt x="1069" y="47"/>
                  </a:lnTo>
                  <a:lnTo>
                    <a:pt x="1069" y="47"/>
                  </a:lnTo>
                  <a:lnTo>
                    <a:pt x="1069" y="47"/>
                  </a:lnTo>
                  <a:lnTo>
                    <a:pt x="1069" y="47"/>
                  </a:lnTo>
                  <a:lnTo>
                    <a:pt x="1069" y="47"/>
                  </a:lnTo>
                  <a:lnTo>
                    <a:pt x="1069" y="47"/>
                  </a:lnTo>
                  <a:lnTo>
                    <a:pt x="1067" y="47"/>
                  </a:lnTo>
                  <a:lnTo>
                    <a:pt x="1067" y="49"/>
                  </a:lnTo>
                  <a:lnTo>
                    <a:pt x="1067" y="49"/>
                  </a:lnTo>
                  <a:lnTo>
                    <a:pt x="1067" y="49"/>
                  </a:lnTo>
                  <a:lnTo>
                    <a:pt x="1063" y="49"/>
                  </a:lnTo>
                  <a:lnTo>
                    <a:pt x="1063" y="49"/>
                  </a:lnTo>
                  <a:lnTo>
                    <a:pt x="1063" y="51"/>
                  </a:lnTo>
                  <a:lnTo>
                    <a:pt x="1063" y="51"/>
                  </a:lnTo>
                  <a:lnTo>
                    <a:pt x="1063" y="53"/>
                  </a:lnTo>
                  <a:lnTo>
                    <a:pt x="1063" y="53"/>
                  </a:lnTo>
                  <a:lnTo>
                    <a:pt x="1061" y="53"/>
                  </a:lnTo>
                  <a:lnTo>
                    <a:pt x="1061" y="53"/>
                  </a:lnTo>
                  <a:lnTo>
                    <a:pt x="1061" y="51"/>
                  </a:lnTo>
                  <a:lnTo>
                    <a:pt x="1061" y="51"/>
                  </a:lnTo>
                  <a:lnTo>
                    <a:pt x="1059" y="51"/>
                  </a:lnTo>
                  <a:lnTo>
                    <a:pt x="1059" y="51"/>
                  </a:lnTo>
                  <a:lnTo>
                    <a:pt x="1059" y="51"/>
                  </a:lnTo>
                  <a:lnTo>
                    <a:pt x="1057" y="49"/>
                  </a:lnTo>
                  <a:lnTo>
                    <a:pt x="1053" y="51"/>
                  </a:lnTo>
                  <a:lnTo>
                    <a:pt x="1049" y="49"/>
                  </a:lnTo>
                  <a:lnTo>
                    <a:pt x="1049" y="49"/>
                  </a:lnTo>
                  <a:lnTo>
                    <a:pt x="1051" y="47"/>
                  </a:lnTo>
                  <a:lnTo>
                    <a:pt x="1051" y="47"/>
                  </a:lnTo>
                  <a:lnTo>
                    <a:pt x="1051" y="47"/>
                  </a:lnTo>
                  <a:lnTo>
                    <a:pt x="1051" y="47"/>
                  </a:lnTo>
                  <a:lnTo>
                    <a:pt x="1051" y="45"/>
                  </a:lnTo>
                  <a:lnTo>
                    <a:pt x="1051" y="47"/>
                  </a:lnTo>
                  <a:lnTo>
                    <a:pt x="1051" y="45"/>
                  </a:lnTo>
                  <a:lnTo>
                    <a:pt x="1053" y="45"/>
                  </a:lnTo>
                  <a:lnTo>
                    <a:pt x="1053" y="45"/>
                  </a:lnTo>
                  <a:lnTo>
                    <a:pt x="1053" y="45"/>
                  </a:lnTo>
                  <a:lnTo>
                    <a:pt x="1053" y="43"/>
                  </a:lnTo>
                  <a:lnTo>
                    <a:pt x="1051" y="45"/>
                  </a:lnTo>
                  <a:lnTo>
                    <a:pt x="1049" y="43"/>
                  </a:lnTo>
                  <a:lnTo>
                    <a:pt x="1040" y="45"/>
                  </a:lnTo>
                  <a:lnTo>
                    <a:pt x="1038" y="45"/>
                  </a:lnTo>
                  <a:lnTo>
                    <a:pt x="1038" y="45"/>
                  </a:lnTo>
                  <a:lnTo>
                    <a:pt x="1038" y="45"/>
                  </a:lnTo>
                  <a:lnTo>
                    <a:pt x="1038" y="45"/>
                  </a:lnTo>
                  <a:lnTo>
                    <a:pt x="1038" y="45"/>
                  </a:lnTo>
                  <a:lnTo>
                    <a:pt x="1036" y="45"/>
                  </a:lnTo>
                  <a:lnTo>
                    <a:pt x="1036" y="45"/>
                  </a:lnTo>
                  <a:lnTo>
                    <a:pt x="1036" y="43"/>
                  </a:lnTo>
                  <a:lnTo>
                    <a:pt x="1038" y="43"/>
                  </a:lnTo>
                  <a:lnTo>
                    <a:pt x="1038" y="43"/>
                  </a:lnTo>
                  <a:lnTo>
                    <a:pt x="1038" y="43"/>
                  </a:lnTo>
                  <a:lnTo>
                    <a:pt x="1040" y="43"/>
                  </a:lnTo>
                  <a:lnTo>
                    <a:pt x="1040" y="43"/>
                  </a:lnTo>
                  <a:lnTo>
                    <a:pt x="1045" y="43"/>
                  </a:lnTo>
                  <a:lnTo>
                    <a:pt x="1047" y="43"/>
                  </a:lnTo>
                  <a:lnTo>
                    <a:pt x="1047" y="43"/>
                  </a:lnTo>
                  <a:lnTo>
                    <a:pt x="1047" y="43"/>
                  </a:lnTo>
                  <a:lnTo>
                    <a:pt x="1045" y="43"/>
                  </a:lnTo>
                  <a:lnTo>
                    <a:pt x="1043" y="43"/>
                  </a:lnTo>
                  <a:lnTo>
                    <a:pt x="1040" y="41"/>
                  </a:lnTo>
                  <a:lnTo>
                    <a:pt x="1038" y="41"/>
                  </a:lnTo>
                  <a:lnTo>
                    <a:pt x="1038" y="39"/>
                  </a:lnTo>
                  <a:lnTo>
                    <a:pt x="1038" y="37"/>
                  </a:lnTo>
                  <a:lnTo>
                    <a:pt x="1038" y="37"/>
                  </a:lnTo>
                  <a:lnTo>
                    <a:pt x="1038" y="37"/>
                  </a:lnTo>
                  <a:lnTo>
                    <a:pt x="1040" y="37"/>
                  </a:lnTo>
                  <a:lnTo>
                    <a:pt x="1040" y="37"/>
                  </a:lnTo>
                  <a:lnTo>
                    <a:pt x="1040" y="37"/>
                  </a:lnTo>
                  <a:lnTo>
                    <a:pt x="1040" y="35"/>
                  </a:lnTo>
                  <a:lnTo>
                    <a:pt x="1040" y="35"/>
                  </a:lnTo>
                  <a:lnTo>
                    <a:pt x="1040" y="35"/>
                  </a:lnTo>
                  <a:lnTo>
                    <a:pt x="1040" y="35"/>
                  </a:lnTo>
                  <a:lnTo>
                    <a:pt x="1043" y="33"/>
                  </a:lnTo>
                  <a:lnTo>
                    <a:pt x="1045" y="31"/>
                  </a:lnTo>
                  <a:lnTo>
                    <a:pt x="1045" y="31"/>
                  </a:lnTo>
                  <a:lnTo>
                    <a:pt x="1043" y="29"/>
                  </a:lnTo>
                  <a:lnTo>
                    <a:pt x="1038" y="29"/>
                  </a:lnTo>
                  <a:lnTo>
                    <a:pt x="1034" y="29"/>
                  </a:lnTo>
                  <a:lnTo>
                    <a:pt x="1034" y="29"/>
                  </a:lnTo>
                  <a:lnTo>
                    <a:pt x="1034" y="29"/>
                  </a:lnTo>
                  <a:lnTo>
                    <a:pt x="1034" y="29"/>
                  </a:lnTo>
                  <a:lnTo>
                    <a:pt x="1036" y="29"/>
                  </a:lnTo>
                  <a:lnTo>
                    <a:pt x="1036" y="31"/>
                  </a:lnTo>
                  <a:lnTo>
                    <a:pt x="1034" y="31"/>
                  </a:lnTo>
                  <a:lnTo>
                    <a:pt x="1034" y="31"/>
                  </a:lnTo>
                  <a:lnTo>
                    <a:pt x="1034" y="31"/>
                  </a:lnTo>
                  <a:lnTo>
                    <a:pt x="1034" y="29"/>
                  </a:lnTo>
                  <a:lnTo>
                    <a:pt x="1034" y="29"/>
                  </a:lnTo>
                  <a:lnTo>
                    <a:pt x="1034" y="29"/>
                  </a:lnTo>
                  <a:lnTo>
                    <a:pt x="1032" y="29"/>
                  </a:lnTo>
                  <a:lnTo>
                    <a:pt x="1032" y="29"/>
                  </a:lnTo>
                  <a:lnTo>
                    <a:pt x="1032" y="29"/>
                  </a:lnTo>
                  <a:lnTo>
                    <a:pt x="1032" y="29"/>
                  </a:lnTo>
                  <a:lnTo>
                    <a:pt x="1032" y="29"/>
                  </a:lnTo>
                  <a:lnTo>
                    <a:pt x="1032" y="29"/>
                  </a:lnTo>
                  <a:lnTo>
                    <a:pt x="1032" y="29"/>
                  </a:lnTo>
                  <a:lnTo>
                    <a:pt x="1032" y="29"/>
                  </a:lnTo>
                  <a:lnTo>
                    <a:pt x="1032" y="29"/>
                  </a:lnTo>
                  <a:lnTo>
                    <a:pt x="1032" y="29"/>
                  </a:lnTo>
                  <a:lnTo>
                    <a:pt x="1030" y="29"/>
                  </a:lnTo>
                  <a:lnTo>
                    <a:pt x="1030" y="27"/>
                  </a:lnTo>
                  <a:lnTo>
                    <a:pt x="1030" y="27"/>
                  </a:lnTo>
                  <a:lnTo>
                    <a:pt x="1030" y="27"/>
                  </a:lnTo>
                  <a:lnTo>
                    <a:pt x="1028" y="27"/>
                  </a:lnTo>
                  <a:lnTo>
                    <a:pt x="1028" y="27"/>
                  </a:lnTo>
                  <a:lnTo>
                    <a:pt x="1028" y="27"/>
                  </a:lnTo>
                  <a:lnTo>
                    <a:pt x="1028" y="27"/>
                  </a:lnTo>
                  <a:lnTo>
                    <a:pt x="1028" y="27"/>
                  </a:lnTo>
                  <a:lnTo>
                    <a:pt x="1028" y="27"/>
                  </a:lnTo>
                  <a:lnTo>
                    <a:pt x="1028" y="27"/>
                  </a:lnTo>
                  <a:lnTo>
                    <a:pt x="1028" y="27"/>
                  </a:lnTo>
                  <a:lnTo>
                    <a:pt x="1028" y="27"/>
                  </a:lnTo>
                  <a:lnTo>
                    <a:pt x="1026" y="27"/>
                  </a:lnTo>
                  <a:lnTo>
                    <a:pt x="1026" y="27"/>
                  </a:lnTo>
                  <a:lnTo>
                    <a:pt x="1024" y="27"/>
                  </a:lnTo>
                  <a:lnTo>
                    <a:pt x="1024" y="27"/>
                  </a:lnTo>
                  <a:lnTo>
                    <a:pt x="1024" y="27"/>
                  </a:lnTo>
                  <a:lnTo>
                    <a:pt x="1022" y="27"/>
                  </a:lnTo>
                  <a:lnTo>
                    <a:pt x="1020" y="29"/>
                  </a:lnTo>
                  <a:lnTo>
                    <a:pt x="1014" y="27"/>
                  </a:lnTo>
                  <a:lnTo>
                    <a:pt x="1014" y="29"/>
                  </a:lnTo>
                  <a:lnTo>
                    <a:pt x="1014" y="29"/>
                  </a:lnTo>
                  <a:lnTo>
                    <a:pt x="1012" y="31"/>
                  </a:lnTo>
                  <a:lnTo>
                    <a:pt x="1012" y="31"/>
                  </a:lnTo>
                  <a:lnTo>
                    <a:pt x="1010" y="33"/>
                  </a:lnTo>
                  <a:lnTo>
                    <a:pt x="1010" y="33"/>
                  </a:lnTo>
                  <a:lnTo>
                    <a:pt x="1008" y="33"/>
                  </a:lnTo>
                  <a:lnTo>
                    <a:pt x="1008" y="33"/>
                  </a:lnTo>
                  <a:lnTo>
                    <a:pt x="1008" y="33"/>
                  </a:lnTo>
                  <a:lnTo>
                    <a:pt x="1008" y="33"/>
                  </a:lnTo>
                  <a:lnTo>
                    <a:pt x="1008" y="33"/>
                  </a:lnTo>
                  <a:lnTo>
                    <a:pt x="1008" y="31"/>
                  </a:lnTo>
                  <a:lnTo>
                    <a:pt x="1008" y="31"/>
                  </a:lnTo>
                  <a:lnTo>
                    <a:pt x="1006" y="31"/>
                  </a:lnTo>
                  <a:lnTo>
                    <a:pt x="1006" y="31"/>
                  </a:lnTo>
                  <a:lnTo>
                    <a:pt x="1004" y="31"/>
                  </a:lnTo>
                  <a:lnTo>
                    <a:pt x="1002" y="31"/>
                  </a:lnTo>
                  <a:lnTo>
                    <a:pt x="1002" y="31"/>
                  </a:lnTo>
                  <a:lnTo>
                    <a:pt x="1002" y="31"/>
                  </a:lnTo>
                  <a:lnTo>
                    <a:pt x="1002" y="31"/>
                  </a:lnTo>
                  <a:lnTo>
                    <a:pt x="1002" y="31"/>
                  </a:lnTo>
                  <a:lnTo>
                    <a:pt x="1002" y="29"/>
                  </a:lnTo>
                  <a:lnTo>
                    <a:pt x="1002" y="29"/>
                  </a:lnTo>
                  <a:lnTo>
                    <a:pt x="999" y="29"/>
                  </a:lnTo>
                  <a:lnTo>
                    <a:pt x="997" y="29"/>
                  </a:lnTo>
                  <a:lnTo>
                    <a:pt x="999" y="27"/>
                  </a:lnTo>
                  <a:lnTo>
                    <a:pt x="999" y="27"/>
                  </a:lnTo>
                  <a:lnTo>
                    <a:pt x="1002" y="27"/>
                  </a:lnTo>
                  <a:lnTo>
                    <a:pt x="1002" y="27"/>
                  </a:lnTo>
                  <a:lnTo>
                    <a:pt x="1002" y="27"/>
                  </a:lnTo>
                  <a:lnTo>
                    <a:pt x="1002" y="25"/>
                  </a:lnTo>
                  <a:lnTo>
                    <a:pt x="1002" y="25"/>
                  </a:lnTo>
                  <a:lnTo>
                    <a:pt x="1002" y="25"/>
                  </a:lnTo>
                  <a:lnTo>
                    <a:pt x="1002" y="25"/>
                  </a:lnTo>
                  <a:lnTo>
                    <a:pt x="1002" y="25"/>
                  </a:lnTo>
                  <a:lnTo>
                    <a:pt x="1002" y="23"/>
                  </a:lnTo>
                  <a:lnTo>
                    <a:pt x="1002" y="23"/>
                  </a:lnTo>
                  <a:lnTo>
                    <a:pt x="1002" y="23"/>
                  </a:lnTo>
                  <a:lnTo>
                    <a:pt x="1002" y="23"/>
                  </a:lnTo>
                  <a:lnTo>
                    <a:pt x="1002" y="21"/>
                  </a:lnTo>
                  <a:lnTo>
                    <a:pt x="1002" y="21"/>
                  </a:lnTo>
                  <a:lnTo>
                    <a:pt x="999" y="21"/>
                  </a:lnTo>
                  <a:lnTo>
                    <a:pt x="999" y="18"/>
                  </a:lnTo>
                  <a:lnTo>
                    <a:pt x="997" y="16"/>
                  </a:lnTo>
                  <a:lnTo>
                    <a:pt x="997" y="16"/>
                  </a:lnTo>
                  <a:lnTo>
                    <a:pt x="997" y="16"/>
                  </a:lnTo>
                  <a:lnTo>
                    <a:pt x="997" y="18"/>
                  </a:lnTo>
                  <a:lnTo>
                    <a:pt x="997" y="16"/>
                  </a:lnTo>
                  <a:lnTo>
                    <a:pt x="997" y="16"/>
                  </a:lnTo>
                  <a:lnTo>
                    <a:pt x="997" y="16"/>
                  </a:lnTo>
                  <a:lnTo>
                    <a:pt x="995" y="16"/>
                  </a:lnTo>
                  <a:lnTo>
                    <a:pt x="995" y="16"/>
                  </a:lnTo>
                  <a:lnTo>
                    <a:pt x="995" y="16"/>
                  </a:lnTo>
                  <a:lnTo>
                    <a:pt x="995" y="16"/>
                  </a:lnTo>
                  <a:lnTo>
                    <a:pt x="995" y="16"/>
                  </a:lnTo>
                  <a:lnTo>
                    <a:pt x="995" y="18"/>
                  </a:lnTo>
                  <a:lnTo>
                    <a:pt x="995" y="18"/>
                  </a:lnTo>
                  <a:lnTo>
                    <a:pt x="995" y="18"/>
                  </a:lnTo>
                  <a:lnTo>
                    <a:pt x="995" y="21"/>
                  </a:lnTo>
                  <a:lnTo>
                    <a:pt x="995" y="21"/>
                  </a:lnTo>
                  <a:lnTo>
                    <a:pt x="993" y="23"/>
                  </a:lnTo>
                  <a:lnTo>
                    <a:pt x="993" y="21"/>
                  </a:lnTo>
                  <a:lnTo>
                    <a:pt x="993" y="21"/>
                  </a:lnTo>
                  <a:lnTo>
                    <a:pt x="993" y="21"/>
                  </a:lnTo>
                  <a:lnTo>
                    <a:pt x="995" y="18"/>
                  </a:lnTo>
                  <a:lnTo>
                    <a:pt x="995" y="18"/>
                  </a:lnTo>
                  <a:lnTo>
                    <a:pt x="993" y="18"/>
                  </a:lnTo>
                  <a:lnTo>
                    <a:pt x="993" y="16"/>
                  </a:lnTo>
                  <a:lnTo>
                    <a:pt x="993" y="16"/>
                  </a:lnTo>
                  <a:lnTo>
                    <a:pt x="993" y="16"/>
                  </a:lnTo>
                  <a:lnTo>
                    <a:pt x="995" y="16"/>
                  </a:lnTo>
                  <a:lnTo>
                    <a:pt x="993" y="14"/>
                  </a:lnTo>
                  <a:lnTo>
                    <a:pt x="993" y="14"/>
                  </a:lnTo>
                  <a:lnTo>
                    <a:pt x="993" y="14"/>
                  </a:lnTo>
                  <a:lnTo>
                    <a:pt x="993" y="14"/>
                  </a:lnTo>
                  <a:lnTo>
                    <a:pt x="993" y="14"/>
                  </a:lnTo>
                  <a:lnTo>
                    <a:pt x="993" y="16"/>
                  </a:lnTo>
                  <a:lnTo>
                    <a:pt x="993" y="16"/>
                  </a:lnTo>
                  <a:lnTo>
                    <a:pt x="993" y="16"/>
                  </a:lnTo>
                  <a:lnTo>
                    <a:pt x="993" y="18"/>
                  </a:lnTo>
                  <a:lnTo>
                    <a:pt x="993" y="18"/>
                  </a:lnTo>
                  <a:lnTo>
                    <a:pt x="991" y="16"/>
                  </a:lnTo>
                  <a:lnTo>
                    <a:pt x="991" y="16"/>
                  </a:lnTo>
                  <a:lnTo>
                    <a:pt x="991" y="16"/>
                  </a:lnTo>
                  <a:lnTo>
                    <a:pt x="991" y="16"/>
                  </a:lnTo>
                  <a:lnTo>
                    <a:pt x="989" y="18"/>
                  </a:lnTo>
                  <a:lnTo>
                    <a:pt x="991" y="18"/>
                  </a:lnTo>
                  <a:lnTo>
                    <a:pt x="991" y="18"/>
                  </a:lnTo>
                  <a:lnTo>
                    <a:pt x="991" y="21"/>
                  </a:lnTo>
                  <a:lnTo>
                    <a:pt x="991" y="21"/>
                  </a:lnTo>
                  <a:lnTo>
                    <a:pt x="991" y="23"/>
                  </a:lnTo>
                  <a:lnTo>
                    <a:pt x="991" y="23"/>
                  </a:lnTo>
                  <a:lnTo>
                    <a:pt x="991" y="23"/>
                  </a:lnTo>
                  <a:lnTo>
                    <a:pt x="991" y="23"/>
                  </a:lnTo>
                  <a:lnTo>
                    <a:pt x="991" y="21"/>
                  </a:lnTo>
                  <a:lnTo>
                    <a:pt x="989" y="21"/>
                  </a:lnTo>
                  <a:lnTo>
                    <a:pt x="989" y="21"/>
                  </a:lnTo>
                  <a:lnTo>
                    <a:pt x="989" y="21"/>
                  </a:lnTo>
                  <a:lnTo>
                    <a:pt x="989" y="23"/>
                  </a:lnTo>
                  <a:lnTo>
                    <a:pt x="989" y="23"/>
                  </a:lnTo>
                  <a:lnTo>
                    <a:pt x="987" y="23"/>
                  </a:lnTo>
                  <a:lnTo>
                    <a:pt x="987" y="25"/>
                  </a:lnTo>
                  <a:lnTo>
                    <a:pt x="985" y="25"/>
                  </a:lnTo>
                  <a:lnTo>
                    <a:pt x="985" y="25"/>
                  </a:lnTo>
                  <a:lnTo>
                    <a:pt x="985" y="27"/>
                  </a:lnTo>
                  <a:lnTo>
                    <a:pt x="985" y="27"/>
                  </a:lnTo>
                  <a:lnTo>
                    <a:pt x="985" y="29"/>
                  </a:lnTo>
                  <a:lnTo>
                    <a:pt x="985" y="29"/>
                  </a:lnTo>
                  <a:lnTo>
                    <a:pt x="985" y="29"/>
                  </a:lnTo>
                  <a:lnTo>
                    <a:pt x="985" y="31"/>
                  </a:lnTo>
                  <a:lnTo>
                    <a:pt x="985" y="31"/>
                  </a:lnTo>
                  <a:lnTo>
                    <a:pt x="983" y="29"/>
                  </a:lnTo>
                  <a:lnTo>
                    <a:pt x="983" y="29"/>
                  </a:lnTo>
                  <a:lnTo>
                    <a:pt x="983" y="29"/>
                  </a:lnTo>
                  <a:lnTo>
                    <a:pt x="983" y="29"/>
                  </a:lnTo>
                  <a:lnTo>
                    <a:pt x="983" y="31"/>
                  </a:lnTo>
                  <a:lnTo>
                    <a:pt x="983" y="31"/>
                  </a:lnTo>
                  <a:lnTo>
                    <a:pt x="983" y="31"/>
                  </a:lnTo>
                  <a:lnTo>
                    <a:pt x="983" y="31"/>
                  </a:lnTo>
                  <a:lnTo>
                    <a:pt x="983" y="31"/>
                  </a:lnTo>
                  <a:lnTo>
                    <a:pt x="983" y="31"/>
                  </a:lnTo>
                  <a:lnTo>
                    <a:pt x="983" y="31"/>
                  </a:lnTo>
                  <a:lnTo>
                    <a:pt x="981" y="31"/>
                  </a:lnTo>
                  <a:lnTo>
                    <a:pt x="981" y="31"/>
                  </a:lnTo>
                  <a:lnTo>
                    <a:pt x="981" y="31"/>
                  </a:lnTo>
                  <a:lnTo>
                    <a:pt x="979" y="31"/>
                  </a:lnTo>
                  <a:lnTo>
                    <a:pt x="979" y="31"/>
                  </a:lnTo>
                  <a:lnTo>
                    <a:pt x="979" y="31"/>
                  </a:lnTo>
                  <a:lnTo>
                    <a:pt x="979" y="33"/>
                  </a:lnTo>
                  <a:lnTo>
                    <a:pt x="979" y="33"/>
                  </a:lnTo>
                  <a:lnTo>
                    <a:pt x="979" y="33"/>
                  </a:lnTo>
                  <a:lnTo>
                    <a:pt x="979" y="33"/>
                  </a:lnTo>
                  <a:lnTo>
                    <a:pt x="979" y="33"/>
                  </a:lnTo>
                  <a:lnTo>
                    <a:pt x="977" y="35"/>
                  </a:lnTo>
                  <a:lnTo>
                    <a:pt x="977" y="33"/>
                  </a:lnTo>
                  <a:lnTo>
                    <a:pt x="977" y="33"/>
                  </a:lnTo>
                  <a:lnTo>
                    <a:pt x="977" y="33"/>
                  </a:lnTo>
                  <a:lnTo>
                    <a:pt x="977" y="33"/>
                  </a:lnTo>
                  <a:lnTo>
                    <a:pt x="977" y="31"/>
                  </a:lnTo>
                  <a:lnTo>
                    <a:pt x="977" y="31"/>
                  </a:lnTo>
                  <a:lnTo>
                    <a:pt x="977" y="31"/>
                  </a:lnTo>
                  <a:lnTo>
                    <a:pt x="979" y="31"/>
                  </a:lnTo>
                  <a:lnTo>
                    <a:pt x="979" y="29"/>
                  </a:lnTo>
                  <a:lnTo>
                    <a:pt x="979" y="29"/>
                  </a:lnTo>
                  <a:lnTo>
                    <a:pt x="979" y="29"/>
                  </a:lnTo>
                  <a:lnTo>
                    <a:pt x="977" y="29"/>
                  </a:lnTo>
                  <a:lnTo>
                    <a:pt x="977" y="27"/>
                  </a:lnTo>
                  <a:lnTo>
                    <a:pt x="977" y="27"/>
                  </a:lnTo>
                  <a:lnTo>
                    <a:pt x="977" y="27"/>
                  </a:lnTo>
                  <a:lnTo>
                    <a:pt x="977" y="27"/>
                  </a:lnTo>
                  <a:lnTo>
                    <a:pt x="975" y="27"/>
                  </a:lnTo>
                  <a:lnTo>
                    <a:pt x="977" y="27"/>
                  </a:lnTo>
                  <a:lnTo>
                    <a:pt x="977" y="27"/>
                  </a:lnTo>
                  <a:lnTo>
                    <a:pt x="977" y="25"/>
                  </a:lnTo>
                  <a:lnTo>
                    <a:pt x="975" y="27"/>
                  </a:lnTo>
                  <a:lnTo>
                    <a:pt x="975" y="27"/>
                  </a:lnTo>
                  <a:lnTo>
                    <a:pt x="975" y="25"/>
                  </a:lnTo>
                  <a:lnTo>
                    <a:pt x="977" y="25"/>
                  </a:lnTo>
                  <a:lnTo>
                    <a:pt x="977" y="25"/>
                  </a:lnTo>
                  <a:lnTo>
                    <a:pt x="977" y="25"/>
                  </a:lnTo>
                  <a:lnTo>
                    <a:pt x="977" y="25"/>
                  </a:lnTo>
                  <a:lnTo>
                    <a:pt x="977" y="25"/>
                  </a:lnTo>
                  <a:lnTo>
                    <a:pt x="975" y="23"/>
                  </a:lnTo>
                  <a:lnTo>
                    <a:pt x="977" y="23"/>
                  </a:lnTo>
                  <a:lnTo>
                    <a:pt x="977" y="23"/>
                  </a:lnTo>
                  <a:lnTo>
                    <a:pt x="981" y="23"/>
                  </a:lnTo>
                  <a:lnTo>
                    <a:pt x="981" y="23"/>
                  </a:lnTo>
                  <a:lnTo>
                    <a:pt x="981" y="23"/>
                  </a:lnTo>
                  <a:lnTo>
                    <a:pt x="981" y="23"/>
                  </a:lnTo>
                  <a:lnTo>
                    <a:pt x="981" y="23"/>
                  </a:lnTo>
                  <a:lnTo>
                    <a:pt x="983" y="23"/>
                  </a:lnTo>
                  <a:lnTo>
                    <a:pt x="983" y="21"/>
                  </a:lnTo>
                  <a:lnTo>
                    <a:pt x="983" y="21"/>
                  </a:lnTo>
                  <a:lnTo>
                    <a:pt x="983" y="21"/>
                  </a:lnTo>
                  <a:lnTo>
                    <a:pt x="983" y="21"/>
                  </a:lnTo>
                  <a:lnTo>
                    <a:pt x="983" y="21"/>
                  </a:lnTo>
                  <a:lnTo>
                    <a:pt x="983" y="21"/>
                  </a:lnTo>
                  <a:lnTo>
                    <a:pt x="983" y="18"/>
                  </a:lnTo>
                  <a:lnTo>
                    <a:pt x="983" y="18"/>
                  </a:lnTo>
                  <a:lnTo>
                    <a:pt x="985" y="18"/>
                  </a:lnTo>
                  <a:lnTo>
                    <a:pt x="985" y="18"/>
                  </a:lnTo>
                  <a:lnTo>
                    <a:pt x="985" y="16"/>
                  </a:lnTo>
                  <a:lnTo>
                    <a:pt x="985" y="16"/>
                  </a:lnTo>
                  <a:lnTo>
                    <a:pt x="985" y="14"/>
                  </a:lnTo>
                  <a:lnTo>
                    <a:pt x="985" y="14"/>
                  </a:lnTo>
                  <a:lnTo>
                    <a:pt x="985" y="12"/>
                  </a:lnTo>
                  <a:lnTo>
                    <a:pt x="981" y="12"/>
                  </a:lnTo>
                  <a:lnTo>
                    <a:pt x="981" y="10"/>
                  </a:lnTo>
                  <a:lnTo>
                    <a:pt x="979" y="12"/>
                  </a:lnTo>
                  <a:lnTo>
                    <a:pt x="979" y="12"/>
                  </a:lnTo>
                  <a:lnTo>
                    <a:pt x="979" y="12"/>
                  </a:lnTo>
                  <a:lnTo>
                    <a:pt x="979" y="10"/>
                  </a:lnTo>
                  <a:lnTo>
                    <a:pt x="979" y="10"/>
                  </a:lnTo>
                  <a:lnTo>
                    <a:pt x="979" y="10"/>
                  </a:lnTo>
                  <a:lnTo>
                    <a:pt x="979" y="10"/>
                  </a:lnTo>
                  <a:lnTo>
                    <a:pt x="979" y="12"/>
                  </a:lnTo>
                  <a:lnTo>
                    <a:pt x="977" y="12"/>
                  </a:lnTo>
                  <a:lnTo>
                    <a:pt x="977" y="12"/>
                  </a:lnTo>
                  <a:lnTo>
                    <a:pt x="977" y="12"/>
                  </a:lnTo>
                  <a:lnTo>
                    <a:pt x="977" y="12"/>
                  </a:lnTo>
                  <a:lnTo>
                    <a:pt x="977" y="12"/>
                  </a:lnTo>
                  <a:lnTo>
                    <a:pt x="977" y="10"/>
                  </a:lnTo>
                  <a:lnTo>
                    <a:pt x="977" y="10"/>
                  </a:lnTo>
                  <a:lnTo>
                    <a:pt x="977" y="10"/>
                  </a:lnTo>
                  <a:lnTo>
                    <a:pt x="977" y="10"/>
                  </a:lnTo>
                  <a:lnTo>
                    <a:pt x="977" y="10"/>
                  </a:lnTo>
                  <a:lnTo>
                    <a:pt x="975" y="8"/>
                  </a:lnTo>
                  <a:lnTo>
                    <a:pt x="975" y="8"/>
                  </a:lnTo>
                  <a:lnTo>
                    <a:pt x="971" y="8"/>
                  </a:lnTo>
                  <a:lnTo>
                    <a:pt x="971" y="8"/>
                  </a:lnTo>
                  <a:lnTo>
                    <a:pt x="971" y="8"/>
                  </a:lnTo>
                  <a:lnTo>
                    <a:pt x="971" y="6"/>
                  </a:lnTo>
                  <a:lnTo>
                    <a:pt x="969" y="6"/>
                  </a:lnTo>
                  <a:lnTo>
                    <a:pt x="969" y="6"/>
                  </a:lnTo>
                  <a:lnTo>
                    <a:pt x="969" y="4"/>
                  </a:lnTo>
                  <a:lnTo>
                    <a:pt x="969" y="4"/>
                  </a:lnTo>
                  <a:lnTo>
                    <a:pt x="969" y="4"/>
                  </a:lnTo>
                  <a:lnTo>
                    <a:pt x="969" y="4"/>
                  </a:lnTo>
                  <a:lnTo>
                    <a:pt x="969" y="2"/>
                  </a:lnTo>
                  <a:lnTo>
                    <a:pt x="971" y="2"/>
                  </a:lnTo>
                  <a:lnTo>
                    <a:pt x="971" y="2"/>
                  </a:lnTo>
                  <a:lnTo>
                    <a:pt x="971" y="2"/>
                  </a:lnTo>
                  <a:lnTo>
                    <a:pt x="973" y="2"/>
                  </a:lnTo>
                  <a:lnTo>
                    <a:pt x="971" y="2"/>
                  </a:lnTo>
                  <a:lnTo>
                    <a:pt x="971" y="0"/>
                  </a:lnTo>
                  <a:lnTo>
                    <a:pt x="971" y="0"/>
                  </a:lnTo>
                  <a:lnTo>
                    <a:pt x="971" y="0"/>
                  </a:lnTo>
                  <a:lnTo>
                    <a:pt x="969" y="2"/>
                  </a:lnTo>
                  <a:lnTo>
                    <a:pt x="969" y="2"/>
                  </a:lnTo>
                  <a:lnTo>
                    <a:pt x="967" y="4"/>
                  </a:lnTo>
                  <a:lnTo>
                    <a:pt x="965" y="6"/>
                  </a:lnTo>
                  <a:lnTo>
                    <a:pt x="961" y="10"/>
                  </a:lnTo>
                  <a:lnTo>
                    <a:pt x="959" y="12"/>
                  </a:lnTo>
                  <a:lnTo>
                    <a:pt x="956" y="16"/>
                  </a:lnTo>
                  <a:lnTo>
                    <a:pt x="950" y="23"/>
                  </a:lnTo>
                  <a:lnTo>
                    <a:pt x="950" y="23"/>
                  </a:lnTo>
                  <a:lnTo>
                    <a:pt x="950" y="23"/>
                  </a:lnTo>
                  <a:lnTo>
                    <a:pt x="950" y="25"/>
                  </a:lnTo>
                  <a:lnTo>
                    <a:pt x="948" y="25"/>
                  </a:lnTo>
                  <a:lnTo>
                    <a:pt x="944" y="27"/>
                  </a:lnTo>
                  <a:lnTo>
                    <a:pt x="942" y="29"/>
                  </a:lnTo>
                  <a:lnTo>
                    <a:pt x="936" y="29"/>
                  </a:lnTo>
                  <a:lnTo>
                    <a:pt x="934" y="27"/>
                  </a:lnTo>
                  <a:lnTo>
                    <a:pt x="934" y="27"/>
                  </a:lnTo>
                  <a:lnTo>
                    <a:pt x="934" y="29"/>
                  </a:lnTo>
                  <a:lnTo>
                    <a:pt x="934" y="29"/>
                  </a:lnTo>
                  <a:lnTo>
                    <a:pt x="936" y="29"/>
                  </a:lnTo>
                  <a:lnTo>
                    <a:pt x="930" y="31"/>
                  </a:lnTo>
                  <a:lnTo>
                    <a:pt x="924" y="29"/>
                  </a:lnTo>
                  <a:lnTo>
                    <a:pt x="924" y="29"/>
                  </a:lnTo>
                  <a:lnTo>
                    <a:pt x="924" y="29"/>
                  </a:lnTo>
                  <a:lnTo>
                    <a:pt x="926" y="29"/>
                  </a:lnTo>
                  <a:lnTo>
                    <a:pt x="926" y="31"/>
                  </a:lnTo>
                  <a:lnTo>
                    <a:pt x="922" y="31"/>
                  </a:lnTo>
                  <a:lnTo>
                    <a:pt x="922" y="31"/>
                  </a:lnTo>
                  <a:lnTo>
                    <a:pt x="920" y="31"/>
                  </a:lnTo>
                  <a:lnTo>
                    <a:pt x="920" y="31"/>
                  </a:lnTo>
                  <a:lnTo>
                    <a:pt x="922" y="35"/>
                  </a:lnTo>
                  <a:lnTo>
                    <a:pt x="920" y="35"/>
                  </a:lnTo>
                  <a:lnTo>
                    <a:pt x="920" y="33"/>
                  </a:lnTo>
                  <a:lnTo>
                    <a:pt x="920" y="33"/>
                  </a:lnTo>
                  <a:lnTo>
                    <a:pt x="920" y="31"/>
                  </a:lnTo>
                  <a:lnTo>
                    <a:pt x="920" y="31"/>
                  </a:lnTo>
                  <a:lnTo>
                    <a:pt x="920" y="31"/>
                  </a:lnTo>
                  <a:lnTo>
                    <a:pt x="920" y="31"/>
                  </a:lnTo>
                  <a:lnTo>
                    <a:pt x="920" y="31"/>
                  </a:lnTo>
                  <a:lnTo>
                    <a:pt x="920" y="31"/>
                  </a:lnTo>
                  <a:lnTo>
                    <a:pt x="918" y="31"/>
                  </a:lnTo>
                  <a:lnTo>
                    <a:pt x="918" y="31"/>
                  </a:lnTo>
                  <a:lnTo>
                    <a:pt x="918" y="31"/>
                  </a:lnTo>
                  <a:lnTo>
                    <a:pt x="918" y="31"/>
                  </a:lnTo>
                  <a:lnTo>
                    <a:pt x="918" y="29"/>
                  </a:lnTo>
                  <a:lnTo>
                    <a:pt x="918" y="29"/>
                  </a:lnTo>
                  <a:lnTo>
                    <a:pt x="920" y="29"/>
                  </a:lnTo>
                  <a:lnTo>
                    <a:pt x="922" y="29"/>
                  </a:lnTo>
                  <a:lnTo>
                    <a:pt x="922" y="29"/>
                  </a:lnTo>
                  <a:lnTo>
                    <a:pt x="922" y="27"/>
                  </a:lnTo>
                  <a:lnTo>
                    <a:pt x="922" y="27"/>
                  </a:lnTo>
                  <a:lnTo>
                    <a:pt x="918" y="27"/>
                  </a:lnTo>
                  <a:lnTo>
                    <a:pt x="920" y="27"/>
                  </a:lnTo>
                  <a:lnTo>
                    <a:pt x="922" y="25"/>
                  </a:lnTo>
                  <a:lnTo>
                    <a:pt x="922" y="25"/>
                  </a:lnTo>
                  <a:lnTo>
                    <a:pt x="920" y="25"/>
                  </a:lnTo>
                  <a:lnTo>
                    <a:pt x="918" y="27"/>
                  </a:lnTo>
                  <a:lnTo>
                    <a:pt x="918" y="27"/>
                  </a:lnTo>
                  <a:lnTo>
                    <a:pt x="916" y="27"/>
                  </a:lnTo>
                  <a:lnTo>
                    <a:pt x="916" y="27"/>
                  </a:lnTo>
                  <a:lnTo>
                    <a:pt x="916" y="29"/>
                  </a:lnTo>
                  <a:lnTo>
                    <a:pt x="913" y="29"/>
                  </a:lnTo>
                  <a:lnTo>
                    <a:pt x="913" y="29"/>
                  </a:lnTo>
                  <a:lnTo>
                    <a:pt x="913" y="29"/>
                  </a:lnTo>
                  <a:lnTo>
                    <a:pt x="913" y="29"/>
                  </a:lnTo>
                  <a:lnTo>
                    <a:pt x="911" y="31"/>
                  </a:lnTo>
                  <a:lnTo>
                    <a:pt x="909" y="33"/>
                  </a:lnTo>
                  <a:lnTo>
                    <a:pt x="909" y="33"/>
                  </a:lnTo>
                  <a:lnTo>
                    <a:pt x="909" y="33"/>
                  </a:lnTo>
                  <a:lnTo>
                    <a:pt x="909" y="33"/>
                  </a:lnTo>
                  <a:lnTo>
                    <a:pt x="909" y="33"/>
                  </a:lnTo>
                  <a:lnTo>
                    <a:pt x="905" y="35"/>
                  </a:lnTo>
                  <a:lnTo>
                    <a:pt x="905" y="37"/>
                  </a:lnTo>
                  <a:lnTo>
                    <a:pt x="905" y="37"/>
                  </a:lnTo>
                  <a:lnTo>
                    <a:pt x="905" y="37"/>
                  </a:lnTo>
                  <a:lnTo>
                    <a:pt x="905" y="37"/>
                  </a:lnTo>
                  <a:lnTo>
                    <a:pt x="905" y="37"/>
                  </a:lnTo>
                  <a:lnTo>
                    <a:pt x="907" y="37"/>
                  </a:lnTo>
                  <a:lnTo>
                    <a:pt x="907" y="37"/>
                  </a:lnTo>
                  <a:lnTo>
                    <a:pt x="909" y="37"/>
                  </a:lnTo>
                  <a:lnTo>
                    <a:pt x="909" y="39"/>
                  </a:lnTo>
                  <a:lnTo>
                    <a:pt x="909" y="39"/>
                  </a:lnTo>
                  <a:lnTo>
                    <a:pt x="909" y="39"/>
                  </a:lnTo>
                  <a:lnTo>
                    <a:pt x="909" y="39"/>
                  </a:lnTo>
                  <a:lnTo>
                    <a:pt x="909" y="39"/>
                  </a:lnTo>
                  <a:lnTo>
                    <a:pt x="909" y="41"/>
                  </a:lnTo>
                  <a:lnTo>
                    <a:pt x="909" y="41"/>
                  </a:lnTo>
                  <a:lnTo>
                    <a:pt x="909" y="41"/>
                  </a:lnTo>
                  <a:lnTo>
                    <a:pt x="909" y="43"/>
                  </a:lnTo>
                  <a:lnTo>
                    <a:pt x="911" y="43"/>
                  </a:lnTo>
                  <a:lnTo>
                    <a:pt x="911" y="43"/>
                  </a:lnTo>
                  <a:lnTo>
                    <a:pt x="911" y="43"/>
                  </a:lnTo>
                  <a:lnTo>
                    <a:pt x="911" y="43"/>
                  </a:lnTo>
                  <a:lnTo>
                    <a:pt x="911" y="43"/>
                  </a:lnTo>
                  <a:lnTo>
                    <a:pt x="911" y="43"/>
                  </a:lnTo>
                  <a:lnTo>
                    <a:pt x="913" y="43"/>
                  </a:lnTo>
                  <a:lnTo>
                    <a:pt x="913" y="43"/>
                  </a:lnTo>
                  <a:lnTo>
                    <a:pt x="913" y="43"/>
                  </a:lnTo>
                  <a:lnTo>
                    <a:pt x="913" y="43"/>
                  </a:lnTo>
                  <a:lnTo>
                    <a:pt x="913" y="43"/>
                  </a:lnTo>
                  <a:lnTo>
                    <a:pt x="913" y="43"/>
                  </a:lnTo>
                  <a:lnTo>
                    <a:pt x="913" y="43"/>
                  </a:lnTo>
                  <a:lnTo>
                    <a:pt x="913" y="43"/>
                  </a:lnTo>
                  <a:lnTo>
                    <a:pt x="916" y="43"/>
                  </a:lnTo>
                  <a:lnTo>
                    <a:pt x="916" y="43"/>
                  </a:lnTo>
                  <a:lnTo>
                    <a:pt x="920" y="43"/>
                  </a:lnTo>
                  <a:lnTo>
                    <a:pt x="918" y="43"/>
                  </a:lnTo>
                  <a:lnTo>
                    <a:pt x="918" y="43"/>
                  </a:lnTo>
                  <a:lnTo>
                    <a:pt x="918" y="43"/>
                  </a:lnTo>
                  <a:lnTo>
                    <a:pt x="916" y="43"/>
                  </a:lnTo>
                  <a:lnTo>
                    <a:pt x="916" y="43"/>
                  </a:lnTo>
                  <a:lnTo>
                    <a:pt x="916" y="43"/>
                  </a:lnTo>
                  <a:lnTo>
                    <a:pt x="916" y="43"/>
                  </a:lnTo>
                  <a:lnTo>
                    <a:pt x="916" y="43"/>
                  </a:lnTo>
                  <a:lnTo>
                    <a:pt x="913" y="43"/>
                  </a:lnTo>
                  <a:lnTo>
                    <a:pt x="913" y="43"/>
                  </a:lnTo>
                  <a:lnTo>
                    <a:pt x="911" y="45"/>
                  </a:lnTo>
                  <a:lnTo>
                    <a:pt x="911" y="45"/>
                  </a:lnTo>
                  <a:lnTo>
                    <a:pt x="911" y="45"/>
                  </a:lnTo>
                  <a:lnTo>
                    <a:pt x="909" y="43"/>
                  </a:lnTo>
                  <a:lnTo>
                    <a:pt x="909" y="43"/>
                  </a:lnTo>
                  <a:lnTo>
                    <a:pt x="909" y="43"/>
                  </a:lnTo>
                  <a:lnTo>
                    <a:pt x="909" y="45"/>
                  </a:lnTo>
                  <a:lnTo>
                    <a:pt x="909" y="45"/>
                  </a:lnTo>
                  <a:lnTo>
                    <a:pt x="907" y="47"/>
                  </a:lnTo>
                  <a:lnTo>
                    <a:pt x="907" y="47"/>
                  </a:lnTo>
                  <a:lnTo>
                    <a:pt x="907" y="47"/>
                  </a:lnTo>
                  <a:lnTo>
                    <a:pt x="907" y="47"/>
                  </a:lnTo>
                  <a:lnTo>
                    <a:pt x="907" y="49"/>
                  </a:lnTo>
                  <a:lnTo>
                    <a:pt x="907" y="49"/>
                  </a:lnTo>
                  <a:lnTo>
                    <a:pt x="907" y="49"/>
                  </a:lnTo>
                  <a:lnTo>
                    <a:pt x="907" y="51"/>
                  </a:lnTo>
                  <a:lnTo>
                    <a:pt x="907" y="51"/>
                  </a:lnTo>
                  <a:lnTo>
                    <a:pt x="907" y="51"/>
                  </a:lnTo>
                  <a:lnTo>
                    <a:pt x="907" y="51"/>
                  </a:lnTo>
                  <a:lnTo>
                    <a:pt x="907" y="51"/>
                  </a:lnTo>
                  <a:lnTo>
                    <a:pt x="907" y="53"/>
                  </a:lnTo>
                  <a:lnTo>
                    <a:pt x="907" y="53"/>
                  </a:lnTo>
                  <a:lnTo>
                    <a:pt x="907" y="53"/>
                  </a:lnTo>
                  <a:lnTo>
                    <a:pt x="907" y="53"/>
                  </a:lnTo>
                  <a:lnTo>
                    <a:pt x="907" y="55"/>
                  </a:lnTo>
                  <a:lnTo>
                    <a:pt x="907" y="55"/>
                  </a:lnTo>
                  <a:lnTo>
                    <a:pt x="907" y="55"/>
                  </a:lnTo>
                  <a:lnTo>
                    <a:pt x="909" y="57"/>
                  </a:lnTo>
                  <a:lnTo>
                    <a:pt x="909" y="57"/>
                  </a:lnTo>
                  <a:lnTo>
                    <a:pt x="909" y="59"/>
                  </a:lnTo>
                  <a:lnTo>
                    <a:pt x="907" y="57"/>
                  </a:lnTo>
                  <a:lnTo>
                    <a:pt x="907" y="55"/>
                  </a:lnTo>
                  <a:lnTo>
                    <a:pt x="907" y="55"/>
                  </a:lnTo>
                  <a:lnTo>
                    <a:pt x="907" y="53"/>
                  </a:lnTo>
                  <a:lnTo>
                    <a:pt x="907" y="53"/>
                  </a:lnTo>
                  <a:lnTo>
                    <a:pt x="907" y="53"/>
                  </a:lnTo>
                  <a:lnTo>
                    <a:pt x="907" y="53"/>
                  </a:lnTo>
                  <a:lnTo>
                    <a:pt x="907" y="53"/>
                  </a:lnTo>
                  <a:lnTo>
                    <a:pt x="907" y="53"/>
                  </a:lnTo>
                  <a:lnTo>
                    <a:pt x="907" y="53"/>
                  </a:lnTo>
                  <a:lnTo>
                    <a:pt x="907" y="53"/>
                  </a:lnTo>
                  <a:lnTo>
                    <a:pt x="907" y="53"/>
                  </a:lnTo>
                  <a:lnTo>
                    <a:pt x="907" y="51"/>
                  </a:lnTo>
                  <a:lnTo>
                    <a:pt x="907" y="51"/>
                  </a:lnTo>
                  <a:lnTo>
                    <a:pt x="907" y="51"/>
                  </a:lnTo>
                  <a:lnTo>
                    <a:pt x="907" y="51"/>
                  </a:lnTo>
                  <a:lnTo>
                    <a:pt x="907" y="51"/>
                  </a:lnTo>
                  <a:lnTo>
                    <a:pt x="907" y="49"/>
                  </a:lnTo>
                  <a:lnTo>
                    <a:pt x="907" y="49"/>
                  </a:lnTo>
                  <a:lnTo>
                    <a:pt x="905" y="49"/>
                  </a:lnTo>
                  <a:lnTo>
                    <a:pt x="905" y="49"/>
                  </a:lnTo>
                  <a:lnTo>
                    <a:pt x="903" y="51"/>
                  </a:lnTo>
                  <a:lnTo>
                    <a:pt x="903" y="51"/>
                  </a:lnTo>
                  <a:lnTo>
                    <a:pt x="903" y="51"/>
                  </a:lnTo>
                  <a:lnTo>
                    <a:pt x="905" y="49"/>
                  </a:lnTo>
                  <a:lnTo>
                    <a:pt x="905" y="49"/>
                  </a:lnTo>
                  <a:lnTo>
                    <a:pt x="905" y="47"/>
                  </a:lnTo>
                  <a:lnTo>
                    <a:pt x="905" y="47"/>
                  </a:lnTo>
                  <a:lnTo>
                    <a:pt x="905" y="45"/>
                  </a:lnTo>
                  <a:lnTo>
                    <a:pt x="907" y="45"/>
                  </a:lnTo>
                  <a:lnTo>
                    <a:pt x="907" y="45"/>
                  </a:lnTo>
                  <a:lnTo>
                    <a:pt x="907" y="43"/>
                  </a:lnTo>
                  <a:lnTo>
                    <a:pt x="907" y="43"/>
                  </a:lnTo>
                  <a:lnTo>
                    <a:pt x="903" y="45"/>
                  </a:lnTo>
                  <a:lnTo>
                    <a:pt x="903" y="45"/>
                  </a:lnTo>
                  <a:lnTo>
                    <a:pt x="903" y="43"/>
                  </a:lnTo>
                  <a:lnTo>
                    <a:pt x="903" y="43"/>
                  </a:lnTo>
                  <a:lnTo>
                    <a:pt x="905" y="43"/>
                  </a:lnTo>
                  <a:lnTo>
                    <a:pt x="905" y="43"/>
                  </a:lnTo>
                  <a:lnTo>
                    <a:pt x="905" y="41"/>
                  </a:lnTo>
                  <a:lnTo>
                    <a:pt x="907" y="43"/>
                  </a:lnTo>
                  <a:lnTo>
                    <a:pt x="907" y="41"/>
                  </a:lnTo>
                  <a:lnTo>
                    <a:pt x="907" y="41"/>
                  </a:lnTo>
                  <a:lnTo>
                    <a:pt x="907" y="41"/>
                  </a:lnTo>
                  <a:lnTo>
                    <a:pt x="907" y="41"/>
                  </a:lnTo>
                  <a:lnTo>
                    <a:pt x="907" y="41"/>
                  </a:lnTo>
                  <a:lnTo>
                    <a:pt x="907" y="39"/>
                  </a:lnTo>
                  <a:lnTo>
                    <a:pt x="907" y="39"/>
                  </a:lnTo>
                  <a:lnTo>
                    <a:pt x="907" y="39"/>
                  </a:lnTo>
                  <a:lnTo>
                    <a:pt x="907" y="39"/>
                  </a:lnTo>
                  <a:lnTo>
                    <a:pt x="905" y="39"/>
                  </a:lnTo>
                  <a:lnTo>
                    <a:pt x="905" y="39"/>
                  </a:lnTo>
                  <a:lnTo>
                    <a:pt x="903" y="39"/>
                  </a:lnTo>
                  <a:lnTo>
                    <a:pt x="903" y="39"/>
                  </a:lnTo>
                  <a:lnTo>
                    <a:pt x="903" y="39"/>
                  </a:lnTo>
                  <a:lnTo>
                    <a:pt x="903" y="37"/>
                  </a:lnTo>
                  <a:lnTo>
                    <a:pt x="903" y="37"/>
                  </a:lnTo>
                  <a:lnTo>
                    <a:pt x="903" y="37"/>
                  </a:lnTo>
                  <a:lnTo>
                    <a:pt x="903" y="37"/>
                  </a:lnTo>
                  <a:lnTo>
                    <a:pt x="903" y="39"/>
                  </a:lnTo>
                  <a:lnTo>
                    <a:pt x="897" y="43"/>
                  </a:lnTo>
                  <a:lnTo>
                    <a:pt x="893" y="45"/>
                  </a:lnTo>
                  <a:lnTo>
                    <a:pt x="891" y="47"/>
                  </a:lnTo>
                  <a:lnTo>
                    <a:pt x="891" y="47"/>
                  </a:lnTo>
                  <a:lnTo>
                    <a:pt x="893" y="45"/>
                  </a:lnTo>
                  <a:lnTo>
                    <a:pt x="895" y="45"/>
                  </a:lnTo>
                  <a:lnTo>
                    <a:pt x="895" y="45"/>
                  </a:lnTo>
                  <a:lnTo>
                    <a:pt x="895" y="45"/>
                  </a:lnTo>
                  <a:lnTo>
                    <a:pt x="891" y="49"/>
                  </a:lnTo>
                  <a:lnTo>
                    <a:pt x="889" y="49"/>
                  </a:lnTo>
                  <a:lnTo>
                    <a:pt x="887" y="51"/>
                  </a:lnTo>
                  <a:lnTo>
                    <a:pt x="887" y="51"/>
                  </a:lnTo>
                  <a:lnTo>
                    <a:pt x="889" y="51"/>
                  </a:lnTo>
                  <a:lnTo>
                    <a:pt x="889" y="51"/>
                  </a:lnTo>
                  <a:lnTo>
                    <a:pt x="887" y="51"/>
                  </a:lnTo>
                  <a:lnTo>
                    <a:pt x="887" y="51"/>
                  </a:lnTo>
                  <a:lnTo>
                    <a:pt x="887" y="51"/>
                  </a:lnTo>
                  <a:lnTo>
                    <a:pt x="887" y="51"/>
                  </a:lnTo>
                  <a:lnTo>
                    <a:pt x="887" y="51"/>
                  </a:lnTo>
                  <a:lnTo>
                    <a:pt x="887" y="51"/>
                  </a:lnTo>
                  <a:lnTo>
                    <a:pt x="883" y="51"/>
                  </a:lnTo>
                  <a:lnTo>
                    <a:pt x="881" y="53"/>
                  </a:lnTo>
                  <a:lnTo>
                    <a:pt x="877" y="53"/>
                  </a:lnTo>
                  <a:lnTo>
                    <a:pt x="877" y="53"/>
                  </a:lnTo>
                  <a:lnTo>
                    <a:pt x="875" y="53"/>
                  </a:lnTo>
                  <a:lnTo>
                    <a:pt x="875" y="53"/>
                  </a:lnTo>
                  <a:lnTo>
                    <a:pt x="875" y="53"/>
                  </a:lnTo>
                  <a:lnTo>
                    <a:pt x="875" y="53"/>
                  </a:lnTo>
                  <a:lnTo>
                    <a:pt x="875" y="53"/>
                  </a:lnTo>
                  <a:lnTo>
                    <a:pt x="875" y="53"/>
                  </a:lnTo>
                  <a:lnTo>
                    <a:pt x="875" y="53"/>
                  </a:lnTo>
                  <a:lnTo>
                    <a:pt x="875" y="55"/>
                  </a:lnTo>
                  <a:lnTo>
                    <a:pt x="875" y="55"/>
                  </a:lnTo>
                  <a:lnTo>
                    <a:pt x="875" y="55"/>
                  </a:lnTo>
                  <a:lnTo>
                    <a:pt x="875" y="55"/>
                  </a:lnTo>
                  <a:lnTo>
                    <a:pt x="875" y="55"/>
                  </a:lnTo>
                  <a:lnTo>
                    <a:pt x="873" y="55"/>
                  </a:lnTo>
                  <a:lnTo>
                    <a:pt x="873" y="55"/>
                  </a:lnTo>
                  <a:lnTo>
                    <a:pt x="873" y="55"/>
                  </a:lnTo>
                  <a:lnTo>
                    <a:pt x="870" y="57"/>
                  </a:lnTo>
                  <a:lnTo>
                    <a:pt x="866" y="57"/>
                  </a:lnTo>
                  <a:lnTo>
                    <a:pt x="866" y="55"/>
                  </a:lnTo>
                  <a:lnTo>
                    <a:pt x="866" y="55"/>
                  </a:lnTo>
                  <a:lnTo>
                    <a:pt x="868" y="55"/>
                  </a:lnTo>
                  <a:lnTo>
                    <a:pt x="868" y="55"/>
                  </a:lnTo>
                  <a:lnTo>
                    <a:pt x="868" y="55"/>
                  </a:lnTo>
                  <a:lnTo>
                    <a:pt x="868" y="55"/>
                  </a:lnTo>
                  <a:lnTo>
                    <a:pt x="870" y="55"/>
                  </a:lnTo>
                  <a:lnTo>
                    <a:pt x="870" y="55"/>
                  </a:lnTo>
                  <a:lnTo>
                    <a:pt x="873" y="55"/>
                  </a:lnTo>
                  <a:lnTo>
                    <a:pt x="873" y="53"/>
                  </a:lnTo>
                  <a:lnTo>
                    <a:pt x="873" y="53"/>
                  </a:lnTo>
                  <a:lnTo>
                    <a:pt x="873" y="53"/>
                  </a:lnTo>
                  <a:lnTo>
                    <a:pt x="873" y="53"/>
                  </a:lnTo>
                  <a:lnTo>
                    <a:pt x="873" y="53"/>
                  </a:lnTo>
                  <a:lnTo>
                    <a:pt x="873" y="53"/>
                  </a:lnTo>
                  <a:lnTo>
                    <a:pt x="870" y="51"/>
                  </a:lnTo>
                  <a:lnTo>
                    <a:pt x="873" y="51"/>
                  </a:lnTo>
                  <a:lnTo>
                    <a:pt x="875" y="53"/>
                  </a:lnTo>
                  <a:lnTo>
                    <a:pt x="875" y="51"/>
                  </a:lnTo>
                  <a:lnTo>
                    <a:pt x="875" y="51"/>
                  </a:lnTo>
                  <a:lnTo>
                    <a:pt x="873" y="51"/>
                  </a:lnTo>
                  <a:lnTo>
                    <a:pt x="873" y="49"/>
                  </a:lnTo>
                  <a:lnTo>
                    <a:pt x="873" y="49"/>
                  </a:lnTo>
                  <a:lnTo>
                    <a:pt x="873" y="49"/>
                  </a:lnTo>
                  <a:lnTo>
                    <a:pt x="873" y="49"/>
                  </a:lnTo>
                  <a:lnTo>
                    <a:pt x="873" y="49"/>
                  </a:lnTo>
                  <a:lnTo>
                    <a:pt x="873" y="49"/>
                  </a:lnTo>
                  <a:lnTo>
                    <a:pt x="873" y="49"/>
                  </a:lnTo>
                  <a:lnTo>
                    <a:pt x="873" y="49"/>
                  </a:lnTo>
                  <a:lnTo>
                    <a:pt x="870" y="49"/>
                  </a:lnTo>
                  <a:lnTo>
                    <a:pt x="870" y="49"/>
                  </a:lnTo>
                  <a:lnTo>
                    <a:pt x="868" y="51"/>
                  </a:lnTo>
                  <a:lnTo>
                    <a:pt x="868" y="51"/>
                  </a:lnTo>
                  <a:lnTo>
                    <a:pt x="868" y="51"/>
                  </a:lnTo>
                  <a:lnTo>
                    <a:pt x="866" y="53"/>
                  </a:lnTo>
                  <a:lnTo>
                    <a:pt x="866" y="53"/>
                  </a:lnTo>
                  <a:lnTo>
                    <a:pt x="866" y="55"/>
                  </a:lnTo>
                  <a:lnTo>
                    <a:pt x="866" y="55"/>
                  </a:lnTo>
                  <a:lnTo>
                    <a:pt x="866" y="55"/>
                  </a:lnTo>
                  <a:lnTo>
                    <a:pt x="864" y="55"/>
                  </a:lnTo>
                  <a:lnTo>
                    <a:pt x="864" y="55"/>
                  </a:lnTo>
                  <a:lnTo>
                    <a:pt x="864" y="55"/>
                  </a:lnTo>
                  <a:lnTo>
                    <a:pt x="864" y="55"/>
                  </a:lnTo>
                  <a:lnTo>
                    <a:pt x="862" y="57"/>
                  </a:lnTo>
                  <a:lnTo>
                    <a:pt x="862" y="59"/>
                  </a:lnTo>
                  <a:lnTo>
                    <a:pt x="862" y="59"/>
                  </a:lnTo>
                  <a:lnTo>
                    <a:pt x="862" y="59"/>
                  </a:lnTo>
                  <a:lnTo>
                    <a:pt x="862" y="59"/>
                  </a:lnTo>
                  <a:lnTo>
                    <a:pt x="862" y="61"/>
                  </a:lnTo>
                  <a:lnTo>
                    <a:pt x="862" y="61"/>
                  </a:lnTo>
                  <a:lnTo>
                    <a:pt x="860" y="61"/>
                  </a:lnTo>
                  <a:lnTo>
                    <a:pt x="860" y="61"/>
                  </a:lnTo>
                  <a:lnTo>
                    <a:pt x="860" y="61"/>
                  </a:lnTo>
                  <a:lnTo>
                    <a:pt x="860" y="61"/>
                  </a:lnTo>
                  <a:lnTo>
                    <a:pt x="858" y="64"/>
                  </a:lnTo>
                  <a:lnTo>
                    <a:pt x="858" y="66"/>
                  </a:lnTo>
                  <a:lnTo>
                    <a:pt x="858" y="66"/>
                  </a:lnTo>
                  <a:lnTo>
                    <a:pt x="856" y="66"/>
                  </a:lnTo>
                  <a:lnTo>
                    <a:pt x="854" y="68"/>
                  </a:lnTo>
                  <a:lnTo>
                    <a:pt x="854" y="70"/>
                  </a:lnTo>
                  <a:lnTo>
                    <a:pt x="854" y="70"/>
                  </a:lnTo>
                  <a:lnTo>
                    <a:pt x="852" y="70"/>
                  </a:lnTo>
                  <a:lnTo>
                    <a:pt x="850" y="74"/>
                  </a:lnTo>
                  <a:lnTo>
                    <a:pt x="848" y="74"/>
                  </a:lnTo>
                  <a:lnTo>
                    <a:pt x="848" y="74"/>
                  </a:lnTo>
                  <a:lnTo>
                    <a:pt x="848" y="74"/>
                  </a:lnTo>
                  <a:lnTo>
                    <a:pt x="848" y="76"/>
                  </a:lnTo>
                  <a:lnTo>
                    <a:pt x="848" y="76"/>
                  </a:lnTo>
                  <a:lnTo>
                    <a:pt x="848" y="76"/>
                  </a:lnTo>
                  <a:lnTo>
                    <a:pt x="848" y="76"/>
                  </a:lnTo>
                  <a:lnTo>
                    <a:pt x="848" y="76"/>
                  </a:lnTo>
                  <a:lnTo>
                    <a:pt x="848" y="78"/>
                  </a:lnTo>
                  <a:lnTo>
                    <a:pt x="848" y="78"/>
                  </a:lnTo>
                  <a:lnTo>
                    <a:pt x="848" y="78"/>
                  </a:lnTo>
                  <a:lnTo>
                    <a:pt x="846" y="78"/>
                  </a:lnTo>
                  <a:lnTo>
                    <a:pt x="846" y="78"/>
                  </a:lnTo>
                  <a:lnTo>
                    <a:pt x="846" y="80"/>
                  </a:lnTo>
                  <a:lnTo>
                    <a:pt x="846" y="80"/>
                  </a:lnTo>
                  <a:lnTo>
                    <a:pt x="846" y="80"/>
                  </a:lnTo>
                  <a:lnTo>
                    <a:pt x="846" y="82"/>
                  </a:lnTo>
                  <a:lnTo>
                    <a:pt x="846" y="82"/>
                  </a:lnTo>
                  <a:lnTo>
                    <a:pt x="846" y="82"/>
                  </a:lnTo>
                  <a:lnTo>
                    <a:pt x="846" y="82"/>
                  </a:lnTo>
                  <a:lnTo>
                    <a:pt x="844" y="82"/>
                  </a:lnTo>
                  <a:lnTo>
                    <a:pt x="844" y="82"/>
                  </a:lnTo>
                  <a:lnTo>
                    <a:pt x="846" y="82"/>
                  </a:lnTo>
                  <a:lnTo>
                    <a:pt x="846" y="84"/>
                  </a:lnTo>
                  <a:lnTo>
                    <a:pt x="846" y="84"/>
                  </a:lnTo>
                  <a:lnTo>
                    <a:pt x="846" y="84"/>
                  </a:lnTo>
                  <a:lnTo>
                    <a:pt x="846" y="84"/>
                  </a:lnTo>
                  <a:lnTo>
                    <a:pt x="846" y="84"/>
                  </a:lnTo>
                  <a:lnTo>
                    <a:pt x="846" y="86"/>
                  </a:lnTo>
                  <a:lnTo>
                    <a:pt x="846" y="86"/>
                  </a:lnTo>
                  <a:lnTo>
                    <a:pt x="844" y="88"/>
                  </a:lnTo>
                  <a:lnTo>
                    <a:pt x="844" y="88"/>
                  </a:lnTo>
                  <a:lnTo>
                    <a:pt x="844" y="88"/>
                  </a:lnTo>
                  <a:lnTo>
                    <a:pt x="844" y="88"/>
                  </a:lnTo>
                  <a:lnTo>
                    <a:pt x="844" y="90"/>
                  </a:lnTo>
                  <a:lnTo>
                    <a:pt x="844" y="90"/>
                  </a:lnTo>
                  <a:lnTo>
                    <a:pt x="844" y="90"/>
                  </a:lnTo>
                  <a:lnTo>
                    <a:pt x="844" y="90"/>
                  </a:lnTo>
                  <a:lnTo>
                    <a:pt x="844" y="90"/>
                  </a:lnTo>
                  <a:lnTo>
                    <a:pt x="844" y="92"/>
                  </a:lnTo>
                  <a:lnTo>
                    <a:pt x="844" y="92"/>
                  </a:lnTo>
                  <a:lnTo>
                    <a:pt x="844" y="92"/>
                  </a:lnTo>
                  <a:lnTo>
                    <a:pt x="842" y="94"/>
                  </a:lnTo>
                  <a:lnTo>
                    <a:pt x="842" y="94"/>
                  </a:lnTo>
                  <a:lnTo>
                    <a:pt x="842" y="94"/>
                  </a:lnTo>
                  <a:lnTo>
                    <a:pt x="840" y="96"/>
                  </a:lnTo>
                  <a:lnTo>
                    <a:pt x="840" y="98"/>
                  </a:lnTo>
                  <a:lnTo>
                    <a:pt x="840" y="96"/>
                  </a:lnTo>
                  <a:lnTo>
                    <a:pt x="840" y="96"/>
                  </a:lnTo>
                  <a:lnTo>
                    <a:pt x="844" y="92"/>
                  </a:lnTo>
                  <a:lnTo>
                    <a:pt x="842" y="90"/>
                  </a:lnTo>
                  <a:lnTo>
                    <a:pt x="842" y="92"/>
                  </a:lnTo>
                  <a:lnTo>
                    <a:pt x="840" y="96"/>
                  </a:lnTo>
                  <a:lnTo>
                    <a:pt x="840" y="96"/>
                  </a:lnTo>
                  <a:lnTo>
                    <a:pt x="832" y="107"/>
                  </a:lnTo>
                  <a:lnTo>
                    <a:pt x="827" y="109"/>
                  </a:lnTo>
                  <a:lnTo>
                    <a:pt x="827" y="109"/>
                  </a:lnTo>
                  <a:lnTo>
                    <a:pt x="825" y="111"/>
                  </a:lnTo>
                  <a:lnTo>
                    <a:pt x="825" y="111"/>
                  </a:lnTo>
                  <a:lnTo>
                    <a:pt x="821" y="111"/>
                  </a:lnTo>
                  <a:lnTo>
                    <a:pt x="821" y="113"/>
                  </a:lnTo>
                  <a:lnTo>
                    <a:pt x="819" y="113"/>
                  </a:lnTo>
                  <a:lnTo>
                    <a:pt x="817" y="113"/>
                  </a:lnTo>
                  <a:lnTo>
                    <a:pt x="809" y="113"/>
                  </a:lnTo>
                  <a:lnTo>
                    <a:pt x="803" y="113"/>
                  </a:lnTo>
                  <a:lnTo>
                    <a:pt x="799" y="113"/>
                  </a:lnTo>
                  <a:lnTo>
                    <a:pt x="793" y="113"/>
                  </a:lnTo>
                  <a:lnTo>
                    <a:pt x="789" y="111"/>
                  </a:lnTo>
                  <a:lnTo>
                    <a:pt x="786" y="111"/>
                  </a:lnTo>
                  <a:lnTo>
                    <a:pt x="784" y="109"/>
                  </a:lnTo>
                  <a:lnTo>
                    <a:pt x="782" y="109"/>
                  </a:lnTo>
                  <a:lnTo>
                    <a:pt x="780" y="111"/>
                  </a:lnTo>
                  <a:lnTo>
                    <a:pt x="780" y="111"/>
                  </a:lnTo>
                  <a:lnTo>
                    <a:pt x="780" y="113"/>
                  </a:lnTo>
                  <a:lnTo>
                    <a:pt x="780" y="115"/>
                  </a:lnTo>
                  <a:lnTo>
                    <a:pt x="780" y="117"/>
                  </a:lnTo>
                  <a:lnTo>
                    <a:pt x="780" y="117"/>
                  </a:lnTo>
                  <a:lnTo>
                    <a:pt x="780" y="119"/>
                  </a:lnTo>
                  <a:lnTo>
                    <a:pt x="780" y="119"/>
                  </a:lnTo>
                  <a:lnTo>
                    <a:pt x="780" y="119"/>
                  </a:lnTo>
                  <a:lnTo>
                    <a:pt x="780" y="121"/>
                  </a:lnTo>
                  <a:lnTo>
                    <a:pt x="780" y="121"/>
                  </a:lnTo>
                  <a:lnTo>
                    <a:pt x="780" y="121"/>
                  </a:lnTo>
                  <a:lnTo>
                    <a:pt x="778" y="121"/>
                  </a:lnTo>
                  <a:lnTo>
                    <a:pt x="780" y="121"/>
                  </a:lnTo>
                  <a:lnTo>
                    <a:pt x="778" y="123"/>
                  </a:lnTo>
                  <a:lnTo>
                    <a:pt x="778" y="123"/>
                  </a:lnTo>
                  <a:lnTo>
                    <a:pt x="778" y="125"/>
                  </a:lnTo>
                  <a:lnTo>
                    <a:pt x="778" y="125"/>
                  </a:lnTo>
                  <a:lnTo>
                    <a:pt x="778" y="125"/>
                  </a:lnTo>
                  <a:lnTo>
                    <a:pt x="778" y="125"/>
                  </a:lnTo>
                  <a:lnTo>
                    <a:pt x="778" y="127"/>
                  </a:lnTo>
                  <a:lnTo>
                    <a:pt x="776" y="127"/>
                  </a:lnTo>
                  <a:lnTo>
                    <a:pt x="776" y="127"/>
                  </a:lnTo>
                  <a:lnTo>
                    <a:pt x="776" y="129"/>
                  </a:lnTo>
                  <a:lnTo>
                    <a:pt x="776" y="129"/>
                  </a:lnTo>
                  <a:lnTo>
                    <a:pt x="776" y="131"/>
                  </a:lnTo>
                  <a:lnTo>
                    <a:pt x="774" y="131"/>
                  </a:lnTo>
                  <a:lnTo>
                    <a:pt x="774" y="131"/>
                  </a:lnTo>
                  <a:lnTo>
                    <a:pt x="774" y="133"/>
                  </a:lnTo>
                  <a:lnTo>
                    <a:pt x="776" y="133"/>
                  </a:lnTo>
                  <a:lnTo>
                    <a:pt x="774" y="133"/>
                  </a:lnTo>
                  <a:lnTo>
                    <a:pt x="774" y="133"/>
                  </a:lnTo>
                  <a:lnTo>
                    <a:pt x="774" y="133"/>
                  </a:lnTo>
                  <a:lnTo>
                    <a:pt x="774" y="133"/>
                  </a:lnTo>
                  <a:lnTo>
                    <a:pt x="774" y="133"/>
                  </a:lnTo>
                  <a:lnTo>
                    <a:pt x="772" y="133"/>
                  </a:lnTo>
                  <a:lnTo>
                    <a:pt x="772" y="133"/>
                  </a:lnTo>
                  <a:lnTo>
                    <a:pt x="770" y="135"/>
                  </a:lnTo>
                  <a:lnTo>
                    <a:pt x="768" y="135"/>
                  </a:lnTo>
                  <a:lnTo>
                    <a:pt x="766" y="133"/>
                  </a:lnTo>
                  <a:lnTo>
                    <a:pt x="768" y="133"/>
                  </a:lnTo>
                  <a:lnTo>
                    <a:pt x="772" y="133"/>
                  </a:lnTo>
                  <a:lnTo>
                    <a:pt x="772" y="131"/>
                  </a:lnTo>
                  <a:lnTo>
                    <a:pt x="772" y="131"/>
                  </a:lnTo>
                  <a:lnTo>
                    <a:pt x="770" y="133"/>
                  </a:lnTo>
                  <a:lnTo>
                    <a:pt x="766" y="133"/>
                  </a:lnTo>
                  <a:lnTo>
                    <a:pt x="766" y="135"/>
                  </a:lnTo>
                  <a:lnTo>
                    <a:pt x="766" y="135"/>
                  </a:lnTo>
                  <a:lnTo>
                    <a:pt x="766" y="135"/>
                  </a:lnTo>
                  <a:lnTo>
                    <a:pt x="768" y="135"/>
                  </a:lnTo>
                  <a:lnTo>
                    <a:pt x="774" y="139"/>
                  </a:lnTo>
                  <a:lnTo>
                    <a:pt x="776" y="141"/>
                  </a:lnTo>
                  <a:lnTo>
                    <a:pt x="778" y="143"/>
                  </a:lnTo>
                  <a:lnTo>
                    <a:pt x="778" y="143"/>
                  </a:lnTo>
                  <a:lnTo>
                    <a:pt x="778" y="143"/>
                  </a:lnTo>
                  <a:lnTo>
                    <a:pt x="778" y="146"/>
                  </a:lnTo>
                  <a:lnTo>
                    <a:pt x="778" y="148"/>
                  </a:lnTo>
                  <a:lnTo>
                    <a:pt x="780" y="148"/>
                  </a:lnTo>
                  <a:lnTo>
                    <a:pt x="782" y="150"/>
                  </a:lnTo>
                  <a:lnTo>
                    <a:pt x="786" y="152"/>
                  </a:lnTo>
                  <a:lnTo>
                    <a:pt x="789" y="154"/>
                  </a:lnTo>
                  <a:lnTo>
                    <a:pt x="793" y="158"/>
                  </a:lnTo>
                  <a:lnTo>
                    <a:pt x="795" y="162"/>
                  </a:lnTo>
                  <a:lnTo>
                    <a:pt x="799" y="166"/>
                  </a:lnTo>
                  <a:lnTo>
                    <a:pt x="799" y="168"/>
                  </a:lnTo>
                  <a:lnTo>
                    <a:pt x="801" y="168"/>
                  </a:lnTo>
                  <a:lnTo>
                    <a:pt x="801" y="170"/>
                  </a:lnTo>
                  <a:lnTo>
                    <a:pt x="801" y="168"/>
                  </a:lnTo>
                  <a:lnTo>
                    <a:pt x="801" y="168"/>
                  </a:lnTo>
                  <a:lnTo>
                    <a:pt x="801" y="168"/>
                  </a:lnTo>
                  <a:lnTo>
                    <a:pt x="801" y="168"/>
                  </a:lnTo>
                  <a:lnTo>
                    <a:pt x="801" y="168"/>
                  </a:lnTo>
                  <a:lnTo>
                    <a:pt x="801" y="168"/>
                  </a:lnTo>
                  <a:lnTo>
                    <a:pt x="801" y="168"/>
                  </a:lnTo>
                  <a:lnTo>
                    <a:pt x="803" y="172"/>
                  </a:lnTo>
                  <a:lnTo>
                    <a:pt x="805" y="172"/>
                  </a:lnTo>
                  <a:lnTo>
                    <a:pt x="805" y="174"/>
                  </a:lnTo>
                  <a:lnTo>
                    <a:pt x="811" y="180"/>
                  </a:lnTo>
                  <a:lnTo>
                    <a:pt x="811" y="184"/>
                  </a:lnTo>
                  <a:lnTo>
                    <a:pt x="813" y="186"/>
                  </a:lnTo>
                  <a:lnTo>
                    <a:pt x="815" y="195"/>
                  </a:lnTo>
                  <a:lnTo>
                    <a:pt x="815" y="197"/>
                  </a:lnTo>
                  <a:lnTo>
                    <a:pt x="815" y="199"/>
                  </a:lnTo>
                  <a:lnTo>
                    <a:pt x="815" y="199"/>
                  </a:lnTo>
                  <a:lnTo>
                    <a:pt x="815" y="203"/>
                  </a:lnTo>
                  <a:lnTo>
                    <a:pt x="815" y="205"/>
                  </a:lnTo>
                  <a:lnTo>
                    <a:pt x="815" y="207"/>
                  </a:lnTo>
                  <a:lnTo>
                    <a:pt x="815" y="207"/>
                  </a:lnTo>
                  <a:lnTo>
                    <a:pt x="815" y="209"/>
                  </a:lnTo>
                  <a:lnTo>
                    <a:pt x="821" y="211"/>
                  </a:lnTo>
                  <a:lnTo>
                    <a:pt x="821" y="211"/>
                  </a:lnTo>
                  <a:lnTo>
                    <a:pt x="825" y="213"/>
                  </a:lnTo>
                  <a:lnTo>
                    <a:pt x="827" y="213"/>
                  </a:lnTo>
                  <a:lnTo>
                    <a:pt x="832" y="215"/>
                  </a:lnTo>
                  <a:lnTo>
                    <a:pt x="832" y="215"/>
                  </a:lnTo>
                  <a:lnTo>
                    <a:pt x="832" y="215"/>
                  </a:lnTo>
                  <a:lnTo>
                    <a:pt x="832" y="215"/>
                  </a:lnTo>
                  <a:lnTo>
                    <a:pt x="830" y="215"/>
                  </a:lnTo>
                  <a:lnTo>
                    <a:pt x="830" y="213"/>
                  </a:lnTo>
                  <a:lnTo>
                    <a:pt x="830" y="213"/>
                  </a:lnTo>
                  <a:lnTo>
                    <a:pt x="832" y="213"/>
                  </a:lnTo>
                  <a:lnTo>
                    <a:pt x="834" y="213"/>
                  </a:lnTo>
                  <a:lnTo>
                    <a:pt x="836" y="215"/>
                  </a:lnTo>
                  <a:lnTo>
                    <a:pt x="836" y="215"/>
                  </a:lnTo>
                  <a:lnTo>
                    <a:pt x="836" y="215"/>
                  </a:lnTo>
                  <a:lnTo>
                    <a:pt x="836" y="215"/>
                  </a:lnTo>
                  <a:lnTo>
                    <a:pt x="836" y="215"/>
                  </a:lnTo>
                  <a:lnTo>
                    <a:pt x="836" y="215"/>
                  </a:lnTo>
                  <a:lnTo>
                    <a:pt x="838" y="215"/>
                  </a:lnTo>
                  <a:lnTo>
                    <a:pt x="838" y="215"/>
                  </a:lnTo>
                  <a:lnTo>
                    <a:pt x="840" y="213"/>
                  </a:lnTo>
                  <a:lnTo>
                    <a:pt x="842" y="211"/>
                  </a:lnTo>
                  <a:lnTo>
                    <a:pt x="842" y="211"/>
                  </a:lnTo>
                  <a:lnTo>
                    <a:pt x="842" y="209"/>
                  </a:lnTo>
                  <a:lnTo>
                    <a:pt x="842" y="209"/>
                  </a:lnTo>
                  <a:lnTo>
                    <a:pt x="842" y="209"/>
                  </a:lnTo>
                  <a:lnTo>
                    <a:pt x="842" y="209"/>
                  </a:lnTo>
                  <a:lnTo>
                    <a:pt x="842" y="209"/>
                  </a:lnTo>
                  <a:lnTo>
                    <a:pt x="844" y="209"/>
                  </a:lnTo>
                  <a:lnTo>
                    <a:pt x="844" y="209"/>
                  </a:lnTo>
                  <a:lnTo>
                    <a:pt x="844" y="209"/>
                  </a:lnTo>
                  <a:lnTo>
                    <a:pt x="844" y="209"/>
                  </a:lnTo>
                  <a:lnTo>
                    <a:pt x="842" y="211"/>
                  </a:lnTo>
                  <a:lnTo>
                    <a:pt x="842" y="213"/>
                  </a:lnTo>
                  <a:lnTo>
                    <a:pt x="842" y="213"/>
                  </a:lnTo>
                  <a:lnTo>
                    <a:pt x="842" y="213"/>
                  </a:lnTo>
                  <a:lnTo>
                    <a:pt x="842" y="215"/>
                  </a:lnTo>
                  <a:lnTo>
                    <a:pt x="840" y="217"/>
                  </a:lnTo>
                  <a:lnTo>
                    <a:pt x="840" y="217"/>
                  </a:lnTo>
                  <a:lnTo>
                    <a:pt x="840" y="217"/>
                  </a:lnTo>
                  <a:lnTo>
                    <a:pt x="840" y="217"/>
                  </a:lnTo>
                  <a:lnTo>
                    <a:pt x="842" y="217"/>
                  </a:lnTo>
                  <a:lnTo>
                    <a:pt x="844" y="217"/>
                  </a:lnTo>
                  <a:lnTo>
                    <a:pt x="844" y="217"/>
                  </a:lnTo>
                  <a:lnTo>
                    <a:pt x="844" y="215"/>
                  </a:lnTo>
                  <a:lnTo>
                    <a:pt x="844" y="215"/>
                  </a:lnTo>
                  <a:lnTo>
                    <a:pt x="844" y="215"/>
                  </a:lnTo>
                  <a:lnTo>
                    <a:pt x="844" y="213"/>
                  </a:lnTo>
                  <a:lnTo>
                    <a:pt x="844" y="213"/>
                  </a:lnTo>
                  <a:lnTo>
                    <a:pt x="844" y="213"/>
                  </a:lnTo>
                  <a:lnTo>
                    <a:pt x="844" y="215"/>
                  </a:lnTo>
                  <a:lnTo>
                    <a:pt x="844" y="215"/>
                  </a:lnTo>
                  <a:lnTo>
                    <a:pt x="844" y="215"/>
                  </a:lnTo>
                  <a:lnTo>
                    <a:pt x="844" y="215"/>
                  </a:lnTo>
                  <a:lnTo>
                    <a:pt x="844" y="217"/>
                  </a:lnTo>
                  <a:lnTo>
                    <a:pt x="844" y="217"/>
                  </a:lnTo>
                  <a:lnTo>
                    <a:pt x="850" y="215"/>
                  </a:lnTo>
                  <a:lnTo>
                    <a:pt x="852" y="215"/>
                  </a:lnTo>
                  <a:lnTo>
                    <a:pt x="854" y="217"/>
                  </a:lnTo>
                  <a:lnTo>
                    <a:pt x="854" y="217"/>
                  </a:lnTo>
                  <a:lnTo>
                    <a:pt x="854" y="217"/>
                  </a:lnTo>
                  <a:lnTo>
                    <a:pt x="854" y="217"/>
                  </a:lnTo>
                  <a:lnTo>
                    <a:pt x="854" y="217"/>
                  </a:lnTo>
                  <a:lnTo>
                    <a:pt x="856" y="217"/>
                  </a:lnTo>
                  <a:lnTo>
                    <a:pt x="856" y="217"/>
                  </a:lnTo>
                  <a:lnTo>
                    <a:pt x="856" y="217"/>
                  </a:lnTo>
                  <a:lnTo>
                    <a:pt x="856" y="217"/>
                  </a:lnTo>
                  <a:lnTo>
                    <a:pt x="856" y="217"/>
                  </a:lnTo>
                  <a:lnTo>
                    <a:pt x="856" y="217"/>
                  </a:lnTo>
                  <a:lnTo>
                    <a:pt x="856" y="219"/>
                  </a:lnTo>
                  <a:lnTo>
                    <a:pt x="856" y="219"/>
                  </a:lnTo>
                  <a:lnTo>
                    <a:pt x="858" y="219"/>
                  </a:lnTo>
                  <a:lnTo>
                    <a:pt x="858" y="219"/>
                  </a:lnTo>
                  <a:lnTo>
                    <a:pt x="858" y="219"/>
                  </a:lnTo>
                  <a:lnTo>
                    <a:pt x="858" y="219"/>
                  </a:lnTo>
                  <a:lnTo>
                    <a:pt x="858" y="221"/>
                  </a:lnTo>
                  <a:lnTo>
                    <a:pt x="858" y="221"/>
                  </a:lnTo>
                  <a:lnTo>
                    <a:pt x="858" y="221"/>
                  </a:lnTo>
                  <a:lnTo>
                    <a:pt x="856" y="221"/>
                  </a:lnTo>
                  <a:lnTo>
                    <a:pt x="856" y="221"/>
                  </a:lnTo>
                  <a:lnTo>
                    <a:pt x="854" y="221"/>
                  </a:lnTo>
                  <a:lnTo>
                    <a:pt x="854" y="221"/>
                  </a:lnTo>
                  <a:lnTo>
                    <a:pt x="854" y="221"/>
                  </a:lnTo>
                  <a:lnTo>
                    <a:pt x="854" y="221"/>
                  </a:lnTo>
                  <a:lnTo>
                    <a:pt x="854" y="221"/>
                  </a:lnTo>
                  <a:lnTo>
                    <a:pt x="854" y="223"/>
                  </a:lnTo>
                  <a:lnTo>
                    <a:pt x="852" y="223"/>
                  </a:lnTo>
                  <a:lnTo>
                    <a:pt x="852" y="223"/>
                  </a:lnTo>
                  <a:lnTo>
                    <a:pt x="852" y="225"/>
                  </a:lnTo>
                  <a:lnTo>
                    <a:pt x="852" y="225"/>
                  </a:lnTo>
                  <a:lnTo>
                    <a:pt x="852" y="225"/>
                  </a:lnTo>
                  <a:lnTo>
                    <a:pt x="852" y="227"/>
                  </a:lnTo>
                  <a:lnTo>
                    <a:pt x="852" y="227"/>
                  </a:lnTo>
                  <a:lnTo>
                    <a:pt x="850" y="227"/>
                  </a:lnTo>
                  <a:lnTo>
                    <a:pt x="850" y="227"/>
                  </a:lnTo>
                  <a:lnTo>
                    <a:pt x="850" y="230"/>
                  </a:lnTo>
                  <a:lnTo>
                    <a:pt x="850" y="230"/>
                  </a:lnTo>
                  <a:lnTo>
                    <a:pt x="850" y="232"/>
                  </a:lnTo>
                  <a:lnTo>
                    <a:pt x="850" y="232"/>
                  </a:lnTo>
                  <a:lnTo>
                    <a:pt x="850" y="232"/>
                  </a:lnTo>
                  <a:lnTo>
                    <a:pt x="850" y="234"/>
                  </a:lnTo>
                  <a:lnTo>
                    <a:pt x="854" y="240"/>
                  </a:lnTo>
                  <a:lnTo>
                    <a:pt x="854" y="240"/>
                  </a:lnTo>
                  <a:lnTo>
                    <a:pt x="856" y="240"/>
                  </a:lnTo>
                  <a:lnTo>
                    <a:pt x="856" y="242"/>
                  </a:lnTo>
                  <a:lnTo>
                    <a:pt x="856" y="242"/>
                  </a:lnTo>
                  <a:lnTo>
                    <a:pt x="856" y="242"/>
                  </a:lnTo>
                  <a:lnTo>
                    <a:pt x="856" y="244"/>
                  </a:lnTo>
                  <a:lnTo>
                    <a:pt x="856" y="244"/>
                  </a:lnTo>
                  <a:lnTo>
                    <a:pt x="858" y="244"/>
                  </a:lnTo>
                  <a:lnTo>
                    <a:pt x="858" y="244"/>
                  </a:lnTo>
                  <a:lnTo>
                    <a:pt x="858" y="244"/>
                  </a:lnTo>
                  <a:lnTo>
                    <a:pt x="860" y="244"/>
                  </a:lnTo>
                  <a:lnTo>
                    <a:pt x="862" y="244"/>
                  </a:lnTo>
                  <a:lnTo>
                    <a:pt x="862" y="242"/>
                  </a:lnTo>
                  <a:lnTo>
                    <a:pt x="862" y="242"/>
                  </a:lnTo>
                  <a:lnTo>
                    <a:pt x="862" y="242"/>
                  </a:lnTo>
                  <a:lnTo>
                    <a:pt x="862" y="242"/>
                  </a:lnTo>
                  <a:lnTo>
                    <a:pt x="862" y="242"/>
                  </a:lnTo>
                  <a:lnTo>
                    <a:pt x="862" y="240"/>
                  </a:lnTo>
                  <a:lnTo>
                    <a:pt x="862" y="240"/>
                  </a:lnTo>
                  <a:lnTo>
                    <a:pt x="862" y="240"/>
                  </a:lnTo>
                  <a:lnTo>
                    <a:pt x="862" y="240"/>
                  </a:lnTo>
                  <a:lnTo>
                    <a:pt x="862" y="240"/>
                  </a:lnTo>
                  <a:lnTo>
                    <a:pt x="862" y="240"/>
                  </a:lnTo>
                  <a:lnTo>
                    <a:pt x="864" y="238"/>
                  </a:lnTo>
                  <a:lnTo>
                    <a:pt x="864" y="238"/>
                  </a:lnTo>
                  <a:lnTo>
                    <a:pt x="866" y="238"/>
                  </a:lnTo>
                  <a:lnTo>
                    <a:pt x="870" y="238"/>
                  </a:lnTo>
                  <a:lnTo>
                    <a:pt x="870" y="238"/>
                  </a:lnTo>
                  <a:lnTo>
                    <a:pt x="875" y="242"/>
                  </a:lnTo>
                  <a:lnTo>
                    <a:pt x="875" y="242"/>
                  </a:lnTo>
                  <a:lnTo>
                    <a:pt x="877" y="242"/>
                  </a:lnTo>
                  <a:lnTo>
                    <a:pt x="877" y="242"/>
                  </a:lnTo>
                  <a:lnTo>
                    <a:pt x="877" y="242"/>
                  </a:lnTo>
                  <a:lnTo>
                    <a:pt x="877" y="242"/>
                  </a:lnTo>
                  <a:lnTo>
                    <a:pt x="877" y="242"/>
                  </a:lnTo>
                  <a:lnTo>
                    <a:pt x="879" y="240"/>
                  </a:lnTo>
                  <a:lnTo>
                    <a:pt x="879" y="240"/>
                  </a:lnTo>
                  <a:lnTo>
                    <a:pt x="881" y="242"/>
                  </a:lnTo>
                  <a:lnTo>
                    <a:pt x="881" y="242"/>
                  </a:lnTo>
                  <a:lnTo>
                    <a:pt x="881" y="240"/>
                  </a:lnTo>
                  <a:lnTo>
                    <a:pt x="881" y="240"/>
                  </a:lnTo>
                  <a:lnTo>
                    <a:pt x="883" y="240"/>
                  </a:lnTo>
                  <a:lnTo>
                    <a:pt x="883" y="240"/>
                  </a:lnTo>
                  <a:lnTo>
                    <a:pt x="883" y="240"/>
                  </a:lnTo>
                  <a:lnTo>
                    <a:pt x="883" y="240"/>
                  </a:lnTo>
                  <a:lnTo>
                    <a:pt x="881" y="242"/>
                  </a:lnTo>
                  <a:lnTo>
                    <a:pt x="881" y="242"/>
                  </a:lnTo>
                  <a:lnTo>
                    <a:pt x="881" y="242"/>
                  </a:lnTo>
                  <a:lnTo>
                    <a:pt x="881" y="242"/>
                  </a:lnTo>
                  <a:lnTo>
                    <a:pt x="881" y="242"/>
                  </a:lnTo>
                  <a:lnTo>
                    <a:pt x="883" y="244"/>
                  </a:lnTo>
                  <a:lnTo>
                    <a:pt x="883" y="246"/>
                  </a:lnTo>
                  <a:lnTo>
                    <a:pt x="883" y="248"/>
                  </a:lnTo>
                  <a:lnTo>
                    <a:pt x="883" y="250"/>
                  </a:lnTo>
                  <a:lnTo>
                    <a:pt x="883" y="252"/>
                  </a:lnTo>
                  <a:lnTo>
                    <a:pt x="883" y="252"/>
                  </a:lnTo>
                  <a:lnTo>
                    <a:pt x="883" y="252"/>
                  </a:lnTo>
                  <a:lnTo>
                    <a:pt x="877" y="252"/>
                  </a:lnTo>
                  <a:lnTo>
                    <a:pt x="875" y="254"/>
                  </a:lnTo>
                  <a:lnTo>
                    <a:pt x="873" y="254"/>
                  </a:lnTo>
                  <a:lnTo>
                    <a:pt x="870" y="254"/>
                  </a:lnTo>
                  <a:lnTo>
                    <a:pt x="870" y="254"/>
                  </a:lnTo>
                  <a:lnTo>
                    <a:pt x="866" y="250"/>
                  </a:lnTo>
                  <a:lnTo>
                    <a:pt x="866" y="248"/>
                  </a:lnTo>
                  <a:lnTo>
                    <a:pt x="866" y="248"/>
                  </a:lnTo>
                  <a:lnTo>
                    <a:pt x="864" y="246"/>
                  </a:lnTo>
                  <a:lnTo>
                    <a:pt x="864" y="246"/>
                  </a:lnTo>
                  <a:lnTo>
                    <a:pt x="862" y="244"/>
                  </a:lnTo>
                  <a:lnTo>
                    <a:pt x="862" y="244"/>
                  </a:lnTo>
                  <a:lnTo>
                    <a:pt x="862" y="244"/>
                  </a:lnTo>
                  <a:lnTo>
                    <a:pt x="862" y="244"/>
                  </a:lnTo>
                  <a:lnTo>
                    <a:pt x="860" y="246"/>
                  </a:lnTo>
                  <a:lnTo>
                    <a:pt x="860" y="246"/>
                  </a:lnTo>
                  <a:lnTo>
                    <a:pt x="860" y="246"/>
                  </a:lnTo>
                  <a:lnTo>
                    <a:pt x="860" y="246"/>
                  </a:lnTo>
                  <a:lnTo>
                    <a:pt x="858" y="246"/>
                  </a:lnTo>
                  <a:lnTo>
                    <a:pt x="858" y="248"/>
                  </a:lnTo>
                  <a:lnTo>
                    <a:pt x="854" y="248"/>
                  </a:lnTo>
                  <a:lnTo>
                    <a:pt x="854" y="248"/>
                  </a:lnTo>
                  <a:lnTo>
                    <a:pt x="848" y="242"/>
                  </a:lnTo>
                  <a:lnTo>
                    <a:pt x="848" y="242"/>
                  </a:lnTo>
                  <a:lnTo>
                    <a:pt x="846" y="238"/>
                  </a:lnTo>
                  <a:lnTo>
                    <a:pt x="846" y="238"/>
                  </a:lnTo>
                  <a:lnTo>
                    <a:pt x="846" y="236"/>
                  </a:lnTo>
                  <a:lnTo>
                    <a:pt x="846" y="236"/>
                  </a:lnTo>
                  <a:lnTo>
                    <a:pt x="846" y="234"/>
                  </a:lnTo>
                  <a:lnTo>
                    <a:pt x="846" y="234"/>
                  </a:lnTo>
                  <a:lnTo>
                    <a:pt x="846" y="232"/>
                  </a:lnTo>
                  <a:lnTo>
                    <a:pt x="848" y="230"/>
                  </a:lnTo>
                  <a:lnTo>
                    <a:pt x="848" y="230"/>
                  </a:lnTo>
                  <a:lnTo>
                    <a:pt x="848" y="230"/>
                  </a:lnTo>
                  <a:lnTo>
                    <a:pt x="846" y="230"/>
                  </a:lnTo>
                  <a:lnTo>
                    <a:pt x="846" y="227"/>
                  </a:lnTo>
                  <a:lnTo>
                    <a:pt x="844" y="225"/>
                  </a:lnTo>
                  <a:lnTo>
                    <a:pt x="844" y="221"/>
                  </a:lnTo>
                  <a:lnTo>
                    <a:pt x="842" y="219"/>
                  </a:lnTo>
                  <a:lnTo>
                    <a:pt x="842" y="219"/>
                  </a:lnTo>
                  <a:lnTo>
                    <a:pt x="842" y="219"/>
                  </a:lnTo>
                  <a:lnTo>
                    <a:pt x="842" y="221"/>
                  </a:lnTo>
                  <a:lnTo>
                    <a:pt x="840" y="221"/>
                  </a:lnTo>
                  <a:lnTo>
                    <a:pt x="840" y="221"/>
                  </a:lnTo>
                  <a:lnTo>
                    <a:pt x="840" y="219"/>
                  </a:lnTo>
                  <a:lnTo>
                    <a:pt x="840" y="219"/>
                  </a:lnTo>
                  <a:lnTo>
                    <a:pt x="840" y="219"/>
                  </a:lnTo>
                  <a:lnTo>
                    <a:pt x="840" y="219"/>
                  </a:lnTo>
                  <a:lnTo>
                    <a:pt x="838" y="219"/>
                  </a:lnTo>
                  <a:lnTo>
                    <a:pt x="838" y="219"/>
                  </a:lnTo>
                  <a:lnTo>
                    <a:pt x="838" y="221"/>
                  </a:lnTo>
                  <a:lnTo>
                    <a:pt x="838" y="221"/>
                  </a:lnTo>
                  <a:lnTo>
                    <a:pt x="838" y="221"/>
                  </a:lnTo>
                  <a:lnTo>
                    <a:pt x="838" y="221"/>
                  </a:lnTo>
                  <a:lnTo>
                    <a:pt x="836" y="221"/>
                  </a:lnTo>
                  <a:lnTo>
                    <a:pt x="836" y="221"/>
                  </a:lnTo>
                  <a:lnTo>
                    <a:pt x="836" y="223"/>
                  </a:lnTo>
                  <a:lnTo>
                    <a:pt x="836" y="223"/>
                  </a:lnTo>
                  <a:lnTo>
                    <a:pt x="836" y="225"/>
                  </a:lnTo>
                  <a:lnTo>
                    <a:pt x="836" y="225"/>
                  </a:lnTo>
                  <a:lnTo>
                    <a:pt x="836" y="225"/>
                  </a:lnTo>
                  <a:lnTo>
                    <a:pt x="838" y="227"/>
                  </a:lnTo>
                  <a:lnTo>
                    <a:pt x="838" y="227"/>
                  </a:lnTo>
                  <a:lnTo>
                    <a:pt x="838" y="227"/>
                  </a:lnTo>
                  <a:lnTo>
                    <a:pt x="838" y="230"/>
                  </a:lnTo>
                  <a:lnTo>
                    <a:pt x="838" y="230"/>
                  </a:lnTo>
                  <a:lnTo>
                    <a:pt x="838" y="230"/>
                  </a:lnTo>
                  <a:lnTo>
                    <a:pt x="838" y="230"/>
                  </a:lnTo>
                  <a:lnTo>
                    <a:pt x="838" y="230"/>
                  </a:lnTo>
                  <a:lnTo>
                    <a:pt x="838" y="230"/>
                  </a:lnTo>
                  <a:lnTo>
                    <a:pt x="838" y="232"/>
                  </a:lnTo>
                  <a:lnTo>
                    <a:pt x="842" y="232"/>
                  </a:lnTo>
                  <a:lnTo>
                    <a:pt x="844" y="234"/>
                  </a:lnTo>
                  <a:lnTo>
                    <a:pt x="844" y="234"/>
                  </a:lnTo>
                  <a:lnTo>
                    <a:pt x="846" y="238"/>
                  </a:lnTo>
                  <a:lnTo>
                    <a:pt x="848" y="242"/>
                  </a:lnTo>
                  <a:lnTo>
                    <a:pt x="848" y="244"/>
                  </a:lnTo>
                  <a:lnTo>
                    <a:pt x="848" y="246"/>
                  </a:lnTo>
                  <a:lnTo>
                    <a:pt x="848" y="246"/>
                  </a:lnTo>
                  <a:lnTo>
                    <a:pt x="848" y="248"/>
                  </a:lnTo>
                  <a:lnTo>
                    <a:pt x="848" y="248"/>
                  </a:lnTo>
                  <a:lnTo>
                    <a:pt x="848" y="248"/>
                  </a:lnTo>
                  <a:lnTo>
                    <a:pt x="846" y="250"/>
                  </a:lnTo>
                  <a:lnTo>
                    <a:pt x="846" y="252"/>
                  </a:lnTo>
                  <a:lnTo>
                    <a:pt x="846" y="252"/>
                  </a:lnTo>
                  <a:lnTo>
                    <a:pt x="846" y="252"/>
                  </a:lnTo>
                  <a:lnTo>
                    <a:pt x="846" y="254"/>
                  </a:lnTo>
                  <a:lnTo>
                    <a:pt x="846" y="254"/>
                  </a:lnTo>
                  <a:lnTo>
                    <a:pt x="846" y="254"/>
                  </a:lnTo>
                  <a:lnTo>
                    <a:pt x="846" y="254"/>
                  </a:lnTo>
                  <a:lnTo>
                    <a:pt x="846" y="256"/>
                  </a:lnTo>
                  <a:lnTo>
                    <a:pt x="846" y="256"/>
                  </a:lnTo>
                  <a:lnTo>
                    <a:pt x="846" y="256"/>
                  </a:lnTo>
                  <a:lnTo>
                    <a:pt x="848" y="256"/>
                  </a:lnTo>
                  <a:lnTo>
                    <a:pt x="848" y="256"/>
                  </a:lnTo>
                  <a:lnTo>
                    <a:pt x="848" y="254"/>
                  </a:lnTo>
                  <a:lnTo>
                    <a:pt x="848" y="254"/>
                  </a:lnTo>
                  <a:lnTo>
                    <a:pt x="848" y="254"/>
                  </a:lnTo>
                  <a:lnTo>
                    <a:pt x="848" y="254"/>
                  </a:lnTo>
                  <a:lnTo>
                    <a:pt x="848" y="254"/>
                  </a:lnTo>
                  <a:lnTo>
                    <a:pt x="846" y="254"/>
                  </a:lnTo>
                  <a:lnTo>
                    <a:pt x="846" y="252"/>
                  </a:lnTo>
                  <a:lnTo>
                    <a:pt x="848" y="252"/>
                  </a:lnTo>
                  <a:lnTo>
                    <a:pt x="848" y="250"/>
                  </a:lnTo>
                  <a:lnTo>
                    <a:pt x="850" y="250"/>
                  </a:lnTo>
                  <a:lnTo>
                    <a:pt x="850" y="250"/>
                  </a:lnTo>
                  <a:lnTo>
                    <a:pt x="850" y="250"/>
                  </a:lnTo>
                  <a:lnTo>
                    <a:pt x="850" y="250"/>
                  </a:lnTo>
                  <a:lnTo>
                    <a:pt x="856" y="250"/>
                  </a:lnTo>
                  <a:lnTo>
                    <a:pt x="858" y="252"/>
                  </a:lnTo>
                  <a:lnTo>
                    <a:pt x="858" y="252"/>
                  </a:lnTo>
                  <a:lnTo>
                    <a:pt x="858" y="252"/>
                  </a:lnTo>
                  <a:lnTo>
                    <a:pt x="860" y="252"/>
                  </a:lnTo>
                  <a:lnTo>
                    <a:pt x="860" y="252"/>
                  </a:lnTo>
                  <a:lnTo>
                    <a:pt x="862" y="254"/>
                  </a:lnTo>
                  <a:lnTo>
                    <a:pt x="864" y="254"/>
                  </a:lnTo>
                  <a:lnTo>
                    <a:pt x="864" y="256"/>
                  </a:lnTo>
                  <a:lnTo>
                    <a:pt x="864" y="256"/>
                  </a:lnTo>
                  <a:lnTo>
                    <a:pt x="864" y="258"/>
                  </a:lnTo>
                  <a:lnTo>
                    <a:pt x="864" y="258"/>
                  </a:lnTo>
                  <a:lnTo>
                    <a:pt x="866" y="260"/>
                  </a:lnTo>
                  <a:lnTo>
                    <a:pt x="864" y="260"/>
                  </a:lnTo>
                  <a:lnTo>
                    <a:pt x="864" y="262"/>
                  </a:lnTo>
                  <a:lnTo>
                    <a:pt x="864" y="262"/>
                  </a:lnTo>
                  <a:lnTo>
                    <a:pt x="864" y="264"/>
                  </a:lnTo>
                  <a:lnTo>
                    <a:pt x="864" y="264"/>
                  </a:lnTo>
                  <a:lnTo>
                    <a:pt x="862" y="264"/>
                  </a:lnTo>
                  <a:lnTo>
                    <a:pt x="862" y="266"/>
                  </a:lnTo>
                  <a:lnTo>
                    <a:pt x="862" y="266"/>
                  </a:lnTo>
                  <a:lnTo>
                    <a:pt x="862" y="266"/>
                  </a:lnTo>
                  <a:lnTo>
                    <a:pt x="862" y="266"/>
                  </a:lnTo>
                  <a:lnTo>
                    <a:pt x="860" y="264"/>
                  </a:lnTo>
                  <a:lnTo>
                    <a:pt x="860" y="264"/>
                  </a:lnTo>
                  <a:lnTo>
                    <a:pt x="862" y="264"/>
                  </a:lnTo>
                  <a:lnTo>
                    <a:pt x="862" y="264"/>
                  </a:lnTo>
                  <a:lnTo>
                    <a:pt x="862" y="264"/>
                  </a:lnTo>
                  <a:lnTo>
                    <a:pt x="862" y="264"/>
                  </a:lnTo>
                  <a:lnTo>
                    <a:pt x="862" y="264"/>
                  </a:lnTo>
                  <a:lnTo>
                    <a:pt x="862" y="264"/>
                  </a:lnTo>
                  <a:lnTo>
                    <a:pt x="862" y="262"/>
                  </a:lnTo>
                  <a:lnTo>
                    <a:pt x="862" y="262"/>
                  </a:lnTo>
                  <a:lnTo>
                    <a:pt x="862" y="262"/>
                  </a:lnTo>
                  <a:lnTo>
                    <a:pt x="862" y="262"/>
                  </a:lnTo>
                  <a:lnTo>
                    <a:pt x="862" y="260"/>
                  </a:lnTo>
                  <a:lnTo>
                    <a:pt x="862" y="260"/>
                  </a:lnTo>
                  <a:lnTo>
                    <a:pt x="864" y="260"/>
                  </a:lnTo>
                  <a:lnTo>
                    <a:pt x="864" y="260"/>
                  </a:lnTo>
                  <a:lnTo>
                    <a:pt x="864" y="260"/>
                  </a:lnTo>
                  <a:lnTo>
                    <a:pt x="862" y="258"/>
                  </a:lnTo>
                  <a:lnTo>
                    <a:pt x="862" y="258"/>
                  </a:lnTo>
                  <a:lnTo>
                    <a:pt x="862" y="260"/>
                  </a:lnTo>
                  <a:lnTo>
                    <a:pt x="860" y="260"/>
                  </a:lnTo>
                  <a:lnTo>
                    <a:pt x="858" y="260"/>
                  </a:lnTo>
                  <a:lnTo>
                    <a:pt x="858" y="260"/>
                  </a:lnTo>
                  <a:lnTo>
                    <a:pt x="858" y="258"/>
                  </a:lnTo>
                  <a:lnTo>
                    <a:pt x="858" y="258"/>
                  </a:lnTo>
                  <a:lnTo>
                    <a:pt x="858" y="256"/>
                  </a:lnTo>
                  <a:lnTo>
                    <a:pt x="854" y="256"/>
                  </a:lnTo>
                  <a:lnTo>
                    <a:pt x="854" y="258"/>
                  </a:lnTo>
                  <a:lnTo>
                    <a:pt x="854" y="258"/>
                  </a:lnTo>
                  <a:lnTo>
                    <a:pt x="854" y="258"/>
                  </a:lnTo>
                  <a:lnTo>
                    <a:pt x="854" y="258"/>
                  </a:lnTo>
                  <a:lnTo>
                    <a:pt x="852" y="258"/>
                  </a:lnTo>
                  <a:lnTo>
                    <a:pt x="852" y="260"/>
                  </a:lnTo>
                  <a:lnTo>
                    <a:pt x="852" y="260"/>
                  </a:lnTo>
                  <a:lnTo>
                    <a:pt x="852" y="260"/>
                  </a:lnTo>
                  <a:lnTo>
                    <a:pt x="852" y="260"/>
                  </a:lnTo>
                  <a:lnTo>
                    <a:pt x="852" y="262"/>
                  </a:lnTo>
                  <a:lnTo>
                    <a:pt x="850" y="262"/>
                  </a:lnTo>
                  <a:lnTo>
                    <a:pt x="850" y="264"/>
                  </a:lnTo>
                  <a:lnTo>
                    <a:pt x="848" y="266"/>
                  </a:lnTo>
                  <a:lnTo>
                    <a:pt x="848" y="266"/>
                  </a:lnTo>
                  <a:lnTo>
                    <a:pt x="848" y="266"/>
                  </a:lnTo>
                  <a:lnTo>
                    <a:pt x="850" y="266"/>
                  </a:lnTo>
                  <a:lnTo>
                    <a:pt x="850" y="266"/>
                  </a:lnTo>
                  <a:lnTo>
                    <a:pt x="850" y="266"/>
                  </a:lnTo>
                  <a:lnTo>
                    <a:pt x="848" y="266"/>
                  </a:lnTo>
                  <a:lnTo>
                    <a:pt x="848" y="266"/>
                  </a:lnTo>
                  <a:lnTo>
                    <a:pt x="848" y="268"/>
                  </a:lnTo>
                  <a:lnTo>
                    <a:pt x="848" y="268"/>
                  </a:lnTo>
                  <a:lnTo>
                    <a:pt x="846" y="268"/>
                  </a:lnTo>
                  <a:lnTo>
                    <a:pt x="846" y="271"/>
                  </a:lnTo>
                  <a:lnTo>
                    <a:pt x="848" y="271"/>
                  </a:lnTo>
                  <a:lnTo>
                    <a:pt x="848" y="271"/>
                  </a:lnTo>
                  <a:lnTo>
                    <a:pt x="846" y="271"/>
                  </a:lnTo>
                  <a:lnTo>
                    <a:pt x="846" y="271"/>
                  </a:lnTo>
                  <a:lnTo>
                    <a:pt x="846" y="271"/>
                  </a:lnTo>
                  <a:lnTo>
                    <a:pt x="844" y="271"/>
                  </a:lnTo>
                  <a:lnTo>
                    <a:pt x="844" y="271"/>
                  </a:lnTo>
                  <a:lnTo>
                    <a:pt x="846" y="271"/>
                  </a:lnTo>
                  <a:lnTo>
                    <a:pt x="846" y="268"/>
                  </a:lnTo>
                  <a:lnTo>
                    <a:pt x="846" y="268"/>
                  </a:lnTo>
                  <a:lnTo>
                    <a:pt x="844" y="268"/>
                  </a:lnTo>
                  <a:lnTo>
                    <a:pt x="844" y="268"/>
                  </a:lnTo>
                  <a:lnTo>
                    <a:pt x="844" y="268"/>
                  </a:lnTo>
                  <a:lnTo>
                    <a:pt x="844" y="268"/>
                  </a:lnTo>
                  <a:lnTo>
                    <a:pt x="844" y="268"/>
                  </a:lnTo>
                  <a:lnTo>
                    <a:pt x="846" y="268"/>
                  </a:lnTo>
                  <a:lnTo>
                    <a:pt x="840" y="266"/>
                  </a:lnTo>
                  <a:lnTo>
                    <a:pt x="840" y="266"/>
                  </a:lnTo>
                  <a:lnTo>
                    <a:pt x="838" y="266"/>
                  </a:lnTo>
                  <a:lnTo>
                    <a:pt x="836" y="266"/>
                  </a:lnTo>
                  <a:lnTo>
                    <a:pt x="836" y="266"/>
                  </a:lnTo>
                  <a:lnTo>
                    <a:pt x="836" y="266"/>
                  </a:lnTo>
                  <a:lnTo>
                    <a:pt x="834" y="266"/>
                  </a:lnTo>
                  <a:lnTo>
                    <a:pt x="834" y="266"/>
                  </a:lnTo>
                  <a:lnTo>
                    <a:pt x="834" y="266"/>
                  </a:lnTo>
                  <a:lnTo>
                    <a:pt x="834" y="266"/>
                  </a:lnTo>
                  <a:lnTo>
                    <a:pt x="834" y="264"/>
                  </a:lnTo>
                  <a:lnTo>
                    <a:pt x="834" y="264"/>
                  </a:lnTo>
                  <a:lnTo>
                    <a:pt x="834" y="264"/>
                  </a:lnTo>
                  <a:lnTo>
                    <a:pt x="834" y="264"/>
                  </a:lnTo>
                  <a:lnTo>
                    <a:pt x="834" y="264"/>
                  </a:lnTo>
                  <a:lnTo>
                    <a:pt x="834" y="264"/>
                  </a:lnTo>
                  <a:lnTo>
                    <a:pt x="832" y="266"/>
                  </a:lnTo>
                  <a:lnTo>
                    <a:pt x="830" y="266"/>
                  </a:lnTo>
                  <a:lnTo>
                    <a:pt x="830" y="266"/>
                  </a:lnTo>
                  <a:lnTo>
                    <a:pt x="830" y="266"/>
                  </a:lnTo>
                  <a:lnTo>
                    <a:pt x="830" y="266"/>
                  </a:lnTo>
                  <a:lnTo>
                    <a:pt x="830" y="266"/>
                  </a:lnTo>
                  <a:lnTo>
                    <a:pt x="830" y="268"/>
                  </a:lnTo>
                  <a:lnTo>
                    <a:pt x="830" y="268"/>
                  </a:lnTo>
                  <a:lnTo>
                    <a:pt x="830" y="268"/>
                  </a:lnTo>
                  <a:lnTo>
                    <a:pt x="830" y="266"/>
                  </a:lnTo>
                  <a:lnTo>
                    <a:pt x="830" y="266"/>
                  </a:lnTo>
                  <a:lnTo>
                    <a:pt x="830" y="266"/>
                  </a:lnTo>
                  <a:lnTo>
                    <a:pt x="830" y="266"/>
                  </a:lnTo>
                  <a:lnTo>
                    <a:pt x="830" y="264"/>
                  </a:lnTo>
                  <a:lnTo>
                    <a:pt x="830" y="264"/>
                  </a:lnTo>
                  <a:lnTo>
                    <a:pt x="830" y="264"/>
                  </a:lnTo>
                  <a:lnTo>
                    <a:pt x="827" y="262"/>
                  </a:lnTo>
                  <a:lnTo>
                    <a:pt x="827" y="262"/>
                  </a:lnTo>
                  <a:lnTo>
                    <a:pt x="827" y="262"/>
                  </a:lnTo>
                  <a:lnTo>
                    <a:pt x="825" y="262"/>
                  </a:lnTo>
                  <a:lnTo>
                    <a:pt x="823" y="262"/>
                  </a:lnTo>
                  <a:lnTo>
                    <a:pt x="823" y="262"/>
                  </a:lnTo>
                  <a:lnTo>
                    <a:pt x="823" y="262"/>
                  </a:lnTo>
                  <a:lnTo>
                    <a:pt x="821" y="262"/>
                  </a:lnTo>
                  <a:lnTo>
                    <a:pt x="819" y="262"/>
                  </a:lnTo>
                  <a:lnTo>
                    <a:pt x="817" y="262"/>
                  </a:lnTo>
                  <a:lnTo>
                    <a:pt x="815" y="262"/>
                  </a:lnTo>
                  <a:lnTo>
                    <a:pt x="815" y="262"/>
                  </a:lnTo>
                  <a:lnTo>
                    <a:pt x="815" y="260"/>
                  </a:lnTo>
                  <a:lnTo>
                    <a:pt x="809" y="260"/>
                  </a:lnTo>
                  <a:lnTo>
                    <a:pt x="807" y="260"/>
                  </a:lnTo>
                  <a:lnTo>
                    <a:pt x="805" y="258"/>
                  </a:lnTo>
                  <a:lnTo>
                    <a:pt x="805" y="258"/>
                  </a:lnTo>
                  <a:lnTo>
                    <a:pt x="805" y="256"/>
                  </a:lnTo>
                  <a:lnTo>
                    <a:pt x="805" y="254"/>
                  </a:lnTo>
                  <a:lnTo>
                    <a:pt x="805" y="254"/>
                  </a:lnTo>
                  <a:lnTo>
                    <a:pt x="803" y="254"/>
                  </a:lnTo>
                  <a:lnTo>
                    <a:pt x="803" y="254"/>
                  </a:lnTo>
                  <a:lnTo>
                    <a:pt x="803" y="254"/>
                  </a:lnTo>
                  <a:lnTo>
                    <a:pt x="803" y="254"/>
                  </a:lnTo>
                  <a:lnTo>
                    <a:pt x="803" y="254"/>
                  </a:lnTo>
                  <a:lnTo>
                    <a:pt x="803" y="254"/>
                  </a:lnTo>
                  <a:lnTo>
                    <a:pt x="803" y="254"/>
                  </a:lnTo>
                  <a:lnTo>
                    <a:pt x="801" y="254"/>
                  </a:lnTo>
                  <a:lnTo>
                    <a:pt x="799" y="254"/>
                  </a:lnTo>
                  <a:lnTo>
                    <a:pt x="799" y="252"/>
                  </a:lnTo>
                  <a:lnTo>
                    <a:pt x="801" y="254"/>
                  </a:lnTo>
                  <a:lnTo>
                    <a:pt x="801" y="252"/>
                  </a:lnTo>
                  <a:lnTo>
                    <a:pt x="801" y="252"/>
                  </a:lnTo>
                  <a:lnTo>
                    <a:pt x="801" y="252"/>
                  </a:lnTo>
                  <a:lnTo>
                    <a:pt x="803" y="252"/>
                  </a:lnTo>
                  <a:lnTo>
                    <a:pt x="803" y="252"/>
                  </a:lnTo>
                  <a:lnTo>
                    <a:pt x="805" y="252"/>
                  </a:lnTo>
                  <a:lnTo>
                    <a:pt x="805" y="250"/>
                  </a:lnTo>
                  <a:lnTo>
                    <a:pt x="807" y="250"/>
                  </a:lnTo>
                  <a:lnTo>
                    <a:pt x="805" y="250"/>
                  </a:lnTo>
                  <a:lnTo>
                    <a:pt x="805" y="248"/>
                  </a:lnTo>
                  <a:lnTo>
                    <a:pt x="805" y="248"/>
                  </a:lnTo>
                  <a:lnTo>
                    <a:pt x="807" y="248"/>
                  </a:lnTo>
                  <a:lnTo>
                    <a:pt x="805" y="248"/>
                  </a:lnTo>
                  <a:lnTo>
                    <a:pt x="805" y="246"/>
                  </a:lnTo>
                  <a:lnTo>
                    <a:pt x="807" y="246"/>
                  </a:lnTo>
                  <a:lnTo>
                    <a:pt x="807" y="246"/>
                  </a:lnTo>
                  <a:lnTo>
                    <a:pt x="807" y="244"/>
                  </a:lnTo>
                  <a:lnTo>
                    <a:pt x="807" y="244"/>
                  </a:lnTo>
                  <a:lnTo>
                    <a:pt x="807" y="244"/>
                  </a:lnTo>
                  <a:lnTo>
                    <a:pt x="807" y="244"/>
                  </a:lnTo>
                  <a:lnTo>
                    <a:pt x="807" y="242"/>
                  </a:lnTo>
                  <a:lnTo>
                    <a:pt x="807" y="242"/>
                  </a:lnTo>
                  <a:lnTo>
                    <a:pt x="809" y="240"/>
                  </a:lnTo>
                  <a:lnTo>
                    <a:pt x="809" y="240"/>
                  </a:lnTo>
                  <a:lnTo>
                    <a:pt x="809" y="240"/>
                  </a:lnTo>
                  <a:lnTo>
                    <a:pt x="809" y="238"/>
                  </a:lnTo>
                  <a:lnTo>
                    <a:pt x="809" y="238"/>
                  </a:lnTo>
                  <a:lnTo>
                    <a:pt x="809" y="236"/>
                  </a:lnTo>
                  <a:lnTo>
                    <a:pt x="809" y="236"/>
                  </a:lnTo>
                  <a:lnTo>
                    <a:pt x="807" y="236"/>
                  </a:lnTo>
                  <a:lnTo>
                    <a:pt x="807" y="236"/>
                  </a:lnTo>
                  <a:lnTo>
                    <a:pt x="807" y="234"/>
                  </a:lnTo>
                  <a:lnTo>
                    <a:pt x="807" y="234"/>
                  </a:lnTo>
                  <a:lnTo>
                    <a:pt x="813" y="236"/>
                  </a:lnTo>
                  <a:lnTo>
                    <a:pt x="813" y="236"/>
                  </a:lnTo>
                  <a:lnTo>
                    <a:pt x="811" y="234"/>
                  </a:lnTo>
                  <a:lnTo>
                    <a:pt x="805" y="234"/>
                  </a:lnTo>
                  <a:lnTo>
                    <a:pt x="801" y="232"/>
                  </a:lnTo>
                  <a:lnTo>
                    <a:pt x="795" y="232"/>
                  </a:lnTo>
                  <a:lnTo>
                    <a:pt x="791" y="234"/>
                  </a:lnTo>
                  <a:lnTo>
                    <a:pt x="791" y="234"/>
                  </a:lnTo>
                  <a:lnTo>
                    <a:pt x="786" y="236"/>
                  </a:lnTo>
                  <a:lnTo>
                    <a:pt x="784" y="238"/>
                  </a:lnTo>
                  <a:lnTo>
                    <a:pt x="784" y="238"/>
                  </a:lnTo>
                  <a:lnTo>
                    <a:pt x="784" y="238"/>
                  </a:lnTo>
                  <a:lnTo>
                    <a:pt x="784" y="238"/>
                  </a:lnTo>
                  <a:lnTo>
                    <a:pt x="784" y="238"/>
                  </a:lnTo>
                  <a:lnTo>
                    <a:pt x="784" y="238"/>
                  </a:lnTo>
                  <a:lnTo>
                    <a:pt x="784" y="238"/>
                  </a:lnTo>
                  <a:lnTo>
                    <a:pt x="782" y="240"/>
                  </a:lnTo>
                  <a:lnTo>
                    <a:pt x="782" y="240"/>
                  </a:lnTo>
                  <a:lnTo>
                    <a:pt x="782" y="240"/>
                  </a:lnTo>
                  <a:lnTo>
                    <a:pt x="782" y="240"/>
                  </a:lnTo>
                  <a:lnTo>
                    <a:pt x="782" y="240"/>
                  </a:lnTo>
                  <a:lnTo>
                    <a:pt x="782" y="238"/>
                  </a:lnTo>
                  <a:lnTo>
                    <a:pt x="782" y="238"/>
                  </a:lnTo>
                  <a:lnTo>
                    <a:pt x="782" y="238"/>
                  </a:lnTo>
                  <a:lnTo>
                    <a:pt x="782" y="238"/>
                  </a:lnTo>
                  <a:lnTo>
                    <a:pt x="782" y="238"/>
                  </a:lnTo>
                  <a:lnTo>
                    <a:pt x="782" y="238"/>
                  </a:lnTo>
                  <a:lnTo>
                    <a:pt x="778" y="238"/>
                  </a:lnTo>
                  <a:lnTo>
                    <a:pt x="776" y="238"/>
                  </a:lnTo>
                  <a:lnTo>
                    <a:pt x="776" y="238"/>
                  </a:lnTo>
                  <a:lnTo>
                    <a:pt x="774" y="238"/>
                  </a:lnTo>
                  <a:lnTo>
                    <a:pt x="766" y="242"/>
                  </a:lnTo>
                  <a:lnTo>
                    <a:pt x="764" y="244"/>
                  </a:lnTo>
                  <a:lnTo>
                    <a:pt x="764" y="244"/>
                  </a:lnTo>
                  <a:lnTo>
                    <a:pt x="764" y="246"/>
                  </a:lnTo>
                  <a:lnTo>
                    <a:pt x="764" y="246"/>
                  </a:lnTo>
                  <a:lnTo>
                    <a:pt x="764" y="246"/>
                  </a:lnTo>
                  <a:lnTo>
                    <a:pt x="766" y="246"/>
                  </a:lnTo>
                  <a:lnTo>
                    <a:pt x="766" y="248"/>
                  </a:lnTo>
                  <a:lnTo>
                    <a:pt x="768" y="250"/>
                  </a:lnTo>
                  <a:lnTo>
                    <a:pt x="770" y="250"/>
                  </a:lnTo>
                  <a:lnTo>
                    <a:pt x="770" y="250"/>
                  </a:lnTo>
                  <a:lnTo>
                    <a:pt x="770" y="252"/>
                  </a:lnTo>
                  <a:lnTo>
                    <a:pt x="766" y="252"/>
                  </a:lnTo>
                  <a:lnTo>
                    <a:pt x="758" y="250"/>
                  </a:lnTo>
                  <a:lnTo>
                    <a:pt x="758" y="248"/>
                  </a:lnTo>
                  <a:lnTo>
                    <a:pt x="758" y="248"/>
                  </a:lnTo>
                  <a:lnTo>
                    <a:pt x="758" y="248"/>
                  </a:lnTo>
                  <a:lnTo>
                    <a:pt x="758" y="248"/>
                  </a:lnTo>
                  <a:lnTo>
                    <a:pt x="758" y="248"/>
                  </a:lnTo>
                  <a:lnTo>
                    <a:pt x="756" y="248"/>
                  </a:lnTo>
                  <a:lnTo>
                    <a:pt x="754" y="246"/>
                  </a:lnTo>
                  <a:lnTo>
                    <a:pt x="754" y="246"/>
                  </a:lnTo>
                  <a:lnTo>
                    <a:pt x="754" y="248"/>
                  </a:lnTo>
                  <a:lnTo>
                    <a:pt x="752" y="248"/>
                  </a:lnTo>
                  <a:lnTo>
                    <a:pt x="750" y="248"/>
                  </a:lnTo>
                  <a:lnTo>
                    <a:pt x="750" y="248"/>
                  </a:lnTo>
                  <a:lnTo>
                    <a:pt x="743" y="252"/>
                  </a:lnTo>
                  <a:lnTo>
                    <a:pt x="743" y="252"/>
                  </a:lnTo>
                  <a:lnTo>
                    <a:pt x="741" y="254"/>
                  </a:lnTo>
                  <a:lnTo>
                    <a:pt x="741" y="254"/>
                  </a:lnTo>
                  <a:lnTo>
                    <a:pt x="741" y="254"/>
                  </a:lnTo>
                  <a:lnTo>
                    <a:pt x="741" y="254"/>
                  </a:lnTo>
                  <a:lnTo>
                    <a:pt x="741" y="254"/>
                  </a:lnTo>
                  <a:lnTo>
                    <a:pt x="741" y="254"/>
                  </a:lnTo>
                  <a:lnTo>
                    <a:pt x="741" y="254"/>
                  </a:lnTo>
                  <a:lnTo>
                    <a:pt x="741" y="254"/>
                  </a:lnTo>
                  <a:lnTo>
                    <a:pt x="741" y="254"/>
                  </a:lnTo>
                  <a:lnTo>
                    <a:pt x="741" y="254"/>
                  </a:lnTo>
                  <a:lnTo>
                    <a:pt x="741" y="254"/>
                  </a:lnTo>
                  <a:lnTo>
                    <a:pt x="741" y="252"/>
                  </a:lnTo>
                  <a:lnTo>
                    <a:pt x="741" y="254"/>
                  </a:lnTo>
                  <a:lnTo>
                    <a:pt x="739" y="254"/>
                  </a:lnTo>
                  <a:lnTo>
                    <a:pt x="739" y="254"/>
                  </a:lnTo>
                  <a:lnTo>
                    <a:pt x="739" y="254"/>
                  </a:lnTo>
                  <a:lnTo>
                    <a:pt x="739" y="256"/>
                  </a:lnTo>
                  <a:lnTo>
                    <a:pt x="739" y="256"/>
                  </a:lnTo>
                  <a:lnTo>
                    <a:pt x="737" y="258"/>
                  </a:lnTo>
                  <a:lnTo>
                    <a:pt x="735" y="258"/>
                  </a:lnTo>
                  <a:lnTo>
                    <a:pt x="733" y="260"/>
                  </a:lnTo>
                  <a:lnTo>
                    <a:pt x="733" y="260"/>
                  </a:lnTo>
                  <a:lnTo>
                    <a:pt x="733" y="258"/>
                  </a:lnTo>
                  <a:lnTo>
                    <a:pt x="731" y="258"/>
                  </a:lnTo>
                  <a:lnTo>
                    <a:pt x="731" y="258"/>
                  </a:lnTo>
                  <a:lnTo>
                    <a:pt x="731" y="256"/>
                  </a:lnTo>
                  <a:lnTo>
                    <a:pt x="729" y="256"/>
                  </a:lnTo>
                  <a:lnTo>
                    <a:pt x="725" y="260"/>
                  </a:lnTo>
                  <a:lnTo>
                    <a:pt x="725" y="260"/>
                  </a:lnTo>
                  <a:lnTo>
                    <a:pt x="725" y="260"/>
                  </a:lnTo>
                  <a:lnTo>
                    <a:pt x="727" y="260"/>
                  </a:lnTo>
                  <a:lnTo>
                    <a:pt x="727" y="260"/>
                  </a:lnTo>
                  <a:lnTo>
                    <a:pt x="727" y="260"/>
                  </a:lnTo>
                  <a:lnTo>
                    <a:pt x="725" y="260"/>
                  </a:lnTo>
                  <a:lnTo>
                    <a:pt x="725" y="260"/>
                  </a:lnTo>
                  <a:lnTo>
                    <a:pt x="723" y="260"/>
                  </a:lnTo>
                  <a:lnTo>
                    <a:pt x="725" y="262"/>
                  </a:lnTo>
                  <a:lnTo>
                    <a:pt x="725" y="262"/>
                  </a:lnTo>
                  <a:lnTo>
                    <a:pt x="725" y="262"/>
                  </a:lnTo>
                  <a:lnTo>
                    <a:pt x="725" y="264"/>
                  </a:lnTo>
                  <a:lnTo>
                    <a:pt x="725" y="264"/>
                  </a:lnTo>
                  <a:lnTo>
                    <a:pt x="723" y="264"/>
                  </a:lnTo>
                  <a:lnTo>
                    <a:pt x="719" y="264"/>
                  </a:lnTo>
                  <a:lnTo>
                    <a:pt x="717" y="264"/>
                  </a:lnTo>
                  <a:lnTo>
                    <a:pt x="717" y="266"/>
                  </a:lnTo>
                  <a:lnTo>
                    <a:pt x="717" y="266"/>
                  </a:lnTo>
                  <a:lnTo>
                    <a:pt x="715" y="266"/>
                  </a:lnTo>
                  <a:lnTo>
                    <a:pt x="713" y="266"/>
                  </a:lnTo>
                  <a:lnTo>
                    <a:pt x="713" y="266"/>
                  </a:lnTo>
                  <a:lnTo>
                    <a:pt x="713" y="266"/>
                  </a:lnTo>
                  <a:lnTo>
                    <a:pt x="713" y="264"/>
                  </a:lnTo>
                  <a:lnTo>
                    <a:pt x="713" y="264"/>
                  </a:lnTo>
                  <a:lnTo>
                    <a:pt x="715" y="264"/>
                  </a:lnTo>
                  <a:lnTo>
                    <a:pt x="715" y="264"/>
                  </a:lnTo>
                  <a:lnTo>
                    <a:pt x="717" y="262"/>
                  </a:lnTo>
                  <a:lnTo>
                    <a:pt x="717" y="262"/>
                  </a:lnTo>
                  <a:lnTo>
                    <a:pt x="717" y="262"/>
                  </a:lnTo>
                  <a:lnTo>
                    <a:pt x="717" y="262"/>
                  </a:lnTo>
                  <a:lnTo>
                    <a:pt x="719" y="260"/>
                  </a:lnTo>
                  <a:lnTo>
                    <a:pt x="717" y="262"/>
                  </a:lnTo>
                  <a:lnTo>
                    <a:pt x="715" y="262"/>
                  </a:lnTo>
                  <a:lnTo>
                    <a:pt x="713" y="264"/>
                  </a:lnTo>
                  <a:lnTo>
                    <a:pt x="711" y="264"/>
                  </a:lnTo>
                  <a:lnTo>
                    <a:pt x="711" y="264"/>
                  </a:lnTo>
                  <a:lnTo>
                    <a:pt x="711" y="264"/>
                  </a:lnTo>
                  <a:lnTo>
                    <a:pt x="711" y="264"/>
                  </a:lnTo>
                  <a:lnTo>
                    <a:pt x="711" y="264"/>
                  </a:lnTo>
                  <a:lnTo>
                    <a:pt x="711" y="266"/>
                  </a:lnTo>
                  <a:lnTo>
                    <a:pt x="711" y="266"/>
                  </a:lnTo>
                  <a:lnTo>
                    <a:pt x="711" y="266"/>
                  </a:lnTo>
                  <a:lnTo>
                    <a:pt x="711" y="268"/>
                  </a:lnTo>
                  <a:lnTo>
                    <a:pt x="711" y="268"/>
                  </a:lnTo>
                  <a:lnTo>
                    <a:pt x="711" y="268"/>
                  </a:lnTo>
                  <a:lnTo>
                    <a:pt x="711" y="268"/>
                  </a:lnTo>
                  <a:lnTo>
                    <a:pt x="711" y="268"/>
                  </a:lnTo>
                  <a:lnTo>
                    <a:pt x="711" y="271"/>
                  </a:lnTo>
                  <a:lnTo>
                    <a:pt x="711" y="271"/>
                  </a:lnTo>
                  <a:lnTo>
                    <a:pt x="713" y="271"/>
                  </a:lnTo>
                  <a:lnTo>
                    <a:pt x="715" y="271"/>
                  </a:lnTo>
                  <a:lnTo>
                    <a:pt x="719" y="277"/>
                  </a:lnTo>
                  <a:lnTo>
                    <a:pt x="719" y="277"/>
                  </a:lnTo>
                  <a:lnTo>
                    <a:pt x="719" y="277"/>
                  </a:lnTo>
                  <a:lnTo>
                    <a:pt x="721" y="279"/>
                  </a:lnTo>
                  <a:lnTo>
                    <a:pt x="725" y="281"/>
                  </a:lnTo>
                  <a:lnTo>
                    <a:pt x="727" y="283"/>
                  </a:lnTo>
                  <a:lnTo>
                    <a:pt x="735" y="287"/>
                  </a:lnTo>
                  <a:lnTo>
                    <a:pt x="737" y="287"/>
                  </a:lnTo>
                  <a:lnTo>
                    <a:pt x="739" y="289"/>
                  </a:lnTo>
                  <a:lnTo>
                    <a:pt x="737" y="287"/>
                  </a:lnTo>
                  <a:lnTo>
                    <a:pt x="735" y="287"/>
                  </a:lnTo>
                  <a:lnTo>
                    <a:pt x="735" y="287"/>
                  </a:lnTo>
                  <a:lnTo>
                    <a:pt x="733" y="285"/>
                  </a:lnTo>
                  <a:lnTo>
                    <a:pt x="733" y="285"/>
                  </a:lnTo>
                  <a:lnTo>
                    <a:pt x="733" y="285"/>
                  </a:lnTo>
                  <a:lnTo>
                    <a:pt x="739" y="287"/>
                  </a:lnTo>
                  <a:lnTo>
                    <a:pt x="741" y="289"/>
                  </a:lnTo>
                  <a:lnTo>
                    <a:pt x="743" y="289"/>
                  </a:lnTo>
                  <a:lnTo>
                    <a:pt x="743" y="291"/>
                  </a:lnTo>
                  <a:lnTo>
                    <a:pt x="746" y="291"/>
                  </a:lnTo>
                  <a:lnTo>
                    <a:pt x="746" y="291"/>
                  </a:lnTo>
                  <a:lnTo>
                    <a:pt x="748" y="291"/>
                  </a:lnTo>
                  <a:lnTo>
                    <a:pt x="750" y="293"/>
                  </a:lnTo>
                  <a:lnTo>
                    <a:pt x="750" y="293"/>
                  </a:lnTo>
                  <a:lnTo>
                    <a:pt x="752" y="295"/>
                  </a:lnTo>
                  <a:lnTo>
                    <a:pt x="750" y="295"/>
                  </a:lnTo>
                  <a:lnTo>
                    <a:pt x="750" y="295"/>
                  </a:lnTo>
                  <a:lnTo>
                    <a:pt x="750" y="295"/>
                  </a:lnTo>
                  <a:lnTo>
                    <a:pt x="746" y="293"/>
                  </a:lnTo>
                  <a:lnTo>
                    <a:pt x="746" y="293"/>
                  </a:lnTo>
                  <a:lnTo>
                    <a:pt x="746" y="293"/>
                  </a:lnTo>
                  <a:lnTo>
                    <a:pt x="743" y="293"/>
                  </a:lnTo>
                  <a:lnTo>
                    <a:pt x="743" y="293"/>
                  </a:lnTo>
                  <a:lnTo>
                    <a:pt x="743" y="293"/>
                  </a:lnTo>
                  <a:lnTo>
                    <a:pt x="743" y="293"/>
                  </a:lnTo>
                  <a:lnTo>
                    <a:pt x="741" y="293"/>
                  </a:lnTo>
                  <a:lnTo>
                    <a:pt x="741" y="295"/>
                  </a:lnTo>
                  <a:lnTo>
                    <a:pt x="741" y="295"/>
                  </a:lnTo>
                  <a:lnTo>
                    <a:pt x="741" y="297"/>
                  </a:lnTo>
                  <a:lnTo>
                    <a:pt x="741" y="297"/>
                  </a:lnTo>
                  <a:lnTo>
                    <a:pt x="739" y="299"/>
                  </a:lnTo>
                  <a:lnTo>
                    <a:pt x="739" y="299"/>
                  </a:lnTo>
                  <a:lnTo>
                    <a:pt x="739" y="299"/>
                  </a:lnTo>
                  <a:lnTo>
                    <a:pt x="739" y="299"/>
                  </a:lnTo>
                  <a:lnTo>
                    <a:pt x="739" y="299"/>
                  </a:lnTo>
                  <a:lnTo>
                    <a:pt x="739" y="299"/>
                  </a:lnTo>
                  <a:lnTo>
                    <a:pt x="739" y="299"/>
                  </a:lnTo>
                  <a:lnTo>
                    <a:pt x="739" y="299"/>
                  </a:lnTo>
                  <a:lnTo>
                    <a:pt x="737" y="299"/>
                  </a:lnTo>
                  <a:lnTo>
                    <a:pt x="737" y="299"/>
                  </a:lnTo>
                  <a:lnTo>
                    <a:pt x="737" y="299"/>
                  </a:lnTo>
                  <a:lnTo>
                    <a:pt x="735" y="299"/>
                  </a:lnTo>
                  <a:lnTo>
                    <a:pt x="735" y="299"/>
                  </a:lnTo>
                  <a:lnTo>
                    <a:pt x="733" y="297"/>
                  </a:lnTo>
                  <a:lnTo>
                    <a:pt x="731" y="297"/>
                  </a:lnTo>
                  <a:lnTo>
                    <a:pt x="731" y="297"/>
                  </a:lnTo>
                  <a:lnTo>
                    <a:pt x="731" y="297"/>
                  </a:lnTo>
                  <a:lnTo>
                    <a:pt x="731" y="297"/>
                  </a:lnTo>
                  <a:lnTo>
                    <a:pt x="731" y="295"/>
                  </a:lnTo>
                  <a:lnTo>
                    <a:pt x="731" y="293"/>
                  </a:lnTo>
                  <a:lnTo>
                    <a:pt x="731" y="293"/>
                  </a:lnTo>
                  <a:lnTo>
                    <a:pt x="733" y="293"/>
                  </a:lnTo>
                  <a:lnTo>
                    <a:pt x="733" y="291"/>
                  </a:lnTo>
                  <a:lnTo>
                    <a:pt x="733" y="291"/>
                  </a:lnTo>
                  <a:lnTo>
                    <a:pt x="733" y="291"/>
                  </a:lnTo>
                  <a:lnTo>
                    <a:pt x="733" y="291"/>
                  </a:lnTo>
                  <a:lnTo>
                    <a:pt x="733" y="291"/>
                  </a:lnTo>
                  <a:lnTo>
                    <a:pt x="731" y="291"/>
                  </a:lnTo>
                  <a:lnTo>
                    <a:pt x="731" y="293"/>
                  </a:lnTo>
                  <a:lnTo>
                    <a:pt x="731" y="295"/>
                  </a:lnTo>
                  <a:lnTo>
                    <a:pt x="731" y="297"/>
                  </a:lnTo>
                  <a:lnTo>
                    <a:pt x="731" y="299"/>
                  </a:lnTo>
                  <a:lnTo>
                    <a:pt x="733" y="301"/>
                  </a:lnTo>
                  <a:lnTo>
                    <a:pt x="733" y="301"/>
                  </a:lnTo>
                  <a:lnTo>
                    <a:pt x="735" y="303"/>
                  </a:lnTo>
                  <a:lnTo>
                    <a:pt x="735" y="303"/>
                  </a:lnTo>
                  <a:lnTo>
                    <a:pt x="735" y="305"/>
                  </a:lnTo>
                  <a:lnTo>
                    <a:pt x="735" y="305"/>
                  </a:lnTo>
                  <a:lnTo>
                    <a:pt x="735" y="305"/>
                  </a:lnTo>
                  <a:lnTo>
                    <a:pt x="737" y="307"/>
                  </a:lnTo>
                  <a:lnTo>
                    <a:pt x="737" y="309"/>
                  </a:lnTo>
                  <a:lnTo>
                    <a:pt x="739" y="312"/>
                  </a:lnTo>
                  <a:lnTo>
                    <a:pt x="739" y="312"/>
                  </a:lnTo>
                  <a:lnTo>
                    <a:pt x="737" y="309"/>
                  </a:lnTo>
                  <a:lnTo>
                    <a:pt x="737" y="309"/>
                  </a:lnTo>
                  <a:lnTo>
                    <a:pt x="737" y="309"/>
                  </a:lnTo>
                  <a:lnTo>
                    <a:pt x="739" y="309"/>
                  </a:lnTo>
                  <a:lnTo>
                    <a:pt x="739" y="312"/>
                  </a:lnTo>
                  <a:lnTo>
                    <a:pt x="739" y="312"/>
                  </a:lnTo>
                  <a:lnTo>
                    <a:pt x="739" y="312"/>
                  </a:lnTo>
                  <a:lnTo>
                    <a:pt x="739" y="314"/>
                  </a:lnTo>
                  <a:lnTo>
                    <a:pt x="739" y="314"/>
                  </a:lnTo>
                  <a:lnTo>
                    <a:pt x="739" y="316"/>
                  </a:lnTo>
                  <a:lnTo>
                    <a:pt x="739" y="316"/>
                  </a:lnTo>
                  <a:lnTo>
                    <a:pt x="739" y="316"/>
                  </a:lnTo>
                  <a:lnTo>
                    <a:pt x="739" y="316"/>
                  </a:lnTo>
                  <a:lnTo>
                    <a:pt x="739" y="316"/>
                  </a:lnTo>
                  <a:lnTo>
                    <a:pt x="737" y="316"/>
                  </a:lnTo>
                  <a:lnTo>
                    <a:pt x="737" y="316"/>
                  </a:lnTo>
                  <a:lnTo>
                    <a:pt x="737" y="316"/>
                  </a:lnTo>
                  <a:lnTo>
                    <a:pt x="737" y="318"/>
                  </a:lnTo>
                  <a:lnTo>
                    <a:pt x="737" y="318"/>
                  </a:lnTo>
                  <a:lnTo>
                    <a:pt x="737" y="320"/>
                  </a:lnTo>
                  <a:lnTo>
                    <a:pt x="737" y="320"/>
                  </a:lnTo>
                  <a:lnTo>
                    <a:pt x="737" y="322"/>
                  </a:lnTo>
                  <a:lnTo>
                    <a:pt x="737" y="326"/>
                  </a:lnTo>
                  <a:lnTo>
                    <a:pt x="741" y="328"/>
                  </a:lnTo>
                  <a:lnTo>
                    <a:pt x="746" y="330"/>
                  </a:lnTo>
                  <a:lnTo>
                    <a:pt x="748" y="332"/>
                  </a:lnTo>
                  <a:lnTo>
                    <a:pt x="758" y="336"/>
                  </a:lnTo>
                  <a:lnTo>
                    <a:pt x="766" y="340"/>
                  </a:lnTo>
                  <a:lnTo>
                    <a:pt x="770" y="340"/>
                  </a:lnTo>
                  <a:lnTo>
                    <a:pt x="772" y="340"/>
                  </a:lnTo>
                  <a:lnTo>
                    <a:pt x="772" y="340"/>
                  </a:lnTo>
                  <a:lnTo>
                    <a:pt x="770" y="340"/>
                  </a:lnTo>
                  <a:lnTo>
                    <a:pt x="770" y="340"/>
                  </a:lnTo>
                  <a:lnTo>
                    <a:pt x="768" y="340"/>
                  </a:lnTo>
                  <a:lnTo>
                    <a:pt x="768" y="340"/>
                  </a:lnTo>
                  <a:lnTo>
                    <a:pt x="768" y="338"/>
                  </a:lnTo>
                  <a:lnTo>
                    <a:pt x="768" y="338"/>
                  </a:lnTo>
                  <a:lnTo>
                    <a:pt x="768" y="338"/>
                  </a:lnTo>
                  <a:lnTo>
                    <a:pt x="768" y="338"/>
                  </a:lnTo>
                  <a:lnTo>
                    <a:pt x="768" y="338"/>
                  </a:lnTo>
                  <a:lnTo>
                    <a:pt x="768" y="338"/>
                  </a:lnTo>
                  <a:lnTo>
                    <a:pt x="768" y="338"/>
                  </a:lnTo>
                  <a:lnTo>
                    <a:pt x="768" y="336"/>
                  </a:lnTo>
                  <a:lnTo>
                    <a:pt x="768" y="336"/>
                  </a:lnTo>
                  <a:lnTo>
                    <a:pt x="768" y="336"/>
                  </a:lnTo>
                  <a:lnTo>
                    <a:pt x="768" y="336"/>
                  </a:lnTo>
                  <a:lnTo>
                    <a:pt x="768" y="336"/>
                  </a:lnTo>
                  <a:lnTo>
                    <a:pt x="770" y="336"/>
                  </a:lnTo>
                  <a:lnTo>
                    <a:pt x="770" y="338"/>
                  </a:lnTo>
                  <a:lnTo>
                    <a:pt x="768" y="338"/>
                  </a:lnTo>
                  <a:lnTo>
                    <a:pt x="770" y="338"/>
                  </a:lnTo>
                  <a:lnTo>
                    <a:pt x="770" y="338"/>
                  </a:lnTo>
                  <a:lnTo>
                    <a:pt x="772" y="338"/>
                  </a:lnTo>
                  <a:lnTo>
                    <a:pt x="774" y="338"/>
                  </a:lnTo>
                  <a:lnTo>
                    <a:pt x="774" y="338"/>
                  </a:lnTo>
                  <a:lnTo>
                    <a:pt x="772" y="338"/>
                  </a:lnTo>
                  <a:lnTo>
                    <a:pt x="772" y="338"/>
                  </a:lnTo>
                  <a:lnTo>
                    <a:pt x="774" y="338"/>
                  </a:lnTo>
                  <a:lnTo>
                    <a:pt x="782" y="336"/>
                  </a:lnTo>
                  <a:lnTo>
                    <a:pt x="784" y="336"/>
                  </a:lnTo>
                  <a:lnTo>
                    <a:pt x="780" y="336"/>
                  </a:lnTo>
                  <a:lnTo>
                    <a:pt x="791" y="338"/>
                  </a:lnTo>
                  <a:lnTo>
                    <a:pt x="795" y="338"/>
                  </a:lnTo>
                  <a:lnTo>
                    <a:pt x="797" y="338"/>
                  </a:lnTo>
                  <a:lnTo>
                    <a:pt x="801" y="340"/>
                  </a:lnTo>
                  <a:lnTo>
                    <a:pt x="803" y="342"/>
                  </a:lnTo>
                  <a:lnTo>
                    <a:pt x="803" y="342"/>
                  </a:lnTo>
                  <a:lnTo>
                    <a:pt x="805" y="344"/>
                  </a:lnTo>
                  <a:lnTo>
                    <a:pt x="805" y="344"/>
                  </a:lnTo>
                  <a:lnTo>
                    <a:pt x="805" y="344"/>
                  </a:lnTo>
                  <a:lnTo>
                    <a:pt x="805" y="346"/>
                  </a:lnTo>
                  <a:lnTo>
                    <a:pt x="807" y="348"/>
                  </a:lnTo>
                  <a:lnTo>
                    <a:pt x="807" y="348"/>
                  </a:lnTo>
                  <a:lnTo>
                    <a:pt x="807" y="348"/>
                  </a:lnTo>
                  <a:lnTo>
                    <a:pt x="809" y="348"/>
                  </a:lnTo>
                  <a:lnTo>
                    <a:pt x="809" y="346"/>
                  </a:lnTo>
                  <a:lnTo>
                    <a:pt x="809" y="346"/>
                  </a:lnTo>
                  <a:lnTo>
                    <a:pt x="811" y="344"/>
                  </a:lnTo>
                  <a:lnTo>
                    <a:pt x="811" y="344"/>
                  </a:lnTo>
                  <a:lnTo>
                    <a:pt x="811" y="344"/>
                  </a:lnTo>
                  <a:lnTo>
                    <a:pt x="811" y="344"/>
                  </a:lnTo>
                  <a:lnTo>
                    <a:pt x="811" y="342"/>
                  </a:lnTo>
                  <a:lnTo>
                    <a:pt x="809" y="344"/>
                  </a:lnTo>
                  <a:lnTo>
                    <a:pt x="809" y="342"/>
                  </a:lnTo>
                  <a:lnTo>
                    <a:pt x="807" y="342"/>
                  </a:lnTo>
                  <a:lnTo>
                    <a:pt x="807" y="342"/>
                  </a:lnTo>
                  <a:lnTo>
                    <a:pt x="807" y="340"/>
                  </a:lnTo>
                  <a:lnTo>
                    <a:pt x="805" y="340"/>
                  </a:lnTo>
                  <a:lnTo>
                    <a:pt x="805" y="340"/>
                  </a:lnTo>
                  <a:lnTo>
                    <a:pt x="803" y="338"/>
                  </a:lnTo>
                  <a:lnTo>
                    <a:pt x="803" y="338"/>
                  </a:lnTo>
                  <a:lnTo>
                    <a:pt x="803" y="338"/>
                  </a:lnTo>
                  <a:lnTo>
                    <a:pt x="805" y="338"/>
                  </a:lnTo>
                  <a:lnTo>
                    <a:pt x="807" y="336"/>
                  </a:lnTo>
                  <a:lnTo>
                    <a:pt x="807" y="336"/>
                  </a:lnTo>
                  <a:lnTo>
                    <a:pt x="809" y="336"/>
                  </a:lnTo>
                  <a:lnTo>
                    <a:pt x="809" y="338"/>
                  </a:lnTo>
                  <a:lnTo>
                    <a:pt x="809" y="338"/>
                  </a:lnTo>
                  <a:lnTo>
                    <a:pt x="811" y="340"/>
                  </a:lnTo>
                  <a:lnTo>
                    <a:pt x="811" y="340"/>
                  </a:lnTo>
                  <a:lnTo>
                    <a:pt x="811" y="340"/>
                  </a:lnTo>
                  <a:lnTo>
                    <a:pt x="811" y="340"/>
                  </a:lnTo>
                  <a:lnTo>
                    <a:pt x="811" y="342"/>
                  </a:lnTo>
                  <a:lnTo>
                    <a:pt x="811" y="342"/>
                  </a:lnTo>
                  <a:lnTo>
                    <a:pt x="813" y="342"/>
                  </a:lnTo>
                  <a:lnTo>
                    <a:pt x="813" y="342"/>
                  </a:lnTo>
                  <a:lnTo>
                    <a:pt x="813" y="342"/>
                  </a:lnTo>
                  <a:lnTo>
                    <a:pt x="813" y="342"/>
                  </a:lnTo>
                  <a:lnTo>
                    <a:pt x="813" y="342"/>
                  </a:lnTo>
                  <a:lnTo>
                    <a:pt x="813" y="344"/>
                  </a:lnTo>
                  <a:lnTo>
                    <a:pt x="815" y="344"/>
                  </a:lnTo>
                  <a:lnTo>
                    <a:pt x="815" y="344"/>
                  </a:lnTo>
                  <a:lnTo>
                    <a:pt x="815" y="346"/>
                  </a:lnTo>
                  <a:lnTo>
                    <a:pt x="815" y="344"/>
                  </a:lnTo>
                  <a:lnTo>
                    <a:pt x="815" y="346"/>
                  </a:lnTo>
                  <a:lnTo>
                    <a:pt x="813" y="346"/>
                  </a:lnTo>
                  <a:lnTo>
                    <a:pt x="815" y="346"/>
                  </a:lnTo>
                  <a:lnTo>
                    <a:pt x="815" y="348"/>
                  </a:lnTo>
                  <a:lnTo>
                    <a:pt x="815" y="348"/>
                  </a:lnTo>
                  <a:lnTo>
                    <a:pt x="815" y="350"/>
                  </a:lnTo>
                  <a:lnTo>
                    <a:pt x="815" y="350"/>
                  </a:lnTo>
                  <a:lnTo>
                    <a:pt x="815" y="350"/>
                  </a:lnTo>
                  <a:lnTo>
                    <a:pt x="815" y="352"/>
                  </a:lnTo>
                  <a:lnTo>
                    <a:pt x="815" y="352"/>
                  </a:lnTo>
                  <a:lnTo>
                    <a:pt x="815" y="352"/>
                  </a:lnTo>
                  <a:lnTo>
                    <a:pt x="815" y="352"/>
                  </a:lnTo>
                  <a:lnTo>
                    <a:pt x="817" y="352"/>
                  </a:lnTo>
                  <a:lnTo>
                    <a:pt x="819" y="350"/>
                  </a:lnTo>
                  <a:lnTo>
                    <a:pt x="819" y="350"/>
                  </a:lnTo>
                  <a:lnTo>
                    <a:pt x="819" y="350"/>
                  </a:lnTo>
                  <a:lnTo>
                    <a:pt x="819" y="348"/>
                  </a:lnTo>
                  <a:lnTo>
                    <a:pt x="819" y="348"/>
                  </a:lnTo>
                  <a:lnTo>
                    <a:pt x="819" y="348"/>
                  </a:lnTo>
                  <a:lnTo>
                    <a:pt x="819" y="348"/>
                  </a:lnTo>
                  <a:lnTo>
                    <a:pt x="819" y="346"/>
                  </a:lnTo>
                  <a:lnTo>
                    <a:pt x="819" y="346"/>
                  </a:lnTo>
                  <a:lnTo>
                    <a:pt x="819" y="344"/>
                  </a:lnTo>
                  <a:lnTo>
                    <a:pt x="821" y="344"/>
                  </a:lnTo>
                  <a:lnTo>
                    <a:pt x="821" y="344"/>
                  </a:lnTo>
                  <a:lnTo>
                    <a:pt x="823" y="342"/>
                  </a:lnTo>
                  <a:lnTo>
                    <a:pt x="827" y="340"/>
                  </a:lnTo>
                  <a:lnTo>
                    <a:pt x="827" y="340"/>
                  </a:lnTo>
                  <a:lnTo>
                    <a:pt x="830" y="340"/>
                  </a:lnTo>
                  <a:lnTo>
                    <a:pt x="830" y="340"/>
                  </a:lnTo>
                  <a:lnTo>
                    <a:pt x="830" y="338"/>
                  </a:lnTo>
                  <a:lnTo>
                    <a:pt x="830" y="338"/>
                  </a:lnTo>
                  <a:lnTo>
                    <a:pt x="832" y="336"/>
                  </a:lnTo>
                  <a:lnTo>
                    <a:pt x="832" y="336"/>
                  </a:lnTo>
                  <a:lnTo>
                    <a:pt x="834" y="336"/>
                  </a:lnTo>
                  <a:lnTo>
                    <a:pt x="834" y="336"/>
                  </a:lnTo>
                  <a:lnTo>
                    <a:pt x="832" y="336"/>
                  </a:lnTo>
                  <a:lnTo>
                    <a:pt x="832" y="336"/>
                  </a:lnTo>
                  <a:lnTo>
                    <a:pt x="834" y="336"/>
                  </a:lnTo>
                  <a:lnTo>
                    <a:pt x="836" y="336"/>
                  </a:lnTo>
                  <a:lnTo>
                    <a:pt x="836" y="336"/>
                  </a:lnTo>
                  <a:lnTo>
                    <a:pt x="838" y="336"/>
                  </a:lnTo>
                  <a:lnTo>
                    <a:pt x="838" y="336"/>
                  </a:lnTo>
                  <a:lnTo>
                    <a:pt x="838" y="336"/>
                  </a:lnTo>
                  <a:lnTo>
                    <a:pt x="838" y="336"/>
                  </a:lnTo>
                  <a:lnTo>
                    <a:pt x="838" y="336"/>
                  </a:lnTo>
                  <a:lnTo>
                    <a:pt x="840" y="334"/>
                  </a:lnTo>
                  <a:lnTo>
                    <a:pt x="840" y="334"/>
                  </a:lnTo>
                  <a:lnTo>
                    <a:pt x="838" y="334"/>
                  </a:lnTo>
                  <a:lnTo>
                    <a:pt x="838" y="336"/>
                  </a:lnTo>
                  <a:lnTo>
                    <a:pt x="838" y="336"/>
                  </a:lnTo>
                  <a:lnTo>
                    <a:pt x="836" y="336"/>
                  </a:lnTo>
                  <a:lnTo>
                    <a:pt x="836" y="336"/>
                  </a:lnTo>
                  <a:lnTo>
                    <a:pt x="838" y="334"/>
                  </a:lnTo>
                  <a:lnTo>
                    <a:pt x="842" y="332"/>
                  </a:lnTo>
                  <a:lnTo>
                    <a:pt x="842" y="332"/>
                  </a:lnTo>
                  <a:lnTo>
                    <a:pt x="840" y="332"/>
                  </a:lnTo>
                  <a:lnTo>
                    <a:pt x="840" y="332"/>
                  </a:lnTo>
                  <a:lnTo>
                    <a:pt x="842" y="332"/>
                  </a:lnTo>
                  <a:lnTo>
                    <a:pt x="842" y="332"/>
                  </a:lnTo>
                  <a:lnTo>
                    <a:pt x="842" y="334"/>
                  </a:lnTo>
                  <a:lnTo>
                    <a:pt x="844" y="334"/>
                  </a:lnTo>
                  <a:lnTo>
                    <a:pt x="844" y="334"/>
                  </a:lnTo>
                  <a:lnTo>
                    <a:pt x="844" y="336"/>
                  </a:lnTo>
                  <a:lnTo>
                    <a:pt x="846" y="336"/>
                  </a:lnTo>
                  <a:lnTo>
                    <a:pt x="846" y="336"/>
                  </a:lnTo>
                  <a:lnTo>
                    <a:pt x="846" y="334"/>
                  </a:lnTo>
                  <a:lnTo>
                    <a:pt x="846" y="334"/>
                  </a:lnTo>
                  <a:lnTo>
                    <a:pt x="846" y="334"/>
                  </a:lnTo>
                  <a:lnTo>
                    <a:pt x="848" y="334"/>
                  </a:lnTo>
                  <a:lnTo>
                    <a:pt x="848" y="334"/>
                  </a:lnTo>
                  <a:lnTo>
                    <a:pt x="848" y="334"/>
                  </a:lnTo>
                  <a:lnTo>
                    <a:pt x="848" y="334"/>
                  </a:lnTo>
                  <a:lnTo>
                    <a:pt x="850" y="334"/>
                  </a:lnTo>
                  <a:lnTo>
                    <a:pt x="850" y="332"/>
                  </a:lnTo>
                  <a:lnTo>
                    <a:pt x="850" y="332"/>
                  </a:lnTo>
                  <a:lnTo>
                    <a:pt x="850" y="332"/>
                  </a:lnTo>
                  <a:lnTo>
                    <a:pt x="850" y="332"/>
                  </a:lnTo>
                  <a:lnTo>
                    <a:pt x="850" y="332"/>
                  </a:lnTo>
                  <a:lnTo>
                    <a:pt x="850" y="332"/>
                  </a:lnTo>
                  <a:lnTo>
                    <a:pt x="850" y="330"/>
                  </a:lnTo>
                  <a:lnTo>
                    <a:pt x="852" y="330"/>
                  </a:lnTo>
                  <a:lnTo>
                    <a:pt x="852" y="328"/>
                  </a:lnTo>
                  <a:lnTo>
                    <a:pt x="854" y="328"/>
                  </a:lnTo>
                  <a:lnTo>
                    <a:pt x="854" y="328"/>
                  </a:lnTo>
                  <a:lnTo>
                    <a:pt x="854" y="326"/>
                  </a:lnTo>
                  <a:lnTo>
                    <a:pt x="856" y="328"/>
                  </a:lnTo>
                  <a:lnTo>
                    <a:pt x="856" y="328"/>
                  </a:lnTo>
                  <a:lnTo>
                    <a:pt x="856" y="326"/>
                  </a:lnTo>
                  <a:lnTo>
                    <a:pt x="856" y="326"/>
                  </a:lnTo>
                  <a:lnTo>
                    <a:pt x="858" y="326"/>
                  </a:lnTo>
                  <a:lnTo>
                    <a:pt x="858" y="326"/>
                  </a:lnTo>
                  <a:lnTo>
                    <a:pt x="858" y="326"/>
                  </a:lnTo>
                  <a:lnTo>
                    <a:pt x="858" y="328"/>
                  </a:lnTo>
                  <a:lnTo>
                    <a:pt x="858" y="328"/>
                  </a:lnTo>
                  <a:lnTo>
                    <a:pt x="858" y="328"/>
                  </a:lnTo>
                  <a:lnTo>
                    <a:pt x="856" y="328"/>
                  </a:lnTo>
                  <a:lnTo>
                    <a:pt x="856" y="328"/>
                  </a:lnTo>
                  <a:lnTo>
                    <a:pt x="856" y="328"/>
                  </a:lnTo>
                  <a:lnTo>
                    <a:pt x="854" y="328"/>
                  </a:lnTo>
                  <a:lnTo>
                    <a:pt x="854" y="328"/>
                  </a:lnTo>
                  <a:lnTo>
                    <a:pt x="856" y="330"/>
                  </a:lnTo>
                  <a:lnTo>
                    <a:pt x="858" y="332"/>
                  </a:lnTo>
                  <a:lnTo>
                    <a:pt x="858" y="332"/>
                  </a:lnTo>
                  <a:lnTo>
                    <a:pt x="860" y="334"/>
                  </a:lnTo>
                  <a:lnTo>
                    <a:pt x="860" y="334"/>
                  </a:lnTo>
                  <a:lnTo>
                    <a:pt x="860" y="334"/>
                  </a:lnTo>
                  <a:lnTo>
                    <a:pt x="860" y="336"/>
                  </a:lnTo>
                  <a:lnTo>
                    <a:pt x="860" y="338"/>
                  </a:lnTo>
                  <a:lnTo>
                    <a:pt x="862" y="338"/>
                  </a:lnTo>
                  <a:lnTo>
                    <a:pt x="862" y="338"/>
                  </a:lnTo>
                  <a:lnTo>
                    <a:pt x="862" y="338"/>
                  </a:lnTo>
                  <a:lnTo>
                    <a:pt x="862" y="340"/>
                  </a:lnTo>
                  <a:lnTo>
                    <a:pt x="862" y="340"/>
                  </a:lnTo>
                  <a:lnTo>
                    <a:pt x="860" y="342"/>
                  </a:lnTo>
                  <a:lnTo>
                    <a:pt x="860" y="344"/>
                  </a:lnTo>
                  <a:lnTo>
                    <a:pt x="858" y="346"/>
                  </a:lnTo>
                  <a:lnTo>
                    <a:pt x="858" y="346"/>
                  </a:lnTo>
                  <a:lnTo>
                    <a:pt x="858" y="346"/>
                  </a:lnTo>
                  <a:lnTo>
                    <a:pt x="856" y="346"/>
                  </a:lnTo>
                  <a:lnTo>
                    <a:pt x="856" y="346"/>
                  </a:lnTo>
                  <a:lnTo>
                    <a:pt x="854" y="346"/>
                  </a:lnTo>
                  <a:lnTo>
                    <a:pt x="854" y="348"/>
                  </a:lnTo>
                  <a:lnTo>
                    <a:pt x="856" y="348"/>
                  </a:lnTo>
                  <a:lnTo>
                    <a:pt x="854" y="348"/>
                  </a:lnTo>
                  <a:lnTo>
                    <a:pt x="854" y="350"/>
                  </a:lnTo>
                  <a:lnTo>
                    <a:pt x="848" y="348"/>
                  </a:lnTo>
                  <a:lnTo>
                    <a:pt x="848" y="346"/>
                  </a:lnTo>
                  <a:lnTo>
                    <a:pt x="848" y="346"/>
                  </a:lnTo>
                  <a:lnTo>
                    <a:pt x="846" y="346"/>
                  </a:lnTo>
                  <a:lnTo>
                    <a:pt x="846" y="346"/>
                  </a:lnTo>
                  <a:lnTo>
                    <a:pt x="846" y="348"/>
                  </a:lnTo>
                  <a:lnTo>
                    <a:pt x="846" y="348"/>
                  </a:lnTo>
                  <a:lnTo>
                    <a:pt x="846" y="348"/>
                  </a:lnTo>
                  <a:lnTo>
                    <a:pt x="846" y="348"/>
                  </a:lnTo>
                  <a:lnTo>
                    <a:pt x="846" y="350"/>
                  </a:lnTo>
                  <a:lnTo>
                    <a:pt x="844" y="350"/>
                  </a:lnTo>
                  <a:lnTo>
                    <a:pt x="844" y="350"/>
                  </a:lnTo>
                  <a:lnTo>
                    <a:pt x="844" y="350"/>
                  </a:lnTo>
                  <a:lnTo>
                    <a:pt x="844" y="352"/>
                  </a:lnTo>
                  <a:lnTo>
                    <a:pt x="844" y="352"/>
                  </a:lnTo>
                  <a:lnTo>
                    <a:pt x="844" y="355"/>
                  </a:lnTo>
                  <a:lnTo>
                    <a:pt x="844" y="355"/>
                  </a:lnTo>
                  <a:lnTo>
                    <a:pt x="844" y="355"/>
                  </a:lnTo>
                  <a:lnTo>
                    <a:pt x="844" y="355"/>
                  </a:lnTo>
                  <a:lnTo>
                    <a:pt x="844" y="352"/>
                  </a:lnTo>
                  <a:lnTo>
                    <a:pt x="844" y="352"/>
                  </a:lnTo>
                  <a:lnTo>
                    <a:pt x="846" y="352"/>
                  </a:lnTo>
                  <a:lnTo>
                    <a:pt x="846" y="352"/>
                  </a:lnTo>
                  <a:lnTo>
                    <a:pt x="848" y="352"/>
                  </a:lnTo>
                  <a:lnTo>
                    <a:pt x="852" y="355"/>
                  </a:lnTo>
                  <a:lnTo>
                    <a:pt x="852" y="355"/>
                  </a:lnTo>
                  <a:lnTo>
                    <a:pt x="850" y="355"/>
                  </a:lnTo>
                  <a:lnTo>
                    <a:pt x="850" y="355"/>
                  </a:lnTo>
                  <a:lnTo>
                    <a:pt x="850" y="355"/>
                  </a:lnTo>
                  <a:lnTo>
                    <a:pt x="850" y="355"/>
                  </a:lnTo>
                  <a:lnTo>
                    <a:pt x="850" y="355"/>
                  </a:lnTo>
                  <a:lnTo>
                    <a:pt x="852" y="355"/>
                  </a:lnTo>
                  <a:lnTo>
                    <a:pt x="850" y="357"/>
                  </a:lnTo>
                  <a:lnTo>
                    <a:pt x="850" y="357"/>
                  </a:lnTo>
                  <a:lnTo>
                    <a:pt x="850" y="357"/>
                  </a:lnTo>
                  <a:lnTo>
                    <a:pt x="850" y="357"/>
                  </a:lnTo>
                  <a:lnTo>
                    <a:pt x="852" y="357"/>
                  </a:lnTo>
                  <a:lnTo>
                    <a:pt x="852" y="359"/>
                  </a:lnTo>
                  <a:lnTo>
                    <a:pt x="852" y="361"/>
                  </a:lnTo>
                  <a:lnTo>
                    <a:pt x="854" y="361"/>
                  </a:lnTo>
                  <a:lnTo>
                    <a:pt x="854" y="363"/>
                  </a:lnTo>
                  <a:lnTo>
                    <a:pt x="854" y="363"/>
                  </a:lnTo>
                  <a:lnTo>
                    <a:pt x="856" y="365"/>
                  </a:lnTo>
                  <a:lnTo>
                    <a:pt x="854" y="371"/>
                  </a:lnTo>
                  <a:lnTo>
                    <a:pt x="854" y="373"/>
                  </a:lnTo>
                  <a:lnTo>
                    <a:pt x="856" y="381"/>
                  </a:lnTo>
                  <a:lnTo>
                    <a:pt x="858" y="385"/>
                  </a:lnTo>
                  <a:lnTo>
                    <a:pt x="856" y="389"/>
                  </a:lnTo>
                  <a:lnTo>
                    <a:pt x="856" y="391"/>
                  </a:lnTo>
                  <a:lnTo>
                    <a:pt x="854" y="391"/>
                  </a:lnTo>
                  <a:lnTo>
                    <a:pt x="854" y="391"/>
                  </a:lnTo>
                  <a:lnTo>
                    <a:pt x="852" y="396"/>
                  </a:lnTo>
                  <a:lnTo>
                    <a:pt x="852" y="396"/>
                  </a:lnTo>
                  <a:lnTo>
                    <a:pt x="850" y="396"/>
                  </a:lnTo>
                  <a:lnTo>
                    <a:pt x="850" y="396"/>
                  </a:lnTo>
                  <a:lnTo>
                    <a:pt x="850" y="398"/>
                  </a:lnTo>
                  <a:lnTo>
                    <a:pt x="850" y="398"/>
                  </a:lnTo>
                  <a:lnTo>
                    <a:pt x="846" y="402"/>
                  </a:lnTo>
                  <a:lnTo>
                    <a:pt x="842" y="402"/>
                  </a:lnTo>
                  <a:lnTo>
                    <a:pt x="842" y="402"/>
                  </a:lnTo>
                  <a:lnTo>
                    <a:pt x="840" y="402"/>
                  </a:lnTo>
                  <a:lnTo>
                    <a:pt x="840" y="402"/>
                  </a:lnTo>
                  <a:lnTo>
                    <a:pt x="840" y="402"/>
                  </a:lnTo>
                  <a:lnTo>
                    <a:pt x="840" y="402"/>
                  </a:lnTo>
                  <a:lnTo>
                    <a:pt x="840" y="402"/>
                  </a:lnTo>
                  <a:lnTo>
                    <a:pt x="840" y="402"/>
                  </a:lnTo>
                  <a:lnTo>
                    <a:pt x="838" y="402"/>
                  </a:lnTo>
                  <a:lnTo>
                    <a:pt x="838" y="402"/>
                  </a:lnTo>
                  <a:lnTo>
                    <a:pt x="838" y="402"/>
                  </a:lnTo>
                  <a:lnTo>
                    <a:pt x="836" y="402"/>
                  </a:lnTo>
                  <a:lnTo>
                    <a:pt x="836" y="402"/>
                  </a:lnTo>
                  <a:lnTo>
                    <a:pt x="836" y="402"/>
                  </a:lnTo>
                  <a:lnTo>
                    <a:pt x="823" y="402"/>
                  </a:lnTo>
                  <a:lnTo>
                    <a:pt x="823" y="402"/>
                  </a:lnTo>
                  <a:lnTo>
                    <a:pt x="823" y="402"/>
                  </a:lnTo>
                  <a:lnTo>
                    <a:pt x="825" y="402"/>
                  </a:lnTo>
                  <a:lnTo>
                    <a:pt x="825" y="402"/>
                  </a:lnTo>
                  <a:lnTo>
                    <a:pt x="825" y="402"/>
                  </a:lnTo>
                  <a:lnTo>
                    <a:pt x="825" y="400"/>
                  </a:lnTo>
                  <a:lnTo>
                    <a:pt x="825" y="400"/>
                  </a:lnTo>
                  <a:lnTo>
                    <a:pt x="827" y="400"/>
                  </a:lnTo>
                  <a:lnTo>
                    <a:pt x="827" y="400"/>
                  </a:lnTo>
                  <a:lnTo>
                    <a:pt x="825" y="400"/>
                  </a:lnTo>
                  <a:lnTo>
                    <a:pt x="825" y="400"/>
                  </a:lnTo>
                  <a:lnTo>
                    <a:pt x="825" y="398"/>
                  </a:lnTo>
                  <a:lnTo>
                    <a:pt x="825" y="398"/>
                  </a:lnTo>
                  <a:lnTo>
                    <a:pt x="823" y="398"/>
                  </a:lnTo>
                  <a:lnTo>
                    <a:pt x="823" y="398"/>
                  </a:lnTo>
                  <a:lnTo>
                    <a:pt x="823" y="398"/>
                  </a:lnTo>
                  <a:lnTo>
                    <a:pt x="821" y="396"/>
                  </a:lnTo>
                  <a:lnTo>
                    <a:pt x="821" y="396"/>
                  </a:lnTo>
                  <a:lnTo>
                    <a:pt x="821" y="396"/>
                  </a:lnTo>
                  <a:lnTo>
                    <a:pt x="821" y="396"/>
                  </a:lnTo>
                  <a:lnTo>
                    <a:pt x="819" y="396"/>
                  </a:lnTo>
                  <a:lnTo>
                    <a:pt x="821" y="398"/>
                  </a:lnTo>
                  <a:lnTo>
                    <a:pt x="821" y="400"/>
                  </a:lnTo>
                  <a:lnTo>
                    <a:pt x="819" y="400"/>
                  </a:lnTo>
                  <a:lnTo>
                    <a:pt x="819" y="400"/>
                  </a:lnTo>
                  <a:lnTo>
                    <a:pt x="819" y="400"/>
                  </a:lnTo>
                  <a:lnTo>
                    <a:pt x="819" y="402"/>
                  </a:lnTo>
                  <a:lnTo>
                    <a:pt x="817" y="402"/>
                  </a:lnTo>
                  <a:lnTo>
                    <a:pt x="817" y="402"/>
                  </a:lnTo>
                  <a:lnTo>
                    <a:pt x="817" y="404"/>
                  </a:lnTo>
                  <a:lnTo>
                    <a:pt x="811" y="410"/>
                  </a:lnTo>
                  <a:lnTo>
                    <a:pt x="809" y="412"/>
                  </a:lnTo>
                  <a:lnTo>
                    <a:pt x="807" y="412"/>
                  </a:lnTo>
                  <a:lnTo>
                    <a:pt x="807" y="412"/>
                  </a:lnTo>
                  <a:lnTo>
                    <a:pt x="805" y="412"/>
                  </a:lnTo>
                  <a:lnTo>
                    <a:pt x="805" y="412"/>
                  </a:lnTo>
                  <a:lnTo>
                    <a:pt x="805" y="414"/>
                  </a:lnTo>
                  <a:lnTo>
                    <a:pt x="805" y="414"/>
                  </a:lnTo>
                  <a:lnTo>
                    <a:pt x="805" y="414"/>
                  </a:lnTo>
                  <a:lnTo>
                    <a:pt x="805" y="416"/>
                  </a:lnTo>
                  <a:lnTo>
                    <a:pt x="803" y="416"/>
                  </a:lnTo>
                  <a:lnTo>
                    <a:pt x="803" y="416"/>
                  </a:lnTo>
                  <a:lnTo>
                    <a:pt x="803" y="416"/>
                  </a:lnTo>
                  <a:lnTo>
                    <a:pt x="801" y="416"/>
                  </a:lnTo>
                  <a:lnTo>
                    <a:pt x="801" y="418"/>
                  </a:lnTo>
                  <a:lnTo>
                    <a:pt x="801" y="418"/>
                  </a:lnTo>
                  <a:lnTo>
                    <a:pt x="799" y="418"/>
                  </a:lnTo>
                  <a:lnTo>
                    <a:pt x="799" y="418"/>
                  </a:lnTo>
                  <a:lnTo>
                    <a:pt x="795" y="418"/>
                  </a:lnTo>
                  <a:lnTo>
                    <a:pt x="793" y="420"/>
                  </a:lnTo>
                  <a:lnTo>
                    <a:pt x="793" y="418"/>
                  </a:lnTo>
                  <a:lnTo>
                    <a:pt x="793" y="418"/>
                  </a:lnTo>
                  <a:lnTo>
                    <a:pt x="791" y="416"/>
                  </a:lnTo>
                  <a:lnTo>
                    <a:pt x="791" y="416"/>
                  </a:lnTo>
                  <a:lnTo>
                    <a:pt x="789" y="414"/>
                  </a:lnTo>
                  <a:lnTo>
                    <a:pt x="789" y="414"/>
                  </a:lnTo>
                  <a:lnTo>
                    <a:pt x="786" y="416"/>
                  </a:lnTo>
                  <a:lnTo>
                    <a:pt x="786" y="418"/>
                  </a:lnTo>
                  <a:lnTo>
                    <a:pt x="782" y="418"/>
                  </a:lnTo>
                  <a:lnTo>
                    <a:pt x="782" y="420"/>
                  </a:lnTo>
                  <a:lnTo>
                    <a:pt x="782" y="418"/>
                  </a:lnTo>
                  <a:lnTo>
                    <a:pt x="786" y="416"/>
                  </a:lnTo>
                  <a:lnTo>
                    <a:pt x="786" y="416"/>
                  </a:lnTo>
                  <a:lnTo>
                    <a:pt x="786" y="414"/>
                  </a:lnTo>
                  <a:lnTo>
                    <a:pt x="789" y="414"/>
                  </a:lnTo>
                  <a:lnTo>
                    <a:pt x="789" y="414"/>
                  </a:lnTo>
                  <a:lnTo>
                    <a:pt x="789" y="414"/>
                  </a:lnTo>
                  <a:lnTo>
                    <a:pt x="789" y="414"/>
                  </a:lnTo>
                  <a:lnTo>
                    <a:pt x="786" y="414"/>
                  </a:lnTo>
                  <a:lnTo>
                    <a:pt x="786" y="414"/>
                  </a:lnTo>
                  <a:lnTo>
                    <a:pt x="786" y="414"/>
                  </a:lnTo>
                  <a:lnTo>
                    <a:pt x="786" y="414"/>
                  </a:lnTo>
                  <a:lnTo>
                    <a:pt x="786" y="412"/>
                  </a:lnTo>
                  <a:lnTo>
                    <a:pt x="786" y="412"/>
                  </a:lnTo>
                  <a:lnTo>
                    <a:pt x="786" y="412"/>
                  </a:lnTo>
                  <a:lnTo>
                    <a:pt x="786" y="410"/>
                  </a:lnTo>
                  <a:lnTo>
                    <a:pt x="786" y="410"/>
                  </a:lnTo>
                  <a:lnTo>
                    <a:pt x="786" y="410"/>
                  </a:lnTo>
                  <a:lnTo>
                    <a:pt x="784" y="410"/>
                  </a:lnTo>
                  <a:lnTo>
                    <a:pt x="784" y="410"/>
                  </a:lnTo>
                  <a:lnTo>
                    <a:pt x="784" y="408"/>
                  </a:lnTo>
                  <a:lnTo>
                    <a:pt x="784" y="408"/>
                  </a:lnTo>
                  <a:lnTo>
                    <a:pt x="784" y="408"/>
                  </a:lnTo>
                  <a:lnTo>
                    <a:pt x="784" y="408"/>
                  </a:lnTo>
                  <a:lnTo>
                    <a:pt x="782" y="408"/>
                  </a:lnTo>
                  <a:lnTo>
                    <a:pt x="780" y="406"/>
                  </a:lnTo>
                  <a:lnTo>
                    <a:pt x="776" y="404"/>
                  </a:lnTo>
                  <a:lnTo>
                    <a:pt x="770" y="406"/>
                  </a:lnTo>
                  <a:lnTo>
                    <a:pt x="770" y="406"/>
                  </a:lnTo>
                  <a:lnTo>
                    <a:pt x="768" y="408"/>
                  </a:lnTo>
                  <a:lnTo>
                    <a:pt x="768" y="408"/>
                  </a:lnTo>
                  <a:lnTo>
                    <a:pt x="766" y="408"/>
                  </a:lnTo>
                  <a:lnTo>
                    <a:pt x="766" y="410"/>
                  </a:lnTo>
                  <a:lnTo>
                    <a:pt x="764" y="410"/>
                  </a:lnTo>
                  <a:lnTo>
                    <a:pt x="766" y="410"/>
                  </a:lnTo>
                  <a:lnTo>
                    <a:pt x="766" y="410"/>
                  </a:lnTo>
                  <a:lnTo>
                    <a:pt x="766" y="412"/>
                  </a:lnTo>
                  <a:lnTo>
                    <a:pt x="766" y="412"/>
                  </a:lnTo>
                  <a:lnTo>
                    <a:pt x="770" y="414"/>
                  </a:lnTo>
                  <a:lnTo>
                    <a:pt x="770" y="414"/>
                  </a:lnTo>
                  <a:lnTo>
                    <a:pt x="770" y="416"/>
                  </a:lnTo>
                  <a:lnTo>
                    <a:pt x="770" y="416"/>
                  </a:lnTo>
                  <a:lnTo>
                    <a:pt x="770" y="416"/>
                  </a:lnTo>
                  <a:lnTo>
                    <a:pt x="770" y="416"/>
                  </a:lnTo>
                  <a:lnTo>
                    <a:pt x="770" y="416"/>
                  </a:lnTo>
                  <a:lnTo>
                    <a:pt x="768" y="416"/>
                  </a:lnTo>
                  <a:lnTo>
                    <a:pt x="768" y="416"/>
                  </a:lnTo>
                  <a:lnTo>
                    <a:pt x="768" y="416"/>
                  </a:lnTo>
                  <a:lnTo>
                    <a:pt x="768" y="416"/>
                  </a:lnTo>
                  <a:lnTo>
                    <a:pt x="768" y="416"/>
                  </a:lnTo>
                  <a:lnTo>
                    <a:pt x="768" y="416"/>
                  </a:lnTo>
                  <a:lnTo>
                    <a:pt x="766" y="416"/>
                  </a:lnTo>
                  <a:lnTo>
                    <a:pt x="766" y="416"/>
                  </a:lnTo>
                  <a:lnTo>
                    <a:pt x="766" y="416"/>
                  </a:lnTo>
                  <a:lnTo>
                    <a:pt x="766" y="416"/>
                  </a:lnTo>
                  <a:lnTo>
                    <a:pt x="766" y="416"/>
                  </a:lnTo>
                  <a:lnTo>
                    <a:pt x="766" y="416"/>
                  </a:lnTo>
                  <a:lnTo>
                    <a:pt x="766" y="416"/>
                  </a:lnTo>
                  <a:lnTo>
                    <a:pt x="766" y="414"/>
                  </a:lnTo>
                  <a:lnTo>
                    <a:pt x="762" y="414"/>
                  </a:lnTo>
                  <a:lnTo>
                    <a:pt x="762" y="414"/>
                  </a:lnTo>
                  <a:lnTo>
                    <a:pt x="760" y="416"/>
                  </a:lnTo>
                  <a:lnTo>
                    <a:pt x="760" y="416"/>
                  </a:lnTo>
                  <a:lnTo>
                    <a:pt x="758" y="420"/>
                  </a:lnTo>
                  <a:lnTo>
                    <a:pt x="758" y="420"/>
                  </a:lnTo>
                  <a:lnTo>
                    <a:pt x="756" y="422"/>
                  </a:lnTo>
                  <a:lnTo>
                    <a:pt x="756" y="422"/>
                  </a:lnTo>
                  <a:lnTo>
                    <a:pt x="756" y="422"/>
                  </a:lnTo>
                  <a:lnTo>
                    <a:pt x="756" y="422"/>
                  </a:lnTo>
                  <a:lnTo>
                    <a:pt x="756" y="422"/>
                  </a:lnTo>
                  <a:lnTo>
                    <a:pt x="756" y="424"/>
                  </a:lnTo>
                  <a:lnTo>
                    <a:pt x="756" y="424"/>
                  </a:lnTo>
                  <a:lnTo>
                    <a:pt x="756" y="426"/>
                  </a:lnTo>
                  <a:lnTo>
                    <a:pt x="758" y="426"/>
                  </a:lnTo>
                  <a:lnTo>
                    <a:pt x="758" y="426"/>
                  </a:lnTo>
                  <a:lnTo>
                    <a:pt x="758" y="426"/>
                  </a:lnTo>
                  <a:lnTo>
                    <a:pt x="756" y="426"/>
                  </a:lnTo>
                  <a:lnTo>
                    <a:pt x="756" y="426"/>
                  </a:lnTo>
                  <a:lnTo>
                    <a:pt x="756" y="426"/>
                  </a:lnTo>
                  <a:lnTo>
                    <a:pt x="756" y="426"/>
                  </a:lnTo>
                  <a:lnTo>
                    <a:pt x="756" y="426"/>
                  </a:lnTo>
                  <a:lnTo>
                    <a:pt x="756" y="426"/>
                  </a:lnTo>
                  <a:lnTo>
                    <a:pt x="756" y="426"/>
                  </a:lnTo>
                  <a:lnTo>
                    <a:pt x="756" y="426"/>
                  </a:lnTo>
                  <a:lnTo>
                    <a:pt x="756" y="428"/>
                  </a:lnTo>
                  <a:lnTo>
                    <a:pt x="756" y="428"/>
                  </a:lnTo>
                  <a:lnTo>
                    <a:pt x="756" y="428"/>
                  </a:lnTo>
                  <a:lnTo>
                    <a:pt x="756" y="428"/>
                  </a:lnTo>
                  <a:lnTo>
                    <a:pt x="756" y="428"/>
                  </a:lnTo>
                  <a:lnTo>
                    <a:pt x="756" y="428"/>
                  </a:lnTo>
                  <a:lnTo>
                    <a:pt x="754" y="428"/>
                  </a:lnTo>
                  <a:lnTo>
                    <a:pt x="756" y="430"/>
                  </a:lnTo>
                  <a:lnTo>
                    <a:pt x="756" y="430"/>
                  </a:lnTo>
                  <a:lnTo>
                    <a:pt x="756" y="432"/>
                  </a:lnTo>
                  <a:lnTo>
                    <a:pt x="756" y="432"/>
                  </a:lnTo>
                  <a:lnTo>
                    <a:pt x="756" y="434"/>
                  </a:lnTo>
                  <a:lnTo>
                    <a:pt x="756" y="434"/>
                  </a:lnTo>
                  <a:lnTo>
                    <a:pt x="758" y="434"/>
                  </a:lnTo>
                  <a:lnTo>
                    <a:pt x="760" y="432"/>
                  </a:lnTo>
                  <a:lnTo>
                    <a:pt x="760" y="432"/>
                  </a:lnTo>
                  <a:lnTo>
                    <a:pt x="762" y="430"/>
                  </a:lnTo>
                  <a:lnTo>
                    <a:pt x="762" y="430"/>
                  </a:lnTo>
                  <a:lnTo>
                    <a:pt x="764" y="430"/>
                  </a:lnTo>
                  <a:lnTo>
                    <a:pt x="764" y="430"/>
                  </a:lnTo>
                  <a:lnTo>
                    <a:pt x="758" y="437"/>
                  </a:lnTo>
                  <a:lnTo>
                    <a:pt x="756" y="437"/>
                  </a:lnTo>
                  <a:lnTo>
                    <a:pt x="756" y="437"/>
                  </a:lnTo>
                  <a:lnTo>
                    <a:pt x="754" y="437"/>
                  </a:lnTo>
                  <a:lnTo>
                    <a:pt x="754" y="437"/>
                  </a:lnTo>
                  <a:lnTo>
                    <a:pt x="754" y="439"/>
                  </a:lnTo>
                  <a:lnTo>
                    <a:pt x="754" y="439"/>
                  </a:lnTo>
                  <a:lnTo>
                    <a:pt x="754" y="439"/>
                  </a:lnTo>
                  <a:lnTo>
                    <a:pt x="754" y="439"/>
                  </a:lnTo>
                  <a:lnTo>
                    <a:pt x="754" y="439"/>
                  </a:lnTo>
                  <a:lnTo>
                    <a:pt x="756" y="439"/>
                  </a:lnTo>
                  <a:lnTo>
                    <a:pt x="756" y="441"/>
                  </a:lnTo>
                  <a:lnTo>
                    <a:pt x="754" y="441"/>
                  </a:lnTo>
                  <a:lnTo>
                    <a:pt x="754" y="443"/>
                  </a:lnTo>
                  <a:lnTo>
                    <a:pt x="754" y="443"/>
                  </a:lnTo>
                  <a:lnTo>
                    <a:pt x="756" y="443"/>
                  </a:lnTo>
                  <a:lnTo>
                    <a:pt x="756" y="443"/>
                  </a:lnTo>
                  <a:lnTo>
                    <a:pt x="756" y="443"/>
                  </a:lnTo>
                  <a:lnTo>
                    <a:pt x="758" y="443"/>
                  </a:lnTo>
                  <a:lnTo>
                    <a:pt x="758" y="443"/>
                  </a:lnTo>
                  <a:lnTo>
                    <a:pt x="758" y="441"/>
                  </a:lnTo>
                  <a:lnTo>
                    <a:pt x="758" y="441"/>
                  </a:lnTo>
                  <a:lnTo>
                    <a:pt x="758" y="441"/>
                  </a:lnTo>
                  <a:lnTo>
                    <a:pt x="758" y="443"/>
                  </a:lnTo>
                  <a:lnTo>
                    <a:pt x="758" y="443"/>
                  </a:lnTo>
                  <a:lnTo>
                    <a:pt x="758" y="445"/>
                  </a:lnTo>
                  <a:lnTo>
                    <a:pt x="758" y="445"/>
                  </a:lnTo>
                  <a:lnTo>
                    <a:pt x="760" y="445"/>
                  </a:lnTo>
                  <a:lnTo>
                    <a:pt x="760" y="445"/>
                  </a:lnTo>
                  <a:lnTo>
                    <a:pt x="760" y="447"/>
                  </a:lnTo>
                  <a:lnTo>
                    <a:pt x="758" y="447"/>
                  </a:lnTo>
                  <a:lnTo>
                    <a:pt x="758" y="447"/>
                  </a:lnTo>
                  <a:lnTo>
                    <a:pt x="758" y="447"/>
                  </a:lnTo>
                  <a:lnTo>
                    <a:pt x="758" y="447"/>
                  </a:lnTo>
                  <a:lnTo>
                    <a:pt x="756" y="447"/>
                  </a:lnTo>
                  <a:lnTo>
                    <a:pt x="756" y="449"/>
                  </a:lnTo>
                  <a:lnTo>
                    <a:pt x="756" y="449"/>
                  </a:lnTo>
                  <a:lnTo>
                    <a:pt x="756" y="447"/>
                  </a:lnTo>
                  <a:lnTo>
                    <a:pt x="756" y="447"/>
                  </a:lnTo>
                  <a:lnTo>
                    <a:pt x="758" y="447"/>
                  </a:lnTo>
                  <a:lnTo>
                    <a:pt x="758" y="447"/>
                  </a:lnTo>
                  <a:lnTo>
                    <a:pt x="758" y="445"/>
                  </a:lnTo>
                  <a:lnTo>
                    <a:pt x="758" y="445"/>
                  </a:lnTo>
                  <a:lnTo>
                    <a:pt x="756" y="445"/>
                  </a:lnTo>
                  <a:lnTo>
                    <a:pt x="756" y="445"/>
                  </a:lnTo>
                  <a:lnTo>
                    <a:pt x="756" y="445"/>
                  </a:lnTo>
                  <a:lnTo>
                    <a:pt x="756" y="443"/>
                  </a:lnTo>
                  <a:lnTo>
                    <a:pt x="754" y="443"/>
                  </a:lnTo>
                  <a:lnTo>
                    <a:pt x="754" y="443"/>
                  </a:lnTo>
                  <a:lnTo>
                    <a:pt x="754" y="441"/>
                  </a:lnTo>
                  <a:lnTo>
                    <a:pt x="754" y="441"/>
                  </a:lnTo>
                  <a:lnTo>
                    <a:pt x="754" y="441"/>
                  </a:lnTo>
                  <a:lnTo>
                    <a:pt x="754" y="441"/>
                  </a:lnTo>
                  <a:lnTo>
                    <a:pt x="754" y="441"/>
                  </a:lnTo>
                  <a:lnTo>
                    <a:pt x="754" y="439"/>
                  </a:lnTo>
                  <a:lnTo>
                    <a:pt x="754" y="439"/>
                  </a:lnTo>
                  <a:lnTo>
                    <a:pt x="752" y="439"/>
                  </a:lnTo>
                  <a:lnTo>
                    <a:pt x="750" y="439"/>
                  </a:lnTo>
                  <a:lnTo>
                    <a:pt x="750" y="439"/>
                  </a:lnTo>
                  <a:lnTo>
                    <a:pt x="748" y="439"/>
                  </a:lnTo>
                  <a:lnTo>
                    <a:pt x="748" y="439"/>
                  </a:lnTo>
                  <a:lnTo>
                    <a:pt x="746" y="441"/>
                  </a:lnTo>
                  <a:lnTo>
                    <a:pt x="743" y="443"/>
                  </a:lnTo>
                  <a:lnTo>
                    <a:pt x="741" y="443"/>
                  </a:lnTo>
                  <a:lnTo>
                    <a:pt x="741" y="445"/>
                  </a:lnTo>
                  <a:lnTo>
                    <a:pt x="741" y="445"/>
                  </a:lnTo>
                  <a:lnTo>
                    <a:pt x="741" y="447"/>
                  </a:lnTo>
                  <a:lnTo>
                    <a:pt x="737" y="449"/>
                  </a:lnTo>
                  <a:lnTo>
                    <a:pt x="733" y="455"/>
                  </a:lnTo>
                  <a:lnTo>
                    <a:pt x="731" y="455"/>
                  </a:lnTo>
                  <a:lnTo>
                    <a:pt x="731" y="457"/>
                  </a:lnTo>
                  <a:lnTo>
                    <a:pt x="729" y="457"/>
                  </a:lnTo>
                  <a:lnTo>
                    <a:pt x="729" y="457"/>
                  </a:lnTo>
                  <a:lnTo>
                    <a:pt x="729" y="457"/>
                  </a:lnTo>
                  <a:lnTo>
                    <a:pt x="729" y="459"/>
                  </a:lnTo>
                  <a:lnTo>
                    <a:pt x="729" y="459"/>
                  </a:lnTo>
                  <a:lnTo>
                    <a:pt x="729" y="459"/>
                  </a:lnTo>
                  <a:lnTo>
                    <a:pt x="727" y="461"/>
                  </a:lnTo>
                  <a:lnTo>
                    <a:pt x="727" y="463"/>
                  </a:lnTo>
                  <a:lnTo>
                    <a:pt x="727" y="463"/>
                  </a:lnTo>
                  <a:lnTo>
                    <a:pt x="727" y="465"/>
                  </a:lnTo>
                  <a:lnTo>
                    <a:pt x="727" y="467"/>
                  </a:lnTo>
                  <a:lnTo>
                    <a:pt x="729" y="467"/>
                  </a:lnTo>
                  <a:lnTo>
                    <a:pt x="729" y="469"/>
                  </a:lnTo>
                  <a:lnTo>
                    <a:pt x="729" y="471"/>
                  </a:lnTo>
                  <a:lnTo>
                    <a:pt x="729" y="471"/>
                  </a:lnTo>
                  <a:lnTo>
                    <a:pt x="729" y="471"/>
                  </a:lnTo>
                  <a:lnTo>
                    <a:pt x="727" y="471"/>
                  </a:lnTo>
                  <a:lnTo>
                    <a:pt x="727" y="471"/>
                  </a:lnTo>
                  <a:lnTo>
                    <a:pt x="725" y="471"/>
                  </a:lnTo>
                  <a:lnTo>
                    <a:pt x="725" y="471"/>
                  </a:lnTo>
                  <a:lnTo>
                    <a:pt x="725" y="471"/>
                  </a:lnTo>
                  <a:lnTo>
                    <a:pt x="723" y="471"/>
                  </a:lnTo>
                  <a:lnTo>
                    <a:pt x="723" y="471"/>
                  </a:lnTo>
                  <a:lnTo>
                    <a:pt x="721" y="471"/>
                  </a:lnTo>
                  <a:lnTo>
                    <a:pt x="717" y="471"/>
                  </a:lnTo>
                  <a:lnTo>
                    <a:pt x="717" y="473"/>
                  </a:lnTo>
                  <a:lnTo>
                    <a:pt x="719" y="473"/>
                  </a:lnTo>
                  <a:lnTo>
                    <a:pt x="719" y="475"/>
                  </a:lnTo>
                  <a:lnTo>
                    <a:pt x="719" y="475"/>
                  </a:lnTo>
                  <a:lnTo>
                    <a:pt x="719" y="477"/>
                  </a:lnTo>
                  <a:lnTo>
                    <a:pt x="721" y="477"/>
                  </a:lnTo>
                  <a:lnTo>
                    <a:pt x="721" y="477"/>
                  </a:lnTo>
                  <a:lnTo>
                    <a:pt x="721" y="477"/>
                  </a:lnTo>
                  <a:lnTo>
                    <a:pt x="721" y="477"/>
                  </a:lnTo>
                  <a:lnTo>
                    <a:pt x="721" y="477"/>
                  </a:lnTo>
                  <a:lnTo>
                    <a:pt x="723" y="477"/>
                  </a:lnTo>
                  <a:lnTo>
                    <a:pt x="723" y="480"/>
                  </a:lnTo>
                  <a:lnTo>
                    <a:pt x="723" y="480"/>
                  </a:lnTo>
                  <a:lnTo>
                    <a:pt x="723" y="480"/>
                  </a:lnTo>
                  <a:lnTo>
                    <a:pt x="725" y="480"/>
                  </a:lnTo>
                  <a:lnTo>
                    <a:pt x="723" y="480"/>
                  </a:lnTo>
                  <a:lnTo>
                    <a:pt x="717" y="480"/>
                  </a:lnTo>
                  <a:lnTo>
                    <a:pt x="717" y="480"/>
                  </a:lnTo>
                  <a:lnTo>
                    <a:pt x="717" y="480"/>
                  </a:lnTo>
                  <a:lnTo>
                    <a:pt x="715" y="480"/>
                  </a:lnTo>
                  <a:lnTo>
                    <a:pt x="715" y="480"/>
                  </a:lnTo>
                  <a:lnTo>
                    <a:pt x="715" y="480"/>
                  </a:lnTo>
                  <a:lnTo>
                    <a:pt x="715" y="480"/>
                  </a:lnTo>
                  <a:lnTo>
                    <a:pt x="715" y="480"/>
                  </a:lnTo>
                  <a:lnTo>
                    <a:pt x="715" y="475"/>
                  </a:lnTo>
                  <a:lnTo>
                    <a:pt x="715" y="475"/>
                  </a:lnTo>
                  <a:lnTo>
                    <a:pt x="715" y="477"/>
                  </a:lnTo>
                  <a:lnTo>
                    <a:pt x="715" y="477"/>
                  </a:lnTo>
                  <a:lnTo>
                    <a:pt x="715" y="480"/>
                  </a:lnTo>
                  <a:lnTo>
                    <a:pt x="713" y="482"/>
                  </a:lnTo>
                  <a:lnTo>
                    <a:pt x="713" y="482"/>
                  </a:lnTo>
                  <a:lnTo>
                    <a:pt x="713" y="482"/>
                  </a:lnTo>
                  <a:lnTo>
                    <a:pt x="713" y="482"/>
                  </a:lnTo>
                  <a:lnTo>
                    <a:pt x="713" y="482"/>
                  </a:lnTo>
                  <a:lnTo>
                    <a:pt x="713" y="486"/>
                  </a:lnTo>
                  <a:lnTo>
                    <a:pt x="715" y="488"/>
                  </a:lnTo>
                  <a:lnTo>
                    <a:pt x="715" y="488"/>
                  </a:lnTo>
                  <a:lnTo>
                    <a:pt x="715" y="488"/>
                  </a:lnTo>
                  <a:lnTo>
                    <a:pt x="715" y="488"/>
                  </a:lnTo>
                  <a:lnTo>
                    <a:pt x="715" y="486"/>
                  </a:lnTo>
                  <a:lnTo>
                    <a:pt x="715" y="486"/>
                  </a:lnTo>
                  <a:lnTo>
                    <a:pt x="717" y="486"/>
                  </a:lnTo>
                  <a:lnTo>
                    <a:pt x="719" y="486"/>
                  </a:lnTo>
                  <a:lnTo>
                    <a:pt x="719" y="486"/>
                  </a:lnTo>
                  <a:lnTo>
                    <a:pt x="721" y="486"/>
                  </a:lnTo>
                  <a:lnTo>
                    <a:pt x="721" y="486"/>
                  </a:lnTo>
                  <a:lnTo>
                    <a:pt x="721" y="486"/>
                  </a:lnTo>
                  <a:lnTo>
                    <a:pt x="721" y="488"/>
                  </a:lnTo>
                  <a:lnTo>
                    <a:pt x="723" y="488"/>
                  </a:lnTo>
                  <a:lnTo>
                    <a:pt x="723" y="490"/>
                  </a:lnTo>
                  <a:lnTo>
                    <a:pt x="723" y="490"/>
                  </a:lnTo>
                  <a:lnTo>
                    <a:pt x="723" y="490"/>
                  </a:lnTo>
                  <a:lnTo>
                    <a:pt x="723" y="490"/>
                  </a:lnTo>
                  <a:lnTo>
                    <a:pt x="721" y="492"/>
                  </a:lnTo>
                  <a:lnTo>
                    <a:pt x="721" y="492"/>
                  </a:lnTo>
                  <a:lnTo>
                    <a:pt x="721" y="492"/>
                  </a:lnTo>
                  <a:lnTo>
                    <a:pt x="721" y="492"/>
                  </a:lnTo>
                  <a:lnTo>
                    <a:pt x="719" y="492"/>
                  </a:lnTo>
                  <a:lnTo>
                    <a:pt x="719" y="492"/>
                  </a:lnTo>
                  <a:lnTo>
                    <a:pt x="717" y="494"/>
                  </a:lnTo>
                  <a:lnTo>
                    <a:pt x="719" y="496"/>
                  </a:lnTo>
                  <a:lnTo>
                    <a:pt x="719" y="498"/>
                  </a:lnTo>
                  <a:lnTo>
                    <a:pt x="719" y="498"/>
                  </a:lnTo>
                  <a:lnTo>
                    <a:pt x="723" y="500"/>
                  </a:lnTo>
                  <a:lnTo>
                    <a:pt x="723" y="500"/>
                  </a:lnTo>
                  <a:lnTo>
                    <a:pt x="725" y="500"/>
                  </a:lnTo>
                  <a:lnTo>
                    <a:pt x="723" y="500"/>
                  </a:lnTo>
                  <a:lnTo>
                    <a:pt x="723" y="502"/>
                  </a:lnTo>
                  <a:lnTo>
                    <a:pt x="723" y="502"/>
                  </a:lnTo>
                  <a:lnTo>
                    <a:pt x="725" y="502"/>
                  </a:lnTo>
                  <a:lnTo>
                    <a:pt x="723" y="502"/>
                  </a:lnTo>
                  <a:lnTo>
                    <a:pt x="723" y="502"/>
                  </a:lnTo>
                  <a:lnTo>
                    <a:pt x="723" y="502"/>
                  </a:lnTo>
                  <a:lnTo>
                    <a:pt x="723" y="504"/>
                  </a:lnTo>
                  <a:lnTo>
                    <a:pt x="723" y="504"/>
                  </a:lnTo>
                  <a:lnTo>
                    <a:pt x="723" y="504"/>
                  </a:lnTo>
                  <a:lnTo>
                    <a:pt x="723" y="504"/>
                  </a:lnTo>
                  <a:lnTo>
                    <a:pt x="723" y="504"/>
                  </a:lnTo>
                  <a:lnTo>
                    <a:pt x="723" y="506"/>
                  </a:lnTo>
                  <a:lnTo>
                    <a:pt x="723" y="506"/>
                  </a:lnTo>
                  <a:lnTo>
                    <a:pt x="723" y="506"/>
                  </a:lnTo>
                  <a:lnTo>
                    <a:pt x="723" y="506"/>
                  </a:lnTo>
                  <a:lnTo>
                    <a:pt x="723" y="506"/>
                  </a:lnTo>
                  <a:lnTo>
                    <a:pt x="723" y="508"/>
                  </a:lnTo>
                  <a:lnTo>
                    <a:pt x="723" y="508"/>
                  </a:lnTo>
                  <a:lnTo>
                    <a:pt x="723" y="510"/>
                  </a:lnTo>
                  <a:lnTo>
                    <a:pt x="725" y="510"/>
                  </a:lnTo>
                  <a:lnTo>
                    <a:pt x="725" y="510"/>
                  </a:lnTo>
                  <a:lnTo>
                    <a:pt x="727" y="512"/>
                  </a:lnTo>
                  <a:lnTo>
                    <a:pt x="727" y="512"/>
                  </a:lnTo>
                  <a:lnTo>
                    <a:pt x="729" y="512"/>
                  </a:lnTo>
                  <a:lnTo>
                    <a:pt x="729" y="512"/>
                  </a:lnTo>
                  <a:lnTo>
                    <a:pt x="729" y="510"/>
                  </a:lnTo>
                  <a:lnTo>
                    <a:pt x="729" y="510"/>
                  </a:lnTo>
                  <a:lnTo>
                    <a:pt x="729" y="510"/>
                  </a:lnTo>
                  <a:lnTo>
                    <a:pt x="729" y="508"/>
                  </a:lnTo>
                  <a:lnTo>
                    <a:pt x="729" y="508"/>
                  </a:lnTo>
                  <a:lnTo>
                    <a:pt x="729" y="506"/>
                  </a:lnTo>
                  <a:lnTo>
                    <a:pt x="729" y="504"/>
                  </a:lnTo>
                  <a:lnTo>
                    <a:pt x="731" y="504"/>
                  </a:lnTo>
                  <a:lnTo>
                    <a:pt x="731" y="504"/>
                  </a:lnTo>
                  <a:lnTo>
                    <a:pt x="733" y="502"/>
                  </a:lnTo>
                  <a:lnTo>
                    <a:pt x="733" y="502"/>
                  </a:lnTo>
                  <a:lnTo>
                    <a:pt x="733" y="502"/>
                  </a:lnTo>
                  <a:lnTo>
                    <a:pt x="733" y="502"/>
                  </a:lnTo>
                  <a:lnTo>
                    <a:pt x="733" y="502"/>
                  </a:lnTo>
                  <a:lnTo>
                    <a:pt x="733" y="500"/>
                  </a:lnTo>
                  <a:lnTo>
                    <a:pt x="733" y="500"/>
                  </a:lnTo>
                  <a:lnTo>
                    <a:pt x="733" y="500"/>
                  </a:lnTo>
                  <a:lnTo>
                    <a:pt x="733" y="500"/>
                  </a:lnTo>
                  <a:lnTo>
                    <a:pt x="733" y="500"/>
                  </a:lnTo>
                  <a:lnTo>
                    <a:pt x="733" y="500"/>
                  </a:lnTo>
                  <a:lnTo>
                    <a:pt x="733" y="498"/>
                  </a:lnTo>
                  <a:lnTo>
                    <a:pt x="733" y="498"/>
                  </a:lnTo>
                  <a:lnTo>
                    <a:pt x="733" y="498"/>
                  </a:lnTo>
                  <a:lnTo>
                    <a:pt x="733" y="498"/>
                  </a:lnTo>
                  <a:lnTo>
                    <a:pt x="735" y="498"/>
                  </a:lnTo>
                  <a:lnTo>
                    <a:pt x="735" y="498"/>
                  </a:lnTo>
                  <a:lnTo>
                    <a:pt x="735" y="498"/>
                  </a:lnTo>
                  <a:lnTo>
                    <a:pt x="735" y="496"/>
                  </a:lnTo>
                  <a:lnTo>
                    <a:pt x="735" y="496"/>
                  </a:lnTo>
                  <a:lnTo>
                    <a:pt x="737" y="496"/>
                  </a:lnTo>
                  <a:lnTo>
                    <a:pt x="737" y="494"/>
                  </a:lnTo>
                  <a:lnTo>
                    <a:pt x="737" y="496"/>
                  </a:lnTo>
                  <a:lnTo>
                    <a:pt x="737" y="496"/>
                  </a:lnTo>
                  <a:lnTo>
                    <a:pt x="737" y="496"/>
                  </a:lnTo>
                  <a:lnTo>
                    <a:pt x="739" y="496"/>
                  </a:lnTo>
                  <a:lnTo>
                    <a:pt x="739" y="496"/>
                  </a:lnTo>
                  <a:lnTo>
                    <a:pt x="739" y="494"/>
                  </a:lnTo>
                  <a:lnTo>
                    <a:pt x="739" y="494"/>
                  </a:lnTo>
                  <a:lnTo>
                    <a:pt x="739" y="494"/>
                  </a:lnTo>
                  <a:lnTo>
                    <a:pt x="739" y="494"/>
                  </a:lnTo>
                  <a:lnTo>
                    <a:pt x="739" y="494"/>
                  </a:lnTo>
                  <a:lnTo>
                    <a:pt x="739" y="494"/>
                  </a:lnTo>
                  <a:lnTo>
                    <a:pt x="739" y="494"/>
                  </a:lnTo>
                  <a:lnTo>
                    <a:pt x="739" y="494"/>
                  </a:lnTo>
                  <a:lnTo>
                    <a:pt x="739" y="494"/>
                  </a:lnTo>
                  <a:lnTo>
                    <a:pt x="739" y="494"/>
                  </a:lnTo>
                  <a:lnTo>
                    <a:pt x="741" y="492"/>
                  </a:lnTo>
                  <a:lnTo>
                    <a:pt x="741" y="492"/>
                  </a:lnTo>
                  <a:lnTo>
                    <a:pt x="741" y="492"/>
                  </a:lnTo>
                  <a:lnTo>
                    <a:pt x="741" y="492"/>
                  </a:lnTo>
                  <a:lnTo>
                    <a:pt x="741" y="492"/>
                  </a:lnTo>
                  <a:lnTo>
                    <a:pt x="743" y="492"/>
                  </a:lnTo>
                  <a:lnTo>
                    <a:pt x="743" y="492"/>
                  </a:lnTo>
                  <a:lnTo>
                    <a:pt x="746" y="490"/>
                  </a:lnTo>
                  <a:lnTo>
                    <a:pt x="748" y="488"/>
                  </a:lnTo>
                  <a:lnTo>
                    <a:pt x="748" y="488"/>
                  </a:lnTo>
                  <a:lnTo>
                    <a:pt x="748" y="488"/>
                  </a:lnTo>
                  <a:lnTo>
                    <a:pt x="748" y="488"/>
                  </a:lnTo>
                  <a:lnTo>
                    <a:pt x="748" y="488"/>
                  </a:lnTo>
                  <a:lnTo>
                    <a:pt x="748" y="488"/>
                  </a:lnTo>
                  <a:lnTo>
                    <a:pt x="748" y="488"/>
                  </a:lnTo>
                  <a:lnTo>
                    <a:pt x="748" y="488"/>
                  </a:lnTo>
                  <a:lnTo>
                    <a:pt x="748" y="486"/>
                  </a:lnTo>
                  <a:lnTo>
                    <a:pt x="748" y="486"/>
                  </a:lnTo>
                  <a:lnTo>
                    <a:pt x="748" y="486"/>
                  </a:lnTo>
                  <a:lnTo>
                    <a:pt x="750" y="488"/>
                  </a:lnTo>
                  <a:lnTo>
                    <a:pt x="750" y="488"/>
                  </a:lnTo>
                  <a:lnTo>
                    <a:pt x="750" y="488"/>
                  </a:lnTo>
                  <a:lnTo>
                    <a:pt x="748" y="488"/>
                  </a:lnTo>
                  <a:lnTo>
                    <a:pt x="748" y="490"/>
                  </a:lnTo>
                  <a:lnTo>
                    <a:pt x="748" y="490"/>
                  </a:lnTo>
                  <a:lnTo>
                    <a:pt x="748" y="492"/>
                  </a:lnTo>
                  <a:lnTo>
                    <a:pt x="748" y="492"/>
                  </a:lnTo>
                  <a:lnTo>
                    <a:pt x="746" y="492"/>
                  </a:lnTo>
                  <a:lnTo>
                    <a:pt x="746" y="492"/>
                  </a:lnTo>
                  <a:lnTo>
                    <a:pt x="746" y="492"/>
                  </a:lnTo>
                  <a:lnTo>
                    <a:pt x="746" y="492"/>
                  </a:lnTo>
                  <a:lnTo>
                    <a:pt x="746" y="492"/>
                  </a:lnTo>
                  <a:lnTo>
                    <a:pt x="746" y="492"/>
                  </a:lnTo>
                  <a:lnTo>
                    <a:pt x="746" y="494"/>
                  </a:lnTo>
                  <a:lnTo>
                    <a:pt x="743" y="492"/>
                  </a:lnTo>
                  <a:lnTo>
                    <a:pt x="741" y="492"/>
                  </a:lnTo>
                  <a:lnTo>
                    <a:pt x="741" y="494"/>
                  </a:lnTo>
                  <a:lnTo>
                    <a:pt x="741" y="494"/>
                  </a:lnTo>
                  <a:lnTo>
                    <a:pt x="741" y="494"/>
                  </a:lnTo>
                  <a:lnTo>
                    <a:pt x="741" y="494"/>
                  </a:lnTo>
                  <a:lnTo>
                    <a:pt x="741" y="494"/>
                  </a:lnTo>
                  <a:lnTo>
                    <a:pt x="739" y="494"/>
                  </a:lnTo>
                  <a:lnTo>
                    <a:pt x="739" y="494"/>
                  </a:lnTo>
                  <a:lnTo>
                    <a:pt x="739" y="496"/>
                  </a:lnTo>
                  <a:lnTo>
                    <a:pt x="739" y="496"/>
                  </a:lnTo>
                  <a:lnTo>
                    <a:pt x="737" y="496"/>
                  </a:lnTo>
                  <a:lnTo>
                    <a:pt x="735" y="496"/>
                  </a:lnTo>
                  <a:lnTo>
                    <a:pt x="735" y="498"/>
                  </a:lnTo>
                  <a:lnTo>
                    <a:pt x="735" y="498"/>
                  </a:lnTo>
                  <a:lnTo>
                    <a:pt x="735" y="498"/>
                  </a:lnTo>
                  <a:lnTo>
                    <a:pt x="735" y="498"/>
                  </a:lnTo>
                  <a:lnTo>
                    <a:pt x="735" y="500"/>
                  </a:lnTo>
                  <a:lnTo>
                    <a:pt x="735" y="500"/>
                  </a:lnTo>
                  <a:lnTo>
                    <a:pt x="733" y="500"/>
                  </a:lnTo>
                  <a:lnTo>
                    <a:pt x="733" y="500"/>
                  </a:lnTo>
                  <a:lnTo>
                    <a:pt x="735" y="500"/>
                  </a:lnTo>
                  <a:lnTo>
                    <a:pt x="735" y="500"/>
                  </a:lnTo>
                  <a:lnTo>
                    <a:pt x="735" y="502"/>
                  </a:lnTo>
                  <a:lnTo>
                    <a:pt x="735" y="502"/>
                  </a:lnTo>
                  <a:lnTo>
                    <a:pt x="733" y="502"/>
                  </a:lnTo>
                  <a:lnTo>
                    <a:pt x="733" y="504"/>
                  </a:lnTo>
                  <a:lnTo>
                    <a:pt x="733" y="504"/>
                  </a:lnTo>
                  <a:lnTo>
                    <a:pt x="733" y="504"/>
                  </a:lnTo>
                  <a:lnTo>
                    <a:pt x="731" y="504"/>
                  </a:lnTo>
                  <a:lnTo>
                    <a:pt x="731" y="504"/>
                  </a:lnTo>
                  <a:lnTo>
                    <a:pt x="729" y="506"/>
                  </a:lnTo>
                  <a:lnTo>
                    <a:pt x="729" y="506"/>
                  </a:lnTo>
                  <a:lnTo>
                    <a:pt x="729" y="506"/>
                  </a:lnTo>
                  <a:lnTo>
                    <a:pt x="733" y="510"/>
                  </a:lnTo>
                  <a:lnTo>
                    <a:pt x="735" y="508"/>
                  </a:lnTo>
                  <a:lnTo>
                    <a:pt x="735" y="508"/>
                  </a:lnTo>
                  <a:lnTo>
                    <a:pt x="735" y="508"/>
                  </a:lnTo>
                  <a:lnTo>
                    <a:pt x="735" y="508"/>
                  </a:lnTo>
                  <a:lnTo>
                    <a:pt x="735" y="508"/>
                  </a:lnTo>
                  <a:lnTo>
                    <a:pt x="735" y="506"/>
                  </a:lnTo>
                  <a:lnTo>
                    <a:pt x="735" y="506"/>
                  </a:lnTo>
                  <a:lnTo>
                    <a:pt x="735" y="506"/>
                  </a:lnTo>
                  <a:lnTo>
                    <a:pt x="737" y="506"/>
                  </a:lnTo>
                  <a:lnTo>
                    <a:pt x="735" y="506"/>
                  </a:lnTo>
                  <a:lnTo>
                    <a:pt x="735" y="506"/>
                  </a:lnTo>
                  <a:lnTo>
                    <a:pt x="735" y="504"/>
                  </a:lnTo>
                  <a:lnTo>
                    <a:pt x="735" y="504"/>
                  </a:lnTo>
                  <a:lnTo>
                    <a:pt x="737" y="506"/>
                  </a:lnTo>
                  <a:lnTo>
                    <a:pt x="735" y="506"/>
                  </a:lnTo>
                  <a:lnTo>
                    <a:pt x="735" y="508"/>
                  </a:lnTo>
                  <a:lnTo>
                    <a:pt x="735" y="510"/>
                  </a:lnTo>
                  <a:lnTo>
                    <a:pt x="735" y="510"/>
                  </a:lnTo>
                  <a:lnTo>
                    <a:pt x="733" y="510"/>
                  </a:lnTo>
                  <a:lnTo>
                    <a:pt x="733" y="510"/>
                  </a:lnTo>
                  <a:lnTo>
                    <a:pt x="733" y="510"/>
                  </a:lnTo>
                  <a:lnTo>
                    <a:pt x="735" y="512"/>
                  </a:lnTo>
                  <a:lnTo>
                    <a:pt x="735" y="512"/>
                  </a:lnTo>
                  <a:lnTo>
                    <a:pt x="735" y="512"/>
                  </a:lnTo>
                  <a:lnTo>
                    <a:pt x="735" y="514"/>
                  </a:lnTo>
                  <a:lnTo>
                    <a:pt x="735" y="514"/>
                  </a:lnTo>
                  <a:lnTo>
                    <a:pt x="737" y="514"/>
                  </a:lnTo>
                  <a:lnTo>
                    <a:pt x="737" y="514"/>
                  </a:lnTo>
                  <a:lnTo>
                    <a:pt x="737" y="514"/>
                  </a:lnTo>
                  <a:lnTo>
                    <a:pt x="737" y="512"/>
                  </a:lnTo>
                  <a:lnTo>
                    <a:pt x="737" y="512"/>
                  </a:lnTo>
                  <a:lnTo>
                    <a:pt x="739" y="512"/>
                  </a:lnTo>
                  <a:lnTo>
                    <a:pt x="741" y="512"/>
                  </a:lnTo>
                  <a:lnTo>
                    <a:pt x="743" y="512"/>
                  </a:lnTo>
                  <a:lnTo>
                    <a:pt x="743" y="512"/>
                  </a:lnTo>
                  <a:lnTo>
                    <a:pt x="743" y="512"/>
                  </a:lnTo>
                  <a:lnTo>
                    <a:pt x="743" y="514"/>
                  </a:lnTo>
                  <a:lnTo>
                    <a:pt x="741" y="514"/>
                  </a:lnTo>
                  <a:lnTo>
                    <a:pt x="741" y="514"/>
                  </a:lnTo>
                  <a:lnTo>
                    <a:pt x="741" y="514"/>
                  </a:lnTo>
                  <a:lnTo>
                    <a:pt x="741" y="514"/>
                  </a:lnTo>
                  <a:lnTo>
                    <a:pt x="739" y="514"/>
                  </a:lnTo>
                  <a:lnTo>
                    <a:pt x="739" y="514"/>
                  </a:lnTo>
                  <a:lnTo>
                    <a:pt x="739" y="514"/>
                  </a:lnTo>
                  <a:lnTo>
                    <a:pt x="739" y="514"/>
                  </a:lnTo>
                  <a:lnTo>
                    <a:pt x="737" y="516"/>
                  </a:lnTo>
                  <a:lnTo>
                    <a:pt x="737" y="516"/>
                  </a:lnTo>
                  <a:lnTo>
                    <a:pt x="735" y="516"/>
                  </a:lnTo>
                  <a:lnTo>
                    <a:pt x="733" y="516"/>
                  </a:lnTo>
                  <a:lnTo>
                    <a:pt x="731" y="518"/>
                  </a:lnTo>
                  <a:lnTo>
                    <a:pt x="731" y="521"/>
                  </a:lnTo>
                  <a:lnTo>
                    <a:pt x="733" y="521"/>
                  </a:lnTo>
                  <a:lnTo>
                    <a:pt x="733" y="523"/>
                  </a:lnTo>
                  <a:lnTo>
                    <a:pt x="735" y="523"/>
                  </a:lnTo>
                  <a:lnTo>
                    <a:pt x="735" y="523"/>
                  </a:lnTo>
                  <a:lnTo>
                    <a:pt x="737" y="521"/>
                  </a:lnTo>
                  <a:lnTo>
                    <a:pt x="737" y="521"/>
                  </a:lnTo>
                  <a:lnTo>
                    <a:pt x="739" y="521"/>
                  </a:lnTo>
                  <a:lnTo>
                    <a:pt x="739" y="521"/>
                  </a:lnTo>
                  <a:lnTo>
                    <a:pt x="739" y="521"/>
                  </a:lnTo>
                  <a:lnTo>
                    <a:pt x="739" y="523"/>
                  </a:lnTo>
                  <a:lnTo>
                    <a:pt x="741" y="523"/>
                  </a:lnTo>
                  <a:lnTo>
                    <a:pt x="741" y="525"/>
                  </a:lnTo>
                  <a:lnTo>
                    <a:pt x="741" y="525"/>
                  </a:lnTo>
                  <a:lnTo>
                    <a:pt x="741" y="523"/>
                  </a:lnTo>
                  <a:lnTo>
                    <a:pt x="743" y="523"/>
                  </a:lnTo>
                  <a:lnTo>
                    <a:pt x="743" y="523"/>
                  </a:lnTo>
                  <a:lnTo>
                    <a:pt x="743" y="523"/>
                  </a:lnTo>
                  <a:lnTo>
                    <a:pt x="746" y="523"/>
                  </a:lnTo>
                  <a:lnTo>
                    <a:pt x="746" y="523"/>
                  </a:lnTo>
                  <a:lnTo>
                    <a:pt x="746" y="525"/>
                  </a:lnTo>
                  <a:lnTo>
                    <a:pt x="746" y="525"/>
                  </a:lnTo>
                  <a:lnTo>
                    <a:pt x="746" y="527"/>
                  </a:lnTo>
                  <a:lnTo>
                    <a:pt x="746" y="527"/>
                  </a:lnTo>
                  <a:lnTo>
                    <a:pt x="746" y="527"/>
                  </a:lnTo>
                  <a:lnTo>
                    <a:pt x="746" y="527"/>
                  </a:lnTo>
                  <a:lnTo>
                    <a:pt x="752" y="527"/>
                  </a:lnTo>
                  <a:lnTo>
                    <a:pt x="758" y="529"/>
                  </a:lnTo>
                  <a:lnTo>
                    <a:pt x="760" y="529"/>
                  </a:lnTo>
                  <a:lnTo>
                    <a:pt x="762" y="529"/>
                  </a:lnTo>
                  <a:lnTo>
                    <a:pt x="764" y="529"/>
                  </a:lnTo>
                  <a:lnTo>
                    <a:pt x="764" y="527"/>
                  </a:lnTo>
                  <a:lnTo>
                    <a:pt x="764" y="527"/>
                  </a:lnTo>
                  <a:lnTo>
                    <a:pt x="764" y="527"/>
                  </a:lnTo>
                  <a:lnTo>
                    <a:pt x="764" y="527"/>
                  </a:lnTo>
                  <a:lnTo>
                    <a:pt x="764" y="527"/>
                  </a:lnTo>
                  <a:lnTo>
                    <a:pt x="764" y="525"/>
                  </a:lnTo>
                  <a:lnTo>
                    <a:pt x="766" y="525"/>
                  </a:lnTo>
                  <a:lnTo>
                    <a:pt x="766" y="525"/>
                  </a:lnTo>
                  <a:lnTo>
                    <a:pt x="766" y="525"/>
                  </a:lnTo>
                  <a:lnTo>
                    <a:pt x="766" y="525"/>
                  </a:lnTo>
                  <a:lnTo>
                    <a:pt x="768" y="525"/>
                  </a:lnTo>
                  <a:lnTo>
                    <a:pt x="770" y="523"/>
                  </a:lnTo>
                  <a:lnTo>
                    <a:pt x="770" y="523"/>
                  </a:lnTo>
                  <a:lnTo>
                    <a:pt x="770" y="525"/>
                  </a:lnTo>
                  <a:lnTo>
                    <a:pt x="768" y="525"/>
                  </a:lnTo>
                  <a:lnTo>
                    <a:pt x="768" y="525"/>
                  </a:lnTo>
                  <a:lnTo>
                    <a:pt x="768" y="525"/>
                  </a:lnTo>
                  <a:lnTo>
                    <a:pt x="768" y="525"/>
                  </a:lnTo>
                  <a:lnTo>
                    <a:pt x="768" y="527"/>
                  </a:lnTo>
                  <a:lnTo>
                    <a:pt x="772" y="527"/>
                  </a:lnTo>
                  <a:lnTo>
                    <a:pt x="772" y="529"/>
                  </a:lnTo>
                  <a:lnTo>
                    <a:pt x="772" y="529"/>
                  </a:lnTo>
                  <a:lnTo>
                    <a:pt x="772" y="529"/>
                  </a:lnTo>
                  <a:lnTo>
                    <a:pt x="772" y="529"/>
                  </a:lnTo>
                  <a:lnTo>
                    <a:pt x="768" y="531"/>
                  </a:lnTo>
                  <a:lnTo>
                    <a:pt x="768" y="529"/>
                  </a:lnTo>
                  <a:lnTo>
                    <a:pt x="766" y="529"/>
                  </a:lnTo>
                  <a:lnTo>
                    <a:pt x="766" y="529"/>
                  </a:lnTo>
                  <a:lnTo>
                    <a:pt x="764" y="529"/>
                  </a:lnTo>
                  <a:lnTo>
                    <a:pt x="762" y="529"/>
                  </a:lnTo>
                  <a:lnTo>
                    <a:pt x="762" y="531"/>
                  </a:lnTo>
                  <a:lnTo>
                    <a:pt x="764" y="531"/>
                  </a:lnTo>
                  <a:lnTo>
                    <a:pt x="772" y="533"/>
                  </a:lnTo>
                  <a:lnTo>
                    <a:pt x="774" y="537"/>
                  </a:lnTo>
                  <a:lnTo>
                    <a:pt x="774" y="537"/>
                  </a:lnTo>
                  <a:lnTo>
                    <a:pt x="774" y="537"/>
                  </a:lnTo>
                  <a:lnTo>
                    <a:pt x="772" y="537"/>
                  </a:lnTo>
                  <a:lnTo>
                    <a:pt x="774" y="537"/>
                  </a:lnTo>
                  <a:lnTo>
                    <a:pt x="774" y="539"/>
                  </a:lnTo>
                  <a:lnTo>
                    <a:pt x="774" y="539"/>
                  </a:lnTo>
                  <a:lnTo>
                    <a:pt x="772" y="541"/>
                  </a:lnTo>
                  <a:lnTo>
                    <a:pt x="768" y="543"/>
                  </a:lnTo>
                  <a:lnTo>
                    <a:pt x="766" y="545"/>
                  </a:lnTo>
                  <a:lnTo>
                    <a:pt x="766" y="545"/>
                  </a:lnTo>
                  <a:lnTo>
                    <a:pt x="764" y="545"/>
                  </a:lnTo>
                  <a:lnTo>
                    <a:pt x="764" y="545"/>
                  </a:lnTo>
                  <a:lnTo>
                    <a:pt x="764" y="543"/>
                  </a:lnTo>
                  <a:lnTo>
                    <a:pt x="764" y="543"/>
                  </a:lnTo>
                  <a:lnTo>
                    <a:pt x="762" y="543"/>
                  </a:lnTo>
                  <a:lnTo>
                    <a:pt x="764" y="541"/>
                  </a:lnTo>
                  <a:lnTo>
                    <a:pt x="764" y="541"/>
                  </a:lnTo>
                  <a:lnTo>
                    <a:pt x="764" y="541"/>
                  </a:lnTo>
                  <a:lnTo>
                    <a:pt x="764" y="539"/>
                  </a:lnTo>
                  <a:lnTo>
                    <a:pt x="764" y="539"/>
                  </a:lnTo>
                  <a:lnTo>
                    <a:pt x="764" y="539"/>
                  </a:lnTo>
                  <a:lnTo>
                    <a:pt x="764" y="537"/>
                  </a:lnTo>
                  <a:lnTo>
                    <a:pt x="764" y="537"/>
                  </a:lnTo>
                  <a:lnTo>
                    <a:pt x="764" y="535"/>
                  </a:lnTo>
                  <a:lnTo>
                    <a:pt x="764" y="535"/>
                  </a:lnTo>
                  <a:lnTo>
                    <a:pt x="764" y="535"/>
                  </a:lnTo>
                  <a:lnTo>
                    <a:pt x="762" y="533"/>
                  </a:lnTo>
                  <a:lnTo>
                    <a:pt x="762" y="533"/>
                  </a:lnTo>
                  <a:lnTo>
                    <a:pt x="760" y="533"/>
                  </a:lnTo>
                  <a:lnTo>
                    <a:pt x="760" y="535"/>
                  </a:lnTo>
                  <a:lnTo>
                    <a:pt x="758" y="535"/>
                  </a:lnTo>
                  <a:lnTo>
                    <a:pt x="758" y="535"/>
                  </a:lnTo>
                  <a:lnTo>
                    <a:pt x="758" y="537"/>
                  </a:lnTo>
                  <a:lnTo>
                    <a:pt x="756" y="537"/>
                  </a:lnTo>
                  <a:lnTo>
                    <a:pt x="756" y="539"/>
                  </a:lnTo>
                  <a:lnTo>
                    <a:pt x="756" y="539"/>
                  </a:lnTo>
                  <a:lnTo>
                    <a:pt x="754" y="539"/>
                  </a:lnTo>
                  <a:lnTo>
                    <a:pt x="752" y="539"/>
                  </a:lnTo>
                  <a:lnTo>
                    <a:pt x="752" y="539"/>
                  </a:lnTo>
                  <a:lnTo>
                    <a:pt x="752" y="539"/>
                  </a:lnTo>
                  <a:lnTo>
                    <a:pt x="750" y="541"/>
                  </a:lnTo>
                  <a:lnTo>
                    <a:pt x="748" y="543"/>
                  </a:lnTo>
                  <a:lnTo>
                    <a:pt x="748" y="543"/>
                  </a:lnTo>
                  <a:lnTo>
                    <a:pt x="748" y="543"/>
                  </a:lnTo>
                  <a:lnTo>
                    <a:pt x="748" y="543"/>
                  </a:lnTo>
                  <a:lnTo>
                    <a:pt x="748" y="541"/>
                  </a:lnTo>
                  <a:lnTo>
                    <a:pt x="748" y="541"/>
                  </a:lnTo>
                  <a:lnTo>
                    <a:pt x="748" y="541"/>
                  </a:lnTo>
                  <a:lnTo>
                    <a:pt x="750" y="541"/>
                  </a:lnTo>
                  <a:lnTo>
                    <a:pt x="750" y="541"/>
                  </a:lnTo>
                  <a:lnTo>
                    <a:pt x="750" y="541"/>
                  </a:lnTo>
                  <a:lnTo>
                    <a:pt x="750" y="541"/>
                  </a:lnTo>
                  <a:lnTo>
                    <a:pt x="750" y="541"/>
                  </a:lnTo>
                  <a:lnTo>
                    <a:pt x="750" y="541"/>
                  </a:lnTo>
                  <a:lnTo>
                    <a:pt x="750" y="541"/>
                  </a:lnTo>
                  <a:lnTo>
                    <a:pt x="750" y="539"/>
                  </a:lnTo>
                  <a:lnTo>
                    <a:pt x="750" y="539"/>
                  </a:lnTo>
                  <a:lnTo>
                    <a:pt x="750" y="539"/>
                  </a:lnTo>
                  <a:lnTo>
                    <a:pt x="750" y="539"/>
                  </a:lnTo>
                  <a:lnTo>
                    <a:pt x="752" y="539"/>
                  </a:lnTo>
                  <a:lnTo>
                    <a:pt x="752" y="539"/>
                  </a:lnTo>
                  <a:lnTo>
                    <a:pt x="752" y="539"/>
                  </a:lnTo>
                  <a:lnTo>
                    <a:pt x="754" y="537"/>
                  </a:lnTo>
                  <a:lnTo>
                    <a:pt x="754" y="537"/>
                  </a:lnTo>
                  <a:lnTo>
                    <a:pt x="754" y="535"/>
                  </a:lnTo>
                  <a:lnTo>
                    <a:pt x="754" y="535"/>
                  </a:lnTo>
                  <a:lnTo>
                    <a:pt x="754" y="535"/>
                  </a:lnTo>
                  <a:lnTo>
                    <a:pt x="754" y="535"/>
                  </a:lnTo>
                  <a:lnTo>
                    <a:pt x="754" y="535"/>
                  </a:lnTo>
                  <a:lnTo>
                    <a:pt x="754" y="535"/>
                  </a:lnTo>
                  <a:lnTo>
                    <a:pt x="754" y="533"/>
                  </a:lnTo>
                  <a:lnTo>
                    <a:pt x="754" y="533"/>
                  </a:lnTo>
                  <a:lnTo>
                    <a:pt x="754" y="533"/>
                  </a:lnTo>
                  <a:lnTo>
                    <a:pt x="754" y="531"/>
                  </a:lnTo>
                  <a:lnTo>
                    <a:pt x="754" y="531"/>
                  </a:lnTo>
                  <a:lnTo>
                    <a:pt x="752" y="531"/>
                  </a:lnTo>
                  <a:lnTo>
                    <a:pt x="752" y="531"/>
                  </a:lnTo>
                  <a:lnTo>
                    <a:pt x="752" y="531"/>
                  </a:lnTo>
                  <a:lnTo>
                    <a:pt x="750" y="531"/>
                  </a:lnTo>
                  <a:lnTo>
                    <a:pt x="750" y="531"/>
                  </a:lnTo>
                  <a:lnTo>
                    <a:pt x="750" y="529"/>
                  </a:lnTo>
                  <a:lnTo>
                    <a:pt x="746" y="529"/>
                  </a:lnTo>
                  <a:lnTo>
                    <a:pt x="743" y="529"/>
                  </a:lnTo>
                  <a:lnTo>
                    <a:pt x="743" y="527"/>
                  </a:lnTo>
                  <a:lnTo>
                    <a:pt x="743" y="527"/>
                  </a:lnTo>
                  <a:lnTo>
                    <a:pt x="746" y="525"/>
                  </a:lnTo>
                  <a:lnTo>
                    <a:pt x="746" y="525"/>
                  </a:lnTo>
                  <a:lnTo>
                    <a:pt x="743" y="523"/>
                  </a:lnTo>
                  <a:lnTo>
                    <a:pt x="743" y="523"/>
                  </a:lnTo>
                  <a:lnTo>
                    <a:pt x="741" y="525"/>
                  </a:lnTo>
                  <a:lnTo>
                    <a:pt x="741" y="525"/>
                  </a:lnTo>
                  <a:lnTo>
                    <a:pt x="739" y="525"/>
                  </a:lnTo>
                  <a:lnTo>
                    <a:pt x="739" y="525"/>
                  </a:lnTo>
                  <a:lnTo>
                    <a:pt x="739" y="525"/>
                  </a:lnTo>
                  <a:lnTo>
                    <a:pt x="739" y="525"/>
                  </a:lnTo>
                  <a:lnTo>
                    <a:pt x="739" y="525"/>
                  </a:lnTo>
                  <a:lnTo>
                    <a:pt x="739" y="523"/>
                  </a:lnTo>
                  <a:lnTo>
                    <a:pt x="737" y="523"/>
                  </a:lnTo>
                  <a:lnTo>
                    <a:pt x="737" y="521"/>
                  </a:lnTo>
                  <a:lnTo>
                    <a:pt x="737" y="523"/>
                  </a:lnTo>
                  <a:lnTo>
                    <a:pt x="737" y="525"/>
                  </a:lnTo>
                  <a:lnTo>
                    <a:pt x="737" y="525"/>
                  </a:lnTo>
                  <a:lnTo>
                    <a:pt x="739" y="527"/>
                  </a:lnTo>
                  <a:lnTo>
                    <a:pt x="737" y="527"/>
                  </a:lnTo>
                  <a:lnTo>
                    <a:pt x="735" y="529"/>
                  </a:lnTo>
                  <a:lnTo>
                    <a:pt x="735" y="529"/>
                  </a:lnTo>
                  <a:lnTo>
                    <a:pt x="735" y="529"/>
                  </a:lnTo>
                  <a:lnTo>
                    <a:pt x="735" y="529"/>
                  </a:lnTo>
                  <a:lnTo>
                    <a:pt x="735" y="529"/>
                  </a:lnTo>
                  <a:lnTo>
                    <a:pt x="733" y="529"/>
                  </a:lnTo>
                  <a:lnTo>
                    <a:pt x="735" y="531"/>
                  </a:lnTo>
                  <a:lnTo>
                    <a:pt x="735" y="533"/>
                  </a:lnTo>
                  <a:lnTo>
                    <a:pt x="735" y="533"/>
                  </a:lnTo>
                  <a:lnTo>
                    <a:pt x="733" y="533"/>
                  </a:lnTo>
                  <a:lnTo>
                    <a:pt x="731" y="535"/>
                  </a:lnTo>
                  <a:lnTo>
                    <a:pt x="731" y="535"/>
                  </a:lnTo>
                  <a:lnTo>
                    <a:pt x="729" y="535"/>
                  </a:lnTo>
                  <a:lnTo>
                    <a:pt x="729" y="537"/>
                  </a:lnTo>
                  <a:lnTo>
                    <a:pt x="727" y="537"/>
                  </a:lnTo>
                  <a:lnTo>
                    <a:pt x="727" y="537"/>
                  </a:lnTo>
                  <a:lnTo>
                    <a:pt x="727" y="537"/>
                  </a:lnTo>
                  <a:lnTo>
                    <a:pt x="727" y="537"/>
                  </a:lnTo>
                  <a:lnTo>
                    <a:pt x="725" y="539"/>
                  </a:lnTo>
                  <a:lnTo>
                    <a:pt x="725" y="539"/>
                  </a:lnTo>
                  <a:lnTo>
                    <a:pt x="725" y="537"/>
                  </a:lnTo>
                  <a:lnTo>
                    <a:pt x="723" y="537"/>
                  </a:lnTo>
                  <a:lnTo>
                    <a:pt x="723" y="539"/>
                  </a:lnTo>
                  <a:lnTo>
                    <a:pt x="723" y="539"/>
                  </a:lnTo>
                  <a:lnTo>
                    <a:pt x="723" y="541"/>
                  </a:lnTo>
                  <a:lnTo>
                    <a:pt x="723" y="541"/>
                  </a:lnTo>
                  <a:lnTo>
                    <a:pt x="727" y="543"/>
                  </a:lnTo>
                  <a:lnTo>
                    <a:pt x="727" y="543"/>
                  </a:lnTo>
                  <a:lnTo>
                    <a:pt x="729" y="543"/>
                  </a:lnTo>
                  <a:lnTo>
                    <a:pt x="729" y="541"/>
                  </a:lnTo>
                  <a:lnTo>
                    <a:pt x="733" y="541"/>
                  </a:lnTo>
                  <a:lnTo>
                    <a:pt x="733" y="541"/>
                  </a:lnTo>
                  <a:lnTo>
                    <a:pt x="733" y="543"/>
                  </a:lnTo>
                  <a:lnTo>
                    <a:pt x="733" y="543"/>
                  </a:lnTo>
                  <a:lnTo>
                    <a:pt x="733" y="543"/>
                  </a:lnTo>
                  <a:lnTo>
                    <a:pt x="733" y="543"/>
                  </a:lnTo>
                  <a:lnTo>
                    <a:pt x="733" y="543"/>
                  </a:lnTo>
                  <a:lnTo>
                    <a:pt x="731" y="543"/>
                  </a:lnTo>
                  <a:lnTo>
                    <a:pt x="731" y="545"/>
                  </a:lnTo>
                  <a:lnTo>
                    <a:pt x="731" y="545"/>
                  </a:lnTo>
                  <a:lnTo>
                    <a:pt x="731" y="545"/>
                  </a:lnTo>
                  <a:lnTo>
                    <a:pt x="731" y="545"/>
                  </a:lnTo>
                  <a:lnTo>
                    <a:pt x="731" y="545"/>
                  </a:lnTo>
                  <a:lnTo>
                    <a:pt x="729" y="545"/>
                  </a:lnTo>
                  <a:lnTo>
                    <a:pt x="729" y="545"/>
                  </a:lnTo>
                  <a:lnTo>
                    <a:pt x="729" y="547"/>
                  </a:lnTo>
                  <a:lnTo>
                    <a:pt x="729" y="547"/>
                  </a:lnTo>
                  <a:lnTo>
                    <a:pt x="729" y="549"/>
                  </a:lnTo>
                  <a:lnTo>
                    <a:pt x="731" y="549"/>
                  </a:lnTo>
                  <a:lnTo>
                    <a:pt x="731" y="551"/>
                  </a:lnTo>
                  <a:lnTo>
                    <a:pt x="731" y="551"/>
                  </a:lnTo>
                  <a:lnTo>
                    <a:pt x="735" y="555"/>
                  </a:lnTo>
                  <a:lnTo>
                    <a:pt x="737" y="555"/>
                  </a:lnTo>
                  <a:lnTo>
                    <a:pt x="737" y="555"/>
                  </a:lnTo>
                  <a:lnTo>
                    <a:pt x="737" y="555"/>
                  </a:lnTo>
                  <a:lnTo>
                    <a:pt x="739" y="553"/>
                  </a:lnTo>
                  <a:lnTo>
                    <a:pt x="739" y="555"/>
                  </a:lnTo>
                  <a:lnTo>
                    <a:pt x="739" y="555"/>
                  </a:lnTo>
                  <a:lnTo>
                    <a:pt x="739" y="555"/>
                  </a:lnTo>
                  <a:lnTo>
                    <a:pt x="739" y="555"/>
                  </a:lnTo>
                  <a:lnTo>
                    <a:pt x="739" y="557"/>
                  </a:lnTo>
                  <a:lnTo>
                    <a:pt x="739" y="557"/>
                  </a:lnTo>
                  <a:lnTo>
                    <a:pt x="739" y="557"/>
                  </a:lnTo>
                  <a:lnTo>
                    <a:pt x="739" y="559"/>
                  </a:lnTo>
                  <a:lnTo>
                    <a:pt x="741" y="559"/>
                  </a:lnTo>
                  <a:lnTo>
                    <a:pt x="741" y="562"/>
                  </a:lnTo>
                  <a:lnTo>
                    <a:pt x="743" y="562"/>
                  </a:lnTo>
                  <a:lnTo>
                    <a:pt x="743" y="562"/>
                  </a:lnTo>
                  <a:lnTo>
                    <a:pt x="743" y="564"/>
                  </a:lnTo>
                  <a:lnTo>
                    <a:pt x="743" y="564"/>
                  </a:lnTo>
                  <a:lnTo>
                    <a:pt x="743" y="564"/>
                  </a:lnTo>
                  <a:lnTo>
                    <a:pt x="743" y="564"/>
                  </a:lnTo>
                  <a:lnTo>
                    <a:pt x="743" y="566"/>
                  </a:lnTo>
                  <a:lnTo>
                    <a:pt x="743" y="566"/>
                  </a:lnTo>
                  <a:lnTo>
                    <a:pt x="743" y="566"/>
                  </a:lnTo>
                  <a:lnTo>
                    <a:pt x="743" y="568"/>
                  </a:lnTo>
                  <a:lnTo>
                    <a:pt x="743" y="568"/>
                  </a:lnTo>
                  <a:lnTo>
                    <a:pt x="746" y="568"/>
                  </a:lnTo>
                  <a:lnTo>
                    <a:pt x="746" y="570"/>
                  </a:lnTo>
                  <a:lnTo>
                    <a:pt x="750" y="572"/>
                  </a:lnTo>
                  <a:lnTo>
                    <a:pt x="750" y="572"/>
                  </a:lnTo>
                  <a:lnTo>
                    <a:pt x="752" y="574"/>
                  </a:lnTo>
                  <a:lnTo>
                    <a:pt x="750" y="574"/>
                  </a:lnTo>
                  <a:lnTo>
                    <a:pt x="750" y="574"/>
                  </a:lnTo>
                  <a:lnTo>
                    <a:pt x="750" y="574"/>
                  </a:lnTo>
                  <a:lnTo>
                    <a:pt x="752" y="574"/>
                  </a:lnTo>
                  <a:lnTo>
                    <a:pt x="752" y="574"/>
                  </a:lnTo>
                  <a:lnTo>
                    <a:pt x="752" y="574"/>
                  </a:lnTo>
                  <a:lnTo>
                    <a:pt x="752" y="574"/>
                  </a:lnTo>
                  <a:lnTo>
                    <a:pt x="750" y="574"/>
                  </a:lnTo>
                  <a:lnTo>
                    <a:pt x="748" y="576"/>
                  </a:lnTo>
                  <a:lnTo>
                    <a:pt x="748" y="578"/>
                  </a:lnTo>
                  <a:lnTo>
                    <a:pt x="748" y="578"/>
                  </a:lnTo>
                  <a:lnTo>
                    <a:pt x="750" y="580"/>
                  </a:lnTo>
                  <a:lnTo>
                    <a:pt x="750" y="582"/>
                  </a:lnTo>
                  <a:lnTo>
                    <a:pt x="750" y="582"/>
                  </a:lnTo>
                  <a:lnTo>
                    <a:pt x="756" y="584"/>
                  </a:lnTo>
                  <a:lnTo>
                    <a:pt x="762" y="586"/>
                  </a:lnTo>
                  <a:lnTo>
                    <a:pt x="770" y="584"/>
                  </a:lnTo>
                  <a:lnTo>
                    <a:pt x="776" y="584"/>
                  </a:lnTo>
                  <a:lnTo>
                    <a:pt x="784" y="580"/>
                  </a:lnTo>
                  <a:lnTo>
                    <a:pt x="786" y="580"/>
                  </a:lnTo>
                  <a:lnTo>
                    <a:pt x="786" y="578"/>
                  </a:lnTo>
                  <a:lnTo>
                    <a:pt x="786" y="578"/>
                  </a:lnTo>
                  <a:lnTo>
                    <a:pt x="789" y="580"/>
                  </a:lnTo>
                  <a:lnTo>
                    <a:pt x="791" y="580"/>
                  </a:lnTo>
                  <a:lnTo>
                    <a:pt x="793" y="580"/>
                  </a:lnTo>
                  <a:lnTo>
                    <a:pt x="793" y="578"/>
                  </a:lnTo>
                  <a:lnTo>
                    <a:pt x="793" y="578"/>
                  </a:lnTo>
                  <a:lnTo>
                    <a:pt x="793" y="578"/>
                  </a:lnTo>
                  <a:lnTo>
                    <a:pt x="793" y="576"/>
                  </a:lnTo>
                  <a:lnTo>
                    <a:pt x="793" y="576"/>
                  </a:lnTo>
                  <a:lnTo>
                    <a:pt x="793" y="574"/>
                  </a:lnTo>
                  <a:lnTo>
                    <a:pt x="793" y="574"/>
                  </a:lnTo>
                  <a:lnTo>
                    <a:pt x="793" y="574"/>
                  </a:lnTo>
                  <a:lnTo>
                    <a:pt x="793" y="572"/>
                  </a:lnTo>
                  <a:lnTo>
                    <a:pt x="795" y="572"/>
                  </a:lnTo>
                  <a:lnTo>
                    <a:pt x="795" y="570"/>
                  </a:lnTo>
                  <a:lnTo>
                    <a:pt x="795" y="570"/>
                  </a:lnTo>
                  <a:lnTo>
                    <a:pt x="795" y="568"/>
                  </a:lnTo>
                  <a:lnTo>
                    <a:pt x="793" y="566"/>
                  </a:lnTo>
                  <a:lnTo>
                    <a:pt x="791" y="566"/>
                  </a:lnTo>
                  <a:lnTo>
                    <a:pt x="789" y="564"/>
                  </a:lnTo>
                  <a:lnTo>
                    <a:pt x="793" y="566"/>
                  </a:lnTo>
                  <a:lnTo>
                    <a:pt x="793" y="566"/>
                  </a:lnTo>
                  <a:lnTo>
                    <a:pt x="793" y="566"/>
                  </a:lnTo>
                  <a:lnTo>
                    <a:pt x="793" y="564"/>
                  </a:lnTo>
                  <a:lnTo>
                    <a:pt x="793" y="564"/>
                  </a:lnTo>
                  <a:lnTo>
                    <a:pt x="793" y="564"/>
                  </a:lnTo>
                  <a:lnTo>
                    <a:pt x="793" y="564"/>
                  </a:lnTo>
                  <a:lnTo>
                    <a:pt x="793" y="564"/>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5" y="562"/>
                  </a:lnTo>
                  <a:lnTo>
                    <a:pt x="795" y="562"/>
                  </a:lnTo>
                  <a:lnTo>
                    <a:pt x="795" y="559"/>
                  </a:lnTo>
                  <a:lnTo>
                    <a:pt x="795" y="559"/>
                  </a:lnTo>
                  <a:lnTo>
                    <a:pt x="795" y="559"/>
                  </a:lnTo>
                  <a:lnTo>
                    <a:pt x="797" y="559"/>
                  </a:lnTo>
                  <a:lnTo>
                    <a:pt x="797" y="559"/>
                  </a:lnTo>
                  <a:lnTo>
                    <a:pt x="797" y="559"/>
                  </a:lnTo>
                  <a:lnTo>
                    <a:pt x="797" y="559"/>
                  </a:lnTo>
                  <a:lnTo>
                    <a:pt x="797" y="559"/>
                  </a:lnTo>
                  <a:lnTo>
                    <a:pt x="797" y="557"/>
                  </a:lnTo>
                  <a:lnTo>
                    <a:pt x="797" y="557"/>
                  </a:lnTo>
                  <a:lnTo>
                    <a:pt x="797" y="557"/>
                  </a:lnTo>
                  <a:lnTo>
                    <a:pt x="797" y="557"/>
                  </a:lnTo>
                  <a:lnTo>
                    <a:pt x="799" y="557"/>
                  </a:lnTo>
                  <a:lnTo>
                    <a:pt x="799" y="557"/>
                  </a:lnTo>
                  <a:lnTo>
                    <a:pt x="799" y="555"/>
                  </a:lnTo>
                  <a:lnTo>
                    <a:pt x="799" y="555"/>
                  </a:lnTo>
                  <a:lnTo>
                    <a:pt x="799" y="555"/>
                  </a:lnTo>
                  <a:lnTo>
                    <a:pt x="799" y="555"/>
                  </a:lnTo>
                  <a:lnTo>
                    <a:pt x="801" y="551"/>
                  </a:lnTo>
                  <a:lnTo>
                    <a:pt x="801" y="551"/>
                  </a:lnTo>
                  <a:lnTo>
                    <a:pt x="801" y="551"/>
                  </a:lnTo>
                  <a:lnTo>
                    <a:pt x="801" y="549"/>
                  </a:lnTo>
                  <a:lnTo>
                    <a:pt x="803" y="549"/>
                  </a:lnTo>
                  <a:lnTo>
                    <a:pt x="803" y="547"/>
                  </a:lnTo>
                  <a:lnTo>
                    <a:pt x="803" y="547"/>
                  </a:lnTo>
                  <a:lnTo>
                    <a:pt x="803" y="547"/>
                  </a:lnTo>
                  <a:lnTo>
                    <a:pt x="805" y="547"/>
                  </a:lnTo>
                  <a:lnTo>
                    <a:pt x="807" y="547"/>
                  </a:lnTo>
                  <a:lnTo>
                    <a:pt x="807" y="545"/>
                  </a:lnTo>
                  <a:lnTo>
                    <a:pt x="807" y="545"/>
                  </a:lnTo>
                  <a:lnTo>
                    <a:pt x="807" y="545"/>
                  </a:lnTo>
                  <a:lnTo>
                    <a:pt x="807" y="543"/>
                  </a:lnTo>
                  <a:lnTo>
                    <a:pt x="805" y="543"/>
                  </a:lnTo>
                  <a:lnTo>
                    <a:pt x="807" y="543"/>
                  </a:lnTo>
                  <a:lnTo>
                    <a:pt x="807" y="543"/>
                  </a:lnTo>
                  <a:lnTo>
                    <a:pt x="807" y="545"/>
                  </a:lnTo>
                  <a:lnTo>
                    <a:pt x="807" y="545"/>
                  </a:lnTo>
                  <a:lnTo>
                    <a:pt x="807" y="545"/>
                  </a:lnTo>
                  <a:lnTo>
                    <a:pt x="811" y="545"/>
                  </a:lnTo>
                  <a:lnTo>
                    <a:pt x="811" y="543"/>
                  </a:lnTo>
                  <a:lnTo>
                    <a:pt x="811" y="543"/>
                  </a:lnTo>
                  <a:lnTo>
                    <a:pt x="813" y="545"/>
                  </a:lnTo>
                  <a:lnTo>
                    <a:pt x="811" y="545"/>
                  </a:lnTo>
                  <a:lnTo>
                    <a:pt x="811" y="545"/>
                  </a:lnTo>
                  <a:lnTo>
                    <a:pt x="811" y="545"/>
                  </a:lnTo>
                  <a:lnTo>
                    <a:pt x="811" y="545"/>
                  </a:lnTo>
                  <a:lnTo>
                    <a:pt x="811" y="547"/>
                  </a:lnTo>
                  <a:lnTo>
                    <a:pt x="807" y="547"/>
                  </a:lnTo>
                  <a:lnTo>
                    <a:pt x="807" y="547"/>
                  </a:lnTo>
                  <a:lnTo>
                    <a:pt x="807" y="547"/>
                  </a:lnTo>
                  <a:lnTo>
                    <a:pt x="805" y="549"/>
                  </a:lnTo>
                  <a:lnTo>
                    <a:pt x="803" y="549"/>
                  </a:lnTo>
                  <a:lnTo>
                    <a:pt x="803" y="549"/>
                  </a:lnTo>
                  <a:lnTo>
                    <a:pt x="803" y="549"/>
                  </a:lnTo>
                  <a:lnTo>
                    <a:pt x="803" y="551"/>
                  </a:lnTo>
                  <a:lnTo>
                    <a:pt x="803" y="551"/>
                  </a:lnTo>
                  <a:lnTo>
                    <a:pt x="803" y="551"/>
                  </a:lnTo>
                  <a:lnTo>
                    <a:pt x="803" y="551"/>
                  </a:lnTo>
                  <a:lnTo>
                    <a:pt x="803" y="553"/>
                  </a:lnTo>
                  <a:lnTo>
                    <a:pt x="803" y="553"/>
                  </a:lnTo>
                  <a:lnTo>
                    <a:pt x="803" y="553"/>
                  </a:lnTo>
                  <a:lnTo>
                    <a:pt x="801" y="555"/>
                  </a:lnTo>
                  <a:lnTo>
                    <a:pt x="801" y="555"/>
                  </a:lnTo>
                  <a:lnTo>
                    <a:pt x="801" y="555"/>
                  </a:lnTo>
                  <a:lnTo>
                    <a:pt x="801" y="557"/>
                  </a:lnTo>
                  <a:lnTo>
                    <a:pt x="799" y="559"/>
                  </a:lnTo>
                  <a:lnTo>
                    <a:pt x="797" y="562"/>
                  </a:lnTo>
                  <a:lnTo>
                    <a:pt x="797" y="562"/>
                  </a:lnTo>
                  <a:lnTo>
                    <a:pt x="795" y="564"/>
                  </a:lnTo>
                  <a:lnTo>
                    <a:pt x="795" y="564"/>
                  </a:lnTo>
                  <a:lnTo>
                    <a:pt x="797" y="566"/>
                  </a:lnTo>
                  <a:lnTo>
                    <a:pt x="797" y="566"/>
                  </a:lnTo>
                  <a:lnTo>
                    <a:pt x="797" y="568"/>
                  </a:lnTo>
                  <a:lnTo>
                    <a:pt x="799" y="568"/>
                  </a:lnTo>
                  <a:lnTo>
                    <a:pt x="799" y="568"/>
                  </a:lnTo>
                  <a:lnTo>
                    <a:pt x="799" y="568"/>
                  </a:lnTo>
                  <a:lnTo>
                    <a:pt x="797" y="570"/>
                  </a:lnTo>
                  <a:lnTo>
                    <a:pt x="797" y="570"/>
                  </a:lnTo>
                  <a:lnTo>
                    <a:pt x="797" y="570"/>
                  </a:lnTo>
                  <a:lnTo>
                    <a:pt x="797" y="570"/>
                  </a:lnTo>
                  <a:lnTo>
                    <a:pt x="797" y="570"/>
                  </a:lnTo>
                  <a:lnTo>
                    <a:pt x="797" y="570"/>
                  </a:lnTo>
                  <a:lnTo>
                    <a:pt x="797" y="572"/>
                  </a:lnTo>
                  <a:lnTo>
                    <a:pt x="797" y="572"/>
                  </a:lnTo>
                  <a:lnTo>
                    <a:pt x="797" y="572"/>
                  </a:lnTo>
                  <a:lnTo>
                    <a:pt x="799" y="572"/>
                  </a:lnTo>
                  <a:lnTo>
                    <a:pt x="799" y="572"/>
                  </a:lnTo>
                  <a:lnTo>
                    <a:pt x="799" y="572"/>
                  </a:lnTo>
                  <a:lnTo>
                    <a:pt x="799" y="572"/>
                  </a:lnTo>
                  <a:lnTo>
                    <a:pt x="799" y="572"/>
                  </a:lnTo>
                  <a:lnTo>
                    <a:pt x="799" y="572"/>
                  </a:lnTo>
                  <a:lnTo>
                    <a:pt x="799" y="572"/>
                  </a:lnTo>
                  <a:lnTo>
                    <a:pt x="799" y="570"/>
                  </a:lnTo>
                  <a:lnTo>
                    <a:pt x="799" y="570"/>
                  </a:lnTo>
                  <a:lnTo>
                    <a:pt x="799" y="570"/>
                  </a:lnTo>
                  <a:lnTo>
                    <a:pt x="799" y="570"/>
                  </a:lnTo>
                  <a:lnTo>
                    <a:pt x="799" y="570"/>
                  </a:lnTo>
                  <a:lnTo>
                    <a:pt x="799" y="570"/>
                  </a:lnTo>
                  <a:lnTo>
                    <a:pt x="799" y="570"/>
                  </a:lnTo>
                  <a:lnTo>
                    <a:pt x="799" y="568"/>
                  </a:lnTo>
                  <a:lnTo>
                    <a:pt x="799" y="570"/>
                  </a:lnTo>
                  <a:lnTo>
                    <a:pt x="799" y="568"/>
                  </a:lnTo>
                  <a:lnTo>
                    <a:pt x="799" y="568"/>
                  </a:lnTo>
                  <a:lnTo>
                    <a:pt x="799" y="568"/>
                  </a:lnTo>
                  <a:lnTo>
                    <a:pt x="799" y="568"/>
                  </a:lnTo>
                  <a:lnTo>
                    <a:pt x="799" y="568"/>
                  </a:lnTo>
                  <a:lnTo>
                    <a:pt x="799" y="568"/>
                  </a:lnTo>
                  <a:lnTo>
                    <a:pt x="801" y="568"/>
                  </a:lnTo>
                  <a:lnTo>
                    <a:pt x="799" y="568"/>
                  </a:lnTo>
                  <a:lnTo>
                    <a:pt x="801" y="568"/>
                  </a:lnTo>
                  <a:lnTo>
                    <a:pt x="801" y="568"/>
                  </a:lnTo>
                  <a:lnTo>
                    <a:pt x="803" y="568"/>
                  </a:lnTo>
                  <a:lnTo>
                    <a:pt x="801" y="568"/>
                  </a:lnTo>
                  <a:lnTo>
                    <a:pt x="801" y="568"/>
                  </a:lnTo>
                  <a:lnTo>
                    <a:pt x="801" y="568"/>
                  </a:lnTo>
                  <a:lnTo>
                    <a:pt x="801" y="568"/>
                  </a:lnTo>
                  <a:lnTo>
                    <a:pt x="803" y="568"/>
                  </a:lnTo>
                  <a:lnTo>
                    <a:pt x="803" y="568"/>
                  </a:lnTo>
                  <a:lnTo>
                    <a:pt x="803" y="568"/>
                  </a:lnTo>
                  <a:lnTo>
                    <a:pt x="803" y="568"/>
                  </a:lnTo>
                  <a:lnTo>
                    <a:pt x="803" y="568"/>
                  </a:lnTo>
                  <a:lnTo>
                    <a:pt x="803" y="568"/>
                  </a:lnTo>
                  <a:lnTo>
                    <a:pt x="803" y="570"/>
                  </a:lnTo>
                  <a:lnTo>
                    <a:pt x="801" y="570"/>
                  </a:lnTo>
                  <a:lnTo>
                    <a:pt x="801" y="570"/>
                  </a:lnTo>
                  <a:lnTo>
                    <a:pt x="801" y="570"/>
                  </a:lnTo>
                  <a:lnTo>
                    <a:pt x="801" y="572"/>
                  </a:lnTo>
                  <a:lnTo>
                    <a:pt x="801" y="572"/>
                  </a:lnTo>
                  <a:lnTo>
                    <a:pt x="801" y="572"/>
                  </a:lnTo>
                  <a:lnTo>
                    <a:pt x="801" y="572"/>
                  </a:lnTo>
                  <a:lnTo>
                    <a:pt x="801" y="574"/>
                  </a:lnTo>
                  <a:lnTo>
                    <a:pt x="801" y="574"/>
                  </a:lnTo>
                  <a:lnTo>
                    <a:pt x="801" y="574"/>
                  </a:lnTo>
                  <a:lnTo>
                    <a:pt x="801" y="574"/>
                  </a:lnTo>
                  <a:lnTo>
                    <a:pt x="799" y="576"/>
                  </a:lnTo>
                  <a:lnTo>
                    <a:pt x="799" y="576"/>
                  </a:lnTo>
                  <a:lnTo>
                    <a:pt x="801" y="578"/>
                  </a:lnTo>
                  <a:lnTo>
                    <a:pt x="801" y="580"/>
                  </a:lnTo>
                  <a:lnTo>
                    <a:pt x="801" y="580"/>
                  </a:lnTo>
                  <a:lnTo>
                    <a:pt x="801" y="582"/>
                  </a:lnTo>
                  <a:lnTo>
                    <a:pt x="803" y="582"/>
                  </a:lnTo>
                  <a:lnTo>
                    <a:pt x="803" y="582"/>
                  </a:lnTo>
                  <a:lnTo>
                    <a:pt x="803" y="584"/>
                  </a:lnTo>
                  <a:lnTo>
                    <a:pt x="803" y="586"/>
                  </a:lnTo>
                  <a:lnTo>
                    <a:pt x="803" y="586"/>
                  </a:lnTo>
                  <a:lnTo>
                    <a:pt x="805" y="590"/>
                  </a:lnTo>
                  <a:lnTo>
                    <a:pt x="805" y="596"/>
                  </a:lnTo>
                  <a:lnTo>
                    <a:pt x="807" y="596"/>
                  </a:lnTo>
                  <a:lnTo>
                    <a:pt x="807" y="596"/>
                  </a:lnTo>
                  <a:lnTo>
                    <a:pt x="807" y="596"/>
                  </a:lnTo>
                  <a:lnTo>
                    <a:pt x="807" y="598"/>
                  </a:lnTo>
                  <a:lnTo>
                    <a:pt x="807" y="598"/>
                  </a:lnTo>
                  <a:lnTo>
                    <a:pt x="807" y="598"/>
                  </a:lnTo>
                  <a:lnTo>
                    <a:pt x="807" y="600"/>
                  </a:lnTo>
                  <a:lnTo>
                    <a:pt x="809" y="607"/>
                  </a:lnTo>
                  <a:lnTo>
                    <a:pt x="809" y="607"/>
                  </a:lnTo>
                  <a:lnTo>
                    <a:pt x="809" y="609"/>
                  </a:lnTo>
                  <a:lnTo>
                    <a:pt x="809" y="609"/>
                  </a:lnTo>
                  <a:lnTo>
                    <a:pt x="809" y="609"/>
                  </a:lnTo>
                  <a:lnTo>
                    <a:pt x="809" y="609"/>
                  </a:lnTo>
                  <a:lnTo>
                    <a:pt x="807" y="609"/>
                  </a:lnTo>
                  <a:lnTo>
                    <a:pt x="807" y="609"/>
                  </a:lnTo>
                  <a:lnTo>
                    <a:pt x="807" y="611"/>
                  </a:lnTo>
                  <a:lnTo>
                    <a:pt x="805" y="611"/>
                  </a:lnTo>
                  <a:lnTo>
                    <a:pt x="805" y="611"/>
                  </a:lnTo>
                  <a:lnTo>
                    <a:pt x="805" y="611"/>
                  </a:lnTo>
                  <a:lnTo>
                    <a:pt x="805" y="611"/>
                  </a:lnTo>
                  <a:lnTo>
                    <a:pt x="805" y="613"/>
                  </a:lnTo>
                  <a:lnTo>
                    <a:pt x="803" y="613"/>
                  </a:lnTo>
                  <a:lnTo>
                    <a:pt x="803" y="613"/>
                  </a:lnTo>
                  <a:lnTo>
                    <a:pt x="803" y="613"/>
                  </a:lnTo>
                  <a:lnTo>
                    <a:pt x="803" y="615"/>
                  </a:lnTo>
                  <a:lnTo>
                    <a:pt x="803" y="615"/>
                  </a:lnTo>
                  <a:lnTo>
                    <a:pt x="803" y="615"/>
                  </a:lnTo>
                  <a:lnTo>
                    <a:pt x="803" y="617"/>
                  </a:lnTo>
                  <a:lnTo>
                    <a:pt x="801" y="617"/>
                  </a:lnTo>
                  <a:lnTo>
                    <a:pt x="801" y="619"/>
                  </a:lnTo>
                  <a:lnTo>
                    <a:pt x="801" y="619"/>
                  </a:lnTo>
                  <a:lnTo>
                    <a:pt x="801" y="621"/>
                  </a:lnTo>
                  <a:lnTo>
                    <a:pt x="799" y="619"/>
                  </a:lnTo>
                  <a:lnTo>
                    <a:pt x="799" y="619"/>
                  </a:lnTo>
                  <a:lnTo>
                    <a:pt x="801" y="617"/>
                  </a:lnTo>
                  <a:lnTo>
                    <a:pt x="801" y="617"/>
                  </a:lnTo>
                  <a:lnTo>
                    <a:pt x="801" y="617"/>
                  </a:lnTo>
                  <a:lnTo>
                    <a:pt x="801" y="617"/>
                  </a:lnTo>
                  <a:lnTo>
                    <a:pt x="799" y="619"/>
                  </a:lnTo>
                  <a:lnTo>
                    <a:pt x="799" y="619"/>
                  </a:lnTo>
                  <a:lnTo>
                    <a:pt x="799" y="621"/>
                  </a:lnTo>
                  <a:lnTo>
                    <a:pt x="801" y="625"/>
                  </a:lnTo>
                  <a:lnTo>
                    <a:pt x="801" y="627"/>
                  </a:lnTo>
                  <a:lnTo>
                    <a:pt x="803" y="629"/>
                  </a:lnTo>
                  <a:lnTo>
                    <a:pt x="803" y="629"/>
                  </a:lnTo>
                  <a:lnTo>
                    <a:pt x="803" y="629"/>
                  </a:lnTo>
                  <a:lnTo>
                    <a:pt x="803" y="629"/>
                  </a:lnTo>
                  <a:lnTo>
                    <a:pt x="803" y="627"/>
                  </a:lnTo>
                  <a:lnTo>
                    <a:pt x="803" y="627"/>
                  </a:lnTo>
                  <a:lnTo>
                    <a:pt x="805" y="627"/>
                  </a:lnTo>
                  <a:lnTo>
                    <a:pt x="807" y="627"/>
                  </a:lnTo>
                  <a:lnTo>
                    <a:pt x="809" y="627"/>
                  </a:lnTo>
                  <a:lnTo>
                    <a:pt x="809" y="627"/>
                  </a:lnTo>
                  <a:lnTo>
                    <a:pt x="809" y="627"/>
                  </a:lnTo>
                  <a:lnTo>
                    <a:pt x="809" y="627"/>
                  </a:lnTo>
                  <a:lnTo>
                    <a:pt x="809" y="627"/>
                  </a:lnTo>
                  <a:lnTo>
                    <a:pt x="809" y="627"/>
                  </a:lnTo>
                  <a:lnTo>
                    <a:pt x="811" y="627"/>
                  </a:lnTo>
                  <a:lnTo>
                    <a:pt x="811" y="627"/>
                  </a:lnTo>
                  <a:lnTo>
                    <a:pt x="811" y="627"/>
                  </a:lnTo>
                  <a:lnTo>
                    <a:pt x="811" y="627"/>
                  </a:lnTo>
                  <a:lnTo>
                    <a:pt x="811" y="629"/>
                  </a:lnTo>
                  <a:lnTo>
                    <a:pt x="811" y="629"/>
                  </a:lnTo>
                  <a:lnTo>
                    <a:pt x="811" y="629"/>
                  </a:lnTo>
                  <a:lnTo>
                    <a:pt x="811" y="629"/>
                  </a:lnTo>
                  <a:lnTo>
                    <a:pt x="811" y="629"/>
                  </a:lnTo>
                  <a:lnTo>
                    <a:pt x="809" y="629"/>
                  </a:lnTo>
                  <a:lnTo>
                    <a:pt x="809" y="629"/>
                  </a:lnTo>
                  <a:lnTo>
                    <a:pt x="807" y="631"/>
                  </a:lnTo>
                  <a:lnTo>
                    <a:pt x="807" y="631"/>
                  </a:lnTo>
                  <a:lnTo>
                    <a:pt x="807" y="631"/>
                  </a:lnTo>
                  <a:lnTo>
                    <a:pt x="805" y="631"/>
                  </a:lnTo>
                  <a:lnTo>
                    <a:pt x="805" y="631"/>
                  </a:lnTo>
                  <a:lnTo>
                    <a:pt x="805" y="631"/>
                  </a:lnTo>
                  <a:lnTo>
                    <a:pt x="805" y="631"/>
                  </a:lnTo>
                  <a:lnTo>
                    <a:pt x="805" y="631"/>
                  </a:lnTo>
                  <a:lnTo>
                    <a:pt x="805" y="631"/>
                  </a:lnTo>
                  <a:lnTo>
                    <a:pt x="805" y="631"/>
                  </a:lnTo>
                  <a:lnTo>
                    <a:pt x="805" y="631"/>
                  </a:lnTo>
                  <a:lnTo>
                    <a:pt x="805" y="631"/>
                  </a:lnTo>
                  <a:lnTo>
                    <a:pt x="805" y="631"/>
                  </a:lnTo>
                  <a:lnTo>
                    <a:pt x="803" y="631"/>
                  </a:lnTo>
                  <a:lnTo>
                    <a:pt x="803" y="631"/>
                  </a:lnTo>
                  <a:lnTo>
                    <a:pt x="803" y="631"/>
                  </a:lnTo>
                  <a:lnTo>
                    <a:pt x="803" y="631"/>
                  </a:lnTo>
                  <a:lnTo>
                    <a:pt x="803" y="631"/>
                  </a:lnTo>
                  <a:lnTo>
                    <a:pt x="803" y="631"/>
                  </a:lnTo>
                  <a:lnTo>
                    <a:pt x="803" y="633"/>
                  </a:lnTo>
                  <a:lnTo>
                    <a:pt x="803" y="633"/>
                  </a:lnTo>
                  <a:lnTo>
                    <a:pt x="805" y="633"/>
                  </a:lnTo>
                  <a:lnTo>
                    <a:pt x="805" y="633"/>
                  </a:lnTo>
                  <a:lnTo>
                    <a:pt x="805" y="635"/>
                  </a:lnTo>
                  <a:lnTo>
                    <a:pt x="805" y="635"/>
                  </a:lnTo>
                  <a:lnTo>
                    <a:pt x="803" y="639"/>
                  </a:lnTo>
                  <a:lnTo>
                    <a:pt x="803" y="639"/>
                  </a:lnTo>
                  <a:lnTo>
                    <a:pt x="805" y="641"/>
                  </a:lnTo>
                  <a:lnTo>
                    <a:pt x="805" y="641"/>
                  </a:lnTo>
                  <a:lnTo>
                    <a:pt x="805" y="641"/>
                  </a:lnTo>
                  <a:lnTo>
                    <a:pt x="805" y="641"/>
                  </a:lnTo>
                  <a:lnTo>
                    <a:pt x="805" y="643"/>
                  </a:lnTo>
                  <a:lnTo>
                    <a:pt x="805" y="643"/>
                  </a:lnTo>
                  <a:lnTo>
                    <a:pt x="803" y="643"/>
                  </a:lnTo>
                  <a:lnTo>
                    <a:pt x="805" y="643"/>
                  </a:lnTo>
                  <a:lnTo>
                    <a:pt x="805" y="643"/>
                  </a:lnTo>
                  <a:lnTo>
                    <a:pt x="805" y="641"/>
                  </a:lnTo>
                  <a:lnTo>
                    <a:pt x="807" y="641"/>
                  </a:lnTo>
                  <a:lnTo>
                    <a:pt x="807" y="643"/>
                  </a:lnTo>
                  <a:lnTo>
                    <a:pt x="805" y="646"/>
                  </a:lnTo>
                  <a:lnTo>
                    <a:pt x="805" y="646"/>
                  </a:lnTo>
                  <a:lnTo>
                    <a:pt x="805" y="646"/>
                  </a:lnTo>
                  <a:lnTo>
                    <a:pt x="803" y="646"/>
                  </a:lnTo>
                  <a:lnTo>
                    <a:pt x="803" y="646"/>
                  </a:lnTo>
                  <a:lnTo>
                    <a:pt x="803" y="646"/>
                  </a:lnTo>
                  <a:lnTo>
                    <a:pt x="803" y="648"/>
                  </a:lnTo>
                  <a:lnTo>
                    <a:pt x="801" y="648"/>
                  </a:lnTo>
                  <a:lnTo>
                    <a:pt x="801" y="648"/>
                  </a:lnTo>
                  <a:lnTo>
                    <a:pt x="801" y="650"/>
                  </a:lnTo>
                  <a:lnTo>
                    <a:pt x="801" y="650"/>
                  </a:lnTo>
                  <a:lnTo>
                    <a:pt x="801" y="652"/>
                  </a:lnTo>
                  <a:lnTo>
                    <a:pt x="799" y="652"/>
                  </a:lnTo>
                  <a:lnTo>
                    <a:pt x="799" y="652"/>
                  </a:lnTo>
                  <a:lnTo>
                    <a:pt x="799" y="650"/>
                  </a:lnTo>
                  <a:lnTo>
                    <a:pt x="799" y="650"/>
                  </a:lnTo>
                  <a:lnTo>
                    <a:pt x="799" y="650"/>
                  </a:lnTo>
                  <a:lnTo>
                    <a:pt x="799" y="650"/>
                  </a:lnTo>
                  <a:lnTo>
                    <a:pt x="799" y="650"/>
                  </a:lnTo>
                  <a:lnTo>
                    <a:pt x="799" y="650"/>
                  </a:lnTo>
                  <a:lnTo>
                    <a:pt x="799" y="650"/>
                  </a:lnTo>
                  <a:lnTo>
                    <a:pt x="799" y="650"/>
                  </a:lnTo>
                  <a:lnTo>
                    <a:pt x="797" y="650"/>
                  </a:lnTo>
                  <a:lnTo>
                    <a:pt x="797" y="650"/>
                  </a:lnTo>
                  <a:lnTo>
                    <a:pt x="797" y="650"/>
                  </a:lnTo>
                  <a:lnTo>
                    <a:pt x="795" y="650"/>
                  </a:lnTo>
                  <a:lnTo>
                    <a:pt x="795" y="650"/>
                  </a:lnTo>
                  <a:lnTo>
                    <a:pt x="793" y="650"/>
                  </a:lnTo>
                  <a:lnTo>
                    <a:pt x="793" y="652"/>
                  </a:lnTo>
                  <a:lnTo>
                    <a:pt x="795" y="652"/>
                  </a:lnTo>
                  <a:lnTo>
                    <a:pt x="801" y="652"/>
                  </a:lnTo>
                  <a:lnTo>
                    <a:pt x="803" y="652"/>
                  </a:lnTo>
                  <a:lnTo>
                    <a:pt x="803" y="654"/>
                  </a:lnTo>
                  <a:lnTo>
                    <a:pt x="803" y="654"/>
                  </a:lnTo>
                  <a:lnTo>
                    <a:pt x="803" y="654"/>
                  </a:lnTo>
                  <a:lnTo>
                    <a:pt x="803" y="652"/>
                  </a:lnTo>
                  <a:lnTo>
                    <a:pt x="803" y="652"/>
                  </a:lnTo>
                  <a:lnTo>
                    <a:pt x="803" y="652"/>
                  </a:lnTo>
                  <a:lnTo>
                    <a:pt x="803" y="652"/>
                  </a:lnTo>
                  <a:lnTo>
                    <a:pt x="803" y="652"/>
                  </a:lnTo>
                  <a:lnTo>
                    <a:pt x="805" y="652"/>
                  </a:lnTo>
                  <a:lnTo>
                    <a:pt x="805" y="654"/>
                  </a:lnTo>
                  <a:lnTo>
                    <a:pt x="805" y="654"/>
                  </a:lnTo>
                  <a:lnTo>
                    <a:pt x="803" y="656"/>
                  </a:lnTo>
                  <a:lnTo>
                    <a:pt x="803" y="656"/>
                  </a:lnTo>
                  <a:lnTo>
                    <a:pt x="803" y="656"/>
                  </a:lnTo>
                  <a:lnTo>
                    <a:pt x="805" y="656"/>
                  </a:lnTo>
                  <a:lnTo>
                    <a:pt x="805" y="656"/>
                  </a:lnTo>
                  <a:lnTo>
                    <a:pt x="805" y="656"/>
                  </a:lnTo>
                  <a:lnTo>
                    <a:pt x="805" y="656"/>
                  </a:lnTo>
                  <a:lnTo>
                    <a:pt x="805" y="654"/>
                  </a:lnTo>
                  <a:lnTo>
                    <a:pt x="807" y="654"/>
                  </a:lnTo>
                  <a:lnTo>
                    <a:pt x="807" y="654"/>
                  </a:lnTo>
                  <a:lnTo>
                    <a:pt x="807" y="654"/>
                  </a:lnTo>
                  <a:lnTo>
                    <a:pt x="807" y="654"/>
                  </a:lnTo>
                  <a:lnTo>
                    <a:pt x="809" y="654"/>
                  </a:lnTo>
                  <a:lnTo>
                    <a:pt x="809" y="654"/>
                  </a:lnTo>
                  <a:lnTo>
                    <a:pt x="809" y="654"/>
                  </a:lnTo>
                  <a:lnTo>
                    <a:pt x="809" y="652"/>
                  </a:lnTo>
                  <a:lnTo>
                    <a:pt x="813" y="652"/>
                  </a:lnTo>
                  <a:lnTo>
                    <a:pt x="815" y="652"/>
                  </a:lnTo>
                  <a:lnTo>
                    <a:pt x="815" y="652"/>
                  </a:lnTo>
                  <a:lnTo>
                    <a:pt x="815" y="652"/>
                  </a:lnTo>
                  <a:lnTo>
                    <a:pt x="813" y="652"/>
                  </a:lnTo>
                  <a:lnTo>
                    <a:pt x="813" y="652"/>
                  </a:lnTo>
                  <a:lnTo>
                    <a:pt x="813" y="650"/>
                  </a:lnTo>
                  <a:lnTo>
                    <a:pt x="813" y="650"/>
                  </a:lnTo>
                  <a:lnTo>
                    <a:pt x="815" y="650"/>
                  </a:lnTo>
                  <a:lnTo>
                    <a:pt x="815" y="648"/>
                  </a:lnTo>
                  <a:lnTo>
                    <a:pt x="817" y="646"/>
                  </a:lnTo>
                  <a:lnTo>
                    <a:pt x="817" y="646"/>
                  </a:lnTo>
                  <a:lnTo>
                    <a:pt x="819" y="646"/>
                  </a:lnTo>
                  <a:lnTo>
                    <a:pt x="817" y="646"/>
                  </a:lnTo>
                  <a:lnTo>
                    <a:pt x="815" y="646"/>
                  </a:lnTo>
                  <a:lnTo>
                    <a:pt x="815" y="646"/>
                  </a:lnTo>
                  <a:lnTo>
                    <a:pt x="817" y="646"/>
                  </a:lnTo>
                  <a:lnTo>
                    <a:pt x="817" y="643"/>
                  </a:lnTo>
                  <a:lnTo>
                    <a:pt x="817" y="643"/>
                  </a:lnTo>
                  <a:lnTo>
                    <a:pt x="817" y="643"/>
                  </a:lnTo>
                  <a:lnTo>
                    <a:pt x="817" y="643"/>
                  </a:lnTo>
                  <a:lnTo>
                    <a:pt x="817" y="643"/>
                  </a:lnTo>
                  <a:lnTo>
                    <a:pt x="817" y="646"/>
                  </a:lnTo>
                  <a:lnTo>
                    <a:pt x="817" y="646"/>
                  </a:lnTo>
                  <a:lnTo>
                    <a:pt x="819" y="646"/>
                  </a:lnTo>
                  <a:lnTo>
                    <a:pt x="819" y="646"/>
                  </a:lnTo>
                  <a:lnTo>
                    <a:pt x="819" y="646"/>
                  </a:lnTo>
                  <a:lnTo>
                    <a:pt x="821" y="646"/>
                  </a:lnTo>
                  <a:lnTo>
                    <a:pt x="823" y="643"/>
                  </a:lnTo>
                  <a:lnTo>
                    <a:pt x="823" y="643"/>
                  </a:lnTo>
                  <a:lnTo>
                    <a:pt x="825" y="643"/>
                  </a:lnTo>
                  <a:lnTo>
                    <a:pt x="825" y="641"/>
                  </a:lnTo>
                  <a:lnTo>
                    <a:pt x="825" y="641"/>
                  </a:lnTo>
                  <a:lnTo>
                    <a:pt x="827" y="641"/>
                  </a:lnTo>
                  <a:lnTo>
                    <a:pt x="827" y="641"/>
                  </a:lnTo>
                  <a:lnTo>
                    <a:pt x="830" y="641"/>
                  </a:lnTo>
                  <a:lnTo>
                    <a:pt x="830" y="643"/>
                  </a:lnTo>
                  <a:lnTo>
                    <a:pt x="830" y="643"/>
                  </a:lnTo>
                  <a:lnTo>
                    <a:pt x="830" y="643"/>
                  </a:lnTo>
                  <a:lnTo>
                    <a:pt x="830" y="646"/>
                  </a:lnTo>
                  <a:lnTo>
                    <a:pt x="832" y="641"/>
                  </a:lnTo>
                  <a:lnTo>
                    <a:pt x="834" y="639"/>
                  </a:lnTo>
                  <a:lnTo>
                    <a:pt x="842" y="633"/>
                  </a:lnTo>
                  <a:lnTo>
                    <a:pt x="842" y="633"/>
                  </a:lnTo>
                  <a:lnTo>
                    <a:pt x="844" y="633"/>
                  </a:lnTo>
                  <a:lnTo>
                    <a:pt x="844" y="633"/>
                  </a:lnTo>
                  <a:lnTo>
                    <a:pt x="844" y="635"/>
                  </a:lnTo>
                  <a:lnTo>
                    <a:pt x="844" y="635"/>
                  </a:lnTo>
                  <a:lnTo>
                    <a:pt x="844" y="635"/>
                  </a:lnTo>
                  <a:lnTo>
                    <a:pt x="844" y="635"/>
                  </a:lnTo>
                  <a:lnTo>
                    <a:pt x="844" y="635"/>
                  </a:lnTo>
                  <a:lnTo>
                    <a:pt x="844" y="635"/>
                  </a:lnTo>
                  <a:lnTo>
                    <a:pt x="844" y="637"/>
                  </a:lnTo>
                  <a:lnTo>
                    <a:pt x="846" y="637"/>
                  </a:lnTo>
                  <a:lnTo>
                    <a:pt x="846" y="637"/>
                  </a:lnTo>
                  <a:lnTo>
                    <a:pt x="846" y="637"/>
                  </a:lnTo>
                  <a:lnTo>
                    <a:pt x="846" y="637"/>
                  </a:lnTo>
                  <a:lnTo>
                    <a:pt x="846" y="637"/>
                  </a:lnTo>
                  <a:lnTo>
                    <a:pt x="846" y="637"/>
                  </a:lnTo>
                  <a:lnTo>
                    <a:pt x="844" y="637"/>
                  </a:lnTo>
                  <a:lnTo>
                    <a:pt x="844" y="637"/>
                  </a:lnTo>
                  <a:lnTo>
                    <a:pt x="844" y="639"/>
                  </a:lnTo>
                  <a:lnTo>
                    <a:pt x="844" y="639"/>
                  </a:lnTo>
                  <a:lnTo>
                    <a:pt x="844" y="639"/>
                  </a:lnTo>
                  <a:lnTo>
                    <a:pt x="844" y="639"/>
                  </a:lnTo>
                  <a:lnTo>
                    <a:pt x="844" y="639"/>
                  </a:lnTo>
                  <a:lnTo>
                    <a:pt x="844" y="639"/>
                  </a:lnTo>
                  <a:lnTo>
                    <a:pt x="846" y="639"/>
                  </a:lnTo>
                  <a:lnTo>
                    <a:pt x="846" y="641"/>
                  </a:lnTo>
                  <a:lnTo>
                    <a:pt x="846" y="641"/>
                  </a:lnTo>
                  <a:lnTo>
                    <a:pt x="846" y="641"/>
                  </a:lnTo>
                  <a:lnTo>
                    <a:pt x="846" y="641"/>
                  </a:lnTo>
                  <a:lnTo>
                    <a:pt x="848" y="641"/>
                  </a:lnTo>
                  <a:lnTo>
                    <a:pt x="848" y="643"/>
                  </a:lnTo>
                  <a:lnTo>
                    <a:pt x="848" y="643"/>
                  </a:lnTo>
                  <a:lnTo>
                    <a:pt x="848" y="643"/>
                  </a:lnTo>
                  <a:lnTo>
                    <a:pt x="848" y="646"/>
                  </a:lnTo>
                  <a:lnTo>
                    <a:pt x="848" y="646"/>
                  </a:lnTo>
                  <a:lnTo>
                    <a:pt x="848" y="646"/>
                  </a:lnTo>
                  <a:lnTo>
                    <a:pt x="848" y="643"/>
                  </a:lnTo>
                  <a:lnTo>
                    <a:pt x="848" y="643"/>
                  </a:lnTo>
                  <a:lnTo>
                    <a:pt x="850" y="643"/>
                  </a:lnTo>
                  <a:lnTo>
                    <a:pt x="850" y="643"/>
                  </a:lnTo>
                  <a:lnTo>
                    <a:pt x="850" y="643"/>
                  </a:lnTo>
                  <a:lnTo>
                    <a:pt x="850" y="643"/>
                  </a:lnTo>
                  <a:lnTo>
                    <a:pt x="852" y="643"/>
                  </a:lnTo>
                  <a:lnTo>
                    <a:pt x="852" y="646"/>
                  </a:lnTo>
                  <a:lnTo>
                    <a:pt x="852" y="646"/>
                  </a:lnTo>
                  <a:lnTo>
                    <a:pt x="852" y="646"/>
                  </a:lnTo>
                  <a:lnTo>
                    <a:pt x="852" y="646"/>
                  </a:lnTo>
                  <a:lnTo>
                    <a:pt x="852" y="648"/>
                  </a:lnTo>
                  <a:lnTo>
                    <a:pt x="852" y="648"/>
                  </a:lnTo>
                  <a:lnTo>
                    <a:pt x="852" y="650"/>
                  </a:lnTo>
                  <a:lnTo>
                    <a:pt x="854" y="650"/>
                  </a:lnTo>
                  <a:lnTo>
                    <a:pt x="854" y="650"/>
                  </a:lnTo>
                  <a:lnTo>
                    <a:pt x="854" y="650"/>
                  </a:lnTo>
                  <a:lnTo>
                    <a:pt x="856" y="650"/>
                  </a:lnTo>
                  <a:lnTo>
                    <a:pt x="856" y="650"/>
                  </a:lnTo>
                  <a:lnTo>
                    <a:pt x="856" y="648"/>
                  </a:lnTo>
                  <a:lnTo>
                    <a:pt x="856" y="648"/>
                  </a:lnTo>
                  <a:lnTo>
                    <a:pt x="856" y="648"/>
                  </a:lnTo>
                  <a:lnTo>
                    <a:pt x="856" y="648"/>
                  </a:lnTo>
                  <a:lnTo>
                    <a:pt x="856" y="648"/>
                  </a:lnTo>
                  <a:lnTo>
                    <a:pt x="856" y="646"/>
                  </a:lnTo>
                  <a:lnTo>
                    <a:pt x="856" y="646"/>
                  </a:lnTo>
                  <a:lnTo>
                    <a:pt x="856" y="646"/>
                  </a:lnTo>
                  <a:lnTo>
                    <a:pt x="858" y="646"/>
                  </a:lnTo>
                  <a:lnTo>
                    <a:pt x="858" y="646"/>
                  </a:lnTo>
                  <a:lnTo>
                    <a:pt x="858" y="646"/>
                  </a:lnTo>
                  <a:lnTo>
                    <a:pt x="858" y="646"/>
                  </a:lnTo>
                  <a:lnTo>
                    <a:pt x="858" y="646"/>
                  </a:lnTo>
                  <a:lnTo>
                    <a:pt x="858" y="643"/>
                  </a:lnTo>
                  <a:lnTo>
                    <a:pt x="858" y="643"/>
                  </a:lnTo>
                  <a:lnTo>
                    <a:pt x="858" y="643"/>
                  </a:lnTo>
                  <a:lnTo>
                    <a:pt x="858" y="641"/>
                  </a:lnTo>
                  <a:lnTo>
                    <a:pt x="858" y="641"/>
                  </a:lnTo>
                  <a:lnTo>
                    <a:pt x="862" y="641"/>
                  </a:lnTo>
                  <a:lnTo>
                    <a:pt x="862" y="641"/>
                  </a:lnTo>
                  <a:lnTo>
                    <a:pt x="862" y="641"/>
                  </a:lnTo>
                  <a:lnTo>
                    <a:pt x="862" y="641"/>
                  </a:lnTo>
                  <a:lnTo>
                    <a:pt x="862" y="643"/>
                  </a:lnTo>
                  <a:lnTo>
                    <a:pt x="862" y="646"/>
                  </a:lnTo>
                  <a:lnTo>
                    <a:pt x="860" y="646"/>
                  </a:lnTo>
                  <a:lnTo>
                    <a:pt x="860" y="648"/>
                  </a:lnTo>
                  <a:lnTo>
                    <a:pt x="860" y="648"/>
                  </a:lnTo>
                  <a:lnTo>
                    <a:pt x="862" y="648"/>
                  </a:lnTo>
                  <a:lnTo>
                    <a:pt x="862" y="648"/>
                  </a:lnTo>
                  <a:lnTo>
                    <a:pt x="864" y="648"/>
                  </a:lnTo>
                  <a:lnTo>
                    <a:pt x="864" y="648"/>
                  </a:lnTo>
                  <a:lnTo>
                    <a:pt x="864" y="648"/>
                  </a:lnTo>
                  <a:lnTo>
                    <a:pt x="864" y="648"/>
                  </a:lnTo>
                  <a:lnTo>
                    <a:pt x="864" y="650"/>
                  </a:lnTo>
                  <a:lnTo>
                    <a:pt x="866" y="652"/>
                  </a:lnTo>
                  <a:lnTo>
                    <a:pt x="870" y="656"/>
                  </a:lnTo>
                  <a:lnTo>
                    <a:pt x="873" y="662"/>
                  </a:lnTo>
                  <a:lnTo>
                    <a:pt x="873" y="664"/>
                  </a:lnTo>
                  <a:lnTo>
                    <a:pt x="875" y="666"/>
                  </a:lnTo>
                  <a:lnTo>
                    <a:pt x="875" y="666"/>
                  </a:lnTo>
                  <a:lnTo>
                    <a:pt x="875" y="668"/>
                  </a:lnTo>
                  <a:lnTo>
                    <a:pt x="875" y="668"/>
                  </a:lnTo>
                  <a:lnTo>
                    <a:pt x="875" y="668"/>
                  </a:lnTo>
                  <a:lnTo>
                    <a:pt x="877" y="668"/>
                  </a:lnTo>
                  <a:lnTo>
                    <a:pt x="877" y="668"/>
                  </a:lnTo>
                  <a:lnTo>
                    <a:pt x="875" y="670"/>
                  </a:lnTo>
                  <a:lnTo>
                    <a:pt x="875" y="670"/>
                  </a:lnTo>
                  <a:lnTo>
                    <a:pt x="875" y="668"/>
                  </a:lnTo>
                  <a:lnTo>
                    <a:pt x="875" y="670"/>
                  </a:lnTo>
                  <a:lnTo>
                    <a:pt x="877" y="670"/>
                  </a:lnTo>
                  <a:lnTo>
                    <a:pt x="881" y="672"/>
                  </a:lnTo>
                  <a:lnTo>
                    <a:pt x="881" y="672"/>
                  </a:lnTo>
                  <a:lnTo>
                    <a:pt x="883" y="670"/>
                  </a:lnTo>
                  <a:lnTo>
                    <a:pt x="881" y="670"/>
                  </a:lnTo>
                  <a:lnTo>
                    <a:pt x="881" y="670"/>
                  </a:lnTo>
                  <a:lnTo>
                    <a:pt x="883" y="670"/>
                  </a:lnTo>
                  <a:lnTo>
                    <a:pt x="883" y="670"/>
                  </a:lnTo>
                  <a:lnTo>
                    <a:pt x="883" y="670"/>
                  </a:lnTo>
                  <a:lnTo>
                    <a:pt x="885" y="668"/>
                  </a:lnTo>
                  <a:lnTo>
                    <a:pt x="885" y="668"/>
                  </a:lnTo>
                  <a:lnTo>
                    <a:pt x="885" y="668"/>
                  </a:lnTo>
                  <a:lnTo>
                    <a:pt x="885" y="666"/>
                  </a:lnTo>
                  <a:lnTo>
                    <a:pt x="885" y="666"/>
                  </a:lnTo>
                  <a:lnTo>
                    <a:pt x="885" y="666"/>
                  </a:lnTo>
                  <a:lnTo>
                    <a:pt x="883" y="666"/>
                  </a:lnTo>
                  <a:lnTo>
                    <a:pt x="883" y="666"/>
                  </a:lnTo>
                  <a:lnTo>
                    <a:pt x="883" y="666"/>
                  </a:lnTo>
                  <a:lnTo>
                    <a:pt x="883" y="664"/>
                  </a:lnTo>
                  <a:lnTo>
                    <a:pt x="883" y="664"/>
                  </a:lnTo>
                  <a:lnTo>
                    <a:pt x="883" y="664"/>
                  </a:lnTo>
                  <a:lnTo>
                    <a:pt x="883" y="664"/>
                  </a:lnTo>
                  <a:lnTo>
                    <a:pt x="883" y="664"/>
                  </a:lnTo>
                  <a:lnTo>
                    <a:pt x="881" y="656"/>
                  </a:lnTo>
                  <a:lnTo>
                    <a:pt x="881" y="654"/>
                  </a:lnTo>
                  <a:lnTo>
                    <a:pt x="881" y="654"/>
                  </a:lnTo>
                  <a:lnTo>
                    <a:pt x="881" y="652"/>
                  </a:lnTo>
                  <a:lnTo>
                    <a:pt x="881" y="652"/>
                  </a:lnTo>
                  <a:lnTo>
                    <a:pt x="881" y="652"/>
                  </a:lnTo>
                  <a:lnTo>
                    <a:pt x="883" y="652"/>
                  </a:lnTo>
                  <a:lnTo>
                    <a:pt x="881" y="652"/>
                  </a:lnTo>
                  <a:lnTo>
                    <a:pt x="881" y="650"/>
                  </a:lnTo>
                  <a:lnTo>
                    <a:pt x="883" y="650"/>
                  </a:lnTo>
                  <a:lnTo>
                    <a:pt x="883" y="650"/>
                  </a:lnTo>
                  <a:lnTo>
                    <a:pt x="883" y="650"/>
                  </a:lnTo>
                  <a:lnTo>
                    <a:pt x="883" y="652"/>
                  </a:lnTo>
                  <a:lnTo>
                    <a:pt x="883" y="652"/>
                  </a:lnTo>
                  <a:lnTo>
                    <a:pt x="883" y="652"/>
                  </a:lnTo>
                  <a:lnTo>
                    <a:pt x="881" y="652"/>
                  </a:lnTo>
                  <a:lnTo>
                    <a:pt x="881" y="654"/>
                  </a:lnTo>
                  <a:lnTo>
                    <a:pt x="881" y="654"/>
                  </a:lnTo>
                  <a:lnTo>
                    <a:pt x="881" y="654"/>
                  </a:lnTo>
                  <a:lnTo>
                    <a:pt x="881" y="654"/>
                  </a:lnTo>
                  <a:lnTo>
                    <a:pt x="881" y="654"/>
                  </a:lnTo>
                  <a:lnTo>
                    <a:pt x="881" y="654"/>
                  </a:lnTo>
                  <a:lnTo>
                    <a:pt x="883" y="654"/>
                  </a:lnTo>
                  <a:lnTo>
                    <a:pt x="883" y="654"/>
                  </a:lnTo>
                  <a:lnTo>
                    <a:pt x="883" y="654"/>
                  </a:lnTo>
                  <a:lnTo>
                    <a:pt x="883" y="654"/>
                  </a:lnTo>
                  <a:lnTo>
                    <a:pt x="883" y="652"/>
                  </a:lnTo>
                  <a:lnTo>
                    <a:pt x="885" y="652"/>
                  </a:lnTo>
                  <a:lnTo>
                    <a:pt x="885" y="652"/>
                  </a:lnTo>
                  <a:lnTo>
                    <a:pt x="883" y="650"/>
                  </a:lnTo>
                  <a:lnTo>
                    <a:pt x="885" y="646"/>
                  </a:lnTo>
                  <a:lnTo>
                    <a:pt x="885" y="646"/>
                  </a:lnTo>
                  <a:lnTo>
                    <a:pt x="885" y="641"/>
                  </a:lnTo>
                  <a:lnTo>
                    <a:pt x="883" y="641"/>
                  </a:lnTo>
                  <a:lnTo>
                    <a:pt x="885" y="641"/>
                  </a:lnTo>
                  <a:lnTo>
                    <a:pt x="885" y="641"/>
                  </a:lnTo>
                  <a:lnTo>
                    <a:pt x="885" y="641"/>
                  </a:lnTo>
                  <a:lnTo>
                    <a:pt x="885" y="643"/>
                  </a:lnTo>
                  <a:lnTo>
                    <a:pt x="885" y="643"/>
                  </a:lnTo>
                  <a:lnTo>
                    <a:pt x="885" y="643"/>
                  </a:lnTo>
                  <a:lnTo>
                    <a:pt x="887" y="643"/>
                  </a:lnTo>
                  <a:lnTo>
                    <a:pt x="885" y="646"/>
                  </a:lnTo>
                  <a:lnTo>
                    <a:pt x="885" y="646"/>
                  </a:lnTo>
                  <a:lnTo>
                    <a:pt x="885" y="646"/>
                  </a:lnTo>
                  <a:lnTo>
                    <a:pt x="885" y="648"/>
                  </a:lnTo>
                  <a:lnTo>
                    <a:pt x="885" y="648"/>
                  </a:lnTo>
                  <a:lnTo>
                    <a:pt x="887" y="648"/>
                  </a:lnTo>
                  <a:lnTo>
                    <a:pt x="887" y="646"/>
                  </a:lnTo>
                  <a:lnTo>
                    <a:pt x="889" y="646"/>
                  </a:lnTo>
                  <a:lnTo>
                    <a:pt x="889" y="643"/>
                  </a:lnTo>
                  <a:lnTo>
                    <a:pt x="891" y="643"/>
                  </a:lnTo>
                  <a:lnTo>
                    <a:pt x="891" y="641"/>
                  </a:lnTo>
                  <a:lnTo>
                    <a:pt x="891" y="641"/>
                  </a:lnTo>
                  <a:lnTo>
                    <a:pt x="891" y="641"/>
                  </a:lnTo>
                  <a:lnTo>
                    <a:pt x="891" y="641"/>
                  </a:lnTo>
                  <a:lnTo>
                    <a:pt x="891" y="641"/>
                  </a:lnTo>
                  <a:lnTo>
                    <a:pt x="891" y="639"/>
                  </a:lnTo>
                  <a:lnTo>
                    <a:pt x="891" y="639"/>
                  </a:lnTo>
                  <a:lnTo>
                    <a:pt x="891" y="639"/>
                  </a:lnTo>
                  <a:lnTo>
                    <a:pt x="891" y="639"/>
                  </a:lnTo>
                  <a:lnTo>
                    <a:pt x="893" y="639"/>
                  </a:lnTo>
                  <a:lnTo>
                    <a:pt x="893" y="639"/>
                  </a:lnTo>
                  <a:lnTo>
                    <a:pt x="893" y="637"/>
                  </a:lnTo>
                  <a:lnTo>
                    <a:pt x="893" y="635"/>
                  </a:lnTo>
                  <a:lnTo>
                    <a:pt x="893" y="633"/>
                  </a:lnTo>
                  <a:lnTo>
                    <a:pt x="891" y="633"/>
                  </a:lnTo>
                  <a:lnTo>
                    <a:pt x="891" y="633"/>
                  </a:lnTo>
                  <a:lnTo>
                    <a:pt x="891" y="633"/>
                  </a:lnTo>
                  <a:lnTo>
                    <a:pt x="891" y="631"/>
                  </a:lnTo>
                  <a:lnTo>
                    <a:pt x="891" y="633"/>
                  </a:lnTo>
                  <a:lnTo>
                    <a:pt x="891" y="633"/>
                  </a:lnTo>
                  <a:lnTo>
                    <a:pt x="893" y="633"/>
                  </a:lnTo>
                  <a:lnTo>
                    <a:pt x="893" y="633"/>
                  </a:lnTo>
                  <a:lnTo>
                    <a:pt x="893" y="633"/>
                  </a:lnTo>
                  <a:lnTo>
                    <a:pt x="893" y="633"/>
                  </a:lnTo>
                  <a:lnTo>
                    <a:pt x="893" y="633"/>
                  </a:lnTo>
                  <a:lnTo>
                    <a:pt x="893" y="635"/>
                  </a:lnTo>
                  <a:lnTo>
                    <a:pt x="893" y="635"/>
                  </a:lnTo>
                  <a:lnTo>
                    <a:pt x="893" y="635"/>
                  </a:lnTo>
                  <a:lnTo>
                    <a:pt x="895" y="637"/>
                  </a:lnTo>
                  <a:lnTo>
                    <a:pt x="895" y="637"/>
                  </a:lnTo>
                  <a:lnTo>
                    <a:pt x="897" y="637"/>
                  </a:lnTo>
                  <a:lnTo>
                    <a:pt x="899" y="639"/>
                  </a:lnTo>
                  <a:lnTo>
                    <a:pt x="901" y="639"/>
                  </a:lnTo>
                  <a:lnTo>
                    <a:pt x="903" y="641"/>
                  </a:lnTo>
                  <a:lnTo>
                    <a:pt x="903" y="643"/>
                  </a:lnTo>
                  <a:lnTo>
                    <a:pt x="905" y="646"/>
                  </a:lnTo>
                  <a:lnTo>
                    <a:pt x="903" y="646"/>
                  </a:lnTo>
                  <a:lnTo>
                    <a:pt x="903" y="648"/>
                  </a:lnTo>
                  <a:lnTo>
                    <a:pt x="905" y="648"/>
                  </a:lnTo>
                  <a:lnTo>
                    <a:pt x="905" y="648"/>
                  </a:lnTo>
                  <a:lnTo>
                    <a:pt x="905" y="648"/>
                  </a:lnTo>
                  <a:lnTo>
                    <a:pt x="905" y="648"/>
                  </a:lnTo>
                  <a:lnTo>
                    <a:pt x="905" y="648"/>
                  </a:lnTo>
                  <a:lnTo>
                    <a:pt x="905" y="648"/>
                  </a:lnTo>
                  <a:lnTo>
                    <a:pt x="905" y="648"/>
                  </a:lnTo>
                  <a:lnTo>
                    <a:pt x="905" y="648"/>
                  </a:lnTo>
                  <a:lnTo>
                    <a:pt x="903" y="648"/>
                  </a:lnTo>
                  <a:lnTo>
                    <a:pt x="903" y="648"/>
                  </a:lnTo>
                  <a:lnTo>
                    <a:pt x="903" y="648"/>
                  </a:lnTo>
                  <a:lnTo>
                    <a:pt x="903" y="646"/>
                  </a:lnTo>
                  <a:lnTo>
                    <a:pt x="903" y="646"/>
                  </a:lnTo>
                  <a:lnTo>
                    <a:pt x="903" y="643"/>
                  </a:lnTo>
                  <a:lnTo>
                    <a:pt x="903" y="643"/>
                  </a:lnTo>
                  <a:lnTo>
                    <a:pt x="901" y="641"/>
                  </a:lnTo>
                  <a:lnTo>
                    <a:pt x="901" y="641"/>
                  </a:lnTo>
                  <a:lnTo>
                    <a:pt x="895" y="639"/>
                  </a:lnTo>
                  <a:lnTo>
                    <a:pt x="895" y="639"/>
                  </a:lnTo>
                  <a:lnTo>
                    <a:pt x="895" y="639"/>
                  </a:lnTo>
                  <a:lnTo>
                    <a:pt x="893" y="639"/>
                  </a:lnTo>
                  <a:lnTo>
                    <a:pt x="893" y="641"/>
                  </a:lnTo>
                  <a:lnTo>
                    <a:pt x="893" y="641"/>
                  </a:lnTo>
                  <a:lnTo>
                    <a:pt x="893" y="641"/>
                  </a:lnTo>
                  <a:lnTo>
                    <a:pt x="893" y="641"/>
                  </a:lnTo>
                  <a:lnTo>
                    <a:pt x="893" y="641"/>
                  </a:lnTo>
                  <a:lnTo>
                    <a:pt x="893" y="641"/>
                  </a:lnTo>
                  <a:lnTo>
                    <a:pt x="893" y="641"/>
                  </a:lnTo>
                  <a:lnTo>
                    <a:pt x="893" y="641"/>
                  </a:lnTo>
                  <a:lnTo>
                    <a:pt x="893" y="641"/>
                  </a:lnTo>
                  <a:lnTo>
                    <a:pt x="893" y="641"/>
                  </a:lnTo>
                  <a:lnTo>
                    <a:pt x="893" y="641"/>
                  </a:lnTo>
                  <a:lnTo>
                    <a:pt x="895" y="643"/>
                  </a:lnTo>
                  <a:lnTo>
                    <a:pt x="893" y="643"/>
                  </a:lnTo>
                  <a:lnTo>
                    <a:pt x="893" y="643"/>
                  </a:lnTo>
                  <a:lnTo>
                    <a:pt x="893" y="646"/>
                  </a:lnTo>
                  <a:lnTo>
                    <a:pt x="893" y="646"/>
                  </a:lnTo>
                  <a:lnTo>
                    <a:pt x="891" y="648"/>
                  </a:lnTo>
                  <a:lnTo>
                    <a:pt x="891" y="648"/>
                  </a:lnTo>
                  <a:lnTo>
                    <a:pt x="891" y="648"/>
                  </a:lnTo>
                  <a:lnTo>
                    <a:pt x="891" y="648"/>
                  </a:lnTo>
                  <a:lnTo>
                    <a:pt x="891" y="650"/>
                  </a:lnTo>
                  <a:lnTo>
                    <a:pt x="891" y="650"/>
                  </a:lnTo>
                  <a:lnTo>
                    <a:pt x="889" y="650"/>
                  </a:lnTo>
                  <a:lnTo>
                    <a:pt x="889" y="650"/>
                  </a:lnTo>
                  <a:lnTo>
                    <a:pt x="891" y="652"/>
                  </a:lnTo>
                  <a:lnTo>
                    <a:pt x="891" y="652"/>
                  </a:lnTo>
                  <a:lnTo>
                    <a:pt x="893" y="654"/>
                  </a:lnTo>
                  <a:lnTo>
                    <a:pt x="895" y="654"/>
                  </a:lnTo>
                  <a:lnTo>
                    <a:pt x="895" y="654"/>
                  </a:lnTo>
                  <a:lnTo>
                    <a:pt x="895" y="656"/>
                  </a:lnTo>
                  <a:lnTo>
                    <a:pt x="895" y="658"/>
                  </a:lnTo>
                  <a:lnTo>
                    <a:pt x="895" y="658"/>
                  </a:lnTo>
                  <a:lnTo>
                    <a:pt x="895" y="660"/>
                  </a:lnTo>
                  <a:lnTo>
                    <a:pt x="897" y="662"/>
                  </a:lnTo>
                  <a:lnTo>
                    <a:pt x="899" y="662"/>
                  </a:lnTo>
                  <a:lnTo>
                    <a:pt x="901" y="662"/>
                  </a:lnTo>
                  <a:lnTo>
                    <a:pt x="905" y="660"/>
                  </a:lnTo>
                  <a:lnTo>
                    <a:pt x="909" y="658"/>
                  </a:lnTo>
                  <a:lnTo>
                    <a:pt x="916" y="656"/>
                  </a:lnTo>
                  <a:lnTo>
                    <a:pt x="918" y="654"/>
                  </a:lnTo>
                  <a:lnTo>
                    <a:pt x="920" y="654"/>
                  </a:lnTo>
                  <a:lnTo>
                    <a:pt x="920" y="654"/>
                  </a:lnTo>
                  <a:lnTo>
                    <a:pt x="922" y="654"/>
                  </a:lnTo>
                  <a:lnTo>
                    <a:pt x="922" y="652"/>
                  </a:lnTo>
                  <a:lnTo>
                    <a:pt x="922" y="652"/>
                  </a:lnTo>
                  <a:lnTo>
                    <a:pt x="922" y="652"/>
                  </a:lnTo>
                  <a:lnTo>
                    <a:pt x="926" y="652"/>
                  </a:lnTo>
                  <a:lnTo>
                    <a:pt x="928" y="650"/>
                  </a:lnTo>
                  <a:lnTo>
                    <a:pt x="930" y="650"/>
                  </a:lnTo>
                  <a:lnTo>
                    <a:pt x="930" y="648"/>
                  </a:lnTo>
                  <a:lnTo>
                    <a:pt x="930" y="648"/>
                  </a:lnTo>
                  <a:lnTo>
                    <a:pt x="932" y="646"/>
                  </a:lnTo>
                  <a:lnTo>
                    <a:pt x="932" y="646"/>
                  </a:lnTo>
                  <a:lnTo>
                    <a:pt x="932" y="643"/>
                  </a:lnTo>
                  <a:lnTo>
                    <a:pt x="934" y="643"/>
                  </a:lnTo>
                  <a:lnTo>
                    <a:pt x="934" y="643"/>
                  </a:lnTo>
                  <a:lnTo>
                    <a:pt x="936" y="643"/>
                  </a:lnTo>
                  <a:lnTo>
                    <a:pt x="936" y="641"/>
                  </a:lnTo>
                  <a:lnTo>
                    <a:pt x="936" y="641"/>
                  </a:lnTo>
                  <a:lnTo>
                    <a:pt x="936" y="641"/>
                  </a:lnTo>
                  <a:lnTo>
                    <a:pt x="936" y="639"/>
                  </a:lnTo>
                  <a:lnTo>
                    <a:pt x="936" y="639"/>
                  </a:lnTo>
                  <a:lnTo>
                    <a:pt x="936" y="637"/>
                  </a:lnTo>
                  <a:lnTo>
                    <a:pt x="936" y="637"/>
                  </a:lnTo>
                  <a:lnTo>
                    <a:pt x="936" y="637"/>
                  </a:lnTo>
                  <a:lnTo>
                    <a:pt x="938" y="635"/>
                  </a:lnTo>
                  <a:lnTo>
                    <a:pt x="938" y="637"/>
                  </a:lnTo>
                  <a:lnTo>
                    <a:pt x="938" y="637"/>
                  </a:lnTo>
                  <a:lnTo>
                    <a:pt x="936" y="637"/>
                  </a:lnTo>
                  <a:lnTo>
                    <a:pt x="936" y="639"/>
                  </a:lnTo>
                  <a:lnTo>
                    <a:pt x="936" y="643"/>
                  </a:lnTo>
                  <a:lnTo>
                    <a:pt x="936" y="643"/>
                  </a:lnTo>
                  <a:lnTo>
                    <a:pt x="936" y="643"/>
                  </a:lnTo>
                  <a:lnTo>
                    <a:pt x="934" y="646"/>
                  </a:lnTo>
                  <a:lnTo>
                    <a:pt x="934" y="646"/>
                  </a:lnTo>
                  <a:lnTo>
                    <a:pt x="932" y="646"/>
                  </a:lnTo>
                  <a:lnTo>
                    <a:pt x="932" y="646"/>
                  </a:lnTo>
                  <a:lnTo>
                    <a:pt x="932" y="648"/>
                  </a:lnTo>
                  <a:lnTo>
                    <a:pt x="932" y="648"/>
                  </a:lnTo>
                  <a:lnTo>
                    <a:pt x="932" y="648"/>
                  </a:lnTo>
                  <a:lnTo>
                    <a:pt x="932" y="648"/>
                  </a:lnTo>
                  <a:lnTo>
                    <a:pt x="932" y="650"/>
                  </a:lnTo>
                  <a:lnTo>
                    <a:pt x="932" y="650"/>
                  </a:lnTo>
                  <a:lnTo>
                    <a:pt x="932" y="650"/>
                  </a:lnTo>
                  <a:lnTo>
                    <a:pt x="932" y="650"/>
                  </a:lnTo>
                  <a:lnTo>
                    <a:pt x="932" y="652"/>
                  </a:lnTo>
                  <a:lnTo>
                    <a:pt x="930" y="656"/>
                  </a:lnTo>
                  <a:lnTo>
                    <a:pt x="930" y="656"/>
                  </a:lnTo>
                  <a:lnTo>
                    <a:pt x="930" y="658"/>
                  </a:lnTo>
                  <a:lnTo>
                    <a:pt x="932" y="658"/>
                  </a:lnTo>
                  <a:lnTo>
                    <a:pt x="932" y="658"/>
                  </a:lnTo>
                  <a:lnTo>
                    <a:pt x="934" y="658"/>
                  </a:lnTo>
                  <a:lnTo>
                    <a:pt x="934" y="658"/>
                  </a:lnTo>
                  <a:lnTo>
                    <a:pt x="932" y="658"/>
                  </a:lnTo>
                  <a:lnTo>
                    <a:pt x="932" y="658"/>
                  </a:lnTo>
                  <a:lnTo>
                    <a:pt x="930" y="658"/>
                  </a:lnTo>
                  <a:lnTo>
                    <a:pt x="928" y="660"/>
                  </a:lnTo>
                  <a:lnTo>
                    <a:pt x="928" y="660"/>
                  </a:lnTo>
                  <a:lnTo>
                    <a:pt x="924" y="662"/>
                  </a:lnTo>
                  <a:lnTo>
                    <a:pt x="922" y="666"/>
                  </a:lnTo>
                  <a:lnTo>
                    <a:pt x="922" y="668"/>
                  </a:lnTo>
                  <a:lnTo>
                    <a:pt x="920" y="668"/>
                  </a:lnTo>
                  <a:lnTo>
                    <a:pt x="920" y="668"/>
                  </a:lnTo>
                  <a:lnTo>
                    <a:pt x="918" y="670"/>
                  </a:lnTo>
                  <a:lnTo>
                    <a:pt x="916" y="676"/>
                  </a:lnTo>
                  <a:lnTo>
                    <a:pt x="916" y="678"/>
                  </a:lnTo>
                  <a:lnTo>
                    <a:pt x="916" y="680"/>
                  </a:lnTo>
                  <a:lnTo>
                    <a:pt x="916" y="680"/>
                  </a:lnTo>
                  <a:lnTo>
                    <a:pt x="916" y="682"/>
                  </a:lnTo>
                  <a:lnTo>
                    <a:pt x="918" y="682"/>
                  </a:lnTo>
                  <a:lnTo>
                    <a:pt x="918" y="684"/>
                  </a:lnTo>
                  <a:lnTo>
                    <a:pt x="918" y="682"/>
                  </a:lnTo>
                  <a:lnTo>
                    <a:pt x="920" y="682"/>
                  </a:lnTo>
                  <a:lnTo>
                    <a:pt x="922" y="682"/>
                  </a:lnTo>
                  <a:lnTo>
                    <a:pt x="926" y="684"/>
                  </a:lnTo>
                  <a:lnTo>
                    <a:pt x="926" y="684"/>
                  </a:lnTo>
                  <a:lnTo>
                    <a:pt x="926" y="687"/>
                  </a:lnTo>
                  <a:lnTo>
                    <a:pt x="926" y="687"/>
                  </a:lnTo>
                  <a:lnTo>
                    <a:pt x="926" y="687"/>
                  </a:lnTo>
                  <a:lnTo>
                    <a:pt x="926" y="687"/>
                  </a:lnTo>
                  <a:lnTo>
                    <a:pt x="926" y="684"/>
                  </a:lnTo>
                  <a:lnTo>
                    <a:pt x="926" y="684"/>
                  </a:lnTo>
                  <a:lnTo>
                    <a:pt x="922" y="684"/>
                  </a:lnTo>
                  <a:lnTo>
                    <a:pt x="920" y="684"/>
                  </a:lnTo>
                  <a:lnTo>
                    <a:pt x="920" y="684"/>
                  </a:lnTo>
                  <a:lnTo>
                    <a:pt x="920" y="684"/>
                  </a:lnTo>
                  <a:lnTo>
                    <a:pt x="918" y="687"/>
                  </a:lnTo>
                  <a:lnTo>
                    <a:pt x="918" y="687"/>
                  </a:lnTo>
                  <a:lnTo>
                    <a:pt x="918" y="687"/>
                  </a:lnTo>
                  <a:lnTo>
                    <a:pt x="916" y="687"/>
                  </a:lnTo>
                  <a:lnTo>
                    <a:pt x="916" y="687"/>
                  </a:lnTo>
                  <a:lnTo>
                    <a:pt x="916" y="687"/>
                  </a:lnTo>
                  <a:lnTo>
                    <a:pt x="913" y="687"/>
                  </a:lnTo>
                  <a:lnTo>
                    <a:pt x="913" y="689"/>
                  </a:lnTo>
                  <a:lnTo>
                    <a:pt x="913" y="689"/>
                  </a:lnTo>
                  <a:lnTo>
                    <a:pt x="913" y="691"/>
                  </a:lnTo>
                  <a:lnTo>
                    <a:pt x="913" y="693"/>
                  </a:lnTo>
                  <a:lnTo>
                    <a:pt x="913" y="697"/>
                  </a:lnTo>
                  <a:lnTo>
                    <a:pt x="911" y="699"/>
                  </a:lnTo>
                  <a:lnTo>
                    <a:pt x="911" y="701"/>
                  </a:lnTo>
                  <a:lnTo>
                    <a:pt x="911" y="705"/>
                  </a:lnTo>
                  <a:lnTo>
                    <a:pt x="909" y="707"/>
                  </a:lnTo>
                  <a:lnTo>
                    <a:pt x="909" y="709"/>
                  </a:lnTo>
                  <a:lnTo>
                    <a:pt x="909" y="709"/>
                  </a:lnTo>
                  <a:lnTo>
                    <a:pt x="909" y="711"/>
                  </a:lnTo>
                  <a:lnTo>
                    <a:pt x="909" y="711"/>
                  </a:lnTo>
                  <a:lnTo>
                    <a:pt x="909" y="713"/>
                  </a:lnTo>
                  <a:lnTo>
                    <a:pt x="909" y="713"/>
                  </a:lnTo>
                  <a:lnTo>
                    <a:pt x="909" y="713"/>
                  </a:lnTo>
                  <a:lnTo>
                    <a:pt x="909" y="715"/>
                  </a:lnTo>
                  <a:lnTo>
                    <a:pt x="911" y="715"/>
                  </a:lnTo>
                  <a:lnTo>
                    <a:pt x="911" y="715"/>
                  </a:lnTo>
                  <a:lnTo>
                    <a:pt x="911" y="713"/>
                  </a:lnTo>
                  <a:lnTo>
                    <a:pt x="911" y="713"/>
                  </a:lnTo>
                  <a:lnTo>
                    <a:pt x="911" y="713"/>
                  </a:lnTo>
                  <a:lnTo>
                    <a:pt x="911" y="713"/>
                  </a:lnTo>
                  <a:lnTo>
                    <a:pt x="911" y="713"/>
                  </a:lnTo>
                  <a:lnTo>
                    <a:pt x="911" y="713"/>
                  </a:lnTo>
                  <a:lnTo>
                    <a:pt x="911" y="713"/>
                  </a:lnTo>
                  <a:lnTo>
                    <a:pt x="911" y="715"/>
                  </a:lnTo>
                  <a:lnTo>
                    <a:pt x="911" y="715"/>
                  </a:lnTo>
                  <a:lnTo>
                    <a:pt x="911" y="715"/>
                  </a:lnTo>
                  <a:lnTo>
                    <a:pt x="911" y="715"/>
                  </a:lnTo>
                  <a:lnTo>
                    <a:pt x="911" y="715"/>
                  </a:lnTo>
                  <a:lnTo>
                    <a:pt x="913" y="717"/>
                  </a:lnTo>
                  <a:lnTo>
                    <a:pt x="913" y="717"/>
                  </a:lnTo>
                  <a:lnTo>
                    <a:pt x="911" y="719"/>
                  </a:lnTo>
                  <a:lnTo>
                    <a:pt x="911" y="721"/>
                  </a:lnTo>
                  <a:lnTo>
                    <a:pt x="911" y="721"/>
                  </a:lnTo>
                  <a:lnTo>
                    <a:pt x="913" y="721"/>
                  </a:lnTo>
                  <a:lnTo>
                    <a:pt x="913" y="721"/>
                  </a:lnTo>
                  <a:lnTo>
                    <a:pt x="913" y="721"/>
                  </a:lnTo>
                  <a:lnTo>
                    <a:pt x="913" y="721"/>
                  </a:lnTo>
                  <a:lnTo>
                    <a:pt x="913" y="721"/>
                  </a:lnTo>
                  <a:lnTo>
                    <a:pt x="913" y="721"/>
                  </a:lnTo>
                  <a:lnTo>
                    <a:pt x="918" y="721"/>
                  </a:lnTo>
                  <a:lnTo>
                    <a:pt x="918" y="721"/>
                  </a:lnTo>
                  <a:lnTo>
                    <a:pt x="916" y="719"/>
                  </a:lnTo>
                  <a:lnTo>
                    <a:pt x="916" y="719"/>
                  </a:lnTo>
                  <a:lnTo>
                    <a:pt x="918" y="717"/>
                  </a:lnTo>
                  <a:lnTo>
                    <a:pt x="918" y="717"/>
                  </a:lnTo>
                  <a:lnTo>
                    <a:pt x="918" y="717"/>
                  </a:lnTo>
                  <a:lnTo>
                    <a:pt x="918" y="717"/>
                  </a:lnTo>
                  <a:lnTo>
                    <a:pt x="918" y="719"/>
                  </a:lnTo>
                  <a:lnTo>
                    <a:pt x="918" y="719"/>
                  </a:lnTo>
                  <a:lnTo>
                    <a:pt x="918" y="719"/>
                  </a:lnTo>
                  <a:lnTo>
                    <a:pt x="918" y="719"/>
                  </a:lnTo>
                  <a:lnTo>
                    <a:pt x="918" y="721"/>
                  </a:lnTo>
                  <a:lnTo>
                    <a:pt x="918" y="721"/>
                  </a:lnTo>
                  <a:lnTo>
                    <a:pt x="918" y="721"/>
                  </a:lnTo>
                  <a:lnTo>
                    <a:pt x="918" y="721"/>
                  </a:lnTo>
                  <a:lnTo>
                    <a:pt x="916" y="721"/>
                  </a:lnTo>
                  <a:lnTo>
                    <a:pt x="916" y="721"/>
                  </a:lnTo>
                  <a:lnTo>
                    <a:pt x="913" y="723"/>
                  </a:lnTo>
                  <a:lnTo>
                    <a:pt x="913" y="723"/>
                  </a:lnTo>
                  <a:lnTo>
                    <a:pt x="913" y="721"/>
                  </a:lnTo>
                  <a:lnTo>
                    <a:pt x="909" y="721"/>
                  </a:lnTo>
                  <a:lnTo>
                    <a:pt x="909" y="721"/>
                  </a:lnTo>
                  <a:lnTo>
                    <a:pt x="911" y="721"/>
                  </a:lnTo>
                  <a:lnTo>
                    <a:pt x="909" y="719"/>
                  </a:lnTo>
                  <a:lnTo>
                    <a:pt x="909" y="717"/>
                  </a:lnTo>
                  <a:lnTo>
                    <a:pt x="909" y="717"/>
                  </a:lnTo>
                  <a:lnTo>
                    <a:pt x="909" y="717"/>
                  </a:lnTo>
                  <a:lnTo>
                    <a:pt x="909" y="717"/>
                  </a:lnTo>
                  <a:lnTo>
                    <a:pt x="909" y="717"/>
                  </a:lnTo>
                  <a:lnTo>
                    <a:pt x="907" y="717"/>
                  </a:lnTo>
                  <a:lnTo>
                    <a:pt x="907" y="717"/>
                  </a:lnTo>
                  <a:lnTo>
                    <a:pt x="905" y="719"/>
                  </a:lnTo>
                  <a:lnTo>
                    <a:pt x="903" y="721"/>
                  </a:lnTo>
                  <a:lnTo>
                    <a:pt x="901" y="721"/>
                  </a:lnTo>
                  <a:lnTo>
                    <a:pt x="901" y="723"/>
                  </a:lnTo>
                  <a:lnTo>
                    <a:pt x="899" y="723"/>
                  </a:lnTo>
                  <a:lnTo>
                    <a:pt x="899" y="725"/>
                  </a:lnTo>
                  <a:lnTo>
                    <a:pt x="897" y="725"/>
                  </a:lnTo>
                  <a:lnTo>
                    <a:pt x="897" y="725"/>
                  </a:lnTo>
                  <a:lnTo>
                    <a:pt x="899" y="725"/>
                  </a:lnTo>
                  <a:lnTo>
                    <a:pt x="899" y="725"/>
                  </a:lnTo>
                  <a:lnTo>
                    <a:pt x="899" y="728"/>
                  </a:lnTo>
                  <a:lnTo>
                    <a:pt x="895" y="728"/>
                  </a:lnTo>
                  <a:lnTo>
                    <a:pt x="893" y="730"/>
                  </a:lnTo>
                  <a:lnTo>
                    <a:pt x="891" y="730"/>
                  </a:lnTo>
                  <a:lnTo>
                    <a:pt x="891" y="730"/>
                  </a:lnTo>
                  <a:lnTo>
                    <a:pt x="883" y="740"/>
                  </a:lnTo>
                  <a:lnTo>
                    <a:pt x="881" y="742"/>
                  </a:lnTo>
                  <a:lnTo>
                    <a:pt x="881" y="744"/>
                  </a:lnTo>
                  <a:lnTo>
                    <a:pt x="881" y="744"/>
                  </a:lnTo>
                  <a:lnTo>
                    <a:pt x="879" y="746"/>
                  </a:lnTo>
                  <a:lnTo>
                    <a:pt x="879" y="746"/>
                  </a:lnTo>
                  <a:lnTo>
                    <a:pt x="879" y="748"/>
                  </a:lnTo>
                  <a:lnTo>
                    <a:pt x="879" y="750"/>
                  </a:lnTo>
                  <a:lnTo>
                    <a:pt x="879" y="752"/>
                  </a:lnTo>
                  <a:lnTo>
                    <a:pt x="881" y="754"/>
                  </a:lnTo>
                  <a:lnTo>
                    <a:pt x="881" y="754"/>
                  </a:lnTo>
                  <a:lnTo>
                    <a:pt x="881" y="754"/>
                  </a:lnTo>
                  <a:lnTo>
                    <a:pt x="881" y="754"/>
                  </a:lnTo>
                  <a:lnTo>
                    <a:pt x="881" y="758"/>
                  </a:lnTo>
                  <a:lnTo>
                    <a:pt x="881" y="756"/>
                  </a:lnTo>
                  <a:lnTo>
                    <a:pt x="879" y="756"/>
                  </a:lnTo>
                  <a:lnTo>
                    <a:pt x="879" y="756"/>
                  </a:lnTo>
                  <a:lnTo>
                    <a:pt x="879" y="756"/>
                  </a:lnTo>
                  <a:lnTo>
                    <a:pt x="877" y="756"/>
                  </a:lnTo>
                  <a:lnTo>
                    <a:pt x="877" y="756"/>
                  </a:lnTo>
                  <a:lnTo>
                    <a:pt x="877" y="756"/>
                  </a:lnTo>
                  <a:lnTo>
                    <a:pt x="875" y="756"/>
                  </a:lnTo>
                  <a:lnTo>
                    <a:pt x="875" y="756"/>
                  </a:lnTo>
                  <a:lnTo>
                    <a:pt x="875" y="754"/>
                  </a:lnTo>
                  <a:lnTo>
                    <a:pt x="873" y="754"/>
                  </a:lnTo>
                  <a:lnTo>
                    <a:pt x="873" y="752"/>
                  </a:lnTo>
                  <a:lnTo>
                    <a:pt x="873" y="752"/>
                  </a:lnTo>
                  <a:lnTo>
                    <a:pt x="870" y="754"/>
                  </a:lnTo>
                  <a:lnTo>
                    <a:pt x="870" y="754"/>
                  </a:lnTo>
                  <a:lnTo>
                    <a:pt x="870" y="756"/>
                  </a:lnTo>
                  <a:lnTo>
                    <a:pt x="870" y="756"/>
                  </a:lnTo>
                  <a:lnTo>
                    <a:pt x="870" y="756"/>
                  </a:lnTo>
                  <a:lnTo>
                    <a:pt x="870" y="754"/>
                  </a:lnTo>
                  <a:lnTo>
                    <a:pt x="868" y="754"/>
                  </a:lnTo>
                  <a:lnTo>
                    <a:pt x="870" y="754"/>
                  </a:lnTo>
                  <a:lnTo>
                    <a:pt x="870" y="754"/>
                  </a:lnTo>
                  <a:lnTo>
                    <a:pt x="873" y="752"/>
                  </a:lnTo>
                  <a:lnTo>
                    <a:pt x="875" y="750"/>
                  </a:lnTo>
                  <a:lnTo>
                    <a:pt x="875" y="750"/>
                  </a:lnTo>
                  <a:lnTo>
                    <a:pt x="875" y="750"/>
                  </a:lnTo>
                  <a:lnTo>
                    <a:pt x="873" y="752"/>
                  </a:lnTo>
                  <a:lnTo>
                    <a:pt x="870" y="752"/>
                  </a:lnTo>
                  <a:lnTo>
                    <a:pt x="868" y="754"/>
                  </a:lnTo>
                  <a:lnTo>
                    <a:pt x="868" y="756"/>
                  </a:lnTo>
                  <a:lnTo>
                    <a:pt x="864" y="756"/>
                  </a:lnTo>
                  <a:lnTo>
                    <a:pt x="864" y="756"/>
                  </a:lnTo>
                  <a:lnTo>
                    <a:pt x="862" y="758"/>
                  </a:lnTo>
                  <a:lnTo>
                    <a:pt x="862" y="758"/>
                  </a:lnTo>
                  <a:lnTo>
                    <a:pt x="862" y="758"/>
                  </a:lnTo>
                  <a:lnTo>
                    <a:pt x="864" y="760"/>
                  </a:lnTo>
                  <a:lnTo>
                    <a:pt x="864" y="760"/>
                  </a:lnTo>
                  <a:lnTo>
                    <a:pt x="862" y="760"/>
                  </a:lnTo>
                  <a:lnTo>
                    <a:pt x="862" y="760"/>
                  </a:lnTo>
                  <a:lnTo>
                    <a:pt x="860" y="760"/>
                  </a:lnTo>
                  <a:lnTo>
                    <a:pt x="860" y="760"/>
                  </a:lnTo>
                  <a:lnTo>
                    <a:pt x="856" y="762"/>
                  </a:lnTo>
                  <a:lnTo>
                    <a:pt x="856" y="762"/>
                  </a:lnTo>
                  <a:lnTo>
                    <a:pt x="854" y="762"/>
                  </a:lnTo>
                  <a:lnTo>
                    <a:pt x="854" y="762"/>
                  </a:lnTo>
                  <a:lnTo>
                    <a:pt x="854" y="762"/>
                  </a:lnTo>
                  <a:lnTo>
                    <a:pt x="856" y="762"/>
                  </a:lnTo>
                  <a:lnTo>
                    <a:pt x="848" y="764"/>
                  </a:lnTo>
                  <a:lnTo>
                    <a:pt x="846" y="766"/>
                  </a:lnTo>
                  <a:lnTo>
                    <a:pt x="842" y="768"/>
                  </a:lnTo>
                  <a:lnTo>
                    <a:pt x="840" y="771"/>
                  </a:lnTo>
                  <a:lnTo>
                    <a:pt x="834" y="773"/>
                  </a:lnTo>
                  <a:lnTo>
                    <a:pt x="834" y="775"/>
                  </a:lnTo>
                  <a:lnTo>
                    <a:pt x="830" y="779"/>
                  </a:lnTo>
                  <a:lnTo>
                    <a:pt x="827" y="781"/>
                  </a:lnTo>
                  <a:lnTo>
                    <a:pt x="827" y="781"/>
                  </a:lnTo>
                  <a:lnTo>
                    <a:pt x="827" y="783"/>
                  </a:lnTo>
                  <a:lnTo>
                    <a:pt x="825" y="783"/>
                  </a:lnTo>
                  <a:lnTo>
                    <a:pt x="825" y="783"/>
                  </a:lnTo>
                  <a:lnTo>
                    <a:pt x="825" y="785"/>
                  </a:lnTo>
                  <a:lnTo>
                    <a:pt x="825" y="787"/>
                  </a:lnTo>
                  <a:lnTo>
                    <a:pt x="825" y="787"/>
                  </a:lnTo>
                  <a:lnTo>
                    <a:pt x="823" y="789"/>
                  </a:lnTo>
                  <a:lnTo>
                    <a:pt x="823" y="791"/>
                  </a:lnTo>
                  <a:lnTo>
                    <a:pt x="821" y="791"/>
                  </a:lnTo>
                  <a:lnTo>
                    <a:pt x="821" y="793"/>
                  </a:lnTo>
                  <a:lnTo>
                    <a:pt x="821" y="793"/>
                  </a:lnTo>
                  <a:lnTo>
                    <a:pt x="821" y="793"/>
                  </a:lnTo>
                  <a:lnTo>
                    <a:pt x="823" y="793"/>
                  </a:lnTo>
                  <a:lnTo>
                    <a:pt x="823" y="793"/>
                  </a:lnTo>
                  <a:lnTo>
                    <a:pt x="821" y="795"/>
                  </a:lnTo>
                  <a:lnTo>
                    <a:pt x="821" y="795"/>
                  </a:lnTo>
                  <a:lnTo>
                    <a:pt x="821" y="795"/>
                  </a:lnTo>
                  <a:lnTo>
                    <a:pt x="821" y="795"/>
                  </a:lnTo>
                  <a:lnTo>
                    <a:pt x="821" y="795"/>
                  </a:lnTo>
                  <a:lnTo>
                    <a:pt x="823" y="795"/>
                  </a:lnTo>
                  <a:lnTo>
                    <a:pt x="827" y="799"/>
                  </a:lnTo>
                  <a:lnTo>
                    <a:pt x="830" y="801"/>
                  </a:lnTo>
                  <a:lnTo>
                    <a:pt x="830" y="801"/>
                  </a:lnTo>
                  <a:lnTo>
                    <a:pt x="830" y="801"/>
                  </a:lnTo>
                  <a:lnTo>
                    <a:pt x="827" y="801"/>
                  </a:lnTo>
                  <a:lnTo>
                    <a:pt x="827" y="803"/>
                  </a:lnTo>
                  <a:lnTo>
                    <a:pt x="830" y="803"/>
                  </a:lnTo>
                  <a:lnTo>
                    <a:pt x="830" y="803"/>
                  </a:lnTo>
                  <a:lnTo>
                    <a:pt x="830" y="805"/>
                  </a:lnTo>
                  <a:lnTo>
                    <a:pt x="830" y="805"/>
                  </a:lnTo>
                  <a:lnTo>
                    <a:pt x="830" y="805"/>
                  </a:lnTo>
                  <a:lnTo>
                    <a:pt x="827" y="805"/>
                  </a:lnTo>
                  <a:lnTo>
                    <a:pt x="825" y="803"/>
                  </a:lnTo>
                  <a:lnTo>
                    <a:pt x="825" y="803"/>
                  </a:lnTo>
                  <a:lnTo>
                    <a:pt x="825" y="803"/>
                  </a:lnTo>
                  <a:lnTo>
                    <a:pt x="825" y="803"/>
                  </a:lnTo>
                  <a:lnTo>
                    <a:pt x="825" y="803"/>
                  </a:lnTo>
                  <a:lnTo>
                    <a:pt x="825" y="803"/>
                  </a:lnTo>
                  <a:lnTo>
                    <a:pt x="823" y="803"/>
                  </a:lnTo>
                  <a:lnTo>
                    <a:pt x="823" y="803"/>
                  </a:lnTo>
                  <a:lnTo>
                    <a:pt x="823" y="803"/>
                  </a:lnTo>
                  <a:lnTo>
                    <a:pt x="823" y="801"/>
                  </a:lnTo>
                  <a:lnTo>
                    <a:pt x="823" y="801"/>
                  </a:lnTo>
                  <a:lnTo>
                    <a:pt x="823" y="801"/>
                  </a:lnTo>
                  <a:lnTo>
                    <a:pt x="823" y="799"/>
                  </a:lnTo>
                  <a:lnTo>
                    <a:pt x="823" y="799"/>
                  </a:lnTo>
                  <a:lnTo>
                    <a:pt x="817" y="799"/>
                  </a:lnTo>
                  <a:lnTo>
                    <a:pt x="817" y="799"/>
                  </a:lnTo>
                  <a:lnTo>
                    <a:pt x="815" y="797"/>
                  </a:lnTo>
                  <a:lnTo>
                    <a:pt x="815" y="797"/>
                  </a:lnTo>
                  <a:lnTo>
                    <a:pt x="815" y="797"/>
                  </a:lnTo>
                  <a:lnTo>
                    <a:pt x="815" y="797"/>
                  </a:lnTo>
                  <a:lnTo>
                    <a:pt x="815" y="797"/>
                  </a:lnTo>
                  <a:lnTo>
                    <a:pt x="815" y="797"/>
                  </a:lnTo>
                  <a:lnTo>
                    <a:pt x="815" y="797"/>
                  </a:lnTo>
                  <a:lnTo>
                    <a:pt x="815" y="797"/>
                  </a:lnTo>
                  <a:lnTo>
                    <a:pt x="815" y="799"/>
                  </a:lnTo>
                  <a:lnTo>
                    <a:pt x="815" y="799"/>
                  </a:lnTo>
                  <a:lnTo>
                    <a:pt x="815" y="801"/>
                  </a:lnTo>
                  <a:lnTo>
                    <a:pt x="815" y="803"/>
                  </a:lnTo>
                  <a:lnTo>
                    <a:pt x="815" y="803"/>
                  </a:lnTo>
                  <a:lnTo>
                    <a:pt x="817" y="803"/>
                  </a:lnTo>
                  <a:lnTo>
                    <a:pt x="817" y="805"/>
                  </a:lnTo>
                  <a:lnTo>
                    <a:pt x="817" y="805"/>
                  </a:lnTo>
                  <a:lnTo>
                    <a:pt x="817" y="805"/>
                  </a:lnTo>
                  <a:lnTo>
                    <a:pt x="817" y="805"/>
                  </a:lnTo>
                  <a:lnTo>
                    <a:pt x="817" y="805"/>
                  </a:lnTo>
                  <a:lnTo>
                    <a:pt x="817" y="805"/>
                  </a:lnTo>
                  <a:lnTo>
                    <a:pt x="817" y="807"/>
                  </a:lnTo>
                  <a:lnTo>
                    <a:pt x="817" y="807"/>
                  </a:lnTo>
                  <a:lnTo>
                    <a:pt x="817" y="807"/>
                  </a:lnTo>
                  <a:lnTo>
                    <a:pt x="817" y="807"/>
                  </a:lnTo>
                  <a:lnTo>
                    <a:pt x="815" y="805"/>
                  </a:lnTo>
                  <a:lnTo>
                    <a:pt x="815" y="805"/>
                  </a:lnTo>
                  <a:lnTo>
                    <a:pt x="815" y="803"/>
                  </a:lnTo>
                  <a:lnTo>
                    <a:pt x="815" y="805"/>
                  </a:lnTo>
                  <a:lnTo>
                    <a:pt x="813" y="805"/>
                  </a:lnTo>
                  <a:lnTo>
                    <a:pt x="813" y="805"/>
                  </a:lnTo>
                  <a:lnTo>
                    <a:pt x="811" y="801"/>
                  </a:lnTo>
                  <a:lnTo>
                    <a:pt x="811" y="801"/>
                  </a:lnTo>
                  <a:lnTo>
                    <a:pt x="809" y="799"/>
                  </a:lnTo>
                  <a:lnTo>
                    <a:pt x="809" y="799"/>
                  </a:lnTo>
                  <a:lnTo>
                    <a:pt x="809" y="799"/>
                  </a:lnTo>
                  <a:lnTo>
                    <a:pt x="811" y="797"/>
                  </a:lnTo>
                  <a:lnTo>
                    <a:pt x="809" y="797"/>
                  </a:lnTo>
                  <a:lnTo>
                    <a:pt x="809" y="797"/>
                  </a:lnTo>
                  <a:lnTo>
                    <a:pt x="809" y="797"/>
                  </a:lnTo>
                  <a:lnTo>
                    <a:pt x="809" y="797"/>
                  </a:lnTo>
                  <a:lnTo>
                    <a:pt x="809" y="797"/>
                  </a:lnTo>
                  <a:lnTo>
                    <a:pt x="807" y="797"/>
                  </a:lnTo>
                  <a:lnTo>
                    <a:pt x="807" y="795"/>
                  </a:lnTo>
                  <a:lnTo>
                    <a:pt x="809" y="795"/>
                  </a:lnTo>
                  <a:lnTo>
                    <a:pt x="809" y="795"/>
                  </a:lnTo>
                  <a:lnTo>
                    <a:pt x="811" y="795"/>
                  </a:lnTo>
                  <a:lnTo>
                    <a:pt x="811" y="795"/>
                  </a:lnTo>
                  <a:lnTo>
                    <a:pt x="813" y="795"/>
                  </a:lnTo>
                  <a:lnTo>
                    <a:pt x="813" y="795"/>
                  </a:lnTo>
                  <a:lnTo>
                    <a:pt x="813" y="793"/>
                  </a:lnTo>
                  <a:lnTo>
                    <a:pt x="813" y="791"/>
                  </a:lnTo>
                  <a:lnTo>
                    <a:pt x="811" y="791"/>
                  </a:lnTo>
                  <a:lnTo>
                    <a:pt x="811" y="791"/>
                  </a:lnTo>
                  <a:lnTo>
                    <a:pt x="811" y="793"/>
                  </a:lnTo>
                  <a:lnTo>
                    <a:pt x="809" y="793"/>
                  </a:lnTo>
                  <a:lnTo>
                    <a:pt x="807" y="793"/>
                  </a:lnTo>
                  <a:lnTo>
                    <a:pt x="807" y="793"/>
                  </a:lnTo>
                  <a:lnTo>
                    <a:pt x="807" y="793"/>
                  </a:lnTo>
                  <a:lnTo>
                    <a:pt x="805" y="793"/>
                  </a:lnTo>
                  <a:lnTo>
                    <a:pt x="805" y="793"/>
                  </a:lnTo>
                  <a:lnTo>
                    <a:pt x="805" y="793"/>
                  </a:lnTo>
                  <a:lnTo>
                    <a:pt x="805" y="793"/>
                  </a:lnTo>
                  <a:lnTo>
                    <a:pt x="803" y="793"/>
                  </a:lnTo>
                  <a:lnTo>
                    <a:pt x="799" y="793"/>
                  </a:lnTo>
                  <a:lnTo>
                    <a:pt x="801" y="791"/>
                  </a:lnTo>
                  <a:lnTo>
                    <a:pt x="801" y="791"/>
                  </a:lnTo>
                  <a:lnTo>
                    <a:pt x="803" y="791"/>
                  </a:lnTo>
                  <a:lnTo>
                    <a:pt x="805" y="789"/>
                  </a:lnTo>
                  <a:lnTo>
                    <a:pt x="799" y="791"/>
                  </a:lnTo>
                  <a:lnTo>
                    <a:pt x="799" y="791"/>
                  </a:lnTo>
                  <a:lnTo>
                    <a:pt x="797" y="791"/>
                  </a:lnTo>
                  <a:lnTo>
                    <a:pt x="795" y="791"/>
                  </a:lnTo>
                  <a:lnTo>
                    <a:pt x="793" y="793"/>
                  </a:lnTo>
                  <a:lnTo>
                    <a:pt x="791" y="793"/>
                  </a:lnTo>
                  <a:lnTo>
                    <a:pt x="789" y="793"/>
                  </a:lnTo>
                  <a:lnTo>
                    <a:pt x="786" y="793"/>
                  </a:lnTo>
                  <a:lnTo>
                    <a:pt x="784" y="793"/>
                  </a:lnTo>
                  <a:lnTo>
                    <a:pt x="784" y="795"/>
                  </a:lnTo>
                  <a:lnTo>
                    <a:pt x="782" y="797"/>
                  </a:lnTo>
                  <a:lnTo>
                    <a:pt x="782" y="797"/>
                  </a:lnTo>
                  <a:lnTo>
                    <a:pt x="778" y="799"/>
                  </a:lnTo>
                  <a:lnTo>
                    <a:pt x="776" y="799"/>
                  </a:lnTo>
                  <a:lnTo>
                    <a:pt x="776" y="799"/>
                  </a:lnTo>
                  <a:lnTo>
                    <a:pt x="774" y="801"/>
                  </a:lnTo>
                  <a:lnTo>
                    <a:pt x="774" y="801"/>
                  </a:lnTo>
                  <a:lnTo>
                    <a:pt x="772" y="803"/>
                  </a:lnTo>
                  <a:lnTo>
                    <a:pt x="760" y="814"/>
                  </a:lnTo>
                  <a:lnTo>
                    <a:pt x="760" y="814"/>
                  </a:lnTo>
                  <a:lnTo>
                    <a:pt x="760" y="814"/>
                  </a:lnTo>
                  <a:lnTo>
                    <a:pt x="760" y="816"/>
                  </a:lnTo>
                  <a:lnTo>
                    <a:pt x="758" y="816"/>
                  </a:lnTo>
                  <a:lnTo>
                    <a:pt x="760" y="816"/>
                  </a:lnTo>
                  <a:lnTo>
                    <a:pt x="760" y="816"/>
                  </a:lnTo>
                  <a:lnTo>
                    <a:pt x="760" y="814"/>
                  </a:lnTo>
                  <a:lnTo>
                    <a:pt x="762" y="814"/>
                  </a:lnTo>
                  <a:lnTo>
                    <a:pt x="762" y="816"/>
                  </a:lnTo>
                  <a:lnTo>
                    <a:pt x="762" y="816"/>
                  </a:lnTo>
                  <a:lnTo>
                    <a:pt x="762" y="816"/>
                  </a:lnTo>
                  <a:lnTo>
                    <a:pt x="762" y="818"/>
                  </a:lnTo>
                  <a:lnTo>
                    <a:pt x="762" y="818"/>
                  </a:lnTo>
                  <a:lnTo>
                    <a:pt x="762" y="818"/>
                  </a:lnTo>
                  <a:lnTo>
                    <a:pt x="762" y="818"/>
                  </a:lnTo>
                  <a:lnTo>
                    <a:pt x="762" y="818"/>
                  </a:lnTo>
                  <a:lnTo>
                    <a:pt x="762" y="818"/>
                  </a:lnTo>
                  <a:lnTo>
                    <a:pt x="762" y="818"/>
                  </a:lnTo>
                  <a:lnTo>
                    <a:pt x="762" y="818"/>
                  </a:lnTo>
                  <a:lnTo>
                    <a:pt x="762" y="818"/>
                  </a:lnTo>
                  <a:lnTo>
                    <a:pt x="760" y="820"/>
                  </a:lnTo>
                  <a:lnTo>
                    <a:pt x="760" y="820"/>
                  </a:lnTo>
                  <a:lnTo>
                    <a:pt x="760" y="820"/>
                  </a:lnTo>
                  <a:lnTo>
                    <a:pt x="760" y="820"/>
                  </a:lnTo>
                  <a:lnTo>
                    <a:pt x="758" y="820"/>
                  </a:lnTo>
                  <a:lnTo>
                    <a:pt x="758" y="818"/>
                  </a:lnTo>
                  <a:lnTo>
                    <a:pt x="758" y="818"/>
                  </a:lnTo>
                  <a:lnTo>
                    <a:pt x="758" y="818"/>
                  </a:lnTo>
                  <a:lnTo>
                    <a:pt x="756" y="820"/>
                  </a:lnTo>
                  <a:lnTo>
                    <a:pt x="754" y="820"/>
                  </a:lnTo>
                  <a:lnTo>
                    <a:pt x="752" y="822"/>
                  </a:lnTo>
                  <a:lnTo>
                    <a:pt x="752" y="822"/>
                  </a:lnTo>
                  <a:lnTo>
                    <a:pt x="750" y="822"/>
                  </a:lnTo>
                  <a:lnTo>
                    <a:pt x="750" y="824"/>
                  </a:lnTo>
                  <a:lnTo>
                    <a:pt x="750" y="824"/>
                  </a:lnTo>
                  <a:lnTo>
                    <a:pt x="752" y="824"/>
                  </a:lnTo>
                  <a:lnTo>
                    <a:pt x="750" y="826"/>
                  </a:lnTo>
                  <a:lnTo>
                    <a:pt x="750" y="826"/>
                  </a:lnTo>
                  <a:lnTo>
                    <a:pt x="748" y="828"/>
                  </a:lnTo>
                  <a:lnTo>
                    <a:pt x="746" y="828"/>
                  </a:lnTo>
                  <a:lnTo>
                    <a:pt x="746" y="826"/>
                  </a:lnTo>
                  <a:lnTo>
                    <a:pt x="746" y="826"/>
                  </a:lnTo>
                  <a:lnTo>
                    <a:pt x="746" y="826"/>
                  </a:lnTo>
                  <a:lnTo>
                    <a:pt x="746" y="826"/>
                  </a:lnTo>
                  <a:lnTo>
                    <a:pt x="746" y="826"/>
                  </a:lnTo>
                  <a:lnTo>
                    <a:pt x="743" y="826"/>
                  </a:lnTo>
                  <a:lnTo>
                    <a:pt x="743" y="826"/>
                  </a:lnTo>
                  <a:lnTo>
                    <a:pt x="743" y="826"/>
                  </a:lnTo>
                  <a:lnTo>
                    <a:pt x="743" y="824"/>
                  </a:lnTo>
                  <a:lnTo>
                    <a:pt x="746" y="824"/>
                  </a:lnTo>
                  <a:lnTo>
                    <a:pt x="746" y="824"/>
                  </a:lnTo>
                  <a:lnTo>
                    <a:pt x="746" y="824"/>
                  </a:lnTo>
                  <a:lnTo>
                    <a:pt x="746" y="822"/>
                  </a:lnTo>
                  <a:lnTo>
                    <a:pt x="741" y="826"/>
                  </a:lnTo>
                  <a:lnTo>
                    <a:pt x="735" y="828"/>
                  </a:lnTo>
                  <a:lnTo>
                    <a:pt x="735" y="828"/>
                  </a:lnTo>
                  <a:lnTo>
                    <a:pt x="735" y="828"/>
                  </a:lnTo>
                  <a:lnTo>
                    <a:pt x="735" y="828"/>
                  </a:lnTo>
                  <a:lnTo>
                    <a:pt x="735" y="828"/>
                  </a:lnTo>
                  <a:lnTo>
                    <a:pt x="735" y="828"/>
                  </a:lnTo>
                  <a:lnTo>
                    <a:pt x="735" y="830"/>
                  </a:lnTo>
                  <a:lnTo>
                    <a:pt x="735" y="830"/>
                  </a:lnTo>
                  <a:lnTo>
                    <a:pt x="735" y="830"/>
                  </a:lnTo>
                  <a:lnTo>
                    <a:pt x="735" y="832"/>
                  </a:lnTo>
                  <a:lnTo>
                    <a:pt x="735" y="834"/>
                  </a:lnTo>
                  <a:lnTo>
                    <a:pt x="735" y="834"/>
                  </a:lnTo>
                  <a:lnTo>
                    <a:pt x="737" y="836"/>
                  </a:lnTo>
                  <a:lnTo>
                    <a:pt x="737" y="836"/>
                  </a:lnTo>
                  <a:lnTo>
                    <a:pt x="735" y="838"/>
                  </a:lnTo>
                  <a:lnTo>
                    <a:pt x="735" y="836"/>
                  </a:lnTo>
                  <a:lnTo>
                    <a:pt x="735" y="836"/>
                  </a:lnTo>
                  <a:lnTo>
                    <a:pt x="733" y="836"/>
                  </a:lnTo>
                  <a:lnTo>
                    <a:pt x="733" y="838"/>
                  </a:lnTo>
                  <a:lnTo>
                    <a:pt x="735" y="838"/>
                  </a:lnTo>
                  <a:lnTo>
                    <a:pt x="735" y="838"/>
                  </a:lnTo>
                  <a:lnTo>
                    <a:pt x="735" y="838"/>
                  </a:lnTo>
                  <a:lnTo>
                    <a:pt x="735" y="838"/>
                  </a:lnTo>
                  <a:lnTo>
                    <a:pt x="735" y="838"/>
                  </a:lnTo>
                  <a:lnTo>
                    <a:pt x="733" y="838"/>
                  </a:lnTo>
                  <a:lnTo>
                    <a:pt x="733" y="840"/>
                  </a:lnTo>
                  <a:lnTo>
                    <a:pt x="733" y="840"/>
                  </a:lnTo>
                  <a:lnTo>
                    <a:pt x="733" y="840"/>
                  </a:lnTo>
                  <a:lnTo>
                    <a:pt x="733" y="840"/>
                  </a:lnTo>
                  <a:lnTo>
                    <a:pt x="731" y="840"/>
                  </a:lnTo>
                  <a:lnTo>
                    <a:pt x="731" y="842"/>
                  </a:lnTo>
                  <a:lnTo>
                    <a:pt x="733" y="842"/>
                  </a:lnTo>
                  <a:lnTo>
                    <a:pt x="733" y="844"/>
                  </a:lnTo>
                  <a:lnTo>
                    <a:pt x="733" y="844"/>
                  </a:lnTo>
                  <a:lnTo>
                    <a:pt x="733" y="844"/>
                  </a:lnTo>
                  <a:lnTo>
                    <a:pt x="735" y="842"/>
                  </a:lnTo>
                  <a:lnTo>
                    <a:pt x="735" y="842"/>
                  </a:lnTo>
                  <a:lnTo>
                    <a:pt x="737" y="842"/>
                  </a:lnTo>
                  <a:lnTo>
                    <a:pt x="737" y="842"/>
                  </a:lnTo>
                  <a:lnTo>
                    <a:pt x="739" y="840"/>
                  </a:lnTo>
                  <a:lnTo>
                    <a:pt x="739" y="840"/>
                  </a:lnTo>
                  <a:lnTo>
                    <a:pt x="741" y="838"/>
                  </a:lnTo>
                  <a:lnTo>
                    <a:pt x="743" y="838"/>
                  </a:lnTo>
                  <a:lnTo>
                    <a:pt x="743" y="838"/>
                  </a:lnTo>
                  <a:lnTo>
                    <a:pt x="741" y="836"/>
                  </a:lnTo>
                  <a:lnTo>
                    <a:pt x="741" y="836"/>
                  </a:lnTo>
                  <a:lnTo>
                    <a:pt x="741" y="836"/>
                  </a:lnTo>
                  <a:lnTo>
                    <a:pt x="739" y="834"/>
                  </a:lnTo>
                  <a:lnTo>
                    <a:pt x="739" y="834"/>
                  </a:lnTo>
                  <a:lnTo>
                    <a:pt x="737" y="832"/>
                  </a:lnTo>
                  <a:lnTo>
                    <a:pt x="739" y="830"/>
                  </a:lnTo>
                  <a:lnTo>
                    <a:pt x="739" y="830"/>
                  </a:lnTo>
                  <a:lnTo>
                    <a:pt x="737" y="830"/>
                  </a:lnTo>
                  <a:lnTo>
                    <a:pt x="737" y="830"/>
                  </a:lnTo>
                  <a:lnTo>
                    <a:pt x="737" y="830"/>
                  </a:lnTo>
                  <a:lnTo>
                    <a:pt x="739" y="830"/>
                  </a:lnTo>
                  <a:lnTo>
                    <a:pt x="739" y="830"/>
                  </a:lnTo>
                  <a:lnTo>
                    <a:pt x="739" y="830"/>
                  </a:lnTo>
                  <a:lnTo>
                    <a:pt x="739" y="830"/>
                  </a:lnTo>
                  <a:lnTo>
                    <a:pt x="739" y="830"/>
                  </a:lnTo>
                  <a:lnTo>
                    <a:pt x="739" y="828"/>
                  </a:lnTo>
                  <a:lnTo>
                    <a:pt x="739" y="828"/>
                  </a:lnTo>
                  <a:lnTo>
                    <a:pt x="739" y="828"/>
                  </a:lnTo>
                  <a:lnTo>
                    <a:pt x="741" y="828"/>
                  </a:lnTo>
                  <a:lnTo>
                    <a:pt x="741" y="828"/>
                  </a:lnTo>
                  <a:lnTo>
                    <a:pt x="741" y="828"/>
                  </a:lnTo>
                  <a:lnTo>
                    <a:pt x="741" y="830"/>
                  </a:lnTo>
                  <a:lnTo>
                    <a:pt x="741" y="830"/>
                  </a:lnTo>
                  <a:lnTo>
                    <a:pt x="739" y="830"/>
                  </a:lnTo>
                  <a:lnTo>
                    <a:pt x="741" y="830"/>
                  </a:lnTo>
                  <a:lnTo>
                    <a:pt x="741" y="830"/>
                  </a:lnTo>
                  <a:lnTo>
                    <a:pt x="741" y="830"/>
                  </a:lnTo>
                  <a:lnTo>
                    <a:pt x="741" y="830"/>
                  </a:lnTo>
                  <a:lnTo>
                    <a:pt x="743" y="830"/>
                  </a:lnTo>
                  <a:lnTo>
                    <a:pt x="743" y="830"/>
                  </a:lnTo>
                  <a:lnTo>
                    <a:pt x="743" y="830"/>
                  </a:lnTo>
                  <a:lnTo>
                    <a:pt x="743" y="832"/>
                  </a:lnTo>
                  <a:lnTo>
                    <a:pt x="746" y="832"/>
                  </a:lnTo>
                  <a:lnTo>
                    <a:pt x="746" y="834"/>
                  </a:lnTo>
                  <a:lnTo>
                    <a:pt x="746" y="834"/>
                  </a:lnTo>
                  <a:lnTo>
                    <a:pt x="748" y="834"/>
                  </a:lnTo>
                  <a:lnTo>
                    <a:pt x="748" y="834"/>
                  </a:lnTo>
                  <a:lnTo>
                    <a:pt x="746" y="834"/>
                  </a:lnTo>
                  <a:lnTo>
                    <a:pt x="746" y="836"/>
                  </a:lnTo>
                  <a:lnTo>
                    <a:pt x="746" y="836"/>
                  </a:lnTo>
                  <a:lnTo>
                    <a:pt x="746" y="836"/>
                  </a:lnTo>
                  <a:lnTo>
                    <a:pt x="746" y="838"/>
                  </a:lnTo>
                  <a:lnTo>
                    <a:pt x="746" y="838"/>
                  </a:lnTo>
                  <a:lnTo>
                    <a:pt x="746" y="838"/>
                  </a:lnTo>
                  <a:lnTo>
                    <a:pt x="748" y="838"/>
                  </a:lnTo>
                  <a:lnTo>
                    <a:pt x="748" y="840"/>
                  </a:lnTo>
                  <a:lnTo>
                    <a:pt x="750" y="840"/>
                  </a:lnTo>
                  <a:lnTo>
                    <a:pt x="752" y="840"/>
                  </a:lnTo>
                  <a:lnTo>
                    <a:pt x="752" y="840"/>
                  </a:lnTo>
                  <a:lnTo>
                    <a:pt x="752" y="838"/>
                  </a:lnTo>
                  <a:lnTo>
                    <a:pt x="752" y="838"/>
                  </a:lnTo>
                  <a:lnTo>
                    <a:pt x="752" y="838"/>
                  </a:lnTo>
                  <a:lnTo>
                    <a:pt x="752" y="838"/>
                  </a:lnTo>
                  <a:lnTo>
                    <a:pt x="752" y="838"/>
                  </a:lnTo>
                  <a:lnTo>
                    <a:pt x="754" y="836"/>
                  </a:lnTo>
                  <a:lnTo>
                    <a:pt x="754" y="836"/>
                  </a:lnTo>
                  <a:lnTo>
                    <a:pt x="754" y="834"/>
                  </a:lnTo>
                  <a:lnTo>
                    <a:pt x="754" y="834"/>
                  </a:lnTo>
                  <a:lnTo>
                    <a:pt x="756" y="834"/>
                  </a:lnTo>
                  <a:lnTo>
                    <a:pt x="756" y="834"/>
                  </a:lnTo>
                  <a:lnTo>
                    <a:pt x="756" y="836"/>
                  </a:lnTo>
                  <a:lnTo>
                    <a:pt x="756" y="836"/>
                  </a:lnTo>
                  <a:lnTo>
                    <a:pt x="756" y="836"/>
                  </a:lnTo>
                  <a:lnTo>
                    <a:pt x="754" y="836"/>
                  </a:lnTo>
                  <a:lnTo>
                    <a:pt x="756" y="836"/>
                  </a:lnTo>
                  <a:lnTo>
                    <a:pt x="756" y="838"/>
                  </a:lnTo>
                  <a:lnTo>
                    <a:pt x="756" y="838"/>
                  </a:lnTo>
                  <a:lnTo>
                    <a:pt x="758" y="840"/>
                  </a:lnTo>
                  <a:lnTo>
                    <a:pt x="756" y="834"/>
                  </a:lnTo>
                  <a:lnTo>
                    <a:pt x="756" y="832"/>
                  </a:lnTo>
                  <a:lnTo>
                    <a:pt x="756" y="834"/>
                  </a:lnTo>
                  <a:lnTo>
                    <a:pt x="756" y="834"/>
                  </a:lnTo>
                  <a:lnTo>
                    <a:pt x="756" y="832"/>
                  </a:lnTo>
                  <a:lnTo>
                    <a:pt x="756" y="832"/>
                  </a:lnTo>
                  <a:lnTo>
                    <a:pt x="756" y="830"/>
                  </a:lnTo>
                  <a:lnTo>
                    <a:pt x="756" y="830"/>
                  </a:lnTo>
                  <a:lnTo>
                    <a:pt x="756" y="830"/>
                  </a:lnTo>
                  <a:lnTo>
                    <a:pt x="756" y="830"/>
                  </a:lnTo>
                  <a:lnTo>
                    <a:pt x="756" y="830"/>
                  </a:lnTo>
                  <a:lnTo>
                    <a:pt x="756" y="830"/>
                  </a:lnTo>
                  <a:lnTo>
                    <a:pt x="756" y="830"/>
                  </a:lnTo>
                  <a:lnTo>
                    <a:pt x="756" y="830"/>
                  </a:lnTo>
                  <a:lnTo>
                    <a:pt x="758" y="830"/>
                  </a:lnTo>
                  <a:lnTo>
                    <a:pt x="758" y="830"/>
                  </a:lnTo>
                  <a:lnTo>
                    <a:pt x="758" y="830"/>
                  </a:lnTo>
                  <a:lnTo>
                    <a:pt x="758" y="830"/>
                  </a:lnTo>
                  <a:lnTo>
                    <a:pt x="758" y="828"/>
                  </a:lnTo>
                  <a:lnTo>
                    <a:pt x="756" y="828"/>
                  </a:lnTo>
                  <a:lnTo>
                    <a:pt x="756" y="828"/>
                  </a:lnTo>
                  <a:lnTo>
                    <a:pt x="754" y="826"/>
                  </a:lnTo>
                  <a:lnTo>
                    <a:pt x="754" y="826"/>
                  </a:lnTo>
                  <a:lnTo>
                    <a:pt x="754" y="824"/>
                  </a:lnTo>
                  <a:lnTo>
                    <a:pt x="756" y="824"/>
                  </a:lnTo>
                  <a:lnTo>
                    <a:pt x="756" y="822"/>
                  </a:lnTo>
                  <a:lnTo>
                    <a:pt x="756" y="822"/>
                  </a:lnTo>
                  <a:lnTo>
                    <a:pt x="758" y="822"/>
                  </a:lnTo>
                  <a:lnTo>
                    <a:pt x="758" y="822"/>
                  </a:lnTo>
                  <a:lnTo>
                    <a:pt x="758" y="822"/>
                  </a:lnTo>
                  <a:lnTo>
                    <a:pt x="760" y="822"/>
                  </a:lnTo>
                  <a:lnTo>
                    <a:pt x="760" y="822"/>
                  </a:lnTo>
                  <a:lnTo>
                    <a:pt x="758" y="824"/>
                  </a:lnTo>
                  <a:lnTo>
                    <a:pt x="760" y="824"/>
                  </a:lnTo>
                  <a:lnTo>
                    <a:pt x="760" y="824"/>
                  </a:lnTo>
                  <a:lnTo>
                    <a:pt x="760" y="828"/>
                  </a:lnTo>
                  <a:lnTo>
                    <a:pt x="762" y="828"/>
                  </a:lnTo>
                  <a:lnTo>
                    <a:pt x="762" y="830"/>
                  </a:lnTo>
                  <a:lnTo>
                    <a:pt x="762" y="832"/>
                  </a:lnTo>
                  <a:lnTo>
                    <a:pt x="764" y="832"/>
                  </a:lnTo>
                  <a:lnTo>
                    <a:pt x="764" y="832"/>
                  </a:lnTo>
                  <a:lnTo>
                    <a:pt x="762" y="832"/>
                  </a:lnTo>
                  <a:lnTo>
                    <a:pt x="762" y="832"/>
                  </a:lnTo>
                  <a:lnTo>
                    <a:pt x="760" y="832"/>
                  </a:lnTo>
                  <a:lnTo>
                    <a:pt x="760" y="832"/>
                  </a:lnTo>
                  <a:lnTo>
                    <a:pt x="760" y="832"/>
                  </a:lnTo>
                  <a:lnTo>
                    <a:pt x="760" y="834"/>
                  </a:lnTo>
                  <a:lnTo>
                    <a:pt x="760" y="834"/>
                  </a:lnTo>
                  <a:lnTo>
                    <a:pt x="760" y="834"/>
                  </a:lnTo>
                  <a:lnTo>
                    <a:pt x="762" y="836"/>
                  </a:lnTo>
                  <a:lnTo>
                    <a:pt x="762" y="836"/>
                  </a:lnTo>
                  <a:lnTo>
                    <a:pt x="764" y="836"/>
                  </a:lnTo>
                  <a:lnTo>
                    <a:pt x="764" y="836"/>
                  </a:lnTo>
                  <a:lnTo>
                    <a:pt x="764" y="836"/>
                  </a:lnTo>
                  <a:lnTo>
                    <a:pt x="764" y="834"/>
                  </a:lnTo>
                  <a:lnTo>
                    <a:pt x="766" y="834"/>
                  </a:lnTo>
                  <a:lnTo>
                    <a:pt x="766" y="836"/>
                  </a:lnTo>
                  <a:lnTo>
                    <a:pt x="766" y="836"/>
                  </a:lnTo>
                  <a:lnTo>
                    <a:pt x="766" y="836"/>
                  </a:lnTo>
                  <a:lnTo>
                    <a:pt x="766" y="838"/>
                  </a:lnTo>
                  <a:lnTo>
                    <a:pt x="766" y="838"/>
                  </a:lnTo>
                  <a:lnTo>
                    <a:pt x="766" y="836"/>
                  </a:lnTo>
                  <a:lnTo>
                    <a:pt x="768" y="836"/>
                  </a:lnTo>
                  <a:lnTo>
                    <a:pt x="768" y="836"/>
                  </a:lnTo>
                  <a:lnTo>
                    <a:pt x="768" y="836"/>
                  </a:lnTo>
                  <a:lnTo>
                    <a:pt x="768" y="834"/>
                  </a:lnTo>
                  <a:lnTo>
                    <a:pt x="768" y="832"/>
                  </a:lnTo>
                  <a:lnTo>
                    <a:pt x="770" y="832"/>
                  </a:lnTo>
                  <a:lnTo>
                    <a:pt x="772" y="830"/>
                  </a:lnTo>
                  <a:lnTo>
                    <a:pt x="772" y="830"/>
                  </a:lnTo>
                  <a:lnTo>
                    <a:pt x="772" y="832"/>
                  </a:lnTo>
                  <a:lnTo>
                    <a:pt x="772" y="832"/>
                  </a:lnTo>
                  <a:lnTo>
                    <a:pt x="772" y="832"/>
                  </a:lnTo>
                  <a:lnTo>
                    <a:pt x="772" y="832"/>
                  </a:lnTo>
                  <a:lnTo>
                    <a:pt x="772" y="832"/>
                  </a:lnTo>
                  <a:lnTo>
                    <a:pt x="770" y="832"/>
                  </a:lnTo>
                  <a:lnTo>
                    <a:pt x="770" y="834"/>
                  </a:lnTo>
                  <a:lnTo>
                    <a:pt x="772" y="834"/>
                  </a:lnTo>
                  <a:lnTo>
                    <a:pt x="772" y="834"/>
                  </a:lnTo>
                  <a:lnTo>
                    <a:pt x="772" y="834"/>
                  </a:lnTo>
                  <a:lnTo>
                    <a:pt x="774" y="834"/>
                  </a:lnTo>
                  <a:lnTo>
                    <a:pt x="774" y="834"/>
                  </a:lnTo>
                  <a:lnTo>
                    <a:pt x="776" y="834"/>
                  </a:lnTo>
                  <a:lnTo>
                    <a:pt x="776" y="832"/>
                  </a:lnTo>
                  <a:lnTo>
                    <a:pt x="776" y="832"/>
                  </a:lnTo>
                  <a:lnTo>
                    <a:pt x="776" y="832"/>
                  </a:lnTo>
                  <a:lnTo>
                    <a:pt x="776" y="832"/>
                  </a:lnTo>
                  <a:lnTo>
                    <a:pt x="776" y="832"/>
                  </a:lnTo>
                  <a:lnTo>
                    <a:pt x="774" y="830"/>
                  </a:lnTo>
                  <a:lnTo>
                    <a:pt x="774" y="830"/>
                  </a:lnTo>
                  <a:lnTo>
                    <a:pt x="774" y="828"/>
                  </a:lnTo>
                  <a:lnTo>
                    <a:pt x="774" y="828"/>
                  </a:lnTo>
                  <a:lnTo>
                    <a:pt x="774" y="828"/>
                  </a:lnTo>
                  <a:lnTo>
                    <a:pt x="774" y="826"/>
                  </a:lnTo>
                  <a:lnTo>
                    <a:pt x="776" y="828"/>
                  </a:lnTo>
                  <a:lnTo>
                    <a:pt x="776" y="828"/>
                  </a:lnTo>
                  <a:lnTo>
                    <a:pt x="778" y="828"/>
                  </a:lnTo>
                  <a:lnTo>
                    <a:pt x="778" y="828"/>
                  </a:lnTo>
                  <a:lnTo>
                    <a:pt x="776" y="828"/>
                  </a:lnTo>
                  <a:lnTo>
                    <a:pt x="776" y="828"/>
                  </a:lnTo>
                  <a:lnTo>
                    <a:pt x="776" y="828"/>
                  </a:lnTo>
                  <a:lnTo>
                    <a:pt x="778" y="828"/>
                  </a:lnTo>
                  <a:lnTo>
                    <a:pt x="778" y="828"/>
                  </a:lnTo>
                  <a:lnTo>
                    <a:pt x="778" y="828"/>
                  </a:lnTo>
                  <a:lnTo>
                    <a:pt x="778" y="828"/>
                  </a:lnTo>
                  <a:lnTo>
                    <a:pt x="778" y="828"/>
                  </a:lnTo>
                  <a:lnTo>
                    <a:pt x="778" y="828"/>
                  </a:lnTo>
                  <a:lnTo>
                    <a:pt x="780" y="826"/>
                  </a:lnTo>
                  <a:lnTo>
                    <a:pt x="780" y="824"/>
                  </a:lnTo>
                  <a:lnTo>
                    <a:pt x="782" y="824"/>
                  </a:lnTo>
                  <a:lnTo>
                    <a:pt x="784" y="820"/>
                  </a:lnTo>
                  <a:lnTo>
                    <a:pt x="784" y="820"/>
                  </a:lnTo>
                  <a:lnTo>
                    <a:pt x="784" y="820"/>
                  </a:lnTo>
                  <a:lnTo>
                    <a:pt x="784" y="818"/>
                  </a:lnTo>
                  <a:lnTo>
                    <a:pt x="784" y="818"/>
                  </a:lnTo>
                  <a:lnTo>
                    <a:pt x="786" y="816"/>
                  </a:lnTo>
                  <a:lnTo>
                    <a:pt x="786" y="816"/>
                  </a:lnTo>
                  <a:lnTo>
                    <a:pt x="786" y="816"/>
                  </a:lnTo>
                  <a:lnTo>
                    <a:pt x="786" y="816"/>
                  </a:lnTo>
                  <a:lnTo>
                    <a:pt x="786" y="814"/>
                  </a:lnTo>
                  <a:lnTo>
                    <a:pt x="786" y="814"/>
                  </a:lnTo>
                  <a:lnTo>
                    <a:pt x="786" y="814"/>
                  </a:lnTo>
                  <a:lnTo>
                    <a:pt x="789" y="812"/>
                  </a:lnTo>
                  <a:lnTo>
                    <a:pt x="789" y="809"/>
                  </a:lnTo>
                  <a:lnTo>
                    <a:pt x="789" y="809"/>
                  </a:lnTo>
                  <a:lnTo>
                    <a:pt x="789" y="809"/>
                  </a:lnTo>
                  <a:lnTo>
                    <a:pt x="789" y="809"/>
                  </a:lnTo>
                  <a:lnTo>
                    <a:pt x="789" y="809"/>
                  </a:lnTo>
                  <a:lnTo>
                    <a:pt x="795" y="807"/>
                  </a:lnTo>
                  <a:lnTo>
                    <a:pt x="795" y="809"/>
                  </a:lnTo>
                  <a:lnTo>
                    <a:pt x="797" y="809"/>
                  </a:lnTo>
                  <a:lnTo>
                    <a:pt x="797" y="812"/>
                  </a:lnTo>
                  <a:lnTo>
                    <a:pt x="799" y="812"/>
                  </a:lnTo>
                  <a:lnTo>
                    <a:pt x="799" y="812"/>
                  </a:lnTo>
                  <a:lnTo>
                    <a:pt x="799" y="812"/>
                  </a:lnTo>
                  <a:lnTo>
                    <a:pt x="799" y="814"/>
                  </a:lnTo>
                  <a:lnTo>
                    <a:pt x="799" y="814"/>
                  </a:lnTo>
                  <a:lnTo>
                    <a:pt x="803" y="814"/>
                  </a:lnTo>
                  <a:lnTo>
                    <a:pt x="803" y="814"/>
                  </a:lnTo>
                  <a:lnTo>
                    <a:pt x="803" y="816"/>
                  </a:lnTo>
                  <a:lnTo>
                    <a:pt x="801" y="816"/>
                  </a:lnTo>
                  <a:lnTo>
                    <a:pt x="799" y="814"/>
                  </a:lnTo>
                  <a:lnTo>
                    <a:pt x="797" y="814"/>
                  </a:lnTo>
                  <a:lnTo>
                    <a:pt x="797" y="812"/>
                  </a:lnTo>
                  <a:lnTo>
                    <a:pt x="797" y="812"/>
                  </a:lnTo>
                  <a:lnTo>
                    <a:pt x="795" y="812"/>
                  </a:lnTo>
                  <a:lnTo>
                    <a:pt x="795" y="814"/>
                  </a:lnTo>
                  <a:lnTo>
                    <a:pt x="793" y="814"/>
                  </a:lnTo>
                  <a:lnTo>
                    <a:pt x="793" y="816"/>
                  </a:lnTo>
                  <a:lnTo>
                    <a:pt x="793" y="816"/>
                  </a:lnTo>
                  <a:lnTo>
                    <a:pt x="793" y="816"/>
                  </a:lnTo>
                  <a:lnTo>
                    <a:pt x="793" y="818"/>
                  </a:lnTo>
                  <a:lnTo>
                    <a:pt x="793" y="820"/>
                  </a:lnTo>
                  <a:lnTo>
                    <a:pt x="791" y="822"/>
                  </a:lnTo>
                  <a:lnTo>
                    <a:pt x="791" y="822"/>
                  </a:lnTo>
                  <a:lnTo>
                    <a:pt x="791" y="822"/>
                  </a:lnTo>
                  <a:lnTo>
                    <a:pt x="791" y="822"/>
                  </a:lnTo>
                  <a:lnTo>
                    <a:pt x="795" y="822"/>
                  </a:lnTo>
                  <a:lnTo>
                    <a:pt x="797" y="822"/>
                  </a:lnTo>
                  <a:lnTo>
                    <a:pt x="797" y="824"/>
                  </a:lnTo>
                  <a:lnTo>
                    <a:pt x="797" y="824"/>
                  </a:lnTo>
                  <a:lnTo>
                    <a:pt x="797" y="824"/>
                  </a:lnTo>
                  <a:lnTo>
                    <a:pt x="803" y="822"/>
                  </a:lnTo>
                  <a:lnTo>
                    <a:pt x="805" y="820"/>
                  </a:lnTo>
                  <a:lnTo>
                    <a:pt x="807" y="820"/>
                  </a:lnTo>
                  <a:lnTo>
                    <a:pt x="807" y="818"/>
                  </a:lnTo>
                  <a:lnTo>
                    <a:pt x="809" y="816"/>
                  </a:lnTo>
                  <a:lnTo>
                    <a:pt x="811" y="816"/>
                  </a:lnTo>
                  <a:lnTo>
                    <a:pt x="811" y="816"/>
                  </a:lnTo>
                  <a:lnTo>
                    <a:pt x="811" y="818"/>
                  </a:lnTo>
                  <a:lnTo>
                    <a:pt x="811" y="818"/>
                  </a:lnTo>
                  <a:lnTo>
                    <a:pt x="811" y="818"/>
                  </a:lnTo>
                  <a:lnTo>
                    <a:pt x="811" y="820"/>
                  </a:lnTo>
                  <a:lnTo>
                    <a:pt x="811" y="820"/>
                  </a:lnTo>
                  <a:lnTo>
                    <a:pt x="811" y="820"/>
                  </a:lnTo>
                  <a:lnTo>
                    <a:pt x="811" y="820"/>
                  </a:lnTo>
                  <a:lnTo>
                    <a:pt x="811" y="820"/>
                  </a:lnTo>
                  <a:lnTo>
                    <a:pt x="813" y="820"/>
                  </a:lnTo>
                  <a:lnTo>
                    <a:pt x="815" y="820"/>
                  </a:lnTo>
                  <a:lnTo>
                    <a:pt x="815" y="820"/>
                  </a:lnTo>
                  <a:lnTo>
                    <a:pt x="817" y="818"/>
                  </a:lnTo>
                  <a:lnTo>
                    <a:pt x="815" y="818"/>
                  </a:lnTo>
                  <a:lnTo>
                    <a:pt x="815" y="816"/>
                  </a:lnTo>
                  <a:lnTo>
                    <a:pt x="815" y="816"/>
                  </a:lnTo>
                  <a:lnTo>
                    <a:pt x="813" y="816"/>
                  </a:lnTo>
                  <a:lnTo>
                    <a:pt x="813" y="816"/>
                  </a:lnTo>
                  <a:lnTo>
                    <a:pt x="815" y="816"/>
                  </a:lnTo>
                  <a:lnTo>
                    <a:pt x="815" y="816"/>
                  </a:lnTo>
                  <a:lnTo>
                    <a:pt x="817" y="816"/>
                  </a:lnTo>
                  <a:lnTo>
                    <a:pt x="817" y="814"/>
                  </a:lnTo>
                  <a:lnTo>
                    <a:pt x="817" y="814"/>
                  </a:lnTo>
                  <a:lnTo>
                    <a:pt x="819" y="812"/>
                  </a:lnTo>
                  <a:lnTo>
                    <a:pt x="819" y="812"/>
                  </a:lnTo>
                  <a:lnTo>
                    <a:pt x="819" y="814"/>
                  </a:lnTo>
                  <a:lnTo>
                    <a:pt x="819" y="816"/>
                  </a:lnTo>
                  <a:lnTo>
                    <a:pt x="819" y="816"/>
                  </a:lnTo>
                  <a:lnTo>
                    <a:pt x="819" y="820"/>
                  </a:lnTo>
                  <a:lnTo>
                    <a:pt x="819" y="820"/>
                  </a:lnTo>
                  <a:lnTo>
                    <a:pt x="821" y="820"/>
                  </a:lnTo>
                  <a:lnTo>
                    <a:pt x="821" y="818"/>
                  </a:lnTo>
                  <a:lnTo>
                    <a:pt x="821" y="818"/>
                  </a:lnTo>
                  <a:lnTo>
                    <a:pt x="821" y="818"/>
                  </a:lnTo>
                  <a:lnTo>
                    <a:pt x="821" y="818"/>
                  </a:lnTo>
                  <a:lnTo>
                    <a:pt x="823" y="816"/>
                  </a:lnTo>
                  <a:lnTo>
                    <a:pt x="823" y="816"/>
                  </a:lnTo>
                  <a:lnTo>
                    <a:pt x="823" y="816"/>
                  </a:lnTo>
                  <a:lnTo>
                    <a:pt x="823" y="816"/>
                  </a:lnTo>
                  <a:lnTo>
                    <a:pt x="823" y="814"/>
                  </a:lnTo>
                  <a:lnTo>
                    <a:pt x="823" y="814"/>
                  </a:lnTo>
                  <a:lnTo>
                    <a:pt x="825" y="814"/>
                  </a:lnTo>
                  <a:lnTo>
                    <a:pt x="825" y="814"/>
                  </a:lnTo>
                  <a:lnTo>
                    <a:pt x="825" y="814"/>
                  </a:lnTo>
                  <a:lnTo>
                    <a:pt x="823" y="812"/>
                  </a:lnTo>
                  <a:lnTo>
                    <a:pt x="823" y="812"/>
                  </a:lnTo>
                  <a:lnTo>
                    <a:pt x="823" y="812"/>
                  </a:lnTo>
                  <a:lnTo>
                    <a:pt x="825" y="812"/>
                  </a:lnTo>
                  <a:lnTo>
                    <a:pt x="825" y="812"/>
                  </a:lnTo>
                  <a:lnTo>
                    <a:pt x="830" y="812"/>
                  </a:lnTo>
                  <a:lnTo>
                    <a:pt x="830" y="812"/>
                  </a:lnTo>
                  <a:lnTo>
                    <a:pt x="830" y="812"/>
                  </a:lnTo>
                  <a:lnTo>
                    <a:pt x="832" y="812"/>
                  </a:lnTo>
                  <a:lnTo>
                    <a:pt x="834" y="809"/>
                  </a:lnTo>
                  <a:lnTo>
                    <a:pt x="832" y="809"/>
                  </a:lnTo>
                  <a:lnTo>
                    <a:pt x="832" y="807"/>
                  </a:lnTo>
                  <a:lnTo>
                    <a:pt x="832" y="807"/>
                  </a:lnTo>
                  <a:lnTo>
                    <a:pt x="834" y="807"/>
                  </a:lnTo>
                  <a:lnTo>
                    <a:pt x="834" y="807"/>
                  </a:lnTo>
                  <a:lnTo>
                    <a:pt x="834" y="807"/>
                  </a:lnTo>
                  <a:lnTo>
                    <a:pt x="834" y="807"/>
                  </a:lnTo>
                  <a:lnTo>
                    <a:pt x="834" y="809"/>
                  </a:lnTo>
                  <a:lnTo>
                    <a:pt x="834" y="809"/>
                  </a:lnTo>
                  <a:lnTo>
                    <a:pt x="836" y="809"/>
                  </a:lnTo>
                  <a:lnTo>
                    <a:pt x="834" y="807"/>
                  </a:lnTo>
                  <a:lnTo>
                    <a:pt x="834" y="807"/>
                  </a:lnTo>
                  <a:lnTo>
                    <a:pt x="834" y="807"/>
                  </a:lnTo>
                  <a:lnTo>
                    <a:pt x="834" y="807"/>
                  </a:lnTo>
                  <a:lnTo>
                    <a:pt x="836" y="807"/>
                  </a:lnTo>
                  <a:lnTo>
                    <a:pt x="836" y="807"/>
                  </a:lnTo>
                  <a:lnTo>
                    <a:pt x="836" y="807"/>
                  </a:lnTo>
                  <a:lnTo>
                    <a:pt x="836" y="805"/>
                  </a:lnTo>
                  <a:lnTo>
                    <a:pt x="836" y="805"/>
                  </a:lnTo>
                  <a:lnTo>
                    <a:pt x="836" y="805"/>
                  </a:lnTo>
                  <a:lnTo>
                    <a:pt x="836" y="803"/>
                  </a:lnTo>
                  <a:lnTo>
                    <a:pt x="836" y="803"/>
                  </a:lnTo>
                  <a:lnTo>
                    <a:pt x="836" y="805"/>
                  </a:lnTo>
                  <a:lnTo>
                    <a:pt x="838" y="805"/>
                  </a:lnTo>
                  <a:lnTo>
                    <a:pt x="838" y="805"/>
                  </a:lnTo>
                  <a:lnTo>
                    <a:pt x="838" y="805"/>
                  </a:lnTo>
                  <a:lnTo>
                    <a:pt x="838" y="805"/>
                  </a:lnTo>
                  <a:lnTo>
                    <a:pt x="838" y="803"/>
                  </a:lnTo>
                  <a:lnTo>
                    <a:pt x="838" y="803"/>
                  </a:lnTo>
                  <a:lnTo>
                    <a:pt x="838" y="803"/>
                  </a:lnTo>
                  <a:lnTo>
                    <a:pt x="838" y="803"/>
                  </a:lnTo>
                  <a:lnTo>
                    <a:pt x="838" y="803"/>
                  </a:lnTo>
                  <a:lnTo>
                    <a:pt x="840" y="805"/>
                  </a:lnTo>
                  <a:lnTo>
                    <a:pt x="840" y="805"/>
                  </a:lnTo>
                  <a:lnTo>
                    <a:pt x="842" y="805"/>
                  </a:lnTo>
                  <a:lnTo>
                    <a:pt x="842" y="805"/>
                  </a:lnTo>
                  <a:lnTo>
                    <a:pt x="842" y="803"/>
                  </a:lnTo>
                  <a:lnTo>
                    <a:pt x="842" y="803"/>
                  </a:lnTo>
                  <a:lnTo>
                    <a:pt x="842" y="803"/>
                  </a:lnTo>
                  <a:lnTo>
                    <a:pt x="842" y="801"/>
                  </a:lnTo>
                  <a:lnTo>
                    <a:pt x="842" y="801"/>
                  </a:lnTo>
                  <a:lnTo>
                    <a:pt x="846" y="803"/>
                  </a:lnTo>
                  <a:lnTo>
                    <a:pt x="848" y="803"/>
                  </a:lnTo>
                  <a:lnTo>
                    <a:pt x="848" y="803"/>
                  </a:lnTo>
                  <a:lnTo>
                    <a:pt x="848" y="805"/>
                  </a:lnTo>
                  <a:lnTo>
                    <a:pt x="848" y="805"/>
                  </a:lnTo>
                  <a:lnTo>
                    <a:pt x="848" y="805"/>
                  </a:lnTo>
                  <a:lnTo>
                    <a:pt x="846" y="807"/>
                  </a:lnTo>
                  <a:lnTo>
                    <a:pt x="846" y="807"/>
                  </a:lnTo>
                  <a:lnTo>
                    <a:pt x="846" y="807"/>
                  </a:lnTo>
                  <a:lnTo>
                    <a:pt x="846" y="807"/>
                  </a:lnTo>
                  <a:lnTo>
                    <a:pt x="846" y="807"/>
                  </a:lnTo>
                  <a:lnTo>
                    <a:pt x="846" y="809"/>
                  </a:lnTo>
                  <a:lnTo>
                    <a:pt x="848" y="809"/>
                  </a:lnTo>
                  <a:lnTo>
                    <a:pt x="848" y="809"/>
                  </a:lnTo>
                  <a:lnTo>
                    <a:pt x="846" y="812"/>
                  </a:lnTo>
                  <a:lnTo>
                    <a:pt x="846" y="812"/>
                  </a:lnTo>
                  <a:lnTo>
                    <a:pt x="846" y="812"/>
                  </a:lnTo>
                  <a:lnTo>
                    <a:pt x="846" y="814"/>
                  </a:lnTo>
                  <a:lnTo>
                    <a:pt x="848" y="814"/>
                  </a:lnTo>
                  <a:lnTo>
                    <a:pt x="848" y="814"/>
                  </a:lnTo>
                  <a:lnTo>
                    <a:pt x="848" y="814"/>
                  </a:lnTo>
                  <a:lnTo>
                    <a:pt x="848" y="814"/>
                  </a:lnTo>
                  <a:lnTo>
                    <a:pt x="848" y="814"/>
                  </a:lnTo>
                  <a:lnTo>
                    <a:pt x="846" y="814"/>
                  </a:lnTo>
                  <a:lnTo>
                    <a:pt x="846" y="816"/>
                  </a:lnTo>
                  <a:lnTo>
                    <a:pt x="846" y="816"/>
                  </a:lnTo>
                  <a:lnTo>
                    <a:pt x="846" y="814"/>
                  </a:lnTo>
                  <a:lnTo>
                    <a:pt x="844" y="814"/>
                  </a:lnTo>
                  <a:lnTo>
                    <a:pt x="844" y="814"/>
                  </a:lnTo>
                  <a:lnTo>
                    <a:pt x="844" y="816"/>
                  </a:lnTo>
                  <a:lnTo>
                    <a:pt x="844" y="816"/>
                  </a:lnTo>
                  <a:lnTo>
                    <a:pt x="846" y="816"/>
                  </a:lnTo>
                  <a:lnTo>
                    <a:pt x="844" y="816"/>
                  </a:lnTo>
                  <a:lnTo>
                    <a:pt x="844" y="816"/>
                  </a:lnTo>
                  <a:lnTo>
                    <a:pt x="844" y="818"/>
                  </a:lnTo>
                  <a:lnTo>
                    <a:pt x="844" y="818"/>
                  </a:lnTo>
                  <a:lnTo>
                    <a:pt x="848" y="816"/>
                  </a:lnTo>
                  <a:lnTo>
                    <a:pt x="848" y="816"/>
                  </a:lnTo>
                  <a:lnTo>
                    <a:pt x="848" y="816"/>
                  </a:lnTo>
                  <a:lnTo>
                    <a:pt x="848" y="814"/>
                  </a:lnTo>
                  <a:lnTo>
                    <a:pt x="848" y="814"/>
                  </a:lnTo>
                  <a:lnTo>
                    <a:pt x="848" y="814"/>
                  </a:lnTo>
                  <a:lnTo>
                    <a:pt x="850" y="814"/>
                  </a:lnTo>
                  <a:lnTo>
                    <a:pt x="850" y="814"/>
                  </a:lnTo>
                  <a:lnTo>
                    <a:pt x="850" y="814"/>
                  </a:lnTo>
                  <a:lnTo>
                    <a:pt x="850" y="814"/>
                  </a:lnTo>
                  <a:lnTo>
                    <a:pt x="850" y="814"/>
                  </a:lnTo>
                  <a:lnTo>
                    <a:pt x="850" y="812"/>
                  </a:lnTo>
                  <a:lnTo>
                    <a:pt x="850" y="812"/>
                  </a:lnTo>
                  <a:lnTo>
                    <a:pt x="850" y="812"/>
                  </a:lnTo>
                  <a:lnTo>
                    <a:pt x="850" y="812"/>
                  </a:lnTo>
                  <a:lnTo>
                    <a:pt x="850" y="809"/>
                  </a:lnTo>
                  <a:lnTo>
                    <a:pt x="850" y="809"/>
                  </a:lnTo>
                  <a:lnTo>
                    <a:pt x="850" y="809"/>
                  </a:lnTo>
                  <a:lnTo>
                    <a:pt x="852" y="807"/>
                  </a:lnTo>
                  <a:lnTo>
                    <a:pt x="852" y="807"/>
                  </a:lnTo>
                  <a:lnTo>
                    <a:pt x="852" y="807"/>
                  </a:lnTo>
                  <a:lnTo>
                    <a:pt x="852" y="807"/>
                  </a:lnTo>
                  <a:lnTo>
                    <a:pt x="852" y="807"/>
                  </a:lnTo>
                  <a:lnTo>
                    <a:pt x="852" y="807"/>
                  </a:lnTo>
                  <a:lnTo>
                    <a:pt x="852" y="807"/>
                  </a:lnTo>
                  <a:lnTo>
                    <a:pt x="852" y="805"/>
                  </a:lnTo>
                  <a:lnTo>
                    <a:pt x="852" y="805"/>
                  </a:lnTo>
                  <a:lnTo>
                    <a:pt x="852" y="805"/>
                  </a:lnTo>
                  <a:lnTo>
                    <a:pt x="852" y="803"/>
                  </a:lnTo>
                  <a:lnTo>
                    <a:pt x="852" y="803"/>
                  </a:lnTo>
                  <a:lnTo>
                    <a:pt x="850" y="801"/>
                  </a:lnTo>
                  <a:lnTo>
                    <a:pt x="850" y="801"/>
                  </a:lnTo>
                  <a:lnTo>
                    <a:pt x="850" y="801"/>
                  </a:lnTo>
                  <a:lnTo>
                    <a:pt x="852" y="801"/>
                  </a:lnTo>
                  <a:lnTo>
                    <a:pt x="852" y="801"/>
                  </a:lnTo>
                  <a:lnTo>
                    <a:pt x="854" y="801"/>
                  </a:lnTo>
                  <a:lnTo>
                    <a:pt x="852" y="801"/>
                  </a:lnTo>
                  <a:lnTo>
                    <a:pt x="852" y="801"/>
                  </a:lnTo>
                  <a:lnTo>
                    <a:pt x="852" y="803"/>
                  </a:lnTo>
                  <a:lnTo>
                    <a:pt x="852" y="803"/>
                  </a:lnTo>
                  <a:lnTo>
                    <a:pt x="852" y="805"/>
                  </a:lnTo>
                  <a:lnTo>
                    <a:pt x="852" y="805"/>
                  </a:lnTo>
                  <a:lnTo>
                    <a:pt x="854" y="805"/>
                  </a:lnTo>
                  <a:lnTo>
                    <a:pt x="854" y="805"/>
                  </a:lnTo>
                  <a:lnTo>
                    <a:pt x="854" y="805"/>
                  </a:lnTo>
                  <a:lnTo>
                    <a:pt x="854" y="803"/>
                  </a:lnTo>
                  <a:lnTo>
                    <a:pt x="854" y="803"/>
                  </a:lnTo>
                  <a:lnTo>
                    <a:pt x="856" y="801"/>
                  </a:lnTo>
                  <a:lnTo>
                    <a:pt x="856" y="801"/>
                  </a:lnTo>
                  <a:lnTo>
                    <a:pt x="856" y="801"/>
                  </a:lnTo>
                  <a:lnTo>
                    <a:pt x="858" y="803"/>
                  </a:lnTo>
                  <a:lnTo>
                    <a:pt x="858" y="801"/>
                  </a:lnTo>
                  <a:lnTo>
                    <a:pt x="858" y="801"/>
                  </a:lnTo>
                  <a:lnTo>
                    <a:pt x="860" y="801"/>
                  </a:lnTo>
                  <a:lnTo>
                    <a:pt x="862" y="801"/>
                  </a:lnTo>
                  <a:lnTo>
                    <a:pt x="862" y="801"/>
                  </a:lnTo>
                  <a:lnTo>
                    <a:pt x="862" y="801"/>
                  </a:lnTo>
                  <a:lnTo>
                    <a:pt x="862" y="799"/>
                  </a:lnTo>
                  <a:lnTo>
                    <a:pt x="864" y="799"/>
                  </a:lnTo>
                  <a:lnTo>
                    <a:pt x="864" y="799"/>
                  </a:lnTo>
                  <a:lnTo>
                    <a:pt x="864" y="799"/>
                  </a:lnTo>
                  <a:lnTo>
                    <a:pt x="864" y="799"/>
                  </a:lnTo>
                  <a:lnTo>
                    <a:pt x="866" y="801"/>
                  </a:lnTo>
                  <a:lnTo>
                    <a:pt x="866" y="801"/>
                  </a:lnTo>
                  <a:lnTo>
                    <a:pt x="866" y="801"/>
                  </a:lnTo>
                  <a:lnTo>
                    <a:pt x="866" y="801"/>
                  </a:lnTo>
                  <a:lnTo>
                    <a:pt x="866" y="801"/>
                  </a:lnTo>
                  <a:lnTo>
                    <a:pt x="866" y="801"/>
                  </a:lnTo>
                  <a:lnTo>
                    <a:pt x="866" y="801"/>
                  </a:lnTo>
                  <a:lnTo>
                    <a:pt x="866" y="801"/>
                  </a:lnTo>
                  <a:lnTo>
                    <a:pt x="866" y="801"/>
                  </a:lnTo>
                  <a:lnTo>
                    <a:pt x="866" y="801"/>
                  </a:lnTo>
                  <a:lnTo>
                    <a:pt x="866" y="801"/>
                  </a:lnTo>
                  <a:lnTo>
                    <a:pt x="866" y="799"/>
                  </a:lnTo>
                  <a:lnTo>
                    <a:pt x="866" y="799"/>
                  </a:lnTo>
                  <a:lnTo>
                    <a:pt x="866" y="799"/>
                  </a:lnTo>
                  <a:lnTo>
                    <a:pt x="868" y="799"/>
                  </a:lnTo>
                  <a:lnTo>
                    <a:pt x="868" y="799"/>
                  </a:lnTo>
                  <a:lnTo>
                    <a:pt x="868" y="799"/>
                  </a:lnTo>
                  <a:lnTo>
                    <a:pt x="868" y="801"/>
                  </a:lnTo>
                  <a:lnTo>
                    <a:pt x="868" y="801"/>
                  </a:lnTo>
                  <a:lnTo>
                    <a:pt x="870" y="797"/>
                  </a:lnTo>
                  <a:lnTo>
                    <a:pt x="870" y="795"/>
                  </a:lnTo>
                  <a:lnTo>
                    <a:pt x="873" y="795"/>
                  </a:lnTo>
                  <a:lnTo>
                    <a:pt x="873" y="797"/>
                  </a:lnTo>
                  <a:lnTo>
                    <a:pt x="873" y="797"/>
                  </a:lnTo>
                  <a:lnTo>
                    <a:pt x="873" y="797"/>
                  </a:lnTo>
                  <a:lnTo>
                    <a:pt x="873" y="797"/>
                  </a:lnTo>
                  <a:lnTo>
                    <a:pt x="873" y="797"/>
                  </a:lnTo>
                  <a:lnTo>
                    <a:pt x="873" y="795"/>
                  </a:lnTo>
                  <a:lnTo>
                    <a:pt x="875" y="797"/>
                  </a:lnTo>
                  <a:lnTo>
                    <a:pt x="875" y="797"/>
                  </a:lnTo>
                  <a:lnTo>
                    <a:pt x="875" y="797"/>
                  </a:lnTo>
                  <a:lnTo>
                    <a:pt x="875" y="797"/>
                  </a:lnTo>
                  <a:lnTo>
                    <a:pt x="875" y="797"/>
                  </a:lnTo>
                  <a:lnTo>
                    <a:pt x="875" y="797"/>
                  </a:lnTo>
                  <a:lnTo>
                    <a:pt x="875" y="799"/>
                  </a:lnTo>
                  <a:lnTo>
                    <a:pt x="875" y="799"/>
                  </a:lnTo>
                  <a:lnTo>
                    <a:pt x="875" y="799"/>
                  </a:lnTo>
                  <a:lnTo>
                    <a:pt x="875" y="799"/>
                  </a:lnTo>
                  <a:lnTo>
                    <a:pt x="875" y="799"/>
                  </a:lnTo>
                  <a:lnTo>
                    <a:pt x="877" y="799"/>
                  </a:lnTo>
                  <a:lnTo>
                    <a:pt x="877" y="799"/>
                  </a:lnTo>
                  <a:lnTo>
                    <a:pt x="877" y="799"/>
                  </a:lnTo>
                  <a:lnTo>
                    <a:pt x="877" y="797"/>
                  </a:lnTo>
                  <a:lnTo>
                    <a:pt x="877" y="797"/>
                  </a:lnTo>
                  <a:lnTo>
                    <a:pt x="877" y="797"/>
                  </a:lnTo>
                  <a:lnTo>
                    <a:pt x="877" y="797"/>
                  </a:lnTo>
                  <a:lnTo>
                    <a:pt x="877" y="797"/>
                  </a:lnTo>
                  <a:lnTo>
                    <a:pt x="877" y="795"/>
                  </a:lnTo>
                  <a:lnTo>
                    <a:pt x="877" y="795"/>
                  </a:lnTo>
                  <a:lnTo>
                    <a:pt x="877" y="795"/>
                  </a:lnTo>
                  <a:lnTo>
                    <a:pt x="877" y="795"/>
                  </a:lnTo>
                  <a:lnTo>
                    <a:pt x="875" y="795"/>
                  </a:lnTo>
                  <a:lnTo>
                    <a:pt x="875" y="795"/>
                  </a:lnTo>
                  <a:lnTo>
                    <a:pt x="877" y="793"/>
                  </a:lnTo>
                  <a:lnTo>
                    <a:pt x="877" y="793"/>
                  </a:lnTo>
                  <a:lnTo>
                    <a:pt x="877" y="793"/>
                  </a:lnTo>
                  <a:lnTo>
                    <a:pt x="877" y="791"/>
                  </a:lnTo>
                  <a:lnTo>
                    <a:pt x="877" y="791"/>
                  </a:lnTo>
                  <a:lnTo>
                    <a:pt x="877" y="791"/>
                  </a:lnTo>
                  <a:lnTo>
                    <a:pt x="877" y="791"/>
                  </a:lnTo>
                  <a:lnTo>
                    <a:pt x="877" y="789"/>
                  </a:lnTo>
                  <a:lnTo>
                    <a:pt x="877" y="789"/>
                  </a:lnTo>
                  <a:lnTo>
                    <a:pt x="877" y="789"/>
                  </a:lnTo>
                  <a:lnTo>
                    <a:pt x="877" y="789"/>
                  </a:lnTo>
                  <a:lnTo>
                    <a:pt x="877" y="791"/>
                  </a:lnTo>
                  <a:lnTo>
                    <a:pt x="877" y="791"/>
                  </a:lnTo>
                  <a:lnTo>
                    <a:pt x="879" y="791"/>
                  </a:lnTo>
                  <a:lnTo>
                    <a:pt x="879" y="791"/>
                  </a:lnTo>
                  <a:lnTo>
                    <a:pt x="879" y="789"/>
                  </a:lnTo>
                  <a:lnTo>
                    <a:pt x="881" y="789"/>
                  </a:lnTo>
                  <a:lnTo>
                    <a:pt x="879" y="787"/>
                  </a:lnTo>
                  <a:lnTo>
                    <a:pt x="879" y="787"/>
                  </a:lnTo>
                  <a:lnTo>
                    <a:pt x="879" y="787"/>
                  </a:lnTo>
                  <a:lnTo>
                    <a:pt x="881" y="787"/>
                  </a:lnTo>
                  <a:lnTo>
                    <a:pt x="883" y="787"/>
                  </a:lnTo>
                  <a:lnTo>
                    <a:pt x="883" y="787"/>
                  </a:lnTo>
                  <a:lnTo>
                    <a:pt x="883" y="787"/>
                  </a:lnTo>
                  <a:lnTo>
                    <a:pt x="883" y="789"/>
                  </a:lnTo>
                  <a:lnTo>
                    <a:pt x="883" y="789"/>
                  </a:lnTo>
                  <a:lnTo>
                    <a:pt x="883" y="789"/>
                  </a:lnTo>
                  <a:lnTo>
                    <a:pt x="883" y="789"/>
                  </a:lnTo>
                  <a:lnTo>
                    <a:pt x="883" y="789"/>
                  </a:lnTo>
                  <a:lnTo>
                    <a:pt x="881" y="789"/>
                  </a:lnTo>
                  <a:lnTo>
                    <a:pt x="881" y="789"/>
                  </a:lnTo>
                  <a:lnTo>
                    <a:pt x="881" y="789"/>
                  </a:lnTo>
                  <a:lnTo>
                    <a:pt x="881" y="789"/>
                  </a:lnTo>
                  <a:lnTo>
                    <a:pt x="881" y="789"/>
                  </a:lnTo>
                  <a:lnTo>
                    <a:pt x="881" y="789"/>
                  </a:lnTo>
                  <a:lnTo>
                    <a:pt x="881" y="791"/>
                  </a:lnTo>
                  <a:lnTo>
                    <a:pt x="881" y="791"/>
                  </a:lnTo>
                  <a:lnTo>
                    <a:pt x="879" y="791"/>
                  </a:lnTo>
                  <a:lnTo>
                    <a:pt x="879" y="791"/>
                  </a:lnTo>
                  <a:lnTo>
                    <a:pt x="879" y="793"/>
                  </a:lnTo>
                  <a:lnTo>
                    <a:pt x="879" y="793"/>
                  </a:lnTo>
                  <a:lnTo>
                    <a:pt x="879" y="793"/>
                  </a:lnTo>
                  <a:lnTo>
                    <a:pt x="879" y="793"/>
                  </a:lnTo>
                  <a:lnTo>
                    <a:pt x="879" y="795"/>
                  </a:lnTo>
                  <a:lnTo>
                    <a:pt x="879" y="795"/>
                  </a:lnTo>
                  <a:lnTo>
                    <a:pt x="879" y="795"/>
                  </a:lnTo>
                  <a:lnTo>
                    <a:pt x="881" y="795"/>
                  </a:lnTo>
                  <a:lnTo>
                    <a:pt x="881" y="795"/>
                  </a:lnTo>
                  <a:lnTo>
                    <a:pt x="881" y="795"/>
                  </a:lnTo>
                  <a:lnTo>
                    <a:pt x="879" y="795"/>
                  </a:lnTo>
                  <a:lnTo>
                    <a:pt x="881" y="797"/>
                  </a:lnTo>
                  <a:lnTo>
                    <a:pt x="881" y="797"/>
                  </a:lnTo>
                  <a:lnTo>
                    <a:pt x="881" y="797"/>
                  </a:lnTo>
                  <a:lnTo>
                    <a:pt x="881" y="797"/>
                  </a:lnTo>
                  <a:lnTo>
                    <a:pt x="881" y="797"/>
                  </a:lnTo>
                  <a:lnTo>
                    <a:pt x="881" y="795"/>
                  </a:lnTo>
                  <a:lnTo>
                    <a:pt x="881" y="795"/>
                  </a:lnTo>
                  <a:lnTo>
                    <a:pt x="883" y="795"/>
                  </a:lnTo>
                  <a:lnTo>
                    <a:pt x="883" y="795"/>
                  </a:lnTo>
                  <a:lnTo>
                    <a:pt x="883" y="797"/>
                  </a:lnTo>
                  <a:lnTo>
                    <a:pt x="883" y="797"/>
                  </a:lnTo>
                  <a:lnTo>
                    <a:pt x="883" y="797"/>
                  </a:lnTo>
                  <a:lnTo>
                    <a:pt x="885" y="797"/>
                  </a:lnTo>
                  <a:lnTo>
                    <a:pt x="883" y="795"/>
                  </a:lnTo>
                  <a:lnTo>
                    <a:pt x="883" y="795"/>
                  </a:lnTo>
                  <a:lnTo>
                    <a:pt x="883" y="795"/>
                  </a:lnTo>
                  <a:lnTo>
                    <a:pt x="883" y="795"/>
                  </a:lnTo>
                  <a:lnTo>
                    <a:pt x="883" y="795"/>
                  </a:lnTo>
                  <a:lnTo>
                    <a:pt x="883" y="795"/>
                  </a:lnTo>
                  <a:lnTo>
                    <a:pt x="883" y="795"/>
                  </a:lnTo>
                  <a:lnTo>
                    <a:pt x="883" y="795"/>
                  </a:lnTo>
                  <a:lnTo>
                    <a:pt x="883" y="793"/>
                  </a:lnTo>
                  <a:lnTo>
                    <a:pt x="883" y="793"/>
                  </a:lnTo>
                  <a:lnTo>
                    <a:pt x="883" y="791"/>
                  </a:lnTo>
                  <a:lnTo>
                    <a:pt x="883" y="791"/>
                  </a:lnTo>
                  <a:lnTo>
                    <a:pt x="883" y="791"/>
                  </a:lnTo>
                  <a:lnTo>
                    <a:pt x="883" y="791"/>
                  </a:lnTo>
                  <a:lnTo>
                    <a:pt x="883" y="793"/>
                  </a:lnTo>
                  <a:lnTo>
                    <a:pt x="883" y="793"/>
                  </a:lnTo>
                  <a:lnTo>
                    <a:pt x="885" y="793"/>
                  </a:lnTo>
                  <a:lnTo>
                    <a:pt x="885" y="793"/>
                  </a:lnTo>
                  <a:lnTo>
                    <a:pt x="885" y="793"/>
                  </a:lnTo>
                  <a:lnTo>
                    <a:pt x="885" y="791"/>
                  </a:lnTo>
                  <a:lnTo>
                    <a:pt x="885" y="791"/>
                  </a:lnTo>
                  <a:lnTo>
                    <a:pt x="885" y="791"/>
                  </a:lnTo>
                  <a:lnTo>
                    <a:pt x="885" y="791"/>
                  </a:lnTo>
                  <a:lnTo>
                    <a:pt x="885" y="789"/>
                  </a:lnTo>
                  <a:lnTo>
                    <a:pt x="885" y="789"/>
                  </a:lnTo>
                  <a:lnTo>
                    <a:pt x="885" y="789"/>
                  </a:lnTo>
                  <a:lnTo>
                    <a:pt x="885" y="789"/>
                  </a:lnTo>
                  <a:lnTo>
                    <a:pt x="885" y="789"/>
                  </a:lnTo>
                  <a:lnTo>
                    <a:pt x="885" y="789"/>
                  </a:lnTo>
                  <a:lnTo>
                    <a:pt x="885" y="791"/>
                  </a:lnTo>
                  <a:lnTo>
                    <a:pt x="887" y="791"/>
                  </a:lnTo>
                  <a:lnTo>
                    <a:pt x="887" y="789"/>
                  </a:lnTo>
                  <a:lnTo>
                    <a:pt x="887" y="789"/>
                  </a:lnTo>
                  <a:lnTo>
                    <a:pt x="889" y="789"/>
                  </a:lnTo>
                  <a:lnTo>
                    <a:pt x="889" y="789"/>
                  </a:lnTo>
                  <a:lnTo>
                    <a:pt x="889" y="789"/>
                  </a:lnTo>
                  <a:lnTo>
                    <a:pt x="889" y="789"/>
                  </a:lnTo>
                  <a:lnTo>
                    <a:pt x="889" y="789"/>
                  </a:lnTo>
                  <a:lnTo>
                    <a:pt x="891" y="789"/>
                  </a:lnTo>
                  <a:lnTo>
                    <a:pt x="891" y="789"/>
                  </a:lnTo>
                  <a:lnTo>
                    <a:pt x="891" y="789"/>
                  </a:lnTo>
                  <a:lnTo>
                    <a:pt x="891" y="787"/>
                  </a:lnTo>
                  <a:lnTo>
                    <a:pt x="891" y="787"/>
                  </a:lnTo>
                  <a:lnTo>
                    <a:pt x="891" y="787"/>
                  </a:lnTo>
                  <a:lnTo>
                    <a:pt x="893" y="787"/>
                  </a:lnTo>
                  <a:lnTo>
                    <a:pt x="893" y="787"/>
                  </a:lnTo>
                  <a:lnTo>
                    <a:pt x="893" y="787"/>
                  </a:lnTo>
                  <a:lnTo>
                    <a:pt x="893" y="785"/>
                  </a:lnTo>
                  <a:lnTo>
                    <a:pt x="893" y="785"/>
                  </a:lnTo>
                  <a:lnTo>
                    <a:pt x="891" y="785"/>
                  </a:lnTo>
                  <a:lnTo>
                    <a:pt x="891" y="787"/>
                  </a:lnTo>
                  <a:lnTo>
                    <a:pt x="889" y="787"/>
                  </a:lnTo>
                  <a:lnTo>
                    <a:pt x="889" y="789"/>
                  </a:lnTo>
                  <a:lnTo>
                    <a:pt x="887" y="789"/>
                  </a:lnTo>
                  <a:lnTo>
                    <a:pt x="887" y="789"/>
                  </a:lnTo>
                  <a:lnTo>
                    <a:pt x="887" y="787"/>
                  </a:lnTo>
                  <a:lnTo>
                    <a:pt x="887" y="787"/>
                  </a:lnTo>
                  <a:lnTo>
                    <a:pt x="887" y="787"/>
                  </a:lnTo>
                  <a:lnTo>
                    <a:pt x="885" y="787"/>
                  </a:lnTo>
                  <a:lnTo>
                    <a:pt x="885" y="787"/>
                  </a:lnTo>
                  <a:lnTo>
                    <a:pt x="885" y="787"/>
                  </a:lnTo>
                  <a:lnTo>
                    <a:pt x="885" y="787"/>
                  </a:lnTo>
                  <a:lnTo>
                    <a:pt x="885" y="787"/>
                  </a:lnTo>
                  <a:lnTo>
                    <a:pt x="885" y="785"/>
                  </a:lnTo>
                  <a:lnTo>
                    <a:pt x="885" y="785"/>
                  </a:lnTo>
                  <a:lnTo>
                    <a:pt x="885" y="785"/>
                  </a:lnTo>
                  <a:lnTo>
                    <a:pt x="887" y="785"/>
                  </a:lnTo>
                  <a:lnTo>
                    <a:pt x="887" y="785"/>
                  </a:lnTo>
                  <a:lnTo>
                    <a:pt x="887" y="785"/>
                  </a:lnTo>
                  <a:lnTo>
                    <a:pt x="889" y="785"/>
                  </a:lnTo>
                  <a:lnTo>
                    <a:pt x="889" y="785"/>
                  </a:lnTo>
                  <a:lnTo>
                    <a:pt x="889" y="785"/>
                  </a:lnTo>
                  <a:lnTo>
                    <a:pt x="891" y="783"/>
                  </a:lnTo>
                  <a:lnTo>
                    <a:pt x="891" y="783"/>
                  </a:lnTo>
                  <a:lnTo>
                    <a:pt x="891" y="783"/>
                  </a:lnTo>
                  <a:lnTo>
                    <a:pt x="889" y="783"/>
                  </a:lnTo>
                  <a:lnTo>
                    <a:pt x="889" y="781"/>
                  </a:lnTo>
                  <a:lnTo>
                    <a:pt x="887" y="781"/>
                  </a:lnTo>
                  <a:lnTo>
                    <a:pt x="887" y="781"/>
                  </a:lnTo>
                  <a:lnTo>
                    <a:pt x="887" y="781"/>
                  </a:lnTo>
                  <a:lnTo>
                    <a:pt x="887" y="781"/>
                  </a:lnTo>
                  <a:lnTo>
                    <a:pt x="885" y="783"/>
                  </a:lnTo>
                  <a:lnTo>
                    <a:pt x="885" y="781"/>
                  </a:lnTo>
                  <a:lnTo>
                    <a:pt x="885" y="781"/>
                  </a:lnTo>
                  <a:lnTo>
                    <a:pt x="885" y="781"/>
                  </a:lnTo>
                  <a:lnTo>
                    <a:pt x="885" y="781"/>
                  </a:lnTo>
                  <a:lnTo>
                    <a:pt x="885" y="781"/>
                  </a:lnTo>
                  <a:lnTo>
                    <a:pt x="885" y="781"/>
                  </a:lnTo>
                  <a:lnTo>
                    <a:pt x="885" y="779"/>
                  </a:lnTo>
                  <a:lnTo>
                    <a:pt x="883" y="779"/>
                  </a:lnTo>
                  <a:lnTo>
                    <a:pt x="881" y="781"/>
                  </a:lnTo>
                  <a:lnTo>
                    <a:pt x="881" y="781"/>
                  </a:lnTo>
                  <a:lnTo>
                    <a:pt x="881" y="783"/>
                  </a:lnTo>
                  <a:lnTo>
                    <a:pt x="881" y="783"/>
                  </a:lnTo>
                  <a:lnTo>
                    <a:pt x="881" y="783"/>
                  </a:lnTo>
                  <a:lnTo>
                    <a:pt x="881" y="783"/>
                  </a:lnTo>
                  <a:lnTo>
                    <a:pt x="881" y="785"/>
                  </a:lnTo>
                  <a:lnTo>
                    <a:pt x="879" y="783"/>
                  </a:lnTo>
                  <a:lnTo>
                    <a:pt x="879" y="783"/>
                  </a:lnTo>
                  <a:lnTo>
                    <a:pt x="879" y="781"/>
                  </a:lnTo>
                  <a:lnTo>
                    <a:pt x="879" y="781"/>
                  </a:lnTo>
                  <a:lnTo>
                    <a:pt x="881" y="781"/>
                  </a:lnTo>
                  <a:lnTo>
                    <a:pt x="881" y="779"/>
                  </a:lnTo>
                  <a:lnTo>
                    <a:pt x="883" y="779"/>
                  </a:lnTo>
                  <a:lnTo>
                    <a:pt x="883" y="779"/>
                  </a:lnTo>
                  <a:lnTo>
                    <a:pt x="883" y="779"/>
                  </a:lnTo>
                  <a:lnTo>
                    <a:pt x="883" y="777"/>
                  </a:lnTo>
                  <a:lnTo>
                    <a:pt x="885" y="777"/>
                  </a:lnTo>
                  <a:lnTo>
                    <a:pt x="885" y="777"/>
                  </a:lnTo>
                  <a:lnTo>
                    <a:pt x="885" y="775"/>
                  </a:lnTo>
                  <a:lnTo>
                    <a:pt x="885" y="775"/>
                  </a:lnTo>
                  <a:lnTo>
                    <a:pt x="885" y="775"/>
                  </a:lnTo>
                  <a:lnTo>
                    <a:pt x="887" y="773"/>
                  </a:lnTo>
                  <a:lnTo>
                    <a:pt x="889" y="773"/>
                  </a:lnTo>
                  <a:lnTo>
                    <a:pt x="889" y="773"/>
                  </a:lnTo>
                  <a:lnTo>
                    <a:pt x="889" y="773"/>
                  </a:lnTo>
                  <a:lnTo>
                    <a:pt x="889" y="773"/>
                  </a:lnTo>
                  <a:lnTo>
                    <a:pt x="891" y="775"/>
                  </a:lnTo>
                  <a:lnTo>
                    <a:pt x="891" y="775"/>
                  </a:lnTo>
                  <a:lnTo>
                    <a:pt x="891" y="775"/>
                  </a:lnTo>
                  <a:lnTo>
                    <a:pt x="893" y="775"/>
                  </a:lnTo>
                  <a:lnTo>
                    <a:pt x="893" y="775"/>
                  </a:lnTo>
                  <a:lnTo>
                    <a:pt x="895" y="773"/>
                  </a:lnTo>
                  <a:lnTo>
                    <a:pt x="893" y="773"/>
                  </a:lnTo>
                  <a:lnTo>
                    <a:pt x="893" y="773"/>
                  </a:lnTo>
                  <a:lnTo>
                    <a:pt x="893" y="773"/>
                  </a:lnTo>
                  <a:lnTo>
                    <a:pt x="893" y="771"/>
                  </a:lnTo>
                  <a:lnTo>
                    <a:pt x="893" y="771"/>
                  </a:lnTo>
                  <a:lnTo>
                    <a:pt x="895" y="771"/>
                  </a:lnTo>
                  <a:lnTo>
                    <a:pt x="895" y="771"/>
                  </a:lnTo>
                  <a:lnTo>
                    <a:pt x="899" y="773"/>
                  </a:lnTo>
                  <a:lnTo>
                    <a:pt x="901" y="775"/>
                  </a:lnTo>
                  <a:lnTo>
                    <a:pt x="901" y="775"/>
                  </a:lnTo>
                  <a:lnTo>
                    <a:pt x="901" y="773"/>
                  </a:lnTo>
                  <a:lnTo>
                    <a:pt x="901" y="773"/>
                  </a:lnTo>
                  <a:lnTo>
                    <a:pt x="903" y="773"/>
                  </a:lnTo>
                  <a:lnTo>
                    <a:pt x="903" y="773"/>
                  </a:lnTo>
                  <a:lnTo>
                    <a:pt x="903" y="771"/>
                  </a:lnTo>
                  <a:lnTo>
                    <a:pt x="901" y="771"/>
                  </a:lnTo>
                  <a:lnTo>
                    <a:pt x="901" y="771"/>
                  </a:lnTo>
                  <a:lnTo>
                    <a:pt x="901" y="771"/>
                  </a:lnTo>
                  <a:lnTo>
                    <a:pt x="901" y="768"/>
                  </a:lnTo>
                  <a:lnTo>
                    <a:pt x="901" y="768"/>
                  </a:lnTo>
                  <a:lnTo>
                    <a:pt x="901" y="768"/>
                  </a:lnTo>
                  <a:lnTo>
                    <a:pt x="899" y="768"/>
                  </a:lnTo>
                  <a:lnTo>
                    <a:pt x="895" y="771"/>
                  </a:lnTo>
                  <a:lnTo>
                    <a:pt x="893" y="771"/>
                  </a:lnTo>
                  <a:lnTo>
                    <a:pt x="895" y="768"/>
                  </a:lnTo>
                  <a:lnTo>
                    <a:pt x="895" y="768"/>
                  </a:lnTo>
                  <a:lnTo>
                    <a:pt x="895" y="768"/>
                  </a:lnTo>
                  <a:lnTo>
                    <a:pt x="895" y="768"/>
                  </a:lnTo>
                  <a:lnTo>
                    <a:pt x="897" y="768"/>
                  </a:lnTo>
                  <a:lnTo>
                    <a:pt x="897" y="768"/>
                  </a:lnTo>
                  <a:lnTo>
                    <a:pt x="897" y="768"/>
                  </a:lnTo>
                  <a:lnTo>
                    <a:pt x="897" y="766"/>
                  </a:lnTo>
                  <a:lnTo>
                    <a:pt x="897" y="766"/>
                  </a:lnTo>
                  <a:lnTo>
                    <a:pt x="897" y="766"/>
                  </a:lnTo>
                  <a:lnTo>
                    <a:pt x="899" y="766"/>
                  </a:lnTo>
                  <a:lnTo>
                    <a:pt x="899" y="766"/>
                  </a:lnTo>
                  <a:lnTo>
                    <a:pt x="899" y="764"/>
                  </a:lnTo>
                  <a:lnTo>
                    <a:pt x="901" y="764"/>
                  </a:lnTo>
                  <a:lnTo>
                    <a:pt x="901" y="764"/>
                  </a:lnTo>
                  <a:lnTo>
                    <a:pt x="901" y="764"/>
                  </a:lnTo>
                  <a:lnTo>
                    <a:pt x="903" y="764"/>
                  </a:lnTo>
                  <a:lnTo>
                    <a:pt x="903" y="764"/>
                  </a:lnTo>
                  <a:lnTo>
                    <a:pt x="903" y="762"/>
                  </a:lnTo>
                  <a:lnTo>
                    <a:pt x="905" y="762"/>
                  </a:lnTo>
                  <a:lnTo>
                    <a:pt x="905" y="764"/>
                  </a:lnTo>
                  <a:lnTo>
                    <a:pt x="905" y="766"/>
                  </a:lnTo>
                  <a:lnTo>
                    <a:pt x="907" y="766"/>
                  </a:lnTo>
                  <a:lnTo>
                    <a:pt x="907" y="766"/>
                  </a:lnTo>
                  <a:lnTo>
                    <a:pt x="909" y="766"/>
                  </a:lnTo>
                  <a:lnTo>
                    <a:pt x="909" y="766"/>
                  </a:lnTo>
                  <a:lnTo>
                    <a:pt x="909" y="766"/>
                  </a:lnTo>
                  <a:lnTo>
                    <a:pt x="911" y="766"/>
                  </a:lnTo>
                  <a:lnTo>
                    <a:pt x="913" y="766"/>
                  </a:lnTo>
                  <a:lnTo>
                    <a:pt x="913" y="766"/>
                  </a:lnTo>
                  <a:lnTo>
                    <a:pt x="913" y="766"/>
                  </a:lnTo>
                  <a:lnTo>
                    <a:pt x="913" y="766"/>
                  </a:lnTo>
                  <a:lnTo>
                    <a:pt x="913" y="764"/>
                  </a:lnTo>
                  <a:lnTo>
                    <a:pt x="913" y="764"/>
                  </a:lnTo>
                  <a:lnTo>
                    <a:pt x="913" y="764"/>
                  </a:lnTo>
                  <a:lnTo>
                    <a:pt x="913" y="764"/>
                  </a:lnTo>
                  <a:lnTo>
                    <a:pt x="911" y="764"/>
                  </a:lnTo>
                  <a:lnTo>
                    <a:pt x="911" y="762"/>
                  </a:lnTo>
                  <a:lnTo>
                    <a:pt x="911" y="762"/>
                  </a:lnTo>
                  <a:lnTo>
                    <a:pt x="909" y="762"/>
                  </a:lnTo>
                  <a:lnTo>
                    <a:pt x="909" y="762"/>
                  </a:lnTo>
                  <a:lnTo>
                    <a:pt x="909" y="762"/>
                  </a:lnTo>
                  <a:lnTo>
                    <a:pt x="909" y="762"/>
                  </a:lnTo>
                  <a:lnTo>
                    <a:pt x="909" y="760"/>
                  </a:lnTo>
                  <a:lnTo>
                    <a:pt x="909" y="760"/>
                  </a:lnTo>
                  <a:lnTo>
                    <a:pt x="911" y="762"/>
                  </a:lnTo>
                  <a:lnTo>
                    <a:pt x="911" y="760"/>
                  </a:lnTo>
                  <a:lnTo>
                    <a:pt x="911" y="760"/>
                  </a:lnTo>
                  <a:lnTo>
                    <a:pt x="913" y="758"/>
                  </a:lnTo>
                  <a:lnTo>
                    <a:pt x="913" y="760"/>
                  </a:lnTo>
                  <a:lnTo>
                    <a:pt x="913" y="760"/>
                  </a:lnTo>
                  <a:lnTo>
                    <a:pt x="913" y="760"/>
                  </a:lnTo>
                  <a:lnTo>
                    <a:pt x="913" y="760"/>
                  </a:lnTo>
                  <a:lnTo>
                    <a:pt x="916" y="758"/>
                  </a:lnTo>
                  <a:lnTo>
                    <a:pt x="916" y="758"/>
                  </a:lnTo>
                  <a:lnTo>
                    <a:pt x="916" y="758"/>
                  </a:lnTo>
                  <a:lnTo>
                    <a:pt x="916" y="758"/>
                  </a:lnTo>
                  <a:lnTo>
                    <a:pt x="916" y="758"/>
                  </a:lnTo>
                  <a:lnTo>
                    <a:pt x="916" y="760"/>
                  </a:lnTo>
                  <a:lnTo>
                    <a:pt x="916" y="758"/>
                  </a:lnTo>
                  <a:lnTo>
                    <a:pt x="916" y="758"/>
                  </a:lnTo>
                  <a:lnTo>
                    <a:pt x="916" y="758"/>
                  </a:lnTo>
                  <a:lnTo>
                    <a:pt x="916" y="756"/>
                  </a:lnTo>
                  <a:lnTo>
                    <a:pt x="916" y="756"/>
                  </a:lnTo>
                  <a:lnTo>
                    <a:pt x="913" y="756"/>
                  </a:lnTo>
                  <a:lnTo>
                    <a:pt x="913" y="756"/>
                  </a:lnTo>
                  <a:lnTo>
                    <a:pt x="913" y="756"/>
                  </a:lnTo>
                  <a:lnTo>
                    <a:pt x="913" y="756"/>
                  </a:lnTo>
                  <a:lnTo>
                    <a:pt x="913" y="754"/>
                  </a:lnTo>
                  <a:lnTo>
                    <a:pt x="916" y="754"/>
                  </a:lnTo>
                  <a:lnTo>
                    <a:pt x="916" y="754"/>
                  </a:lnTo>
                  <a:lnTo>
                    <a:pt x="916" y="754"/>
                  </a:lnTo>
                  <a:lnTo>
                    <a:pt x="918" y="754"/>
                  </a:lnTo>
                  <a:lnTo>
                    <a:pt x="918" y="756"/>
                  </a:lnTo>
                  <a:lnTo>
                    <a:pt x="920" y="758"/>
                  </a:lnTo>
                  <a:lnTo>
                    <a:pt x="920" y="758"/>
                  </a:lnTo>
                  <a:lnTo>
                    <a:pt x="922" y="758"/>
                  </a:lnTo>
                  <a:lnTo>
                    <a:pt x="922" y="758"/>
                  </a:lnTo>
                  <a:lnTo>
                    <a:pt x="922" y="758"/>
                  </a:lnTo>
                  <a:lnTo>
                    <a:pt x="924" y="756"/>
                  </a:lnTo>
                  <a:lnTo>
                    <a:pt x="922" y="756"/>
                  </a:lnTo>
                  <a:lnTo>
                    <a:pt x="922" y="756"/>
                  </a:lnTo>
                  <a:lnTo>
                    <a:pt x="922" y="756"/>
                  </a:lnTo>
                  <a:lnTo>
                    <a:pt x="922" y="754"/>
                  </a:lnTo>
                  <a:lnTo>
                    <a:pt x="924" y="756"/>
                  </a:lnTo>
                  <a:lnTo>
                    <a:pt x="924" y="756"/>
                  </a:lnTo>
                  <a:lnTo>
                    <a:pt x="926" y="756"/>
                  </a:lnTo>
                  <a:lnTo>
                    <a:pt x="926" y="754"/>
                  </a:lnTo>
                  <a:lnTo>
                    <a:pt x="926" y="754"/>
                  </a:lnTo>
                  <a:lnTo>
                    <a:pt x="926" y="754"/>
                  </a:lnTo>
                  <a:lnTo>
                    <a:pt x="928" y="752"/>
                  </a:lnTo>
                  <a:lnTo>
                    <a:pt x="928" y="752"/>
                  </a:lnTo>
                  <a:lnTo>
                    <a:pt x="930" y="752"/>
                  </a:lnTo>
                  <a:lnTo>
                    <a:pt x="930" y="752"/>
                  </a:lnTo>
                  <a:lnTo>
                    <a:pt x="928" y="752"/>
                  </a:lnTo>
                  <a:lnTo>
                    <a:pt x="928" y="752"/>
                  </a:lnTo>
                  <a:lnTo>
                    <a:pt x="930" y="750"/>
                  </a:lnTo>
                  <a:lnTo>
                    <a:pt x="930" y="750"/>
                  </a:lnTo>
                  <a:lnTo>
                    <a:pt x="928" y="750"/>
                  </a:lnTo>
                  <a:lnTo>
                    <a:pt x="928" y="748"/>
                  </a:lnTo>
                  <a:lnTo>
                    <a:pt x="930" y="748"/>
                  </a:lnTo>
                  <a:lnTo>
                    <a:pt x="930" y="750"/>
                  </a:lnTo>
                  <a:lnTo>
                    <a:pt x="930" y="750"/>
                  </a:lnTo>
                  <a:lnTo>
                    <a:pt x="930" y="750"/>
                  </a:lnTo>
                  <a:lnTo>
                    <a:pt x="932" y="752"/>
                  </a:lnTo>
                  <a:lnTo>
                    <a:pt x="932" y="754"/>
                  </a:lnTo>
                  <a:lnTo>
                    <a:pt x="932" y="752"/>
                  </a:lnTo>
                  <a:lnTo>
                    <a:pt x="934" y="752"/>
                  </a:lnTo>
                  <a:lnTo>
                    <a:pt x="934" y="750"/>
                  </a:lnTo>
                  <a:lnTo>
                    <a:pt x="934" y="750"/>
                  </a:lnTo>
                  <a:lnTo>
                    <a:pt x="934" y="750"/>
                  </a:lnTo>
                  <a:lnTo>
                    <a:pt x="934" y="750"/>
                  </a:lnTo>
                  <a:lnTo>
                    <a:pt x="934" y="748"/>
                  </a:lnTo>
                  <a:lnTo>
                    <a:pt x="934" y="748"/>
                  </a:lnTo>
                  <a:lnTo>
                    <a:pt x="934" y="748"/>
                  </a:lnTo>
                  <a:lnTo>
                    <a:pt x="934" y="748"/>
                  </a:lnTo>
                  <a:lnTo>
                    <a:pt x="934" y="748"/>
                  </a:lnTo>
                  <a:lnTo>
                    <a:pt x="934" y="748"/>
                  </a:lnTo>
                  <a:lnTo>
                    <a:pt x="934" y="746"/>
                  </a:lnTo>
                  <a:lnTo>
                    <a:pt x="934" y="746"/>
                  </a:lnTo>
                  <a:lnTo>
                    <a:pt x="934" y="746"/>
                  </a:lnTo>
                  <a:lnTo>
                    <a:pt x="934" y="746"/>
                  </a:lnTo>
                  <a:lnTo>
                    <a:pt x="934" y="746"/>
                  </a:lnTo>
                  <a:lnTo>
                    <a:pt x="934" y="746"/>
                  </a:lnTo>
                  <a:lnTo>
                    <a:pt x="936" y="746"/>
                  </a:lnTo>
                  <a:lnTo>
                    <a:pt x="936" y="746"/>
                  </a:lnTo>
                  <a:lnTo>
                    <a:pt x="936" y="746"/>
                  </a:lnTo>
                  <a:lnTo>
                    <a:pt x="936" y="746"/>
                  </a:lnTo>
                  <a:lnTo>
                    <a:pt x="936" y="748"/>
                  </a:lnTo>
                  <a:lnTo>
                    <a:pt x="936" y="748"/>
                  </a:lnTo>
                  <a:lnTo>
                    <a:pt x="936" y="748"/>
                  </a:lnTo>
                  <a:lnTo>
                    <a:pt x="936" y="748"/>
                  </a:lnTo>
                  <a:lnTo>
                    <a:pt x="938" y="748"/>
                  </a:lnTo>
                  <a:lnTo>
                    <a:pt x="940" y="750"/>
                  </a:lnTo>
                  <a:lnTo>
                    <a:pt x="940" y="750"/>
                  </a:lnTo>
                  <a:lnTo>
                    <a:pt x="940" y="748"/>
                  </a:lnTo>
                  <a:lnTo>
                    <a:pt x="938" y="746"/>
                  </a:lnTo>
                  <a:lnTo>
                    <a:pt x="938" y="746"/>
                  </a:lnTo>
                  <a:lnTo>
                    <a:pt x="938" y="744"/>
                  </a:lnTo>
                  <a:lnTo>
                    <a:pt x="938" y="744"/>
                  </a:lnTo>
                  <a:lnTo>
                    <a:pt x="940" y="746"/>
                  </a:lnTo>
                  <a:lnTo>
                    <a:pt x="940" y="746"/>
                  </a:lnTo>
                  <a:lnTo>
                    <a:pt x="940" y="746"/>
                  </a:lnTo>
                  <a:lnTo>
                    <a:pt x="940" y="746"/>
                  </a:lnTo>
                  <a:lnTo>
                    <a:pt x="940" y="746"/>
                  </a:lnTo>
                  <a:lnTo>
                    <a:pt x="942" y="746"/>
                  </a:lnTo>
                  <a:lnTo>
                    <a:pt x="942" y="746"/>
                  </a:lnTo>
                  <a:lnTo>
                    <a:pt x="942" y="744"/>
                  </a:lnTo>
                  <a:lnTo>
                    <a:pt x="942" y="744"/>
                  </a:lnTo>
                  <a:lnTo>
                    <a:pt x="942" y="744"/>
                  </a:lnTo>
                  <a:lnTo>
                    <a:pt x="942" y="744"/>
                  </a:lnTo>
                  <a:lnTo>
                    <a:pt x="942" y="744"/>
                  </a:lnTo>
                  <a:lnTo>
                    <a:pt x="942" y="744"/>
                  </a:lnTo>
                  <a:lnTo>
                    <a:pt x="942" y="744"/>
                  </a:lnTo>
                  <a:lnTo>
                    <a:pt x="942" y="742"/>
                  </a:lnTo>
                  <a:lnTo>
                    <a:pt x="942" y="742"/>
                  </a:lnTo>
                  <a:lnTo>
                    <a:pt x="946" y="742"/>
                  </a:lnTo>
                  <a:lnTo>
                    <a:pt x="946" y="740"/>
                  </a:lnTo>
                  <a:lnTo>
                    <a:pt x="946" y="740"/>
                  </a:lnTo>
                  <a:lnTo>
                    <a:pt x="946" y="740"/>
                  </a:lnTo>
                  <a:lnTo>
                    <a:pt x="946" y="740"/>
                  </a:lnTo>
                  <a:lnTo>
                    <a:pt x="946" y="738"/>
                  </a:lnTo>
                  <a:lnTo>
                    <a:pt x="946" y="738"/>
                  </a:lnTo>
                  <a:lnTo>
                    <a:pt x="946" y="738"/>
                  </a:lnTo>
                  <a:lnTo>
                    <a:pt x="946" y="738"/>
                  </a:lnTo>
                  <a:lnTo>
                    <a:pt x="944" y="738"/>
                  </a:lnTo>
                  <a:lnTo>
                    <a:pt x="944" y="738"/>
                  </a:lnTo>
                  <a:lnTo>
                    <a:pt x="944" y="736"/>
                  </a:lnTo>
                  <a:lnTo>
                    <a:pt x="944" y="736"/>
                  </a:lnTo>
                  <a:lnTo>
                    <a:pt x="944" y="736"/>
                  </a:lnTo>
                  <a:lnTo>
                    <a:pt x="946" y="736"/>
                  </a:lnTo>
                  <a:lnTo>
                    <a:pt x="946" y="736"/>
                  </a:lnTo>
                  <a:lnTo>
                    <a:pt x="946" y="734"/>
                  </a:lnTo>
                  <a:lnTo>
                    <a:pt x="946" y="734"/>
                  </a:lnTo>
                  <a:lnTo>
                    <a:pt x="946" y="734"/>
                  </a:lnTo>
                  <a:lnTo>
                    <a:pt x="946" y="734"/>
                  </a:lnTo>
                  <a:lnTo>
                    <a:pt x="946" y="734"/>
                  </a:lnTo>
                  <a:lnTo>
                    <a:pt x="946" y="734"/>
                  </a:lnTo>
                  <a:lnTo>
                    <a:pt x="946" y="734"/>
                  </a:lnTo>
                  <a:lnTo>
                    <a:pt x="946" y="732"/>
                  </a:lnTo>
                  <a:lnTo>
                    <a:pt x="946" y="732"/>
                  </a:lnTo>
                  <a:lnTo>
                    <a:pt x="946" y="732"/>
                  </a:lnTo>
                  <a:lnTo>
                    <a:pt x="942" y="734"/>
                  </a:lnTo>
                  <a:lnTo>
                    <a:pt x="940" y="734"/>
                  </a:lnTo>
                  <a:lnTo>
                    <a:pt x="940" y="732"/>
                  </a:lnTo>
                  <a:lnTo>
                    <a:pt x="940" y="732"/>
                  </a:lnTo>
                  <a:lnTo>
                    <a:pt x="942" y="732"/>
                  </a:lnTo>
                  <a:lnTo>
                    <a:pt x="942" y="732"/>
                  </a:lnTo>
                  <a:lnTo>
                    <a:pt x="942" y="732"/>
                  </a:lnTo>
                  <a:lnTo>
                    <a:pt x="946" y="728"/>
                  </a:lnTo>
                  <a:lnTo>
                    <a:pt x="948" y="725"/>
                  </a:lnTo>
                  <a:lnTo>
                    <a:pt x="948" y="725"/>
                  </a:lnTo>
                  <a:lnTo>
                    <a:pt x="950" y="725"/>
                  </a:lnTo>
                  <a:lnTo>
                    <a:pt x="950" y="725"/>
                  </a:lnTo>
                  <a:lnTo>
                    <a:pt x="950" y="725"/>
                  </a:lnTo>
                  <a:lnTo>
                    <a:pt x="950" y="723"/>
                  </a:lnTo>
                  <a:lnTo>
                    <a:pt x="950" y="723"/>
                  </a:lnTo>
                  <a:lnTo>
                    <a:pt x="952" y="723"/>
                  </a:lnTo>
                  <a:lnTo>
                    <a:pt x="952" y="725"/>
                  </a:lnTo>
                  <a:lnTo>
                    <a:pt x="954" y="725"/>
                  </a:lnTo>
                  <a:lnTo>
                    <a:pt x="956" y="725"/>
                  </a:lnTo>
                  <a:lnTo>
                    <a:pt x="956" y="725"/>
                  </a:lnTo>
                  <a:lnTo>
                    <a:pt x="954" y="723"/>
                  </a:lnTo>
                  <a:lnTo>
                    <a:pt x="954" y="723"/>
                  </a:lnTo>
                  <a:lnTo>
                    <a:pt x="954" y="721"/>
                  </a:lnTo>
                  <a:lnTo>
                    <a:pt x="954" y="721"/>
                  </a:lnTo>
                  <a:lnTo>
                    <a:pt x="954" y="721"/>
                  </a:lnTo>
                  <a:lnTo>
                    <a:pt x="954" y="721"/>
                  </a:lnTo>
                  <a:lnTo>
                    <a:pt x="954" y="721"/>
                  </a:lnTo>
                  <a:lnTo>
                    <a:pt x="956" y="721"/>
                  </a:lnTo>
                  <a:lnTo>
                    <a:pt x="956" y="721"/>
                  </a:lnTo>
                  <a:lnTo>
                    <a:pt x="956" y="719"/>
                  </a:lnTo>
                  <a:lnTo>
                    <a:pt x="956" y="719"/>
                  </a:lnTo>
                  <a:lnTo>
                    <a:pt x="956" y="719"/>
                  </a:lnTo>
                  <a:lnTo>
                    <a:pt x="956" y="719"/>
                  </a:lnTo>
                  <a:lnTo>
                    <a:pt x="959" y="721"/>
                  </a:lnTo>
                  <a:lnTo>
                    <a:pt x="959" y="721"/>
                  </a:lnTo>
                  <a:lnTo>
                    <a:pt x="959" y="719"/>
                  </a:lnTo>
                  <a:lnTo>
                    <a:pt x="959" y="719"/>
                  </a:lnTo>
                  <a:lnTo>
                    <a:pt x="961" y="719"/>
                  </a:lnTo>
                  <a:lnTo>
                    <a:pt x="961" y="719"/>
                  </a:lnTo>
                  <a:lnTo>
                    <a:pt x="961" y="719"/>
                  </a:lnTo>
                  <a:lnTo>
                    <a:pt x="961" y="719"/>
                  </a:lnTo>
                  <a:lnTo>
                    <a:pt x="963" y="719"/>
                  </a:lnTo>
                  <a:lnTo>
                    <a:pt x="963" y="719"/>
                  </a:lnTo>
                  <a:lnTo>
                    <a:pt x="963" y="719"/>
                  </a:lnTo>
                  <a:lnTo>
                    <a:pt x="963" y="721"/>
                  </a:lnTo>
                  <a:lnTo>
                    <a:pt x="963" y="721"/>
                  </a:lnTo>
                  <a:lnTo>
                    <a:pt x="965" y="719"/>
                  </a:lnTo>
                  <a:lnTo>
                    <a:pt x="965" y="719"/>
                  </a:lnTo>
                  <a:lnTo>
                    <a:pt x="965" y="719"/>
                  </a:lnTo>
                  <a:lnTo>
                    <a:pt x="965" y="717"/>
                  </a:lnTo>
                  <a:lnTo>
                    <a:pt x="965" y="717"/>
                  </a:lnTo>
                  <a:lnTo>
                    <a:pt x="965" y="717"/>
                  </a:lnTo>
                  <a:lnTo>
                    <a:pt x="965" y="717"/>
                  </a:lnTo>
                  <a:lnTo>
                    <a:pt x="965" y="717"/>
                  </a:lnTo>
                  <a:lnTo>
                    <a:pt x="965" y="717"/>
                  </a:lnTo>
                  <a:lnTo>
                    <a:pt x="963" y="715"/>
                  </a:lnTo>
                  <a:lnTo>
                    <a:pt x="963" y="715"/>
                  </a:lnTo>
                  <a:lnTo>
                    <a:pt x="963" y="715"/>
                  </a:lnTo>
                  <a:lnTo>
                    <a:pt x="965" y="715"/>
                  </a:lnTo>
                  <a:lnTo>
                    <a:pt x="967" y="715"/>
                  </a:lnTo>
                  <a:lnTo>
                    <a:pt x="969" y="713"/>
                  </a:lnTo>
                  <a:lnTo>
                    <a:pt x="969" y="713"/>
                  </a:lnTo>
                  <a:lnTo>
                    <a:pt x="967" y="711"/>
                  </a:lnTo>
                  <a:lnTo>
                    <a:pt x="967" y="711"/>
                  </a:lnTo>
                  <a:lnTo>
                    <a:pt x="967" y="711"/>
                  </a:lnTo>
                  <a:lnTo>
                    <a:pt x="967" y="709"/>
                  </a:lnTo>
                  <a:lnTo>
                    <a:pt x="967" y="709"/>
                  </a:lnTo>
                  <a:lnTo>
                    <a:pt x="969" y="707"/>
                  </a:lnTo>
                  <a:lnTo>
                    <a:pt x="969" y="707"/>
                  </a:lnTo>
                  <a:lnTo>
                    <a:pt x="969" y="707"/>
                  </a:lnTo>
                  <a:lnTo>
                    <a:pt x="971" y="709"/>
                  </a:lnTo>
                  <a:lnTo>
                    <a:pt x="971" y="709"/>
                  </a:lnTo>
                  <a:lnTo>
                    <a:pt x="971" y="709"/>
                  </a:lnTo>
                  <a:lnTo>
                    <a:pt x="973" y="711"/>
                  </a:lnTo>
                  <a:lnTo>
                    <a:pt x="973" y="711"/>
                  </a:lnTo>
                  <a:lnTo>
                    <a:pt x="973" y="711"/>
                  </a:lnTo>
                  <a:lnTo>
                    <a:pt x="975" y="711"/>
                  </a:lnTo>
                  <a:lnTo>
                    <a:pt x="975" y="711"/>
                  </a:lnTo>
                  <a:lnTo>
                    <a:pt x="975" y="711"/>
                  </a:lnTo>
                  <a:lnTo>
                    <a:pt x="975" y="711"/>
                  </a:lnTo>
                  <a:lnTo>
                    <a:pt x="977" y="711"/>
                  </a:lnTo>
                  <a:lnTo>
                    <a:pt x="977" y="709"/>
                  </a:lnTo>
                  <a:lnTo>
                    <a:pt x="977" y="709"/>
                  </a:lnTo>
                  <a:lnTo>
                    <a:pt x="975" y="707"/>
                  </a:lnTo>
                  <a:lnTo>
                    <a:pt x="975" y="707"/>
                  </a:lnTo>
                  <a:lnTo>
                    <a:pt x="975" y="707"/>
                  </a:lnTo>
                  <a:lnTo>
                    <a:pt x="975" y="707"/>
                  </a:lnTo>
                  <a:lnTo>
                    <a:pt x="977" y="707"/>
                  </a:lnTo>
                  <a:lnTo>
                    <a:pt x="975" y="707"/>
                  </a:lnTo>
                  <a:lnTo>
                    <a:pt x="975" y="705"/>
                  </a:lnTo>
                  <a:lnTo>
                    <a:pt x="975" y="705"/>
                  </a:lnTo>
                  <a:lnTo>
                    <a:pt x="977" y="705"/>
                  </a:lnTo>
                  <a:lnTo>
                    <a:pt x="977" y="705"/>
                  </a:lnTo>
                  <a:lnTo>
                    <a:pt x="979" y="705"/>
                  </a:lnTo>
                  <a:lnTo>
                    <a:pt x="979" y="705"/>
                  </a:lnTo>
                  <a:lnTo>
                    <a:pt x="979" y="705"/>
                  </a:lnTo>
                  <a:lnTo>
                    <a:pt x="979" y="705"/>
                  </a:lnTo>
                  <a:lnTo>
                    <a:pt x="977" y="703"/>
                  </a:lnTo>
                  <a:lnTo>
                    <a:pt x="981" y="703"/>
                  </a:lnTo>
                  <a:lnTo>
                    <a:pt x="983" y="703"/>
                  </a:lnTo>
                  <a:lnTo>
                    <a:pt x="983" y="703"/>
                  </a:lnTo>
                  <a:lnTo>
                    <a:pt x="983" y="701"/>
                  </a:lnTo>
                  <a:lnTo>
                    <a:pt x="981" y="699"/>
                  </a:lnTo>
                  <a:lnTo>
                    <a:pt x="983" y="699"/>
                  </a:lnTo>
                  <a:lnTo>
                    <a:pt x="983" y="699"/>
                  </a:lnTo>
                  <a:lnTo>
                    <a:pt x="983" y="699"/>
                  </a:lnTo>
                  <a:lnTo>
                    <a:pt x="983" y="697"/>
                  </a:lnTo>
                  <a:lnTo>
                    <a:pt x="983" y="697"/>
                  </a:lnTo>
                  <a:lnTo>
                    <a:pt x="985" y="697"/>
                  </a:lnTo>
                  <a:lnTo>
                    <a:pt x="985" y="695"/>
                  </a:lnTo>
                  <a:lnTo>
                    <a:pt x="987" y="695"/>
                  </a:lnTo>
                  <a:lnTo>
                    <a:pt x="989" y="697"/>
                  </a:lnTo>
                  <a:lnTo>
                    <a:pt x="989" y="697"/>
                  </a:lnTo>
                  <a:lnTo>
                    <a:pt x="991" y="697"/>
                  </a:lnTo>
                  <a:lnTo>
                    <a:pt x="991" y="697"/>
                  </a:lnTo>
                  <a:lnTo>
                    <a:pt x="991" y="697"/>
                  </a:lnTo>
                  <a:lnTo>
                    <a:pt x="991" y="697"/>
                  </a:lnTo>
                  <a:lnTo>
                    <a:pt x="991" y="697"/>
                  </a:lnTo>
                  <a:lnTo>
                    <a:pt x="991" y="697"/>
                  </a:lnTo>
                  <a:lnTo>
                    <a:pt x="991" y="695"/>
                  </a:lnTo>
                  <a:lnTo>
                    <a:pt x="991" y="695"/>
                  </a:lnTo>
                  <a:lnTo>
                    <a:pt x="993" y="695"/>
                  </a:lnTo>
                  <a:lnTo>
                    <a:pt x="993" y="695"/>
                  </a:lnTo>
                  <a:lnTo>
                    <a:pt x="993" y="693"/>
                  </a:lnTo>
                  <a:lnTo>
                    <a:pt x="995" y="695"/>
                  </a:lnTo>
                  <a:lnTo>
                    <a:pt x="995" y="695"/>
                  </a:lnTo>
                  <a:lnTo>
                    <a:pt x="995" y="695"/>
                  </a:lnTo>
                  <a:lnTo>
                    <a:pt x="995" y="695"/>
                  </a:lnTo>
                  <a:lnTo>
                    <a:pt x="995" y="695"/>
                  </a:lnTo>
                  <a:lnTo>
                    <a:pt x="995" y="697"/>
                  </a:lnTo>
                  <a:lnTo>
                    <a:pt x="997" y="695"/>
                  </a:lnTo>
                  <a:lnTo>
                    <a:pt x="997" y="695"/>
                  </a:lnTo>
                  <a:lnTo>
                    <a:pt x="997" y="693"/>
                  </a:lnTo>
                  <a:lnTo>
                    <a:pt x="997" y="693"/>
                  </a:lnTo>
                  <a:lnTo>
                    <a:pt x="997" y="693"/>
                  </a:lnTo>
                  <a:lnTo>
                    <a:pt x="995" y="691"/>
                  </a:lnTo>
                  <a:lnTo>
                    <a:pt x="995" y="691"/>
                  </a:lnTo>
                  <a:lnTo>
                    <a:pt x="997" y="691"/>
                  </a:lnTo>
                  <a:lnTo>
                    <a:pt x="999" y="693"/>
                  </a:lnTo>
                  <a:lnTo>
                    <a:pt x="999" y="693"/>
                  </a:lnTo>
                  <a:lnTo>
                    <a:pt x="999" y="691"/>
                  </a:lnTo>
                  <a:lnTo>
                    <a:pt x="999" y="691"/>
                  </a:lnTo>
                  <a:lnTo>
                    <a:pt x="999" y="687"/>
                  </a:lnTo>
                  <a:lnTo>
                    <a:pt x="999" y="687"/>
                  </a:lnTo>
                  <a:lnTo>
                    <a:pt x="999" y="689"/>
                  </a:lnTo>
                  <a:lnTo>
                    <a:pt x="999" y="689"/>
                  </a:lnTo>
                  <a:lnTo>
                    <a:pt x="999" y="689"/>
                  </a:lnTo>
                  <a:lnTo>
                    <a:pt x="999" y="689"/>
                  </a:lnTo>
                  <a:lnTo>
                    <a:pt x="999" y="689"/>
                  </a:lnTo>
                  <a:lnTo>
                    <a:pt x="999" y="691"/>
                  </a:lnTo>
                  <a:lnTo>
                    <a:pt x="1002" y="691"/>
                  </a:lnTo>
                  <a:lnTo>
                    <a:pt x="1002" y="691"/>
                  </a:lnTo>
                  <a:lnTo>
                    <a:pt x="1002" y="691"/>
                  </a:lnTo>
                  <a:lnTo>
                    <a:pt x="1002" y="693"/>
                  </a:lnTo>
                  <a:lnTo>
                    <a:pt x="1004" y="693"/>
                  </a:lnTo>
                  <a:lnTo>
                    <a:pt x="1004" y="693"/>
                  </a:lnTo>
                  <a:lnTo>
                    <a:pt x="1004" y="693"/>
                  </a:lnTo>
                  <a:lnTo>
                    <a:pt x="1004" y="691"/>
                  </a:lnTo>
                  <a:lnTo>
                    <a:pt x="1004" y="691"/>
                  </a:lnTo>
                  <a:lnTo>
                    <a:pt x="1004" y="691"/>
                  </a:lnTo>
                  <a:lnTo>
                    <a:pt x="1004" y="689"/>
                  </a:lnTo>
                  <a:lnTo>
                    <a:pt x="1006" y="691"/>
                  </a:lnTo>
                  <a:lnTo>
                    <a:pt x="1006" y="691"/>
                  </a:lnTo>
                  <a:lnTo>
                    <a:pt x="1006" y="691"/>
                  </a:lnTo>
                  <a:lnTo>
                    <a:pt x="1006" y="689"/>
                  </a:lnTo>
                  <a:lnTo>
                    <a:pt x="1004" y="689"/>
                  </a:lnTo>
                  <a:lnTo>
                    <a:pt x="1004" y="687"/>
                  </a:lnTo>
                  <a:lnTo>
                    <a:pt x="1004" y="687"/>
                  </a:lnTo>
                  <a:lnTo>
                    <a:pt x="1006" y="687"/>
                  </a:lnTo>
                  <a:lnTo>
                    <a:pt x="1006" y="687"/>
                  </a:lnTo>
                  <a:lnTo>
                    <a:pt x="1006" y="687"/>
                  </a:lnTo>
                  <a:lnTo>
                    <a:pt x="1008" y="687"/>
                  </a:lnTo>
                  <a:lnTo>
                    <a:pt x="1008" y="687"/>
                  </a:lnTo>
                  <a:lnTo>
                    <a:pt x="1008" y="684"/>
                  </a:lnTo>
                  <a:lnTo>
                    <a:pt x="1008" y="684"/>
                  </a:lnTo>
                  <a:lnTo>
                    <a:pt x="1006" y="684"/>
                  </a:lnTo>
                  <a:lnTo>
                    <a:pt x="1008" y="684"/>
                  </a:lnTo>
                  <a:lnTo>
                    <a:pt x="1008" y="682"/>
                  </a:lnTo>
                  <a:lnTo>
                    <a:pt x="1010" y="682"/>
                  </a:lnTo>
                  <a:lnTo>
                    <a:pt x="1008" y="680"/>
                  </a:lnTo>
                  <a:lnTo>
                    <a:pt x="1008" y="680"/>
                  </a:lnTo>
                  <a:lnTo>
                    <a:pt x="1008" y="680"/>
                  </a:lnTo>
                  <a:lnTo>
                    <a:pt x="1008" y="680"/>
                  </a:lnTo>
                  <a:lnTo>
                    <a:pt x="1008" y="680"/>
                  </a:lnTo>
                  <a:lnTo>
                    <a:pt x="1008" y="680"/>
                  </a:lnTo>
                  <a:lnTo>
                    <a:pt x="1008" y="682"/>
                  </a:lnTo>
                  <a:lnTo>
                    <a:pt x="1008" y="682"/>
                  </a:lnTo>
                  <a:lnTo>
                    <a:pt x="1006" y="682"/>
                  </a:lnTo>
                  <a:lnTo>
                    <a:pt x="1006" y="682"/>
                  </a:lnTo>
                  <a:lnTo>
                    <a:pt x="1006" y="682"/>
                  </a:lnTo>
                  <a:lnTo>
                    <a:pt x="1006" y="682"/>
                  </a:lnTo>
                  <a:lnTo>
                    <a:pt x="1004" y="682"/>
                  </a:lnTo>
                  <a:lnTo>
                    <a:pt x="1004" y="682"/>
                  </a:lnTo>
                  <a:lnTo>
                    <a:pt x="1004" y="684"/>
                  </a:lnTo>
                  <a:lnTo>
                    <a:pt x="1004" y="684"/>
                  </a:lnTo>
                  <a:lnTo>
                    <a:pt x="1004" y="684"/>
                  </a:lnTo>
                  <a:lnTo>
                    <a:pt x="1002" y="684"/>
                  </a:lnTo>
                  <a:lnTo>
                    <a:pt x="1004" y="684"/>
                  </a:lnTo>
                  <a:lnTo>
                    <a:pt x="1004" y="682"/>
                  </a:lnTo>
                  <a:lnTo>
                    <a:pt x="1004" y="682"/>
                  </a:lnTo>
                  <a:lnTo>
                    <a:pt x="1002" y="682"/>
                  </a:lnTo>
                  <a:lnTo>
                    <a:pt x="1004" y="682"/>
                  </a:lnTo>
                  <a:lnTo>
                    <a:pt x="1004" y="680"/>
                  </a:lnTo>
                  <a:lnTo>
                    <a:pt x="1004" y="680"/>
                  </a:lnTo>
                  <a:lnTo>
                    <a:pt x="1006" y="680"/>
                  </a:lnTo>
                  <a:lnTo>
                    <a:pt x="1006" y="680"/>
                  </a:lnTo>
                  <a:lnTo>
                    <a:pt x="1008" y="680"/>
                  </a:lnTo>
                  <a:lnTo>
                    <a:pt x="1008" y="680"/>
                  </a:lnTo>
                  <a:lnTo>
                    <a:pt x="1008" y="678"/>
                  </a:lnTo>
                  <a:lnTo>
                    <a:pt x="1008" y="678"/>
                  </a:lnTo>
                  <a:lnTo>
                    <a:pt x="1008" y="678"/>
                  </a:lnTo>
                  <a:lnTo>
                    <a:pt x="1010" y="678"/>
                  </a:lnTo>
                  <a:lnTo>
                    <a:pt x="1010" y="678"/>
                  </a:lnTo>
                  <a:lnTo>
                    <a:pt x="1012" y="678"/>
                  </a:lnTo>
                  <a:lnTo>
                    <a:pt x="1012" y="678"/>
                  </a:lnTo>
                  <a:lnTo>
                    <a:pt x="1012" y="678"/>
                  </a:lnTo>
                  <a:lnTo>
                    <a:pt x="1012" y="676"/>
                  </a:lnTo>
                  <a:lnTo>
                    <a:pt x="1012" y="676"/>
                  </a:lnTo>
                  <a:lnTo>
                    <a:pt x="1012" y="676"/>
                  </a:lnTo>
                  <a:lnTo>
                    <a:pt x="1010" y="676"/>
                  </a:lnTo>
                  <a:lnTo>
                    <a:pt x="1010" y="676"/>
                  </a:lnTo>
                  <a:lnTo>
                    <a:pt x="1010" y="676"/>
                  </a:lnTo>
                  <a:lnTo>
                    <a:pt x="1010" y="676"/>
                  </a:lnTo>
                  <a:lnTo>
                    <a:pt x="1010" y="676"/>
                  </a:lnTo>
                  <a:lnTo>
                    <a:pt x="1010" y="674"/>
                  </a:lnTo>
                  <a:lnTo>
                    <a:pt x="1010" y="672"/>
                  </a:lnTo>
                  <a:lnTo>
                    <a:pt x="1010" y="672"/>
                  </a:lnTo>
                  <a:lnTo>
                    <a:pt x="1010" y="672"/>
                  </a:lnTo>
                  <a:lnTo>
                    <a:pt x="1012" y="672"/>
                  </a:lnTo>
                  <a:lnTo>
                    <a:pt x="1012" y="672"/>
                  </a:lnTo>
                  <a:lnTo>
                    <a:pt x="1014" y="672"/>
                  </a:lnTo>
                  <a:lnTo>
                    <a:pt x="1014" y="672"/>
                  </a:lnTo>
                  <a:lnTo>
                    <a:pt x="1014" y="672"/>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68"/>
                  </a:lnTo>
                  <a:lnTo>
                    <a:pt x="1014" y="668"/>
                  </a:lnTo>
                  <a:lnTo>
                    <a:pt x="1016" y="668"/>
                  </a:lnTo>
                  <a:lnTo>
                    <a:pt x="1016" y="666"/>
                  </a:lnTo>
                  <a:lnTo>
                    <a:pt x="1016" y="666"/>
                  </a:lnTo>
                  <a:lnTo>
                    <a:pt x="1014" y="666"/>
                  </a:lnTo>
                  <a:lnTo>
                    <a:pt x="1014" y="666"/>
                  </a:lnTo>
                  <a:lnTo>
                    <a:pt x="1016" y="666"/>
                  </a:lnTo>
                  <a:lnTo>
                    <a:pt x="1016" y="666"/>
                  </a:lnTo>
                  <a:lnTo>
                    <a:pt x="1018" y="666"/>
                  </a:lnTo>
                  <a:lnTo>
                    <a:pt x="1020" y="664"/>
                  </a:lnTo>
                  <a:lnTo>
                    <a:pt x="1022" y="664"/>
                  </a:lnTo>
                  <a:lnTo>
                    <a:pt x="1022" y="664"/>
                  </a:lnTo>
                  <a:lnTo>
                    <a:pt x="1024" y="664"/>
                  </a:lnTo>
                  <a:lnTo>
                    <a:pt x="1024" y="662"/>
                  </a:lnTo>
                  <a:lnTo>
                    <a:pt x="1024" y="662"/>
                  </a:lnTo>
                  <a:lnTo>
                    <a:pt x="1024" y="662"/>
                  </a:lnTo>
                  <a:lnTo>
                    <a:pt x="1026" y="662"/>
                  </a:lnTo>
                  <a:lnTo>
                    <a:pt x="1028" y="660"/>
                  </a:lnTo>
                  <a:lnTo>
                    <a:pt x="1028" y="658"/>
                  </a:lnTo>
                  <a:lnTo>
                    <a:pt x="1028" y="658"/>
                  </a:lnTo>
                  <a:lnTo>
                    <a:pt x="1028" y="656"/>
                  </a:lnTo>
                  <a:lnTo>
                    <a:pt x="1028" y="654"/>
                  </a:lnTo>
                  <a:lnTo>
                    <a:pt x="1030" y="654"/>
                  </a:lnTo>
                  <a:lnTo>
                    <a:pt x="1030" y="654"/>
                  </a:lnTo>
                  <a:lnTo>
                    <a:pt x="1032" y="654"/>
                  </a:lnTo>
                  <a:lnTo>
                    <a:pt x="1032" y="652"/>
                  </a:lnTo>
                  <a:lnTo>
                    <a:pt x="1032" y="652"/>
                  </a:lnTo>
                  <a:lnTo>
                    <a:pt x="1032" y="652"/>
                  </a:lnTo>
                  <a:lnTo>
                    <a:pt x="1030" y="652"/>
                  </a:lnTo>
                  <a:lnTo>
                    <a:pt x="1030" y="652"/>
                  </a:lnTo>
                  <a:lnTo>
                    <a:pt x="1030" y="652"/>
                  </a:lnTo>
                  <a:lnTo>
                    <a:pt x="1030" y="652"/>
                  </a:lnTo>
                  <a:lnTo>
                    <a:pt x="1032" y="652"/>
                  </a:lnTo>
                  <a:lnTo>
                    <a:pt x="1032" y="652"/>
                  </a:lnTo>
                  <a:lnTo>
                    <a:pt x="1030" y="652"/>
                  </a:lnTo>
                  <a:lnTo>
                    <a:pt x="1030" y="652"/>
                  </a:lnTo>
                  <a:lnTo>
                    <a:pt x="1030" y="650"/>
                  </a:lnTo>
                  <a:lnTo>
                    <a:pt x="1030" y="650"/>
                  </a:lnTo>
                  <a:lnTo>
                    <a:pt x="1030" y="650"/>
                  </a:lnTo>
                  <a:lnTo>
                    <a:pt x="1030" y="650"/>
                  </a:lnTo>
                  <a:lnTo>
                    <a:pt x="1030" y="648"/>
                  </a:lnTo>
                  <a:lnTo>
                    <a:pt x="1030" y="648"/>
                  </a:lnTo>
                  <a:lnTo>
                    <a:pt x="1028" y="648"/>
                  </a:lnTo>
                  <a:lnTo>
                    <a:pt x="1028" y="646"/>
                  </a:lnTo>
                  <a:lnTo>
                    <a:pt x="1028" y="646"/>
                  </a:lnTo>
                  <a:lnTo>
                    <a:pt x="1026" y="646"/>
                  </a:lnTo>
                  <a:lnTo>
                    <a:pt x="1026" y="646"/>
                  </a:lnTo>
                  <a:lnTo>
                    <a:pt x="1026" y="646"/>
                  </a:lnTo>
                  <a:lnTo>
                    <a:pt x="1026" y="646"/>
                  </a:lnTo>
                  <a:lnTo>
                    <a:pt x="1026" y="646"/>
                  </a:lnTo>
                  <a:lnTo>
                    <a:pt x="1024" y="646"/>
                  </a:lnTo>
                  <a:lnTo>
                    <a:pt x="1024" y="646"/>
                  </a:lnTo>
                  <a:lnTo>
                    <a:pt x="1024" y="646"/>
                  </a:lnTo>
                  <a:lnTo>
                    <a:pt x="1024" y="646"/>
                  </a:lnTo>
                  <a:lnTo>
                    <a:pt x="1022" y="646"/>
                  </a:lnTo>
                  <a:lnTo>
                    <a:pt x="1022" y="643"/>
                  </a:lnTo>
                  <a:lnTo>
                    <a:pt x="1022" y="643"/>
                  </a:lnTo>
                  <a:lnTo>
                    <a:pt x="1022" y="643"/>
                  </a:lnTo>
                  <a:lnTo>
                    <a:pt x="1020" y="641"/>
                  </a:lnTo>
                  <a:lnTo>
                    <a:pt x="1020" y="641"/>
                  </a:lnTo>
                  <a:lnTo>
                    <a:pt x="1018" y="641"/>
                  </a:lnTo>
                  <a:lnTo>
                    <a:pt x="1018" y="641"/>
                  </a:lnTo>
                  <a:lnTo>
                    <a:pt x="1016" y="641"/>
                  </a:lnTo>
                  <a:lnTo>
                    <a:pt x="1016" y="641"/>
                  </a:lnTo>
                  <a:lnTo>
                    <a:pt x="1012" y="641"/>
                  </a:lnTo>
                  <a:lnTo>
                    <a:pt x="1010" y="641"/>
                  </a:lnTo>
                  <a:lnTo>
                    <a:pt x="1010" y="641"/>
                  </a:lnTo>
                  <a:lnTo>
                    <a:pt x="1010" y="643"/>
                  </a:lnTo>
                  <a:lnTo>
                    <a:pt x="1008" y="643"/>
                  </a:lnTo>
                  <a:lnTo>
                    <a:pt x="1008" y="643"/>
                  </a:lnTo>
                  <a:lnTo>
                    <a:pt x="1008" y="643"/>
                  </a:lnTo>
                  <a:lnTo>
                    <a:pt x="1008" y="641"/>
                  </a:lnTo>
                  <a:lnTo>
                    <a:pt x="1008" y="641"/>
                  </a:lnTo>
                  <a:lnTo>
                    <a:pt x="1008" y="641"/>
                  </a:lnTo>
                  <a:lnTo>
                    <a:pt x="1008" y="639"/>
                  </a:lnTo>
                  <a:lnTo>
                    <a:pt x="1008" y="639"/>
                  </a:lnTo>
                  <a:lnTo>
                    <a:pt x="1008" y="639"/>
                  </a:lnTo>
                  <a:lnTo>
                    <a:pt x="1008" y="639"/>
                  </a:lnTo>
                  <a:lnTo>
                    <a:pt x="1008" y="639"/>
                  </a:lnTo>
                  <a:lnTo>
                    <a:pt x="1008" y="639"/>
                  </a:lnTo>
                  <a:lnTo>
                    <a:pt x="1008" y="637"/>
                  </a:lnTo>
                  <a:lnTo>
                    <a:pt x="1006" y="639"/>
                  </a:lnTo>
                  <a:lnTo>
                    <a:pt x="1006" y="639"/>
                  </a:lnTo>
                  <a:lnTo>
                    <a:pt x="1006" y="637"/>
                  </a:lnTo>
                  <a:lnTo>
                    <a:pt x="1006" y="637"/>
                  </a:lnTo>
                  <a:lnTo>
                    <a:pt x="1006" y="637"/>
                  </a:lnTo>
                  <a:lnTo>
                    <a:pt x="1006" y="637"/>
                  </a:lnTo>
                  <a:lnTo>
                    <a:pt x="1006" y="637"/>
                  </a:lnTo>
                  <a:lnTo>
                    <a:pt x="1006" y="637"/>
                  </a:lnTo>
                  <a:lnTo>
                    <a:pt x="1006" y="637"/>
                  </a:lnTo>
                  <a:lnTo>
                    <a:pt x="1006" y="637"/>
                  </a:lnTo>
                  <a:lnTo>
                    <a:pt x="1008" y="635"/>
                  </a:lnTo>
                  <a:lnTo>
                    <a:pt x="1008" y="635"/>
                  </a:lnTo>
                  <a:lnTo>
                    <a:pt x="1008" y="635"/>
                  </a:lnTo>
                  <a:lnTo>
                    <a:pt x="1008" y="635"/>
                  </a:lnTo>
                  <a:lnTo>
                    <a:pt x="1010" y="635"/>
                  </a:lnTo>
                  <a:lnTo>
                    <a:pt x="1010" y="633"/>
                  </a:lnTo>
                  <a:lnTo>
                    <a:pt x="1008" y="633"/>
                  </a:lnTo>
                  <a:lnTo>
                    <a:pt x="1008" y="633"/>
                  </a:lnTo>
                  <a:lnTo>
                    <a:pt x="1008" y="631"/>
                  </a:lnTo>
                  <a:lnTo>
                    <a:pt x="1008" y="631"/>
                  </a:lnTo>
                  <a:lnTo>
                    <a:pt x="1010" y="629"/>
                  </a:lnTo>
                  <a:lnTo>
                    <a:pt x="1010" y="629"/>
                  </a:lnTo>
                  <a:lnTo>
                    <a:pt x="1012" y="627"/>
                  </a:lnTo>
                  <a:lnTo>
                    <a:pt x="1014" y="627"/>
                  </a:lnTo>
                  <a:lnTo>
                    <a:pt x="1014" y="625"/>
                  </a:lnTo>
                  <a:lnTo>
                    <a:pt x="1014" y="627"/>
                  </a:lnTo>
                  <a:lnTo>
                    <a:pt x="1014" y="625"/>
                  </a:lnTo>
                  <a:lnTo>
                    <a:pt x="1012" y="625"/>
                  </a:lnTo>
                  <a:lnTo>
                    <a:pt x="1012" y="625"/>
                  </a:lnTo>
                  <a:lnTo>
                    <a:pt x="1012" y="627"/>
                  </a:lnTo>
                  <a:lnTo>
                    <a:pt x="1010" y="627"/>
                  </a:lnTo>
                  <a:lnTo>
                    <a:pt x="1010" y="627"/>
                  </a:lnTo>
                  <a:lnTo>
                    <a:pt x="1008" y="625"/>
                  </a:lnTo>
                  <a:lnTo>
                    <a:pt x="1010" y="625"/>
                  </a:lnTo>
                  <a:lnTo>
                    <a:pt x="1010" y="625"/>
                  </a:lnTo>
                  <a:lnTo>
                    <a:pt x="1010" y="625"/>
                  </a:lnTo>
                  <a:lnTo>
                    <a:pt x="1012" y="625"/>
                  </a:lnTo>
                  <a:lnTo>
                    <a:pt x="1012" y="625"/>
                  </a:lnTo>
                  <a:lnTo>
                    <a:pt x="1012" y="625"/>
                  </a:lnTo>
                  <a:lnTo>
                    <a:pt x="1012" y="625"/>
                  </a:lnTo>
                  <a:lnTo>
                    <a:pt x="1012" y="625"/>
                  </a:lnTo>
                  <a:lnTo>
                    <a:pt x="1014" y="625"/>
                  </a:lnTo>
                  <a:lnTo>
                    <a:pt x="1014" y="623"/>
                  </a:lnTo>
                  <a:lnTo>
                    <a:pt x="1014" y="623"/>
                  </a:lnTo>
                  <a:lnTo>
                    <a:pt x="1014" y="623"/>
                  </a:lnTo>
                  <a:lnTo>
                    <a:pt x="1016" y="623"/>
                  </a:lnTo>
                  <a:lnTo>
                    <a:pt x="1016" y="623"/>
                  </a:lnTo>
                  <a:lnTo>
                    <a:pt x="1018" y="623"/>
                  </a:lnTo>
                  <a:lnTo>
                    <a:pt x="1020" y="623"/>
                  </a:lnTo>
                  <a:lnTo>
                    <a:pt x="1020" y="621"/>
                  </a:lnTo>
                  <a:lnTo>
                    <a:pt x="1020" y="621"/>
                  </a:lnTo>
                  <a:lnTo>
                    <a:pt x="1020" y="621"/>
                  </a:lnTo>
                  <a:lnTo>
                    <a:pt x="1020" y="619"/>
                  </a:lnTo>
                  <a:lnTo>
                    <a:pt x="1018" y="617"/>
                  </a:lnTo>
                  <a:lnTo>
                    <a:pt x="1018" y="617"/>
                  </a:lnTo>
                  <a:lnTo>
                    <a:pt x="1016" y="617"/>
                  </a:lnTo>
                  <a:lnTo>
                    <a:pt x="1016" y="617"/>
                  </a:lnTo>
                  <a:lnTo>
                    <a:pt x="1016" y="617"/>
                  </a:lnTo>
                  <a:lnTo>
                    <a:pt x="1016" y="617"/>
                  </a:lnTo>
                  <a:lnTo>
                    <a:pt x="1018" y="617"/>
                  </a:lnTo>
                  <a:lnTo>
                    <a:pt x="1018" y="617"/>
                  </a:lnTo>
                  <a:lnTo>
                    <a:pt x="1022" y="617"/>
                  </a:lnTo>
                  <a:lnTo>
                    <a:pt x="1024" y="615"/>
                  </a:lnTo>
                  <a:lnTo>
                    <a:pt x="1024" y="615"/>
                  </a:lnTo>
                  <a:lnTo>
                    <a:pt x="1024" y="613"/>
                  </a:lnTo>
                  <a:lnTo>
                    <a:pt x="1024" y="613"/>
                  </a:lnTo>
                  <a:lnTo>
                    <a:pt x="1022" y="613"/>
                  </a:lnTo>
                  <a:lnTo>
                    <a:pt x="1022" y="613"/>
                  </a:lnTo>
                  <a:lnTo>
                    <a:pt x="1020" y="613"/>
                  </a:lnTo>
                  <a:lnTo>
                    <a:pt x="1020" y="611"/>
                  </a:lnTo>
                  <a:lnTo>
                    <a:pt x="1022" y="611"/>
                  </a:lnTo>
                  <a:lnTo>
                    <a:pt x="1022" y="611"/>
                  </a:lnTo>
                  <a:lnTo>
                    <a:pt x="1022" y="611"/>
                  </a:lnTo>
                  <a:lnTo>
                    <a:pt x="1022" y="609"/>
                  </a:lnTo>
                  <a:lnTo>
                    <a:pt x="1022" y="609"/>
                  </a:lnTo>
                  <a:lnTo>
                    <a:pt x="1022" y="609"/>
                  </a:lnTo>
                  <a:lnTo>
                    <a:pt x="1022" y="609"/>
                  </a:lnTo>
                  <a:lnTo>
                    <a:pt x="1022" y="609"/>
                  </a:lnTo>
                  <a:lnTo>
                    <a:pt x="1022" y="609"/>
                  </a:lnTo>
                  <a:lnTo>
                    <a:pt x="1022" y="609"/>
                  </a:lnTo>
                  <a:lnTo>
                    <a:pt x="1022" y="611"/>
                  </a:lnTo>
                  <a:lnTo>
                    <a:pt x="1024" y="611"/>
                  </a:lnTo>
                  <a:lnTo>
                    <a:pt x="1024" y="613"/>
                  </a:lnTo>
                  <a:lnTo>
                    <a:pt x="1024" y="613"/>
                  </a:lnTo>
                  <a:lnTo>
                    <a:pt x="1026" y="611"/>
                  </a:lnTo>
                  <a:lnTo>
                    <a:pt x="1026" y="611"/>
                  </a:lnTo>
                  <a:lnTo>
                    <a:pt x="1026" y="611"/>
                  </a:lnTo>
                  <a:lnTo>
                    <a:pt x="1026" y="611"/>
                  </a:lnTo>
                  <a:lnTo>
                    <a:pt x="1026" y="609"/>
                  </a:lnTo>
                  <a:lnTo>
                    <a:pt x="1026" y="607"/>
                  </a:lnTo>
                  <a:lnTo>
                    <a:pt x="1026" y="607"/>
                  </a:lnTo>
                  <a:lnTo>
                    <a:pt x="1026" y="605"/>
                  </a:lnTo>
                  <a:lnTo>
                    <a:pt x="1026" y="605"/>
                  </a:lnTo>
                  <a:lnTo>
                    <a:pt x="1026" y="605"/>
                  </a:lnTo>
                  <a:lnTo>
                    <a:pt x="1028" y="607"/>
                  </a:lnTo>
                  <a:lnTo>
                    <a:pt x="1030" y="607"/>
                  </a:lnTo>
                  <a:lnTo>
                    <a:pt x="1030" y="609"/>
                  </a:lnTo>
                  <a:lnTo>
                    <a:pt x="1030" y="607"/>
                  </a:lnTo>
                  <a:lnTo>
                    <a:pt x="1028" y="607"/>
                  </a:lnTo>
                  <a:lnTo>
                    <a:pt x="1028" y="611"/>
                  </a:lnTo>
                  <a:lnTo>
                    <a:pt x="1028" y="611"/>
                  </a:lnTo>
                  <a:lnTo>
                    <a:pt x="1028" y="611"/>
                  </a:lnTo>
                  <a:lnTo>
                    <a:pt x="1028" y="611"/>
                  </a:lnTo>
                  <a:lnTo>
                    <a:pt x="1028" y="611"/>
                  </a:lnTo>
                  <a:lnTo>
                    <a:pt x="1028" y="611"/>
                  </a:lnTo>
                  <a:lnTo>
                    <a:pt x="1030" y="613"/>
                  </a:lnTo>
                  <a:lnTo>
                    <a:pt x="1030" y="613"/>
                  </a:lnTo>
                  <a:lnTo>
                    <a:pt x="1030" y="613"/>
                  </a:lnTo>
                  <a:lnTo>
                    <a:pt x="1030" y="611"/>
                  </a:lnTo>
                  <a:lnTo>
                    <a:pt x="1030" y="611"/>
                  </a:lnTo>
                  <a:lnTo>
                    <a:pt x="1030" y="611"/>
                  </a:lnTo>
                  <a:lnTo>
                    <a:pt x="1030" y="611"/>
                  </a:lnTo>
                  <a:lnTo>
                    <a:pt x="1030" y="611"/>
                  </a:lnTo>
                  <a:lnTo>
                    <a:pt x="1030" y="609"/>
                  </a:lnTo>
                  <a:lnTo>
                    <a:pt x="1030" y="609"/>
                  </a:lnTo>
                  <a:lnTo>
                    <a:pt x="1032" y="611"/>
                  </a:lnTo>
                  <a:lnTo>
                    <a:pt x="1032" y="611"/>
                  </a:lnTo>
                  <a:lnTo>
                    <a:pt x="1032" y="611"/>
                  </a:lnTo>
                  <a:lnTo>
                    <a:pt x="1032" y="611"/>
                  </a:lnTo>
                  <a:lnTo>
                    <a:pt x="1034" y="611"/>
                  </a:lnTo>
                  <a:lnTo>
                    <a:pt x="1034" y="611"/>
                  </a:lnTo>
                  <a:lnTo>
                    <a:pt x="1034" y="611"/>
                  </a:lnTo>
                  <a:lnTo>
                    <a:pt x="1034" y="609"/>
                  </a:lnTo>
                  <a:lnTo>
                    <a:pt x="1036" y="609"/>
                  </a:lnTo>
                  <a:lnTo>
                    <a:pt x="1036" y="609"/>
                  </a:lnTo>
                  <a:lnTo>
                    <a:pt x="1038" y="607"/>
                  </a:lnTo>
                  <a:lnTo>
                    <a:pt x="1038" y="605"/>
                  </a:lnTo>
                  <a:lnTo>
                    <a:pt x="1038" y="605"/>
                  </a:lnTo>
                  <a:lnTo>
                    <a:pt x="1038" y="605"/>
                  </a:lnTo>
                  <a:lnTo>
                    <a:pt x="1038" y="603"/>
                  </a:lnTo>
                  <a:lnTo>
                    <a:pt x="1038" y="603"/>
                  </a:lnTo>
                  <a:lnTo>
                    <a:pt x="1038" y="603"/>
                  </a:lnTo>
                  <a:lnTo>
                    <a:pt x="1038" y="603"/>
                  </a:lnTo>
                  <a:lnTo>
                    <a:pt x="1036" y="603"/>
                  </a:lnTo>
                  <a:lnTo>
                    <a:pt x="1034" y="603"/>
                  </a:lnTo>
                  <a:lnTo>
                    <a:pt x="1034" y="603"/>
                  </a:lnTo>
                  <a:lnTo>
                    <a:pt x="1034" y="603"/>
                  </a:lnTo>
                  <a:lnTo>
                    <a:pt x="1034" y="603"/>
                  </a:lnTo>
                  <a:lnTo>
                    <a:pt x="1032" y="603"/>
                  </a:lnTo>
                  <a:lnTo>
                    <a:pt x="1032" y="603"/>
                  </a:lnTo>
                  <a:lnTo>
                    <a:pt x="1030" y="603"/>
                  </a:lnTo>
                  <a:lnTo>
                    <a:pt x="1030" y="603"/>
                  </a:lnTo>
                  <a:lnTo>
                    <a:pt x="1032" y="600"/>
                  </a:lnTo>
                  <a:lnTo>
                    <a:pt x="1032" y="600"/>
                  </a:lnTo>
                  <a:lnTo>
                    <a:pt x="1032" y="600"/>
                  </a:lnTo>
                  <a:lnTo>
                    <a:pt x="1036" y="598"/>
                  </a:lnTo>
                  <a:lnTo>
                    <a:pt x="1036" y="598"/>
                  </a:lnTo>
                  <a:lnTo>
                    <a:pt x="1038" y="598"/>
                  </a:lnTo>
                  <a:lnTo>
                    <a:pt x="1040" y="598"/>
                  </a:lnTo>
                  <a:lnTo>
                    <a:pt x="1040" y="598"/>
                  </a:lnTo>
                  <a:lnTo>
                    <a:pt x="1040" y="598"/>
                  </a:lnTo>
                  <a:lnTo>
                    <a:pt x="1043" y="598"/>
                  </a:lnTo>
                  <a:lnTo>
                    <a:pt x="1043" y="598"/>
                  </a:lnTo>
                  <a:lnTo>
                    <a:pt x="1043" y="598"/>
                  </a:lnTo>
                  <a:lnTo>
                    <a:pt x="1043" y="598"/>
                  </a:lnTo>
                  <a:lnTo>
                    <a:pt x="1045" y="598"/>
                  </a:lnTo>
                  <a:lnTo>
                    <a:pt x="1047" y="596"/>
                  </a:lnTo>
                  <a:lnTo>
                    <a:pt x="1047" y="596"/>
                  </a:lnTo>
                  <a:lnTo>
                    <a:pt x="1047" y="594"/>
                  </a:lnTo>
                  <a:lnTo>
                    <a:pt x="1047" y="594"/>
                  </a:lnTo>
                  <a:lnTo>
                    <a:pt x="1047" y="592"/>
                  </a:lnTo>
                  <a:lnTo>
                    <a:pt x="1049" y="592"/>
                  </a:lnTo>
                  <a:lnTo>
                    <a:pt x="1049" y="592"/>
                  </a:lnTo>
                  <a:lnTo>
                    <a:pt x="1049" y="592"/>
                  </a:lnTo>
                  <a:lnTo>
                    <a:pt x="1049" y="590"/>
                  </a:lnTo>
                  <a:lnTo>
                    <a:pt x="1049" y="590"/>
                  </a:lnTo>
                  <a:lnTo>
                    <a:pt x="1049" y="590"/>
                  </a:lnTo>
                  <a:lnTo>
                    <a:pt x="1049" y="588"/>
                  </a:lnTo>
                  <a:lnTo>
                    <a:pt x="1049" y="588"/>
                  </a:lnTo>
                  <a:lnTo>
                    <a:pt x="1049" y="588"/>
                  </a:lnTo>
                  <a:lnTo>
                    <a:pt x="1047" y="586"/>
                  </a:lnTo>
                  <a:lnTo>
                    <a:pt x="1047" y="586"/>
                  </a:lnTo>
                  <a:lnTo>
                    <a:pt x="1047" y="586"/>
                  </a:lnTo>
                  <a:lnTo>
                    <a:pt x="1047" y="586"/>
                  </a:lnTo>
                  <a:lnTo>
                    <a:pt x="1047" y="584"/>
                  </a:lnTo>
                  <a:lnTo>
                    <a:pt x="1047" y="584"/>
                  </a:lnTo>
                  <a:lnTo>
                    <a:pt x="1047" y="584"/>
                  </a:lnTo>
                  <a:lnTo>
                    <a:pt x="1047" y="584"/>
                  </a:lnTo>
                  <a:lnTo>
                    <a:pt x="1047" y="584"/>
                  </a:lnTo>
                  <a:lnTo>
                    <a:pt x="1047" y="584"/>
                  </a:lnTo>
                  <a:lnTo>
                    <a:pt x="1045" y="584"/>
                  </a:lnTo>
                  <a:lnTo>
                    <a:pt x="1045" y="584"/>
                  </a:lnTo>
                  <a:lnTo>
                    <a:pt x="1045" y="584"/>
                  </a:lnTo>
                  <a:lnTo>
                    <a:pt x="1045" y="582"/>
                  </a:lnTo>
                  <a:lnTo>
                    <a:pt x="1043" y="582"/>
                  </a:lnTo>
                  <a:lnTo>
                    <a:pt x="1040" y="580"/>
                  </a:lnTo>
                  <a:lnTo>
                    <a:pt x="1040" y="580"/>
                  </a:lnTo>
                  <a:lnTo>
                    <a:pt x="1040" y="580"/>
                  </a:lnTo>
                  <a:lnTo>
                    <a:pt x="1040" y="580"/>
                  </a:lnTo>
                  <a:lnTo>
                    <a:pt x="1040" y="578"/>
                  </a:lnTo>
                  <a:lnTo>
                    <a:pt x="1040" y="578"/>
                  </a:lnTo>
                  <a:lnTo>
                    <a:pt x="1038" y="578"/>
                  </a:lnTo>
                  <a:lnTo>
                    <a:pt x="1038" y="578"/>
                  </a:lnTo>
                  <a:lnTo>
                    <a:pt x="1036" y="578"/>
                  </a:lnTo>
                  <a:lnTo>
                    <a:pt x="1036" y="578"/>
                  </a:lnTo>
                  <a:lnTo>
                    <a:pt x="1036" y="578"/>
                  </a:lnTo>
                  <a:lnTo>
                    <a:pt x="1036" y="578"/>
                  </a:lnTo>
                  <a:lnTo>
                    <a:pt x="1036" y="578"/>
                  </a:lnTo>
                  <a:lnTo>
                    <a:pt x="1036" y="578"/>
                  </a:lnTo>
                  <a:lnTo>
                    <a:pt x="1036" y="576"/>
                  </a:lnTo>
                  <a:lnTo>
                    <a:pt x="1038" y="576"/>
                  </a:lnTo>
                  <a:lnTo>
                    <a:pt x="1040" y="576"/>
                  </a:lnTo>
                  <a:lnTo>
                    <a:pt x="1040" y="576"/>
                  </a:lnTo>
                  <a:lnTo>
                    <a:pt x="1040" y="578"/>
                  </a:lnTo>
                  <a:lnTo>
                    <a:pt x="1040" y="578"/>
                  </a:lnTo>
                  <a:lnTo>
                    <a:pt x="1040" y="580"/>
                  </a:lnTo>
                  <a:lnTo>
                    <a:pt x="1043" y="578"/>
                  </a:lnTo>
                  <a:lnTo>
                    <a:pt x="1043" y="578"/>
                  </a:lnTo>
                  <a:lnTo>
                    <a:pt x="1045" y="580"/>
                  </a:lnTo>
                  <a:lnTo>
                    <a:pt x="1045" y="580"/>
                  </a:lnTo>
                  <a:lnTo>
                    <a:pt x="1043" y="580"/>
                  </a:lnTo>
                  <a:lnTo>
                    <a:pt x="1043" y="580"/>
                  </a:lnTo>
                  <a:lnTo>
                    <a:pt x="1043" y="580"/>
                  </a:lnTo>
                  <a:lnTo>
                    <a:pt x="1043" y="580"/>
                  </a:lnTo>
                  <a:lnTo>
                    <a:pt x="1043" y="580"/>
                  </a:lnTo>
                  <a:lnTo>
                    <a:pt x="1047" y="580"/>
                  </a:lnTo>
                  <a:lnTo>
                    <a:pt x="1047" y="580"/>
                  </a:lnTo>
                  <a:lnTo>
                    <a:pt x="1047" y="580"/>
                  </a:lnTo>
                  <a:lnTo>
                    <a:pt x="1049" y="580"/>
                  </a:lnTo>
                  <a:lnTo>
                    <a:pt x="1049" y="580"/>
                  </a:lnTo>
                  <a:lnTo>
                    <a:pt x="1051" y="578"/>
                  </a:lnTo>
                  <a:lnTo>
                    <a:pt x="1051" y="578"/>
                  </a:lnTo>
                  <a:lnTo>
                    <a:pt x="1053" y="578"/>
                  </a:lnTo>
                  <a:lnTo>
                    <a:pt x="1053" y="578"/>
                  </a:lnTo>
                  <a:lnTo>
                    <a:pt x="1053" y="576"/>
                  </a:lnTo>
                  <a:lnTo>
                    <a:pt x="1053" y="576"/>
                  </a:lnTo>
                  <a:lnTo>
                    <a:pt x="1053" y="576"/>
                  </a:lnTo>
                  <a:lnTo>
                    <a:pt x="1053" y="576"/>
                  </a:lnTo>
                  <a:lnTo>
                    <a:pt x="1055" y="574"/>
                  </a:lnTo>
                  <a:lnTo>
                    <a:pt x="1057" y="572"/>
                  </a:lnTo>
                  <a:lnTo>
                    <a:pt x="1057" y="572"/>
                  </a:lnTo>
                  <a:lnTo>
                    <a:pt x="1057" y="572"/>
                  </a:lnTo>
                  <a:lnTo>
                    <a:pt x="1055" y="570"/>
                  </a:lnTo>
                  <a:lnTo>
                    <a:pt x="1055" y="570"/>
                  </a:lnTo>
                  <a:lnTo>
                    <a:pt x="1055" y="568"/>
                  </a:lnTo>
                  <a:lnTo>
                    <a:pt x="1055" y="568"/>
                  </a:lnTo>
                  <a:lnTo>
                    <a:pt x="1055" y="568"/>
                  </a:lnTo>
                  <a:lnTo>
                    <a:pt x="1055" y="566"/>
                  </a:lnTo>
                  <a:lnTo>
                    <a:pt x="1057" y="564"/>
                  </a:lnTo>
                  <a:lnTo>
                    <a:pt x="1059" y="562"/>
                  </a:lnTo>
                  <a:lnTo>
                    <a:pt x="1059" y="562"/>
                  </a:lnTo>
                  <a:lnTo>
                    <a:pt x="1061" y="562"/>
                  </a:lnTo>
                  <a:lnTo>
                    <a:pt x="1061" y="562"/>
                  </a:lnTo>
                  <a:lnTo>
                    <a:pt x="1061" y="559"/>
                  </a:lnTo>
                  <a:lnTo>
                    <a:pt x="1061" y="557"/>
                  </a:lnTo>
                  <a:lnTo>
                    <a:pt x="1061" y="557"/>
                  </a:lnTo>
                  <a:lnTo>
                    <a:pt x="1061" y="557"/>
                  </a:lnTo>
                  <a:lnTo>
                    <a:pt x="1063" y="557"/>
                  </a:lnTo>
                  <a:lnTo>
                    <a:pt x="1063" y="557"/>
                  </a:lnTo>
                  <a:lnTo>
                    <a:pt x="1063" y="557"/>
                  </a:lnTo>
                  <a:lnTo>
                    <a:pt x="1065" y="555"/>
                  </a:lnTo>
                  <a:lnTo>
                    <a:pt x="1065" y="553"/>
                  </a:lnTo>
                  <a:lnTo>
                    <a:pt x="1065" y="553"/>
                  </a:lnTo>
                  <a:lnTo>
                    <a:pt x="1067" y="553"/>
                  </a:lnTo>
                  <a:lnTo>
                    <a:pt x="1067" y="553"/>
                  </a:lnTo>
                  <a:lnTo>
                    <a:pt x="1067" y="553"/>
                  </a:lnTo>
                  <a:lnTo>
                    <a:pt x="1067" y="553"/>
                  </a:lnTo>
                  <a:lnTo>
                    <a:pt x="1067" y="553"/>
                  </a:lnTo>
                  <a:lnTo>
                    <a:pt x="1069" y="553"/>
                  </a:lnTo>
                  <a:lnTo>
                    <a:pt x="1069" y="555"/>
                  </a:lnTo>
                  <a:lnTo>
                    <a:pt x="1071" y="553"/>
                  </a:lnTo>
                  <a:lnTo>
                    <a:pt x="1071" y="553"/>
                  </a:lnTo>
                  <a:lnTo>
                    <a:pt x="1067" y="549"/>
                  </a:lnTo>
                  <a:lnTo>
                    <a:pt x="1067" y="549"/>
                  </a:lnTo>
                  <a:lnTo>
                    <a:pt x="1067" y="547"/>
                  </a:lnTo>
                  <a:lnTo>
                    <a:pt x="1067" y="547"/>
                  </a:lnTo>
                  <a:lnTo>
                    <a:pt x="1069" y="545"/>
                  </a:lnTo>
                  <a:lnTo>
                    <a:pt x="1069" y="545"/>
                  </a:lnTo>
                  <a:lnTo>
                    <a:pt x="1069" y="543"/>
                  </a:lnTo>
                  <a:lnTo>
                    <a:pt x="1071" y="543"/>
                  </a:lnTo>
                  <a:lnTo>
                    <a:pt x="1071" y="543"/>
                  </a:lnTo>
                  <a:lnTo>
                    <a:pt x="1073" y="541"/>
                  </a:lnTo>
                  <a:lnTo>
                    <a:pt x="1073" y="539"/>
                  </a:lnTo>
                  <a:lnTo>
                    <a:pt x="1075" y="539"/>
                  </a:lnTo>
                  <a:lnTo>
                    <a:pt x="1075" y="539"/>
                  </a:lnTo>
                  <a:lnTo>
                    <a:pt x="1077" y="539"/>
                  </a:lnTo>
                  <a:lnTo>
                    <a:pt x="1079" y="539"/>
                  </a:lnTo>
                  <a:lnTo>
                    <a:pt x="1079" y="539"/>
                  </a:lnTo>
                  <a:lnTo>
                    <a:pt x="1079" y="537"/>
                  </a:lnTo>
                  <a:lnTo>
                    <a:pt x="1079" y="537"/>
                  </a:lnTo>
                  <a:lnTo>
                    <a:pt x="1081" y="537"/>
                  </a:lnTo>
                  <a:lnTo>
                    <a:pt x="1083" y="537"/>
                  </a:lnTo>
                  <a:lnTo>
                    <a:pt x="1083" y="535"/>
                  </a:lnTo>
                  <a:lnTo>
                    <a:pt x="1083" y="535"/>
                  </a:lnTo>
                  <a:lnTo>
                    <a:pt x="1083" y="535"/>
                  </a:lnTo>
                  <a:lnTo>
                    <a:pt x="1086" y="531"/>
                  </a:lnTo>
                  <a:lnTo>
                    <a:pt x="1086" y="531"/>
                  </a:lnTo>
                  <a:lnTo>
                    <a:pt x="1088" y="529"/>
                  </a:lnTo>
                  <a:lnTo>
                    <a:pt x="1088" y="529"/>
                  </a:lnTo>
                  <a:lnTo>
                    <a:pt x="1088" y="529"/>
                  </a:lnTo>
                  <a:lnTo>
                    <a:pt x="1088" y="529"/>
                  </a:lnTo>
                  <a:lnTo>
                    <a:pt x="1088" y="529"/>
                  </a:lnTo>
                  <a:lnTo>
                    <a:pt x="1090" y="529"/>
                  </a:lnTo>
                  <a:lnTo>
                    <a:pt x="1090" y="529"/>
                  </a:lnTo>
                  <a:lnTo>
                    <a:pt x="1094" y="525"/>
                  </a:lnTo>
                  <a:lnTo>
                    <a:pt x="1096" y="525"/>
                  </a:lnTo>
                  <a:lnTo>
                    <a:pt x="1096" y="523"/>
                  </a:lnTo>
                  <a:lnTo>
                    <a:pt x="1096" y="523"/>
                  </a:lnTo>
                  <a:lnTo>
                    <a:pt x="1098" y="523"/>
                  </a:lnTo>
                  <a:lnTo>
                    <a:pt x="1098" y="523"/>
                  </a:lnTo>
                  <a:lnTo>
                    <a:pt x="1098" y="521"/>
                  </a:lnTo>
                  <a:lnTo>
                    <a:pt x="1098" y="521"/>
                  </a:lnTo>
                  <a:lnTo>
                    <a:pt x="1098" y="518"/>
                  </a:lnTo>
                  <a:lnTo>
                    <a:pt x="1098" y="518"/>
                  </a:lnTo>
                  <a:lnTo>
                    <a:pt x="1098" y="523"/>
                  </a:lnTo>
                  <a:lnTo>
                    <a:pt x="1098" y="523"/>
                  </a:lnTo>
                  <a:lnTo>
                    <a:pt x="1100" y="525"/>
                  </a:lnTo>
                  <a:lnTo>
                    <a:pt x="1102" y="525"/>
                  </a:lnTo>
                  <a:lnTo>
                    <a:pt x="1104" y="525"/>
                  </a:lnTo>
                  <a:lnTo>
                    <a:pt x="1104" y="525"/>
                  </a:lnTo>
                  <a:lnTo>
                    <a:pt x="1104" y="525"/>
                  </a:lnTo>
                  <a:lnTo>
                    <a:pt x="1104" y="525"/>
                  </a:lnTo>
                  <a:lnTo>
                    <a:pt x="1104" y="525"/>
                  </a:lnTo>
                  <a:lnTo>
                    <a:pt x="1104" y="525"/>
                  </a:lnTo>
                  <a:lnTo>
                    <a:pt x="1104" y="523"/>
                  </a:lnTo>
                  <a:lnTo>
                    <a:pt x="1104" y="523"/>
                  </a:lnTo>
                  <a:lnTo>
                    <a:pt x="1104" y="525"/>
                  </a:lnTo>
                  <a:lnTo>
                    <a:pt x="1104" y="525"/>
                  </a:lnTo>
                  <a:lnTo>
                    <a:pt x="1106" y="525"/>
                  </a:lnTo>
                  <a:lnTo>
                    <a:pt x="1112" y="525"/>
                  </a:lnTo>
                  <a:lnTo>
                    <a:pt x="1114" y="525"/>
                  </a:lnTo>
                  <a:lnTo>
                    <a:pt x="1114" y="523"/>
                  </a:lnTo>
                  <a:lnTo>
                    <a:pt x="1114" y="523"/>
                  </a:lnTo>
                  <a:lnTo>
                    <a:pt x="1114" y="521"/>
                  </a:lnTo>
                  <a:lnTo>
                    <a:pt x="1114" y="518"/>
                  </a:lnTo>
                  <a:lnTo>
                    <a:pt x="1114" y="518"/>
                  </a:lnTo>
                  <a:lnTo>
                    <a:pt x="1114" y="516"/>
                  </a:lnTo>
                  <a:lnTo>
                    <a:pt x="1114" y="516"/>
                  </a:lnTo>
                  <a:lnTo>
                    <a:pt x="1116" y="516"/>
                  </a:lnTo>
                  <a:lnTo>
                    <a:pt x="1116" y="514"/>
                  </a:lnTo>
                  <a:lnTo>
                    <a:pt x="1118" y="514"/>
                  </a:lnTo>
                  <a:lnTo>
                    <a:pt x="1120" y="512"/>
                  </a:lnTo>
                  <a:lnTo>
                    <a:pt x="1126" y="510"/>
                  </a:lnTo>
                  <a:lnTo>
                    <a:pt x="1126" y="510"/>
                  </a:lnTo>
                  <a:lnTo>
                    <a:pt x="1126" y="510"/>
                  </a:lnTo>
                  <a:lnTo>
                    <a:pt x="1129" y="510"/>
                  </a:lnTo>
                  <a:lnTo>
                    <a:pt x="1131" y="510"/>
                  </a:lnTo>
                  <a:lnTo>
                    <a:pt x="1131" y="510"/>
                  </a:lnTo>
                  <a:lnTo>
                    <a:pt x="1129" y="512"/>
                  </a:lnTo>
                  <a:lnTo>
                    <a:pt x="1129" y="512"/>
                  </a:lnTo>
                  <a:lnTo>
                    <a:pt x="1120" y="516"/>
                  </a:lnTo>
                  <a:lnTo>
                    <a:pt x="1120" y="516"/>
                  </a:lnTo>
                  <a:lnTo>
                    <a:pt x="1118" y="516"/>
                  </a:lnTo>
                  <a:lnTo>
                    <a:pt x="1118" y="518"/>
                  </a:lnTo>
                  <a:lnTo>
                    <a:pt x="1118" y="521"/>
                  </a:lnTo>
                  <a:lnTo>
                    <a:pt x="1118" y="521"/>
                  </a:lnTo>
                  <a:lnTo>
                    <a:pt x="1118" y="521"/>
                  </a:lnTo>
                  <a:lnTo>
                    <a:pt x="1116" y="521"/>
                  </a:lnTo>
                  <a:lnTo>
                    <a:pt x="1116" y="521"/>
                  </a:lnTo>
                  <a:lnTo>
                    <a:pt x="1116" y="523"/>
                  </a:lnTo>
                  <a:lnTo>
                    <a:pt x="1116" y="523"/>
                  </a:lnTo>
                  <a:lnTo>
                    <a:pt x="1114" y="525"/>
                  </a:lnTo>
                  <a:lnTo>
                    <a:pt x="1114" y="525"/>
                  </a:lnTo>
                  <a:lnTo>
                    <a:pt x="1114" y="527"/>
                  </a:lnTo>
                  <a:lnTo>
                    <a:pt x="1114" y="527"/>
                  </a:lnTo>
                  <a:lnTo>
                    <a:pt x="1112" y="527"/>
                  </a:lnTo>
                  <a:lnTo>
                    <a:pt x="1112" y="527"/>
                  </a:lnTo>
                  <a:lnTo>
                    <a:pt x="1112" y="527"/>
                  </a:lnTo>
                  <a:lnTo>
                    <a:pt x="1112" y="529"/>
                  </a:lnTo>
                  <a:lnTo>
                    <a:pt x="1110" y="529"/>
                  </a:lnTo>
                  <a:lnTo>
                    <a:pt x="1110" y="529"/>
                  </a:lnTo>
                  <a:lnTo>
                    <a:pt x="1114" y="533"/>
                  </a:lnTo>
                  <a:lnTo>
                    <a:pt x="1116" y="533"/>
                  </a:lnTo>
                  <a:lnTo>
                    <a:pt x="1118" y="535"/>
                  </a:lnTo>
                  <a:lnTo>
                    <a:pt x="1122" y="537"/>
                  </a:lnTo>
                  <a:lnTo>
                    <a:pt x="1124" y="537"/>
                  </a:lnTo>
                  <a:lnTo>
                    <a:pt x="1126" y="537"/>
                  </a:lnTo>
                  <a:lnTo>
                    <a:pt x="1129" y="539"/>
                  </a:lnTo>
                  <a:lnTo>
                    <a:pt x="1129" y="541"/>
                  </a:lnTo>
                  <a:lnTo>
                    <a:pt x="1131" y="541"/>
                  </a:lnTo>
                  <a:lnTo>
                    <a:pt x="1133" y="539"/>
                  </a:lnTo>
                  <a:lnTo>
                    <a:pt x="1135" y="539"/>
                  </a:lnTo>
                  <a:lnTo>
                    <a:pt x="1135" y="539"/>
                  </a:lnTo>
                  <a:lnTo>
                    <a:pt x="1137" y="541"/>
                  </a:lnTo>
                  <a:lnTo>
                    <a:pt x="1139" y="543"/>
                  </a:lnTo>
                  <a:lnTo>
                    <a:pt x="1137" y="543"/>
                  </a:lnTo>
                  <a:lnTo>
                    <a:pt x="1137" y="543"/>
                  </a:lnTo>
                  <a:lnTo>
                    <a:pt x="1137" y="543"/>
                  </a:lnTo>
                  <a:lnTo>
                    <a:pt x="1137" y="543"/>
                  </a:lnTo>
                  <a:lnTo>
                    <a:pt x="1137" y="543"/>
                  </a:lnTo>
                  <a:lnTo>
                    <a:pt x="1135" y="543"/>
                  </a:lnTo>
                  <a:lnTo>
                    <a:pt x="1126" y="541"/>
                  </a:lnTo>
                  <a:lnTo>
                    <a:pt x="1126" y="541"/>
                  </a:lnTo>
                  <a:lnTo>
                    <a:pt x="1124" y="541"/>
                  </a:lnTo>
                  <a:lnTo>
                    <a:pt x="1122" y="541"/>
                  </a:lnTo>
                  <a:lnTo>
                    <a:pt x="1122" y="541"/>
                  </a:lnTo>
                  <a:lnTo>
                    <a:pt x="1120" y="539"/>
                  </a:lnTo>
                  <a:lnTo>
                    <a:pt x="1120" y="539"/>
                  </a:lnTo>
                  <a:lnTo>
                    <a:pt x="1118" y="539"/>
                  </a:lnTo>
                  <a:lnTo>
                    <a:pt x="1118" y="539"/>
                  </a:lnTo>
                  <a:lnTo>
                    <a:pt x="1116" y="539"/>
                  </a:lnTo>
                  <a:lnTo>
                    <a:pt x="1114" y="541"/>
                  </a:lnTo>
                  <a:lnTo>
                    <a:pt x="1114" y="541"/>
                  </a:lnTo>
                  <a:lnTo>
                    <a:pt x="1112" y="543"/>
                  </a:lnTo>
                  <a:lnTo>
                    <a:pt x="1108" y="541"/>
                  </a:lnTo>
                  <a:lnTo>
                    <a:pt x="1108" y="541"/>
                  </a:lnTo>
                  <a:lnTo>
                    <a:pt x="1106" y="541"/>
                  </a:lnTo>
                  <a:lnTo>
                    <a:pt x="1106" y="539"/>
                  </a:lnTo>
                  <a:lnTo>
                    <a:pt x="1106" y="539"/>
                  </a:lnTo>
                  <a:lnTo>
                    <a:pt x="1104" y="537"/>
                  </a:lnTo>
                  <a:lnTo>
                    <a:pt x="1104" y="537"/>
                  </a:lnTo>
                  <a:lnTo>
                    <a:pt x="1104" y="535"/>
                  </a:lnTo>
                  <a:lnTo>
                    <a:pt x="1102" y="537"/>
                  </a:lnTo>
                  <a:lnTo>
                    <a:pt x="1098" y="539"/>
                  </a:lnTo>
                  <a:lnTo>
                    <a:pt x="1094" y="543"/>
                  </a:lnTo>
                  <a:lnTo>
                    <a:pt x="1088" y="549"/>
                  </a:lnTo>
                  <a:lnTo>
                    <a:pt x="1088" y="549"/>
                  </a:lnTo>
                  <a:lnTo>
                    <a:pt x="1088" y="551"/>
                  </a:lnTo>
                  <a:lnTo>
                    <a:pt x="1081" y="551"/>
                  </a:lnTo>
                  <a:lnTo>
                    <a:pt x="1081" y="551"/>
                  </a:lnTo>
                  <a:lnTo>
                    <a:pt x="1081" y="553"/>
                  </a:lnTo>
                  <a:lnTo>
                    <a:pt x="1079" y="553"/>
                  </a:lnTo>
                  <a:lnTo>
                    <a:pt x="1079" y="553"/>
                  </a:lnTo>
                  <a:lnTo>
                    <a:pt x="1077" y="553"/>
                  </a:lnTo>
                  <a:lnTo>
                    <a:pt x="1077" y="555"/>
                  </a:lnTo>
                  <a:lnTo>
                    <a:pt x="1079" y="555"/>
                  </a:lnTo>
                  <a:lnTo>
                    <a:pt x="1079" y="557"/>
                  </a:lnTo>
                  <a:lnTo>
                    <a:pt x="1079" y="557"/>
                  </a:lnTo>
                  <a:lnTo>
                    <a:pt x="1079" y="562"/>
                  </a:lnTo>
                  <a:lnTo>
                    <a:pt x="1081" y="562"/>
                  </a:lnTo>
                  <a:lnTo>
                    <a:pt x="1081" y="564"/>
                  </a:lnTo>
                  <a:lnTo>
                    <a:pt x="1081" y="564"/>
                  </a:lnTo>
                  <a:lnTo>
                    <a:pt x="1081" y="566"/>
                  </a:lnTo>
                  <a:lnTo>
                    <a:pt x="1081" y="566"/>
                  </a:lnTo>
                  <a:lnTo>
                    <a:pt x="1081" y="570"/>
                  </a:lnTo>
                  <a:lnTo>
                    <a:pt x="1081" y="572"/>
                  </a:lnTo>
                  <a:lnTo>
                    <a:pt x="1081" y="572"/>
                  </a:lnTo>
                  <a:lnTo>
                    <a:pt x="1081" y="572"/>
                  </a:lnTo>
                  <a:lnTo>
                    <a:pt x="1079" y="572"/>
                  </a:lnTo>
                  <a:lnTo>
                    <a:pt x="1079" y="572"/>
                  </a:lnTo>
                  <a:lnTo>
                    <a:pt x="1079" y="572"/>
                  </a:lnTo>
                  <a:lnTo>
                    <a:pt x="1079" y="574"/>
                  </a:lnTo>
                  <a:lnTo>
                    <a:pt x="1079" y="574"/>
                  </a:lnTo>
                  <a:lnTo>
                    <a:pt x="1079" y="576"/>
                  </a:lnTo>
                  <a:lnTo>
                    <a:pt x="1079" y="578"/>
                  </a:lnTo>
                  <a:lnTo>
                    <a:pt x="1079" y="580"/>
                  </a:lnTo>
                  <a:lnTo>
                    <a:pt x="1077" y="582"/>
                  </a:lnTo>
                  <a:lnTo>
                    <a:pt x="1071" y="590"/>
                  </a:lnTo>
                  <a:lnTo>
                    <a:pt x="1071" y="590"/>
                  </a:lnTo>
                  <a:lnTo>
                    <a:pt x="1071" y="592"/>
                  </a:lnTo>
                  <a:lnTo>
                    <a:pt x="1071" y="592"/>
                  </a:lnTo>
                  <a:lnTo>
                    <a:pt x="1069" y="600"/>
                  </a:lnTo>
                  <a:lnTo>
                    <a:pt x="1069" y="600"/>
                  </a:lnTo>
                  <a:lnTo>
                    <a:pt x="1069" y="603"/>
                  </a:lnTo>
                  <a:lnTo>
                    <a:pt x="1067" y="603"/>
                  </a:lnTo>
                  <a:lnTo>
                    <a:pt x="1067" y="603"/>
                  </a:lnTo>
                  <a:lnTo>
                    <a:pt x="1067" y="605"/>
                  </a:lnTo>
                  <a:lnTo>
                    <a:pt x="1069" y="607"/>
                  </a:lnTo>
                  <a:lnTo>
                    <a:pt x="1071" y="609"/>
                  </a:lnTo>
                  <a:lnTo>
                    <a:pt x="1071" y="609"/>
                  </a:lnTo>
                  <a:lnTo>
                    <a:pt x="1079" y="613"/>
                  </a:lnTo>
                  <a:lnTo>
                    <a:pt x="1079" y="613"/>
                  </a:lnTo>
                  <a:lnTo>
                    <a:pt x="1079" y="611"/>
                  </a:lnTo>
                  <a:lnTo>
                    <a:pt x="1079" y="611"/>
                  </a:lnTo>
                  <a:lnTo>
                    <a:pt x="1079" y="611"/>
                  </a:lnTo>
                  <a:lnTo>
                    <a:pt x="1079" y="609"/>
                  </a:lnTo>
                  <a:lnTo>
                    <a:pt x="1079" y="609"/>
                  </a:lnTo>
                  <a:lnTo>
                    <a:pt x="1079" y="609"/>
                  </a:lnTo>
                  <a:lnTo>
                    <a:pt x="1081" y="609"/>
                  </a:lnTo>
                  <a:lnTo>
                    <a:pt x="1086" y="605"/>
                  </a:lnTo>
                  <a:lnTo>
                    <a:pt x="1088" y="605"/>
                  </a:lnTo>
                  <a:lnTo>
                    <a:pt x="1088" y="603"/>
                  </a:lnTo>
                  <a:lnTo>
                    <a:pt x="1090" y="603"/>
                  </a:lnTo>
                  <a:lnTo>
                    <a:pt x="1090" y="603"/>
                  </a:lnTo>
                  <a:lnTo>
                    <a:pt x="1092" y="603"/>
                  </a:lnTo>
                  <a:lnTo>
                    <a:pt x="1090" y="605"/>
                  </a:lnTo>
                  <a:lnTo>
                    <a:pt x="1088" y="607"/>
                  </a:lnTo>
                  <a:lnTo>
                    <a:pt x="1088" y="607"/>
                  </a:lnTo>
                  <a:lnTo>
                    <a:pt x="1088" y="609"/>
                  </a:lnTo>
                  <a:lnTo>
                    <a:pt x="1088" y="609"/>
                  </a:lnTo>
                  <a:lnTo>
                    <a:pt x="1088" y="609"/>
                  </a:lnTo>
                  <a:lnTo>
                    <a:pt x="1086" y="609"/>
                  </a:lnTo>
                  <a:lnTo>
                    <a:pt x="1086" y="609"/>
                  </a:lnTo>
                  <a:lnTo>
                    <a:pt x="1086" y="611"/>
                  </a:lnTo>
                  <a:lnTo>
                    <a:pt x="1086" y="611"/>
                  </a:lnTo>
                  <a:lnTo>
                    <a:pt x="1088" y="613"/>
                  </a:lnTo>
                  <a:lnTo>
                    <a:pt x="1088" y="613"/>
                  </a:lnTo>
                  <a:lnTo>
                    <a:pt x="1086" y="613"/>
                  </a:lnTo>
                  <a:lnTo>
                    <a:pt x="1086" y="613"/>
                  </a:lnTo>
                  <a:lnTo>
                    <a:pt x="1083" y="613"/>
                  </a:lnTo>
                  <a:lnTo>
                    <a:pt x="1083" y="613"/>
                  </a:lnTo>
                  <a:lnTo>
                    <a:pt x="1083" y="615"/>
                  </a:lnTo>
                  <a:lnTo>
                    <a:pt x="1083" y="615"/>
                  </a:lnTo>
                  <a:lnTo>
                    <a:pt x="1083" y="615"/>
                  </a:lnTo>
                  <a:lnTo>
                    <a:pt x="1081" y="615"/>
                  </a:lnTo>
                  <a:lnTo>
                    <a:pt x="1081" y="615"/>
                  </a:lnTo>
                  <a:lnTo>
                    <a:pt x="1079" y="615"/>
                  </a:lnTo>
                  <a:lnTo>
                    <a:pt x="1079" y="617"/>
                  </a:lnTo>
                  <a:lnTo>
                    <a:pt x="1079" y="617"/>
                  </a:lnTo>
                  <a:lnTo>
                    <a:pt x="1079" y="619"/>
                  </a:lnTo>
                  <a:lnTo>
                    <a:pt x="1081" y="619"/>
                  </a:lnTo>
                  <a:lnTo>
                    <a:pt x="1081" y="621"/>
                  </a:lnTo>
                  <a:lnTo>
                    <a:pt x="1081" y="621"/>
                  </a:lnTo>
                  <a:lnTo>
                    <a:pt x="1081" y="621"/>
                  </a:lnTo>
                  <a:lnTo>
                    <a:pt x="1079" y="621"/>
                  </a:lnTo>
                  <a:lnTo>
                    <a:pt x="1079" y="619"/>
                  </a:lnTo>
                  <a:lnTo>
                    <a:pt x="1079" y="619"/>
                  </a:lnTo>
                  <a:lnTo>
                    <a:pt x="1075" y="619"/>
                  </a:lnTo>
                  <a:lnTo>
                    <a:pt x="1073" y="619"/>
                  </a:lnTo>
                  <a:lnTo>
                    <a:pt x="1073" y="619"/>
                  </a:lnTo>
                  <a:lnTo>
                    <a:pt x="1073" y="621"/>
                  </a:lnTo>
                  <a:lnTo>
                    <a:pt x="1071" y="621"/>
                  </a:lnTo>
                  <a:lnTo>
                    <a:pt x="1071" y="621"/>
                  </a:lnTo>
                  <a:lnTo>
                    <a:pt x="1069" y="623"/>
                  </a:lnTo>
                  <a:lnTo>
                    <a:pt x="1067" y="623"/>
                  </a:lnTo>
                  <a:lnTo>
                    <a:pt x="1067" y="623"/>
                  </a:lnTo>
                  <a:lnTo>
                    <a:pt x="1069" y="625"/>
                  </a:lnTo>
                  <a:lnTo>
                    <a:pt x="1069" y="625"/>
                  </a:lnTo>
                  <a:lnTo>
                    <a:pt x="1071" y="625"/>
                  </a:lnTo>
                  <a:lnTo>
                    <a:pt x="1067" y="625"/>
                  </a:lnTo>
                  <a:lnTo>
                    <a:pt x="1067" y="625"/>
                  </a:lnTo>
                  <a:lnTo>
                    <a:pt x="1067" y="627"/>
                  </a:lnTo>
                  <a:lnTo>
                    <a:pt x="1065" y="627"/>
                  </a:lnTo>
                  <a:lnTo>
                    <a:pt x="1065" y="627"/>
                  </a:lnTo>
                  <a:lnTo>
                    <a:pt x="1065" y="629"/>
                  </a:lnTo>
                  <a:lnTo>
                    <a:pt x="1065" y="629"/>
                  </a:lnTo>
                  <a:lnTo>
                    <a:pt x="1067" y="631"/>
                  </a:lnTo>
                  <a:lnTo>
                    <a:pt x="1067" y="631"/>
                  </a:lnTo>
                  <a:lnTo>
                    <a:pt x="1067" y="631"/>
                  </a:lnTo>
                  <a:lnTo>
                    <a:pt x="1069" y="631"/>
                  </a:lnTo>
                  <a:lnTo>
                    <a:pt x="1069" y="631"/>
                  </a:lnTo>
                  <a:lnTo>
                    <a:pt x="1069" y="631"/>
                  </a:lnTo>
                  <a:lnTo>
                    <a:pt x="1069" y="631"/>
                  </a:lnTo>
                  <a:lnTo>
                    <a:pt x="1067" y="631"/>
                  </a:lnTo>
                  <a:lnTo>
                    <a:pt x="1069" y="633"/>
                  </a:lnTo>
                  <a:lnTo>
                    <a:pt x="1069" y="633"/>
                  </a:lnTo>
                  <a:lnTo>
                    <a:pt x="1069" y="633"/>
                  </a:lnTo>
                  <a:lnTo>
                    <a:pt x="1071" y="633"/>
                  </a:lnTo>
                  <a:lnTo>
                    <a:pt x="1071" y="633"/>
                  </a:lnTo>
                  <a:lnTo>
                    <a:pt x="1071" y="633"/>
                  </a:lnTo>
                  <a:lnTo>
                    <a:pt x="1071" y="633"/>
                  </a:lnTo>
                  <a:lnTo>
                    <a:pt x="1073" y="635"/>
                  </a:lnTo>
                  <a:lnTo>
                    <a:pt x="1073" y="635"/>
                  </a:lnTo>
                  <a:lnTo>
                    <a:pt x="1077" y="635"/>
                  </a:lnTo>
                  <a:lnTo>
                    <a:pt x="1077" y="633"/>
                  </a:lnTo>
                  <a:lnTo>
                    <a:pt x="1075" y="635"/>
                  </a:lnTo>
                  <a:lnTo>
                    <a:pt x="1075" y="633"/>
                  </a:lnTo>
                  <a:lnTo>
                    <a:pt x="1075" y="633"/>
                  </a:lnTo>
                  <a:lnTo>
                    <a:pt x="1075" y="633"/>
                  </a:lnTo>
                  <a:lnTo>
                    <a:pt x="1077" y="633"/>
                  </a:lnTo>
                  <a:lnTo>
                    <a:pt x="1079" y="633"/>
                  </a:lnTo>
                  <a:lnTo>
                    <a:pt x="1079" y="633"/>
                  </a:lnTo>
                  <a:lnTo>
                    <a:pt x="1079" y="633"/>
                  </a:lnTo>
                  <a:lnTo>
                    <a:pt x="1079" y="633"/>
                  </a:lnTo>
                  <a:lnTo>
                    <a:pt x="1079" y="633"/>
                  </a:lnTo>
                  <a:lnTo>
                    <a:pt x="1077" y="633"/>
                  </a:lnTo>
                  <a:lnTo>
                    <a:pt x="1079" y="631"/>
                  </a:lnTo>
                  <a:lnTo>
                    <a:pt x="1081" y="631"/>
                  </a:lnTo>
                  <a:lnTo>
                    <a:pt x="1081" y="631"/>
                  </a:lnTo>
                  <a:lnTo>
                    <a:pt x="1081" y="631"/>
                  </a:lnTo>
                  <a:lnTo>
                    <a:pt x="1081" y="631"/>
                  </a:lnTo>
                  <a:lnTo>
                    <a:pt x="1081" y="631"/>
                  </a:lnTo>
                  <a:lnTo>
                    <a:pt x="1083" y="631"/>
                  </a:lnTo>
                  <a:lnTo>
                    <a:pt x="1083" y="631"/>
                  </a:lnTo>
                  <a:lnTo>
                    <a:pt x="1086" y="631"/>
                  </a:lnTo>
                  <a:lnTo>
                    <a:pt x="1086" y="631"/>
                  </a:lnTo>
                  <a:lnTo>
                    <a:pt x="1086" y="631"/>
                  </a:lnTo>
                  <a:lnTo>
                    <a:pt x="1088" y="633"/>
                  </a:lnTo>
                  <a:lnTo>
                    <a:pt x="1088" y="633"/>
                  </a:lnTo>
                  <a:lnTo>
                    <a:pt x="1088" y="633"/>
                  </a:lnTo>
                  <a:lnTo>
                    <a:pt x="1090" y="631"/>
                  </a:lnTo>
                  <a:lnTo>
                    <a:pt x="1090" y="631"/>
                  </a:lnTo>
                  <a:lnTo>
                    <a:pt x="1090" y="631"/>
                  </a:lnTo>
                  <a:lnTo>
                    <a:pt x="1090" y="631"/>
                  </a:lnTo>
                  <a:lnTo>
                    <a:pt x="1090" y="631"/>
                  </a:lnTo>
                  <a:lnTo>
                    <a:pt x="1090" y="631"/>
                  </a:lnTo>
                  <a:lnTo>
                    <a:pt x="1088" y="629"/>
                  </a:lnTo>
                  <a:lnTo>
                    <a:pt x="1088" y="629"/>
                  </a:lnTo>
                  <a:lnTo>
                    <a:pt x="1088" y="629"/>
                  </a:lnTo>
                  <a:lnTo>
                    <a:pt x="1086" y="629"/>
                  </a:lnTo>
                  <a:lnTo>
                    <a:pt x="1086" y="629"/>
                  </a:lnTo>
                  <a:lnTo>
                    <a:pt x="1086" y="629"/>
                  </a:lnTo>
                  <a:lnTo>
                    <a:pt x="1086" y="627"/>
                  </a:lnTo>
                  <a:lnTo>
                    <a:pt x="1086" y="627"/>
                  </a:lnTo>
                  <a:lnTo>
                    <a:pt x="1086" y="627"/>
                  </a:lnTo>
                  <a:lnTo>
                    <a:pt x="1086" y="627"/>
                  </a:lnTo>
                  <a:lnTo>
                    <a:pt x="1088" y="627"/>
                  </a:lnTo>
                  <a:lnTo>
                    <a:pt x="1090" y="629"/>
                  </a:lnTo>
                  <a:lnTo>
                    <a:pt x="1090" y="629"/>
                  </a:lnTo>
                  <a:lnTo>
                    <a:pt x="1090" y="629"/>
                  </a:lnTo>
                  <a:lnTo>
                    <a:pt x="1090" y="627"/>
                  </a:lnTo>
                  <a:lnTo>
                    <a:pt x="1090" y="627"/>
                  </a:lnTo>
                  <a:lnTo>
                    <a:pt x="1092" y="627"/>
                  </a:lnTo>
                  <a:lnTo>
                    <a:pt x="1092" y="629"/>
                  </a:lnTo>
                  <a:lnTo>
                    <a:pt x="1092" y="629"/>
                  </a:lnTo>
                  <a:lnTo>
                    <a:pt x="1092" y="629"/>
                  </a:lnTo>
                  <a:lnTo>
                    <a:pt x="1092" y="629"/>
                  </a:lnTo>
                  <a:lnTo>
                    <a:pt x="1092" y="629"/>
                  </a:lnTo>
                  <a:lnTo>
                    <a:pt x="1092" y="629"/>
                  </a:lnTo>
                  <a:lnTo>
                    <a:pt x="1092" y="631"/>
                  </a:lnTo>
                  <a:lnTo>
                    <a:pt x="1092" y="631"/>
                  </a:lnTo>
                  <a:lnTo>
                    <a:pt x="1094" y="633"/>
                  </a:lnTo>
                  <a:lnTo>
                    <a:pt x="1094" y="631"/>
                  </a:lnTo>
                  <a:lnTo>
                    <a:pt x="1094" y="631"/>
                  </a:lnTo>
                  <a:lnTo>
                    <a:pt x="1096" y="629"/>
                  </a:lnTo>
                  <a:lnTo>
                    <a:pt x="1096" y="629"/>
                  </a:lnTo>
                  <a:lnTo>
                    <a:pt x="1094" y="627"/>
                  </a:lnTo>
                  <a:lnTo>
                    <a:pt x="1094" y="627"/>
                  </a:lnTo>
                  <a:lnTo>
                    <a:pt x="1094" y="627"/>
                  </a:lnTo>
                  <a:lnTo>
                    <a:pt x="1096" y="625"/>
                  </a:lnTo>
                  <a:lnTo>
                    <a:pt x="1096" y="625"/>
                  </a:lnTo>
                  <a:lnTo>
                    <a:pt x="1096" y="625"/>
                  </a:lnTo>
                  <a:lnTo>
                    <a:pt x="1098" y="623"/>
                  </a:lnTo>
                  <a:lnTo>
                    <a:pt x="1098" y="623"/>
                  </a:lnTo>
                  <a:lnTo>
                    <a:pt x="1098" y="623"/>
                  </a:lnTo>
                  <a:lnTo>
                    <a:pt x="1098" y="623"/>
                  </a:lnTo>
                  <a:lnTo>
                    <a:pt x="1098" y="621"/>
                  </a:lnTo>
                  <a:lnTo>
                    <a:pt x="1098" y="621"/>
                  </a:lnTo>
                  <a:lnTo>
                    <a:pt x="1100" y="621"/>
                  </a:lnTo>
                  <a:lnTo>
                    <a:pt x="1102" y="621"/>
                  </a:lnTo>
                  <a:lnTo>
                    <a:pt x="1102" y="621"/>
                  </a:lnTo>
                  <a:lnTo>
                    <a:pt x="1102" y="619"/>
                  </a:lnTo>
                  <a:lnTo>
                    <a:pt x="1102" y="619"/>
                  </a:lnTo>
                  <a:lnTo>
                    <a:pt x="1102" y="619"/>
                  </a:lnTo>
                  <a:lnTo>
                    <a:pt x="1102" y="619"/>
                  </a:lnTo>
                  <a:lnTo>
                    <a:pt x="1102" y="619"/>
                  </a:lnTo>
                  <a:lnTo>
                    <a:pt x="1102" y="617"/>
                  </a:lnTo>
                  <a:lnTo>
                    <a:pt x="1102" y="617"/>
                  </a:lnTo>
                  <a:lnTo>
                    <a:pt x="1102" y="617"/>
                  </a:lnTo>
                  <a:lnTo>
                    <a:pt x="1102" y="615"/>
                  </a:lnTo>
                  <a:lnTo>
                    <a:pt x="1100" y="615"/>
                  </a:lnTo>
                  <a:lnTo>
                    <a:pt x="1100" y="615"/>
                  </a:lnTo>
                  <a:lnTo>
                    <a:pt x="1100" y="615"/>
                  </a:lnTo>
                  <a:lnTo>
                    <a:pt x="1102" y="613"/>
                  </a:lnTo>
                  <a:lnTo>
                    <a:pt x="1104" y="611"/>
                  </a:lnTo>
                  <a:lnTo>
                    <a:pt x="1104" y="611"/>
                  </a:lnTo>
                  <a:lnTo>
                    <a:pt x="1104" y="613"/>
                  </a:lnTo>
                  <a:lnTo>
                    <a:pt x="1104" y="615"/>
                  </a:lnTo>
                  <a:lnTo>
                    <a:pt x="1104" y="615"/>
                  </a:lnTo>
                  <a:lnTo>
                    <a:pt x="1104" y="617"/>
                  </a:lnTo>
                  <a:lnTo>
                    <a:pt x="1104" y="617"/>
                  </a:lnTo>
                  <a:lnTo>
                    <a:pt x="1104" y="619"/>
                  </a:lnTo>
                  <a:lnTo>
                    <a:pt x="1104" y="619"/>
                  </a:lnTo>
                  <a:lnTo>
                    <a:pt x="1106" y="619"/>
                  </a:lnTo>
                  <a:lnTo>
                    <a:pt x="1106" y="617"/>
                  </a:lnTo>
                  <a:lnTo>
                    <a:pt x="1106" y="617"/>
                  </a:lnTo>
                  <a:lnTo>
                    <a:pt x="1106" y="615"/>
                  </a:lnTo>
                  <a:lnTo>
                    <a:pt x="1108" y="613"/>
                  </a:lnTo>
                  <a:lnTo>
                    <a:pt x="1108" y="613"/>
                  </a:lnTo>
                  <a:lnTo>
                    <a:pt x="1108" y="611"/>
                  </a:lnTo>
                  <a:lnTo>
                    <a:pt x="1110" y="607"/>
                  </a:lnTo>
                  <a:lnTo>
                    <a:pt x="1110" y="605"/>
                  </a:lnTo>
                  <a:lnTo>
                    <a:pt x="1112" y="605"/>
                  </a:lnTo>
                  <a:lnTo>
                    <a:pt x="1110" y="607"/>
                  </a:lnTo>
                  <a:lnTo>
                    <a:pt x="1110" y="607"/>
                  </a:lnTo>
                  <a:lnTo>
                    <a:pt x="1110" y="609"/>
                  </a:lnTo>
                  <a:lnTo>
                    <a:pt x="1110" y="609"/>
                  </a:lnTo>
                  <a:lnTo>
                    <a:pt x="1110" y="611"/>
                  </a:lnTo>
                  <a:lnTo>
                    <a:pt x="1110" y="611"/>
                  </a:lnTo>
                  <a:lnTo>
                    <a:pt x="1110" y="611"/>
                  </a:lnTo>
                  <a:lnTo>
                    <a:pt x="1110" y="611"/>
                  </a:lnTo>
                  <a:lnTo>
                    <a:pt x="1110" y="613"/>
                  </a:lnTo>
                  <a:lnTo>
                    <a:pt x="1110" y="613"/>
                  </a:lnTo>
                  <a:lnTo>
                    <a:pt x="1110" y="613"/>
                  </a:lnTo>
                  <a:lnTo>
                    <a:pt x="1108" y="613"/>
                  </a:lnTo>
                  <a:lnTo>
                    <a:pt x="1108" y="615"/>
                  </a:lnTo>
                  <a:lnTo>
                    <a:pt x="1108" y="615"/>
                  </a:lnTo>
                  <a:lnTo>
                    <a:pt x="1108" y="615"/>
                  </a:lnTo>
                  <a:lnTo>
                    <a:pt x="1108" y="615"/>
                  </a:lnTo>
                  <a:lnTo>
                    <a:pt x="1108" y="615"/>
                  </a:lnTo>
                  <a:lnTo>
                    <a:pt x="1108" y="617"/>
                  </a:lnTo>
                  <a:lnTo>
                    <a:pt x="1108" y="617"/>
                  </a:lnTo>
                  <a:lnTo>
                    <a:pt x="1108" y="617"/>
                  </a:lnTo>
                  <a:lnTo>
                    <a:pt x="1108" y="617"/>
                  </a:lnTo>
                  <a:lnTo>
                    <a:pt x="1108" y="617"/>
                  </a:lnTo>
                  <a:lnTo>
                    <a:pt x="1108" y="617"/>
                  </a:lnTo>
                  <a:lnTo>
                    <a:pt x="1108" y="617"/>
                  </a:lnTo>
                  <a:lnTo>
                    <a:pt x="1108" y="617"/>
                  </a:lnTo>
                  <a:lnTo>
                    <a:pt x="1108" y="617"/>
                  </a:lnTo>
                  <a:lnTo>
                    <a:pt x="1108" y="619"/>
                  </a:lnTo>
                  <a:lnTo>
                    <a:pt x="1108" y="619"/>
                  </a:lnTo>
                  <a:lnTo>
                    <a:pt x="1110" y="617"/>
                  </a:lnTo>
                  <a:lnTo>
                    <a:pt x="1110" y="617"/>
                  </a:lnTo>
                  <a:lnTo>
                    <a:pt x="1110" y="617"/>
                  </a:lnTo>
                  <a:lnTo>
                    <a:pt x="1112" y="617"/>
                  </a:lnTo>
                  <a:lnTo>
                    <a:pt x="1110" y="615"/>
                  </a:lnTo>
                  <a:lnTo>
                    <a:pt x="1112" y="615"/>
                  </a:lnTo>
                  <a:lnTo>
                    <a:pt x="1112" y="615"/>
                  </a:lnTo>
                  <a:lnTo>
                    <a:pt x="1112" y="613"/>
                  </a:lnTo>
                  <a:lnTo>
                    <a:pt x="1112" y="613"/>
                  </a:lnTo>
                  <a:lnTo>
                    <a:pt x="1112" y="613"/>
                  </a:lnTo>
                  <a:lnTo>
                    <a:pt x="1112" y="611"/>
                  </a:lnTo>
                  <a:lnTo>
                    <a:pt x="1112" y="611"/>
                  </a:lnTo>
                  <a:lnTo>
                    <a:pt x="1114" y="613"/>
                  </a:lnTo>
                  <a:lnTo>
                    <a:pt x="1114" y="613"/>
                  </a:lnTo>
                  <a:lnTo>
                    <a:pt x="1114" y="613"/>
                  </a:lnTo>
                  <a:lnTo>
                    <a:pt x="1114" y="613"/>
                  </a:lnTo>
                  <a:lnTo>
                    <a:pt x="1114" y="611"/>
                  </a:lnTo>
                  <a:lnTo>
                    <a:pt x="1114" y="611"/>
                  </a:lnTo>
                  <a:lnTo>
                    <a:pt x="1114" y="611"/>
                  </a:lnTo>
                  <a:lnTo>
                    <a:pt x="1114" y="609"/>
                  </a:lnTo>
                  <a:lnTo>
                    <a:pt x="1114" y="609"/>
                  </a:lnTo>
                  <a:lnTo>
                    <a:pt x="1114" y="609"/>
                  </a:lnTo>
                  <a:lnTo>
                    <a:pt x="1114" y="607"/>
                  </a:lnTo>
                  <a:lnTo>
                    <a:pt x="1114" y="607"/>
                  </a:lnTo>
                  <a:lnTo>
                    <a:pt x="1114" y="607"/>
                  </a:lnTo>
                  <a:lnTo>
                    <a:pt x="1114" y="607"/>
                  </a:lnTo>
                  <a:lnTo>
                    <a:pt x="1114" y="607"/>
                  </a:lnTo>
                  <a:lnTo>
                    <a:pt x="1114" y="607"/>
                  </a:lnTo>
                  <a:lnTo>
                    <a:pt x="1116" y="607"/>
                  </a:lnTo>
                  <a:lnTo>
                    <a:pt x="1116" y="609"/>
                  </a:lnTo>
                  <a:lnTo>
                    <a:pt x="1116" y="609"/>
                  </a:lnTo>
                  <a:lnTo>
                    <a:pt x="1116" y="609"/>
                  </a:lnTo>
                  <a:lnTo>
                    <a:pt x="1116" y="609"/>
                  </a:lnTo>
                  <a:lnTo>
                    <a:pt x="1118" y="607"/>
                  </a:lnTo>
                  <a:lnTo>
                    <a:pt x="1118" y="605"/>
                  </a:lnTo>
                  <a:lnTo>
                    <a:pt x="1118" y="605"/>
                  </a:lnTo>
                  <a:lnTo>
                    <a:pt x="1118" y="605"/>
                  </a:lnTo>
                  <a:lnTo>
                    <a:pt x="1118" y="605"/>
                  </a:lnTo>
                  <a:lnTo>
                    <a:pt x="1118" y="603"/>
                  </a:lnTo>
                  <a:lnTo>
                    <a:pt x="1118" y="603"/>
                  </a:lnTo>
                  <a:lnTo>
                    <a:pt x="1116" y="603"/>
                  </a:lnTo>
                  <a:lnTo>
                    <a:pt x="1116" y="600"/>
                  </a:lnTo>
                  <a:lnTo>
                    <a:pt x="1116" y="600"/>
                  </a:lnTo>
                  <a:lnTo>
                    <a:pt x="1116" y="600"/>
                  </a:lnTo>
                  <a:lnTo>
                    <a:pt x="1118" y="600"/>
                  </a:lnTo>
                  <a:lnTo>
                    <a:pt x="1118" y="600"/>
                  </a:lnTo>
                  <a:lnTo>
                    <a:pt x="1118" y="603"/>
                  </a:lnTo>
                  <a:lnTo>
                    <a:pt x="1120" y="603"/>
                  </a:lnTo>
                  <a:lnTo>
                    <a:pt x="1120" y="605"/>
                  </a:lnTo>
                  <a:lnTo>
                    <a:pt x="1122" y="605"/>
                  </a:lnTo>
                  <a:lnTo>
                    <a:pt x="1122" y="605"/>
                  </a:lnTo>
                  <a:lnTo>
                    <a:pt x="1122" y="605"/>
                  </a:lnTo>
                  <a:lnTo>
                    <a:pt x="1122" y="607"/>
                  </a:lnTo>
                  <a:lnTo>
                    <a:pt x="1122" y="607"/>
                  </a:lnTo>
                  <a:lnTo>
                    <a:pt x="1122" y="607"/>
                  </a:lnTo>
                  <a:lnTo>
                    <a:pt x="1122" y="607"/>
                  </a:lnTo>
                  <a:lnTo>
                    <a:pt x="1124" y="607"/>
                  </a:lnTo>
                  <a:lnTo>
                    <a:pt x="1124" y="607"/>
                  </a:lnTo>
                  <a:lnTo>
                    <a:pt x="1124" y="607"/>
                  </a:lnTo>
                  <a:lnTo>
                    <a:pt x="1124" y="605"/>
                  </a:lnTo>
                  <a:lnTo>
                    <a:pt x="1122" y="600"/>
                  </a:lnTo>
                  <a:lnTo>
                    <a:pt x="1122" y="600"/>
                  </a:lnTo>
                  <a:lnTo>
                    <a:pt x="1120" y="598"/>
                  </a:lnTo>
                  <a:lnTo>
                    <a:pt x="1120" y="598"/>
                  </a:lnTo>
                  <a:lnTo>
                    <a:pt x="1120" y="598"/>
                  </a:lnTo>
                  <a:lnTo>
                    <a:pt x="1120" y="596"/>
                  </a:lnTo>
                  <a:lnTo>
                    <a:pt x="1120" y="596"/>
                  </a:lnTo>
                  <a:lnTo>
                    <a:pt x="1122" y="598"/>
                  </a:lnTo>
                  <a:lnTo>
                    <a:pt x="1122" y="598"/>
                  </a:lnTo>
                  <a:lnTo>
                    <a:pt x="1122" y="598"/>
                  </a:lnTo>
                  <a:lnTo>
                    <a:pt x="1122" y="596"/>
                  </a:lnTo>
                  <a:lnTo>
                    <a:pt x="1122" y="594"/>
                  </a:lnTo>
                  <a:lnTo>
                    <a:pt x="1122" y="592"/>
                  </a:lnTo>
                  <a:lnTo>
                    <a:pt x="1122" y="592"/>
                  </a:lnTo>
                  <a:lnTo>
                    <a:pt x="1124" y="592"/>
                  </a:lnTo>
                  <a:lnTo>
                    <a:pt x="1124" y="592"/>
                  </a:lnTo>
                  <a:lnTo>
                    <a:pt x="1126" y="594"/>
                  </a:lnTo>
                  <a:lnTo>
                    <a:pt x="1126" y="594"/>
                  </a:lnTo>
                  <a:lnTo>
                    <a:pt x="1126" y="596"/>
                  </a:lnTo>
                  <a:lnTo>
                    <a:pt x="1126" y="598"/>
                  </a:lnTo>
                  <a:lnTo>
                    <a:pt x="1124" y="598"/>
                  </a:lnTo>
                  <a:lnTo>
                    <a:pt x="1124" y="598"/>
                  </a:lnTo>
                  <a:lnTo>
                    <a:pt x="1126" y="600"/>
                  </a:lnTo>
                  <a:lnTo>
                    <a:pt x="1126" y="600"/>
                  </a:lnTo>
                  <a:lnTo>
                    <a:pt x="1126" y="600"/>
                  </a:lnTo>
                  <a:lnTo>
                    <a:pt x="1126" y="600"/>
                  </a:lnTo>
                  <a:lnTo>
                    <a:pt x="1126" y="600"/>
                  </a:lnTo>
                  <a:lnTo>
                    <a:pt x="1126" y="600"/>
                  </a:lnTo>
                  <a:lnTo>
                    <a:pt x="1126" y="600"/>
                  </a:lnTo>
                  <a:lnTo>
                    <a:pt x="1126" y="603"/>
                  </a:lnTo>
                  <a:lnTo>
                    <a:pt x="1129" y="603"/>
                  </a:lnTo>
                  <a:lnTo>
                    <a:pt x="1129" y="603"/>
                  </a:lnTo>
                  <a:lnTo>
                    <a:pt x="1129" y="605"/>
                  </a:lnTo>
                  <a:lnTo>
                    <a:pt x="1129" y="605"/>
                  </a:lnTo>
                  <a:lnTo>
                    <a:pt x="1129" y="605"/>
                  </a:lnTo>
                  <a:lnTo>
                    <a:pt x="1129" y="603"/>
                  </a:lnTo>
                  <a:lnTo>
                    <a:pt x="1129" y="603"/>
                  </a:lnTo>
                  <a:lnTo>
                    <a:pt x="1129" y="603"/>
                  </a:lnTo>
                  <a:lnTo>
                    <a:pt x="1129" y="603"/>
                  </a:lnTo>
                  <a:lnTo>
                    <a:pt x="1129" y="600"/>
                  </a:lnTo>
                  <a:lnTo>
                    <a:pt x="1129" y="600"/>
                  </a:lnTo>
                  <a:lnTo>
                    <a:pt x="1129" y="600"/>
                  </a:lnTo>
                  <a:lnTo>
                    <a:pt x="1129" y="600"/>
                  </a:lnTo>
                  <a:lnTo>
                    <a:pt x="1129" y="600"/>
                  </a:lnTo>
                  <a:lnTo>
                    <a:pt x="1129" y="600"/>
                  </a:lnTo>
                  <a:lnTo>
                    <a:pt x="1126" y="600"/>
                  </a:lnTo>
                  <a:lnTo>
                    <a:pt x="1126" y="598"/>
                  </a:lnTo>
                  <a:lnTo>
                    <a:pt x="1126" y="598"/>
                  </a:lnTo>
                  <a:lnTo>
                    <a:pt x="1126" y="598"/>
                  </a:lnTo>
                  <a:lnTo>
                    <a:pt x="1126" y="598"/>
                  </a:lnTo>
                  <a:lnTo>
                    <a:pt x="1126" y="596"/>
                  </a:lnTo>
                  <a:lnTo>
                    <a:pt x="1126" y="594"/>
                  </a:lnTo>
                  <a:lnTo>
                    <a:pt x="1129" y="594"/>
                  </a:lnTo>
                  <a:lnTo>
                    <a:pt x="1129" y="594"/>
                  </a:lnTo>
                  <a:lnTo>
                    <a:pt x="1129" y="592"/>
                  </a:lnTo>
                  <a:lnTo>
                    <a:pt x="1129" y="592"/>
                  </a:lnTo>
                  <a:lnTo>
                    <a:pt x="1129" y="592"/>
                  </a:lnTo>
                  <a:lnTo>
                    <a:pt x="1131" y="592"/>
                  </a:lnTo>
                  <a:lnTo>
                    <a:pt x="1131" y="592"/>
                  </a:lnTo>
                  <a:lnTo>
                    <a:pt x="1131" y="592"/>
                  </a:lnTo>
                  <a:lnTo>
                    <a:pt x="1131" y="592"/>
                  </a:lnTo>
                  <a:lnTo>
                    <a:pt x="1131" y="590"/>
                  </a:lnTo>
                  <a:lnTo>
                    <a:pt x="1131" y="590"/>
                  </a:lnTo>
                  <a:lnTo>
                    <a:pt x="1131" y="590"/>
                  </a:lnTo>
                  <a:lnTo>
                    <a:pt x="1131" y="590"/>
                  </a:lnTo>
                  <a:lnTo>
                    <a:pt x="1133" y="588"/>
                  </a:lnTo>
                  <a:lnTo>
                    <a:pt x="1131" y="588"/>
                  </a:lnTo>
                  <a:lnTo>
                    <a:pt x="1131" y="588"/>
                  </a:lnTo>
                  <a:lnTo>
                    <a:pt x="1131" y="586"/>
                  </a:lnTo>
                  <a:lnTo>
                    <a:pt x="1131" y="586"/>
                  </a:lnTo>
                  <a:lnTo>
                    <a:pt x="1131" y="584"/>
                  </a:lnTo>
                  <a:lnTo>
                    <a:pt x="1131" y="584"/>
                  </a:lnTo>
                  <a:lnTo>
                    <a:pt x="1131" y="582"/>
                  </a:lnTo>
                  <a:lnTo>
                    <a:pt x="1131" y="582"/>
                  </a:lnTo>
                  <a:lnTo>
                    <a:pt x="1133" y="582"/>
                  </a:lnTo>
                  <a:lnTo>
                    <a:pt x="1133" y="582"/>
                  </a:lnTo>
                  <a:lnTo>
                    <a:pt x="1133" y="584"/>
                  </a:lnTo>
                  <a:lnTo>
                    <a:pt x="1133" y="588"/>
                  </a:lnTo>
                  <a:lnTo>
                    <a:pt x="1135" y="588"/>
                  </a:lnTo>
                  <a:lnTo>
                    <a:pt x="1135" y="588"/>
                  </a:lnTo>
                  <a:lnTo>
                    <a:pt x="1135" y="588"/>
                  </a:lnTo>
                  <a:lnTo>
                    <a:pt x="1135" y="588"/>
                  </a:lnTo>
                  <a:lnTo>
                    <a:pt x="1135" y="588"/>
                  </a:lnTo>
                  <a:lnTo>
                    <a:pt x="1133" y="588"/>
                  </a:lnTo>
                  <a:lnTo>
                    <a:pt x="1133" y="590"/>
                  </a:lnTo>
                  <a:lnTo>
                    <a:pt x="1135" y="590"/>
                  </a:lnTo>
                  <a:lnTo>
                    <a:pt x="1135" y="590"/>
                  </a:lnTo>
                  <a:lnTo>
                    <a:pt x="1135" y="590"/>
                  </a:lnTo>
                  <a:lnTo>
                    <a:pt x="1135" y="590"/>
                  </a:lnTo>
                  <a:lnTo>
                    <a:pt x="1135" y="592"/>
                  </a:lnTo>
                  <a:lnTo>
                    <a:pt x="1135" y="592"/>
                  </a:lnTo>
                  <a:lnTo>
                    <a:pt x="1135" y="594"/>
                  </a:lnTo>
                  <a:lnTo>
                    <a:pt x="1135" y="594"/>
                  </a:lnTo>
                  <a:lnTo>
                    <a:pt x="1135" y="594"/>
                  </a:lnTo>
                  <a:lnTo>
                    <a:pt x="1137" y="594"/>
                  </a:lnTo>
                  <a:lnTo>
                    <a:pt x="1137" y="594"/>
                  </a:lnTo>
                  <a:lnTo>
                    <a:pt x="1137" y="592"/>
                  </a:lnTo>
                  <a:lnTo>
                    <a:pt x="1137" y="592"/>
                  </a:lnTo>
                  <a:lnTo>
                    <a:pt x="1137" y="592"/>
                  </a:lnTo>
                  <a:lnTo>
                    <a:pt x="1137" y="590"/>
                  </a:lnTo>
                  <a:lnTo>
                    <a:pt x="1137" y="590"/>
                  </a:lnTo>
                  <a:lnTo>
                    <a:pt x="1137" y="590"/>
                  </a:lnTo>
                  <a:lnTo>
                    <a:pt x="1137" y="590"/>
                  </a:lnTo>
                  <a:lnTo>
                    <a:pt x="1137" y="588"/>
                  </a:lnTo>
                  <a:lnTo>
                    <a:pt x="1137" y="588"/>
                  </a:lnTo>
                  <a:lnTo>
                    <a:pt x="1137" y="588"/>
                  </a:lnTo>
                  <a:lnTo>
                    <a:pt x="1139" y="586"/>
                  </a:lnTo>
                  <a:lnTo>
                    <a:pt x="1139" y="586"/>
                  </a:lnTo>
                  <a:lnTo>
                    <a:pt x="1141" y="586"/>
                  </a:lnTo>
                  <a:lnTo>
                    <a:pt x="1141" y="586"/>
                  </a:lnTo>
                  <a:lnTo>
                    <a:pt x="1141" y="586"/>
                  </a:lnTo>
                  <a:lnTo>
                    <a:pt x="1139" y="588"/>
                  </a:lnTo>
                  <a:lnTo>
                    <a:pt x="1139" y="588"/>
                  </a:lnTo>
                  <a:lnTo>
                    <a:pt x="1139" y="590"/>
                  </a:lnTo>
                  <a:lnTo>
                    <a:pt x="1141" y="590"/>
                  </a:lnTo>
                  <a:lnTo>
                    <a:pt x="1141" y="588"/>
                  </a:lnTo>
                  <a:lnTo>
                    <a:pt x="1141" y="590"/>
                  </a:lnTo>
                  <a:lnTo>
                    <a:pt x="1143" y="590"/>
                  </a:lnTo>
                  <a:lnTo>
                    <a:pt x="1143" y="590"/>
                  </a:lnTo>
                  <a:lnTo>
                    <a:pt x="1145" y="590"/>
                  </a:lnTo>
                  <a:lnTo>
                    <a:pt x="1145" y="590"/>
                  </a:lnTo>
                  <a:lnTo>
                    <a:pt x="1145" y="590"/>
                  </a:lnTo>
                  <a:lnTo>
                    <a:pt x="1147" y="590"/>
                  </a:lnTo>
                  <a:lnTo>
                    <a:pt x="1147" y="590"/>
                  </a:lnTo>
                  <a:lnTo>
                    <a:pt x="1149" y="590"/>
                  </a:lnTo>
                  <a:lnTo>
                    <a:pt x="1149" y="590"/>
                  </a:lnTo>
                  <a:lnTo>
                    <a:pt x="1149" y="590"/>
                  </a:lnTo>
                  <a:lnTo>
                    <a:pt x="1149" y="590"/>
                  </a:lnTo>
                  <a:lnTo>
                    <a:pt x="1151" y="590"/>
                  </a:lnTo>
                  <a:lnTo>
                    <a:pt x="1151" y="590"/>
                  </a:lnTo>
                  <a:lnTo>
                    <a:pt x="1151" y="590"/>
                  </a:lnTo>
                  <a:lnTo>
                    <a:pt x="1151" y="590"/>
                  </a:lnTo>
                  <a:lnTo>
                    <a:pt x="1151" y="590"/>
                  </a:lnTo>
                  <a:lnTo>
                    <a:pt x="1151" y="590"/>
                  </a:lnTo>
                  <a:lnTo>
                    <a:pt x="1151" y="590"/>
                  </a:lnTo>
                  <a:lnTo>
                    <a:pt x="1151" y="592"/>
                  </a:lnTo>
                  <a:lnTo>
                    <a:pt x="1151" y="592"/>
                  </a:lnTo>
                  <a:lnTo>
                    <a:pt x="1153" y="590"/>
                  </a:lnTo>
                  <a:lnTo>
                    <a:pt x="1153" y="588"/>
                  </a:lnTo>
                  <a:lnTo>
                    <a:pt x="1153" y="588"/>
                  </a:lnTo>
                  <a:lnTo>
                    <a:pt x="1153" y="588"/>
                  </a:lnTo>
                  <a:lnTo>
                    <a:pt x="1153" y="588"/>
                  </a:lnTo>
                  <a:lnTo>
                    <a:pt x="1153" y="586"/>
                  </a:lnTo>
                  <a:lnTo>
                    <a:pt x="1153" y="586"/>
                  </a:lnTo>
                  <a:lnTo>
                    <a:pt x="1155" y="586"/>
                  </a:lnTo>
                  <a:lnTo>
                    <a:pt x="1155" y="586"/>
                  </a:lnTo>
                  <a:lnTo>
                    <a:pt x="1155" y="588"/>
                  </a:lnTo>
                  <a:lnTo>
                    <a:pt x="1157" y="590"/>
                  </a:lnTo>
                  <a:lnTo>
                    <a:pt x="1157" y="588"/>
                  </a:lnTo>
                  <a:lnTo>
                    <a:pt x="1157" y="588"/>
                  </a:lnTo>
                  <a:lnTo>
                    <a:pt x="1157" y="586"/>
                  </a:lnTo>
                  <a:lnTo>
                    <a:pt x="1157" y="586"/>
                  </a:lnTo>
                  <a:lnTo>
                    <a:pt x="1157" y="586"/>
                  </a:lnTo>
                  <a:lnTo>
                    <a:pt x="1157" y="586"/>
                  </a:lnTo>
                  <a:lnTo>
                    <a:pt x="1157" y="586"/>
                  </a:lnTo>
                  <a:lnTo>
                    <a:pt x="1157" y="586"/>
                  </a:lnTo>
                  <a:lnTo>
                    <a:pt x="1157" y="586"/>
                  </a:lnTo>
                  <a:lnTo>
                    <a:pt x="1157" y="584"/>
                  </a:lnTo>
                  <a:lnTo>
                    <a:pt x="1157" y="584"/>
                  </a:lnTo>
                  <a:lnTo>
                    <a:pt x="1157" y="582"/>
                  </a:lnTo>
                  <a:lnTo>
                    <a:pt x="1157" y="580"/>
                  </a:lnTo>
                  <a:lnTo>
                    <a:pt x="1159" y="578"/>
                  </a:lnTo>
                  <a:lnTo>
                    <a:pt x="1159" y="578"/>
                  </a:lnTo>
                  <a:lnTo>
                    <a:pt x="1159" y="578"/>
                  </a:lnTo>
                  <a:lnTo>
                    <a:pt x="1159" y="578"/>
                  </a:lnTo>
                  <a:lnTo>
                    <a:pt x="1159" y="580"/>
                  </a:lnTo>
                  <a:lnTo>
                    <a:pt x="1159" y="580"/>
                  </a:lnTo>
                  <a:lnTo>
                    <a:pt x="1161" y="580"/>
                  </a:lnTo>
                  <a:lnTo>
                    <a:pt x="1163" y="580"/>
                  </a:lnTo>
                  <a:lnTo>
                    <a:pt x="1163" y="578"/>
                  </a:lnTo>
                  <a:lnTo>
                    <a:pt x="1163" y="576"/>
                  </a:lnTo>
                  <a:lnTo>
                    <a:pt x="1163" y="576"/>
                  </a:lnTo>
                  <a:lnTo>
                    <a:pt x="1163" y="574"/>
                  </a:lnTo>
                  <a:lnTo>
                    <a:pt x="1163" y="574"/>
                  </a:lnTo>
                  <a:lnTo>
                    <a:pt x="1163" y="574"/>
                  </a:lnTo>
                  <a:lnTo>
                    <a:pt x="1163" y="574"/>
                  </a:lnTo>
                  <a:lnTo>
                    <a:pt x="1163" y="574"/>
                  </a:lnTo>
                  <a:lnTo>
                    <a:pt x="1163" y="576"/>
                  </a:lnTo>
                  <a:lnTo>
                    <a:pt x="1161" y="578"/>
                  </a:lnTo>
                  <a:lnTo>
                    <a:pt x="1161" y="578"/>
                  </a:lnTo>
                  <a:lnTo>
                    <a:pt x="1161" y="576"/>
                  </a:lnTo>
                  <a:lnTo>
                    <a:pt x="1161" y="576"/>
                  </a:lnTo>
                  <a:lnTo>
                    <a:pt x="1161" y="576"/>
                  </a:lnTo>
                  <a:lnTo>
                    <a:pt x="1161" y="576"/>
                  </a:lnTo>
                  <a:lnTo>
                    <a:pt x="1161" y="574"/>
                  </a:lnTo>
                  <a:lnTo>
                    <a:pt x="1159" y="574"/>
                  </a:lnTo>
                  <a:lnTo>
                    <a:pt x="1161" y="574"/>
                  </a:lnTo>
                  <a:lnTo>
                    <a:pt x="1161" y="574"/>
                  </a:lnTo>
                  <a:lnTo>
                    <a:pt x="1161" y="574"/>
                  </a:lnTo>
                  <a:lnTo>
                    <a:pt x="1161" y="574"/>
                  </a:lnTo>
                  <a:lnTo>
                    <a:pt x="1159" y="574"/>
                  </a:lnTo>
                  <a:lnTo>
                    <a:pt x="1159" y="576"/>
                  </a:lnTo>
                  <a:lnTo>
                    <a:pt x="1157" y="576"/>
                  </a:lnTo>
                  <a:lnTo>
                    <a:pt x="1157" y="576"/>
                  </a:lnTo>
                  <a:lnTo>
                    <a:pt x="1157" y="578"/>
                  </a:lnTo>
                  <a:lnTo>
                    <a:pt x="1155" y="578"/>
                  </a:lnTo>
                  <a:lnTo>
                    <a:pt x="1155" y="576"/>
                  </a:lnTo>
                  <a:lnTo>
                    <a:pt x="1157" y="576"/>
                  </a:lnTo>
                  <a:lnTo>
                    <a:pt x="1157" y="576"/>
                  </a:lnTo>
                  <a:lnTo>
                    <a:pt x="1157" y="576"/>
                  </a:lnTo>
                  <a:lnTo>
                    <a:pt x="1157" y="576"/>
                  </a:lnTo>
                  <a:lnTo>
                    <a:pt x="1157" y="574"/>
                  </a:lnTo>
                  <a:lnTo>
                    <a:pt x="1157" y="574"/>
                  </a:lnTo>
                  <a:lnTo>
                    <a:pt x="1157" y="574"/>
                  </a:lnTo>
                  <a:lnTo>
                    <a:pt x="1157" y="574"/>
                  </a:lnTo>
                  <a:lnTo>
                    <a:pt x="1157" y="572"/>
                  </a:lnTo>
                  <a:lnTo>
                    <a:pt x="1157" y="572"/>
                  </a:lnTo>
                  <a:lnTo>
                    <a:pt x="1157" y="572"/>
                  </a:lnTo>
                  <a:lnTo>
                    <a:pt x="1157" y="572"/>
                  </a:lnTo>
                  <a:lnTo>
                    <a:pt x="1157" y="574"/>
                  </a:lnTo>
                  <a:lnTo>
                    <a:pt x="1157" y="574"/>
                  </a:lnTo>
                  <a:lnTo>
                    <a:pt x="1159" y="574"/>
                  </a:lnTo>
                  <a:lnTo>
                    <a:pt x="1159" y="572"/>
                  </a:lnTo>
                  <a:lnTo>
                    <a:pt x="1159" y="572"/>
                  </a:lnTo>
                  <a:lnTo>
                    <a:pt x="1161" y="572"/>
                  </a:lnTo>
                  <a:lnTo>
                    <a:pt x="1161" y="570"/>
                  </a:lnTo>
                  <a:lnTo>
                    <a:pt x="1161" y="568"/>
                  </a:lnTo>
                  <a:lnTo>
                    <a:pt x="1161" y="568"/>
                  </a:lnTo>
                  <a:lnTo>
                    <a:pt x="1159" y="568"/>
                  </a:lnTo>
                  <a:lnTo>
                    <a:pt x="1159" y="568"/>
                  </a:lnTo>
                  <a:lnTo>
                    <a:pt x="1159" y="568"/>
                  </a:lnTo>
                  <a:lnTo>
                    <a:pt x="1159" y="568"/>
                  </a:lnTo>
                  <a:lnTo>
                    <a:pt x="1159" y="566"/>
                  </a:lnTo>
                  <a:lnTo>
                    <a:pt x="1161" y="568"/>
                  </a:lnTo>
                  <a:lnTo>
                    <a:pt x="1161" y="568"/>
                  </a:lnTo>
                  <a:lnTo>
                    <a:pt x="1161" y="568"/>
                  </a:lnTo>
                  <a:lnTo>
                    <a:pt x="1161" y="568"/>
                  </a:lnTo>
                  <a:lnTo>
                    <a:pt x="1163" y="568"/>
                  </a:lnTo>
                  <a:lnTo>
                    <a:pt x="1163" y="568"/>
                  </a:lnTo>
                  <a:lnTo>
                    <a:pt x="1163" y="566"/>
                  </a:lnTo>
                  <a:lnTo>
                    <a:pt x="1161" y="566"/>
                  </a:lnTo>
                  <a:lnTo>
                    <a:pt x="1161" y="566"/>
                  </a:lnTo>
                  <a:lnTo>
                    <a:pt x="1161" y="566"/>
                  </a:lnTo>
                  <a:lnTo>
                    <a:pt x="1163" y="566"/>
                  </a:lnTo>
                  <a:lnTo>
                    <a:pt x="1163" y="566"/>
                  </a:lnTo>
                  <a:lnTo>
                    <a:pt x="1163" y="564"/>
                  </a:lnTo>
                  <a:lnTo>
                    <a:pt x="1163" y="564"/>
                  </a:lnTo>
                  <a:lnTo>
                    <a:pt x="1165" y="566"/>
                  </a:lnTo>
                  <a:lnTo>
                    <a:pt x="1165" y="566"/>
                  </a:lnTo>
                  <a:lnTo>
                    <a:pt x="1165" y="566"/>
                  </a:lnTo>
                  <a:lnTo>
                    <a:pt x="1165" y="564"/>
                  </a:lnTo>
                  <a:lnTo>
                    <a:pt x="1165" y="564"/>
                  </a:lnTo>
                  <a:lnTo>
                    <a:pt x="1167" y="564"/>
                  </a:lnTo>
                  <a:lnTo>
                    <a:pt x="1167" y="564"/>
                  </a:lnTo>
                  <a:lnTo>
                    <a:pt x="1167" y="562"/>
                  </a:lnTo>
                  <a:lnTo>
                    <a:pt x="1167" y="562"/>
                  </a:lnTo>
                  <a:lnTo>
                    <a:pt x="1167" y="562"/>
                  </a:lnTo>
                  <a:lnTo>
                    <a:pt x="1165" y="562"/>
                  </a:lnTo>
                  <a:lnTo>
                    <a:pt x="1165" y="562"/>
                  </a:lnTo>
                  <a:lnTo>
                    <a:pt x="1165" y="562"/>
                  </a:lnTo>
                  <a:lnTo>
                    <a:pt x="1165" y="562"/>
                  </a:lnTo>
                  <a:lnTo>
                    <a:pt x="1167" y="559"/>
                  </a:lnTo>
                  <a:lnTo>
                    <a:pt x="1167" y="559"/>
                  </a:lnTo>
                  <a:lnTo>
                    <a:pt x="1167" y="559"/>
                  </a:lnTo>
                  <a:lnTo>
                    <a:pt x="1165" y="559"/>
                  </a:lnTo>
                  <a:lnTo>
                    <a:pt x="1165" y="559"/>
                  </a:lnTo>
                  <a:lnTo>
                    <a:pt x="1165" y="559"/>
                  </a:lnTo>
                  <a:lnTo>
                    <a:pt x="1165" y="557"/>
                  </a:lnTo>
                  <a:lnTo>
                    <a:pt x="1165" y="557"/>
                  </a:lnTo>
                  <a:lnTo>
                    <a:pt x="1165" y="557"/>
                  </a:lnTo>
                  <a:lnTo>
                    <a:pt x="1165" y="557"/>
                  </a:lnTo>
                  <a:lnTo>
                    <a:pt x="1165" y="557"/>
                  </a:lnTo>
                  <a:lnTo>
                    <a:pt x="1163" y="557"/>
                  </a:lnTo>
                  <a:lnTo>
                    <a:pt x="1163" y="557"/>
                  </a:lnTo>
                  <a:lnTo>
                    <a:pt x="1163" y="555"/>
                  </a:lnTo>
                  <a:lnTo>
                    <a:pt x="1163" y="555"/>
                  </a:lnTo>
                  <a:lnTo>
                    <a:pt x="1163" y="555"/>
                  </a:lnTo>
                  <a:lnTo>
                    <a:pt x="1163" y="555"/>
                  </a:lnTo>
                  <a:lnTo>
                    <a:pt x="1163" y="555"/>
                  </a:lnTo>
                  <a:lnTo>
                    <a:pt x="1161" y="555"/>
                  </a:lnTo>
                  <a:lnTo>
                    <a:pt x="1161" y="555"/>
                  </a:lnTo>
                  <a:lnTo>
                    <a:pt x="1161" y="557"/>
                  </a:lnTo>
                  <a:lnTo>
                    <a:pt x="1161" y="559"/>
                  </a:lnTo>
                  <a:lnTo>
                    <a:pt x="1161" y="559"/>
                  </a:lnTo>
                  <a:lnTo>
                    <a:pt x="1161" y="559"/>
                  </a:lnTo>
                  <a:lnTo>
                    <a:pt x="1161" y="559"/>
                  </a:lnTo>
                  <a:lnTo>
                    <a:pt x="1161" y="559"/>
                  </a:lnTo>
                  <a:lnTo>
                    <a:pt x="1161" y="557"/>
                  </a:lnTo>
                  <a:lnTo>
                    <a:pt x="1161" y="557"/>
                  </a:lnTo>
                  <a:lnTo>
                    <a:pt x="1161" y="557"/>
                  </a:lnTo>
                  <a:lnTo>
                    <a:pt x="1161" y="557"/>
                  </a:lnTo>
                  <a:lnTo>
                    <a:pt x="1159" y="557"/>
                  </a:lnTo>
                  <a:lnTo>
                    <a:pt x="1159" y="559"/>
                  </a:lnTo>
                  <a:lnTo>
                    <a:pt x="1159" y="559"/>
                  </a:lnTo>
                  <a:lnTo>
                    <a:pt x="1159" y="559"/>
                  </a:lnTo>
                  <a:lnTo>
                    <a:pt x="1159" y="559"/>
                  </a:lnTo>
                  <a:lnTo>
                    <a:pt x="1159" y="559"/>
                  </a:lnTo>
                  <a:lnTo>
                    <a:pt x="1159" y="559"/>
                  </a:lnTo>
                  <a:lnTo>
                    <a:pt x="1159" y="559"/>
                  </a:lnTo>
                  <a:lnTo>
                    <a:pt x="1159" y="559"/>
                  </a:lnTo>
                  <a:lnTo>
                    <a:pt x="1159" y="562"/>
                  </a:lnTo>
                  <a:lnTo>
                    <a:pt x="1159" y="562"/>
                  </a:lnTo>
                  <a:lnTo>
                    <a:pt x="1159" y="562"/>
                  </a:lnTo>
                  <a:lnTo>
                    <a:pt x="1159" y="564"/>
                  </a:lnTo>
                  <a:lnTo>
                    <a:pt x="1159" y="564"/>
                  </a:lnTo>
                  <a:lnTo>
                    <a:pt x="1159" y="562"/>
                  </a:lnTo>
                  <a:lnTo>
                    <a:pt x="1159" y="562"/>
                  </a:lnTo>
                  <a:lnTo>
                    <a:pt x="1157" y="562"/>
                  </a:lnTo>
                  <a:lnTo>
                    <a:pt x="1157" y="562"/>
                  </a:lnTo>
                  <a:lnTo>
                    <a:pt x="1157" y="562"/>
                  </a:lnTo>
                  <a:lnTo>
                    <a:pt x="1157" y="562"/>
                  </a:lnTo>
                  <a:lnTo>
                    <a:pt x="1157" y="562"/>
                  </a:lnTo>
                  <a:lnTo>
                    <a:pt x="1157" y="559"/>
                  </a:lnTo>
                  <a:lnTo>
                    <a:pt x="1157" y="559"/>
                  </a:lnTo>
                  <a:lnTo>
                    <a:pt x="1155" y="562"/>
                  </a:lnTo>
                  <a:lnTo>
                    <a:pt x="1155" y="559"/>
                  </a:lnTo>
                  <a:lnTo>
                    <a:pt x="1155" y="559"/>
                  </a:lnTo>
                  <a:lnTo>
                    <a:pt x="1155" y="559"/>
                  </a:lnTo>
                  <a:lnTo>
                    <a:pt x="1155" y="559"/>
                  </a:lnTo>
                  <a:lnTo>
                    <a:pt x="1155" y="559"/>
                  </a:lnTo>
                  <a:lnTo>
                    <a:pt x="1153" y="559"/>
                  </a:lnTo>
                  <a:lnTo>
                    <a:pt x="1153" y="559"/>
                  </a:lnTo>
                  <a:lnTo>
                    <a:pt x="1151" y="562"/>
                  </a:lnTo>
                  <a:lnTo>
                    <a:pt x="1149" y="562"/>
                  </a:lnTo>
                  <a:lnTo>
                    <a:pt x="1149" y="564"/>
                  </a:lnTo>
                  <a:lnTo>
                    <a:pt x="1149" y="564"/>
                  </a:lnTo>
                  <a:lnTo>
                    <a:pt x="1149" y="564"/>
                  </a:lnTo>
                  <a:lnTo>
                    <a:pt x="1149" y="564"/>
                  </a:lnTo>
                  <a:lnTo>
                    <a:pt x="1149" y="562"/>
                  </a:lnTo>
                  <a:lnTo>
                    <a:pt x="1149" y="562"/>
                  </a:lnTo>
                  <a:lnTo>
                    <a:pt x="1151" y="559"/>
                  </a:lnTo>
                  <a:lnTo>
                    <a:pt x="1151" y="557"/>
                  </a:lnTo>
                  <a:lnTo>
                    <a:pt x="1153" y="557"/>
                  </a:lnTo>
                  <a:lnTo>
                    <a:pt x="1153" y="555"/>
                  </a:lnTo>
                  <a:lnTo>
                    <a:pt x="1153" y="557"/>
                  </a:lnTo>
                  <a:lnTo>
                    <a:pt x="1155" y="557"/>
                  </a:lnTo>
                  <a:lnTo>
                    <a:pt x="1155" y="557"/>
                  </a:lnTo>
                  <a:lnTo>
                    <a:pt x="1155" y="557"/>
                  </a:lnTo>
                  <a:lnTo>
                    <a:pt x="1155" y="557"/>
                  </a:lnTo>
                  <a:lnTo>
                    <a:pt x="1155" y="557"/>
                  </a:lnTo>
                  <a:lnTo>
                    <a:pt x="1157" y="559"/>
                  </a:lnTo>
                  <a:lnTo>
                    <a:pt x="1157" y="557"/>
                  </a:lnTo>
                  <a:lnTo>
                    <a:pt x="1159" y="555"/>
                  </a:lnTo>
                  <a:lnTo>
                    <a:pt x="1159" y="555"/>
                  </a:lnTo>
                  <a:lnTo>
                    <a:pt x="1159" y="555"/>
                  </a:lnTo>
                  <a:lnTo>
                    <a:pt x="1159" y="553"/>
                  </a:lnTo>
                  <a:lnTo>
                    <a:pt x="1159" y="553"/>
                  </a:lnTo>
                  <a:lnTo>
                    <a:pt x="1159" y="553"/>
                  </a:lnTo>
                  <a:lnTo>
                    <a:pt x="1159" y="553"/>
                  </a:lnTo>
                  <a:lnTo>
                    <a:pt x="1159" y="553"/>
                  </a:lnTo>
                  <a:lnTo>
                    <a:pt x="1159" y="551"/>
                  </a:lnTo>
                  <a:lnTo>
                    <a:pt x="1159" y="551"/>
                  </a:lnTo>
                  <a:lnTo>
                    <a:pt x="1159" y="551"/>
                  </a:lnTo>
                  <a:lnTo>
                    <a:pt x="1159" y="551"/>
                  </a:lnTo>
                  <a:lnTo>
                    <a:pt x="1157" y="549"/>
                  </a:lnTo>
                  <a:lnTo>
                    <a:pt x="1157" y="547"/>
                  </a:lnTo>
                  <a:lnTo>
                    <a:pt x="1157" y="547"/>
                  </a:lnTo>
                  <a:lnTo>
                    <a:pt x="1159" y="547"/>
                  </a:lnTo>
                  <a:lnTo>
                    <a:pt x="1159" y="547"/>
                  </a:lnTo>
                  <a:lnTo>
                    <a:pt x="1157" y="547"/>
                  </a:lnTo>
                  <a:lnTo>
                    <a:pt x="1157" y="549"/>
                  </a:lnTo>
                  <a:lnTo>
                    <a:pt x="1155" y="549"/>
                  </a:lnTo>
                  <a:lnTo>
                    <a:pt x="1155" y="551"/>
                  </a:lnTo>
                  <a:lnTo>
                    <a:pt x="1155" y="551"/>
                  </a:lnTo>
                  <a:lnTo>
                    <a:pt x="1155" y="551"/>
                  </a:lnTo>
                  <a:lnTo>
                    <a:pt x="1155" y="553"/>
                  </a:lnTo>
                  <a:lnTo>
                    <a:pt x="1155" y="553"/>
                  </a:lnTo>
                  <a:lnTo>
                    <a:pt x="1155" y="553"/>
                  </a:lnTo>
                  <a:lnTo>
                    <a:pt x="1153" y="553"/>
                  </a:lnTo>
                  <a:lnTo>
                    <a:pt x="1153" y="551"/>
                  </a:lnTo>
                  <a:lnTo>
                    <a:pt x="1153" y="551"/>
                  </a:lnTo>
                  <a:lnTo>
                    <a:pt x="1155" y="551"/>
                  </a:lnTo>
                  <a:lnTo>
                    <a:pt x="1155" y="551"/>
                  </a:lnTo>
                  <a:lnTo>
                    <a:pt x="1155" y="549"/>
                  </a:lnTo>
                  <a:lnTo>
                    <a:pt x="1155" y="549"/>
                  </a:lnTo>
                  <a:lnTo>
                    <a:pt x="1155" y="549"/>
                  </a:lnTo>
                  <a:lnTo>
                    <a:pt x="1155" y="549"/>
                  </a:lnTo>
                  <a:lnTo>
                    <a:pt x="1155" y="547"/>
                  </a:lnTo>
                  <a:lnTo>
                    <a:pt x="1155" y="547"/>
                  </a:lnTo>
                  <a:lnTo>
                    <a:pt x="1155" y="547"/>
                  </a:lnTo>
                  <a:lnTo>
                    <a:pt x="1155" y="547"/>
                  </a:lnTo>
                  <a:lnTo>
                    <a:pt x="1155" y="547"/>
                  </a:lnTo>
                  <a:lnTo>
                    <a:pt x="1155" y="547"/>
                  </a:lnTo>
                  <a:lnTo>
                    <a:pt x="1155" y="547"/>
                  </a:lnTo>
                  <a:lnTo>
                    <a:pt x="1155" y="547"/>
                  </a:lnTo>
                  <a:lnTo>
                    <a:pt x="1153" y="547"/>
                  </a:lnTo>
                  <a:lnTo>
                    <a:pt x="1153" y="547"/>
                  </a:lnTo>
                  <a:lnTo>
                    <a:pt x="1153" y="547"/>
                  </a:lnTo>
                  <a:lnTo>
                    <a:pt x="1153" y="547"/>
                  </a:lnTo>
                  <a:lnTo>
                    <a:pt x="1151" y="547"/>
                  </a:lnTo>
                  <a:lnTo>
                    <a:pt x="1151" y="547"/>
                  </a:lnTo>
                  <a:lnTo>
                    <a:pt x="1151" y="547"/>
                  </a:lnTo>
                  <a:lnTo>
                    <a:pt x="1151" y="549"/>
                  </a:lnTo>
                  <a:lnTo>
                    <a:pt x="1151" y="549"/>
                  </a:lnTo>
                  <a:lnTo>
                    <a:pt x="1149" y="549"/>
                  </a:lnTo>
                  <a:lnTo>
                    <a:pt x="1149" y="549"/>
                  </a:lnTo>
                  <a:lnTo>
                    <a:pt x="1149" y="549"/>
                  </a:lnTo>
                  <a:lnTo>
                    <a:pt x="1149" y="549"/>
                  </a:lnTo>
                  <a:lnTo>
                    <a:pt x="1149" y="551"/>
                  </a:lnTo>
                  <a:lnTo>
                    <a:pt x="1149" y="551"/>
                  </a:lnTo>
                  <a:lnTo>
                    <a:pt x="1149" y="551"/>
                  </a:lnTo>
                  <a:lnTo>
                    <a:pt x="1149" y="551"/>
                  </a:lnTo>
                  <a:lnTo>
                    <a:pt x="1149" y="551"/>
                  </a:lnTo>
                  <a:lnTo>
                    <a:pt x="1147" y="553"/>
                  </a:lnTo>
                  <a:lnTo>
                    <a:pt x="1147" y="553"/>
                  </a:lnTo>
                  <a:lnTo>
                    <a:pt x="1147" y="551"/>
                  </a:lnTo>
                  <a:lnTo>
                    <a:pt x="1147" y="551"/>
                  </a:lnTo>
                  <a:lnTo>
                    <a:pt x="1147" y="551"/>
                  </a:lnTo>
                  <a:lnTo>
                    <a:pt x="1147" y="549"/>
                  </a:lnTo>
                  <a:lnTo>
                    <a:pt x="1147" y="549"/>
                  </a:lnTo>
                  <a:lnTo>
                    <a:pt x="1149" y="549"/>
                  </a:lnTo>
                  <a:lnTo>
                    <a:pt x="1149" y="547"/>
                  </a:lnTo>
                  <a:lnTo>
                    <a:pt x="1149" y="547"/>
                  </a:lnTo>
                  <a:lnTo>
                    <a:pt x="1151" y="545"/>
                  </a:lnTo>
                  <a:lnTo>
                    <a:pt x="1153" y="545"/>
                  </a:lnTo>
                  <a:lnTo>
                    <a:pt x="1153" y="545"/>
                  </a:lnTo>
                  <a:lnTo>
                    <a:pt x="1151" y="545"/>
                  </a:lnTo>
                  <a:lnTo>
                    <a:pt x="1151" y="545"/>
                  </a:lnTo>
                  <a:lnTo>
                    <a:pt x="1151" y="545"/>
                  </a:lnTo>
                  <a:lnTo>
                    <a:pt x="1151" y="545"/>
                  </a:lnTo>
                  <a:lnTo>
                    <a:pt x="1149" y="545"/>
                  </a:lnTo>
                  <a:lnTo>
                    <a:pt x="1149" y="545"/>
                  </a:lnTo>
                  <a:lnTo>
                    <a:pt x="1149" y="545"/>
                  </a:lnTo>
                  <a:lnTo>
                    <a:pt x="1149" y="545"/>
                  </a:lnTo>
                  <a:lnTo>
                    <a:pt x="1147" y="547"/>
                  </a:lnTo>
                  <a:lnTo>
                    <a:pt x="1147" y="547"/>
                  </a:lnTo>
                  <a:lnTo>
                    <a:pt x="1149" y="543"/>
                  </a:lnTo>
                  <a:lnTo>
                    <a:pt x="1151" y="543"/>
                  </a:lnTo>
                  <a:lnTo>
                    <a:pt x="1153" y="543"/>
                  </a:lnTo>
                  <a:lnTo>
                    <a:pt x="1153" y="543"/>
                  </a:lnTo>
                  <a:lnTo>
                    <a:pt x="1155" y="545"/>
                  </a:lnTo>
                  <a:lnTo>
                    <a:pt x="1155" y="545"/>
                  </a:lnTo>
                  <a:lnTo>
                    <a:pt x="1155" y="545"/>
                  </a:lnTo>
                  <a:lnTo>
                    <a:pt x="1155" y="543"/>
                  </a:lnTo>
                  <a:lnTo>
                    <a:pt x="1153" y="543"/>
                  </a:lnTo>
                  <a:lnTo>
                    <a:pt x="1155" y="543"/>
                  </a:lnTo>
                  <a:lnTo>
                    <a:pt x="1155" y="543"/>
                  </a:lnTo>
                  <a:lnTo>
                    <a:pt x="1155" y="543"/>
                  </a:lnTo>
                  <a:lnTo>
                    <a:pt x="1155" y="543"/>
                  </a:lnTo>
                  <a:lnTo>
                    <a:pt x="1155" y="541"/>
                  </a:lnTo>
                  <a:lnTo>
                    <a:pt x="1155" y="541"/>
                  </a:lnTo>
                  <a:lnTo>
                    <a:pt x="1155" y="541"/>
                  </a:lnTo>
                  <a:lnTo>
                    <a:pt x="1155" y="539"/>
                  </a:lnTo>
                  <a:lnTo>
                    <a:pt x="1157" y="539"/>
                  </a:lnTo>
                  <a:lnTo>
                    <a:pt x="1157" y="539"/>
                  </a:lnTo>
                  <a:lnTo>
                    <a:pt x="1157" y="539"/>
                  </a:lnTo>
                  <a:lnTo>
                    <a:pt x="1155" y="537"/>
                  </a:lnTo>
                  <a:lnTo>
                    <a:pt x="1155" y="537"/>
                  </a:lnTo>
                  <a:lnTo>
                    <a:pt x="1155" y="537"/>
                  </a:lnTo>
                  <a:lnTo>
                    <a:pt x="1157" y="537"/>
                  </a:lnTo>
                  <a:lnTo>
                    <a:pt x="1157" y="537"/>
                  </a:lnTo>
                  <a:lnTo>
                    <a:pt x="1157" y="537"/>
                  </a:lnTo>
                  <a:lnTo>
                    <a:pt x="1157" y="535"/>
                  </a:lnTo>
                  <a:lnTo>
                    <a:pt x="1157" y="535"/>
                  </a:lnTo>
                  <a:lnTo>
                    <a:pt x="1159" y="533"/>
                  </a:lnTo>
                  <a:lnTo>
                    <a:pt x="1159" y="533"/>
                  </a:lnTo>
                  <a:lnTo>
                    <a:pt x="1159" y="533"/>
                  </a:lnTo>
                  <a:lnTo>
                    <a:pt x="1159" y="531"/>
                  </a:lnTo>
                  <a:lnTo>
                    <a:pt x="1159" y="531"/>
                  </a:lnTo>
                  <a:lnTo>
                    <a:pt x="1159" y="531"/>
                  </a:lnTo>
                  <a:lnTo>
                    <a:pt x="1157" y="531"/>
                  </a:lnTo>
                  <a:lnTo>
                    <a:pt x="1155" y="531"/>
                  </a:lnTo>
                  <a:lnTo>
                    <a:pt x="1155" y="533"/>
                  </a:lnTo>
                  <a:lnTo>
                    <a:pt x="1153" y="535"/>
                  </a:lnTo>
                  <a:lnTo>
                    <a:pt x="1153" y="535"/>
                  </a:lnTo>
                  <a:lnTo>
                    <a:pt x="1151" y="535"/>
                  </a:lnTo>
                  <a:lnTo>
                    <a:pt x="1151" y="535"/>
                  </a:lnTo>
                  <a:lnTo>
                    <a:pt x="1153" y="535"/>
                  </a:lnTo>
                  <a:lnTo>
                    <a:pt x="1153" y="535"/>
                  </a:lnTo>
                  <a:lnTo>
                    <a:pt x="1153" y="533"/>
                  </a:lnTo>
                  <a:lnTo>
                    <a:pt x="1153" y="533"/>
                  </a:lnTo>
                  <a:lnTo>
                    <a:pt x="1153" y="533"/>
                  </a:lnTo>
                  <a:lnTo>
                    <a:pt x="1153" y="533"/>
                  </a:lnTo>
                  <a:lnTo>
                    <a:pt x="1153" y="533"/>
                  </a:lnTo>
                  <a:lnTo>
                    <a:pt x="1153" y="531"/>
                  </a:lnTo>
                  <a:lnTo>
                    <a:pt x="1153" y="531"/>
                  </a:lnTo>
                  <a:lnTo>
                    <a:pt x="1155" y="531"/>
                  </a:lnTo>
                  <a:lnTo>
                    <a:pt x="1155" y="531"/>
                  </a:lnTo>
                  <a:lnTo>
                    <a:pt x="1157" y="529"/>
                  </a:lnTo>
                  <a:lnTo>
                    <a:pt x="1157" y="529"/>
                  </a:lnTo>
                  <a:lnTo>
                    <a:pt x="1159" y="529"/>
                  </a:lnTo>
                  <a:lnTo>
                    <a:pt x="1159" y="529"/>
                  </a:lnTo>
                  <a:lnTo>
                    <a:pt x="1159" y="529"/>
                  </a:lnTo>
                  <a:lnTo>
                    <a:pt x="1159" y="529"/>
                  </a:lnTo>
                  <a:lnTo>
                    <a:pt x="1159" y="529"/>
                  </a:lnTo>
                  <a:lnTo>
                    <a:pt x="1159" y="531"/>
                  </a:lnTo>
                  <a:lnTo>
                    <a:pt x="1159" y="531"/>
                  </a:lnTo>
                  <a:lnTo>
                    <a:pt x="1161" y="533"/>
                  </a:lnTo>
                  <a:lnTo>
                    <a:pt x="1161" y="533"/>
                  </a:lnTo>
                  <a:lnTo>
                    <a:pt x="1161" y="533"/>
                  </a:lnTo>
                  <a:lnTo>
                    <a:pt x="1161" y="533"/>
                  </a:lnTo>
                  <a:lnTo>
                    <a:pt x="1161" y="533"/>
                  </a:lnTo>
                  <a:lnTo>
                    <a:pt x="1163" y="533"/>
                  </a:lnTo>
                  <a:lnTo>
                    <a:pt x="1163" y="531"/>
                  </a:lnTo>
                  <a:lnTo>
                    <a:pt x="1163" y="529"/>
                  </a:lnTo>
                  <a:lnTo>
                    <a:pt x="1165" y="525"/>
                  </a:lnTo>
                  <a:lnTo>
                    <a:pt x="1165" y="525"/>
                  </a:lnTo>
                  <a:lnTo>
                    <a:pt x="1165" y="525"/>
                  </a:lnTo>
                  <a:lnTo>
                    <a:pt x="1165" y="523"/>
                  </a:lnTo>
                  <a:lnTo>
                    <a:pt x="1167" y="521"/>
                  </a:lnTo>
                  <a:lnTo>
                    <a:pt x="1167" y="521"/>
                  </a:lnTo>
                  <a:lnTo>
                    <a:pt x="1167" y="518"/>
                  </a:lnTo>
                  <a:lnTo>
                    <a:pt x="1169" y="518"/>
                  </a:lnTo>
                  <a:lnTo>
                    <a:pt x="1169" y="518"/>
                  </a:lnTo>
                  <a:lnTo>
                    <a:pt x="1169" y="521"/>
                  </a:lnTo>
                  <a:lnTo>
                    <a:pt x="1167" y="523"/>
                  </a:lnTo>
                  <a:lnTo>
                    <a:pt x="1167" y="523"/>
                  </a:lnTo>
                  <a:lnTo>
                    <a:pt x="1169" y="523"/>
                  </a:lnTo>
                  <a:lnTo>
                    <a:pt x="1169" y="521"/>
                  </a:lnTo>
                  <a:lnTo>
                    <a:pt x="1169" y="523"/>
                  </a:lnTo>
                  <a:lnTo>
                    <a:pt x="1169" y="523"/>
                  </a:lnTo>
                  <a:lnTo>
                    <a:pt x="1167" y="523"/>
                  </a:lnTo>
                  <a:lnTo>
                    <a:pt x="1167" y="525"/>
                  </a:lnTo>
                  <a:lnTo>
                    <a:pt x="1167" y="525"/>
                  </a:lnTo>
                  <a:lnTo>
                    <a:pt x="1167" y="527"/>
                  </a:lnTo>
                  <a:lnTo>
                    <a:pt x="1165" y="527"/>
                  </a:lnTo>
                  <a:lnTo>
                    <a:pt x="1165" y="527"/>
                  </a:lnTo>
                  <a:lnTo>
                    <a:pt x="1165" y="529"/>
                  </a:lnTo>
                  <a:lnTo>
                    <a:pt x="1165" y="531"/>
                  </a:lnTo>
                  <a:lnTo>
                    <a:pt x="1165" y="531"/>
                  </a:lnTo>
                  <a:lnTo>
                    <a:pt x="1165" y="531"/>
                  </a:lnTo>
                  <a:lnTo>
                    <a:pt x="1165" y="531"/>
                  </a:lnTo>
                  <a:lnTo>
                    <a:pt x="1165" y="533"/>
                  </a:lnTo>
                  <a:lnTo>
                    <a:pt x="1163" y="533"/>
                  </a:lnTo>
                  <a:lnTo>
                    <a:pt x="1163" y="533"/>
                  </a:lnTo>
                  <a:lnTo>
                    <a:pt x="1163" y="533"/>
                  </a:lnTo>
                  <a:lnTo>
                    <a:pt x="1163" y="535"/>
                  </a:lnTo>
                  <a:lnTo>
                    <a:pt x="1163" y="535"/>
                  </a:lnTo>
                  <a:lnTo>
                    <a:pt x="1163" y="535"/>
                  </a:lnTo>
                  <a:lnTo>
                    <a:pt x="1163" y="535"/>
                  </a:lnTo>
                  <a:lnTo>
                    <a:pt x="1163" y="535"/>
                  </a:lnTo>
                  <a:lnTo>
                    <a:pt x="1163" y="537"/>
                  </a:lnTo>
                  <a:lnTo>
                    <a:pt x="1161" y="537"/>
                  </a:lnTo>
                  <a:lnTo>
                    <a:pt x="1163" y="537"/>
                  </a:lnTo>
                  <a:lnTo>
                    <a:pt x="1163" y="537"/>
                  </a:lnTo>
                  <a:lnTo>
                    <a:pt x="1165" y="539"/>
                  </a:lnTo>
                  <a:lnTo>
                    <a:pt x="1165" y="539"/>
                  </a:lnTo>
                  <a:lnTo>
                    <a:pt x="1165" y="539"/>
                  </a:lnTo>
                  <a:lnTo>
                    <a:pt x="1165" y="539"/>
                  </a:lnTo>
                  <a:lnTo>
                    <a:pt x="1165" y="541"/>
                  </a:lnTo>
                  <a:lnTo>
                    <a:pt x="1165" y="541"/>
                  </a:lnTo>
                  <a:lnTo>
                    <a:pt x="1167" y="541"/>
                  </a:lnTo>
                  <a:lnTo>
                    <a:pt x="1167" y="543"/>
                  </a:lnTo>
                  <a:lnTo>
                    <a:pt x="1169" y="543"/>
                  </a:lnTo>
                  <a:lnTo>
                    <a:pt x="1169" y="543"/>
                  </a:lnTo>
                  <a:lnTo>
                    <a:pt x="1169" y="541"/>
                  </a:lnTo>
                  <a:lnTo>
                    <a:pt x="1169" y="541"/>
                  </a:lnTo>
                  <a:lnTo>
                    <a:pt x="1169" y="541"/>
                  </a:lnTo>
                  <a:lnTo>
                    <a:pt x="1169" y="541"/>
                  </a:lnTo>
                  <a:lnTo>
                    <a:pt x="1169" y="541"/>
                  </a:lnTo>
                  <a:lnTo>
                    <a:pt x="1169" y="541"/>
                  </a:lnTo>
                  <a:lnTo>
                    <a:pt x="1169" y="541"/>
                  </a:lnTo>
                  <a:lnTo>
                    <a:pt x="1167" y="541"/>
                  </a:lnTo>
                  <a:lnTo>
                    <a:pt x="1169" y="539"/>
                  </a:lnTo>
                  <a:lnTo>
                    <a:pt x="1169" y="539"/>
                  </a:lnTo>
                  <a:lnTo>
                    <a:pt x="1169" y="537"/>
                  </a:lnTo>
                  <a:lnTo>
                    <a:pt x="1169" y="537"/>
                  </a:lnTo>
                  <a:lnTo>
                    <a:pt x="1169" y="537"/>
                  </a:lnTo>
                  <a:lnTo>
                    <a:pt x="1169" y="537"/>
                  </a:lnTo>
                  <a:lnTo>
                    <a:pt x="1169" y="537"/>
                  </a:lnTo>
                  <a:lnTo>
                    <a:pt x="1169" y="537"/>
                  </a:lnTo>
                  <a:lnTo>
                    <a:pt x="1172" y="535"/>
                  </a:lnTo>
                  <a:lnTo>
                    <a:pt x="1172" y="537"/>
                  </a:lnTo>
                  <a:lnTo>
                    <a:pt x="1172" y="537"/>
                  </a:lnTo>
                  <a:lnTo>
                    <a:pt x="1169" y="537"/>
                  </a:lnTo>
                  <a:lnTo>
                    <a:pt x="1169" y="539"/>
                  </a:lnTo>
                  <a:lnTo>
                    <a:pt x="1169" y="539"/>
                  </a:lnTo>
                  <a:lnTo>
                    <a:pt x="1172" y="539"/>
                  </a:lnTo>
                  <a:lnTo>
                    <a:pt x="1172" y="539"/>
                  </a:lnTo>
                  <a:lnTo>
                    <a:pt x="1172" y="539"/>
                  </a:lnTo>
                  <a:lnTo>
                    <a:pt x="1172" y="541"/>
                  </a:lnTo>
                  <a:lnTo>
                    <a:pt x="1172" y="541"/>
                  </a:lnTo>
                  <a:lnTo>
                    <a:pt x="1174" y="541"/>
                  </a:lnTo>
                  <a:lnTo>
                    <a:pt x="1174" y="539"/>
                  </a:lnTo>
                  <a:lnTo>
                    <a:pt x="1174" y="539"/>
                  </a:lnTo>
                  <a:lnTo>
                    <a:pt x="1174" y="537"/>
                  </a:lnTo>
                  <a:lnTo>
                    <a:pt x="1174" y="537"/>
                  </a:lnTo>
                  <a:lnTo>
                    <a:pt x="1174" y="535"/>
                  </a:lnTo>
                  <a:lnTo>
                    <a:pt x="1174" y="535"/>
                  </a:lnTo>
                  <a:lnTo>
                    <a:pt x="1174" y="535"/>
                  </a:lnTo>
                  <a:lnTo>
                    <a:pt x="1174" y="535"/>
                  </a:lnTo>
                  <a:lnTo>
                    <a:pt x="1174" y="535"/>
                  </a:lnTo>
                  <a:lnTo>
                    <a:pt x="1172" y="535"/>
                  </a:lnTo>
                  <a:lnTo>
                    <a:pt x="1172" y="535"/>
                  </a:lnTo>
                  <a:lnTo>
                    <a:pt x="1174" y="533"/>
                  </a:lnTo>
                  <a:lnTo>
                    <a:pt x="1174" y="533"/>
                  </a:lnTo>
                  <a:lnTo>
                    <a:pt x="1174" y="533"/>
                  </a:lnTo>
                  <a:lnTo>
                    <a:pt x="1174" y="533"/>
                  </a:lnTo>
                  <a:lnTo>
                    <a:pt x="1174" y="533"/>
                  </a:lnTo>
                  <a:lnTo>
                    <a:pt x="1174" y="533"/>
                  </a:lnTo>
                  <a:lnTo>
                    <a:pt x="1174" y="533"/>
                  </a:lnTo>
                  <a:lnTo>
                    <a:pt x="1172" y="533"/>
                  </a:lnTo>
                  <a:lnTo>
                    <a:pt x="1172" y="533"/>
                  </a:lnTo>
                  <a:lnTo>
                    <a:pt x="1172" y="533"/>
                  </a:lnTo>
                  <a:lnTo>
                    <a:pt x="1172" y="533"/>
                  </a:lnTo>
                  <a:lnTo>
                    <a:pt x="1172" y="531"/>
                  </a:lnTo>
                  <a:lnTo>
                    <a:pt x="1174" y="531"/>
                  </a:lnTo>
                  <a:lnTo>
                    <a:pt x="1174" y="531"/>
                  </a:lnTo>
                  <a:lnTo>
                    <a:pt x="1174" y="529"/>
                  </a:lnTo>
                  <a:lnTo>
                    <a:pt x="1174" y="527"/>
                  </a:lnTo>
                  <a:lnTo>
                    <a:pt x="1174" y="527"/>
                  </a:lnTo>
                  <a:lnTo>
                    <a:pt x="1174" y="527"/>
                  </a:lnTo>
                  <a:lnTo>
                    <a:pt x="1174" y="527"/>
                  </a:lnTo>
                  <a:lnTo>
                    <a:pt x="1174" y="525"/>
                  </a:lnTo>
                  <a:lnTo>
                    <a:pt x="1174" y="525"/>
                  </a:lnTo>
                  <a:lnTo>
                    <a:pt x="1174" y="525"/>
                  </a:lnTo>
                  <a:lnTo>
                    <a:pt x="1174" y="525"/>
                  </a:lnTo>
                  <a:lnTo>
                    <a:pt x="1176" y="525"/>
                  </a:lnTo>
                  <a:lnTo>
                    <a:pt x="1174" y="525"/>
                  </a:lnTo>
                  <a:lnTo>
                    <a:pt x="1174" y="527"/>
                  </a:lnTo>
                  <a:lnTo>
                    <a:pt x="1174" y="527"/>
                  </a:lnTo>
                  <a:lnTo>
                    <a:pt x="1176" y="529"/>
                  </a:lnTo>
                  <a:lnTo>
                    <a:pt x="1176" y="529"/>
                  </a:lnTo>
                  <a:lnTo>
                    <a:pt x="1176" y="529"/>
                  </a:lnTo>
                  <a:lnTo>
                    <a:pt x="1176" y="529"/>
                  </a:lnTo>
                  <a:lnTo>
                    <a:pt x="1176" y="529"/>
                  </a:lnTo>
                  <a:lnTo>
                    <a:pt x="1176" y="529"/>
                  </a:lnTo>
                  <a:lnTo>
                    <a:pt x="1176" y="529"/>
                  </a:lnTo>
                  <a:lnTo>
                    <a:pt x="1174" y="531"/>
                  </a:lnTo>
                  <a:lnTo>
                    <a:pt x="1176" y="531"/>
                  </a:lnTo>
                  <a:lnTo>
                    <a:pt x="1176" y="533"/>
                  </a:lnTo>
                  <a:lnTo>
                    <a:pt x="1176" y="533"/>
                  </a:lnTo>
                  <a:lnTo>
                    <a:pt x="1176" y="533"/>
                  </a:lnTo>
                  <a:lnTo>
                    <a:pt x="1176" y="537"/>
                  </a:lnTo>
                  <a:lnTo>
                    <a:pt x="1176" y="537"/>
                  </a:lnTo>
                  <a:lnTo>
                    <a:pt x="1176" y="537"/>
                  </a:lnTo>
                  <a:lnTo>
                    <a:pt x="1176" y="535"/>
                  </a:lnTo>
                  <a:lnTo>
                    <a:pt x="1176" y="533"/>
                  </a:lnTo>
                  <a:lnTo>
                    <a:pt x="1178" y="533"/>
                  </a:lnTo>
                  <a:lnTo>
                    <a:pt x="1178" y="533"/>
                  </a:lnTo>
                  <a:lnTo>
                    <a:pt x="1178" y="533"/>
                  </a:lnTo>
                  <a:lnTo>
                    <a:pt x="1178" y="533"/>
                  </a:lnTo>
                  <a:lnTo>
                    <a:pt x="1178" y="535"/>
                  </a:lnTo>
                  <a:lnTo>
                    <a:pt x="1178" y="535"/>
                  </a:lnTo>
                  <a:lnTo>
                    <a:pt x="1178" y="535"/>
                  </a:lnTo>
                  <a:lnTo>
                    <a:pt x="1178" y="533"/>
                  </a:lnTo>
                  <a:lnTo>
                    <a:pt x="1178" y="533"/>
                  </a:lnTo>
                  <a:lnTo>
                    <a:pt x="1180" y="533"/>
                  </a:lnTo>
                  <a:lnTo>
                    <a:pt x="1178" y="537"/>
                  </a:lnTo>
                  <a:lnTo>
                    <a:pt x="1178" y="537"/>
                  </a:lnTo>
                  <a:lnTo>
                    <a:pt x="1178" y="537"/>
                  </a:lnTo>
                  <a:lnTo>
                    <a:pt x="1178" y="537"/>
                  </a:lnTo>
                  <a:lnTo>
                    <a:pt x="1180" y="537"/>
                  </a:lnTo>
                  <a:lnTo>
                    <a:pt x="1180" y="537"/>
                  </a:lnTo>
                  <a:lnTo>
                    <a:pt x="1180" y="539"/>
                  </a:lnTo>
                  <a:lnTo>
                    <a:pt x="1180" y="537"/>
                  </a:lnTo>
                  <a:lnTo>
                    <a:pt x="1182" y="537"/>
                  </a:lnTo>
                  <a:lnTo>
                    <a:pt x="1180" y="537"/>
                  </a:lnTo>
                  <a:lnTo>
                    <a:pt x="1182" y="535"/>
                  </a:lnTo>
                  <a:lnTo>
                    <a:pt x="1182" y="535"/>
                  </a:lnTo>
                  <a:lnTo>
                    <a:pt x="1182" y="535"/>
                  </a:lnTo>
                  <a:lnTo>
                    <a:pt x="1182" y="535"/>
                  </a:lnTo>
                  <a:lnTo>
                    <a:pt x="1182" y="533"/>
                  </a:lnTo>
                  <a:lnTo>
                    <a:pt x="1182" y="533"/>
                  </a:lnTo>
                  <a:lnTo>
                    <a:pt x="1182" y="533"/>
                  </a:lnTo>
                  <a:lnTo>
                    <a:pt x="1182" y="533"/>
                  </a:lnTo>
                  <a:lnTo>
                    <a:pt x="1182" y="533"/>
                  </a:lnTo>
                  <a:lnTo>
                    <a:pt x="1182" y="533"/>
                  </a:lnTo>
                  <a:lnTo>
                    <a:pt x="1184" y="531"/>
                  </a:lnTo>
                  <a:lnTo>
                    <a:pt x="1184" y="531"/>
                  </a:lnTo>
                  <a:lnTo>
                    <a:pt x="1184" y="531"/>
                  </a:lnTo>
                  <a:lnTo>
                    <a:pt x="1184" y="533"/>
                  </a:lnTo>
                  <a:lnTo>
                    <a:pt x="1184" y="533"/>
                  </a:lnTo>
                  <a:lnTo>
                    <a:pt x="1184" y="535"/>
                  </a:lnTo>
                  <a:lnTo>
                    <a:pt x="1184" y="535"/>
                  </a:lnTo>
                  <a:lnTo>
                    <a:pt x="1184" y="535"/>
                  </a:lnTo>
                  <a:lnTo>
                    <a:pt x="1184" y="535"/>
                  </a:lnTo>
                  <a:lnTo>
                    <a:pt x="1184" y="533"/>
                  </a:lnTo>
                  <a:lnTo>
                    <a:pt x="1184" y="533"/>
                  </a:lnTo>
                  <a:lnTo>
                    <a:pt x="1184" y="533"/>
                  </a:lnTo>
                  <a:lnTo>
                    <a:pt x="1186" y="531"/>
                  </a:lnTo>
                  <a:lnTo>
                    <a:pt x="1186" y="531"/>
                  </a:lnTo>
                  <a:lnTo>
                    <a:pt x="1186" y="531"/>
                  </a:lnTo>
                  <a:lnTo>
                    <a:pt x="1188" y="531"/>
                  </a:lnTo>
                  <a:lnTo>
                    <a:pt x="1188" y="531"/>
                  </a:lnTo>
                  <a:lnTo>
                    <a:pt x="1188" y="533"/>
                  </a:lnTo>
                  <a:lnTo>
                    <a:pt x="1186" y="533"/>
                  </a:lnTo>
                  <a:lnTo>
                    <a:pt x="1188" y="533"/>
                  </a:lnTo>
                  <a:lnTo>
                    <a:pt x="1188" y="533"/>
                  </a:lnTo>
                  <a:lnTo>
                    <a:pt x="1188" y="533"/>
                  </a:lnTo>
                  <a:lnTo>
                    <a:pt x="1188" y="533"/>
                  </a:lnTo>
                  <a:lnTo>
                    <a:pt x="1188" y="531"/>
                  </a:lnTo>
                  <a:lnTo>
                    <a:pt x="1188" y="531"/>
                  </a:lnTo>
                  <a:lnTo>
                    <a:pt x="1188" y="531"/>
                  </a:lnTo>
                  <a:lnTo>
                    <a:pt x="1188" y="531"/>
                  </a:lnTo>
                  <a:lnTo>
                    <a:pt x="1188" y="531"/>
                  </a:lnTo>
                  <a:lnTo>
                    <a:pt x="1188" y="531"/>
                  </a:lnTo>
                  <a:lnTo>
                    <a:pt x="1188" y="533"/>
                  </a:lnTo>
                  <a:lnTo>
                    <a:pt x="1188" y="533"/>
                  </a:lnTo>
                  <a:lnTo>
                    <a:pt x="1188" y="535"/>
                  </a:lnTo>
                  <a:lnTo>
                    <a:pt x="1190" y="535"/>
                  </a:lnTo>
                  <a:lnTo>
                    <a:pt x="1190" y="535"/>
                  </a:lnTo>
                  <a:lnTo>
                    <a:pt x="1190" y="533"/>
                  </a:lnTo>
                  <a:lnTo>
                    <a:pt x="1192" y="533"/>
                  </a:lnTo>
                  <a:lnTo>
                    <a:pt x="1192" y="533"/>
                  </a:lnTo>
                  <a:lnTo>
                    <a:pt x="1192" y="531"/>
                  </a:lnTo>
                  <a:lnTo>
                    <a:pt x="1192" y="529"/>
                  </a:lnTo>
                  <a:lnTo>
                    <a:pt x="1194" y="527"/>
                  </a:lnTo>
                  <a:lnTo>
                    <a:pt x="1196" y="527"/>
                  </a:lnTo>
                  <a:lnTo>
                    <a:pt x="1196" y="525"/>
                  </a:lnTo>
                  <a:lnTo>
                    <a:pt x="1198" y="525"/>
                  </a:lnTo>
                  <a:lnTo>
                    <a:pt x="1198" y="523"/>
                  </a:lnTo>
                  <a:lnTo>
                    <a:pt x="1200" y="523"/>
                  </a:lnTo>
                  <a:lnTo>
                    <a:pt x="1202" y="523"/>
                  </a:lnTo>
                  <a:lnTo>
                    <a:pt x="1202" y="523"/>
                  </a:lnTo>
                  <a:lnTo>
                    <a:pt x="1204" y="523"/>
                  </a:lnTo>
                  <a:lnTo>
                    <a:pt x="1204" y="523"/>
                  </a:lnTo>
                  <a:lnTo>
                    <a:pt x="1206" y="523"/>
                  </a:lnTo>
                  <a:lnTo>
                    <a:pt x="1206" y="525"/>
                  </a:lnTo>
                  <a:lnTo>
                    <a:pt x="1206" y="525"/>
                  </a:lnTo>
                  <a:lnTo>
                    <a:pt x="1198" y="527"/>
                  </a:lnTo>
                  <a:lnTo>
                    <a:pt x="1196" y="527"/>
                  </a:lnTo>
                  <a:lnTo>
                    <a:pt x="1196" y="527"/>
                  </a:lnTo>
                  <a:lnTo>
                    <a:pt x="1198" y="527"/>
                  </a:lnTo>
                  <a:lnTo>
                    <a:pt x="1198" y="529"/>
                  </a:lnTo>
                  <a:lnTo>
                    <a:pt x="1198" y="529"/>
                  </a:lnTo>
                  <a:lnTo>
                    <a:pt x="1198" y="529"/>
                  </a:lnTo>
                  <a:lnTo>
                    <a:pt x="1198" y="529"/>
                  </a:lnTo>
                  <a:lnTo>
                    <a:pt x="1198" y="529"/>
                  </a:lnTo>
                  <a:lnTo>
                    <a:pt x="1196" y="529"/>
                  </a:lnTo>
                  <a:lnTo>
                    <a:pt x="1196" y="529"/>
                  </a:lnTo>
                  <a:lnTo>
                    <a:pt x="1196" y="529"/>
                  </a:lnTo>
                  <a:lnTo>
                    <a:pt x="1196" y="531"/>
                  </a:lnTo>
                  <a:lnTo>
                    <a:pt x="1196" y="531"/>
                  </a:lnTo>
                  <a:lnTo>
                    <a:pt x="1196" y="533"/>
                  </a:lnTo>
                  <a:lnTo>
                    <a:pt x="1196" y="533"/>
                  </a:lnTo>
                  <a:lnTo>
                    <a:pt x="1198" y="533"/>
                  </a:lnTo>
                  <a:lnTo>
                    <a:pt x="1198" y="533"/>
                  </a:lnTo>
                  <a:lnTo>
                    <a:pt x="1198" y="533"/>
                  </a:lnTo>
                  <a:lnTo>
                    <a:pt x="1196" y="533"/>
                  </a:lnTo>
                  <a:lnTo>
                    <a:pt x="1196" y="533"/>
                  </a:lnTo>
                  <a:lnTo>
                    <a:pt x="1196" y="533"/>
                  </a:lnTo>
                  <a:lnTo>
                    <a:pt x="1194" y="533"/>
                  </a:lnTo>
                  <a:lnTo>
                    <a:pt x="1194" y="533"/>
                  </a:lnTo>
                  <a:lnTo>
                    <a:pt x="1196" y="535"/>
                  </a:lnTo>
                  <a:lnTo>
                    <a:pt x="1196" y="535"/>
                  </a:lnTo>
                  <a:lnTo>
                    <a:pt x="1196" y="535"/>
                  </a:lnTo>
                  <a:lnTo>
                    <a:pt x="1196" y="535"/>
                  </a:lnTo>
                  <a:lnTo>
                    <a:pt x="1196" y="535"/>
                  </a:lnTo>
                  <a:lnTo>
                    <a:pt x="1196" y="537"/>
                  </a:lnTo>
                  <a:lnTo>
                    <a:pt x="1196" y="537"/>
                  </a:lnTo>
                  <a:lnTo>
                    <a:pt x="1196" y="537"/>
                  </a:lnTo>
                  <a:lnTo>
                    <a:pt x="1198" y="537"/>
                  </a:lnTo>
                  <a:lnTo>
                    <a:pt x="1198" y="537"/>
                  </a:lnTo>
                  <a:lnTo>
                    <a:pt x="1198" y="537"/>
                  </a:lnTo>
                  <a:lnTo>
                    <a:pt x="1198" y="537"/>
                  </a:lnTo>
                  <a:lnTo>
                    <a:pt x="1198" y="537"/>
                  </a:lnTo>
                  <a:lnTo>
                    <a:pt x="1198" y="537"/>
                  </a:lnTo>
                  <a:lnTo>
                    <a:pt x="1198" y="537"/>
                  </a:lnTo>
                  <a:lnTo>
                    <a:pt x="1198" y="537"/>
                  </a:lnTo>
                  <a:lnTo>
                    <a:pt x="1198" y="539"/>
                  </a:lnTo>
                  <a:lnTo>
                    <a:pt x="1198" y="539"/>
                  </a:lnTo>
                  <a:lnTo>
                    <a:pt x="1198" y="539"/>
                  </a:lnTo>
                  <a:lnTo>
                    <a:pt x="1198" y="539"/>
                  </a:lnTo>
                  <a:lnTo>
                    <a:pt x="1198" y="539"/>
                  </a:lnTo>
                  <a:lnTo>
                    <a:pt x="1200" y="539"/>
                  </a:lnTo>
                  <a:lnTo>
                    <a:pt x="1200" y="537"/>
                  </a:lnTo>
                  <a:lnTo>
                    <a:pt x="1200" y="539"/>
                  </a:lnTo>
                  <a:lnTo>
                    <a:pt x="1200" y="539"/>
                  </a:lnTo>
                  <a:lnTo>
                    <a:pt x="1202" y="539"/>
                  </a:lnTo>
                  <a:lnTo>
                    <a:pt x="1204" y="537"/>
                  </a:lnTo>
                  <a:lnTo>
                    <a:pt x="1204" y="539"/>
                  </a:lnTo>
                  <a:lnTo>
                    <a:pt x="1204" y="539"/>
                  </a:lnTo>
                  <a:lnTo>
                    <a:pt x="1204" y="539"/>
                  </a:lnTo>
                  <a:lnTo>
                    <a:pt x="1204" y="539"/>
                  </a:lnTo>
                  <a:lnTo>
                    <a:pt x="1204" y="539"/>
                  </a:lnTo>
                  <a:lnTo>
                    <a:pt x="1206" y="539"/>
                  </a:lnTo>
                  <a:lnTo>
                    <a:pt x="1206" y="537"/>
                  </a:lnTo>
                  <a:lnTo>
                    <a:pt x="1208" y="535"/>
                  </a:lnTo>
                  <a:lnTo>
                    <a:pt x="1208" y="535"/>
                  </a:lnTo>
                  <a:lnTo>
                    <a:pt x="1212" y="537"/>
                  </a:lnTo>
                  <a:lnTo>
                    <a:pt x="1208" y="537"/>
                  </a:lnTo>
                  <a:lnTo>
                    <a:pt x="1208" y="537"/>
                  </a:lnTo>
                  <a:lnTo>
                    <a:pt x="1208" y="537"/>
                  </a:lnTo>
                  <a:lnTo>
                    <a:pt x="1208" y="539"/>
                  </a:lnTo>
                  <a:lnTo>
                    <a:pt x="1208" y="539"/>
                  </a:lnTo>
                  <a:lnTo>
                    <a:pt x="1208" y="539"/>
                  </a:lnTo>
                  <a:lnTo>
                    <a:pt x="1208" y="539"/>
                  </a:lnTo>
                  <a:lnTo>
                    <a:pt x="1206" y="541"/>
                  </a:lnTo>
                  <a:lnTo>
                    <a:pt x="1204" y="541"/>
                  </a:lnTo>
                  <a:lnTo>
                    <a:pt x="1204" y="541"/>
                  </a:lnTo>
                  <a:lnTo>
                    <a:pt x="1204" y="541"/>
                  </a:lnTo>
                  <a:lnTo>
                    <a:pt x="1202" y="541"/>
                  </a:lnTo>
                  <a:lnTo>
                    <a:pt x="1202" y="541"/>
                  </a:lnTo>
                  <a:lnTo>
                    <a:pt x="1200" y="543"/>
                  </a:lnTo>
                  <a:lnTo>
                    <a:pt x="1202" y="541"/>
                  </a:lnTo>
                  <a:lnTo>
                    <a:pt x="1202" y="543"/>
                  </a:lnTo>
                  <a:lnTo>
                    <a:pt x="1202" y="543"/>
                  </a:lnTo>
                  <a:lnTo>
                    <a:pt x="1202" y="543"/>
                  </a:lnTo>
                  <a:lnTo>
                    <a:pt x="1202" y="543"/>
                  </a:lnTo>
                  <a:lnTo>
                    <a:pt x="1202" y="543"/>
                  </a:lnTo>
                  <a:lnTo>
                    <a:pt x="1200" y="543"/>
                  </a:lnTo>
                  <a:lnTo>
                    <a:pt x="1200" y="543"/>
                  </a:lnTo>
                  <a:lnTo>
                    <a:pt x="1200" y="543"/>
                  </a:lnTo>
                  <a:lnTo>
                    <a:pt x="1200" y="543"/>
                  </a:lnTo>
                  <a:lnTo>
                    <a:pt x="1198" y="543"/>
                  </a:lnTo>
                  <a:lnTo>
                    <a:pt x="1198" y="545"/>
                  </a:lnTo>
                  <a:lnTo>
                    <a:pt x="1198" y="543"/>
                  </a:lnTo>
                  <a:lnTo>
                    <a:pt x="1198" y="543"/>
                  </a:lnTo>
                  <a:lnTo>
                    <a:pt x="1198" y="543"/>
                  </a:lnTo>
                  <a:lnTo>
                    <a:pt x="1198" y="543"/>
                  </a:lnTo>
                  <a:lnTo>
                    <a:pt x="1198" y="545"/>
                  </a:lnTo>
                  <a:lnTo>
                    <a:pt x="1198" y="545"/>
                  </a:lnTo>
                  <a:lnTo>
                    <a:pt x="1198" y="545"/>
                  </a:lnTo>
                  <a:lnTo>
                    <a:pt x="1198" y="545"/>
                  </a:lnTo>
                  <a:lnTo>
                    <a:pt x="1198" y="545"/>
                  </a:lnTo>
                  <a:lnTo>
                    <a:pt x="1198" y="547"/>
                  </a:lnTo>
                  <a:lnTo>
                    <a:pt x="1200" y="545"/>
                  </a:lnTo>
                  <a:lnTo>
                    <a:pt x="1202" y="545"/>
                  </a:lnTo>
                  <a:lnTo>
                    <a:pt x="1202" y="547"/>
                  </a:lnTo>
                  <a:lnTo>
                    <a:pt x="1202" y="547"/>
                  </a:lnTo>
                  <a:lnTo>
                    <a:pt x="1204" y="545"/>
                  </a:lnTo>
                  <a:lnTo>
                    <a:pt x="1204" y="545"/>
                  </a:lnTo>
                  <a:lnTo>
                    <a:pt x="1204" y="545"/>
                  </a:lnTo>
                  <a:lnTo>
                    <a:pt x="1204" y="545"/>
                  </a:lnTo>
                  <a:lnTo>
                    <a:pt x="1206" y="543"/>
                  </a:lnTo>
                  <a:lnTo>
                    <a:pt x="1206" y="541"/>
                  </a:lnTo>
                  <a:lnTo>
                    <a:pt x="1208" y="541"/>
                  </a:lnTo>
                  <a:lnTo>
                    <a:pt x="1206" y="541"/>
                  </a:lnTo>
                  <a:lnTo>
                    <a:pt x="1206" y="541"/>
                  </a:lnTo>
                  <a:lnTo>
                    <a:pt x="1206" y="543"/>
                  </a:lnTo>
                  <a:lnTo>
                    <a:pt x="1206" y="543"/>
                  </a:lnTo>
                  <a:lnTo>
                    <a:pt x="1206" y="543"/>
                  </a:lnTo>
                  <a:lnTo>
                    <a:pt x="1208" y="543"/>
                  </a:lnTo>
                  <a:lnTo>
                    <a:pt x="1208" y="543"/>
                  </a:lnTo>
                  <a:lnTo>
                    <a:pt x="1208" y="543"/>
                  </a:lnTo>
                  <a:lnTo>
                    <a:pt x="1208" y="543"/>
                  </a:lnTo>
                  <a:lnTo>
                    <a:pt x="1208" y="543"/>
                  </a:lnTo>
                  <a:lnTo>
                    <a:pt x="1208" y="541"/>
                  </a:lnTo>
                  <a:lnTo>
                    <a:pt x="1210" y="541"/>
                  </a:lnTo>
                  <a:lnTo>
                    <a:pt x="1210" y="541"/>
                  </a:lnTo>
                  <a:lnTo>
                    <a:pt x="1210" y="541"/>
                  </a:lnTo>
                  <a:lnTo>
                    <a:pt x="1210" y="543"/>
                  </a:lnTo>
                  <a:lnTo>
                    <a:pt x="1210" y="543"/>
                  </a:lnTo>
                  <a:lnTo>
                    <a:pt x="1210" y="543"/>
                  </a:lnTo>
                  <a:lnTo>
                    <a:pt x="1212" y="541"/>
                  </a:lnTo>
                  <a:lnTo>
                    <a:pt x="1212" y="541"/>
                  </a:lnTo>
                  <a:lnTo>
                    <a:pt x="1212" y="539"/>
                  </a:lnTo>
                  <a:lnTo>
                    <a:pt x="1212" y="539"/>
                  </a:lnTo>
                  <a:lnTo>
                    <a:pt x="1212" y="539"/>
                  </a:lnTo>
                  <a:lnTo>
                    <a:pt x="1212" y="539"/>
                  </a:lnTo>
                  <a:lnTo>
                    <a:pt x="1212" y="539"/>
                  </a:lnTo>
                  <a:lnTo>
                    <a:pt x="1215" y="539"/>
                  </a:lnTo>
                  <a:lnTo>
                    <a:pt x="1215" y="539"/>
                  </a:lnTo>
                  <a:lnTo>
                    <a:pt x="1215" y="541"/>
                  </a:lnTo>
                  <a:lnTo>
                    <a:pt x="1215" y="541"/>
                  </a:lnTo>
                  <a:lnTo>
                    <a:pt x="1215" y="541"/>
                  </a:lnTo>
                  <a:lnTo>
                    <a:pt x="1215" y="541"/>
                  </a:lnTo>
                  <a:lnTo>
                    <a:pt x="1212" y="541"/>
                  </a:lnTo>
                  <a:lnTo>
                    <a:pt x="1212" y="541"/>
                  </a:lnTo>
                  <a:lnTo>
                    <a:pt x="1212" y="543"/>
                  </a:lnTo>
                  <a:lnTo>
                    <a:pt x="1212" y="543"/>
                  </a:lnTo>
                  <a:lnTo>
                    <a:pt x="1212" y="543"/>
                  </a:lnTo>
                  <a:lnTo>
                    <a:pt x="1212" y="543"/>
                  </a:lnTo>
                  <a:lnTo>
                    <a:pt x="1210" y="547"/>
                  </a:lnTo>
                  <a:lnTo>
                    <a:pt x="1208" y="547"/>
                  </a:lnTo>
                  <a:lnTo>
                    <a:pt x="1208" y="547"/>
                  </a:lnTo>
                  <a:lnTo>
                    <a:pt x="1208" y="547"/>
                  </a:lnTo>
                  <a:lnTo>
                    <a:pt x="1208" y="547"/>
                  </a:lnTo>
                  <a:lnTo>
                    <a:pt x="1208" y="547"/>
                  </a:lnTo>
                  <a:lnTo>
                    <a:pt x="1208" y="547"/>
                  </a:lnTo>
                  <a:lnTo>
                    <a:pt x="1208" y="547"/>
                  </a:lnTo>
                  <a:lnTo>
                    <a:pt x="1208" y="547"/>
                  </a:lnTo>
                  <a:lnTo>
                    <a:pt x="1210" y="549"/>
                  </a:lnTo>
                  <a:lnTo>
                    <a:pt x="1210" y="547"/>
                  </a:lnTo>
                  <a:lnTo>
                    <a:pt x="1215" y="545"/>
                  </a:lnTo>
                  <a:lnTo>
                    <a:pt x="1215" y="545"/>
                  </a:lnTo>
                  <a:lnTo>
                    <a:pt x="1215" y="545"/>
                  </a:lnTo>
                  <a:lnTo>
                    <a:pt x="1217" y="545"/>
                  </a:lnTo>
                  <a:lnTo>
                    <a:pt x="1217" y="543"/>
                  </a:lnTo>
                  <a:lnTo>
                    <a:pt x="1217" y="543"/>
                  </a:lnTo>
                  <a:lnTo>
                    <a:pt x="1217" y="545"/>
                  </a:lnTo>
                  <a:lnTo>
                    <a:pt x="1217" y="545"/>
                  </a:lnTo>
                  <a:lnTo>
                    <a:pt x="1217" y="545"/>
                  </a:lnTo>
                  <a:lnTo>
                    <a:pt x="1217" y="547"/>
                  </a:lnTo>
                  <a:lnTo>
                    <a:pt x="1215" y="547"/>
                  </a:lnTo>
                  <a:lnTo>
                    <a:pt x="1215" y="547"/>
                  </a:lnTo>
                  <a:lnTo>
                    <a:pt x="1217" y="547"/>
                  </a:lnTo>
                  <a:lnTo>
                    <a:pt x="1217" y="547"/>
                  </a:lnTo>
                  <a:lnTo>
                    <a:pt x="1219" y="545"/>
                  </a:lnTo>
                  <a:lnTo>
                    <a:pt x="1219" y="545"/>
                  </a:lnTo>
                  <a:lnTo>
                    <a:pt x="1219" y="543"/>
                  </a:lnTo>
                  <a:lnTo>
                    <a:pt x="1219" y="543"/>
                  </a:lnTo>
                  <a:lnTo>
                    <a:pt x="1219" y="545"/>
                  </a:lnTo>
                  <a:lnTo>
                    <a:pt x="1219" y="545"/>
                  </a:lnTo>
                  <a:lnTo>
                    <a:pt x="1219" y="545"/>
                  </a:lnTo>
                  <a:lnTo>
                    <a:pt x="1219" y="545"/>
                  </a:lnTo>
                  <a:lnTo>
                    <a:pt x="1221" y="545"/>
                  </a:lnTo>
                  <a:lnTo>
                    <a:pt x="1221" y="545"/>
                  </a:lnTo>
                  <a:lnTo>
                    <a:pt x="1221" y="547"/>
                  </a:lnTo>
                  <a:lnTo>
                    <a:pt x="1219" y="547"/>
                  </a:lnTo>
                  <a:lnTo>
                    <a:pt x="1219" y="547"/>
                  </a:lnTo>
                  <a:lnTo>
                    <a:pt x="1219" y="547"/>
                  </a:lnTo>
                  <a:lnTo>
                    <a:pt x="1223" y="545"/>
                  </a:lnTo>
                  <a:lnTo>
                    <a:pt x="1225" y="545"/>
                  </a:lnTo>
                  <a:lnTo>
                    <a:pt x="1225" y="545"/>
                  </a:lnTo>
                  <a:lnTo>
                    <a:pt x="1225" y="545"/>
                  </a:lnTo>
                  <a:lnTo>
                    <a:pt x="1225" y="545"/>
                  </a:lnTo>
                  <a:lnTo>
                    <a:pt x="1225" y="545"/>
                  </a:lnTo>
                  <a:lnTo>
                    <a:pt x="1225" y="547"/>
                  </a:lnTo>
                  <a:lnTo>
                    <a:pt x="1225" y="547"/>
                  </a:lnTo>
                  <a:lnTo>
                    <a:pt x="1223" y="547"/>
                  </a:lnTo>
                  <a:lnTo>
                    <a:pt x="1223" y="551"/>
                  </a:lnTo>
                  <a:lnTo>
                    <a:pt x="1221" y="553"/>
                  </a:lnTo>
                  <a:lnTo>
                    <a:pt x="1221" y="555"/>
                  </a:lnTo>
                  <a:lnTo>
                    <a:pt x="1219" y="555"/>
                  </a:lnTo>
                  <a:lnTo>
                    <a:pt x="1219" y="555"/>
                  </a:lnTo>
                  <a:lnTo>
                    <a:pt x="1219" y="555"/>
                  </a:lnTo>
                  <a:lnTo>
                    <a:pt x="1221" y="555"/>
                  </a:lnTo>
                  <a:lnTo>
                    <a:pt x="1223" y="555"/>
                  </a:lnTo>
                  <a:lnTo>
                    <a:pt x="1225" y="555"/>
                  </a:lnTo>
                  <a:lnTo>
                    <a:pt x="1227" y="555"/>
                  </a:lnTo>
                  <a:lnTo>
                    <a:pt x="1227" y="555"/>
                  </a:lnTo>
                  <a:lnTo>
                    <a:pt x="1229" y="555"/>
                  </a:lnTo>
                  <a:lnTo>
                    <a:pt x="1229" y="555"/>
                  </a:lnTo>
                  <a:lnTo>
                    <a:pt x="1229" y="557"/>
                  </a:lnTo>
                  <a:lnTo>
                    <a:pt x="1229" y="557"/>
                  </a:lnTo>
                  <a:lnTo>
                    <a:pt x="1231" y="557"/>
                  </a:lnTo>
                  <a:lnTo>
                    <a:pt x="1231" y="557"/>
                  </a:lnTo>
                  <a:lnTo>
                    <a:pt x="1231" y="559"/>
                  </a:lnTo>
                  <a:lnTo>
                    <a:pt x="1231" y="559"/>
                  </a:lnTo>
                  <a:lnTo>
                    <a:pt x="1233" y="559"/>
                  </a:lnTo>
                  <a:lnTo>
                    <a:pt x="1233" y="559"/>
                  </a:lnTo>
                  <a:lnTo>
                    <a:pt x="1233" y="559"/>
                  </a:lnTo>
                  <a:lnTo>
                    <a:pt x="1235" y="559"/>
                  </a:lnTo>
                  <a:lnTo>
                    <a:pt x="1235" y="559"/>
                  </a:lnTo>
                  <a:lnTo>
                    <a:pt x="1237" y="559"/>
                  </a:lnTo>
                  <a:lnTo>
                    <a:pt x="1239" y="555"/>
                  </a:lnTo>
                  <a:lnTo>
                    <a:pt x="1239" y="555"/>
                  </a:lnTo>
                  <a:lnTo>
                    <a:pt x="1239" y="555"/>
                  </a:lnTo>
                  <a:lnTo>
                    <a:pt x="1239" y="553"/>
                  </a:lnTo>
                  <a:lnTo>
                    <a:pt x="1241" y="551"/>
                  </a:lnTo>
                  <a:lnTo>
                    <a:pt x="1241" y="549"/>
                  </a:lnTo>
                  <a:lnTo>
                    <a:pt x="1241" y="549"/>
                  </a:lnTo>
                  <a:lnTo>
                    <a:pt x="1241" y="549"/>
                  </a:lnTo>
                  <a:lnTo>
                    <a:pt x="1243" y="547"/>
                  </a:lnTo>
                  <a:lnTo>
                    <a:pt x="1243" y="547"/>
                  </a:lnTo>
                  <a:lnTo>
                    <a:pt x="1243" y="547"/>
                  </a:lnTo>
                  <a:lnTo>
                    <a:pt x="1243" y="545"/>
                  </a:lnTo>
                  <a:lnTo>
                    <a:pt x="1245" y="545"/>
                  </a:lnTo>
                  <a:lnTo>
                    <a:pt x="1245" y="543"/>
                  </a:lnTo>
                  <a:lnTo>
                    <a:pt x="1245" y="543"/>
                  </a:lnTo>
                  <a:lnTo>
                    <a:pt x="1245" y="541"/>
                  </a:lnTo>
                  <a:lnTo>
                    <a:pt x="1247" y="541"/>
                  </a:lnTo>
                  <a:lnTo>
                    <a:pt x="1247" y="541"/>
                  </a:lnTo>
                  <a:lnTo>
                    <a:pt x="1247" y="539"/>
                  </a:lnTo>
                  <a:lnTo>
                    <a:pt x="1249" y="539"/>
                  </a:lnTo>
                  <a:lnTo>
                    <a:pt x="1249" y="539"/>
                  </a:lnTo>
                  <a:lnTo>
                    <a:pt x="1249" y="539"/>
                  </a:lnTo>
                  <a:lnTo>
                    <a:pt x="1249" y="539"/>
                  </a:lnTo>
                  <a:lnTo>
                    <a:pt x="1249" y="541"/>
                  </a:lnTo>
                  <a:lnTo>
                    <a:pt x="1249" y="541"/>
                  </a:lnTo>
                  <a:lnTo>
                    <a:pt x="1249" y="541"/>
                  </a:lnTo>
                  <a:lnTo>
                    <a:pt x="1249" y="541"/>
                  </a:lnTo>
                  <a:lnTo>
                    <a:pt x="1249" y="541"/>
                  </a:lnTo>
                  <a:lnTo>
                    <a:pt x="1247" y="541"/>
                  </a:lnTo>
                  <a:lnTo>
                    <a:pt x="1247" y="541"/>
                  </a:lnTo>
                  <a:lnTo>
                    <a:pt x="1247" y="541"/>
                  </a:lnTo>
                  <a:lnTo>
                    <a:pt x="1247" y="543"/>
                  </a:lnTo>
                  <a:lnTo>
                    <a:pt x="1247" y="543"/>
                  </a:lnTo>
                  <a:lnTo>
                    <a:pt x="1247" y="543"/>
                  </a:lnTo>
                  <a:lnTo>
                    <a:pt x="1247" y="543"/>
                  </a:lnTo>
                  <a:lnTo>
                    <a:pt x="1247" y="543"/>
                  </a:lnTo>
                  <a:lnTo>
                    <a:pt x="1245" y="545"/>
                  </a:lnTo>
                  <a:lnTo>
                    <a:pt x="1245" y="545"/>
                  </a:lnTo>
                  <a:lnTo>
                    <a:pt x="1245" y="545"/>
                  </a:lnTo>
                  <a:lnTo>
                    <a:pt x="1245" y="547"/>
                  </a:lnTo>
                  <a:lnTo>
                    <a:pt x="1245" y="547"/>
                  </a:lnTo>
                  <a:lnTo>
                    <a:pt x="1245" y="547"/>
                  </a:lnTo>
                  <a:lnTo>
                    <a:pt x="1245" y="549"/>
                  </a:lnTo>
                  <a:lnTo>
                    <a:pt x="1245" y="549"/>
                  </a:lnTo>
                  <a:lnTo>
                    <a:pt x="1245" y="549"/>
                  </a:lnTo>
                  <a:lnTo>
                    <a:pt x="1245" y="549"/>
                  </a:lnTo>
                  <a:lnTo>
                    <a:pt x="1245" y="549"/>
                  </a:lnTo>
                  <a:lnTo>
                    <a:pt x="1245" y="549"/>
                  </a:lnTo>
                  <a:lnTo>
                    <a:pt x="1245" y="549"/>
                  </a:lnTo>
                  <a:lnTo>
                    <a:pt x="1245" y="551"/>
                  </a:lnTo>
                  <a:lnTo>
                    <a:pt x="1245" y="551"/>
                  </a:lnTo>
                  <a:lnTo>
                    <a:pt x="1245" y="551"/>
                  </a:lnTo>
                  <a:lnTo>
                    <a:pt x="1245" y="551"/>
                  </a:lnTo>
                  <a:lnTo>
                    <a:pt x="1245" y="553"/>
                  </a:lnTo>
                  <a:lnTo>
                    <a:pt x="1245" y="553"/>
                  </a:lnTo>
                  <a:lnTo>
                    <a:pt x="1245" y="551"/>
                  </a:lnTo>
                  <a:lnTo>
                    <a:pt x="1247" y="551"/>
                  </a:lnTo>
                  <a:lnTo>
                    <a:pt x="1247" y="551"/>
                  </a:lnTo>
                  <a:lnTo>
                    <a:pt x="1247" y="551"/>
                  </a:lnTo>
                  <a:lnTo>
                    <a:pt x="1247" y="553"/>
                  </a:lnTo>
                  <a:lnTo>
                    <a:pt x="1245" y="553"/>
                  </a:lnTo>
                  <a:lnTo>
                    <a:pt x="1245" y="555"/>
                  </a:lnTo>
                  <a:lnTo>
                    <a:pt x="1247" y="555"/>
                  </a:lnTo>
                  <a:lnTo>
                    <a:pt x="1247" y="555"/>
                  </a:lnTo>
                  <a:lnTo>
                    <a:pt x="1245" y="555"/>
                  </a:lnTo>
                  <a:lnTo>
                    <a:pt x="1245" y="555"/>
                  </a:lnTo>
                  <a:lnTo>
                    <a:pt x="1245" y="555"/>
                  </a:lnTo>
                  <a:lnTo>
                    <a:pt x="1245" y="557"/>
                  </a:lnTo>
                  <a:lnTo>
                    <a:pt x="1245" y="557"/>
                  </a:lnTo>
                  <a:lnTo>
                    <a:pt x="1245" y="557"/>
                  </a:lnTo>
                  <a:lnTo>
                    <a:pt x="1245" y="557"/>
                  </a:lnTo>
                  <a:lnTo>
                    <a:pt x="1245" y="557"/>
                  </a:lnTo>
                  <a:lnTo>
                    <a:pt x="1245" y="557"/>
                  </a:lnTo>
                  <a:lnTo>
                    <a:pt x="1245" y="559"/>
                  </a:lnTo>
                  <a:lnTo>
                    <a:pt x="1245" y="559"/>
                  </a:lnTo>
                  <a:lnTo>
                    <a:pt x="1245" y="559"/>
                  </a:lnTo>
                  <a:lnTo>
                    <a:pt x="1245" y="562"/>
                  </a:lnTo>
                  <a:lnTo>
                    <a:pt x="1245" y="562"/>
                  </a:lnTo>
                  <a:lnTo>
                    <a:pt x="1245" y="562"/>
                  </a:lnTo>
                  <a:lnTo>
                    <a:pt x="1245" y="562"/>
                  </a:lnTo>
                  <a:lnTo>
                    <a:pt x="1245" y="562"/>
                  </a:lnTo>
                  <a:lnTo>
                    <a:pt x="1245" y="562"/>
                  </a:lnTo>
                  <a:lnTo>
                    <a:pt x="1247" y="562"/>
                  </a:lnTo>
                  <a:lnTo>
                    <a:pt x="1247" y="562"/>
                  </a:lnTo>
                  <a:lnTo>
                    <a:pt x="1247" y="562"/>
                  </a:lnTo>
                  <a:lnTo>
                    <a:pt x="1247" y="562"/>
                  </a:lnTo>
                  <a:lnTo>
                    <a:pt x="1247" y="562"/>
                  </a:lnTo>
                  <a:lnTo>
                    <a:pt x="1247" y="562"/>
                  </a:lnTo>
                  <a:lnTo>
                    <a:pt x="1247" y="562"/>
                  </a:lnTo>
                  <a:lnTo>
                    <a:pt x="1247" y="562"/>
                  </a:lnTo>
                  <a:lnTo>
                    <a:pt x="1249" y="562"/>
                  </a:lnTo>
                  <a:lnTo>
                    <a:pt x="1249" y="562"/>
                  </a:lnTo>
                  <a:lnTo>
                    <a:pt x="1249" y="562"/>
                  </a:lnTo>
                  <a:lnTo>
                    <a:pt x="1249" y="562"/>
                  </a:lnTo>
                  <a:lnTo>
                    <a:pt x="1249" y="562"/>
                  </a:lnTo>
                  <a:lnTo>
                    <a:pt x="1251" y="562"/>
                  </a:lnTo>
                  <a:lnTo>
                    <a:pt x="1251" y="564"/>
                  </a:lnTo>
                  <a:lnTo>
                    <a:pt x="1253" y="564"/>
                  </a:lnTo>
                  <a:lnTo>
                    <a:pt x="1253" y="566"/>
                  </a:lnTo>
                  <a:lnTo>
                    <a:pt x="1253" y="564"/>
                  </a:lnTo>
                  <a:lnTo>
                    <a:pt x="1251" y="564"/>
                  </a:lnTo>
                  <a:lnTo>
                    <a:pt x="1251" y="564"/>
                  </a:lnTo>
                  <a:lnTo>
                    <a:pt x="1251" y="564"/>
                  </a:lnTo>
                  <a:lnTo>
                    <a:pt x="1251" y="566"/>
                  </a:lnTo>
                  <a:lnTo>
                    <a:pt x="1253" y="566"/>
                  </a:lnTo>
                  <a:lnTo>
                    <a:pt x="1256" y="566"/>
                  </a:lnTo>
                  <a:lnTo>
                    <a:pt x="1256" y="566"/>
                  </a:lnTo>
                  <a:lnTo>
                    <a:pt x="1256" y="566"/>
                  </a:lnTo>
                  <a:lnTo>
                    <a:pt x="1258" y="564"/>
                  </a:lnTo>
                  <a:lnTo>
                    <a:pt x="1258" y="566"/>
                  </a:lnTo>
                  <a:lnTo>
                    <a:pt x="1258" y="566"/>
                  </a:lnTo>
                  <a:lnTo>
                    <a:pt x="1258" y="566"/>
                  </a:lnTo>
                  <a:lnTo>
                    <a:pt x="1258" y="566"/>
                  </a:lnTo>
                  <a:lnTo>
                    <a:pt x="1258" y="566"/>
                  </a:lnTo>
                  <a:lnTo>
                    <a:pt x="1260" y="566"/>
                  </a:lnTo>
                  <a:lnTo>
                    <a:pt x="1260" y="566"/>
                  </a:lnTo>
                  <a:lnTo>
                    <a:pt x="1260" y="564"/>
                  </a:lnTo>
                  <a:lnTo>
                    <a:pt x="1264" y="566"/>
                  </a:lnTo>
                  <a:lnTo>
                    <a:pt x="1264" y="564"/>
                  </a:lnTo>
                  <a:lnTo>
                    <a:pt x="1264" y="564"/>
                  </a:lnTo>
                  <a:lnTo>
                    <a:pt x="1264" y="564"/>
                  </a:lnTo>
                  <a:lnTo>
                    <a:pt x="1264" y="564"/>
                  </a:lnTo>
                  <a:lnTo>
                    <a:pt x="1264" y="564"/>
                  </a:lnTo>
                  <a:lnTo>
                    <a:pt x="1264" y="566"/>
                  </a:lnTo>
                  <a:lnTo>
                    <a:pt x="1264" y="566"/>
                  </a:lnTo>
                  <a:lnTo>
                    <a:pt x="1264" y="566"/>
                  </a:lnTo>
                  <a:lnTo>
                    <a:pt x="1264" y="566"/>
                  </a:lnTo>
                  <a:lnTo>
                    <a:pt x="1264" y="566"/>
                  </a:lnTo>
                  <a:lnTo>
                    <a:pt x="1264" y="568"/>
                  </a:lnTo>
                  <a:lnTo>
                    <a:pt x="1264" y="568"/>
                  </a:lnTo>
                  <a:lnTo>
                    <a:pt x="1264" y="568"/>
                  </a:lnTo>
                  <a:lnTo>
                    <a:pt x="1270" y="570"/>
                  </a:lnTo>
                  <a:lnTo>
                    <a:pt x="1270" y="570"/>
                  </a:lnTo>
                  <a:lnTo>
                    <a:pt x="1270" y="572"/>
                  </a:lnTo>
                  <a:lnTo>
                    <a:pt x="1270" y="572"/>
                  </a:lnTo>
                  <a:lnTo>
                    <a:pt x="1268" y="572"/>
                  </a:lnTo>
                  <a:lnTo>
                    <a:pt x="1264" y="574"/>
                  </a:lnTo>
                  <a:lnTo>
                    <a:pt x="1268" y="572"/>
                  </a:lnTo>
                  <a:lnTo>
                    <a:pt x="1270" y="572"/>
                  </a:lnTo>
                  <a:lnTo>
                    <a:pt x="1274" y="574"/>
                  </a:lnTo>
                  <a:lnTo>
                    <a:pt x="1274" y="574"/>
                  </a:lnTo>
                  <a:lnTo>
                    <a:pt x="1278" y="572"/>
                  </a:lnTo>
                  <a:lnTo>
                    <a:pt x="1280" y="570"/>
                  </a:lnTo>
                  <a:lnTo>
                    <a:pt x="1284" y="568"/>
                  </a:lnTo>
                  <a:lnTo>
                    <a:pt x="1290" y="568"/>
                  </a:lnTo>
                  <a:lnTo>
                    <a:pt x="1296" y="564"/>
                  </a:lnTo>
                  <a:lnTo>
                    <a:pt x="1301" y="564"/>
                  </a:lnTo>
                  <a:lnTo>
                    <a:pt x="1305" y="564"/>
                  </a:lnTo>
                  <a:lnTo>
                    <a:pt x="1309" y="564"/>
                  </a:lnTo>
                  <a:lnTo>
                    <a:pt x="1313" y="564"/>
                  </a:lnTo>
                  <a:lnTo>
                    <a:pt x="1317" y="564"/>
                  </a:lnTo>
                  <a:lnTo>
                    <a:pt x="1319" y="564"/>
                  </a:lnTo>
                  <a:lnTo>
                    <a:pt x="1323" y="564"/>
                  </a:lnTo>
                  <a:lnTo>
                    <a:pt x="1325" y="564"/>
                  </a:lnTo>
                  <a:lnTo>
                    <a:pt x="1329" y="566"/>
                  </a:lnTo>
                  <a:lnTo>
                    <a:pt x="1331" y="566"/>
                  </a:lnTo>
                  <a:lnTo>
                    <a:pt x="1331" y="566"/>
                  </a:lnTo>
                  <a:lnTo>
                    <a:pt x="1335" y="562"/>
                  </a:lnTo>
                  <a:lnTo>
                    <a:pt x="1337" y="562"/>
                  </a:lnTo>
                  <a:lnTo>
                    <a:pt x="1337" y="562"/>
                  </a:lnTo>
                  <a:lnTo>
                    <a:pt x="1337" y="559"/>
                  </a:lnTo>
                  <a:lnTo>
                    <a:pt x="1337" y="559"/>
                  </a:lnTo>
                  <a:lnTo>
                    <a:pt x="1335" y="559"/>
                  </a:lnTo>
                  <a:lnTo>
                    <a:pt x="1335" y="559"/>
                  </a:lnTo>
                  <a:lnTo>
                    <a:pt x="1335" y="559"/>
                  </a:lnTo>
                  <a:lnTo>
                    <a:pt x="1335" y="557"/>
                  </a:lnTo>
                  <a:lnTo>
                    <a:pt x="1333" y="557"/>
                  </a:lnTo>
                  <a:lnTo>
                    <a:pt x="1333" y="555"/>
                  </a:lnTo>
                  <a:lnTo>
                    <a:pt x="1335" y="555"/>
                  </a:lnTo>
                  <a:lnTo>
                    <a:pt x="1337" y="555"/>
                  </a:lnTo>
                  <a:lnTo>
                    <a:pt x="1337" y="555"/>
                  </a:lnTo>
                  <a:lnTo>
                    <a:pt x="1337" y="557"/>
                  </a:lnTo>
                  <a:lnTo>
                    <a:pt x="1339" y="557"/>
                  </a:lnTo>
                  <a:lnTo>
                    <a:pt x="1339" y="557"/>
                  </a:lnTo>
                  <a:lnTo>
                    <a:pt x="1339" y="557"/>
                  </a:lnTo>
                  <a:lnTo>
                    <a:pt x="1339" y="557"/>
                  </a:lnTo>
                  <a:lnTo>
                    <a:pt x="1339" y="559"/>
                  </a:lnTo>
                  <a:lnTo>
                    <a:pt x="1339" y="559"/>
                  </a:lnTo>
                  <a:lnTo>
                    <a:pt x="1339" y="559"/>
                  </a:lnTo>
                  <a:lnTo>
                    <a:pt x="1342" y="562"/>
                  </a:lnTo>
                  <a:lnTo>
                    <a:pt x="1342" y="562"/>
                  </a:lnTo>
                  <a:lnTo>
                    <a:pt x="1342" y="564"/>
                  </a:lnTo>
                  <a:lnTo>
                    <a:pt x="1342" y="564"/>
                  </a:lnTo>
                  <a:lnTo>
                    <a:pt x="1342" y="564"/>
                  </a:lnTo>
                  <a:lnTo>
                    <a:pt x="1342" y="566"/>
                  </a:lnTo>
                  <a:lnTo>
                    <a:pt x="1339" y="566"/>
                  </a:lnTo>
                  <a:lnTo>
                    <a:pt x="1339" y="566"/>
                  </a:lnTo>
                  <a:lnTo>
                    <a:pt x="1339" y="566"/>
                  </a:lnTo>
                  <a:lnTo>
                    <a:pt x="1339" y="566"/>
                  </a:lnTo>
                  <a:lnTo>
                    <a:pt x="1337" y="568"/>
                  </a:lnTo>
                  <a:lnTo>
                    <a:pt x="1337" y="568"/>
                  </a:lnTo>
                  <a:lnTo>
                    <a:pt x="1337" y="568"/>
                  </a:lnTo>
                  <a:lnTo>
                    <a:pt x="1337" y="568"/>
                  </a:lnTo>
                  <a:lnTo>
                    <a:pt x="1337" y="566"/>
                  </a:lnTo>
                  <a:lnTo>
                    <a:pt x="1337" y="566"/>
                  </a:lnTo>
                  <a:lnTo>
                    <a:pt x="1337" y="566"/>
                  </a:lnTo>
                  <a:lnTo>
                    <a:pt x="1337" y="568"/>
                  </a:lnTo>
                  <a:lnTo>
                    <a:pt x="1337" y="568"/>
                  </a:lnTo>
                  <a:lnTo>
                    <a:pt x="1337" y="568"/>
                  </a:lnTo>
                  <a:lnTo>
                    <a:pt x="1337" y="570"/>
                  </a:lnTo>
                  <a:lnTo>
                    <a:pt x="1339" y="570"/>
                  </a:lnTo>
                  <a:lnTo>
                    <a:pt x="1342" y="570"/>
                  </a:lnTo>
                  <a:lnTo>
                    <a:pt x="1346" y="570"/>
                  </a:lnTo>
                  <a:lnTo>
                    <a:pt x="1350" y="572"/>
                  </a:lnTo>
                  <a:lnTo>
                    <a:pt x="1354" y="572"/>
                  </a:lnTo>
                  <a:lnTo>
                    <a:pt x="1356" y="574"/>
                  </a:lnTo>
                  <a:lnTo>
                    <a:pt x="1358" y="574"/>
                  </a:lnTo>
                  <a:lnTo>
                    <a:pt x="1360" y="574"/>
                  </a:lnTo>
                  <a:lnTo>
                    <a:pt x="1364" y="572"/>
                  </a:lnTo>
                  <a:lnTo>
                    <a:pt x="1368" y="572"/>
                  </a:lnTo>
                  <a:lnTo>
                    <a:pt x="1370" y="572"/>
                  </a:lnTo>
                  <a:lnTo>
                    <a:pt x="1372" y="570"/>
                  </a:lnTo>
                  <a:lnTo>
                    <a:pt x="1374" y="568"/>
                  </a:lnTo>
                  <a:lnTo>
                    <a:pt x="1376" y="566"/>
                  </a:lnTo>
                  <a:lnTo>
                    <a:pt x="1378" y="564"/>
                  </a:lnTo>
                  <a:lnTo>
                    <a:pt x="1380" y="562"/>
                  </a:lnTo>
                  <a:lnTo>
                    <a:pt x="1380" y="559"/>
                  </a:lnTo>
                  <a:lnTo>
                    <a:pt x="1380" y="557"/>
                  </a:lnTo>
                  <a:lnTo>
                    <a:pt x="1382" y="555"/>
                  </a:lnTo>
                  <a:lnTo>
                    <a:pt x="1382" y="555"/>
                  </a:lnTo>
                  <a:lnTo>
                    <a:pt x="1385" y="555"/>
                  </a:lnTo>
                  <a:lnTo>
                    <a:pt x="1385" y="555"/>
                  </a:lnTo>
                  <a:lnTo>
                    <a:pt x="1385" y="555"/>
                  </a:lnTo>
                  <a:lnTo>
                    <a:pt x="1382" y="553"/>
                  </a:lnTo>
                  <a:lnTo>
                    <a:pt x="1385" y="551"/>
                  </a:lnTo>
                  <a:lnTo>
                    <a:pt x="1385" y="551"/>
                  </a:lnTo>
                  <a:lnTo>
                    <a:pt x="1385" y="549"/>
                  </a:lnTo>
                  <a:lnTo>
                    <a:pt x="1385" y="549"/>
                  </a:lnTo>
                  <a:lnTo>
                    <a:pt x="1385" y="549"/>
                  </a:lnTo>
                  <a:lnTo>
                    <a:pt x="1387" y="551"/>
                  </a:lnTo>
                  <a:lnTo>
                    <a:pt x="1387" y="551"/>
                  </a:lnTo>
                  <a:lnTo>
                    <a:pt x="1389" y="551"/>
                  </a:lnTo>
                  <a:lnTo>
                    <a:pt x="1389" y="551"/>
                  </a:lnTo>
                  <a:lnTo>
                    <a:pt x="1389" y="553"/>
                  </a:lnTo>
                  <a:lnTo>
                    <a:pt x="1389" y="553"/>
                  </a:lnTo>
                  <a:lnTo>
                    <a:pt x="1391" y="553"/>
                  </a:lnTo>
                  <a:lnTo>
                    <a:pt x="1391" y="553"/>
                  </a:lnTo>
                  <a:lnTo>
                    <a:pt x="1393" y="557"/>
                  </a:lnTo>
                  <a:lnTo>
                    <a:pt x="1395" y="557"/>
                  </a:lnTo>
                  <a:lnTo>
                    <a:pt x="1399" y="557"/>
                  </a:lnTo>
                  <a:lnTo>
                    <a:pt x="1399" y="557"/>
                  </a:lnTo>
                  <a:lnTo>
                    <a:pt x="1401" y="557"/>
                  </a:lnTo>
                  <a:lnTo>
                    <a:pt x="1403" y="557"/>
                  </a:lnTo>
                  <a:lnTo>
                    <a:pt x="1403" y="557"/>
                  </a:lnTo>
                  <a:lnTo>
                    <a:pt x="1403" y="557"/>
                  </a:lnTo>
                  <a:lnTo>
                    <a:pt x="1403" y="559"/>
                  </a:lnTo>
                  <a:lnTo>
                    <a:pt x="1403" y="559"/>
                  </a:lnTo>
                  <a:lnTo>
                    <a:pt x="1401" y="557"/>
                  </a:lnTo>
                  <a:lnTo>
                    <a:pt x="1399" y="557"/>
                  </a:lnTo>
                  <a:lnTo>
                    <a:pt x="1399" y="557"/>
                  </a:lnTo>
                  <a:lnTo>
                    <a:pt x="1395" y="557"/>
                  </a:lnTo>
                  <a:lnTo>
                    <a:pt x="1393" y="559"/>
                  </a:lnTo>
                  <a:lnTo>
                    <a:pt x="1393" y="559"/>
                  </a:lnTo>
                  <a:lnTo>
                    <a:pt x="1393" y="559"/>
                  </a:lnTo>
                  <a:lnTo>
                    <a:pt x="1395" y="562"/>
                  </a:lnTo>
                  <a:lnTo>
                    <a:pt x="1395" y="562"/>
                  </a:lnTo>
                  <a:lnTo>
                    <a:pt x="1395" y="562"/>
                  </a:lnTo>
                  <a:lnTo>
                    <a:pt x="1393" y="564"/>
                  </a:lnTo>
                  <a:lnTo>
                    <a:pt x="1393" y="564"/>
                  </a:lnTo>
                  <a:lnTo>
                    <a:pt x="1395" y="564"/>
                  </a:lnTo>
                  <a:lnTo>
                    <a:pt x="1395" y="564"/>
                  </a:lnTo>
                  <a:lnTo>
                    <a:pt x="1395" y="564"/>
                  </a:lnTo>
                  <a:lnTo>
                    <a:pt x="1395" y="564"/>
                  </a:lnTo>
                  <a:lnTo>
                    <a:pt x="1395" y="566"/>
                  </a:lnTo>
                  <a:lnTo>
                    <a:pt x="1395" y="566"/>
                  </a:lnTo>
                  <a:lnTo>
                    <a:pt x="1395" y="568"/>
                  </a:lnTo>
                  <a:lnTo>
                    <a:pt x="1395" y="568"/>
                  </a:lnTo>
                  <a:lnTo>
                    <a:pt x="1397" y="570"/>
                  </a:lnTo>
                  <a:lnTo>
                    <a:pt x="1397" y="570"/>
                  </a:lnTo>
                  <a:lnTo>
                    <a:pt x="1397" y="572"/>
                  </a:lnTo>
                  <a:lnTo>
                    <a:pt x="1397" y="572"/>
                  </a:lnTo>
                  <a:lnTo>
                    <a:pt x="1397" y="572"/>
                  </a:lnTo>
                  <a:lnTo>
                    <a:pt x="1395" y="572"/>
                  </a:lnTo>
                  <a:lnTo>
                    <a:pt x="1395" y="572"/>
                  </a:lnTo>
                  <a:lnTo>
                    <a:pt x="1395" y="570"/>
                  </a:lnTo>
                  <a:lnTo>
                    <a:pt x="1395" y="570"/>
                  </a:lnTo>
                  <a:lnTo>
                    <a:pt x="1397" y="570"/>
                  </a:lnTo>
                  <a:lnTo>
                    <a:pt x="1395" y="570"/>
                  </a:lnTo>
                  <a:lnTo>
                    <a:pt x="1395" y="568"/>
                  </a:lnTo>
                  <a:lnTo>
                    <a:pt x="1395" y="566"/>
                  </a:lnTo>
                  <a:lnTo>
                    <a:pt x="1395" y="566"/>
                  </a:lnTo>
                  <a:lnTo>
                    <a:pt x="1393" y="566"/>
                  </a:lnTo>
                  <a:lnTo>
                    <a:pt x="1393" y="566"/>
                  </a:lnTo>
                  <a:lnTo>
                    <a:pt x="1393" y="566"/>
                  </a:lnTo>
                  <a:lnTo>
                    <a:pt x="1393" y="566"/>
                  </a:lnTo>
                  <a:lnTo>
                    <a:pt x="1393" y="564"/>
                  </a:lnTo>
                  <a:lnTo>
                    <a:pt x="1393" y="564"/>
                  </a:lnTo>
                  <a:lnTo>
                    <a:pt x="1393" y="562"/>
                  </a:lnTo>
                  <a:lnTo>
                    <a:pt x="1393" y="562"/>
                  </a:lnTo>
                  <a:lnTo>
                    <a:pt x="1393" y="559"/>
                  </a:lnTo>
                  <a:lnTo>
                    <a:pt x="1393" y="557"/>
                  </a:lnTo>
                  <a:lnTo>
                    <a:pt x="1391" y="555"/>
                  </a:lnTo>
                  <a:lnTo>
                    <a:pt x="1389" y="553"/>
                  </a:lnTo>
                  <a:lnTo>
                    <a:pt x="1387" y="553"/>
                  </a:lnTo>
                  <a:lnTo>
                    <a:pt x="1387" y="551"/>
                  </a:lnTo>
                  <a:lnTo>
                    <a:pt x="1387" y="553"/>
                  </a:lnTo>
                  <a:lnTo>
                    <a:pt x="1387" y="555"/>
                  </a:lnTo>
                  <a:lnTo>
                    <a:pt x="1385" y="555"/>
                  </a:lnTo>
                  <a:lnTo>
                    <a:pt x="1385" y="555"/>
                  </a:lnTo>
                  <a:lnTo>
                    <a:pt x="1385" y="555"/>
                  </a:lnTo>
                  <a:lnTo>
                    <a:pt x="1385" y="555"/>
                  </a:lnTo>
                  <a:lnTo>
                    <a:pt x="1385" y="557"/>
                  </a:lnTo>
                  <a:lnTo>
                    <a:pt x="1385" y="557"/>
                  </a:lnTo>
                  <a:lnTo>
                    <a:pt x="1385" y="557"/>
                  </a:lnTo>
                  <a:lnTo>
                    <a:pt x="1385" y="559"/>
                  </a:lnTo>
                  <a:lnTo>
                    <a:pt x="1385" y="562"/>
                  </a:lnTo>
                  <a:lnTo>
                    <a:pt x="1387" y="564"/>
                  </a:lnTo>
                  <a:lnTo>
                    <a:pt x="1387" y="564"/>
                  </a:lnTo>
                  <a:lnTo>
                    <a:pt x="1387" y="564"/>
                  </a:lnTo>
                  <a:lnTo>
                    <a:pt x="1387" y="566"/>
                  </a:lnTo>
                  <a:lnTo>
                    <a:pt x="1389" y="566"/>
                  </a:lnTo>
                  <a:lnTo>
                    <a:pt x="1389" y="568"/>
                  </a:lnTo>
                  <a:lnTo>
                    <a:pt x="1389" y="568"/>
                  </a:lnTo>
                  <a:lnTo>
                    <a:pt x="1389" y="572"/>
                  </a:lnTo>
                  <a:lnTo>
                    <a:pt x="1387" y="572"/>
                  </a:lnTo>
                  <a:lnTo>
                    <a:pt x="1389" y="572"/>
                  </a:lnTo>
                  <a:lnTo>
                    <a:pt x="1387" y="574"/>
                  </a:lnTo>
                  <a:lnTo>
                    <a:pt x="1387" y="574"/>
                  </a:lnTo>
                  <a:lnTo>
                    <a:pt x="1387" y="574"/>
                  </a:lnTo>
                  <a:lnTo>
                    <a:pt x="1387" y="574"/>
                  </a:lnTo>
                  <a:lnTo>
                    <a:pt x="1387" y="574"/>
                  </a:lnTo>
                  <a:lnTo>
                    <a:pt x="1387" y="574"/>
                  </a:lnTo>
                  <a:lnTo>
                    <a:pt x="1387" y="574"/>
                  </a:lnTo>
                  <a:lnTo>
                    <a:pt x="1385" y="574"/>
                  </a:lnTo>
                  <a:lnTo>
                    <a:pt x="1385" y="576"/>
                  </a:lnTo>
                  <a:lnTo>
                    <a:pt x="1385" y="576"/>
                  </a:lnTo>
                  <a:lnTo>
                    <a:pt x="1385" y="576"/>
                  </a:lnTo>
                  <a:lnTo>
                    <a:pt x="1385" y="576"/>
                  </a:lnTo>
                  <a:lnTo>
                    <a:pt x="1385" y="576"/>
                  </a:lnTo>
                  <a:lnTo>
                    <a:pt x="1385" y="576"/>
                  </a:lnTo>
                  <a:lnTo>
                    <a:pt x="1382" y="576"/>
                  </a:lnTo>
                  <a:lnTo>
                    <a:pt x="1382" y="578"/>
                  </a:lnTo>
                  <a:lnTo>
                    <a:pt x="1389" y="580"/>
                  </a:lnTo>
                  <a:lnTo>
                    <a:pt x="1391" y="580"/>
                  </a:lnTo>
                  <a:lnTo>
                    <a:pt x="1391" y="580"/>
                  </a:lnTo>
                  <a:lnTo>
                    <a:pt x="1393" y="582"/>
                  </a:lnTo>
                  <a:lnTo>
                    <a:pt x="1393" y="582"/>
                  </a:lnTo>
                  <a:lnTo>
                    <a:pt x="1395" y="582"/>
                  </a:lnTo>
                  <a:lnTo>
                    <a:pt x="1395" y="582"/>
                  </a:lnTo>
                  <a:lnTo>
                    <a:pt x="1395" y="582"/>
                  </a:lnTo>
                  <a:lnTo>
                    <a:pt x="1395" y="582"/>
                  </a:lnTo>
                  <a:lnTo>
                    <a:pt x="1397" y="582"/>
                  </a:lnTo>
                  <a:lnTo>
                    <a:pt x="1397" y="582"/>
                  </a:lnTo>
                  <a:lnTo>
                    <a:pt x="1397" y="582"/>
                  </a:lnTo>
                  <a:lnTo>
                    <a:pt x="1397" y="582"/>
                  </a:lnTo>
                  <a:lnTo>
                    <a:pt x="1395" y="582"/>
                  </a:lnTo>
                  <a:lnTo>
                    <a:pt x="1395" y="582"/>
                  </a:lnTo>
                  <a:lnTo>
                    <a:pt x="1393" y="582"/>
                  </a:lnTo>
                  <a:lnTo>
                    <a:pt x="1393" y="582"/>
                  </a:lnTo>
                  <a:lnTo>
                    <a:pt x="1395" y="582"/>
                  </a:lnTo>
                  <a:lnTo>
                    <a:pt x="1395" y="584"/>
                  </a:lnTo>
                  <a:lnTo>
                    <a:pt x="1397" y="584"/>
                  </a:lnTo>
                  <a:lnTo>
                    <a:pt x="1397" y="584"/>
                  </a:lnTo>
                  <a:lnTo>
                    <a:pt x="1397" y="584"/>
                  </a:lnTo>
                  <a:lnTo>
                    <a:pt x="1399" y="584"/>
                  </a:lnTo>
                  <a:lnTo>
                    <a:pt x="1399" y="584"/>
                  </a:lnTo>
                  <a:lnTo>
                    <a:pt x="1399" y="582"/>
                  </a:lnTo>
                  <a:lnTo>
                    <a:pt x="1399" y="582"/>
                  </a:lnTo>
                  <a:lnTo>
                    <a:pt x="1399" y="582"/>
                  </a:lnTo>
                  <a:lnTo>
                    <a:pt x="1399" y="582"/>
                  </a:lnTo>
                  <a:lnTo>
                    <a:pt x="1399" y="582"/>
                  </a:lnTo>
                  <a:lnTo>
                    <a:pt x="1399" y="582"/>
                  </a:lnTo>
                  <a:lnTo>
                    <a:pt x="1399" y="584"/>
                  </a:lnTo>
                  <a:lnTo>
                    <a:pt x="1399" y="584"/>
                  </a:lnTo>
                  <a:lnTo>
                    <a:pt x="1401" y="584"/>
                  </a:lnTo>
                  <a:lnTo>
                    <a:pt x="1401" y="584"/>
                  </a:lnTo>
                  <a:lnTo>
                    <a:pt x="1401" y="584"/>
                  </a:lnTo>
                  <a:lnTo>
                    <a:pt x="1401" y="584"/>
                  </a:lnTo>
                  <a:lnTo>
                    <a:pt x="1403" y="584"/>
                  </a:lnTo>
                  <a:lnTo>
                    <a:pt x="1403" y="584"/>
                  </a:lnTo>
                  <a:lnTo>
                    <a:pt x="1403" y="586"/>
                  </a:lnTo>
                  <a:lnTo>
                    <a:pt x="1401" y="584"/>
                  </a:lnTo>
                  <a:lnTo>
                    <a:pt x="1401" y="584"/>
                  </a:lnTo>
                  <a:lnTo>
                    <a:pt x="1407" y="586"/>
                  </a:lnTo>
                  <a:lnTo>
                    <a:pt x="1411" y="588"/>
                  </a:lnTo>
                  <a:lnTo>
                    <a:pt x="1413" y="588"/>
                  </a:lnTo>
                  <a:lnTo>
                    <a:pt x="1413" y="588"/>
                  </a:lnTo>
                  <a:lnTo>
                    <a:pt x="1415" y="588"/>
                  </a:lnTo>
                  <a:lnTo>
                    <a:pt x="1415" y="590"/>
                  </a:lnTo>
                  <a:lnTo>
                    <a:pt x="1417" y="590"/>
                  </a:lnTo>
                  <a:lnTo>
                    <a:pt x="1417" y="590"/>
                  </a:lnTo>
                  <a:lnTo>
                    <a:pt x="1417" y="590"/>
                  </a:lnTo>
                  <a:lnTo>
                    <a:pt x="1417" y="590"/>
                  </a:lnTo>
                  <a:lnTo>
                    <a:pt x="1417" y="590"/>
                  </a:lnTo>
                  <a:lnTo>
                    <a:pt x="1417" y="590"/>
                  </a:lnTo>
                  <a:lnTo>
                    <a:pt x="1419" y="588"/>
                  </a:lnTo>
                  <a:lnTo>
                    <a:pt x="1419" y="588"/>
                  </a:lnTo>
                  <a:lnTo>
                    <a:pt x="1419" y="588"/>
                  </a:lnTo>
                  <a:lnTo>
                    <a:pt x="1421" y="586"/>
                  </a:lnTo>
                  <a:lnTo>
                    <a:pt x="1421" y="588"/>
                  </a:lnTo>
                  <a:lnTo>
                    <a:pt x="1421" y="588"/>
                  </a:lnTo>
                  <a:lnTo>
                    <a:pt x="1421" y="588"/>
                  </a:lnTo>
                  <a:lnTo>
                    <a:pt x="1421" y="588"/>
                  </a:lnTo>
                  <a:lnTo>
                    <a:pt x="1421" y="590"/>
                  </a:lnTo>
                  <a:lnTo>
                    <a:pt x="1421" y="590"/>
                  </a:lnTo>
                  <a:lnTo>
                    <a:pt x="1421" y="590"/>
                  </a:lnTo>
                  <a:lnTo>
                    <a:pt x="1421" y="590"/>
                  </a:lnTo>
                  <a:lnTo>
                    <a:pt x="1421" y="590"/>
                  </a:lnTo>
                  <a:lnTo>
                    <a:pt x="1419" y="592"/>
                  </a:lnTo>
                  <a:lnTo>
                    <a:pt x="1419" y="592"/>
                  </a:lnTo>
                  <a:lnTo>
                    <a:pt x="1423" y="590"/>
                  </a:lnTo>
                  <a:lnTo>
                    <a:pt x="1425" y="590"/>
                  </a:lnTo>
                  <a:lnTo>
                    <a:pt x="1425" y="592"/>
                  </a:lnTo>
                  <a:lnTo>
                    <a:pt x="1425" y="592"/>
                  </a:lnTo>
                  <a:lnTo>
                    <a:pt x="1423" y="592"/>
                  </a:lnTo>
                  <a:lnTo>
                    <a:pt x="1425" y="592"/>
                  </a:lnTo>
                  <a:lnTo>
                    <a:pt x="1425" y="592"/>
                  </a:lnTo>
                  <a:lnTo>
                    <a:pt x="1428" y="592"/>
                  </a:lnTo>
                  <a:lnTo>
                    <a:pt x="1428" y="592"/>
                  </a:lnTo>
                  <a:lnTo>
                    <a:pt x="1430" y="592"/>
                  </a:lnTo>
                  <a:lnTo>
                    <a:pt x="1432" y="594"/>
                  </a:lnTo>
                  <a:lnTo>
                    <a:pt x="1438" y="598"/>
                  </a:lnTo>
                  <a:lnTo>
                    <a:pt x="1440" y="598"/>
                  </a:lnTo>
                  <a:lnTo>
                    <a:pt x="1440" y="600"/>
                  </a:lnTo>
                  <a:lnTo>
                    <a:pt x="1440" y="603"/>
                  </a:lnTo>
                  <a:lnTo>
                    <a:pt x="1440" y="603"/>
                  </a:lnTo>
                  <a:lnTo>
                    <a:pt x="1440" y="603"/>
                  </a:lnTo>
                  <a:lnTo>
                    <a:pt x="1440" y="605"/>
                  </a:lnTo>
                  <a:lnTo>
                    <a:pt x="1440" y="605"/>
                  </a:lnTo>
                  <a:lnTo>
                    <a:pt x="1442" y="605"/>
                  </a:lnTo>
                  <a:lnTo>
                    <a:pt x="1442" y="605"/>
                  </a:lnTo>
                  <a:lnTo>
                    <a:pt x="1442" y="605"/>
                  </a:lnTo>
                  <a:lnTo>
                    <a:pt x="1448" y="609"/>
                  </a:lnTo>
                  <a:lnTo>
                    <a:pt x="1448" y="609"/>
                  </a:lnTo>
                  <a:lnTo>
                    <a:pt x="1448" y="611"/>
                  </a:lnTo>
                  <a:lnTo>
                    <a:pt x="1450" y="611"/>
                  </a:lnTo>
                  <a:lnTo>
                    <a:pt x="1450" y="611"/>
                  </a:lnTo>
                  <a:lnTo>
                    <a:pt x="1452" y="609"/>
                  </a:lnTo>
                  <a:lnTo>
                    <a:pt x="1452" y="609"/>
                  </a:lnTo>
                  <a:lnTo>
                    <a:pt x="1452" y="609"/>
                  </a:lnTo>
                  <a:lnTo>
                    <a:pt x="1454" y="607"/>
                  </a:lnTo>
                  <a:lnTo>
                    <a:pt x="1454" y="607"/>
                  </a:lnTo>
                  <a:lnTo>
                    <a:pt x="1454" y="607"/>
                  </a:lnTo>
                  <a:lnTo>
                    <a:pt x="1454" y="607"/>
                  </a:lnTo>
                  <a:lnTo>
                    <a:pt x="1454" y="609"/>
                  </a:lnTo>
                  <a:lnTo>
                    <a:pt x="1454" y="609"/>
                  </a:lnTo>
                  <a:lnTo>
                    <a:pt x="1454" y="609"/>
                  </a:lnTo>
                  <a:lnTo>
                    <a:pt x="1454" y="609"/>
                  </a:lnTo>
                  <a:lnTo>
                    <a:pt x="1454" y="609"/>
                  </a:lnTo>
                  <a:lnTo>
                    <a:pt x="1452" y="611"/>
                  </a:lnTo>
                  <a:lnTo>
                    <a:pt x="1452" y="611"/>
                  </a:lnTo>
                  <a:lnTo>
                    <a:pt x="1450" y="611"/>
                  </a:lnTo>
                  <a:lnTo>
                    <a:pt x="1450" y="611"/>
                  </a:lnTo>
                  <a:lnTo>
                    <a:pt x="1450" y="611"/>
                  </a:lnTo>
                  <a:lnTo>
                    <a:pt x="1450" y="611"/>
                  </a:lnTo>
                  <a:lnTo>
                    <a:pt x="1452" y="611"/>
                  </a:lnTo>
                  <a:lnTo>
                    <a:pt x="1452" y="613"/>
                  </a:lnTo>
                  <a:lnTo>
                    <a:pt x="1454" y="613"/>
                  </a:lnTo>
                  <a:lnTo>
                    <a:pt x="1456" y="613"/>
                  </a:lnTo>
                  <a:lnTo>
                    <a:pt x="1458" y="615"/>
                  </a:lnTo>
                  <a:lnTo>
                    <a:pt x="1460" y="615"/>
                  </a:lnTo>
                  <a:lnTo>
                    <a:pt x="1460" y="615"/>
                  </a:lnTo>
                  <a:lnTo>
                    <a:pt x="1460" y="615"/>
                  </a:lnTo>
                  <a:lnTo>
                    <a:pt x="1460" y="617"/>
                  </a:lnTo>
                  <a:lnTo>
                    <a:pt x="1462" y="617"/>
                  </a:lnTo>
                  <a:lnTo>
                    <a:pt x="1464" y="617"/>
                  </a:lnTo>
                  <a:lnTo>
                    <a:pt x="1466" y="619"/>
                  </a:lnTo>
                  <a:lnTo>
                    <a:pt x="1466" y="619"/>
                  </a:lnTo>
                  <a:lnTo>
                    <a:pt x="1468" y="619"/>
                  </a:lnTo>
                  <a:lnTo>
                    <a:pt x="1468" y="619"/>
                  </a:lnTo>
                  <a:lnTo>
                    <a:pt x="1468" y="617"/>
                  </a:lnTo>
                  <a:lnTo>
                    <a:pt x="1471" y="617"/>
                  </a:lnTo>
                  <a:lnTo>
                    <a:pt x="1471" y="617"/>
                  </a:lnTo>
                  <a:lnTo>
                    <a:pt x="1471" y="617"/>
                  </a:lnTo>
                  <a:lnTo>
                    <a:pt x="1473" y="617"/>
                  </a:lnTo>
                  <a:lnTo>
                    <a:pt x="1473" y="619"/>
                  </a:lnTo>
                  <a:lnTo>
                    <a:pt x="1473" y="619"/>
                  </a:lnTo>
                  <a:lnTo>
                    <a:pt x="1473" y="619"/>
                  </a:lnTo>
                  <a:lnTo>
                    <a:pt x="1473" y="619"/>
                  </a:lnTo>
                  <a:lnTo>
                    <a:pt x="1473" y="617"/>
                  </a:lnTo>
                  <a:lnTo>
                    <a:pt x="1475" y="617"/>
                  </a:lnTo>
                  <a:lnTo>
                    <a:pt x="1475" y="619"/>
                  </a:lnTo>
                  <a:lnTo>
                    <a:pt x="1475" y="619"/>
                  </a:lnTo>
                  <a:lnTo>
                    <a:pt x="1475" y="619"/>
                  </a:lnTo>
                  <a:lnTo>
                    <a:pt x="1475" y="619"/>
                  </a:lnTo>
                  <a:lnTo>
                    <a:pt x="1475" y="621"/>
                  </a:lnTo>
                  <a:lnTo>
                    <a:pt x="1475" y="621"/>
                  </a:lnTo>
                  <a:lnTo>
                    <a:pt x="1475" y="621"/>
                  </a:lnTo>
                  <a:lnTo>
                    <a:pt x="1477" y="619"/>
                  </a:lnTo>
                  <a:lnTo>
                    <a:pt x="1477" y="619"/>
                  </a:lnTo>
                  <a:lnTo>
                    <a:pt x="1477" y="621"/>
                  </a:lnTo>
                  <a:lnTo>
                    <a:pt x="1477" y="621"/>
                  </a:lnTo>
                  <a:lnTo>
                    <a:pt x="1477" y="621"/>
                  </a:lnTo>
                  <a:lnTo>
                    <a:pt x="1477" y="621"/>
                  </a:lnTo>
                  <a:lnTo>
                    <a:pt x="1477" y="621"/>
                  </a:lnTo>
                  <a:lnTo>
                    <a:pt x="1479" y="621"/>
                  </a:lnTo>
                  <a:lnTo>
                    <a:pt x="1479" y="621"/>
                  </a:lnTo>
                  <a:lnTo>
                    <a:pt x="1479" y="621"/>
                  </a:lnTo>
                  <a:lnTo>
                    <a:pt x="1479" y="621"/>
                  </a:lnTo>
                  <a:lnTo>
                    <a:pt x="1479" y="621"/>
                  </a:lnTo>
                  <a:lnTo>
                    <a:pt x="1479" y="621"/>
                  </a:lnTo>
                  <a:lnTo>
                    <a:pt x="1479" y="621"/>
                  </a:lnTo>
                  <a:lnTo>
                    <a:pt x="1479" y="621"/>
                  </a:lnTo>
                  <a:lnTo>
                    <a:pt x="1481" y="621"/>
                  </a:lnTo>
                  <a:lnTo>
                    <a:pt x="1481" y="621"/>
                  </a:lnTo>
                  <a:lnTo>
                    <a:pt x="1479" y="621"/>
                  </a:lnTo>
                  <a:lnTo>
                    <a:pt x="1479" y="623"/>
                  </a:lnTo>
                  <a:lnTo>
                    <a:pt x="1479" y="623"/>
                  </a:lnTo>
                  <a:lnTo>
                    <a:pt x="1481" y="625"/>
                  </a:lnTo>
                  <a:lnTo>
                    <a:pt x="1481" y="625"/>
                  </a:lnTo>
                  <a:lnTo>
                    <a:pt x="1481" y="625"/>
                  </a:lnTo>
                  <a:lnTo>
                    <a:pt x="1481" y="625"/>
                  </a:lnTo>
                  <a:lnTo>
                    <a:pt x="1481" y="623"/>
                  </a:lnTo>
                  <a:lnTo>
                    <a:pt x="1481" y="623"/>
                  </a:lnTo>
                  <a:lnTo>
                    <a:pt x="1483" y="623"/>
                  </a:lnTo>
                  <a:lnTo>
                    <a:pt x="1483" y="623"/>
                  </a:lnTo>
                  <a:lnTo>
                    <a:pt x="1483" y="623"/>
                  </a:lnTo>
                  <a:lnTo>
                    <a:pt x="1483" y="621"/>
                  </a:lnTo>
                  <a:lnTo>
                    <a:pt x="1483" y="621"/>
                  </a:lnTo>
                  <a:lnTo>
                    <a:pt x="1483" y="621"/>
                  </a:lnTo>
                  <a:lnTo>
                    <a:pt x="1483" y="621"/>
                  </a:lnTo>
                  <a:lnTo>
                    <a:pt x="1479" y="619"/>
                  </a:lnTo>
                  <a:lnTo>
                    <a:pt x="1481" y="617"/>
                  </a:lnTo>
                  <a:lnTo>
                    <a:pt x="1481" y="617"/>
                  </a:lnTo>
                  <a:lnTo>
                    <a:pt x="1481" y="617"/>
                  </a:lnTo>
                  <a:lnTo>
                    <a:pt x="1481" y="617"/>
                  </a:lnTo>
                  <a:lnTo>
                    <a:pt x="1483" y="617"/>
                  </a:lnTo>
                  <a:lnTo>
                    <a:pt x="1483" y="617"/>
                  </a:lnTo>
                  <a:lnTo>
                    <a:pt x="1483" y="617"/>
                  </a:lnTo>
                  <a:lnTo>
                    <a:pt x="1483" y="617"/>
                  </a:lnTo>
                  <a:lnTo>
                    <a:pt x="1483" y="617"/>
                  </a:lnTo>
                  <a:lnTo>
                    <a:pt x="1483" y="619"/>
                  </a:lnTo>
                  <a:lnTo>
                    <a:pt x="1483" y="619"/>
                  </a:lnTo>
                  <a:lnTo>
                    <a:pt x="1485" y="619"/>
                  </a:lnTo>
                  <a:lnTo>
                    <a:pt x="1485" y="617"/>
                  </a:lnTo>
                  <a:lnTo>
                    <a:pt x="1487" y="619"/>
                  </a:lnTo>
                  <a:lnTo>
                    <a:pt x="1487" y="619"/>
                  </a:lnTo>
                  <a:lnTo>
                    <a:pt x="1487" y="617"/>
                  </a:lnTo>
                  <a:lnTo>
                    <a:pt x="1487" y="617"/>
                  </a:lnTo>
                  <a:lnTo>
                    <a:pt x="1487" y="615"/>
                  </a:lnTo>
                  <a:lnTo>
                    <a:pt x="1487" y="615"/>
                  </a:lnTo>
                  <a:lnTo>
                    <a:pt x="1487" y="615"/>
                  </a:lnTo>
                  <a:lnTo>
                    <a:pt x="1485" y="615"/>
                  </a:lnTo>
                  <a:lnTo>
                    <a:pt x="1485" y="615"/>
                  </a:lnTo>
                  <a:lnTo>
                    <a:pt x="1485" y="615"/>
                  </a:lnTo>
                  <a:lnTo>
                    <a:pt x="1485" y="615"/>
                  </a:lnTo>
                  <a:lnTo>
                    <a:pt x="1485" y="615"/>
                  </a:lnTo>
                  <a:lnTo>
                    <a:pt x="1485" y="615"/>
                  </a:lnTo>
                  <a:lnTo>
                    <a:pt x="1485" y="615"/>
                  </a:lnTo>
                  <a:lnTo>
                    <a:pt x="1483" y="615"/>
                  </a:lnTo>
                  <a:lnTo>
                    <a:pt x="1483" y="617"/>
                  </a:lnTo>
                  <a:lnTo>
                    <a:pt x="1485" y="617"/>
                  </a:lnTo>
                  <a:lnTo>
                    <a:pt x="1485" y="617"/>
                  </a:lnTo>
                  <a:lnTo>
                    <a:pt x="1483" y="617"/>
                  </a:lnTo>
                  <a:lnTo>
                    <a:pt x="1483" y="617"/>
                  </a:lnTo>
                  <a:lnTo>
                    <a:pt x="1483" y="617"/>
                  </a:lnTo>
                  <a:lnTo>
                    <a:pt x="1483" y="617"/>
                  </a:lnTo>
                  <a:lnTo>
                    <a:pt x="1483" y="617"/>
                  </a:lnTo>
                  <a:lnTo>
                    <a:pt x="1483" y="617"/>
                  </a:lnTo>
                  <a:lnTo>
                    <a:pt x="1483" y="617"/>
                  </a:lnTo>
                  <a:lnTo>
                    <a:pt x="1481" y="617"/>
                  </a:lnTo>
                  <a:lnTo>
                    <a:pt x="1483" y="615"/>
                  </a:lnTo>
                  <a:lnTo>
                    <a:pt x="1483" y="615"/>
                  </a:lnTo>
                  <a:lnTo>
                    <a:pt x="1483" y="615"/>
                  </a:lnTo>
                  <a:lnTo>
                    <a:pt x="1483" y="613"/>
                  </a:lnTo>
                  <a:lnTo>
                    <a:pt x="1483" y="613"/>
                  </a:lnTo>
                  <a:lnTo>
                    <a:pt x="1483" y="613"/>
                  </a:lnTo>
                  <a:lnTo>
                    <a:pt x="1483" y="613"/>
                  </a:lnTo>
                  <a:lnTo>
                    <a:pt x="1483" y="613"/>
                  </a:lnTo>
                  <a:lnTo>
                    <a:pt x="1483" y="613"/>
                  </a:lnTo>
                  <a:lnTo>
                    <a:pt x="1483" y="613"/>
                  </a:lnTo>
                  <a:lnTo>
                    <a:pt x="1483" y="613"/>
                  </a:lnTo>
                  <a:lnTo>
                    <a:pt x="1485" y="615"/>
                  </a:lnTo>
                  <a:lnTo>
                    <a:pt x="1487" y="615"/>
                  </a:lnTo>
                  <a:lnTo>
                    <a:pt x="1487" y="615"/>
                  </a:lnTo>
                  <a:lnTo>
                    <a:pt x="1487" y="613"/>
                  </a:lnTo>
                  <a:lnTo>
                    <a:pt x="1489" y="615"/>
                  </a:lnTo>
                  <a:lnTo>
                    <a:pt x="1489" y="615"/>
                  </a:lnTo>
                  <a:lnTo>
                    <a:pt x="1489" y="615"/>
                  </a:lnTo>
                  <a:lnTo>
                    <a:pt x="1489" y="617"/>
                  </a:lnTo>
                  <a:lnTo>
                    <a:pt x="1489" y="617"/>
                  </a:lnTo>
                  <a:lnTo>
                    <a:pt x="1491" y="617"/>
                  </a:lnTo>
                  <a:lnTo>
                    <a:pt x="1493" y="617"/>
                  </a:lnTo>
                  <a:lnTo>
                    <a:pt x="1493" y="615"/>
                  </a:lnTo>
                  <a:lnTo>
                    <a:pt x="1495" y="615"/>
                  </a:lnTo>
                  <a:lnTo>
                    <a:pt x="1495" y="615"/>
                  </a:lnTo>
                  <a:lnTo>
                    <a:pt x="1495" y="613"/>
                  </a:lnTo>
                  <a:lnTo>
                    <a:pt x="1495" y="611"/>
                  </a:lnTo>
                  <a:lnTo>
                    <a:pt x="1495" y="611"/>
                  </a:lnTo>
                  <a:lnTo>
                    <a:pt x="1493" y="609"/>
                  </a:lnTo>
                  <a:lnTo>
                    <a:pt x="1493" y="609"/>
                  </a:lnTo>
                  <a:lnTo>
                    <a:pt x="1493" y="609"/>
                  </a:lnTo>
                  <a:lnTo>
                    <a:pt x="1493" y="607"/>
                  </a:lnTo>
                  <a:lnTo>
                    <a:pt x="1493" y="607"/>
                  </a:lnTo>
                  <a:lnTo>
                    <a:pt x="1493" y="607"/>
                  </a:lnTo>
                  <a:lnTo>
                    <a:pt x="1493" y="607"/>
                  </a:lnTo>
                  <a:lnTo>
                    <a:pt x="1493" y="607"/>
                  </a:lnTo>
                  <a:lnTo>
                    <a:pt x="1493" y="607"/>
                  </a:lnTo>
                  <a:lnTo>
                    <a:pt x="1493" y="607"/>
                  </a:lnTo>
                  <a:lnTo>
                    <a:pt x="1493" y="605"/>
                  </a:lnTo>
                  <a:lnTo>
                    <a:pt x="1493" y="605"/>
                  </a:lnTo>
                  <a:lnTo>
                    <a:pt x="1491" y="605"/>
                  </a:lnTo>
                  <a:lnTo>
                    <a:pt x="1491" y="607"/>
                  </a:lnTo>
                  <a:lnTo>
                    <a:pt x="1489" y="607"/>
                  </a:lnTo>
                  <a:lnTo>
                    <a:pt x="1489" y="607"/>
                  </a:lnTo>
                  <a:lnTo>
                    <a:pt x="1489" y="607"/>
                  </a:lnTo>
                  <a:lnTo>
                    <a:pt x="1489" y="607"/>
                  </a:lnTo>
                  <a:lnTo>
                    <a:pt x="1491" y="605"/>
                  </a:lnTo>
                  <a:lnTo>
                    <a:pt x="1491" y="605"/>
                  </a:lnTo>
                  <a:lnTo>
                    <a:pt x="1491" y="605"/>
                  </a:lnTo>
                  <a:lnTo>
                    <a:pt x="1491" y="605"/>
                  </a:lnTo>
                  <a:lnTo>
                    <a:pt x="1491" y="605"/>
                  </a:lnTo>
                  <a:lnTo>
                    <a:pt x="1491" y="605"/>
                  </a:lnTo>
                  <a:lnTo>
                    <a:pt x="1491" y="603"/>
                  </a:lnTo>
                  <a:lnTo>
                    <a:pt x="1489" y="603"/>
                  </a:lnTo>
                  <a:lnTo>
                    <a:pt x="1489" y="603"/>
                  </a:lnTo>
                  <a:lnTo>
                    <a:pt x="1489" y="603"/>
                  </a:lnTo>
                  <a:lnTo>
                    <a:pt x="1489" y="603"/>
                  </a:lnTo>
                  <a:lnTo>
                    <a:pt x="1487" y="603"/>
                  </a:lnTo>
                  <a:lnTo>
                    <a:pt x="1489" y="603"/>
                  </a:lnTo>
                  <a:lnTo>
                    <a:pt x="1489" y="603"/>
                  </a:lnTo>
                  <a:lnTo>
                    <a:pt x="1489" y="603"/>
                  </a:lnTo>
                  <a:lnTo>
                    <a:pt x="1489" y="600"/>
                  </a:lnTo>
                  <a:lnTo>
                    <a:pt x="1485" y="600"/>
                  </a:lnTo>
                  <a:lnTo>
                    <a:pt x="1485" y="598"/>
                  </a:lnTo>
                  <a:lnTo>
                    <a:pt x="1485" y="600"/>
                  </a:lnTo>
                  <a:lnTo>
                    <a:pt x="1485" y="600"/>
                  </a:lnTo>
                  <a:lnTo>
                    <a:pt x="1485" y="600"/>
                  </a:lnTo>
                  <a:lnTo>
                    <a:pt x="1485" y="600"/>
                  </a:lnTo>
                  <a:lnTo>
                    <a:pt x="1485" y="600"/>
                  </a:lnTo>
                  <a:lnTo>
                    <a:pt x="1485" y="600"/>
                  </a:lnTo>
                  <a:lnTo>
                    <a:pt x="1485" y="600"/>
                  </a:lnTo>
                  <a:lnTo>
                    <a:pt x="1485" y="600"/>
                  </a:lnTo>
                  <a:lnTo>
                    <a:pt x="1483" y="600"/>
                  </a:lnTo>
                  <a:lnTo>
                    <a:pt x="1483" y="600"/>
                  </a:lnTo>
                  <a:lnTo>
                    <a:pt x="1483" y="603"/>
                  </a:lnTo>
                  <a:lnTo>
                    <a:pt x="1483" y="603"/>
                  </a:lnTo>
                  <a:lnTo>
                    <a:pt x="1485" y="603"/>
                  </a:lnTo>
                  <a:lnTo>
                    <a:pt x="1485" y="603"/>
                  </a:lnTo>
                  <a:lnTo>
                    <a:pt x="1485" y="603"/>
                  </a:lnTo>
                  <a:lnTo>
                    <a:pt x="1483" y="603"/>
                  </a:lnTo>
                  <a:lnTo>
                    <a:pt x="1483" y="603"/>
                  </a:lnTo>
                  <a:lnTo>
                    <a:pt x="1481" y="603"/>
                  </a:lnTo>
                  <a:lnTo>
                    <a:pt x="1481" y="605"/>
                  </a:lnTo>
                  <a:lnTo>
                    <a:pt x="1481" y="605"/>
                  </a:lnTo>
                  <a:lnTo>
                    <a:pt x="1481" y="605"/>
                  </a:lnTo>
                  <a:lnTo>
                    <a:pt x="1479" y="605"/>
                  </a:lnTo>
                  <a:lnTo>
                    <a:pt x="1479" y="603"/>
                  </a:lnTo>
                  <a:lnTo>
                    <a:pt x="1481" y="603"/>
                  </a:lnTo>
                  <a:lnTo>
                    <a:pt x="1481" y="603"/>
                  </a:lnTo>
                  <a:lnTo>
                    <a:pt x="1483" y="600"/>
                  </a:lnTo>
                  <a:lnTo>
                    <a:pt x="1483" y="600"/>
                  </a:lnTo>
                  <a:lnTo>
                    <a:pt x="1483" y="598"/>
                  </a:lnTo>
                  <a:lnTo>
                    <a:pt x="1483" y="598"/>
                  </a:lnTo>
                  <a:lnTo>
                    <a:pt x="1483" y="598"/>
                  </a:lnTo>
                  <a:lnTo>
                    <a:pt x="1483" y="598"/>
                  </a:lnTo>
                  <a:lnTo>
                    <a:pt x="1483" y="596"/>
                  </a:lnTo>
                  <a:lnTo>
                    <a:pt x="1481" y="596"/>
                  </a:lnTo>
                  <a:lnTo>
                    <a:pt x="1479" y="596"/>
                  </a:lnTo>
                  <a:lnTo>
                    <a:pt x="1479" y="596"/>
                  </a:lnTo>
                  <a:lnTo>
                    <a:pt x="1479" y="598"/>
                  </a:lnTo>
                  <a:lnTo>
                    <a:pt x="1479" y="598"/>
                  </a:lnTo>
                  <a:lnTo>
                    <a:pt x="1481" y="598"/>
                  </a:lnTo>
                  <a:lnTo>
                    <a:pt x="1481" y="600"/>
                  </a:lnTo>
                  <a:lnTo>
                    <a:pt x="1481" y="600"/>
                  </a:lnTo>
                  <a:lnTo>
                    <a:pt x="1479" y="598"/>
                  </a:lnTo>
                  <a:lnTo>
                    <a:pt x="1479" y="598"/>
                  </a:lnTo>
                  <a:lnTo>
                    <a:pt x="1479" y="598"/>
                  </a:lnTo>
                  <a:lnTo>
                    <a:pt x="1479" y="598"/>
                  </a:lnTo>
                  <a:lnTo>
                    <a:pt x="1479" y="598"/>
                  </a:lnTo>
                  <a:lnTo>
                    <a:pt x="1479" y="598"/>
                  </a:lnTo>
                  <a:lnTo>
                    <a:pt x="1479" y="598"/>
                  </a:lnTo>
                  <a:lnTo>
                    <a:pt x="1479" y="598"/>
                  </a:lnTo>
                  <a:lnTo>
                    <a:pt x="1479" y="596"/>
                  </a:lnTo>
                  <a:lnTo>
                    <a:pt x="1477" y="596"/>
                  </a:lnTo>
                  <a:lnTo>
                    <a:pt x="1477" y="596"/>
                  </a:lnTo>
                  <a:lnTo>
                    <a:pt x="1477" y="596"/>
                  </a:lnTo>
                  <a:lnTo>
                    <a:pt x="1477" y="596"/>
                  </a:lnTo>
                  <a:lnTo>
                    <a:pt x="1475" y="596"/>
                  </a:lnTo>
                  <a:lnTo>
                    <a:pt x="1475" y="596"/>
                  </a:lnTo>
                  <a:lnTo>
                    <a:pt x="1475" y="596"/>
                  </a:lnTo>
                  <a:lnTo>
                    <a:pt x="1477" y="596"/>
                  </a:lnTo>
                  <a:lnTo>
                    <a:pt x="1477" y="596"/>
                  </a:lnTo>
                  <a:lnTo>
                    <a:pt x="1475" y="594"/>
                  </a:lnTo>
                  <a:lnTo>
                    <a:pt x="1475" y="594"/>
                  </a:lnTo>
                  <a:lnTo>
                    <a:pt x="1473" y="594"/>
                  </a:lnTo>
                  <a:lnTo>
                    <a:pt x="1475" y="594"/>
                  </a:lnTo>
                  <a:lnTo>
                    <a:pt x="1475" y="594"/>
                  </a:lnTo>
                  <a:lnTo>
                    <a:pt x="1477" y="594"/>
                  </a:lnTo>
                  <a:lnTo>
                    <a:pt x="1477" y="596"/>
                  </a:lnTo>
                  <a:lnTo>
                    <a:pt x="1477" y="596"/>
                  </a:lnTo>
                  <a:lnTo>
                    <a:pt x="1477" y="594"/>
                  </a:lnTo>
                  <a:lnTo>
                    <a:pt x="1477" y="594"/>
                  </a:lnTo>
                  <a:lnTo>
                    <a:pt x="1479" y="594"/>
                  </a:lnTo>
                  <a:lnTo>
                    <a:pt x="1479" y="594"/>
                  </a:lnTo>
                  <a:lnTo>
                    <a:pt x="1477" y="592"/>
                  </a:lnTo>
                  <a:lnTo>
                    <a:pt x="1475" y="592"/>
                  </a:lnTo>
                  <a:lnTo>
                    <a:pt x="1475" y="592"/>
                  </a:lnTo>
                  <a:lnTo>
                    <a:pt x="1475" y="592"/>
                  </a:lnTo>
                  <a:lnTo>
                    <a:pt x="1475" y="592"/>
                  </a:lnTo>
                  <a:lnTo>
                    <a:pt x="1475" y="592"/>
                  </a:lnTo>
                  <a:lnTo>
                    <a:pt x="1475" y="592"/>
                  </a:lnTo>
                  <a:lnTo>
                    <a:pt x="1473" y="592"/>
                  </a:lnTo>
                  <a:lnTo>
                    <a:pt x="1473" y="592"/>
                  </a:lnTo>
                  <a:lnTo>
                    <a:pt x="1473" y="592"/>
                  </a:lnTo>
                  <a:lnTo>
                    <a:pt x="1473" y="592"/>
                  </a:lnTo>
                  <a:lnTo>
                    <a:pt x="1473" y="592"/>
                  </a:lnTo>
                  <a:lnTo>
                    <a:pt x="1471" y="592"/>
                  </a:lnTo>
                  <a:lnTo>
                    <a:pt x="1471" y="592"/>
                  </a:lnTo>
                  <a:lnTo>
                    <a:pt x="1471" y="592"/>
                  </a:lnTo>
                  <a:lnTo>
                    <a:pt x="1468" y="592"/>
                  </a:lnTo>
                  <a:lnTo>
                    <a:pt x="1468" y="594"/>
                  </a:lnTo>
                  <a:lnTo>
                    <a:pt x="1468" y="594"/>
                  </a:lnTo>
                  <a:lnTo>
                    <a:pt x="1468" y="594"/>
                  </a:lnTo>
                  <a:lnTo>
                    <a:pt x="1468" y="594"/>
                  </a:lnTo>
                  <a:lnTo>
                    <a:pt x="1468" y="592"/>
                  </a:lnTo>
                  <a:lnTo>
                    <a:pt x="1468" y="592"/>
                  </a:lnTo>
                  <a:lnTo>
                    <a:pt x="1468" y="592"/>
                  </a:lnTo>
                  <a:lnTo>
                    <a:pt x="1468" y="592"/>
                  </a:lnTo>
                  <a:lnTo>
                    <a:pt x="1466" y="592"/>
                  </a:lnTo>
                  <a:lnTo>
                    <a:pt x="1464" y="592"/>
                  </a:lnTo>
                  <a:lnTo>
                    <a:pt x="1462" y="592"/>
                  </a:lnTo>
                  <a:lnTo>
                    <a:pt x="1462" y="594"/>
                  </a:lnTo>
                  <a:lnTo>
                    <a:pt x="1462" y="596"/>
                  </a:lnTo>
                  <a:lnTo>
                    <a:pt x="1462" y="596"/>
                  </a:lnTo>
                  <a:lnTo>
                    <a:pt x="1462" y="596"/>
                  </a:lnTo>
                  <a:lnTo>
                    <a:pt x="1460" y="596"/>
                  </a:lnTo>
                  <a:lnTo>
                    <a:pt x="1460" y="596"/>
                  </a:lnTo>
                  <a:lnTo>
                    <a:pt x="1460" y="594"/>
                  </a:lnTo>
                  <a:lnTo>
                    <a:pt x="1462" y="594"/>
                  </a:lnTo>
                  <a:lnTo>
                    <a:pt x="1462" y="594"/>
                  </a:lnTo>
                  <a:lnTo>
                    <a:pt x="1462" y="592"/>
                  </a:lnTo>
                  <a:lnTo>
                    <a:pt x="1462" y="592"/>
                  </a:lnTo>
                  <a:lnTo>
                    <a:pt x="1464" y="590"/>
                  </a:lnTo>
                  <a:lnTo>
                    <a:pt x="1464" y="590"/>
                  </a:lnTo>
                  <a:lnTo>
                    <a:pt x="1464" y="588"/>
                  </a:lnTo>
                  <a:lnTo>
                    <a:pt x="1464" y="588"/>
                  </a:lnTo>
                  <a:lnTo>
                    <a:pt x="1462" y="588"/>
                  </a:lnTo>
                  <a:lnTo>
                    <a:pt x="1462" y="586"/>
                  </a:lnTo>
                  <a:lnTo>
                    <a:pt x="1460" y="586"/>
                  </a:lnTo>
                  <a:lnTo>
                    <a:pt x="1460" y="586"/>
                  </a:lnTo>
                  <a:lnTo>
                    <a:pt x="1460" y="586"/>
                  </a:lnTo>
                  <a:lnTo>
                    <a:pt x="1460" y="584"/>
                  </a:lnTo>
                  <a:lnTo>
                    <a:pt x="1460" y="584"/>
                  </a:lnTo>
                  <a:lnTo>
                    <a:pt x="1460" y="584"/>
                  </a:lnTo>
                  <a:lnTo>
                    <a:pt x="1460" y="584"/>
                  </a:lnTo>
                  <a:lnTo>
                    <a:pt x="1460" y="584"/>
                  </a:lnTo>
                  <a:lnTo>
                    <a:pt x="1462" y="586"/>
                  </a:lnTo>
                  <a:lnTo>
                    <a:pt x="1464" y="586"/>
                  </a:lnTo>
                  <a:lnTo>
                    <a:pt x="1464" y="588"/>
                  </a:lnTo>
                  <a:lnTo>
                    <a:pt x="1466" y="588"/>
                  </a:lnTo>
                  <a:lnTo>
                    <a:pt x="1466" y="588"/>
                  </a:lnTo>
                  <a:lnTo>
                    <a:pt x="1468" y="588"/>
                  </a:lnTo>
                  <a:lnTo>
                    <a:pt x="1468" y="588"/>
                  </a:lnTo>
                  <a:lnTo>
                    <a:pt x="1471" y="590"/>
                  </a:lnTo>
                  <a:lnTo>
                    <a:pt x="1471" y="590"/>
                  </a:lnTo>
                  <a:lnTo>
                    <a:pt x="1471" y="590"/>
                  </a:lnTo>
                  <a:lnTo>
                    <a:pt x="1471" y="590"/>
                  </a:lnTo>
                  <a:lnTo>
                    <a:pt x="1473" y="590"/>
                  </a:lnTo>
                  <a:lnTo>
                    <a:pt x="1473" y="590"/>
                  </a:lnTo>
                  <a:lnTo>
                    <a:pt x="1473" y="590"/>
                  </a:lnTo>
                  <a:lnTo>
                    <a:pt x="1468" y="584"/>
                  </a:lnTo>
                  <a:lnTo>
                    <a:pt x="1471" y="584"/>
                  </a:lnTo>
                  <a:lnTo>
                    <a:pt x="1471" y="584"/>
                  </a:lnTo>
                  <a:lnTo>
                    <a:pt x="1473" y="586"/>
                  </a:lnTo>
                  <a:lnTo>
                    <a:pt x="1475" y="588"/>
                  </a:lnTo>
                  <a:lnTo>
                    <a:pt x="1475" y="586"/>
                  </a:lnTo>
                  <a:lnTo>
                    <a:pt x="1475" y="586"/>
                  </a:lnTo>
                  <a:lnTo>
                    <a:pt x="1475" y="586"/>
                  </a:lnTo>
                  <a:lnTo>
                    <a:pt x="1475" y="586"/>
                  </a:lnTo>
                  <a:lnTo>
                    <a:pt x="1475" y="586"/>
                  </a:lnTo>
                  <a:lnTo>
                    <a:pt x="1477" y="588"/>
                  </a:lnTo>
                  <a:lnTo>
                    <a:pt x="1477" y="590"/>
                  </a:lnTo>
                  <a:lnTo>
                    <a:pt x="1477" y="592"/>
                  </a:lnTo>
                  <a:lnTo>
                    <a:pt x="1479" y="592"/>
                  </a:lnTo>
                  <a:lnTo>
                    <a:pt x="1479" y="592"/>
                  </a:lnTo>
                  <a:lnTo>
                    <a:pt x="1481" y="592"/>
                  </a:lnTo>
                  <a:lnTo>
                    <a:pt x="1483" y="590"/>
                  </a:lnTo>
                  <a:lnTo>
                    <a:pt x="1483" y="590"/>
                  </a:lnTo>
                  <a:lnTo>
                    <a:pt x="1483" y="592"/>
                  </a:lnTo>
                  <a:lnTo>
                    <a:pt x="1483" y="592"/>
                  </a:lnTo>
                  <a:lnTo>
                    <a:pt x="1481" y="592"/>
                  </a:lnTo>
                  <a:lnTo>
                    <a:pt x="1481" y="592"/>
                  </a:lnTo>
                  <a:lnTo>
                    <a:pt x="1485" y="594"/>
                  </a:lnTo>
                  <a:lnTo>
                    <a:pt x="1485" y="594"/>
                  </a:lnTo>
                  <a:lnTo>
                    <a:pt x="1487" y="592"/>
                  </a:lnTo>
                  <a:lnTo>
                    <a:pt x="1487" y="592"/>
                  </a:lnTo>
                  <a:lnTo>
                    <a:pt x="1487" y="592"/>
                  </a:lnTo>
                  <a:lnTo>
                    <a:pt x="1487" y="592"/>
                  </a:lnTo>
                  <a:lnTo>
                    <a:pt x="1487" y="592"/>
                  </a:lnTo>
                  <a:lnTo>
                    <a:pt x="1487" y="590"/>
                  </a:lnTo>
                  <a:lnTo>
                    <a:pt x="1487" y="590"/>
                  </a:lnTo>
                  <a:lnTo>
                    <a:pt x="1487" y="588"/>
                  </a:lnTo>
                  <a:lnTo>
                    <a:pt x="1487" y="588"/>
                  </a:lnTo>
                  <a:lnTo>
                    <a:pt x="1487" y="586"/>
                  </a:lnTo>
                  <a:lnTo>
                    <a:pt x="1487" y="586"/>
                  </a:lnTo>
                  <a:lnTo>
                    <a:pt x="1485" y="586"/>
                  </a:lnTo>
                  <a:lnTo>
                    <a:pt x="1487" y="586"/>
                  </a:lnTo>
                  <a:lnTo>
                    <a:pt x="1487" y="586"/>
                  </a:lnTo>
                  <a:lnTo>
                    <a:pt x="1485" y="584"/>
                  </a:lnTo>
                  <a:lnTo>
                    <a:pt x="1485" y="584"/>
                  </a:lnTo>
                  <a:lnTo>
                    <a:pt x="1483" y="586"/>
                  </a:lnTo>
                  <a:lnTo>
                    <a:pt x="1483" y="586"/>
                  </a:lnTo>
                  <a:lnTo>
                    <a:pt x="1485" y="584"/>
                  </a:lnTo>
                  <a:lnTo>
                    <a:pt x="1485" y="584"/>
                  </a:lnTo>
                  <a:lnTo>
                    <a:pt x="1485" y="582"/>
                  </a:lnTo>
                  <a:lnTo>
                    <a:pt x="1485" y="582"/>
                  </a:lnTo>
                  <a:lnTo>
                    <a:pt x="1485" y="582"/>
                  </a:lnTo>
                  <a:lnTo>
                    <a:pt x="1483" y="580"/>
                  </a:lnTo>
                  <a:lnTo>
                    <a:pt x="1483" y="580"/>
                  </a:lnTo>
                  <a:lnTo>
                    <a:pt x="1483" y="580"/>
                  </a:lnTo>
                  <a:lnTo>
                    <a:pt x="1483" y="580"/>
                  </a:lnTo>
                  <a:lnTo>
                    <a:pt x="1485" y="580"/>
                  </a:lnTo>
                  <a:lnTo>
                    <a:pt x="1485" y="580"/>
                  </a:lnTo>
                  <a:lnTo>
                    <a:pt x="1485" y="580"/>
                  </a:lnTo>
                  <a:lnTo>
                    <a:pt x="1485" y="580"/>
                  </a:lnTo>
                  <a:lnTo>
                    <a:pt x="1485" y="582"/>
                  </a:lnTo>
                  <a:lnTo>
                    <a:pt x="1485" y="582"/>
                  </a:lnTo>
                  <a:lnTo>
                    <a:pt x="1485" y="582"/>
                  </a:lnTo>
                  <a:lnTo>
                    <a:pt x="1487" y="584"/>
                  </a:lnTo>
                  <a:lnTo>
                    <a:pt x="1487" y="584"/>
                  </a:lnTo>
                  <a:lnTo>
                    <a:pt x="1487" y="584"/>
                  </a:lnTo>
                  <a:lnTo>
                    <a:pt x="1487" y="584"/>
                  </a:lnTo>
                  <a:lnTo>
                    <a:pt x="1487" y="586"/>
                  </a:lnTo>
                  <a:lnTo>
                    <a:pt x="1487" y="586"/>
                  </a:lnTo>
                  <a:lnTo>
                    <a:pt x="1489" y="586"/>
                  </a:lnTo>
                  <a:lnTo>
                    <a:pt x="1489" y="586"/>
                  </a:lnTo>
                  <a:lnTo>
                    <a:pt x="1489" y="588"/>
                  </a:lnTo>
                  <a:lnTo>
                    <a:pt x="1489" y="588"/>
                  </a:lnTo>
                  <a:lnTo>
                    <a:pt x="1489" y="588"/>
                  </a:lnTo>
                  <a:lnTo>
                    <a:pt x="1489" y="588"/>
                  </a:lnTo>
                  <a:lnTo>
                    <a:pt x="1491" y="586"/>
                  </a:lnTo>
                  <a:lnTo>
                    <a:pt x="1491" y="584"/>
                  </a:lnTo>
                  <a:lnTo>
                    <a:pt x="1491" y="584"/>
                  </a:lnTo>
                  <a:lnTo>
                    <a:pt x="1489" y="584"/>
                  </a:lnTo>
                  <a:lnTo>
                    <a:pt x="1489" y="584"/>
                  </a:lnTo>
                  <a:lnTo>
                    <a:pt x="1491" y="584"/>
                  </a:lnTo>
                  <a:lnTo>
                    <a:pt x="1495" y="584"/>
                  </a:lnTo>
                  <a:lnTo>
                    <a:pt x="1495" y="584"/>
                  </a:lnTo>
                  <a:lnTo>
                    <a:pt x="1495" y="584"/>
                  </a:lnTo>
                  <a:lnTo>
                    <a:pt x="1491" y="586"/>
                  </a:lnTo>
                  <a:lnTo>
                    <a:pt x="1491" y="586"/>
                  </a:lnTo>
                  <a:lnTo>
                    <a:pt x="1491" y="586"/>
                  </a:lnTo>
                  <a:lnTo>
                    <a:pt x="1491" y="586"/>
                  </a:lnTo>
                  <a:lnTo>
                    <a:pt x="1491" y="586"/>
                  </a:lnTo>
                  <a:lnTo>
                    <a:pt x="1489" y="590"/>
                  </a:lnTo>
                  <a:lnTo>
                    <a:pt x="1489" y="590"/>
                  </a:lnTo>
                  <a:lnTo>
                    <a:pt x="1489" y="590"/>
                  </a:lnTo>
                  <a:lnTo>
                    <a:pt x="1491" y="592"/>
                  </a:lnTo>
                  <a:lnTo>
                    <a:pt x="1491" y="592"/>
                  </a:lnTo>
                  <a:lnTo>
                    <a:pt x="1491" y="592"/>
                  </a:lnTo>
                  <a:lnTo>
                    <a:pt x="1491" y="592"/>
                  </a:lnTo>
                  <a:lnTo>
                    <a:pt x="1493" y="594"/>
                  </a:lnTo>
                  <a:lnTo>
                    <a:pt x="1493" y="594"/>
                  </a:lnTo>
                  <a:lnTo>
                    <a:pt x="1493" y="594"/>
                  </a:lnTo>
                  <a:lnTo>
                    <a:pt x="1493" y="594"/>
                  </a:lnTo>
                  <a:lnTo>
                    <a:pt x="1493" y="596"/>
                  </a:lnTo>
                  <a:lnTo>
                    <a:pt x="1493" y="596"/>
                  </a:lnTo>
                  <a:lnTo>
                    <a:pt x="1493" y="596"/>
                  </a:lnTo>
                  <a:lnTo>
                    <a:pt x="1495" y="598"/>
                  </a:lnTo>
                  <a:lnTo>
                    <a:pt x="1497" y="598"/>
                  </a:lnTo>
                  <a:lnTo>
                    <a:pt x="1497" y="598"/>
                  </a:lnTo>
                  <a:lnTo>
                    <a:pt x="1497" y="598"/>
                  </a:lnTo>
                  <a:lnTo>
                    <a:pt x="1497" y="598"/>
                  </a:lnTo>
                  <a:lnTo>
                    <a:pt x="1497" y="600"/>
                  </a:lnTo>
                  <a:lnTo>
                    <a:pt x="1497" y="600"/>
                  </a:lnTo>
                  <a:lnTo>
                    <a:pt x="1497" y="600"/>
                  </a:lnTo>
                  <a:lnTo>
                    <a:pt x="1497" y="603"/>
                  </a:lnTo>
                  <a:lnTo>
                    <a:pt x="1497" y="603"/>
                  </a:lnTo>
                  <a:lnTo>
                    <a:pt x="1499" y="603"/>
                  </a:lnTo>
                  <a:lnTo>
                    <a:pt x="1499" y="605"/>
                  </a:lnTo>
                  <a:lnTo>
                    <a:pt x="1499" y="605"/>
                  </a:lnTo>
                  <a:lnTo>
                    <a:pt x="1499" y="605"/>
                  </a:lnTo>
                  <a:lnTo>
                    <a:pt x="1499" y="607"/>
                  </a:lnTo>
                  <a:lnTo>
                    <a:pt x="1497" y="607"/>
                  </a:lnTo>
                  <a:lnTo>
                    <a:pt x="1497" y="607"/>
                  </a:lnTo>
                  <a:lnTo>
                    <a:pt x="1497" y="607"/>
                  </a:lnTo>
                  <a:lnTo>
                    <a:pt x="1497" y="607"/>
                  </a:lnTo>
                  <a:lnTo>
                    <a:pt x="1497" y="607"/>
                  </a:lnTo>
                  <a:lnTo>
                    <a:pt x="1497" y="607"/>
                  </a:lnTo>
                  <a:lnTo>
                    <a:pt x="1497" y="607"/>
                  </a:lnTo>
                  <a:lnTo>
                    <a:pt x="1497" y="607"/>
                  </a:lnTo>
                  <a:lnTo>
                    <a:pt x="1499" y="607"/>
                  </a:lnTo>
                  <a:lnTo>
                    <a:pt x="1499" y="607"/>
                  </a:lnTo>
                  <a:lnTo>
                    <a:pt x="1499" y="609"/>
                  </a:lnTo>
                  <a:lnTo>
                    <a:pt x="1499" y="611"/>
                  </a:lnTo>
                  <a:lnTo>
                    <a:pt x="1499" y="611"/>
                  </a:lnTo>
                  <a:lnTo>
                    <a:pt x="1499" y="611"/>
                  </a:lnTo>
                  <a:lnTo>
                    <a:pt x="1505" y="609"/>
                  </a:lnTo>
                  <a:lnTo>
                    <a:pt x="1505" y="607"/>
                  </a:lnTo>
                  <a:lnTo>
                    <a:pt x="1505" y="607"/>
                  </a:lnTo>
                  <a:lnTo>
                    <a:pt x="1507" y="607"/>
                  </a:lnTo>
                  <a:lnTo>
                    <a:pt x="1507" y="607"/>
                  </a:lnTo>
                  <a:lnTo>
                    <a:pt x="1509" y="609"/>
                  </a:lnTo>
                  <a:lnTo>
                    <a:pt x="1509" y="609"/>
                  </a:lnTo>
                  <a:lnTo>
                    <a:pt x="1509" y="609"/>
                  </a:lnTo>
                  <a:lnTo>
                    <a:pt x="1509" y="609"/>
                  </a:lnTo>
                  <a:lnTo>
                    <a:pt x="1509" y="607"/>
                  </a:lnTo>
                  <a:lnTo>
                    <a:pt x="1509" y="607"/>
                  </a:lnTo>
                  <a:lnTo>
                    <a:pt x="1509" y="605"/>
                  </a:lnTo>
                  <a:lnTo>
                    <a:pt x="1509" y="605"/>
                  </a:lnTo>
                  <a:lnTo>
                    <a:pt x="1507" y="605"/>
                  </a:lnTo>
                  <a:lnTo>
                    <a:pt x="1507" y="603"/>
                  </a:lnTo>
                  <a:lnTo>
                    <a:pt x="1507" y="603"/>
                  </a:lnTo>
                  <a:lnTo>
                    <a:pt x="1509" y="603"/>
                  </a:lnTo>
                  <a:lnTo>
                    <a:pt x="1509" y="605"/>
                  </a:lnTo>
                  <a:lnTo>
                    <a:pt x="1509" y="605"/>
                  </a:lnTo>
                  <a:lnTo>
                    <a:pt x="1512" y="607"/>
                  </a:lnTo>
                  <a:lnTo>
                    <a:pt x="1512" y="607"/>
                  </a:lnTo>
                  <a:lnTo>
                    <a:pt x="1512" y="609"/>
                  </a:lnTo>
                  <a:lnTo>
                    <a:pt x="1514" y="611"/>
                  </a:lnTo>
                  <a:lnTo>
                    <a:pt x="1516" y="613"/>
                  </a:lnTo>
                  <a:lnTo>
                    <a:pt x="1516" y="613"/>
                  </a:lnTo>
                  <a:lnTo>
                    <a:pt x="1520" y="613"/>
                  </a:lnTo>
                  <a:lnTo>
                    <a:pt x="1522" y="613"/>
                  </a:lnTo>
                  <a:lnTo>
                    <a:pt x="1522" y="613"/>
                  </a:lnTo>
                  <a:lnTo>
                    <a:pt x="1522" y="613"/>
                  </a:lnTo>
                  <a:lnTo>
                    <a:pt x="1522" y="613"/>
                  </a:lnTo>
                  <a:lnTo>
                    <a:pt x="1522" y="611"/>
                  </a:lnTo>
                  <a:lnTo>
                    <a:pt x="1522" y="611"/>
                  </a:lnTo>
                  <a:lnTo>
                    <a:pt x="1522" y="611"/>
                  </a:lnTo>
                  <a:lnTo>
                    <a:pt x="1522" y="611"/>
                  </a:lnTo>
                  <a:lnTo>
                    <a:pt x="1522" y="609"/>
                  </a:lnTo>
                  <a:lnTo>
                    <a:pt x="1522" y="609"/>
                  </a:lnTo>
                  <a:lnTo>
                    <a:pt x="1522" y="609"/>
                  </a:lnTo>
                  <a:lnTo>
                    <a:pt x="1522" y="609"/>
                  </a:lnTo>
                  <a:lnTo>
                    <a:pt x="1522" y="609"/>
                  </a:lnTo>
                  <a:lnTo>
                    <a:pt x="1522" y="609"/>
                  </a:lnTo>
                  <a:lnTo>
                    <a:pt x="1522" y="607"/>
                  </a:lnTo>
                  <a:lnTo>
                    <a:pt x="1522" y="607"/>
                  </a:lnTo>
                  <a:lnTo>
                    <a:pt x="1520" y="603"/>
                  </a:lnTo>
                  <a:lnTo>
                    <a:pt x="1518" y="600"/>
                  </a:lnTo>
                  <a:lnTo>
                    <a:pt x="1518" y="600"/>
                  </a:lnTo>
                  <a:lnTo>
                    <a:pt x="1518" y="600"/>
                  </a:lnTo>
                  <a:lnTo>
                    <a:pt x="1518" y="598"/>
                  </a:lnTo>
                  <a:lnTo>
                    <a:pt x="1518" y="598"/>
                  </a:lnTo>
                  <a:lnTo>
                    <a:pt x="1518" y="598"/>
                  </a:lnTo>
                  <a:lnTo>
                    <a:pt x="1518" y="598"/>
                  </a:lnTo>
                  <a:lnTo>
                    <a:pt x="1516" y="598"/>
                  </a:lnTo>
                  <a:lnTo>
                    <a:pt x="1516" y="596"/>
                  </a:lnTo>
                  <a:lnTo>
                    <a:pt x="1514" y="594"/>
                  </a:lnTo>
                  <a:lnTo>
                    <a:pt x="1514" y="594"/>
                  </a:lnTo>
                  <a:lnTo>
                    <a:pt x="1514" y="594"/>
                  </a:lnTo>
                  <a:lnTo>
                    <a:pt x="1514" y="592"/>
                  </a:lnTo>
                  <a:lnTo>
                    <a:pt x="1514" y="592"/>
                  </a:lnTo>
                  <a:lnTo>
                    <a:pt x="1514" y="592"/>
                  </a:lnTo>
                  <a:lnTo>
                    <a:pt x="1512" y="588"/>
                  </a:lnTo>
                  <a:lnTo>
                    <a:pt x="1512" y="588"/>
                  </a:lnTo>
                  <a:lnTo>
                    <a:pt x="1512" y="588"/>
                  </a:lnTo>
                  <a:lnTo>
                    <a:pt x="1512" y="586"/>
                  </a:lnTo>
                  <a:lnTo>
                    <a:pt x="1507" y="584"/>
                  </a:lnTo>
                  <a:lnTo>
                    <a:pt x="1507" y="582"/>
                  </a:lnTo>
                  <a:lnTo>
                    <a:pt x="1507" y="582"/>
                  </a:lnTo>
                  <a:lnTo>
                    <a:pt x="1507" y="580"/>
                  </a:lnTo>
                  <a:lnTo>
                    <a:pt x="1507" y="580"/>
                  </a:lnTo>
                  <a:lnTo>
                    <a:pt x="1505" y="580"/>
                  </a:lnTo>
                  <a:lnTo>
                    <a:pt x="1505" y="580"/>
                  </a:lnTo>
                  <a:lnTo>
                    <a:pt x="1505" y="580"/>
                  </a:lnTo>
                  <a:lnTo>
                    <a:pt x="1503" y="578"/>
                  </a:lnTo>
                  <a:lnTo>
                    <a:pt x="1503" y="578"/>
                  </a:lnTo>
                  <a:lnTo>
                    <a:pt x="1503" y="576"/>
                  </a:lnTo>
                  <a:lnTo>
                    <a:pt x="1503" y="576"/>
                  </a:lnTo>
                  <a:lnTo>
                    <a:pt x="1503" y="576"/>
                  </a:lnTo>
                  <a:lnTo>
                    <a:pt x="1503" y="576"/>
                  </a:lnTo>
                  <a:lnTo>
                    <a:pt x="1503" y="574"/>
                  </a:lnTo>
                  <a:lnTo>
                    <a:pt x="1503" y="574"/>
                  </a:lnTo>
                  <a:lnTo>
                    <a:pt x="1503" y="574"/>
                  </a:lnTo>
                  <a:lnTo>
                    <a:pt x="1503" y="572"/>
                  </a:lnTo>
                  <a:lnTo>
                    <a:pt x="1503" y="572"/>
                  </a:lnTo>
                  <a:lnTo>
                    <a:pt x="1501" y="572"/>
                  </a:lnTo>
                  <a:lnTo>
                    <a:pt x="1501" y="570"/>
                  </a:lnTo>
                  <a:lnTo>
                    <a:pt x="1501" y="570"/>
                  </a:lnTo>
                  <a:lnTo>
                    <a:pt x="1499" y="570"/>
                  </a:lnTo>
                  <a:lnTo>
                    <a:pt x="1499" y="568"/>
                  </a:lnTo>
                  <a:lnTo>
                    <a:pt x="1499" y="568"/>
                  </a:lnTo>
                  <a:lnTo>
                    <a:pt x="1497" y="566"/>
                  </a:lnTo>
                  <a:lnTo>
                    <a:pt x="1495" y="566"/>
                  </a:lnTo>
                  <a:lnTo>
                    <a:pt x="1497" y="566"/>
                  </a:lnTo>
                  <a:lnTo>
                    <a:pt x="1497" y="566"/>
                  </a:lnTo>
                  <a:lnTo>
                    <a:pt x="1499" y="566"/>
                  </a:lnTo>
                  <a:lnTo>
                    <a:pt x="1501" y="568"/>
                  </a:lnTo>
                  <a:lnTo>
                    <a:pt x="1501" y="568"/>
                  </a:lnTo>
                  <a:lnTo>
                    <a:pt x="1501" y="570"/>
                  </a:lnTo>
                  <a:lnTo>
                    <a:pt x="1501" y="570"/>
                  </a:lnTo>
                  <a:lnTo>
                    <a:pt x="1503" y="570"/>
                  </a:lnTo>
                  <a:lnTo>
                    <a:pt x="1503" y="570"/>
                  </a:lnTo>
                  <a:lnTo>
                    <a:pt x="1503" y="572"/>
                  </a:lnTo>
                  <a:lnTo>
                    <a:pt x="1503" y="570"/>
                  </a:lnTo>
                  <a:lnTo>
                    <a:pt x="1503" y="570"/>
                  </a:lnTo>
                  <a:lnTo>
                    <a:pt x="1503" y="570"/>
                  </a:lnTo>
                  <a:lnTo>
                    <a:pt x="1503" y="570"/>
                  </a:lnTo>
                  <a:lnTo>
                    <a:pt x="1503" y="568"/>
                  </a:lnTo>
                  <a:lnTo>
                    <a:pt x="1503" y="568"/>
                  </a:lnTo>
                  <a:lnTo>
                    <a:pt x="1503" y="568"/>
                  </a:lnTo>
                  <a:lnTo>
                    <a:pt x="1503" y="568"/>
                  </a:lnTo>
                  <a:lnTo>
                    <a:pt x="1503" y="568"/>
                  </a:lnTo>
                  <a:lnTo>
                    <a:pt x="1503" y="568"/>
                  </a:lnTo>
                  <a:lnTo>
                    <a:pt x="1501" y="566"/>
                  </a:lnTo>
                  <a:lnTo>
                    <a:pt x="1501" y="566"/>
                  </a:lnTo>
                  <a:lnTo>
                    <a:pt x="1501" y="566"/>
                  </a:lnTo>
                  <a:lnTo>
                    <a:pt x="1501" y="566"/>
                  </a:lnTo>
                  <a:lnTo>
                    <a:pt x="1499" y="564"/>
                  </a:lnTo>
                  <a:lnTo>
                    <a:pt x="1499" y="564"/>
                  </a:lnTo>
                  <a:lnTo>
                    <a:pt x="1499" y="564"/>
                  </a:lnTo>
                  <a:lnTo>
                    <a:pt x="1499" y="564"/>
                  </a:lnTo>
                  <a:lnTo>
                    <a:pt x="1499" y="564"/>
                  </a:lnTo>
                  <a:lnTo>
                    <a:pt x="1499" y="564"/>
                  </a:lnTo>
                  <a:lnTo>
                    <a:pt x="1497" y="562"/>
                  </a:lnTo>
                  <a:lnTo>
                    <a:pt x="1497" y="562"/>
                  </a:lnTo>
                  <a:lnTo>
                    <a:pt x="1495" y="562"/>
                  </a:lnTo>
                  <a:lnTo>
                    <a:pt x="1495" y="562"/>
                  </a:lnTo>
                  <a:lnTo>
                    <a:pt x="1495" y="562"/>
                  </a:lnTo>
                  <a:lnTo>
                    <a:pt x="1497" y="562"/>
                  </a:lnTo>
                  <a:lnTo>
                    <a:pt x="1497" y="562"/>
                  </a:lnTo>
                  <a:lnTo>
                    <a:pt x="1499" y="562"/>
                  </a:lnTo>
                  <a:lnTo>
                    <a:pt x="1499" y="559"/>
                  </a:lnTo>
                  <a:lnTo>
                    <a:pt x="1497" y="557"/>
                  </a:lnTo>
                  <a:lnTo>
                    <a:pt x="1497" y="553"/>
                  </a:lnTo>
                  <a:lnTo>
                    <a:pt x="1497" y="551"/>
                  </a:lnTo>
                  <a:lnTo>
                    <a:pt x="1499" y="553"/>
                  </a:lnTo>
                  <a:lnTo>
                    <a:pt x="1499" y="555"/>
                  </a:lnTo>
                  <a:lnTo>
                    <a:pt x="1499" y="559"/>
                  </a:lnTo>
                  <a:lnTo>
                    <a:pt x="1499" y="562"/>
                  </a:lnTo>
                  <a:lnTo>
                    <a:pt x="1501" y="564"/>
                  </a:lnTo>
                  <a:lnTo>
                    <a:pt x="1503" y="566"/>
                  </a:lnTo>
                  <a:lnTo>
                    <a:pt x="1503" y="566"/>
                  </a:lnTo>
                  <a:lnTo>
                    <a:pt x="1505" y="568"/>
                  </a:lnTo>
                  <a:lnTo>
                    <a:pt x="1505" y="570"/>
                  </a:lnTo>
                  <a:lnTo>
                    <a:pt x="1505" y="570"/>
                  </a:lnTo>
                  <a:lnTo>
                    <a:pt x="1507" y="572"/>
                  </a:lnTo>
                  <a:lnTo>
                    <a:pt x="1507" y="572"/>
                  </a:lnTo>
                  <a:lnTo>
                    <a:pt x="1507" y="574"/>
                  </a:lnTo>
                  <a:lnTo>
                    <a:pt x="1507" y="574"/>
                  </a:lnTo>
                  <a:lnTo>
                    <a:pt x="1509" y="574"/>
                  </a:lnTo>
                  <a:lnTo>
                    <a:pt x="1509" y="574"/>
                  </a:lnTo>
                  <a:lnTo>
                    <a:pt x="1509" y="576"/>
                  </a:lnTo>
                  <a:lnTo>
                    <a:pt x="1509" y="578"/>
                  </a:lnTo>
                  <a:lnTo>
                    <a:pt x="1512" y="578"/>
                  </a:lnTo>
                  <a:lnTo>
                    <a:pt x="1512" y="578"/>
                  </a:lnTo>
                  <a:lnTo>
                    <a:pt x="1512" y="580"/>
                  </a:lnTo>
                  <a:lnTo>
                    <a:pt x="1512" y="582"/>
                  </a:lnTo>
                  <a:lnTo>
                    <a:pt x="1512" y="582"/>
                  </a:lnTo>
                  <a:lnTo>
                    <a:pt x="1512" y="582"/>
                  </a:lnTo>
                  <a:lnTo>
                    <a:pt x="1514" y="584"/>
                  </a:lnTo>
                  <a:lnTo>
                    <a:pt x="1516" y="586"/>
                  </a:lnTo>
                  <a:lnTo>
                    <a:pt x="1516" y="586"/>
                  </a:lnTo>
                  <a:lnTo>
                    <a:pt x="1516" y="586"/>
                  </a:lnTo>
                  <a:lnTo>
                    <a:pt x="1516" y="586"/>
                  </a:lnTo>
                  <a:lnTo>
                    <a:pt x="1516" y="586"/>
                  </a:lnTo>
                  <a:lnTo>
                    <a:pt x="1516" y="584"/>
                  </a:lnTo>
                  <a:lnTo>
                    <a:pt x="1516" y="584"/>
                  </a:lnTo>
                  <a:lnTo>
                    <a:pt x="1516" y="584"/>
                  </a:lnTo>
                  <a:lnTo>
                    <a:pt x="1516" y="584"/>
                  </a:lnTo>
                  <a:lnTo>
                    <a:pt x="1516" y="582"/>
                  </a:lnTo>
                  <a:lnTo>
                    <a:pt x="1516" y="582"/>
                  </a:lnTo>
                  <a:lnTo>
                    <a:pt x="1516" y="582"/>
                  </a:lnTo>
                  <a:lnTo>
                    <a:pt x="1518" y="582"/>
                  </a:lnTo>
                  <a:lnTo>
                    <a:pt x="1518" y="582"/>
                  </a:lnTo>
                  <a:lnTo>
                    <a:pt x="1518" y="582"/>
                  </a:lnTo>
                  <a:lnTo>
                    <a:pt x="1518" y="582"/>
                  </a:lnTo>
                  <a:lnTo>
                    <a:pt x="1518" y="584"/>
                  </a:lnTo>
                  <a:lnTo>
                    <a:pt x="1520" y="584"/>
                  </a:lnTo>
                  <a:lnTo>
                    <a:pt x="1520" y="586"/>
                  </a:lnTo>
                  <a:lnTo>
                    <a:pt x="1520" y="588"/>
                  </a:lnTo>
                  <a:lnTo>
                    <a:pt x="1520" y="588"/>
                  </a:lnTo>
                  <a:lnTo>
                    <a:pt x="1520" y="590"/>
                  </a:lnTo>
                  <a:lnTo>
                    <a:pt x="1520" y="590"/>
                  </a:lnTo>
                  <a:lnTo>
                    <a:pt x="1520" y="590"/>
                  </a:lnTo>
                  <a:lnTo>
                    <a:pt x="1520" y="588"/>
                  </a:lnTo>
                  <a:lnTo>
                    <a:pt x="1520" y="590"/>
                  </a:lnTo>
                  <a:lnTo>
                    <a:pt x="1520" y="590"/>
                  </a:lnTo>
                  <a:lnTo>
                    <a:pt x="1518" y="588"/>
                  </a:lnTo>
                  <a:lnTo>
                    <a:pt x="1520" y="590"/>
                  </a:lnTo>
                  <a:lnTo>
                    <a:pt x="1520" y="592"/>
                  </a:lnTo>
                  <a:lnTo>
                    <a:pt x="1522" y="594"/>
                  </a:lnTo>
                  <a:lnTo>
                    <a:pt x="1524" y="594"/>
                  </a:lnTo>
                  <a:lnTo>
                    <a:pt x="1524" y="594"/>
                  </a:lnTo>
                  <a:lnTo>
                    <a:pt x="1526" y="596"/>
                  </a:lnTo>
                  <a:lnTo>
                    <a:pt x="1526" y="596"/>
                  </a:lnTo>
                  <a:lnTo>
                    <a:pt x="1526" y="596"/>
                  </a:lnTo>
                  <a:lnTo>
                    <a:pt x="1526" y="596"/>
                  </a:lnTo>
                  <a:lnTo>
                    <a:pt x="1526" y="596"/>
                  </a:lnTo>
                  <a:lnTo>
                    <a:pt x="1526" y="596"/>
                  </a:lnTo>
                  <a:lnTo>
                    <a:pt x="1526" y="596"/>
                  </a:lnTo>
                  <a:lnTo>
                    <a:pt x="1526" y="596"/>
                  </a:lnTo>
                  <a:lnTo>
                    <a:pt x="1528" y="598"/>
                  </a:lnTo>
                  <a:lnTo>
                    <a:pt x="1528" y="600"/>
                  </a:lnTo>
                  <a:lnTo>
                    <a:pt x="1528" y="600"/>
                  </a:lnTo>
                  <a:lnTo>
                    <a:pt x="1528" y="603"/>
                  </a:lnTo>
                  <a:lnTo>
                    <a:pt x="1530" y="603"/>
                  </a:lnTo>
                  <a:lnTo>
                    <a:pt x="1530" y="603"/>
                  </a:lnTo>
                  <a:lnTo>
                    <a:pt x="1530" y="603"/>
                  </a:lnTo>
                  <a:lnTo>
                    <a:pt x="1532" y="600"/>
                  </a:lnTo>
                  <a:lnTo>
                    <a:pt x="1532" y="600"/>
                  </a:lnTo>
                  <a:lnTo>
                    <a:pt x="1532" y="603"/>
                  </a:lnTo>
                  <a:lnTo>
                    <a:pt x="1532" y="603"/>
                  </a:lnTo>
                  <a:lnTo>
                    <a:pt x="1532" y="603"/>
                  </a:lnTo>
                  <a:lnTo>
                    <a:pt x="1532" y="603"/>
                  </a:lnTo>
                  <a:lnTo>
                    <a:pt x="1532" y="603"/>
                  </a:lnTo>
                  <a:lnTo>
                    <a:pt x="1532" y="603"/>
                  </a:lnTo>
                  <a:lnTo>
                    <a:pt x="1532" y="603"/>
                  </a:lnTo>
                  <a:lnTo>
                    <a:pt x="1534" y="603"/>
                  </a:lnTo>
                  <a:lnTo>
                    <a:pt x="1534" y="603"/>
                  </a:lnTo>
                  <a:lnTo>
                    <a:pt x="1534" y="603"/>
                  </a:lnTo>
                  <a:lnTo>
                    <a:pt x="1536" y="603"/>
                  </a:lnTo>
                  <a:lnTo>
                    <a:pt x="1536" y="603"/>
                  </a:lnTo>
                  <a:lnTo>
                    <a:pt x="1536" y="603"/>
                  </a:lnTo>
                  <a:lnTo>
                    <a:pt x="1538" y="603"/>
                  </a:lnTo>
                  <a:lnTo>
                    <a:pt x="1538" y="603"/>
                  </a:lnTo>
                  <a:lnTo>
                    <a:pt x="1544" y="607"/>
                  </a:lnTo>
                  <a:lnTo>
                    <a:pt x="1546" y="607"/>
                  </a:lnTo>
                  <a:lnTo>
                    <a:pt x="1546" y="607"/>
                  </a:lnTo>
                  <a:lnTo>
                    <a:pt x="1546" y="607"/>
                  </a:lnTo>
                  <a:lnTo>
                    <a:pt x="1548" y="607"/>
                  </a:lnTo>
                  <a:lnTo>
                    <a:pt x="1548" y="605"/>
                  </a:lnTo>
                  <a:lnTo>
                    <a:pt x="1548" y="605"/>
                  </a:lnTo>
                  <a:lnTo>
                    <a:pt x="1548" y="605"/>
                  </a:lnTo>
                  <a:lnTo>
                    <a:pt x="1548" y="603"/>
                  </a:lnTo>
                  <a:lnTo>
                    <a:pt x="1546" y="603"/>
                  </a:lnTo>
                  <a:lnTo>
                    <a:pt x="1546" y="603"/>
                  </a:lnTo>
                  <a:lnTo>
                    <a:pt x="1546" y="600"/>
                  </a:lnTo>
                  <a:lnTo>
                    <a:pt x="1546" y="600"/>
                  </a:lnTo>
                  <a:lnTo>
                    <a:pt x="1546" y="598"/>
                  </a:lnTo>
                  <a:lnTo>
                    <a:pt x="1548" y="598"/>
                  </a:lnTo>
                  <a:lnTo>
                    <a:pt x="1548" y="596"/>
                  </a:lnTo>
                  <a:lnTo>
                    <a:pt x="1546" y="596"/>
                  </a:lnTo>
                  <a:lnTo>
                    <a:pt x="1546" y="594"/>
                  </a:lnTo>
                  <a:lnTo>
                    <a:pt x="1546" y="594"/>
                  </a:lnTo>
                  <a:lnTo>
                    <a:pt x="1546" y="594"/>
                  </a:lnTo>
                  <a:lnTo>
                    <a:pt x="1546" y="594"/>
                  </a:lnTo>
                  <a:lnTo>
                    <a:pt x="1548" y="594"/>
                  </a:lnTo>
                  <a:lnTo>
                    <a:pt x="1548" y="592"/>
                  </a:lnTo>
                  <a:lnTo>
                    <a:pt x="1548" y="592"/>
                  </a:lnTo>
                  <a:lnTo>
                    <a:pt x="1548" y="590"/>
                  </a:lnTo>
                  <a:lnTo>
                    <a:pt x="1546" y="590"/>
                  </a:lnTo>
                  <a:lnTo>
                    <a:pt x="1548" y="590"/>
                  </a:lnTo>
                  <a:lnTo>
                    <a:pt x="1548" y="588"/>
                  </a:lnTo>
                  <a:lnTo>
                    <a:pt x="1548" y="588"/>
                  </a:lnTo>
                  <a:lnTo>
                    <a:pt x="1552" y="588"/>
                  </a:lnTo>
                  <a:lnTo>
                    <a:pt x="1552" y="588"/>
                  </a:lnTo>
                  <a:lnTo>
                    <a:pt x="1550" y="588"/>
                  </a:lnTo>
                  <a:lnTo>
                    <a:pt x="1548" y="590"/>
                  </a:lnTo>
                  <a:lnTo>
                    <a:pt x="1548" y="592"/>
                  </a:lnTo>
                  <a:lnTo>
                    <a:pt x="1548" y="592"/>
                  </a:lnTo>
                  <a:lnTo>
                    <a:pt x="1548" y="592"/>
                  </a:lnTo>
                  <a:lnTo>
                    <a:pt x="1548" y="592"/>
                  </a:lnTo>
                  <a:lnTo>
                    <a:pt x="1548" y="594"/>
                  </a:lnTo>
                  <a:lnTo>
                    <a:pt x="1548" y="594"/>
                  </a:lnTo>
                  <a:lnTo>
                    <a:pt x="1548" y="594"/>
                  </a:lnTo>
                  <a:lnTo>
                    <a:pt x="1548" y="594"/>
                  </a:lnTo>
                  <a:lnTo>
                    <a:pt x="1548" y="596"/>
                  </a:lnTo>
                  <a:lnTo>
                    <a:pt x="1548" y="596"/>
                  </a:lnTo>
                  <a:lnTo>
                    <a:pt x="1550" y="598"/>
                  </a:lnTo>
                  <a:lnTo>
                    <a:pt x="1550" y="598"/>
                  </a:lnTo>
                  <a:lnTo>
                    <a:pt x="1550" y="598"/>
                  </a:lnTo>
                  <a:lnTo>
                    <a:pt x="1550" y="598"/>
                  </a:lnTo>
                  <a:lnTo>
                    <a:pt x="1550" y="600"/>
                  </a:lnTo>
                  <a:lnTo>
                    <a:pt x="1550" y="600"/>
                  </a:lnTo>
                  <a:lnTo>
                    <a:pt x="1548" y="600"/>
                  </a:lnTo>
                  <a:lnTo>
                    <a:pt x="1548" y="600"/>
                  </a:lnTo>
                  <a:lnTo>
                    <a:pt x="1548" y="603"/>
                  </a:lnTo>
                  <a:lnTo>
                    <a:pt x="1548" y="603"/>
                  </a:lnTo>
                  <a:lnTo>
                    <a:pt x="1548" y="603"/>
                  </a:lnTo>
                  <a:lnTo>
                    <a:pt x="1548" y="603"/>
                  </a:lnTo>
                  <a:lnTo>
                    <a:pt x="1548" y="603"/>
                  </a:lnTo>
                  <a:lnTo>
                    <a:pt x="1548" y="603"/>
                  </a:lnTo>
                  <a:lnTo>
                    <a:pt x="1548" y="603"/>
                  </a:lnTo>
                  <a:lnTo>
                    <a:pt x="1548" y="605"/>
                  </a:lnTo>
                  <a:lnTo>
                    <a:pt x="1548" y="605"/>
                  </a:lnTo>
                  <a:lnTo>
                    <a:pt x="1548" y="605"/>
                  </a:lnTo>
                  <a:lnTo>
                    <a:pt x="1548" y="605"/>
                  </a:lnTo>
                  <a:lnTo>
                    <a:pt x="1548" y="605"/>
                  </a:lnTo>
                  <a:lnTo>
                    <a:pt x="1548" y="607"/>
                  </a:lnTo>
                  <a:lnTo>
                    <a:pt x="1548" y="607"/>
                  </a:lnTo>
                  <a:lnTo>
                    <a:pt x="1550" y="607"/>
                  </a:lnTo>
                  <a:lnTo>
                    <a:pt x="1550" y="609"/>
                  </a:lnTo>
                  <a:lnTo>
                    <a:pt x="1550" y="609"/>
                  </a:lnTo>
                  <a:lnTo>
                    <a:pt x="1550" y="609"/>
                  </a:lnTo>
                  <a:lnTo>
                    <a:pt x="1550" y="609"/>
                  </a:lnTo>
                  <a:lnTo>
                    <a:pt x="1550" y="609"/>
                  </a:lnTo>
                  <a:lnTo>
                    <a:pt x="1552" y="609"/>
                  </a:lnTo>
                  <a:lnTo>
                    <a:pt x="1550" y="611"/>
                  </a:lnTo>
                  <a:lnTo>
                    <a:pt x="1550" y="611"/>
                  </a:lnTo>
                  <a:lnTo>
                    <a:pt x="1550" y="611"/>
                  </a:lnTo>
                  <a:lnTo>
                    <a:pt x="1552" y="611"/>
                  </a:lnTo>
                  <a:lnTo>
                    <a:pt x="1552" y="613"/>
                  </a:lnTo>
                  <a:lnTo>
                    <a:pt x="1552" y="613"/>
                  </a:lnTo>
                  <a:lnTo>
                    <a:pt x="1552" y="613"/>
                  </a:lnTo>
                  <a:lnTo>
                    <a:pt x="1552" y="613"/>
                  </a:lnTo>
                  <a:lnTo>
                    <a:pt x="1552" y="613"/>
                  </a:lnTo>
                  <a:lnTo>
                    <a:pt x="1552" y="613"/>
                  </a:lnTo>
                  <a:lnTo>
                    <a:pt x="1555" y="613"/>
                  </a:lnTo>
                  <a:lnTo>
                    <a:pt x="1555" y="613"/>
                  </a:lnTo>
                  <a:lnTo>
                    <a:pt x="1555" y="613"/>
                  </a:lnTo>
                  <a:lnTo>
                    <a:pt x="1555" y="613"/>
                  </a:lnTo>
                  <a:lnTo>
                    <a:pt x="1555" y="613"/>
                  </a:lnTo>
                  <a:lnTo>
                    <a:pt x="1555" y="615"/>
                  </a:lnTo>
                  <a:lnTo>
                    <a:pt x="1555" y="615"/>
                  </a:lnTo>
                  <a:lnTo>
                    <a:pt x="1555" y="615"/>
                  </a:lnTo>
                  <a:lnTo>
                    <a:pt x="1557" y="615"/>
                  </a:lnTo>
                  <a:lnTo>
                    <a:pt x="1557" y="615"/>
                  </a:lnTo>
                  <a:lnTo>
                    <a:pt x="1557" y="615"/>
                  </a:lnTo>
                  <a:lnTo>
                    <a:pt x="1557" y="615"/>
                  </a:lnTo>
                  <a:lnTo>
                    <a:pt x="1557" y="615"/>
                  </a:lnTo>
                  <a:lnTo>
                    <a:pt x="1557" y="615"/>
                  </a:lnTo>
                  <a:lnTo>
                    <a:pt x="1557" y="615"/>
                  </a:lnTo>
                  <a:lnTo>
                    <a:pt x="1559" y="615"/>
                  </a:lnTo>
                  <a:lnTo>
                    <a:pt x="1559" y="615"/>
                  </a:lnTo>
                  <a:lnTo>
                    <a:pt x="1559" y="613"/>
                  </a:lnTo>
                  <a:lnTo>
                    <a:pt x="1559" y="613"/>
                  </a:lnTo>
                  <a:lnTo>
                    <a:pt x="1559" y="611"/>
                  </a:lnTo>
                  <a:lnTo>
                    <a:pt x="1559" y="609"/>
                  </a:lnTo>
                  <a:lnTo>
                    <a:pt x="1559" y="607"/>
                  </a:lnTo>
                  <a:lnTo>
                    <a:pt x="1559" y="607"/>
                  </a:lnTo>
                  <a:lnTo>
                    <a:pt x="1559" y="607"/>
                  </a:lnTo>
                  <a:lnTo>
                    <a:pt x="1561" y="605"/>
                  </a:lnTo>
                  <a:lnTo>
                    <a:pt x="1561" y="605"/>
                  </a:lnTo>
                  <a:lnTo>
                    <a:pt x="1561" y="605"/>
                  </a:lnTo>
                  <a:lnTo>
                    <a:pt x="1561" y="605"/>
                  </a:lnTo>
                  <a:lnTo>
                    <a:pt x="1561" y="607"/>
                  </a:lnTo>
                  <a:lnTo>
                    <a:pt x="1561" y="607"/>
                  </a:lnTo>
                  <a:lnTo>
                    <a:pt x="1561" y="607"/>
                  </a:lnTo>
                  <a:lnTo>
                    <a:pt x="1561" y="607"/>
                  </a:lnTo>
                  <a:lnTo>
                    <a:pt x="1561" y="609"/>
                  </a:lnTo>
                  <a:lnTo>
                    <a:pt x="1561" y="609"/>
                  </a:lnTo>
                  <a:lnTo>
                    <a:pt x="1561" y="611"/>
                  </a:lnTo>
                  <a:lnTo>
                    <a:pt x="1561" y="611"/>
                  </a:lnTo>
                  <a:lnTo>
                    <a:pt x="1561" y="613"/>
                  </a:lnTo>
                  <a:lnTo>
                    <a:pt x="1563" y="611"/>
                  </a:lnTo>
                  <a:lnTo>
                    <a:pt x="1563" y="613"/>
                  </a:lnTo>
                  <a:lnTo>
                    <a:pt x="1563" y="613"/>
                  </a:lnTo>
                  <a:lnTo>
                    <a:pt x="1563" y="613"/>
                  </a:lnTo>
                  <a:lnTo>
                    <a:pt x="1563" y="615"/>
                  </a:lnTo>
                  <a:lnTo>
                    <a:pt x="1563" y="615"/>
                  </a:lnTo>
                  <a:lnTo>
                    <a:pt x="1563" y="615"/>
                  </a:lnTo>
                  <a:lnTo>
                    <a:pt x="1563" y="615"/>
                  </a:lnTo>
                  <a:lnTo>
                    <a:pt x="1563" y="615"/>
                  </a:lnTo>
                  <a:lnTo>
                    <a:pt x="1561" y="615"/>
                  </a:lnTo>
                  <a:lnTo>
                    <a:pt x="1561" y="615"/>
                  </a:lnTo>
                  <a:lnTo>
                    <a:pt x="1561" y="615"/>
                  </a:lnTo>
                  <a:lnTo>
                    <a:pt x="1561" y="615"/>
                  </a:lnTo>
                  <a:lnTo>
                    <a:pt x="1561" y="615"/>
                  </a:lnTo>
                  <a:lnTo>
                    <a:pt x="1559" y="617"/>
                  </a:lnTo>
                  <a:lnTo>
                    <a:pt x="1561" y="617"/>
                  </a:lnTo>
                  <a:lnTo>
                    <a:pt x="1561" y="617"/>
                  </a:lnTo>
                  <a:lnTo>
                    <a:pt x="1561" y="619"/>
                  </a:lnTo>
                  <a:lnTo>
                    <a:pt x="1561" y="619"/>
                  </a:lnTo>
                  <a:lnTo>
                    <a:pt x="1561" y="619"/>
                  </a:lnTo>
                  <a:lnTo>
                    <a:pt x="1563" y="621"/>
                  </a:lnTo>
                  <a:lnTo>
                    <a:pt x="1565" y="623"/>
                  </a:lnTo>
                  <a:lnTo>
                    <a:pt x="1567" y="623"/>
                  </a:lnTo>
                  <a:lnTo>
                    <a:pt x="1567" y="623"/>
                  </a:lnTo>
                  <a:lnTo>
                    <a:pt x="1567" y="621"/>
                  </a:lnTo>
                  <a:lnTo>
                    <a:pt x="1567" y="621"/>
                  </a:lnTo>
                  <a:lnTo>
                    <a:pt x="1567" y="619"/>
                  </a:lnTo>
                  <a:lnTo>
                    <a:pt x="1567" y="617"/>
                  </a:lnTo>
                  <a:lnTo>
                    <a:pt x="1567" y="619"/>
                  </a:lnTo>
                  <a:lnTo>
                    <a:pt x="1567" y="619"/>
                  </a:lnTo>
                  <a:lnTo>
                    <a:pt x="1567" y="619"/>
                  </a:lnTo>
                  <a:lnTo>
                    <a:pt x="1567" y="619"/>
                  </a:lnTo>
                  <a:lnTo>
                    <a:pt x="1567" y="619"/>
                  </a:lnTo>
                  <a:lnTo>
                    <a:pt x="1567" y="617"/>
                  </a:lnTo>
                  <a:lnTo>
                    <a:pt x="1567" y="617"/>
                  </a:lnTo>
                  <a:lnTo>
                    <a:pt x="1567" y="617"/>
                  </a:lnTo>
                  <a:lnTo>
                    <a:pt x="1567" y="615"/>
                  </a:lnTo>
                  <a:lnTo>
                    <a:pt x="1567" y="615"/>
                  </a:lnTo>
                  <a:lnTo>
                    <a:pt x="1577" y="613"/>
                  </a:lnTo>
                  <a:lnTo>
                    <a:pt x="1577" y="615"/>
                  </a:lnTo>
                  <a:lnTo>
                    <a:pt x="1579" y="615"/>
                  </a:lnTo>
                  <a:lnTo>
                    <a:pt x="1579" y="615"/>
                  </a:lnTo>
                  <a:lnTo>
                    <a:pt x="1579" y="615"/>
                  </a:lnTo>
                  <a:lnTo>
                    <a:pt x="1577" y="615"/>
                  </a:lnTo>
                  <a:lnTo>
                    <a:pt x="1575" y="615"/>
                  </a:lnTo>
                  <a:lnTo>
                    <a:pt x="1575" y="615"/>
                  </a:lnTo>
                  <a:lnTo>
                    <a:pt x="1575" y="615"/>
                  </a:lnTo>
                  <a:lnTo>
                    <a:pt x="1575" y="615"/>
                  </a:lnTo>
                  <a:lnTo>
                    <a:pt x="1575" y="615"/>
                  </a:lnTo>
                  <a:lnTo>
                    <a:pt x="1573" y="615"/>
                  </a:lnTo>
                  <a:lnTo>
                    <a:pt x="1571" y="615"/>
                  </a:lnTo>
                  <a:lnTo>
                    <a:pt x="1571" y="615"/>
                  </a:lnTo>
                  <a:lnTo>
                    <a:pt x="1569" y="615"/>
                  </a:lnTo>
                  <a:lnTo>
                    <a:pt x="1569" y="615"/>
                  </a:lnTo>
                  <a:lnTo>
                    <a:pt x="1567" y="615"/>
                  </a:lnTo>
                  <a:lnTo>
                    <a:pt x="1567" y="617"/>
                  </a:lnTo>
                  <a:lnTo>
                    <a:pt x="1569" y="621"/>
                  </a:lnTo>
                  <a:lnTo>
                    <a:pt x="1571" y="623"/>
                  </a:lnTo>
                  <a:lnTo>
                    <a:pt x="1571" y="623"/>
                  </a:lnTo>
                  <a:lnTo>
                    <a:pt x="1571" y="625"/>
                  </a:lnTo>
                  <a:lnTo>
                    <a:pt x="1573" y="625"/>
                  </a:lnTo>
                  <a:lnTo>
                    <a:pt x="1575" y="625"/>
                  </a:lnTo>
                  <a:lnTo>
                    <a:pt x="1575" y="625"/>
                  </a:lnTo>
                  <a:lnTo>
                    <a:pt x="1577" y="625"/>
                  </a:lnTo>
                  <a:lnTo>
                    <a:pt x="1579" y="627"/>
                  </a:lnTo>
                  <a:lnTo>
                    <a:pt x="1581" y="627"/>
                  </a:lnTo>
                  <a:lnTo>
                    <a:pt x="1581" y="627"/>
                  </a:lnTo>
                  <a:lnTo>
                    <a:pt x="1581" y="627"/>
                  </a:lnTo>
                  <a:lnTo>
                    <a:pt x="1583" y="627"/>
                  </a:lnTo>
                  <a:lnTo>
                    <a:pt x="1583" y="627"/>
                  </a:lnTo>
                  <a:lnTo>
                    <a:pt x="1583" y="627"/>
                  </a:lnTo>
                  <a:lnTo>
                    <a:pt x="1583" y="629"/>
                  </a:lnTo>
                  <a:lnTo>
                    <a:pt x="1585" y="629"/>
                  </a:lnTo>
                  <a:lnTo>
                    <a:pt x="1585" y="631"/>
                  </a:lnTo>
                  <a:lnTo>
                    <a:pt x="1587" y="631"/>
                  </a:lnTo>
                  <a:lnTo>
                    <a:pt x="1589" y="631"/>
                  </a:lnTo>
                  <a:lnTo>
                    <a:pt x="1589" y="631"/>
                  </a:lnTo>
                  <a:lnTo>
                    <a:pt x="1587" y="631"/>
                  </a:lnTo>
                  <a:lnTo>
                    <a:pt x="1587" y="631"/>
                  </a:lnTo>
                  <a:lnTo>
                    <a:pt x="1587" y="631"/>
                  </a:lnTo>
                  <a:lnTo>
                    <a:pt x="1587" y="631"/>
                  </a:lnTo>
                  <a:lnTo>
                    <a:pt x="1585" y="631"/>
                  </a:lnTo>
                  <a:lnTo>
                    <a:pt x="1585" y="629"/>
                  </a:lnTo>
                  <a:lnTo>
                    <a:pt x="1585" y="629"/>
                  </a:lnTo>
                  <a:lnTo>
                    <a:pt x="1583" y="629"/>
                  </a:lnTo>
                  <a:lnTo>
                    <a:pt x="1583" y="629"/>
                  </a:lnTo>
                  <a:lnTo>
                    <a:pt x="1581" y="629"/>
                  </a:lnTo>
                  <a:lnTo>
                    <a:pt x="1575" y="627"/>
                  </a:lnTo>
                  <a:lnTo>
                    <a:pt x="1573" y="627"/>
                  </a:lnTo>
                  <a:lnTo>
                    <a:pt x="1573" y="627"/>
                  </a:lnTo>
                  <a:lnTo>
                    <a:pt x="1571" y="627"/>
                  </a:lnTo>
                  <a:lnTo>
                    <a:pt x="1571" y="627"/>
                  </a:lnTo>
                  <a:lnTo>
                    <a:pt x="1571" y="627"/>
                  </a:lnTo>
                  <a:lnTo>
                    <a:pt x="1571" y="625"/>
                  </a:lnTo>
                  <a:lnTo>
                    <a:pt x="1571" y="625"/>
                  </a:lnTo>
                  <a:lnTo>
                    <a:pt x="1571" y="625"/>
                  </a:lnTo>
                  <a:lnTo>
                    <a:pt x="1571" y="627"/>
                  </a:lnTo>
                  <a:lnTo>
                    <a:pt x="1569" y="627"/>
                  </a:lnTo>
                  <a:lnTo>
                    <a:pt x="1569" y="627"/>
                  </a:lnTo>
                  <a:lnTo>
                    <a:pt x="1569" y="627"/>
                  </a:lnTo>
                  <a:lnTo>
                    <a:pt x="1569" y="627"/>
                  </a:lnTo>
                  <a:lnTo>
                    <a:pt x="1569" y="627"/>
                  </a:lnTo>
                  <a:lnTo>
                    <a:pt x="1569" y="631"/>
                  </a:lnTo>
                  <a:lnTo>
                    <a:pt x="1569" y="631"/>
                  </a:lnTo>
                  <a:lnTo>
                    <a:pt x="1569" y="631"/>
                  </a:lnTo>
                  <a:lnTo>
                    <a:pt x="1571" y="633"/>
                  </a:lnTo>
                  <a:lnTo>
                    <a:pt x="1571" y="633"/>
                  </a:lnTo>
                  <a:lnTo>
                    <a:pt x="1573" y="633"/>
                  </a:lnTo>
                  <a:lnTo>
                    <a:pt x="1575" y="631"/>
                  </a:lnTo>
                  <a:lnTo>
                    <a:pt x="1575" y="631"/>
                  </a:lnTo>
                  <a:lnTo>
                    <a:pt x="1577" y="631"/>
                  </a:lnTo>
                  <a:lnTo>
                    <a:pt x="1579" y="629"/>
                  </a:lnTo>
                  <a:lnTo>
                    <a:pt x="1579" y="629"/>
                  </a:lnTo>
                  <a:lnTo>
                    <a:pt x="1579" y="631"/>
                  </a:lnTo>
                  <a:lnTo>
                    <a:pt x="1577" y="631"/>
                  </a:lnTo>
                  <a:lnTo>
                    <a:pt x="1575" y="633"/>
                  </a:lnTo>
                  <a:lnTo>
                    <a:pt x="1575" y="633"/>
                  </a:lnTo>
                  <a:lnTo>
                    <a:pt x="1575" y="635"/>
                  </a:lnTo>
                  <a:lnTo>
                    <a:pt x="1575" y="635"/>
                  </a:lnTo>
                  <a:lnTo>
                    <a:pt x="1575" y="637"/>
                  </a:lnTo>
                  <a:lnTo>
                    <a:pt x="1575" y="637"/>
                  </a:lnTo>
                  <a:lnTo>
                    <a:pt x="1577" y="639"/>
                  </a:lnTo>
                  <a:lnTo>
                    <a:pt x="1577" y="639"/>
                  </a:lnTo>
                  <a:lnTo>
                    <a:pt x="1579" y="639"/>
                  </a:lnTo>
                  <a:lnTo>
                    <a:pt x="1579" y="639"/>
                  </a:lnTo>
                  <a:lnTo>
                    <a:pt x="1579" y="639"/>
                  </a:lnTo>
                  <a:lnTo>
                    <a:pt x="1579" y="639"/>
                  </a:lnTo>
                  <a:lnTo>
                    <a:pt x="1579" y="639"/>
                  </a:lnTo>
                  <a:lnTo>
                    <a:pt x="1581" y="637"/>
                  </a:lnTo>
                  <a:lnTo>
                    <a:pt x="1581" y="637"/>
                  </a:lnTo>
                  <a:lnTo>
                    <a:pt x="1581" y="637"/>
                  </a:lnTo>
                  <a:lnTo>
                    <a:pt x="1581" y="637"/>
                  </a:lnTo>
                  <a:lnTo>
                    <a:pt x="1581" y="637"/>
                  </a:lnTo>
                  <a:lnTo>
                    <a:pt x="1581" y="639"/>
                  </a:lnTo>
                  <a:lnTo>
                    <a:pt x="1581" y="639"/>
                  </a:lnTo>
                  <a:lnTo>
                    <a:pt x="1581" y="639"/>
                  </a:lnTo>
                  <a:lnTo>
                    <a:pt x="1579" y="639"/>
                  </a:lnTo>
                  <a:lnTo>
                    <a:pt x="1579" y="641"/>
                  </a:lnTo>
                  <a:lnTo>
                    <a:pt x="1579" y="641"/>
                  </a:lnTo>
                  <a:lnTo>
                    <a:pt x="1579" y="641"/>
                  </a:lnTo>
                  <a:lnTo>
                    <a:pt x="1581" y="643"/>
                  </a:lnTo>
                  <a:lnTo>
                    <a:pt x="1581" y="643"/>
                  </a:lnTo>
                  <a:lnTo>
                    <a:pt x="1583" y="641"/>
                  </a:lnTo>
                  <a:lnTo>
                    <a:pt x="1585" y="641"/>
                  </a:lnTo>
                  <a:lnTo>
                    <a:pt x="1585" y="643"/>
                  </a:lnTo>
                  <a:lnTo>
                    <a:pt x="1585" y="643"/>
                  </a:lnTo>
                  <a:lnTo>
                    <a:pt x="1585" y="641"/>
                  </a:lnTo>
                  <a:lnTo>
                    <a:pt x="1587" y="641"/>
                  </a:lnTo>
                  <a:lnTo>
                    <a:pt x="1587" y="641"/>
                  </a:lnTo>
                  <a:lnTo>
                    <a:pt x="1587" y="641"/>
                  </a:lnTo>
                  <a:lnTo>
                    <a:pt x="1589" y="639"/>
                  </a:lnTo>
                  <a:lnTo>
                    <a:pt x="1589" y="639"/>
                  </a:lnTo>
                  <a:lnTo>
                    <a:pt x="1589" y="639"/>
                  </a:lnTo>
                  <a:lnTo>
                    <a:pt x="1589" y="639"/>
                  </a:lnTo>
                  <a:lnTo>
                    <a:pt x="1589" y="641"/>
                  </a:lnTo>
                  <a:lnTo>
                    <a:pt x="1589" y="641"/>
                  </a:lnTo>
                  <a:lnTo>
                    <a:pt x="1589" y="641"/>
                  </a:lnTo>
                  <a:lnTo>
                    <a:pt x="1587" y="641"/>
                  </a:lnTo>
                  <a:lnTo>
                    <a:pt x="1587" y="641"/>
                  </a:lnTo>
                  <a:lnTo>
                    <a:pt x="1587" y="643"/>
                  </a:lnTo>
                  <a:lnTo>
                    <a:pt x="1587" y="643"/>
                  </a:lnTo>
                  <a:lnTo>
                    <a:pt x="1585" y="646"/>
                  </a:lnTo>
                  <a:lnTo>
                    <a:pt x="1581" y="646"/>
                  </a:lnTo>
                  <a:lnTo>
                    <a:pt x="1579" y="646"/>
                  </a:lnTo>
                  <a:lnTo>
                    <a:pt x="1579" y="648"/>
                  </a:lnTo>
                  <a:lnTo>
                    <a:pt x="1579" y="648"/>
                  </a:lnTo>
                  <a:lnTo>
                    <a:pt x="1579" y="648"/>
                  </a:lnTo>
                  <a:lnTo>
                    <a:pt x="1579" y="648"/>
                  </a:lnTo>
                  <a:lnTo>
                    <a:pt x="1579" y="648"/>
                  </a:lnTo>
                  <a:lnTo>
                    <a:pt x="1579" y="650"/>
                  </a:lnTo>
                  <a:lnTo>
                    <a:pt x="1581" y="650"/>
                  </a:lnTo>
                  <a:lnTo>
                    <a:pt x="1579" y="650"/>
                  </a:lnTo>
                  <a:lnTo>
                    <a:pt x="1579" y="652"/>
                  </a:lnTo>
                  <a:lnTo>
                    <a:pt x="1579" y="652"/>
                  </a:lnTo>
                  <a:lnTo>
                    <a:pt x="1579" y="652"/>
                  </a:lnTo>
                  <a:lnTo>
                    <a:pt x="1579" y="652"/>
                  </a:lnTo>
                  <a:lnTo>
                    <a:pt x="1581" y="652"/>
                  </a:lnTo>
                  <a:lnTo>
                    <a:pt x="1581" y="652"/>
                  </a:lnTo>
                  <a:lnTo>
                    <a:pt x="1581" y="652"/>
                  </a:lnTo>
                  <a:lnTo>
                    <a:pt x="1583" y="654"/>
                  </a:lnTo>
                  <a:lnTo>
                    <a:pt x="1583" y="654"/>
                  </a:lnTo>
                  <a:lnTo>
                    <a:pt x="1583" y="654"/>
                  </a:lnTo>
                  <a:lnTo>
                    <a:pt x="1585" y="654"/>
                  </a:lnTo>
                  <a:lnTo>
                    <a:pt x="1587" y="654"/>
                  </a:lnTo>
                  <a:lnTo>
                    <a:pt x="1587" y="654"/>
                  </a:lnTo>
                  <a:lnTo>
                    <a:pt x="1587" y="654"/>
                  </a:lnTo>
                  <a:lnTo>
                    <a:pt x="1587" y="652"/>
                  </a:lnTo>
                  <a:lnTo>
                    <a:pt x="1587" y="650"/>
                  </a:lnTo>
                  <a:lnTo>
                    <a:pt x="1587" y="650"/>
                  </a:lnTo>
                  <a:lnTo>
                    <a:pt x="1587" y="650"/>
                  </a:lnTo>
                  <a:lnTo>
                    <a:pt x="1589" y="650"/>
                  </a:lnTo>
                  <a:lnTo>
                    <a:pt x="1589" y="650"/>
                  </a:lnTo>
                  <a:lnTo>
                    <a:pt x="1589" y="652"/>
                  </a:lnTo>
                  <a:lnTo>
                    <a:pt x="1589" y="652"/>
                  </a:lnTo>
                  <a:lnTo>
                    <a:pt x="1589" y="652"/>
                  </a:lnTo>
                  <a:lnTo>
                    <a:pt x="1589" y="650"/>
                  </a:lnTo>
                  <a:lnTo>
                    <a:pt x="1589" y="652"/>
                  </a:lnTo>
                  <a:lnTo>
                    <a:pt x="1589" y="650"/>
                  </a:lnTo>
                  <a:lnTo>
                    <a:pt x="1591" y="650"/>
                  </a:lnTo>
                  <a:lnTo>
                    <a:pt x="1591" y="650"/>
                  </a:lnTo>
                  <a:lnTo>
                    <a:pt x="1591" y="650"/>
                  </a:lnTo>
                  <a:lnTo>
                    <a:pt x="1591" y="652"/>
                  </a:lnTo>
                  <a:lnTo>
                    <a:pt x="1591" y="652"/>
                  </a:lnTo>
                  <a:lnTo>
                    <a:pt x="1591" y="652"/>
                  </a:lnTo>
                  <a:lnTo>
                    <a:pt x="1591" y="652"/>
                  </a:lnTo>
                  <a:lnTo>
                    <a:pt x="1591" y="654"/>
                  </a:lnTo>
                  <a:lnTo>
                    <a:pt x="1591" y="654"/>
                  </a:lnTo>
                  <a:lnTo>
                    <a:pt x="1591" y="654"/>
                  </a:lnTo>
                  <a:lnTo>
                    <a:pt x="1591" y="654"/>
                  </a:lnTo>
                  <a:lnTo>
                    <a:pt x="1591" y="654"/>
                  </a:lnTo>
                  <a:lnTo>
                    <a:pt x="1591" y="654"/>
                  </a:lnTo>
                  <a:lnTo>
                    <a:pt x="1591" y="654"/>
                  </a:lnTo>
                  <a:lnTo>
                    <a:pt x="1591" y="654"/>
                  </a:lnTo>
                  <a:lnTo>
                    <a:pt x="1593" y="654"/>
                  </a:lnTo>
                  <a:lnTo>
                    <a:pt x="1593" y="654"/>
                  </a:lnTo>
                  <a:lnTo>
                    <a:pt x="1593" y="654"/>
                  </a:lnTo>
                  <a:lnTo>
                    <a:pt x="1593" y="654"/>
                  </a:lnTo>
                  <a:lnTo>
                    <a:pt x="1595" y="654"/>
                  </a:lnTo>
                  <a:lnTo>
                    <a:pt x="1595" y="654"/>
                  </a:lnTo>
                  <a:lnTo>
                    <a:pt x="1598" y="654"/>
                  </a:lnTo>
                  <a:lnTo>
                    <a:pt x="1598" y="654"/>
                  </a:lnTo>
                  <a:lnTo>
                    <a:pt x="1598" y="654"/>
                  </a:lnTo>
                  <a:lnTo>
                    <a:pt x="1600" y="654"/>
                  </a:lnTo>
                  <a:lnTo>
                    <a:pt x="1600" y="654"/>
                  </a:lnTo>
                  <a:lnTo>
                    <a:pt x="1600" y="654"/>
                  </a:lnTo>
                  <a:lnTo>
                    <a:pt x="1600" y="652"/>
                  </a:lnTo>
                  <a:lnTo>
                    <a:pt x="1600" y="652"/>
                  </a:lnTo>
                  <a:lnTo>
                    <a:pt x="1602" y="650"/>
                  </a:lnTo>
                  <a:lnTo>
                    <a:pt x="1602" y="650"/>
                  </a:lnTo>
                  <a:lnTo>
                    <a:pt x="1602" y="650"/>
                  </a:lnTo>
                  <a:lnTo>
                    <a:pt x="1602" y="650"/>
                  </a:lnTo>
                  <a:lnTo>
                    <a:pt x="1602" y="652"/>
                  </a:lnTo>
                  <a:lnTo>
                    <a:pt x="1602" y="652"/>
                  </a:lnTo>
                  <a:lnTo>
                    <a:pt x="1602" y="652"/>
                  </a:lnTo>
                  <a:lnTo>
                    <a:pt x="1604" y="654"/>
                  </a:lnTo>
                  <a:lnTo>
                    <a:pt x="1604" y="656"/>
                  </a:lnTo>
                  <a:lnTo>
                    <a:pt x="1604" y="656"/>
                  </a:lnTo>
                  <a:lnTo>
                    <a:pt x="1602" y="656"/>
                  </a:lnTo>
                  <a:lnTo>
                    <a:pt x="1602" y="656"/>
                  </a:lnTo>
                  <a:lnTo>
                    <a:pt x="1602" y="656"/>
                  </a:lnTo>
                  <a:lnTo>
                    <a:pt x="1602" y="656"/>
                  </a:lnTo>
                  <a:lnTo>
                    <a:pt x="1602" y="656"/>
                  </a:lnTo>
                  <a:lnTo>
                    <a:pt x="1600" y="656"/>
                  </a:lnTo>
                  <a:lnTo>
                    <a:pt x="1600" y="656"/>
                  </a:lnTo>
                  <a:lnTo>
                    <a:pt x="1600" y="656"/>
                  </a:lnTo>
                  <a:lnTo>
                    <a:pt x="1600" y="658"/>
                  </a:lnTo>
                  <a:lnTo>
                    <a:pt x="1600" y="658"/>
                  </a:lnTo>
                  <a:lnTo>
                    <a:pt x="1602" y="658"/>
                  </a:lnTo>
                  <a:lnTo>
                    <a:pt x="1602" y="658"/>
                  </a:lnTo>
                  <a:lnTo>
                    <a:pt x="1602" y="658"/>
                  </a:lnTo>
                  <a:lnTo>
                    <a:pt x="1602" y="660"/>
                  </a:lnTo>
                  <a:lnTo>
                    <a:pt x="1602" y="660"/>
                  </a:lnTo>
                  <a:lnTo>
                    <a:pt x="1602" y="660"/>
                  </a:lnTo>
                  <a:lnTo>
                    <a:pt x="1604" y="660"/>
                  </a:lnTo>
                  <a:lnTo>
                    <a:pt x="1604" y="660"/>
                  </a:lnTo>
                  <a:lnTo>
                    <a:pt x="1606" y="660"/>
                  </a:lnTo>
                  <a:lnTo>
                    <a:pt x="1606" y="662"/>
                  </a:lnTo>
                  <a:lnTo>
                    <a:pt x="1606" y="662"/>
                  </a:lnTo>
                  <a:lnTo>
                    <a:pt x="1606" y="662"/>
                  </a:lnTo>
                  <a:lnTo>
                    <a:pt x="1610" y="664"/>
                  </a:lnTo>
                  <a:lnTo>
                    <a:pt x="1614" y="664"/>
                  </a:lnTo>
                  <a:lnTo>
                    <a:pt x="1614" y="664"/>
                  </a:lnTo>
                  <a:lnTo>
                    <a:pt x="1614" y="664"/>
                  </a:lnTo>
                  <a:lnTo>
                    <a:pt x="1614" y="662"/>
                  </a:lnTo>
                  <a:lnTo>
                    <a:pt x="1614" y="662"/>
                  </a:lnTo>
                  <a:lnTo>
                    <a:pt x="1616" y="662"/>
                  </a:lnTo>
                  <a:lnTo>
                    <a:pt x="1616" y="662"/>
                  </a:lnTo>
                  <a:lnTo>
                    <a:pt x="1616" y="662"/>
                  </a:lnTo>
                  <a:lnTo>
                    <a:pt x="1616" y="660"/>
                  </a:lnTo>
                  <a:lnTo>
                    <a:pt x="1616" y="660"/>
                  </a:lnTo>
                  <a:lnTo>
                    <a:pt x="1616" y="660"/>
                  </a:lnTo>
                  <a:lnTo>
                    <a:pt x="1618" y="660"/>
                  </a:lnTo>
                  <a:lnTo>
                    <a:pt x="1616" y="660"/>
                  </a:lnTo>
                  <a:lnTo>
                    <a:pt x="1616" y="660"/>
                  </a:lnTo>
                  <a:lnTo>
                    <a:pt x="1616" y="660"/>
                  </a:lnTo>
                  <a:lnTo>
                    <a:pt x="1616" y="660"/>
                  </a:lnTo>
                  <a:lnTo>
                    <a:pt x="1616" y="662"/>
                  </a:lnTo>
                  <a:lnTo>
                    <a:pt x="1616" y="662"/>
                  </a:lnTo>
                  <a:lnTo>
                    <a:pt x="1616" y="662"/>
                  </a:lnTo>
                  <a:lnTo>
                    <a:pt x="1616" y="664"/>
                  </a:lnTo>
                  <a:lnTo>
                    <a:pt x="1616" y="664"/>
                  </a:lnTo>
                  <a:lnTo>
                    <a:pt x="1616" y="664"/>
                  </a:lnTo>
                  <a:lnTo>
                    <a:pt x="1614" y="666"/>
                  </a:lnTo>
                  <a:lnTo>
                    <a:pt x="1616" y="666"/>
                  </a:lnTo>
                  <a:lnTo>
                    <a:pt x="1616" y="666"/>
                  </a:lnTo>
                  <a:lnTo>
                    <a:pt x="1616" y="666"/>
                  </a:lnTo>
                  <a:lnTo>
                    <a:pt x="1616" y="668"/>
                  </a:lnTo>
                  <a:lnTo>
                    <a:pt x="1616" y="668"/>
                  </a:lnTo>
                  <a:lnTo>
                    <a:pt x="1616" y="668"/>
                  </a:lnTo>
                  <a:lnTo>
                    <a:pt x="1614" y="668"/>
                  </a:lnTo>
                  <a:lnTo>
                    <a:pt x="1616" y="670"/>
                  </a:lnTo>
                  <a:lnTo>
                    <a:pt x="1616" y="670"/>
                  </a:lnTo>
                  <a:lnTo>
                    <a:pt x="1616" y="670"/>
                  </a:lnTo>
                  <a:lnTo>
                    <a:pt x="1618" y="672"/>
                  </a:lnTo>
                  <a:lnTo>
                    <a:pt x="1618" y="670"/>
                  </a:lnTo>
                  <a:lnTo>
                    <a:pt x="1620" y="670"/>
                  </a:lnTo>
                  <a:lnTo>
                    <a:pt x="1620" y="668"/>
                  </a:lnTo>
                  <a:lnTo>
                    <a:pt x="1622" y="668"/>
                  </a:lnTo>
                  <a:lnTo>
                    <a:pt x="1622" y="670"/>
                  </a:lnTo>
                  <a:lnTo>
                    <a:pt x="1622" y="672"/>
                  </a:lnTo>
                  <a:lnTo>
                    <a:pt x="1622" y="672"/>
                  </a:lnTo>
                  <a:lnTo>
                    <a:pt x="1622" y="674"/>
                  </a:lnTo>
                  <a:lnTo>
                    <a:pt x="1622" y="674"/>
                  </a:lnTo>
                  <a:lnTo>
                    <a:pt x="1622" y="674"/>
                  </a:lnTo>
                  <a:lnTo>
                    <a:pt x="1624" y="674"/>
                  </a:lnTo>
                  <a:lnTo>
                    <a:pt x="1624" y="674"/>
                  </a:lnTo>
                  <a:lnTo>
                    <a:pt x="1626" y="674"/>
                  </a:lnTo>
                  <a:lnTo>
                    <a:pt x="1626" y="676"/>
                  </a:lnTo>
                  <a:lnTo>
                    <a:pt x="1628" y="676"/>
                  </a:lnTo>
                  <a:lnTo>
                    <a:pt x="1628" y="676"/>
                  </a:lnTo>
                  <a:lnTo>
                    <a:pt x="1630" y="680"/>
                  </a:lnTo>
                  <a:lnTo>
                    <a:pt x="1630" y="678"/>
                  </a:lnTo>
                  <a:lnTo>
                    <a:pt x="1630" y="678"/>
                  </a:lnTo>
                  <a:lnTo>
                    <a:pt x="1632" y="678"/>
                  </a:lnTo>
                  <a:lnTo>
                    <a:pt x="1632" y="678"/>
                  </a:lnTo>
                  <a:lnTo>
                    <a:pt x="1632" y="678"/>
                  </a:lnTo>
                  <a:lnTo>
                    <a:pt x="1632" y="678"/>
                  </a:lnTo>
                  <a:lnTo>
                    <a:pt x="1634" y="678"/>
                  </a:lnTo>
                  <a:lnTo>
                    <a:pt x="1634" y="678"/>
                  </a:lnTo>
                  <a:lnTo>
                    <a:pt x="1634" y="678"/>
                  </a:lnTo>
                  <a:lnTo>
                    <a:pt x="1636" y="680"/>
                  </a:lnTo>
                  <a:lnTo>
                    <a:pt x="1636" y="682"/>
                  </a:lnTo>
                  <a:lnTo>
                    <a:pt x="1638" y="684"/>
                  </a:lnTo>
                  <a:lnTo>
                    <a:pt x="1641" y="684"/>
                  </a:lnTo>
                  <a:lnTo>
                    <a:pt x="1645" y="682"/>
                  </a:lnTo>
                  <a:lnTo>
                    <a:pt x="1647" y="682"/>
                  </a:lnTo>
                  <a:lnTo>
                    <a:pt x="1649" y="682"/>
                  </a:lnTo>
                  <a:lnTo>
                    <a:pt x="1649" y="682"/>
                  </a:lnTo>
                  <a:lnTo>
                    <a:pt x="1649" y="680"/>
                  </a:lnTo>
                  <a:lnTo>
                    <a:pt x="1651" y="680"/>
                  </a:lnTo>
                  <a:lnTo>
                    <a:pt x="1651" y="680"/>
                  </a:lnTo>
                  <a:lnTo>
                    <a:pt x="1651" y="680"/>
                  </a:lnTo>
                  <a:lnTo>
                    <a:pt x="1651" y="682"/>
                  </a:lnTo>
                  <a:lnTo>
                    <a:pt x="1649" y="682"/>
                  </a:lnTo>
                  <a:lnTo>
                    <a:pt x="1649" y="684"/>
                  </a:lnTo>
                  <a:lnTo>
                    <a:pt x="1649" y="684"/>
                  </a:lnTo>
                  <a:lnTo>
                    <a:pt x="1645" y="684"/>
                  </a:lnTo>
                  <a:lnTo>
                    <a:pt x="1643" y="684"/>
                  </a:lnTo>
                  <a:lnTo>
                    <a:pt x="1641" y="687"/>
                  </a:lnTo>
                  <a:lnTo>
                    <a:pt x="1638" y="689"/>
                  </a:lnTo>
                  <a:lnTo>
                    <a:pt x="1638" y="689"/>
                  </a:lnTo>
                  <a:lnTo>
                    <a:pt x="1641" y="693"/>
                  </a:lnTo>
                  <a:lnTo>
                    <a:pt x="1643" y="695"/>
                  </a:lnTo>
                  <a:lnTo>
                    <a:pt x="1643" y="697"/>
                  </a:lnTo>
                  <a:lnTo>
                    <a:pt x="1643" y="697"/>
                  </a:lnTo>
                  <a:lnTo>
                    <a:pt x="1643" y="697"/>
                  </a:lnTo>
                  <a:lnTo>
                    <a:pt x="1643" y="699"/>
                  </a:lnTo>
                  <a:lnTo>
                    <a:pt x="1643" y="699"/>
                  </a:lnTo>
                  <a:lnTo>
                    <a:pt x="1641" y="699"/>
                  </a:lnTo>
                  <a:lnTo>
                    <a:pt x="1641" y="699"/>
                  </a:lnTo>
                  <a:lnTo>
                    <a:pt x="1641" y="701"/>
                  </a:lnTo>
                  <a:lnTo>
                    <a:pt x="1641" y="701"/>
                  </a:lnTo>
                  <a:lnTo>
                    <a:pt x="1641" y="701"/>
                  </a:lnTo>
                  <a:lnTo>
                    <a:pt x="1641" y="703"/>
                  </a:lnTo>
                  <a:lnTo>
                    <a:pt x="1641" y="703"/>
                  </a:lnTo>
                  <a:lnTo>
                    <a:pt x="1641" y="705"/>
                  </a:lnTo>
                  <a:lnTo>
                    <a:pt x="1641" y="705"/>
                  </a:lnTo>
                  <a:lnTo>
                    <a:pt x="1643" y="705"/>
                  </a:lnTo>
                  <a:lnTo>
                    <a:pt x="1643" y="707"/>
                  </a:lnTo>
                  <a:lnTo>
                    <a:pt x="1643" y="707"/>
                  </a:lnTo>
                  <a:lnTo>
                    <a:pt x="1643" y="707"/>
                  </a:lnTo>
                  <a:lnTo>
                    <a:pt x="1641" y="707"/>
                  </a:lnTo>
                  <a:lnTo>
                    <a:pt x="1638" y="707"/>
                  </a:lnTo>
                  <a:lnTo>
                    <a:pt x="1638" y="709"/>
                  </a:lnTo>
                  <a:lnTo>
                    <a:pt x="1638" y="709"/>
                  </a:lnTo>
                  <a:lnTo>
                    <a:pt x="1641" y="711"/>
                  </a:lnTo>
                  <a:lnTo>
                    <a:pt x="1641" y="711"/>
                  </a:lnTo>
                  <a:lnTo>
                    <a:pt x="1641" y="711"/>
                  </a:lnTo>
                  <a:lnTo>
                    <a:pt x="1638" y="711"/>
                  </a:lnTo>
                  <a:lnTo>
                    <a:pt x="1638" y="711"/>
                  </a:lnTo>
                  <a:lnTo>
                    <a:pt x="1636" y="711"/>
                  </a:lnTo>
                  <a:lnTo>
                    <a:pt x="1638" y="711"/>
                  </a:lnTo>
                  <a:lnTo>
                    <a:pt x="1638" y="713"/>
                  </a:lnTo>
                  <a:lnTo>
                    <a:pt x="1638" y="713"/>
                  </a:lnTo>
                  <a:lnTo>
                    <a:pt x="1641" y="713"/>
                  </a:lnTo>
                  <a:lnTo>
                    <a:pt x="1643" y="717"/>
                  </a:lnTo>
                  <a:lnTo>
                    <a:pt x="1643" y="719"/>
                  </a:lnTo>
                  <a:lnTo>
                    <a:pt x="1645" y="719"/>
                  </a:lnTo>
                  <a:lnTo>
                    <a:pt x="1649" y="721"/>
                  </a:lnTo>
                  <a:lnTo>
                    <a:pt x="1651" y="721"/>
                  </a:lnTo>
                  <a:lnTo>
                    <a:pt x="1651" y="721"/>
                  </a:lnTo>
                  <a:lnTo>
                    <a:pt x="1651" y="721"/>
                  </a:lnTo>
                  <a:lnTo>
                    <a:pt x="1651" y="719"/>
                  </a:lnTo>
                  <a:lnTo>
                    <a:pt x="1651" y="719"/>
                  </a:lnTo>
                  <a:lnTo>
                    <a:pt x="1651" y="719"/>
                  </a:lnTo>
                  <a:lnTo>
                    <a:pt x="1651" y="719"/>
                  </a:lnTo>
                  <a:lnTo>
                    <a:pt x="1651" y="717"/>
                  </a:lnTo>
                  <a:lnTo>
                    <a:pt x="1651" y="717"/>
                  </a:lnTo>
                  <a:lnTo>
                    <a:pt x="1649" y="717"/>
                  </a:lnTo>
                  <a:lnTo>
                    <a:pt x="1649" y="717"/>
                  </a:lnTo>
                  <a:lnTo>
                    <a:pt x="1649" y="715"/>
                  </a:lnTo>
                  <a:lnTo>
                    <a:pt x="1649" y="715"/>
                  </a:lnTo>
                  <a:lnTo>
                    <a:pt x="1649" y="715"/>
                  </a:lnTo>
                  <a:lnTo>
                    <a:pt x="1649" y="715"/>
                  </a:lnTo>
                  <a:lnTo>
                    <a:pt x="1649" y="715"/>
                  </a:lnTo>
                  <a:lnTo>
                    <a:pt x="1649" y="715"/>
                  </a:lnTo>
                  <a:lnTo>
                    <a:pt x="1647" y="713"/>
                  </a:lnTo>
                  <a:lnTo>
                    <a:pt x="1647" y="713"/>
                  </a:lnTo>
                  <a:lnTo>
                    <a:pt x="1651" y="715"/>
                  </a:lnTo>
                  <a:lnTo>
                    <a:pt x="1651" y="715"/>
                  </a:lnTo>
                  <a:lnTo>
                    <a:pt x="1651" y="715"/>
                  </a:lnTo>
                  <a:lnTo>
                    <a:pt x="1651" y="715"/>
                  </a:lnTo>
                  <a:lnTo>
                    <a:pt x="1651" y="713"/>
                  </a:lnTo>
                  <a:lnTo>
                    <a:pt x="1651" y="711"/>
                  </a:lnTo>
                  <a:lnTo>
                    <a:pt x="1651" y="709"/>
                  </a:lnTo>
                  <a:lnTo>
                    <a:pt x="1649" y="709"/>
                  </a:lnTo>
                  <a:lnTo>
                    <a:pt x="1651" y="709"/>
                  </a:lnTo>
                  <a:lnTo>
                    <a:pt x="1651" y="709"/>
                  </a:lnTo>
                  <a:lnTo>
                    <a:pt x="1651" y="707"/>
                  </a:lnTo>
                  <a:lnTo>
                    <a:pt x="1651" y="707"/>
                  </a:lnTo>
                  <a:lnTo>
                    <a:pt x="1651" y="705"/>
                  </a:lnTo>
                  <a:lnTo>
                    <a:pt x="1651" y="705"/>
                  </a:lnTo>
                  <a:lnTo>
                    <a:pt x="1651" y="703"/>
                  </a:lnTo>
                  <a:lnTo>
                    <a:pt x="1651" y="703"/>
                  </a:lnTo>
                  <a:lnTo>
                    <a:pt x="1649" y="703"/>
                  </a:lnTo>
                  <a:lnTo>
                    <a:pt x="1647" y="703"/>
                  </a:lnTo>
                  <a:lnTo>
                    <a:pt x="1645" y="703"/>
                  </a:lnTo>
                  <a:lnTo>
                    <a:pt x="1647" y="703"/>
                  </a:lnTo>
                  <a:lnTo>
                    <a:pt x="1647" y="703"/>
                  </a:lnTo>
                  <a:lnTo>
                    <a:pt x="1647" y="703"/>
                  </a:lnTo>
                  <a:lnTo>
                    <a:pt x="1647" y="701"/>
                  </a:lnTo>
                  <a:lnTo>
                    <a:pt x="1647" y="701"/>
                  </a:lnTo>
                  <a:lnTo>
                    <a:pt x="1647" y="701"/>
                  </a:lnTo>
                  <a:lnTo>
                    <a:pt x="1649" y="701"/>
                  </a:lnTo>
                  <a:lnTo>
                    <a:pt x="1649" y="701"/>
                  </a:lnTo>
                  <a:lnTo>
                    <a:pt x="1649" y="701"/>
                  </a:lnTo>
                  <a:lnTo>
                    <a:pt x="1651" y="699"/>
                  </a:lnTo>
                  <a:lnTo>
                    <a:pt x="1651" y="699"/>
                  </a:lnTo>
                  <a:lnTo>
                    <a:pt x="1651" y="699"/>
                  </a:lnTo>
                  <a:lnTo>
                    <a:pt x="1651" y="699"/>
                  </a:lnTo>
                  <a:lnTo>
                    <a:pt x="1651" y="697"/>
                  </a:lnTo>
                  <a:lnTo>
                    <a:pt x="1653" y="697"/>
                  </a:lnTo>
                  <a:lnTo>
                    <a:pt x="1653" y="697"/>
                  </a:lnTo>
                  <a:lnTo>
                    <a:pt x="1653" y="697"/>
                  </a:lnTo>
                  <a:lnTo>
                    <a:pt x="1653" y="697"/>
                  </a:lnTo>
                  <a:lnTo>
                    <a:pt x="1653" y="697"/>
                  </a:lnTo>
                  <a:lnTo>
                    <a:pt x="1653" y="695"/>
                  </a:lnTo>
                  <a:lnTo>
                    <a:pt x="1653" y="695"/>
                  </a:lnTo>
                  <a:lnTo>
                    <a:pt x="1655" y="693"/>
                  </a:lnTo>
                  <a:lnTo>
                    <a:pt x="1655" y="693"/>
                  </a:lnTo>
                  <a:lnTo>
                    <a:pt x="1655" y="693"/>
                  </a:lnTo>
                  <a:lnTo>
                    <a:pt x="1657" y="691"/>
                  </a:lnTo>
                  <a:lnTo>
                    <a:pt x="1657" y="691"/>
                  </a:lnTo>
                  <a:lnTo>
                    <a:pt x="1657" y="691"/>
                  </a:lnTo>
                  <a:lnTo>
                    <a:pt x="1659" y="693"/>
                  </a:lnTo>
                  <a:lnTo>
                    <a:pt x="1659" y="693"/>
                  </a:lnTo>
                  <a:lnTo>
                    <a:pt x="1659" y="691"/>
                  </a:lnTo>
                  <a:lnTo>
                    <a:pt x="1661" y="691"/>
                  </a:lnTo>
                  <a:lnTo>
                    <a:pt x="1661" y="691"/>
                  </a:lnTo>
                  <a:lnTo>
                    <a:pt x="1663" y="689"/>
                  </a:lnTo>
                  <a:lnTo>
                    <a:pt x="1663" y="687"/>
                  </a:lnTo>
                  <a:lnTo>
                    <a:pt x="1663" y="687"/>
                  </a:lnTo>
                  <a:lnTo>
                    <a:pt x="1663" y="687"/>
                  </a:lnTo>
                  <a:lnTo>
                    <a:pt x="1663" y="684"/>
                  </a:lnTo>
                  <a:lnTo>
                    <a:pt x="1665" y="684"/>
                  </a:lnTo>
                  <a:lnTo>
                    <a:pt x="1665" y="682"/>
                  </a:lnTo>
                  <a:lnTo>
                    <a:pt x="1665" y="682"/>
                  </a:lnTo>
                  <a:lnTo>
                    <a:pt x="1665" y="684"/>
                  </a:lnTo>
                  <a:lnTo>
                    <a:pt x="1665" y="684"/>
                  </a:lnTo>
                  <a:lnTo>
                    <a:pt x="1665" y="684"/>
                  </a:lnTo>
                  <a:lnTo>
                    <a:pt x="1665" y="684"/>
                  </a:lnTo>
                  <a:lnTo>
                    <a:pt x="1663" y="687"/>
                  </a:lnTo>
                  <a:lnTo>
                    <a:pt x="1663" y="689"/>
                  </a:lnTo>
                  <a:lnTo>
                    <a:pt x="1663" y="691"/>
                  </a:lnTo>
                  <a:lnTo>
                    <a:pt x="1663" y="691"/>
                  </a:lnTo>
                  <a:lnTo>
                    <a:pt x="1665" y="691"/>
                  </a:lnTo>
                  <a:lnTo>
                    <a:pt x="1665" y="691"/>
                  </a:lnTo>
                  <a:lnTo>
                    <a:pt x="1665" y="691"/>
                  </a:lnTo>
                  <a:lnTo>
                    <a:pt x="1665" y="691"/>
                  </a:lnTo>
                  <a:lnTo>
                    <a:pt x="1665" y="693"/>
                  </a:lnTo>
                  <a:lnTo>
                    <a:pt x="1665" y="693"/>
                  </a:lnTo>
                  <a:lnTo>
                    <a:pt x="1667" y="693"/>
                  </a:lnTo>
                  <a:lnTo>
                    <a:pt x="1669" y="693"/>
                  </a:lnTo>
                  <a:lnTo>
                    <a:pt x="1671" y="695"/>
                  </a:lnTo>
                  <a:lnTo>
                    <a:pt x="1671" y="697"/>
                  </a:lnTo>
                  <a:lnTo>
                    <a:pt x="1671" y="697"/>
                  </a:lnTo>
                  <a:lnTo>
                    <a:pt x="1671" y="697"/>
                  </a:lnTo>
                  <a:lnTo>
                    <a:pt x="1671" y="697"/>
                  </a:lnTo>
                  <a:lnTo>
                    <a:pt x="1673" y="697"/>
                  </a:lnTo>
                  <a:lnTo>
                    <a:pt x="1673" y="695"/>
                  </a:lnTo>
                  <a:lnTo>
                    <a:pt x="1673" y="695"/>
                  </a:lnTo>
                  <a:lnTo>
                    <a:pt x="1673" y="695"/>
                  </a:lnTo>
                  <a:lnTo>
                    <a:pt x="1673" y="697"/>
                  </a:lnTo>
                  <a:lnTo>
                    <a:pt x="1673" y="697"/>
                  </a:lnTo>
                  <a:lnTo>
                    <a:pt x="1673" y="697"/>
                  </a:lnTo>
                  <a:lnTo>
                    <a:pt x="1675" y="699"/>
                  </a:lnTo>
                  <a:lnTo>
                    <a:pt x="1675" y="699"/>
                  </a:lnTo>
                  <a:lnTo>
                    <a:pt x="1675" y="699"/>
                  </a:lnTo>
                  <a:lnTo>
                    <a:pt x="1675" y="701"/>
                  </a:lnTo>
                  <a:lnTo>
                    <a:pt x="1677" y="701"/>
                  </a:lnTo>
                  <a:lnTo>
                    <a:pt x="1675" y="701"/>
                  </a:lnTo>
                  <a:lnTo>
                    <a:pt x="1675" y="701"/>
                  </a:lnTo>
                  <a:lnTo>
                    <a:pt x="1677" y="703"/>
                  </a:lnTo>
                  <a:lnTo>
                    <a:pt x="1677" y="703"/>
                  </a:lnTo>
                  <a:lnTo>
                    <a:pt x="1677" y="705"/>
                  </a:lnTo>
                  <a:lnTo>
                    <a:pt x="1679" y="707"/>
                  </a:lnTo>
                  <a:lnTo>
                    <a:pt x="1679" y="709"/>
                  </a:lnTo>
                  <a:lnTo>
                    <a:pt x="1681" y="713"/>
                  </a:lnTo>
                  <a:lnTo>
                    <a:pt x="1684" y="717"/>
                  </a:lnTo>
                  <a:lnTo>
                    <a:pt x="1684" y="719"/>
                  </a:lnTo>
                  <a:lnTo>
                    <a:pt x="1686" y="719"/>
                  </a:lnTo>
                  <a:lnTo>
                    <a:pt x="1688" y="717"/>
                  </a:lnTo>
                  <a:lnTo>
                    <a:pt x="1688" y="717"/>
                  </a:lnTo>
                  <a:lnTo>
                    <a:pt x="1690" y="715"/>
                  </a:lnTo>
                  <a:lnTo>
                    <a:pt x="1690" y="715"/>
                  </a:lnTo>
                  <a:lnTo>
                    <a:pt x="1690" y="715"/>
                  </a:lnTo>
                  <a:lnTo>
                    <a:pt x="1690" y="717"/>
                  </a:lnTo>
                  <a:lnTo>
                    <a:pt x="1690" y="717"/>
                  </a:lnTo>
                  <a:lnTo>
                    <a:pt x="1692" y="717"/>
                  </a:lnTo>
                  <a:lnTo>
                    <a:pt x="1692" y="717"/>
                  </a:lnTo>
                  <a:lnTo>
                    <a:pt x="1692" y="717"/>
                  </a:lnTo>
                  <a:lnTo>
                    <a:pt x="1684" y="721"/>
                  </a:lnTo>
                  <a:lnTo>
                    <a:pt x="1684" y="721"/>
                  </a:lnTo>
                  <a:lnTo>
                    <a:pt x="1684" y="721"/>
                  </a:lnTo>
                  <a:lnTo>
                    <a:pt x="1681" y="721"/>
                  </a:lnTo>
                  <a:lnTo>
                    <a:pt x="1681" y="723"/>
                  </a:lnTo>
                  <a:lnTo>
                    <a:pt x="1681" y="723"/>
                  </a:lnTo>
                  <a:lnTo>
                    <a:pt x="1681" y="723"/>
                  </a:lnTo>
                  <a:lnTo>
                    <a:pt x="1681" y="723"/>
                  </a:lnTo>
                  <a:lnTo>
                    <a:pt x="1681" y="728"/>
                  </a:lnTo>
                  <a:lnTo>
                    <a:pt x="1681" y="728"/>
                  </a:lnTo>
                  <a:lnTo>
                    <a:pt x="1681" y="730"/>
                  </a:lnTo>
                  <a:lnTo>
                    <a:pt x="1681" y="730"/>
                  </a:lnTo>
                  <a:lnTo>
                    <a:pt x="1684" y="732"/>
                  </a:lnTo>
                  <a:lnTo>
                    <a:pt x="1684" y="732"/>
                  </a:lnTo>
                  <a:lnTo>
                    <a:pt x="1684" y="732"/>
                  </a:lnTo>
                  <a:lnTo>
                    <a:pt x="1686" y="732"/>
                  </a:lnTo>
                  <a:lnTo>
                    <a:pt x="1688" y="730"/>
                  </a:lnTo>
                  <a:lnTo>
                    <a:pt x="1688" y="730"/>
                  </a:lnTo>
                  <a:lnTo>
                    <a:pt x="1688" y="728"/>
                  </a:lnTo>
                  <a:lnTo>
                    <a:pt x="1688" y="728"/>
                  </a:lnTo>
                  <a:lnTo>
                    <a:pt x="1688" y="728"/>
                  </a:lnTo>
                  <a:lnTo>
                    <a:pt x="1690" y="728"/>
                  </a:lnTo>
                  <a:lnTo>
                    <a:pt x="1690" y="728"/>
                  </a:lnTo>
                  <a:lnTo>
                    <a:pt x="1690" y="730"/>
                  </a:lnTo>
                  <a:lnTo>
                    <a:pt x="1690" y="730"/>
                  </a:lnTo>
                  <a:lnTo>
                    <a:pt x="1692" y="730"/>
                  </a:lnTo>
                  <a:lnTo>
                    <a:pt x="1692" y="725"/>
                  </a:lnTo>
                  <a:lnTo>
                    <a:pt x="1692" y="723"/>
                  </a:lnTo>
                  <a:lnTo>
                    <a:pt x="1694" y="721"/>
                  </a:lnTo>
                  <a:lnTo>
                    <a:pt x="1694" y="721"/>
                  </a:lnTo>
                  <a:lnTo>
                    <a:pt x="1694" y="717"/>
                  </a:lnTo>
                  <a:lnTo>
                    <a:pt x="1694" y="717"/>
                  </a:lnTo>
                  <a:lnTo>
                    <a:pt x="1694" y="715"/>
                  </a:lnTo>
                  <a:lnTo>
                    <a:pt x="1694" y="715"/>
                  </a:lnTo>
                  <a:lnTo>
                    <a:pt x="1694" y="715"/>
                  </a:lnTo>
                  <a:lnTo>
                    <a:pt x="1694" y="715"/>
                  </a:lnTo>
                  <a:lnTo>
                    <a:pt x="1696" y="713"/>
                  </a:lnTo>
                  <a:lnTo>
                    <a:pt x="1696" y="715"/>
                  </a:lnTo>
                  <a:lnTo>
                    <a:pt x="1694" y="721"/>
                  </a:lnTo>
                  <a:lnTo>
                    <a:pt x="1692" y="723"/>
                  </a:lnTo>
                  <a:lnTo>
                    <a:pt x="1692" y="725"/>
                  </a:lnTo>
                  <a:lnTo>
                    <a:pt x="1692" y="728"/>
                  </a:lnTo>
                  <a:lnTo>
                    <a:pt x="1692" y="728"/>
                  </a:lnTo>
                  <a:lnTo>
                    <a:pt x="1692" y="730"/>
                  </a:lnTo>
                  <a:lnTo>
                    <a:pt x="1692" y="730"/>
                  </a:lnTo>
                  <a:lnTo>
                    <a:pt x="1692" y="730"/>
                  </a:lnTo>
                  <a:lnTo>
                    <a:pt x="1692" y="730"/>
                  </a:lnTo>
                  <a:lnTo>
                    <a:pt x="1692" y="730"/>
                  </a:lnTo>
                  <a:lnTo>
                    <a:pt x="1690" y="730"/>
                  </a:lnTo>
                  <a:lnTo>
                    <a:pt x="1690" y="730"/>
                  </a:lnTo>
                  <a:lnTo>
                    <a:pt x="1690" y="730"/>
                  </a:lnTo>
                  <a:lnTo>
                    <a:pt x="1690" y="730"/>
                  </a:lnTo>
                  <a:lnTo>
                    <a:pt x="1690" y="730"/>
                  </a:lnTo>
                  <a:lnTo>
                    <a:pt x="1688" y="730"/>
                  </a:lnTo>
                  <a:lnTo>
                    <a:pt x="1688" y="730"/>
                  </a:lnTo>
                  <a:lnTo>
                    <a:pt x="1688" y="732"/>
                  </a:lnTo>
                  <a:lnTo>
                    <a:pt x="1686" y="732"/>
                  </a:lnTo>
                  <a:lnTo>
                    <a:pt x="1686" y="732"/>
                  </a:lnTo>
                  <a:lnTo>
                    <a:pt x="1686" y="734"/>
                  </a:lnTo>
                  <a:lnTo>
                    <a:pt x="1686" y="736"/>
                  </a:lnTo>
                  <a:lnTo>
                    <a:pt x="1686" y="736"/>
                  </a:lnTo>
                  <a:lnTo>
                    <a:pt x="1686" y="736"/>
                  </a:lnTo>
                  <a:lnTo>
                    <a:pt x="1686" y="736"/>
                  </a:lnTo>
                  <a:lnTo>
                    <a:pt x="1686" y="736"/>
                  </a:lnTo>
                  <a:lnTo>
                    <a:pt x="1688" y="736"/>
                  </a:lnTo>
                  <a:lnTo>
                    <a:pt x="1688" y="738"/>
                  </a:lnTo>
                  <a:lnTo>
                    <a:pt x="1688" y="738"/>
                  </a:lnTo>
                  <a:lnTo>
                    <a:pt x="1690" y="738"/>
                  </a:lnTo>
                  <a:lnTo>
                    <a:pt x="1690" y="740"/>
                  </a:lnTo>
                  <a:lnTo>
                    <a:pt x="1688" y="740"/>
                  </a:lnTo>
                  <a:lnTo>
                    <a:pt x="1688" y="740"/>
                  </a:lnTo>
                  <a:lnTo>
                    <a:pt x="1690" y="740"/>
                  </a:lnTo>
                  <a:lnTo>
                    <a:pt x="1690" y="742"/>
                  </a:lnTo>
                  <a:lnTo>
                    <a:pt x="1690" y="742"/>
                  </a:lnTo>
                  <a:lnTo>
                    <a:pt x="1690" y="742"/>
                  </a:lnTo>
                  <a:lnTo>
                    <a:pt x="1690" y="742"/>
                  </a:lnTo>
                  <a:lnTo>
                    <a:pt x="1690" y="744"/>
                  </a:lnTo>
                  <a:lnTo>
                    <a:pt x="1692" y="744"/>
                  </a:lnTo>
                  <a:lnTo>
                    <a:pt x="1694" y="746"/>
                  </a:lnTo>
                  <a:lnTo>
                    <a:pt x="1694" y="746"/>
                  </a:lnTo>
                  <a:lnTo>
                    <a:pt x="1696" y="744"/>
                  </a:lnTo>
                  <a:lnTo>
                    <a:pt x="1696" y="744"/>
                  </a:lnTo>
                  <a:lnTo>
                    <a:pt x="1696" y="742"/>
                  </a:lnTo>
                  <a:lnTo>
                    <a:pt x="1696" y="742"/>
                  </a:lnTo>
                  <a:lnTo>
                    <a:pt x="1696" y="742"/>
                  </a:lnTo>
                  <a:lnTo>
                    <a:pt x="1696" y="742"/>
                  </a:lnTo>
                  <a:lnTo>
                    <a:pt x="1696" y="742"/>
                  </a:lnTo>
                  <a:lnTo>
                    <a:pt x="1696" y="740"/>
                  </a:lnTo>
                  <a:lnTo>
                    <a:pt x="1696" y="740"/>
                  </a:lnTo>
                  <a:lnTo>
                    <a:pt x="1696" y="740"/>
                  </a:lnTo>
                  <a:lnTo>
                    <a:pt x="1694" y="738"/>
                  </a:lnTo>
                  <a:lnTo>
                    <a:pt x="1694" y="736"/>
                  </a:lnTo>
                  <a:lnTo>
                    <a:pt x="1694" y="736"/>
                  </a:lnTo>
                  <a:lnTo>
                    <a:pt x="1694" y="736"/>
                  </a:lnTo>
                  <a:lnTo>
                    <a:pt x="1694" y="736"/>
                  </a:lnTo>
                  <a:lnTo>
                    <a:pt x="1694" y="736"/>
                  </a:lnTo>
                  <a:lnTo>
                    <a:pt x="1694" y="736"/>
                  </a:lnTo>
                  <a:lnTo>
                    <a:pt x="1696" y="738"/>
                  </a:lnTo>
                  <a:lnTo>
                    <a:pt x="1696" y="738"/>
                  </a:lnTo>
                  <a:lnTo>
                    <a:pt x="1696" y="738"/>
                  </a:lnTo>
                  <a:lnTo>
                    <a:pt x="1696" y="740"/>
                  </a:lnTo>
                  <a:lnTo>
                    <a:pt x="1696" y="740"/>
                  </a:lnTo>
                  <a:lnTo>
                    <a:pt x="1698" y="740"/>
                  </a:lnTo>
                  <a:lnTo>
                    <a:pt x="1698" y="742"/>
                  </a:lnTo>
                  <a:lnTo>
                    <a:pt x="1698" y="742"/>
                  </a:lnTo>
                  <a:lnTo>
                    <a:pt x="1698" y="742"/>
                  </a:lnTo>
                  <a:lnTo>
                    <a:pt x="1698" y="744"/>
                  </a:lnTo>
                  <a:lnTo>
                    <a:pt x="1698" y="744"/>
                  </a:lnTo>
                  <a:lnTo>
                    <a:pt x="1698" y="744"/>
                  </a:lnTo>
                  <a:lnTo>
                    <a:pt x="1698" y="744"/>
                  </a:lnTo>
                  <a:lnTo>
                    <a:pt x="1698" y="744"/>
                  </a:lnTo>
                  <a:lnTo>
                    <a:pt x="1698" y="744"/>
                  </a:lnTo>
                  <a:lnTo>
                    <a:pt x="1700" y="744"/>
                  </a:lnTo>
                  <a:lnTo>
                    <a:pt x="1700" y="740"/>
                  </a:lnTo>
                  <a:lnTo>
                    <a:pt x="1700" y="740"/>
                  </a:lnTo>
                  <a:lnTo>
                    <a:pt x="1700" y="738"/>
                  </a:lnTo>
                  <a:lnTo>
                    <a:pt x="1700" y="738"/>
                  </a:lnTo>
                  <a:lnTo>
                    <a:pt x="1700" y="738"/>
                  </a:lnTo>
                  <a:lnTo>
                    <a:pt x="1700" y="740"/>
                  </a:lnTo>
                  <a:lnTo>
                    <a:pt x="1700" y="742"/>
                  </a:lnTo>
                  <a:lnTo>
                    <a:pt x="1700" y="742"/>
                  </a:lnTo>
                  <a:lnTo>
                    <a:pt x="1702" y="742"/>
                  </a:lnTo>
                  <a:lnTo>
                    <a:pt x="1702" y="738"/>
                  </a:lnTo>
                  <a:lnTo>
                    <a:pt x="1704" y="736"/>
                  </a:lnTo>
                  <a:lnTo>
                    <a:pt x="1704" y="734"/>
                  </a:lnTo>
                  <a:lnTo>
                    <a:pt x="1706" y="734"/>
                  </a:lnTo>
                  <a:lnTo>
                    <a:pt x="1706" y="732"/>
                  </a:lnTo>
                  <a:lnTo>
                    <a:pt x="1706" y="732"/>
                  </a:lnTo>
                  <a:lnTo>
                    <a:pt x="1706" y="730"/>
                  </a:lnTo>
                  <a:lnTo>
                    <a:pt x="1706" y="730"/>
                  </a:lnTo>
                  <a:lnTo>
                    <a:pt x="1706" y="728"/>
                  </a:lnTo>
                  <a:lnTo>
                    <a:pt x="1706" y="728"/>
                  </a:lnTo>
                  <a:lnTo>
                    <a:pt x="1706" y="728"/>
                  </a:lnTo>
                  <a:lnTo>
                    <a:pt x="1706" y="725"/>
                  </a:lnTo>
                  <a:lnTo>
                    <a:pt x="1706" y="725"/>
                  </a:lnTo>
                  <a:lnTo>
                    <a:pt x="1706" y="723"/>
                  </a:lnTo>
                  <a:lnTo>
                    <a:pt x="1706" y="723"/>
                  </a:lnTo>
                  <a:lnTo>
                    <a:pt x="1706" y="721"/>
                  </a:lnTo>
                  <a:lnTo>
                    <a:pt x="1706" y="721"/>
                  </a:lnTo>
                  <a:lnTo>
                    <a:pt x="1706" y="719"/>
                  </a:lnTo>
                  <a:lnTo>
                    <a:pt x="1706" y="719"/>
                  </a:lnTo>
                  <a:lnTo>
                    <a:pt x="1706" y="717"/>
                  </a:lnTo>
                  <a:lnTo>
                    <a:pt x="1706" y="717"/>
                  </a:lnTo>
                  <a:lnTo>
                    <a:pt x="1706" y="717"/>
                  </a:lnTo>
                  <a:lnTo>
                    <a:pt x="1706" y="717"/>
                  </a:lnTo>
                  <a:lnTo>
                    <a:pt x="1706" y="715"/>
                  </a:lnTo>
                  <a:lnTo>
                    <a:pt x="1706" y="715"/>
                  </a:lnTo>
                  <a:lnTo>
                    <a:pt x="1708" y="715"/>
                  </a:lnTo>
                  <a:lnTo>
                    <a:pt x="1708" y="715"/>
                  </a:lnTo>
                  <a:lnTo>
                    <a:pt x="1708" y="713"/>
                  </a:lnTo>
                  <a:lnTo>
                    <a:pt x="1708" y="713"/>
                  </a:lnTo>
                  <a:lnTo>
                    <a:pt x="1708" y="711"/>
                  </a:lnTo>
                  <a:lnTo>
                    <a:pt x="1706" y="709"/>
                  </a:lnTo>
                  <a:close/>
                  <a:moveTo>
                    <a:pt x="1681" y="742"/>
                  </a:moveTo>
                  <a:lnTo>
                    <a:pt x="1679" y="742"/>
                  </a:lnTo>
                  <a:lnTo>
                    <a:pt x="1679" y="742"/>
                  </a:lnTo>
                  <a:lnTo>
                    <a:pt x="1679" y="740"/>
                  </a:lnTo>
                  <a:lnTo>
                    <a:pt x="1679" y="740"/>
                  </a:lnTo>
                  <a:lnTo>
                    <a:pt x="1679" y="740"/>
                  </a:lnTo>
                  <a:lnTo>
                    <a:pt x="1679" y="740"/>
                  </a:lnTo>
                  <a:lnTo>
                    <a:pt x="1679" y="738"/>
                  </a:lnTo>
                  <a:lnTo>
                    <a:pt x="1677" y="738"/>
                  </a:lnTo>
                  <a:lnTo>
                    <a:pt x="1677" y="742"/>
                  </a:lnTo>
                  <a:lnTo>
                    <a:pt x="1675" y="740"/>
                  </a:lnTo>
                  <a:lnTo>
                    <a:pt x="1675" y="742"/>
                  </a:lnTo>
                  <a:lnTo>
                    <a:pt x="1675" y="742"/>
                  </a:lnTo>
                  <a:lnTo>
                    <a:pt x="1673" y="742"/>
                  </a:lnTo>
                  <a:lnTo>
                    <a:pt x="1673" y="744"/>
                  </a:lnTo>
                  <a:lnTo>
                    <a:pt x="1673" y="744"/>
                  </a:lnTo>
                  <a:lnTo>
                    <a:pt x="1673" y="744"/>
                  </a:lnTo>
                  <a:lnTo>
                    <a:pt x="1675" y="744"/>
                  </a:lnTo>
                  <a:lnTo>
                    <a:pt x="1675" y="744"/>
                  </a:lnTo>
                  <a:lnTo>
                    <a:pt x="1677" y="746"/>
                  </a:lnTo>
                  <a:lnTo>
                    <a:pt x="1677" y="746"/>
                  </a:lnTo>
                  <a:lnTo>
                    <a:pt x="1677" y="746"/>
                  </a:lnTo>
                  <a:lnTo>
                    <a:pt x="1677" y="746"/>
                  </a:lnTo>
                  <a:lnTo>
                    <a:pt x="1679" y="746"/>
                  </a:lnTo>
                  <a:lnTo>
                    <a:pt x="1679" y="746"/>
                  </a:lnTo>
                  <a:lnTo>
                    <a:pt x="1679" y="744"/>
                  </a:lnTo>
                  <a:lnTo>
                    <a:pt x="1679" y="744"/>
                  </a:lnTo>
                  <a:lnTo>
                    <a:pt x="1681" y="744"/>
                  </a:lnTo>
                  <a:lnTo>
                    <a:pt x="1681" y="744"/>
                  </a:lnTo>
                  <a:lnTo>
                    <a:pt x="1681" y="742"/>
                  </a:lnTo>
                  <a:lnTo>
                    <a:pt x="1681" y="742"/>
                  </a:lnTo>
                  <a:lnTo>
                    <a:pt x="1681" y="742"/>
                  </a:lnTo>
                  <a:lnTo>
                    <a:pt x="1681" y="742"/>
                  </a:lnTo>
                  <a:close/>
                  <a:moveTo>
                    <a:pt x="1675" y="740"/>
                  </a:moveTo>
                  <a:lnTo>
                    <a:pt x="1675" y="738"/>
                  </a:lnTo>
                  <a:lnTo>
                    <a:pt x="1675" y="736"/>
                  </a:lnTo>
                  <a:lnTo>
                    <a:pt x="1675" y="736"/>
                  </a:lnTo>
                  <a:lnTo>
                    <a:pt x="1675" y="736"/>
                  </a:lnTo>
                  <a:lnTo>
                    <a:pt x="1673" y="736"/>
                  </a:lnTo>
                  <a:lnTo>
                    <a:pt x="1673" y="736"/>
                  </a:lnTo>
                  <a:lnTo>
                    <a:pt x="1673" y="734"/>
                  </a:lnTo>
                  <a:lnTo>
                    <a:pt x="1673" y="734"/>
                  </a:lnTo>
                  <a:lnTo>
                    <a:pt x="1673" y="734"/>
                  </a:lnTo>
                  <a:lnTo>
                    <a:pt x="1673" y="732"/>
                  </a:lnTo>
                  <a:lnTo>
                    <a:pt x="1673" y="732"/>
                  </a:lnTo>
                  <a:lnTo>
                    <a:pt x="1671" y="732"/>
                  </a:lnTo>
                  <a:lnTo>
                    <a:pt x="1671" y="730"/>
                  </a:lnTo>
                  <a:lnTo>
                    <a:pt x="1671" y="730"/>
                  </a:lnTo>
                  <a:lnTo>
                    <a:pt x="1669" y="730"/>
                  </a:lnTo>
                  <a:lnTo>
                    <a:pt x="1667" y="728"/>
                  </a:lnTo>
                  <a:lnTo>
                    <a:pt x="1667" y="728"/>
                  </a:lnTo>
                  <a:lnTo>
                    <a:pt x="1665" y="728"/>
                  </a:lnTo>
                  <a:lnTo>
                    <a:pt x="1665" y="728"/>
                  </a:lnTo>
                  <a:lnTo>
                    <a:pt x="1665" y="728"/>
                  </a:lnTo>
                  <a:lnTo>
                    <a:pt x="1665" y="730"/>
                  </a:lnTo>
                  <a:lnTo>
                    <a:pt x="1665" y="730"/>
                  </a:lnTo>
                  <a:lnTo>
                    <a:pt x="1665" y="730"/>
                  </a:lnTo>
                  <a:lnTo>
                    <a:pt x="1665" y="730"/>
                  </a:lnTo>
                  <a:lnTo>
                    <a:pt x="1665" y="732"/>
                  </a:lnTo>
                  <a:lnTo>
                    <a:pt x="1665" y="732"/>
                  </a:lnTo>
                  <a:lnTo>
                    <a:pt x="1667" y="732"/>
                  </a:lnTo>
                  <a:lnTo>
                    <a:pt x="1667" y="732"/>
                  </a:lnTo>
                  <a:lnTo>
                    <a:pt x="1667" y="732"/>
                  </a:lnTo>
                  <a:lnTo>
                    <a:pt x="1667" y="734"/>
                  </a:lnTo>
                  <a:lnTo>
                    <a:pt x="1667" y="734"/>
                  </a:lnTo>
                  <a:lnTo>
                    <a:pt x="1667" y="734"/>
                  </a:lnTo>
                  <a:lnTo>
                    <a:pt x="1667" y="734"/>
                  </a:lnTo>
                  <a:lnTo>
                    <a:pt x="1669" y="734"/>
                  </a:lnTo>
                  <a:lnTo>
                    <a:pt x="1669" y="736"/>
                  </a:lnTo>
                  <a:lnTo>
                    <a:pt x="1669" y="736"/>
                  </a:lnTo>
                  <a:lnTo>
                    <a:pt x="1667" y="736"/>
                  </a:lnTo>
                  <a:lnTo>
                    <a:pt x="1667" y="736"/>
                  </a:lnTo>
                  <a:lnTo>
                    <a:pt x="1667" y="738"/>
                  </a:lnTo>
                  <a:lnTo>
                    <a:pt x="1667" y="738"/>
                  </a:lnTo>
                  <a:lnTo>
                    <a:pt x="1667" y="738"/>
                  </a:lnTo>
                  <a:lnTo>
                    <a:pt x="1667" y="740"/>
                  </a:lnTo>
                  <a:lnTo>
                    <a:pt x="1667" y="742"/>
                  </a:lnTo>
                  <a:lnTo>
                    <a:pt x="1669" y="742"/>
                  </a:lnTo>
                  <a:lnTo>
                    <a:pt x="1669" y="742"/>
                  </a:lnTo>
                  <a:lnTo>
                    <a:pt x="1669" y="742"/>
                  </a:lnTo>
                  <a:lnTo>
                    <a:pt x="1669" y="742"/>
                  </a:lnTo>
                  <a:lnTo>
                    <a:pt x="1669" y="742"/>
                  </a:lnTo>
                  <a:lnTo>
                    <a:pt x="1669" y="742"/>
                  </a:lnTo>
                  <a:lnTo>
                    <a:pt x="1669" y="742"/>
                  </a:lnTo>
                  <a:lnTo>
                    <a:pt x="1669" y="742"/>
                  </a:lnTo>
                  <a:lnTo>
                    <a:pt x="1669" y="742"/>
                  </a:lnTo>
                  <a:lnTo>
                    <a:pt x="1669" y="740"/>
                  </a:lnTo>
                  <a:lnTo>
                    <a:pt x="1669" y="740"/>
                  </a:lnTo>
                  <a:lnTo>
                    <a:pt x="1671" y="740"/>
                  </a:lnTo>
                  <a:lnTo>
                    <a:pt x="1669" y="738"/>
                  </a:lnTo>
                  <a:lnTo>
                    <a:pt x="1669" y="738"/>
                  </a:lnTo>
                  <a:lnTo>
                    <a:pt x="1669" y="738"/>
                  </a:lnTo>
                  <a:lnTo>
                    <a:pt x="1669" y="738"/>
                  </a:lnTo>
                  <a:lnTo>
                    <a:pt x="1669" y="738"/>
                  </a:lnTo>
                  <a:lnTo>
                    <a:pt x="1669" y="738"/>
                  </a:lnTo>
                  <a:lnTo>
                    <a:pt x="1671" y="738"/>
                  </a:lnTo>
                  <a:lnTo>
                    <a:pt x="1671" y="738"/>
                  </a:lnTo>
                  <a:lnTo>
                    <a:pt x="1671" y="740"/>
                  </a:lnTo>
                  <a:lnTo>
                    <a:pt x="1671" y="740"/>
                  </a:lnTo>
                  <a:lnTo>
                    <a:pt x="1671" y="740"/>
                  </a:lnTo>
                  <a:lnTo>
                    <a:pt x="1671" y="740"/>
                  </a:lnTo>
                  <a:lnTo>
                    <a:pt x="1673" y="740"/>
                  </a:lnTo>
                  <a:lnTo>
                    <a:pt x="1673" y="740"/>
                  </a:lnTo>
                  <a:lnTo>
                    <a:pt x="1675" y="740"/>
                  </a:lnTo>
                  <a:close/>
                  <a:moveTo>
                    <a:pt x="1079" y="613"/>
                  </a:moveTo>
                  <a:lnTo>
                    <a:pt x="1079" y="613"/>
                  </a:lnTo>
                  <a:lnTo>
                    <a:pt x="1079" y="613"/>
                  </a:lnTo>
                  <a:lnTo>
                    <a:pt x="1079" y="613"/>
                  </a:lnTo>
                  <a:close/>
                  <a:moveTo>
                    <a:pt x="743" y="814"/>
                  </a:moveTo>
                  <a:lnTo>
                    <a:pt x="743" y="814"/>
                  </a:lnTo>
                  <a:lnTo>
                    <a:pt x="743" y="814"/>
                  </a:lnTo>
                  <a:lnTo>
                    <a:pt x="743" y="814"/>
                  </a:lnTo>
                  <a:lnTo>
                    <a:pt x="743" y="814"/>
                  </a:lnTo>
                  <a:lnTo>
                    <a:pt x="743" y="812"/>
                  </a:lnTo>
                  <a:lnTo>
                    <a:pt x="743" y="812"/>
                  </a:lnTo>
                  <a:lnTo>
                    <a:pt x="741" y="814"/>
                  </a:lnTo>
                  <a:lnTo>
                    <a:pt x="741" y="814"/>
                  </a:lnTo>
                  <a:lnTo>
                    <a:pt x="741" y="814"/>
                  </a:lnTo>
                  <a:lnTo>
                    <a:pt x="741" y="814"/>
                  </a:lnTo>
                  <a:lnTo>
                    <a:pt x="743" y="814"/>
                  </a:lnTo>
                  <a:close/>
                  <a:moveTo>
                    <a:pt x="811" y="791"/>
                  </a:moveTo>
                  <a:lnTo>
                    <a:pt x="811" y="791"/>
                  </a:lnTo>
                  <a:lnTo>
                    <a:pt x="811" y="791"/>
                  </a:lnTo>
                  <a:lnTo>
                    <a:pt x="813" y="791"/>
                  </a:lnTo>
                  <a:lnTo>
                    <a:pt x="813" y="789"/>
                  </a:lnTo>
                  <a:lnTo>
                    <a:pt x="811" y="789"/>
                  </a:lnTo>
                  <a:lnTo>
                    <a:pt x="811" y="789"/>
                  </a:lnTo>
                  <a:lnTo>
                    <a:pt x="811" y="791"/>
                  </a:lnTo>
                  <a:lnTo>
                    <a:pt x="811" y="791"/>
                  </a:lnTo>
                  <a:lnTo>
                    <a:pt x="811" y="791"/>
                  </a:lnTo>
                  <a:lnTo>
                    <a:pt x="811" y="791"/>
                  </a:lnTo>
                  <a:close/>
                  <a:moveTo>
                    <a:pt x="815" y="791"/>
                  </a:moveTo>
                  <a:lnTo>
                    <a:pt x="815" y="791"/>
                  </a:lnTo>
                  <a:lnTo>
                    <a:pt x="815" y="791"/>
                  </a:lnTo>
                  <a:lnTo>
                    <a:pt x="815" y="789"/>
                  </a:lnTo>
                  <a:lnTo>
                    <a:pt x="813" y="789"/>
                  </a:lnTo>
                  <a:lnTo>
                    <a:pt x="813" y="791"/>
                  </a:lnTo>
                  <a:lnTo>
                    <a:pt x="813" y="791"/>
                  </a:lnTo>
                  <a:lnTo>
                    <a:pt x="813" y="791"/>
                  </a:lnTo>
                  <a:lnTo>
                    <a:pt x="815" y="791"/>
                  </a:lnTo>
                  <a:close/>
                  <a:moveTo>
                    <a:pt x="821" y="658"/>
                  </a:moveTo>
                  <a:lnTo>
                    <a:pt x="821" y="658"/>
                  </a:lnTo>
                  <a:lnTo>
                    <a:pt x="823" y="658"/>
                  </a:lnTo>
                  <a:lnTo>
                    <a:pt x="825" y="658"/>
                  </a:lnTo>
                  <a:lnTo>
                    <a:pt x="825" y="658"/>
                  </a:lnTo>
                  <a:lnTo>
                    <a:pt x="825" y="656"/>
                  </a:lnTo>
                  <a:lnTo>
                    <a:pt x="827" y="654"/>
                  </a:lnTo>
                  <a:lnTo>
                    <a:pt x="827" y="654"/>
                  </a:lnTo>
                  <a:lnTo>
                    <a:pt x="830" y="654"/>
                  </a:lnTo>
                  <a:lnTo>
                    <a:pt x="830" y="654"/>
                  </a:lnTo>
                  <a:lnTo>
                    <a:pt x="830" y="652"/>
                  </a:lnTo>
                  <a:lnTo>
                    <a:pt x="832" y="648"/>
                  </a:lnTo>
                  <a:lnTo>
                    <a:pt x="832" y="648"/>
                  </a:lnTo>
                  <a:lnTo>
                    <a:pt x="832" y="646"/>
                  </a:lnTo>
                  <a:lnTo>
                    <a:pt x="834" y="646"/>
                  </a:lnTo>
                  <a:lnTo>
                    <a:pt x="834" y="646"/>
                  </a:lnTo>
                  <a:lnTo>
                    <a:pt x="834" y="646"/>
                  </a:lnTo>
                  <a:lnTo>
                    <a:pt x="827" y="650"/>
                  </a:lnTo>
                  <a:lnTo>
                    <a:pt x="825" y="650"/>
                  </a:lnTo>
                  <a:lnTo>
                    <a:pt x="825" y="650"/>
                  </a:lnTo>
                  <a:lnTo>
                    <a:pt x="823" y="650"/>
                  </a:lnTo>
                  <a:lnTo>
                    <a:pt x="823" y="650"/>
                  </a:lnTo>
                  <a:lnTo>
                    <a:pt x="821" y="652"/>
                  </a:lnTo>
                  <a:lnTo>
                    <a:pt x="821" y="654"/>
                  </a:lnTo>
                  <a:lnTo>
                    <a:pt x="821" y="654"/>
                  </a:lnTo>
                  <a:lnTo>
                    <a:pt x="821" y="654"/>
                  </a:lnTo>
                  <a:lnTo>
                    <a:pt x="819" y="652"/>
                  </a:lnTo>
                  <a:lnTo>
                    <a:pt x="821" y="654"/>
                  </a:lnTo>
                  <a:lnTo>
                    <a:pt x="821" y="654"/>
                  </a:lnTo>
                  <a:lnTo>
                    <a:pt x="821" y="656"/>
                  </a:lnTo>
                  <a:lnTo>
                    <a:pt x="821" y="656"/>
                  </a:lnTo>
                  <a:lnTo>
                    <a:pt x="821" y="656"/>
                  </a:lnTo>
                  <a:lnTo>
                    <a:pt x="821" y="656"/>
                  </a:lnTo>
                  <a:lnTo>
                    <a:pt x="821" y="658"/>
                  </a:lnTo>
                  <a:lnTo>
                    <a:pt x="821" y="658"/>
                  </a:lnTo>
                  <a:close/>
                  <a:moveTo>
                    <a:pt x="840" y="654"/>
                  </a:moveTo>
                  <a:lnTo>
                    <a:pt x="840" y="654"/>
                  </a:lnTo>
                  <a:lnTo>
                    <a:pt x="840" y="652"/>
                  </a:lnTo>
                  <a:lnTo>
                    <a:pt x="840" y="652"/>
                  </a:lnTo>
                  <a:lnTo>
                    <a:pt x="840" y="652"/>
                  </a:lnTo>
                  <a:lnTo>
                    <a:pt x="840" y="652"/>
                  </a:lnTo>
                  <a:lnTo>
                    <a:pt x="840" y="652"/>
                  </a:lnTo>
                  <a:lnTo>
                    <a:pt x="840" y="652"/>
                  </a:lnTo>
                  <a:lnTo>
                    <a:pt x="840" y="650"/>
                  </a:lnTo>
                  <a:lnTo>
                    <a:pt x="840" y="650"/>
                  </a:lnTo>
                  <a:lnTo>
                    <a:pt x="840" y="652"/>
                  </a:lnTo>
                  <a:lnTo>
                    <a:pt x="840" y="654"/>
                  </a:lnTo>
                  <a:lnTo>
                    <a:pt x="840" y="654"/>
                  </a:lnTo>
                  <a:lnTo>
                    <a:pt x="840" y="654"/>
                  </a:lnTo>
                  <a:lnTo>
                    <a:pt x="840" y="654"/>
                  </a:lnTo>
                  <a:close/>
                  <a:moveTo>
                    <a:pt x="844" y="656"/>
                  </a:moveTo>
                  <a:lnTo>
                    <a:pt x="844" y="656"/>
                  </a:lnTo>
                  <a:lnTo>
                    <a:pt x="844" y="656"/>
                  </a:lnTo>
                  <a:lnTo>
                    <a:pt x="844" y="656"/>
                  </a:lnTo>
                  <a:lnTo>
                    <a:pt x="844" y="656"/>
                  </a:lnTo>
                  <a:lnTo>
                    <a:pt x="844" y="654"/>
                  </a:lnTo>
                  <a:lnTo>
                    <a:pt x="844" y="654"/>
                  </a:lnTo>
                  <a:lnTo>
                    <a:pt x="844" y="654"/>
                  </a:lnTo>
                  <a:lnTo>
                    <a:pt x="844" y="654"/>
                  </a:lnTo>
                  <a:lnTo>
                    <a:pt x="844" y="654"/>
                  </a:lnTo>
                  <a:lnTo>
                    <a:pt x="844" y="652"/>
                  </a:lnTo>
                  <a:lnTo>
                    <a:pt x="844" y="652"/>
                  </a:lnTo>
                  <a:lnTo>
                    <a:pt x="842" y="652"/>
                  </a:lnTo>
                  <a:lnTo>
                    <a:pt x="842" y="652"/>
                  </a:lnTo>
                  <a:lnTo>
                    <a:pt x="842" y="654"/>
                  </a:lnTo>
                  <a:lnTo>
                    <a:pt x="842" y="654"/>
                  </a:lnTo>
                  <a:lnTo>
                    <a:pt x="842" y="654"/>
                  </a:lnTo>
                  <a:lnTo>
                    <a:pt x="844" y="654"/>
                  </a:lnTo>
                  <a:lnTo>
                    <a:pt x="844" y="656"/>
                  </a:lnTo>
                  <a:close/>
                  <a:moveTo>
                    <a:pt x="748" y="822"/>
                  </a:moveTo>
                  <a:lnTo>
                    <a:pt x="748" y="822"/>
                  </a:lnTo>
                  <a:lnTo>
                    <a:pt x="748" y="822"/>
                  </a:lnTo>
                  <a:lnTo>
                    <a:pt x="750" y="820"/>
                  </a:lnTo>
                  <a:lnTo>
                    <a:pt x="750" y="820"/>
                  </a:lnTo>
                  <a:lnTo>
                    <a:pt x="750" y="820"/>
                  </a:lnTo>
                  <a:lnTo>
                    <a:pt x="750" y="820"/>
                  </a:lnTo>
                  <a:lnTo>
                    <a:pt x="750" y="820"/>
                  </a:lnTo>
                  <a:lnTo>
                    <a:pt x="750" y="820"/>
                  </a:lnTo>
                  <a:lnTo>
                    <a:pt x="748" y="822"/>
                  </a:lnTo>
                  <a:lnTo>
                    <a:pt x="748" y="822"/>
                  </a:lnTo>
                  <a:lnTo>
                    <a:pt x="748" y="822"/>
                  </a:lnTo>
                  <a:lnTo>
                    <a:pt x="748" y="822"/>
                  </a:lnTo>
                  <a:lnTo>
                    <a:pt x="748" y="822"/>
                  </a:lnTo>
                  <a:close/>
                  <a:moveTo>
                    <a:pt x="813" y="795"/>
                  </a:moveTo>
                  <a:lnTo>
                    <a:pt x="811" y="797"/>
                  </a:lnTo>
                  <a:lnTo>
                    <a:pt x="811" y="795"/>
                  </a:lnTo>
                  <a:lnTo>
                    <a:pt x="811" y="795"/>
                  </a:lnTo>
                  <a:lnTo>
                    <a:pt x="811" y="797"/>
                  </a:lnTo>
                  <a:lnTo>
                    <a:pt x="813" y="795"/>
                  </a:lnTo>
                  <a:lnTo>
                    <a:pt x="815" y="797"/>
                  </a:lnTo>
                  <a:lnTo>
                    <a:pt x="815" y="795"/>
                  </a:lnTo>
                  <a:lnTo>
                    <a:pt x="815" y="795"/>
                  </a:lnTo>
                  <a:lnTo>
                    <a:pt x="813" y="795"/>
                  </a:lnTo>
                  <a:lnTo>
                    <a:pt x="813" y="795"/>
                  </a:lnTo>
                  <a:lnTo>
                    <a:pt x="813" y="795"/>
                  </a:lnTo>
                  <a:lnTo>
                    <a:pt x="813" y="795"/>
                  </a:lnTo>
                  <a:lnTo>
                    <a:pt x="813" y="795"/>
                  </a:lnTo>
                  <a:close/>
                  <a:moveTo>
                    <a:pt x="1665" y="725"/>
                  </a:moveTo>
                  <a:lnTo>
                    <a:pt x="1665" y="725"/>
                  </a:lnTo>
                  <a:lnTo>
                    <a:pt x="1667" y="723"/>
                  </a:lnTo>
                  <a:lnTo>
                    <a:pt x="1667" y="721"/>
                  </a:lnTo>
                  <a:lnTo>
                    <a:pt x="1665" y="721"/>
                  </a:lnTo>
                  <a:lnTo>
                    <a:pt x="1665" y="719"/>
                  </a:lnTo>
                  <a:lnTo>
                    <a:pt x="1663" y="719"/>
                  </a:lnTo>
                  <a:lnTo>
                    <a:pt x="1663" y="719"/>
                  </a:lnTo>
                  <a:lnTo>
                    <a:pt x="1663" y="717"/>
                  </a:lnTo>
                  <a:lnTo>
                    <a:pt x="1663" y="717"/>
                  </a:lnTo>
                  <a:lnTo>
                    <a:pt x="1663" y="715"/>
                  </a:lnTo>
                  <a:lnTo>
                    <a:pt x="1663" y="715"/>
                  </a:lnTo>
                  <a:lnTo>
                    <a:pt x="1665" y="715"/>
                  </a:lnTo>
                  <a:lnTo>
                    <a:pt x="1665" y="713"/>
                  </a:lnTo>
                  <a:lnTo>
                    <a:pt x="1665" y="717"/>
                  </a:lnTo>
                  <a:lnTo>
                    <a:pt x="1665" y="717"/>
                  </a:lnTo>
                  <a:lnTo>
                    <a:pt x="1665" y="719"/>
                  </a:lnTo>
                  <a:lnTo>
                    <a:pt x="1665" y="719"/>
                  </a:lnTo>
                  <a:lnTo>
                    <a:pt x="1667" y="721"/>
                  </a:lnTo>
                  <a:lnTo>
                    <a:pt x="1667" y="721"/>
                  </a:lnTo>
                  <a:lnTo>
                    <a:pt x="1667" y="721"/>
                  </a:lnTo>
                  <a:lnTo>
                    <a:pt x="1667" y="721"/>
                  </a:lnTo>
                  <a:lnTo>
                    <a:pt x="1667" y="723"/>
                  </a:lnTo>
                  <a:lnTo>
                    <a:pt x="1667" y="723"/>
                  </a:lnTo>
                  <a:lnTo>
                    <a:pt x="1667" y="723"/>
                  </a:lnTo>
                  <a:lnTo>
                    <a:pt x="1667" y="723"/>
                  </a:lnTo>
                  <a:lnTo>
                    <a:pt x="1669" y="721"/>
                  </a:lnTo>
                  <a:lnTo>
                    <a:pt x="1669" y="721"/>
                  </a:lnTo>
                  <a:lnTo>
                    <a:pt x="1669" y="721"/>
                  </a:lnTo>
                  <a:lnTo>
                    <a:pt x="1669" y="719"/>
                  </a:lnTo>
                  <a:lnTo>
                    <a:pt x="1669" y="719"/>
                  </a:lnTo>
                  <a:lnTo>
                    <a:pt x="1669" y="717"/>
                  </a:lnTo>
                  <a:lnTo>
                    <a:pt x="1669" y="715"/>
                  </a:lnTo>
                  <a:lnTo>
                    <a:pt x="1667" y="715"/>
                  </a:lnTo>
                  <a:lnTo>
                    <a:pt x="1665" y="711"/>
                  </a:lnTo>
                  <a:lnTo>
                    <a:pt x="1665" y="709"/>
                  </a:lnTo>
                  <a:lnTo>
                    <a:pt x="1665" y="707"/>
                  </a:lnTo>
                  <a:lnTo>
                    <a:pt x="1665" y="707"/>
                  </a:lnTo>
                  <a:lnTo>
                    <a:pt x="1665" y="709"/>
                  </a:lnTo>
                  <a:lnTo>
                    <a:pt x="1667" y="711"/>
                  </a:lnTo>
                  <a:lnTo>
                    <a:pt x="1667" y="711"/>
                  </a:lnTo>
                  <a:lnTo>
                    <a:pt x="1667" y="713"/>
                  </a:lnTo>
                  <a:lnTo>
                    <a:pt x="1669" y="713"/>
                  </a:lnTo>
                  <a:lnTo>
                    <a:pt x="1669" y="715"/>
                  </a:lnTo>
                  <a:lnTo>
                    <a:pt x="1669" y="715"/>
                  </a:lnTo>
                  <a:lnTo>
                    <a:pt x="1671" y="717"/>
                  </a:lnTo>
                  <a:lnTo>
                    <a:pt x="1671" y="717"/>
                  </a:lnTo>
                  <a:lnTo>
                    <a:pt x="1669" y="719"/>
                  </a:lnTo>
                  <a:lnTo>
                    <a:pt x="1669" y="719"/>
                  </a:lnTo>
                  <a:lnTo>
                    <a:pt x="1669" y="721"/>
                  </a:lnTo>
                  <a:lnTo>
                    <a:pt x="1669" y="721"/>
                  </a:lnTo>
                  <a:lnTo>
                    <a:pt x="1669" y="721"/>
                  </a:lnTo>
                  <a:lnTo>
                    <a:pt x="1669" y="721"/>
                  </a:lnTo>
                  <a:lnTo>
                    <a:pt x="1669" y="721"/>
                  </a:lnTo>
                  <a:lnTo>
                    <a:pt x="1669" y="723"/>
                  </a:lnTo>
                  <a:lnTo>
                    <a:pt x="1669" y="723"/>
                  </a:lnTo>
                  <a:lnTo>
                    <a:pt x="1669" y="723"/>
                  </a:lnTo>
                  <a:lnTo>
                    <a:pt x="1667" y="725"/>
                  </a:lnTo>
                  <a:lnTo>
                    <a:pt x="1667" y="725"/>
                  </a:lnTo>
                  <a:lnTo>
                    <a:pt x="1667" y="725"/>
                  </a:lnTo>
                  <a:lnTo>
                    <a:pt x="1669" y="728"/>
                  </a:lnTo>
                  <a:lnTo>
                    <a:pt x="1669" y="728"/>
                  </a:lnTo>
                  <a:lnTo>
                    <a:pt x="1669" y="728"/>
                  </a:lnTo>
                  <a:lnTo>
                    <a:pt x="1671" y="728"/>
                  </a:lnTo>
                  <a:lnTo>
                    <a:pt x="1671" y="725"/>
                  </a:lnTo>
                  <a:lnTo>
                    <a:pt x="1673" y="725"/>
                  </a:lnTo>
                  <a:lnTo>
                    <a:pt x="1673" y="723"/>
                  </a:lnTo>
                  <a:lnTo>
                    <a:pt x="1673" y="723"/>
                  </a:lnTo>
                  <a:lnTo>
                    <a:pt x="1673" y="723"/>
                  </a:lnTo>
                  <a:lnTo>
                    <a:pt x="1671" y="721"/>
                  </a:lnTo>
                  <a:lnTo>
                    <a:pt x="1671" y="721"/>
                  </a:lnTo>
                  <a:lnTo>
                    <a:pt x="1671" y="719"/>
                  </a:lnTo>
                  <a:lnTo>
                    <a:pt x="1671" y="719"/>
                  </a:lnTo>
                  <a:lnTo>
                    <a:pt x="1673" y="719"/>
                  </a:lnTo>
                  <a:lnTo>
                    <a:pt x="1671" y="717"/>
                  </a:lnTo>
                  <a:lnTo>
                    <a:pt x="1673" y="717"/>
                  </a:lnTo>
                  <a:lnTo>
                    <a:pt x="1673" y="719"/>
                  </a:lnTo>
                  <a:lnTo>
                    <a:pt x="1673" y="719"/>
                  </a:lnTo>
                  <a:lnTo>
                    <a:pt x="1673" y="719"/>
                  </a:lnTo>
                  <a:lnTo>
                    <a:pt x="1673" y="719"/>
                  </a:lnTo>
                  <a:lnTo>
                    <a:pt x="1673" y="721"/>
                  </a:lnTo>
                  <a:lnTo>
                    <a:pt x="1673" y="721"/>
                  </a:lnTo>
                  <a:lnTo>
                    <a:pt x="1673" y="721"/>
                  </a:lnTo>
                  <a:lnTo>
                    <a:pt x="1673" y="721"/>
                  </a:lnTo>
                  <a:lnTo>
                    <a:pt x="1673" y="723"/>
                  </a:lnTo>
                  <a:lnTo>
                    <a:pt x="1673" y="723"/>
                  </a:lnTo>
                  <a:lnTo>
                    <a:pt x="1673" y="725"/>
                  </a:lnTo>
                  <a:lnTo>
                    <a:pt x="1673" y="728"/>
                  </a:lnTo>
                  <a:lnTo>
                    <a:pt x="1673" y="728"/>
                  </a:lnTo>
                  <a:lnTo>
                    <a:pt x="1675" y="728"/>
                  </a:lnTo>
                  <a:lnTo>
                    <a:pt x="1677" y="730"/>
                  </a:lnTo>
                  <a:lnTo>
                    <a:pt x="1677" y="728"/>
                  </a:lnTo>
                  <a:lnTo>
                    <a:pt x="1677" y="728"/>
                  </a:lnTo>
                  <a:lnTo>
                    <a:pt x="1677" y="725"/>
                  </a:lnTo>
                  <a:lnTo>
                    <a:pt x="1677" y="725"/>
                  </a:lnTo>
                  <a:lnTo>
                    <a:pt x="1677" y="725"/>
                  </a:lnTo>
                  <a:lnTo>
                    <a:pt x="1677" y="725"/>
                  </a:lnTo>
                  <a:lnTo>
                    <a:pt x="1679" y="725"/>
                  </a:lnTo>
                  <a:lnTo>
                    <a:pt x="1679" y="725"/>
                  </a:lnTo>
                  <a:lnTo>
                    <a:pt x="1679" y="723"/>
                  </a:lnTo>
                  <a:lnTo>
                    <a:pt x="1679" y="723"/>
                  </a:lnTo>
                  <a:lnTo>
                    <a:pt x="1679" y="721"/>
                  </a:lnTo>
                  <a:lnTo>
                    <a:pt x="1679" y="719"/>
                  </a:lnTo>
                  <a:lnTo>
                    <a:pt x="1679" y="719"/>
                  </a:lnTo>
                  <a:lnTo>
                    <a:pt x="1679" y="719"/>
                  </a:lnTo>
                  <a:lnTo>
                    <a:pt x="1679" y="717"/>
                  </a:lnTo>
                  <a:lnTo>
                    <a:pt x="1677" y="717"/>
                  </a:lnTo>
                  <a:lnTo>
                    <a:pt x="1677" y="717"/>
                  </a:lnTo>
                  <a:lnTo>
                    <a:pt x="1677" y="717"/>
                  </a:lnTo>
                  <a:lnTo>
                    <a:pt x="1677" y="715"/>
                  </a:lnTo>
                  <a:lnTo>
                    <a:pt x="1677" y="715"/>
                  </a:lnTo>
                  <a:lnTo>
                    <a:pt x="1677" y="715"/>
                  </a:lnTo>
                  <a:lnTo>
                    <a:pt x="1679" y="715"/>
                  </a:lnTo>
                  <a:lnTo>
                    <a:pt x="1679" y="717"/>
                  </a:lnTo>
                  <a:lnTo>
                    <a:pt x="1679" y="717"/>
                  </a:lnTo>
                  <a:lnTo>
                    <a:pt x="1679" y="715"/>
                  </a:lnTo>
                  <a:lnTo>
                    <a:pt x="1679" y="715"/>
                  </a:lnTo>
                  <a:lnTo>
                    <a:pt x="1679" y="715"/>
                  </a:lnTo>
                  <a:lnTo>
                    <a:pt x="1679" y="713"/>
                  </a:lnTo>
                  <a:lnTo>
                    <a:pt x="1677" y="713"/>
                  </a:lnTo>
                  <a:lnTo>
                    <a:pt x="1677" y="713"/>
                  </a:lnTo>
                  <a:lnTo>
                    <a:pt x="1677" y="711"/>
                  </a:lnTo>
                  <a:lnTo>
                    <a:pt x="1677" y="711"/>
                  </a:lnTo>
                  <a:lnTo>
                    <a:pt x="1677" y="711"/>
                  </a:lnTo>
                  <a:lnTo>
                    <a:pt x="1677" y="711"/>
                  </a:lnTo>
                  <a:lnTo>
                    <a:pt x="1677" y="709"/>
                  </a:lnTo>
                  <a:lnTo>
                    <a:pt x="1675" y="707"/>
                  </a:lnTo>
                  <a:lnTo>
                    <a:pt x="1677" y="707"/>
                  </a:lnTo>
                  <a:lnTo>
                    <a:pt x="1677" y="707"/>
                  </a:lnTo>
                  <a:lnTo>
                    <a:pt x="1677" y="707"/>
                  </a:lnTo>
                  <a:lnTo>
                    <a:pt x="1677" y="707"/>
                  </a:lnTo>
                  <a:lnTo>
                    <a:pt x="1677" y="707"/>
                  </a:lnTo>
                  <a:lnTo>
                    <a:pt x="1677" y="705"/>
                  </a:lnTo>
                  <a:lnTo>
                    <a:pt x="1675" y="703"/>
                  </a:lnTo>
                  <a:lnTo>
                    <a:pt x="1675" y="703"/>
                  </a:lnTo>
                  <a:lnTo>
                    <a:pt x="1675" y="703"/>
                  </a:lnTo>
                  <a:lnTo>
                    <a:pt x="1675" y="703"/>
                  </a:lnTo>
                  <a:lnTo>
                    <a:pt x="1675" y="701"/>
                  </a:lnTo>
                  <a:lnTo>
                    <a:pt x="1673" y="701"/>
                  </a:lnTo>
                  <a:lnTo>
                    <a:pt x="1671" y="699"/>
                  </a:lnTo>
                  <a:lnTo>
                    <a:pt x="1671" y="699"/>
                  </a:lnTo>
                  <a:lnTo>
                    <a:pt x="1671" y="697"/>
                  </a:lnTo>
                  <a:lnTo>
                    <a:pt x="1665" y="693"/>
                  </a:lnTo>
                  <a:lnTo>
                    <a:pt x="1663" y="693"/>
                  </a:lnTo>
                  <a:lnTo>
                    <a:pt x="1663" y="691"/>
                  </a:lnTo>
                  <a:lnTo>
                    <a:pt x="1661" y="691"/>
                  </a:lnTo>
                  <a:lnTo>
                    <a:pt x="1661" y="693"/>
                  </a:lnTo>
                  <a:lnTo>
                    <a:pt x="1659" y="693"/>
                  </a:lnTo>
                  <a:lnTo>
                    <a:pt x="1659" y="695"/>
                  </a:lnTo>
                  <a:lnTo>
                    <a:pt x="1657" y="695"/>
                  </a:lnTo>
                  <a:lnTo>
                    <a:pt x="1657" y="695"/>
                  </a:lnTo>
                  <a:lnTo>
                    <a:pt x="1657" y="695"/>
                  </a:lnTo>
                  <a:lnTo>
                    <a:pt x="1657" y="695"/>
                  </a:lnTo>
                  <a:lnTo>
                    <a:pt x="1657" y="697"/>
                  </a:lnTo>
                  <a:lnTo>
                    <a:pt x="1655" y="697"/>
                  </a:lnTo>
                  <a:lnTo>
                    <a:pt x="1653" y="697"/>
                  </a:lnTo>
                  <a:lnTo>
                    <a:pt x="1655" y="697"/>
                  </a:lnTo>
                  <a:lnTo>
                    <a:pt x="1655" y="699"/>
                  </a:lnTo>
                  <a:lnTo>
                    <a:pt x="1655" y="699"/>
                  </a:lnTo>
                  <a:lnTo>
                    <a:pt x="1657" y="699"/>
                  </a:lnTo>
                  <a:lnTo>
                    <a:pt x="1659" y="699"/>
                  </a:lnTo>
                  <a:lnTo>
                    <a:pt x="1659" y="699"/>
                  </a:lnTo>
                  <a:lnTo>
                    <a:pt x="1659" y="699"/>
                  </a:lnTo>
                  <a:lnTo>
                    <a:pt x="1653" y="701"/>
                  </a:lnTo>
                  <a:lnTo>
                    <a:pt x="1653" y="701"/>
                  </a:lnTo>
                  <a:lnTo>
                    <a:pt x="1653" y="703"/>
                  </a:lnTo>
                  <a:lnTo>
                    <a:pt x="1653" y="703"/>
                  </a:lnTo>
                  <a:lnTo>
                    <a:pt x="1655" y="703"/>
                  </a:lnTo>
                  <a:lnTo>
                    <a:pt x="1655" y="703"/>
                  </a:lnTo>
                  <a:lnTo>
                    <a:pt x="1655" y="703"/>
                  </a:lnTo>
                  <a:lnTo>
                    <a:pt x="1655" y="703"/>
                  </a:lnTo>
                  <a:lnTo>
                    <a:pt x="1657" y="703"/>
                  </a:lnTo>
                  <a:lnTo>
                    <a:pt x="1657" y="701"/>
                  </a:lnTo>
                  <a:lnTo>
                    <a:pt x="1657" y="701"/>
                  </a:lnTo>
                  <a:lnTo>
                    <a:pt x="1657" y="701"/>
                  </a:lnTo>
                  <a:lnTo>
                    <a:pt x="1657" y="701"/>
                  </a:lnTo>
                  <a:lnTo>
                    <a:pt x="1657" y="701"/>
                  </a:lnTo>
                  <a:lnTo>
                    <a:pt x="1657" y="701"/>
                  </a:lnTo>
                  <a:lnTo>
                    <a:pt x="1659" y="703"/>
                  </a:lnTo>
                  <a:lnTo>
                    <a:pt x="1659" y="703"/>
                  </a:lnTo>
                  <a:lnTo>
                    <a:pt x="1657" y="703"/>
                  </a:lnTo>
                  <a:lnTo>
                    <a:pt x="1655" y="705"/>
                  </a:lnTo>
                  <a:lnTo>
                    <a:pt x="1655" y="705"/>
                  </a:lnTo>
                  <a:lnTo>
                    <a:pt x="1653" y="705"/>
                  </a:lnTo>
                  <a:lnTo>
                    <a:pt x="1653" y="707"/>
                  </a:lnTo>
                  <a:lnTo>
                    <a:pt x="1653" y="709"/>
                  </a:lnTo>
                  <a:lnTo>
                    <a:pt x="1655" y="709"/>
                  </a:lnTo>
                  <a:lnTo>
                    <a:pt x="1655" y="707"/>
                  </a:lnTo>
                  <a:lnTo>
                    <a:pt x="1655" y="707"/>
                  </a:lnTo>
                  <a:lnTo>
                    <a:pt x="1657" y="705"/>
                  </a:lnTo>
                  <a:lnTo>
                    <a:pt x="1659" y="705"/>
                  </a:lnTo>
                  <a:lnTo>
                    <a:pt x="1659" y="705"/>
                  </a:lnTo>
                  <a:lnTo>
                    <a:pt x="1659" y="705"/>
                  </a:lnTo>
                  <a:lnTo>
                    <a:pt x="1659" y="705"/>
                  </a:lnTo>
                  <a:lnTo>
                    <a:pt x="1657" y="707"/>
                  </a:lnTo>
                  <a:lnTo>
                    <a:pt x="1657" y="707"/>
                  </a:lnTo>
                  <a:lnTo>
                    <a:pt x="1657" y="707"/>
                  </a:lnTo>
                  <a:lnTo>
                    <a:pt x="1657" y="707"/>
                  </a:lnTo>
                  <a:lnTo>
                    <a:pt x="1655" y="707"/>
                  </a:lnTo>
                  <a:lnTo>
                    <a:pt x="1655" y="707"/>
                  </a:lnTo>
                  <a:lnTo>
                    <a:pt x="1657" y="709"/>
                  </a:lnTo>
                  <a:lnTo>
                    <a:pt x="1657" y="709"/>
                  </a:lnTo>
                  <a:lnTo>
                    <a:pt x="1657" y="709"/>
                  </a:lnTo>
                  <a:lnTo>
                    <a:pt x="1655" y="709"/>
                  </a:lnTo>
                  <a:lnTo>
                    <a:pt x="1655" y="709"/>
                  </a:lnTo>
                  <a:lnTo>
                    <a:pt x="1655" y="709"/>
                  </a:lnTo>
                  <a:lnTo>
                    <a:pt x="1655" y="709"/>
                  </a:lnTo>
                  <a:lnTo>
                    <a:pt x="1655" y="709"/>
                  </a:lnTo>
                  <a:lnTo>
                    <a:pt x="1655" y="711"/>
                  </a:lnTo>
                  <a:lnTo>
                    <a:pt x="1655" y="711"/>
                  </a:lnTo>
                  <a:lnTo>
                    <a:pt x="1655" y="711"/>
                  </a:lnTo>
                  <a:lnTo>
                    <a:pt x="1655" y="713"/>
                  </a:lnTo>
                  <a:lnTo>
                    <a:pt x="1657" y="713"/>
                  </a:lnTo>
                  <a:lnTo>
                    <a:pt x="1657" y="713"/>
                  </a:lnTo>
                  <a:lnTo>
                    <a:pt x="1659" y="713"/>
                  </a:lnTo>
                  <a:lnTo>
                    <a:pt x="1659" y="715"/>
                  </a:lnTo>
                  <a:lnTo>
                    <a:pt x="1659" y="715"/>
                  </a:lnTo>
                  <a:lnTo>
                    <a:pt x="1657" y="715"/>
                  </a:lnTo>
                  <a:lnTo>
                    <a:pt x="1657" y="715"/>
                  </a:lnTo>
                  <a:lnTo>
                    <a:pt x="1657" y="715"/>
                  </a:lnTo>
                  <a:lnTo>
                    <a:pt x="1657" y="717"/>
                  </a:lnTo>
                  <a:lnTo>
                    <a:pt x="1657" y="717"/>
                  </a:lnTo>
                  <a:lnTo>
                    <a:pt x="1655" y="721"/>
                  </a:lnTo>
                  <a:lnTo>
                    <a:pt x="1655" y="721"/>
                  </a:lnTo>
                  <a:lnTo>
                    <a:pt x="1655" y="721"/>
                  </a:lnTo>
                  <a:lnTo>
                    <a:pt x="1657" y="723"/>
                  </a:lnTo>
                  <a:lnTo>
                    <a:pt x="1659" y="723"/>
                  </a:lnTo>
                  <a:lnTo>
                    <a:pt x="1659" y="723"/>
                  </a:lnTo>
                  <a:lnTo>
                    <a:pt x="1659" y="723"/>
                  </a:lnTo>
                  <a:lnTo>
                    <a:pt x="1659" y="723"/>
                  </a:lnTo>
                  <a:lnTo>
                    <a:pt x="1661" y="725"/>
                  </a:lnTo>
                  <a:lnTo>
                    <a:pt x="1661" y="725"/>
                  </a:lnTo>
                  <a:lnTo>
                    <a:pt x="1663" y="725"/>
                  </a:lnTo>
                  <a:lnTo>
                    <a:pt x="1665" y="728"/>
                  </a:lnTo>
                  <a:lnTo>
                    <a:pt x="1665" y="728"/>
                  </a:lnTo>
                  <a:lnTo>
                    <a:pt x="1665" y="725"/>
                  </a:lnTo>
                  <a:close/>
                  <a:moveTo>
                    <a:pt x="756" y="816"/>
                  </a:moveTo>
                  <a:lnTo>
                    <a:pt x="756" y="816"/>
                  </a:lnTo>
                  <a:lnTo>
                    <a:pt x="756" y="816"/>
                  </a:lnTo>
                  <a:lnTo>
                    <a:pt x="754" y="816"/>
                  </a:lnTo>
                  <a:lnTo>
                    <a:pt x="752" y="818"/>
                  </a:lnTo>
                  <a:lnTo>
                    <a:pt x="750" y="818"/>
                  </a:lnTo>
                  <a:lnTo>
                    <a:pt x="750" y="820"/>
                  </a:lnTo>
                  <a:lnTo>
                    <a:pt x="750" y="818"/>
                  </a:lnTo>
                  <a:lnTo>
                    <a:pt x="756" y="816"/>
                  </a:lnTo>
                  <a:lnTo>
                    <a:pt x="756" y="816"/>
                  </a:lnTo>
                  <a:close/>
                  <a:moveTo>
                    <a:pt x="1602" y="725"/>
                  </a:moveTo>
                  <a:lnTo>
                    <a:pt x="1604" y="725"/>
                  </a:lnTo>
                  <a:lnTo>
                    <a:pt x="1604" y="725"/>
                  </a:lnTo>
                  <a:lnTo>
                    <a:pt x="1604" y="723"/>
                  </a:lnTo>
                  <a:lnTo>
                    <a:pt x="1604" y="721"/>
                  </a:lnTo>
                  <a:lnTo>
                    <a:pt x="1604" y="721"/>
                  </a:lnTo>
                  <a:lnTo>
                    <a:pt x="1604" y="721"/>
                  </a:lnTo>
                  <a:lnTo>
                    <a:pt x="1604" y="721"/>
                  </a:lnTo>
                  <a:lnTo>
                    <a:pt x="1606" y="723"/>
                  </a:lnTo>
                  <a:lnTo>
                    <a:pt x="1606" y="721"/>
                  </a:lnTo>
                  <a:lnTo>
                    <a:pt x="1606" y="721"/>
                  </a:lnTo>
                  <a:lnTo>
                    <a:pt x="1608" y="719"/>
                  </a:lnTo>
                  <a:lnTo>
                    <a:pt x="1608" y="719"/>
                  </a:lnTo>
                  <a:lnTo>
                    <a:pt x="1608" y="717"/>
                  </a:lnTo>
                  <a:lnTo>
                    <a:pt x="1608" y="717"/>
                  </a:lnTo>
                  <a:lnTo>
                    <a:pt x="1608" y="719"/>
                  </a:lnTo>
                  <a:lnTo>
                    <a:pt x="1608" y="719"/>
                  </a:lnTo>
                  <a:lnTo>
                    <a:pt x="1606" y="719"/>
                  </a:lnTo>
                  <a:lnTo>
                    <a:pt x="1604" y="721"/>
                  </a:lnTo>
                  <a:lnTo>
                    <a:pt x="1604" y="721"/>
                  </a:lnTo>
                  <a:lnTo>
                    <a:pt x="1604" y="719"/>
                  </a:lnTo>
                  <a:lnTo>
                    <a:pt x="1604" y="719"/>
                  </a:lnTo>
                  <a:lnTo>
                    <a:pt x="1602" y="719"/>
                  </a:lnTo>
                  <a:lnTo>
                    <a:pt x="1602" y="719"/>
                  </a:lnTo>
                  <a:lnTo>
                    <a:pt x="1602" y="719"/>
                  </a:lnTo>
                  <a:lnTo>
                    <a:pt x="1600" y="719"/>
                  </a:lnTo>
                  <a:lnTo>
                    <a:pt x="1600" y="719"/>
                  </a:lnTo>
                  <a:lnTo>
                    <a:pt x="1600" y="721"/>
                  </a:lnTo>
                  <a:lnTo>
                    <a:pt x="1600" y="721"/>
                  </a:lnTo>
                  <a:lnTo>
                    <a:pt x="1600" y="719"/>
                  </a:lnTo>
                  <a:lnTo>
                    <a:pt x="1600" y="719"/>
                  </a:lnTo>
                  <a:lnTo>
                    <a:pt x="1598" y="719"/>
                  </a:lnTo>
                  <a:lnTo>
                    <a:pt x="1598" y="721"/>
                  </a:lnTo>
                  <a:lnTo>
                    <a:pt x="1600" y="721"/>
                  </a:lnTo>
                  <a:lnTo>
                    <a:pt x="1600" y="721"/>
                  </a:lnTo>
                  <a:lnTo>
                    <a:pt x="1598" y="721"/>
                  </a:lnTo>
                  <a:lnTo>
                    <a:pt x="1598" y="721"/>
                  </a:lnTo>
                  <a:lnTo>
                    <a:pt x="1598" y="723"/>
                  </a:lnTo>
                  <a:lnTo>
                    <a:pt x="1600" y="725"/>
                  </a:lnTo>
                  <a:lnTo>
                    <a:pt x="1602" y="725"/>
                  </a:lnTo>
                  <a:close/>
                  <a:moveTo>
                    <a:pt x="1606" y="717"/>
                  </a:moveTo>
                  <a:lnTo>
                    <a:pt x="1606" y="717"/>
                  </a:lnTo>
                  <a:lnTo>
                    <a:pt x="1606" y="717"/>
                  </a:lnTo>
                  <a:lnTo>
                    <a:pt x="1608" y="717"/>
                  </a:lnTo>
                  <a:lnTo>
                    <a:pt x="1608" y="717"/>
                  </a:lnTo>
                  <a:lnTo>
                    <a:pt x="1608" y="717"/>
                  </a:lnTo>
                  <a:lnTo>
                    <a:pt x="1608" y="719"/>
                  </a:lnTo>
                  <a:lnTo>
                    <a:pt x="1610" y="719"/>
                  </a:lnTo>
                  <a:lnTo>
                    <a:pt x="1610" y="719"/>
                  </a:lnTo>
                  <a:lnTo>
                    <a:pt x="1610" y="719"/>
                  </a:lnTo>
                  <a:lnTo>
                    <a:pt x="1610" y="719"/>
                  </a:lnTo>
                  <a:lnTo>
                    <a:pt x="1610" y="719"/>
                  </a:lnTo>
                  <a:lnTo>
                    <a:pt x="1610" y="719"/>
                  </a:lnTo>
                  <a:lnTo>
                    <a:pt x="1610" y="717"/>
                  </a:lnTo>
                  <a:lnTo>
                    <a:pt x="1610" y="717"/>
                  </a:lnTo>
                  <a:lnTo>
                    <a:pt x="1610" y="715"/>
                  </a:lnTo>
                  <a:lnTo>
                    <a:pt x="1610" y="715"/>
                  </a:lnTo>
                  <a:lnTo>
                    <a:pt x="1608" y="715"/>
                  </a:lnTo>
                  <a:lnTo>
                    <a:pt x="1608" y="715"/>
                  </a:lnTo>
                  <a:lnTo>
                    <a:pt x="1608" y="715"/>
                  </a:lnTo>
                  <a:lnTo>
                    <a:pt x="1608" y="713"/>
                  </a:lnTo>
                  <a:lnTo>
                    <a:pt x="1608" y="713"/>
                  </a:lnTo>
                  <a:lnTo>
                    <a:pt x="1606" y="713"/>
                  </a:lnTo>
                  <a:lnTo>
                    <a:pt x="1606" y="713"/>
                  </a:lnTo>
                  <a:lnTo>
                    <a:pt x="1606" y="715"/>
                  </a:lnTo>
                  <a:lnTo>
                    <a:pt x="1606" y="715"/>
                  </a:lnTo>
                  <a:lnTo>
                    <a:pt x="1606" y="715"/>
                  </a:lnTo>
                  <a:lnTo>
                    <a:pt x="1606" y="715"/>
                  </a:lnTo>
                  <a:lnTo>
                    <a:pt x="1608" y="715"/>
                  </a:lnTo>
                  <a:lnTo>
                    <a:pt x="1606" y="717"/>
                  </a:lnTo>
                  <a:lnTo>
                    <a:pt x="1606" y="717"/>
                  </a:lnTo>
                  <a:close/>
                  <a:moveTo>
                    <a:pt x="1606" y="738"/>
                  </a:moveTo>
                  <a:lnTo>
                    <a:pt x="1606" y="738"/>
                  </a:lnTo>
                  <a:lnTo>
                    <a:pt x="1606" y="738"/>
                  </a:lnTo>
                  <a:lnTo>
                    <a:pt x="1606" y="738"/>
                  </a:lnTo>
                  <a:lnTo>
                    <a:pt x="1608" y="740"/>
                  </a:lnTo>
                  <a:lnTo>
                    <a:pt x="1608" y="740"/>
                  </a:lnTo>
                  <a:lnTo>
                    <a:pt x="1608" y="738"/>
                  </a:lnTo>
                  <a:lnTo>
                    <a:pt x="1610" y="738"/>
                  </a:lnTo>
                  <a:lnTo>
                    <a:pt x="1610" y="738"/>
                  </a:lnTo>
                  <a:lnTo>
                    <a:pt x="1610" y="738"/>
                  </a:lnTo>
                  <a:lnTo>
                    <a:pt x="1610" y="736"/>
                  </a:lnTo>
                  <a:lnTo>
                    <a:pt x="1610" y="736"/>
                  </a:lnTo>
                  <a:lnTo>
                    <a:pt x="1610" y="736"/>
                  </a:lnTo>
                  <a:lnTo>
                    <a:pt x="1610" y="734"/>
                  </a:lnTo>
                  <a:lnTo>
                    <a:pt x="1608" y="734"/>
                  </a:lnTo>
                  <a:lnTo>
                    <a:pt x="1606" y="734"/>
                  </a:lnTo>
                  <a:lnTo>
                    <a:pt x="1606" y="734"/>
                  </a:lnTo>
                  <a:lnTo>
                    <a:pt x="1606" y="736"/>
                  </a:lnTo>
                  <a:lnTo>
                    <a:pt x="1606" y="736"/>
                  </a:lnTo>
                  <a:lnTo>
                    <a:pt x="1606" y="738"/>
                  </a:lnTo>
                  <a:close/>
                  <a:moveTo>
                    <a:pt x="1598" y="713"/>
                  </a:moveTo>
                  <a:lnTo>
                    <a:pt x="1598" y="713"/>
                  </a:lnTo>
                  <a:lnTo>
                    <a:pt x="1600" y="711"/>
                  </a:lnTo>
                  <a:lnTo>
                    <a:pt x="1600" y="711"/>
                  </a:lnTo>
                  <a:lnTo>
                    <a:pt x="1600" y="709"/>
                  </a:lnTo>
                  <a:lnTo>
                    <a:pt x="1600" y="709"/>
                  </a:lnTo>
                  <a:lnTo>
                    <a:pt x="1602" y="709"/>
                  </a:lnTo>
                  <a:lnTo>
                    <a:pt x="1602" y="709"/>
                  </a:lnTo>
                  <a:lnTo>
                    <a:pt x="1602" y="709"/>
                  </a:lnTo>
                  <a:lnTo>
                    <a:pt x="1604" y="709"/>
                  </a:lnTo>
                  <a:lnTo>
                    <a:pt x="1604" y="709"/>
                  </a:lnTo>
                  <a:lnTo>
                    <a:pt x="1604" y="709"/>
                  </a:lnTo>
                  <a:lnTo>
                    <a:pt x="1604" y="707"/>
                  </a:lnTo>
                  <a:lnTo>
                    <a:pt x="1604" y="707"/>
                  </a:lnTo>
                  <a:lnTo>
                    <a:pt x="1604" y="705"/>
                  </a:lnTo>
                  <a:lnTo>
                    <a:pt x="1604" y="705"/>
                  </a:lnTo>
                  <a:lnTo>
                    <a:pt x="1604" y="705"/>
                  </a:lnTo>
                  <a:lnTo>
                    <a:pt x="1604" y="705"/>
                  </a:lnTo>
                  <a:lnTo>
                    <a:pt x="1604" y="703"/>
                  </a:lnTo>
                  <a:lnTo>
                    <a:pt x="1604" y="701"/>
                  </a:lnTo>
                  <a:lnTo>
                    <a:pt x="1604" y="701"/>
                  </a:lnTo>
                  <a:lnTo>
                    <a:pt x="1602" y="701"/>
                  </a:lnTo>
                  <a:lnTo>
                    <a:pt x="1602" y="701"/>
                  </a:lnTo>
                  <a:lnTo>
                    <a:pt x="1600" y="701"/>
                  </a:lnTo>
                  <a:lnTo>
                    <a:pt x="1600" y="701"/>
                  </a:lnTo>
                  <a:lnTo>
                    <a:pt x="1600" y="703"/>
                  </a:lnTo>
                  <a:lnTo>
                    <a:pt x="1600" y="703"/>
                  </a:lnTo>
                  <a:lnTo>
                    <a:pt x="1598" y="703"/>
                  </a:lnTo>
                  <a:lnTo>
                    <a:pt x="1598" y="705"/>
                  </a:lnTo>
                  <a:lnTo>
                    <a:pt x="1598" y="705"/>
                  </a:lnTo>
                  <a:lnTo>
                    <a:pt x="1598" y="705"/>
                  </a:lnTo>
                  <a:lnTo>
                    <a:pt x="1595" y="705"/>
                  </a:lnTo>
                  <a:lnTo>
                    <a:pt x="1593" y="705"/>
                  </a:lnTo>
                  <a:lnTo>
                    <a:pt x="1593" y="705"/>
                  </a:lnTo>
                  <a:lnTo>
                    <a:pt x="1595" y="707"/>
                  </a:lnTo>
                  <a:lnTo>
                    <a:pt x="1598" y="705"/>
                  </a:lnTo>
                  <a:lnTo>
                    <a:pt x="1598" y="705"/>
                  </a:lnTo>
                  <a:lnTo>
                    <a:pt x="1598" y="707"/>
                  </a:lnTo>
                  <a:lnTo>
                    <a:pt x="1598" y="707"/>
                  </a:lnTo>
                  <a:lnTo>
                    <a:pt x="1595" y="707"/>
                  </a:lnTo>
                  <a:lnTo>
                    <a:pt x="1593" y="709"/>
                  </a:lnTo>
                  <a:lnTo>
                    <a:pt x="1593" y="709"/>
                  </a:lnTo>
                  <a:lnTo>
                    <a:pt x="1593" y="709"/>
                  </a:lnTo>
                  <a:lnTo>
                    <a:pt x="1593" y="709"/>
                  </a:lnTo>
                  <a:lnTo>
                    <a:pt x="1591" y="713"/>
                  </a:lnTo>
                  <a:lnTo>
                    <a:pt x="1591" y="715"/>
                  </a:lnTo>
                  <a:lnTo>
                    <a:pt x="1593" y="717"/>
                  </a:lnTo>
                  <a:lnTo>
                    <a:pt x="1593" y="717"/>
                  </a:lnTo>
                  <a:lnTo>
                    <a:pt x="1593" y="717"/>
                  </a:lnTo>
                  <a:lnTo>
                    <a:pt x="1595" y="717"/>
                  </a:lnTo>
                  <a:lnTo>
                    <a:pt x="1595" y="717"/>
                  </a:lnTo>
                  <a:lnTo>
                    <a:pt x="1595" y="717"/>
                  </a:lnTo>
                  <a:lnTo>
                    <a:pt x="1595" y="715"/>
                  </a:lnTo>
                  <a:lnTo>
                    <a:pt x="1598" y="715"/>
                  </a:lnTo>
                  <a:lnTo>
                    <a:pt x="1598" y="715"/>
                  </a:lnTo>
                  <a:lnTo>
                    <a:pt x="1598" y="715"/>
                  </a:lnTo>
                  <a:lnTo>
                    <a:pt x="1595" y="715"/>
                  </a:lnTo>
                  <a:lnTo>
                    <a:pt x="1595" y="713"/>
                  </a:lnTo>
                  <a:lnTo>
                    <a:pt x="1595" y="713"/>
                  </a:lnTo>
                  <a:lnTo>
                    <a:pt x="1598" y="713"/>
                  </a:lnTo>
                  <a:close/>
                  <a:moveTo>
                    <a:pt x="1606" y="736"/>
                  </a:moveTo>
                  <a:lnTo>
                    <a:pt x="1606" y="736"/>
                  </a:lnTo>
                  <a:lnTo>
                    <a:pt x="1604" y="734"/>
                  </a:lnTo>
                  <a:lnTo>
                    <a:pt x="1604" y="734"/>
                  </a:lnTo>
                  <a:lnTo>
                    <a:pt x="1604" y="734"/>
                  </a:lnTo>
                  <a:lnTo>
                    <a:pt x="1602" y="734"/>
                  </a:lnTo>
                  <a:lnTo>
                    <a:pt x="1602" y="734"/>
                  </a:lnTo>
                  <a:lnTo>
                    <a:pt x="1600" y="734"/>
                  </a:lnTo>
                  <a:lnTo>
                    <a:pt x="1600" y="734"/>
                  </a:lnTo>
                  <a:lnTo>
                    <a:pt x="1600" y="736"/>
                  </a:lnTo>
                  <a:lnTo>
                    <a:pt x="1600" y="736"/>
                  </a:lnTo>
                  <a:lnTo>
                    <a:pt x="1600" y="736"/>
                  </a:lnTo>
                  <a:lnTo>
                    <a:pt x="1600" y="736"/>
                  </a:lnTo>
                  <a:lnTo>
                    <a:pt x="1600" y="736"/>
                  </a:lnTo>
                  <a:lnTo>
                    <a:pt x="1602" y="736"/>
                  </a:lnTo>
                  <a:lnTo>
                    <a:pt x="1602" y="736"/>
                  </a:lnTo>
                  <a:lnTo>
                    <a:pt x="1602" y="736"/>
                  </a:lnTo>
                  <a:lnTo>
                    <a:pt x="1600" y="738"/>
                  </a:lnTo>
                  <a:lnTo>
                    <a:pt x="1600" y="740"/>
                  </a:lnTo>
                  <a:lnTo>
                    <a:pt x="1600" y="740"/>
                  </a:lnTo>
                  <a:lnTo>
                    <a:pt x="1600" y="740"/>
                  </a:lnTo>
                  <a:lnTo>
                    <a:pt x="1600" y="740"/>
                  </a:lnTo>
                  <a:lnTo>
                    <a:pt x="1602" y="740"/>
                  </a:lnTo>
                  <a:lnTo>
                    <a:pt x="1602" y="738"/>
                  </a:lnTo>
                  <a:lnTo>
                    <a:pt x="1602" y="738"/>
                  </a:lnTo>
                  <a:lnTo>
                    <a:pt x="1604" y="740"/>
                  </a:lnTo>
                  <a:lnTo>
                    <a:pt x="1604" y="740"/>
                  </a:lnTo>
                  <a:lnTo>
                    <a:pt x="1604" y="738"/>
                  </a:lnTo>
                  <a:lnTo>
                    <a:pt x="1604" y="738"/>
                  </a:lnTo>
                  <a:lnTo>
                    <a:pt x="1604" y="736"/>
                  </a:lnTo>
                  <a:lnTo>
                    <a:pt x="1606" y="736"/>
                  </a:lnTo>
                  <a:close/>
                  <a:moveTo>
                    <a:pt x="1616" y="672"/>
                  </a:moveTo>
                  <a:lnTo>
                    <a:pt x="1616" y="672"/>
                  </a:lnTo>
                  <a:lnTo>
                    <a:pt x="1616" y="672"/>
                  </a:lnTo>
                  <a:lnTo>
                    <a:pt x="1616" y="672"/>
                  </a:lnTo>
                  <a:lnTo>
                    <a:pt x="1614" y="672"/>
                  </a:lnTo>
                  <a:lnTo>
                    <a:pt x="1614" y="672"/>
                  </a:lnTo>
                  <a:lnTo>
                    <a:pt x="1614" y="672"/>
                  </a:lnTo>
                  <a:lnTo>
                    <a:pt x="1614" y="670"/>
                  </a:lnTo>
                  <a:lnTo>
                    <a:pt x="1614" y="670"/>
                  </a:lnTo>
                  <a:lnTo>
                    <a:pt x="1612" y="670"/>
                  </a:lnTo>
                  <a:lnTo>
                    <a:pt x="1612" y="670"/>
                  </a:lnTo>
                  <a:lnTo>
                    <a:pt x="1612" y="670"/>
                  </a:lnTo>
                  <a:lnTo>
                    <a:pt x="1612" y="670"/>
                  </a:lnTo>
                  <a:lnTo>
                    <a:pt x="1612" y="668"/>
                  </a:lnTo>
                  <a:lnTo>
                    <a:pt x="1610" y="668"/>
                  </a:lnTo>
                  <a:lnTo>
                    <a:pt x="1610" y="668"/>
                  </a:lnTo>
                  <a:lnTo>
                    <a:pt x="1610" y="668"/>
                  </a:lnTo>
                  <a:lnTo>
                    <a:pt x="1608" y="668"/>
                  </a:lnTo>
                  <a:lnTo>
                    <a:pt x="1608" y="666"/>
                  </a:lnTo>
                  <a:lnTo>
                    <a:pt x="1608" y="666"/>
                  </a:lnTo>
                  <a:lnTo>
                    <a:pt x="1606" y="664"/>
                  </a:lnTo>
                  <a:lnTo>
                    <a:pt x="1604" y="664"/>
                  </a:lnTo>
                  <a:lnTo>
                    <a:pt x="1604" y="666"/>
                  </a:lnTo>
                  <a:lnTo>
                    <a:pt x="1604" y="666"/>
                  </a:lnTo>
                  <a:lnTo>
                    <a:pt x="1602" y="664"/>
                  </a:lnTo>
                  <a:lnTo>
                    <a:pt x="1602" y="666"/>
                  </a:lnTo>
                  <a:lnTo>
                    <a:pt x="1602" y="666"/>
                  </a:lnTo>
                  <a:lnTo>
                    <a:pt x="1602" y="666"/>
                  </a:lnTo>
                  <a:lnTo>
                    <a:pt x="1604" y="668"/>
                  </a:lnTo>
                  <a:lnTo>
                    <a:pt x="1604" y="668"/>
                  </a:lnTo>
                  <a:lnTo>
                    <a:pt x="1604" y="668"/>
                  </a:lnTo>
                  <a:lnTo>
                    <a:pt x="1604" y="670"/>
                  </a:lnTo>
                  <a:lnTo>
                    <a:pt x="1604" y="670"/>
                  </a:lnTo>
                  <a:lnTo>
                    <a:pt x="1604" y="670"/>
                  </a:lnTo>
                  <a:lnTo>
                    <a:pt x="1606" y="672"/>
                  </a:lnTo>
                  <a:lnTo>
                    <a:pt x="1606" y="672"/>
                  </a:lnTo>
                  <a:lnTo>
                    <a:pt x="1606" y="674"/>
                  </a:lnTo>
                  <a:lnTo>
                    <a:pt x="1606" y="674"/>
                  </a:lnTo>
                  <a:lnTo>
                    <a:pt x="1606" y="674"/>
                  </a:lnTo>
                  <a:lnTo>
                    <a:pt x="1604" y="676"/>
                  </a:lnTo>
                  <a:lnTo>
                    <a:pt x="1606" y="676"/>
                  </a:lnTo>
                  <a:lnTo>
                    <a:pt x="1606" y="678"/>
                  </a:lnTo>
                  <a:lnTo>
                    <a:pt x="1606" y="680"/>
                  </a:lnTo>
                  <a:lnTo>
                    <a:pt x="1608" y="680"/>
                  </a:lnTo>
                  <a:lnTo>
                    <a:pt x="1610" y="680"/>
                  </a:lnTo>
                  <a:lnTo>
                    <a:pt x="1612" y="678"/>
                  </a:lnTo>
                  <a:lnTo>
                    <a:pt x="1612" y="678"/>
                  </a:lnTo>
                  <a:lnTo>
                    <a:pt x="1612" y="678"/>
                  </a:lnTo>
                  <a:lnTo>
                    <a:pt x="1612" y="678"/>
                  </a:lnTo>
                  <a:lnTo>
                    <a:pt x="1610" y="676"/>
                  </a:lnTo>
                  <a:lnTo>
                    <a:pt x="1612" y="676"/>
                  </a:lnTo>
                  <a:lnTo>
                    <a:pt x="1612" y="676"/>
                  </a:lnTo>
                  <a:lnTo>
                    <a:pt x="1612" y="676"/>
                  </a:lnTo>
                  <a:lnTo>
                    <a:pt x="1612" y="676"/>
                  </a:lnTo>
                  <a:lnTo>
                    <a:pt x="1614" y="676"/>
                  </a:lnTo>
                  <a:lnTo>
                    <a:pt x="1614" y="676"/>
                  </a:lnTo>
                  <a:lnTo>
                    <a:pt x="1614" y="676"/>
                  </a:lnTo>
                  <a:lnTo>
                    <a:pt x="1614" y="676"/>
                  </a:lnTo>
                  <a:lnTo>
                    <a:pt x="1614" y="674"/>
                  </a:lnTo>
                  <a:lnTo>
                    <a:pt x="1616" y="674"/>
                  </a:lnTo>
                  <a:lnTo>
                    <a:pt x="1616" y="674"/>
                  </a:lnTo>
                  <a:lnTo>
                    <a:pt x="1616" y="674"/>
                  </a:lnTo>
                  <a:lnTo>
                    <a:pt x="1616" y="672"/>
                  </a:lnTo>
                  <a:lnTo>
                    <a:pt x="1616" y="672"/>
                  </a:lnTo>
                  <a:lnTo>
                    <a:pt x="1616" y="672"/>
                  </a:lnTo>
                  <a:lnTo>
                    <a:pt x="1616" y="672"/>
                  </a:lnTo>
                  <a:close/>
                  <a:moveTo>
                    <a:pt x="1589" y="717"/>
                  </a:moveTo>
                  <a:lnTo>
                    <a:pt x="1589" y="717"/>
                  </a:lnTo>
                  <a:lnTo>
                    <a:pt x="1589" y="717"/>
                  </a:lnTo>
                  <a:lnTo>
                    <a:pt x="1589" y="719"/>
                  </a:lnTo>
                  <a:lnTo>
                    <a:pt x="1589" y="719"/>
                  </a:lnTo>
                  <a:lnTo>
                    <a:pt x="1589" y="719"/>
                  </a:lnTo>
                  <a:lnTo>
                    <a:pt x="1589" y="721"/>
                  </a:lnTo>
                  <a:lnTo>
                    <a:pt x="1591" y="721"/>
                  </a:lnTo>
                  <a:lnTo>
                    <a:pt x="1591" y="719"/>
                  </a:lnTo>
                  <a:lnTo>
                    <a:pt x="1591" y="717"/>
                  </a:lnTo>
                  <a:lnTo>
                    <a:pt x="1589" y="717"/>
                  </a:lnTo>
                  <a:close/>
                  <a:moveTo>
                    <a:pt x="1661" y="725"/>
                  </a:moveTo>
                  <a:lnTo>
                    <a:pt x="1655" y="723"/>
                  </a:lnTo>
                  <a:lnTo>
                    <a:pt x="1655" y="723"/>
                  </a:lnTo>
                  <a:lnTo>
                    <a:pt x="1655" y="723"/>
                  </a:lnTo>
                  <a:lnTo>
                    <a:pt x="1655" y="725"/>
                  </a:lnTo>
                  <a:lnTo>
                    <a:pt x="1655" y="725"/>
                  </a:lnTo>
                  <a:lnTo>
                    <a:pt x="1655" y="725"/>
                  </a:lnTo>
                  <a:lnTo>
                    <a:pt x="1655" y="725"/>
                  </a:lnTo>
                  <a:lnTo>
                    <a:pt x="1655" y="728"/>
                  </a:lnTo>
                  <a:lnTo>
                    <a:pt x="1657" y="728"/>
                  </a:lnTo>
                  <a:lnTo>
                    <a:pt x="1657" y="730"/>
                  </a:lnTo>
                  <a:lnTo>
                    <a:pt x="1659" y="734"/>
                  </a:lnTo>
                  <a:lnTo>
                    <a:pt x="1661" y="736"/>
                  </a:lnTo>
                  <a:lnTo>
                    <a:pt x="1661" y="736"/>
                  </a:lnTo>
                  <a:lnTo>
                    <a:pt x="1663" y="736"/>
                  </a:lnTo>
                  <a:lnTo>
                    <a:pt x="1663" y="736"/>
                  </a:lnTo>
                  <a:lnTo>
                    <a:pt x="1663" y="736"/>
                  </a:lnTo>
                  <a:lnTo>
                    <a:pt x="1663" y="736"/>
                  </a:lnTo>
                  <a:lnTo>
                    <a:pt x="1663" y="734"/>
                  </a:lnTo>
                  <a:lnTo>
                    <a:pt x="1663" y="734"/>
                  </a:lnTo>
                  <a:lnTo>
                    <a:pt x="1661" y="734"/>
                  </a:lnTo>
                  <a:lnTo>
                    <a:pt x="1661" y="732"/>
                  </a:lnTo>
                  <a:lnTo>
                    <a:pt x="1661" y="732"/>
                  </a:lnTo>
                  <a:lnTo>
                    <a:pt x="1661" y="732"/>
                  </a:lnTo>
                  <a:lnTo>
                    <a:pt x="1661" y="732"/>
                  </a:lnTo>
                  <a:lnTo>
                    <a:pt x="1663" y="732"/>
                  </a:lnTo>
                  <a:lnTo>
                    <a:pt x="1663" y="730"/>
                  </a:lnTo>
                  <a:lnTo>
                    <a:pt x="1661" y="728"/>
                  </a:lnTo>
                  <a:lnTo>
                    <a:pt x="1661" y="728"/>
                  </a:lnTo>
                  <a:lnTo>
                    <a:pt x="1663" y="728"/>
                  </a:lnTo>
                  <a:lnTo>
                    <a:pt x="1663" y="728"/>
                  </a:lnTo>
                  <a:lnTo>
                    <a:pt x="1663" y="730"/>
                  </a:lnTo>
                  <a:lnTo>
                    <a:pt x="1663" y="730"/>
                  </a:lnTo>
                  <a:lnTo>
                    <a:pt x="1663" y="728"/>
                  </a:lnTo>
                  <a:lnTo>
                    <a:pt x="1661" y="725"/>
                  </a:lnTo>
                  <a:close/>
                  <a:moveTo>
                    <a:pt x="1610" y="740"/>
                  </a:moveTo>
                  <a:lnTo>
                    <a:pt x="1610" y="740"/>
                  </a:lnTo>
                  <a:lnTo>
                    <a:pt x="1610" y="740"/>
                  </a:lnTo>
                  <a:lnTo>
                    <a:pt x="1608" y="740"/>
                  </a:lnTo>
                  <a:lnTo>
                    <a:pt x="1606" y="740"/>
                  </a:lnTo>
                  <a:lnTo>
                    <a:pt x="1606" y="740"/>
                  </a:lnTo>
                  <a:lnTo>
                    <a:pt x="1606" y="740"/>
                  </a:lnTo>
                  <a:lnTo>
                    <a:pt x="1606" y="742"/>
                  </a:lnTo>
                  <a:lnTo>
                    <a:pt x="1606" y="742"/>
                  </a:lnTo>
                  <a:lnTo>
                    <a:pt x="1606" y="742"/>
                  </a:lnTo>
                  <a:lnTo>
                    <a:pt x="1606" y="742"/>
                  </a:lnTo>
                  <a:lnTo>
                    <a:pt x="1606" y="744"/>
                  </a:lnTo>
                  <a:lnTo>
                    <a:pt x="1606" y="744"/>
                  </a:lnTo>
                  <a:lnTo>
                    <a:pt x="1606" y="744"/>
                  </a:lnTo>
                  <a:lnTo>
                    <a:pt x="1606" y="744"/>
                  </a:lnTo>
                  <a:lnTo>
                    <a:pt x="1606" y="746"/>
                  </a:lnTo>
                  <a:lnTo>
                    <a:pt x="1606" y="746"/>
                  </a:lnTo>
                  <a:lnTo>
                    <a:pt x="1606" y="746"/>
                  </a:lnTo>
                  <a:lnTo>
                    <a:pt x="1606" y="746"/>
                  </a:lnTo>
                  <a:lnTo>
                    <a:pt x="1606" y="746"/>
                  </a:lnTo>
                  <a:lnTo>
                    <a:pt x="1606" y="746"/>
                  </a:lnTo>
                  <a:lnTo>
                    <a:pt x="1606" y="746"/>
                  </a:lnTo>
                  <a:lnTo>
                    <a:pt x="1606" y="746"/>
                  </a:lnTo>
                  <a:lnTo>
                    <a:pt x="1606" y="748"/>
                  </a:lnTo>
                  <a:lnTo>
                    <a:pt x="1606" y="748"/>
                  </a:lnTo>
                  <a:lnTo>
                    <a:pt x="1608" y="748"/>
                  </a:lnTo>
                  <a:lnTo>
                    <a:pt x="1608" y="750"/>
                  </a:lnTo>
                  <a:lnTo>
                    <a:pt x="1608" y="750"/>
                  </a:lnTo>
                  <a:lnTo>
                    <a:pt x="1608" y="748"/>
                  </a:lnTo>
                  <a:lnTo>
                    <a:pt x="1608" y="748"/>
                  </a:lnTo>
                  <a:lnTo>
                    <a:pt x="1608" y="746"/>
                  </a:lnTo>
                  <a:lnTo>
                    <a:pt x="1608" y="744"/>
                  </a:lnTo>
                  <a:lnTo>
                    <a:pt x="1608" y="744"/>
                  </a:lnTo>
                  <a:lnTo>
                    <a:pt x="1608" y="744"/>
                  </a:lnTo>
                  <a:lnTo>
                    <a:pt x="1608" y="744"/>
                  </a:lnTo>
                  <a:lnTo>
                    <a:pt x="1608" y="744"/>
                  </a:lnTo>
                  <a:lnTo>
                    <a:pt x="1608" y="744"/>
                  </a:lnTo>
                  <a:lnTo>
                    <a:pt x="1610" y="744"/>
                  </a:lnTo>
                  <a:lnTo>
                    <a:pt x="1610" y="744"/>
                  </a:lnTo>
                  <a:lnTo>
                    <a:pt x="1610" y="744"/>
                  </a:lnTo>
                  <a:lnTo>
                    <a:pt x="1610" y="742"/>
                  </a:lnTo>
                  <a:lnTo>
                    <a:pt x="1610" y="742"/>
                  </a:lnTo>
                  <a:lnTo>
                    <a:pt x="1610" y="742"/>
                  </a:lnTo>
                  <a:lnTo>
                    <a:pt x="1610" y="742"/>
                  </a:lnTo>
                  <a:lnTo>
                    <a:pt x="1610" y="742"/>
                  </a:lnTo>
                  <a:lnTo>
                    <a:pt x="1610" y="742"/>
                  </a:lnTo>
                  <a:lnTo>
                    <a:pt x="1610" y="742"/>
                  </a:lnTo>
                  <a:lnTo>
                    <a:pt x="1610" y="742"/>
                  </a:lnTo>
                  <a:lnTo>
                    <a:pt x="1610" y="740"/>
                  </a:lnTo>
                  <a:lnTo>
                    <a:pt x="1610" y="740"/>
                  </a:lnTo>
                  <a:lnTo>
                    <a:pt x="1610" y="740"/>
                  </a:lnTo>
                  <a:close/>
                  <a:moveTo>
                    <a:pt x="1643" y="762"/>
                  </a:moveTo>
                  <a:lnTo>
                    <a:pt x="1643" y="762"/>
                  </a:lnTo>
                  <a:lnTo>
                    <a:pt x="1643" y="760"/>
                  </a:lnTo>
                  <a:lnTo>
                    <a:pt x="1643" y="760"/>
                  </a:lnTo>
                  <a:lnTo>
                    <a:pt x="1643" y="760"/>
                  </a:lnTo>
                  <a:lnTo>
                    <a:pt x="1641" y="760"/>
                  </a:lnTo>
                  <a:lnTo>
                    <a:pt x="1641" y="760"/>
                  </a:lnTo>
                  <a:lnTo>
                    <a:pt x="1641" y="760"/>
                  </a:lnTo>
                  <a:lnTo>
                    <a:pt x="1641" y="760"/>
                  </a:lnTo>
                  <a:lnTo>
                    <a:pt x="1641" y="760"/>
                  </a:lnTo>
                  <a:lnTo>
                    <a:pt x="1643" y="760"/>
                  </a:lnTo>
                  <a:lnTo>
                    <a:pt x="1643" y="760"/>
                  </a:lnTo>
                  <a:lnTo>
                    <a:pt x="1643" y="760"/>
                  </a:lnTo>
                  <a:lnTo>
                    <a:pt x="1643" y="758"/>
                  </a:lnTo>
                  <a:lnTo>
                    <a:pt x="1643" y="758"/>
                  </a:lnTo>
                  <a:lnTo>
                    <a:pt x="1643" y="758"/>
                  </a:lnTo>
                  <a:lnTo>
                    <a:pt x="1643" y="758"/>
                  </a:lnTo>
                  <a:lnTo>
                    <a:pt x="1643" y="758"/>
                  </a:lnTo>
                  <a:lnTo>
                    <a:pt x="1643" y="758"/>
                  </a:lnTo>
                  <a:lnTo>
                    <a:pt x="1643" y="756"/>
                  </a:lnTo>
                  <a:lnTo>
                    <a:pt x="1641" y="756"/>
                  </a:lnTo>
                  <a:lnTo>
                    <a:pt x="1641" y="756"/>
                  </a:lnTo>
                  <a:lnTo>
                    <a:pt x="1641" y="756"/>
                  </a:lnTo>
                  <a:lnTo>
                    <a:pt x="1641" y="756"/>
                  </a:lnTo>
                  <a:lnTo>
                    <a:pt x="1641" y="756"/>
                  </a:lnTo>
                  <a:lnTo>
                    <a:pt x="1641"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6" y="756"/>
                  </a:lnTo>
                  <a:lnTo>
                    <a:pt x="1636" y="756"/>
                  </a:lnTo>
                  <a:lnTo>
                    <a:pt x="1636" y="756"/>
                  </a:lnTo>
                  <a:lnTo>
                    <a:pt x="1636" y="756"/>
                  </a:lnTo>
                  <a:lnTo>
                    <a:pt x="1636" y="756"/>
                  </a:lnTo>
                  <a:lnTo>
                    <a:pt x="1636" y="758"/>
                  </a:lnTo>
                  <a:lnTo>
                    <a:pt x="1636" y="758"/>
                  </a:lnTo>
                  <a:lnTo>
                    <a:pt x="1636" y="758"/>
                  </a:lnTo>
                  <a:lnTo>
                    <a:pt x="1636" y="758"/>
                  </a:lnTo>
                  <a:lnTo>
                    <a:pt x="1638" y="758"/>
                  </a:lnTo>
                  <a:lnTo>
                    <a:pt x="1638" y="760"/>
                  </a:lnTo>
                  <a:lnTo>
                    <a:pt x="1638" y="760"/>
                  </a:lnTo>
                  <a:lnTo>
                    <a:pt x="1638" y="760"/>
                  </a:lnTo>
                  <a:lnTo>
                    <a:pt x="1638" y="760"/>
                  </a:lnTo>
                  <a:lnTo>
                    <a:pt x="1638" y="760"/>
                  </a:lnTo>
                  <a:lnTo>
                    <a:pt x="1638" y="760"/>
                  </a:lnTo>
                  <a:lnTo>
                    <a:pt x="1641" y="760"/>
                  </a:lnTo>
                  <a:lnTo>
                    <a:pt x="1641" y="760"/>
                  </a:lnTo>
                  <a:lnTo>
                    <a:pt x="1641" y="762"/>
                  </a:lnTo>
                  <a:lnTo>
                    <a:pt x="1641" y="762"/>
                  </a:lnTo>
                  <a:lnTo>
                    <a:pt x="1641" y="762"/>
                  </a:lnTo>
                  <a:lnTo>
                    <a:pt x="1641" y="762"/>
                  </a:lnTo>
                  <a:lnTo>
                    <a:pt x="1641" y="762"/>
                  </a:lnTo>
                  <a:lnTo>
                    <a:pt x="1643" y="762"/>
                  </a:lnTo>
                  <a:lnTo>
                    <a:pt x="1643" y="762"/>
                  </a:lnTo>
                  <a:lnTo>
                    <a:pt x="1643" y="764"/>
                  </a:lnTo>
                  <a:lnTo>
                    <a:pt x="1643" y="764"/>
                  </a:lnTo>
                  <a:lnTo>
                    <a:pt x="1645" y="764"/>
                  </a:lnTo>
                  <a:lnTo>
                    <a:pt x="1645" y="762"/>
                  </a:lnTo>
                  <a:lnTo>
                    <a:pt x="1643" y="762"/>
                  </a:lnTo>
                  <a:close/>
                  <a:moveTo>
                    <a:pt x="1663" y="760"/>
                  </a:moveTo>
                  <a:lnTo>
                    <a:pt x="1663" y="760"/>
                  </a:lnTo>
                  <a:lnTo>
                    <a:pt x="1663" y="758"/>
                  </a:lnTo>
                  <a:lnTo>
                    <a:pt x="1661" y="758"/>
                  </a:lnTo>
                  <a:lnTo>
                    <a:pt x="1661" y="758"/>
                  </a:lnTo>
                  <a:lnTo>
                    <a:pt x="1661" y="758"/>
                  </a:lnTo>
                  <a:lnTo>
                    <a:pt x="1661" y="756"/>
                  </a:lnTo>
                  <a:lnTo>
                    <a:pt x="1661" y="756"/>
                  </a:lnTo>
                  <a:lnTo>
                    <a:pt x="1661" y="756"/>
                  </a:lnTo>
                  <a:lnTo>
                    <a:pt x="1663" y="756"/>
                  </a:lnTo>
                  <a:lnTo>
                    <a:pt x="1663" y="756"/>
                  </a:lnTo>
                  <a:lnTo>
                    <a:pt x="1663" y="754"/>
                  </a:lnTo>
                  <a:lnTo>
                    <a:pt x="1661" y="754"/>
                  </a:lnTo>
                  <a:lnTo>
                    <a:pt x="1661" y="754"/>
                  </a:lnTo>
                  <a:lnTo>
                    <a:pt x="1661" y="754"/>
                  </a:lnTo>
                  <a:lnTo>
                    <a:pt x="1661" y="754"/>
                  </a:lnTo>
                  <a:lnTo>
                    <a:pt x="1661" y="754"/>
                  </a:lnTo>
                  <a:lnTo>
                    <a:pt x="1661" y="754"/>
                  </a:lnTo>
                  <a:lnTo>
                    <a:pt x="1661" y="754"/>
                  </a:lnTo>
                  <a:lnTo>
                    <a:pt x="1661" y="752"/>
                  </a:lnTo>
                  <a:lnTo>
                    <a:pt x="1661" y="752"/>
                  </a:lnTo>
                  <a:lnTo>
                    <a:pt x="1659" y="752"/>
                  </a:lnTo>
                  <a:lnTo>
                    <a:pt x="1659" y="752"/>
                  </a:lnTo>
                  <a:lnTo>
                    <a:pt x="1659" y="752"/>
                  </a:lnTo>
                  <a:lnTo>
                    <a:pt x="1659" y="750"/>
                  </a:lnTo>
                  <a:lnTo>
                    <a:pt x="1659" y="750"/>
                  </a:lnTo>
                  <a:lnTo>
                    <a:pt x="1659" y="750"/>
                  </a:lnTo>
                  <a:lnTo>
                    <a:pt x="1659" y="750"/>
                  </a:lnTo>
                  <a:lnTo>
                    <a:pt x="1659" y="748"/>
                  </a:lnTo>
                  <a:lnTo>
                    <a:pt x="1659" y="748"/>
                  </a:lnTo>
                  <a:lnTo>
                    <a:pt x="1659" y="748"/>
                  </a:lnTo>
                  <a:lnTo>
                    <a:pt x="1659" y="748"/>
                  </a:lnTo>
                  <a:lnTo>
                    <a:pt x="1659" y="748"/>
                  </a:lnTo>
                  <a:lnTo>
                    <a:pt x="1659" y="748"/>
                  </a:lnTo>
                  <a:lnTo>
                    <a:pt x="1657" y="748"/>
                  </a:lnTo>
                  <a:lnTo>
                    <a:pt x="1657" y="746"/>
                  </a:lnTo>
                  <a:lnTo>
                    <a:pt x="1657" y="746"/>
                  </a:lnTo>
                  <a:lnTo>
                    <a:pt x="1659" y="746"/>
                  </a:lnTo>
                  <a:lnTo>
                    <a:pt x="1659" y="746"/>
                  </a:lnTo>
                  <a:lnTo>
                    <a:pt x="1657" y="744"/>
                  </a:lnTo>
                  <a:lnTo>
                    <a:pt x="1657" y="744"/>
                  </a:lnTo>
                  <a:lnTo>
                    <a:pt x="1659" y="744"/>
                  </a:lnTo>
                  <a:lnTo>
                    <a:pt x="1657" y="744"/>
                  </a:lnTo>
                  <a:lnTo>
                    <a:pt x="1657" y="746"/>
                  </a:lnTo>
                  <a:lnTo>
                    <a:pt x="1655" y="746"/>
                  </a:lnTo>
                  <a:lnTo>
                    <a:pt x="1655" y="748"/>
                  </a:lnTo>
                  <a:lnTo>
                    <a:pt x="1655" y="748"/>
                  </a:lnTo>
                  <a:lnTo>
                    <a:pt x="1655" y="748"/>
                  </a:lnTo>
                  <a:lnTo>
                    <a:pt x="1655" y="748"/>
                  </a:lnTo>
                  <a:lnTo>
                    <a:pt x="1655" y="748"/>
                  </a:lnTo>
                  <a:lnTo>
                    <a:pt x="1655" y="748"/>
                  </a:lnTo>
                  <a:lnTo>
                    <a:pt x="1653" y="748"/>
                  </a:lnTo>
                  <a:lnTo>
                    <a:pt x="1653" y="748"/>
                  </a:lnTo>
                  <a:lnTo>
                    <a:pt x="1653" y="748"/>
                  </a:lnTo>
                  <a:lnTo>
                    <a:pt x="1653" y="748"/>
                  </a:lnTo>
                  <a:lnTo>
                    <a:pt x="1651" y="748"/>
                  </a:lnTo>
                  <a:lnTo>
                    <a:pt x="1651" y="748"/>
                  </a:lnTo>
                  <a:lnTo>
                    <a:pt x="1653" y="746"/>
                  </a:lnTo>
                  <a:lnTo>
                    <a:pt x="1653" y="746"/>
                  </a:lnTo>
                  <a:lnTo>
                    <a:pt x="1655" y="746"/>
                  </a:lnTo>
                  <a:lnTo>
                    <a:pt x="1655" y="744"/>
                  </a:lnTo>
                  <a:lnTo>
                    <a:pt x="1655" y="744"/>
                  </a:lnTo>
                  <a:lnTo>
                    <a:pt x="1655" y="744"/>
                  </a:lnTo>
                  <a:lnTo>
                    <a:pt x="1653" y="744"/>
                  </a:lnTo>
                  <a:lnTo>
                    <a:pt x="1653" y="744"/>
                  </a:lnTo>
                  <a:lnTo>
                    <a:pt x="1653" y="744"/>
                  </a:lnTo>
                  <a:lnTo>
                    <a:pt x="1653" y="744"/>
                  </a:lnTo>
                  <a:lnTo>
                    <a:pt x="1655" y="744"/>
                  </a:lnTo>
                  <a:lnTo>
                    <a:pt x="1655" y="742"/>
                  </a:lnTo>
                  <a:lnTo>
                    <a:pt x="1653" y="742"/>
                  </a:lnTo>
                  <a:lnTo>
                    <a:pt x="1653" y="742"/>
                  </a:lnTo>
                  <a:lnTo>
                    <a:pt x="1653" y="742"/>
                  </a:lnTo>
                  <a:lnTo>
                    <a:pt x="1653" y="742"/>
                  </a:lnTo>
                  <a:lnTo>
                    <a:pt x="1653" y="742"/>
                  </a:lnTo>
                  <a:lnTo>
                    <a:pt x="1655" y="742"/>
                  </a:lnTo>
                  <a:lnTo>
                    <a:pt x="1655" y="742"/>
                  </a:lnTo>
                  <a:lnTo>
                    <a:pt x="1655" y="742"/>
                  </a:lnTo>
                  <a:lnTo>
                    <a:pt x="1655" y="742"/>
                  </a:lnTo>
                  <a:lnTo>
                    <a:pt x="1655" y="740"/>
                  </a:lnTo>
                  <a:lnTo>
                    <a:pt x="1655" y="740"/>
                  </a:lnTo>
                  <a:lnTo>
                    <a:pt x="1655" y="740"/>
                  </a:lnTo>
                  <a:lnTo>
                    <a:pt x="1655" y="740"/>
                  </a:lnTo>
                  <a:lnTo>
                    <a:pt x="1655" y="738"/>
                  </a:lnTo>
                  <a:lnTo>
                    <a:pt x="1655" y="738"/>
                  </a:lnTo>
                  <a:lnTo>
                    <a:pt x="1655" y="736"/>
                  </a:lnTo>
                  <a:lnTo>
                    <a:pt x="1655" y="736"/>
                  </a:lnTo>
                  <a:lnTo>
                    <a:pt x="1655" y="734"/>
                  </a:lnTo>
                  <a:lnTo>
                    <a:pt x="1655" y="734"/>
                  </a:lnTo>
                  <a:lnTo>
                    <a:pt x="1653" y="734"/>
                  </a:lnTo>
                  <a:lnTo>
                    <a:pt x="1653" y="732"/>
                  </a:lnTo>
                  <a:lnTo>
                    <a:pt x="1653" y="732"/>
                  </a:lnTo>
                  <a:lnTo>
                    <a:pt x="1653" y="734"/>
                  </a:lnTo>
                  <a:lnTo>
                    <a:pt x="1651" y="734"/>
                  </a:lnTo>
                  <a:lnTo>
                    <a:pt x="1651" y="736"/>
                  </a:lnTo>
                  <a:lnTo>
                    <a:pt x="1651" y="738"/>
                  </a:lnTo>
                  <a:lnTo>
                    <a:pt x="1649" y="736"/>
                  </a:lnTo>
                  <a:lnTo>
                    <a:pt x="1649" y="736"/>
                  </a:lnTo>
                  <a:lnTo>
                    <a:pt x="1649" y="738"/>
                  </a:lnTo>
                  <a:lnTo>
                    <a:pt x="1649" y="738"/>
                  </a:lnTo>
                  <a:lnTo>
                    <a:pt x="1649" y="738"/>
                  </a:lnTo>
                  <a:lnTo>
                    <a:pt x="1647" y="738"/>
                  </a:lnTo>
                  <a:lnTo>
                    <a:pt x="1647" y="738"/>
                  </a:lnTo>
                  <a:lnTo>
                    <a:pt x="1647" y="738"/>
                  </a:lnTo>
                  <a:lnTo>
                    <a:pt x="1647" y="736"/>
                  </a:lnTo>
                  <a:lnTo>
                    <a:pt x="1647" y="736"/>
                  </a:lnTo>
                  <a:lnTo>
                    <a:pt x="1647" y="736"/>
                  </a:lnTo>
                  <a:lnTo>
                    <a:pt x="1647" y="736"/>
                  </a:lnTo>
                  <a:lnTo>
                    <a:pt x="1649" y="736"/>
                  </a:lnTo>
                  <a:lnTo>
                    <a:pt x="1649" y="736"/>
                  </a:lnTo>
                  <a:lnTo>
                    <a:pt x="1651" y="734"/>
                  </a:lnTo>
                  <a:lnTo>
                    <a:pt x="1651" y="734"/>
                  </a:lnTo>
                  <a:lnTo>
                    <a:pt x="1651" y="734"/>
                  </a:lnTo>
                  <a:lnTo>
                    <a:pt x="1651" y="732"/>
                  </a:lnTo>
                  <a:lnTo>
                    <a:pt x="1649" y="732"/>
                  </a:lnTo>
                  <a:lnTo>
                    <a:pt x="1649" y="732"/>
                  </a:lnTo>
                  <a:lnTo>
                    <a:pt x="1649" y="732"/>
                  </a:lnTo>
                  <a:lnTo>
                    <a:pt x="1649" y="732"/>
                  </a:lnTo>
                  <a:lnTo>
                    <a:pt x="1649" y="732"/>
                  </a:lnTo>
                  <a:lnTo>
                    <a:pt x="1649" y="732"/>
                  </a:lnTo>
                  <a:lnTo>
                    <a:pt x="1647" y="730"/>
                  </a:lnTo>
                  <a:lnTo>
                    <a:pt x="1647" y="730"/>
                  </a:lnTo>
                  <a:lnTo>
                    <a:pt x="1647" y="730"/>
                  </a:lnTo>
                  <a:lnTo>
                    <a:pt x="1647" y="730"/>
                  </a:lnTo>
                  <a:lnTo>
                    <a:pt x="1647" y="730"/>
                  </a:lnTo>
                  <a:lnTo>
                    <a:pt x="1647" y="730"/>
                  </a:lnTo>
                  <a:lnTo>
                    <a:pt x="1647" y="730"/>
                  </a:lnTo>
                  <a:lnTo>
                    <a:pt x="1647" y="730"/>
                  </a:lnTo>
                  <a:lnTo>
                    <a:pt x="1645" y="730"/>
                  </a:lnTo>
                  <a:lnTo>
                    <a:pt x="1645" y="728"/>
                  </a:lnTo>
                  <a:lnTo>
                    <a:pt x="1643" y="728"/>
                  </a:lnTo>
                  <a:lnTo>
                    <a:pt x="1643" y="730"/>
                  </a:lnTo>
                  <a:lnTo>
                    <a:pt x="1643" y="730"/>
                  </a:lnTo>
                  <a:lnTo>
                    <a:pt x="1641" y="730"/>
                  </a:lnTo>
                  <a:lnTo>
                    <a:pt x="1641" y="730"/>
                  </a:lnTo>
                  <a:lnTo>
                    <a:pt x="1641" y="730"/>
                  </a:lnTo>
                  <a:lnTo>
                    <a:pt x="1641" y="730"/>
                  </a:lnTo>
                  <a:lnTo>
                    <a:pt x="1641" y="732"/>
                  </a:lnTo>
                  <a:lnTo>
                    <a:pt x="1641" y="730"/>
                  </a:lnTo>
                  <a:lnTo>
                    <a:pt x="1641" y="730"/>
                  </a:lnTo>
                  <a:lnTo>
                    <a:pt x="1638" y="730"/>
                  </a:lnTo>
                  <a:lnTo>
                    <a:pt x="1638" y="730"/>
                  </a:lnTo>
                  <a:lnTo>
                    <a:pt x="1638" y="732"/>
                  </a:lnTo>
                  <a:lnTo>
                    <a:pt x="1638" y="732"/>
                  </a:lnTo>
                  <a:lnTo>
                    <a:pt x="1636" y="730"/>
                  </a:lnTo>
                  <a:lnTo>
                    <a:pt x="1636" y="730"/>
                  </a:lnTo>
                  <a:lnTo>
                    <a:pt x="1638" y="730"/>
                  </a:lnTo>
                  <a:lnTo>
                    <a:pt x="1641" y="728"/>
                  </a:lnTo>
                  <a:lnTo>
                    <a:pt x="1641" y="728"/>
                  </a:lnTo>
                  <a:lnTo>
                    <a:pt x="1641" y="728"/>
                  </a:lnTo>
                  <a:lnTo>
                    <a:pt x="1641" y="728"/>
                  </a:lnTo>
                  <a:lnTo>
                    <a:pt x="1641" y="728"/>
                  </a:lnTo>
                  <a:lnTo>
                    <a:pt x="1641" y="728"/>
                  </a:lnTo>
                  <a:lnTo>
                    <a:pt x="1643" y="728"/>
                  </a:lnTo>
                  <a:lnTo>
                    <a:pt x="1643" y="728"/>
                  </a:lnTo>
                  <a:lnTo>
                    <a:pt x="1643" y="728"/>
                  </a:lnTo>
                  <a:lnTo>
                    <a:pt x="1643" y="725"/>
                  </a:lnTo>
                  <a:lnTo>
                    <a:pt x="1641" y="725"/>
                  </a:lnTo>
                  <a:lnTo>
                    <a:pt x="1638" y="725"/>
                  </a:lnTo>
                  <a:lnTo>
                    <a:pt x="1638" y="725"/>
                  </a:lnTo>
                  <a:lnTo>
                    <a:pt x="1638" y="725"/>
                  </a:lnTo>
                  <a:lnTo>
                    <a:pt x="1638" y="723"/>
                  </a:lnTo>
                  <a:lnTo>
                    <a:pt x="1636" y="725"/>
                  </a:lnTo>
                  <a:lnTo>
                    <a:pt x="1636" y="725"/>
                  </a:lnTo>
                  <a:lnTo>
                    <a:pt x="1636" y="725"/>
                  </a:lnTo>
                  <a:lnTo>
                    <a:pt x="1636" y="725"/>
                  </a:lnTo>
                  <a:lnTo>
                    <a:pt x="1634" y="725"/>
                  </a:lnTo>
                  <a:lnTo>
                    <a:pt x="1634" y="725"/>
                  </a:lnTo>
                  <a:lnTo>
                    <a:pt x="1634" y="725"/>
                  </a:lnTo>
                  <a:lnTo>
                    <a:pt x="1634" y="725"/>
                  </a:lnTo>
                  <a:lnTo>
                    <a:pt x="1634" y="725"/>
                  </a:lnTo>
                  <a:lnTo>
                    <a:pt x="1634" y="725"/>
                  </a:lnTo>
                  <a:lnTo>
                    <a:pt x="1634" y="728"/>
                  </a:lnTo>
                  <a:lnTo>
                    <a:pt x="1634" y="728"/>
                  </a:lnTo>
                  <a:lnTo>
                    <a:pt x="1634" y="728"/>
                  </a:lnTo>
                  <a:lnTo>
                    <a:pt x="1634" y="728"/>
                  </a:lnTo>
                  <a:lnTo>
                    <a:pt x="1634" y="728"/>
                  </a:lnTo>
                  <a:lnTo>
                    <a:pt x="1632" y="730"/>
                  </a:lnTo>
                  <a:lnTo>
                    <a:pt x="1632" y="730"/>
                  </a:lnTo>
                  <a:lnTo>
                    <a:pt x="1632" y="732"/>
                  </a:lnTo>
                  <a:lnTo>
                    <a:pt x="1632" y="732"/>
                  </a:lnTo>
                  <a:lnTo>
                    <a:pt x="1632" y="730"/>
                  </a:lnTo>
                  <a:lnTo>
                    <a:pt x="1632" y="730"/>
                  </a:lnTo>
                  <a:lnTo>
                    <a:pt x="1630" y="730"/>
                  </a:lnTo>
                  <a:lnTo>
                    <a:pt x="1630" y="730"/>
                  </a:lnTo>
                  <a:lnTo>
                    <a:pt x="1630" y="730"/>
                  </a:lnTo>
                  <a:lnTo>
                    <a:pt x="1632" y="728"/>
                  </a:lnTo>
                  <a:lnTo>
                    <a:pt x="1632" y="725"/>
                  </a:lnTo>
                  <a:lnTo>
                    <a:pt x="1634" y="723"/>
                  </a:lnTo>
                  <a:lnTo>
                    <a:pt x="1634" y="723"/>
                  </a:lnTo>
                  <a:lnTo>
                    <a:pt x="1632" y="723"/>
                  </a:lnTo>
                  <a:lnTo>
                    <a:pt x="1632" y="723"/>
                  </a:lnTo>
                  <a:lnTo>
                    <a:pt x="1632" y="723"/>
                  </a:lnTo>
                  <a:lnTo>
                    <a:pt x="1632" y="723"/>
                  </a:lnTo>
                  <a:lnTo>
                    <a:pt x="1632" y="721"/>
                  </a:lnTo>
                  <a:lnTo>
                    <a:pt x="1632" y="721"/>
                  </a:lnTo>
                  <a:lnTo>
                    <a:pt x="1632" y="721"/>
                  </a:lnTo>
                  <a:lnTo>
                    <a:pt x="1632" y="721"/>
                  </a:lnTo>
                  <a:lnTo>
                    <a:pt x="1632" y="721"/>
                  </a:lnTo>
                  <a:lnTo>
                    <a:pt x="1632" y="721"/>
                  </a:lnTo>
                  <a:lnTo>
                    <a:pt x="1632" y="719"/>
                  </a:lnTo>
                  <a:lnTo>
                    <a:pt x="1634" y="721"/>
                  </a:lnTo>
                  <a:lnTo>
                    <a:pt x="1636" y="723"/>
                  </a:lnTo>
                  <a:lnTo>
                    <a:pt x="1636" y="723"/>
                  </a:lnTo>
                  <a:lnTo>
                    <a:pt x="1638" y="723"/>
                  </a:lnTo>
                  <a:lnTo>
                    <a:pt x="1641" y="723"/>
                  </a:lnTo>
                  <a:lnTo>
                    <a:pt x="1643" y="723"/>
                  </a:lnTo>
                  <a:lnTo>
                    <a:pt x="1643" y="725"/>
                  </a:lnTo>
                  <a:lnTo>
                    <a:pt x="1645" y="725"/>
                  </a:lnTo>
                  <a:lnTo>
                    <a:pt x="1647" y="725"/>
                  </a:lnTo>
                  <a:lnTo>
                    <a:pt x="1647" y="723"/>
                  </a:lnTo>
                  <a:lnTo>
                    <a:pt x="1645" y="723"/>
                  </a:lnTo>
                  <a:lnTo>
                    <a:pt x="1645" y="723"/>
                  </a:lnTo>
                  <a:lnTo>
                    <a:pt x="1643" y="721"/>
                  </a:lnTo>
                  <a:lnTo>
                    <a:pt x="1643" y="721"/>
                  </a:lnTo>
                  <a:lnTo>
                    <a:pt x="1641" y="721"/>
                  </a:lnTo>
                  <a:lnTo>
                    <a:pt x="1641" y="721"/>
                  </a:lnTo>
                  <a:lnTo>
                    <a:pt x="1638" y="719"/>
                  </a:lnTo>
                  <a:lnTo>
                    <a:pt x="1638" y="719"/>
                  </a:lnTo>
                  <a:lnTo>
                    <a:pt x="1638" y="719"/>
                  </a:lnTo>
                  <a:lnTo>
                    <a:pt x="1636" y="717"/>
                  </a:lnTo>
                  <a:lnTo>
                    <a:pt x="1636" y="717"/>
                  </a:lnTo>
                  <a:lnTo>
                    <a:pt x="1636" y="717"/>
                  </a:lnTo>
                  <a:lnTo>
                    <a:pt x="1636" y="717"/>
                  </a:lnTo>
                  <a:lnTo>
                    <a:pt x="1634" y="717"/>
                  </a:lnTo>
                  <a:lnTo>
                    <a:pt x="1634" y="719"/>
                  </a:lnTo>
                  <a:lnTo>
                    <a:pt x="1634" y="719"/>
                  </a:lnTo>
                  <a:lnTo>
                    <a:pt x="1634" y="719"/>
                  </a:lnTo>
                  <a:lnTo>
                    <a:pt x="1634" y="717"/>
                  </a:lnTo>
                  <a:lnTo>
                    <a:pt x="1634" y="717"/>
                  </a:lnTo>
                  <a:lnTo>
                    <a:pt x="1634" y="717"/>
                  </a:lnTo>
                  <a:lnTo>
                    <a:pt x="1634" y="715"/>
                  </a:lnTo>
                  <a:lnTo>
                    <a:pt x="1632" y="715"/>
                  </a:lnTo>
                  <a:lnTo>
                    <a:pt x="1632" y="715"/>
                  </a:lnTo>
                  <a:lnTo>
                    <a:pt x="1632" y="713"/>
                  </a:lnTo>
                  <a:lnTo>
                    <a:pt x="1632" y="713"/>
                  </a:lnTo>
                  <a:lnTo>
                    <a:pt x="1632" y="713"/>
                  </a:lnTo>
                  <a:lnTo>
                    <a:pt x="1632" y="711"/>
                  </a:lnTo>
                  <a:lnTo>
                    <a:pt x="1630" y="709"/>
                  </a:lnTo>
                  <a:lnTo>
                    <a:pt x="1628" y="709"/>
                  </a:lnTo>
                  <a:lnTo>
                    <a:pt x="1628" y="709"/>
                  </a:lnTo>
                  <a:lnTo>
                    <a:pt x="1628" y="709"/>
                  </a:lnTo>
                  <a:lnTo>
                    <a:pt x="1626" y="707"/>
                  </a:lnTo>
                  <a:lnTo>
                    <a:pt x="1626" y="707"/>
                  </a:lnTo>
                  <a:lnTo>
                    <a:pt x="1626" y="707"/>
                  </a:lnTo>
                  <a:lnTo>
                    <a:pt x="1626" y="707"/>
                  </a:lnTo>
                  <a:lnTo>
                    <a:pt x="1624" y="707"/>
                  </a:lnTo>
                  <a:lnTo>
                    <a:pt x="1624" y="705"/>
                  </a:lnTo>
                  <a:lnTo>
                    <a:pt x="1622" y="705"/>
                  </a:lnTo>
                  <a:lnTo>
                    <a:pt x="1622" y="705"/>
                  </a:lnTo>
                  <a:lnTo>
                    <a:pt x="1622" y="705"/>
                  </a:lnTo>
                  <a:lnTo>
                    <a:pt x="1620" y="703"/>
                  </a:lnTo>
                  <a:lnTo>
                    <a:pt x="1618" y="703"/>
                  </a:lnTo>
                  <a:lnTo>
                    <a:pt x="1618" y="703"/>
                  </a:lnTo>
                  <a:lnTo>
                    <a:pt x="1618" y="703"/>
                  </a:lnTo>
                  <a:lnTo>
                    <a:pt x="1618" y="703"/>
                  </a:lnTo>
                  <a:lnTo>
                    <a:pt x="1616" y="703"/>
                  </a:lnTo>
                  <a:lnTo>
                    <a:pt x="1616" y="703"/>
                  </a:lnTo>
                  <a:lnTo>
                    <a:pt x="1616" y="703"/>
                  </a:lnTo>
                  <a:lnTo>
                    <a:pt x="1616" y="703"/>
                  </a:lnTo>
                  <a:lnTo>
                    <a:pt x="1616" y="703"/>
                  </a:lnTo>
                  <a:lnTo>
                    <a:pt x="1616" y="703"/>
                  </a:lnTo>
                  <a:lnTo>
                    <a:pt x="1616" y="703"/>
                  </a:lnTo>
                  <a:lnTo>
                    <a:pt x="1616" y="703"/>
                  </a:lnTo>
                  <a:lnTo>
                    <a:pt x="1614" y="703"/>
                  </a:lnTo>
                  <a:lnTo>
                    <a:pt x="1614" y="703"/>
                  </a:lnTo>
                  <a:lnTo>
                    <a:pt x="1614" y="701"/>
                  </a:lnTo>
                  <a:lnTo>
                    <a:pt x="1614" y="701"/>
                  </a:lnTo>
                  <a:lnTo>
                    <a:pt x="1614" y="703"/>
                  </a:lnTo>
                  <a:lnTo>
                    <a:pt x="1614" y="703"/>
                  </a:lnTo>
                  <a:lnTo>
                    <a:pt x="1614" y="703"/>
                  </a:lnTo>
                  <a:lnTo>
                    <a:pt x="1614" y="703"/>
                  </a:lnTo>
                  <a:lnTo>
                    <a:pt x="1612" y="703"/>
                  </a:lnTo>
                  <a:lnTo>
                    <a:pt x="1612" y="703"/>
                  </a:lnTo>
                  <a:lnTo>
                    <a:pt x="1612" y="703"/>
                  </a:lnTo>
                  <a:lnTo>
                    <a:pt x="1610" y="703"/>
                  </a:lnTo>
                  <a:lnTo>
                    <a:pt x="1610" y="703"/>
                  </a:lnTo>
                  <a:lnTo>
                    <a:pt x="1610" y="703"/>
                  </a:lnTo>
                  <a:lnTo>
                    <a:pt x="1608" y="701"/>
                  </a:lnTo>
                  <a:lnTo>
                    <a:pt x="1608" y="701"/>
                  </a:lnTo>
                  <a:lnTo>
                    <a:pt x="1608" y="701"/>
                  </a:lnTo>
                  <a:lnTo>
                    <a:pt x="1610" y="701"/>
                  </a:lnTo>
                  <a:lnTo>
                    <a:pt x="1610" y="701"/>
                  </a:lnTo>
                  <a:lnTo>
                    <a:pt x="1610" y="699"/>
                  </a:lnTo>
                  <a:lnTo>
                    <a:pt x="1610" y="699"/>
                  </a:lnTo>
                  <a:lnTo>
                    <a:pt x="1610" y="699"/>
                  </a:lnTo>
                  <a:lnTo>
                    <a:pt x="1610" y="697"/>
                  </a:lnTo>
                  <a:lnTo>
                    <a:pt x="1610" y="697"/>
                  </a:lnTo>
                  <a:lnTo>
                    <a:pt x="1610" y="697"/>
                  </a:lnTo>
                  <a:lnTo>
                    <a:pt x="1610" y="697"/>
                  </a:lnTo>
                  <a:lnTo>
                    <a:pt x="1608" y="697"/>
                  </a:lnTo>
                  <a:lnTo>
                    <a:pt x="1608" y="697"/>
                  </a:lnTo>
                  <a:lnTo>
                    <a:pt x="1608" y="697"/>
                  </a:lnTo>
                  <a:lnTo>
                    <a:pt x="1608" y="697"/>
                  </a:lnTo>
                  <a:lnTo>
                    <a:pt x="1608" y="697"/>
                  </a:lnTo>
                  <a:lnTo>
                    <a:pt x="1608" y="697"/>
                  </a:lnTo>
                  <a:lnTo>
                    <a:pt x="1608" y="695"/>
                  </a:lnTo>
                  <a:lnTo>
                    <a:pt x="1608" y="695"/>
                  </a:lnTo>
                  <a:lnTo>
                    <a:pt x="1608" y="695"/>
                  </a:lnTo>
                  <a:lnTo>
                    <a:pt x="1608" y="695"/>
                  </a:lnTo>
                  <a:lnTo>
                    <a:pt x="1608" y="695"/>
                  </a:lnTo>
                  <a:lnTo>
                    <a:pt x="1606" y="695"/>
                  </a:lnTo>
                  <a:lnTo>
                    <a:pt x="1606" y="695"/>
                  </a:lnTo>
                  <a:lnTo>
                    <a:pt x="1606" y="695"/>
                  </a:lnTo>
                  <a:lnTo>
                    <a:pt x="1606" y="695"/>
                  </a:lnTo>
                  <a:lnTo>
                    <a:pt x="1606" y="695"/>
                  </a:lnTo>
                  <a:lnTo>
                    <a:pt x="1606" y="693"/>
                  </a:lnTo>
                  <a:lnTo>
                    <a:pt x="1606" y="693"/>
                  </a:lnTo>
                  <a:lnTo>
                    <a:pt x="1606" y="693"/>
                  </a:lnTo>
                  <a:lnTo>
                    <a:pt x="1604" y="693"/>
                  </a:lnTo>
                  <a:lnTo>
                    <a:pt x="1604" y="693"/>
                  </a:lnTo>
                  <a:lnTo>
                    <a:pt x="1604" y="691"/>
                  </a:lnTo>
                  <a:lnTo>
                    <a:pt x="1604" y="691"/>
                  </a:lnTo>
                  <a:lnTo>
                    <a:pt x="1602" y="691"/>
                  </a:lnTo>
                  <a:lnTo>
                    <a:pt x="1602" y="693"/>
                  </a:lnTo>
                  <a:lnTo>
                    <a:pt x="1600" y="693"/>
                  </a:lnTo>
                  <a:lnTo>
                    <a:pt x="1600" y="695"/>
                  </a:lnTo>
                  <a:lnTo>
                    <a:pt x="1600" y="695"/>
                  </a:lnTo>
                  <a:lnTo>
                    <a:pt x="1600" y="695"/>
                  </a:lnTo>
                  <a:lnTo>
                    <a:pt x="1600" y="695"/>
                  </a:lnTo>
                  <a:lnTo>
                    <a:pt x="1602" y="695"/>
                  </a:lnTo>
                  <a:lnTo>
                    <a:pt x="1600" y="695"/>
                  </a:lnTo>
                  <a:lnTo>
                    <a:pt x="1600" y="695"/>
                  </a:lnTo>
                  <a:lnTo>
                    <a:pt x="1600" y="693"/>
                  </a:lnTo>
                  <a:lnTo>
                    <a:pt x="1600" y="693"/>
                  </a:lnTo>
                  <a:lnTo>
                    <a:pt x="1600" y="693"/>
                  </a:lnTo>
                  <a:lnTo>
                    <a:pt x="1598" y="693"/>
                  </a:lnTo>
                  <a:lnTo>
                    <a:pt x="1595" y="693"/>
                  </a:lnTo>
                  <a:lnTo>
                    <a:pt x="1591" y="693"/>
                  </a:lnTo>
                  <a:lnTo>
                    <a:pt x="1591" y="695"/>
                  </a:lnTo>
                  <a:lnTo>
                    <a:pt x="1591" y="695"/>
                  </a:lnTo>
                  <a:lnTo>
                    <a:pt x="1591" y="695"/>
                  </a:lnTo>
                  <a:lnTo>
                    <a:pt x="1591" y="695"/>
                  </a:lnTo>
                  <a:lnTo>
                    <a:pt x="1593" y="697"/>
                  </a:lnTo>
                  <a:lnTo>
                    <a:pt x="1593" y="697"/>
                  </a:lnTo>
                  <a:lnTo>
                    <a:pt x="1591" y="697"/>
                  </a:lnTo>
                  <a:lnTo>
                    <a:pt x="1591" y="697"/>
                  </a:lnTo>
                  <a:lnTo>
                    <a:pt x="1591" y="699"/>
                  </a:lnTo>
                  <a:lnTo>
                    <a:pt x="1591" y="699"/>
                  </a:lnTo>
                  <a:lnTo>
                    <a:pt x="1591" y="699"/>
                  </a:lnTo>
                  <a:lnTo>
                    <a:pt x="1591" y="699"/>
                  </a:lnTo>
                  <a:lnTo>
                    <a:pt x="1591" y="699"/>
                  </a:lnTo>
                  <a:lnTo>
                    <a:pt x="1593" y="701"/>
                  </a:lnTo>
                  <a:lnTo>
                    <a:pt x="1593" y="701"/>
                  </a:lnTo>
                  <a:lnTo>
                    <a:pt x="1593" y="701"/>
                  </a:lnTo>
                  <a:lnTo>
                    <a:pt x="1593" y="701"/>
                  </a:lnTo>
                  <a:lnTo>
                    <a:pt x="1593" y="701"/>
                  </a:lnTo>
                  <a:lnTo>
                    <a:pt x="1593" y="701"/>
                  </a:lnTo>
                  <a:lnTo>
                    <a:pt x="1593" y="701"/>
                  </a:lnTo>
                  <a:lnTo>
                    <a:pt x="1593" y="701"/>
                  </a:lnTo>
                  <a:lnTo>
                    <a:pt x="1595" y="701"/>
                  </a:lnTo>
                  <a:lnTo>
                    <a:pt x="1595" y="701"/>
                  </a:lnTo>
                  <a:lnTo>
                    <a:pt x="1595" y="701"/>
                  </a:lnTo>
                  <a:lnTo>
                    <a:pt x="1598" y="701"/>
                  </a:lnTo>
                  <a:lnTo>
                    <a:pt x="1598" y="701"/>
                  </a:lnTo>
                  <a:lnTo>
                    <a:pt x="1600" y="701"/>
                  </a:lnTo>
                  <a:lnTo>
                    <a:pt x="1602" y="701"/>
                  </a:lnTo>
                  <a:lnTo>
                    <a:pt x="1602" y="701"/>
                  </a:lnTo>
                  <a:lnTo>
                    <a:pt x="1604" y="701"/>
                  </a:lnTo>
                  <a:lnTo>
                    <a:pt x="1604" y="703"/>
                  </a:lnTo>
                  <a:lnTo>
                    <a:pt x="1604" y="705"/>
                  </a:lnTo>
                  <a:lnTo>
                    <a:pt x="1606" y="705"/>
                  </a:lnTo>
                  <a:lnTo>
                    <a:pt x="1606" y="707"/>
                  </a:lnTo>
                  <a:lnTo>
                    <a:pt x="1606" y="709"/>
                  </a:lnTo>
                  <a:lnTo>
                    <a:pt x="1608" y="709"/>
                  </a:lnTo>
                  <a:lnTo>
                    <a:pt x="1608" y="709"/>
                  </a:lnTo>
                  <a:lnTo>
                    <a:pt x="1608" y="709"/>
                  </a:lnTo>
                  <a:lnTo>
                    <a:pt x="1608" y="711"/>
                  </a:lnTo>
                  <a:lnTo>
                    <a:pt x="1608" y="711"/>
                  </a:lnTo>
                  <a:lnTo>
                    <a:pt x="1608" y="711"/>
                  </a:lnTo>
                  <a:lnTo>
                    <a:pt x="1608" y="711"/>
                  </a:lnTo>
                  <a:lnTo>
                    <a:pt x="1608" y="713"/>
                  </a:lnTo>
                  <a:lnTo>
                    <a:pt x="1608" y="713"/>
                  </a:lnTo>
                  <a:lnTo>
                    <a:pt x="1608" y="713"/>
                  </a:lnTo>
                  <a:lnTo>
                    <a:pt x="1610" y="713"/>
                  </a:lnTo>
                  <a:lnTo>
                    <a:pt x="1610" y="713"/>
                  </a:lnTo>
                  <a:lnTo>
                    <a:pt x="1610" y="713"/>
                  </a:lnTo>
                  <a:lnTo>
                    <a:pt x="1610" y="713"/>
                  </a:lnTo>
                  <a:lnTo>
                    <a:pt x="1610" y="713"/>
                  </a:lnTo>
                  <a:lnTo>
                    <a:pt x="1610" y="713"/>
                  </a:lnTo>
                  <a:lnTo>
                    <a:pt x="1610" y="713"/>
                  </a:lnTo>
                  <a:lnTo>
                    <a:pt x="1612" y="713"/>
                  </a:lnTo>
                  <a:lnTo>
                    <a:pt x="1612" y="713"/>
                  </a:lnTo>
                  <a:lnTo>
                    <a:pt x="1612" y="715"/>
                  </a:lnTo>
                  <a:lnTo>
                    <a:pt x="1612" y="715"/>
                  </a:lnTo>
                  <a:lnTo>
                    <a:pt x="1612" y="715"/>
                  </a:lnTo>
                  <a:lnTo>
                    <a:pt x="1612" y="717"/>
                  </a:lnTo>
                  <a:lnTo>
                    <a:pt x="1612" y="717"/>
                  </a:lnTo>
                  <a:lnTo>
                    <a:pt x="1610" y="719"/>
                  </a:lnTo>
                  <a:lnTo>
                    <a:pt x="1610" y="719"/>
                  </a:lnTo>
                  <a:lnTo>
                    <a:pt x="1610" y="721"/>
                  </a:lnTo>
                  <a:lnTo>
                    <a:pt x="1610" y="721"/>
                  </a:lnTo>
                  <a:lnTo>
                    <a:pt x="1610" y="721"/>
                  </a:lnTo>
                  <a:lnTo>
                    <a:pt x="1608" y="719"/>
                  </a:lnTo>
                  <a:lnTo>
                    <a:pt x="1608" y="721"/>
                  </a:lnTo>
                  <a:lnTo>
                    <a:pt x="1608" y="721"/>
                  </a:lnTo>
                  <a:lnTo>
                    <a:pt x="1608" y="723"/>
                  </a:lnTo>
                  <a:lnTo>
                    <a:pt x="1608" y="723"/>
                  </a:lnTo>
                  <a:lnTo>
                    <a:pt x="1608" y="723"/>
                  </a:lnTo>
                  <a:lnTo>
                    <a:pt x="1608" y="723"/>
                  </a:lnTo>
                  <a:lnTo>
                    <a:pt x="1608" y="723"/>
                  </a:lnTo>
                  <a:lnTo>
                    <a:pt x="1608" y="723"/>
                  </a:lnTo>
                  <a:lnTo>
                    <a:pt x="1608" y="723"/>
                  </a:lnTo>
                  <a:lnTo>
                    <a:pt x="1608" y="723"/>
                  </a:lnTo>
                  <a:lnTo>
                    <a:pt x="1608" y="723"/>
                  </a:lnTo>
                  <a:lnTo>
                    <a:pt x="1608" y="723"/>
                  </a:lnTo>
                  <a:lnTo>
                    <a:pt x="1608" y="725"/>
                  </a:lnTo>
                  <a:lnTo>
                    <a:pt x="1608" y="725"/>
                  </a:lnTo>
                  <a:lnTo>
                    <a:pt x="1608" y="725"/>
                  </a:lnTo>
                  <a:lnTo>
                    <a:pt x="1608" y="725"/>
                  </a:lnTo>
                  <a:lnTo>
                    <a:pt x="1608" y="725"/>
                  </a:lnTo>
                  <a:lnTo>
                    <a:pt x="1608" y="728"/>
                  </a:lnTo>
                  <a:lnTo>
                    <a:pt x="1608" y="728"/>
                  </a:lnTo>
                  <a:lnTo>
                    <a:pt x="1610" y="728"/>
                  </a:lnTo>
                  <a:lnTo>
                    <a:pt x="1612" y="730"/>
                  </a:lnTo>
                  <a:lnTo>
                    <a:pt x="1614" y="728"/>
                  </a:lnTo>
                  <a:lnTo>
                    <a:pt x="1618" y="725"/>
                  </a:lnTo>
                  <a:lnTo>
                    <a:pt x="1618" y="725"/>
                  </a:lnTo>
                  <a:lnTo>
                    <a:pt x="1620" y="723"/>
                  </a:lnTo>
                  <a:lnTo>
                    <a:pt x="1620" y="723"/>
                  </a:lnTo>
                  <a:lnTo>
                    <a:pt x="1620" y="723"/>
                  </a:lnTo>
                  <a:lnTo>
                    <a:pt x="1622" y="723"/>
                  </a:lnTo>
                  <a:lnTo>
                    <a:pt x="1622" y="723"/>
                  </a:lnTo>
                  <a:lnTo>
                    <a:pt x="1622" y="723"/>
                  </a:lnTo>
                  <a:lnTo>
                    <a:pt x="1620" y="723"/>
                  </a:lnTo>
                  <a:lnTo>
                    <a:pt x="1620" y="725"/>
                  </a:lnTo>
                  <a:lnTo>
                    <a:pt x="1620" y="725"/>
                  </a:lnTo>
                  <a:lnTo>
                    <a:pt x="1618" y="725"/>
                  </a:lnTo>
                  <a:lnTo>
                    <a:pt x="1618" y="728"/>
                  </a:lnTo>
                  <a:lnTo>
                    <a:pt x="1618" y="728"/>
                  </a:lnTo>
                  <a:lnTo>
                    <a:pt x="1618" y="728"/>
                  </a:lnTo>
                  <a:lnTo>
                    <a:pt x="1618" y="730"/>
                  </a:lnTo>
                  <a:lnTo>
                    <a:pt x="1618" y="730"/>
                  </a:lnTo>
                  <a:lnTo>
                    <a:pt x="1618" y="732"/>
                  </a:lnTo>
                  <a:lnTo>
                    <a:pt x="1618" y="732"/>
                  </a:lnTo>
                  <a:lnTo>
                    <a:pt x="1618" y="732"/>
                  </a:lnTo>
                  <a:lnTo>
                    <a:pt x="1618" y="734"/>
                  </a:lnTo>
                  <a:lnTo>
                    <a:pt x="1620" y="734"/>
                  </a:lnTo>
                  <a:lnTo>
                    <a:pt x="1622" y="734"/>
                  </a:lnTo>
                  <a:lnTo>
                    <a:pt x="1622" y="734"/>
                  </a:lnTo>
                  <a:lnTo>
                    <a:pt x="1622" y="734"/>
                  </a:lnTo>
                  <a:lnTo>
                    <a:pt x="1622" y="734"/>
                  </a:lnTo>
                  <a:lnTo>
                    <a:pt x="1620" y="734"/>
                  </a:lnTo>
                  <a:lnTo>
                    <a:pt x="1620" y="736"/>
                  </a:lnTo>
                  <a:lnTo>
                    <a:pt x="1620" y="734"/>
                  </a:lnTo>
                  <a:lnTo>
                    <a:pt x="1622" y="734"/>
                  </a:lnTo>
                  <a:lnTo>
                    <a:pt x="1622" y="736"/>
                  </a:lnTo>
                  <a:lnTo>
                    <a:pt x="1622" y="736"/>
                  </a:lnTo>
                  <a:lnTo>
                    <a:pt x="1622" y="736"/>
                  </a:lnTo>
                  <a:lnTo>
                    <a:pt x="1622" y="736"/>
                  </a:lnTo>
                  <a:lnTo>
                    <a:pt x="1624" y="736"/>
                  </a:lnTo>
                  <a:lnTo>
                    <a:pt x="1626" y="736"/>
                  </a:lnTo>
                  <a:lnTo>
                    <a:pt x="1628" y="736"/>
                  </a:lnTo>
                  <a:lnTo>
                    <a:pt x="1626" y="736"/>
                  </a:lnTo>
                  <a:lnTo>
                    <a:pt x="1622" y="738"/>
                  </a:lnTo>
                  <a:lnTo>
                    <a:pt x="1622" y="738"/>
                  </a:lnTo>
                  <a:lnTo>
                    <a:pt x="1622" y="738"/>
                  </a:lnTo>
                  <a:lnTo>
                    <a:pt x="1622" y="738"/>
                  </a:lnTo>
                  <a:lnTo>
                    <a:pt x="1622" y="738"/>
                  </a:lnTo>
                  <a:lnTo>
                    <a:pt x="1620" y="738"/>
                  </a:lnTo>
                  <a:lnTo>
                    <a:pt x="1618" y="738"/>
                  </a:lnTo>
                  <a:lnTo>
                    <a:pt x="1618" y="738"/>
                  </a:lnTo>
                  <a:lnTo>
                    <a:pt x="1618" y="738"/>
                  </a:lnTo>
                  <a:lnTo>
                    <a:pt x="1618" y="738"/>
                  </a:lnTo>
                  <a:lnTo>
                    <a:pt x="1618" y="738"/>
                  </a:lnTo>
                  <a:lnTo>
                    <a:pt x="1618" y="738"/>
                  </a:lnTo>
                  <a:lnTo>
                    <a:pt x="1618" y="738"/>
                  </a:lnTo>
                  <a:lnTo>
                    <a:pt x="1618" y="738"/>
                  </a:lnTo>
                  <a:lnTo>
                    <a:pt x="1618" y="738"/>
                  </a:lnTo>
                  <a:lnTo>
                    <a:pt x="1616" y="740"/>
                  </a:lnTo>
                  <a:lnTo>
                    <a:pt x="1616" y="740"/>
                  </a:lnTo>
                  <a:lnTo>
                    <a:pt x="1616" y="740"/>
                  </a:lnTo>
                  <a:lnTo>
                    <a:pt x="1616" y="740"/>
                  </a:lnTo>
                  <a:lnTo>
                    <a:pt x="1616" y="740"/>
                  </a:lnTo>
                  <a:lnTo>
                    <a:pt x="1616" y="742"/>
                  </a:lnTo>
                  <a:lnTo>
                    <a:pt x="1618" y="742"/>
                  </a:lnTo>
                  <a:lnTo>
                    <a:pt x="1618" y="742"/>
                  </a:lnTo>
                  <a:lnTo>
                    <a:pt x="1618" y="742"/>
                  </a:lnTo>
                  <a:lnTo>
                    <a:pt x="1618" y="742"/>
                  </a:lnTo>
                  <a:lnTo>
                    <a:pt x="1618" y="744"/>
                  </a:lnTo>
                  <a:lnTo>
                    <a:pt x="1618" y="744"/>
                  </a:lnTo>
                  <a:lnTo>
                    <a:pt x="1620" y="744"/>
                  </a:lnTo>
                  <a:lnTo>
                    <a:pt x="1620" y="744"/>
                  </a:lnTo>
                  <a:lnTo>
                    <a:pt x="1620" y="742"/>
                  </a:lnTo>
                  <a:lnTo>
                    <a:pt x="1620" y="742"/>
                  </a:lnTo>
                  <a:lnTo>
                    <a:pt x="1622" y="742"/>
                  </a:lnTo>
                  <a:lnTo>
                    <a:pt x="1622" y="742"/>
                  </a:lnTo>
                  <a:lnTo>
                    <a:pt x="1622" y="742"/>
                  </a:lnTo>
                  <a:lnTo>
                    <a:pt x="1622" y="744"/>
                  </a:lnTo>
                  <a:lnTo>
                    <a:pt x="1622" y="742"/>
                  </a:lnTo>
                  <a:lnTo>
                    <a:pt x="1622" y="742"/>
                  </a:lnTo>
                  <a:lnTo>
                    <a:pt x="1626" y="742"/>
                  </a:lnTo>
                  <a:lnTo>
                    <a:pt x="1626" y="740"/>
                  </a:lnTo>
                  <a:lnTo>
                    <a:pt x="1626" y="740"/>
                  </a:lnTo>
                  <a:lnTo>
                    <a:pt x="1628" y="740"/>
                  </a:lnTo>
                  <a:lnTo>
                    <a:pt x="1628" y="742"/>
                  </a:lnTo>
                  <a:lnTo>
                    <a:pt x="1628" y="742"/>
                  </a:lnTo>
                  <a:lnTo>
                    <a:pt x="1626" y="744"/>
                  </a:lnTo>
                  <a:lnTo>
                    <a:pt x="1624" y="744"/>
                  </a:lnTo>
                  <a:lnTo>
                    <a:pt x="1624" y="744"/>
                  </a:lnTo>
                  <a:lnTo>
                    <a:pt x="1624" y="746"/>
                  </a:lnTo>
                  <a:lnTo>
                    <a:pt x="1628" y="744"/>
                  </a:lnTo>
                  <a:lnTo>
                    <a:pt x="1628" y="744"/>
                  </a:lnTo>
                  <a:lnTo>
                    <a:pt x="1628" y="744"/>
                  </a:lnTo>
                  <a:lnTo>
                    <a:pt x="1630" y="742"/>
                  </a:lnTo>
                  <a:lnTo>
                    <a:pt x="1630" y="742"/>
                  </a:lnTo>
                  <a:lnTo>
                    <a:pt x="1630" y="742"/>
                  </a:lnTo>
                  <a:lnTo>
                    <a:pt x="1630" y="742"/>
                  </a:lnTo>
                  <a:lnTo>
                    <a:pt x="1630" y="740"/>
                  </a:lnTo>
                  <a:lnTo>
                    <a:pt x="1630" y="740"/>
                  </a:lnTo>
                  <a:lnTo>
                    <a:pt x="1630" y="740"/>
                  </a:lnTo>
                  <a:lnTo>
                    <a:pt x="1630" y="740"/>
                  </a:lnTo>
                  <a:lnTo>
                    <a:pt x="1630" y="742"/>
                  </a:lnTo>
                  <a:lnTo>
                    <a:pt x="1630" y="742"/>
                  </a:lnTo>
                  <a:lnTo>
                    <a:pt x="1632" y="744"/>
                  </a:lnTo>
                  <a:lnTo>
                    <a:pt x="1632" y="744"/>
                  </a:lnTo>
                  <a:lnTo>
                    <a:pt x="1632" y="744"/>
                  </a:lnTo>
                  <a:lnTo>
                    <a:pt x="1634" y="744"/>
                  </a:lnTo>
                  <a:lnTo>
                    <a:pt x="1634" y="746"/>
                  </a:lnTo>
                  <a:lnTo>
                    <a:pt x="1636" y="746"/>
                  </a:lnTo>
                  <a:lnTo>
                    <a:pt x="1636" y="744"/>
                  </a:lnTo>
                  <a:lnTo>
                    <a:pt x="1638" y="744"/>
                  </a:lnTo>
                  <a:lnTo>
                    <a:pt x="1636" y="744"/>
                  </a:lnTo>
                  <a:lnTo>
                    <a:pt x="1636" y="742"/>
                  </a:lnTo>
                  <a:lnTo>
                    <a:pt x="1636" y="742"/>
                  </a:lnTo>
                  <a:lnTo>
                    <a:pt x="1636" y="742"/>
                  </a:lnTo>
                  <a:lnTo>
                    <a:pt x="1636" y="742"/>
                  </a:lnTo>
                  <a:lnTo>
                    <a:pt x="1634" y="740"/>
                  </a:lnTo>
                  <a:lnTo>
                    <a:pt x="1634" y="740"/>
                  </a:lnTo>
                  <a:lnTo>
                    <a:pt x="1636" y="740"/>
                  </a:lnTo>
                  <a:lnTo>
                    <a:pt x="1636" y="740"/>
                  </a:lnTo>
                  <a:lnTo>
                    <a:pt x="1636" y="742"/>
                  </a:lnTo>
                  <a:lnTo>
                    <a:pt x="1638" y="742"/>
                  </a:lnTo>
                  <a:lnTo>
                    <a:pt x="1638" y="742"/>
                  </a:lnTo>
                  <a:lnTo>
                    <a:pt x="1638" y="744"/>
                  </a:lnTo>
                  <a:lnTo>
                    <a:pt x="1638" y="744"/>
                  </a:lnTo>
                  <a:lnTo>
                    <a:pt x="1638" y="746"/>
                  </a:lnTo>
                  <a:lnTo>
                    <a:pt x="1638" y="748"/>
                  </a:lnTo>
                  <a:lnTo>
                    <a:pt x="1638" y="748"/>
                  </a:lnTo>
                  <a:lnTo>
                    <a:pt x="1638" y="748"/>
                  </a:lnTo>
                  <a:lnTo>
                    <a:pt x="1638" y="746"/>
                  </a:lnTo>
                  <a:lnTo>
                    <a:pt x="1641" y="746"/>
                  </a:lnTo>
                  <a:lnTo>
                    <a:pt x="1641" y="746"/>
                  </a:lnTo>
                  <a:lnTo>
                    <a:pt x="1641" y="746"/>
                  </a:lnTo>
                  <a:lnTo>
                    <a:pt x="1641" y="746"/>
                  </a:lnTo>
                  <a:lnTo>
                    <a:pt x="1641" y="746"/>
                  </a:lnTo>
                  <a:lnTo>
                    <a:pt x="1641" y="748"/>
                  </a:lnTo>
                  <a:lnTo>
                    <a:pt x="1643" y="748"/>
                  </a:lnTo>
                  <a:lnTo>
                    <a:pt x="1643" y="748"/>
                  </a:lnTo>
                  <a:lnTo>
                    <a:pt x="1643" y="748"/>
                  </a:lnTo>
                  <a:lnTo>
                    <a:pt x="1643" y="748"/>
                  </a:lnTo>
                  <a:lnTo>
                    <a:pt x="1643" y="748"/>
                  </a:lnTo>
                  <a:lnTo>
                    <a:pt x="1641" y="748"/>
                  </a:lnTo>
                  <a:lnTo>
                    <a:pt x="1641" y="750"/>
                  </a:lnTo>
                  <a:lnTo>
                    <a:pt x="1641" y="750"/>
                  </a:lnTo>
                  <a:lnTo>
                    <a:pt x="1641" y="750"/>
                  </a:lnTo>
                  <a:lnTo>
                    <a:pt x="1643" y="750"/>
                  </a:lnTo>
                  <a:lnTo>
                    <a:pt x="1643" y="750"/>
                  </a:lnTo>
                  <a:lnTo>
                    <a:pt x="1643" y="750"/>
                  </a:lnTo>
                  <a:lnTo>
                    <a:pt x="1643" y="750"/>
                  </a:lnTo>
                  <a:lnTo>
                    <a:pt x="1643" y="752"/>
                  </a:lnTo>
                  <a:lnTo>
                    <a:pt x="1643" y="752"/>
                  </a:lnTo>
                  <a:lnTo>
                    <a:pt x="1643" y="752"/>
                  </a:lnTo>
                  <a:lnTo>
                    <a:pt x="1641" y="752"/>
                  </a:lnTo>
                  <a:lnTo>
                    <a:pt x="1641" y="752"/>
                  </a:lnTo>
                  <a:lnTo>
                    <a:pt x="1641" y="752"/>
                  </a:lnTo>
                  <a:lnTo>
                    <a:pt x="1641" y="752"/>
                  </a:lnTo>
                  <a:lnTo>
                    <a:pt x="1643" y="754"/>
                  </a:lnTo>
                  <a:lnTo>
                    <a:pt x="1643" y="754"/>
                  </a:lnTo>
                  <a:lnTo>
                    <a:pt x="1645" y="754"/>
                  </a:lnTo>
                  <a:lnTo>
                    <a:pt x="1645" y="752"/>
                  </a:lnTo>
                  <a:lnTo>
                    <a:pt x="1645" y="750"/>
                  </a:lnTo>
                  <a:lnTo>
                    <a:pt x="1645" y="750"/>
                  </a:lnTo>
                  <a:lnTo>
                    <a:pt x="1645" y="752"/>
                  </a:lnTo>
                  <a:lnTo>
                    <a:pt x="1645" y="752"/>
                  </a:lnTo>
                  <a:lnTo>
                    <a:pt x="1645" y="752"/>
                  </a:lnTo>
                  <a:lnTo>
                    <a:pt x="1645" y="754"/>
                  </a:lnTo>
                  <a:lnTo>
                    <a:pt x="1645" y="754"/>
                  </a:lnTo>
                  <a:lnTo>
                    <a:pt x="1645" y="754"/>
                  </a:lnTo>
                  <a:lnTo>
                    <a:pt x="1645" y="754"/>
                  </a:lnTo>
                  <a:lnTo>
                    <a:pt x="1645" y="754"/>
                  </a:lnTo>
                  <a:lnTo>
                    <a:pt x="1645" y="754"/>
                  </a:lnTo>
                  <a:lnTo>
                    <a:pt x="1645" y="754"/>
                  </a:lnTo>
                  <a:lnTo>
                    <a:pt x="1647" y="754"/>
                  </a:lnTo>
                  <a:lnTo>
                    <a:pt x="1647" y="754"/>
                  </a:lnTo>
                  <a:lnTo>
                    <a:pt x="1647" y="754"/>
                  </a:lnTo>
                  <a:lnTo>
                    <a:pt x="1647" y="754"/>
                  </a:lnTo>
                  <a:lnTo>
                    <a:pt x="1647" y="752"/>
                  </a:lnTo>
                  <a:lnTo>
                    <a:pt x="1647" y="752"/>
                  </a:lnTo>
                  <a:lnTo>
                    <a:pt x="1647" y="752"/>
                  </a:lnTo>
                  <a:lnTo>
                    <a:pt x="1647" y="752"/>
                  </a:lnTo>
                  <a:lnTo>
                    <a:pt x="1647" y="750"/>
                  </a:lnTo>
                  <a:lnTo>
                    <a:pt x="1647" y="748"/>
                  </a:lnTo>
                  <a:lnTo>
                    <a:pt x="1647" y="748"/>
                  </a:lnTo>
                  <a:lnTo>
                    <a:pt x="1647" y="750"/>
                  </a:lnTo>
                  <a:lnTo>
                    <a:pt x="1647" y="750"/>
                  </a:lnTo>
                  <a:lnTo>
                    <a:pt x="1647" y="750"/>
                  </a:lnTo>
                  <a:lnTo>
                    <a:pt x="1647" y="752"/>
                  </a:lnTo>
                  <a:lnTo>
                    <a:pt x="1649" y="752"/>
                  </a:lnTo>
                  <a:lnTo>
                    <a:pt x="1649" y="752"/>
                  </a:lnTo>
                  <a:lnTo>
                    <a:pt x="1649" y="752"/>
                  </a:lnTo>
                  <a:lnTo>
                    <a:pt x="1649" y="752"/>
                  </a:lnTo>
                  <a:lnTo>
                    <a:pt x="1647" y="752"/>
                  </a:lnTo>
                  <a:lnTo>
                    <a:pt x="1649" y="752"/>
                  </a:lnTo>
                  <a:lnTo>
                    <a:pt x="1649" y="754"/>
                  </a:lnTo>
                  <a:lnTo>
                    <a:pt x="1649" y="754"/>
                  </a:lnTo>
                  <a:lnTo>
                    <a:pt x="1649" y="754"/>
                  </a:lnTo>
                  <a:lnTo>
                    <a:pt x="1649" y="754"/>
                  </a:lnTo>
                  <a:lnTo>
                    <a:pt x="1649" y="754"/>
                  </a:lnTo>
                  <a:lnTo>
                    <a:pt x="1649" y="754"/>
                  </a:lnTo>
                  <a:lnTo>
                    <a:pt x="1649" y="754"/>
                  </a:lnTo>
                  <a:lnTo>
                    <a:pt x="1651" y="754"/>
                  </a:lnTo>
                  <a:lnTo>
                    <a:pt x="1651" y="754"/>
                  </a:lnTo>
                  <a:lnTo>
                    <a:pt x="1651" y="754"/>
                  </a:lnTo>
                  <a:lnTo>
                    <a:pt x="1653" y="754"/>
                  </a:lnTo>
                  <a:lnTo>
                    <a:pt x="1651" y="754"/>
                  </a:lnTo>
                  <a:lnTo>
                    <a:pt x="1651" y="756"/>
                  </a:lnTo>
                  <a:lnTo>
                    <a:pt x="1651" y="756"/>
                  </a:lnTo>
                  <a:lnTo>
                    <a:pt x="1651" y="756"/>
                  </a:lnTo>
                  <a:lnTo>
                    <a:pt x="1653" y="756"/>
                  </a:lnTo>
                  <a:lnTo>
                    <a:pt x="1653" y="756"/>
                  </a:lnTo>
                  <a:lnTo>
                    <a:pt x="1653" y="756"/>
                  </a:lnTo>
                  <a:lnTo>
                    <a:pt x="1651" y="758"/>
                  </a:lnTo>
                  <a:lnTo>
                    <a:pt x="1651" y="758"/>
                  </a:lnTo>
                  <a:lnTo>
                    <a:pt x="1651" y="758"/>
                  </a:lnTo>
                  <a:lnTo>
                    <a:pt x="1653" y="758"/>
                  </a:lnTo>
                  <a:lnTo>
                    <a:pt x="1653" y="758"/>
                  </a:lnTo>
                  <a:lnTo>
                    <a:pt x="1653" y="758"/>
                  </a:lnTo>
                  <a:lnTo>
                    <a:pt x="1653" y="758"/>
                  </a:lnTo>
                  <a:lnTo>
                    <a:pt x="1653" y="758"/>
                  </a:lnTo>
                  <a:lnTo>
                    <a:pt x="1653" y="756"/>
                  </a:lnTo>
                  <a:lnTo>
                    <a:pt x="1655" y="756"/>
                  </a:lnTo>
                  <a:lnTo>
                    <a:pt x="1655" y="756"/>
                  </a:lnTo>
                  <a:lnTo>
                    <a:pt x="1655" y="758"/>
                  </a:lnTo>
                  <a:lnTo>
                    <a:pt x="1655" y="758"/>
                  </a:lnTo>
                  <a:lnTo>
                    <a:pt x="1655" y="758"/>
                  </a:lnTo>
                  <a:lnTo>
                    <a:pt x="1653" y="758"/>
                  </a:lnTo>
                  <a:lnTo>
                    <a:pt x="1653" y="760"/>
                  </a:lnTo>
                  <a:lnTo>
                    <a:pt x="1653" y="760"/>
                  </a:lnTo>
                  <a:lnTo>
                    <a:pt x="1653" y="760"/>
                  </a:lnTo>
                  <a:lnTo>
                    <a:pt x="1655" y="762"/>
                  </a:lnTo>
                  <a:lnTo>
                    <a:pt x="1655" y="762"/>
                  </a:lnTo>
                  <a:lnTo>
                    <a:pt x="1655" y="760"/>
                  </a:lnTo>
                  <a:lnTo>
                    <a:pt x="1657" y="760"/>
                  </a:lnTo>
                  <a:lnTo>
                    <a:pt x="1659" y="762"/>
                  </a:lnTo>
                  <a:lnTo>
                    <a:pt x="1659" y="762"/>
                  </a:lnTo>
                  <a:lnTo>
                    <a:pt x="1659" y="760"/>
                  </a:lnTo>
                  <a:lnTo>
                    <a:pt x="1659" y="760"/>
                  </a:lnTo>
                  <a:lnTo>
                    <a:pt x="1659" y="760"/>
                  </a:lnTo>
                  <a:lnTo>
                    <a:pt x="1661" y="760"/>
                  </a:lnTo>
                  <a:lnTo>
                    <a:pt x="1661" y="760"/>
                  </a:lnTo>
                  <a:lnTo>
                    <a:pt x="1663" y="760"/>
                  </a:lnTo>
                  <a:lnTo>
                    <a:pt x="1663" y="760"/>
                  </a:lnTo>
                  <a:lnTo>
                    <a:pt x="1663" y="760"/>
                  </a:lnTo>
                  <a:close/>
                  <a:moveTo>
                    <a:pt x="1630" y="746"/>
                  </a:moveTo>
                  <a:lnTo>
                    <a:pt x="1630" y="746"/>
                  </a:lnTo>
                  <a:lnTo>
                    <a:pt x="1630" y="746"/>
                  </a:lnTo>
                  <a:lnTo>
                    <a:pt x="1630" y="746"/>
                  </a:lnTo>
                  <a:lnTo>
                    <a:pt x="1630" y="748"/>
                  </a:lnTo>
                  <a:lnTo>
                    <a:pt x="1630" y="748"/>
                  </a:lnTo>
                  <a:lnTo>
                    <a:pt x="1632" y="748"/>
                  </a:lnTo>
                  <a:lnTo>
                    <a:pt x="1632" y="750"/>
                  </a:lnTo>
                  <a:lnTo>
                    <a:pt x="1632" y="748"/>
                  </a:lnTo>
                  <a:lnTo>
                    <a:pt x="1632" y="750"/>
                  </a:lnTo>
                  <a:lnTo>
                    <a:pt x="1634" y="750"/>
                  </a:lnTo>
                  <a:lnTo>
                    <a:pt x="1634" y="750"/>
                  </a:lnTo>
                  <a:lnTo>
                    <a:pt x="1632" y="750"/>
                  </a:lnTo>
                  <a:lnTo>
                    <a:pt x="1632" y="750"/>
                  </a:lnTo>
                  <a:lnTo>
                    <a:pt x="1632" y="750"/>
                  </a:lnTo>
                  <a:lnTo>
                    <a:pt x="1632" y="752"/>
                  </a:lnTo>
                  <a:lnTo>
                    <a:pt x="1632" y="752"/>
                  </a:lnTo>
                  <a:lnTo>
                    <a:pt x="1632" y="752"/>
                  </a:lnTo>
                  <a:lnTo>
                    <a:pt x="1634" y="752"/>
                  </a:lnTo>
                  <a:lnTo>
                    <a:pt x="1634" y="752"/>
                  </a:lnTo>
                  <a:lnTo>
                    <a:pt x="1634" y="752"/>
                  </a:lnTo>
                  <a:lnTo>
                    <a:pt x="1636" y="752"/>
                  </a:lnTo>
                  <a:lnTo>
                    <a:pt x="1636" y="752"/>
                  </a:lnTo>
                  <a:lnTo>
                    <a:pt x="1636" y="754"/>
                  </a:lnTo>
                  <a:lnTo>
                    <a:pt x="1638" y="750"/>
                  </a:lnTo>
                  <a:lnTo>
                    <a:pt x="1638" y="750"/>
                  </a:lnTo>
                  <a:lnTo>
                    <a:pt x="1634" y="746"/>
                  </a:lnTo>
                  <a:lnTo>
                    <a:pt x="1634" y="746"/>
                  </a:lnTo>
                  <a:lnTo>
                    <a:pt x="1632" y="744"/>
                  </a:lnTo>
                  <a:lnTo>
                    <a:pt x="1632" y="744"/>
                  </a:lnTo>
                  <a:lnTo>
                    <a:pt x="1630" y="744"/>
                  </a:lnTo>
                  <a:lnTo>
                    <a:pt x="1630" y="744"/>
                  </a:lnTo>
                  <a:lnTo>
                    <a:pt x="1630" y="746"/>
                  </a:lnTo>
                  <a:lnTo>
                    <a:pt x="1630" y="746"/>
                  </a:lnTo>
                  <a:lnTo>
                    <a:pt x="1630" y="746"/>
                  </a:lnTo>
                  <a:lnTo>
                    <a:pt x="1630" y="746"/>
                  </a:lnTo>
                  <a:close/>
                  <a:moveTo>
                    <a:pt x="1643" y="766"/>
                  </a:moveTo>
                  <a:lnTo>
                    <a:pt x="1643" y="766"/>
                  </a:lnTo>
                  <a:lnTo>
                    <a:pt x="1641" y="766"/>
                  </a:lnTo>
                  <a:lnTo>
                    <a:pt x="1641" y="766"/>
                  </a:lnTo>
                  <a:lnTo>
                    <a:pt x="1641" y="766"/>
                  </a:lnTo>
                  <a:lnTo>
                    <a:pt x="1641" y="764"/>
                  </a:lnTo>
                  <a:lnTo>
                    <a:pt x="1641" y="764"/>
                  </a:lnTo>
                  <a:lnTo>
                    <a:pt x="1641" y="764"/>
                  </a:lnTo>
                  <a:lnTo>
                    <a:pt x="1641" y="764"/>
                  </a:lnTo>
                  <a:lnTo>
                    <a:pt x="1641" y="762"/>
                  </a:lnTo>
                  <a:lnTo>
                    <a:pt x="1638" y="762"/>
                  </a:lnTo>
                  <a:lnTo>
                    <a:pt x="1638" y="762"/>
                  </a:lnTo>
                  <a:lnTo>
                    <a:pt x="1638" y="762"/>
                  </a:lnTo>
                  <a:lnTo>
                    <a:pt x="1638" y="762"/>
                  </a:lnTo>
                  <a:lnTo>
                    <a:pt x="1638" y="762"/>
                  </a:lnTo>
                  <a:lnTo>
                    <a:pt x="1636" y="762"/>
                  </a:lnTo>
                  <a:lnTo>
                    <a:pt x="1636" y="762"/>
                  </a:lnTo>
                  <a:lnTo>
                    <a:pt x="1636" y="760"/>
                  </a:lnTo>
                  <a:lnTo>
                    <a:pt x="1636" y="760"/>
                  </a:lnTo>
                  <a:lnTo>
                    <a:pt x="1636" y="760"/>
                  </a:lnTo>
                  <a:lnTo>
                    <a:pt x="1636" y="760"/>
                  </a:lnTo>
                  <a:lnTo>
                    <a:pt x="1636" y="760"/>
                  </a:lnTo>
                  <a:lnTo>
                    <a:pt x="1634" y="758"/>
                  </a:lnTo>
                  <a:lnTo>
                    <a:pt x="1634" y="758"/>
                  </a:lnTo>
                  <a:lnTo>
                    <a:pt x="1634" y="758"/>
                  </a:lnTo>
                  <a:lnTo>
                    <a:pt x="1634" y="758"/>
                  </a:lnTo>
                  <a:lnTo>
                    <a:pt x="1632" y="758"/>
                  </a:lnTo>
                  <a:lnTo>
                    <a:pt x="1632" y="758"/>
                  </a:lnTo>
                  <a:lnTo>
                    <a:pt x="1632" y="758"/>
                  </a:lnTo>
                  <a:lnTo>
                    <a:pt x="1632" y="756"/>
                  </a:lnTo>
                  <a:lnTo>
                    <a:pt x="1632" y="756"/>
                  </a:lnTo>
                  <a:lnTo>
                    <a:pt x="1632" y="758"/>
                  </a:lnTo>
                  <a:lnTo>
                    <a:pt x="1632" y="758"/>
                  </a:lnTo>
                  <a:lnTo>
                    <a:pt x="1632" y="756"/>
                  </a:lnTo>
                  <a:lnTo>
                    <a:pt x="1630" y="754"/>
                  </a:lnTo>
                  <a:lnTo>
                    <a:pt x="1630" y="754"/>
                  </a:lnTo>
                  <a:lnTo>
                    <a:pt x="1628" y="754"/>
                  </a:lnTo>
                  <a:lnTo>
                    <a:pt x="1628" y="754"/>
                  </a:lnTo>
                  <a:lnTo>
                    <a:pt x="1628" y="754"/>
                  </a:lnTo>
                  <a:lnTo>
                    <a:pt x="1626" y="754"/>
                  </a:lnTo>
                  <a:lnTo>
                    <a:pt x="1628" y="754"/>
                  </a:lnTo>
                  <a:lnTo>
                    <a:pt x="1628" y="752"/>
                  </a:lnTo>
                  <a:lnTo>
                    <a:pt x="1628" y="752"/>
                  </a:lnTo>
                  <a:lnTo>
                    <a:pt x="1626" y="752"/>
                  </a:lnTo>
                  <a:lnTo>
                    <a:pt x="1626" y="750"/>
                  </a:lnTo>
                  <a:lnTo>
                    <a:pt x="1626" y="750"/>
                  </a:lnTo>
                  <a:lnTo>
                    <a:pt x="1628" y="752"/>
                  </a:lnTo>
                  <a:lnTo>
                    <a:pt x="1630" y="752"/>
                  </a:lnTo>
                  <a:lnTo>
                    <a:pt x="1628" y="750"/>
                  </a:lnTo>
                  <a:lnTo>
                    <a:pt x="1628" y="750"/>
                  </a:lnTo>
                  <a:lnTo>
                    <a:pt x="1628" y="750"/>
                  </a:lnTo>
                  <a:lnTo>
                    <a:pt x="1628" y="750"/>
                  </a:lnTo>
                  <a:lnTo>
                    <a:pt x="1626" y="748"/>
                  </a:lnTo>
                  <a:lnTo>
                    <a:pt x="1626" y="748"/>
                  </a:lnTo>
                  <a:lnTo>
                    <a:pt x="1624" y="748"/>
                  </a:lnTo>
                  <a:lnTo>
                    <a:pt x="1624" y="746"/>
                  </a:lnTo>
                  <a:lnTo>
                    <a:pt x="1624" y="746"/>
                  </a:lnTo>
                  <a:lnTo>
                    <a:pt x="1624" y="746"/>
                  </a:lnTo>
                  <a:lnTo>
                    <a:pt x="1622" y="746"/>
                  </a:lnTo>
                  <a:lnTo>
                    <a:pt x="1622" y="746"/>
                  </a:lnTo>
                  <a:lnTo>
                    <a:pt x="1622" y="744"/>
                  </a:lnTo>
                  <a:lnTo>
                    <a:pt x="1622" y="744"/>
                  </a:lnTo>
                  <a:lnTo>
                    <a:pt x="1622" y="744"/>
                  </a:lnTo>
                  <a:lnTo>
                    <a:pt x="1622" y="744"/>
                  </a:lnTo>
                  <a:lnTo>
                    <a:pt x="1620" y="744"/>
                  </a:lnTo>
                  <a:lnTo>
                    <a:pt x="1620" y="746"/>
                  </a:lnTo>
                  <a:lnTo>
                    <a:pt x="1620" y="746"/>
                  </a:lnTo>
                  <a:lnTo>
                    <a:pt x="1620" y="746"/>
                  </a:lnTo>
                  <a:lnTo>
                    <a:pt x="1622" y="748"/>
                  </a:lnTo>
                  <a:lnTo>
                    <a:pt x="1620" y="748"/>
                  </a:lnTo>
                  <a:lnTo>
                    <a:pt x="1620" y="748"/>
                  </a:lnTo>
                  <a:lnTo>
                    <a:pt x="1620" y="748"/>
                  </a:lnTo>
                  <a:lnTo>
                    <a:pt x="1622" y="748"/>
                  </a:lnTo>
                  <a:lnTo>
                    <a:pt x="1622" y="748"/>
                  </a:lnTo>
                  <a:lnTo>
                    <a:pt x="1622" y="750"/>
                  </a:lnTo>
                  <a:lnTo>
                    <a:pt x="1622" y="750"/>
                  </a:lnTo>
                  <a:lnTo>
                    <a:pt x="1620" y="750"/>
                  </a:lnTo>
                  <a:lnTo>
                    <a:pt x="1620" y="750"/>
                  </a:lnTo>
                  <a:lnTo>
                    <a:pt x="1622" y="750"/>
                  </a:lnTo>
                  <a:lnTo>
                    <a:pt x="1622" y="750"/>
                  </a:lnTo>
                  <a:lnTo>
                    <a:pt x="1622" y="750"/>
                  </a:lnTo>
                  <a:lnTo>
                    <a:pt x="1624" y="750"/>
                  </a:lnTo>
                  <a:lnTo>
                    <a:pt x="1624" y="752"/>
                  </a:lnTo>
                  <a:lnTo>
                    <a:pt x="1622" y="752"/>
                  </a:lnTo>
                  <a:lnTo>
                    <a:pt x="1622" y="752"/>
                  </a:lnTo>
                  <a:lnTo>
                    <a:pt x="1622" y="752"/>
                  </a:lnTo>
                  <a:lnTo>
                    <a:pt x="1622" y="754"/>
                  </a:lnTo>
                  <a:lnTo>
                    <a:pt x="1622" y="754"/>
                  </a:lnTo>
                  <a:lnTo>
                    <a:pt x="1622" y="754"/>
                  </a:lnTo>
                  <a:lnTo>
                    <a:pt x="1624" y="756"/>
                  </a:lnTo>
                  <a:lnTo>
                    <a:pt x="1626" y="756"/>
                  </a:lnTo>
                  <a:lnTo>
                    <a:pt x="1624" y="758"/>
                  </a:lnTo>
                  <a:lnTo>
                    <a:pt x="1626" y="758"/>
                  </a:lnTo>
                  <a:lnTo>
                    <a:pt x="1626" y="758"/>
                  </a:lnTo>
                  <a:lnTo>
                    <a:pt x="1626" y="758"/>
                  </a:lnTo>
                  <a:lnTo>
                    <a:pt x="1626" y="758"/>
                  </a:lnTo>
                  <a:lnTo>
                    <a:pt x="1626" y="760"/>
                  </a:lnTo>
                  <a:lnTo>
                    <a:pt x="1626" y="760"/>
                  </a:lnTo>
                  <a:lnTo>
                    <a:pt x="1626" y="758"/>
                  </a:lnTo>
                  <a:lnTo>
                    <a:pt x="1628" y="758"/>
                  </a:lnTo>
                  <a:lnTo>
                    <a:pt x="1628" y="758"/>
                  </a:lnTo>
                  <a:lnTo>
                    <a:pt x="1628" y="758"/>
                  </a:lnTo>
                  <a:lnTo>
                    <a:pt x="1628" y="758"/>
                  </a:lnTo>
                  <a:lnTo>
                    <a:pt x="1628" y="760"/>
                  </a:lnTo>
                  <a:lnTo>
                    <a:pt x="1628" y="760"/>
                  </a:lnTo>
                  <a:lnTo>
                    <a:pt x="1628" y="760"/>
                  </a:lnTo>
                  <a:lnTo>
                    <a:pt x="1628" y="760"/>
                  </a:lnTo>
                  <a:lnTo>
                    <a:pt x="1628" y="760"/>
                  </a:lnTo>
                  <a:lnTo>
                    <a:pt x="1630" y="760"/>
                  </a:lnTo>
                  <a:lnTo>
                    <a:pt x="1630" y="760"/>
                  </a:lnTo>
                  <a:lnTo>
                    <a:pt x="1630" y="760"/>
                  </a:lnTo>
                  <a:lnTo>
                    <a:pt x="1630" y="762"/>
                  </a:lnTo>
                  <a:lnTo>
                    <a:pt x="1630" y="762"/>
                  </a:lnTo>
                  <a:lnTo>
                    <a:pt x="1630" y="762"/>
                  </a:lnTo>
                  <a:lnTo>
                    <a:pt x="1632" y="762"/>
                  </a:lnTo>
                  <a:lnTo>
                    <a:pt x="1632" y="764"/>
                  </a:lnTo>
                  <a:lnTo>
                    <a:pt x="1634" y="762"/>
                  </a:lnTo>
                  <a:lnTo>
                    <a:pt x="1634" y="762"/>
                  </a:lnTo>
                  <a:lnTo>
                    <a:pt x="1634" y="762"/>
                  </a:lnTo>
                  <a:lnTo>
                    <a:pt x="1634" y="762"/>
                  </a:lnTo>
                  <a:lnTo>
                    <a:pt x="1634" y="764"/>
                  </a:lnTo>
                  <a:lnTo>
                    <a:pt x="1634" y="764"/>
                  </a:lnTo>
                  <a:lnTo>
                    <a:pt x="1634" y="764"/>
                  </a:lnTo>
                  <a:lnTo>
                    <a:pt x="1634" y="764"/>
                  </a:lnTo>
                  <a:lnTo>
                    <a:pt x="1638" y="766"/>
                  </a:lnTo>
                  <a:lnTo>
                    <a:pt x="1638" y="766"/>
                  </a:lnTo>
                  <a:lnTo>
                    <a:pt x="1636" y="766"/>
                  </a:lnTo>
                  <a:lnTo>
                    <a:pt x="1636" y="766"/>
                  </a:lnTo>
                  <a:lnTo>
                    <a:pt x="1638" y="768"/>
                  </a:lnTo>
                  <a:lnTo>
                    <a:pt x="1638" y="768"/>
                  </a:lnTo>
                  <a:lnTo>
                    <a:pt x="1638" y="768"/>
                  </a:lnTo>
                  <a:lnTo>
                    <a:pt x="1641" y="768"/>
                  </a:lnTo>
                  <a:lnTo>
                    <a:pt x="1641" y="768"/>
                  </a:lnTo>
                  <a:lnTo>
                    <a:pt x="1641" y="768"/>
                  </a:lnTo>
                  <a:lnTo>
                    <a:pt x="1643" y="768"/>
                  </a:lnTo>
                  <a:lnTo>
                    <a:pt x="1643" y="768"/>
                  </a:lnTo>
                  <a:lnTo>
                    <a:pt x="1645" y="768"/>
                  </a:lnTo>
                  <a:lnTo>
                    <a:pt x="1643" y="766"/>
                  </a:lnTo>
                  <a:lnTo>
                    <a:pt x="1643" y="766"/>
                  </a:lnTo>
                  <a:close/>
                  <a:moveTo>
                    <a:pt x="1612" y="736"/>
                  </a:moveTo>
                  <a:lnTo>
                    <a:pt x="1612" y="736"/>
                  </a:lnTo>
                  <a:lnTo>
                    <a:pt x="1614" y="734"/>
                  </a:lnTo>
                  <a:lnTo>
                    <a:pt x="1614" y="734"/>
                  </a:lnTo>
                  <a:lnTo>
                    <a:pt x="1614" y="734"/>
                  </a:lnTo>
                  <a:lnTo>
                    <a:pt x="1614" y="734"/>
                  </a:lnTo>
                  <a:lnTo>
                    <a:pt x="1614" y="732"/>
                  </a:lnTo>
                  <a:lnTo>
                    <a:pt x="1614" y="732"/>
                  </a:lnTo>
                  <a:lnTo>
                    <a:pt x="1612" y="732"/>
                  </a:lnTo>
                  <a:lnTo>
                    <a:pt x="1612" y="732"/>
                  </a:lnTo>
                  <a:lnTo>
                    <a:pt x="1612" y="732"/>
                  </a:lnTo>
                  <a:lnTo>
                    <a:pt x="1610" y="732"/>
                  </a:lnTo>
                  <a:lnTo>
                    <a:pt x="1608" y="732"/>
                  </a:lnTo>
                  <a:lnTo>
                    <a:pt x="1608" y="732"/>
                  </a:lnTo>
                  <a:lnTo>
                    <a:pt x="1608" y="734"/>
                  </a:lnTo>
                  <a:lnTo>
                    <a:pt x="1610" y="734"/>
                  </a:lnTo>
                  <a:lnTo>
                    <a:pt x="1610" y="734"/>
                  </a:lnTo>
                  <a:lnTo>
                    <a:pt x="1612" y="736"/>
                  </a:lnTo>
                  <a:lnTo>
                    <a:pt x="1612" y="736"/>
                  </a:lnTo>
                  <a:lnTo>
                    <a:pt x="1612" y="736"/>
                  </a:lnTo>
                  <a:close/>
                  <a:moveTo>
                    <a:pt x="1618" y="744"/>
                  </a:moveTo>
                  <a:lnTo>
                    <a:pt x="1618" y="744"/>
                  </a:lnTo>
                  <a:lnTo>
                    <a:pt x="1618" y="744"/>
                  </a:lnTo>
                  <a:lnTo>
                    <a:pt x="1616" y="744"/>
                  </a:lnTo>
                  <a:lnTo>
                    <a:pt x="1616" y="746"/>
                  </a:lnTo>
                  <a:lnTo>
                    <a:pt x="1616" y="744"/>
                  </a:lnTo>
                  <a:lnTo>
                    <a:pt x="1616" y="744"/>
                  </a:lnTo>
                  <a:lnTo>
                    <a:pt x="1616" y="742"/>
                  </a:lnTo>
                  <a:lnTo>
                    <a:pt x="1616" y="742"/>
                  </a:lnTo>
                  <a:lnTo>
                    <a:pt x="1614" y="742"/>
                  </a:lnTo>
                  <a:lnTo>
                    <a:pt x="1614" y="742"/>
                  </a:lnTo>
                  <a:lnTo>
                    <a:pt x="1614" y="742"/>
                  </a:lnTo>
                  <a:lnTo>
                    <a:pt x="1614" y="742"/>
                  </a:lnTo>
                  <a:lnTo>
                    <a:pt x="1614" y="744"/>
                  </a:lnTo>
                  <a:lnTo>
                    <a:pt x="1614" y="744"/>
                  </a:lnTo>
                  <a:lnTo>
                    <a:pt x="1612" y="744"/>
                  </a:lnTo>
                  <a:lnTo>
                    <a:pt x="1612" y="744"/>
                  </a:lnTo>
                  <a:lnTo>
                    <a:pt x="1612" y="744"/>
                  </a:lnTo>
                  <a:lnTo>
                    <a:pt x="1612" y="746"/>
                  </a:lnTo>
                  <a:lnTo>
                    <a:pt x="1614" y="746"/>
                  </a:lnTo>
                  <a:lnTo>
                    <a:pt x="1614" y="746"/>
                  </a:lnTo>
                  <a:lnTo>
                    <a:pt x="1614" y="746"/>
                  </a:lnTo>
                  <a:lnTo>
                    <a:pt x="1612" y="746"/>
                  </a:lnTo>
                  <a:lnTo>
                    <a:pt x="1612" y="746"/>
                  </a:lnTo>
                  <a:lnTo>
                    <a:pt x="1612" y="748"/>
                  </a:lnTo>
                  <a:lnTo>
                    <a:pt x="1614" y="748"/>
                  </a:lnTo>
                  <a:lnTo>
                    <a:pt x="1614" y="748"/>
                  </a:lnTo>
                  <a:lnTo>
                    <a:pt x="1614" y="750"/>
                  </a:lnTo>
                  <a:lnTo>
                    <a:pt x="1614" y="750"/>
                  </a:lnTo>
                  <a:lnTo>
                    <a:pt x="1614" y="748"/>
                  </a:lnTo>
                  <a:lnTo>
                    <a:pt x="1614" y="748"/>
                  </a:lnTo>
                  <a:lnTo>
                    <a:pt x="1614" y="748"/>
                  </a:lnTo>
                  <a:lnTo>
                    <a:pt x="1614" y="748"/>
                  </a:lnTo>
                  <a:lnTo>
                    <a:pt x="1616" y="748"/>
                  </a:lnTo>
                  <a:lnTo>
                    <a:pt x="1616" y="748"/>
                  </a:lnTo>
                  <a:lnTo>
                    <a:pt x="1616" y="748"/>
                  </a:lnTo>
                  <a:lnTo>
                    <a:pt x="1616" y="748"/>
                  </a:lnTo>
                  <a:lnTo>
                    <a:pt x="1616" y="748"/>
                  </a:lnTo>
                  <a:lnTo>
                    <a:pt x="1618" y="748"/>
                  </a:lnTo>
                  <a:lnTo>
                    <a:pt x="1618" y="748"/>
                  </a:lnTo>
                  <a:lnTo>
                    <a:pt x="1618" y="748"/>
                  </a:lnTo>
                  <a:lnTo>
                    <a:pt x="1618" y="746"/>
                  </a:lnTo>
                  <a:lnTo>
                    <a:pt x="1618" y="746"/>
                  </a:lnTo>
                  <a:lnTo>
                    <a:pt x="1618" y="746"/>
                  </a:lnTo>
                  <a:lnTo>
                    <a:pt x="1618" y="744"/>
                  </a:lnTo>
                  <a:lnTo>
                    <a:pt x="1618" y="744"/>
                  </a:lnTo>
                  <a:close/>
                  <a:moveTo>
                    <a:pt x="1106" y="531"/>
                  </a:moveTo>
                  <a:lnTo>
                    <a:pt x="1108" y="531"/>
                  </a:lnTo>
                  <a:lnTo>
                    <a:pt x="1108" y="529"/>
                  </a:lnTo>
                  <a:lnTo>
                    <a:pt x="1108" y="529"/>
                  </a:lnTo>
                  <a:lnTo>
                    <a:pt x="1108" y="529"/>
                  </a:lnTo>
                  <a:lnTo>
                    <a:pt x="1106" y="529"/>
                  </a:lnTo>
                  <a:lnTo>
                    <a:pt x="1106" y="529"/>
                  </a:lnTo>
                  <a:lnTo>
                    <a:pt x="1106" y="531"/>
                  </a:lnTo>
                  <a:lnTo>
                    <a:pt x="1106" y="531"/>
                  </a:lnTo>
                  <a:lnTo>
                    <a:pt x="1106" y="531"/>
                  </a:lnTo>
                  <a:lnTo>
                    <a:pt x="1106" y="531"/>
                  </a:lnTo>
                  <a:lnTo>
                    <a:pt x="1106" y="531"/>
                  </a:lnTo>
                  <a:close/>
                  <a:moveTo>
                    <a:pt x="780" y="236"/>
                  </a:moveTo>
                  <a:lnTo>
                    <a:pt x="780" y="236"/>
                  </a:lnTo>
                  <a:lnTo>
                    <a:pt x="782" y="236"/>
                  </a:lnTo>
                  <a:lnTo>
                    <a:pt x="782" y="236"/>
                  </a:lnTo>
                  <a:lnTo>
                    <a:pt x="786" y="236"/>
                  </a:lnTo>
                  <a:lnTo>
                    <a:pt x="786" y="236"/>
                  </a:lnTo>
                  <a:lnTo>
                    <a:pt x="786" y="236"/>
                  </a:lnTo>
                  <a:lnTo>
                    <a:pt x="786" y="236"/>
                  </a:lnTo>
                  <a:lnTo>
                    <a:pt x="786" y="236"/>
                  </a:lnTo>
                  <a:lnTo>
                    <a:pt x="786" y="236"/>
                  </a:lnTo>
                  <a:lnTo>
                    <a:pt x="789" y="234"/>
                  </a:lnTo>
                  <a:lnTo>
                    <a:pt x="789" y="234"/>
                  </a:lnTo>
                  <a:lnTo>
                    <a:pt x="789" y="234"/>
                  </a:lnTo>
                  <a:lnTo>
                    <a:pt x="789" y="234"/>
                  </a:lnTo>
                  <a:lnTo>
                    <a:pt x="789" y="234"/>
                  </a:lnTo>
                  <a:lnTo>
                    <a:pt x="789" y="234"/>
                  </a:lnTo>
                  <a:lnTo>
                    <a:pt x="789" y="234"/>
                  </a:lnTo>
                  <a:lnTo>
                    <a:pt x="791" y="234"/>
                  </a:lnTo>
                  <a:lnTo>
                    <a:pt x="791" y="234"/>
                  </a:lnTo>
                  <a:lnTo>
                    <a:pt x="789" y="234"/>
                  </a:lnTo>
                  <a:lnTo>
                    <a:pt x="776" y="238"/>
                  </a:lnTo>
                  <a:lnTo>
                    <a:pt x="778" y="238"/>
                  </a:lnTo>
                  <a:lnTo>
                    <a:pt x="780" y="236"/>
                  </a:lnTo>
                  <a:close/>
                  <a:moveTo>
                    <a:pt x="776" y="238"/>
                  </a:moveTo>
                  <a:lnTo>
                    <a:pt x="776" y="238"/>
                  </a:lnTo>
                  <a:lnTo>
                    <a:pt x="776" y="238"/>
                  </a:lnTo>
                  <a:lnTo>
                    <a:pt x="776" y="238"/>
                  </a:lnTo>
                  <a:close/>
                  <a:moveTo>
                    <a:pt x="776" y="238"/>
                  </a:moveTo>
                  <a:lnTo>
                    <a:pt x="776" y="238"/>
                  </a:lnTo>
                  <a:lnTo>
                    <a:pt x="774" y="238"/>
                  </a:lnTo>
                  <a:lnTo>
                    <a:pt x="776" y="238"/>
                  </a:lnTo>
                  <a:lnTo>
                    <a:pt x="776" y="238"/>
                  </a:lnTo>
                  <a:close/>
                  <a:moveTo>
                    <a:pt x="774" y="238"/>
                  </a:moveTo>
                  <a:lnTo>
                    <a:pt x="774" y="238"/>
                  </a:lnTo>
                  <a:lnTo>
                    <a:pt x="774" y="238"/>
                  </a:lnTo>
                  <a:lnTo>
                    <a:pt x="774" y="238"/>
                  </a:lnTo>
                  <a:lnTo>
                    <a:pt x="774" y="238"/>
                  </a:lnTo>
                  <a:close/>
                  <a:moveTo>
                    <a:pt x="770" y="240"/>
                  </a:moveTo>
                  <a:lnTo>
                    <a:pt x="770" y="240"/>
                  </a:lnTo>
                  <a:lnTo>
                    <a:pt x="770" y="240"/>
                  </a:lnTo>
                  <a:lnTo>
                    <a:pt x="770" y="240"/>
                  </a:lnTo>
                  <a:lnTo>
                    <a:pt x="772" y="238"/>
                  </a:lnTo>
                  <a:lnTo>
                    <a:pt x="772" y="238"/>
                  </a:lnTo>
                  <a:lnTo>
                    <a:pt x="774" y="238"/>
                  </a:lnTo>
                  <a:lnTo>
                    <a:pt x="768" y="240"/>
                  </a:lnTo>
                  <a:lnTo>
                    <a:pt x="768" y="240"/>
                  </a:lnTo>
                  <a:lnTo>
                    <a:pt x="768" y="240"/>
                  </a:lnTo>
                  <a:lnTo>
                    <a:pt x="768" y="240"/>
                  </a:lnTo>
                  <a:lnTo>
                    <a:pt x="770" y="240"/>
                  </a:lnTo>
                  <a:close/>
                  <a:moveTo>
                    <a:pt x="758" y="246"/>
                  </a:moveTo>
                  <a:lnTo>
                    <a:pt x="760" y="244"/>
                  </a:lnTo>
                  <a:lnTo>
                    <a:pt x="760" y="244"/>
                  </a:lnTo>
                  <a:lnTo>
                    <a:pt x="760" y="244"/>
                  </a:lnTo>
                  <a:lnTo>
                    <a:pt x="760" y="244"/>
                  </a:lnTo>
                  <a:lnTo>
                    <a:pt x="760" y="244"/>
                  </a:lnTo>
                  <a:lnTo>
                    <a:pt x="758" y="244"/>
                  </a:lnTo>
                  <a:lnTo>
                    <a:pt x="758" y="244"/>
                  </a:lnTo>
                  <a:lnTo>
                    <a:pt x="758" y="246"/>
                  </a:lnTo>
                  <a:lnTo>
                    <a:pt x="758" y="246"/>
                  </a:lnTo>
                  <a:lnTo>
                    <a:pt x="758" y="246"/>
                  </a:lnTo>
                  <a:close/>
                  <a:moveTo>
                    <a:pt x="762" y="244"/>
                  </a:moveTo>
                  <a:lnTo>
                    <a:pt x="764" y="242"/>
                  </a:lnTo>
                  <a:lnTo>
                    <a:pt x="764" y="242"/>
                  </a:lnTo>
                  <a:lnTo>
                    <a:pt x="766" y="242"/>
                  </a:lnTo>
                  <a:lnTo>
                    <a:pt x="766" y="242"/>
                  </a:lnTo>
                  <a:lnTo>
                    <a:pt x="764" y="242"/>
                  </a:lnTo>
                  <a:lnTo>
                    <a:pt x="762" y="242"/>
                  </a:lnTo>
                  <a:lnTo>
                    <a:pt x="762" y="242"/>
                  </a:lnTo>
                  <a:lnTo>
                    <a:pt x="762" y="244"/>
                  </a:lnTo>
                  <a:lnTo>
                    <a:pt x="762" y="244"/>
                  </a:lnTo>
                  <a:lnTo>
                    <a:pt x="762" y="244"/>
                  </a:lnTo>
                  <a:lnTo>
                    <a:pt x="762" y="244"/>
                  </a:lnTo>
                  <a:close/>
                  <a:moveTo>
                    <a:pt x="844" y="84"/>
                  </a:moveTo>
                  <a:lnTo>
                    <a:pt x="844" y="82"/>
                  </a:lnTo>
                  <a:lnTo>
                    <a:pt x="844" y="80"/>
                  </a:lnTo>
                  <a:lnTo>
                    <a:pt x="844" y="78"/>
                  </a:lnTo>
                  <a:lnTo>
                    <a:pt x="846" y="78"/>
                  </a:lnTo>
                  <a:lnTo>
                    <a:pt x="846" y="78"/>
                  </a:lnTo>
                  <a:lnTo>
                    <a:pt x="844" y="78"/>
                  </a:lnTo>
                  <a:lnTo>
                    <a:pt x="844" y="80"/>
                  </a:lnTo>
                  <a:lnTo>
                    <a:pt x="844" y="82"/>
                  </a:lnTo>
                  <a:lnTo>
                    <a:pt x="844" y="84"/>
                  </a:lnTo>
                  <a:lnTo>
                    <a:pt x="844" y="86"/>
                  </a:lnTo>
                  <a:lnTo>
                    <a:pt x="844" y="86"/>
                  </a:lnTo>
                  <a:lnTo>
                    <a:pt x="844" y="88"/>
                  </a:lnTo>
                  <a:lnTo>
                    <a:pt x="844" y="84"/>
                  </a:lnTo>
                  <a:lnTo>
                    <a:pt x="844" y="84"/>
                  </a:lnTo>
                  <a:close/>
                  <a:moveTo>
                    <a:pt x="846" y="646"/>
                  </a:moveTo>
                  <a:lnTo>
                    <a:pt x="846" y="648"/>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close/>
                  <a:moveTo>
                    <a:pt x="1235" y="64"/>
                  </a:moveTo>
                  <a:lnTo>
                    <a:pt x="1235" y="64"/>
                  </a:lnTo>
                  <a:lnTo>
                    <a:pt x="1235" y="64"/>
                  </a:lnTo>
                  <a:lnTo>
                    <a:pt x="1237" y="64"/>
                  </a:lnTo>
                  <a:lnTo>
                    <a:pt x="1239" y="64"/>
                  </a:lnTo>
                  <a:lnTo>
                    <a:pt x="1241" y="66"/>
                  </a:lnTo>
                  <a:lnTo>
                    <a:pt x="1241" y="68"/>
                  </a:lnTo>
                  <a:lnTo>
                    <a:pt x="1243" y="68"/>
                  </a:lnTo>
                  <a:lnTo>
                    <a:pt x="1243" y="68"/>
                  </a:lnTo>
                  <a:lnTo>
                    <a:pt x="1241" y="66"/>
                  </a:lnTo>
                  <a:lnTo>
                    <a:pt x="1241" y="66"/>
                  </a:lnTo>
                  <a:lnTo>
                    <a:pt x="1239" y="64"/>
                  </a:lnTo>
                  <a:lnTo>
                    <a:pt x="1233" y="61"/>
                  </a:lnTo>
                  <a:lnTo>
                    <a:pt x="1233" y="61"/>
                  </a:lnTo>
                  <a:lnTo>
                    <a:pt x="1233" y="64"/>
                  </a:lnTo>
                  <a:lnTo>
                    <a:pt x="1235" y="64"/>
                  </a:lnTo>
                  <a:close/>
                  <a:moveTo>
                    <a:pt x="873" y="47"/>
                  </a:moveTo>
                  <a:lnTo>
                    <a:pt x="879" y="49"/>
                  </a:lnTo>
                  <a:lnTo>
                    <a:pt x="873" y="47"/>
                  </a:lnTo>
                  <a:lnTo>
                    <a:pt x="870" y="47"/>
                  </a:lnTo>
                  <a:lnTo>
                    <a:pt x="870" y="49"/>
                  </a:lnTo>
                  <a:lnTo>
                    <a:pt x="870" y="49"/>
                  </a:lnTo>
                  <a:lnTo>
                    <a:pt x="870" y="47"/>
                  </a:lnTo>
                  <a:lnTo>
                    <a:pt x="873" y="47"/>
                  </a:lnTo>
                  <a:close/>
                  <a:moveTo>
                    <a:pt x="856" y="64"/>
                  </a:moveTo>
                  <a:lnTo>
                    <a:pt x="856" y="61"/>
                  </a:lnTo>
                  <a:lnTo>
                    <a:pt x="858" y="59"/>
                  </a:lnTo>
                  <a:lnTo>
                    <a:pt x="858" y="59"/>
                  </a:lnTo>
                  <a:lnTo>
                    <a:pt x="858" y="59"/>
                  </a:lnTo>
                  <a:lnTo>
                    <a:pt x="858" y="59"/>
                  </a:lnTo>
                  <a:lnTo>
                    <a:pt x="856" y="59"/>
                  </a:lnTo>
                  <a:lnTo>
                    <a:pt x="856" y="61"/>
                  </a:lnTo>
                  <a:lnTo>
                    <a:pt x="856" y="61"/>
                  </a:lnTo>
                  <a:lnTo>
                    <a:pt x="854" y="64"/>
                  </a:lnTo>
                  <a:lnTo>
                    <a:pt x="852" y="66"/>
                  </a:lnTo>
                  <a:lnTo>
                    <a:pt x="854" y="64"/>
                  </a:lnTo>
                  <a:lnTo>
                    <a:pt x="856" y="64"/>
                  </a:lnTo>
                  <a:close/>
                  <a:moveTo>
                    <a:pt x="860" y="57"/>
                  </a:moveTo>
                  <a:lnTo>
                    <a:pt x="860" y="55"/>
                  </a:lnTo>
                  <a:lnTo>
                    <a:pt x="862" y="53"/>
                  </a:lnTo>
                  <a:lnTo>
                    <a:pt x="866" y="51"/>
                  </a:lnTo>
                  <a:lnTo>
                    <a:pt x="864" y="51"/>
                  </a:lnTo>
                  <a:lnTo>
                    <a:pt x="860" y="55"/>
                  </a:lnTo>
                  <a:lnTo>
                    <a:pt x="860" y="55"/>
                  </a:lnTo>
                  <a:lnTo>
                    <a:pt x="858" y="57"/>
                  </a:lnTo>
                  <a:lnTo>
                    <a:pt x="858" y="57"/>
                  </a:lnTo>
                  <a:lnTo>
                    <a:pt x="860" y="57"/>
                  </a:lnTo>
                  <a:close/>
                  <a:moveTo>
                    <a:pt x="848" y="72"/>
                  </a:moveTo>
                  <a:lnTo>
                    <a:pt x="848" y="72"/>
                  </a:lnTo>
                  <a:lnTo>
                    <a:pt x="852" y="68"/>
                  </a:lnTo>
                  <a:lnTo>
                    <a:pt x="852" y="66"/>
                  </a:lnTo>
                  <a:lnTo>
                    <a:pt x="848" y="70"/>
                  </a:lnTo>
                  <a:lnTo>
                    <a:pt x="848" y="72"/>
                  </a:lnTo>
                  <a:lnTo>
                    <a:pt x="848" y="72"/>
                  </a:lnTo>
                  <a:lnTo>
                    <a:pt x="846" y="78"/>
                  </a:lnTo>
                  <a:lnTo>
                    <a:pt x="846" y="76"/>
                  </a:lnTo>
                  <a:lnTo>
                    <a:pt x="848" y="72"/>
                  </a:lnTo>
                  <a:close/>
                  <a:moveTo>
                    <a:pt x="746" y="250"/>
                  </a:moveTo>
                  <a:lnTo>
                    <a:pt x="748" y="250"/>
                  </a:lnTo>
                  <a:lnTo>
                    <a:pt x="750" y="248"/>
                  </a:lnTo>
                  <a:lnTo>
                    <a:pt x="750" y="248"/>
                  </a:lnTo>
                  <a:lnTo>
                    <a:pt x="750" y="248"/>
                  </a:lnTo>
                  <a:lnTo>
                    <a:pt x="750" y="248"/>
                  </a:lnTo>
                  <a:lnTo>
                    <a:pt x="752" y="248"/>
                  </a:lnTo>
                  <a:lnTo>
                    <a:pt x="754" y="246"/>
                  </a:lnTo>
                  <a:lnTo>
                    <a:pt x="756" y="246"/>
                  </a:lnTo>
                  <a:lnTo>
                    <a:pt x="756" y="246"/>
                  </a:lnTo>
                  <a:lnTo>
                    <a:pt x="756" y="246"/>
                  </a:lnTo>
                  <a:lnTo>
                    <a:pt x="758" y="246"/>
                  </a:lnTo>
                  <a:lnTo>
                    <a:pt x="756" y="246"/>
                  </a:lnTo>
                  <a:lnTo>
                    <a:pt x="754" y="246"/>
                  </a:lnTo>
                  <a:lnTo>
                    <a:pt x="743" y="250"/>
                  </a:lnTo>
                  <a:lnTo>
                    <a:pt x="743" y="250"/>
                  </a:lnTo>
                  <a:lnTo>
                    <a:pt x="743" y="252"/>
                  </a:lnTo>
                  <a:lnTo>
                    <a:pt x="743" y="250"/>
                  </a:lnTo>
                  <a:lnTo>
                    <a:pt x="746" y="250"/>
                  </a:lnTo>
                  <a:close/>
                  <a:moveTo>
                    <a:pt x="1098" y="43"/>
                  </a:moveTo>
                  <a:lnTo>
                    <a:pt x="1100" y="45"/>
                  </a:lnTo>
                  <a:lnTo>
                    <a:pt x="1102" y="45"/>
                  </a:lnTo>
                  <a:lnTo>
                    <a:pt x="1102" y="45"/>
                  </a:lnTo>
                  <a:lnTo>
                    <a:pt x="1102" y="45"/>
                  </a:lnTo>
                  <a:lnTo>
                    <a:pt x="1104" y="45"/>
                  </a:lnTo>
                  <a:lnTo>
                    <a:pt x="1104" y="45"/>
                  </a:lnTo>
                  <a:lnTo>
                    <a:pt x="1102" y="45"/>
                  </a:lnTo>
                  <a:lnTo>
                    <a:pt x="1102" y="45"/>
                  </a:lnTo>
                  <a:lnTo>
                    <a:pt x="1102" y="45"/>
                  </a:lnTo>
                  <a:lnTo>
                    <a:pt x="1102" y="45"/>
                  </a:lnTo>
                  <a:lnTo>
                    <a:pt x="1102" y="45"/>
                  </a:lnTo>
                  <a:lnTo>
                    <a:pt x="1096" y="43"/>
                  </a:lnTo>
                  <a:lnTo>
                    <a:pt x="1096" y="43"/>
                  </a:lnTo>
                  <a:lnTo>
                    <a:pt x="1096" y="43"/>
                  </a:lnTo>
                  <a:lnTo>
                    <a:pt x="1096" y="43"/>
                  </a:lnTo>
                  <a:lnTo>
                    <a:pt x="1096" y="43"/>
                  </a:lnTo>
                  <a:lnTo>
                    <a:pt x="1098" y="43"/>
                  </a:lnTo>
                  <a:close/>
                  <a:moveTo>
                    <a:pt x="723" y="459"/>
                  </a:moveTo>
                  <a:lnTo>
                    <a:pt x="723" y="459"/>
                  </a:lnTo>
                  <a:lnTo>
                    <a:pt x="723" y="459"/>
                  </a:lnTo>
                  <a:lnTo>
                    <a:pt x="723" y="459"/>
                  </a:lnTo>
                  <a:lnTo>
                    <a:pt x="721" y="461"/>
                  </a:lnTo>
                  <a:lnTo>
                    <a:pt x="721" y="461"/>
                  </a:lnTo>
                  <a:lnTo>
                    <a:pt x="721" y="461"/>
                  </a:lnTo>
                  <a:lnTo>
                    <a:pt x="721" y="461"/>
                  </a:lnTo>
                  <a:lnTo>
                    <a:pt x="723" y="461"/>
                  </a:lnTo>
                  <a:lnTo>
                    <a:pt x="723" y="461"/>
                  </a:lnTo>
                  <a:lnTo>
                    <a:pt x="723" y="461"/>
                  </a:lnTo>
                  <a:lnTo>
                    <a:pt x="723" y="461"/>
                  </a:lnTo>
                  <a:lnTo>
                    <a:pt x="723" y="461"/>
                  </a:lnTo>
                  <a:lnTo>
                    <a:pt x="723" y="461"/>
                  </a:lnTo>
                  <a:lnTo>
                    <a:pt x="723" y="461"/>
                  </a:lnTo>
                  <a:lnTo>
                    <a:pt x="723" y="461"/>
                  </a:lnTo>
                  <a:lnTo>
                    <a:pt x="723" y="461"/>
                  </a:lnTo>
                  <a:lnTo>
                    <a:pt x="723" y="461"/>
                  </a:lnTo>
                  <a:lnTo>
                    <a:pt x="723" y="461"/>
                  </a:lnTo>
                  <a:lnTo>
                    <a:pt x="723" y="459"/>
                  </a:lnTo>
                  <a:lnTo>
                    <a:pt x="723" y="459"/>
                  </a:lnTo>
                  <a:lnTo>
                    <a:pt x="723" y="459"/>
                  </a:lnTo>
                  <a:close/>
                  <a:moveTo>
                    <a:pt x="721" y="467"/>
                  </a:moveTo>
                  <a:lnTo>
                    <a:pt x="721" y="467"/>
                  </a:lnTo>
                  <a:lnTo>
                    <a:pt x="721" y="469"/>
                  </a:lnTo>
                  <a:lnTo>
                    <a:pt x="721" y="469"/>
                  </a:lnTo>
                  <a:lnTo>
                    <a:pt x="721" y="469"/>
                  </a:lnTo>
                  <a:lnTo>
                    <a:pt x="721" y="467"/>
                  </a:lnTo>
                  <a:lnTo>
                    <a:pt x="721" y="465"/>
                  </a:lnTo>
                  <a:lnTo>
                    <a:pt x="721" y="463"/>
                  </a:lnTo>
                  <a:lnTo>
                    <a:pt x="723" y="463"/>
                  </a:lnTo>
                  <a:lnTo>
                    <a:pt x="721" y="463"/>
                  </a:lnTo>
                  <a:lnTo>
                    <a:pt x="721" y="465"/>
                  </a:lnTo>
                  <a:lnTo>
                    <a:pt x="721" y="467"/>
                  </a:lnTo>
                  <a:close/>
                  <a:moveTo>
                    <a:pt x="750" y="434"/>
                  </a:moveTo>
                  <a:lnTo>
                    <a:pt x="750" y="434"/>
                  </a:lnTo>
                  <a:lnTo>
                    <a:pt x="750" y="434"/>
                  </a:lnTo>
                  <a:lnTo>
                    <a:pt x="752" y="434"/>
                  </a:lnTo>
                  <a:lnTo>
                    <a:pt x="750" y="434"/>
                  </a:lnTo>
                  <a:close/>
                  <a:moveTo>
                    <a:pt x="858" y="760"/>
                  </a:moveTo>
                  <a:lnTo>
                    <a:pt x="858" y="760"/>
                  </a:lnTo>
                  <a:lnTo>
                    <a:pt x="858" y="760"/>
                  </a:lnTo>
                  <a:lnTo>
                    <a:pt x="858" y="760"/>
                  </a:lnTo>
                  <a:lnTo>
                    <a:pt x="858" y="760"/>
                  </a:lnTo>
                  <a:lnTo>
                    <a:pt x="858" y="760"/>
                  </a:lnTo>
                  <a:lnTo>
                    <a:pt x="858" y="760"/>
                  </a:lnTo>
                  <a:close/>
                  <a:moveTo>
                    <a:pt x="852" y="660"/>
                  </a:moveTo>
                  <a:lnTo>
                    <a:pt x="852" y="660"/>
                  </a:lnTo>
                  <a:lnTo>
                    <a:pt x="852" y="658"/>
                  </a:lnTo>
                  <a:lnTo>
                    <a:pt x="850" y="658"/>
                  </a:lnTo>
                  <a:lnTo>
                    <a:pt x="850" y="658"/>
                  </a:lnTo>
                  <a:lnTo>
                    <a:pt x="850" y="658"/>
                  </a:lnTo>
                  <a:lnTo>
                    <a:pt x="850" y="658"/>
                  </a:lnTo>
                  <a:lnTo>
                    <a:pt x="850" y="658"/>
                  </a:lnTo>
                  <a:lnTo>
                    <a:pt x="850" y="660"/>
                  </a:lnTo>
                  <a:lnTo>
                    <a:pt x="852" y="660"/>
                  </a:lnTo>
                  <a:close/>
                  <a:moveTo>
                    <a:pt x="860" y="758"/>
                  </a:moveTo>
                  <a:lnTo>
                    <a:pt x="860" y="758"/>
                  </a:lnTo>
                  <a:lnTo>
                    <a:pt x="860" y="758"/>
                  </a:lnTo>
                  <a:lnTo>
                    <a:pt x="860" y="758"/>
                  </a:lnTo>
                  <a:lnTo>
                    <a:pt x="860" y="758"/>
                  </a:lnTo>
                  <a:lnTo>
                    <a:pt x="860" y="760"/>
                  </a:lnTo>
                  <a:lnTo>
                    <a:pt x="860" y="760"/>
                  </a:lnTo>
                  <a:lnTo>
                    <a:pt x="860" y="760"/>
                  </a:lnTo>
                  <a:lnTo>
                    <a:pt x="860" y="758"/>
                  </a:lnTo>
                  <a:close/>
                  <a:moveTo>
                    <a:pt x="754" y="434"/>
                  </a:moveTo>
                  <a:lnTo>
                    <a:pt x="754" y="434"/>
                  </a:lnTo>
                  <a:lnTo>
                    <a:pt x="752" y="434"/>
                  </a:lnTo>
                  <a:lnTo>
                    <a:pt x="752" y="434"/>
                  </a:lnTo>
                  <a:lnTo>
                    <a:pt x="752" y="434"/>
                  </a:lnTo>
                  <a:lnTo>
                    <a:pt x="752" y="434"/>
                  </a:lnTo>
                  <a:lnTo>
                    <a:pt x="752" y="434"/>
                  </a:lnTo>
                  <a:lnTo>
                    <a:pt x="752" y="434"/>
                  </a:lnTo>
                  <a:lnTo>
                    <a:pt x="754" y="437"/>
                  </a:lnTo>
                  <a:lnTo>
                    <a:pt x="754" y="437"/>
                  </a:lnTo>
                  <a:lnTo>
                    <a:pt x="754" y="434"/>
                  </a:lnTo>
                  <a:lnTo>
                    <a:pt x="754" y="434"/>
                  </a:lnTo>
                  <a:lnTo>
                    <a:pt x="754" y="434"/>
                  </a:lnTo>
                  <a:close/>
                  <a:moveTo>
                    <a:pt x="754" y="434"/>
                  </a:moveTo>
                  <a:lnTo>
                    <a:pt x="754" y="434"/>
                  </a:lnTo>
                  <a:lnTo>
                    <a:pt x="754" y="434"/>
                  </a:lnTo>
                  <a:lnTo>
                    <a:pt x="754" y="434"/>
                  </a:lnTo>
                  <a:lnTo>
                    <a:pt x="754" y="434"/>
                  </a:lnTo>
                  <a:lnTo>
                    <a:pt x="754" y="434"/>
                  </a:lnTo>
                  <a:lnTo>
                    <a:pt x="754" y="434"/>
                  </a:lnTo>
                  <a:close/>
                  <a:moveTo>
                    <a:pt x="754" y="439"/>
                  </a:moveTo>
                  <a:lnTo>
                    <a:pt x="752" y="439"/>
                  </a:lnTo>
                  <a:lnTo>
                    <a:pt x="752" y="439"/>
                  </a:lnTo>
                  <a:lnTo>
                    <a:pt x="752" y="439"/>
                  </a:lnTo>
                  <a:lnTo>
                    <a:pt x="752" y="439"/>
                  </a:lnTo>
                  <a:lnTo>
                    <a:pt x="754" y="439"/>
                  </a:lnTo>
                  <a:lnTo>
                    <a:pt x="754" y="439"/>
                  </a:lnTo>
                  <a:lnTo>
                    <a:pt x="754" y="439"/>
                  </a:lnTo>
                  <a:lnTo>
                    <a:pt x="754" y="439"/>
                  </a:lnTo>
                  <a:lnTo>
                    <a:pt x="754" y="439"/>
                  </a:lnTo>
                  <a:lnTo>
                    <a:pt x="754" y="439"/>
                  </a:lnTo>
                  <a:close/>
                  <a:moveTo>
                    <a:pt x="926" y="771"/>
                  </a:moveTo>
                  <a:lnTo>
                    <a:pt x="926" y="771"/>
                  </a:lnTo>
                  <a:lnTo>
                    <a:pt x="926" y="768"/>
                  </a:lnTo>
                  <a:lnTo>
                    <a:pt x="924" y="768"/>
                  </a:lnTo>
                  <a:lnTo>
                    <a:pt x="922" y="768"/>
                  </a:lnTo>
                  <a:lnTo>
                    <a:pt x="920" y="768"/>
                  </a:lnTo>
                  <a:lnTo>
                    <a:pt x="920" y="768"/>
                  </a:lnTo>
                  <a:lnTo>
                    <a:pt x="918" y="771"/>
                  </a:lnTo>
                  <a:lnTo>
                    <a:pt x="918" y="771"/>
                  </a:lnTo>
                  <a:lnTo>
                    <a:pt x="918" y="771"/>
                  </a:lnTo>
                  <a:lnTo>
                    <a:pt x="918" y="771"/>
                  </a:lnTo>
                  <a:lnTo>
                    <a:pt x="918" y="771"/>
                  </a:lnTo>
                  <a:lnTo>
                    <a:pt x="918" y="773"/>
                  </a:lnTo>
                  <a:lnTo>
                    <a:pt x="918" y="773"/>
                  </a:lnTo>
                  <a:lnTo>
                    <a:pt x="920" y="773"/>
                  </a:lnTo>
                  <a:lnTo>
                    <a:pt x="922" y="771"/>
                  </a:lnTo>
                  <a:lnTo>
                    <a:pt x="922" y="773"/>
                  </a:lnTo>
                  <a:lnTo>
                    <a:pt x="922" y="773"/>
                  </a:lnTo>
                  <a:lnTo>
                    <a:pt x="922" y="773"/>
                  </a:lnTo>
                  <a:lnTo>
                    <a:pt x="922" y="773"/>
                  </a:lnTo>
                  <a:lnTo>
                    <a:pt x="922" y="771"/>
                  </a:lnTo>
                  <a:lnTo>
                    <a:pt x="922" y="771"/>
                  </a:lnTo>
                  <a:lnTo>
                    <a:pt x="926" y="771"/>
                  </a:lnTo>
                  <a:lnTo>
                    <a:pt x="926" y="771"/>
                  </a:lnTo>
                  <a:lnTo>
                    <a:pt x="926" y="773"/>
                  </a:lnTo>
                  <a:lnTo>
                    <a:pt x="926" y="773"/>
                  </a:lnTo>
                  <a:lnTo>
                    <a:pt x="928" y="773"/>
                  </a:lnTo>
                  <a:lnTo>
                    <a:pt x="926" y="771"/>
                  </a:lnTo>
                  <a:lnTo>
                    <a:pt x="926" y="771"/>
                  </a:lnTo>
                  <a:close/>
                  <a:moveTo>
                    <a:pt x="764" y="414"/>
                  </a:moveTo>
                  <a:lnTo>
                    <a:pt x="764" y="414"/>
                  </a:lnTo>
                  <a:lnTo>
                    <a:pt x="764" y="414"/>
                  </a:lnTo>
                  <a:lnTo>
                    <a:pt x="764" y="414"/>
                  </a:lnTo>
                  <a:lnTo>
                    <a:pt x="764" y="414"/>
                  </a:lnTo>
                  <a:lnTo>
                    <a:pt x="764" y="414"/>
                  </a:lnTo>
                  <a:lnTo>
                    <a:pt x="764" y="414"/>
                  </a:lnTo>
                  <a:lnTo>
                    <a:pt x="764" y="414"/>
                  </a:lnTo>
                  <a:lnTo>
                    <a:pt x="764" y="414"/>
                  </a:lnTo>
                  <a:lnTo>
                    <a:pt x="764" y="414"/>
                  </a:lnTo>
                  <a:close/>
                  <a:moveTo>
                    <a:pt x="815" y="391"/>
                  </a:moveTo>
                  <a:lnTo>
                    <a:pt x="813" y="391"/>
                  </a:lnTo>
                  <a:lnTo>
                    <a:pt x="813" y="391"/>
                  </a:lnTo>
                  <a:lnTo>
                    <a:pt x="813" y="391"/>
                  </a:lnTo>
                  <a:lnTo>
                    <a:pt x="813" y="391"/>
                  </a:lnTo>
                  <a:lnTo>
                    <a:pt x="813" y="391"/>
                  </a:lnTo>
                  <a:lnTo>
                    <a:pt x="811" y="393"/>
                  </a:lnTo>
                  <a:lnTo>
                    <a:pt x="813" y="393"/>
                  </a:lnTo>
                  <a:lnTo>
                    <a:pt x="813" y="393"/>
                  </a:lnTo>
                  <a:lnTo>
                    <a:pt x="813" y="396"/>
                  </a:lnTo>
                  <a:lnTo>
                    <a:pt x="813" y="396"/>
                  </a:lnTo>
                  <a:lnTo>
                    <a:pt x="815" y="396"/>
                  </a:lnTo>
                  <a:lnTo>
                    <a:pt x="819" y="396"/>
                  </a:lnTo>
                  <a:lnTo>
                    <a:pt x="819" y="396"/>
                  </a:lnTo>
                  <a:lnTo>
                    <a:pt x="819" y="396"/>
                  </a:lnTo>
                  <a:lnTo>
                    <a:pt x="819" y="396"/>
                  </a:lnTo>
                  <a:lnTo>
                    <a:pt x="819" y="396"/>
                  </a:lnTo>
                  <a:lnTo>
                    <a:pt x="819" y="396"/>
                  </a:lnTo>
                  <a:lnTo>
                    <a:pt x="819" y="393"/>
                  </a:lnTo>
                  <a:lnTo>
                    <a:pt x="819" y="393"/>
                  </a:lnTo>
                  <a:lnTo>
                    <a:pt x="819" y="393"/>
                  </a:lnTo>
                  <a:lnTo>
                    <a:pt x="819" y="393"/>
                  </a:lnTo>
                  <a:lnTo>
                    <a:pt x="819" y="393"/>
                  </a:lnTo>
                  <a:lnTo>
                    <a:pt x="819" y="393"/>
                  </a:lnTo>
                  <a:lnTo>
                    <a:pt x="819" y="393"/>
                  </a:lnTo>
                  <a:lnTo>
                    <a:pt x="819" y="393"/>
                  </a:lnTo>
                  <a:lnTo>
                    <a:pt x="819" y="393"/>
                  </a:lnTo>
                  <a:lnTo>
                    <a:pt x="819" y="391"/>
                  </a:lnTo>
                  <a:lnTo>
                    <a:pt x="819" y="391"/>
                  </a:lnTo>
                  <a:lnTo>
                    <a:pt x="819" y="391"/>
                  </a:lnTo>
                  <a:lnTo>
                    <a:pt x="819" y="391"/>
                  </a:lnTo>
                  <a:lnTo>
                    <a:pt x="817" y="391"/>
                  </a:lnTo>
                  <a:lnTo>
                    <a:pt x="817" y="391"/>
                  </a:lnTo>
                  <a:lnTo>
                    <a:pt x="817" y="391"/>
                  </a:lnTo>
                  <a:lnTo>
                    <a:pt x="817" y="391"/>
                  </a:lnTo>
                  <a:lnTo>
                    <a:pt x="815" y="391"/>
                  </a:lnTo>
                  <a:lnTo>
                    <a:pt x="815" y="391"/>
                  </a:lnTo>
                  <a:lnTo>
                    <a:pt x="815" y="391"/>
                  </a:lnTo>
                  <a:lnTo>
                    <a:pt x="815" y="391"/>
                  </a:lnTo>
                  <a:lnTo>
                    <a:pt x="815" y="391"/>
                  </a:lnTo>
                  <a:close/>
                  <a:moveTo>
                    <a:pt x="764" y="410"/>
                  </a:moveTo>
                  <a:lnTo>
                    <a:pt x="764" y="412"/>
                  </a:lnTo>
                  <a:lnTo>
                    <a:pt x="764" y="412"/>
                  </a:lnTo>
                  <a:lnTo>
                    <a:pt x="764" y="412"/>
                  </a:lnTo>
                  <a:lnTo>
                    <a:pt x="764" y="412"/>
                  </a:lnTo>
                  <a:lnTo>
                    <a:pt x="764" y="412"/>
                  </a:lnTo>
                  <a:lnTo>
                    <a:pt x="764" y="412"/>
                  </a:lnTo>
                  <a:lnTo>
                    <a:pt x="764" y="412"/>
                  </a:lnTo>
                  <a:lnTo>
                    <a:pt x="764" y="412"/>
                  </a:lnTo>
                  <a:lnTo>
                    <a:pt x="764" y="412"/>
                  </a:lnTo>
                  <a:lnTo>
                    <a:pt x="764" y="410"/>
                  </a:lnTo>
                  <a:close/>
                  <a:moveTo>
                    <a:pt x="752" y="439"/>
                  </a:moveTo>
                  <a:lnTo>
                    <a:pt x="752" y="439"/>
                  </a:lnTo>
                  <a:lnTo>
                    <a:pt x="752" y="439"/>
                  </a:lnTo>
                  <a:lnTo>
                    <a:pt x="752" y="439"/>
                  </a:lnTo>
                  <a:lnTo>
                    <a:pt x="752" y="439"/>
                  </a:lnTo>
                  <a:lnTo>
                    <a:pt x="752" y="439"/>
                  </a:lnTo>
                  <a:lnTo>
                    <a:pt x="752" y="439"/>
                  </a:lnTo>
                  <a:lnTo>
                    <a:pt x="752" y="439"/>
                  </a:lnTo>
                  <a:lnTo>
                    <a:pt x="752" y="439"/>
                  </a:lnTo>
                  <a:close/>
                  <a:moveTo>
                    <a:pt x="733" y="256"/>
                  </a:moveTo>
                  <a:lnTo>
                    <a:pt x="733" y="256"/>
                  </a:lnTo>
                  <a:lnTo>
                    <a:pt x="735" y="256"/>
                  </a:lnTo>
                  <a:lnTo>
                    <a:pt x="735" y="256"/>
                  </a:lnTo>
                  <a:lnTo>
                    <a:pt x="735" y="256"/>
                  </a:lnTo>
                  <a:lnTo>
                    <a:pt x="735" y="256"/>
                  </a:lnTo>
                  <a:lnTo>
                    <a:pt x="737" y="254"/>
                  </a:lnTo>
                  <a:lnTo>
                    <a:pt x="737" y="254"/>
                  </a:lnTo>
                  <a:lnTo>
                    <a:pt x="741" y="252"/>
                  </a:lnTo>
                  <a:lnTo>
                    <a:pt x="741" y="252"/>
                  </a:lnTo>
                  <a:lnTo>
                    <a:pt x="741" y="252"/>
                  </a:lnTo>
                  <a:lnTo>
                    <a:pt x="741" y="252"/>
                  </a:lnTo>
                  <a:lnTo>
                    <a:pt x="741" y="252"/>
                  </a:lnTo>
                  <a:lnTo>
                    <a:pt x="733" y="256"/>
                  </a:lnTo>
                  <a:lnTo>
                    <a:pt x="731" y="256"/>
                  </a:lnTo>
                  <a:lnTo>
                    <a:pt x="733" y="256"/>
                  </a:lnTo>
                  <a:lnTo>
                    <a:pt x="733" y="256"/>
                  </a:lnTo>
                  <a:close/>
                  <a:moveTo>
                    <a:pt x="721" y="264"/>
                  </a:moveTo>
                  <a:lnTo>
                    <a:pt x="721" y="262"/>
                  </a:lnTo>
                  <a:lnTo>
                    <a:pt x="723" y="262"/>
                  </a:lnTo>
                  <a:lnTo>
                    <a:pt x="721" y="262"/>
                  </a:lnTo>
                  <a:lnTo>
                    <a:pt x="721" y="262"/>
                  </a:lnTo>
                  <a:lnTo>
                    <a:pt x="723" y="260"/>
                  </a:lnTo>
                  <a:lnTo>
                    <a:pt x="725" y="260"/>
                  </a:lnTo>
                  <a:lnTo>
                    <a:pt x="725" y="260"/>
                  </a:lnTo>
                  <a:lnTo>
                    <a:pt x="725" y="260"/>
                  </a:lnTo>
                  <a:lnTo>
                    <a:pt x="721" y="260"/>
                  </a:lnTo>
                  <a:lnTo>
                    <a:pt x="721" y="260"/>
                  </a:lnTo>
                  <a:lnTo>
                    <a:pt x="721" y="262"/>
                  </a:lnTo>
                  <a:lnTo>
                    <a:pt x="721" y="262"/>
                  </a:lnTo>
                  <a:lnTo>
                    <a:pt x="721" y="262"/>
                  </a:lnTo>
                  <a:lnTo>
                    <a:pt x="721" y="262"/>
                  </a:lnTo>
                  <a:lnTo>
                    <a:pt x="721" y="264"/>
                  </a:lnTo>
                  <a:close/>
                  <a:moveTo>
                    <a:pt x="1055" y="664"/>
                  </a:moveTo>
                  <a:lnTo>
                    <a:pt x="1055" y="664"/>
                  </a:lnTo>
                  <a:lnTo>
                    <a:pt x="1055" y="664"/>
                  </a:lnTo>
                  <a:lnTo>
                    <a:pt x="1053" y="664"/>
                  </a:lnTo>
                  <a:lnTo>
                    <a:pt x="1053" y="666"/>
                  </a:lnTo>
                  <a:lnTo>
                    <a:pt x="1053" y="666"/>
                  </a:lnTo>
                  <a:lnTo>
                    <a:pt x="1051" y="666"/>
                  </a:lnTo>
                  <a:lnTo>
                    <a:pt x="1051" y="666"/>
                  </a:lnTo>
                  <a:lnTo>
                    <a:pt x="1051" y="668"/>
                  </a:lnTo>
                  <a:lnTo>
                    <a:pt x="1051" y="668"/>
                  </a:lnTo>
                  <a:lnTo>
                    <a:pt x="1049" y="668"/>
                  </a:lnTo>
                  <a:lnTo>
                    <a:pt x="1049" y="668"/>
                  </a:lnTo>
                  <a:lnTo>
                    <a:pt x="1049" y="668"/>
                  </a:lnTo>
                  <a:lnTo>
                    <a:pt x="1049" y="670"/>
                  </a:lnTo>
                  <a:lnTo>
                    <a:pt x="1049" y="670"/>
                  </a:lnTo>
                  <a:lnTo>
                    <a:pt x="1049" y="670"/>
                  </a:lnTo>
                  <a:lnTo>
                    <a:pt x="1053" y="672"/>
                  </a:lnTo>
                  <a:lnTo>
                    <a:pt x="1053" y="672"/>
                  </a:lnTo>
                  <a:lnTo>
                    <a:pt x="1053" y="672"/>
                  </a:lnTo>
                  <a:lnTo>
                    <a:pt x="1055" y="670"/>
                  </a:lnTo>
                  <a:lnTo>
                    <a:pt x="1057" y="668"/>
                  </a:lnTo>
                  <a:lnTo>
                    <a:pt x="1057" y="668"/>
                  </a:lnTo>
                  <a:lnTo>
                    <a:pt x="1057" y="666"/>
                  </a:lnTo>
                  <a:lnTo>
                    <a:pt x="1057" y="666"/>
                  </a:lnTo>
                  <a:lnTo>
                    <a:pt x="1057" y="666"/>
                  </a:lnTo>
                  <a:lnTo>
                    <a:pt x="1057" y="664"/>
                  </a:lnTo>
                  <a:lnTo>
                    <a:pt x="1057" y="664"/>
                  </a:lnTo>
                  <a:lnTo>
                    <a:pt x="1057" y="664"/>
                  </a:lnTo>
                  <a:lnTo>
                    <a:pt x="1057" y="664"/>
                  </a:lnTo>
                  <a:lnTo>
                    <a:pt x="1057" y="664"/>
                  </a:lnTo>
                  <a:lnTo>
                    <a:pt x="1055" y="664"/>
                  </a:lnTo>
                  <a:close/>
                  <a:moveTo>
                    <a:pt x="1618" y="691"/>
                  </a:moveTo>
                  <a:lnTo>
                    <a:pt x="1618" y="693"/>
                  </a:lnTo>
                  <a:lnTo>
                    <a:pt x="1618" y="693"/>
                  </a:lnTo>
                  <a:lnTo>
                    <a:pt x="1618" y="693"/>
                  </a:lnTo>
                  <a:lnTo>
                    <a:pt x="1618" y="695"/>
                  </a:lnTo>
                  <a:lnTo>
                    <a:pt x="1618" y="695"/>
                  </a:lnTo>
                  <a:lnTo>
                    <a:pt x="1618" y="695"/>
                  </a:lnTo>
                  <a:lnTo>
                    <a:pt x="1618" y="697"/>
                  </a:lnTo>
                  <a:lnTo>
                    <a:pt x="1620" y="697"/>
                  </a:lnTo>
                  <a:lnTo>
                    <a:pt x="1620" y="699"/>
                  </a:lnTo>
                  <a:lnTo>
                    <a:pt x="1620" y="699"/>
                  </a:lnTo>
                  <a:lnTo>
                    <a:pt x="1622" y="699"/>
                  </a:lnTo>
                  <a:lnTo>
                    <a:pt x="1622" y="701"/>
                  </a:lnTo>
                  <a:lnTo>
                    <a:pt x="1622" y="699"/>
                  </a:lnTo>
                  <a:lnTo>
                    <a:pt x="1622" y="699"/>
                  </a:lnTo>
                  <a:lnTo>
                    <a:pt x="1622" y="699"/>
                  </a:lnTo>
                  <a:lnTo>
                    <a:pt x="1622" y="699"/>
                  </a:lnTo>
                  <a:lnTo>
                    <a:pt x="1622" y="699"/>
                  </a:lnTo>
                  <a:lnTo>
                    <a:pt x="1624" y="699"/>
                  </a:lnTo>
                  <a:lnTo>
                    <a:pt x="1624" y="699"/>
                  </a:lnTo>
                  <a:lnTo>
                    <a:pt x="1624" y="699"/>
                  </a:lnTo>
                  <a:lnTo>
                    <a:pt x="1628" y="697"/>
                  </a:lnTo>
                  <a:lnTo>
                    <a:pt x="1628" y="699"/>
                  </a:lnTo>
                  <a:lnTo>
                    <a:pt x="1628" y="699"/>
                  </a:lnTo>
                  <a:lnTo>
                    <a:pt x="1628" y="699"/>
                  </a:lnTo>
                  <a:lnTo>
                    <a:pt x="1630" y="699"/>
                  </a:lnTo>
                  <a:lnTo>
                    <a:pt x="1630" y="699"/>
                  </a:lnTo>
                  <a:lnTo>
                    <a:pt x="1630" y="699"/>
                  </a:lnTo>
                  <a:lnTo>
                    <a:pt x="1630" y="701"/>
                  </a:lnTo>
                  <a:lnTo>
                    <a:pt x="1630" y="701"/>
                  </a:lnTo>
                  <a:lnTo>
                    <a:pt x="1630" y="701"/>
                  </a:lnTo>
                  <a:lnTo>
                    <a:pt x="1630" y="703"/>
                  </a:lnTo>
                  <a:lnTo>
                    <a:pt x="1630" y="703"/>
                  </a:lnTo>
                  <a:lnTo>
                    <a:pt x="1630" y="703"/>
                  </a:lnTo>
                  <a:lnTo>
                    <a:pt x="1632" y="703"/>
                  </a:lnTo>
                  <a:lnTo>
                    <a:pt x="1632" y="703"/>
                  </a:lnTo>
                  <a:lnTo>
                    <a:pt x="1632" y="703"/>
                  </a:lnTo>
                  <a:lnTo>
                    <a:pt x="1632" y="703"/>
                  </a:lnTo>
                  <a:lnTo>
                    <a:pt x="1634" y="703"/>
                  </a:lnTo>
                  <a:lnTo>
                    <a:pt x="1634" y="703"/>
                  </a:lnTo>
                  <a:lnTo>
                    <a:pt x="1634" y="703"/>
                  </a:lnTo>
                  <a:lnTo>
                    <a:pt x="1634" y="703"/>
                  </a:lnTo>
                  <a:lnTo>
                    <a:pt x="1634" y="703"/>
                  </a:lnTo>
                  <a:lnTo>
                    <a:pt x="1634" y="703"/>
                  </a:lnTo>
                  <a:lnTo>
                    <a:pt x="1636" y="703"/>
                  </a:lnTo>
                  <a:lnTo>
                    <a:pt x="1636" y="701"/>
                  </a:lnTo>
                  <a:lnTo>
                    <a:pt x="1636" y="701"/>
                  </a:lnTo>
                  <a:lnTo>
                    <a:pt x="1636" y="701"/>
                  </a:lnTo>
                  <a:lnTo>
                    <a:pt x="1636" y="701"/>
                  </a:lnTo>
                  <a:lnTo>
                    <a:pt x="1636" y="701"/>
                  </a:lnTo>
                  <a:lnTo>
                    <a:pt x="1636" y="701"/>
                  </a:lnTo>
                  <a:lnTo>
                    <a:pt x="1638" y="701"/>
                  </a:lnTo>
                  <a:lnTo>
                    <a:pt x="1638" y="701"/>
                  </a:lnTo>
                  <a:lnTo>
                    <a:pt x="1638" y="699"/>
                  </a:lnTo>
                  <a:lnTo>
                    <a:pt x="1636" y="699"/>
                  </a:lnTo>
                  <a:lnTo>
                    <a:pt x="1636" y="699"/>
                  </a:lnTo>
                  <a:lnTo>
                    <a:pt x="1636" y="699"/>
                  </a:lnTo>
                  <a:lnTo>
                    <a:pt x="1636" y="699"/>
                  </a:lnTo>
                  <a:lnTo>
                    <a:pt x="1636" y="697"/>
                  </a:lnTo>
                  <a:lnTo>
                    <a:pt x="1636" y="697"/>
                  </a:lnTo>
                  <a:lnTo>
                    <a:pt x="1634" y="697"/>
                  </a:lnTo>
                  <a:lnTo>
                    <a:pt x="1634" y="697"/>
                  </a:lnTo>
                  <a:lnTo>
                    <a:pt x="1634" y="697"/>
                  </a:lnTo>
                  <a:lnTo>
                    <a:pt x="1634" y="695"/>
                  </a:lnTo>
                  <a:lnTo>
                    <a:pt x="1634" y="695"/>
                  </a:lnTo>
                  <a:lnTo>
                    <a:pt x="1634" y="695"/>
                  </a:lnTo>
                  <a:lnTo>
                    <a:pt x="1634" y="695"/>
                  </a:lnTo>
                  <a:lnTo>
                    <a:pt x="1634" y="695"/>
                  </a:lnTo>
                  <a:lnTo>
                    <a:pt x="1634" y="695"/>
                  </a:lnTo>
                  <a:lnTo>
                    <a:pt x="1634" y="695"/>
                  </a:lnTo>
                  <a:lnTo>
                    <a:pt x="1636" y="695"/>
                  </a:lnTo>
                  <a:lnTo>
                    <a:pt x="1634" y="693"/>
                  </a:lnTo>
                  <a:lnTo>
                    <a:pt x="1636" y="693"/>
                  </a:lnTo>
                  <a:lnTo>
                    <a:pt x="1636" y="693"/>
                  </a:lnTo>
                  <a:lnTo>
                    <a:pt x="1636" y="693"/>
                  </a:lnTo>
                  <a:lnTo>
                    <a:pt x="1636" y="693"/>
                  </a:lnTo>
                  <a:lnTo>
                    <a:pt x="1636" y="693"/>
                  </a:lnTo>
                  <a:lnTo>
                    <a:pt x="1636" y="693"/>
                  </a:lnTo>
                  <a:lnTo>
                    <a:pt x="1634" y="691"/>
                  </a:lnTo>
                  <a:lnTo>
                    <a:pt x="1634" y="691"/>
                  </a:lnTo>
                  <a:lnTo>
                    <a:pt x="1632" y="691"/>
                  </a:lnTo>
                  <a:lnTo>
                    <a:pt x="1632" y="691"/>
                  </a:lnTo>
                  <a:lnTo>
                    <a:pt x="1630" y="691"/>
                  </a:lnTo>
                  <a:lnTo>
                    <a:pt x="1628" y="691"/>
                  </a:lnTo>
                  <a:lnTo>
                    <a:pt x="1628" y="689"/>
                  </a:lnTo>
                  <a:lnTo>
                    <a:pt x="1626" y="689"/>
                  </a:lnTo>
                  <a:lnTo>
                    <a:pt x="1626" y="691"/>
                  </a:lnTo>
                  <a:lnTo>
                    <a:pt x="1626" y="691"/>
                  </a:lnTo>
                  <a:lnTo>
                    <a:pt x="1624" y="693"/>
                  </a:lnTo>
                  <a:lnTo>
                    <a:pt x="1624" y="691"/>
                  </a:lnTo>
                  <a:lnTo>
                    <a:pt x="1624" y="691"/>
                  </a:lnTo>
                  <a:lnTo>
                    <a:pt x="1626" y="691"/>
                  </a:lnTo>
                  <a:lnTo>
                    <a:pt x="1626" y="689"/>
                  </a:lnTo>
                  <a:lnTo>
                    <a:pt x="1626" y="689"/>
                  </a:lnTo>
                  <a:lnTo>
                    <a:pt x="1626" y="689"/>
                  </a:lnTo>
                  <a:lnTo>
                    <a:pt x="1626" y="689"/>
                  </a:lnTo>
                  <a:lnTo>
                    <a:pt x="1626" y="687"/>
                  </a:lnTo>
                  <a:lnTo>
                    <a:pt x="1626" y="687"/>
                  </a:lnTo>
                  <a:lnTo>
                    <a:pt x="1626" y="687"/>
                  </a:lnTo>
                  <a:lnTo>
                    <a:pt x="1624" y="687"/>
                  </a:lnTo>
                  <a:lnTo>
                    <a:pt x="1624" y="684"/>
                  </a:lnTo>
                  <a:lnTo>
                    <a:pt x="1624" y="684"/>
                  </a:lnTo>
                  <a:lnTo>
                    <a:pt x="1624" y="684"/>
                  </a:lnTo>
                  <a:lnTo>
                    <a:pt x="1624" y="684"/>
                  </a:lnTo>
                  <a:lnTo>
                    <a:pt x="1624" y="682"/>
                  </a:lnTo>
                  <a:lnTo>
                    <a:pt x="1622" y="682"/>
                  </a:lnTo>
                  <a:lnTo>
                    <a:pt x="1620" y="684"/>
                  </a:lnTo>
                  <a:lnTo>
                    <a:pt x="1620" y="684"/>
                  </a:lnTo>
                  <a:lnTo>
                    <a:pt x="1620" y="684"/>
                  </a:lnTo>
                  <a:lnTo>
                    <a:pt x="1620" y="687"/>
                  </a:lnTo>
                  <a:lnTo>
                    <a:pt x="1620" y="687"/>
                  </a:lnTo>
                  <a:lnTo>
                    <a:pt x="1620" y="687"/>
                  </a:lnTo>
                  <a:lnTo>
                    <a:pt x="1620" y="687"/>
                  </a:lnTo>
                  <a:lnTo>
                    <a:pt x="1620" y="691"/>
                  </a:lnTo>
                  <a:lnTo>
                    <a:pt x="1620" y="691"/>
                  </a:lnTo>
                  <a:lnTo>
                    <a:pt x="1618" y="691"/>
                  </a:lnTo>
                  <a:close/>
                  <a:moveTo>
                    <a:pt x="1045" y="682"/>
                  </a:moveTo>
                  <a:lnTo>
                    <a:pt x="1047" y="682"/>
                  </a:lnTo>
                  <a:lnTo>
                    <a:pt x="1045" y="682"/>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3" y="680"/>
                  </a:lnTo>
                  <a:lnTo>
                    <a:pt x="1043" y="680"/>
                  </a:lnTo>
                  <a:lnTo>
                    <a:pt x="1043" y="680"/>
                  </a:lnTo>
                  <a:lnTo>
                    <a:pt x="1043" y="680"/>
                  </a:lnTo>
                  <a:lnTo>
                    <a:pt x="1043" y="680"/>
                  </a:lnTo>
                  <a:lnTo>
                    <a:pt x="1043" y="680"/>
                  </a:lnTo>
                  <a:lnTo>
                    <a:pt x="1043" y="680"/>
                  </a:lnTo>
                  <a:lnTo>
                    <a:pt x="1043" y="680"/>
                  </a:lnTo>
                  <a:lnTo>
                    <a:pt x="1045" y="682"/>
                  </a:lnTo>
                  <a:lnTo>
                    <a:pt x="1045" y="682"/>
                  </a:lnTo>
                  <a:lnTo>
                    <a:pt x="1045" y="682"/>
                  </a:lnTo>
                  <a:lnTo>
                    <a:pt x="1045" y="682"/>
                  </a:lnTo>
                  <a:lnTo>
                    <a:pt x="1045" y="682"/>
                  </a:lnTo>
                  <a:close/>
                  <a:moveTo>
                    <a:pt x="1071" y="682"/>
                  </a:moveTo>
                  <a:lnTo>
                    <a:pt x="1071" y="682"/>
                  </a:lnTo>
                  <a:lnTo>
                    <a:pt x="1069" y="687"/>
                  </a:lnTo>
                  <a:lnTo>
                    <a:pt x="1069" y="687"/>
                  </a:lnTo>
                  <a:lnTo>
                    <a:pt x="1071" y="687"/>
                  </a:lnTo>
                  <a:lnTo>
                    <a:pt x="1071" y="687"/>
                  </a:lnTo>
                  <a:lnTo>
                    <a:pt x="1071" y="687"/>
                  </a:lnTo>
                  <a:lnTo>
                    <a:pt x="1071" y="687"/>
                  </a:lnTo>
                  <a:lnTo>
                    <a:pt x="1071" y="687"/>
                  </a:lnTo>
                  <a:lnTo>
                    <a:pt x="1073" y="684"/>
                  </a:lnTo>
                  <a:lnTo>
                    <a:pt x="1073" y="684"/>
                  </a:lnTo>
                  <a:lnTo>
                    <a:pt x="1073" y="682"/>
                  </a:lnTo>
                  <a:lnTo>
                    <a:pt x="1071" y="682"/>
                  </a:lnTo>
                  <a:close/>
                  <a:moveTo>
                    <a:pt x="1063" y="574"/>
                  </a:moveTo>
                  <a:lnTo>
                    <a:pt x="1061" y="574"/>
                  </a:lnTo>
                  <a:lnTo>
                    <a:pt x="1061" y="574"/>
                  </a:lnTo>
                  <a:lnTo>
                    <a:pt x="1061" y="574"/>
                  </a:lnTo>
                  <a:lnTo>
                    <a:pt x="1061" y="574"/>
                  </a:lnTo>
                  <a:lnTo>
                    <a:pt x="1063" y="574"/>
                  </a:lnTo>
                  <a:lnTo>
                    <a:pt x="1063" y="574"/>
                  </a:lnTo>
                  <a:lnTo>
                    <a:pt x="1065" y="572"/>
                  </a:lnTo>
                  <a:lnTo>
                    <a:pt x="1065" y="572"/>
                  </a:lnTo>
                  <a:lnTo>
                    <a:pt x="1065" y="572"/>
                  </a:lnTo>
                  <a:lnTo>
                    <a:pt x="1065" y="570"/>
                  </a:lnTo>
                  <a:lnTo>
                    <a:pt x="1065" y="570"/>
                  </a:lnTo>
                  <a:lnTo>
                    <a:pt x="1065" y="570"/>
                  </a:lnTo>
                  <a:lnTo>
                    <a:pt x="1065" y="570"/>
                  </a:lnTo>
                  <a:lnTo>
                    <a:pt x="1065" y="570"/>
                  </a:lnTo>
                  <a:lnTo>
                    <a:pt x="1067" y="568"/>
                  </a:lnTo>
                  <a:lnTo>
                    <a:pt x="1067" y="568"/>
                  </a:lnTo>
                  <a:lnTo>
                    <a:pt x="1067" y="568"/>
                  </a:lnTo>
                  <a:lnTo>
                    <a:pt x="1067" y="568"/>
                  </a:lnTo>
                  <a:lnTo>
                    <a:pt x="1067" y="568"/>
                  </a:lnTo>
                  <a:lnTo>
                    <a:pt x="1067" y="566"/>
                  </a:lnTo>
                  <a:lnTo>
                    <a:pt x="1067" y="566"/>
                  </a:lnTo>
                  <a:lnTo>
                    <a:pt x="1065" y="566"/>
                  </a:lnTo>
                  <a:lnTo>
                    <a:pt x="1065" y="566"/>
                  </a:lnTo>
                  <a:lnTo>
                    <a:pt x="1065" y="566"/>
                  </a:lnTo>
                  <a:lnTo>
                    <a:pt x="1065" y="566"/>
                  </a:lnTo>
                  <a:lnTo>
                    <a:pt x="1065" y="568"/>
                  </a:lnTo>
                  <a:lnTo>
                    <a:pt x="1065" y="568"/>
                  </a:lnTo>
                  <a:lnTo>
                    <a:pt x="1065" y="568"/>
                  </a:lnTo>
                  <a:lnTo>
                    <a:pt x="1065" y="570"/>
                  </a:lnTo>
                  <a:lnTo>
                    <a:pt x="1063" y="570"/>
                  </a:lnTo>
                  <a:lnTo>
                    <a:pt x="1063" y="570"/>
                  </a:lnTo>
                  <a:lnTo>
                    <a:pt x="1063" y="572"/>
                  </a:lnTo>
                  <a:lnTo>
                    <a:pt x="1063" y="572"/>
                  </a:lnTo>
                  <a:lnTo>
                    <a:pt x="1063" y="572"/>
                  </a:lnTo>
                  <a:lnTo>
                    <a:pt x="1063" y="572"/>
                  </a:lnTo>
                  <a:lnTo>
                    <a:pt x="1063" y="572"/>
                  </a:lnTo>
                  <a:lnTo>
                    <a:pt x="1063" y="574"/>
                  </a:lnTo>
                  <a:lnTo>
                    <a:pt x="1063" y="574"/>
                  </a:lnTo>
                  <a:close/>
                  <a:moveTo>
                    <a:pt x="1067" y="680"/>
                  </a:moveTo>
                  <a:lnTo>
                    <a:pt x="1067" y="678"/>
                  </a:lnTo>
                  <a:lnTo>
                    <a:pt x="1067" y="678"/>
                  </a:lnTo>
                  <a:lnTo>
                    <a:pt x="1067" y="678"/>
                  </a:lnTo>
                  <a:lnTo>
                    <a:pt x="1067" y="678"/>
                  </a:lnTo>
                  <a:lnTo>
                    <a:pt x="1067" y="678"/>
                  </a:lnTo>
                  <a:lnTo>
                    <a:pt x="1067" y="680"/>
                  </a:lnTo>
                  <a:lnTo>
                    <a:pt x="1067" y="680"/>
                  </a:lnTo>
                  <a:lnTo>
                    <a:pt x="1065" y="682"/>
                  </a:lnTo>
                  <a:lnTo>
                    <a:pt x="1065" y="682"/>
                  </a:lnTo>
                  <a:lnTo>
                    <a:pt x="1065" y="680"/>
                  </a:lnTo>
                  <a:lnTo>
                    <a:pt x="1065" y="680"/>
                  </a:lnTo>
                  <a:lnTo>
                    <a:pt x="1065" y="680"/>
                  </a:lnTo>
                  <a:lnTo>
                    <a:pt x="1063" y="680"/>
                  </a:lnTo>
                  <a:lnTo>
                    <a:pt x="1063" y="682"/>
                  </a:lnTo>
                  <a:lnTo>
                    <a:pt x="1063" y="682"/>
                  </a:lnTo>
                  <a:lnTo>
                    <a:pt x="1063" y="684"/>
                  </a:lnTo>
                  <a:lnTo>
                    <a:pt x="1063" y="684"/>
                  </a:lnTo>
                  <a:lnTo>
                    <a:pt x="1063" y="682"/>
                  </a:lnTo>
                  <a:lnTo>
                    <a:pt x="1063" y="680"/>
                  </a:lnTo>
                  <a:lnTo>
                    <a:pt x="1065" y="678"/>
                  </a:lnTo>
                  <a:lnTo>
                    <a:pt x="1065" y="676"/>
                  </a:lnTo>
                  <a:lnTo>
                    <a:pt x="1065" y="676"/>
                  </a:lnTo>
                  <a:lnTo>
                    <a:pt x="1063" y="676"/>
                  </a:lnTo>
                  <a:lnTo>
                    <a:pt x="1063" y="676"/>
                  </a:lnTo>
                  <a:lnTo>
                    <a:pt x="1063" y="676"/>
                  </a:lnTo>
                  <a:lnTo>
                    <a:pt x="1063" y="676"/>
                  </a:lnTo>
                  <a:lnTo>
                    <a:pt x="1061" y="678"/>
                  </a:lnTo>
                  <a:lnTo>
                    <a:pt x="1061" y="678"/>
                  </a:lnTo>
                  <a:lnTo>
                    <a:pt x="1061" y="678"/>
                  </a:lnTo>
                  <a:lnTo>
                    <a:pt x="1059" y="678"/>
                  </a:lnTo>
                  <a:lnTo>
                    <a:pt x="1059" y="676"/>
                  </a:lnTo>
                  <a:lnTo>
                    <a:pt x="1059" y="676"/>
                  </a:lnTo>
                  <a:lnTo>
                    <a:pt x="1061" y="676"/>
                  </a:lnTo>
                  <a:lnTo>
                    <a:pt x="1059" y="676"/>
                  </a:lnTo>
                  <a:lnTo>
                    <a:pt x="1059" y="676"/>
                  </a:lnTo>
                  <a:lnTo>
                    <a:pt x="1059" y="676"/>
                  </a:lnTo>
                  <a:lnTo>
                    <a:pt x="1059" y="676"/>
                  </a:lnTo>
                  <a:lnTo>
                    <a:pt x="1059" y="674"/>
                  </a:lnTo>
                  <a:lnTo>
                    <a:pt x="1059" y="674"/>
                  </a:lnTo>
                  <a:lnTo>
                    <a:pt x="1059" y="674"/>
                  </a:lnTo>
                  <a:lnTo>
                    <a:pt x="1059" y="674"/>
                  </a:lnTo>
                  <a:lnTo>
                    <a:pt x="1059" y="676"/>
                  </a:lnTo>
                  <a:lnTo>
                    <a:pt x="1057" y="674"/>
                  </a:lnTo>
                  <a:lnTo>
                    <a:pt x="1057" y="674"/>
                  </a:lnTo>
                  <a:lnTo>
                    <a:pt x="1057" y="676"/>
                  </a:lnTo>
                  <a:lnTo>
                    <a:pt x="1057" y="676"/>
                  </a:lnTo>
                  <a:lnTo>
                    <a:pt x="1057" y="678"/>
                  </a:lnTo>
                  <a:lnTo>
                    <a:pt x="1057" y="678"/>
                  </a:lnTo>
                  <a:lnTo>
                    <a:pt x="1057" y="678"/>
                  </a:lnTo>
                  <a:lnTo>
                    <a:pt x="1057" y="680"/>
                  </a:lnTo>
                  <a:lnTo>
                    <a:pt x="1055" y="680"/>
                  </a:lnTo>
                  <a:lnTo>
                    <a:pt x="1057" y="678"/>
                  </a:lnTo>
                  <a:lnTo>
                    <a:pt x="1055" y="678"/>
                  </a:lnTo>
                  <a:lnTo>
                    <a:pt x="1055" y="678"/>
                  </a:lnTo>
                  <a:lnTo>
                    <a:pt x="1055" y="678"/>
                  </a:lnTo>
                  <a:lnTo>
                    <a:pt x="1055" y="676"/>
                  </a:lnTo>
                  <a:lnTo>
                    <a:pt x="1055" y="678"/>
                  </a:lnTo>
                  <a:lnTo>
                    <a:pt x="1055" y="678"/>
                  </a:lnTo>
                  <a:lnTo>
                    <a:pt x="1055" y="678"/>
                  </a:lnTo>
                  <a:lnTo>
                    <a:pt x="1055" y="678"/>
                  </a:lnTo>
                  <a:lnTo>
                    <a:pt x="1053" y="678"/>
                  </a:lnTo>
                  <a:lnTo>
                    <a:pt x="1053" y="676"/>
                  </a:lnTo>
                  <a:lnTo>
                    <a:pt x="1055" y="676"/>
                  </a:lnTo>
                  <a:lnTo>
                    <a:pt x="1055" y="676"/>
                  </a:lnTo>
                  <a:lnTo>
                    <a:pt x="1053" y="676"/>
                  </a:lnTo>
                  <a:lnTo>
                    <a:pt x="1053" y="676"/>
                  </a:lnTo>
                  <a:lnTo>
                    <a:pt x="1053" y="674"/>
                  </a:lnTo>
                  <a:lnTo>
                    <a:pt x="1053" y="674"/>
                  </a:lnTo>
                  <a:lnTo>
                    <a:pt x="1053" y="672"/>
                  </a:lnTo>
                  <a:lnTo>
                    <a:pt x="1051" y="672"/>
                  </a:lnTo>
                  <a:lnTo>
                    <a:pt x="1051" y="672"/>
                  </a:lnTo>
                  <a:lnTo>
                    <a:pt x="1051" y="674"/>
                  </a:lnTo>
                  <a:lnTo>
                    <a:pt x="1051" y="672"/>
                  </a:lnTo>
                  <a:lnTo>
                    <a:pt x="1051" y="672"/>
                  </a:lnTo>
                  <a:lnTo>
                    <a:pt x="1049" y="672"/>
                  </a:lnTo>
                  <a:lnTo>
                    <a:pt x="1049" y="672"/>
                  </a:lnTo>
                  <a:lnTo>
                    <a:pt x="1049" y="672"/>
                  </a:lnTo>
                  <a:lnTo>
                    <a:pt x="1049" y="672"/>
                  </a:lnTo>
                  <a:lnTo>
                    <a:pt x="1049" y="674"/>
                  </a:lnTo>
                  <a:lnTo>
                    <a:pt x="1049" y="674"/>
                  </a:lnTo>
                  <a:lnTo>
                    <a:pt x="1049" y="674"/>
                  </a:lnTo>
                  <a:lnTo>
                    <a:pt x="1049" y="674"/>
                  </a:lnTo>
                  <a:lnTo>
                    <a:pt x="1049" y="674"/>
                  </a:lnTo>
                  <a:lnTo>
                    <a:pt x="1047" y="674"/>
                  </a:lnTo>
                  <a:lnTo>
                    <a:pt x="1047" y="674"/>
                  </a:lnTo>
                  <a:lnTo>
                    <a:pt x="1047" y="674"/>
                  </a:lnTo>
                  <a:lnTo>
                    <a:pt x="1047" y="674"/>
                  </a:lnTo>
                  <a:lnTo>
                    <a:pt x="1047" y="674"/>
                  </a:lnTo>
                  <a:lnTo>
                    <a:pt x="1047" y="676"/>
                  </a:lnTo>
                  <a:lnTo>
                    <a:pt x="1045" y="676"/>
                  </a:lnTo>
                  <a:lnTo>
                    <a:pt x="1043" y="676"/>
                  </a:lnTo>
                  <a:lnTo>
                    <a:pt x="1043" y="676"/>
                  </a:lnTo>
                  <a:lnTo>
                    <a:pt x="1043" y="676"/>
                  </a:lnTo>
                  <a:lnTo>
                    <a:pt x="1045" y="678"/>
                  </a:lnTo>
                  <a:lnTo>
                    <a:pt x="1047" y="678"/>
                  </a:lnTo>
                  <a:lnTo>
                    <a:pt x="1047" y="678"/>
                  </a:lnTo>
                  <a:lnTo>
                    <a:pt x="1047" y="678"/>
                  </a:lnTo>
                  <a:lnTo>
                    <a:pt x="1045" y="678"/>
                  </a:lnTo>
                  <a:lnTo>
                    <a:pt x="1045" y="678"/>
                  </a:lnTo>
                  <a:lnTo>
                    <a:pt x="1045" y="678"/>
                  </a:lnTo>
                  <a:lnTo>
                    <a:pt x="1047" y="680"/>
                  </a:lnTo>
                  <a:lnTo>
                    <a:pt x="1047" y="680"/>
                  </a:lnTo>
                  <a:lnTo>
                    <a:pt x="1047" y="680"/>
                  </a:lnTo>
                  <a:lnTo>
                    <a:pt x="1047" y="682"/>
                  </a:lnTo>
                  <a:lnTo>
                    <a:pt x="1047" y="682"/>
                  </a:lnTo>
                  <a:lnTo>
                    <a:pt x="1047" y="682"/>
                  </a:lnTo>
                  <a:lnTo>
                    <a:pt x="1047" y="684"/>
                  </a:lnTo>
                  <a:lnTo>
                    <a:pt x="1045" y="682"/>
                  </a:lnTo>
                  <a:lnTo>
                    <a:pt x="1045" y="682"/>
                  </a:lnTo>
                  <a:lnTo>
                    <a:pt x="1045" y="682"/>
                  </a:lnTo>
                  <a:lnTo>
                    <a:pt x="1045" y="682"/>
                  </a:lnTo>
                  <a:lnTo>
                    <a:pt x="1043" y="682"/>
                  </a:lnTo>
                  <a:lnTo>
                    <a:pt x="1040" y="682"/>
                  </a:lnTo>
                  <a:lnTo>
                    <a:pt x="1040" y="682"/>
                  </a:lnTo>
                  <a:lnTo>
                    <a:pt x="1040" y="680"/>
                  </a:lnTo>
                  <a:lnTo>
                    <a:pt x="1038" y="680"/>
                  </a:lnTo>
                  <a:lnTo>
                    <a:pt x="1038" y="680"/>
                  </a:lnTo>
                  <a:lnTo>
                    <a:pt x="1038" y="682"/>
                  </a:lnTo>
                  <a:lnTo>
                    <a:pt x="1036" y="682"/>
                  </a:lnTo>
                  <a:lnTo>
                    <a:pt x="1038" y="684"/>
                  </a:lnTo>
                  <a:lnTo>
                    <a:pt x="1038" y="684"/>
                  </a:lnTo>
                  <a:lnTo>
                    <a:pt x="1038" y="684"/>
                  </a:lnTo>
                  <a:lnTo>
                    <a:pt x="1038" y="684"/>
                  </a:lnTo>
                  <a:lnTo>
                    <a:pt x="1038" y="687"/>
                  </a:lnTo>
                  <a:lnTo>
                    <a:pt x="1040" y="687"/>
                  </a:lnTo>
                  <a:lnTo>
                    <a:pt x="1043" y="689"/>
                  </a:lnTo>
                  <a:lnTo>
                    <a:pt x="1043" y="689"/>
                  </a:lnTo>
                  <a:lnTo>
                    <a:pt x="1043" y="689"/>
                  </a:lnTo>
                  <a:lnTo>
                    <a:pt x="1040" y="689"/>
                  </a:lnTo>
                  <a:lnTo>
                    <a:pt x="1040" y="687"/>
                  </a:lnTo>
                  <a:lnTo>
                    <a:pt x="1040" y="687"/>
                  </a:lnTo>
                  <a:lnTo>
                    <a:pt x="1040" y="689"/>
                  </a:lnTo>
                  <a:lnTo>
                    <a:pt x="1040" y="689"/>
                  </a:lnTo>
                  <a:lnTo>
                    <a:pt x="1040" y="689"/>
                  </a:lnTo>
                  <a:lnTo>
                    <a:pt x="1038" y="689"/>
                  </a:lnTo>
                  <a:lnTo>
                    <a:pt x="1038" y="687"/>
                  </a:lnTo>
                  <a:lnTo>
                    <a:pt x="1038" y="687"/>
                  </a:lnTo>
                  <a:lnTo>
                    <a:pt x="1034" y="687"/>
                  </a:lnTo>
                  <a:lnTo>
                    <a:pt x="1034" y="687"/>
                  </a:lnTo>
                  <a:lnTo>
                    <a:pt x="1034" y="689"/>
                  </a:lnTo>
                  <a:lnTo>
                    <a:pt x="1034" y="689"/>
                  </a:lnTo>
                  <a:lnTo>
                    <a:pt x="1034" y="691"/>
                  </a:lnTo>
                  <a:lnTo>
                    <a:pt x="1034" y="691"/>
                  </a:lnTo>
                  <a:lnTo>
                    <a:pt x="1036" y="691"/>
                  </a:lnTo>
                  <a:lnTo>
                    <a:pt x="1038" y="691"/>
                  </a:lnTo>
                  <a:lnTo>
                    <a:pt x="1038" y="693"/>
                  </a:lnTo>
                  <a:lnTo>
                    <a:pt x="1038" y="693"/>
                  </a:lnTo>
                  <a:lnTo>
                    <a:pt x="1038" y="693"/>
                  </a:lnTo>
                  <a:lnTo>
                    <a:pt x="1038" y="695"/>
                  </a:lnTo>
                  <a:lnTo>
                    <a:pt x="1040" y="695"/>
                  </a:lnTo>
                  <a:lnTo>
                    <a:pt x="1043" y="697"/>
                  </a:lnTo>
                  <a:lnTo>
                    <a:pt x="1045" y="697"/>
                  </a:lnTo>
                  <a:lnTo>
                    <a:pt x="1047" y="697"/>
                  </a:lnTo>
                  <a:lnTo>
                    <a:pt x="1047" y="697"/>
                  </a:lnTo>
                  <a:lnTo>
                    <a:pt x="1047" y="695"/>
                  </a:lnTo>
                  <a:lnTo>
                    <a:pt x="1047" y="693"/>
                  </a:lnTo>
                  <a:lnTo>
                    <a:pt x="1047" y="695"/>
                  </a:lnTo>
                  <a:lnTo>
                    <a:pt x="1047" y="695"/>
                  </a:lnTo>
                  <a:lnTo>
                    <a:pt x="1049" y="695"/>
                  </a:lnTo>
                  <a:lnTo>
                    <a:pt x="1049" y="693"/>
                  </a:lnTo>
                  <a:lnTo>
                    <a:pt x="1049" y="693"/>
                  </a:lnTo>
                  <a:lnTo>
                    <a:pt x="1049" y="693"/>
                  </a:lnTo>
                  <a:lnTo>
                    <a:pt x="1051" y="693"/>
                  </a:lnTo>
                  <a:lnTo>
                    <a:pt x="1051" y="693"/>
                  </a:lnTo>
                  <a:lnTo>
                    <a:pt x="1051" y="693"/>
                  </a:lnTo>
                  <a:lnTo>
                    <a:pt x="1051" y="693"/>
                  </a:lnTo>
                  <a:lnTo>
                    <a:pt x="1051" y="691"/>
                  </a:lnTo>
                  <a:lnTo>
                    <a:pt x="1051" y="691"/>
                  </a:lnTo>
                  <a:lnTo>
                    <a:pt x="1051" y="689"/>
                  </a:lnTo>
                  <a:lnTo>
                    <a:pt x="1051" y="687"/>
                  </a:lnTo>
                  <a:lnTo>
                    <a:pt x="1051" y="687"/>
                  </a:lnTo>
                  <a:lnTo>
                    <a:pt x="1051" y="687"/>
                  </a:lnTo>
                  <a:lnTo>
                    <a:pt x="1053" y="687"/>
                  </a:lnTo>
                  <a:lnTo>
                    <a:pt x="1053" y="687"/>
                  </a:lnTo>
                  <a:lnTo>
                    <a:pt x="1053" y="689"/>
                  </a:lnTo>
                  <a:lnTo>
                    <a:pt x="1053" y="691"/>
                  </a:lnTo>
                  <a:lnTo>
                    <a:pt x="1053" y="693"/>
                  </a:lnTo>
                  <a:lnTo>
                    <a:pt x="1053" y="693"/>
                  </a:lnTo>
                  <a:lnTo>
                    <a:pt x="1053" y="691"/>
                  </a:lnTo>
                  <a:lnTo>
                    <a:pt x="1055" y="691"/>
                  </a:lnTo>
                  <a:lnTo>
                    <a:pt x="1055" y="691"/>
                  </a:lnTo>
                  <a:lnTo>
                    <a:pt x="1055" y="691"/>
                  </a:lnTo>
                  <a:lnTo>
                    <a:pt x="1057" y="691"/>
                  </a:lnTo>
                  <a:lnTo>
                    <a:pt x="1057" y="691"/>
                  </a:lnTo>
                  <a:lnTo>
                    <a:pt x="1057" y="691"/>
                  </a:lnTo>
                  <a:lnTo>
                    <a:pt x="1057" y="691"/>
                  </a:lnTo>
                  <a:lnTo>
                    <a:pt x="1057" y="691"/>
                  </a:lnTo>
                  <a:lnTo>
                    <a:pt x="1057" y="691"/>
                  </a:lnTo>
                  <a:lnTo>
                    <a:pt x="1059" y="691"/>
                  </a:lnTo>
                  <a:lnTo>
                    <a:pt x="1059" y="691"/>
                  </a:lnTo>
                  <a:lnTo>
                    <a:pt x="1059" y="691"/>
                  </a:lnTo>
                  <a:lnTo>
                    <a:pt x="1059" y="691"/>
                  </a:lnTo>
                  <a:lnTo>
                    <a:pt x="1059" y="691"/>
                  </a:lnTo>
                  <a:lnTo>
                    <a:pt x="1059" y="691"/>
                  </a:lnTo>
                  <a:lnTo>
                    <a:pt x="1059" y="689"/>
                  </a:lnTo>
                  <a:lnTo>
                    <a:pt x="1059" y="689"/>
                  </a:lnTo>
                  <a:lnTo>
                    <a:pt x="1059" y="689"/>
                  </a:lnTo>
                  <a:lnTo>
                    <a:pt x="1059" y="687"/>
                  </a:lnTo>
                  <a:lnTo>
                    <a:pt x="1057" y="687"/>
                  </a:lnTo>
                  <a:lnTo>
                    <a:pt x="1057" y="687"/>
                  </a:lnTo>
                  <a:lnTo>
                    <a:pt x="1057" y="687"/>
                  </a:lnTo>
                  <a:lnTo>
                    <a:pt x="1057" y="687"/>
                  </a:lnTo>
                  <a:lnTo>
                    <a:pt x="1057" y="687"/>
                  </a:lnTo>
                  <a:lnTo>
                    <a:pt x="1059" y="687"/>
                  </a:lnTo>
                  <a:lnTo>
                    <a:pt x="1059" y="687"/>
                  </a:lnTo>
                  <a:lnTo>
                    <a:pt x="1059" y="687"/>
                  </a:lnTo>
                  <a:lnTo>
                    <a:pt x="1059" y="687"/>
                  </a:lnTo>
                  <a:lnTo>
                    <a:pt x="1059" y="687"/>
                  </a:lnTo>
                  <a:lnTo>
                    <a:pt x="1059" y="687"/>
                  </a:lnTo>
                  <a:lnTo>
                    <a:pt x="1059" y="684"/>
                  </a:lnTo>
                  <a:lnTo>
                    <a:pt x="1059" y="684"/>
                  </a:lnTo>
                  <a:lnTo>
                    <a:pt x="1059" y="682"/>
                  </a:lnTo>
                  <a:lnTo>
                    <a:pt x="1059" y="684"/>
                  </a:lnTo>
                  <a:lnTo>
                    <a:pt x="1059" y="682"/>
                  </a:lnTo>
                  <a:lnTo>
                    <a:pt x="1059" y="682"/>
                  </a:lnTo>
                  <a:lnTo>
                    <a:pt x="1059" y="682"/>
                  </a:lnTo>
                  <a:lnTo>
                    <a:pt x="1061" y="682"/>
                  </a:lnTo>
                  <a:lnTo>
                    <a:pt x="1061" y="682"/>
                  </a:lnTo>
                  <a:lnTo>
                    <a:pt x="1061" y="684"/>
                  </a:lnTo>
                  <a:lnTo>
                    <a:pt x="1061" y="687"/>
                  </a:lnTo>
                  <a:lnTo>
                    <a:pt x="1061" y="687"/>
                  </a:lnTo>
                  <a:lnTo>
                    <a:pt x="1063" y="689"/>
                  </a:lnTo>
                  <a:lnTo>
                    <a:pt x="1063" y="689"/>
                  </a:lnTo>
                  <a:lnTo>
                    <a:pt x="1065" y="689"/>
                  </a:lnTo>
                  <a:lnTo>
                    <a:pt x="1065" y="687"/>
                  </a:lnTo>
                  <a:lnTo>
                    <a:pt x="1065" y="687"/>
                  </a:lnTo>
                  <a:lnTo>
                    <a:pt x="1065" y="687"/>
                  </a:lnTo>
                  <a:lnTo>
                    <a:pt x="1065" y="687"/>
                  </a:lnTo>
                  <a:lnTo>
                    <a:pt x="1065" y="687"/>
                  </a:lnTo>
                  <a:lnTo>
                    <a:pt x="1067" y="687"/>
                  </a:lnTo>
                  <a:lnTo>
                    <a:pt x="1067" y="684"/>
                  </a:lnTo>
                  <a:lnTo>
                    <a:pt x="1067" y="684"/>
                  </a:lnTo>
                  <a:lnTo>
                    <a:pt x="1067" y="682"/>
                  </a:lnTo>
                  <a:lnTo>
                    <a:pt x="1067" y="682"/>
                  </a:lnTo>
                  <a:lnTo>
                    <a:pt x="1067" y="680"/>
                  </a:lnTo>
                  <a:lnTo>
                    <a:pt x="1067" y="680"/>
                  </a:lnTo>
                  <a:lnTo>
                    <a:pt x="1067" y="680"/>
                  </a:lnTo>
                  <a:close/>
                  <a:moveTo>
                    <a:pt x="1057" y="650"/>
                  </a:moveTo>
                  <a:lnTo>
                    <a:pt x="1057" y="650"/>
                  </a:lnTo>
                  <a:lnTo>
                    <a:pt x="1057" y="650"/>
                  </a:lnTo>
                  <a:lnTo>
                    <a:pt x="1057" y="650"/>
                  </a:lnTo>
                  <a:lnTo>
                    <a:pt x="1059" y="650"/>
                  </a:lnTo>
                  <a:lnTo>
                    <a:pt x="1059" y="648"/>
                  </a:lnTo>
                  <a:lnTo>
                    <a:pt x="1061" y="648"/>
                  </a:lnTo>
                  <a:lnTo>
                    <a:pt x="1061" y="648"/>
                  </a:lnTo>
                  <a:lnTo>
                    <a:pt x="1061" y="648"/>
                  </a:lnTo>
                  <a:lnTo>
                    <a:pt x="1061" y="648"/>
                  </a:lnTo>
                  <a:lnTo>
                    <a:pt x="1061" y="648"/>
                  </a:lnTo>
                  <a:lnTo>
                    <a:pt x="1061" y="648"/>
                  </a:lnTo>
                  <a:lnTo>
                    <a:pt x="1061" y="648"/>
                  </a:lnTo>
                  <a:lnTo>
                    <a:pt x="1061" y="648"/>
                  </a:lnTo>
                  <a:lnTo>
                    <a:pt x="1059" y="648"/>
                  </a:lnTo>
                  <a:lnTo>
                    <a:pt x="1059" y="648"/>
                  </a:lnTo>
                  <a:lnTo>
                    <a:pt x="1057" y="646"/>
                  </a:lnTo>
                  <a:lnTo>
                    <a:pt x="1057" y="646"/>
                  </a:lnTo>
                  <a:lnTo>
                    <a:pt x="1057" y="648"/>
                  </a:lnTo>
                  <a:lnTo>
                    <a:pt x="1057" y="648"/>
                  </a:lnTo>
                  <a:lnTo>
                    <a:pt x="1057" y="650"/>
                  </a:lnTo>
                  <a:close/>
                  <a:moveTo>
                    <a:pt x="1065" y="648"/>
                  </a:moveTo>
                  <a:lnTo>
                    <a:pt x="1063" y="650"/>
                  </a:lnTo>
                  <a:lnTo>
                    <a:pt x="1065" y="650"/>
                  </a:lnTo>
                  <a:lnTo>
                    <a:pt x="1065" y="650"/>
                  </a:lnTo>
                  <a:lnTo>
                    <a:pt x="1065" y="650"/>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close/>
                  <a:moveTo>
                    <a:pt x="1110" y="619"/>
                  </a:moveTo>
                  <a:lnTo>
                    <a:pt x="1110" y="619"/>
                  </a:lnTo>
                  <a:lnTo>
                    <a:pt x="1108" y="619"/>
                  </a:lnTo>
                  <a:lnTo>
                    <a:pt x="1108" y="619"/>
                  </a:lnTo>
                  <a:lnTo>
                    <a:pt x="1106" y="621"/>
                  </a:lnTo>
                  <a:lnTo>
                    <a:pt x="1106" y="621"/>
                  </a:lnTo>
                  <a:lnTo>
                    <a:pt x="1106" y="621"/>
                  </a:lnTo>
                  <a:lnTo>
                    <a:pt x="1108" y="621"/>
                  </a:lnTo>
                  <a:lnTo>
                    <a:pt x="1108" y="621"/>
                  </a:lnTo>
                  <a:lnTo>
                    <a:pt x="1108" y="621"/>
                  </a:lnTo>
                  <a:lnTo>
                    <a:pt x="1108" y="621"/>
                  </a:lnTo>
                  <a:lnTo>
                    <a:pt x="1108" y="621"/>
                  </a:lnTo>
                  <a:lnTo>
                    <a:pt x="1108" y="621"/>
                  </a:lnTo>
                  <a:lnTo>
                    <a:pt x="1108" y="619"/>
                  </a:lnTo>
                  <a:lnTo>
                    <a:pt x="1110" y="619"/>
                  </a:lnTo>
                  <a:lnTo>
                    <a:pt x="1110" y="621"/>
                  </a:lnTo>
                  <a:lnTo>
                    <a:pt x="1110" y="621"/>
                  </a:lnTo>
                  <a:lnTo>
                    <a:pt x="1110" y="621"/>
                  </a:lnTo>
                  <a:lnTo>
                    <a:pt x="1110" y="621"/>
                  </a:lnTo>
                  <a:lnTo>
                    <a:pt x="1110" y="621"/>
                  </a:lnTo>
                  <a:lnTo>
                    <a:pt x="1110" y="619"/>
                  </a:lnTo>
                  <a:lnTo>
                    <a:pt x="1110" y="619"/>
                  </a:lnTo>
                  <a:lnTo>
                    <a:pt x="1110" y="619"/>
                  </a:lnTo>
                  <a:close/>
                  <a:moveTo>
                    <a:pt x="1165" y="551"/>
                  </a:moveTo>
                  <a:lnTo>
                    <a:pt x="1165" y="551"/>
                  </a:lnTo>
                  <a:lnTo>
                    <a:pt x="1167" y="551"/>
                  </a:lnTo>
                  <a:lnTo>
                    <a:pt x="1167" y="551"/>
                  </a:lnTo>
                  <a:lnTo>
                    <a:pt x="1167" y="551"/>
                  </a:lnTo>
                  <a:lnTo>
                    <a:pt x="1167" y="549"/>
                  </a:lnTo>
                  <a:lnTo>
                    <a:pt x="1167" y="549"/>
                  </a:lnTo>
                  <a:lnTo>
                    <a:pt x="1169" y="549"/>
                  </a:lnTo>
                  <a:lnTo>
                    <a:pt x="1167" y="549"/>
                  </a:lnTo>
                  <a:lnTo>
                    <a:pt x="1167" y="549"/>
                  </a:lnTo>
                  <a:lnTo>
                    <a:pt x="1167" y="547"/>
                  </a:lnTo>
                  <a:lnTo>
                    <a:pt x="1167" y="547"/>
                  </a:lnTo>
                  <a:lnTo>
                    <a:pt x="1167" y="547"/>
                  </a:lnTo>
                  <a:lnTo>
                    <a:pt x="1165" y="547"/>
                  </a:lnTo>
                  <a:lnTo>
                    <a:pt x="1165" y="549"/>
                  </a:lnTo>
                  <a:lnTo>
                    <a:pt x="1165" y="547"/>
                  </a:lnTo>
                  <a:lnTo>
                    <a:pt x="1165" y="547"/>
                  </a:lnTo>
                  <a:lnTo>
                    <a:pt x="1165" y="547"/>
                  </a:lnTo>
                  <a:lnTo>
                    <a:pt x="1165" y="547"/>
                  </a:lnTo>
                  <a:lnTo>
                    <a:pt x="1165" y="547"/>
                  </a:lnTo>
                  <a:lnTo>
                    <a:pt x="1165" y="547"/>
                  </a:lnTo>
                  <a:lnTo>
                    <a:pt x="1165" y="549"/>
                  </a:lnTo>
                  <a:lnTo>
                    <a:pt x="1165" y="549"/>
                  </a:lnTo>
                  <a:lnTo>
                    <a:pt x="1165" y="547"/>
                  </a:lnTo>
                  <a:lnTo>
                    <a:pt x="1165" y="547"/>
                  </a:lnTo>
                  <a:lnTo>
                    <a:pt x="1163" y="549"/>
                  </a:lnTo>
                  <a:lnTo>
                    <a:pt x="1165" y="551"/>
                  </a:lnTo>
                  <a:lnTo>
                    <a:pt x="1165" y="551"/>
                  </a:lnTo>
                  <a:close/>
                  <a:moveTo>
                    <a:pt x="1172" y="570"/>
                  </a:moveTo>
                  <a:lnTo>
                    <a:pt x="1169" y="570"/>
                  </a:lnTo>
                  <a:lnTo>
                    <a:pt x="1169" y="570"/>
                  </a:lnTo>
                  <a:lnTo>
                    <a:pt x="1169" y="572"/>
                  </a:lnTo>
                  <a:lnTo>
                    <a:pt x="1169" y="572"/>
                  </a:lnTo>
                  <a:lnTo>
                    <a:pt x="1169" y="572"/>
                  </a:lnTo>
                  <a:lnTo>
                    <a:pt x="1169" y="572"/>
                  </a:lnTo>
                  <a:lnTo>
                    <a:pt x="1169" y="572"/>
                  </a:lnTo>
                  <a:lnTo>
                    <a:pt x="1169" y="574"/>
                  </a:lnTo>
                  <a:lnTo>
                    <a:pt x="1169" y="574"/>
                  </a:lnTo>
                  <a:lnTo>
                    <a:pt x="1172" y="574"/>
                  </a:lnTo>
                  <a:lnTo>
                    <a:pt x="1172" y="574"/>
                  </a:lnTo>
                  <a:lnTo>
                    <a:pt x="1172" y="572"/>
                  </a:lnTo>
                  <a:lnTo>
                    <a:pt x="1172" y="574"/>
                  </a:lnTo>
                  <a:lnTo>
                    <a:pt x="1172" y="576"/>
                  </a:lnTo>
                  <a:lnTo>
                    <a:pt x="1172" y="576"/>
                  </a:lnTo>
                  <a:lnTo>
                    <a:pt x="1172" y="576"/>
                  </a:lnTo>
                  <a:lnTo>
                    <a:pt x="1172" y="576"/>
                  </a:lnTo>
                  <a:lnTo>
                    <a:pt x="1172" y="576"/>
                  </a:lnTo>
                  <a:lnTo>
                    <a:pt x="1174" y="576"/>
                  </a:lnTo>
                  <a:lnTo>
                    <a:pt x="1174" y="576"/>
                  </a:lnTo>
                  <a:lnTo>
                    <a:pt x="1174" y="574"/>
                  </a:lnTo>
                  <a:lnTo>
                    <a:pt x="1174" y="572"/>
                  </a:lnTo>
                  <a:lnTo>
                    <a:pt x="1174" y="572"/>
                  </a:lnTo>
                  <a:lnTo>
                    <a:pt x="1174" y="572"/>
                  </a:lnTo>
                  <a:lnTo>
                    <a:pt x="1174" y="570"/>
                  </a:lnTo>
                  <a:lnTo>
                    <a:pt x="1176" y="568"/>
                  </a:lnTo>
                  <a:lnTo>
                    <a:pt x="1176" y="566"/>
                  </a:lnTo>
                  <a:lnTo>
                    <a:pt x="1176" y="566"/>
                  </a:lnTo>
                  <a:lnTo>
                    <a:pt x="1176" y="564"/>
                  </a:lnTo>
                  <a:lnTo>
                    <a:pt x="1174" y="566"/>
                  </a:lnTo>
                  <a:lnTo>
                    <a:pt x="1174" y="566"/>
                  </a:lnTo>
                  <a:lnTo>
                    <a:pt x="1174" y="566"/>
                  </a:lnTo>
                  <a:lnTo>
                    <a:pt x="1174" y="566"/>
                  </a:lnTo>
                  <a:lnTo>
                    <a:pt x="1174" y="564"/>
                  </a:lnTo>
                  <a:lnTo>
                    <a:pt x="1174" y="564"/>
                  </a:lnTo>
                  <a:lnTo>
                    <a:pt x="1176" y="564"/>
                  </a:lnTo>
                  <a:lnTo>
                    <a:pt x="1176" y="564"/>
                  </a:lnTo>
                  <a:lnTo>
                    <a:pt x="1176" y="562"/>
                  </a:lnTo>
                  <a:lnTo>
                    <a:pt x="1176" y="562"/>
                  </a:lnTo>
                  <a:lnTo>
                    <a:pt x="1176" y="562"/>
                  </a:lnTo>
                  <a:lnTo>
                    <a:pt x="1176" y="562"/>
                  </a:lnTo>
                  <a:lnTo>
                    <a:pt x="1176" y="562"/>
                  </a:lnTo>
                  <a:lnTo>
                    <a:pt x="1176" y="562"/>
                  </a:lnTo>
                  <a:lnTo>
                    <a:pt x="1176" y="559"/>
                  </a:lnTo>
                  <a:lnTo>
                    <a:pt x="1176" y="559"/>
                  </a:lnTo>
                  <a:lnTo>
                    <a:pt x="1176" y="559"/>
                  </a:lnTo>
                  <a:lnTo>
                    <a:pt x="1174" y="559"/>
                  </a:lnTo>
                  <a:lnTo>
                    <a:pt x="1174" y="562"/>
                  </a:lnTo>
                  <a:lnTo>
                    <a:pt x="1174" y="559"/>
                  </a:lnTo>
                  <a:lnTo>
                    <a:pt x="1174" y="559"/>
                  </a:lnTo>
                  <a:lnTo>
                    <a:pt x="1174" y="559"/>
                  </a:lnTo>
                  <a:lnTo>
                    <a:pt x="1174" y="562"/>
                  </a:lnTo>
                  <a:lnTo>
                    <a:pt x="1174" y="562"/>
                  </a:lnTo>
                  <a:lnTo>
                    <a:pt x="1174" y="562"/>
                  </a:lnTo>
                  <a:lnTo>
                    <a:pt x="1172" y="564"/>
                  </a:lnTo>
                  <a:lnTo>
                    <a:pt x="1172" y="562"/>
                  </a:lnTo>
                  <a:lnTo>
                    <a:pt x="1172" y="562"/>
                  </a:lnTo>
                  <a:lnTo>
                    <a:pt x="1172" y="559"/>
                  </a:lnTo>
                  <a:lnTo>
                    <a:pt x="1172" y="562"/>
                  </a:lnTo>
                  <a:lnTo>
                    <a:pt x="1172" y="562"/>
                  </a:lnTo>
                  <a:lnTo>
                    <a:pt x="1169" y="566"/>
                  </a:lnTo>
                  <a:lnTo>
                    <a:pt x="1172" y="566"/>
                  </a:lnTo>
                  <a:lnTo>
                    <a:pt x="1172" y="564"/>
                  </a:lnTo>
                  <a:lnTo>
                    <a:pt x="1172" y="564"/>
                  </a:lnTo>
                  <a:lnTo>
                    <a:pt x="1172" y="566"/>
                  </a:lnTo>
                  <a:lnTo>
                    <a:pt x="1172" y="566"/>
                  </a:lnTo>
                  <a:lnTo>
                    <a:pt x="1172" y="566"/>
                  </a:lnTo>
                  <a:lnTo>
                    <a:pt x="1169" y="566"/>
                  </a:lnTo>
                  <a:lnTo>
                    <a:pt x="1169" y="566"/>
                  </a:lnTo>
                  <a:lnTo>
                    <a:pt x="1169" y="566"/>
                  </a:lnTo>
                  <a:lnTo>
                    <a:pt x="1172" y="568"/>
                  </a:lnTo>
                  <a:lnTo>
                    <a:pt x="1172" y="568"/>
                  </a:lnTo>
                  <a:lnTo>
                    <a:pt x="1169" y="568"/>
                  </a:lnTo>
                  <a:lnTo>
                    <a:pt x="1169" y="568"/>
                  </a:lnTo>
                  <a:lnTo>
                    <a:pt x="1169" y="568"/>
                  </a:lnTo>
                  <a:lnTo>
                    <a:pt x="1169" y="568"/>
                  </a:lnTo>
                  <a:lnTo>
                    <a:pt x="1169" y="568"/>
                  </a:lnTo>
                  <a:lnTo>
                    <a:pt x="1169" y="568"/>
                  </a:lnTo>
                  <a:lnTo>
                    <a:pt x="1172" y="568"/>
                  </a:lnTo>
                  <a:lnTo>
                    <a:pt x="1172" y="568"/>
                  </a:lnTo>
                  <a:lnTo>
                    <a:pt x="1172" y="568"/>
                  </a:lnTo>
                  <a:lnTo>
                    <a:pt x="1172" y="570"/>
                  </a:lnTo>
                  <a:lnTo>
                    <a:pt x="1172" y="570"/>
                  </a:lnTo>
                  <a:close/>
                  <a:moveTo>
                    <a:pt x="1167" y="580"/>
                  </a:moveTo>
                  <a:lnTo>
                    <a:pt x="1167" y="580"/>
                  </a:lnTo>
                  <a:lnTo>
                    <a:pt x="1165" y="582"/>
                  </a:lnTo>
                  <a:lnTo>
                    <a:pt x="1165" y="582"/>
                  </a:lnTo>
                  <a:lnTo>
                    <a:pt x="1165" y="584"/>
                  </a:lnTo>
                  <a:lnTo>
                    <a:pt x="1163" y="584"/>
                  </a:lnTo>
                  <a:lnTo>
                    <a:pt x="1163" y="586"/>
                  </a:lnTo>
                  <a:lnTo>
                    <a:pt x="1165" y="586"/>
                  </a:lnTo>
                  <a:lnTo>
                    <a:pt x="1165" y="586"/>
                  </a:lnTo>
                  <a:lnTo>
                    <a:pt x="1167" y="584"/>
                  </a:lnTo>
                  <a:lnTo>
                    <a:pt x="1165" y="584"/>
                  </a:lnTo>
                  <a:lnTo>
                    <a:pt x="1165" y="584"/>
                  </a:lnTo>
                  <a:lnTo>
                    <a:pt x="1165" y="582"/>
                  </a:lnTo>
                  <a:lnTo>
                    <a:pt x="1167" y="582"/>
                  </a:lnTo>
                  <a:lnTo>
                    <a:pt x="1167" y="582"/>
                  </a:lnTo>
                  <a:lnTo>
                    <a:pt x="1169" y="582"/>
                  </a:lnTo>
                  <a:lnTo>
                    <a:pt x="1169" y="580"/>
                  </a:lnTo>
                  <a:lnTo>
                    <a:pt x="1169" y="580"/>
                  </a:lnTo>
                  <a:lnTo>
                    <a:pt x="1169" y="580"/>
                  </a:lnTo>
                  <a:lnTo>
                    <a:pt x="1169" y="580"/>
                  </a:lnTo>
                  <a:lnTo>
                    <a:pt x="1169" y="580"/>
                  </a:lnTo>
                  <a:lnTo>
                    <a:pt x="1169" y="580"/>
                  </a:lnTo>
                  <a:lnTo>
                    <a:pt x="1167" y="578"/>
                  </a:lnTo>
                  <a:lnTo>
                    <a:pt x="1167" y="578"/>
                  </a:lnTo>
                  <a:lnTo>
                    <a:pt x="1167" y="578"/>
                  </a:lnTo>
                  <a:lnTo>
                    <a:pt x="1167" y="578"/>
                  </a:lnTo>
                  <a:lnTo>
                    <a:pt x="1167" y="580"/>
                  </a:lnTo>
                  <a:lnTo>
                    <a:pt x="1167" y="580"/>
                  </a:lnTo>
                  <a:close/>
                  <a:moveTo>
                    <a:pt x="1163" y="584"/>
                  </a:moveTo>
                  <a:lnTo>
                    <a:pt x="1163" y="582"/>
                  </a:lnTo>
                  <a:lnTo>
                    <a:pt x="1163" y="582"/>
                  </a:lnTo>
                  <a:lnTo>
                    <a:pt x="1165" y="582"/>
                  </a:lnTo>
                  <a:lnTo>
                    <a:pt x="1165" y="582"/>
                  </a:lnTo>
                  <a:lnTo>
                    <a:pt x="1165" y="582"/>
                  </a:lnTo>
                  <a:lnTo>
                    <a:pt x="1165" y="580"/>
                  </a:lnTo>
                  <a:lnTo>
                    <a:pt x="1165" y="580"/>
                  </a:lnTo>
                  <a:lnTo>
                    <a:pt x="1165" y="578"/>
                  </a:lnTo>
                  <a:lnTo>
                    <a:pt x="1165" y="576"/>
                  </a:lnTo>
                  <a:lnTo>
                    <a:pt x="1165" y="576"/>
                  </a:lnTo>
                  <a:lnTo>
                    <a:pt x="1165" y="576"/>
                  </a:lnTo>
                  <a:lnTo>
                    <a:pt x="1165" y="576"/>
                  </a:lnTo>
                  <a:lnTo>
                    <a:pt x="1165" y="578"/>
                  </a:lnTo>
                  <a:lnTo>
                    <a:pt x="1165" y="578"/>
                  </a:lnTo>
                  <a:lnTo>
                    <a:pt x="1165" y="580"/>
                  </a:lnTo>
                  <a:lnTo>
                    <a:pt x="1163" y="580"/>
                  </a:lnTo>
                  <a:lnTo>
                    <a:pt x="1163" y="578"/>
                  </a:lnTo>
                  <a:lnTo>
                    <a:pt x="1163" y="578"/>
                  </a:lnTo>
                  <a:lnTo>
                    <a:pt x="1161" y="582"/>
                  </a:lnTo>
                  <a:lnTo>
                    <a:pt x="1159" y="582"/>
                  </a:lnTo>
                  <a:lnTo>
                    <a:pt x="1161" y="582"/>
                  </a:lnTo>
                  <a:lnTo>
                    <a:pt x="1163" y="582"/>
                  </a:lnTo>
                  <a:lnTo>
                    <a:pt x="1161" y="582"/>
                  </a:lnTo>
                  <a:lnTo>
                    <a:pt x="1161" y="584"/>
                  </a:lnTo>
                  <a:lnTo>
                    <a:pt x="1159" y="584"/>
                  </a:lnTo>
                  <a:lnTo>
                    <a:pt x="1159" y="584"/>
                  </a:lnTo>
                  <a:lnTo>
                    <a:pt x="1161" y="584"/>
                  </a:lnTo>
                  <a:lnTo>
                    <a:pt x="1163" y="584"/>
                  </a:lnTo>
                  <a:lnTo>
                    <a:pt x="1161" y="584"/>
                  </a:lnTo>
                  <a:lnTo>
                    <a:pt x="1159" y="584"/>
                  </a:lnTo>
                  <a:lnTo>
                    <a:pt x="1159" y="584"/>
                  </a:lnTo>
                  <a:lnTo>
                    <a:pt x="1161" y="586"/>
                  </a:lnTo>
                  <a:lnTo>
                    <a:pt x="1161" y="586"/>
                  </a:lnTo>
                  <a:lnTo>
                    <a:pt x="1163" y="584"/>
                  </a:lnTo>
                  <a:lnTo>
                    <a:pt x="1163" y="584"/>
                  </a:lnTo>
                  <a:close/>
                  <a:moveTo>
                    <a:pt x="1163" y="545"/>
                  </a:moveTo>
                  <a:lnTo>
                    <a:pt x="1165" y="543"/>
                  </a:lnTo>
                  <a:lnTo>
                    <a:pt x="1165" y="543"/>
                  </a:lnTo>
                  <a:lnTo>
                    <a:pt x="1165" y="543"/>
                  </a:lnTo>
                  <a:lnTo>
                    <a:pt x="1165" y="543"/>
                  </a:lnTo>
                  <a:lnTo>
                    <a:pt x="1165" y="543"/>
                  </a:lnTo>
                  <a:lnTo>
                    <a:pt x="1165" y="543"/>
                  </a:lnTo>
                  <a:lnTo>
                    <a:pt x="1165" y="543"/>
                  </a:lnTo>
                  <a:lnTo>
                    <a:pt x="1165" y="541"/>
                  </a:lnTo>
                  <a:lnTo>
                    <a:pt x="1165" y="539"/>
                  </a:lnTo>
                  <a:lnTo>
                    <a:pt x="1165" y="539"/>
                  </a:lnTo>
                  <a:lnTo>
                    <a:pt x="1163" y="537"/>
                  </a:lnTo>
                  <a:lnTo>
                    <a:pt x="1161" y="539"/>
                  </a:lnTo>
                  <a:lnTo>
                    <a:pt x="1161" y="539"/>
                  </a:lnTo>
                  <a:lnTo>
                    <a:pt x="1161" y="539"/>
                  </a:lnTo>
                  <a:lnTo>
                    <a:pt x="1161" y="539"/>
                  </a:lnTo>
                  <a:lnTo>
                    <a:pt x="1161" y="539"/>
                  </a:lnTo>
                  <a:lnTo>
                    <a:pt x="1161" y="541"/>
                  </a:lnTo>
                  <a:lnTo>
                    <a:pt x="1161" y="541"/>
                  </a:lnTo>
                  <a:lnTo>
                    <a:pt x="1161" y="543"/>
                  </a:lnTo>
                  <a:lnTo>
                    <a:pt x="1161" y="543"/>
                  </a:lnTo>
                  <a:lnTo>
                    <a:pt x="1161" y="543"/>
                  </a:lnTo>
                  <a:lnTo>
                    <a:pt x="1161" y="543"/>
                  </a:lnTo>
                  <a:lnTo>
                    <a:pt x="1161" y="545"/>
                  </a:lnTo>
                  <a:lnTo>
                    <a:pt x="1161" y="545"/>
                  </a:lnTo>
                  <a:lnTo>
                    <a:pt x="1161" y="545"/>
                  </a:lnTo>
                  <a:lnTo>
                    <a:pt x="1163" y="545"/>
                  </a:lnTo>
                  <a:lnTo>
                    <a:pt x="1163" y="545"/>
                  </a:lnTo>
                  <a:close/>
                  <a:moveTo>
                    <a:pt x="1159" y="549"/>
                  </a:moveTo>
                  <a:lnTo>
                    <a:pt x="1159" y="551"/>
                  </a:lnTo>
                  <a:lnTo>
                    <a:pt x="1161" y="551"/>
                  </a:lnTo>
                  <a:lnTo>
                    <a:pt x="1161" y="553"/>
                  </a:lnTo>
                  <a:lnTo>
                    <a:pt x="1161" y="553"/>
                  </a:lnTo>
                  <a:lnTo>
                    <a:pt x="1161" y="553"/>
                  </a:lnTo>
                  <a:lnTo>
                    <a:pt x="1161" y="551"/>
                  </a:lnTo>
                  <a:lnTo>
                    <a:pt x="1161" y="551"/>
                  </a:lnTo>
                  <a:lnTo>
                    <a:pt x="1161" y="549"/>
                  </a:lnTo>
                  <a:lnTo>
                    <a:pt x="1161" y="549"/>
                  </a:lnTo>
                  <a:lnTo>
                    <a:pt x="1161" y="549"/>
                  </a:lnTo>
                  <a:lnTo>
                    <a:pt x="1161" y="549"/>
                  </a:lnTo>
                  <a:lnTo>
                    <a:pt x="1161" y="549"/>
                  </a:lnTo>
                  <a:lnTo>
                    <a:pt x="1161" y="547"/>
                  </a:lnTo>
                  <a:lnTo>
                    <a:pt x="1161" y="547"/>
                  </a:lnTo>
                  <a:lnTo>
                    <a:pt x="1161" y="547"/>
                  </a:lnTo>
                  <a:lnTo>
                    <a:pt x="1159" y="547"/>
                  </a:lnTo>
                  <a:lnTo>
                    <a:pt x="1159" y="547"/>
                  </a:lnTo>
                  <a:lnTo>
                    <a:pt x="1159" y="547"/>
                  </a:lnTo>
                  <a:lnTo>
                    <a:pt x="1159" y="547"/>
                  </a:lnTo>
                  <a:lnTo>
                    <a:pt x="1159" y="549"/>
                  </a:lnTo>
                  <a:lnTo>
                    <a:pt x="1159" y="549"/>
                  </a:lnTo>
                  <a:close/>
                  <a:moveTo>
                    <a:pt x="1012" y="773"/>
                  </a:moveTo>
                  <a:lnTo>
                    <a:pt x="1012" y="775"/>
                  </a:lnTo>
                  <a:lnTo>
                    <a:pt x="1010" y="773"/>
                  </a:lnTo>
                  <a:lnTo>
                    <a:pt x="1010" y="775"/>
                  </a:lnTo>
                  <a:lnTo>
                    <a:pt x="1010" y="775"/>
                  </a:lnTo>
                  <a:lnTo>
                    <a:pt x="1008" y="775"/>
                  </a:lnTo>
                  <a:lnTo>
                    <a:pt x="1010" y="775"/>
                  </a:lnTo>
                  <a:lnTo>
                    <a:pt x="1010" y="775"/>
                  </a:lnTo>
                  <a:lnTo>
                    <a:pt x="1010" y="775"/>
                  </a:lnTo>
                  <a:lnTo>
                    <a:pt x="1012" y="775"/>
                  </a:lnTo>
                  <a:lnTo>
                    <a:pt x="1012" y="775"/>
                  </a:lnTo>
                  <a:lnTo>
                    <a:pt x="1012" y="775"/>
                  </a:lnTo>
                  <a:lnTo>
                    <a:pt x="1014" y="775"/>
                  </a:lnTo>
                  <a:lnTo>
                    <a:pt x="1014" y="775"/>
                  </a:lnTo>
                  <a:lnTo>
                    <a:pt x="1016" y="775"/>
                  </a:lnTo>
                  <a:lnTo>
                    <a:pt x="1016" y="773"/>
                  </a:lnTo>
                  <a:lnTo>
                    <a:pt x="1016" y="773"/>
                  </a:lnTo>
                  <a:lnTo>
                    <a:pt x="1012" y="773"/>
                  </a:lnTo>
                  <a:lnTo>
                    <a:pt x="1012" y="773"/>
                  </a:lnTo>
                  <a:close/>
                  <a:moveTo>
                    <a:pt x="1053" y="701"/>
                  </a:moveTo>
                  <a:lnTo>
                    <a:pt x="1055" y="701"/>
                  </a:lnTo>
                  <a:lnTo>
                    <a:pt x="1057" y="703"/>
                  </a:lnTo>
                  <a:lnTo>
                    <a:pt x="1057" y="703"/>
                  </a:lnTo>
                  <a:lnTo>
                    <a:pt x="1057" y="703"/>
                  </a:lnTo>
                  <a:lnTo>
                    <a:pt x="1057" y="703"/>
                  </a:lnTo>
                  <a:lnTo>
                    <a:pt x="1057" y="703"/>
                  </a:lnTo>
                  <a:lnTo>
                    <a:pt x="1059" y="701"/>
                  </a:lnTo>
                  <a:lnTo>
                    <a:pt x="1059" y="701"/>
                  </a:lnTo>
                  <a:lnTo>
                    <a:pt x="1059" y="701"/>
                  </a:lnTo>
                  <a:lnTo>
                    <a:pt x="1059" y="701"/>
                  </a:lnTo>
                  <a:lnTo>
                    <a:pt x="1057" y="701"/>
                  </a:lnTo>
                  <a:lnTo>
                    <a:pt x="1057" y="701"/>
                  </a:lnTo>
                  <a:lnTo>
                    <a:pt x="1057" y="701"/>
                  </a:lnTo>
                  <a:lnTo>
                    <a:pt x="1057" y="701"/>
                  </a:lnTo>
                  <a:lnTo>
                    <a:pt x="1057" y="701"/>
                  </a:lnTo>
                  <a:lnTo>
                    <a:pt x="1057" y="701"/>
                  </a:lnTo>
                  <a:lnTo>
                    <a:pt x="1057" y="701"/>
                  </a:lnTo>
                  <a:lnTo>
                    <a:pt x="1055" y="699"/>
                  </a:lnTo>
                  <a:lnTo>
                    <a:pt x="1057" y="699"/>
                  </a:lnTo>
                  <a:lnTo>
                    <a:pt x="1055" y="699"/>
                  </a:lnTo>
                  <a:lnTo>
                    <a:pt x="1055" y="699"/>
                  </a:lnTo>
                  <a:lnTo>
                    <a:pt x="1055" y="699"/>
                  </a:lnTo>
                  <a:lnTo>
                    <a:pt x="1055" y="699"/>
                  </a:lnTo>
                  <a:lnTo>
                    <a:pt x="1055" y="699"/>
                  </a:lnTo>
                  <a:lnTo>
                    <a:pt x="1055" y="699"/>
                  </a:lnTo>
                  <a:lnTo>
                    <a:pt x="1055" y="699"/>
                  </a:lnTo>
                  <a:lnTo>
                    <a:pt x="1055" y="699"/>
                  </a:lnTo>
                  <a:lnTo>
                    <a:pt x="1055" y="699"/>
                  </a:lnTo>
                  <a:lnTo>
                    <a:pt x="1055" y="699"/>
                  </a:lnTo>
                  <a:lnTo>
                    <a:pt x="1055" y="699"/>
                  </a:lnTo>
                  <a:lnTo>
                    <a:pt x="1055" y="701"/>
                  </a:lnTo>
                  <a:lnTo>
                    <a:pt x="1053" y="701"/>
                  </a:lnTo>
                  <a:close/>
                  <a:moveTo>
                    <a:pt x="1002" y="771"/>
                  </a:moveTo>
                  <a:lnTo>
                    <a:pt x="999" y="771"/>
                  </a:lnTo>
                  <a:lnTo>
                    <a:pt x="999" y="771"/>
                  </a:lnTo>
                  <a:lnTo>
                    <a:pt x="999" y="771"/>
                  </a:lnTo>
                  <a:lnTo>
                    <a:pt x="997" y="771"/>
                  </a:lnTo>
                  <a:lnTo>
                    <a:pt x="997" y="771"/>
                  </a:lnTo>
                  <a:lnTo>
                    <a:pt x="991" y="775"/>
                  </a:lnTo>
                  <a:lnTo>
                    <a:pt x="991" y="775"/>
                  </a:lnTo>
                  <a:lnTo>
                    <a:pt x="989" y="777"/>
                  </a:lnTo>
                  <a:lnTo>
                    <a:pt x="989" y="779"/>
                  </a:lnTo>
                  <a:lnTo>
                    <a:pt x="991" y="781"/>
                  </a:lnTo>
                  <a:lnTo>
                    <a:pt x="991" y="781"/>
                  </a:lnTo>
                  <a:lnTo>
                    <a:pt x="991" y="781"/>
                  </a:lnTo>
                  <a:lnTo>
                    <a:pt x="991" y="779"/>
                  </a:lnTo>
                  <a:lnTo>
                    <a:pt x="993" y="779"/>
                  </a:lnTo>
                  <a:lnTo>
                    <a:pt x="995" y="777"/>
                  </a:lnTo>
                  <a:lnTo>
                    <a:pt x="995" y="775"/>
                  </a:lnTo>
                  <a:lnTo>
                    <a:pt x="997" y="775"/>
                  </a:lnTo>
                  <a:lnTo>
                    <a:pt x="997" y="775"/>
                  </a:lnTo>
                  <a:lnTo>
                    <a:pt x="997" y="775"/>
                  </a:lnTo>
                  <a:lnTo>
                    <a:pt x="997" y="775"/>
                  </a:lnTo>
                  <a:lnTo>
                    <a:pt x="997" y="773"/>
                  </a:lnTo>
                  <a:lnTo>
                    <a:pt x="997" y="771"/>
                  </a:lnTo>
                  <a:lnTo>
                    <a:pt x="999" y="771"/>
                  </a:lnTo>
                  <a:lnTo>
                    <a:pt x="999" y="771"/>
                  </a:lnTo>
                  <a:lnTo>
                    <a:pt x="999" y="773"/>
                  </a:lnTo>
                  <a:lnTo>
                    <a:pt x="999" y="773"/>
                  </a:lnTo>
                  <a:lnTo>
                    <a:pt x="999" y="773"/>
                  </a:lnTo>
                  <a:lnTo>
                    <a:pt x="999" y="773"/>
                  </a:lnTo>
                  <a:lnTo>
                    <a:pt x="999" y="773"/>
                  </a:lnTo>
                  <a:lnTo>
                    <a:pt x="999" y="773"/>
                  </a:lnTo>
                  <a:lnTo>
                    <a:pt x="999" y="773"/>
                  </a:lnTo>
                  <a:lnTo>
                    <a:pt x="999" y="773"/>
                  </a:lnTo>
                  <a:lnTo>
                    <a:pt x="999" y="773"/>
                  </a:lnTo>
                  <a:lnTo>
                    <a:pt x="999" y="773"/>
                  </a:lnTo>
                  <a:lnTo>
                    <a:pt x="1002" y="773"/>
                  </a:lnTo>
                  <a:lnTo>
                    <a:pt x="1002" y="773"/>
                  </a:lnTo>
                  <a:lnTo>
                    <a:pt x="1002" y="773"/>
                  </a:lnTo>
                  <a:lnTo>
                    <a:pt x="1002" y="771"/>
                  </a:lnTo>
                  <a:close/>
                  <a:moveTo>
                    <a:pt x="1010" y="773"/>
                  </a:moveTo>
                  <a:lnTo>
                    <a:pt x="1010" y="773"/>
                  </a:lnTo>
                  <a:lnTo>
                    <a:pt x="1010" y="773"/>
                  </a:lnTo>
                  <a:lnTo>
                    <a:pt x="1010" y="773"/>
                  </a:lnTo>
                  <a:lnTo>
                    <a:pt x="1010" y="771"/>
                  </a:lnTo>
                  <a:lnTo>
                    <a:pt x="1010" y="773"/>
                  </a:lnTo>
                  <a:lnTo>
                    <a:pt x="1012" y="773"/>
                  </a:lnTo>
                  <a:lnTo>
                    <a:pt x="1010" y="773"/>
                  </a:lnTo>
                  <a:lnTo>
                    <a:pt x="1010" y="771"/>
                  </a:lnTo>
                  <a:lnTo>
                    <a:pt x="1010" y="771"/>
                  </a:lnTo>
                  <a:lnTo>
                    <a:pt x="1010" y="771"/>
                  </a:lnTo>
                  <a:lnTo>
                    <a:pt x="1010" y="771"/>
                  </a:lnTo>
                  <a:lnTo>
                    <a:pt x="1010" y="771"/>
                  </a:lnTo>
                  <a:lnTo>
                    <a:pt x="1008" y="771"/>
                  </a:lnTo>
                  <a:lnTo>
                    <a:pt x="1006" y="771"/>
                  </a:lnTo>
                  <a:lnTo>
                    <a:pt x="1006" y="771"/>
                  </a:lnTo>
                  <a:lnTo>
                    <a:pt x="1004" y="771"/>
                  </a:lnTo>
                  <a:lnTo>
                    <a:pt x="1004" y="771"/>
                  </a:lnTo>
                  <a:lnTo>
                    <a:pt x="1004" y="773"/>
                  </a:lnTo>
                  <a:lnTo>
                    <a:pt x="1002" y="773"/>
                  </a:lnTo>
                  <a:lnTo>
                    <a:pt x="1004" y="775"/>
                  </a:lnTo>
                  <a:lnTo>
                    <a:pt x="1004" y="775"/>
                  </a:lnTo>
                  <a:lnTo>
                    <a:pt x="1004" y="775"/>
                  </a:lnTo>
                  <a:lnTo>
                    <a:pt x="1004" y="775"/>
                  </a:lnTo>
                  <a:lnTo>
                    <a:pt x="1006" y="775"/>
                  </a:lnTo>
                  <a:lnTo>
                    <a:pt x="1008" y="775"/>
                  </a:lnTo>
                  <a:lnTo>
                    <a:pt x="1008" y="775"/>
                  </a:lnTo>
                  <a:lnTo>
                    <a:pt x="1008" y="775"/>
                  </a:lnTo>
                  <a:lnTo>
                    <a:pt x="1008" y="775"/>
                  </a:lnTo>
                  <a:lnTo>
                    <a:pt x="1010" y="773"/>
                  </a:lnTo>
                  <a:lnTo>
                    <a:pt x="1010" y="773"/>
                  </a:lnTo>
                  <a:close/>
                  <a:moveTo>
                    <a:pt x="1010" y="764"/>
                  </a:moveTo>
                  <a:lnTo>
                    <a:pt x="1010" y="766"/>
                  </a:lnTo>
                  <a:lnTo>
                    <a:pt x="1012" y="766"/>
                  </a:lnTo>
                  <a:lnTo>
                    <a:pt x="1012" y="766"/>
                  </a:lnTo>
                  <a:lnTo>
                    <a:pt x="1012" y="764"/>
                  </a:lnTo>
                  <a:lnTo>
                    <a:pt x="1012" y="764"/>
                  </a:lnTo>
                  <a:lnTo>
                    <a:pt x="1012" y="764"/>
                  </a:lnTo>
                  <a:lnTo>
                    <a:pt x="1012" y="764"/>
                  </a:lnTo>
                  <a:lnTo>
                    <a:pt x="1012" y="764"/>
                  </a:lnTo>
                  <a:lnTo>
                    <a:pt x="1010" y="764"/>
                  </a:lnTo>
                  <a:lnTo>
                    <a:pt x="1010" y="764"/>
                  </a:lnTo>
                  <a:lnTo>
                    <a:pt x="1010" y="764"/>
                  </a:lnTo>
                  <a:lnTo>
                    <a:pt x="1010" y="764"/>
                  </a:lnTo>
                  <a:lnTo>
                    <a:pt x="1008" y="764"/>
                  </a:lnTo>
                  <a:lnTo>
                    <a:pt x="1010" y="764"/>
                  </a:lnTo>
                  <a:lnTo>
                    <a:pt x="1010" y="764"/>
                  </a:lnTo>
                  <a:lnTo>
                    <a:pt x="1010" y="764"/>
                  </a:lnTo>
                  <a:lnTo>
                    <a:pt x="1010" y="764"/>
                  </a:lnTo>
                  <a:lnTo>
                    <a:pt x="1010" y="764"/>
                  </a:lnTo>
                  <a:close/>
                  <a:moveTo>
                    <a:pt x="932" y="789"/>
                  </a:moveTo>
                  <a:lnTo>
                    <a:pt x="932" y="789"/>
                  </a:lnTo>
                  <a:lnTo>
                    <a:pt x="932" y="789"/>
                  </a:lnTo>
                  <a:lnTo>
                    <a:pt x="932" y="789"/>
                  </a:lnTo>
                  <a:lnTo>
                    <a:pt x="932" y="789"/>
                  </a:lnTo>
                  <a:lnTo>
                    <a:pt x="932" y="789"/>
                  </a:lnTo>
                  <a:lnTo>
                    <a:pt x="932" y="789"/>
                  </a:lnTo>
                  <a:lnTo>
                    <a:pt x="932" y="789"/>
                  </a:lnTo>
                  <a:lnTo>
                    <a:pt x="932" y="789"/>
                  </a:lnTo>
                  <a:lnTo>
                    <a:pt x="932" y="789"/>
                  </a:lnTo>
                  <a:lnTo>
                    <a:pt x="932" y="791"/>
                  </a:lnTo>
                  <a:lnTo>
                    <a:pt x="932" y="791"/>
                  </a:lnTo>
                  <a:lnTo>
                    <a:pt x="932" y="791"/>
                  </a:lnTo>
                  <a:lnTo>
                    <a:pt x="932" y="791"/>
                  </a:lnTo>
                  <a:lnTo>
                    <a:pt x="932" y="791"/>
                  </a:lnTo>
                  <a:lnTo>
                    <a:pt x="932" y="791"/>
                  </a:lnTo>
                  <a:lnTo>
                    <a:pt x="932" y="791"/>
                  </a:lnTo>
                  <a:lnTo>
                    <a:pt x="932" y="791"/>
                  </a:lnTo>
                  <a:lnTo>
                    <a:pt x="932" y="789"/>
                  </a:lnTo>
                  <a:close/>
                  <a:moveTo>
                    <a:pt x="934" y="797"/>
                  </a:moveTo>
                  <a:lnTo>
                    <a:pt x="934" y="797"/>
                  </a:lnTo>
                  <a:lnTo>
                    <a:pt x="934" y="797"/>
                  </a:lnTo>
                  <a:lnTo>
                    <a:pt x="934" y="797"/>
                  </a:lnTo>
                  <a:lnTo>
                    <a:pt x="934" y="797"/>
                  </a:lnTo>
                  <a:lnTo>
                    <a:pt x="934" y="797"/>
                  </a:lnTo>
                  <a:lnTo>
                    <a:pt x="934" y="797"/>
                  </a:lnTo>
                  <a:lnTo>
                    <a:pt x="934" y="797"/>
                  </a:lnTo>
                  <a:lnTo>
                    <a:pt x="934" y="797"/>
                  </a:lnTo>
                  <a:lnTo>
                    <a:pt x="932" y="797"/>
                  </a:lnTo>
                  <a:lnTo>
                    <a:pt x="932" y="799"/>
                  </a:lnTo>
                  <a:lnTo>
                    <a:pt x="934" y="799"/>
                  </a:lnTo>
                  <a:lnTo>
                    <a:pt x="934" y="799"/>
                  </a:lnTo>
                  <a:lnTo>
                    <a:pt x="934" y="799"/>
                  </a:lnTo>
                  <a:lnTo>
                    <a:pt x="934" y="799"/>
                  </a:lnTo>
                  <a:lnTo>
                    <a:pt x="934" y="799"/>
                  </a:lnTo>
                  <a:lnTo>
                    <a:pt x="934" y="799"/>
                  </a:lnTo>
                  <a:lnTo>
                    <a:pt x="934" y="799"/>
                  </a:lnTo>
                  <a:lnTo>
                    <a:pt x="934" y="799"/>
                  </a:lnTo>
                  <a:lnTo>
                    <a:pt x="934" y="799"/>
                  </a:lnTo>
                  <a:lnTo>
                    <a:pt x="934" y="799"/>
                  </a:lnTo>
                  <a:lnTo>
                    <a:pt x="934" y="799"/>
                  </a:lnTo>
                  <a:lnTo>
                    <a:pt x="934" y="797"/>
                  </a:lnTo>
                  <a:lnTo>
                    <a:pt x="934" y="797"/>
                  </a:lnTo>
                  <a:lnTo>
                    <a:pt x="934" y="797"/>
                  </a:lnTo>
                  <a:close/>
                  <a:moveTo>
                    <a:pt x="948" y="730"/>
                  </a:moveTo>
                  <a:lnTo>
                    <a:pt x="948" y="730"/>
                  </a:lnTo>
                  <a:lnTo>
                    <a:pt x="948" y="730"/>
                  </a:lnTo>
                  <a:lnTo>
                    <a:pt x="948" y="730"/>
                  </a:lnTo>
                  <a:lnTo>
                    <a:pt x="948" y="730"/>
                  </a:lnTo>
                  <a:lnTo>
                    <a:pt x="948" y="730"/>
                  </a:lnTo>
                  <a:lnTo>
                    <a:pt x="948" y="730"/>
                  </a:lnTo>
                  <a:lnTo>
                    <a:pt x="948" y="730"/>
                  </a:lnTo>
                  <a:lnTo>
                    <a:pt x="948" y="730"/>
                  </a:lnTo>
                  <a:lnTo>
                    <a:pt x="948" y="730"/>
                  </a:lnTo>
                  <a:close/>
                  <a:moveTo>
                    <a:pt x="965" y="805"/>
                  </a:moveTo>
                  <a:lnTo>
                    <a:pt x="965" y="805"/>
                  </a:lnTo>
                  <a:lnTo>
                    <a:pt x="965" y="807"/>
                  </a:lnTo>
                  <a:lnTo>
                    <a:pt x="963" y="807"/>
                  </a:lnTo>
                  <a:lnTo>
                    <a:pt x="963" y="809"/>
                  </a:lnTo>
                  <a:lnTo>
                    <a:pt x="961" y="809"/>
                  </a:lnTo>
                  <a:lnTo>
                    <a:pt x="963" y="809"/>
                  </a:lnTo>
                  <a:lnTo>
                    <a:pt x="963" y="809"/>
                  </a:lnTo>
                  <a:lnTo>
                    <a:pt x="963" y="812"/>
                  </a:lnTo>
                  <a:lnTo>
                    <a:pt x="963" y="812"/>
                  </a:lnTo>
                  <a:lnTo>
                    <a:pt x="963" y="812"/>
                  </a:lnTo>
                  <a:lnTo>
                    <a:pt x="963" y="812"/>
                  </a:lnTo>
                  <a:lnTo>
                    <a:pt x="965" y="812"/>
                  </a:lnTo>
                  <a:lnTo>
                    <a:pt x="965" y="814"/>
                  </a:lnTo>
                  <a:lnTo>
                    <a:pt x="967" y="814"/>
                  </a:lnTo>
                  <a:lnTo>
                    <a:pt x="967" y="812"/>
                  </a:lnTo>
                  <a:lnTo>
                    <a:pt x="967" y="812"/>
                  </a:lnTo>
                  <a:lnTo>
                    <a:pt x="967" y="812"/>
                  </a:lnTo>
                  <a:lnTo>
                    <a:pt x="967" y="809"/>
                  </a:lnTo>
                  <a:lnTo>
                    <a:pt x="967" y="807"/>
                  </a:lnTo>
                  <a:lnTo>
                    <a:pt x="967" y="807"/>
                  </a:lnTo>
                  <a:lnTo>
                    <a:pt x="967" y="805"/>
                  </a:lnTo>
                  <a:lnTo>
                    <a:pt x="967" y="805"/>
                  </a:lnTo>
                  <a:lnTo>
                    <a:pt x="965" y="805"/>
                  </a:lnTo>
                  <a:close/>
                  <a:moveTo>
                    <a:pt x="1030" y="695"/>
                  </a:moveTo>
                  <a:lnTo>
                    <a:pt x="1030" y="695"/>
                  </a:lnTo>
                  <a:lnTo>
                    <a:pt x="1032" y="695"/>
                  </a:lnTo>
                  <a:lnTo>
                    <a:pt x="1032" y="695"/>
                  </a:lnTo>
                  <a:lnTo>
                    <a:pt x="1032" y="693"/>
                  </a:lnTo>
                  <a:lnTo>
                    <a:pt x="1032" y="693"/>
                  </a:lnTo>
                  <a:lnTo>
                    <a:pt x="1032" y="693"/>
                  </a:lnTo>
                  <a:lnTo>
                    <a:pt x="1034" y="695"/>
                  </a:lnTo>
                  <a:lnTo>
                    <a:pt x="1034" y="697"/>
                  </a:lnTo>
                  <a:lnTo>
                    <a:pt x="1034" y="695"/>
                  </a:lnTo>
                  <a:lnTo>
                    <a:pt x="1036" y="697"/>
                  </a:lnTo>
                  <a:lnTo>
                    <a:pt x="1038" y="697"/>
                  </a:lnTo>
                  <a:lnTo>
                    <a:pt x="1038" y="699"/>
                  </a:lnTo>
                  <a:lnTo>
                    <a:pt x="1040" y="699"/>
                  </a:lnTo>
                  <a:lnTo>
                    <a:pt x="1040" y="699"/>
                  </a:lnTo>
                  <a:lnTo>
                    <a:pt x="1040" y="697"/>
                  </a:lnTo>
                  <a:lnTo>
                    <a:pt x="1043" y="697"/>
                  </a:lnTo>
                  <a:lnTo>
                    <a:pt x="1043" y="697"/>
                  </a:lnTo>
                  <a:lnTo>
                    <a:pt x="1043" y="697"/>
                  </a:lnTo>
                  <a:lnTo>
                    <a:pt x="1043" y="697"/>
                  </a:lnTo>
                  <a:lnTo>
                    <a:pt x="1040" y="695"/>
                  </a:lnTo>
                  <a:lnTo>
                    <a:pt x="1038" y="695"/>
                  </a:lnTo>
                  <a:lnTo>
                    <a:pt x="1038" y="695"/>
                  </a:lnTo>
                  <a:lnTo>
                    <a:pt x="1038" y="695"/>
                  </a:lnTo>
                  <a:lnTo>
                    <a:pt x="1038" y="693"/>
                  </a:lnTo>
                  <a:lnTo>
                    <a:pt x="1038" y="693"/>
                  </a:lnTo>
                  <a:lnTo>
                    <a:pt x="1036" y="693"/>
                  </a:lnTo>
                  <a:lnTo>
                    <a:pt x="1036" y="693"/>
                  </a:lnTo>
                  <a:lnTo>
                    <a:pt x="1036" y="693"/>
                  </a:lnTo>
                  <a:lnTo>
                    <a:pt x="1034" y="693"/>
                  </a:lnTo>
                  <a:lnTo>
                    <a:pt x="1034" y="693"/>
                  </a:lnTo>
                  <a:lnTo>
                    <a:pt x="1034" y="691"/>
                  </a:lnTo>
                  <a:lnTo>
                    <a:pt x="1032" y="691"/>
                  </a:lnTo>
                  <a:lnTo>
                    <a:pt x="1032" y="691"/>
                  </a:lnTo>
                  <a:lnTo>
                    <a:pt x="1032" y="691"/>
                  </a:lnTo>
                  <a:lnTo>
                    <a:pt x="1030" y="691"/>
                  </a:lnTo>
                  <a:lnTo>
                    <a:pt x="1030" y="691"/>
                  </a:lnTo>
                  <a:lnTo>
                    <a:pt x="1030" y="691"/>
                  </a:lnTo>
                  <a:lnTo>
                    <a:pt x="1028" y="695"/>
                  </a:lnTo>
                  <a:lnTo>
                    <a:pt x="1030" y="695"/>
                  </a:lnTo>
                  <a:close/>
                  <a:moveTo>
                    <a:pt x="1028" y="699"/>
                  </a:moveTo>
                  <a:lnTo>
                    <a:pt x="1026" y="699"/>
                  </a:lnTo>
                  <a:lnTo>
                    <a:pt x="1026" y="699"/>
                  </a:lnTo>
                  <a:lnTo>
                    <a:pt x="1026" y="699"/>
                  </a:lnTo>
                  <a:lnTo>
                    <a:pt x="1024" y="701"/>
                  </a:lnTo>
                  <a:lnTo>
                    <a:pt x="1026" y="701"/>
                  </a:lnTo>
                  <a:lnTo>
                    <a:pt x="1028" y="705"/>
                  </a:lnTo>
                  <a:lnTo>
                    <a:pt x="1030" y="705"/>
                  </a:lnTo>
                  <a:lnTo>
                    <a:pt x="1030" y="705"/>
                  </a:lnTo>
                  <a:lnTo>
                    <a:pt x="1030" y="705"/>
                  </a:lnTo>
                  <a:lnTo>
                    <a:pt x="1032" y="705"/>
                  </a:lnTo>
                  <a:lnTo>
                    <a:pt x="1030" y="705"/>
                  </a:lnTo>
                  <a:lnTo>
                    <a:pt x="1030" y="705"/>
                  </a:lnTo>
                  <a:lnTo>
                    <a:pt x="1030" y="705"/>
                  </a:lnTo>
                  <a:lnTo>
                    <a:pt x="1030" y="705"/>
                  </a:lnTo>
                  <a:lnTo>
                    <a:pt x="1030" y="705"/>
                  </a:lnTo>
                  <a:lnTo>
                    <a:pt x="1030" y="705"/>
                  </a:lnTo>
                  <a:lnTo>
                    <a:pt x="1032" y="707"/>
                  </a:lnTo>
                  <a:lnTo>
                    <a:pt x="1032" y="707"/>
                  </a:lnTo>
                  <a:lnTo>
                    <a:pt x="1032" y="707"/>
                  </a:lnTo>
                  <a:lnTo>
                    <a:pt x="1032" y="707"/>
                  </a:lnTo>
                  <a:lnTo>
                    <a:pt x="1032" y="707"/>
                  </a:lnTo>
                  <a:lnTo>
                    <a:pt x="1034" y="707"/>
                  </a:lnTo>
                  <a:lnTo>
                    <a:pt x="1034" y="707"/>
                  </a:lnTo>
                  <a:lnTo>
                    <a:pt x="1034" y="707"/>
                  </a:lnTo>
                  <a:lnTo>
                    <a:pt x="1034" y="705"/>
                  </a:lnTo>
                  <a:lnTo>
                    <a:pt x="1032" y="703"/>
                  </a:lnTo>
                  <a:lnTo>
                    <a:pt x="1032" y="703"/>
                  </a:lnTo>
                  <a:lnTo>
                    <a:pt x="1030" y="701"/>
                  </a:lnTo>
                  <a:lnTo>
                    <a:pt x="1028" y="699"/>
                  </a:lnTo>
                  <a:lnTo>
                    <a:pt x="1028" y="699"/>
                  </a:lnTo>
                  <a:close/>
                  <a:moveTo>
                    <a:pt x="1047" y="699"/>
                  </a:moveTo>
                  <a:lnTo>
                    <a:pt x="1047" y="699"/>
                  </a:lnTo>
                  <a:lnTo>
                    <a:pt x="1047" y="699"/>
                  </a:lnTo>
                  <a:lnTo>
                    <a:pt x="1047" y="699"/>
                  </a:lnTo>
                  <a:lnTo>
                    <a:pt x="1045" y="699"/>
                  </a:lnTo>
                  <a:lnTo>
                    <a:pt x="1045" y="699"/>
                  </a:lnTo>
                  <a:lnTo>
                    <a:pt x="1045" y="699"/>
                  </a:lnTo>
                  <a:lnTo>
                    <a:pt x="1045" y="701"/>
                  </a:lnTo>
                  <a:lnTo>
                    <a:pt x="1045" y="701"/>
                  </a:lnTo>
                  <a:lnTo>
                    <a:pt x="1045" y="701"/>
                  </a:lnTo>
                  <a:lnTo>
                    <a:pt x="1047" y="701"/>
                  </a:lnTo>
                  <a:lnTo>
                    <a:pt x="1047" y="701"/>
                  </a:lnTo>
                  <a:lnTo>
                    <a:pt x="1047" y="701"/>
                  </a:lnTo>
                  <a:lnTo>
                    <a:pt x="1047" y="699"/>
                  </a:lnTo>
                  <a:lnTo>
                    <a:pt x="1047" y="699"/>
                  </a:lnTo>
                  <a:lnTo>
                    <a:pt x="1047" y="699"/>
                  </a:lnTo>
                  <a:lnTo>
                    <a:pt x="1047" y="699"/>
                  </a:lnTo>
                  <a:close/>
                  <a:moveTo>
                    <a:pt x="1163" y="568"/>
                  </a:moveTo>
                  <a:lnTo>
                    <a:pt x="1163" y="570"/>
                  </a:lnTo>
                  <a:lnTo>
                    <a:pt x="1163" y="570"/>
                  </a:lnTo>
                  <a:lnTo>
                    <a:pt x="1163" y="570"/>
                  </a:lnTo>
                  <a:lnTo>
                    <a:pt x="1163" y="572"/>
                  </a:lnTo>
                  <a:lnTo>
                    <a:pt x="1165" y="572"/>
                  </a:lnTo>
                  <a:lnTo>
                    <a:pt x="1165" y="572"/>
                  </a:lnTo>
                  <a:lnTo>
                    <a:pt x="1165" y="570"/>
                  </a:lnTo>
                  <a:lnTo>
                    <a:pt x="1165" y="570"/>
                  </a:lnTo>
                  <a:lnTo>
                    <a:pt x="1165" y="568"/>
                  </a:lnTo>
                  <a:lnTo>
                    <a:pt x="1165" y="568"/>
                  </a:lnTo>
                  <a:lnTo>
                    <a:pt x="1167" y="568"/>
                  </a:lnTo>
                  <a:lnTo>
                    <a:pt x="1167" y="566"/>
                  </a:lnTo>
                  <a:lnTo>
                    <a:pt x="1165" y="566"/>
                  </a:lnTo>
                  <a:lnTo>
                    <a:pt x="1163" y="568"/>
                  </a:lnTo>
                  <a:close/>
                  <a:moveTo>
                    <a:pt x="1043" y="740"/>
                  </a:moveTo>
                  <a:lnTo>
                    <a:pt x="1043" y="740"/>
                  </a:lnTo>
                  <a:lnTo>
                    <a:pt x="1043" y="742"/>
                  </a:lnTo>
                  <a:lnTo>
                    <a:pt x="1043" y="742"/>
                  </a:lnTo>
                  <a:lnTo>
                    <a:pt x="1043" y="740"/>
                  </a:lnTo>
                  <a:lnTo>
                    <a:pt x="1040" y="740"/>
                  </a:lnTo>
                  <a:lnTo>
                    <a:pt x="1038" y="740"/>
                  </a:lnTo>
                  <a:lnTo>
                    <a:pt x="1038" y="740"/>
                  </a:lnTo>
                  <a:lnTo>
                    <a:pt x="1038" y="740"/>
                  </a:lnTo>
                  <a:lnTo>
                    <a:pt x="1038" y="740"/>
                  </a:lnTo>
                  <a:lnTo>
                    <a:pt x="1038" y="740"/>
                  </a:lnTo>
                  <a:lnTo>
                    <a:pt x="1036" y="740"/>
                  </a:lnTo>
                  <a:lnTo>
                    <a:pt x="1036" y="742"/>
                  </a:lnTo>
                  <a:lnTo>
                    <a:pt x="1034" y="742"/>
                  </a:lnTo>
                  <a:lnTo>
                    <a:pt x="1036" y="740"/>
                  </a:lnTo>
                  <a:lnTo>
                    <a:pt x="1034" y="740"/>
                  </a:lnTo>
                  <a:lnTo>
                    <a:pt x="1034" y="740"/>
                  </a:lnTo>
                  <a:lnTo>
                    <a:pt x="1034" y="740"/>
                  </a:lnTo>
                  <a:lnTo>
                    <a:pt x="1034" y="738"/>
                  </a:lnTo>
                  <a:lnTo>
                    <a:pt x="1034" y="738"/>
                  </a:lnTo>
                  <a:lnTo>
                    <a:pt x="1032" y="738"/>
                  </a:lnTo>
                  <a:lnTo>
                    <a:pt x="1032" y="740"/>
                  </a:lnTo>
                  <a:lnTo>
                    <a:pt x="1032" y="740"/>
                  </a:lnTo>
                  <a:lnTo>
                    <a:pt x="1032" y="740"/>
                  </a:lnTo>
                  <a:lnTo>
                    <a:pt x="1032" y="740"/>
                  </a:lnTo>
                  <a:lnTo>
                    <a:pt x="1030" y="742"/>
                  </a:lnTo>
                  <a:lnTo>
                    <a:pt x="1030" y="744"/>
                  </a:lnTo>
                  <a:lnTo>
                    <a:pt x="1030" y="744"/>
                  </a:lnTo>
                  <a:lnTo>
                    <a:pt x="1030" y="744"/>
                  </a:lnTo>
                  <a:lnTo>
                    <a:pt x="1030" y="744"/>
                  </a:lnTo>
                  <a:lnTo>
                    <a:pt x="1030" y="744"/>
                  </a:lnTo>
                  <a:lnTo>
                    <a:pt x="1030" y="744"/>
                  </a:lnTo>
                  <a:lnTo>
                    <a:pt x="1030" y="744"/>
                  </a:lnTo>
                  <a:lnTo>
                    <a:pt x="1030" y="744"/>
                  </a:lnTo>
                  <a:lnTo>
                    <a:pt x="1030" y="744"/>
                  </a:lnTo>
                  <a:lnTo>
                    <a:pt x="1030" y="746"/>
                  </a:lnTo>
                  <a:lnTo>
                    <a:pt x="1028" y="746"/>
                  </a:lnTo>
                  <a:lnTo>
                    <a:pt x="1030" y="746"/>
                  </a:lnTo>
                  <a:lnTo>
                    <a:pt x="1030" y="746"/>
                  </a:lnTo>
                  <a:lnTo>
                    <a:pt x="1032" y="746"/>
                  </a:lnTo>
                  <a:lnTo>
                    <a:pt x="1032" y="746"/>
                  </a:lnTo>
                  <a:lnTo>
                    <a:pt x="1032" y="746"/>
                  </a:lnTo>
                  <a:lnTo>
                    <a:pt x="1032" y="746"/>
                  </a:lnTo>
                  <a:lnTo>
                    <a:pt x="1030" y="746"/>
                  </a:lnTo>
                  <a:lnTo>
                    <a:pt x="1030" y="748"/>
                  </a:lnTo>
                  <a:lnTo>
                    <a:pt x="1032" y="748"/>
                  </a:lnTo>
                  <a:lnTo>
                    <a:pt x="1032" y="748"/>
                  </a:lnTo>
                  <a:lnTo>
                    <a:pt x="1032" y="748"/>
                  </a:lnTo>
                  <a:lnTo>
                    <a:pt x="1032" y="748"/>
                  </a:lnTo>
                  <a:lnTo>
                    <a:pt x="1030" y="750"/>
                  </a:lnTo>
                  <a:lnTo>
                    <a:pt x="1032" y="750"/>
                  </a:lnTo>
                  <a:lnTo>
                    <a:pt x="1032" y="750"/>
                  </a:lnTo>
                  <a:lnTo>
                    <a:pt x="1034" y="748"/>
                  </a:lnTo>
                  <a:lnTo>
                    <a:pt x="1034" y="748"/>
                  </a:lnTo>
                  <a:lnTo>
                    <a:pt x="1034" y="746"/>
                  </a:lnTo>
                  <a:lnTo>
                    <a:pt x="1034" y="746"/>
                  </a:lnTo>
                  <a:lnTo>
                    <a:pt x="1034" y="746"/>
                  </a:lnTo>
                  <a:lnTo>
                    <a:pt x="1034" y="746"/>
                  </a:lnTo>
                  <a:lnTo>
                    <a:pt x="1036" y="744"/>
                  </a:lnTo>
                  <a:lnTo>
                    <a:pt x="1036" y="744"/>
                  </a:lnTo>
                  <a:lnTo>
                    <a:pt x="1038" y="744"/>
                  </a:lnTo>
                  <a:lnTo>
                    <a:pt x="1038" y="744"/>
                  </a:lnTo>
                  <a:lnTo>
                    <a:pt x="1038" y="744"/>
                  </a:lnTo>
                  <a:lnTo>
                    <a:pt x="1040" y="742"/>
                  </a:lnTo>
                  <a:lnTo>
                    <a:pt x="1040" y="742"/>
                  </a:lnTo>
                  <a:lnTo>
                    <a:pt x="1040" y="744"/>
                  </a:lnTo>
                  <a:lnTo>
                    <a:pt x="1040" y="744"/>
                  </a:lnTo>
                  <a:lnTo>
                    <a:pt x="1040" y="744"/>
                  </a:lnTo>
                  <a:lnTo>
                    <a:pt x="1043" y="742"/>
                  </a:lnTo>
                  <a:lnTo>
                    <a:pt x="1043" y="742"/>
                  </a:lnTo>
                  <a:lnTo>
                    <a:pt x="1045" y="742"/>
                  </a:lnTo>
                  <a:lnTo>
                    <a:pt x="1045" y="742"/>
                  </a:lnTo>
                  <a:lnTo>
                    <a:pt x="1043" y="740"/>
                  </a:lnTo>
                  <a:close/>
                  <a:moveTo>
                    <a:pt x="1018" y="721"/>
                  </a:moveTo>
                  <a:lnTo>
                    <a:pt x="1016" y="721"/>
                  </a:lnTo>
                  <a:lnTo>
                    <a:pt x="1016" y="721"/>
                  </a:lnTo>
                  <a:lnTo>
                    <a:pt x="1016" y="721"/>
                  </a:lnTo>
                  <a:lnTo>
                    <a:pt x="1016" y="723"/>
                  </a:lnTo>
                  <a:lnTo>
                    <a:pt x="1016" y="723"/>
                  </a:lnTo>
                  <a:lnTo>
                    <a:pt x="1016" y="723"/>
                  </a:lnTo>
                  <a:lnTo>
                    <a:pt x="1016" y="723"/>
                  </a:lnTo>
                  <a:lnTo>
                    <a:pt x="1016" y="725"/>
                  </a:lnTo>
                  <a:lnTo>
                    <a:pt x="1016" y="725"/>
                  </a:lnTo>
                  <a:lnTo>
                    <a:pt x="1016" y="728"/>
                  </a:lnTo>
                  <a:lnTo>
                    <a:pt x="1018" y="725"/>
                  </a:lnTo>
                  <a:lnTo>
                    <a:pt x="1018" y="723"/>
                  </a:lnTo>
                  <a:lnTo>
                    <a:pt x="1018" y="723"/>
                  </a:lnTo>
                  <a:lnTo>
                    <a:pt x="1018" y="723"/>
                  </a:lnTo>
                  <a:lnTo>
                    <a:pt x="1018" y="721"/>
                  </a:lnTo>
                  <a:close/>
                  <a:moveTo>
                    <a:pt x="1059" y="715"/>
                  </a:moveTo>
                  <a:lnTo>
                    <a:pt x="1057" y="717"/>
                  </a:lnTo>
                  <a:lnTo>
                    <a:pt x="1057" y="717"/>
                  </a:lnTo>
                  <a:lnTo>
                    <a:pt x="1057" y="715"/>
                  </a:lnTo>
                  <a:lnTo>
                    <a:pt x="1057" y="715"/>
                  </a:lnTo>
                  <a:lnTo>
                    <a:pt x="1057" y="713"/>
                  </a:lnTo>
                  <a:lnTo>
                    <a:pt x="1057" y="713"/>
                  </a:lnTo>
                  <a:lnTo>
                    <a:pt x="1057" y="713"/>
                  </a:lnTo>
                  <a:lnTo>
                    <a:pt x="1055" y="715"/>
                  </a:lnTo>
                  <a:lnTo>
                    <a:pt x="1055" y="715"/>
                  </a:lnTo>
                  <a:lnTo>
                    <a:pt x="1055" y="715"/>
                  </a:lnTo>
                  <a:lnTo>
                    <a:pt x="1055" y="713"/>
                  </a:lnTo>
                  <a:lnTo>
                    <a:pt x="1055" y="713"/>
                  </a:lnTo>
                  <a:lnTo>
                    <a:pt x="1055" y="713"/>
                  </a:lnTo>
                  <a:lnTo>
                    <a:pt x="1055" y="711"/>
                  </a:lnTo>
                  <a:lnTo>
                    <a:pt x="1055" y="711"/>
                  </a:lnTo>
                  <a:lnTo>
                    <a:pt x="1055" y="711"/>
                  </a:lnTo>
                  <a:lnTo>
                    <a:pt x="1055" y="711"/>
                  </a:lnTo>
                  <a:lnTo>
                    <a:pt x="1053" y="713"/>
                  </a:lnTo>
                  <a:lnTo>
                    <a:pt x="1053" y="713"/>
                  </a:lnTo>
                  <a:lnTo>
                    <a:pt x="1053" y="713"/>
                  </a:lnTo>
                  <a:lnTo>
                    <a:pt x="1053" y="711"/>
                  </a:lnTo>
                  <a:lnTo>
                    <a:pt x="1055" y="711"/>
                  </a:lnTo>
                  <a:lnTo>
                    <a:pt x="1055" y="709"/>
                  </a:lnTo>
                  <a:lnTo>
                    <a:pt x="1057" y="707"/>
                  </a:lnTo>
                  <a:lnTo>
                    <a:pt x="1059" y="705"/>
                  </a:lnTo>
                  <a:lnTo>
                    <a:pt x="1059" y="705"/>
                  </a:lnTo>
                  <a:lnTo>
                    <a:pt x="1059" y="705"/>
                  </a:lnTo>
                  <a:lnTo>
                    <a:pt x="1057" y="705"/>
                  </a:lnTo>
                  <a:lnTo>
                    <a:pt x="1057" y="705"/>
                  </a:lnTo>
                  <a:lnTo>
                    <a:pt x="1057" y="705"/>
                  </a:lnTo>
                  <a:lnTo>
                    <a:pt x="1057" y="707"/>
                  </a:lnTo>
                  <a:lnTo>
                    <a:pt x="1057" y="707"/>
                  </a:lnTo>
                  <a:lnTo>
                    <a:pt x="1055" y="705"/>
                  </a:lnTo>
                  <a:lnTo>
                    <a:pt x="1057" y="705"/>
                  </a:lnTo>
                  <a:lnTo>
                    <a:pt x="1057" y="705"/>
                  </a:lnTo>
                  <a:lnTo>
                    <a:pt x="1055" y="703"/>
                  </a:lnTo>
                  <a:lnTo>
                    <a:pt x="1055" y="703"/>
                  </a:lnTo>
                  <a:lnTo>
                    <a:pt x="1055" y="703"/>
                  </a:lnTo>
                  <a:lnTo>
                    <a:pt x="1055" y="703"/>
                  </a:lnTo>
                  <a:lnTo>
                    <a:pt x="1055" y="701"/>
                  </a:lnTo>
                  <a:lnTo>
                    <a:pt x="1053" y="701"/>
                  </a:lnTo>
                  <a:lnTo>
                    <a:pt x="1053" y="701"/>
                  </a:lnTo>
                  <a:lnTo>
                    <a:pt x="1053" y="701"/>
                  </a:lnTo>
                  <a:lnTo>
                    <a:pt x="1053" y="703"/>
                  </a:lnTo>
                  <a:lnTo>
                    <a:pt x="1053" y="703"/>
                  </a:lnTo>
                  <a:lnTo>
                    <a:pt x="1053" y="701"/>
                  </a:lnTo>
                  <a:lnTo>
                    <a:pt x="1053" y="701"/>
                  </a:lnTo>
                  <a:lnTo>
                    <a:pt x="1051" y="701"/>
                  </a:lnTo>
                  <a:lnTo>
                    <a:pt x="1051" y="701"/>
                  </a:lnTo>
                  <a:lnTo>
                    <a:pt x="1051" y="701"/>
                  </a:lnTo>
                  <a:lnTo>
                    <a:pt x="1051" y="701"/>
                  </a:lnTo>
                  <a:lnTo>
                    <a:pt x="1051" y="701"/>
                  </a:lnTo>
                  <a:lnTo>
                    <a:pt x="1051" y="703"/>
                  </a:lnTo>
                  <a:lnTo>
                    <a:pt x="1051" y="703"/>
                  </a:lnTo>
                  <a:lnTo>
                    <a:pt x="1051" y="703"/>
                  </a:lnTo>
                  <a:lnTo>
                    <a:pt x="1051" y="705"/>
                  </a:lnTo>
                  <a:lnTo>
                    <a:pt x="1051" y="703"/>
                  </a:lnTo>
                  <a:lnTo>
                    <a:pt x="1049" y="703"/>
                  </a:lnTo>
                  <a:lnTo>
                    <a:pt x="1049" y="703"/>
                  </a:lnTo>
                  <a:lnTo>
                    <a:pt x="1049" y="703"/>
                  </a:lnTo>
                  <a:lnTo>
                    <a:pt x="1049" y="705"/>
                  </a:lnTo>
                  <a:lnTo>
                    <a:pt x="1047" y="705"/>
                  </a:lnTo>
                  <a:lnTo>
                    <a:pt x="1047" y="707"/>
                  </a:lnTo>
                  <a:lnTo>
                    <a:pt x="1047" y="705"/>
                  </a:lnTo>
                  <a:lnTo>
                    <a:pt x="1047" y="705"/>
                  </a:lnTo>
                  <a:lnTo>
                    <a:pt x="1047" y="705"/>
                  </a:lnTo>
                  <a:lnTo>
                    <a:pt x="1045" y="705"/>
                  </a:lnTo>
                  <a:lnTo>
                    <a:pt x="1045" y="705"/>
                  </a:lnTo>
                  <a:lnTo>
                    <a:pt x="1045" y="707"/>
                  </a:lnTo>
                  <a:lnTo>
                    <a:pt x="1045" y="709"/>
                  </a:lnTo>
                  <a:lnTo>
                    <a:pt x="1045" y="709"/>
                  </a:lnTo>
                  <a:lnTo>
                    <a:pt x="1045" y="711"/>
                  </a:lnTo>
                  <a:lnTo>
                    <a:pt x="1045" y="711"/>
                  </a:lnTo>
                  <a:lnTo>
                    <a:pt x="1045" y="711"/>
                  </a:lnTo>
                  <a:lnTo>
                    <a:pt x="1045" y="711"/>
                  </a:lnTo>
                  <a:lnTo>
                    <a:pt x="1043" y="711"/>
                  </a:lnTo>
                  <a:lnTo>
                    <a:pt x="1043" y="711"/>
                  </a:lnTo>
                  <a:lnTo>
                    <a:pt x="1043" y="711"/>
                  </a:lnTo>
                  <a:lnTo>
                    <a:pt x="1043" y="709"/>
                  </a:lnTo>
                  <a:lnTo>
                    <a:pt x="1043" y="709"/>
                  </a:lnTo>
                  <a:lnTo>
                    <a:pt x="1043" y="707"/>
                  </a:lnTo>
                  <a:lnTo>
                    <a:pt x="1043" y="705"/>
                  </a:lnTo>
                  <a:lnTo>
                    <a:pt x="1043" y="705"/>
                  </a:lnTo>
                  <a:lnTo>
                    <a:pt x="1045" y="703"/>
                  </a:lnTo>
                  <a:lnTo>
                    <a:pt x="1045" y="703"/>
                  </a:lnTo>
                  <a:lnTo>
                    <a:pt x="1045" y="703"/>
                  </a:lnTo>
                  <a:lnTo>
                    <a:pt x="1043" y="703"/>
                  </a:lnTo>
                  <a:lnTo>
                    <a:pt x="1043" y="703"/>
                  </a:lnTo>
                  <a:lnTo>
                    <a:pt x="1045" y="703"/>
                  </a:lnTo>
                  <a:lnTo>
                    <a:pt x="1045" y="703"/>
                  </a:lnTo>
                  <a:lnTo>
                    <a:pt x="1045" y="701"/>
                  </a:lnTo>
                  <a:lnTo>
                    <a:pt x="1045" y="701"/>
                  </a:lnTo>
                  <a:lnTo>
                    <a:pt x="1040" y="699"/>
                  </a:lnTo>
                  <a:lnTo>
                    <a:pt x="1040" y="701"/>
                  </a:lnTo>
                  <a:lnTo>
                    <a:pt x="1040" y="701"/>
                  </a:lnTo>
                  <a:lnTo>
                    <a:pt x="1040" y="701"/>
                  </a:lnTo>
                  <a:lnTo>
                    <a:pt x="1038" y="701"/>
                  </a:lnTo>
                  <a:lnTo>
                    <a:pt x="1038" y="701"/>
                  </a:lnTo>
                  <a:lnTo>
                    <a:pt x="1036" y="699"/>
                  </a:lnTo>
                  <a:lnTo>
                    <a:pt x="1036" y="699"/>
                  </a:lnTo>
                  <a:lnTo>
                    <a:pt x="1034" y="697"/>
                  </a:lnTo>
                  <a:lnTo>
                    <a:pt x="1032" y="697"/>
                  </a:lnTo>
                  <a:lnTo>
                    <a:pt x="1032" y="697"/>
                  </a:lnTo>
                  <a:lnTo>
                    <a:pt x="1032" y="697"/>
                  </a:lnTo>
                  <a:lnTo>
                    <a:pt x="1032" y="697"/>
                  </a:lnTo>
                  <a:lnTo>
                    <a:pt x="1032" y="697"/>
                  </a:lnTo>
                  <a:lnTo>
                    <a:pt x="1032" y="697"/>
                  </a:lnTo>
                  <a:lnTo>
                    <a:pt x="1032" y="699"/>
                  </a:lnTo>
                  <a:lnTo>
                    <a:pt x="1032" y="699"/>
                  </a:lnTo>
                  <a:lnTo>
                    <a:pt x="1034" y="699"/>
                  </a:lnTo>
                  <a:lnTo>
                    <a:pt x="1034" y="701"/>
                  </a:lnTo>
                  <a:lnTo>
                    <a:pt x="1036" y="703"/>
                  </a:lnTo>
                  <a:lnTo>
                    <a:pt x="1036" y="703"/>
                  </a:lnTo>
                  <a:lnTo>
                    <a:pt x="1036" y="703"/>
                  </a:lnTo>
                  <a:lnTo>
                    <a:pt x="1036" y="705"/>
                  </a:lnTo>
                  <a:lnTo>
                    <a:pt x="1036" y="705"/>
                  </a:lnTo>
                  <a:lnTo>
                    <a:pt x="1038" y="705"/>
                  </a:lnTo>
                  <a:lnTo>
                    <a:pt x="1038" y="705"/>
                  </a:lnTo>
                  <a:lnTo>
                    <a:pt x="1038" y="705"/>
                  </a:lnTo>
                  <a:lnTo>
                    <a:pt x="1038" y="707"/>
                  </a:lnTo>
                  <a:lnTo>
                    <a:pt x="1038" y="705"/>
                  </a:lnTo>
                  <a:lnTo>
                    <a:pt x="1036" y="705"/>
                  </a:lnTo>
                  <a:lnTo>
                    <a:pt x="1034" y="703"/>
                  </a:lnTo>
                  <a:lnTo>
                    <a:pt x="1034" y="703"/>
                  </a:lnTo>
                  <a:lnTo>
                    <a:pt x="1034" y="703"/>
                  </a:lnTo>
                  <a:lnTo>
                    <a:pt x="1034" y="703"/>
                  </a:lnTo>
                  <a:lnTo>
                    <a:pt x="1034" y="705"/>
                  </a:lnTo>
                  <a:lnTo>
                    <a:pt x="1034" y="705"/>
                  </a:lnTo>
                  <a:lnTo>
                    <a:pt x="1034" y="707"/>
                  </a:lnTo>
                  <a:lnTo>
                    <a:pt x="1034" y="711"/>
                  </a:lnTo>
                  <a:lnTo>
                    <a:pt x="1034" y="711"/>
                  </a:lnTo>
                  <a:lnTo>
                    <a:pt x="1034" y="713"/>
                  </a:lnTo>
                  <a:lnTo>
                    <a:pt x="1034" y="713"/>
                  </a:lnTo>
                  <a:lnTo>
                    <a:pt x="1034" y="713"/>
                  </a:lnTo>
                  <a:lnTo>
                    <a:pt x="1034" y="711"/>
                  </a:lnTo>
                  <a:lnTo>
                    <a:pt x="1034" y="711"/>
                  </a:lnTo>
                  <a:lnTo>
                    <a:pt x="1034" y="711"/>
                  </a:lnTo>
                  <a:lnTo>
                    <a:pt x="1034" y="709"/>
                  </a:lnTo>
                  <a:lnTo>
                    <a:pt x="1034" y="709"/>
                  </a:lnTo>
                  <a:lnTo>
                    <a:pt x="1034" y="709"/>
                  </a:lnTo>
                  <a:lnTo>
                    <a:pt x="1032" y="707"/>
                  </a:lnTo>
                  <a:lnTo>
                    <a:pt x="1030" y="707"/>
                  </a:lnTo>
                  <a:lnTo>
                    <a:pt x="1028" y="705"/>
                  </a:lnTo>
                  <a:lnTo>
                    <a:pt x="1028" y="705"/>
                  </a:lnTo>
                  <a:lnTo>
                    <a:pt x="1026" y="705"/>
                  </a:lnTo>
                  <a:lnTo>
                    <a:pt x="1026" y="707"/>
                  </a:lnTo>
                  <a:lnTo>
                    <a:pt x="1028" y="707"/>
                  </a:lnTo>
                  <a:lnTo>
                    <a:pt x="1028" y="709"/>
                  </a:lnTo>
                  <a:lnTo>
                    <a:pt x="1028" y="709"/>
                  </a:lnTo>
                  <a:lnTo>
                    <a:pt x="1028" y="709"/>
                  </a:lnTo>
                  <a:lnTo>
                    <a:pt x="1028" y="709"/>
                  </a:lnTo>
                  <a:lnTo>
                    <a:pt x="1030" y="709"/>
                  </a:lnTo>
                  <a:lnTo>
                    <a:pt x="1030" y="709"/>
                  </a:lnTo>
                  <a:lnTo>
                    <a:pt x="1030" y="709"/>
                  </a:lnTo>
                  <a:lnTo>
                    <a:pt x="1030" y="709"/>
                  </a:lnTo>
                  <a:lnTo>
                    <a:pt x="1030" y="711"/>
                  </a:lnTo>
                  <a:lnTo>
                    <a:pt x="1030" y="711"/>
                  </a:lnTo>
                  <a:lnTo>
                    <a:pt x="1030" y="713"/>
                  </a:lnTo>
                  <a:lnTo>
                    <a:pt x="1030" y="713"/>
                  </a:lnTo>
                  <a:lnTo>
                    <a:pt x="1030" y="711"/>
                  </a:lnTo>
                  <a:lnTo>
                    <a:pt x="1028" y="711"/>
                  </a:lnTo>
                  <a:lnTo>
                    <a:pt x="1028" y="711"/>
                  </a:lnTo>
                  <a:lnTo>
                    <a:pt x="1028" y="709"/>
                  </a:lnTo>
                  <a:lnTo>
                    <a:pt x="1028" y="709"/>
                  </a:lnTo>
                  <a:lnTo>
                    <a:pt x="1026" y="709"/>
                  </a:lnTo>
                  <a:lnTo>
                    <a:pt x="1026" y="709"/>
                  </a:lnTo>
                  <a:lnTo>
                    <a:pt x="1026" y="711"/>
                  </a:lnTo>
                  <a:lnTo>
                    <a:pt x="1026" y="711"/>
                  </a:lnTo>
                  <a:lnTo>
                    <a:pt x="1028" y="713"/>
                  </a:lnTo>
                  <a:lnTo>
                    <a:pt x="1028" y="713"/>
                  </a:lnTo>
                  <a:lnTo>
                    <a:pt x="1028" y="713"/>
                  </a:lnTo>
                  <a:lnTo>
                    <a:pt x="1026" y="713"/>
                  </a:lnTo>
                  <a:lnTo>
                    <a:pt x="1026" y="711"/>
                  </a:lnTo>
                  <a:lnTo>
                    <a:pt x="1026" y="713"/>
                  </a:lnTo>
                  <a:lnTo>
                    <a:pt x="1026" y="715"/>
                  </a:lnTo>
                  <a:lnTo>
                    <a:pt x="1026" y="717"/>
                  </a:lnTo>
                  <a:lnTo>
                    <a:pt x="1026" y="715"/>
                  </a:lnTo>
                  <a:lnTo>
                    <a:pt x="1024" y="713"/>
                  </a:lnTo>
                  <a:lnTo>
                    <a:pt x="1024" y="711"/>
                  </a:lnTo>
                  <a:lnTo>
                    <a:pt x="1024" y="709"/>
                  </a:lnTo>
                  <a:lnTo>
                    <a:pt x="1024" y="707"/>
                  </a:lnTo>
                  <a:lnTo>
                    <a:pt x="1024" y="707"/>
                  </a:lnTo>
                  <a:lnTo>
                    <a:pt x="1024" y="705"/>
                  </a:lnTo>
                  <a:lnTo>
                    <a:pt x="1024" y="705"/>
                  </a:lnTo>
                  <a:lnTo>
                    <a:pt x="1022" y="705"/>
                  </a:lnTo>
                  <a:lnTo>
                    <a:pt x="1022" y="705"/>
                  </a:lnTo>
                  <a:lnTo>
                    <a:pt x="1022" y="703"/>
                  </a:lnTo>
                  <a:lnTo>
                    <a:pt x="1022" y="703"/>
                  </a:lnTo>
                  <a:lnTo>
                    <a:pt x="1022" y="703"/>
                  </a:lnTo>
                  <a:lnTo>
                    <a:pt x="1022" y="703"/>
                  </a:lnTo>
                  <a:lnTo>
                    <a:pt x="1020" y="703"/>
                  </a:lnTo>
                  <a:lnTo>
                    <a:pt x="1020" y="703"/>
                  </a:lnTo>
                  <a:lnTo>
                    <a:pt x="1020" y="703"/>
                  </a:lnTo>
                  <a:lnTo>
                    <a:pt x="1020" y="703"/>
                  </a:lnTo>
                  <a:lnTo>
                    <a:pt x="1018" y="703"/>
                  </a:lnTo>
                  <a:lnTo>
                    <a:pt x="1018" y="703"/>
                  </a:lnTo>
                  <a:lnTo>
                    <a:pt x="1018" y="705"/>
                  </a:lnTo>
                  <a:lnTo>
                    <a:pt x="1018" y="705"/>
                  </a:lnTo>
                  <a:lnTo>
                    <a:pt x="1018" y="703"/>
                  </a:lnTo>
                  <a:lnTo>
                    <a:pt x="1018" y="705"/>
                  </a:lnTo>
                  <a:lnTo>
                    <a:pt x="1016" y="705"/>
                  </a:lnTo>
                  <a:lnTo>
                    <a:pt x="1016" y="705"/>
                  </a:lnTo>
                  <a:lnTo>
                    <a:pt x="1014" y="707"/>
                  </a:lnTo>
                  <a:lnTo>
                    <a:pt x="1014" y="709"/>
                  </a:lnTo>
                  <a:lnTo>
                    <a:pt x="1014" y="711"/>
                  </a:lnTo>
                  <a:lnTo>
                    <a:pt x="1016" y="713"/>
                  </a:lnTo>
                  <a:lnTo>
                    <a:pt x="1016" y="713"/>
                  </a:lnTo>
                  <a:lnTo>
                    <a:pt x="1020" y="713"/>
                  </a:lnTo>
                  <a:lnTo>
                    <a:pt x="1020" y="713"/>
                  </a:lnTo>
                  <a:lnTo>
                    <a:pt x="1022" y="715"/>
                  </a:lnTo>
                  <a:lnTo>
                    <a:pt x="1024" y="717"/>
                  </a:lnTo>
                  <a:lnTo>
                    <a:pt x="1024" y="717"/>
                  </a:lnTo>
                  <a:lnTo>
                    <a:pt x="1024" y="717"/>
                  </a:lnTo>
                  <a:lnTo>
                    <a:pt x="1024" y="717"/>
                  </a:lnTo>
                  <a:lnTo>
                    <a:pt x="1024" y="717"/>
                  </a:lnTo>
                  <a:lnTo>
                    <a:pt x="1024" y="717"/>
                  </a:lnTo>
                  <a:lnTo>
                    <a:pt x="1022" y="719"/>
                  </a:lnTo>
                  <a:lnTo>
                    <a:pt x="1022" y="717"/>
                  </a:lnTo>
                  <a:lnTo>
                    <a:pt x="1022" y="715"/>
                  </a:lnTo>
                  <a:lnTo>
                    <a:pt x="1018" y="715"/>
                  </a:lnTo>
                  <a:lnTo>
                    <a:pt x="1016" y="715"/>
                  </a:lnTo>
                  <a:lnTo>
                    <a:pt x="1016" y="715"/>
                  </a:lnTo>
                  <a:lnTo>
                    <a:pt x="1016" y="717"/>
                  </a:lnTo>
                  <a:lnTo>
                    <a:pt x="1020" y="719"/>
                  </a:lnTo>
                  <a:lnTo>
                    <a:pt x="1020" y="721"/>
                  </a:lnTo>
                  <a:lnTo>
                    <a:pt x="1020" y="721"/>
                  </a:lnTo>
                  <a:lnTo>
                    <a:pt x="1022" y="721"/>
                  </a:lnTo>
                  <a:lnTo>
                    <a:pt x="1022" y="721"/>
                  </a:lnTo>
                  <a:lnTo>
                    <a:pt x="1020" y="721"/>
                  </a:lnTo>
                  <a:lnTo>
                    <a:pt x="1020" y="721"/>
                  </a:lnTo>
                  <a:lnTo>
                    <a:pt x="1018" y="721"/>
                  </a:lnTo>
                  <a:lnTo>
                    <a:pt x="1018" y="719"/>
                  </a:lnTo>
                  <a:lnTo>
                    <a:pt x="1018" y="719"/>
                  </a:lnTo>
                  <a:lnTo>
                    <a:pt x="1016" y="719"/>
                  </a:lnTo>
                  <a:lnTo>
                    <a:pt x="1016" y="719"/>
                  </a:lnTo>
                  <a:lnTo>
                    <a:pt x="1016" y="721"/>
                  </a:lnTo>
                  <a:lnTo>
                    <a:pt x="1016" y="721"/>
                  </a:lnTo>
                  <a:lnTo>
                    <a:pt x="1018" y="723"/>
                  </a:lnTo>
                  <a:lnTo>
                    <a:pt x="1018" y="723"/>
                  </a:lnTo>
                  <a:lnTo>
                    <a:pt x="1018" y="723"/>
                  </a:lnTo>
                  <a:lnTo>
                    <a:pt x="1018" y="728"/>
                  </a:lnTo>
                  <a:lnTo>
                    <a:pt x="1018" y="730"/>
                  </a:lnTo>
                  <a:lnTo>
                    <a:pt x="1018" y="730"/>
                  </a:lnTo>
                  <a:lnTo>
                    <a:pt x="1018" y="730"/>
                  </a:lnTo>
                  <a:lnTo>
                    <a:pt x="1020" y="732"/>
                  </a:lnTo>
                  <a:lnTo>
                    <a:pt x="1020" y="732"/>
                  </a:lnTo>
                  <a:lnTo>
                    <a:pt x="1020" y="734"/>
                  </a:lnTo>
                  <a:lnTo>
                    <a:pt x="1020" y="734"/>
                  </a:lnTo>
                  <a:lnTo>
                    <a:pt x="1022" y="734"/>
                  </a:lnTo>
                  <a:lnTo>
                    <a:pt x="1022" y="736"/>
                  </a:lnTo>
                  <a:lnTo>
                    <a:pt x="1022" y="736"/>
                  </a:lnTo>
                  <a:lnTo>
                    <a:pt x="1020" y="734"/>
                  </a:lnTo>
                  <a:lnTo>
                    <a:pt x="1018" y="734"/>
                  </a:lnTo>
                  <a:lnTo>
                    <a:pt x="1018" y="730"/>
                  </a:lnTo>
                  <a:lnTo>
                    <a:pt x="1016" y="730"/>
                  </a:lnTo>
                  <a:lnTo>
                    <a:pt x="1016" y="730"/>
                  </a:lnTo>
                  <a:lnTo>
                    <a:pt x="1016" y="728"/>
                  </a:lnTo>
                  <a:lnTo>
                    <a:pt x="1016" y="728"/>
                  </a:lnTo>
                  <a:lnTo>
                    <a:pt x="1014" y="723"/>
                  </a:lnTo>
                  <a:lnTo>
                    <a:pt x="1014" y="721"/>
                  </a:lnTo>
                  <a:lnTo>
                    <a:pt x="1014" y="721"/>
                  </a:lnTo>
                  <a:lnTo>
                    <a:pt x="1010" y="721"/>
                  </a:lnTo>
                  <a:lnTo>
                    <a:pt x="1010" y="721"/>
                  </a:lnTo>
                  <a:lnTo>
                    <a:pt x="1012" y="721"/>
                  </a:lnTo>
                  <a:lnTo>
                    <a:pt x="1014" y="719"/>
                  </a:lnTo>
                  <a:lnTo>
                    <a:pt x="1012" y="717"/>
                  </a:lnTo>
                  <a:lnTo>
                    <a:pt x="1012" y="715"/>
                  </a:lnTo>
                  <a:lnTo>
                    <a:pt x="1012" y="715"/>
                  </a:lnTo>
                  <a:lnTo>
                    <a:pt x="1008" y="715"/>
                  </a:lnTo>
                  <a:lnTo>
                    <a:pt x="1008" y="715"/>
                  </a:lnTo>
                  <a:lnTo>
                    <a:pt x="1008" y="715"/>
                  </a:lnTo>
                  <a:lnTo>
                    <a:pt x="1006" y="715"/>
                  </a:lnTo>
                  <a:lnTo>
                    <a:pt x="1006" y="715"/>
                  </a:lnTo>
                  <a:lnTo>
                    <a:pt x="1006" y="715"/>
                  </a:lnTo>
                  <a:lnTo>
                    <a:pt x="1006" y="715"/>
                  </a:lnTo>
                  <a:lnTo>
                    <a:pt x="1004" y="715"/>
                  </a:lnTo>
                  <a:lnTo>
                    <a:pt x="1004" y="715"/>
                  </a:lnTo>
                  <a:lnTo>
                    <a:pt x="1004" y="715"/>
                  </a:lnTo>
                  <a:lnTo>
                    <a:pt x="1002" y="715"/>
                  </a:lnTo>
                  <a:lnTo>
                    <a:pt x="1002" y="715"/>
                  </a:lnTo>
                  <a:lnTo>
                    <a:pt x="1002" y="717"/>
                  </a:lnTo>
                  <a:lnTo>
                    <a:pt x="1002" y="717"/>
                  </a:lnTo>
                  <a:lnTo>
                    <a:pt x="1002" y="717"/>
                  </a:lnTo>
                  <a:lnTo>
                    <a:pt x="999" y="719"/>
                  </a:lnTo>
                  <a:lnTo>
                    <a:pt x="1002" y="719"/>
                  </a:lnTo>
                  <a:lnTo>
                    <a:pt x="1002" y="719"/>
                  </a:lnTo>
                  <a:lnTo>
                    <a:pt x="999" y="719"/>
                  </a:lnTo>
                  <a:lnTo>
                    <a:pt x="997" y="719"/>
                  </a:lnTo>
                  <a:lnTo>
                    <a:pt x="997" y="719"/>
                  </a:lnTo>
                  <a:lnTo>
                    <a:pt x="997" y="721"/>
                  </a:lnTo>
                  <a:lnTo>
                    <a:pt x="997" y="723"/>
                  </a:lnTo>
                  <a:lnTo>
                    <a:pt x="997" y="721"/>
                  </a:lnTo>
                  <a:lnTo>
                    <a:pt x="997" y="721"/>
                  </a:lnTo>
                  <a:lnTo>
                    <a:pt x="997" y="721"/>
                  </a:lnTo>
                  <a:lnTo>
                    <a:pt x="995" y="721"/>
                  </a:lnTo>
                  <a:lnTo>
                    <a:pt x="995" y="721"/>
                  </a:lnTo>
                  <a:lnTo>
                    <a:pt x="995" y="723"/>
                  </a:lnTo>
                  <a:lnTo>
                    <a:pt x="993" y="723"/>
                  </a:lnTo>
                  <a:lnTo>
                    <a:pt x="993" y="725"/>
                  </a:lnTo>
                  <a:lnTo>
                    <a:pt x="995" y="725"/>
                  </a:lnTo>
                  <a:lnTo>
                    <a:pt x="993" y="725"/>
                  </a:lnTo>
                  <a:lnTo>
                    <a:pt x="993" y="725"/>
                  </a:lnTo>
                  <a:lnTo>
                    <a:pt x="991" y="728"/>
                  </a:lnTo>
                  <a:lnTo>
                    <a:pt x="993" y="728"/>
                  </a:lnTo>
                  <a:lnTo>
                    <a:pt x="993" y="730"/>
                  </a:lnTo>
                  <a:lnTo>
                    <a:pt x="993" y="730"/>
                  </a:lnTo>
                  <a:lnTo>
                    <a:pt x="991" y="730"/>
                  </a:lnTo>
                  <a:lnTo>
                    <a:pt x="991" y="732"/>
                  </a:lnTo>
                  <a:lnTo>
                    <a:pt x="991" y="732"/>
                  </a:lnTo>
                  <a:lnTo>
                    <a:pt x="991" y="732"/>
                  </a:lnTo>
                  <a:lnTo>
                    <a:pt x="993" y="732"/>
                  </a:lnTo>
                  <a:lnTo>
                    <a:pt x="993" y="732"/>
                  </a:lnTo>
                  <a:lnTo>
                    <a:pt x="991" y="732"/>
                  </a:lnTo>
                  <a:lnTo>
                    <a:pt x="991" y="732"/>
                  </a:lnTo>
                  <a:lnTo>
                    <a:pt x="991" y="732"/>
                  </a:lnTo>
                  <a:lnTo>
                    <a:pt x="989" y="732"/>
                  </a:lnTo>
                  <a:lnTo>
                    <a:pt x="989" y="732"/>
                  </a:lnTo>
                  <a:lnTo>
                    <a:pt x="991" y="732"/>
                  </a:lnTo>
                  <a:lnTo>
                    <a:pt x="991" y="734"/>
                  </a:lnTo>
                  <a:lnTo>
                    <a:pt x="991" y="734"/>
                  </a:lnTo>
                  <a:lnTo>
                    <a:pt x="991" y="734"/>
                  </a:lnTo>
                  <a:lnTo>
                    <a:pt x="991" y="734"/>
                  </a:lnTo>
                  <a:lnTo>
                    <a:pt x="989" y="734"/>
                  </a:lnTo>
                  <a:lnTo>
                    <a:pt x="991" y="736"/>
                  </a:lnTo>
                  <a:lnTo>
                    <a:pt x="991" y="736"/>
                  </a:lnTo>
                  <a:lnTo>
                    <a:pt x="991" y="736"/>
                  </a:lnTo>
                  <a:lnTo>
                    <a:pt x="993" y="734"/>
                  </a:lnTo>
                  <a:lnTo>
                    <a:pt x="993" y="736"/>
                  </a:lnTo>
                  <a:lnTo>
                    <a:pt x="993" y="736"/>
                  </a:lnTo>
                  <a:lnTo>
                    <a:pt x="993" y="736"/>
                  </a:lnTo>
                  <a:lnTo>
                    <a:pt x="993" y="736"/>
                  </a:lnTo>
                  <a:lnTo>
                    <a:pt x="995" y="736"/>
                  </a:lnTo>
                  <a:lnTo>
                    <a:pt x="995" y="736"/>
                  </a:lnTo>
                  <a:lnTo>
                    <a:pt x="995" y="736"/>
                  </a:lnTo>
                  <a:lnTo>
                    <a:pt x="995" y="736"/>
                  </a:lnTo>
                  <a:lnTo>
                    <a:pt x="995" y="738"/>
                  </a:lnTo>
                  <a:lnTo>
                    <a:pt x="997" y="740"/>
                  </a:lnTo>
                  <a:lnTo>
                    <a:pt x="997" y="740"/>
                  </a:lnTo>
                  <a:lnTo>
                    <a:pt x="997" y="742"/>
                  </a:lnTo>
                  <a:lnTo>
                    <a:pt x="997" y="744"/>
                  </a:lnTo>
                  <a:lnTo>
                    <a:pt x="997" y="746"/>
                  </a:lnTo>
                  <a:lnTo>
                    <a:pt x="997" y="746"/>
                  </a:lnTo>
                  <a:lnTo>
                    <a:pt x="997" y="748"/>
                  </a:lnTo>
                  <a:lnTo>
                    <a:pt x="997" y="750"/>
                  </a:lnTo>
                  <a:lnTo>
                    <a:pt x="997" y="750"/>
                  </a:lnTo>
                  <a:lnTo>
                    <a:pt x="997" y="750"/>
                  </a:lnTo>
                  <a:lnTo>
                    <a:pt x="997" y="750"/>
                  </a:lnTo>
                  <a:lnTo>
                    <a:pt x="999" y="750"/>
                  </a:lnTo>
                  <a:lnTo>
                    <a:pt x="999" y="750"/>
                  </a:lnTo>
                  <a:lnTo>
                    <a:pt x="999" y="750"/>
                  </a:lnTo>
                  <a:lnTo>
                    <a:pt x="1002" y="750"/>
                  </a:lnTo>
                  <a:lnTo>
                    <a:pt x="1002" y="752"/>
                  </a:lnTo>
                  <a:lnTo>
                    <a:pt x="1004" y="754"/>
                  </a:lnTo>
                  <a:lnTo>
                    <a:pt x="1004" y="754"/>
                  </a:lnTo>
                  <a:lnTo>
                    <a:pt x="1004" y="754"/>
                  </a:lnTo>
                  <a:lnTo>
                    <a:pt x="1004" y="756"/>
                  </a:lnTo>
                  <a:lnTo>
                    <a:pt x="1004" y="756"/>
                  </a:lnTo>
                  <a:lnTo>
                    <a:pt x="1004" y="756"/>
                  </a:lnTo>
                  <a:lnTo>
                    <a:pt x="1004" y="756"/>
                  </a:lnTo>
                  <a:lnTo>
                    <a:pt x="1006" y="756"/>
                  </a:lnTo>
                  <a:lnTo>
                    <a:pt x="1006" y="756"/>
                  </a:lnTo>
                  <a:lnTo>
                    <a:pt x="1006" y="756"/>
                  </a:lnTo>
                  <a:lnTo>
                    <a:pt x="1006" y="756"/>
                  </a:lnTo>
                  <a:lnTo>
                    <a:pt x="1004" y="756"/>
                  </a:lnTo>
                  <a:lnTo>
                    <a:pt x="1004" y="756"/>
                  </a:lnTo>
                  <a:lnTo>
                    <a:pt x="1004" y="756"/>
                  </a:lnTo>
                  <a:lnTo>
                    <a:pt x="1004" y="754"/>
                  </a:lnTo>
                  <a:lnTo>
                    <a:pt x="1004" y="754"/>
                  </a:lnTo>
                  <a:lnTo>
                    <a:pt x="1004" y="754"/>
                  </a:lnTo>
                  <a:lnTo>
                    <a:pt x="1004" y="754"/>
                  </a:lnTo>
                  <a:lnTo>
                    <a:pt x="1004" y="756"/>
                  </a:lnTo>
                  <a:lnTo>
                    <a:pt x="1006" y="754"/>
                  </a:lnTo>
                  <a:lnTo>
                    <a:pt x="1006" y="754"/>
                  </a:lnTo>
                  <a:lnTo>
                    <a:pt x="1006" y="754"/>
                  </a:lnTo>
                  <a:lnTo>
                    <a:pt x="1006" y="754"/>
                  </a:lnTo>
                  <a:lnTo>
                    <a:pt x="1006" y="754"/>
                  </a:lnTo>
                  <a:lnTo>
                    <a:pt x="1006" y="754"/>
                  </a:lnTo>
                  <a:lnTo>
                    <a:pt x="1006" y="754"/>
                  </a:lnTo>
                  <a:lnTo>
                    <a:pt x="1006" y="752"/>
                  </a:lnTo>
                  <a:lnTo>
                    <a:pt x="1006" y="752"/>
                  </a:lnTo>
                  <a:lnTo>
                    <a:pt x="1008" y="752"/>
                  </a:lnTo>
                  <a:lnTo>
                    <a:pt x="1008" y="752"/>
                  </a:lnTo>
                  <a:lnTo>
                    <a:pt x="1008" y="752"/>
                  </a:lnTo>
                  <a:lnTo>
                    <a:pt x="1008" y="750"/>
                  </a:lnTo>
                  <a:lnTo>
                    <a:pt x="1008" y="750"/>
                  </a:lnTo>
                  <a:lnTo>
                    <a:pt x="1008" y="750"/>
                  </a:lnTo>
                  <a:lnTo>
                    <a:pt x="1008" y="748"/>
                  </a:lnTo>
                  <a:lnTo>
                    <a:pt x="1008" y="748"/>
                  </a:lnTo>
                  <a:lnTo>
                    <a:pt x="1010" y="746"/>
                  </a:lnTo>
                  <a:lnTo>
                    <a:pt x="1010" y="744"/>
                  </a:lnTo>
                  <a:lnTo>
                    <a:pt x="1010" y="744"/>
                  </a:lnTo>
                  <a:lnTo>
                    <a:pt x="1010" y="744"/>
                  </a:lnTo>
                  <a:lnTo>
                    <a:pt x="1006" y="744"/>
                  </a:lnTo>
                  <a:lnTo>
                    <a:pt x="1004" y="744"/>
                  </a:lnTo>
                  <a:lnTo>
                    <a:pt x="1004" y="744"/>
                  </a:lnTo>
                  <a:lnTo>
                    <a:pt x="1004" y="746"/>
                  </a:lnTo>
                  <a:lnTo>
                    <a:pt x="1002" y="746"/>
                  </a:lnTo>
                  <a:lnTo>
                    <a:pt x="1002" y="746"/>
                  </a:lnTo>
                  <a:lnTo>
                    <a:pt x="1002" y="746"/>
                  </a:lnTo>
                  <a:lnTo>
                    <a:pt x="999" y="746"/>
                  </a:lnTo>
                  <a:lnTo>
                    <a:pt x="999" y="746"/>
                  </a:lnTo>
                  <a:lnTo>
                    <a:pt x="999" y="744"/>
                  </a:lnTo>
                  <a:lnTo>
                    <a:pt x="997" y="744"/>
                  </a:lnTo>
                  <a:lnTo>
                    <a:pt x="999" y="744"/>
                  </a:lnTo>
                  <a:lnTo>
                    <a:pt x="1002" y="744"/>
                  </a:lnTo>
                  <a:lnTo>
                    <a:pt x="1002" y="742"/>
                  </a:lnTo>
                  <a:lnTo>
                    <a:pt x="1002" y="742"/>
                  </a:lnTo>
                  <a:lnTo>
                    <a:pt x="1002" y="742"/>
                  </a:lnTo>
                  <a:lnTo>
                    <a:pt x="1004" y="742"/>
                  </a:lnTo>
                  <a:lnTo>
                    <a:pt x="1006" y="742"/>
                  </a:lnTo>
                  <a:lnTo>
                    <a:pt x="1008" y="742"/>
                  </a:lnTo>
                  <a:lnTo>
                    <a:pt x="1010" y="742"/>
                  </a:lnTo>
                  <a:lnTo>
                    <a:pt x="1010" y="742"/>
                  </a:lnTo>
                  <a:lnTo>
                    <a:pt x="1010" y="742"/>
                  </a:lnTo>
                  <a:lnTo>
                    <a:pt x="1010" y="744"/>
                  </a:lnTo>
                  <a:lnTo>
                    <a:pt x="1014" y="744"/>
                  </a:lnTo>
                  <a:lnTo>
                    <a:pt x="1010" y="746"/>
                  </a:lnTo>
                  <a:lnTo>
                    <a:pt x="1010" y="748"/>
                  </a:lnTo>
                  <a:lnTo>
                    <a:pt x="1010" y="748"/>
                  </a:lnTo>
                  <a:lnTo>
                    <a:pt x="1010" y="748"/>
                  </a:lnTo>
                  <a:lnTo>
                    <a:pt x="1008" y="750"/>
                  </a:lnTo>
                  <a:lnTo>
                    <a:pt x="1008" y="750"/>
                  </a:lnTo>
                  <a:lnTo>
                    <a:pt x="1008" y="750"/>
                  </a:lnTo>
                  <a:lnTo>
                    <a:pt x="1010" y="750"/>
                  </a:lnTo>
                  <a:lnTo>
                    <a:pt x="1010" y="752"/>
                  </a:lnTo>
                  <a:lnTo>
                    <a:pt x="1010" y="750"/>
                  </a:lnTo>
                  <a:lnTo>
                    <a:pt x="1012" y="750"/>
                  </a:lnTo>
                  <a:lnTo>
                    <a:pt x="1012" y="748"/>
                  </a:lnTo>
                  <a:lnTo>
                    <a:pt x="1014" y="746"/>
                  </a:lnTo>
                  <a:lnTo>
                    <a:pt x="1016" y="744"/>
                  </a:lnTo>
                  <a:lnTo>
                    <a:pt x="1018" y="744"/>
                  </a:lnTo>
                  <a:lnTo>
                    <a:pt x="1018" y="742"/>
                  </a:lnTo>
                  <a:lnTo>
                    <a:pt x="1018" y="742"/>
                  </a:lnTo>
                  <a:lnTo>
                    <a:pt x="1018" y="742"/>
                  </a:lnTo>
                  <a:lnTo>
                    <a:pt x="1018" y="742"/>
                  </a:lnTo>
                  <a:lnTo>
                    <a:pt x="1020" y="742"/>
                  </a:lnTo>
                  <a:lnTo>
                    <a:pt x="1020" y="744"/>
                  </a:lnTo>
                  <a:lnTo>
                    <a:pt x="1020" y="744"/>
                  </a:lnTo>
                  <a:lnTo>
                    <a:pt x="1018" y="744"/>
                  </a:lnTo>
                  <a:lnTo>
                    <a:pt x="1018" y="744"/>
                  </a:lnTo>
                  <a:lnTo>
                    <a:pt x="1018" y="744"/>
                  </a:lnTo>
                  <a:lnTo>
                    <a:pt x="1018" y="744"/>
                  </a:lnTo>
                  <a:lnTo>
                    <a:pt x="1018" y="744"/>
                  </a:lnTo>
                  <a:lnTo>
                    <a:pt x="1018" y="744"/>
                  </a:lnTo>
                  <a:lnTo>
                    <a:pt x="1016" y="746"/>
                  </a:lnTo>
                  <a:lnTo>
                    <a:pt x="1016" y="746"/>
                  </a:lnTo>
                  <a:lnTo>
                    <a:pt x="1016" y="746"/>
                  </a:lnTo>
                  <a:lnTo>
                    <a:pt x="1014" y="748"/>
                  </a:lnTo>
                  <a:lnTo>
                    <a:pt x="1014" y="750"/>
                  </a:lnTo>
                  <a:lnTo>
                    <a:pt x="1014" y="750"/>
                  </a:lnTo>
                  <a:lnTo>
                    <a:pt x="1014" y="750"/>
                  </a:lnTo>
                  <a:lnTo>
                    <a:pt x="1014" y="752"/>
                  </a:lnTo>
                  <a:lnTo>
                    <a:pt x="1014" y="752"/>
                  </a:lnTo>
                  <a:lnTo>
                    <a:pt x="1016" y="752"/>
                  </a:lnTo>
                  <a:lnTo>
                    <a:pt x="1016" y="750"/>
                  </a:lnTo>
                  <a:lnTo>
                    <a:pt x="1016" y="750"/>
                  </a:lnTo>
                  <a:lnTo>
                    <a:pt x="1016" y="748"/>
                  </a:lnTo>
                  <a:lnTo>
                    <a:pt x="1016" y="748"/>
                  </a:lnTo>
                  <a:lnTo>
                    <a:pt x="1018" y="748"/>
                  </a:lnTo>
                  <a:lnTo>
                    <a:pt x="1018" y="750"/>
                  </a:lnTo>
                  <a:lnTo>
                    <a:pt x="1016" y="750"/>
                  </a:lnTo>
                  <a:lnTo>
                    <a:pt x="1016" y="752"/>
                  </a:lnTo>
                  <a:lnTo>
                    <a:pt x="1018" y="750"/>
                  </a:lnTo>
                  <a:lnTo>
                    <a:pt x="1018" y="750"/>
                  </a:lnTo>
                  <a:lnTo>
                    <a:pt x="1018" y="750"/>
                  </a:lnTo>
                  <a:lnTo>
                    <a:pt x="1018" y="752"/>
                  </a:lnTo>
                  <a:lnTo>
                    <a:pt x="1016" y="754"/>
                  </a:lnTo>
                  <a:lnTo>
                    <a:pt x="1014" y="754"/>
                  </a:lnTo>
                  <a:lnTo>
                    <a:pt x="1014" y="754"/>
                  </a:lnTo>
                  <a:lnTo>
                    <a:pt x="1014" y="754"/>
                  </a:lnTo>
                  <a:lnTo>
                    <a:pt x="1014" y="756"/>
                  </a:lnTo>
                  <a:lnTo>
                    <a:pt x="1012" y="756"/>
                  </a:lnTo>
                  <a:lnTo>
                    <a:pt x="1010" y="758"/>
                  </a:lnTo>
                  <a:lnTo>
                    <a:pt x="1008" y="760"/>
                  </a:lnTo>
                  <a:lnTo>
                    <a:pt x="1008" y="762"/>
                  </a:lnTo>
                  <a:lnTo>
                    <a:pt x="1008" y="762"/>
                  </a:lnTo>
                  <a:lnTo>
                    <a:pt x="1008" y="762"/>
                  </a:lnTo>
                  <a:lnTo>
                    <a:pt x="1008" y="762"/>
                  </a:lnTo>
                  <a:lnTo>
                    <a:pt x="1008" y="762"/>
                  </a:lnTo>
                  <a:lnTo>
                    <a:pt x="1010" y="762"/>
                  </a:lnTo>
                  <a:lnTo>
                    <a:pt x="1010" y="762"/>
                  </a:lnTo>
                  <a:lnTo>
                    <a:pt x="1010" y="762"/>
                  </a:lnTo>
                  <a:lnTo>
                    <a:pt x="1012" y="762"/>
                  </a:lnTo>
                  <a:lnTo>
                    <a:pt x="1012" y="762"/>
                  </a:lnTo>
                  <a:lnTo>
                    <a:pt x="1012" y="762"/>
                  </a:lnTo>
                  <a:lnTo>
                    <a:pt x="1012" y="762"/>
                  </a:lnTo>
                  <a:lnTo>
                    <a:pt x="1014" y="762"/>
                  </a:lnTo>
                  <a:lnTo>
                    <a:pt x="1014" y="762"/>
                  </a:lnTo>
                  <a:lnTo>
                    <a:pt x="1016" y="760"/>
                  </a:lnTo>
                  <a:lnTo>
                    <a:pt x="1016" y="760"/>
                  </a:lnTo>
                  <a:lnTo>
                    <a:pt x="1016" y="758"/>
                  </a:lnTo>
                  <a:lnTo>
                    <a:pt x="1016" y="758"/>
                  </a:lnTo>
                  <a:lnTo>
                    <a:pt x="1018" y="758"/>
                  </a:lnTo>
                  <a:lnTo>
                    <a:pt x="1018" y="758"/>
                  </a:lnTo>
                  <a:lnTo>
                    <a:pt x="1018" y="758"/>
                  </a:lnTo>
                  <a:lnTo>
                    <a:pt x="1018" y="758"/>
                  </a:lnTo>
                  <a:lnTo>
                    <a:pt x="1018" y="758"/>
                  </a:lnTo>
                  <a:lnTo>
                    <a:pt x="1018" y="758"/>
                  </a:lnTo>
                  <a:lnTo>
                    <a:pt x="1018" y="758"/>
                  </a:lnTo>
                  <a:lnTo>
                    <a:pt x="1020" y="758"/>
                  </a:lnTo>
                  <a:lnTo>
                    <a:pt x="1020" y="756"/>
                  </a:lnTo>
                  <a:lnTo>
                    <a:pt x="1020" y="756"/>
                  </a:lnTo>
                  <a:lnTo>
                    <a:pt x="1022" y="756"/>
                  </a:lnTo>
                  <a:lnTo>
                    <a:pt x="1022" y="756"/>
                  </a:lnTo>
                  <a:lnTo>
                    <a:pt x="1020" y="756"/>
                  </a:lnTo>
                  <a:lnTo>
                    <a:pt x="1020" y="756"/>
                  </a:lnTo>
                  <a:lnTo>
                    <a:pt x="1018" y="756"/>
                  </a:lnTo>
                  <a:lnTo>
                    <a:pt x="1020" y="754"/>
                  </a:lnTo>
                  <a:lnTo>
                    <a:pt x="1020" y="756"/>
                  </a:lnTo>
                  <a:lnTo>
                    <a:pt x="1020" y="754"/>
                  </a:lnTo>
                  <a:lnTo>
                    <a:pt x="1022" y="750"/>
                  </a:lnTo>
                  <a:lnTo>
                    <a:pt x="1022" y="752"/>
                  </a:lnTo>
                  <a:lnTo>
                    <a:pt x="1022" y="752"/>
                  </a:lnTo>
                  <a:lnTo>
                    <a:pt x="1022" y="752"/>
                  </a:lnTo>
                  <a:lnTo>
                    <a:pt x="1022" y="752"/>
                  </a:lnTo>
                  <a:lnTo>
                    <a:pt x="1022" y="752"/>
                  </a:lnTo>
                  <a:lnTo>
                    <a:pt x="1024" y="752"/>
                  </a:lnTo>
                  <a:lnTo>
                    <a:pt x="1024" y="752"/>
                  </a:lnTo>
                  <a:lnTo>
                    <a:pt x="1024" y="752"/>
                  </a:lnTo>
                  <a:lnTo>
                    <a:pt x="1024" y="752"/>
                  </a:lnTo>
                  <a:lnTo>
                    <a:pt x="1024" y="752"/>
                  </a:lnTo>
                  <a:lnTo>
                    <a:pt x="1024" y="752"/>
                  </a:lnTo>
                  <a:lnTo>
                    <a:pt x="1024" y="752"/>
                  </a:lnTo>
                  <a:lnTo>
                    <a:pt x="1024" y="752"/>
                  </a:lnTo>
                  <a:lnTo>
                    <a:pt x="1024" y="750"/>
                  </a:lnTo>
                  <a:lnTo>
                    <a:pt x="1024" y="750"/>
                  </a:lnTo>
                  <a:lnTo>
                    <a:pt x="1024" y="750"/>
                  </a:lnTo>
                  <a:lnTo>
                    <a:pt x="1022" y="750"/>
                  </a:lnTo>
                  <a:lnTo>
                    <a:pt x="1022" y="748"/>
                  </a:lnTo>
                  <a:lnTo>
                    <a:pt x="1022" y="748"/>
                  </a:lnTo>
                  <a:lnTo>
                    <a:pt x="1022" y="748"/>
                  </a:lnTo>
                  <a:lnTo>
                    <a:pt x="1024" y="748"/>
                  </a:lnTo>
                  <a:lnTo>
                    <a:pt x="1024" y="748"/>
                  </a:lnTo>
                  <a:lnTo>
                    <a:pt x="1024" y="748"/>
                  </a:lnTo>
                  <a:lnTo>
                    <a:pt x="1024" y="748"/>
                  </a:lnTo>
                  <a:lnTo>
                    <a:pt x="1024" y="746"/>
                  </a:lnTo>
                  <a:lnTo>
                    <a:pt x="1020" y="748"/>
                  </a:lnTo>
                  <a:lnTo>
                    <a:pt x="1020" y="746"/>
                  </a:lnTo>
                  <a:lnTo>
                    <a:pt x="1020" y="746"/>
                  </a:lnTo>
                  <a:lnTo>
                    <a:pt x="1024" y="746"/>
                  </a:lnTo>
                  <a:lnTo>
                    <a:pt x="1026" y="746"/>
                  </a:lnTo>
                  <a:lnTo>
                    <a:pt x="1026" y="746"/>
                  </a:lnTo>
                  <a:lnTo>
                    <a:pt x="1026" y="744"/>
                  </a:lnTo>
                  <a:lnTo>
                    <a:pt x="1026" y="744"/>
                  </a:lnTo>
                  <a:lnTo>
                    <a:pt x="1026" y="744"/>
                  </a:lnTo>
                  <a:lnTo>
                    <a:pt x="1026" y="744"/>
                  </a:lnTo>
                  <a:lnTo>
                    <a:pt x="1026" y="742"/>
                  </a:lnTo>
                  <a:lnTo>
                    <a:pt x="1026" y="740"/>
                  </a:lnTo>
                  <a:lnTo>
                    <a:pt x="1026" y="740"/>
                  </a:lnTo>
                  <a:lnTo>
                    <a:pt x="1026" y="742"/>
                  </a:lnTo>
                  <a:lnTo>
                    <a:pt x="1026" y="740"/>
                  </a:lnTo>
                  <a:lnTo>
                    <a:pt x="1026" y="740"/>
                  </a:lnTo>
                  <a:lnTo>
                    <a:pt x="1026" y="740"/>
                  </a:lnTo>
                  <a:lnTo>
                    <a:pt x="1026" y="740"/>
                  </a:lnTo>
                  <a:lnTo>
                    <a:pt x="1026" y="740"/>
                  </a:lnTo>
                  <a:lnTo>
                    <a:pt x="1026" y="742"/>
                  </a:lnTo>
                  <a:lnTo>
                    <a:pt x="1026" y="742"/>
                  </a:lnTo>
                  <a:lnTo>
                    <a:pt x="1028" y="744"/>
                  </a:lnTo>
                  <a:lnTo>
                    <a:pt x="1028" y="744"/>
                  </a:lnTo>
                  <a:lnTo>
                    <a:pt x="1028" y="744"/>
                  </a:lnTo>
                  <a:lnTo>
                    <a:pt x="1028" y="742"/>
                  </a:lnTo>
                  <a:lnTo>
                    <a:pt x="1028" y="742"/>
                  </a:lnTo>
                  <a:lnTo>
                    <a:pt x="1030" y="740"/>
                  </a:lnTo>
                  <a:lnTo>
                    <a:pt x="1030" y="740"/>
                  </a:lnTo>
                  <a:lnTo>
                    <a:pt x="1030" y="740"/>
                  </a:lnTo>
                  <a:lnTo>
                    <a:pt x="1030" y="738"/>
                  </a:lnTo>
                  <a:lnTo>
                    <a:pt x="1030" y="740"/>
                  </a:lnTo>
                  <a:lnTo>
                    <a:pt x="1030" y="740"/>
                  </a:lnTo>
                  <a:lnTo>
                    <a:pt x="1030" y="740"/>
                  </a:lnTo>
                  <a:lnTo>
                    <a:pt x="1032" y="740"/>
                  </a:lnTo>
                  <a:lnTo>
                    <a:pt x="1032" y="738"/>
                  </a:lnTo>
                  <a:lnTo>
                    <a:pt x="1032" y="738"/>
                  </a:lnTo>
                  <a:lnTo>
                    <a:pt x="1032" y="738"/>
                  </a:lnTo>
                  <a:lnTo>
                    <a:pt x="1032" y="738"/>
                  </a:lnTo>
                  <a:lnTo>
                    <a:pt x="1034" y="738"/>
                  </a:lnTo>
                  <a:lnTo>
                    <a:pt x="1034" y="738"/>
                  </a:lnTo>
                  <a:lnTo>
                    <a:pt x="1034" y="738"/>
                  </a:lnTo>
                  <a:lnTo>
                    <a:pt x="1034" y="738"/>
                  </a:lnTo>
                  <a:lnTo>
                    <a:pt x="1034" y="738"/>
                  </a:lnTo>
                  <a:lnTo>
                    <a:pt x="1034" y="738"/>
                  </a:lnTo>
                  <a:lnTo>
                    <a:pt x="1038" y="738"/>
                  </a:lnTo>
                  <a:lnTo>
                    <a:pt x="1038" y="738"/>
                  </a:lnTo>
                  <a:lnTo>
                    <a:pt x="1043" y="736"/>
                  </a:lnTo>
                  <a:lnTo>
                    <a:pt x="1040" y="736"/>
                  </a:lnTo>
                  <a:lnTo>
                    <a:pt x="1040" y="734"/>
                  </a:lnTo>
                  <a:lnTo>
                    <a:pt x="1040" y="734"/>
                  </a:lnTo>
                  <a:lnTo>
                    <a:pt x="1038" y="734"/>
                  </a:lnTo>
                  <a:lnTo>
                    <a:pt x="1038" y="734"/>
                  </a:lnTo>
                  <a:lnTo>
                    <a:pt x="1036" y="734"/>
                  </a:lnTo>
                  <a:lnTo>
                    <a:pt x="1034" y="734"/>
                  </a:lnTo>
                  <a:lnTo>
                    <a:pt x="1036" y="734"/>
                  </a:lnTo>
                  <a:lnTo>
                    <a:pt x="1036" y="732"/>
                  </a:lnTo>
                  <a:lnTo>
                    <a:pt x="1036" y="732"/>
                  </a:lnTo>
                  <a:lnTo>
                    <a:pt x="1036" y="732"/>
                  </a:lnTo>
                  <a:lnTo>
                    <a:pt x="1036" y="732"/>
                  </a:lnTo>
                  <a:lnTo>
                    <a:pt x="1036" y="732"/>
                  </a:lnTo>
                  <a:lnTo>
                    <a:pt x="1036" y="732"/>
                  </a:lnTo>
                  <a:lnTo>
                    <a:pt x="1036" y="734"/>
                  </a:lnTo>
                  <a:lnTo>
                    <a:pt x="1036" y="734"/>
                  </a:lnTo>
                  <a:lnTo>
                    <a:pt x="1038" y="734"/>
                  </a:lnTo>
                  <a:lnTo>
                    <a:pt x="1038" y="732"/>
                  </a:lnTo>
                  <a:lnTo>
                    <a:pt x="1040" y="732"/>
                  </a:lnTo>
                  <a:lnTo>
                    <a:pt x="1040" y="732"/>
                  </a:lnTo>
                  <a:lnTo>
                    <a:pt x="1040" y="732"/>
                  </a:lnTo>
                  <a:lnTo>
                    <a:pt x="1043" y="732"/>
                  </a:lnTo>
                  <a:lnTo>
                    <a:pt x="1043" y="732"/>
                  </a:lnTo>
                  <a:lnTo>
                    <a:pt x="1045" y="732"/>
                  </a:lnTo>
                  <a:lnTo>
                    <a:pt x="1045" y="732"/>
                  </a:lnTo>
                  <a:lnTo>
                    <a:pt x="1045" y="732"/>
                  </a:lnTo>
                  <a:lnTo>
                    <a:pt x="1043" y="734"/>
                  </a:lnTo>
                  <a:lnTo>
                    <a:pt x="1043" y="734"/>
                  </a:lnTo>
                  <a:lnTo>
                    <a:pt x="1045" y="734"/>
                  </a:lnTo>
                  <a:lnTo>
                    <a:pt x="1045" y="734"/>
                  </a:lnTo>
                  <a:lnTo>
                    <a:pt x="1045" y="736"/>
                  </a:lnTo>
                  <a:lnTo>
                    <a:pt x="1045" y="736"/>
                  </a:lnTo>
                  <a:lnTo>
                    <a:pt x="1047" y="736"/>
                  </a:lnTo>
                  <a:lnTo>
                    <a:pt x="1047" y="734"/>
                  </a:lnTo>
                  <a:lnTo>
                    <a:pt x="1049" y="734"/>
                  </a:lnTo>
                  <a:lnTo>
                    <a:pt x="1049" y="734"/>
                  </a:lnTo>
                  <a:lnTo>
                    <a:pt x="1049" y="736"/>
                  </a:lnTo>
                  <a:lnTo>
                    <a:pt x="1049" y="734"/>
                  </a:lnTo>
                  <a:lnTo>
                    <a:pt x="1051" y="734"/>
                  </a:lnTo>
                  <a:lnTo>
                    <a:pt x="1051" y="732"/>
                  </a:lnTo>
                  <a:lnTo>
                    <a:pt x="1051" y="732"/>
                  </a:lnTo>
                  <a:lnTo>
                    <a:pt x="1051" y="732"/>
                  </a:lnTo>
                  <a:lnTo>
                    <a:pt x="1051" y="730"/>
                  </a:lnTo>
                  <a:lnTo>
                    <a:pt x="1053" y="730"/>
                  </a:lnTo>
                  <a:lnTo>
                    <a:pt x="1051" y="730"/>
                  </a:lnTo>
                  <a:lnTo>
                    <a:pt x="1051" y="730"/>
                  </a:lnTo>
                  <a:lnTo>
                    <a:pt x="1051" y="730"/>
                  </a:lnTo>
                  <a:lnTo>
                    <a:pt x="1051" y="730"/>
                  </a:lnTo>
                  <a:lnTo>
                    <a:pt x="1051" y="728"/>
                  </a:lnTo>
                  <a:lnTo>
                    <a:pt x="1049" y="728"/>
                  </a:lnTo>
                  <a:lnTo>
                    <a:pt x="1047" y="725"/>
                  </a:lnTo>
                  <a:lnTo>
                    <a:pt x="1045" y="725"/>
                  </a:lnTo>
                  <a:lnTo>
                    <a:pt x="1040" y="725"/>
                  </a:lnTo>
                  <a:lnTo>
                    <a:pt x="1040" y="725"/>
                  </a:lnTo>
                  <a:lnTo>
                    <a:pt x="1040" y="728"/>
                  </a:lnTo>
                  <a:lnTo>
                    <a:pt x="1038" y="728"/>
                  </a:lnTo>
                  <a:lnTo>
                    <a:pt x="1038" y="728"/>
                  </a:lnTo>
                  <a:lnTo>
                    <a:pt x="1038" y="725"/>
                  </a:lnTo>
                  <a:lnTo>
                    <a:pt x="1040" y="725"/>
                  </a:lnTo>
                  <a:lnTo>
                    <a:pt x="1040" y="725"/>
                  </a:lnTo>
                  <a:lnTo>
                    <a:pt x="1040" y="725"/>
                  </a:lnTo>
                  <a:lnTo>
                    <a:pt x="1040" y="725"/>
                  </a:lnTo>
                  <a:lnTo>
                    <a:pt x="1040" y="725"/>
                  </a:lnTo>
                  <a:lnTo>
                    <a:pt x="1043" y="723"/>
                  </a:lnTo>
                  <a:lnTo>
                    <a:pt x="1043" y="723"/>
                  </a:lnTo>
                  <a:lnTo>
                    <a:pt x="1043" y="723"/>
                  </a:lnTo>
                  <a:lnTo>
                    <a:pt x="1040" y="723"/>
                  </a:lnTo>
                  <a:lnTo>
                    <a:pt x="1040" y="721"/>
                  </a:lnTo>
                  <a:lnTo>
                    <a:pt x="1043" y="721"/>
                  </a:lnTo>
                  <a:lnTo>
                    <a:pt x="1043" y="721"/>
                  </a:lnTo>
                  <a:lnTo>
                    <a:pt x="1043" y="723"/>
                  </a:lnTo>
                  <a:lnTo>
                    <a:pt x="1043" y="723"/>
                  </a:lnTo>
                  <a:lnTo>
                    <a:pt x="1045" y="721"/>
                  </a:lnTo>
                  <a:lnTo>
                    <a:pt x="1045" y="721"/>
                  </a:lnTo>
                  <a:lnTo>
                    <a:pt x="1045" y="723"/>
                  </a:lnTo>
                  <a:lnTo>
                    <a:pt x="1045" y="723"/>
                  </a:lnTo>
                  <a:lnTo>
                    <a:pt x="1047" y="723"/>
                  </a:lnTo>
                  <a:lnTo>
                    <a:pt x="1047" y="723"/>
                  </a:lnTo>
                  <a:lnTo>
                    <a:pt x="1047" y="723"/>
                  </a:lnTo>
                  <a:lnTo>
                    <a:pt x="1049" y="723"/>
                  </a:lnTo>
                  <a:lnTo>
                    <a:pt x="1049" y="723"/>
                  </a:lnTo>
                  <a:lnTo>
                    <a:pt x="1049" y="723"/>
                  </a:lnTo>
                  <a:lnTo>
                    <a:pt x="1049" y="723"/>
                  </a:lnTo>
                  <a:lnTo>
                    <a:pt x="1049" y="725"/>
                  </a:lnTo>
                  <a:lnTo>
                    <a:pt x="1049" y="725"/>
                  </a:lnTo>
                  <a:lnTo>
                    <a:pt x="1049" y="725"/>
                  </a:lnTo>
                  <a:lnTo>
                    <a:pt x="1051" y="725"/>
                  </a:lnTo>
                  <a:lnTo>
                    <a:pt x="1051" y="725"/>
                  </a:lnTo>
                  <a:lnTo>
                    <a:pt x="1051" y="723"/>
                  </a:lnTo>
                  <a:lnTo>
                    <a:pt x="1051" y="723"/>
                  </a:lnTo>
                  <a:lnTo>
                    <a:pt x="1051" y="723"/>
                  </a:lnTo>
                  <a:lnTo>
                    <a:pt x="1051" y="725"/>
                  </a:lnTo>
                  <a:lnTo>
                    <a:pt x="1051" y="725"/>
                  </a:lnTo>
                  <a:lnTo>
                    <a:pt x="1051" y="725"/>
                  </a:lnTo>
                  <a:lnTo>
                    <a:pt x="1051" y="725"/>
                  </a:lnTo>
                  <a:lnTo>
                    <a:pt x="1051" y="725"/>
                  </a:lnTo>
                  <a:lnTo>
                    <a:pt x="1053" y="725"/>
                  </a:lnTo>
                  <a:lnTo>
                    <a:pt x="1053" y="725"/>
                  </a:lnTo>
                  <a:lnTo>
                    <a:pt x="1053" y="725"/>
                  </a:lnTo>
                  <a:lnTo>
                    <a:pt x="1053" y="725"/>
                  </a:lnTo>
                  <a:lnTo>
                    <a:pt x="1053" y="725"/>
                  </a:lnTo>
                  <a:lnTo>
                    <a:pt x="1053" y="725"/>
                  </a:lnTo>
                  <a:lnTo>
                    <a:pt x="1053" y="725"/>
                  </a:lnTo>
                  <a:lnTo>
                    <a:pt x="1053" y="725"/>
                  </a:lnTo>
                  <a:lnTo>
                    <a:pt x="1053" y="725"/>
                  </a:lnTo>
                  <a:lnTo>
                    <a:pt x="1053" y="725"/>
                  </a:lnTo>
                  <a:lnTo>
                    <a:pt x="1055" y="725"/>
                  </a:lnTo>
                  <a:lnTo>
                    <a:pt x="1055" y="725"/>
                  </a:lnTo>
                  <a:lnTo>
                    <a:pt x="1055" y="725"/>
                  </a:lnTo>
                  <a:lnTo>
                    <a:pt x="1055" y="725"/>
                  </a:lnTo>
                  <a:lnTo>
                    <a:pt x="1055" y="725"/>
                  </a:lnTo>
                  <a:lnTo>
                    <a:pt x="1055" y="725"/>
                  </a:lnTo>
                  <a:lnTo>
                    <a:pt x="1055" y="725"/>
                  </a:lnTo>
                  <a:lnTo>
                    <a:pt x="1055" y="725"/>
                  </a:lnTo>
                  <a:lnTo>
                    <a:pt x="1055" y="725"/>
                  </a:lnTo>
                  <a:lnTo>
                    <a:pt x="1055" y="728"/>
                  </a:lnTo>
                  <a:lnTo>
                    <a:pt x="1055" y="728"/>
                  </a:lnTo>
                  <a:lnTo>
                    <a:pt x="1055" y="728"/>
                  </a:lnTo>
                  <a:lnTo>
                    <a:pt x="1055" y="728"/>
                  </a:lnTo>
                  <a:lnTo>
                    <a:pt x="1055" y="725"/>
                  </a:lnTo>
                  <a:lnTo>
                    <a:pt x="1055" y="725"/>
                  </a:lnTo>
                  <a:lnTo>
                    <a:pt x="1057" y="725"/>
                  </a:lnTo>
                  <a:lnTo>
                    <a:pt x="1057" y="725"/>
                  </a:lnTo>
                  <a:lnTo>
                    <a:pt x="1057" y="725"/>
                  </a:lnTo>
                  <a:lnTo>
                    <a:pt x="1057" y="725"/>
                  </a:lnTo>
                  <a:lnTo>
                    <a:pt x="1059" y="728"/>
                  </a:lnTo>
                  <a:lnTo>
                    <a:pt x="1059" y="725"/>
                  </a:lnTo>
                  <a:lnTo>
                    <a:pt x="1059" y="725"/>
                  </a:lnTo>
                  <a:lnTo>
                    <a:pt x="1059" y="725"/>
                  </a:lnTo>
                  <a:lnTo>
                    <a:pt x="1059" y="723"/>
                  </a:lnTo>
                  <a:lnTo>
                    <a:pt x="1059" y="723"/>
                  </a:lnTo>
                  <a:lnTo>
                    <a:pt x="1061" y="721"/>
                  </a:lnTo>
                  <a:lnTo>
                    <a:pt x="1061" y="721"/>
                  </a:lnTo>
                  <a:lnTo>
                    <a:pt x="1061" y="721"/>
                  </a:lnTo>
                  <a:lnTo>
                    <a:pt x="1063" y="717"/>
                  </a:lnTo>
                  <a:lnTo>
                    <a:pt x="1063" y="717"/>
                  </a:lnTo>
                  <a:lnTo>
                    <a:pt x="1063" y="717"/>
                  </a:lnTo>
                  <a:lnTo>
                    <a:pt x="1063" y="715"/>
                  </a:lnTo>
                  <a:lnTo>
                    <a:pt x="1059" y="715"/>
                  </a:lnTo>
                  <a:close/>
                  <a:moveTo>
                    <a:pt x="1100" y="621"/>
                  </a:moveTo>
                  <a:lnTo>
                    <a:pt x="1100" y="621"/>
                  </a:lnTo>
                  <a:lnTo>
                    <a:pt x="1100" y="623"/>
                  </a:lnTo>
                  <a:lnTo>
                    <a:pt x="1100" y="623"/>
                  </a:lnTo>
                  <a:lnTo>
                    <a:pt x="1100" y="623"/>
                  </a:lnTo>
                  <a:lnTo>
                    <a:pt x="1098" y="625"/>
                  </a:lnTo>
                  <a:lnTo>
                    <a:pt x="1098" y="625"/>
                  </a:lnTo>
                  <a:lnTo>
                    <a:pt x="1098" y="627"/>
                  </a:lnTo>
                  <a:lnTo>
                    <a:pt x="1100" y="627"/>
                  </a:lnTo>
                  <a:lnTo>
                    <a:pt x="1100" y="627"/>
                  </a:lnTo>
                  <a:lnTo>
                    <a:pt x="1100" y="627"/>
                  </a:lnTo>
                  <a:lnTo>
                    <a:pt x="1102" y="625"/>
                  </a:lnTo>
                  <a:lnTo>
                    <a:pt x="1102" y="623"/>
                  </a:lnTo>
                  <a:lnTo>
                    <a:pt x="1102" y="623"/>
                  </a:lnTo>
                  <a:lnTo>
                    <a:pt x="1100" y="621"/>
                  </a:lnTo>
                  <a:close/>
                  <a:moveTo>
                    <a:pt x="1491" y="635"/>
                  </a:moveTo>
                  <a:lnTo>
                    <a:pt x="1491" y="633"/>
                  </a:lnTo>
                  <a:lnTo>
                    <a:pt x="1491" y="633"/>
                  </a:lnTo>
                  <a:lnTo>
                    <a:pt x="1493" y="633"/>
                  </a:lnTo>
                  <a:lnTo>
                    <a:pt x="1493" y="633"/>
                  </a:lnTo>
                  <a:lnTo>
                    <a:pt x="1491" y="631"/>
                  </a:lnTo>
                  <a:lnTo>
                    <a:pt x="1489" y="631"/>
                  </a:lnTo>
                  <a:lnTo>
                    <a:pt x="1489" y="629"/>
                  </a:lnTo>
                  <a:lnTo>
                    <a:pt x="1487" y="629"/>
                  </a:lnTo>
                  <a:lnTo>
                    <a:pt x="1487" y="629"/>
                  </a:lnTo>
                  <a:lnTo>
                    <a:pt x="1487" y="629"/>
                  </a:lnTo>
                  <a:lnTo>
                    <a:pt x="1487" y="631"/>
                  </a:lnTo>
                  <a:lnTo>
                    <a:pt x="1487" y="631"/>
                  </a:lnTo>
                  <a:lnTo>
                    <a:pt x="1487" y="633"/>
                  </a:lnTo>
                  <a:lnTo>
                    <a:pt x="1487" y="633"/>
                  </a:lnTo>
                  <a:lnTo>
                    <a:pt x="1487" y="633"/>
                  </a:lnTo>
                  <a:lnTo>
                    <a:pt x="1487" y="633"/>
                  </a:lnTo>
                  <a:lnTo>
                    <a:pt x="1487" y="633"/>
                  </a:lnTo>
                  <a:lnTo>
                    <a:pt x="1487" y="633"/>
                  </a:lnTo>
                  <a:lnTo>
                    <a:pt x="1489" y="633"/>
                  </a:lnTo>
                  <a:lnTo>
                    <a:pt x="1487" y="635"/>
                  </a:lnTo>
                  <a:lnTo>
                    <a:pt x="1487" y="635"/>
                  </a:lnTo>
                  <a:lnTo>
                    <a:pt x="1487" y="637"/>
                  </a:lnTo>
                  <a:lnTo>
                    <a:pt x="1489" y="637"/>
                  </a:lnTo>
                  <a:lnTo>
                    <a:pt x="1489" y="637"/>
                  </a:lnTo>
                  <a:lnTo>
                    <a:pt x="1487" y="637"/>
                  </a:lnTo>
                  <a:lnTo>
                    <a:pt x="1489" y="639"/>
                  </a:lnTo>
                  <a:lnTo>
                    <a:pt x="1489" y="639"/>
                  </a:lnTo>
                  <a:lnTo>
                    <a:pt x="1489" y="637"/>
                  </a:lnTo>
                  <a:lnTo>
                    <a:pt x="1489" y="637"/>
                  </a:lnTo>
                  <a:lnTo>
                    <a:pt x="1489" y="637"/>
                  </a:lnTo>
                  <a:lnTo>
                    <a:pt x="1489" y="637"/>
                  </a:lnTo>
                  <a:lnTo>
                    <a:pt x="1489" y="637"/>
                  </a:lnTo>
                  <a:lnTo>
                    <a:pt x="1489" y="637"/>
                  </a:lnTo>
                  <a:lnTo>
                    <a:pt x="1489" y="639"/>
                  </a:lnTo>
                  <a:lnTo>
                    <a:pt x="1489" y="639"/>
                  </a:lnTo>
                  <a:lnTo>
                    <a:pt x="1489" y="639"/>
                  </a:lnTo>
                  <a:lnTo>
                    <a:pt x="1489" y="639"/>
                  </a:lnTo>
                  <a:lnTo>
                    <a:pt x="1491" y="639"/>
                  </a:lnTo>
                  <a:lnTo>
                    <a:pt x="1491" y="639"/>
                  </a:lnTo>
                  <a:lnTo>
                    <a:pt x="1491" y="639"/>
                  </a:lnTo>
                  <a:lnTo>
                    <a:pt x="1491" y="639"/>
                  </a:lnTo>
                  <a:lnTo>
                    <a:pt x="1491" y="641"/>
                  </a:lnTo>
                  <a:lnTo>
                    <a:pt x="1491" y="641"/>
                  </a:lnTo>
                  <a:lnTo>
                    <a:pt x="1491" y="641"/>
                  </a:lnTo>
                  <a:lnTo>
                    <a:pt x="1493" y="641"/>
                  </a:lnTo>
                  <a:lnTo>
                    <a:pt x="1493" y="639"/>
                  </a:lnTo>
                  <a:lnTo>
                    <a:pt x="1493" y="637"/>
                  </a:lnTo>
                  <a:lnTo>
                    <a:pt x="1491" y="635"/>
                  </a:lnTo>
                  <a:close/>
                  <a:moveTo>
                    <a:pt x="1262" y="576"/>
                  </a:moveTo>
                  <a:lnTo>
                    <a:pt x="1262" y="576"/>
                  </a:lnTo>
                  <a:lnTo>
                    <a:pt x="1262" y="576"/>
                  </a:lnTo>
                  <a:lnTo>
                    <a:pt x="1262" y="576"/>
                  </a:lnTo>
                  <a:lnTo>
                    <a:pt x="1262" y="576"/>
                  </a:lnTo>
                  <a:lnTo>
                    <a:pt x="1262" y="574"/>
                  </a:lnTo>
                  <a:lnTo>
                    <a:pt x="1262" y="574"/>
                  </a:lnTo>
                  <a:lnTo>
                    <a:pt x="1262" y="574"/>
                  </a:lnTo>
                  <a:lnTo>
                    <a:pt x="1262" y="572"/>
                  </a:lnTo>
                  <a:lnTo>
                    <a:pt x="1262" y="572"/>
                  </a:lnTo>
                  <a:lnTo>
                    <a:pt x="1260" y="572"/>
                  </a:lnTo>
                  <a:lnTo>
                    <a:pt x="1260" y="572"/>
                  </a:lnTo>
                  <a:lnTo>
                    <a:pt x="1260" y="572"/>
                  </a:lnTo>
                  <a:lnTo>
                    <a:pt x="1260" y="574"/>
                  </a:lnTo>
                  <a:lnTo>
                    <a:pt x="1262" y="574"/>
                  </a:lnTo>
                  <a:lnTo>
                    <a:pt x="1262" y="574"/>
                  </a:lnTo>
                  <a:lnTo>
                    <a:pt x="1262" y="574"/>
                  </a:lnTo>
                  <a:lnTo>
                    <a:pt x="1262" y="576"/>
                  </a:lnTo>
                  <a:lnTo>
                    <a:pt x="1262" y="576"/>
                  </a:lnTo>
                  <a:close/>
                  <a:moveTo>
                    <a:pt x="1520" y="660"/>
                  </a:moveTo>
                  <a:lnTo>
                    <a:pt x="1520" y="660"/>
                  </a:lnTo>
                  <a:lnTo>
                    <a:pt x="1520" y="660"/>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6"/>
                  </a:lnTo>
                  <a:lnTo>
                    <a:pt x="1520" y="656"/>
                  </a:lnTo>
                  <a:lnTo>
                    <a:pt x="1520" y="656"/>
                  </a:lnTo>
                  <a:lnTo>
                    <a:pt x="1522" y="656"/>
                  </a:lnTo>
                  <a:lnTo>
                    <a:pt x="1522" y="654"/>
                  </a:lnTo>
                  <a:lnTo>
                    <a:pt x="1522" y="654"/>
                  </a:lnTo>
                  <a:lnTo>
                    <a:pt x="1520" y="652"/>
                  </a:lnTo>
                  <a:lnTo>
                    <a:pt x="1520" y="652"/>
                  </a:lnTo>
                  <a:lnTo>
                    <a:pt x="1520" y="652"/>
                  </a:lnTo>
                  <a:lnTo>
                    <a:pt x="1520" y="652"/>
                  </a:lnTo>
                  <a:lnTo>
                    <a:pt x="1520" y="652"/>
                  </a:lnTo>
                  <a:lnTo>
                    <a:pt x="1520" y="652"/>
                  </a:lnTo>
                  <a:lnTo>
                    <a:pt x="1520" y="650"/>
                  </a:lnTo>
                  <a:lnTo>
                    <a:pt x="1520" y="650"/>
                  </a:lnTo>
                  <a:lnTo>
                    <a:pt x="1518" y="650"/>
                  </a:lnTo>
                  <a:lnTo>
                    <a:pt x="1518" y="650"/>
                  </a:lnTo>
                  <a:lnTo>
                    <a:pt x="1518" y="650"/>
                  </a:lnTo>
                  <a:lnTo>
                    <a:pt x="1518" y="650"/>
                  </a:lnTo>
                  <a:lnTo>
                    <a:pt x="1518" y="650"/>
                  </a:lnTo>
                  <a:lnTo>
                    <a:pt x="1520" y="650"/>
                  </a:lnTo>
                  <a:lnTo>
                    <a:pt x="1520" y="650"/>
                  </a:lnTo>
                  <a:lnTo>
                    <a:pt x="1518" y="648"/>
                  </a:lnTo>
                  <a:lnTo>
                    <a:pt x="1518" y="648"/>
                  </a:lnTo>
                  <a:lnTo>
                    <a:pt x="1518" y="648"/>
                  </a:lnTo>
                  <a:lnTo>
                    <a:pt x="1516" y="648"/>
                  </a:lnTo>
                  <a:lnTo>
                    <a:pt x="1514" y="646"/>
                  </a:lnTo>
                  <a:lnTo>
                    <a:pt x="1514" y="646"/>
                  </a:lnTo>
                  <a:lnTo>
                    <a:pt x="1512" y="648"/>
                  </a:lnTo>
                  <a:lnTo>
                    <a:pt x="1512" y="646"/>
                  </a:lnTo>
                  <a:lnTo>
                    <a:pt x="1514" y="646"/>
                  </a:lnTo>
                  <a:lnTo>
                    <a:pt x="1514" y="646"/>
                  </a:lnTo>
                  <a:lnTo>
                    <a:pt x="1514" y="643"/>
                  </a:lnTo>
                  <a:lnTo>
                    <a:pt x="1514" y="643"/>
                  </a:lnTo>
                  <a:lnTo>
                    <a:pt x="1514" y="643"/>
                  </a:lnTo>
                  <a:lnTo>
                    <a:pt x="1514" y="643"/>
                  </a:lnTo>
                  <a:lnTo>
                    <a:pt x="1514" y="641"/>
                  </a:lnTo>
                  <a:lnTo>
                    <a:pt x="1512" y="641"/>
                  </a:lnTo>
                  <a:lnTo>
                    <a:pt x="1512" y="643"/>
                  </a:lnTo>
                  <a:lnTo>
                    <a:pt x="1512" y="643"/>
                  </a:lnTo>
                  <a:lnTo>
                    <a:pt x="1512" y="641"/>
                  </a:lnTo>
                  <a:lnTo>
                    <a:pt x="1512" y="641"/>
                  </a:lnTo>
                  <a:lnTo>
                    <a:pt x="1509" y="641"/>
                  </a:lnTo>
                  <a:lnTo>
                    <a:pt x="1509" y="641"/>
                  </a:lnTo>
                  <a:lnTo>
                    <a:pt x="1512" y="641"/>
                  </a:lnTo>
                  <a:lnTo>
                    <a:pt x="1516" y="643"/>
                  </a:lnTo>
                  <a:lnTo>
                    <a:pt x="1518" y="643"/>
                  </a:lnTo>
                  <a:lnTo>
                    <a:pt x="1518" y="643"/>
                  </a:lnTo>
                  <a:lnTo>
                    <a:pt x="1518" y="643"/>
                  </a:lnTo>
                  <a:lnTo>
                    <a:pt x="1520" y="646"/>
                  </a:lnTo>
                  <a:lnTo>
                    <a:pt x="1522" y="646"/>
                  </a:lnTo>
                  <a:lnTo>
                    <a:pt x="1526" y="646"/>
                  </a:lnTo>
                  <a:lnTo>
                    <a:pt x="1530" y="650"/>
                  </a:lnTo>
                  <a:lnTo>
                    <a:pt x="1534" y="650"/>
                  </a:lnTo>
                  <a:lnTo>
                    <a:pt x="1536" y="650"/>
                  </a:lnTo>
                  <a:lnTo>
                    <a:pt x="1538" y="650"/>
                  </a:lnTo>
                  <a:lnTo>
                    <a:pt x="1540" y="650"/>
                  </a:lnTo>
                  <a:lnTo>
                    <a:pt x="1540" y="648"/>
                  </a:lnTo>
                  <a:lnTo>
                    <a:pt x="1538" y="648"/>
                  </a:lnTo>
                  <a:lnTo>
                    <a:pt x="1540" y="648"/>
                  </a:lnTo>
                  <a:lnTo>
                    <a:pt x="1540" y="648"/>
                  </a:lnTo>
                  <a:lnTo>
                    <a:pt x="1540" y="648"/>
                  </a:lnTo>
                  <a:lnTo>
                    <a:pt x="1540" y="646"/>
                  </a:lnTo>
                  <a:lnTo>
                    <a:pt x="1540" y="646"/>
                  </a:lnTo>
                  <a:lnTo>
                    <a:pt x="1540" y="646"/>
                  </a:lnTo>
                  <a:lnTo>
                    <a:pt x="1540" y="646"/>
                  </a:lnTo>
                  <a:lnTo>
                    <a:pt x="1538" y="643"/>
                  </a:lnTo>
                  <a:lnTo>
                    <a:pt x="1538" y="643"/>
                  </a:lnTo>
                  <a:lnTo>
                    <a:pt x="1538" y="643"/>
                  </a:lnTo>
                  <a:lnTo>
                    <a:pt x="1538" y="641"/>
                  </a:lnTo>
                  <a:lnTo>
                    <a:pt x="1536" y="639"/>
                  </a:lnTo>
                  <a:lnTo>
                    <a:pt x="1536" y="639"/>
                  </a:lnTo>
                  <a:lnTo>
                    <a:pt x="1536" y="637"/>
                  </a:lnTo>
                  <a:lnTo>
                    <a:pt x="1536" y="637"/>
                  </a:lnTo>
                  <a:lnTo>
                    <a:pt x="1534" y="635"/>
                  </a:lnTo>
                  <a:lnTo>
                    <a:pt x="1534" y="635"/>
                  </a:lnTo>
                  <a:lnTo>
                    <a:pt x="1534" y="635"/>
                  </a:lnTo>
                  <a:lnTo>
                    <a:pt x="1532" y="635"/>
                  </a:lnTo>
                  <a:lnTo>
                    <a:pt x="1532" y="635"/>
                  </a:lnTo>
                  <a:lnTo>
                    <a:pt x="1532" y="635"/>
                  </a:lnTo>
                  <a:lnTo>
                    <a:pt x="1532" y="635"/>
                  </a:lnTo>
                  <a:lnTo>
                    <a:pt x="1530" y="635"/>
                  </a:lnTo>
                  <a:lnTo>
                    <a:pt x="1530" y="635"/>
                  </a:lnTo>
                  <a:lnTo>
                    <a:pt x="1530" y="635"/>
                  </a:lnTo>
                  <a:lnTo>
                    <a:pt x="1530" y="635"/>
                  </a:lnTo>
                  <a:lnTo>
                    <a:pt x="1530" y="635"/>
                  </a:lnTo>
                  <a:lnTo>
                    <a:pt x="1530" y="637"/>
                  </a:lnTo>
                  <a:lnTo>
                    <a:pt x="1530" y="637"/>
                  </a:lnTo>
                  <a:lnTo>
                    <a:pt x="1528" y="637"/>
                  </a:lnTo>
                  <a:lnTo>
                    <a:pt x="1528" y="637"/>
                  </a:lnTo>
                  <a:lnTo>
                    <a:pt x="1528" y="639"/>
                  </a:lnTo>
                  <a:lnTo>
                    <a:pt x="1526" y="639"/>
                  </a:lnTo>
                  <a:lnTo>
                    <a:pt x="1526" y="639"/>
                  </a:lnTo>
                  <a:lnTo>
                    <a:pt x="1526" y="639"/>
                  </a:lnTo>
                  <a:lnTo>
                    <a:pt x="1526" y="639"/>
                  </a:lnTo>
                  <a:lnTo>
                    <a:pt x="1526" y="639"/>
                  </a:lnTo>
                  <a:lnTo>
                    <a:pt x="1524" y="639"/>
                  </a:lnTo>
                  <a:lnTo>
                    <a:pt x="1524" y="639"/>
                  </a:lnTo>
                  <a:lnTo>
                    <a:pt x="1522" y="639"/>
                  </a:lnTo>
                  <a:lnTo>
                    <a:pt x="1522" y="639"/>
                  </a:lnTo>
                  <a:lnTo>
                    <a:pt x="1522" y="639"/>
                  </a:lnTo>
                  <a:lnTo>
                    <a:pt x="1522" y="639"/>
                  </a:lnTo>
                  <a:lnTo>
                    <a:pt x="1524" y="637"/>
                  </a:lnTo>
                  <a:lnTo>
                    <a:pt x="1524" y="637"/>
                  </a:lnTo>
                  <a:lnTo>
                    <a:pt x="1522" y="637"/>
                  </a:lnTo>
                  <a:lnTo>
                    <a:pt x="1522" y="635"/>
                  </a:lnTo>
                  <a:lnTo>
                    <a:pt x="1520" y="635"/>
                  </a:lnTo>
                  <a:lnTo>
                    <a:pt x="1520" y="635"/>
                  </a:lnTo>
                  <a:lnTo>
                    <a:pt x="1518" y="635"/>
                  </a:lnTo>
                  <a:lnTo>
                    <a:pt x="1518" y="635"/>
                  </a:lnTo>
                  <a:lnTo>
                    <a:pt x="1518" y="635"/>
                  </a:lnTo>
                  <a:lnTo>
                    <a:pt x="1516" y="633"/>
                  </a:lnTo>
                  <a:lnTo>
                    <a:pt x="1516" y="633"/>
                  </a:lnTo>
                  <a:lnTo>
                    <a:pt x="1516" y="633"/>
                  </a:lnTo>
                  <a:lnTo>
                    <a:pt x="1516" y="633"/>
                  </a:lnTo>
                  <a:lnTo>
                    <a:pt x="1516" y="633"/>
                  </a:lnTo>
                  <a:lnTo>
                    <a:pt x="1514" y="633"/>
                  </a:lnTo>
                  <a:lnTo>
                    <a:pt x="1514" y="633"/>
                  </a:lnTo>
                  <a:lnTo>
                    <a:pt x="1507" y="633"/>
                  </a:lnTo>
                  <a:lnTo>
                    <a:pt x="1507" y="631"/>
                  </a:lnTo>
                  <a:lnTo>
                    <a:pt x="1507" y="631"/>
                  </a:lnTo>
                  <a:lnTo>
                    <a:pt x="1505" y="631"/>
                  </a:lnTo>
                  <a:lnTo>
                    <a:pt x="1505" y="631"/>
                  </a:lnTo>
                  <a:lnTo>
                    <a:pt x="1505" y="629"/>
                  </a:lnTo>
                  <a:lnTo>
                    <a:pt x="1505" y="629"/>
                  </a:lnTo>
                  <a:lnTo>
                    <a:pt x="1505" y="629"/>
                  </a:lnTo>
                  <a:lnTo>
                    <a:pt x="1512" y="631"/>
                  </a:lnTo>
                  <a:lnTo>
                    <a:pt x="1516" y="633"/>
                  </a:lnTo>
                  <a:lnTo>
                    <a:pt x="1518" y="633"/>
                  </a:lnTo>
                  <a:lnTo>
                    <a:pt x="1518" y="633"/>
                  </a:lnTo>
                  <a:lnTo>
                    <a:pt x="1518" y="633"/>
                  </a:lnTo>
                  <a:lnTo>
                    <a:pt x="1520" y="633"/>
                  </a:lnTo>
                  <a:lnTo>
                    <a:pt x="1524" y="635"/>
                  </a:lnTo>
                  <a:lnTo>
                    <a:pt x="1526" y="635"/>
                  </a:lnTo>
                  <a:lnTo>
                    <a:pt x="1530" y="633"/>
                  </a:lnTo>
                  <a:lnTo>
                    <a:pt x="1532" y="633"/>
                  </a:lnTo>
                  <a:lnTo>
                    <a:pt x="1532" y="633"/>
                  </a:lnTo>
                  <a:lnTo>
                    <a:pt x="1532" y="633"/>
                  </a:lnTo>
                  <a:lnTo>
                    <a:pt x="1532" y="633"/>
                  </a:lnTo>
                  <a:lnTo>
                    <a:pt x="1532" y="631"/>
                  </a:lnTo>
                  <a:lnTo>
                    <a:pt x="1532" y="631"/>
                  </a:lnTo>
                  <a:lnTo>
                    <a:pt x="1532" y="631"/>
                  </a:lnTo>
                  <a:lnTo>
                    <a:pt x="1530" y="631"/>
                  </a:lnTo>
                  <a:lnTo>
                    <a:pt x="1530" y="631"/>
                  </a:lnTo>
                  <a:lnTo>
                    <a:pt x="1530" y="631"/>
                  </a:lnTo>
                  <a:lnTo>
                    <a:pt x="1530" y="629"/>
                  </a:lnTo>
                  <a:lnTo>
                    <a:pt x="1528" y="629"/>
                  </a:lnTo>
                  <a:lnTo>
                    <a:pt x="1528" y="629"/>
                  </a:lnTo>
                  <a:lnTo>
                    <a:pt x="1526" y="629"/>
                  </a:lnTo>
                  <a:lnTo>
                    <a:pt x="1526" y="629"/>
                  </a:lnTo>
                  <a:lnTo>
                    <a:pt x="1524" y="629"/>
                  </a:lnTo>
                  <a:lnTo>
                    <a:pt x="1524" y="627"/>
                  </a:lnTo>
                  <a:lnTo>
                    <a:pt x="1524" y="627"/>
                  </a:lnTo>
                  <a:lnTo>
                    <a:pt x="1526" y="627"/>
                  </a:lnTo>
                  <a:lnTo>
                    <a:pt x="1526" y="627"/>
                  </a:lnTo>
                  <a:lnTo>
                    <a:pt x="1526" y="627"/>
                  </a:lnTo>
                  <a:lnTo>
                    <a:pt x="1528" y="629"/>
                  </a:lnTo>
                  <a:lnTo>
                    <a:pt x="1532" y="629"/>
                  </a:lnTo>
                  <a:lnTo>
                    <a:pt x="1532" y="629"/>
                  </a:lnTo>
                  <a:lnTo>
                    <a:pt x="1532" y="629"/>
                  </a:lnTo>
                  <a:lnTo>
                    <a:pt x="1532" y="629"/>
                  </a:lnTo>
                  <a:lnTo>
                    <a:pt x="1530" y="629"/>
                  </a:lnTo>
                  <a:lnTo>
                    <a:pt x="1530" y="627"/>
                  </a:lnTo>
                  <a:lnTo>
                    <a:pt x="1532" y="627"/>
                  </a:lnTo>
                  <a:lnTo>
                    <a:pt x="1532" y="627"/>
                  </a:lnTo>
                  <a:lnTo>
                    <a:pt x="1532" y="625"/>
                  </a:lnTo>
                  <a:lnTo>
                    <a:pt x="1532" y="625"/>
                  </a:lnTo>
                  <a:lnTo>
                    <a:pt x="1530" y="625"/>
                  </a:lnTo>
                  <a:lnTo>
                    <a:pt x="1530" y="625"/>
                  </a:lnTo>
                  <a:lnTo>
                    <a:pt x="1530" y="625"/>
                  </a:lnTo>
                  <a:lnTo>
                    <a:pt x="1530" y="623"/>
                  </a:lnTo>
                  <a:lnTo>
                    <a:pt x="1532" y="623"/>
                  </a:lnTo>
                  <a:lnTo>
                    <a:pt x="1532" y="623"/>
                  </a:lnTo>
                  <a:lnTo>
                    <a:pt x="1530" y="621"/>
                  </a:lnTo>
                  <a:lnTo>
                    <a:pt x="1528" y="621"/>
                  </a:lnTo>
                  <a:lnTo>
                    <a:pt x="1524" y="621"/>
                  </a:lnTo>
                  <a:lnTo>
                    <a:pt x="1524" y="621"/>
                  </a:lnTo>
                  <a:lnTo>
                    <a:pt x="1524" y="619"/>
                  </a:lnTo>
                  <a:lnTo>
                    <a:pt x="1524" y="619"/>
                  </a:lnTo>
                  <a:lnTo>
                    <a:pt x="1524" y="619"/>
                  </a:lnTo>
                  <a:lnTo>
                    <a:pt x="1524" y="619"/>
                  </a:lnTo>
                  <a:lnTo>
                    <a:pt x="1522" y="619"/>
                  </a:lnTo>
                  <a:lnTo>
                    <a:pt x="1522" y="621"/>
                  </a:lnTo>
                  <a:lnTo>
                    <a:pt x="1520" y="619"/>
                  </a:lnTo>
                  <a:lnTo>
                    <a:pt x="1520" y="619"/>
                  </a:lnTo>
                  <a:lnTo>
                    <a:pt x="1520" y="621"/>
                  </a:lnTo>
                  <a:lnTo>
                    <a:pt x="1518" y="621"/>
                  </a:lnTo>
                  <a:lnTo>
                    <a:pt x="1518" y="621"/>
                  </a:lnTo>
                  <a:lnTo>
                    <a:pt x="1518" y="619"/>
                  </a:lnTo>
                  <a:lnTo>
                    <a:pt x="1518" y="619"/>
                  </a:lnTo>
                  <a:lnTo>
                    <a:pt x="1518" y="619"/>
                  </a:lnTo>
                  <a:lnTo>
                    <a:pt x="1516" y="619"/>
                  </a:lnTo>
                  <a:lnTo>
                    <a:pt x="1516" y="619"/>
                  </a:lnTo>
                  <a:lnTo>
                    <a:pt x="1516" y="619"/>
                  </a:lnTo>
                  <a:lnTo>
                    <a:pt x="1516" y="621"/>
                  </a:lnTo>
                  <a:lnTo>
                    <a:pt x="1514" y="621"/>
                  </a:lnTo>
                  <a:lnTo>
                    <a:pt x="1516" y="621"/>
                  </a:lnTo>
                  <a:lnTo>
                    <a:pt x="1516" y="621"/>
                  </a:lnTo>
                  <a:lnTo>
                    <a:pt x="1516" y="621"/>
                  </a:lnTo>
                  <a:lnTo>
                    <a:pt x="1516" y="623"/>
                  </a:lnTo>
                  <a:lnTo>
                    <a:pt x="1514" y="625"/>
                  </a:lnTo>
                  <a:lnTo>
                    <a:pt x="1514" y="627"/>
                  </a:lnTo>
                  <a:lnTo>
                    <a:pt x="1514" y="627"/>
                  </a:lnTo>
                  <a:lnTo>
                    <a:pt x="1514" y="629"/>
                  </a:lnTo>
                  <a:lnTo>
                    <a:pt x="1512" y="629"/>
                  </a:lnTo>
                  <a:lnTo>
                    <a:pt x="1512" y="629"/>
                  </a:lnTo>
                  <a:lnTo>
                    <a:pt x="1512" y="629"/>
                  </a:lnTo>
                  <a:lnTo>
                    <a:pt x="1512" y="629"/>
                  </a:lnTo>
                  <a:lnTo>
                    <a:pt x="1512" y="629"/>
                  </a:lnTo>
                  <a:lnTo>
                    <a:pt x="1512" y="631"/>
                  </a:lnTo>
                  <a:lnTo>
                    <a:pt x="1512" y="631"/>
                  </a:lnTo>
                  <a:lnTo>
                    <a:pt x="1512" y="629"/>
                  </a:lnTo>
                  <a:lnTo>
                    <a:pt x="1509" y="629"/>
                  </a:lnTo>
                  <a:lnTo>
                    <a:pt x="1507" y="629"/>
                  </a:lnTo>
                  <a:lnTo>
                    <a:pt x="1507" y="629"/>
                  </a:lnTo>
                  <a:lnTo>
                    <a:pt x="1509" y="629"/>
                  </a:lnTo>
                  <a:lnTo>
                    <a:pt x="1512" y="629"/>
                  </a:lnTo>
                  <a:lnTo>
                    <a:pt x="1512" y="627"/>
                  </a:lnTo>
                  <a:lnTo>
                    <a:pt x="1512" y="627"/>
                  </a:lnTo>
                  <a:lnTo>
                    <a:pt x="1512" y="627"/>
                  </a:lnTo>
                  <a:lnTo>
                    <a:pt x="1512" y="627"/>
                  </a:lnTo>
                  <a:lnTo>
                    <a:pt x="1509" y="627"/>
                  </a:lnTo>
                  <a:lnTo>
                    <a:pt x="1509" y="627"/>
                  </a:lnTo>
                  <a:lnTo>
                    <a:pt x="1509" y="627"/>
                  </a:lnTo>
                  <a:lnTo>
                    <a:pt x="1509" y="627"/>
                  </a:lnTo>
                  <a:lnTo>
                    <a:pt x="1507" y="627"/>
                  </a:lnTo>
                  <a:lnTo>
                    <a:pt x="1507" y="627"/>
                  </a:lnTo>
                  <a:lnTo>
                    <a:pt x="1507" y="627"/>
                  </a:lnTo>
                  <a:lnTo>
                    <a:pt x="1509" y="625"/>
                  </a:lnTo>
                  <a:lnTo>
                    <a:pt x="1512" y="625"/>
                  </a:lnTo>
                  <a:lnTo>
                    <a:pt x="1512" y="625"/>
                  </a:lnTo>
                  <a:lnTo>
                    <a:pt x="1512" y="623"/>
                  </a:lnTo>
                  <a:lnTo>
                    <a:pt x="1512" y="623"/>
                  </a:lnTo>
                  <a:lnTo>
                    <a:pt x="1512" y="623"/>
                  </a:lnTo>
                  <a:lnTo>
                    <a:pt x="1514" y="623"/>
                  </a:lnTo>
                  <a:lnTo>
                    <a:pt x="1514" y="623"/>
                  </a:lnTo>
                  <a:lnTo>
                    <a:pt x="1514" y="621"/>
                  </a:lnTo>
                  <a:lnTo>
                    <a:pt x="1514" y="621"/>
                  </a:lnTo>
                  <a:lnTo>
                    <a:pt x="1514" y="621"/>
                  </a:lnTo>
                  <a:lnTo>
                    <a:pt x="1514" y="619"/>
                  </a:lnTo>
                  <a:lnTo>
                    <a:pt x="1514" y="619"/>
                  </a:lnTo>
                  <a:lnTo>
                    <a:pt x="1512" y="619"/>
                  </a:lnTo>
                  <a:lnTo>
                    <a:pt x="1512" y="619"/>
                  </a:lnTo>
                  <a:lnTo>
                    <a:pt x="1512" y="617"/>
                  </a:lnTo>
                  <a:lnTo>
                    <a:pt x="1512" y="617"/>
                  </a:lnTo>
                  <a:lnTo>
                    <a:pt x="1512" y="617"/>
                  </a:lnTo>
                  <a:lnTo>
                    <a:pt x="1509" y="617"/>
                  </a:lnTo>
                  <a:lnTo>
                    <a:pt x="1509" y="617"/>
                  </a:lnTo>
                  <a:lnTo>
                    <a:pt x="1507" y="617"/>
                  </a:lnTo>
                  <a:lnTo>
                    <a:pt x="1507" y="617"/>
                  </a:lnTo>
                  <a:lnTo>
                    <a:pt x="1507" y="617"/>
                  </a:lnTo>
                  <a:lnTo>
                    <a:pt x="1507" y="617"/>
                  </a:lnTo>
                  <a:lnTo>
                    <a:pt x="1505" y="617"/>
                  </a:lnTo>
                  <a:lnTo>
                    <a:pt x="1503" y="615"/>
                  </a:lnTo>
                  <a:lnTo>
                    <a:pt x="1503" y="615"/>
                  </a:lnTo>
                  <a:lnTo>
                    <a:pt x="1503" y="615"/>
                  </a:lnTo>
                  <a:lnTo>
                    <a:pt x="1501" y="619"/>
                  </a:lnTo>
                  <a:lnTo>
                    <a:pt x="1499" y="619"/>
                  </a:lnTo>
                  <a:lnTo>
                    <a:pt x="1499" y="621"/>
                  </a:lnTo>
                  <a:lnTo>
                    <a:pt x="1499" y="621"/>
                  </a:lnTo>
                  <a:lnTo>
                    <a:pt x="1501" y="621"/>
                  </a:lnTo>
                  <a:lnTo>
                    <a:pt x="1501" y="623"/>
                  </a:lnTo>
                  <a:lnTo>
                    <a:pt x="1499" y="623"/>
                  </a:lnTo>
                  <a:lnTo>
                    <a:pt x="1497" y="621"/>
                  </a:lnTo>
                  <a:lnTo>
                    <a:pt x="1495" y="621"/>
                  </a:lnTo>
                  <a:lnTo>
                    <a:pt x="1495" y="621"/>
                  </a:lnTo>
                  <a:lnTo>
                    <a:pt x="1495" y="621"/>
                  </a:lnTo>
                  <a:lnTo>
                    <a:pt x="1495" y="621"/>
                  </a:lnTo>
                  <a:lnTo>
                    <a:pt x="1495" y="621"/>
                  </a:lnTo>
                  <a:lnTo>
                    <a:pt x="1495" y="623"/>
                  </a:lnTo>
                  <a:lnTo>
                    <a:pt x="1495" y="623"/>
                  </a:lnTo>
                  <a:lnTo>
                    <a:pt x="1495" y="623"/>
                  </a:lnTo>
                  <a:lnTo>
                    <a:pt x="1495" y="623"/>
                  </a:lnTo>
                  <a:lnTo>
                    <a:pt x="1495" y="625"/>
                  </a:lnTo>
                  <a:lnTo>
                    <a:pt x="1495" y="625"/>
                  </a:lnTo>
                  <a:lnTo>
                    <a:pt x="1495" y="625"/>
                  </a:lnTo>
                  <a:lnTo>
                    <a:pt x="1495" y="625"/>
                  </a:lnTo>
                  <a:lnTo>
                    <a:pt x="1495" y="627"/>
                  </a:lnTo>
                  <a:lnTo>
                    <a:pt x="1497" y="627"/>
                  </a:lnTo>
                  <a:lnTo>
                    <a:pt x="1497" y="627"/>
                  </a:lnTo>
                  <a:lnTo>
                    <a:pt x="1497" y="629"/>
                  </a:lnTo>
                  <a:lnTo>
                    <a:pt x="1497" y="629"/>
                  </a:lnTo>
                  <a:lnTo>
                    <a:pt x="1495" y="627"/>
                  </a:lnTo>
                  <a:lnTo>
                    <a:pt x="1495" y="627"/>
                  </a:lnTo>
                  <a:lnTo>
                    <a:pt x="1495" y="627"/>
                  </a:lnTo>
                  <a:lnTo>
                    <a:pt x="1495" y="625"/>
                  </a:lnTo>
                  <a:lnTo>
                    <a:pt x="1495" y="625"/>
                  </a:lnTo>
                  <a:lnTo>
                    <a:pt x="1493" y="625"/>
                  </a:lnTo>
                  <a:lnTo>
                    <a:pt x="1493" y="625"/>
                  </a:lnTo>
                  <a:lnTo>
                    <a:pt x="1493" y="623"/>
                  </a:lnTo>
                  <a:lnTo>
                    <a:pt x="1493" y="623"/>
                  </a:lnTo>
                  <a:lnTo>
                    <a:pt x="1491" y="623"/>
                  </a:lnTo>
                  <a:lnTo>
                    <a:pt x="1491" y="621"/>
                  </a:lnTo>
                  <a:lnTo>
                    <a:pt x="1491" y="621"/>
                  </a:lnTo>
                  <a:lnTo>
                    <a:pt x="1491" y="621"/>
                  </a:lnTo>
                  <a:lnTo>
                    <a:pt x="1489" y="623"/>
                  </a:lnTo>
                  <a:lnTo>
                    <a:pt x="1489" y="623"/>
                  </a:lnTo>
                  <a:lnTo>
                    <a:pt x="1491" y="625"/>
                  </a:lnTo>
                  <a:lnTo>
                    <a:pt x="1491" y="625"/>
                  </a:lnTo>
                  <a:lnTo>
                    <a:pt x="1491" y="627"/>
                  </a:lnTo>
                  <a:lnTo>
                    <a:pt x="1493" y="627"/>
                  </a:lnTo>
                  <a:lnTo>
                    <a:pt x="1493" y="627"/>
                  </a:lnTo>
                  <a:lnTo>
                    <a:pt x="1493" y="627"/>
                  </a:lnTo>
                  <a:lnTo>
                    <a:pt x="1493" y="627"/>
                  </a:lnTo>
                  <a:lnTo>
                    <a:pt x="1491" y="627"/>
                  </a:lnTo>
                  <a:lnTo>
                    <a:pt x="1491" y="627"/>
                  </a:lnTo>
                  <a:lnTo>
                    <a:pt x="1489" y="627"/>
                  </a:lnTo>
                  <a:lnTo>
                    <a:pt x="1489" y="627"/>
                  </a:lnTo>
                  <a:lnTo>
                    <a:pt x="1489" y="627"/>
                  </a:lnTo>
                  <a:lnTo>
                    <a:pt x="1489" y="629"/>
                  </a:lnTo>
                  <a:lnTo>
                    <a:pt x="1489" y="629"/>
                  </a:lnTo>
                  <a:lnTo>
                    <a:pt x="1493" y="631"/>
                  </a:lnTo>
                  <a:lnTo>
                    <a:pt x="1493" y="633"/>
                  </a:lnTo>
                  <a:lnTo>
                    <a:pt x="1495" y="633"/>
                  </a:lnTo>
                  <a:lnTo>
                    <a:pt x="1495" y="633"/>
                  </a:lnTo>
                  <a:lnTo>
                    <a:pt x="1497" y="633"/>
                  </a:lnTo>
                  <a:lnTo>
                    <a:pt x="1499" y="637"/>
                  </a:lnTo>
                  <a:lnTo>
                    <a:pt x="1501" y="637"/>
                  </a:lnTo>
                  <a:lnTo>
                    <a:pt x="1503" y="639"/>
                  </a:lnTo>
                  <a:lnTo>
                    <a:pt x="1503" y="639"/>
                  </a:lnTo>
                  <a:lnTo>
                    <a:pt x="1501" y="639"/>
                  </a:lnTo>
                  <a:lnTo>
                    <a:pt x="1499" y="637"/>
                  </a:lnTo>
                  <a:lnTo>
                    <a:pt x="1495" y="633"/>
                  </a:lnTo>
                  <a:lnTo>
                    <a:pt x="1493" y="633"/>
                  </a:lnTo>
                  <a:lnTo>
                    <a:pt x="1493" y="633"/>
                  </a:lnTo>
                  <a:lnTo>
                    <a:pt x="1493" y="633"/>
                  </a:lnTo>
                  <a:lnTo>
                    <a:pt x="1493" y="633"/>
                  </a:lnTo>
                  <a:lnTo>
                    <a:pt x="1493" y="635"/>
                  </a:lnTo>
                  <a:lnTo>
                    <a:pt x="1493" y="635"/>
                  </a:lnTo>
                  <a:lnTo>
                    <a:pt x="1493" y="635"/>
                  </a:lnTo>
                  <a:lnTo>
                    <a:pt x="1493" y="637"/>
                  </a:lnTo>
                  <a:lnTo>
                    <a:pt x="1493" y="637"/>
                  </a:lnTo>
                  <a:lnTo>
                    <a:pt x="1493" y="637"/>
                  </a:lnTo>
                  <a:lnTo>
                    <a:pt x="1493" y="639"/>
                  </a:lnTo>
                  <a:lnTo>
                    <a:pt x="1493" y="641"/>
                  </a:lnTo>
                  <a:lnTo>
                    <a:pt x="1493" y="641"/>
                  </a:lnTo>
                  <a:lnTo>
                    <a:pt x="1493" y="643"/>
                  </a:lnTo>
                  <a:lnTo>
                    <a:pt x="1493" y="643"/>
                  </a:lnTo>
                  <a:lnTo>
                    <a:pt x="1493" y="643"/>
                  </a:lnTo>
                  <a:lnTo>
                    <a:pt x="1493" y="641"/>
                  </a:lnTo>
                  <a:lnTo>
                    <a:pt x="1493" y="641"/>
                  </a:lnTo>
                  <a:lnTo>
                    <a:pt x="1495" y="641"/>
                  </a:lnTo>
                  <a:lnTo>
                    <a:pt x="1495" y="641"/>
                  </a:lnTo>
                  <a:lnTo>
                    <a:pt x="1495" y="641"/>
                  </a:lnTo>
                  <a:lnTo>
                    <a:pt x="1495" y="643"/>
                  </a:lnTo>
                  <a:lnTo>
                    <a:pt x="1495" y="643"/>
                  </a:lnTo>
                  <a:lnTo>
                    <a:pt x="1497" y="643"/>
                  </a:lnTo>
                  <a:lnTo>
                    <a:pt x="1497" y="643"/>
                  </a:lnTo>
                  <a:lnTo>
                    <a:pt x="1497" y="643"/>
                  </a:lnTo>
                  <a:lnTo>
                    <a:pt x="1497" y="643"/>
                  </a:lnTo>
                  <a:lnTo>
                    <a:pt x="1499" y="643"/>
                  </a:lnTo>
                  <a:lnTo>
                    <a:pt x="1499" y="643"/>
                  </a:lnTo>
                  <a:lnTo>
                    <a:pt x="1499" y="643"/>
                  </a:lnTo>
                  <a:lnTo>
                    <a:pt x="1499" y="646"/>
                  </a:lnTo>
                  <a:lnTo>
                    <a:pt x="1503" y="648"/>
                  </a:lnTo>
                  <a:lnTo>
                    <a:pt x="1503" y="648"/>
                  </a:lnTo>
                  <a:lnTo>
                    <a:pt x="1503" y="648"/>
                  </a:lnTo>
                  <a:lnTo>
                    <a:pt x="1503" y="648"/>
                  </a:lnTo>
                  <a:lnTo>
                    <a:pt x="1503" y="650"/>
                  </a:lnTo>
                  <a:lnTo>
                    <a:pt x="1503" y="650"/>
                  </a:lnTo>
                  <a:lnTo>
                    <a:pt x="1503" y="650"/>
                  </a:lnTo>
                  <a:lnTo>
                    <a:pt x="1503" y="650"/>
                  </a:lnTo>
                  <a:lnTo>
                    <a:pt x="1505" y="650"/>
                  </a:lnTo>
                  <a:lnTo>
                    <a:pt x="1505" y="650"/>
                  </a:lnTo>
                  <a:lnTo>
                    <a:pt x="1503" y="650"/>
                  </a:lnTo>
                  <a:lnTo>
                    <a:pt x="1505" y="650"/>
                  </a:lnTo>
                  <a:lnTo>
                    <a:pt x="1505" y="650"/>
                  </a:lnTo>
                  <a:lnTo>
                    <a:pt x="1505" y="650"/>
                  </a:lnTo>
                  <a:lnTo>
                    <a:pt x="1505" y="650"/>
                  </a:lnTo>
                  <a:lnTo>
                    <a:pt x="1505" y="650"/>
                  </a:lnTo>
                  <a:lnTo>
                    <a:pt x="1507" y="650"/>
                  </a:lnTo>
                  <a:lnTo>
                    <a:pt x="1507" y="650"/>
                  </a:lnTo>
                  <a:lnTo>
                    <a:pt x="1507" y="650"/>
                  </a:lnTo>
                  <a:lnTo>
                    <a:pt x="1507" y="650"/>
                  </a:lnTo>
                  <a:lnTo>
                    <a:pt x="1507" y="650"/>
                  </a:lnTo>
                  <a:lnTo>
                    <a:pt x="1507" y="650"/>
                  </a:lnTo>
                  <a:lnTo>
                    <a:pt x="1507" y="652"/>
                  </a:lnTo>
                  <a:lnTo>
                    <a:pt x="1507" y="652"/>
                  </a:lnTo>
                  <a:lnTo>
                    <a:pt x="1507" y="652"/>
                  </a:lnTo>
                  <a:lnTo>
                    <a:pt x="1507" y="652"/>
                  </a:lnTo>
                  <a:lnTo>
                    <a:pt x="1507" y="650"/>
                  </a:lnTo>
                  <a:lnTo>
                    <a:pt x="1505" y="650"/>
                  </a:lnTo>
                  <a:lnTo>
                    <a:pt x="1505" y="652"/>
                  </a:lnTo>
                  <a:lnTo>
                    <a:pt x="1505" y="652"/>
                  </a:lnTo>
                  <a:lnTo>
                    <a:pt x="1507" y="652"/>
                  </a:lnTo>
                  <a:lnTo>
                    <a:pt x="1514" y="656"/>
                  </a:lnTo>
                  <a:lnTo>
                    <a:pt x="1514" y="656"/>
                  </a:lnTo>
                  <a:lnTo>
                    <a:pt x="1516" y="658"/>
                  </a:lnTo>
                  <a:lnTo>
                    <a:pt x="1516" y="658"/>
                  </a:lnTo>
                  <a:lnTo>
                    <a:pt x="1514" y="658"/>
                  </a:lnTo>
                  <a:lnTo>
                    <a:pt x="1512" y="656"/>
                  </a:lnTo>
                  <a:lnTo>
                    <a:pt x="1509" y="654"/>
                  </a:lnTo>
                  <a:lnTo>
                    <a:pt x="1509" y="654"/>
                  </a:lnTo>
                  <a:lnTo>
                    <a:pt x="1507" y="656"/>
                  </a:lnTo>
                  <a:lnTo>
                    <a:pt x="1509" y="656"/>
                  </a:lnTo>
                  <a:lnTo>
                    <a:pt x="1509" y="656"/>
                  </a:lnTo>
                  <a:lnTo>
                    <a:pt x="1509" y="658"/>
                  </a:lnTo>
                  <a:lnTo>
                    <a:pt x="1512" y="658"/>
                  </a:lnTo>
                  <a:lnTo>
                    <a:pt x="1512" y="658"/>
                  </a:lnTo>
                  <a:lnTo>
                    <a:pt x="1512" y="658"/>
                  </a:lnTo>
                  <a:lnTo>
                    <a:pt x="1514" y="658"/>
                  </a:lnTo>
                  <a:lnTo>
                    <a:pt x="1514" y="660"/>
                  </a:lnTo>
                  <a:lnTo>
                    <a:pt x="1514" y="660"/>
                  </a:lnTo>
                  <a:lnTo>
                    <a:pt x="1516" y="660"/>
                  </a:lnTo>
                  <a:lnTo>
                    <a:pt x="1518" y="660"/>
                  </a:lnTo>
                  <a:lnTo>
                    <a:pt x="1520" y="660"/>
                  </a:lnTo>
                  <a:close/>
                  <a:moveTo>
                    <a:pt x="1245" y="566"/>
                  </a:moveTo>
                  <a:lnTo>
                    <a:pt x="1245" y="566"/>
                  </a:lnTo>
                  <a:lnTo>
                    <a:pt x="1245" y="566"/>
                  </a:lnTo>
                  <a:lnTo>
                    <a:pt x="1245" y="566"/>
                  </a:lnTo>
                  <a:lnTo>
                    <a:pt x="1243" y="566"/>
                  </a:lnTo>
                  <a:lnTo>
                    <a:pt x="1243" y="566"/>
                  </a:lnTo>
                  <a:lnTo>
                    <a:pt x="1243" y="566"/>
                  </a:lnTo>
                  <a:lnTo>
                    <a:pt x="1243" y="566"/>
                  </a:lnTo>
                  <a:lnTo>
                    <a:pt x="1243" y="566"/>
                  </a:lnTo>
                  <a:lnTo>
                    <a:pt x="1245" y="566"/>
                  </a:lnTo>
                  <a:lnTo>
                    <a:pt x="1245" y="566"/>
                  </a:lnTo>
                  <a:lnTo>
                    <a:pt x="1245" y="566"/>
                  </a:lnTo>
                  <a:lnTo>
                    <a:pt x="1245" y="566"/>
                  </a:lnTo>
                  <a:lnTo>
                    <a:pt x="1245" y="566"/>
                  </a:lnTo>
                  <a:close/>
                  <a:moveTo>
                    <a:pt x="1167" y="584"/>
                  </a:moveTo>
                  <a:lnTo>
                    <a:pt x="1167" y="584"/>
                  </a:lnTo>
                  <a:lnTo>
                    <a:pt x="1167" y="584"/>
                  </a:lnTo>
                  <a:lnTo>
                    <a:pt x="1167" y="584"/>
                  </a:lnTo>
                  <a:lnTo>
                    <a:pt x="1167" y="584"/>
                  </a:lnTo>
                  <a:lnTo>
                    <a:pt x="1167" y="584"/>
                  </a:lnTo>
                  <a:lnTo>
                    <a:pt x="1167" y="584"/>
                  </a:lnTo>
                  <a:lnTo>
                    <a:pt x="1165" y="586"/>
                  </a:lnTo>
                  <a:lnTo>
                    <a:pt x="1165" y="586"/>
                  </a:lnTo>
                  <a:lnTo>
                    <a:pt x="1163" y="588"/>
                  </a:lnTo>
                  <a:lnTo>
                    <a:pt x="1163" y="588"/>
                  </a:lnTo>
                  <a:lnTo>
                    <a:pt x="1163" y="588"/>
                  </a:lnTo>
                  <a:lnTo>
                    <a:pt x="1163" y="586"/>
                  </a:lnTo>
                  <a:lnTo>
                    <a:pt x="1163" y="586"/>
                  </a:lnTo>
                  <a:lnTo>
                    <a:pt x="1161" y="586"/>
                  </a:lnTo>
                  <a:lnTo>
                    <a:pt x="1161"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1" y="588"/>
                  </a:lnTo>
                  <a:lnTo>
                    <a:pt x="1161" y="590"/>
                  </a:lnTo>
                  <a:lnTo>
                    <a:pt x="1163" y="590"/>
                  </a:lnTo>
                  <a:lnTo>
                    <a:pt x="1165" y="588"/>
                  </a:lnTo>
                  <a:lnTo>
                    <a:pt x="1165" y="588"/>
                  </a:lnTo>
                  <a:lnTo>
                    <a:pt x="1165" y="588"/>
                  </a:lnTo>
                  <a:lnTo>
                    <a:pt x="1167" y="584"/>
                  </a:lnTo>
                  <a:lnTo>
                    <a:pt x="1167" y="584"/>
                  </a:lnTo>
                  <a:close/>
                  <a:moveTo>
                    <a:pt x="1532" y="609"/>
                  </a:moveTo>
                  <a:lnTo>
                    <a:pt x="1530" y="607"/>
                  </a:lnTo>
                  <a:lnTo>
                    <a:pt x="1530" y="607"/>
                  </a:lnTo>
                  <a:lnTo>
                    <a:pt x="1530" y="607"/>
                  </a:lnTo>
                  <a:lnTo>
                    <a:pt x="1530" y="607"/>
                  </a:lnTo>
                  <a:lnTo>
                    <a:pt x="1528" y="607"/>
                  </a:lnTo>
                  <a:lnTo>
                    <a:pt x="1528" y="605"/>
                  </a:lnTo>
                  <a:lnTo>
                    <a:pt x="1528" y="605"/>
                  </a:lnTo>
                  <a:lnTo>
                    <a:pt x="1526" y="605"/>
                  </a:lnTo>
                  <a:lnTo>
                    <a:pt x="1526" y="605"/>
                  </a:lnTo>
                  <a:lnTo>
                    <a:pt x="1526" y="605"/>
                  </a:lnTo>
                  <a:lnTo>
                    <a:pt x="1526" y="605"/>
                  </a:lnTo>
                  <a:lnTo>
                    <a:pt x="1524" y="605"/>
                  </a:lnTo>
                  <a:lnTo>
                    <a:pt x="1524" y="603"/>
                  </a:lnTo>
                  <a:lnTo>
                    <a:pt x="1524" y="603"/>
                  </a:lnTo>
                  <a:lnTo>
                    <a:pt x="1524" y="603"/>
                  </a:lnTo>
                  <a:lnTo>
                    <a:pt x="1524" y="603"/>
                  </a:lnTo>
                  <a:lnTo>
                    <a:pt x="1524" y="603"/>
                  </a:lnTo>
                  <a:lnTo>
                    <a:pt x="1524" y="605"/>
                  </a:lnTo>
                  <a:lnTo>
                    <a:pt x="1524" y="605"/>
                  </a:lnTo>
                  <a:lnTo>
                    <a:pt x="1526" y="609"/>
                  </a:lnTo>
                  <a:lnTo>
                    <a:pt x="1526" y="609"/>
                  </a:lnTo>
                  <a:lnTo>
                    <a:pt x="1526" y="609"/>
                  </a:lnTo>
                  <a:lnTo>
                    <a:pt x="1526" y="609"/>
                  </a:lnTo>
                  <a:lnTo>
                    <a:pt x="1528" y="609"/>
                  </a:lnTo>
                  <a:lnTo>
                    <a:pt x="1528" y="611"/>
                  </a:lnTo>
                  <a:lnTo>
                    <a:pt x="1528" y="611"/>
                  </a:lnTo>
                  <a:lnTo>
                    <a:pt x="1528" y="613"/>
                  </a:lnTo>
                  <a:lnTo>
                    <a:pt x="1528" y="613"/>
                  </a:lnTo>
                  <a:lnTo>
                    <a:pt x="1528" y="613"/>
                  </a:lnTo>
                  <a:lnTo>
                    <a:pt x="1528" y="613"/>
                  </a:lnTo>
                  <a:lnTo>
                    <a:pt x="1530" y="613"/>
                  </a:lnTo>
                  <a:lnTo>
                    <a:pt x="1530" y="613"/>
                  </a:lnTo>
                  <a:lnTo>
                    <a:pt x="1530" y="615"/>
                  </a:lnTo>
                  <a:lnTo>
                    <a:pt x="1532" y="617"/>
                  </a:lnTo>
                  <a:lnTo>
                    <a:pt x="1532" y="617"/>
                  </a:lnTo>
                  <a:lnTo>
                    <a:pt x="1532" y="615"/>
                  </a:lnTo>
                  <a:lnTo>
                    <a:pt x="1532" y="615"/>
                  </a:lnTo>
                  <a:lnTo>
                    <a:pt x="1532" y="613"/>
                  </a:lnTo>
                  <a:lnTo>
                    <a:pt x="1532" y="613"/>
                  </a:lnTo>
                  <a:lnTo>
                    <a:pt x="1532" y="613"/>
                  </a:lnTo>
                  <a:lnTo>
                    <a:pt x="1532" y="613"/>
                  </a:lnTo>
                  <a:lnTo>
                    <a:pt x="1532" y="611"/>
                  </a:lnTo>
                  <a:lnTo>
                    <a:pt x="1532" y="613"/>
                  </a:lnTo>
                  <a:lnTo>
                    <a:pt x="1532" y="613"/>
                  </a:lnTo>
                  <a:lnTo>
                    <a:pt x="1532" y="613"/>
                  </a:lnTo>
                  <a:lnTo>
                    <a:pt x="1532" y="613"/>
                  </a:lnTo>
                  <a:lnTo>
                    <a:pt x="1532" y="615"/>
                  </a:lnTo>
                  <a:lnTo>
                    <a:pt x="1532" y="615"/>
                  </a:lnTo>
                  <a:lnTo>
                    <a:pt x="1532" y="615"/>
                  </a:lnTo>
                  <a:lnTo>
                    <a:pt x="1532" y="615"/>
                  </a:lnTo>
                  <a:lnTo>
                    <a:pt x="1534" y="615"/>
                  </a:lnTo>
                  <a:lnTo>
                    <a:pt x="1534" y="617"/>
                  </a:lnTo>
                  <a:lnTo>
                    <a:pt x="1532" y="619"/>
                  </a:lnTo>
                  <a:lnTo>
                    <a:pt x="1532" y="619"/>
                  </a:lnTo>
                  <a:lnTo>
                    <a:pt x="1532" y="619"/>
                  </a:lnTo>
                  <a:lnTo>
                    <a:pt x="1534" y="621"/>
                  </a:lnTo>
                  <a:lnTo>
                    <a:pt x="1534" y="621"/>
                  </a:lnTo>
                  <a:lnTo>
                    <a:pt x="1534" y="621"/>
                  </a:lnTo>
                  <a:lnTo>
                    <a:pt x="1534" y="623"/>
                  </a:lnTo>
                  <a:lnTo>
                    <a:pt x="1534" y="623"/>
                  </a:lnTo>
                  <a:lnTo>
                    <a:pt x="1536" y="623"/>
                  </a:lnTo>
                  <a:lnTo>
                    <a:pt x="1536" y="627"/>
                  </a:lnTo>
                  <a:lnTo>
                    <a:pt x="1538" y="627"/>
                  </a:lnTo>
                  <a:lnTo>
                    <a:pt x="1538" y="629"/>
                  </a:lnTo>
                  <a:lnTo>
                    <a:pt x="1540" y="631"/>
                  </a:lnTo>
                  <a:lnTo>
                    <a:pt x="1540" y="633"/>
                  </a:lnTo>
                  <a:lnTo>
                    <a:pt x="1540" y="633"/>
                  </a:lnTo>
                  <a:lnTo>
                    <a:pt x="1540" y="633"/>
                  </a:lnTo>
                  <a:lnTo>
                    <a:pt x="1540" y="633"/>
                  </a:lnTo>
                  <a:lnTo>
                    <a:pt x="1540" y="635"/>
                  </a:lnTo>
                  <a:lnTo>
                    <a:pt x="1540" y="635"/>
                  </a:lnTo>
                  <a:lnTo>
                    <a:pt x="1542" y="637"/>
                  </a:lnTo>
                  <a:lnTo>
                    <a:pt x="1542" y="637"/>
                  </a:lnTo>
                  <a:lnTo>
                    <a:pt x="1542" y="639"/>
                  </a:lnTo>
                  <a:lnTo>
                    <a:pt x="1542" y="639"/>
                  </a:lnTo>
                  <a:lnTo>
                    <a:pt x="1544" y="641"/>
                  </a:lnTo>
                  <a:lnTo>
                    <a:pt x="1544" y="641"/>
                  </a:lnTo>
                  <a:lnTo>
                    <a:pt x="1544" y="641"/>
                  </a:lnTo>
                  <a:lnTo>
                    <a:pt x="1544" y="641"/>
                  </a:lnTo>
                  <a:lnTo>
                    <a:pt x="1546" y="643"/>
                  </a:lnTo>
                  <a:lnTo>
                    <a:pt x="1546" y="643"/>
                  </a:lnTo>
                  <a:lnTo>
                    <a:pt x="1548" y="643"/>
                  </a:lnTo>
                  <a:lnTo>
                    <a:pt x="1548" y="641"/>
                  </a:lnTo>
                  <a:lnTo>
                    <a:pt x="1550" y="641"/>
                  </a:lnTo>
                  <a:lnTo>
                    <a:pt x="1552" y="641"/>
                  </a:lnTo>
                  <a:lnTo>
                    <a:pt x="1550" y="641"/>
                  </a:lnTo>
                  <a:lnTo>
                    <a:pt x="1550" y="643"/>
                  </a:lnTo>
                  <a:lnTo>
                    <a:pt x="1550" y="643"/>
                  </a:lnTo>
                  <a:lnTo>
                    <a:pt x="1548" y="643"/>
                  </a:lnTo>
                  <a:lnTo>
                    <a:pt x="1548" y="646"/>
                  </a:lnTo>
                  <a:lnTo>
                    <a:pt x="1548" y="646"/>
                  </a:lnTo>
                  <a:lnTo>
                    <a:pt x="1548" y="646"/>
                  </a:lnTo>
                  <a:lnTo>
                    <a:pt x="1548" y="646"/>
                  </a:lnTo>
                  <a:lnTo>
                    <a:pt x="1546" y="646"/>
                  </a:lnTo>
                  <a:lnTo>
                    <a:pt x="1546" y="646"/>
                  </a:lnTo>
                  <a:lnTo>
                    <a:pt x="1548" y="646"/>
                  </a:lnTo>
                  <a:lnTo>
                    <a:pt x="1548" y="646"/>
                  </a:lnTo>
                  <a:lnTo>
                    <a:pt x="1548" y="646"/>
                  </a:lnTo>
                  <a:lnTo>
                    <a:pt x="1548" y="646"/>
                  </a:lnTo>
                  <a:lnTo>
                    <a:pt x="1550" y="648"/>
                  </a:lnTo>
                  <a:lnTo>
                    <a:pt x="1550" y="650"/>
                  </a:lnTo>
                  <a:lnTo>
                    <a:pt x="1550" y="650"/>
                  </a:lnTo>
                  <a:lnTo>
                    <a:pt x="1552" y="650"/>
                  </a:lnTo>
                  <a:lnTo>
                    <a:pt x="1555" y="648"/>
                  </a:lnTo>
                  <a:lnTo>
                    <a:pt x="1557" y="648"/>
                  </a:lnTo>
                  <a:lnTo>
                    <a:pt x="1555" y="648"/>
                  </a:lnTo>
                  <a:lnTo>
                    <a:pt x="1555" y="650"/>
                  </a:lnTo>
                  <a:lnTo>
                    <a:pt x="1555" y="650"/>
                  </a:lnTo>
                  <a:lnTo>
                    <a:pt x="1555" y="650"/>
                  </a:lnTo>
                  <a:lnTo>
                    <a:pt x="1555" y="650"/>
                  </a:lnTo>
                  <a:lnTo>
                    <a:pt x="1555" y="650"/>
                  </a:lnTo>
                  <a:lnTo>
                    <a:pt x="1557" y="650"/>
                  </a:lnTo>
                  <a:lnTo>
                    <a:pt x="1557" y="652"/>
                  </a:lnTo>
                  <a:lnTo>
                    <a:pt x="1557" y="652"/>
                  </a:lnTo>
                  <a:lnTo>
                    <a:pt x="1555" y="650"/>
                  </a:lnTo>
                  <a:lnTo>
                    <a:pt x="1550" y="650"/>
                  </a:lnTo>
                  <a:lnTo>
                    <a:pt x="1550" y="650"/>
                  </a:lnTo>
                  <a:lnTo>
                    <a:pt x="1550" y="650"/>
                  </a:lnTo>
                  <a:lnTo>
                    <a:pt x="1548" y="650"/>
                  </a:lnTo>
                  <a:lnTo>
                    <a:pt x="1548" y="650"/>
                  </a:lnTo>
                  <a:lnTo>
                    <a:pt x="1548" y="650"/>
                  </a:lnTo>
                  <a:lnTo>
                    <a:pt x="1550" y="652"/>
                  </a:lnTo>
                  <a:lnTo>
                    <a:pt x="1550" y="652"/>
                  </a:lnTo>
                  <a:lnTo>
                    <a:pt x="1550" y="652"/>
                  </a:lnTo>
                  <a:lnTo>
                    <a:pt x="1550" y="652"/>
                  </a:lnTo>
                  <a:lnTo>
                    <a:pt x="1550" y="652"/>
                  </a:lnTo>
                  <a:lnTo>
                    <a:pt x="1552" y="652"/>
                  </a:lnTo>
                  <a:lnTo>
                    <a:pt x="1552" y="654"/>
                  </a:lnTo>
                  <a:lnTo>
                    <a:pt x="1552" y="654"/>
                  </a:lnTo>
                  <a:lnTo>
                    <a:pt x="1550" y="654"/>
                  </a:lnTo>
                  <a:lnTo>
                    <a:pt x="1550" y="654"/>
                  </a:lnTo>
                  <a:lnTo>
                    <a:pt x="1550" y="656"/>
                  </a:lnTo>
                  <a:lnTo>
                    <a:pt x="1550" y="656"/>
                  </a:lnTo>
                  <a:lnTo>
                    <a:pt x="1550" y="656"/>
                  </a:lnTo>
                  <a:lnTo>
                    <a:pt x="1550" y="658"/>
                  </a:lnTo>
                  <a:lnTo>
                    <a:pt x="1550" y="658"/>
                  </a:lnTo>
                  <a:lnTo>
                    <a:pt x="1552" y="658"/>
                  </a:lnTo>
                  <a:lnTo>
                    <a:pt x="1552" y="658"/>
                  </a:lnTo>
                  <a:lnTo>
                    <a:pt x="1552" y="658"/>
                  </a:lnTo>
                  <a:lnTo>
                    <a:pt x="1552" y="658"/>
                  </a:lnTo>
                  <a:lnTo>
                    <a:pt x="1550" y="658"/>
                  </a:lnTo>
                  <a:lnTo>
                    <a:pt x="1550" y="660"/>
                  </a:lnTo>
                  <a:lnTo>
                    <a:pt x="1550" y="660"/>
                  </a:lnTo>
                  <a:lnTo>
                    <a:pt x="1550" y="660"/>
                  </a:lnTo>
                  <a:lnTo>
                    <a:pt x="1550" y="660"/>
                  </a:lnTo>
                  <a:lnTo>
                    <a:pt x="1550" y="662"/>
                  </a:lnTo>
                  <a:lnTo>
                    <a:pt x="1552" y="662"/>
                  </a:lnTo>
                  <a:lnTo>
                    <a:pt x="1552" y="662"/>
                  </a:lnTo>
                  <a:lnTo>
                    <a:pt x="1550" y="664"/>
                  </a:lnTo>
                  <a:lnTo>
                    <a:pt x="1550" y="664"/>
                  </a:lnTo>
                  <a:lnTo>
                    <a:pt x="1552" y="666"/>
                  </a:lnTo>
                  <a:lnTo>
                    <a:pt x="1552" y="668"/>
                  </a:lnTo>
                  <a:lnTo>
                    <a:pt x="1552" y="670"/>
                  </a:lnTo>
                  <a:lnTo>
                    <a:pt x="1555" y="668"/>
                  </a:lnTo>
                  <a:lnTo>
                    <a:pt x="1555" y="668"/>
                  </a:lnTo>
                  <a:lnTo>
                    <a:pt x="1557" y="668"/>
                  </a:lnTo>
                  <a:lnTo>
                    <a:pt x="1557" y="668"/>
                  </a:lnTo>
                  <a:lnTo>
                    <a:pt x="1557" y="666"/>
                  </a:lnTo>
                  <a:lnTo>
                    <a:pt x="1557" y="666"/>
                  </a:lnTo>
                  <a:lnTo>
                    <a:pt x="1559" y="664"/>
                  </a:lnTo>
                  <a:lnTo>
                    <a:pt x="1559" y="664"/>
                  </a:lnTo>
                  <a:lnTo>
                    <a:pt x="1559" y="664"/>
                  </a:lnTo>
                  <a:lnTo>
                    <a:pt x="1559" y="664"/>
                  </a:lnTo>
                  <a:lnTo>
                    <a:pt x="1559" y="664"/>
                  </a:lnTo>
                  <a:lnTo>
                    <a:pt x="1559" y="664"/>
                  </a:lnTo>
                  <a:lnTo>
                    <a:pt x="1559" y="662"/>
                  </a:lnTo>
                  <a:lnTo>
                    <a:pt x="1559" y="662"/>
                  </a:lnTo>
                  <a:lnTo>
                    <a:pt x="1559" y="662"/>
                  </a:lnTo>
                  <a:lnTo>
                    <a:pt x="1559" y="662"/>
                  </a:lnTo>
                  <a:lnTo>
                    <a:pt x="1559" y="662"/>
                  </a:lnTo>
                  <a:lnTo>
                    <a:pt x="1559" y="662"/>
                  </a:lnTo>
                  <a:lnTo>
                    <a:pt x="1559" y="662"/>
                  </a:lnTo>
                  <a:lnTo>
                    <a:pt x="1559" y="662"/>
                  </a:lnTo>
                  <a:lnTo>
                    <a:pt x="1559" y="662"/>
                  </a:lnTo>
                  <a:lnTo>
                    <a:pt x="1559" y="662"/>
                  </a:lnTo>
                  <a:lnTo>
                    <a:pt x="1559" y="660"/>
                  </a:lnTo>
                  <a:lnTo>
                    <a:pt x="1561" y="660"/>
                  </a:lnTo>
                  <a:lnTo>
                    <a:pt x="1561" y="660"/>
                  </a:lnTo>
                  <a:lnTo>
                    <a:pt x="1561" y="660"/>
                  </a:lnTo>
                  <a:lnTo>
                    <a:pt x="1561" y="658"/>
                  </a:lnTo>
                  <a:lnTo>
                    <a:pt x="1561" y="658"/>
                  </a:lnTo>
                  <a:lnTo>
                    <a:pt x="1561" y="658"/>
                  </a:lnTo>
                  <a:lnTo>
                    <a:pt x="1561" y="658"/>
                  </a:lnTo>
                  <a:lnTo>
                    <a:pt x="1561" y="658"/>
                  </a:lnTo>
                  <a:lnTo>
                    <a:pt x="1561" y="658"/>
                  </a:lnTo>
                  <a:lnTo>
                    <a:pt x="1563" y="658"/>
                  </a:lnTo>
                  <a:lnTo>
                    <a:pt x="1563" y="658"/>
                  </a:lnTo>
                  <a:lnTo>
                    <a:pt x="1563" y="658"/>
                  </a:lnTo>
                  <a:lnTo>
                    <a:pt x="1563" y="656"/>
                  </a:lnTo>
                  <a:lnTo>
                    <a:pt x="1563" y="656"/>
                  </a:lnTo>
                  <a:lnTo>
                    <a:pt x="1563" y="654"/>
                  </a:lnTo>
                  <a:lnTo>
                    <a:pt x="1563" y="654"/>
                  </a:lnTo>
                  <a:lnTo>
                    <a:pt x="1563" y="654"/>
                  </a:lnTo>
                  <a:lnTo>
                    <a:pt x="1563" y="654"/>
                  </a:lnTo>
                  <a:lnTo>
                    <a:pt x="1563" y="654"/>
                  </a:lnTo>
                  <a:lnTo>
                    <a:pt x="1563" y="652"/>
                  </a:lnTo>
                  <a:lnTo>
                    <a:pt x="1563" y="652"/>
                  </a:lnTo>
                  <a:lnTo>
                    <a:pt x="1563" y="652"/>
                  </a:lnTo>
                  <a:lnTo>
                    <a:pt x="1563" y="652"/>
                  </a:lnTo>
                  <a:lnTo>
                    <a:pt x="1561" y="652"/>
                  </a:lnTo>
                  <a:lnTo>
                    <a:pt x="1561" y="652"/>
                  </a:lnTo>
                  <a:lnTo>
                    <a:pt x="1561" y="650"/>
                  </a:lnTo>
                  <a:lnTo>
                    <a:pt x="1561" y="650"/>
                  </a:lnTo>
                  <a:lnTo>
                    <a:pt x="1559" y="648"/>
                  </a:lnTo>
                  <a:lnTo>
                    <a:pt x="1561" y="648"/>
                  </a:lnTo>
                  <a:lnTo>
                    <a:pt x="1561" y="648"/>
                  </a:lnTo>
                  <a:lnTo>
                    <a:pt x="1561" y="648"/>
                  </a:lnTo>
                  <a:lnTo>
                    <a:pt x="1561" y="648"/>
                  </a:lnTo>
                  <a:lnTo>
                    <a:pt x="1563" y="650"/>
                  </a:lnTo>
                  <a:lnTo>
                    <a:pt x="1563" y="650"/>
                  </a:lnTo>
                  <a:lnTo>
                    <a:pt x="1563" y="650"/>
                  </a:lnTo>
                  <a:lnTo>
                    <a:pt x="1563" y="650"/>
                  </a:lnTo>
                  <a:lnTo>
                    <a:pt x="1563" y="650"/>
                  </a:lnTo>
                  <a:lnTo>
                    <a:pt x="1563" y="648"/>
                  </a:lnTo>
                  <a:lnTo>
                    <a:pt x="1563" y="648"/>
                  </a:lnTo>
                  <a:lnTo>
                    <a:pt x="1563" y="648"/>
                  </a:lnTo>
                  <a:lnTo>
                    <a:pt x="1563" y="648"/>
                  </a:lnTo>
                  <a:lnTo>
                    <a:pt x="1563" y="648"/>
                  </a:lnTo>
                  <a:lnTo>
                    <a:pt x="1563" y="648"/>
                  </a:lnTo>
                  <a:lnTo>
                    <a:pt x="1565" y="650"/>
                  </a:lnTo>
                  <a:lnTo>
                    <a:pt x="1567" y="650"/>
                  </a:lnTo>
                  <a:lnTo>
                    <a:pt x="1567" y="650"/>
                  </a:lnTo>
                  <a:lnTo>
                    <a:pt x="1567" y="648"/>
                  </a:lnTo>
                  <a:lnTo>
                    <a:pt x="1567" y="648"/>
                  </a:lnTo>
                  <a:lnTo>
                    <a:pt x="1569" y="648"/>
                  </a:lnTo>
                  <a:lnTo>
                    <a:pt x="1569" y="646"/>
                  </a:lnTo>
                  <a:lnTo>
                    <a:pt x="1567" y="646"/>
                  </a:lnTo>
                  <a:lnTo>
                    <a:pt x="1567" y="643"/>
                  </a:lnTo>
                  <a:lnTo>
                    <a:pt x="1567" y="643"/>
                  </a:lnTo>
                  <a:lnTo>
                    <a:pt x="1567" y="643"/>
                  </a:lnTo>
                  <a:lnTo>
                    <a:pt x="1567" y="643"/>
                  </a:lnTo>
                  <a:lnTo>
                    <a:pt x="1567" y="643"/>
                  </a:lnTo>
                  <a:lnTo>
                    <a:pt x="1567" y="641"/>
                  </a:lnTo>
                  <a:lnTo>
                    <a:pt x="1565" y="643"/>
                  </a:lnTo>
                  <a:lnTo>
                    <a:pt x="1565" y="643"/>
                  </a:lnTo>
                  <a:lnTo>
                    <a:pt x="1565" y="643"/>
                  </a:lnTo>
                  <a:lnTo>
                    <a:pt x="1565" y="643"/>
                  </a:lnTo>
                  <a:lnTo>
                    <a:pt x="1565" y="643"/>
                  </a:lnTo>
                  <a:lnTo>
                    <a:pt x="1563" y="643"/>
                  </a:lnTo>
                  <a:lnTo>
                    <a:pt x="1563" y="641"/>
                  </a:lnTo>
                  <a:lnTo>
                    <a:pt x="1563" y="641"/>
                  </a:lnTo>
                  <a:lnTo>
                    <a:pt x="1561" y="643"/>
                  </a:lnTo>
                  <a:lnTo>
                    <a:pt x="1561" y="641"/>
                  </a:lnTo>
                  <a:lnTo>
                    <a:pt x="1561" y="641"/>
                  </a:lnTo>
                  <a:lnTo>
                    <a:pt x="1561" y="641"/>
                  </a:lnTo>
                  <a:lnTo>
                    <a:pt x="1561" y="641"/>
                  </a:lnTo>
                  <a:lnTo>
                    <a:pt x="1561" y="641"/>
                  </a:lnTo>
                  <a:lnTo>
                    <a:pt x="1561" y="641"/>
                  </a:lnTo>
                  <a:lnTo>
                    <a:pt x="1561" y="639"/>
                  </a:lnTo>
                  <a:lnTo>
                    <a:pt x="1561" y="639"/>
                  </a:lnTo>
                  <a:lnTo>
                    <a:pt x="1561" y="641"/>
                  </a:lnTo>
                  <a:lnTo>
                    <a:pt x="1561" y="641"/>
                  </a:lnTo>
                  <a:lnTo>
                    <a:pt x="1563" y="641"/>
                  </a:lnTo>
                  <a:lnTo>
                    <a:pt x="1565" y="641"/>
                  </a:lnTo>
                  <a:lnTo>
                    <a:pt x="1565" y="641"/>
                  </a:lnTo>
                  <a:lnTo>
                    <a:pt x="1565" y="641"/>
                  </a:lnTo>
                  <a:lnTo>
                    <a:pt x="1565" y="639"/>
                  </a:lnTo>
                  <a:lnTo>
                    <a:pt x="1565" y="639"/>
                  </a:lnTo>
                  <a:lnTo>
                    <a:pt x="1565" y="639"/>
                  </a:lnTo>
                  <a:lnTo>
                    <a:pt x="1565" y="639"/>
                  </a:lnTo>
                  <a:lnTo>
                    <a:pt x="1565" y="639"/>
                  </a:lnTo>
                  <a:lnTo>
                    <a:pt x="1565" y="639"/>
                  </a:lnTo>
                  <a:lnTo>
                    <a:pt x="1565" y="639"/>
                  </a:lnTo>
                  <a:lnTo>
                    <a:pt x="1567" y="641"/>
                  </a:lnTo>
                  <a:lnTo>
                    <a:pt x="1567" y="641"/>
                  </a:lnTo>
                  <a:lnTo>
                    <a:pt x="1567" y="641"/>
                  </a:lnTo>
                  <a:lnTo>
                    <a:pt x="1567" y="639"/>
                  </a:lnTo>
                  <a:lnTo>
                    <a:pt x="1565" y="639"/>
                  </a:lnTo>
                  <a:lnTo>
                    <a:pt x="1563" y="637"/>
                  </a:lnTo>
                  <a:lnTo>
                    <a:pt x="1563" y="637"/>
                  </a:lnTo>
                  <a:lnTo>
                    <a:pt x="1563" y="635"/>
                  </a:lnTo>
                  <a:lnTo>
                    <a:pt x="1563" y="633"/>
                  </a:lnTo>
                  <a:lnTo>
                    <a:pt x="1561" y="633"/>
                  </a:lnTo>
                  <a:lnTo>
                    <a:pt x="1561" y="633"/>
                  </a:lnTo>
                  <a:lnTo>
                    <a:pt x="1561" y="633"/>
                  </a:lnTo>
                  <a:lnTo>
                    <a:pt x="1559" y="633"/>
                  </a:lnTo>
                  <a:lnTo>
                    <a:pt x="1559" y="633"/>
                  </a:lnTo>
                  <a:lnTo>
                    <a:pt x="1557" y="633"/>
                  </a:lnTo>
                  <a:lnTo>
                    <a:pt x="1559" y="631"/>
                  </a:lnTo>
                  <a:lnTo>
                    <a:pt x="1559" y="631"/>
                  </a:lnTo>
                  <a:lnTo>
                    <a:pt x="1559" y="631"/>
                  </a:lnTo>
                  <a:lnTo>
                    <a:pt x="1550" y="625"/>
                  </a:lnTo>
                  <a:lnTo>
                    <a:pt x="1550" y="625"/>
                  </a:lnTo>
                  <a:lnTo>
                    <a:pt x="1550" y="627"/>
                  </a:lnTo>
                  <a:lnTo>
                    <a:pt x="1548" y="625"/>
                  </a:lnTo>
                  <a:lnTo>
                    <a:pt x="1548" y="625"/>
                  </a:lnTo>
                  <a:lnTo>
                    <a:pt x="1548" y="623"/>
                  </a:lnTo>
                  <a:lnTo>
                    <a:pt x="1548" y="623"/>
                  </a:lnTo>
                  <a:lnTo>
                    <a:pt x="1548" y="623"/>
                  </a:lnTo>
                  <a:lnTo>
                    <a:pt x="1548" y="621"/>
                  </a:lnTo>
                  <a:lnTo>
                    <a:pt x="1548" y="621"/>
                  </a:lnTo>
                  <a:lnTo>
                    <a:pt x="1546" y="619"/>
                  </a:lnTo>
                  <a:lnTo>
                    <a:pt x="1546" y="619"/>
                  </a:lnTo>
                  <a:lnTo>
                    <a:pt x="1546" y="619"/>
                  </a:lnTo>
                  <a:lnTo>
                    <a:pt x="1548" y="619"/>
                  </a:lnTo>
                  <a:lnTo>
                    <a:pt x="1548" y="619"/>
                  </a:lnTo>
                  <a:lnTo>
                    <a:pt x="1548" y="619"/>
                  </a:lnTo>
                  <a:lnTo>
                    <a:pt x="1548" y="617"/>
                  </a:lnTo>
                  <a:lnTo>
                    <a:pt x="1548" y="617"/>
                  </a:lnTo>
                  <a:lnTo>
                    <a:pt x="1546" y="617"/>
                  </a:lnTo>
                  <a:lnTo>
                    <a:pt x="1546" y="615"/>
                  </a:lnTo>
                  <a:lnTo>
                    <a:pt x="1546" y="615"/>
                  </a:lnTo>
                  <a:lnTo>
                    <a:pt x="1546" y="615"/>
                  </a:lnTo>
                  <a:lnTo>
                    <a:pt x="1546" y="617"/>
                  </a:lnTo>
                  <a:lnTo>
                    <a:pt x="1546" y="615"/>
                  </a:lnTo>
                  <a:lnTo>
                    <a:pt x="1546" y="615"/>
                  </a:lnTo>
                  <a:lnTo>
                    <a:pt x="1546" y="615"/>
                  </a:lnTo>
                  <a:lnTo>
                    <a:pt x="1546" y="613"/>
                  </a:lnTo>
                  <a:lnTo>
                    <a:pt x="1544" y="613"/>
                  </a:lnTo>
                  <a:lnTo>
                    <a:pt x="1544" y="613"/>
                  </a:lnTo>
                  <a:lnTo>
                    <a:pt x="1544" y="613"/>
                  </a:lnTo>
                  <a:lnTo>
                    <a:pt x="1546" y="613"/>
                  </a:lnTo>
                  <a:lnTo>
                    <a:pt x="1546" y="613"/>
                  </a:lnTo>
                  <a:lnTo>
                    <a:pt x="1546" y="613"/>
                  </a:lnTo>
                  <a:lnTo>
                    <a:pt x="1546" y="613"/>
                  </a:lnTo>
                  <a:lnTo>
                    <a:pt x="1546" y="613"/>
                  </a:lnTo>
                  <a:lnTo>
                    <a:pt x="1548" y="615"/>
                  </a:lnTo>
                  <a:lnTo>
                    <a:pt x="1548" y="615"/>
                  </a:lnTo>
                  <a:lnTo>
                    <a:pt x="1550" y="617"/>
                  </a:lnTo>
                  <a:lnTo>
                    <a:pt x="1550" y="617"/>
                  </a:lnTo>
                  <a:lnTo>
                    <a:pt x="1548" y="617"/>
                  </a:lnTo>
                  <a:lnTo>
                    <a:pt x="1548" y="615"/>
                  </a:lnTo>
                  <a:lnTo>
                    <a:pt x="1548" y="615"/>
                  </a:lnTo>
                  <a:lnTo>
                    <a:pt x="1548" y="615"/>
                  </a:lnTo>
                  <a:lnTo>
                    <a:pt x="1550" y="617"/>
                  </a:lnTo>
                  <a:lnTo>
                    <a:pt x="1550" y="617"/>
                  </a:lnTo>
                  <a:lnTo>
                    <a:pt x="1550" y="619"/>
                  </a:lnTo>
                  <a:lnTo>
                    <a:pt x="1552" y="619"/>
                  </a:lnTo>
                  <a:lnTo>
                    <a:pt x="1552" y="623"/>
                  </a:lnTo>
                  <a:lnTo>
                    <a:pt x="1555" y="623"/>
                  </a:lnTo>
                  <a:lnTo>
                    <a:pt x="1555" y="623"/>
                  </a:lnTo>
                  <a:lnTo>
                    <a:pt x="1555" y="625"/>
                  </a:lnTo>
                  <a:lnTo>
                    <a:pt x="1557" y="625"/>
                  </a:lnTo>
                  <a:lnTo>
                    <a:pt x="1557" y="625"/>
                  </a:lnTo>
                  <a:lnTo>
                    <a:pt x="1559" y="627"/>
                  </a:lnTo>
                  <a:lnTo>
                    <a:pt x="1559" y="627"/>
                  </a:lnTo>
                  <a:lnTo>
                    <a:pt x="1559" y="627"/>
                  </a:lnTo>
                  <a:lnTo>
                    <a:pt x="1559" y="627"/>
                  </a:lnTo>
                  <a:lnTo>
                    <a:pt x="1559" y="629"/>
                  </a:lnTo>
                  <a:lnTo>
                    <a:pt x="1559" y="629"/>
                  </a:lnTo>
                  <a:lnTo>
                    <a:pt x="1561" y="629"/>
                  </a:lnTo>
                  <a:lnTo>
                    <a:pt x="1561" y="631"/>
                  </a:lnTo>
                  <a:lnTo>
                    <a:pt x="1563" y="631"/>
                  </a:lnTo>
                  <a:lnTo>
                    <a:pt x="1565" y="633"/>
                  </a:lnTo>
                  <a:lnTo>
                    <a:pt x="1565" y="633"/>
                  </a:lnTo>
                  <a:lnTo>
                    <a:pt x="1565" y="635"/>
                  </a:lnTo>
                  <a:lnTo>
                    <a:pt x="1567" y="635"/>
                  </a:lnTo>
                  <a:lnTo>
                    <a:pt x="1567" y="633"/>
                  </a:lnTo>
                  <a:lnTo>
                    <a:pt x="1565" y="633"/>
                  </a:lnTo>
                  <a:lnTo>
                    <a:pt x="1563" y="631"/>
                  </a:lnTo>
                  <a:lnTo>
                    <a:pt x="1563" y="631"/>
                  </a:lnTo>
                  <a:lnTo>
                    <a:pt x="1563" y="629"/>
                  </a:lnTo>
                  <a:lnTo>
                    <a:pt x="1563" y="629"/>
                  </a:lnTo>
                  <a:lnTo>
                    <a:pt x="1563" y="627"/>
                  </a:lnTo>
                  <a:lnTo>
                    <a:pt x="1561" y="627"/>
                  </a:lnTo>
                  <a:lnTo>
                    <a:pt x="1561" y="627"/>
                  </a:lnTo>
                  <a:lnTo>
                    <a:pt x="1561" y="625"/>
                  </a:lnTo>
                  <a:lnTo>
                    <a:pt x="1561" y="625"/>
                  </a:lnTo>
                  <a:lnTo>
                    <a:pt x="1561" y="625"/>
                  </a:lnTo>
                  <a:lnTo>
                    <a:pt x="1561" y="625"/>
                  </a:lnTo>
                  <a:lnTo>
                    <a:pt x="1559" y="623"/>
                  </a:lnTo>
                  <a:lnTo>
                    <a:pt x="1559" y="623"/>
                  </a:lnTo>
                  <a:lnTo>
                    <a:pt x="1557" y="621"/>
                  </a:lnTo>
                  <a:lnTo>
                    <a:pt x="1555" y="619"/>
                  </a:lnTo>
                  <a:lnTo>
                    <a:pt x="1555" y="617"/>
                  </a:lnTo>
                  <a:lnTo>
                    <a:pt x="1552" y="617"/>
                  </a:lnTo>
                  <a:lnTo>
                    <a:pt x="1552" y="615"/>
                  </a:lnTo>
                  <a:lnTo>
                    <a:pt x="1548" y="613"/>
                  </a:lnTo>
                  <a:lnTo>
                    <a:pt x="1548" y="611"/>
                  </a:lnTo>
                  <a:lnTo>
                    <a:pt x="1548" y="611"/>
                  </a:lnTo>
                  <a:lnTo>
                    <a:pt x="1546" y="611"/>
                  </a:lnTo>
                  <a:lnTo>
                    <a:pt x="1548" y="611"/>
                  </a:lnTo>
                  <a:lnTo>
                    <a:pt x="1548" y="611"/>
                  </a:lnTo>
                  <a:lnTo>
                    <a:pt x="1548" y="611"/>
                  </a:lnTo>
                  <a:lnTo>
                    <a:pt x="1548" y="609"/>
                  </a:lnTo>
                  <a:lnTo>
                    <a:pt x="1548" y="609"/>
                  </a:lnTo>
                  <a:lnTo>
                    <a:pt x="1546" y="609"/>
                  </a:lnTo>
                  <a:lnTo>
                    <a:pt x="1546" y="609"/>
                  </a:lnTo>
                  <a:lnTo>
                    <a:pt x="1544" y="611"/>
                  </a:lnTo>
                  <a:lnTo>
                    <a:pt x="1542" y="611"/>
                  </a:lnTo>
                  <a:lnTo>
                    <a:pt x="1542" y="611"/>
                  </a:lnTo>
                  <a:lnTo>
                    <a:pt x="1540" y="611"/>
                  </a:lnTo>
                  <a:lnTo>
                    <a:pt x="1540" y="611"/>
                  </a:lnTo>
                  <a:lnTo>
                    <a:pt x="1538" y="611"/>
                  </a:lnTo>
                  <a:lnTo>
                    <a:pt x="1536" y="611"/>
                  </a:lnTo>
                  <a:lnTo>
                    <a:pt x="1536" y="611"/>
                  </a:lnTo>
                  <a:lnTo>
                    <a:pt x="1536" y="611"/>
                  </a:lnTo>
                  <a:lnTo>
                    <a:pt x="1534" y="613"/>
                  </a:lnTo>
                  <a:lnTo>
                    <a:pt x="1534" y="613"/>
                  </a:lnTo>
                  <a:lnTo>
                    <a:pt x="1532" y="611"/>
                  </a:lnTo>
                  <a:lnTo>
                    <a:pt x="1532" y="611"/>
                  </a:lnTo>
                  <a:lnTo>
                    <a:pt x="1532" y="609"/>
                  </a:lnTo>
                  <a:lnTo>
                    <a:pt x="1532" y="609"/>
                  </a:lnTo>
                  <a:lnTo>
                    <a:pt x="1532" y="609"/>
                  </a:lnTo>
                  <a:close/>
                  <a:moveTo>
                    <a:pt x="1249" y="566"/>
                  </a:moveTo>
                  <a:lnTo>
                    <a:pt x="1247" y="566"/>
                  </a:lnTo>
                  <a:lnTo>
                    <a:pt x="1247" y="566"/>
                  </a:lnTo>
                  <a:lnTo>
                    <a:pt x="1247" y="566"/>
                  </a:lnTo>
                  <a:lnTo>
                    <a:pt x="1247" y="566"/>
                  </a:lnTo>
                  <a:lnTo>
                    <a:pt x="1247" y="566"/>
                  </a:lnTo>
                  <a:lnTo>
                    <a:pt x="1247" y="566"/>
                  </a:lnTo>
                  <a:lnTo>
                    <a:pt x="1249" y="566"/>
                  </a:lnTo>
                  <a:lnTo>
                    <a:pt x="1249" y="566"/>
                  </a:lnTo>
                  <a:lnTo>
                    <a:pt x="1249" y="566"/>
                  </a:lnTo>
                  <a:lnTo>
                    <a:pt x="1249" y="566"/>
                  </a:lnTo>
                  <a:lnTo>
                    <a:pt x="1249" y="566"/>
                  </a:lnTo>
                  <a:lnTo>
                    <a:pt x="1249" y="566"/>
                  </a:lnTo>
                  <a:close/>
                  <a:moveTo>
                    <a:pt x="1581" y="721"/>
                  </a:moveTo>
                  <a:lnTo>
                    <a:pt x="1581" y="721"/>
                  </a:lnTo>
                  <a:lnTo>
                    <a:pt x="1579" y="721"/>
                  </a:lnTo>
                  <a:lnTo>
                    <a:pt x="1579" y="721"/>
                  </a:lnTo>
                  <a:lnTo>
                    <a:pt x="1579" y="721"/>
                  </a:lnTo>
                  <a:lnTo>
                    <a:pt x="1579" y="721"/>
                  </a:lnTo>
                  <a:lnTo>
                    <a:pt x="1577" y="721"/>
                  </a:lnTo>
                  <a:lnTo>
                    <a:pt x="1577" y="721"/>
                  </a:lnTo>
                  <a:lnTo>
                    <a:pt x="1577" y="723"/>
                  </a:lnTo>
                  <a:lnTo>
                    <a:pt x="1579" y="723"/>
                  </a:lnTo>
                  <a:lnTo>
                    <a:pt x="1579" y="723"/>
                  </a:lnTo>
                  <a:lnTo>
                    <a:pt x="1579" y="725"/>
                  </a:lnTo>
                  <a:lnTo>
                    <a:pt x="1579" y="725"/>
                  </a:lnTo>
                  <a:lnTo>
                    <a:pt x="1579" y="725"/>
                  </a:lnTo>
                  <a:lnTo>
                    <a:pt x="1581" y="725"/>
                  </a:lnTo>
                  <a:lnTo>
                    <a:pt x="1581" y="725"/>
                  </a:lnTo>
                  <a:lnTo>
                    <a:pt x="1581" y="723"/>
                  </a:lnTo>
                  <a:lnTo>
                    <a:pt x="1581" y="723"/>
                  </a:lnTo>
                  <a:lnTo>
                    <a:pt x="1583" y="721"/>
                  </a:lnTo>
                  <a:lnTo>
                    <a:pt x="1583" y="721"/>
                  </a:lnTo>
                  <a:lnTo>
                    <a:pt x="1583" y="719"/>
                  </a:lnTo>
                  <a:lnTo>
                    <a:pt x="1583" y="719"/>
                  </a:lnTo>
                  <a:lnTo>
                    <a:pt x="1581" y="721"/>
                  </a:lnTo>
                  <a:close/>
                  <a:moveTo>
                    <a:pt x="1591" y="689"/>
                  </a:moveTo>
                  <a:lnTo>
                    <a:pt x="1593" y="687"/>
                  </a:lnTo>
                  <a:lnTo>
                    <a:pt x="1593" y="687"/>
                  </a:lnTo>
                  <a:lnTo>
                    <a:pt x="1593" y="687"/>
                  </a:lnTo>
                  <a:lnTo>
                    <a:pt x="1593" y="687"/>
                  </a:lnTo>
                  <a:lnTo>
                    <a:pt x="1593" y="684"/>
                  </a:lnTo>
                  <a:lnTo>
                    <a:pt x="1593" y="684"/>
                  </a:lnTo>
                  <a:lnTo>
                    <a:pt x="1593" y="684"/>
                  </a:lnTo>
                  <a:lnTo>
                    <a:pt x="1593" y="684"/>
                  </a:lnTo>
                  <a:lnTo>
                    <a:pt x="1593" y="684"/>
                  </a:lnTo>
                  <a:lnTo>
                    <a:pt x="1595" y="684"/>
                  </a:lnTo>
                  <a:lnTo>
                    <a:pt x="1595" y="684"/>
                  </a:lnTo>
                  <a:lnTo>
                    <a:pt x="1595" y="684"/>
                  </a:lnTo>
                  <a:lnTo>
                    <a:pt x="1595" y="684"/>
                  </a:lnTo>
                  <a:lnTo>
                    <a:pt x="1598" y="684"/>
                  </a:lnTo>
                  <a:lnTo>
                    <a:pt x="1598" y="684"/>
                  </a:lnTo>
                  <a:lnTo>
                    <a:pt x="1600" y="684"/>
                  </a:lnTo>
                  <a:lnTo>
                    <a:pt x="1600" y="684"/>
                  </a:lnTo>
                  <a:lnTo>
                    <a:pt x="1600" y="684"/>
                  </a:lnTo>
                  <a:lnTo>
                    <a:pt x="1600" y="684"/>
                  </a:lnTo>
                  <a:lnTo>
                    <a:pt x="1600" y="684"/>
                  </a:lnTo>
                  <a:lnTo>
                    <a:pt x="1602" y="684"/>
                  </a:lnTo>
                  <a:lnTo>
                    <a:pt x="1602" y="684"/>
                  </a:lnTo>
                  <a:lnTo>
                    <a:pt x="1602" y="684"/>
                  </a:lnTo>
                  <a:lnTo>
                    <a:pt x="1602" y="684"/>
                  </a:lnTo>
                  <a:lnTo>
                    <a:pt x="1602" y="682"/>
                  </a:lnTo>
                  <a:lnTo>
                    <a:pt x="1602" y="682"/>
                  </a:lnTo>
                  <a:lnTo>
                    <a:pt x="1602" y="680"/>
                  </a:lnTo>
                  <a:lnTo>
                    <a:pt x="1602" y="680"/>
                  </a:lnTo>
                  <a:lnTo>
                    <a:pt x="1602" y="680"/>
                  </a:lnTo>
                  <a:lnTo>
                    <a:pt x="1602" y="678"/>
                  </a:lnTo>
                  <a:lnTo>
                    <a:pt x="1602" y="678"/>
                  </a:lnTo>
                  <a:lnTo>
                    <a:pt x="1600" y="678"/>
                  </a:lnTo>
                  <a:lnTo>
                    <a:pt x="1600" y="678"/>
                  </a:lnTo>
                  <a:lnTo>
                    <a:pt x="1600" y="676"/>
                  </a:lnTo>
                  <a:lnTo>
                    <a:pt x="1600" y="676"/>
                  </a:lnTo>
                  <a:lnTo>
                    <a:pt x="1600" y="676"/>
                  </a:lnTo>
                  <a:lnTo>
                    <a:pt x="1600" y="676"/>
                  </a:lnTo>
                  <a:lnTo>
                    <a:pt x="1600" y="676"/>
                  </a:lnTo>
                  <a:lnTo>
                    <a:pt x="1602" y="676"/>
                  </a:lnTo>
                  <a:lnTo>
                    <a:pt x="1600" y="676"/>
                  </a:lnTo>
                  <a:lnTo>
                    <a:pt x="1600" y="676"/>
                  </a:lnTo>
                  <a:lnTo>
                    <a:pt x="1598" y="676"/>
                  </a:lnTo>
                  <a:lnTo>
                    <a:pt x="1598" y="676"/>
                  </a:lnTo>
                  <a:lnTo>
                    <a:pt x="1598" y="676"/>
                  </a:lnTo>
                  <a:lnTo>
                    <a:pt x="1598" y="676"/>
                  </a:lnTo>
                  <a:lnTo>
                    <a:pt x="1598" y="676"/>
                  </a:lnTo>
                  <a:lnTo>
                    <a:pt x="1595" y="676"/>
                  </a:lnTo>
                  <a:lnTo>
                    <a:pt x="1595" y="676"/>
                  </a:lnTo>
                  <a:lnTo>
                    <a:pt x="1595" y="676"/>
                  </a:lnTo>
                  <a:lnTo>
                    <a:pt x="1595" y="676"/>
                  </a:lnTo>
                  <a:lnTo>
                    <a:pt x="1595" y="674"/>
                  </a:lnTo>
                  <a:lnTo>
                    <a:pt x="1595" y="674"/>
                  </a:lnTo>
                  <a:lnTo>
                    <a:pt x="1595" y="672"/>
                  </a:lnTo>
                  <a:lnTo>
                    <a:pt x="1595" y="672"/>
                  </a:lnTo>
                  <a:lnTo>
                    <a:pt x="1595" y="672"/>
                  </a:lnTo>
                  <a:lnTo>
                    <a:pt x="1593" y="672"/>
                  </a:lnTo>
                  <a:lnTo>
                    <a:pt x="1593" y="672"/>
                  </a:lnTo>
                  <a:lnTo>
                    <a:pt x="1593" y="672"/>
                  </a:lnTo>
                  <a:lnTo>
                    <a:pt x="1593" y="672"/>
                  </a:lnTo>
                  <a:lnTo>
                    <a:pt x="1591" y="672"/>
                  </a:lnTo>
                  <a:lnTo>
                    <a:pt x="1591" y="670"/>
                  </a:lnTo>
                  <a:lnTo>
                    <a:pt x="1591" y="670"/>
                  </a:lnTo>
                  <a:lnTo>
                    <a:pt x="1591" y="670"/>
                  </a:lnTo>
                  <a:lnTo>
                    <a:pt x="1591" y="670"/>
                  </a:lnTo>
                  <a:lnTo>
                    <a:pt x="1589" y="668"/>
                  </a:lnTo>
                  <a:lnTo>
                    <a:pt x="1589" y="668"/>
                  </a:lnTo>
                  <a:lnTo>
                    <a:pt x="1591" y="668"/>
                  </a:lnTo>
                  <a:lnTo>
                    <a:pt x="1593" y="668"/>
                  </a:lnTo>
                  <a:lnTo>
                    <a:pt x="1593" y="668"/>
                  </a:lnTo>
                  <a:lnTo>
                    <a:pt x="1593" y="668"/>
                  </a:lnTo>
                  <a:lnTo>
                    <a:pt x="1593" y="668"/>
                  </a:lnTo>
                  <a:lnTo>
                    <a:pt x="1593" y="668"/>
                  </a:lnTo>
                  <a:lnTo>
                    <a:pt x="1595" y="670"/>
                  </a:lnTo>
                  <a:lnTo>
                    <a:pt x="1595" y="670"/>
                  </a:lnTo>
                  <a:lnTo>
                    <a:pt x="1595" y="672"/>
                  </a:lnTo>
                  <a:lnTo>
                    <a:pt x="1600" y="674"/>
                  </a:lnTo>
                  <a:lnTo>
                    <a:pt x="1600" y="674"/>
                  </a:lnTo>
                  <a:lnTo>
                    <a:pt x="1602" y="674"/>
                  </a:lnTo>
                  <a:lnTo>
                    <a:pt x="1602" y="674"/>
                  </a:lnTo>
                  <a:lnTo>
                    <a:pt x="1602" y="676"/>
                  </a:lnTo>
                  <a:lnTo>
                    <a:pt x="1604" y="676"/>
                  </a:lnTo>
                  <a:lnTo>
                    <a:pt x="1604" y="676"/>
                  </a:lnTo>
                  <a:lnTo>
                    <a:pt x="1604" y="676"/>
                  </a:lnTo>
                  <a:lnTo>
                    <a:pt x="1604" y="674"/>
                  </a:lnTo>
                  <a:lnTo>
                    <a:pt x="1604" y="674"/>
                  </a:lnTo>
                  <a:lnTo>
                    <a:pt x="1604" y="674"/>
                  </a:lnTo>
                  <a:lnTo>
                    <a:pt x="1604" y="672"/>
                  </a:lnTo>
                  <a:lnTo>
                    <a:pt x="1604" y="672"/>
                  </a:lnTo>
                  <a:lnTo>
                    <a:pt x="1604" y="672"/>
                  </a:lnTo>
                  <a:lnTo>
                    <a:pt x="1604" y="672"/>
                  </a:lnTo>
                  <a:lnTo>
                    <a:pt x="1604" y="670"/>
                  </a:lnTo>
                  <a:lnTo>
                    <a:pt x="1604" y="670"/>
                  </a:lnTo>
                  <a:lnTo>
                    <a:pt x="1604" y="670"/>
                  </a:lnTo>
                  <a:lnTo>
                    <a:pt x="1602" y="668"/>
                  </a:lnTo>
                  <a:lnTo>
                    <a:pt x="1602" y="668"/>
                  </a:lnTo>
                  <a:lnTo>
                    <a:pt x="1602" y="666"/>
                  </a:lnTo>
                  <a:lnTo>
                    <a:pt x="1600" y="666"/>
                  </a:lnTo>
                  <a:lnTo>
                    <a:pt x="1600" y="666"/>
                  </a:lnTo>
                  <a:lnTo>
                    <a:pt x="1602" y="664"/>
                  </a:lnTo>
                  <a:lnTo>
                    <a:pt x="1602" y="664"/>
                  </a:lnTo>
                  <a:lnTo>
                    <a:pt x="1602" y="664"/>
                  </a:lnTo>
                  <a:lnTo>
                    <a:pt x="1602" y="662"/>
                  </a:lnTo>
                  <a:lnTo>
                    <a:pt x="1600" y="660"/>
                  </a:lnTo>
                  <a:lnTo>
                    <a:pt x="1600" y="660"/>
                  </a:lnTo>
                  <a:lnTo>
                    <a:pt x="1598" y="660"/>
                  </a:lnTo>
                  <a:lnTo>
                    <a:pt x="1598" y="660"/>
                  </a:lnTo>
                  <a:lnTo>
                    <a:pt x="1598" y="660"/>
                  </a:lnTo>
                  <a:lnTo>
                    <a:pt x="1595" y="658"/>
                  </a:lnTo>
                  <a:lnTo>
                    <a:pt x="1595" y="658"/>
                  </a:lnTo>
                  <a:lnTo>
                    <a:pt x="1593" y="658"/>
                  </a:lnTo>
                  <a:lnTo>
                    <a:pt x="1591" y="658"/>
                  </a:lnTo>
                  <a:lnTo>
                    <a:pt x="1589" y="658"/>
                  </a:lnTo>
                  <a:lnTo>
                    <a:pt x="1589" y="660"/>
                  </a:lnTo>
                  <a:lnTo>
                    <a:pt x="1589" y="660"/>
                  </a:lnTo>
                  <a:lnTo>
                    <a:pt x="1591" y="662"/>
                  </a:lnTo>
                  <a:lnTo>
                    <a:pt x="1591" y="662"/>
                  </a:lnTo>
                  <a:lnTo>
                    <a:pt x="1591" y="662"/>
                  </a:lnTo>
                  <a:lnTo>
                    <a:pt x="1589" y="662"/>
                  </a:lnTo>
                  <a:lnTo>
                    <a:pt x="1589" y="660"/>
                  </a:lnTo>
                  <a:lnTo>
                    <a:pt x="1589" y="660"/>
                  </a:lnTo>
                  <a:lnTo>
                    <a:pt x="1587" y="660"/>
                  </a:lnTo>
                  <a:lnTo>
                    <a:pt x="1587" y="660"/>
                  </a:lnTo>
                  <a:lnTo>
                    <a:pt x="1585" y="660"/>
                  </a:lnTo>
                  <a:lnTo>
                    <a:pt x="1583" y="660"/>
                  </a:lnTo>
                  <a:lnTo>
                    <a:pt x="1583" y="660"/>
                  </a:lnTo>
                  <a:lnTo>
                    <a:pt x="1581" y="660"/>
                  </a:lnTo>
                  <a:lnTo>
                    <a:pt x="1581" y="660"/>
                  </a:lnTo>
                  <a:lnTo>
                    <a:pt x="1577" y="660"/>
                  </a:lnTo>
                  <a:lnTo>
                    <a:pt x="1575" y="660"/>
                  </a:lnTo>
                  <a:lnTo>
                    <a:pt x="1571" y="660"/>
                  </a:lnTo>
                  <a:lnTo>
                    <a:pt x="1571" y="660"/>
                  </a:lnTo>
                  <a:lnTo>
                    <a:pt x="1571" y="660"/>
                  </a:lnTo>
                  <a:lnTo>
                    <a:pt x="1571" y="660"/>
                  </a:lnTo>
                  <a:lnTo>
                    <a:pt x="1571" y="660"/>
                  </a:lnTo>
                  <a:lnTo>
                    <a:pt x="1571" y="662"/>
                  </a:lnTo>
                  <a:lnTo>
                    <a:pt x="1571" y="662"/>
                  </a:lnTo>
                  <a:lnTo>
                    <a:pt x="1569" y="662"/>
                  </a:lnTo>
                  <a:lnTo>
                    <a:pt x="1569" y="662"/>
                  </a:lnTo>
                  <a:lnTo>
                    <a:pt x="1569" y="662"/>
                  </a:lnTo>
                  <a:lnTo>
                    <a:pt x="1569" y="664"/>
                  </a:lnTo>
                  <a:lnTo>
                    <a:pt x="1569" y="664"/>
                  </a:lnTo>
                  <a:lnTo>
                    <a:pt x="1569" y="664"/>
                  </a:lnTo>
                  <a:lnTo>
                    <a:pt x="1569" y="664"/>
                  </a:lnTo>
                  <a:lnTo>
                    <a:pt x="1573" y="666"/>
                  </a:lnTo>
                  <a:lnTo>
                    <a:pt x="1575" y="668"/>
                  </a:lnTo>
                  <a:lnTo>
                    <a:pt x="1579" y="668"/>
                  </a:lnTo>
                  <a:lnTo>
                    <a:pt x="1579" y="668"/>
                  </a:lnTo>
                  <a:lnTo>
                    <a:pt x="1579" y="668"/>
                  </a:lnTo>
                  <a:lnTo>
                    <a:pt x="1577" y="670"/>
                  </a:lnTo>
                  <a:lnTo>
                    <a:pt x="1575" y="668"/>
                  </a:lnTo>
                  <a:lnTo>
                    <a:pt x="1575" y="668"/>
                  </a:lnTo>
                  <a:lnTo>
                    <a:pt x="1575" y="668"/>
                  </a:lnTo>
                  <a:lnTo>
                    <a:pt x="1575" y="670"/>
                  </a:lnTo>
                  <a:lnTo>
                    <a:pt x="1575" y="670"/>
                  </a:lnTo>
                  <a:lnTo>
                    <a:pt x="1575" y="670"/>
                  </a:lnTo>
                  <a:lnTo>
                    <a:pt x="1577" y="670"/>
                  </a:lnTo>
                  <a:lnTo>
                    <a:pt x="1577" y="670"/>
                  </a:lnTo>
                  <a:lnTo>
                    <a:pt x="1577" y="670"/>
                  </a:lnTo>
                  <a:lnTo>
                    <a:pt x="1577" y="670"/>
                  </a:lnTo>
                  <a:lnTo>
                    <a:pt x="1577" y="670"/>
                  </a:lnTo>
                  <a:lnTo>
                    <a:pt x="1577" y="670"/>
                  </a:lnTo>
                  <a:lnTo>
                    <a:pt x="1577" y="670"/>
                  </a:lnTo>
                  <a:lnTo>
                    <a:pt x="1577" y="670"/>
                  </a:lnTo>
                  <a:lnTo>
                    <a:pt x="1577" y="672"/>
                  </a:lnTo>
                  <a:lnTo>
                    <a:pt x="1579" y="672"/>
                  </a:lnTo>
                  <a:lnTo>
                    <a:pt x="1579" y="672"/>
                  </a:lnTo>
                  <a:lnTo>
                    <a:pt x="1579" y="672"/>
                  </a:lnTo>
                  <a:lnTo>
                    <a:pt x="1579" y="672"/>
                  </a:lnTo>
                  <a:lnTo>
                    <a:pt x="1579" y="672"/>
                  </a:lnTo>
                  <a:lnTo>
                    <a:pt x="1579" y="672"/>
                  </a:lnTo>
                  <a:lnTo>
                    <a:pt x="1579" y="672"/>
                  </a:lnTo>
                  <a:lnTo>
                    <a:pt x="1579" y="672"/>
                  </a:lnTo>
                  <a:lnTo>
                    <a:pt x="1581" y="672"/>
                  </a:lnTo>
                  <a:lnTo>
                    <a:pt x="1581" y="672"/>
                  </a:lnTo>
                  <a:lnTo>
                    <a:pt x="1581" y="672"/>
                  </a:lnTo>
                  <a:lnTo>
                    <a:pt x="1581" y="670"/>
                  </a:lnTo>
                  <a:lnTo>
                    <a:pt x="1581" y="670"/>
                  </a:lnTo>
                  <a:lnTo>
                    <a:pt x="1581" y="670"/>
                  </a:lnTo>
                  <a:lnTo>
                    <a:pt x="1581" y="670"/>
                  </a:lnTo>
                  <a:lnTo>
                    <a:pt x="1581" y="670"/>
                  </a:lnTo>
                  <a:lnTo>
                    <a:pt x="1581" y="670"/>
                  </a:lnTo>
                  <a:lnTo>
                    <a:pt x="1581" y="670"/>
                  </a:lnTo>
                  <a:lnTo>
                    <a:pt x="1581" y="672"/>
                  </a:lnTo>
                  <a:lnTo>
                    <a:pt x="1583" y="672"/>
                  </a:lnTo>
                  <a:lnTo>
                    <a:pt x="1581" y="672"/>
                  </a:lnTo>
                  <a:lnTo>
                    <a:pt x="1581" y="672"/>
                  </a:lnTo>
                  <a:lnTo>
                    <a:pt x="1581" y="672"/>
                  </a:lnTo>
                  <a:lnTo>
                    <a:pt x="1581" y="672"/>
                  </a:lnTo>
                  <a:lnTo>
                    <a:pt x="1581" y="674"/>
                  </a:lnTo>
                  <a:lnTo>
                    <a:pt x="1583" y="674"/>
                  </a:lnTo>
                  <a:lnTo>
                    <a:pt x="1583" y="674"/>
                  </a:lnTo>
                  <a:lnTo>
                    <a:pt x="1581" y="674"/>
                  </a:lnTo>
                  <a:lnTo>
                    <a:pt x="1583" y="676"/>
                  </a:lnTo>
                  <a:lnTo>
                    <a:pt x="1583" y="676"/>
                  </a:lnTo>
                  <a:lnTo>
                    <a:pt x="1583" y="678"/>
                  </a:lnTo>
                  <a:lnTo>
                    <a:pt x="1583" y="678"/>
                  </a:lnTo>
                  <a:lnTo>
                    <a:pt x="1583" y="678"/>
                  </a:lnTo>
                  <a:lnTo>
                    <a:pt x="1583" y="680"/>
                  </a:lnTo>
                  <a:lnTo>
                    <a:pt x="1585" y="680"/>
                  </a:lnTo>
                  <a:lnTo>
                    <a:pt x="1585" y="680"/>
                  </a:lnTo>
                  <a:lnTo>
                    <a:pt x="1585" y="680"/>
                  </a:lnTo>
                  <a:lnTo>
                    <a:pt x="1585" y="680"/>
                  </a:lnTo>
                  <a:lnTo>
                    <a:pt x="1585" y="682"/>
                  </a:lnTo>
                  <a:lnTo>
                    <a:pt x="1585" y="682"/>
                  </a:lnTo>
                  <a:lnTo>
                    <a:pt x="1585" y="682"/>
                  </a:lnTo>
                  <a:lnTo>
                    <a:pt x="1585" y="682"/>
                  </a:lnTo>
                  <a:lnTo>
                    <a:pt x="1585" y="684"/>
                  </a:lnTo>
                  <a:lnTo>
                    <a:pt x="1585" y="684"/>
                  </a:lnTo>
                  <a:lnTo>
                    <a:pt x="1587" y="689"/>
                  </a:lnTo>
                  <a:lnTo>
                    <a:pt x="1589" y="689"/>
                  </a:lnTo>
                  <a:lnTo>
                    <a:pt x="1591" y="689"/>
                  </a:lnTo>
                  <a:close/>
                  <a:moveTo>
                    <a:pt x="1585" y="707"/>
                  </a:moveTo>
                  <a:lnTo>
                    <a:pt x="1585" y="707"/>
                  </a:lnTo>
                  <a:lnTo>
                    <a:pt x="1585" y="707"/>
                  </a:lnTo>
                  <a:lnTo>
                    <a:pt x="1585" y="707"/>
                  </a:lnTo>
                  <a:lnTo>
                    <a:pt x="1585" y="705"/>
                  </a:lnTo>
                  <a:lnTo>
                    <a:pt x="1585" y="705"/>
                  </a:lnTo>
                  <a:lnTo>
                    <a:pt x="1583" y="705"/>
                  </a:lnTo>
                  <a:lnTo>
                    <a:pt x="1583" y="703"/>
                  </a:lnTo>
                  <a:lnTo>
                    <a:pt x="1585" y="703"/>
                  </a:lnTo>
                  <a:lnTo>
                    <a:pt x="1585" y="703"/>
                  </a:lnTo>
                  <a:lnTo>
                    <a:pt x="1583" y="701"/>
                  </a:lnTo>
                  <a:lnTo>
                    <a:pt x="1583" y="701"/>
                  </a:lnTo>
                  <a:lnTo>
                    <a:pt x="1583" y="701"/>
                  </a:lnTo>
                  <a:lnTo>
                    <a:pt x="1581" y="701"/>
                  </a:lnTo>
                  <a:lnTo>
                    <a:pt x="1581" y="701"/>
                  </a:lnTo>
                  <a:lnTo>
                    <a:pt x="1581" y="699"/>
                  </a:lnTo>
                  <a:lnTo>
                    <a:pt x="1581" y="699"/>
                  </a:lnTo>
                  <a:lnTo>
                    <a:pt x="1581" y="697"/>
                  </a:lnTo>
                  <a:lnTo>
                    <a:pt x="1581" y="697"/>
                  </a:lnTo>
                  <a:lnTo>
                    <a:pt x="1581" y="697"/>
                  </a:lnTo>
                  <a:lnTo>
                    <a:pt x="1581" y="697"/>
                  </a:lnTo>
                  <a:lnTo>
                    <a:pt x="1581" y="697"/>
                  </a:lnTo>
                  <a:lnTo>
                    <a:pt x="1583" y="699"/>
                  </a:lnTo>
                  <a:lnTo>
                    <a:pt x="1585" y="699"/>
                  </a:lnTo>
                  <a:lnTo>
                    <a:pt x="1585" y="699"/>
                  </a:lnTo>
                  <a:lnTo>
                    <a:pt x="1585" y="699"/>
                  </a:lnTo>
                  <a:lnTo>
                    <a:pt x="1585" y="697"/>
                  </a:lnTo>
                  <a:lnTo>
                    <a:pt x="1585" y="697"/>
                  </a:lnTo>
                  <a:lnTo>
                    <a:pt x="1583" y="695"/>
                  </a:lnTo>
                  <a:lnTo>
                    <a:pt x="1581" y="695"/>
                  </a:lnTo>
                  <a:lnTo>
                    <a:pt x="1581" y="695"/>
                  </a:lnTo>
                  <a:lnTo>
                    <a:pt x="1581" y="695"/>
                  </a:lnTo>
                  <a:lnTo>
                    <a:pt x="1583" y="695"/>
                  </a:lnTo>
                  <a:lnTo>
                    <a:pt x="1583" y="695"/>
                  </a:lnTo>
                  <a:lnTo>
                    <a:pt x="1583" y="693"/>
                  </a:lnTo>
                  <a:lnTo>
                    <a:pt x="1581" y="693"/>
                  </a:lnTo>
                  <a:lnTo>
                    <a:pt x="1581" y="693"/>
                  </a:lnTo>
                  <a:lnTo>
                    <a:pt x="1581" y="693"/>
                  </a:lnTo>
                  <a:lnTo>
                    <a:pt x="1581" y="693"/>
                  </a:lnTo>
                  <a:lnTo>
                    <a:pt x="1583" y="693"/>
                  </a:lnTo>
                  <a:lnTo>
                    <a:pt x="1583" y="691"/>
                  </a:lnTo>
                  <a:lnTo>
                    <a:pt x="1583" y="691"/>
                  </a:lnTo>
                  <a:lnTo>
                    <a:pt x="1583" y="691"/>
                  </a:lnTo>
                  <a:lnTo>
                    <a:pt x="1581" y="691"/>
                  </a:lnTo>
                  <a:lnTo>
                    <a:pt x="1581" y="691"/>
                  </a:lnTo>
                  <a:lnTo>
                    <a:pt x="1581" y="689"/>
                  </a:lnTo>
                  <a:lnTo>
                    <a:pt x="1581" y="689"/>
                  </a:lnTo>
                  <a:lnTo>
                    <a:pt x="1581" y="689"/>
                  </a:lnTo>
                  <a:lnTo>
                    <a:pt x="1581" y="689"/>
                  </a:lnTo>
                  <a:lnTo>
                    <a:pt x="1579" y="689"/>
                  </a:lnTo>
                  <a:lnTo>
                    <a:pt x="1579" y="689"/>
                  </a:lnTo>
                  <a:lnTo>
                    <a:pt x="1579" y="689"/>
                  </a:lnTo>
                  <a:lnTo>
                    <a:pt x="1581" y="689"/>
                  </a:lnTo>
                  <a:lnTo>
                    <a:pt x="1581" y="687"/>
                  </a:lnTo>
                  <a:lnTo>
                    <a:pt x="1581" y="687"/>
                  </a:lnTo>
                  <a:lnTo>
                    <a:pt x="1581" y="684"/>
                  </a:lnTo>
                  <a:lnTo>
                    <a:pt x="1581" y="684"/>
                  </a:lnTo>
                  <a:lnTo>
                    <a:pt x="1581" y="684"/>
                  </a:lnTo>
                  <a:lnTo>
                    <a:pt x="1579" y="684"/>
                  </a:lnTo>
                  <a:lnTo>
                    <a:pt x="1577" y="682"/>
                  </a:lnTo>
                  <a:lnTo>
                    <a:pt x="1579" y="682"/>
                  </a:lnTo>
                  <a:lnTo>
                    <a:pt x="1581" y="682"/>
                  </a:lnTo>
                  <a:lnTo>
                    <a:pt x="1581" y="682"/>
                  </a:lnTo>
                  <a:lnTo>
                    <a:pt x="1581" y="684"/>
                  </a:lnTo>
                  <a:lnTo>
                    <a:pt x="1583" y="684"/>
                  </a:lnTo>
                  <a:lnTo>
                    <a:pt x="1583" y="684"/>
                  </a:lnTo>
                  <a:lnTo>
                    <a:pt x="1583" y="684"/>
                  </a:lnTo>
                  <a:lnTo>
                    <a:pt x="1583" y="684"/>
                  </a:lnTo>
                  <a:lnTo>
                    <a:pt x="1583" y="684"/>
                  </a:lnTo>
                  <a:lnTo>
                    <a:pt x="1583" y="682"/>
                  </a:lnTo>
                  <a:lnTo>
                    <a:pt x="1583" y="682"/>
                  </a:lnTo>
                  <a:lnTo>
                    <a:pt x="1583" y="680"/>
                  </a:lnTo>
                  <a:lnTo>
                    <a:pt x="1583" y="680"/>
                  </a:lnTo>
                  <a:lnTo>
                    <a:pt x="1583" y="680"/>
                  </a:lnTo>
                  <a:lnTo>
                    <a:pt x="1583" y="680"/>
                  </a:lnTo>
                  <a:lnTo>
                    <a:pt x="1581" y="678"/>
                  </a:lnTo>
                  <a:lnTo>
                    <a:pt x="1581" y="678"/>
                  </a:lnTo>
                  <a:lnTo>
                    <a:pt x="1581" y="678"/>
                  </a:lnTo>
                  <a:lnTo>
                    <a:pt x="1581" y="678"/>
                  </a:lnTo>
                  <a:lnTo>
                    <a:pt x="1581" y="674"/>
                  </a:lnTo>
                  <a:lnTo>
                    <a:pt x="1581" y="674"/>
                  </a:lnTo>
                  <a:lnTo>
                    <a:pt x="1579" y="674"/>
                  </a:lnTo>
                  <a:lnTo>
                    <a:pt x="1579" y="674"/>
                  </a:lnTo>
                  <a:lnTo>
                    <a:pt x="1579" y="674"/>
                  </a:lnTo>
                  <a:lnTo>
                    <a:pt x="1579" y="674"/>
                  </a:lnTo>
                  <a:lnTo>
                    <a:pt x="1577" y="674"/>
                  </a:lnTo>
                  <a:lnTo>
                    <a:pt x="1577" y="674"/>
                  </a:lnTo>
                  <a:lnTo>
                    <a:pt x="1577" y="674"/>
                  </a:lnTo>
                  <a:lnTo>
                    <a:pt x="1577" y="674"/>
                  </a:lnTo>
                  <a:lnTo>
                    <a:pt x="1577" y="676"/>
                  </a:lnTo>
                  <a:lnTo>
                    <a:pt x="1577" y="676"/>
                  </a:lnTo>
                  <a:lnTo>
                    <a:pt x="1577" y="676"/>
                  </a:lnTo>
                  <a:lnTo>
                    <a:pt x="1577" y="678"/>
                  </a:lnTo>
                  <a:lnTo>
                    <a:pt x="1577" y="678"/>
                  </a:lnTo>
                  <a:lnTo>
                    <a:pt x="1577" y="678"/>
                  </a:lnTo>
                  <a:lnTo>
                    <a:pt x="1577" y="678"/>
                  </a:lnTo>
                  <a:lnTo>
                    <a:pt x="1577" y="678"/>
                  </a:lnTo>
                  <a:lnTo>
                    <a:pt x="1577" y="678"/>
                  </a:lnTo>
                  <a:lnTo>
                    <a:pt x="1577" y="680"/>
                  </a:lnTo>
                  <a:lnTo>
                    <a:pt x="1577" y="680"/>
                  </a:lnTo>
                  <a:lnTo>
                    <a:pt x="1577" y="680"/>
                  </a:lnTo>
                  <a:lnTo>
                    <a:pt x="1577" y="680"/>
                  </a:lnTo>
                  <a:lnTo>
                    <a:pt x="1577" y="682"/>
                  </a:lnTo>
                  <a:lnTo>
                    <a:pt x="1575" y="682"/>
                  </a:lnTo>
                  <a:lnTo>
                    <a:pt x="1575" y="682"/>
                  </a:lnTo>
                  <a:lnTo>
                    <a:pt x="1575" y="682"/>
                  </a:lnTo>
                  <a:lnTo>
                    <a:pt x="1575" y="682"/>
                  </a:lnTo>
                  <a:lnTo>
                    <a:pt x="1577" y="680"/>
                  </a:lnTo>
                  <a:lnTo>
                    <a:pt x="1577" y="680"/>
                  </a:lnTo>
                  <a:lnTo>
                    <a:pt x="1577" y="678"/>
                  </a:lnTo>
                  <a:lnTo>
                    <a:pt x="1577" y="678"/>
                  </a:lnTo>
                  <a:lnTo>
                    <a:pt x="1577" y="678"/>
                  </a:lnTo>
                  <a:lnTo>
                    <a:pt x="1577" y="678"/>
                  </a:lnTo>
                  <a:lnTo>
                    <a:pt x="1577" y="678"/>
                  </a:lnTo>
                  <a:lnTo>
                    <a:pt x="1577" y="678"/>
                  </a:lnTo>
                  <a:lnTo>
                    <a:pt x="1577" y="676"/>
                  </a:lnTo>
                  <a:lnTo>
                    <a:pt x="1577" y="676"/>
                  </a:lnTo>
                  <a:lnTo>
                    <a:pt x="1577" y="676"/>
                  </a:lnTo>
                  <a:lnTo>
                    <a:pt x="1577" y="676"/>
                  </a:lnTo>
                  <a:lnTo>
                    <a:pt x="1575" y="676"/>
                  </a:lnTo>
                  <a:lnTo>
                    <a:pt x="1575" y="676"/>
                  </a:lnTo>
                  <a:lnTo>
                    <a:pt x="1575" y="674"/>
                  </a:lnTo>
                  <a:lnTo>
                    <a:pt x="1575" y="674"/>
                  </a:lnTo>
                  <a:lnTo>
                    <a:pt x="1575" y="674"/>
                  </a:lnTo>
                  <a:lnTo>
                    <a:pt x="1575" y="674"/>
                  </a:lnTo>
                  <a:lnTo>
                    <a:pt x="1575" y="674"/>
                  </a:lnTo>
                  <a:lnTo>
                    <a:pt x="1573" y="672"/>
                  </a:lnTo>
                  <a:lnTo>
                    <a:pt x="1573" y="672"/>
                  </a:lnTo>
                  <a:lnTo>
                    <a:pt x="1573" y="674"/>
                  </a:lnTo>
                  <a:lnTo>
                    <a:pt x="1573" y="672"/>
                  </a:lnTo>
                  <a:lnTo>
                    <a:pt x="1571" y="670"/>
                  </a:lnTo>
                  <a:lnTo>
                    <a:pt x="1571" y="670"/>
                  </a:lnTo>
                  <a:lnTo>
                    <a:pt x="1569" y="670"/>
                  </a:lnTo>
                  <a:lnTo>
                    <a:pt x="1569" y="670"/>
                  </a:lnTo>
                  <a:lnTo>
                    <a:pt x="1567" y="670"/>
                  </a:lnTo>
                  <a:lnTo>
                    <a:pt x="1567" y="670"/>
                  </a:lnTo>
                  <a:lnTo>
                    <a:pt x="1565" y="670"/>
                  </a:lnTo>
                  <a:lnTo>
                    <a:pt x="1563" y="670"/>
                  </a:lnTo>
                  <a:lnTo>
                    <a:pt x="1565" y="670"/>
                  </a:lnTo>
                  <a:lnTo>
                    <a:pt x="1565" y="670"/>
                  </a:lnTo>
                  <a:lnTo>
                    <a:pt x="1565" y="672"/>
                  </a:lnTo>
                  <a:lnTo>
                    <a:pt x="1567" y="672"/>
                  </a:lnTo>
                  <a:lnTo>
                    <a:pt x="1567" y="672"/>
                  </a:lnTo>
                  <a:lnTo>
                    <a:pt x="1569" y="672"/>
                  </a:lnTo>
                  <a:lnTo>
                    <a:pt x="1569" y="672"/>
                  </a:lnTo>
                  <a:lnTo>
                    <a:pt x="1569" y="672"/>
                  </a:lnTo>
                  <a:lnTo>
                    <a:pt x="1569" y="674"/>
                  </a:lnTo>
                  <a:lnTo>
                    <a:pt x="1569" y="674"/>
                  </a:lnTo>
                  <a:lnTo>
                    <a:pt x="1569" y="674"/>
                  </a:lnTo>
                  <a:lnTo>
                    <a:pt x="1567" y="674"/>
                  </a:lnTo>
                  <a:lnTo>
                    <a:pt x="1567" y="674"/>
                  </a:lnTo>
                  <a:lnTo>
                    <a:pt x="1565" y="672"/>
                  </a:lnTo>
                  <a:lnTo>
                    <a:pt x="1565" y="672"/>
                  </a:lnTo>
                  <a:lnTo>
                    <a:pt x="1563" y="672"/>
                  </a:lnTo>
                  <a:lnTo>
                    <a:pt x="1563" y="674"/>
                  </a:lnTo>
                  <a:lnTo>
                    <a:pt x="1563" y="674"/>
                  </a:lnTo>
                  <a:lnTo>
                    <a:pt x="1565" y="674"/>
                  </a:lnTo>
                  <a:lnTo>
                    <a:pt x="1565" y="676"/>
                  </a:lnTo>
                  <a:lnTo>
                    <a:pt x="1565" y="676"/>
                  </a:lnTo>
                  <a:lnTo>
                    <a:pt x="1565" y="676"/>
                  </a:lnTo>
                  <a:lnTo>
                    <a:pt x="1565" y="678"/>
                  </a:lnTo>
                  <a:lnTo>
                    <a:pt x="1565" y="676"/>
                  </a:lnTo>
                  <a:lnTo>
                    <a:pt x="1563" y="676"/>
                  </a:lnTo>
                  <a:lnTo>
                    <a:pt x="1563" y="674"/>
                  </a:lnTo>
                  <a:lnTo>
                    <a:pt x="1563" y="674"/>
                  </a:lnTo>
                  <a:lnTo>
                    <a:pt x="1563" y="674"/>
                  </a:lnTo>
                  <a:lnTo>
                    <a:pt x="1561" y="674"/>
                  </a:lnTo>
                  <a:lnTo>
                    <a:pt x="1561" y="674"/>
                  </a:lnTo>
                  <a:lnTo>
                    <a:pt x="1561" y="676"/>
                  </a:lnTo>
                  <a:lnTo>
                    <a:pt x="1561" y="676"/>
                  </a:lnTo>
                  <a:lnTo>
                    <a:pt x="1563" y="678"/>
                  </a:lnTo>
                  <a:lnTo>
                    <a:pt x="1563" y="678"/>
                  </a:lnTo>
                  <a:lnTo>
                    <a:pt x="1563" y="680"/>
                  </a:lnTo>
                  <a:lnTo>
                    <a:pt x="1563" y="680"/>
                  </a:lnTo>
                  <a:lnTo>
                    <a:pt x="1563" y="682"/>
                  </a:lnTo>
                  <a:lnTo>
                    <a:pt x="1563" y="682"/>
                  </a:lnTo>
                  <a:lnTo>
                    <a:pt x="1565" y="682"/>
                  </a:lnTo>
                  <a:lnTo>
                    <a:pt x="1565" y="684"/>
                  </a:lnTo>
                  <a:lnTo>
                    <a:pt x="1567" y="684"/>
                  </a:lnTo>
                  <a:lnTo>
                    <a:pt x="1567" y="684"/>
                  </a:lnTo>
                  <a:lnTo>
                    <a:pt x="1569" y="684"/>
                  </a:lnTo>
                  <a:lnTo>
                    <a:pt x="1569" y="682"/>
                  </a:lnTo>
                  <a:lnTo>
                    <a:pt x="1567" y="682"/>
                  </a:lnTo>
                  <a:lnTo>
                    <a:pt x="1569" y="682"/>
                  </a:lnTo>
                  <a:lnTo>
                    <a:pt x="1569" y="682"/>
                  </a:lnTo>
                  <a:lnTo>
                    <a:pt x="1569" y="682"/>
                  </a:lnTo>
                  <a:lnTo>
                    <a:pt x="1569" y="682"/>
                  </a:lnTo>
                  <a:lnTo>
                    <a:pt x="1569" y="684"/>
                  </a:lnTo>
                  <a:lnTo>
                    <a:pt x="1569" y="684"/>
                  </a:lnTo>
                  <a:lnTo>
                    <a:pt x="1569" y="684"/>
                  </a:lnTo>
                  <a:lnTo>
                    <a:pt x="1567" y="684"/>
                  </a:lnTo>
                  <a:lnTo>
                    <a:pt x="1569" y="687"/>
                  </a:lnTo>
                  <a:lnTo>
                    <a:pt x="1569" y="687"/>
                  </a:lnTo>
                  <a:lnTo>
                    <a:pt x="1569" y="687"/>
                  </a:lnTo>
                  <a:lnTo>
                    <a:pt x="1571" y="684"/>
                  </a:lnTo>
                  <a:lnTo>
                    <a:pt x="1573" y="682"/>
                  </a:lnTo>
                  <a:lnTo>
                    <a:pt x="1573" y="682"/>
                  </a:lnTo>
                  <a:lnTo>
                    <a:pt x="1573" y="684"/>
                  </a:lnTo>
                  <a:lnTo>
                    <a:pt x="1573" y="684"/>
                  </a:lnTo>
                  <a:lnTo>
                    <a:pt x="1571" y="684"/>
                  </a:lnTo>
                  <a:lnTo>
                    <a:pt x="1571" y="684"/>
                  </a:lnTo>
                  <a:lnTo>
                    <a:pt x="1571" y="687"/>
                  </a:lnTo>
                  <a:lnTo>
                    <a:pt x="1569" y="687"/>
                  </a:lnTo>
                  <a:lnTo>
                    <a:pt x="1569" y="689"/>
                  </a:lnTo>
                  <a:lnTo>
                    <a:pt x="1569" y="689"/>
                  </a:lnTo>
                  <a:lnTo>
                    <a:pt x="1569" y="689"/>
                  </a:lnTo>
                  <a:lnTo>
                    <a:pt x="1571" y="689"/>
                  </a:lnTo>
                  <a:lnTo>
                    <a:pt x="1571" y="689"/>
                  </a:lnTo>
                  <a:lnTo>
                    <a:pt x="1571" y="689"/>
                  </a:lnTo>
                  <a:lnTo>
                    <a:pt x="1573" y="691"/>
                  </a:lnTo>
                  <a:lnTo>
                    <a:pt x="1573" y="691"/>
                  </a:lnTo>
                  <a:lnTo>
                    <a:pt x="1573" y="691"/>
                  </a:lnTo>
                  <a:lnTo>
                    <a:pt x="1575" y="691"/>
                  </a:lnTo>
                  <a:lnTo>
                    <a:pt x="1575" y="691"/>
                  </a:lnTo>
                  <a:lnTo>
                    <a:pt x="1575" y="689"/>
                  </a:lnTo>
                  <a:lnTo>
                    <a:pt x="1575" y="689"/>
                  </a:lnTo>
                  <a:lnTo>
                    <a:pt x="1575" y="689"/>
                  </a:lnTo>
                  <a:lnTo>
                    <a:pt x="1575" y="689"/>
                  </a:lnTo>
                  <a:lnTo>
                    <a:pt x="1575" y="689"/>
                  </a:lnTo>
                  <a:lnTo>
                    <a:pt x="1575" y="691"/>
                  </a:lnTo>
                  <a:lnTo>
                    <a:pt x="1577" y="691"/>
                  </a:lnTo>
                  <a:lnTo>
                    <a:pt x="1577" y="691"/>
                  </a:lnTo>
                  <a:lnTo>
                    <a:pt x="1577" y="691"/>
                  </a:lnTo>
                  <a:lnTo>
                    <a:pt x="1577" y="691"/>
                  </a:lnTo>
                  <a:lnTo>
                    <a:pt x="1577" y="691"/>
                  </a:lnTo>
                  <a:lnTo>
                    <a:pt x="1577" y="691"/>
                  </a:lnTo>
                  <a:lnTo>
                    <a:pt x="1577" y="691"/>
                  </a:lnTo>
                  <a:lnTo>
                    <a:pt x="1577" y="693"/>
                  </a:lnTo>
                  <a:lnTo>
                    <a:pt x="1577" y="693"/>
                  </a:lnTo>
                  <a:lnTo>
                    <a:pt x="1577" y="693"/>
                  </a:lnTo>
                  <a:lnTo>
                    <a:pt x="1577" y="695"/>
                  </a:lnTo>
                  <a:lnTo>
                    <a:pt x="1577" y="695"/>
                  </a:lnTo>
                  <a:lnTo>
                    <a:pt x="1579" y="697"/>
                  </a:lnTo>
                  <a:lnTo>
                    <a:pt x="1579" y="697"/>
                  </a:lnTo>
                  <a:lnTo>
                    <a:pt x="1579" y="697"/>
                  </a:lnTo>
                  <a:lnTo>
                    <a:pt x="1577" y="697"/>
                  </a:lnTo>
                  <a:lnTo>
                    <a:pt x="1577" y="697"/>
                  </a:lnTo>
                  <a:lnTo>
                    <a:pt x="1577" y="695"/>
                  </a:lnTo>
                  <a:lnTo>
                    <a:pt x="1577" y="695"/>
                  </a:lnTo>
                  <a:lnTo>
                    <a:pt x="1575" y="695"/>
                  </a:lnTo>
                  <a:lnTo>
                    <a:pt x="1575" y="697"/>
                  </a:lnTo>
                  <a:lnTo>
                    <a:pt x="1577" y="697"/>
                  </a:lnTo>
                  <a:lnTo>
                    <a:pt x="1577" y="697"/>
                  </a:lnTo>
                  <a:lnTo>
                    <a:pt x="1575" y="697"/>
                  </a:lnTo>
                  <a:lnTo>
                    <a:pt x="1575" y="699"/>
                  </a:lnTo>
                  <a:lnTo>
                    <a:pt x="1575" y="695"/>
                  </a:lnTo>
                  <a:lnTo>
                    <a:pt x="1575" y="695"/>
                  </a:lnTo>
                  <a:lnTo>
                    <a:pt x="1575" y="695"/>
                  </a:lnTo>
                  <a:lnTo>
                    <a:pt x="1573" y="695"/>
                  </a:lnTo>
                  <a:lnTo>
                    <a:pt x="1573" y="695"/>
                  </a:lnTo>
                  <a:lnTo>
                    <a:pt x="1573" y="695"/>
                  </a:lnTo>
                  <a:lnTo>
                    <a:pt x="1575" y="695"/>
                  </a:lnTo>
                  <a:lnTo>
                    <a:pt x="1575" y="695"/>
                  </a:lnTo>
                  <a:lnTo>
                    <a:pt x="1573" y="697"/>
                  </a:lnTo>
                  <a:lnTo>
                    <a:pt x="1573" y="697"/>
                  </a:lnTo>
                  <a:lnTo>
                    <a:pt x="1573" y="697"/>
                  </a:lnTo>
                  <a:lnTo>
                    <a:pt x="1573" y="695"/>
                  </a:lnTo>
                  <a:lnTo>
                    <a:pt x="1573" y="697"/>
                  </a:lnTo>
                  <a:lnTo>
                    <a:pt x="1573" y="697"/>
                  </a:lnTo>
                  <a:lnTo>
                    <a:pt x="1573" y="699"/>
                  </a:lnTo>
                  <a:lnTo>
                    <a:pt x="1573" y="699"/>
                  </a:lnTo>
                  <a:lnTo>
                    <a:pt x="1573" y="699"/>
                  </a:lnTo>
                  <a:lnTo>
                    <a:pt x="1573" y="699"/>
                  </a:lnTo>
                  <a:lnTo>
                    <a:pt x="1573" y="701"/>
                  </a:lnTo>
                  <a:lnTo>
                    <a:pt x="1573" y="701"/>
                  </a:lnTo>
                  <a:lnTo>
                    <a:pt x="1573" y="701"/>
                  </a:lnTo>
                  <a:lnTo>
                    <a:pt x="1573" y="703"/>
                  </a:lnTo>
                  <a:lnTo>
                    <a:pt x="1573" y="703"/>
                  </a:lnTo>
                  <a:lnTo>
                    <a:pt x="1573" y="703"/>
                  </a:lnTo>
                  <a:lnTo>
                    <a:pt x="1573" y="703"/>
                  </a:lnTo>
                  <a:lnTo>
                    <a:pt x="1573" y="703"/>
                  </a:lnTo>
                  <a:lnTo>
                    <a:pt x="1573" y="703"/>
                  </a:lnTo>
                  <a:lnTo>
                    <a:pt x="1575" y="701"/>
                  </a:lnTo>
                  <a:lnTo>
                    <a:pt x="1575" y="701"/>
                  </a:lnTo>
                  <a:lnTo>
                    <a:pt x="1575" y="701"/>
                  </a:lnTo>
                  <a:lnTo>
                    <a:pt x="1575" y="699"/>
                  </a:lnTo>
                  <a:lnTo>
                    <a:pt x="1577" y="701"/>
                  </a:lnTo>
                  <a:lnTo>
                    <a:pt x="1577" y="701"/>
                  </a:lnTo>
                  <a:lnTo>
                    <a:pt x="1575" y="701"/>
                  </a:lnTo>
                  <a:lnTo>
                    <a:pt x="1575" y="701"/>
                  </a:lnTo>
                  <a:lnTo>
                    <a:pt x="1575" y="703"/>
                  </a:lnTo>
                  <a:lnTo>
                    <a:pt x="1575" y="703"/>
                  </a:lnTo>
                  <a:lnTo>
                    <a:pt x="1575" y="703"/>
                  </a:lnTo>
                  <a:lnTo>
                    <a:pt x="1575" y="703"/>
                  </a:lnTo>
                  <a:lnTo>
                    <a:pt x="1575" y="703"/>
                  </a:lnTo>
                  <a:lnTo>
                    <a:pt x="1575" y="705"/>
                  </a:lnTo>
                  <a:lnTo>
                    <a:pt x="1575" y="705"/>
                  </a:lnTo>
                  <a:lnTo>
                    <a:pt x="1575" y="705"/>
                  </a:lnTo>
                  <a:lnTo>
                    <a:pt x="1575" y="707"/>
                  </a:lnTo>
                  <a:lnTo>
                    <a:pt x="1575" y="707"/>
                  </a:lnTo>
                  <a:lnTo>
                    <a:pt x="1575" y="707"/>
                  </a:lnTo>
                  <a:lnTo>
                    <a:pt x="1577" y="709"/>
                  </a:lnTo>
                  <a:lnTo>
                    <a:pt x="1577" y="709"/>
                  </a:lnTo>
                  <a:lnTo>
                    <a:pt x="1577" y="709"/>
                  </a:lnTo>
                  <a:lnTo>
                    <a:pt x="1577" y="709"/>
                  </a:lnTo>
                  <a:lnTo>
                    <a:pt x="1577" y="709"/>
                  </a:lnTo>
                  <a:lnTo>
                    <a:pt x="1577" y="711"/>
                  </a:lnTo>
                  <a:lnTo>
                    <a:pt x="1577" y="711"/>
                  </a:lnTo>
                  <a:lnTo>
                    <a:pt x="1577" y="711"/>
                  </a:lnTo>
                  <a:lnTo>
                    <a:pt x="1577" y="711"/>
                  </a:lnTo>
                  <a:lnTo>
                    <a:pt x="1579" y="711"/>
                  </a:lnTo>
                  <a:lnTo>
                    <a:pt x="1579" y="713"/>
                  </a:lnTo>
                  <a:lnTo>
                    <a:pt x="1577" y="713"/>
                  </a:lnTo>
                  <a:lnTo>
                    <a:pt x="1579" y="713"/>
                  </a:lnTo>
                  <a:lnTo>
                    <a:pt x="1579" y="713"/>
                  </a:lnTo>
                  <a:lnTo>
                    <a:pt x="1581" y="713"/>
                  </a:lnTo>
                  <a:lnTo>
                    <a:pt x="1581" y="715"/>
                  </a:lnTo>
                  <a:lnTo>
                    <a:pt x="1581" y="715"/>
                  </a:lnTo>
                  <a:lnTo>
                    <a:pt x="1581" y="715"/>
                  </a:lnTo>
                  <a:lnTo>
                    <a:pt x="1583" y="715"/>
                  </a:lnTo>
                  <a:lnTo>
                    <a:pt x="1583" y="715"/>
                  </a:lnTo>
                  <a:lnTo>
                    <a:pt x="1581" y="713"/>
                  </a:lnTo>
                  <a:lnTo>
                    <a:pt x="1581" y="713"/>
                  </a:lnTo>
                  <a:lnTo>
                    <a:pt x="1581" y="713"/>
                  </a:lnTo>
                  <a:lnTo>
                    <a:pt x="1581" y="711"/>
                  </a:lnTo>
                  <a:lnTo>
                    <a:pt x="1581" y="711"/>
                  </a:lnTo>
                  <a:lnTo>
                    <a:pt x="1581" y="711"/>
                  </a:lnTo>
                  <a:lnTo>
                    <a:pt x="1581" y="711"/>
                  </a:lnTo>
                  <a:lnTo>
                    <a:pt x="1581" y="709"/>
                  </a:lnTo>
                  <a:lnTo>
                    <a:pt x="1581" y="709"/>
                  </a:lnTo>
                  <a:lnTo>
                    <a:pt x="1579" y="709"/>
                  </a:lnTo>
                  <a:lnTo>
                    <a:pt x="1579" y="709"/>
                  </a:lnTo>
                  <a:lnTo>
                    <a:pt x="1579" y="709"/>
                  </a:lnTo>
                  <a:lnTo>
                    <a:pt x="1579" y="709"/>
                  </a:lnTo>
                  <a:lnTo>
                    <a:pt x="1579" y="709"/>
                  </a:lnTo>
                  <a:lnTo>
                    <a:pt x="1577" y="707"/>
                  </a:lnTo>
                  <a:lnTo>
                    <a:pt x="1577" y="707"/>
                  </a:lnTo>
                  <a:lnTo>
                    <a:pt x="1579" y="707"/>
                  </a:lnTo>
                  <a:lnTo>
                    <a:pt x="1579" y="705"/>
                  </a:lnTo>
                  <a:lnTo>
                    <a:pt x="1579" y="703"/>
                  </a:lnTo>
                  <a:lnTo>
                    <a:pt x="1579" y="703"/>
                  </a:lnTo>
                  <a:lnTo>
                    <a:pt x="1579" y="701"/>
                  </a:lnTo>
                  <a:lnTo>
                    <a:pt x="1579" y="701"/>
                  </a:lnTo>
                  <a:lnTo>
                    <a:pt x="1579" y="699"/>
                  </a:lnTo>
                  <a:lnTo>
                    <a:pt x="1579" y="699"/>
                  </a:lnTo>
                  <a:lnTo>
                    <a:pt x="1581" y="701"/>
                  </a:lnTo>
                  <a:lnTo>
                    <a:pt x="1581" y="703"/>
                  </a:lnTo>
                  <a:lnTo>
                    <a:pt x="1581" y="705"/>
                  </a:lnTo>
                  <a:lnTo>
                    <a:pt x="1581" y="705"/>
                  </a:lnTo>
                  <a:lnTo>
                    <a:pt x="1581" y="705"/>
                  </a:lnTo>
                  <a:lnTo>
                    <a:pt x="1583" y="705"/>
                  </a:lnTo>
                  <a:lnTo>
                    <a:pt x="1583" y="709"/>
                  </a:lnTo>
                  <a:lnTo>
                    <a:pt x="1583" y="709"/>
                  </a:lnTo>
                  <a:lnTo>
                    <a:pt x="1583" y="709"/>
                  </a:lnTo>
                  <a:lnTo>
                    <a:pt x="1583" y="711"/>
                  </a:lnTo>
                  <a:lnTo>
                    <a:pt x="1585" y="711"/>
                  </a:lnTo>
                  <a:lnTo>
                    <a:pt x="1585" y="709"/>
                  </a:lnTo>
                  <a:lnTo>
                    <a:pt x="1585" y="709"/>
                  </a:lnTo>
                  <a:lnTo>
                    <a:pt x="1585" y="709"/>
                  </a:lnTo>
                  <a:lnTo>
                    <a:pt x="1585" y="709"/>
                  </a:lnTo>
                  <a:lnTo>
                    <a:pt x="1585" y="707"/>
                  </a:lnTo>
                  <a:close/>
                  <a:moveTo>
                    <a:pt x="1618" y="682"/>
                  </a:moveTo>
                  <a:lnTo>
                    <a:pt x="1616" y="682"/>
                  </a:lnTo>
                  <a:lnTo>
                    <a:pt x="1616" y="680"/>
                  </a:lnTo>
                  <a:lnTo>
                    <a:pt x="1616" y="680"/>
                  </a:lnTo>
                  <a:lnTo>
                    <a:pt x="1616" y="680"/>
                  </a:lnTo>
                  <a:lnTo>
                    <a:pt x="1614" y="680"/>
                  </a:lnTo>
                  <a:lnTo>
                    <a:pt x="1612" y="680"/>
                  </a:lnTo>
                  <a:lnTo>
                    <a:pt x="1612" y="682"/>
                  </a:lnTo>
                  <a:lnTo>
                    <a:pt x="1612" y="682"/>
                  </a:lnTo>
                  <a:lnTo>
                    <a:pt x="1610" y="682"/>
                  </a:lnTo>
                  <a:lnTo>
                    <a:pt x="1610" y="682"/>
                  </a:lnTo>
                  <a:lnTo>
                    <a:pt x="1610" y="682"/>
                  </a:lnTo>
                  <a:lnTo>
                    <a:pt x="1608" y="682"/>
                  </a:lnTo>
                  <a:lnTo>
                    <a:pt x="1608" y="682"/>
                  </a:lnTo>
                  <a:lnTo>
                    <a:pt x="1608" y="684"/>
                  </a:lnTo>
                  <a:lnTo>
                    <a:pt x="1606" y="684"/>
                  </a:lnTo>
                  <a:lnTo>
                    <a:pt x="1606" y="689"/>
                  </a:lnTo>
                  <a:lnTo>
                    <a:pt x="1606" y="689"/>
                  </a:lnTo>
                  <a:lnTo>
                    <a:pt x="1606" y="691"/>
                  </a:lnTo>
                  <a:lnTo>
                    <a:pt x="1608" y="691"/>
                  </a:lnTo>
                  <a:lnTo>
                    <a:pt x="1612" y="693"/>
                  </a:lnTo>
                  <a:lnTo>
                    <a:pt x="1614" y="693"/>
                  </a:lnTo>
                  <a:lnTo>
                    <a:pt x="1616" y="691"/>
                  </a:lnTo>
                  <a:lnTo>
                    <a:pt x="1618" y="691"/>
                  </a:lnTo>
                  <a:lnTo>
                    <a:pt x="1618" y="689"/>
                  </a:lnTo>
                  <a:lnTo>
                    <a:pt x="1618" y="689"/>
                  </a:lnTo>
                  <a:lnTo>
                    <a:pt x="1618" y="687"/>
                  </a:lnTo>
                  <a:lnTo>
                    <a:pt x="1616" y="687"/>
                  </a:lnTo>
                  <a:lnTo>
                    <a:pt x="1616" y="684"/>
                  </a:lnTo>
                  <a:lnTo>
                    <a:pt x="1616" y="684"/>
                  </a:lnTo>
                  <a:lnTo>
                    <a:pt x="1618" y="682"/>
                  </a:lnTo>
                  <a:lnTo>
                    <a:pt x="1618" y="682"/>
                  </a:lnTo>
                  <a:close/>
                  <a:moveTo>
                    <a:pt x="1526" y="670"/>
                  </a:moveTo>
                  <a:lnTo>
                    <a:pt x="1526" y="670"/>
                  </a:lnTo>
                  <a:lnTo>
                    <a:pt x="1524" y="670"/>
                  </a:lnTo>
                  <a:lnTo>
                    <a:pt x="1524" y="670"/>
                  </a:lnTo>
                  <a:lnTo>
                    <a:pt x="1524" y="668"/>
                  </a:lnTo>
                  <a:lnTo>
                    <a:pt x="1524" y="668"/>
                  </a:lnTo>
                  <a:lnTo>
                    <a:pt x="1524" y="666"/>
                  </a:lnTo>
                  <a:lnTo>
                    <a:pt x="1522" y="666"/>
                  </a:lnTo>
                  <a:lnTo>
                    <a:pt x="1524" y="666"/>
                  </a:lnTo>
                  <a:lnTo>
                    <a:pt x="1524" y="666"/>
                  </a:lnTo>
                  <a:lnTo>
                    <a:pt x="1524" y="666"/>
                  </a:lnTo>
                  <a:lnTo>
                    <a:pt x="1524" y="666"/>
                  </a:lnTo>
                  <a:lnTo>
                    <a:pt x="1522" y="664"/>
                  </a:lnTo>
                  <a:lnTo>
                    <a:pt x="1522" y="664"/>
                  </a:lnTo>
                  <a:lnTo>
                    <a:pt x="1518" y="662"/>
                  </a:lnTo>
                  <a:lnTo>
                    <a:pt x="1516" y="662"/>
                  </a:lnTo>
                  <a:lnTo>
                    <a:pt x="1516" y="664"/>
                  </a:lnTo>
                  <a:lnTo>
                    <a:pt x="1516" y="664"/>
                  </a:lnTo>
                  <a:lnTo>
                    <a:pt x="1516" y="666"/>
                  </a:lnTo>
                  <a:lnTo>
                    <a:pt x="1516" y="666"/>
                  </a:lnTo>
                  <a:lnTo>
                    <a:pt x="1516" y="666"/>
                  </a:lnTo>
                  <a:lnTo>
                    <a:pt x="1516" y="668"/>
                  </a:lnTo>
                  <a:lnTo>
                    <a:pt x="1516" y="668"/>
                  </a:lnTo>
                  <a:lnTo>
                    <a:pt x="1518" y="668"/>
                  </a:lnTo>
                  <a:lnTo>
                    <a:pt x="1518" y="668"/>
                  </a:lnTo>
                  <a:lnTo>
                    <a:pt x="1518" y="668"/>
                  </a:lnTo>
                  <a:lnTo>
                    <a:pt x="1518" y="668"/>
                  </a:lnTo>
                  <a:lnTo>
                    <a:pt x="1518" y="670"/>
                  </a:lnTo>
                  <a:lnTo>
                    <a:pt x="1518" y="670"/>
                  </a:lnTo>
                  <a:lnTo>
                    <a:pt x="1518" y="670"/>
                  </a:lnTo>
                  <a:lnTo>
                    <a:pt x="1520" y="670"/>
                  </a:lnTo>
                  <a:lnTo>
                    <a:pt x="1522" y="670"/>
                  </a:lnTo>
                  <a:lnTo>
                    <a:pt x="1522" y="670"/>
                  </a:lnTo>
                  <a:lnTo>
                    <a:pt x="1522" y="672"/>
                  </a:lnTo>
                  <a:lnTo>
                    <a:pt x="1520" y="674"/>
                  </a:lnTo>
                  <a:lnTo>
                    <a:pt x="1520" y="674"/>
                  </a:lnTo>
                  <a:lnTo>
                    <a:pt x="1520" y="674"/>
                  </a:lnTo>
                  <a:lnTo>
                    <a:pt x="1520" y="676"/>
                  </a:lnTo>
                  <a:lnTo>
                    <a:pt x="1520" y="676"/>
                  </a:lnTo>
                  <a:lnTo>
                    <a:pt x="1520" y="680"/>
                  </a:lnTo>
                  <a:lnTo>
                    <a:pt x="1524" y="678"/>
                  </a:lnTo>
                  <a:lnTo>
                    <a:pt x="1524" y="678"/>
                  </a:lnTo>
                  <a:lnTo>
                    <a:pt x="1524" y="678"/>
                  </a:lnTo>
                  <a:lnTo>
                    <a:pt x="1524" y="678"/>
                  </a:lnTo>
                  <a:lnTo>
                    <a:pt x="1526" y="678"/>
                  </a:lnTo>
                  <a:lnTo>
                    <a:pt x="1526" y="678"/>
                  </a:lnTo>
                  <a:lnTo>
                    <a:pt x="1526" y="676"/>
                  </a:lnTo>
                  <a:lnTo>
                    <a:pt x="1526" y="672"/>
                  </a:lnTo>
                  <a:lnTo>
                    <a:pt x="1526" y="670"/>
                  </a:lnTo>
                  <a:lnTo>
                    <a:pt x="1526" y="670"/>
                  </a:lnTo>
                  <a:close/>
                  <a:moveTo>
                    <a:pt x="1239" y="566"/>
                  </a:moveTo>
                  <a:lnTo>
                    <a:pt x="1239" y="566"/>
                  </a:lnTo>
                  <a:lnTo>
                    <a:pt x="1239" y="566"/>
                  </a:lnTo>
                  <a:lnTo>
                    <a:pt x="1239" y="566"/>
                  </a:lnTo>
                  <a:lnTo>
                    <a:pt x="1239" y="566"/>
                  </a:lnTo>
                  <a:lnTo>
                    <a:pt x="1237" y="566"/>
                  </a:lnTo>
                  <a:lnTo>
                    <a:pt x="1239" y="566"/>
                  </a:lnTo>
                  <a:lnTo>
                    <a:pt x="1239" y="566"/>
                  </a:lnTo>
                  <a:lnTo>
                    <a:pt x="1239" y="566"/>
                  </a:lnTo>
                  <a:lnTo>
                    <a:pt x="1239" y="566"/>
                  </a:lnTo>
                  <a:lnTo>
                    <a:pt x="1239" y="566"/>
                  </a:lnTo>
                  <a:lnTo>
                    <a:pt x="1239" y="566"/>
                  </a:lnTo>
                  <a:lnTo>
                    <a:pt x="1239" y="566"/>
                  </a:lnTo>
                  <a:lnTo>
                    <a:pt x="1239" y="566"/>
                  </a:lnTo>
                  <a:close/>
                  <a:moveTo>
                    <a:pt x="1534" y="607"/>
                  </a:moveTo>
                  <a:lnTo>
                    <a:pt x="1534" y="609"/>
                  </a:lnTo>
                  <a:lnTo>
                    <a:pt x="1536" y="609"/>
                  </a:lnTo>
                  <a:lnTo>
                    <a:pt x="1536" y="609"/>
                  </a:lnTo>
                  <a:lnTo>
                    <a:pt x="1536" y="609"/>
                  </a:lnTo>
                  <a:lnTo>
                    <a:pt x="1538" y="609"/>
                  </a:lnTo>
                  <a:lnTo>
                    <a:pt x="1538" y="609"/>
                  </a:lnTo>
                  <a:lnTo>
                    <a:pt x="1544" y="607"/>
                  </a:lnTo>
                  <a:lnTo>
                    <a:pt x="1544" y="607"/>
                  </a:lnTo>
                  <a:lnTo>
                    <a:pt x="1540" y="605"/>
                  </a:lnTo>
                  <a:lnTo>
                    <a:pt x="1538" y="603"/>
                  </a:lnTo>
                  <a:lnTo>
                    <a:pt x="1536" y="603"/>
                  </a:lnTo>
                  <a:lnTo>
                    <a:pt x="1534" y="603"/>
                  </a:lnTo>
                  <a:lnTo>
                    <a:pt x="1534" y="603"/>
                  </a:lnTo>
                  <a:lnTo>
                    <a:pt x="1534" y="605"/>
                  </a:lnTo>
                  <a:lnTo>
                    <a:pt x="1534" y="605"/>
                  </a:lnTo>
                  <a:lnTo>
                    <a:pt x="1532" y="605"/>
                  </a:lnTo>
                  <a:lnTo>
                    <a:pt x="1532" y="605"/>
                  </a:lnTo>
                  <a:lnTo>
                    <a:pt x="1532" y="607"/>
                  </a:lnTo>
                  <a:lnTo>
                    <a:pt x="1534" y="607"/>
                  </a:lnTo>
                  <a:close/>
                  <a:moveTo>
                    <a:pt x="1565" y="709"/>
                  </a:moveTo>
                  <a:lnTo>
                    <a:pt x="1565" y="709"/>
                  </a:lnTo>
                  <a:lnTo>
                    <a:pt x="1565" y="707"/>
                  </a:lnTo>
                  <a:lnTo>
                    <a:pt x="1563" y="707"/>
                  </a:lnTo>
                  <a:lnTo>
                    <a:pt x="1563" y="707"/>
                  </a:lnTo>
                  <a:lnTo>
                    <a:pt x="1563" y="705"/>
                  </a:lnTo>
                  <a:lnTo>
                    <a:pt x="1563" y="703"/>
                  </a:lnTo>
                  <a:lnTo>
                    <a:pt x="1563" y="703"/>
                  </a:lnTo>
                  <a:lnTo>
                    <a:pt x="1563" y="703"/>
                  </a:lnTo>
                  <a:lnTo>
                    <a:pt x="1563" y="701"/>
                  </a:lnTo>
                  <a:lnTo>
                    <a:pt x="1563" y="701"/>
                  </a:lnTo>
                  <a:lnTo>
                    <a:pt x="1563" y="699"/>
                  </a:lnTo>
                  <a:lnTo>
                    <a:pt x="1561" y="699"/>
                  </a:lnTo>
                  <a:lnTo>
                    <a:pt x="1561" y="699"/>
                  </a:lnTo>
                  <a:lnTo>
                    <a:pt x="1561" y="697"/>
                  </a:lnTo>
                  <a:lnTo>
                    <a:pt x="1561" y="697"/>
                  </a:lnTo>
                  <a:lnTo>
                    <a:pt x="1561" y="697"/>
                  </a:lnTo>
                  <a:lnTo>
                    <a:pt x="1559" y="693"/>
                  </a:lnTo>
                  <a:lnTo>
                    <a:pt x="1559" y="691"/>
                  </a:lnTo>
                  <a:lnTo>
                    <a:pt x="1559" y="691"/>
                  </a:lnTo>
                  <a:lnTo>
                    <a:pt x="1559" y="691"/>
                  </a:lnTo>
                  <a:lnTo>
                    <a:pt x="1559" y="693"/>
                  </a:lnTo>
                  <a:lnTo>
                    <a:pt x="1559" y="693"/>
                  </a:lnTo>
                  <a:lnTo>
                    <a:pt x="1559" y="693"/>
                  </a:lnTo>
                  <a:lnTo>
                    <a:pt x="1561" y="693"/>
                  </a:lnTo>
                  <a:lnTo>
                    <a:pt x="1561" y="693"/>
                  </a:lnTo>
                  <a:lnTo>
                    <a:pt x="1561" y="693"/>
                  </a:lnTo>
                  <a:lnTo>
                    <a:pt x="1561" y="693"/>
                  </a:lnTo>
                  <a:lnTo>
                    <a:pt x="1559" y="691"/>
                  </a:lnTo>
                  <a:lnTo>
                    <a:pt x="1557" y="684"/>
                  </a:lnTo>
                  <a:lnTo>
                    <a:pt x="1557" y="682"/>
                  </a:lnTo>
                  <a:lnTo>
                    <a:pt x="1557" y="682"/>
                  </a:lnTo>
                  <a:lnTo>
                    <a:pt x="1557" y="682"/>
                  </a:lnTo>
                  <a:lnTo>
                    <a:pt x="1557" y="682"/>
                  </a:lnTo>
                  <a:lnTo>
                    <a:pt x="1557" y="680"/>
                  </a:lnTo>
                  <a:lnTo>
                    <a:pt x="1555" y="678"/>
                  </a:lnTo>
                  <a:lnTo>
                    <a:pt x="1555" y="678"/>
                  </a:lnTo>
                  <a:lnTo>
                    <a:pt x="1552" y="676"/>
                  </a:lnTo>
                  <a:lnTo>
                    <a:pt x="1552" y="676"/>
                  </a:lnTo>
                  <a:lnTo>
                    <a:pt x="1552" y="674"/>
                  </a:lnTo>
                  <a:lnTo>
                    <a:pt x="1552" y="674"/>
                  </a:lnTo>
                  <a:lnTo>
                    <a:pt x="1550" y="674"/>
                  </a:lnTo>
                  <a:lnTo>
                    <a:pt x="1550" y="674"/>
                  </a:lnTo>
                  <a:lnTo>
                    <a:pt x="1550" y="672"/>
                  </a:lnTo>
                  <a:lnTo>
                    <a:pt x="1550" y="672"/>
                  </a:lnTo>
                  <a:lnTo>
                    <a:pt x="1550" y="670"/>
                  </a:lnTo>
                  <a:lnTo>
                    <a:pt x="1550" y="670"/>
                  </a:lnTo>
                  <a:lnTo>
                    <a:pt x="1550" y="670"/>
                  </a:lnTo>
                  <a:lnTo>
                    <a:pt x="1550" y="670"/>
                  </a:lnTo>
                  <a:lnTo>
                    <a:pt x="1550" y="670"/>
                  </a:lnTo>
                  <a:lnTo>
                    <a:pt x="1550" y="670"/>
                  </a:lnTo>
                  <a:lnTo>
                    <a:pt x="1548" y="670"/>
                  </a:lnTo>
                  <a:lnTo>
                    <a:pt x="1548" y="668"/>
                  </a:lnTo>
                  <a:lnTo>
                    <a:pt x="1548" y="668"/>
                  </a:lnTo>
                  <a:lnTo>
                    <a:pt x="1548" y="668"/>
                  </a:lnTo>
                  <a:lnTo>
                    <a:pt x="1548" y="668"/>
                  </a:lnTo>
                  <a:lnTo>
                    <a:pt x="1548" y="668"/>
                  </a:lnTo>
                  <a:lnTo>
                    <a:pt x="1546" y="668"/>
                  </a:lnTo>
                  <a:lnTo>
                    <a:pt x="1548" y="666"/>
                  </a:lnTo>
                  <a:lnTo>
                    <a:pt x="1546" y="666"/>
                  </a:lnTo>
                  <a:lnTo>
                    <a:pt x="1546" y="664"/>
                  </a:lnTo>
                  <a:lnTo>
                    <a:pt x="1544" y="664"/>
                  </a:lnTo>
                  <a:lnTo>
                    <a:pt x="1546" y="664"/>
                  </a:lnTo>
                  <a:lnTo>
                    <a:pt x="1546" y="662"/>
                  </a:lnTo>
                  <a:lnTo>
                    <a:pt x="1544" y="662"/>
                  </a:lnTo>
                  <a:lnTo>
                    <a:pt x="1544" y="662"/>
                  </a:lnTo>
                  <a:lnTo>
                    <a:pt x="1544" y="662"/>
                  </a:lnTo>
                  <a:lnTo>
                    <a:pt x="1544" y="660"/>
                  </a:lnTo>
                  <a:lnTo>
                    <a:pt x="1544" y="660"/>
                  </a:lnTo>
                  <a:lnTo>
                    <a:pt x="1544" y="660"/>
                  </a:lnTo>
                  <a:lnTo>
                    <a:pt x="1544" y="660"/>
                  </a:lnTo>
                  <a:lnTo>
                    <a:pt x="1542" y="660"/>
                  </a:lnTo>
                  <a:lnTo>
                    <a:pt x="1542" y="660"/>
                  </a:lnTo>
                  <a:lnTo>
                    <a:pt x="1540" y="660"/>
                  </a:lnTo>
                  <a:lnTo>
                    <a:pt x="1540" y="660"/>
                  </a:lnTo>
                  <a:lnTo>
                    <a:pt x="1540" y="658"/>
                  </a:lnTo>
                  <a:lnTo>
                    <a:pt x="1540" y="658"/>
                  </a:lnTo>
                  <a:lnTo>
                    <a:pt x="1540" y="658"/>
                  </a:lnTo>
                  <a:lnTo>
                    <a:pt x="1540" y="658"/>
                  </a:lnTo>
                  <a:lnTo>
                    <a:pt x="1540" y="658"/>
                  </a:lnTo>
                  <a:lnTo>
                    <a:pt x="1540" y="658"/>
                  </a:lnTo>
                  <a:lnTo>
                    <a:pt x="1538" y="658"/>
                  </a:lnTo>
                  <a:lnTo>
                    <a:pt x="1538" y="658"/>
                  </a:lnTo>
                  <a:lnTo>
                    <a:pt x="1538" y="658"/>
                  </a:lnTo>
                  <a:lnTo>
                    <a:pt x="1540" y="656"/>
                  </a:lnTo>
                  <a:lnTo>
                    <a:pt x="1540" y="656"/>
                  </a:lnTo>
                  <a:lnTo>
                    <a:pt x="1538" y="656"/>
                  </a:lnTo>
                  <a:lnTo>
                    <a:pt x="1538" y="656"/>
                  </a:lnTo>
                  <a:lnTo>
                    <a:pt x="1538" y="656"/>
                  </a:lnTo>
                  <a:lnTo>
                    <a:pt x="1540" y="656"/>
                  </a:lnTo>
                  <a:lnTo>
                    <a:pt x="1540" y="656"/>
                  </a:lnTo>
                  <a:lnTo>
                    <a:pt x="1538" y="654"/>
                  </a:lnTo>
                  <a:lnTo>
                    <a:pt x="1536" y="654"/>
                  </a:lnTo>
                  <a:lnTo>
                    <a:pt x="1536" y="654"/>
                  </a:lnTo>
                  <a:lnTo>
                    <a:pt x="1536" y="652"/>
                  </a:lnTo>
                  <a:lnTo>
                    <a:pt x="1534" y="652"/>
                  </a:lnTo>
                  <a:lnTo>
                    <a:pt x="1532" y="652"/>
                  </a:lnTo>
                  <a:lnTo>
                    <a:pt x="1532" y="652"/>
                  </a:lnTo>
                  <a:lnTo>
                    <a:pt x="1532" y="654"/>
                  </a:lnTo>
                  <a:lnTo>
                    <a:pt x="1532" y="654"/>
                  </a:lnTo>
                  <a:lnTo>
                    <a:pt x="1532" y="652"/>
                  </a:lnTo>
                  <a:lnTo>
                    <a:pt x="1532" y="652"/>
                  </a:lnTo>
                  <a:lnTo>
                    <a:pt x="1532" y="652"/>
                  </a:lnTo>
                  <a:lnTo>
                    <a:pt x="1530" y="650"/>
                  </a:lnTo>
                  <a:lnTo>
                    <a:pt x="1530" y="652"/>
                  </a:lnTo>
                  <a:lnTo>
                    <a:pt x="1530" y="652"/>
                  </a:lnTo>
                  <a:lnTo>
                    <a:pt x="1530" y="652"/>
                  </a:lnTo>
                  <a:lnTo>
                    <a:pt x="1528" y="652"/>
                  </a:lnTo>
                  <a:lnTo>
                    <a:pt x="1528" y="652"/>
                  </a:lnTo>
                  <a:lnTo>
                    <a:pt x="1528" y="652"/>
                  </a:lnTo>
                  <a:lnTo>
                    <a:pt x="1528" y="652"/>
                  </a:lnTo>
                  <a:lnTo>
                    <a:pt x="1526" y="654"/>
                  </a:lnTo>
                  <a:lnTo>
                    <a:pt x="1526" y="654"/>
                  </a:lnTo>
                  <a:lnTo>
                    <a:pt x="1526" y="654"/>
                  </a:lnTo>
                  <a:lnTo>
                    <a:pt x="1526" y="654"/>
                  </a:lnTo>
                  <a:lnTo>
                    <a:pt x="1526" y="652"/>
                  </a:lnTo>
                  <a:lnTo>
                    <a:pt x="1528" y="652"/>
                  </a:lnTo>
                  <a:lnTo>
                    <a:pt x="1528" y="650"/>
                  </a:lnTo>
                  <a:lnTo>
                    <a:pt x="1526" y="650"/>
                  </a:lnTo>
                  <a:lnTo>
                    <a:pt x="1524" y="648"/>
                  </a:lnTo>
                  <a:lnTo>
                    <a:pt x="1524" y="650"/>
                  </a:lnTo>
                  <a:lnTo>
                    <a:pt x="1522" y="652"/>
                  </a:lnTo>
                  <a:lnTo>
                    <a:pt x="1522" y="652"/>
                  </a:lnTo>
                  <a:lnTo>
                    <a:pt x="1522" y="652"/>
                  </a:lnTo>
                  <a:lnTo>
                    <a:pt x="1522" y="652"/>
                  </a:lnTo>
                  <a:lnTo>
                    <a:pt x="1522" y="652"/>
                  </a:lnTo>
                  <a:lnTo>
                    <a:pt x="1522" y="652"/>
                  </a:lnTo>
                  <a:lnTo>
                    <a:pt x="1522" y="652"/>
                  </a:lnTo>
                  <a:lnTo>
                    <a:pt x="1522" y="654"/>
                  </a:lnTo>
                  <a:lnTo>
                    <a:pt x="1522" y="654"/>
                  </a:lnTo>
                  <a:lnTo>
                    <a:pt x="1522" y="654"/>
                  </a:lnTo>
                  <a:lnTo>
                    <a:pt x="1522" y="654"/>
                  </a:lnTo>
                  <a:lnTo>
                    <a:pt x="1522" y="654"/>
                  </a:lnTo>
                  <a:lnTo>
                    <a:pt x="1522" y="654"/>
                  </a:lnTo>
                  <a:lnTo>
                    <a:pt x="1522" y="656"/>
                  </a:lnTo>
                  <a:lnTo>
                    <a:pt x="1522" y="656"/>
                  </a:lnTo>
                  <a:lnTo>
                    <a:pt x="1522" y="656"/>
                  </a:lnTo>
                  <a:lnTo>
                    <a:pt x="1522" y="656"/>
                  </a:lnTo>
                  <a:lnTo>
                    <a:pt x="1522" y="656"/>
                  </a:lnTo>
                  <a:lnTo>
                    <a:pt x="1522" y="658"/>
                  </a:lnTo>
                  <a:lnTo>
                    <a:pt x="1522" y="658"/>
                  </a:lnTo>
                  <a:lnTo>
                    <a:pt x="1522" y="658"/>
                  </a:lnTo>
                  <a:lnTo>
                    <a:pt x="1522" y="658"/>
                  </a:lnTo>
                  <a:lnTo>
                    <a:pt x="1522" y="658"/>
                  </a:lnTo>
                  <a:lnTo>
                    <a:pt x="1524" y="658"/>
                  </a:lnTo>
                  <a:lnTo>
                    <a:pt x="1524" y="658"/>
                  </a:lnTo>
                  <a:lnTo>
                    <a:pt x="1524" y="658"/>
                  </a:lnTo>
                  <a:lnTo>
                    <a:pt x="1526" y="660"/>
                  </a:lnTo>
                  <a:lnTo>
                    <a:pt x="1524" y="660"/>
                  </a:lnTo>
                  <a:lnTo>
                    <a:pt x="1522" y="660"/>
                  </a:lnTo>
                  <a:lnTo>
                    <a:pt x="1520" y="660"/>
                  </a:lnTo>
                  <a:lnTo>
                    <a:pt x="1520" y="660"/>
                  </a:lnTo>
                  <a:lnTo>
                    <a:pt x="1520" y="660"/>
                  </a:lnTo>
                  <a:lnTo>
                    <a:pt x="1520" y="660"/>
                  </a:lnTo>
                  <a:lnTo>
                    <a:pt x="1520" y="662"/>
                  </a:lnTo>
                  <a:lnTo>
                    <a:pt x="1522" y="662"/>
                  </a:lnTo>
                  <a:lnTo>
                    <a:pt x="1524" y="664"/>
                  </a:lnTo>
                  <a:lnTo>
                    <a:pt x="1524" y="666"/>
                  </a:lnTo>
                  <a:lnTo>
                    <a:pt x="1526" y="666"/>
                  </a:lnTo>
                  <a:lnTo>
                    <a:pt x="1526" y="666"/>
                  </a:lnTo>
                  <a:lnTo>
                    <a:pt x="1526" y="664"/>
                  </a:lnTo>
                  <a:lnTo>
                    <a:pt x="1526" y="664"/>
                  </a:lnTo>
                  <a:lnTo>
                    <a:pt x="1528" y="664"/>
                  </a:lnTo>
                  <a:lnTo>
                    <a:pt x="1528" y="664"/>
                  </a:lnTo>
                  <a:lnTo>
                    <a:pt x="1530" y="664"/>
                  </a:lnTo>
                  <a:lnTo>
                    <a:pt x="1530" y="666"/>
                  </a:lnTo>
                  <a:lnTo>
                    <a:pt x="1530" y="666"/>
                  </a:lnTo>
                  <a:lnTo>
                    <a:pt x="1530" y="666"/>
                  </a:lnTo>
                  <a:lnTo>
                    <a:pt x="1530" y="668"/>
                  </a:lnTo>
                  <a:lnTo>
                    <a:pt x="1530" y="668"/>
                  </a:lnTo>
                  <a:lnTo>
                    <a:pt x="1530" y="668"/>
                  </a:lnTo>
                  <a:lnTo>
                    <a:pt x="1530" y="668"/>
                  </a:lnTo>
                  <a:lnTo>
                    <a:pt x="1530" y="668"/>
                  </a:lnTo>
                  <a:lnTo>
                    <a:pt x="1530" y="668"/>
                  </a:lnTo>
                  <a:lnTo>
                    <a:pt x="1532" y="666"/>
                  </a:lnTo>
                  <a:lnTo>
                    <a:pt x="1532" y="666"/>
                  </a:lnTo>
                  <a:lnTo>
                    <a:pt x="1532" y="666"/>
                  </a:lnTo>
                  <a:lnTo>
                    <a:pt x="1534" y="666"/>
                  </a:lnTo>
                  <a:lnTo>
                    <a:pt x="1534" y="668"/>
                  </a:lnTo>
                  <a:lnTo>
                    <a:pt x="1532" y="668"/>
                  </a:lnTo>
                  <a:lnTo>
                    <a:pt x="1532" y="668"/>
                  </a:lnTo>
                  <a:lnTo>
                    <a:pt x="1530" y="670"/>
                  </a:lnTo>
                  <a:lnTo>
                    <a:pt x="1532" y="672"/>
                  </a:lnTo>
                  <a:lnTo>
                    <a:pt x="1532" y="672"/>
                  </a:lnTo>
                  <a:lnTo>
                    <a:pt x="1534" y="674"/>
                  </a:lnTo>
                  <a:lnTo>
                    <a:pt x="1534" y="674"/>
                  </a:lnTo>
                  <a:lnTo>
                    <a:pt x="1536" y="672"/>
                  </a:lnTo>
                  <a:lnTo>
                    <a:pt x="1538" y="672"/>
                  </a:lnTo>
                  <a:lnTo>
                    <a:pt x="1538" y="672"/>
                  </a:lnTo>
                  <a:lnTo>
                    <a:pt x="1538" y="674"/>
                  </a:lnTo>
                  <a:lnTo>
                    <a:pt x="1538" y="674"/>
                  </a:lnTo>
                  <a:lnTo>
                    <a:pt x="1538" y="674"/>
                  </a:lnTo>
                  <a:lnTo>
                    <a:pt x="1536" y="674"/>
                  </a:lnTo>
                  <a:lnTo>
                    <a:pt x="1536" y="674"/>
                  </a:lnTo>
                  <a:lnTo>
                    <a:pt x="1536" y="674"/>
                  </a:lnTo>
                  <a:lnTo>
                    <a:pt x="1536" y="676"/>
                  </a:lnTo>
                  <a:lnTo>
                    <a:pt x="1536" y="676"/>
                  </a:lnTo>
                  <a:lnTo>
                    <a:pt x="1536" y="676"/>
                  </a:lnTo>
                  <a:lnTo>
                    <a:pt x="1534" y="676"/>
                  </a:lnTo>
                  <a:lnTo>
                    <a:pt x="1534" y="676"/>
                  </a:lnTo>
                  <a:lnTo>
                    <a:pt x="1534" y="678"/>
                  </a:lnTo>
                  <a:lnTo>
                    <a:pt x="1534" y="678"/>
                  </a:lnTo>
                  <a:lnTo>
                    <a:pt x="1534" y="678"/>
                  </a:lnTo>
                  <a:lnTo>
                    <a:pt x="1534" y="678"/>
                  </a:lnTo>
                  <a:lnTo>
                    <a:pt x="1534" y="678"/>
                  </a:lnTo>
                  <a:lnTo>
                    <a:pt x="1534" y="678"/>
                  </a:lnTo>
                  <a:lnTo>
                    <a:pt x="1534" y="678"/>
                  </a:lnTo>
                  <a:lnTo>
                    <a:pt x="1536" y="680"/>
                  </a:lnTo>
                  <a:lnTo>
                    <a:pt x="1536" y="680"/>
                  </a:lnTo>
                  <a:lnTo>
                    <a:pt x="1536" y="680"/>
                  </a:lnTo>
                  <a:lnTo>
                    <a:pt x="1536" y="680"/>
                  </a:lnTo>
                  <a:lnTo>
                    <a:pt x="1536" y="680"/>
                  </a:lnTo>
                  <a:lnTo>
                    <a:pt x="1536" y="682"/>
                  </a:lnTo>
                  <a:lnTo>
                    <a:pt x="1534" y="682"/>
                  </a:lnTo>
                  <a:lnTo>
                    <a:pt x="1534" y="682"/>
                  </a:lnTo>
                  <a:lnTo>
                    <a:pt x="1536" y="684"/>
                  </a:lnTo>
                  <a:lnTo>
                    <a:pt x="1536" y="684"/>
                  </a:lnTo>
                  <a:lnTo>
                    <a:pt x="1536" y="684"/>
                  </a:lnTo>
                  <a:lnTo>
                    <a:pt x="1536" y="684"/>
                  </a:lnTo>
                  <a:lnTo>
                    <a:pt x="1536" y="687"/>
                  </a:lnTo>
                  <a:lnTo>
                    <a:pt x="1538" y="687"/>
                  </a:lnTo>
                  <a:lnTo>
                    <a:pt x="1540" y="682"/>
                  </a:lnTo>
                  <a:lnTo>
                    <a:pt x="1542" y="682"/>
                  </a:lnTo>
                  <a:lnTo>
                    <a:pt x="1542" y="682"/>
                  </a:lnTo>
                  <a:lnTo>
                    <a:pt x="1542" y="682"/>
                  </a:lnTo>
                  <a:lnTo>
                    <a:pt x="1542" y="684"/>
                  </a:lnTo>
                  <a:lnTo>
                    <a:pt x="1542" y="684"/>
                  </a:lnTo>
                  <a:lnTo>
                    <a:pt x="1542" y="684"/>
                  </a:lnTo>
                  <a:lnTo>
                    <a:pt x="1542" y="684"/>
                  </a:lnTo>
                  <a:lnTo>
                    <a:pt x="1542" y="687"/>
                  </a:lnTo>
                  <a:lnTo>
                    <a:pt x="1542" y="687"/>
                  </a:lnTo>
                  <a:lnTo>
                    <a:pt x="1542" y="687"/>
                  </a:lnTo>
                  <a:lnTo>
                    <a:pt x="1542" y="689"/>
                  </a:lnTo>
                  <a:lnTo>
                    <a:pt x="1542" y="689"/>
                  </a:lnTo>
                  <a:lnTo>
                    <a:pt x="1542" y="689"/>
                  </a:lnTo>
                  <a:lnTo>
                    <a:pt x="1542" y="689"/>
                  </a:lnTo>
                  <a:lnTo>
                    <a:pt x="1542" y="689"/>
                  </a:lnTo>
                  <a:lnTo>
                    <a:pt x="1542" y="689"/>
                  </a:lnTo>
                  <a:lnTo>
                    <a:pt x="1542" y="691"/>
                  </a:lnTo>
                  <a:lnTo>
                    <a:pt x="1542" y="691"/>
                  </a:lnTo>
                  <a:lnTo>
                    <a:pt x="1542" y="691"/>
                  </a:lnTo>
                  <a:lnTo>
                    <a:pt x="1542" y="691"/>
                  </a:lnTo>
                  <a:lnTo>
                    <a:pt x="1542" y="691"/>
                  </a:lnTo>
                  <a:lnTo>
                    <a:pt x="1544" y="689"/>
                  </a:lnTo>
                  <a:lnTo>
                    <a:pt x="1544" y="687"/>
                  </a:lnTo>
                  <a:lnTo>
                    <a:pt x="1544" y="684"/>
                  </a:lnTo>
                  <a:lnTo>
                    <a:pt x="1544" y="684"/>
                  </a:lnTo>
                  <a:lnTo>
                    <a:pt x="1546" y="684"/>
                  </a:lnTo>
                  <a:lnTo>
                    <a:pt x="1546" y="684"/>
                  </a:lnTo>
                  <a:lnTo>
                    <a:pt x="1546" y="684"/>
                  </a:lnTo>
                  <a:lnTo>
                    <a:pt x="1546" y="687"/>
                  </a:lnTo>
                  <a:lnTo>
                    <a:pt x="1544" y="689"/>
                  </a:lnTo>
                  <a:lnTo>
                    <a:pt x="1544" y="689"/>
                  </a:lnTo>
                  <a:lnTo>
                    <a:pt x="1544" y="691"/>
                  </a:lnTo>
                  <a:lnTo>
                    <a:pt x="1544" y="691"/>
                  </a:lnTo>
                  <a:lnTo>
                    <a:pt x="1544" y="693"/>
                  </a:lnTo>
                  <a:lnTo>
                    <a:pt x="1544" y="693"/>
                  </a:lnTo>
                  <a:lnTo>
                    <a:pt x="1546" y="695"/>
                  </a:lnTo>
                  <a:lnTo>
                    <a:pt x="1546" y="695"/>
                  </a:lnTo>
                  <a:lnTo>
                    <a:pt x="1546" y="693"/>
                  </a:lnTo>
                  <a:lnTo>
                    <a:pt x="1546" y="693"/>
                  </a:lnTo>
                  <a:lnTo>
                    <a:pt x="1548" y="693"/>
                  </a:lnTo>
                  <a:lnTo>
                    <a:pt x="1548" y="691"/>
                  </a:lnTo>
                  <a:lnTo>
                    <a:pt x="1546" y="689"/>
                  </a:lnTo>
                  <a:lnTo>
                    <a:pt x="1548" y="687"/>
                  </a:lnTo>
                  <a:lnTo>
                    <a:pt x="1548" y="687"/>
                  </a:lnTo>
                  <a:lnTo>
                    <a:pt x="1548" y="687"/>
                  </a:lnTo>
                  <a:lnTo>
                    <a:pt x="1548" y="687"/>
                  </a:lnTo>
                  <a:lnTo>
                    <a:pt x="1548" y="689"/>
                  </a:lnTo>
                  <a:lnTo>
                    <a:pt x="1548" y="689"/>
                  </a:lnTo>
                  <a:lnTo>
                    <a:pt x="1548" y="691"/>
                  </a:lnTo>
                  <a:lnTo>
                    <a:pt x="1548" y="691"/>
                  </a:lnTo>
                  <a:lnTo>
                    <a:pt x="1548" y="691"/>
                  </a:lnTo>
                  <a:lnTo>
                    <a:pt x="1550" y="691"/>
                  </a:lnTo>
                  <a:lnTo>
                    <a:pt x="1550" y="691"/>
                  </a:lnTo>
                  <a:lnTo>
                    <a:pt x="1550" y="691"/>
                  </a:lnTo>
                  <a:lnTo>
                    <a:pt x="1550" y="689"/>
                  </a:lnTo>
                  <a:lnTo>
                    <a:pt x="1550" y="689"/>
                  </a:lnTo>
                  <a:lnTo>
                    <a:pt x="1550" y="689"/>
                  </a:lnTo>
                  <a:lnTo>
                    <a:pt x="1550" y="689"/>
                  </a:lnTo>
                  <a:lnTo>
                    <a:pt x="1552" y="687"/>
                  </a:lnTo>
                  <a:lnTo>
                    <a:pt x="1550" y="691"/>
                  </a:lnTo>
                  <a:lnTo>
                    <a:pt x="1550" y="691"/>
                  </a:lnTo>
                  <a:lnTo>
                    <a:pt x="1550" y="693"/>
                  </a:lnTo>
                  <a:lnTo>
                    <a:pt x="1550" y="693"/>
                  </a:lnTo>
                  <a:lnTo>
                    <a:pt x="1548" y="695"/>
                  </a:lnTo>
                  <a:lnTo>
                    <a:pt x="1548" y="695"/>
                  </a:lnTo>
                  <a:lnTo>
                    <a:pt x="1548" y="695"/>
                  </a:lnTo>
                  <a:lnTo>
                    <a:pt x="1548" y="695"/>
                  </a:lnTo>
                  <a:lnTo>
                    <a:pt x="1548" y="695"/>
                  </a:lnTo>
                  <a:lnTo>
                    <a:pt x="1548" y="695"/>
                  </a:lnTo>
                  <a:lnTo>
                    <a:pt x="1548" y="697"/>
                  </a:lnTo>
                  <a:lnTo>
                    <a:pt x="1548" y="697"/>
                  </a:lnTo>
                  <a:lnTo>
                    <a:pt x="1548" y="697"/>
                  </a:lnTo>
                  <a:lnTo>
                    <a:pt x="1548" y="697"/>
                  </a:lnTo>
                  <a:lnTo>
                    <a:pt x="1548" y="697"/>
                  </a:lnTo>
                  <a:lnTo>
                    <a:pt x="1550" y="699"/>
                  </a:lnTo>
                  <a:lnTo>
                    <a:pt x="1550" y="699"/>
                  </a:lnTo>
                  <a:lnTo>
                    <a:pt x="1550" y="699"/>
                  </a:lnTo>
                  <a:lnTo>
                    <a:pt x="1552" y="701"/>
                  </a:lnTo>
                  <a:lnTo>
                    <a:pt x="1552" y="703"/>
                  </a:lnTo>
                  <a:lnTo>
                    <a:pt x="1555" y="703"/>
                  </a:lnTo>
                  <a:lnTo>
                    <a:pt x="1555" y="703"/>
                  </a:lnTo>
                  <a:lnTo>
                    <a:pt x="1555" y="703"/>
                  </a:lnTo>
                  <a:lnTo>
                    <a:pt x="1555" y="703"/>
                  </a:lnTo>
                  <a:lnTo>
                    <a:pt x="1555" y="705"/>
                  </a:lnTo>
                  <a:lnTo>
                    <a:pt x="1555" y="705"/>
                  </a:lnTo>
                  <a:lnTo>
                    <a:pt x="1557" y="705"/>
                  </a:lnTo>
                  <a:lnTo>
                    <a:pt x="1557" y="705"/>
                  </a:lnTo>
                  <a:lnTo>
                    <a:pt x="1557" y="705"/>
                  </a:lnTo>
                  <a:lnTo>
                    <a:pt x="1557" y="705"/>
                  </a:lnTo>
                  <a:lnTo>
                    <a:pt x="1559" y="707"/>
                  </a:lnTo>
                  <a:lnTo>
                    <a:pt x="1559" y="707"/>
                  </a:lnTo>
                  <a:lnTo>
                    <a:pt x="1559" y="707"/>
                  </a:lnTo>
                  <a:lnTo>
                    <a:pt x="1559" y="707"/>
                  </a:lnTo>
                  <a:lnTo>
                    <a:pt x="1559" y="707"/>
                  </a:lnTo>
                  <a:lnTo>
                    <a:pt x="1559" y="707"/>
                  </a:lnTo>
                  <a:lnTo>
                    <a:pt x="1559" y="707"/>
                  </a:lnTo>
                  <a:lnTo>
                    <a:pt x="1559" y="709"/>
                  </a:lnTo>
                  <a:lnTo>
                    <a:pt x="1561" y="709"/>
                  </a:lnTo>
                  <a:lnTo>
                    <a:pt x="1561" y="709"/>
                  </a:lnTo>
                  <a:lnTo>
                    <a:pt x="1561" y="709"/>
                  </a:lnTo>
                  <a:lnTo>
                    <a:pt x="1561" y="709"/>
                  </a:lnTo>
                  <a:lnTo>
                    <a:pt x="1561" y="711"/>
                  </a:lnTo>
                  <a:lnTo>
                    <a:pt x="1561" y="709"/>
                  </a:lnTo>
                  <a:lnTo>
                    <a:pt x="1563" y="709"/>
                  </a:lnTo>
                  <a:lnTo>
                    <a:pt x="1563" y="709"/>
                  </a:lnTo>
                  <a:lnTo>
                    <a:pt x="1563" y="709"/>
                  </a:lnTo>
                  <a:lnTo>
                    <a:pt x="1563" y="709"/>
                  </a:lnTo>
                  <a:lnTo>
                    <a:pt x="1563" y="709"/>
                  </a:lnTo>
                  <a:lnTo>
                    <a:pt x="1563" y="709"/>
                  </a:lnTo>
                  <a:lnTo>
                    <a:pt x="1563" y="709"/>
                  </a:lnTo>
                  <a:lnTo>
                    <a:pt x="1563" y="711"/>
                  </a:lnTo>
                  <a:lnTo>
                    <a:pt x="1563" y="711"/>
                  </a:lnTo>
                  <a:lnTo>
                    <a:pt x="1565" y="711"/>
                  </a:lnTo>
                  <a:lnTo>
                    <a:pt x="1565" y="711"/>
                  </a:lnTo>
                  <a:lnTo>
                    <a:pt x="1565" y="709"/>
                  </a:lnTo>
                  <a:lnTo>
                    <a:pt x="1565" y="709"/>
                  </a:lnTo>
                  <a:close/>
                  <a:moveTo>
                    <a:pt x="1264" y="576"/>
                  </a:moveTo>
                  <a:lnTo>
                    <a:pt x="1262" y="576"/>
                  </a:lnTo>
                  <a:lnTo>
                    <a:pt x="1262" y="578"/>
                  </a:lnTo>
                  <a:lnTo>
                    <a:pt x="1260" y="578"/>
                  </a:lnTo>
                  <a:lnTo>
                    <a:pt x="1260" y="582"/>
                  </a:lnTo>
                  <a:lnTo>
                    <a:pt x="1258" y="582"/>
                  </a:lnTo>
                  <a:lnTo>
                    <a:pt x="1258" y="582"/>
                  </a:lnTo>
                  <a:lnTo>
                    <a:pt x="1258" y="586"/>
                  </a:lnTo>
                  <a:lnTo>
                    <a:pt x="1258" y="586"/>
                  </a:lnTo>
                  <a:lnTo>
                    <a:pt x="1258" y="584"/>
                  </a:lnTo>
                  <a:lnTo>
                    <a:pt x="1262" y="580"/>
                  </a:lnTo>
                  <a:lnTo>
                    <a:pt x="1262" y="580"/>
                  </a:lnTo>
                  <a:lnTo>
                    <a:pt x="1262" y="580"/>
                  </a:lnTo>
                  <a:lnTo>
                    <a:pt x="1262" y="578"/>
                  </a:lnTo>
                  <a:lnTo>
                    <a:pt x="1262" y="578"/>
                  </a:lnTo>
                  <a:lnTo>
                    <a:pt x="1266" y="576"/>
                  </a:lnTo>
                  <a:lnTo>
                    <a:pt x="1266" y="574"/>
                  </a:lnTo>
                  <a:lnTo>
                    <a:pt x="1266" y="574"/>
                  </a:lnTo>
                  <a:lnTo>
                    <a:pt x="1266" y="574"/>
                  </a:lnTo>
                  <a:lnTo>
                    <a:pt x="1266" y="574"/>
                  </a:lnTo>
                  <a:lnTo>
                    <a:pt x="1264" y="574"/>
                  </a:lnTo>
                  <a:lnTo>
                    <a:pt x="1264" y="576"/>
                  </a:lnTo>
                  <a:close/>
                  <a:moveTo>
                    <a:pt x="1239" y="562"/>
                  </a:moveTo>
                  <a:lnTo>
                    <a:pt x="1239" y="562"/>
                  </a:lnTo>
                  <a:lnTo>
                    <a:pt x="1239" y="562"/>
                  </a:lnTo>
                  <a:lnTo>
                    <a:pt x="1239" y="562"/>
                  </a:lnTo>
                  <a:lnTo>
                    <a:pt x="1239" y="562"/>
                  </a:lnTo>
                  <a:lnTo>
                    <a:pt x="1239" y="559"/>
                  </a:lnTo>
                  <a:lnTo>
                    <a:pt x="1239" y="559"/>
                  </a:lnTo>
                  <a:lnTo>
                    <a:pt x="1239" y="557"/>
                  </a:lnTo>
                  <a:lnTo>
                    <a:pt x="1239" y="557"/>
                  </a:lnTo>
                  <a:lnTo>
                    <a:pt x="1239" y="555"/>
                  </a:lnTo>
                  <a:lnTo>
                    <a:pt x="1239" y="557"/>
                  </a:lnTo>
                  <a:lnTo>
                    <a:pt x="1237" y="557"/>
                  </a:lnTo>
                  <a:lnTo>
                    <a:pt x="1235" y="562"/>
                  </a:lnTo>
                  <a:lnTo>
                    <a:pt x="1235" y="562"/>
                  </a:lnTo>
                  <a:lnTo>
                    <a:pt x="1237" y="562"/>
                  </a:lnTo>
                  <a:lnTo>
                    <a:pt x="1237" y="562"/>
                  </a:lnTo>
                  <a:lnTo>
                    <a:pt x="1237" y="562"/>
                  </a:lnTo>
                  <a:lnTo>
                    <a:pt x="1237" y="562"/>
                  </a:lnTo>
                  <a:lnTo>
                    <a:pt x="1239" y="562"/>
                  </a:lnTo>
                  <a:lnTo>
                    <a:pt x="1239" y="562"/>
                  </a:lnTo>
                  <a:close/>
                  <a:moveTo>
                    <a:pt x="1184" y="570"/>
                  </a:moveTo>
                  <a:lnTo>
                    <a:pt x="1182" y="570"/>
                  </a:lnTo>
                  <a:lnTo>
                    <a:pt x="1182" y="570"/>
                  </a:lnTo>
                  <a:lnTo>
                    <a:pt x="1180" y="570"/>
                  </a:lnTo>
                  <a:lnTo>
                    <a:pt x="1180" y="572"/>
                  </a:lnTo>
                  <a:lnTo>
                    <a:pt x="1180" y="572"/>
                  </a:lnTo>
                  <a:lnTo>
                    <a:pt x="1180" y="572"/>
                  </a:lnTo>
                  <a:lnTo>
                    <a:pt x="1180" y="572"/>
                  </a:lnTo>
                  <a:lnTo>
                    <a:pt x="1180" y="572"/>
                  </a:lnTo>
                  <a:lnTo>
                    <a:pt x="1180" y="574"/>
                  </a:lnTo>
                  <a:lnTo>
                    <a:pt x="1180" y="572"/>
                  </a:lnTo>
                  <a:lnTo>
                    <a:pt x="1182" y="572"/>
                  </a:lnTo>
                  <a:lnTo>
                    <a:pt x="1184" y="570"/>
                  </a:lnTo>
                  <a:lnTo>
                    <a:pt x="1184" y="570"/>
                  </a:lnTo>
                  <a:lnTo>
                    <a:pt x="1184" y="570"/>
                  </a:lnTo>
                  <a:lnTo>
                    <a:pt x="1184" y="570"/>
                  </a:lnTo>
                  <a:lnTo>
                    <a:pt x="1184" y="570"/>
                  </a:lnTo>
                  <a:close/>
                  <a:moveTo>
                    <a:pt x="1194" y="537"/>
                  </a:move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close/>
                  <a:moveTo>
                    <a:pt x="1172" y="584"/>
                  </a:moveTo>
                  <a:lnTo>
                    <a:pt x="1172" y="582"/>
                  </a:lnTo>
                  <a:lnTo>
                    <a:pt x="1172" y="582"/>
                  </a:lnTo>
                  <a:lnTo>
                    <a:pt x="1172" y="582"/>
                  </a:lnTo>
                  <a:lnTo>
                    <a:pt x="1172" y="582"/>
                  </a:lnTo>
                  <a:lnTo>
                    <a:pt x="1172" y="582"/>
                  </a:lnTo>
                  <a:lnTo>
                    <a:pt x="1172" y="582"/>
                  </a:lnTo>
                  <a:lnTo>
                    <a:pt x="1169" y="582"/>
                  </a:lnTo>
                  <a:lnTo>
                    <a:pt x="1169" y="584"/>
                  </a:lnTo>
                  <a:lnTo>
                    <a:pt x="1167" y="586"/>
                  </a:lnTo>
                  <a:lnTo>
                    <a:pt x="1167" y="588"/>
                  </a:lnTo>
                  <a:lnTo>
                    <a:pt x="1167" y="588"/>
                  </a:lnTo>
                  <a:lnTo>
                    <a:pt x="1167" y="588"/>
                  </a:lnTo>
                  <a:lnTo>
                    <a:pt x="1169" y="588"/>
                  </a:lnTo>
                  <a:lnTo>
                    <a:pt x="1169" y="588"/>
                  </a:lnTo>
                  <a:lnTo>
                    <a:pt x="1172" y="586"/>
                  </a:lnTo>
                  <a:lnTo>
                    <a:pt x="1172" y="586"/>
                  </a:lnTo>
                  <a:lnTo>
                    <a:pt x="1172" y="584"/>
                  </a:lnTo>
                  <a:close/>
                  <a:moveTo>
                    <a:pt x="1178" y="551"/>
                  </a:moveTo>
                  <a:lnTo>
                    <a:pt x="1178" y="551"/>
                  </a:lnTo>
                  <a:lnTo>
                    <a:pt x="1178" y="549"/>
                  </a:lnTo>
                  <a:lnTo>
                    <a:pt x="1178" y="551"/>
                  </a:lnTo>
                  <a:lnTo>
                    <a:pt x="1178" y="551"/>
                  </a:lnTo>
                  <a:lnTo>
                    <a:pt x="1178" y="551"/>
                  </a:lnTo>
                  <a:lnTo>
                    <a:pt x="1180" y="551"/>
                  </a:lnTo>
                  <a:lnTo>
                    <a:pt x="1180" y="551"/>
                  </a:lnTo>
                  <a:lnTo>
                    <a:pt x="1180" y="551"/>
                  </a:lnTo>
                  <a:lnTo>
                    <a:pt x="1182" y="551"/>
                  </a:lnTo>
                  <a:lnTo>
                    <a:pt x="1182" y="551"/>
                  </a:lnTo>
                  <a:lnTo>
                    <a:pt x="1182" y="549"/>
                  </a:lnTo>
                  <a:lnTo>
                    <a:pt x="1182" y="549"/>
                  </a:lnTo>
                  <a:lnTo>
                    <a:pt x="1182" y="549"/>
                  </a:lnTo>
                  <a:lnTo>
                    <a:pt x="1182" y="549"/>
                  </a:lnTo>
                  <a:lnTo>
                    <a:pt x="1182" y="549"/>
                  </a:lnTo>
                  <a:lnTo>
                    <a:pt x="1182" y="549"/>
                  </a:lnTo>
                  <a:lnTo>
                    <a:pt x="1180" y="549"/>
                  </a:lnTo>
                  <a:lnTo>
                    <a:pt x="1180" y="549"/>
                  </a:lnTo>
                  <a:lnTo>
                    <a:pt x="1180" y="549"/>
                  </a:lnTo>
                  <a:lnTo>
                    <a:pt x="1180" y="547"/>
                  </a:lnTo>
                  <a:lnTo>
                    <a:pt x="1180" y="547"/>
                  </a:lnTo>
                  <a:lnTo>
                    <a:pt x="1180" y="547"/>
                  </a:lnTo>
                  <a:lnTo>
                    <a:pt x="1178" y="549"/>
                  </a:lnTo>
                  <a:lnTo>
                    <a:pt x="1178" y="549"/>
                  </a:lnTo>
                  <a:lnTo>
                    <a:pt x="1178" y="549"/>
                  </a:lnTo>
                  <a:lnTo>
                    <a:pt x="1178" y="549"/>
                  </a:lnTo>
                  <a:lnTo>
                    <a:pt x="1178" y="549"/>
                  </a:lnTo>
                  <a:lnTo>
                    <a:pt x="1178" y="549"/>
                  </a:lnTo>
                  <a:lnTo>
                    <a:pt x="1178" y="551"/>
                  </a:lnTo>
                  <a:lnTo>
                    <a:pt x="1178" y="551"/>
                  </a:lnTo>
                  <a:close/>
                  <a:moveTo>
                    <a:pt x="1215" y="611"/>
                  </a:moveTo>
                  <a:lnTo>
                    <a:pt x="1215" y="611"/>
                  </a:lnTo>
                  <a:lnTo>
                    <a:pt x="1215" y="613"/>
                  </a:lnTo>
                  <a:lnTo>
                    <a:pt x="1215" y="613"/>
                  </a:lnTo>
                  <a:lnTo>
                    <a:pt x="1215" y="611"/>
                  </a:lnTo>
                  <a:lnTo>
                    <a:pt x="1215" y="611"/>
                  </a:lnTo>
                  <a:lnTo>
                    <a:pt x="1215" y="611"/>
                  </a:lnTo>
                  <a:lnTo>
                    <a:pt x="1215" y="611"/>
                  </a:lnTo>
                  <a:close/>
                  <a:moveTo>
                    <a:pt x="1190" y="570"/>
                  </a:moveTo>
                  <a:lnTo>
                    <a:pt x="1190" y="570"/>
                  </a:lnTo>
                  <a:lnTo>
                    <a:pt x="1192" y="566"/>
                  </a:lnTo>
                  <a:lnTo>
                    <a:pt x="1192" y="566"/>
                  </a:lnTo>
                  <a:lnTo>
                    <a:pt x="1188" y="566"/>
                  </a:lnTo>
                  <a:lnTo>
                    <a:pt x="1188" y="566"/>
                  </a:lnTo>
                  <a:lnTo>
                    <a:pt x="1190" y="566"/>
                  </a:lnTo>
                  <a:lnTo>
                    <a:pt x="1190" y="564"/>
                  </a:lnTo>
                  <a:lnTo>
                    <a:pt x="1188" y="564"/>
                  </a:lnTo>
                  <a:lnTo>
                    <a:pt x="1188" y="564"/>
                  </a:lnTo>
                  <a:lnTo>
                    <a:pt x="1186" y="566"/>
                  </a:lnTo>
                  <a:lnTo>
                    <a:pt x="1186" y="566"/>
                  </a:lnTo>
                  <a:lnTo>
                    <a:pt x="1186" y="566"/>
                  </a:lnTo>
                  <a:lnTo>
                    <a:pt x="1188" y="568"/>
                  </a:lnTo>
                  <a:lnTo>
                    <a:pt x="1188" y="568"/>
                  </a:lnTo>
                  <a:lnTo>
                    <a:pt x="1188" y="568"/>
                  </a:lnTo>
                  <a:lnTo>
                    <a:pt x="1188" y="568"/>
                  </a:lnTo>
                  <a:lnTo>
                    <a:pt x="1188" y="568"/>
                  </a:lnTo>
                  <a:lnTo>
                    <a:pt x="1188" y="568"/>
                  </a:lnTo>
                  <a:lnTo>
                    <a:pt x="1188" y="568"/>
                  </a:lnTo>
                  <a:lnTo>
                    <a:pt x="1186" y="568"/>
                  </a:lnTo>
                  <a:lnTo>
                    <a:pt x="1186" y="570"/>
                  </a:lnTo>
                  <a:lnTo>
                    <a:pt x="1186" y="570"/>
                  </a:lnTo>
                  <a:lnTo>
                    <a:pt x="1186" y="570"/>
                  </a:lnTo>
                  <a:lnTo>
                    <a:pt x="1186" y="570"/>
                  </a:lnTo>
                  <a:lnTo>
                    <a:pt x="1188" y="570"/>
                  </a:lnTo>
                  <a:lnTo>
                    <a:pt x="1188" y="570"/>
                  </a:lnTo>
                  <a:lnTo>
                    <a:pt x="1188" y="572"/>
                  </a:lnTo>
                  <a:lnTo>
                    <a:pt x="1188" y="572"/>
                  </a:lnTo>
                  <a:lnTo>
                    <a:pt x="1186" y="572"/>
                  </a:lnTo>
                  <a:lnTo>
                    <a:pt x="1186" y="572"/>
                  </a:lnTo>
                  <a:lnTo>
                    <a:pt x="1186" y="572"/>
                  </a:lnTo>
                  <a:lnTo>
                    <a:pt x="1186" y="572"/>
                  </a:lnTo>
                  <a:lnTo>
                    <a:pt x="1186" y="572"/>
                  </a:lnTo>
                  <a:lnTo>
                    <a:pt x="1184" y="572"/>
                  </a:lnTo>
                  <a:lnTo>
                    <a:pt x="1184" y="572"/>
                  </a:lnTo>
                  <a:lnTo>
                    <a:pt x="1184" y="574"/>
                  </a:lnTo>
                  <a:lnTo>
                    <a:pt x="1184" y="576"/>
                  </a:lnTo>
                  <a:lnTo>
                    <a:pt x="1184" y="576"/>
                  </a:lnTo>
                  <a:lnTo>
                    <a:pt x="1184" y="576"/>
                  </a:lnTo>
                  <a:lnTo>
                    <a:pt x="1184" y="578"/>
                  </a:lnTo>
                  <a:lnTo>
                    <a:pt x="1182" y="578"/>
                  </a:lnTo>
                  <a:lnTo>
                    <a:pt x="1180" y="582"/>
                  </a:lnTo>
                  <a:lnTo>
                    <a:pt x="1180" y="582"/>
                  </a:lnTo>
                  <a:lnTo>
                    <a:pt x="1176" y="584"/>
                  </a:lnTo>
                  <a:lnTo>
                    <a:pt x="1176" y="586"/>
                  </a:lnTo>
                  <a:lnTo>
                    <a:pt x="1176" y="586"/>
                  </a:lnTo>
                  <a:lnTo>
                    <a:pt x="1176" y="586"/>
                  </a:lnTo>
                  <a:lnTo>
                    <a:pt x="1176" y="586"/>
                  </a:lnTo>
                  <a:lnTo>
                    <a:pt x="1176" y="588"/>
                  </a:lnTo>
                  <a:lnTo>
                    <a:pt x="1174" y="588"/>
                  </a:lnTo>
                  <a:lnTo>
                    <a:pt x="1174" y="588"/>
                  </a:lnTo>
                  <a:lnTo>
                    <a:pt x="1174" y="590"/>
                  </a:lnTo>
                  <a:lnTo>
                    <a:pt x="1174" y="590"/>
                  </a:lnTo>
                  <a:lnTo>
                    <a:pt x="1174" y="590"/>
                  </a:lnTo>
                  <a:lnTo>
                    <a:pt x="1176" y="590"/>
                  </a:lnTo>
                  <a:lnTo>
                    <a:pt x="1174" y="592"/>
                  </a:lnTo>
                  <a:lnTo>
                    <a:pt x="1174" y="592"/>
                  </a:lnTo>
                  <a:lnTo>
                    <a:pt x="1174" y="592"/>
                  </a:lnTo>
                  <a:lnTo>
                    <a:pt x="1172" y="592"/>
                  </a:lnTo>
                  <a:lnTo>
                    <a:pt x="1172" y="592"/>
                  </a:lnTo>
                  <a:lnTo>
                    <a:pt x="1172" y="594"/>
                  </a:lnTo>
                  <a:lnTo>
                    <a:pt x="1172" y="596"/>
                  </a:lnTo>
                  <a:lnTo>
                    <a:pt x="1172" y="596"/>
                  </a:lnTo>
                  <a:lnTo>
                    <a:pt x="1172" y="596"/>
                  </a:lnTo>
                  <a:lnTo>
                    <a:pt x="1172" y="596"/>
                  </a:lnTo>
                  <a:lnTo>
                    <a:pt x="1172" y="596"/>
                  </a:lnTo>
                  <a:lnTo>
                    <a:pt x="1174" y="596"/>
                  </a:lnTo>
                  <a:lnTo>
                    <a:pt x="1174" y="596"/>
                  </a:lnTo>
                  <a:lnTo>
                    <a:pt x="1176" y="594"/>
                  </a:lnTo>
                  <a:lnTo>
                    <a:pt x="1178" y="594"/>
                  </a:lnTo>
                  <a:lnTo>
                    <a:pt x="1178" y="594"/>
                  </a:lnTo>
                  <a:lnTo>
                    <a:pt x="1178" y="592"/>
                  </a:lnTo>
                  <a:lnTo>
                    <a:pt x="1180" y="592"/>
                  </a:lnTo>
                  <a:lnTo>
                    <a:pt x="1182" y="592"/>
                  </a:lnTo>
                  <a:lnTo>
                    <a:pt x="1182" y="592"/>
                  </a:lnTo>
                  <a:lnTo>
                    <a:pt x="1182" y="590"/>
                  </a:lnTo>
                  <a:lnTo>
                    <a:pt x="1182" y="590"/>
                  </a:lnTo>
                  <a:lnTo>
                    <a:pt x="1182" y="588"/>
                  </a:lnTo>
                  <a:lnTo>
                    <a:pt x="1182" y="588"/>
                  </a:lnTo>
                  <a:lnTo>
                    <a:pt x="1182" y="588"/>
                  </a:lnTo>
                  <a:lnTo>
                    <a:pt x="1182" y="588"/>
                  </a:lnTo>
                  <a:lnTo>
                    <a:pt x="1182" y="588"/>
                  </a:lnTo>
                  <a:lnTo>
                    <a:pt x="1182" y="586"/>
                  </a:lnTo>
                  <a:lnTo>
                    <a:pt x="1182" y="586"/>
                  </a:lnTo>
                  <a:lnTo>
                    <a:pt x="1184" y="586"/>
                  </a:lnTo>
                  <a:lnTo>
                    <a:pt x="1184" y="584"/>
                  </a:lnTo>
                  <a:lnTo>
                    <a:pt x="1184" y="584"/>
                  </a:lnTo>
                  <a:lnTo>
                    <a:pt x="1184" y="584"/>
                  </a:lnTo>
                  <a:lnTo>
                    <a:pt x="1184" y="584"/>
                  </a:lnTo>
                  <a:lnTo>
                    <a:pt x="1184" y="582"/>
                  </a:lnTo>
                  <a:lnTo>
                    <a:pt x="1186" y="580"/>
                  </a:lnTo>
                  <a:lnTo>
                    <a:pt x="1188" y="578"/>
                  </a:lnTo>
                  <a:lnTo>
                    <a:pt x="1192" y="572"/>
                  </a:lnTo>
                  <a:lnTo>
                    <a:pt x="1192" y="570"/>
                  </a:lnTo>
                  <a:lnTo>
                    <a:pt x="1194" y="568"/>
                  </a:lnTo>
                  <a:lnTo>
                    <a:pt x="1194" y="568"/>
                  </a:lnTo>
                  <a:lnTo>
                    <a:pt x="1194" y="568"/>
                  </a:lnTo>
                  <a:lnTo>
                    <a:pt x="1194" y="568"/>
                  </a:lnTo>
                  <a:lnTo>
                    <a:pt x="1194" y="568"/>
                  </a:lnTo>
                  <a:lnTo>
                    <a:pt x="1194" y="568"/>
                  </a:lnTo>
                  <a:lnTo>
                    <a:pt x="1190" y="570"/>
                  </a:lnTo>
                  <a:close/>
                  <a:moveTo>
                    <a:pt x="1184" y="537"/>
                  </a:moveTo>
                  <a:lnTo>
                    <a:pt x="1184" y="537"/>
                  </a:lnTo>
                  <a:lnTo>
                    <a:pt x="1184" y="537"/>
                  </a:lnTo>
                  <a:lnTo>
                    <a:pt x="1182" y="537"/>
                  </a:lnTo>
                  <a:lnTo>
                    <a:pt x="1182" y="537"/>
                  </a:lnTo>
                  <a:lnTo>
                    <a:pt x="1182" y="539"/>
                  </a:lnTo>
                  <a:lnTo>
                    <a:pt x="1182" y="539"/>
                  </a:lnTo>
                  <a:lnTo>
                    <a:pt x="1182" y="539"/>
                  </a:lnTo>
                  <a:lnTo>
                    <a:pt x="1182" y="539"/>
                  </a:lnTo>
                  <a:lnTo>
                    <a:pt x="1182" y="539"/>
                  </a:lnTo>
                  <a:lnTo>
                    <a:pt x="1182" y="539"/>
                  </a:lnTo>
                  <a:lnTo>
                    <a:pt x="1182" y="539"/>
                  </a:lnTo>
                  <a:lnTo>
                    <a:pt x="1182" y="539"/>
                  </a:lnTo>
                  <a:lnTo>
                    <a:pt x="1182" y="539"/>
                  </a:lnTo>
                  <a:lnTo>
                    <a:pt x="1182" y="539"/>
                  </a:lnTo>
                  <a:lnTo>
                    <a:pt x="1184" y="539"/>
                  </a:lnTo>
                  <a:lnTo>
                    <a:pt x="1184" y="539"/>
                  </a:lnTo>
                  <a:lnTo>
                    <a:pt x="1184" y="539"/>
                  </a:lnTo>
                  <a:lnTo>
                    <a:pt x="1184" y="539"/>
                  </a:lnTo>
                  <a:lnTo>
                    <a:pt x="1184" y="539"/>
                  </a:lnTo>
                  <a:lnTo>
                    <a:pt x="1184" y="539"/>
                  </a:lnTo>
                  <a:lnTo>
                    <a:pt x="1184" y="539"/>
                  </a:lnTo>
                  <a:lnTo>
                    <a:pt x="1184" y="539"/>
                  </a:lnTo>
                  <a:lnTo>
                    <a:pt x="1184" y="539"/>
                  </a:lnTo>
                  <a:lnTo>
                    <a:pt x="1184" y="539"/>
                  </a:lnTo>
                  <a:lnTo>
                    <a:pt x="1184" y="539"/>
                  </a:lnTo>
                  <a:lnTo>
                    <a:pt x="1186" y="539"/>
                  </a:lnTo>
                  <a:lnTo>
                    <a:pt x="1186" y="539"/>
                  </a:lnTo>
                  <a:lnTo>
                    <a:pt x="1186" y="539"/>
                  </a:lnTo>
                  <a:lnTo>
                    <a:pt x="1188" y="537"/>
                  </a:lnTo>
                  <a:lnTo>
                    <a:pt x="1186" y="537"/>
                  </a:lnTo>
                  <a:lnTo>
                    <a:pt x="1186" y="537"/>
                  </a:lnTo>
                  <a:lnTo>
                    <a:pt x="1186" y="537"/>
                  </a:lnTo>
                  <a:lnTo>
                    <a:pt x="1186" y="537"/>
                  </a:lnTo>
                  <a:lnTo>
                    <a:pt x="1186" y="537"/>
                  </a:lnTo>
                  <a:lnTo>
                    <a:pt x="1186" y="537"/>
                  </a:lnTo>
                  <a:lnTo>
                    <a:pt x="1186" y="539"/>
                  </a:lnTo>
                  <a:lnTo>
                    <a:pt x="1186" y="539"/>
                  </a:lnTo>
                  <a:lnTo>
                    <a:pt x="1186" y="539"/>
                  </a:lnTo>
                  <a:lnTo>
                    <a:pt x="1186" y="539"/>
                  </a:lnTo>
                  <a:lnTo>
                    <a:pt x="1186" y="537"/>
                  </a:lnTo>
                  <a:lnTo>
                    <a:pt x="1186" y="537"/>
                  </a:lnTo>
                  <a:lnTo>
                    <a:pt x="1186" y="537"/>
                  </a:lnTo>
                  <a:lnTo>
                    <a:pt x="1186" y="537"/>
                  </a:lnTo>
                  <a:lnTo>
                    <a:pt x="1186" y="537"/>
                  </a:lnTo>
                  <a:lnTo>
                    <a:pt x="1186" y="537"/>
                  </a:lnTo>
                  <a:lnTo>
                    <a:pt x="1186" y="537"/>
                  </a:lnTo>
                  <a:lnTo>
                    <a:pt x="1184" y="537"/>
                  </a:lnTo>
                  <a:lnTo>
                    <a:pt x="1184" y="537"/>
                  </a:lnTo>
                  <a:lnTo>
                    <a:pt x="1184" y="537"/>
                  </a:lnTo>
                  <a:lnTo>
                    <a:pt x="1184" y="537"/>
                  </a:lnTo>
                  <a:lnTo>
                    <a:pt x="1184" y="537"/>
                  </a:lnTo>
                  <a:lnTo>
                    <a:pt x="1184" y="537"/>
                  </a:lnTo>
                  <a:lnTo>
                    <a:pt x="1184" y="537"/>
                  </a:lnTo>
                  <a:lnTo>
                    <a:pt x="1184" y="537"/>
                  </a:lnTo>
                  <a:lnTo>
                    <a:pt x="1184" y="537"/>
                  </a:lnTo>
                  <a:lnTo>
                    <a:pt x="1184" y="537"/>
                  </a:lnTo>
                  <a:lnTo>
                    <a:pt x="1184" y="537"/>
                  </a:lnTo>
                  <a:close/>
                  <a:moveTo>
                    <a:pt x="1231" y="564"/>
                  </a:moveTo>
                  <a:lnTo>
                    <a:pt x="1229" y="564"/>
                  </a:lnTo>
                  <a:lnTo>
                    <a:pt x="1229" y="564"/>
                  </a:lnTo>
                  <a:lnTo>
                    <a:pt x="1229" y="564"/>
                  </a:lnTo>
                  <a:lnTo>
                    <a:pt x="1229" y="564"/>
                  </a:lnTo>
                  <a:lnTo>
                    <a:pt x="1229" y="564"/>
                  </a:lnTo>
                  <a:lnTo>
                    <a:pt x="1229" y="564"/>
                  </a:lnTo>
                  <a:lnTo>
                    <a:pt x="1229" y="564"/>
                  </a:lnTo>
                  <a:lnTo>
                    <a:pt x="1229" y="562"/>
                  </a:lnTo>
                  <a:lnTo>
                    <a:pt x="1229" y="562"/>
                  </a:lnTo>
                  <a:lnTo>
                    <a:pt x="1227" y="562"/>
                  </a:lnTo>
                  <a:lnTo>
                    <a:pt x="1227" y="562"/>
                  </a:lnTo>
                  <a:lnTo>
                    <a:pt x="1227" y="562"/>
                  </a:lnTo>
                  <a:lnTo>
                    <a:pt x="1227" y="562"/>
                  </a:lnTo>
                  <a:lnTo>
                    <a:pt x="1227" y="562"/>
                  </a:lnTo>
                  <a:lnTo>
                    <a:pt x="1229" y="564"/>
                  </a:lnTo>
                  <a:lnTo>
                    <a:pt x="1229" y="564"/>
                  </a:lnTo>
                  <a:lnTo>
                    <a:pt x="1229" y="564"/>
                  </a:lnTo>
                  <a:lnTo>
                    <a:pt x="1229" y="564"/>
                  </a:lnTo>
                  <a:lnTo>
                    <a:pt x="1229" y="564"/>
                  </a:lnTo>
                  <a:lnTo>
                    <a:pt x="1229" y="564"/>
                  </a:lnTo>
                  <a:lnTo>
                    <a:pt x="1229" y="564"/>
                  </a:lnTo>
                  <a:lnTo>
                    <a:pt x="1231" y="564"/>
                  </a:lnTo>
                  <a:lnTo>
                    <a:pt x="1231" y="564"/>
                  </a:lnTo>
                  <a:lnTo>
                    <a:pt x="1231" y="564"/>
                  </a:lnTo>
                  <a:lnTo>
                    <a:pt x="1231" y="564"/>
                  </a:lnTo>
                  <a:close/>
                  <a:moveTo>
                    <a:pt x="1237" y="566"/>
                  </a:moveTo>
                  <a:lnTo>
                    <a:pt x="1235" y="566"/>
                  </a:lnTo>
                  <a:lnTo>
                    <a:pt x="1235" y="564"/>
                  </a:lnTo>
                  <a:lnTo>
                    <a:pt x="1233" y="564"/>
                  </a:lnTo>
                  <a:lnTo>
                    <a:pt x="1233" y="564"/>
                  </a:lnTo>
                  <a:lnTo>
                    <a:pt x="1233" y="564"/>
                  </a:lnTo>
                  <a:lnTo>
                    <a:pt x="1233" y="564"/>
                  </a:lnTo>
                  <a:lnTo>
                    <a:pt x="1235" y="566"/>
                  </a:lnTo>
                  <a:lnTo>
                    <a:pt x="1235" y="566"/>
                  </a:lnTo>
                  <a:lnTo>
                    <a:pt x="1235" y="566"/>
                  </a:lnTo>
                  <a:lnTo>
                    <a:pt x="1237" y="566"/>
                  </a:lnTo>
                  <a:lnTo>
                    <a:pt x="1237" y="566"/>
                  </a:lnTo>
                  <a:lnTo>
                    <a:pt x="1237" y="566"/>
                  </a:lnTo>
                  <a:lnTo>
                    <a:pt x="1237" y="566"/>
                  </a:lnTo>
                  <a:lnTo>
                    <a:pt x="1237" y="566"/>
                  </a:lnTo>
                  <a:close/>
                  <a:moveTo>
                    <a:pt x="1223" y="562"/>
                  </a:moveTo>
                  <a:lnTo>
                    <a:pt x="1225" y="562"/>
                  </a:lnTo>
                  <a:lnTo>
                    <a:pt x="1225" y="562"/>
                  </a:lnTo>
                  <a:lnTo>
                    <a:pt x="1225" y="562"/>
                  </a:lnTo>
                  <a:lnTo>
                    <a:pt x="1225" y="562"/>
                  </a:lnTo>
                  <a:lnTo>
                    <a:pt x="1223" y="562"/>
                  </a:lnTo>
                  <a:close/>
                  <a:moveTo>
                    <a:pt x="1223" y="562"/>
                  </a:moveTo>
                  <a:lnTo>
                    <a:pt x="1223" y="562"/>
                  </a:lnTo>
                  <a:lnTo>
                    <a:pt x="1223" y="562"/>
                  </a:lnTo>
                  <a:lnTo>
                    <a:pt x="1223" y="562"/>
                  </a:lnTo>
                  <a:lnTo>
                    <a:pt x="1223" y="562"/>
                  </a:lnTo>
                  <a:close/>
                  <a:moveTo>
                    <a:pt x="1219" y="551"/>
                  </a:moveTo>
                  <a:lnTo>
                    <a:pt x="1221" y="549"/>
                  </a:lnTo>
                  <a:lnTo>
                    <a:pt x="1221" y="549"/>
                  </a:lnTo>
                  <a:lnTo>
                    <a:pt x="1223" y="549"/>
                  </a:lnTo>
                  <a:lnTo>
                    <a:pt x="1223" y="549"/>
                  </a:lnTo>
                  <a:lnTo>
                    <a:pt x="1223" y="549"/>
                  </a:lnTo>
                  <a:lnTo>
                    <a:pt x="1223" y="549"/>
                  </a:lnTo>
                  <a:lnTo>
                    <a:pt x="1221" y="549"/>
                  </a:lnTo>
                  <a:lnTo>
                    <a:pt x="1221" y="547"/>
                  </a:lnTo>
                  <a:lnTo>
                    <a:pt x="1223" y="547"/>
                  </a:lnTo>
                  <a:lnTo>
                    <a:pt x="1221" y="547"/>
                  </a:lnTo>
                  <a:lnTo>
                    <a:pt x="1221" y="549"/>
                  </a:lnTo>
                  <a:lnTo>
                    <a:pt x="1219" y="549"/>
                  </a:lnTo>
                  <a:lnTo>
                    <a:pt x="1217" y="549"/>
                  </a:lnTo>
                  <a:lnTo>
                    <a:pt x="1217" y="551"/>
                  </a:lnTo>
                  <a:lnTo>
                    <a:pt x="1217" y="551"/>
                  </a:lnTo>
                  <a:lnTo>
                    <a:pt x="1217" y="551"/>
                  </a:lnTo>
                  <a:lnTo>
                    <a:pt x="1217" y="551"/>
                  </a:lnTo>
                  <a:lnTo>
                    <a:pt x="1215" y="551"/>
                  </a:lnTo>
                  <a:lnTo>
                    <a:pt x="1212" y="553"/>
                  </a:lnTo>
                  <a:lnTo>
                    <a:pt x="1215" y="553"/>
                  </a:lnTo>
                  <a:lnTo>
                    <a:pt x="1215" y="553"/>
                  </a:lnTo>
                  <a:lnTo>
                    <a:pt x="1212" y="553"/>
                  </a:lnTo>
                  <a:lnTo>
                    <a:pt x="1208" y="555"/>
                  </a:lnTo>
                  <a:lnTo>
                    <a:pt x="1208" y="555"/>
                  </a:lnTo>
                  <a:lnTo>
                    <a:pt x="1208" y="555"/>
                  </a:lnTo>
                  <a:lnTo>
                    <a:pt x="1208" y="557"/>
                  </a:lnTo>
                  <a:lnTo>
                    <a:pt x="1208" y="557"/>
                  </a:lnTo>
                  <a:lnTo>
                    <a:pt x="1215" y="555"/>
                  </a:lnTo>
                  <a:lnTo>
                    <a:pt x="1215" y="555"/>
                  </a:lnTo>
                  <a:lnTo>
                    <a:pt x="1217" y="553"/>
                  </a:lnTo>
                  <a:lnTo>
                    <a:pt x="1217" y="553"/>
                  </a:lnTo>
                  <a:lnTo>
                    <a:pt x="1219" y="553"/>
                  </a:lnTo>
                  <a:lnTo>
                    <a:pt x="1219" y="551"/>
                  </a:lnTo>
                  <a:close/>
                  <a:moveTo>
                    <a:pt x="1221" y="559"/>
                  </a:moveTo>
                  <a:lnTo>
                    <a:pt x="1221" y="559"/>
                  </a:lnTo>
                  <a:lnTo>
                    <a:pt x="1221" y="559"/>
                  </a:lnTo>
                  <a:lnTo>
                    <a:pt x="1221" y="559"/>
                  </a:lnTo>
                  <a:lnTo>
                    <a:pt x="1221" y="559"/>
                  </a:lnTo>
                  <a:lnTo>
                    <a:pt x="1221" y="559"/>
                  </a:lnTo>
                  <a:lnTo>
                    <a:pt x="1221" y="559"/>
                  </a:lnTo>
                  <a:close/>
                  <a:moveTo>
                    <a:pt x="1212" y="559"/>
                  </a:moveTo>
                  <a:lnTo>
                    <a:pt x="1212" y="559"/>
                  </a:lnTo>
                  <a:lnTo>
                    <a:pt x="1215" y="559"/>
                  </a:lnTo>
                  <a:lnTo>
                    <a:pt x="1215" y="559"/>
                  </a:lnTo>
                  <a:lnTo>
                    <a:pt x="1212" y="557"/>
                  </a:lnTo>
                  <a:lnTo>
                    <a:pt x="1212" y="557"/>
                  </a:lnTo>
                  <a:lnTo>
                    <a:pt x="1210" y="559"/>
                  </a:lnTo>
                  <a:lnTo>
                    <a:pt x="1208" y="559"/>
                  </a:lnTo>
                  <a:lnTo>
                    <a:pt x="1208" y="559"/>
                  </a:lnTo>
                  <a:lnTo>
                    <a:pt x="1208" y="559"/>
                  </a:lnTo>
                  <a:lnTo>
                    <a:pt x="1208" y="557"/>
                  </a:lnTo>
                  <a:lnTo>
                    <a:pt x="1208" y="557"/>
                  </a:lnTo>
                  <a:lnTo>
                    <a:pt x="1206" y="557"/>
                  </a:lnTo>
                  <a:lnTo>
                    <a:pt x="1206" y="557"/>
                  </a:lnTo>
                  <a:lnTo>
                    <a:pt x="1206" y="557"/>
                  </a:lnTo>
                  <a:lnTo>
                    <a:pt x="1204" y="557"/>
                  </a:lnTo>
                  <a:lnTo>
                    <a:pt x="1202" y="557"/>
                  </a:lnTo>
                  <a:lnTo>
                    <a:pt x="1202" y="557"/>
                  </a:lnTo>
                  <a:lnTo>
                    <a:pt x="1202" y="557"/>
                  </a:lnTo>
                  <a:lnTo>
                    <a:pt x="1202" y="557"/>
                  </a:lnTo>
                  <a:lnTo>
                    <a:pt x="1202" y="557"/>
                  </a:lnTo>
                  <a:lnTo>
                    <a:pt x="1202" y="557"/>
                  </a:lnTo>
                  <a:lnTo>
                    <a:pt x="1202" y="557"/>
                  </a:lnTo>
                  <a:lnTo>
                    <a:pt x="1200" y="557"/>
                  </a:lnTo>
                  <a:lnTo>
                    <a:pt x="1200" y="557"/>
                  </a:lnTo>
                  <a:lnTo>
                    <a:pt x="1200" y="559"/>
                  </a:lnTo>
                  <a:lnTo>
                    <a:pt x="1200" y="559"/>
                  </a:lnTo>
                  <a:lnTo>
                    <a:pt x="1200" y="559"/>
                  </a:lnTo>
                  <a:lnTo>
                    <a:pt x="1200" y="559"/>
                  </a:lnTo>
                  <a:lnTo>
                    <a:pt x="1198" y="562"/>
                  </a:lnTo>
                  <a:lnTo>
                    <a:pt x="1198" y="564"/>
                  </a:lnTo>
                  <a:lnTo>
                    <a:pt x="1200" y="564"/>
                  </a:lnTo>
                  <a:lnTo>
                    <a:pt x="1200" y="566"/>
                  </a:lnTo>
                  <a:lnTo>
                    <a:pt x="1202" y="564"/>
                  </a:lnTo>
                  <a:lnTo>
                    <a:pt x="1200" y="564"/>
                  </a:lnTo>
                  <a:lnTo>
                    <a:pt x="1202" y="564"/>
                  </a:lnTo>
                  <a:lnTo>
                    <a:pt x="1202" y="564"/>
                  </a:lnTo>
                  <a:lnTo>
                    <a:pt x="1202" y="564"/>
                  </a:lnTo>
                  <a:lnTo>
                    <a:pt x="1202" y="564"/>
                  </a:lnTo>
                  <a:lnTo>
                    <a:pt x="1202" y="564"/>
                  </a:lnTo>
                  <a:lnTo>
                    <a:pt x="1204" y="564"/>
                  </a:lnTo>
                  <a:lnTo>
                    <a:pt x="1204" y="564"/>
                  </a:lnTo>
                  <a:lnTo>
                    <a:pt x="1200" y="566"/>
                  </a:lnTo>
                  <a:lnTo>
                    <a:pt x="1200" y="568"/>
                  </a:lnTo>
                  <a:lnTo>
                    <a:pt x="1200" y="568"/>
                  </a:lnTo>
                  <a:lnTo>
                    <a:pt x="1202" y="570"/>
                  </a:lnTo>
                  <a:lnTo>
                    <a:pt x="1202" y="570"/>
                  </a:lnTo>
                  <a:lnTo>
                    <a:pt x="1202" y="570"/>
                  </a:lnTo>
                  <a:lnTo>
                    <a:pt x="1202" y="570"/>
                  </a:lnTo>
                  <a:lnTo>
                    <a:pt x="1204" y="568"/>
                  </a:lnTo>
                  <a:lnTo>
                    <a:pt x="1204" y="566"/>
                  </a:lnTo>
                  <a:lnTo>
                    <a:pt x="1208" y="564"/>
                  </a:lnTo>
                  <a:lnTo>
                    <a:pt x="1210" y="564"/>
                  </a:lnTo>
                  <a:lnTo>
                    <a:pt x="1210" y="564"/>
                  </a:lnTo>
                  <a:lnTo>
                    <a:pt x="1212" y="564"/>
                  </a:lnTo>
                  <a:lnTo>
                    <a:pt x="1212" y="562"/>
                  </a:lnTo>
                  <a:lnTo>
                    <a:pt x="1212" y="562"/>
                  </a:lnTo>
                  <a:lnTo>
                    <a:pt x="1212" y="562"/>
                  </a:lnTo>
                  <a:lnTo>
                    <a:pt x="1212" y="562"/>
                  </a:lnTo>
                  <a:lnTo>
                    <a:pt x="1212" y="562"/>
                  </a:lnTo>
                  <a:lnTo>
                    <a:pt x="1212" y="562"/>
                  </a:lnTo>
                  <a:lnTo>
                    <a:pt x="1215" y="559"/>
                  </a:lnTo>
                  <a:lnTo>
                    <a:pt x="1215" y="559"/>
                  </a:lnTo>
                  <a:lnTo>
                    <a:pt x="1215" y="559"/>
                  </a:lnTo>
                  <a:lnTo>
                    <a:pt x="1215" y="559"/>
                  </a:lnTo>
                  <a:lnTo>
                    <a:pt x="1215" y="559"/>
                  </a:lnTo>
                  <a:lnTo>
                    <a:pt x="1215" y="559"/>
                  </a:lnTo>
                  <a:lnTo>
                    <a:pt x="1212" y="559"/>
                  </a:lnTo>
                  <a:close/>
                </a:path>
              </a:pathLst>
            </a:custGeom>
            <a:solidFill>
              <a:schemeClr val="accent1"/>
            </a:solidFill>
            <a:ln w="3175" cap="flat">
              <a:solidFill>
                <a:schemeClr val="bg1"/>
              </a:solidFill>
              <a:prstDash val="solid"/>
              <a:miter lim="800000"/>
              <a:headEnd/>
              <a:tailEnd/>
            </a:ln>
          </p:spPr>
          <p:txBody>
            <a:bodyPr vert="horz" wrap="square" lIns="816000" tIns="0" rIns="0" bIns="480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AK</a:t>
              </a:r>
            </a:p>
          </p:txBody>
        </p:sp>
        <p:sp>
          <p:nvSpPr>
            <p:cNvPr id="293" name="Freeform 25">
              <a:extLst>
                <a:ext uri="{FF2B5EF4-FFF2-40B4-BE49-F238E27FC236}">
                  <a16:creationId xmlns:a16="http://schemas.microsoft.com/office/drawing/2014/main" id="{0C2B3BA2-1DD0-2B36-191F-9A464E50229E}"/>
                </a:ext>
              </a:extLst>
            </p:cNvPr>
            <p:cNvSpPr>
              <a:spLocks/>
            </p:cNvSpPr>
            <p:nvPr/>
          </p:nvSpPr>
          <p:spPr bwMode="auto">
            <a:xfrm>
              <a:off x="4928" y="264"/>
              <a:ext cx="145" cy="291"/>
            </a:xfrm>
            <a:custGeom>
              <a:avLst/>
              <a:gdLst>
                <a:gd name="T0" fmla="*/ 145 w 145"/>
                <a:gd name="T1" fmla="*/ 222 h 291"/>
                <a:gd name="T2" fmla="*/ 141 w 145"/>
                <a:gd name="T3" fmla="*/ 234 h 291"/>
                <a:gd name="T4" fmla="*/ 137 w 145"/>
                <a:gd name="T5" fmla="*/ 244 h 291"/>
                <a:gd name="T6" fmla="*/ 125 w 145"/>
                <a:gd name="T7" fmla="*/ 250 h 291"/>
                <a:gd name="T8" fmla="*/ 121 w 145"/>
                <a:gd name="T9" fmla="*/ 255 h 291"/>
                <a:gd name="T10" fmla="*/ 117 w 145"/>
                <a:gd name="T11" fmla="*/ 255 h 291"/>
                <a:gd name="T12" fmla="*/ 115 w 145"/>
                <a:gd name="T13" fmla="*/ 259 h 291"/>
                <a:gd name="T14" fmla="*/ 113 w 145"/>
                <a:gd name="T15" fmla="*/ 265 h 291"/>
                <a:gd name="T16" fmla="*/ 109 w 145"/>
                <a:gd name="T17" fmla="*/ 269 h 291"/>
                <a:gd name="T18" fmla="*/ 94 w 145"/>
                <a:gd name="T19" fmla="*/ 273 h 291"/>
                <a:gd name="T20" fmla="*/ 66 w 145"/>
                <a:gd name="T21" fmla="*/ 279 h 291"/>
                <a:gd name="T22" fmla="*/ 39 w 145"/>
                <a:gd name="T23" fmla="*/ 285 h 291"/>
                <a:gd name="T24" fmla="*/ 16 w 145"/>
                <a:gd name="T25" fmla="*/ 291 h 291"/>
                <a:gd name="T26" fmla="*/ 16 w 145"/>
                <a:gd name="T27" fmla="*/ 291 h 291"/>
                <a:gd name="T28" fmla="*/ 16 w 145"/>
                <a:gd name="T29" fmla="*/ 291 h 291"/>
                <a:gd name="T30" fmla="*/ 16 w 145"/>
                <a:gd name="T31" fmla="*/ 291 h 291"/>
                <a:gd name="T32" fmla="*/ 6 w 145"/>
                <a:gd name="T33" fmla="*/ 283 h 291"/>
                <a:gd name="T34" fmla="*/ 4 w 145"/>
                <a:gd name="T35" fmla="*/ 277 h 291"/>
                <a:gd name="T36" fmla="*/ 6 w 145"/>
                <a:gd name="T37" fmla="*/ 267 h 291"/>
                <a:gd name="T38" fmla="*/ 6 w 145"/>
                <a:gd name="T39" fmla="*/ 250 h 291"/>
                <a:gd name="T40" fmla="*/ 4 w 145"/>
                <a:gd name="T41" fmla="*/ 240 h 291"/>
                <a:gd name="T42" fmla="*/ 4 w 145"/>
                <a:gd name="T43" fmla="*/ 238 h 291"/>
                <a:gd name="T44" fmla="*/ 6 w 145"/>
                <a:gd name="T45" fmla="*/ 232 h 291"/>
                <a:gd name="T46" fmla="*/ 0 w 145"/>
                <a:gd name="T47" fmla="*/ 203 h 291"/>
                <a:gd name="T48" fmla="*/ 2 w 145"/>
                <a:gd name="T49" fmla="*/ 187 h 291"/>
                <a:gd name="T50" fmla="*/ 8 w 145"/>
                <a:gd name="T51" fmla="*/ 177 h 291"/>
                <a:gd name="T52" fmla="*/ 8 w 145"/>
                <a:gd name="T53" fmla="*/ 164 h 291"/>
                <a:gd name="T54" fmla="*/ 10 w 145"/>
                <a:gd name="T55" fmla="*/ 154 h 291"/>
                <a:gd name="T56" fmla="*/ 8 w 145"/>
                <a:gd name="T57" fmla="*/ 130 h 291"/>
                <a:gd name="T58" fmla="*/ 18 w 145"/>
                <a:gd name="T59" fmla="*/ 115 h 291"/>
                <a:gd name="T60" fmla="*/ 31 w 145"/>
                <a:gd name="T61" fmla="*/ 101 h 291"/>
                <a:gd name="T62" fmla="*/ 37 w 145"/>
                <a:gd name="T63" fmla="*/ 91 h 291"/>
                <a:gd name="T64" fmla="*/ 37 w 145"/>
                <a:gd name="T65" fmla="*/ 84 h 291"/>
                <a:gd name="T66" fmla="*/ 35 w 145"/>
                <a:gd name="T67" fmla="*/ 80 h 291"/>
                <a:gd name="T68" fmla="*/ 27 w 145"/>
                <a:gd name="T69" fmla="*/ 70 h 291"/>
                <a:gd name="T70" fmla="*/ 33 w 145"/>
                <a:gd name="T71" fmla="*/ 50 h 291"/>
                <a:gd name="T72" fmla="*/ 29 w 145"/>
                <a:gd name="T73" fmla="*/ 39 h 291"/>
                <a:gd name="T74" fmla="*/ 29 w 145"/>
                <a:gd name="T75" fmla="*/ 33 h 291"/>
                <a:gd name="T76" fmla="*/ 33 w 145"/>
                <a:gd name="T77" fmla="*/ 19 h 291"/>
                <a:gd name="T78" fmla="*/ 33 w 145"/>
                <a:gd name="T79" fmla="*/ 15 h 291"/>
                <a:gd name="T80" fmla="*/ 39 w 145"/>
                <a:gd name="T81" fmla="*/ 7 h 291"/>
                <a:gd name="T82" fmla="*/ 53 w 145"/>
                <a:gd name="T83" fmla="*/ 2 h 291"/>
                <a:gd name="T84" fmla="*/ 57 w 145"/>
                <a:gd name="T85" fmla="*/ 13 h 291"/>
                <a:gd name="T86" fmla="*/ 66 w 145"/>
                <a:gd name="T87" fmla="*/ 39 h 291"/>
                <a:gd name="T88" fmla="*/ 76 w 145"/>
                <a:gd name="T89" fmla="*/ 66 h 291"/>
                <a:gd name="T90" fmla="*/ 84 w 145"/>
                <a:gd name="T91" fmla="*/ 93 h 291"/>
                <a:gd name="T92" fmla="*/ 92 w 145"/>
                <a:gd name="T93" fmla="*/ 119 h 291"/>
                <a:gd name="T94" fmla="*/ 100 w 145"/>
                <a:gd name="T95" fmla="*/ 146 h 291"/>
                <a:gd name="T96" fmla="*/ 111 w 145"/>
                <a:gd name="T97" fmla="*/ 173 h 291"/>
                <a:gd name="T98" fmla="*/ 113 w 145"/>
                <a:gd name="T99" fmla="*/ 183 h 291"/>
                <a:gd name="T100" fmla="*/ 115 w 145"/>
                <a:gd name="T101" fmla="*/ 187 h 291"/>
                <a:gd name="T102" fmla="*/ 115 w 145"/>
                <a:gd name="T103" fmla="*/ 193 h 291"/>
                <a:gd name="T104" fmla="*/ 127 w 145"/>
                <a:gd name="T105" fmla="*/ 203 h 291"/>
                <a:gd name="T106" fmla="*/ 131 w 145"/>
                <a:gd name="T107" fmla="*/ 207 h 291"/>
                <a:gd name="T108" fmla="*/ 135 w 145"/>
                <a:gd name="T10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91">
                  <a:moveTo>
                    <a:pt x="141" y="220"/>
                  </a:moveTo>
                  <a:lnTo>
                    <a:pt x="141" y="222"/>
                  </a:lnTo>
                  <a:lnTo>
                    <a:pt x="143" y="222"/>
                  </a:lnTo>
                  <a:lnTo>
                    <a:pt x="143" y="220"/>
                  </a:lnTo>
                  <a:lnTo>
                    <a:pt x="145" y="222"/>
                  </a:lnTo>
                  <a:lnTo>
                    <a:pt x="145" y="222"/>
                  </a:lnTo>
                  <a:lnTo>
                    <a:pt x="145" y="224"/>
                  </a:lnTo>
                  <a:lnTo>
                    <a:pt x="145" y="224"/>
                  </a:lnTo>
                  <a:lnTo>
                    <a:pt x="143" y="226"/>
                  </a:lnTo>
                  <a:lnTo>
                    <a:pt x="141" y="234"/>
                  </a:lnTo>
                  <a:lnTo>
                    <a:pt x="141" y="238"/>
                  </a:lnTo>
                  <a:lnTo>
                    <a:pt x="141" y="240"/>
                  </a:lnTo>
                  <a:lnTo>
                    <a:pt x="141" y="242"/>
                  </a:lnTo>
                  <a:lnTo>
                    <a:pt x="139" y="244"/>
                  </a:lnTo>
                  <a:lnTo>
                    <a:pt x="137" y="244"/>
                  </a:lnTo>
                  <a:lnTo>
                    <a:pt x="133" y="242"/>
                  </a:lnTo>
                  <a:lnTo>
                    <a:pt x="133" y="242"/>
                  </a:lnTo>
                  <a:lnTo>
                    <a:pt x="133" y="244"/>
                  </a:lnTo>
                  <a:lnTo>
                    <a:pt x="125" y="248"/>
                  </a:lnTo>
                  <a:lnTo>
                    <a:pt x="125" y="250"/>
                  </a:lnTo>
                  <a:lnTo>
                    <a:pt x="125" y="250"/>
                  </a:lnTo>
                  <a:lnTo>
                    <a:pt x="123" y="253"/>
                  </a:lnTo>
                  <a:lnTo>
                    <a:pt x="123" y="253"/>
                  </a:lnTo>
                  <a:lnTo>
                    <a:pt x="123" y="253"/>
                  </a:lnTo>
                  <a:lnTo>
                    <a:pt x="121" y="255"/>
                  </a:lnTo>
                  <a:lnTo>
                    <a:pt x="121" y="255"/>
                  </a:lnTo>
                  <a:lnTo>
                    <a:pt x="121" y="255"/>
                  </a:lnTo>
                  <a:lnTo>
                    <a:pt x="119" y="255"/>
                  </a:lnTo>
                  <a:lnTo>
                    <a:pt x="119" y="255"/>
                  </a:lnTo>
                  <a:lnTo>
                    <a:pt x="117" y="255"/>
                  </a:lnTo>
                  <a:lnTo>
                    <a:pt x="117" y="255"/>
                  </a:lnTo>
                  <a:lnTo>
                    <a:pt x="117" y="257"/>
                  </a:lnTo>
                  <a:lnTo>
                    <a:pt x="117" y="257"/>
                  </a:lnTo>
                  <a:lnTo>
                    <a:pt x="117" y="257"/>
                  </a:lnTo>
                  <a:lnTo>
                    <a:pt x="115" y="259"/>
                  </a:lnTo>
                  <a:lnTo>
                    <a:pt x="115" y="261"/>
                  </a:lnTo>
                  <a:lnTo>
                    <a:pt x="115" y="261"/>
                  </a:lnTo>
                  <a:lnTo>
                    <a:pt x="115" y="263"/>
                  </a:lnTo>
                  <a:lnTo>
                    <a:pt x="115" y="263"/>
                  </a:lnTo>
                  <a:lnTo>
                    <a:pt x="113" y="265"/>
                  </a:lnTo>
                  <a:lnTo>
                    <a:pt x="113" y="265"/>
                  </a:lnTo>
                  <a:lnTo>
                    <a:pt x="111" y="265"/>
                  </a:lnTo>
                  <a:lnTo>
                    <a:pt x="111" y="267"/>
                  </a:lnTo>
                  <a:lnTo>
                    <a:pt x="111" y="269"/>
                  </a:lnTo>
                  <a:lnTo>
                    <a:pt x="109" y="269"/>
                  </a:lnTo>
                  <a:lnTo>
                    <a:pt x="109" y="271"/>
                  </a:lnTo>
                  <a:lnTo>
                    <a:pt x="107" y="271"/>
                  </a:lnTo>
                  <a:lnTo>
                    <a:pt x="107" y="271"/>
                  </a:lnTo>
                  <a:lnTo>
                    <a:pt x="100" y="273"/>
                  </a:lnTo>
                  <a:lnTo>
                    <a:pt x="94" y="273"/>
                  </a:lnTo>
                  <a:lnTo>
                    <a:pt x="88" y="275"/>
                  </a:lnTo>
                  <a:lnTo>
                    <a:pt x="84" y="275"/>
                  </a:lnTo>
                  <a:lnTo>
                    <a:pt x="78" y="277"/>
                  </a:lnTo>
                  <a:lnTo>
                    <a:pt x="72" y="279"/>
                  </a:lnTo>
                  <a:lnTo>
                    <a:pt x="66" y="279"/>
                  </a:lnTo>
                  <a:lnTo>
                    <a:pt x="61" y="281"/>
                  </a:lnTo>
                  <a:lnTo>
                    <a:pt x="55" y="283"/>
                  </a:lnTo>
                  <a:lnTo>
                    <a:pt x="49" y="283"/>
                  </a:lnTo>
                  <a:lnTo>
                    <a:pt x="43" y="285"/>
                  </a:lnTo>
                  <a:lnTo>
                    <a:pt x="39" y="285"/>
                  </a:lnTo>
                  <a:lnTo>
                    <a:pt x="33" y="287"/>
                  </a:lnTo>
                  <a:lnTo>
                    <a:pt x="27" y="289"/>
                  </a:lnTo>
                  <a:lnTo>
                    <a:pt x="20" y="289"/>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4" y="287"/>
                  </a:lnTo>
                  <a:lnTo>
                    <a:pt x="12" y="287"/>
                  </a:lnTo>
                  <a:lnTo>
                    <a:pt x="8" y="283"/>
                  </a:lnTo>
                  <a:lnTo>
                    <a:pt x="6" y="283"/>
                  </a:lnTo>
                  <a:lnTo>
                    <a:pt x="6" y="281"/>
                  </a:lnTo>
                  <a:lnTo>
                    <a:pt x="6" y="281"/>
                  </a:lnTo>
                  <a:lnTo>
                    <a:pt x="4" y="279"/>
                  </a:lnTo>
                  <a:lnTo>
                    <a:pt x="4" y="277"/>
                  </a:lnTo>
                  <a:lnTo>
                    <a:pt x="4" y="277"/>
                  </a:lnTo>
                  <a:lnTo>
                    <a:pt x="4" y="275"/>
                  </a:lnTo>
                  <a:lnTo>
                    <a:pt x="6" y="273"/>
                  </a:lnTo>
                  <a:lnTo>
                    <a:pt x="4" y="269"/>
                  </a:lnTo>
                  <a:lnTo>
                    <a:pt x="4" y="267"/>
                  </a:lnTo>
                  <a:lnTo>
                    <a:pt x="6" y="267"/>
                  </a:lnTo>
                  <a:lnTo>
                    <a:pt x="8" y="265"/>
                  </a:lnTo>
                  <a:lnTo>
                    <a:pt x="8" y="263"/>
                  </a:lnTo>
                  <a:lnTo>
                    <a:pt x="6" y="259"/>
                  </a:lnTo>
                  <a:lnTo>
                    <a:pt x="6" y="253"/>
                  </a:lnTo>
                  <a:lnTo>
                    <a:pt x="6" y="250"/>
                  </a:lnTo>
                  <a:lnTo>
                    <a:pt x="6" y="246"/>
                  </a:lnTo>
                  <a:lnTo>
                    <a:pt x="4" y="246"/>
                  </a:lnTo>
                  <a:lnTo>
                    <a:pt x="4" y="242"/>
                  </a:lnTo>
                  <a:lnTo>
                    <a:pt x="4" y="240"/>
                  </a:lnTo>
                  <a:lnTo>
                    <a:pt x="4" y="240"/>
                  </a:lnTo>
                  <a:lnTo>
                    <a:pt x="4" y="240"/>
                  </a:lnTo>
                  <a:lnTo>
                    <a:pt x="4" y="238"/>
                  </a:lnTo>
                  <a:lnTo>
                    <a:pt x="4" y="238"/>
                  </a:lnTo>
                  <a:lnTo>
                    <a:pt x="4" y="238"/>
                  </a:lnTo>
                  <a:lnTo>
                    <a:pt x="4" y="238"/>
                  </a:lnTo>
                  <a:lnTo>
                    <a:pt x="4" y="236"/>
                  </a:lnTo>
                  <a:lnTo>
                    <a:pt x="4" y="236"/>
                  </a:lnTo>
                  <a:lnTo>
                    <a:pt x="4" y="234"/>
                  </a:lnTo>
                  <a:lnTo>
                    <a:pt x="4" y="234"/>
                  </a:lnTo>
                  <a:lnTo>
                    <a:pt x="6" y="232"/>
                  </a:lnTo>
                  <a:lnTo>
                    <a:pt x="4" y="230"/>
                  </a:lnTo>
                  <a:lnTo>
                    <a:pt x="4" y="226"/>
                  </a:lnTo>
                  <a:lnTo>
                    <a:pt x="0" y="207"/>
                  </a:lnTo>
                  <a:lnTo>
                    <a:pt x="0" y="205"/>
                  </a:lnTo>
                  <a:lnTo>
                    <a:pt x="0" y="203"/>
                  </a:lnTo>
                  <a:lnTo>
                    <a:pt x="2" y="199"/>
                  </a:lnTo>
                  <a:lnTo>
                    <a:pt x="2" y="197"/>
                  </a:lnTo>
                  <a:lnTo>
                    <a:pt x="2" y="195"/>
                  </a:lnTo>
                  <a:lnTo>
                    <a:pt x="2" y="191"/>
                  </a:lnTo>
                  <a:lnTo>
                    <a:pt x="2" y="187"/>
                  </a:lnTo>
                  <a:lnTo>
                    <a:pt x="2" y="187"/>
                  </a:lnTo>
                  <a:lnTo>
                    <a:pt x="4" y="185"/>
                  </a:lnTo>
                  <a:lnTo>
                    <a:pt x="4" y="183"/>
                  </a:lnTo>
                  <a:lnTo>
                    <a:pt x="8" y="179"/>
                  </a:lnTo>
                  <a:lnTo>
                    <a:pt x="8" y="177"/>
                  </a:lnTo>
                  <a:lnTo>
                    <a:pt x="8" y="175"/>
                  </a:lnTo>
                  <a:lnTo>
                    <a:pt x="8" y="173"/>
                  </a:lnTo>
                  <a:lnTo>
                    <a:pt x="8" y="171"/>
                  </a:lnTo>
                  <a:lnTo>
                    <a:pt x="8" y="166"/>
                  </a:lnTo>
                  <a:lnTo>
                    <a:pt x="8" y="164"/>
                  </a:lnTo>
                  <a:lnTo>
                    <a:pt x="12" y="156"/>
                  </a:lnTo>
                  <a:lnTo>
                    <a:pt x="12" y="156"/>
                  </a:lnTo>
                  <a:lnTo>
                    <a:pt x="10" y="156"/>
                  </a:lnTo>
                  <a:lnTo>
                    <a:pt x="10" y="154"/>
                  </a:lnTo>
                  <a:lnTo>
                    <a:pt x="10" y="154"/>
                  </a:lnTo>
                  <a:lnTo>
                    <a:pt x="10" y="152"/>
                  </a:lnTo>
                  <a:lnTo>
                    <a:pt x="12" y="146"/>
                  </a:lnTo>
                  <a:lnTo>
                    <a:pt x="12" y="142"/>
                  </a:lnTo>
                  <a:lnTo>
                    <a:pt x="10" y="138"/>
                  </a:lnTo>
                  <a:lnTo>
                    <a:pt x="8" y="130"/>
                  </a:lnTo>
                  <a:lnTo>
                    <a:pt x="8" y="123"/>
                  </a:lnTo>
                  <a:lnTo>
                    <a:pt x="8" y="119"/>
                  </a:lnTo>
                  <a:lnTo>
                    <a:pt x="10" y="117"/>
                  </a:lnTo>
                  <a:lnTo>
                    <a:pt x="14" y="115"/>
                  </a:lnTo>
                  <a:lnTo>
                    <a:pt x="18" y="115"/>
                  </a:lnTo>
                  <a:lnTo>
                    <a:pt x="20" y="113"/>
                  </a:lnTo>
                  <a:lnTo>
                    <a:pt x="23" y="113"/>
                  </a:lnTo>
                  <a:lnTo>
                    <a:pt x="23" y="109"/>
                  </a:lnTo>
                  <a:lnTo>
                    <a:pt x="25" y="107"/>
                  </a:lnTo>
                  <a:lnTo>
                    <a:pt x="31" y="101"/>
                  </a:lnTo>
                  <a:lnTo>
                    <a:pt x="31" y="101"/>
                  </a:lnTo>
                  <a:lnTo>
                    <a:pt x="33" y="99"/>
                  </a:lnTo>
                  <a:lnTo>
                    <a:pt x="33" y="97"/>
                  </a:lnTo>
                  <a:lnTo>
                    <a:pt x="35" y="95"/>
                  </a:lnTo>
                  <a:lnTo>
                    <a:pt x="37" y="91"/>
                  </a:lnTo>
                  <a:lnTo>
                    <a:pt x="35" y="91"/>
                  </a:lnTo>
                  <a:lnTo>
                    <a:pt x="35" y="89"/>
                  </a:lnTo>
                  <a:lnTo>
                    <a:pt x="35" y="87"/>
                  </a:lnTo>
                  <a:lnTo>
                    <a:pt x="35" y="84"/>
                  </a:lnTo>
                  <a:lnTo>
                    <a:pt x="37" y="84"/>
                  </a:lnTo>
                  <a:lnTo>
                    <a:pt x="37" y="84"/>
                  </a:lnTo>
                  <a:lnTo>
                    <a:pt x="37" y="82"/>
                  </a:lnTo>
                  <a:lnTo>
                    <a:pt x="37" y="82"/>
                  </a:lnTo>
                  <a:lnTo>
                    <a:pt x="37" y="80"/>
                  </a:lnTo>
                  <a:lnTo>
                    <a:pt x="35" y="80"/>
                  </a:lnTo>
                  <a:lnTo>
                    <a:pt x="31" y="74"/>
                  </a:lnTo>
                  <a:lnTo>
                    <a:pt x="31" y="74"/>
                  </a:lnTo>
                  <a:lnTo>
                    <a:pt x="31" y="72"/>
                  </a:lnTo>
                  <a:lnTo>
                    <a:pt x="29" y="70"/>
                  </a:lnTo>
                  <a:lnTo>
                    <a:pt x="27" y="70"/>
                  </a:lnTo>
                  <a:lnTo>
                    <a:pt x="27" y="66"/>
                  </a:lnTo>
                  <a:lnTo>
                    <a:pt x="29" y="62"/>
                  </a:lnTo>
                  <a:lnTo>
                    <a:pt x="31" y="58"/>
                  </a:lnTo>
                  <a:lnTo>
                    <a:pt x="33" y="52"/>
                  </a:lnTo>
                  <a:lnTo>
                    <a:pt x="33" y="50"/>
                  </a:lnTo>
                  <a:lnTo>
                    <a:pt x="31" y="48"/>
                  </a:lnTo>
                  <a:lnTo>
                    <a:pt x="31" y="46"/>
                  </a:lnTo>
                  <a:lnTo>
                    <a:pt x="29" y="43"/>
                  </a:lnTo>
                  <a:lnTo>
                    <a:pt x="29" y="41"/>
                  </a:lnTo>
                  <a:lnTo>
                    <a:pt x="29" y="39"/>
                  </a:lnTo>
                  <a:lnTo>
                    <a:pt x="31" y="39"/>
                  </a:lnTo>
                  <a:lnTo>
                    <a:pt x="31" y="39"/>
                  </a:lnTo>
                  <a:lnTo>
                    <a:pt x="29" y="37"/>
                  </a:lnTo>
                  <a:lnTo>
                    <a:pt x="29" y="35"/>
                  </a:lnTo>
                  <a:lnTo>
                    <a:pt x="29" y="33"/>
                  </a:lnTo>
                  <a:lnTo>
                    <a:pt x="31" y="29"/>
                  </a:lnTo>
                  <a:lnTo>
                    <a:pt x="31" y="27"/>
                  </a:lnTo>
                  <a:lnTo>
                    <a:pt x="31" y="25"/>
                  </a:lnTo>
                  <a:lnTo>
                    <a:pt x="31" y="23"/>
                  </a:lnTo>
                  <a:lnTo>
                    <a:pt x="33" y="19"/>
                  </a:lnTo>
                  <a:lnTo>
                    <a:pt x="33" y="17"/>
                  </a:lnTo>
                  <a:lnTo>
                    <a:pt x="31" y="17"/>
                  </a:lnTo>
                  <a:lnTo>
                    <a:pt x="29" y="17"/>
                  </a:lnTo>
                  <a:lnTo>
                    <a:pt x="29" y="15"/>
                  </a:lnTo>
                  <a:lnTo>
                    <a:pt x="33" y="15"/>
                  </a:lnTo>
                  <a:lnTo>
                    <a:pt x="33" y="13"/>
                  </a:lnTo>
                  <a:lnTo>
                    <a:pt x="35" y="9"/>
                  </a:lnTo>
                  <a:lnTo>
                    <a:pt x="35" y="9"/>
                  </a:lnTo>
                  <a:lnTo>
                    <a:pt x="37" y="7"/>
                  </a:lnTo>
                  <a:lnTo>
                    <a:pt x="39" y="7"/>
                  </a:lnTo>
                  <a:lnTo>
                    <a:pt x="45" y="9"/>
                  </a:lnTo>
                  <a:lnTo>
                    <a:pt x="47" y="9"/>
                  </a:lnTo>
                  <a:lnTo>
                    <a:pt x="49" y="9"/>
                  </a:lnTo>
                  <a:lnTo>
                    <a:pt x="51" y="7"/>
                  </a:lnTo>
                  <a:lnTo>
                    <a:pt x="53" y="2"/>
                  </a:lnTo>
                  <a:lnTo>
                    <a:pt x="53" y="2"/>
                  </a:lnTo>
                  <a:lnTo>
                    <a:pt x="53" y="0"/>
                  </a:lnTo>
                  <a:lnTo>
                    <a:pt x="53" y="0"/>
                  </a:lnTo>
                  <a:lnTo>
                    <a:pt x="55" y="7"/>
                  </a:lnTo>
                  <a:lnTo>
                    <a:pt x="57" y="13"/>
                  </a:lnTo>
                  <a:lnTo>
                    <a:pt x="59" y="17"/>
                  </a:lnTo>
                  <a:lnTo>
                    <a:pt x="61" y="23"/>
                  </a:lnTo>
                  <a:lnTo>
                    <a:pt x="63" y="27"/>
                  </a:lnTo>
                  <a:lnTo>
                    <a:pt x="66" y="33"/>
                  </a:lnTo>
                  <a:lnTo>
                    <a:pt x="66" y="39"/>
                  </a:lnTo>
                  <a:lnTo>
                    <a:pt x="68" y="43"/>
                  </a:lnTo>
                  <a:lnTo>
                    <a:pt x="70" y="50"/>
                  </a:lnTo>
                  <a:lnTo>
                    <a:pt x="72" y="54"/>
                  </a:lnTo>
                  <a:lnTo>
                    <a:pt x="74" y="60"/>
                  </a:lnTo>
                  <a:lnTo>
                    <a:pt x="76" y="66"/>
                  </a:lnTo>
                  <a:lnTo>
                    <a:pt x="76" y="70"/>
                  </a:lnTo>
                  <a:lnTo>
                    <a:pt x="78" y="76"/>
                  </a:lnTo>
                  <a:lnTo>
                    <a:pt x="80" y="80"/>
                  </a:lnTo>
                  <a:lnTo>
                    <a:pt x="82" y="87"/>
                  </a:lnTo>
                  <a:lnTo>
                    <a:pt x="84" y="93"/>
                  </a:lnTo>
                  <a:lnTo>
                    <a:pt x="86" y="97"/>
                  </a:lnTo>
                  <a:lnTo>
                    <a:pt x="88" y="103"/>
                  </a:lnTo>
                  <a:lnTo>
                    <a:pt x="88" y="107"/>
                  </a:lnTo>
                  <a:lnTo>
                    <a:pt x="90" y="113"/>
                  </a:lnTo>
                  <a:lnTo>
                    <a:pt x="92" y="119"/>
                  </a:lnTo>
                  <a:lnTo>
                    <a:pt x="94" y="123"/>
                  </a:lnTo>
                  <a:lnTo>
                    <a:pt x="96" y="130"/>
                  </a:lnTo>
                  <a:lnTo>
                    <a:pt x="98" y="136"/>
                  </a:lnTo>
                  <a:lnTo>
                    <a:pt x="100" y="140"/>
                  </a:lnTo>
                  <a:lnTo>
                    <a:pt x="100" y="146"/>
                  </a:lnTo>
                  <a:lnTo>
                    <a:pt x="102" y="150"/>
                  </a:lnTo>
                  <a:lnTo>
                    <a:pt x="104" y="156"/>
                  </a:lnTo>
                  <a:lnTo>
                    <a:pt x="107" y="162"/>
                  </a:lnTo>
                  <a:lnTo>
                    <a:pt x="109" y="166"/>
                  </a:lnTo>
                  <a:lnTo>
                    <a:pt x="111" y="173"/>
                  </a:lnTo>
                  <a:lnTo>
                    <a:pt x="111" y="175"/>
                  </a:lnTo>
                  <a:lnTo>
                    <a:pt x="113" y="179"/>
                  </a:lnTo>
                  <a:lnTo>
                    <a:pt x="113" y="181"/>
                  </a:lnTo>
                  <a:lnTo>
                    <a:pt x="113" y="181"/>
                  </a:lnTo>
                  <a:lnTo>
                    <a:pt x="113" y="183"/>
                  </a:lnTo>
                  <a:lnTo>
                    <a:pt x="113" y="183"/>
                  </a:lnTo>
                  <a:lnTo>
                    <a:pt x="113" y="183"/>
                  </a:lnTo>
                  <a:lnTo>
                    <a:pt x="113" y="185"/>
                  </a:lnTo>
                  <a:lnTo>
                    <a:pt x="115" y="187"/>
                  </a:lnTo>
                  <a:lnTo>
                    <a:pt x="115" y="187"/>
                  </a:lnTo>
                  <a:lnTo>
                    <a:pt x="115" y="191"/>
                  </a:lnTo>
                  <a:lnTo>
                    <a:pt x="115" y="191"/>
                  </a:lnTo>
                  <a:lnTo>
                    <a:pt x="115" y="191"/>
                  </a:lnTo>
                  <a:lnTo>
                    <a:pt x="115" y="193"/>
                  </a:lnTo>
                  <a:lnTo>
                    <a:pt x="115" y="193"/>
                  </a:lnTo>
                  <a:lnTo>
                    <a:pt x="115" y="195"/>
                  </a:lnTo>
                  <a:lnTo>
                    <a:pt x="117" y="195"/>
                  </a:lnTo>
                  <a:lnTo>
                    <a:pt x="119" y="197"/>
                  </a:lnTo>
                  <a:lnTo>
                    <a:pt x="123" y="199"/>
                  </a:lnTo>
                  <a:lnTo>
                    <a:pt x="127" y="203"/>
                  </a:lnTo>
                  <a:lnTo>
                    <a:pt x="129" y="203"/>
                  </a:lnTo>
                  <a:lnTo>
                    <a:pt x="131" y="205"/>
                  </a:lnTo>
                  <a:lnTo>
                    <a:pt x="131" y="205"/>
                  </a:lnTo>
                  <a:lnTo>
                    <a:pt x="131" y="207"/>
                  </a:lnTo>
                  <a:lnTo>
                    <a:pt x="131" y="207"/>
                  </a:lnTo>
                  <a:lnTo>
                    <a:pt x="131" y="207"/>
                  </a:lnTo>
                  <a:lnTo>
                    <a:pt x="131" y="212"/>
                  </a:lnTo>
                  <a:lnTo>
                    <a:pt x="133" y="214"/>
                  </a:lnTo>
                  <a:lnTo>
                    <a:pt x="133" y="214"/>
                  </a:lnTo>
                  <a:lnTo>
                    <a:pt x="135" y="216"/>
                  </a:lnTo>
                  <a:lnTo>
                    <a:pt x="137" y="218"/>
                  </a:lnTo>
                  <a:lnTo>
                    <a:pt x="141" y="220"/>
                  </a:lnTo>
                  <a:lnTo>
                    <a:pt x="141" y="220"/>
                  </a:lnTo>
                  <a:close/>
                </a:path>
              </a:pathLst>
            </a:custGeom>
            <a:solidFill>
              <a:schemeClr val="accent1"/>
            </a:solidFill>
            <a:ln w="3175" cap="rnd">
              <a:solidFill>
                <a:schemeClr val="bg1"/>
              </a:solidFill>
              <a:prstDash val="solid"/>
              <a:round/>
              <a:headEnd/>
              <a:tailEnd/>
            </a:ln>
          </p:spPr>
          <p:txBody>
            <a:bodyPr vert="horz" wrap="square" lIns="0" tIns="0" rIns="0" bIns="96000" numCol="1" anchor="b"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H</a:t>
              </a:r>
            </a:p>
          </p:txBody>
        </p:sp>
      </p:grpSp>
      <p:grpSp>
        <p:nvGrpSpPr>
          <p:cNvPr id="294" name="Group 293">
            <a:extLst>
              <a:ext uri="{FF2B5EF4-FFF2-40B4-BE49-F238E27FC236}">
                <a16:creationId xmlns:a16="http://schemas.microsoft.com/office/drawing/2014/main" id="{A7CBDCA7-B5ED-A130-F3C8-4C23DE58C05C}"/>
              </a:ext>
            </a:extLst>
          </p:cNvPr>
          <p:cNvGrpSpPr>
            <a:grpSpLocks noChangeAspect="1"/>
          </p:cNvGrpSpPr>
          <p:nvPr/>
        </p:nvGrpSpPr>
        <p:grpSpPr bwMode="auto">
          <a:xfrm>
            <a:off x="-448512" y="2313429"/>
            <a:ext cx="6638614" cy="3239494"/>
            <a:chOff x="-261" y="0"/>
            <a:chExt cx="5570" cy="2922"/>
          </a:xfrm>
        </p:grpSpPr>
        <p:sp>
          <p:nvSpPr>
            <p:cNvPr id="295" name="Freeform 5">
              <a:extLst>
                <a:ext uri="{FF2B5EF4-FFF2-40B4-BE49-F238E27FC236}">
                  <a16:creationId xmlns:a16="http://schemas.microsoft.com/office/drawing/2014/main" id="{4BF12DC3-14E8-D68F-63DF-86D5E1FF530C}"/>
                </a:ext>
              </a:extLst>
            </p:cNvPr>
            <p:cNvSpPr>
              <a:spLocks/>
            </p:cNvSpPr>
            <p:nvPr/>
          </p:nvSpPr>
          <p:spPr bwMode="auto">
            <a:xfrm>
              <a:off x="1812" y="549"/>
              <a:ext cx="594" cy="461"/>
            </a:xfrm>
            <a:custGeom>
              <a:avLst/>
              <a:gdLst>
                <a:gd name="T0" fmla="*/ 586 w 594"/>
                <a:gd name="T1" fmla="*/ 287 h 461"/>
                <a:gd name="T2" fmla="*/ 584 w 594"/>
                <a:gd name="T3" fmla="*/ 340 h 461"/>
                <a:gd name="T4" fmla="*/ 584 w 594"/>
                <a:gd name="T5" fmla="*/ 394 h 461"/>
                <a:gd name="T6" fmla="*/ 582 w 594"/>
                <a:gd name="T7" fmla="*/ 447 h 461"/>
                <a:gd name="T8" fmla="*/ 543 w 594"/>
                <a:gd name="T9" fmla="*/ 459 h 461"/>
                <a:gd name="T10" fmla="*/ 489 w 594"/>
                <a:gd name="T11" fmla="*/ 457 h 461"/>
                <a:gd name="T12" fmla="*/ 438 w 594"/>
                <a:gd name="T13" fmla="*/ 453 h 461"/>
                <a:gd name="T14" fmla="*/ 385 w 594"/>
                <a:gd name="T15" fmla="*/ 451 h 461"/>
                <a:gd name="T16" fmla="*/ 334 w 594"/>
                <a:gd name="T17" fmla="*/ 449 h 461"/>
                <a:gd name="T18" fmla="*/ 283 w 594"/>
                <a:gd name="T19" fmla="*/ 445 h 461"/>
                <a:gd name="T20" fmla="*/ 229 w 594"/>
                <a:gd name="T21" fmla="*/ 441 h 461"/>
                <a:gd name="T22" fmla="*/ 178 w 594"/>
                <a:gd name="T23" fmla="*/ 437 h 461"/>
                <a:gd name="T24" fmla="*/ 135 w 594"/>
                <a:gd name="T25" fmla="*/ 433 h 461"/>
                <a:gd name="T26" fmla="*/ 92 w 594"/>
                <a:gd name="T27" fmla="*/ 429 h 461"/>
                <a:gd name="T28" fmla="*/ 51 w 594"/>
                <a:gd name="T29" fmla="*/ 427 h 461"/>
                <a:gd name="T30" fmla="*/ 10 w 594"/>
                <a:gd name="T31" fmla="*/ 422 h 461"/>
                <a:gd name="T32" fmla="*/ 0 w 594"/>
                <a:gd name="T33" fmla="*/ 420 h 461"/>
                <a:gd name="T34" fmla="*/ 0 w 594"/>
                <a:gd name="T35" fmla="*/ 420 h 461"/>
                <a:gd name="T36" fmla="*/ 2 w 594"/>
                <a:gd name="T37" fmla="*/ 394 h 461"/>
                <a:gd name="T38" fmla="*/ 6 w 594"/>
                <a:gd name="T39" fmla="*/ 367 h 461"/>
                <a:gd name="T40" fmla="*/ 8 w 594"/>
                <a:gd name="T41" fmla="*/ 340 h 461"/>
                <a:gd name="T42" fmla="*/ 10 w 594"/>
                <a:gd name="T43" fmla="*/ 316 h 461"/>
                <a:gd name="T44" fmla="*/ 16 w 594"/>
                <a:gd name="T45" fmla="*/ 248 h 461"/>
                <a:gd name="T46" fmla="*/ 23 w 594"/>
                <a:gd name="T47" fmla="*/ 183 h 461"/>
                <a:gd name="T48" fmla="*/ 31 w 594"/>
                <a:gd name="T49" fmla="*/ 117 h 461"/>
                <a:gd name="T50" fmla="*/ 37 w 594"/>
                <a:gd name="T51" fmla="*/ 54 h 461"/>
                <a:gd name="T52" fmla="*/ 37 w 594"/>
                <a:gd name="T53" fmla="*/ 39 h 461"/>
                <a:gd name="T54" fmla="*/ 39 w 594"/>
                <a:gd name="T55" fmla="*/ 27 h 461"/>
                <a:gd name="T56" fmla="*/ 41 w 594"/>
                <a:gd name="T57" fmla="*/ 15 h 461"/>
                <a:gd name="T58" fmla="*/ 41 w 594"/>
                <a:gd name="T59" fmla="*/ 2 h 461"/>
                <a:gd name="T60" fmla="*/ 63 w 594"/>
                <a:gd name="T61" fmla="*/ 2 h 461"/>
                <a:gd name="T62" fmla="*/ 96 w 594"/>
                <a:gd name="T63" fmla="*/ 6 h 461"/>
                <a:gd name="T64" fmla="*/ 131 w 594"/>
                <a:gd name="T65" fmla="*/ 8 h 461"/>
                <a:gd name="T66" fmla="*/ 166 w 594"/>
                <a:gd name="T67" fmla="*/ 13 h 461"/>
                <a:gd name="T68" fmla="*/ 201 w 594"/>
                <a:gd name="T69" fmla="*/ 15 h 461"/>
                <a:gd name="T70" fmla="*/ 233 w 594"/>
                <a:gd name="T71" fmla="*/ 17 h 461"/>
                <a:gd name="T72" fmla="*/ 268 w 594"/>
                <a:gd name="T73" fmla="*/ 21 h 461"/>
                <a:gd name="T74" fmla="*/ 303 w 594"/>
                <a:gd name="T75" fmla="*/ 23 h 461"/>
                <a:gd name="T76" fmla="*/ 338 w 594"/>
                <a:gd name="T77" fmla="*/ 25 h 461"/>
                <a:gd name="T78" fmla="*/ 371 w 594"/>
                <a:gd name="T79" fmla="*/ 27 h 461"/>
                <a:gd name="T80" fmla="*/ 406 w 594"/>
                <a:gd name="T81" fmla="*/ 29 h 461"/>
                <a:gd name="T82" fmla="*/ 440 w 594"/>
                <a:gd name="T83" fmla="*/ 31 h 461"/>
                <a:gd name="T84" fmla="*/ 475 w 594"/>
                <a:gd name="T85" fmla="*/ 33 h 461"/>
                <a:gd name="T86" fmla="*/ 510 w 594"/>
                <a:gd name="T87" fmla="*/ 35 h 461"/>
                <a:gd name="T88" fmla="*/ 543 w 594"/>
                <a:gd name="T89" fmla="*/ 35 h 461"/>
                <a:gd name="T90" fmla="*/ 578 w 594"/>
                <a:gd name="T91" fmla="*/ 37 h 461"/>
                <a:gd name="T92" fmla="*/ 594 w 594"/>
                <a:gd name="T93" fmla="*/ 64 h 461"/>
                <a:gd name="T94" fmla="*/ 592 w 594"/>
                <a:gd name="T95" fmla="*/ 117 h 461"/>
                <a:gd name="T96" fmla="*/ 590 w 594"/>
                <a:gd name="T97" fmla="*/ 168 h 461"/>
                <a:gd name="T98" fmla="*/ 588 w 594"/>
                <a:gd name="T99" fmla="*/ 222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4" h="461">
                  <a:moveTo>
                    <a:pt x="588" y="248"/>
                  </a:moveTo>
                  <a:lnTo>
                    <a:pt x="588" y="261"/>
                  </a:lnTo>
                  <a:lnTo>
                    <a:pt x="588" y="275"/>
                  </a:lnTo>
                  <a:lnTo>
                    <a:pt x="586" y="287"/>
                  </a:lnTo>
                  <a:lnTo>
                    <a:pt x="586" y="302"/>
                  </a:lnTo>
                  <a:lnTo>
                    <a:pt x="586" y="314"/>
                  </a:lnTo>
                  <a:lnTo>
                    <a:pt x="586" y="328"/>
                  </a:lnTo>
                  <a:lnTo>
                    <a:pt x="584" y="340"/>
                  </a:lnTo>
                  <a:lnTo>
                    <a:pt x="584" y="355"/>
                  </a:lnTo>
                  <a:lnTo>
                    <a:pt x="584" y="367"/>
                  </a:lnTo>
                  <a:lnTo>
                    <a:pt x="584" y="381"/>
                  </a:lnTo>
                  <a:lnTo>
                    <a:pt x="584" y="394"/>
                  </a:lnTo>
                  <a:lnTo>
                    <a:pt x="582" y="408"/>
                  </a:lnTo>
                  <a:lnTo>
                    <a:pt x="582" y="420"/>
                  </a:lnTo>
                  <a:lnTo>
                    <a:pt x="582" y="435"/>
                  </a:lnTo>
                  <a:lnTo>
                    <a:pt x="582" y="447"/>
                  </a:lnTo>
                  <a:lnTo>
                    <a:pt x="582" y="461"/>
                  </a:lnTo>
                  <a:lnTo>
                    <a:pt x="567" y="459"/>
                  </a:lnTo>
                  <a:lnTo>
                    <a:pt x="555" y="459"/>
                  </a:lnTo>
                  <a:lnTo>
                    <a:pt x="543" y="459"/>
                  </a:lnTo>
                  <a:lnTo>
                    <a:pt x="528" y="459"/>
                  </a:lnTo>
                  <a:lnTo>
                    <a:pt x="516" y="457"/>
                  </a:lnTo>
                  <a:lnTo>
                    <a:pt x="502" y="457"/>
                  </a:lnTo>
                  <a:lnTo>
                    <a:pt x="489" y="457"/>
                  </a:lnTo>
                  <a:lnTo>
                    <a:pt x="477" y="455"/>
                  </a:lnTo>
                  <a:lnTo>
                    <a:pt x="463" y="455"/>
                  </a:lnTo>
                  <a:lnTo>
                    <a:pt x="451" y="455"/>
                  </a:lnTo>
                  <a:lnTo>
                    <a:pt x="438" y="453"/>
                  </a:lnTo>
                  <a:lnTo>
                    <a:pt x="424" y="453"/>
                  </a:lnTo>
                  <a:lnTo>
                    <a:pt x="412" y="453"/>
                  </a:lnTo>
                  <a:lnTo>
                    <a:pt x="399" y="451"/>
                  </a:lnTo>
                  <a:lnTo>
                    <a:pt x="385" y="451"/>
                  </a:lnTo>
                  <a:lnTo>
                    <a:pt x="373" y="451"/>
                  </a:lnTo>
                  <a:lnTo>
                    <a:pt x="360" y="449"/>
                  </a:lnTo>
                  <a:lnTo>
                    <a:pt x="346" y="449"/>
                  </a:lnTo>
                  <a:lnTo>
                    <a:pt x="334" y="449"/>
                  </a:lnTo>
                  <a:lnTo>
                    <a:pt x="322" y="447"/>
                  </a:lnTo>
                  <a:lnTo>
                    <a:pt x="307" y="447"/>
                  </a:lnTo>
                  <a:lnTo>
                    <a:pt x="295" y="445"/>
                  </a:lnTo>
                  <a:lnTo>
                    <a:pt x="283" y="445"/>
                  </a:lnTo>
                  <a:lnTo>
                    <a:pt x="268" y="443"/>
                  </a:lnTo>
                  <a:lnTo>
                    <a:pt x="256" y="443"/>
                  </a:lnTo>
                  <a:lnTo>
                    <a:pt x="244" y="441"/>
                  </a:lnTo>
                  <a:lnTo>
                    <a:pt x="229" y="441"/>
                  </a:lnTo>
                  <a:lnTo>
                    <a:pt x="217" y="441"/>
                  </a:lnTo>
                  <a:lnTo>
                    <a:pt x="205" y="439"/>
                  </a:lnTo>
                  <a:lnTo>
                    <a:pt x="190" y="439"/>
                  </a:lnTo>
                  <a:lnTo>
                    <a:pt x="178" y="437"/>
                  </a:lnTo>
                  <a:lnTo>
                    <a:pt x="166" y="437"/>
                  </a:lnTo>
                  <a:lnTo>
                    <a:pt x="156" y="435"/>
                  </a:lnTo>
                  <a:lnTo>
                    <a:pt x="145" y="435"/>
                  </a:lnTo>
                  <a:lnTo>
                    <a:pt x="135" y="433"/>
                  </a:lnTo>
                  <a:lnTo>
                    <a:pt x="123" y="433"/>
                  </a:lnTo>
                  <a:lnTo>
                    <a:pt x="113" y="431"/>
                  </a:lnTo>
                  <a:lnTo>
                    <a:pt x="102" y="431"/>
                  </a:lnTo>
                  <a:lnTo>
                    <a:pt x="92" y="429"/>
                  </a:lnTo>
                  <a:lnTo>
                    <a:pt x="82" y="429"/>
                  </a:lnTo>
                  <a:lnTo>
                    <a:pt x="72" y="429"/>
                  </a:lnTo>
                  <a:lnTo>
                    <a:pt x="61" y="427"/>
                  </a:lnTo>
                  <a:lnTo>
                    <a:pt x="51" y="427"/>
                  </a:lnTo>
                  <a:lnTo>
                    <a:pt x="41" y="424"/>
                  </a:lnTo>
                  <a:lnTo>
                    <a:pt x="31" y="424"/>
                  </a:lnTo>
                  <a:lnTo>
                    <a:pt x="20" y="422"/>
                  </a:lnTo>
                  <a:lnTo>
                    <a:pt x="10" y="422"/>
                  </a:lnTo>
                  <a:lnTo>
                    <a:pt x="0" y="420"/>
                  </a:lnTo>
                  <a:lnTo>
                    <a:pt x="0" y="420"/>
                  </a:lnTo>
                  <a:lnTo>
                    <a:pt x="0" y="420"/>
                  </a:lnTo>
                  <a:lnTo>
                    <a:pt x="0" y="420"/>
                  </a:lnTo>
                  <a:lnTo>
                    <a:pt x="0" y="420"/>
                  </a:lnTo>
                  <a:lnTo>
                    <a:pt x="0" y="420"/>
                  </a:lnTo>
                  <a:lnTo>
                    <a:pt x="0" y="420"/>
                  </a:lnTo>
                  <a:lnTo>
                    <a:pt x="0" y="420"/>
                  </a:lnTo>
                  <a:lnTo>
                    <a:pt x="0" y="414"/>
                  </a:lnTo>
                  <a:lnTo>
                    <a:pt x="2" y="408"/>
                  </a:lnTo>
                  <a:lnTo>
                    <a:pt x="2" y="400"/>
                  </a:lnTo>
                  <a:lnTo>
                    <a:pt x="2" y="394"/>
                  </a:lnTo>
                  <a:lnTo>
                    <a:pt x="4" y="388"/>
                  </a:lnTo>
                  <a:lnTo>
                    <a:pt x="4" y="381"/>
                  </a:lnTo>
                  <a:lnTo>
                    <a:pt x="4" y="375"/>
                  </a:lnTo>
                  <a:lnTo>
                    <a:pt x="6" y="367"/>
                  </a:lnTo>
                  <a:lnTo>
                    <a:pt x="6" y="361"/>
                  </a:lnTo>
                  <a:lnTo>
                    <a:pt x="6" y="355"/>
                  </a:lnTo>
                  <a:lnTo>
                    <a:pt x="6" y="349"/>
                  </a:lnTo>
                  <a:lnTo>
                    <a:pt x="8" y="340"/>
                  </a:lnTo>
                  <a:lnTo>
                    <a:pt x="8" y="334"/>
                  </a:lnTo>
                  <a:lnTo>
                    <a:pt x="8" y="328"/>
                  </a:lnTo>
                  <a:lnTo>
                    <a:pt x="10" y="322"/>
                  </a:lnTo>
                  <a:lnTo>
                    <a:pt x="10" y="316"/>
                  </a:lnTo>
                  <a:lnTo>
                    <a:pt x="12" y="299"/>
                  </a:lnTo>
                  <a:lnTo>
                    <a:pt x="14" y="283"/>
                  </a:lnTo>
                  <a:lnTo>
                    <a:pt x="16" y="265"/>
                  </a:lnTo>
                  <a:lnTo>
                    <a:pt x="16" y="248"/>
                  </a:lnTo>
                  <a:lnTo>
                    <a:pt x="18" y="232"/>
                  </a:lnTo>
                  <a:lnTo>
                    <a:pt x="20" y="215"/>
                  </a:lnTo>
                  <a:lnTo>
                    <a:pt x="23" y="199"/>
                  </a:lnTo>
                  <a:lnTo>
                    <a:pt x="23" y="183"/>
                  </a:lnTo>
                  <a:lnTo>
                    <a:pt x="25" y="166"/>
                  </a:lnTo>
                  <a:lnTo>
                    <a:pt x="27" y="150"/>
                  </a:lnTo>
                  <a:lnTo>
                    <a:pt x="29" y="133"/>
                  </a:lnTo>
                  <a:lnTo>
                    <a:pt x="31" y="117"/>
                  </a:lnTo>
                  <a:lnTo>
                    <a:pt x="31" y="101"/>
                  </a:lnTo>
                  <a:lnTo>
                    <a:pt x="33" y="86"/>
                  </a:lnTo>
                  <a:lnTo>
                    <a:pt x="35" y="70"/>
                  </a:lnTo>
                  <a:lnTo>
                    <a:pt x="37" y="54"/>
                  </a:lnTo>
                  <a:lnTo>
                    <a:pt x="37" y="49"/>
                  </a:lnTo>
                  <a:lnTo>
                    <a:pt x="37" y="47"/>
                  </a:lnTo>
                  <a:lnTo>
                    <a:pt x="37" y="43"/>
                  </a:lnTo>
                  <a:lnTo>
                    <a:pt x="37" y="39"/>
                  </a:lnTo>
                  <a:lnTo>
                    <a:pt x="39" y="37"/>
                  </a:lnTo>
                  <a:lnTo>
                    <a:pt x="39" y="33"/>
                  </a:lnTo>
                  <a:lnTo>
                    <a:pt x="39" y="31"/>
                  </a:lnTo>
                  <a:lnTo>
                    <a:pt x="39" y="27"/>
                  </a:lnTo>
                  <a:lnTo>
                    <a:pt x="39" y="25"/>
                  </a:lnTo>
                  <a:lnTo>
                    <a:pt x="39" y="21"/>
                  </a:lnTo>
                  <a:lnTo>
                    <a:pt x="41" y="19"/>
                  </a:lnTo>
                  <a:lnTo>
                    <a:pt x="41" y="15"/>
                  </a:lnTo>
                  <a:lnTo>
                    <a:pt x="41" y="13"/>
                  </a:lnTo>
                  <a:lnTo>
                    <a:pt x="41" y="8"/>
                  </a:lnTo>
                  <a:lnTo>
                    <a:pt x="41" y="4"/>
                  </a:lnTo>
                  <a:lnTo>
                    <a:pt x="41" y="2"/>
                  </a:lnTo>
                  <a:lnTo>
                    <a:pt x="41" y="0"/>
                  </a:lnTo>
                  <a:lnTo>
                    <a:pt x="45" y="0"/>
                  </a:lnTo>
                  <a:lnTo>
                    <a:pt x="55" y="2"/>
                  </a:lnTo>
                  <a:lnTo>
                    <a:pt x="63" y="2"/>
                  </a:lnTo>
                  <a:lnTo>
                    <a:pt x="72" y="2"/>
                  </a:lnTo>
                  <a:lnTo>
                    <a:pt x="80" y="4"/>
                  </a:lnTo>
                  <a:lnTo>
                    <a:pt x="88" y="4"/>
                  </a:lnTo>
                  <a:lnTo>
                    <a:pt x="96" y="6"/>
                  </a:lnTo>
                  <a:lnTo>
                    <a:pt x="106" y="6"/>
                  </a:lnTo>
                  <a:lnTo>
                    <a:pt x="115" y="6"/>
                  </a:lnTo>
                  <a:lnTo>
                    <a:pt x="123" y="8"/>
                  </a:lnTo>
                  <a:lnTo>
                    <a:pt x="131" y="8"/>
                  </a:lnTo>
                  <a:lnTo>
                    <a:pt x="139" y="11"/>
                  </a:lnTo>
                  <a:lnTo>
                    <a:pt x="150" y="11"/>
                  </a:lnTo>
                  <a:lnTo>
                    <a:pt x="158" y="11"/>
                  </a:lnTo>
                  <a:lnTo>
                    <a:pt x="166" y="13"/>
                  </a:lnTo>
                  <a:lnTo>
                    <a:pt x="174" y="13"/>
                  </a:lnTo>
                  <a:lnTo>
                    <a:pt x="182" y="13"/>
                  </a:lnTo>
                  <a:lnTo>
                    <a:pt x="190" y="15"/>
                  </a:lnTo>
                  <a:lnTo>
                    <a:pt x="201" y="15"/>
                  </a:lnTo>
                  <a:lnTo>
                    <a:pt x="209" y="15"/>
                  </a:lnTo>
                  <a:lnTo>
                    <a:pt x="217" y="17"/>
                  </a:lnTo>
                  <a:lnTo>
                    <a:pt x="225" y="17"/>
                  </a:lnTo>
                  <a:lnTo>
                    <a:pt x="233" y="17"/>
                  </a:lnTo>
                  <a:lnTo>
                    <a:pt x="244" y="19"/>
                  </a:lnTo>
                  <a:lnTo>
                    <a:pt x="252" y="19"/>
                  </a:lnTo>
                  <a:lnTo>
                    <a:pt x="260" y="19"/>
                  </a:lnTo>
                  <a:lnTo>
                    <a:pt x="268" y="21"/>
                  </a:lnTo>
                  <a:lnTo>
                    <a:pt x="276" y="21"/>
                  </a:lnTo>
                  <a:lnTo>
                    <a:pt x="287" y="21"/>
                  </a:lnTo>
                  <a:lnTo>
                    <a:pt x="295" y="23"/>
                  </a:lnTo>
                  <a:lnTo>
                    <a:pt x="303" y="23"/>
                  </a:lnTo>
                  <a:lnTo>
                    <a:pt x="311" y="23"/>
                  </a:lnTo>
                  <a:lnTo>
                    <a:pt x="319" y="23"/>
                  </a:lnTo>
                  <a:lnTo>
                    <a:pt x="328" y="25"/>
                  </a:lnTo>
                  <a:lnTo>
                    <a:pt x="338" y="25"/>
                  </a:lnTo>
                  <a:lnTo>
                    <a:pt x="346" y="25"/>
                  </a:lnTo>
                  <a:lnTo>
                    <a:pt x="354" y="27"/>
                  </a:lnTo>
                  <a:lnTo>
                    <a:pt x="363" y="27"/>
                  </a:lnTo>
                  <a:lnTo>
                    <a:pt x="371" y="27"/>
                  </a:lnTo>
                  <a:lnTo>
                    <a:pt x="381" y="27"/>
                  </a:lnTo>
                  <a:lnTo>
                    <a:pt x="389" y="29"/>
                  </a:lnTo>
                  <a:lnTo>
                    <a:pt x="397" y="29"/>
                  </a:lnTo>
                  <a:lnTo>
                    <a:pt x="406" y="29"/>
                  </a:lnTo>
                  <a:lnTo>
                    <a:pt x="414" y="29"/>
                  </a:lnTo>
                  <a:lnTo>
                    <a:pt x="424" y="31"/>
                  </a:lnTo>
                  <a:lnTo>
                    <a:pt x="432" y="31"/>
                  </a:lnTo>
                  <a:lnTo>
                    <a:pt x="440" y="31"/>
                  </a:lnTo>
                  <a:lnTo>
                    <a:pt x="449" y="31"/>
                  </a:lnTo>
                  <a:lnTo>
                    <a:pt x="457" y="33"/>
                  </a:lnTo>
                  <a:lnTo>
                    <a:pt x="467" y="33"/>
                  </a:lnTo>
                  <a:lnTo>
                    <a:pt x="475" y="33"/>
                  </a:lnTo>
                  <a:lnTo>
                    <a:pt x="483" y="33"/>
                  </a:lnTo>
                  <a:lnTo>
                    <a:pt x="492" y="33"/>
                  </a:lnTo>
                  <a:lnTo>
                    <a:pt x="500" y="35"/>
                  </a:lnTo>
                  <a:lnTo>
                    <a:pt x="510" y="35"/>
                  </a:lnTo>
                  <a:lnTo>
                    <a:pt x="518" y="35"/>
                  </a:lnTo>
                  <a:lnTo>
                    <a:pt x="526" y="35"/>
                  </a:lnTo>
                  <a:lnTo>
                    <a:pt x="535" y="35"/>
                  </a:lnTo>
                  <a:lnTo>
                    <a:pt x="543" y="35"/>
                  </a:lnTo>
                  <a:lnTo>
                    <a:pt x="551" y="37"/>
                  </a:lnTo>
                  <a:lnTo>
                    <a:pt x="561" y="37"/>
                  </a:lnTo>
                  <a:lnTo>
                    <a:pt x="569" y="37"/>
                  </a:lnTo>
                  <a:lnTo>
                    <a:pt x="578" y="37"/>
                  </a:lnTo>
                  <a:lnTo>
                    <a:pt x="586" y="37"/>
                  </a:lnTo>
                  <a:lnTo>
                    <a:pt x="594" y="37"/>
                  </a:lnTo>
                  <a:lnTo>
                    <a:pt x="594" y="52"/>
                  </a:lnTo>
                  <a:lnTo>
                    <a:pt x="594" y="64"/>
                  </a:lnTo>
                  <a:lnTo>
                    <a:pt x="594" y="78"/>
                  </a:lnTo>
                  <a:lnTo>
                    <a:pt x="594" y="90"/>
                  </a:lnTo>
                  <a:lnTo>
                    <a:pt x="592" y="103"/>
                  </a:lnTo>
                  <a:lnTo>
                    <a:pt x="592" y="117"/>
                  </a:lnTo>
                  <a:lnTo>
                    <a:pt x="592" y="129"/>
                  </a:lnTo>
                  <a:lnTo>
                    <a:pt x="592" y="144"/>
                  </a:lnTo>
                  <a:lnTo>
                    <a:pt x="592" y="156"/>
                  </a:lnTo>
                  <a:lnTo>
                    <a:pt x="590" y="168"/>
                  </a:lnTo>
                  <a:lnTo>
                    <a:pt x="590" y="183"/>
                  </a:lnTo>
                  <a:lnTo>
                    <a:pt x="590" y="195"/>
                  </a:lnTo>
                  <a:lnTo>
                    <a:pt x="590" y="209"/>
                  </a:lnTo>
                  <a:lnTo>
                    <a:pt x="588" y="222"/>
                  </a:lnTo>
                  <a:lnTo>
                    <a:pt x="588" y="236"/>
                  </a:lnTo>
                  <a:lnTo>
                    <a:pt x="588" y="248"/>
                  </a:lnTo>
                  <a:lnTo>
                    <a:pt x="588" y="24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Y</a:t>
              </a:r>
            </a:p>
          </p:txBody>
        </p:sp>
        <p:sp>
          <p:nvSpPr>
            <p:cNvPr id="296" name="Freeform 6">
              <a:extLst>
                <a:ext uri="{FF2B5EF4-FFF2-40B4-BE49-F238E27FC236}">
                  <a16:creationId xmlns:a16="http://schemas.microsoft.com/office/drawing/2014/main" id="{D889BE5C-FD46-1E15-BA69-3C67159E9A54}"/>
                </a:ext>
              </a:extLst>
            </p:cNvPr>
            <p:cNvSpPr>
              <a:spLocks/>
            </p:cNvSpPr>
            <p:nvPr/>
          </p:nvSpPr>
          <p:spPr bwMode="auto">
            <a:xfrm>
              <a:off x="4212" y="910"/>
              <a:ext cx="387" cy="379"/>
            </a:xfrm>
            <a:custGeom>
              <a:avLst/>
              <a:gdLst>
                <a:gd name="T0" fmla="*/ 262 w 387"/>
                <a:gd name="T1" fmla="*/ 117 h 379"/>
                <a:gd name="T2" fmla="*/ 273 w 387"/>
                <a:gd name="T3" fmla="*/ 102 h 379"/>
                <a:gd name="T4" fmla="*/ 289 w 387"/>
                <a:gd name="T5" fmla="*/ 94 h 379"/>
                <a:gd name="T6" fmla="*/ 293 w 387"/>
                <a:gd name="T7" fmla="*/ 86 h 379"/>
                <a:gd name="T8" fmla="*/ 299 w 387"/>
                <a:gd name="T9" fmla="*/ 82 h 379"/>
                <a:gd name="T10" fmla="*/ 303 w 387"/>
                <a:gd name="T11" fmla="*/ 86 h 379"/>
                <a:gd name="T12" fmla="*/ 324 w 387"/>
                <a:gd name="T13" fmla="*/ 80 h 379"/>
                <a:gd name="T14" fmla="*/ 338 w 387"/>
                <a:gd name="T15" fmla="*/ 68 h 379"/>
                <a:gd name="T16" fmla="*/ 369 w 387"/>
                <a:gd name="T17" fmla="*/ 68 h 379"/>
                <a:gd name="T18" fmla="*/ 375 w 387"/>
                <a:gd name="T19" fmla="*/ 74 h 379"/>
                <a:gd name="T20" fmla="*/ 381 w 387"/>
                <a:gd name="T21" fmla="*/ 82 h 379"/>
                <a:gd name="T22" fmla="*/ 385 w 387"/>
                <a:gd name="T23" fmla="*/ 111 h 379"/>
                <a:gd name="T24" fmla="*/ 336 w 387"/>
                <a:gd name="T25" fmla="*/ 92 h 379"/>
                <a:gd name="T26" fmla="*/ 334 w 387"/>
                <a:gd name="T27" fmla="*/ 113 h 379"/>
                <a:gd name="T28" fmla="*/ 334 w 387"/>
                <a:gd name="T29" fmla="*/ 123 h 379"/>
                <a:gd name="T30" fmla="*/ 324 w 387"/>
                <a:gd name="T31" fmla="*/ 145 h 379"/>
                <a:gd name="T32" fmla="*/ 316 w 387"/>
                <a:gd name="T33" fmla="*/ 156 h 379"/>
                <a:gd name="T34" fmla="*/ 305 w 387"/>
                <a:gd name="T35" fmla="*/ 170 h 379"/>
                <a:gd name="T36" fmla="*/ 289 w 387"/>
                <a:gd name="T37" fmla="*/ 180 h 379"/>
                <a:gd name="T38" fmla="*/ 283 w 387"/>
                <a:gd name="T39" fmla="*/ 199 h 379"/>
                <a:gd name="T40" fmla="*/ 262 w 387"/>
                <a:gd name="T41" fmla="*/ 213 h 379"/>
                <a:gd name="T42" fmla="*/ 244 w 387"/>
                <a:gd name="T43" fmla="*/ 203 h 379"/>
                <a:gd name="T44" fmla="*/ 242 w 387"/>
                <a:gd name="T45" fmla="*/ 219 h 379"/>
                <a:gd name="T46" fmla="*/ 236 w 387"/>
                <a:gd name="T47" fmla="*/ 236 h 379"/>
                <a:gd name="T48" fmla="*/ 230 w 387"/>
                <a:gd name="T49" fmla="*/ 252 h 379"/>
                <a:gd name="T50" fmla="*/ 211 w 387"/>
                <a:gd name="T51" fmla="*/ 297 h 379"/>
                <a:gd name="T52" fmla="*/ 213 w 387"/>
                <a:gd name="T53" fmla="*/ 316 h 379"/>
                <a:gd name="T54" fmla="*/ 211 w 387"/>
                <a:gd name="T55" fmla="*/ 326 h 379"/>
                <a:gd name="T56" fmla="*/ 195 w 387"/>
                <a:gd name="T57" fmla="*/ 338 h 379"/>
                <a:gd name="T58" fmla="*/ 174 w 387"/>
                <a:gd name="T59" fmla="*/ 348 h 379"/>
                <a:gd name="T60" fmla="*/ 168 w 387"/>
                <a:gd name="T61" fmla="*/ 344 h 379"/>
                <a:gd name="T62" fmla="*/ 164 w 387"/>
                <a:gd name="T63" fmla="*/ 352 h 379"/>
                <a:gd name="T64" fmla="*/ 137 w 387"/>
                <a:gd name="T65" fmla="*/ 369 h 379"/>
                <a:gd name="T66" fmla="*/ 125 w 387"/>
                <a:gd name="T67" fmla="*/ 363 h 379"/>
                <a:gd name="T68" fmla="*/ 113 w 387"/>
                <a:gd name="T69" fmla="*/ 371 h 379"/>
                <a:gd name="T70" fmla="*/ 90 w 387"/>
                <a:gd name="T71" fmla="*/ 375 h 379"/>
                <a:gd name="T72" fmla="*/ 80 w 387"/>
                <a:gd name="T73" fmla="*/ 369 h 379"/>
                <a:gd name="T74" fmla="*/ 72 w 387"/>
                <a:gd name="T75" fmla="*/ 359 h 379"/>
                <a:gd name="T76" fmla="*/ 70 w 387"/>
                <a:gd name="T77" fmla="*/ 350 h 379"/>
                <a:gd name="T78" fmla="*/ 51 w 387"/>
                <a:gd name="T79" fmla="*/ 346 h 379"/>
                <a:gd name="T80" fmla="*/ 37 w 387"/>
                <a:gd name="T81" fmla="*/ 338 h 379"/>
                <a:gd name="T82" fmla="*/ 23 w 387"/>
                <a:gd name="T83" fmla="*/ 318 h 379"/>
                <a:gd name="T84" fmla="*/ 10 w 387"/>
                <a:gd name="T85" fmla="*/ 305 h 379"/>
                <a:gd name="T86" fmla="*/ 2 w 387"/>
                <a:gd name="T87" fmla="*/ 287 h 379"/>
                <a:gd name="T88" fmla="*/ 4 w 387"/>
                <a:gd name="T89" fmla="*/ 279 h 379"/>
                <a:gd name="T90" fmla="*/ 6 w 387"/>
                <a:gd name="T91" fmla="*/ 264 h 379"/>
                <a:gd name="T92" fmla="*/ 31 w 387"/>
                <a:gd name="T93" fmla="*/ 236 h 379"/>
                <a:gd name="T94" fmla="*/ 29 w 387"/>
                <a:gd name="T95" fmla="*/ 207 h 379"/>
                <a:gd name="T96" fmla="*/ 49 w 387"/>
                <a:gd name="T97" fmla="*/ 201 h 379"/>
                <a:gd name="T98" fmla="*/ 53 w 387"/>
                <a:gd name="T99" fmla="*/ 199 h 379"/>
                <a:gd name="T100" fmla="*/ 53 w 387"/>
                <a:gd name="T101" fmla="*/ 186 h 379"/>
                <a:gd name="T102" fmla="*/ 64 w 387"/>
                <a:gd name="T103" fmla="*/ 162 h 379"/>
                <a:gd name="T104" fmla="*/ 82 w 387"/>
                <a:gd name="T105" fmla="*/ 148 h 379"/>
                <a:gd name="T106" fmla="*/ 107 w 387"/>
                <a:gd name="T107" fmla="*/ 129 h 379"/>
                <a:gd name="T108" fmla="*/ 121 w 387"/>
                <a:gd name="T109" fmla="*/ 98 h 379"/>
                <a:gd name="T110" fmla="*/ 123 w 387"/>
                <a:gd name="T111" fmla="*/ 80 h 379"/>
                <a:gd name="T112" fmla="*/ 125 w 387"/>
                <a:gd name="T113" fmla="*/ 61 h 379"/>
                <a:gd name="T114" fmla="*/ 129 w 387"/>
                <a:gd name="T115" fmla="*/ 31 h 379"/>
                <a:gd name="T116" fmla="*/ 121 w 387"/>
                <a:gd name="T117" fmla="*/ 6 h 379"/>
                <a:gd name="T118" fmla="*/ 131 w 387"/>
                <a:gd name="T119" fmla="*/ 2 h 379"/>
                <a:gd name="T120" fmla="*/ 170 w 387"/>
                <a:gd name="T121" fmla="*/ 9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7" h="379">
                  <a:moveTo>
                    <a:pt x="236" y="82"/>
                  </a:moveTo>
                  <a:lnTo>
                    <a:pt x="244" y="135"/>
                  </a:lnTo>
                  <a:lnTo>
                    <a:pt x="246" y="137"/>
                  </a:lnTo>
                  <a:lnTo>
                    <a:pt x="246" y="137"/>
                  </a:lnTo>
                  <a:lnTo>
                    <a:pt x="246" y="135"/>
                  </a:lnTo>
                  <a:lnTo>
                    <a:pt x="248" y="135"/>
                  </a:lnTo>
                  <a:lnTo>
                    <a:pt x="254" y="125"/>
                  </a:lnTo>
                  <a:lnTo>
                    <a:pt x="256" y="125"/>
                  </a:lnTo>
                  <a:lnTo>
                    <a:pt x="258" y="123"/>
                  </a:lnTo>
                  <a:lnTo>
                    <a:pt x="260" y="123"/>
                  </a:lnTo>
                  <a:lnTo>
                    <a:pt x="260" y="123"/>
                  </a:lnTo>
                  <a:lnTo>
                    <a:pt x="260" y="121"/>
                  </a:lnTo>
                  <a:lnTo>
                    <a:pt x="260" y="119"/>
                  </a:lnTo>
                  <a:lnTo>
                    <a:pt x="262" y="117"/>
                  </a:lnTo>
                  <a:lnTo>
                    <a:pt x="264" y="115"/>
                  </a:lnTo>
                  <a:lnTo>
                    <a:pt x="266" y="113"/>
                  </a:lnTo>
                  <a:lnTo>
                    <a:pt x="266" y="113"/>
                  </a:lnTo>
                  <a:lnTo>
                    <a:pt x="268" y="113"/>
                  </a:lnTo>
                  <a:lnTo>
                    <a:pt x="268" y="111"/>
                  </a:lnTo>
                  <a:lnTo>
                    <a:pt x="271" y="109"/>
                  </a:lnTo>
                  <a:lnTo>
                    <a:pt x="271" y="109"/>
                  </a:lnTo>
                  <a:lnTo>
                    <a:pt x="271" y="109"/>
                  </a:lnTo>
                  <a:lnTo>
                    <a:pt x="271" y="109"/>
                  </a:lnTo>
                  <a:lnTo>
                    <a:pt x="271" y="107"/>
                  </a:lnTo>
                  <a:lnTo>
                    <a:pt x="271" y="104"/>
                  </a:lnTo>
                  <a:lnTo>
                    <a:pt x="271" y="104"/>
                  </a:lnTo>
                  <a:lnTo>
                    <a:pt x="271" y="102"/>
                  </a:lnTo>
                  <a:lnTo>
                    <a:pt x="273" y="102"/>
                  </a:lnTo>
                  <a:lnTo>
                    <a:pt x="275" y="100"/>
                  </a:lnTo>
                  <a:lnTo>
                    <a:pt x="275" y="100"/>
                  </a:lnTo>
                  <a:lnTo>
                    <a:pt x="277" y="100"/>
                  </a:lnTo>
                  <a:lnTo>
                    <a:pt x="277" y="100"/>
                  </a:lnTo>
                  <a:lnTo>
                    <a:pt x="279" y="100"/>
                  </a:lnTo>
                  <a:lnTo>
                    <a:pt x="281" y="102"/>
                  </a:lnTo>
                  <a:lnTo>
                    <a:pt x="281" y="102"/>
                  </a:lnTo>
                  <a:lnTo>
                    <a:pt x="283" y="102"/>
                  </a:lnTo>
                  <a:lnTo>
                    <a:pt x="283" y="102"/>
                  </a:lnTo>
                  <a:lnTo>
                    <a:pt x="285" y="102"/>
                  </a:lnTo>
                  <a:lnTo>
                    <a:pt x="285" y="102"/>
                  </a:lnTo>
                  <a:lnTo>
                    <a:pt x="285" y="100"/>
                  </a:lnTo>
                  <a:lnTo>
                    <a:pt x="285" y="100"/>
                  </a:lnTo>
                  <a:lnTo>
                    <a:pt x="289" y="94"/>
                  </a:lnTo>
                  <a:lnTo>
                    <a:pt x="289" y="92"/>
                  </a:lnTo>
                  <a:lnTo>
                    <a:pt x="291" y="90"/>
                  </a:lnTo>
                  <a:lnTo>
                    <a:pt x="291" y="90"/>
                  </a:lnTo>
                  <a:lnTo>
                    <a:pt x="291" y="90"/>
                  </a:lnTo>
                  <a:lnTo>
                    <a:pt x="291" y="90"/>
                  </a:lnTo>
                  <a:lnTo>
                    <a:pt x="291" y="88"/>
                  </a:lnTo>
                  <a:lnTo>
                    <a:pt x="291" y="88"/>
                  </a:lnTo>
                  <a:lnTo>
                    <a:pt x="293" y="88"/>
                  </a:lnTo>
                  <a:lnTo>
                    <a:pt x="293" y="88"/>
                  </a:lnTo>
                  <a:lnTo>
                    <a:pt x="293" y="88"/>
                  </a:lnTo>
                  <a:lnTo>
                    <a:pt x="293" y="88"/>
                  </a:lnTo>
                  <a:lnTo>
                    <a:pt x="293" y="86"/>
                  </a:lnTo>
                  <a:lnTo>
                    <a:pt x="293" y="86"/>
                  </a:lnTo>
                  <a:lnTo>
                    <a:pt x="293" y="86"/>
                  </a:lnTo>
                  <a:lnTo>
                    <a:pt x="293" y="86"/>
                  </a:lnTo>
                  <a:lnTo>
                    <a:pt x="293" y="84"/>
                  </a:lnTo>
                  <a:lnTo>
                    <a:pt x="295" y="82"/>
                  </a:lnTo>
                  <a:lnTo>
                    <a:pt x="295" y="82"/>
                  </a:lnTo>
                  <a:lnTo>
                    <a:pt x="295" y="80"/>
                  </a:lnTo>
                  <a:lnTo>
                    <a:pt x="295" y="80"/>
                  </a:lnTo>
                  <a:lnTo>
                    <a:pt x="295" y="80"/>
                  </a:lnTo>
                  <a:lnTo>
                    <a:pt x="295" y="80"/>
                  </a:lnTo>
                  <a:lnTo>
                    <a:pt x="295" y="80"/>
                  </a:lnTo>
                  <a:lnTo>
                    <a:pt x="297" y="80"/>
                  </a:lnTo>
                  <a:lnTo>
                    <a:pt x="297" y="80"/>
                  </a:lnTo>
                  <a:lnTo>
                    <a:pt x="297" y="82"/>
                  </a:lnTo>
                  <a:lnTo>
                    <a:pt x="299" y="82"/>
                  </a:lnTo>
                  <a:lnTo>
                    <a:pt x="299" y="82"/>
                  </a:lnTo>
                  <a:lnTo>
                    <a:pt x="299" y="82"/>
                  </a:lnTo>
                  <a:lnTo>
                    <a:pt x="299" y="82"/>
                  </a:lnTo>
                  <a:lnTo>
                    <a:pt x="297" y="84"/>
                  </a:lnTo>
                  <a:lnTo>
                    <a:pt x="297" y="84"/>
                  </a:lnTo>
                  <a:lnTo>
                    <a:pt x="297" y="84"/>
                  </a:lnTo>
                  <a:lnTo>
                    <a:pt x="297" y="84"/>
                  </a:lnTo>
                  <a:lnTo>
                    <a:pt x="297" y="84"/>
                  </a:lnTo>
                  <a:lnTo>
                    <a:pt x="297" y="84"/>
                  </a:lnTo>
                  <a:lnTo>
                    <a:pt x="297" y="86"/>
                  </a:lnTo>
                  <a:lnTo>
                    <a:pt x="297" y="86"/>
                  </a:lnTo>
                  <a:lnTo>
                    <a:pt x="299" y="86"/>
                  </a:lnTo>
                  <a:lnTo>
                    <a:pt x="299" y="86"/>
                  </a:lnTo>
                  <a:lnTo>
                    <a:pt x="299" y="86"/>
                  </a:lnTo>
                  <a:lnTo>
                    <a:pt x="303" y="86"/>
                  </a:lnTo>
                  <a:lnTo>
                    <a:pt x="303" y="88"/>
                  </a:lnTo>
                  <a:lnTo>
                    <a:pt x="303" y="88"/>
                  </a:lnTo>
                  <a:lnTo>
                    <a:pt x="305" y="88"/>
                  </a:lnTo>
                  <a:lnTo>
                    <a:pt x="307" y="88"/>
                  </a:lnTo>
                  <a:lnTo>
                    <a:pt x="314" y="88"/>
                  </a:lnTo>
                  <a:lnTo>
                    <a:pt x="314" y="88"/>
                  </a:lnTo>
                  <a:lnTo>
                    <a:pt x="318" y="86"/>
                  </a:lnTo>
                  <a:lnTo>
                    <a:pt x="322" y="86"/>
                  </a:lnTo>
                  <a:lnTo>
                    <a:pt x="326" y="84"/>
                  </a:lnTo>
                  <a:lnTo>
                    <a:pt x="326" y="82"/>
                  </a:lnTo>
                  <a:lnTo>
                    <a:pt x="324" y="82"/>
                  </a:lnTo>
                  <a:lnTo>
                    <a:pt x="324" y="82"/>
                  </a:lnTo>
                  <a:lnTo>
                    <a:pt x="324" y="80"/>
                  </a:lnTo>
                  <a:lnTo>
                    <a:pt x="324" y="80"/>
                  </a:lnTo>
                  <a:lnTo>
                    <a:pt x="326" y="80"/>
                  </a:lnTo>
                  <a:lnTo>
                    <a:pt x="326" y="78"/>
                  </a:lnTo>
                  <a:lnTo>
                    <a:pt x="324" y="76"/>
                  </a:lnTo>
                  <a:lnTo>
                    <a:pt x="324" y="76"/>
                  </a:lnTo>
                  <a:lnTo>
                    <a:pt x="326" y="76"/>
                  </a:lnTo>
                  <a:lnTo>
                    <a:pt x="328" y="76"/>
                  </a:lnTo>
                  <a:lnTo>
                    <a:pt x="328" y="74"/>
                  </a:lnTo>
                  <a:lnTo>
                    <a:pt x="330" y="74"/>
                  </a:lnTo>
                  <a:lnTo>
                    <a:pt x="332" y="72"/>
                  </a:lnTo>
                  <a:lnTo>
                    <a:pt x="334" y="72"/>
                  </a:lnTo>
                  <a:lnTo>
                    <a:pt x="336" y="72"/>
                  </a:lnTo>
                  <a:lnTo>
                    <a:pt x="336" y="72"/>
                  </a:lnTo>
                  <a:lnTo>
                    <a:pt x="338" y="70"/>
                  </a:lnTo>
                  <a:lnTo>
                    <a:pt x="338" y="68"/>
                  </a:lnTo>
                  <a:lnTo>
                    <a:pt x="340" y="66"/>
                  </a:lnTo>
                  <a:lnTo>
                    <a:pt x="340" y="63"/>
                  </a:lnTo>
                  <a:lnTo>
                    <a:pt x="342" y="63"/>
                  </a:lnTo>
                  <a:lnTo>
                    <a:pt x="342" y="63"/>
                  </a:lnTo>
                  <a:lnTo>
                    <a:pt x="346" y="63"/>
                  </a:lnTo>
                  <a:lnTo>
                    <a:pt x="350" y="63"/>
                  </a:lnTo>
                  <a:lnTo>
                    <a:pt x="359" y="70"/>
                  </a:lnTo>
                  <a:lnTo>
                    <a:pt x="361" y="70"/>
                  </a:lnTo>
                  <a:lnTo>
                    <a:pt x="363" y="70"/>
                  </a:lnTo>
                  <a:lnTo>
                    <a:pt x="365" y="70"/>
                  </a:lnTo>
                  <a:lnTo>
                    <a:pt x="365" y="70"/>
                  </a:lnTo>
                  <a:lnTo>
                    <a:pt x="367" y="70"/>
                  </a:lnTo>
                  <a:lnTo>
                    <a:pt x="369" y="70"/>
                  </a:lnTo>
                  <a:lnTo>
                    <a:pt x="369" y="68"/>
                  </a:lnTo>
                  <a:lnTo>
                    <a:pt x="369" y="68"/>
                  </a:lnTo>
                  <a:lnTo>
                    <a:pt x="371" y="68"/>
                  </a:lnTo>
                  <a:lnTo>
                    <a:pt x="371" y="68"/>
                  </a:lnTo>
                  <a:lnTo>
                    <a:pt x="373" y="68"/>
                  </a:lnTo>
                  <a:lnTo>
                    <a:pt x="375" y="70"/>
                  </a:lnTo>
                  <a:lnTo>
                    <a:pt x="375" y="70"/>
                  </a:lnTo>
                  <a:lnTo>
                    <a:pt x="373" y="72"/>
                  </a:lnTo>
                  <a:lnTo>
                    <a:pt x="371" y="74"/>
                  </a:lnTo>
                  <a:lnTo>
                    <a:pt x="371" y="74"/>
                  </a:lnTo>
                  <a:lnTo>
                    <a:pt x="373" y="78"/>
                  </a:lnTo>
                  <a:lnTo>
                    <a:pt x="375" y="78"/>
                  </a:lnTo>
                  <a:lnTo>
                    <a:pt x="375" y="76"/>
                  </a:lnTo>
                  <a:lnTo>
                    <a:pt x="375" y="76"/>
                  </a:lnTo>
                  <a:lnTo>
                    <a:pt x="375" y="74"/>
                  </a:lnTo>
                  <a:lnTo>
                    <a:pt x="375" y="74"/>
                  </a:lnTo>
                  <a:lnTo>
                    <a:pt x="377" y="76"/>
                  </a:lnTo>
                  <a:lnTo>
                    <a:pt x="377" y="76"/>
                  </a:lnTo>
                  <a:lnTo>
                    <a:pt x="375" y="78"/>
                  </a:lnTo>
                  <a:lnTo>
                    <a:pt x="375" y="78"/>
                  </a:lnTo>
                  <a:lnTo>
                    <a:pt x="377" y="80"/>
                  </a:lnTo>
                  <a:lnTo>
                    <a:pt x="379" y="78"/>
                  </a:lnTo>
                  <a:lnTo>
                    <a:pt x="379" y="78"/>
                  </a:lnTo>
                  <a:lnTo>
                    <a:pt x="381" y="78"/>
                  </a:lnTo>
                  <a:lnTo>
                    <a:pt x="381" y="78"/>
                  </a:lnTo>
                  <a:lnTo>
                    <a:pt x="381" y="78"/>
                  </a:lnTo>
                  <a:lnTo>
                    <a:pt x="379" y="80"/>
                  </a:lnTo>
                  <a:lnTo>
                    <a:pt x="379" y="82"/>
                  </a:lnTo>
                  <a:lnTo>
                    <a:pt x="381" y="82"/>
                  </a:lnTo>
                  <a:lnTo>
                    <a:pt x="379" y="84"/>
                  </a:lnTo>
                  <a:lnTo>
                    <a:pt x="381" y="84"/>
                  </a:lnTo>
                  <a:lnTo>
                    <a:pt x="385" y="86"/>
                  </a:lnTo>
                  <a:lnTo>
                    <a:pt x="385" y="88"/>
                  </a:lnTo>
                  <a:lnTo>
                    <a:pt x="385" y="88"/>
                  </a:lnTo>
                  <a:lnTo>
                    <a:pt x="385" y="92"/>
                  </a:lnTo>
                  <a:lnTo>
                    <a:pt x="385" y="92"/>
                  </a:lnTo>
                  <a:lnTo>
                    <a:pt x="387" y="94"/>
                  </a:lnTo>
                  <a:lnTo>
                    <a:pt x="387" y="94"/>
                  </a:lnTo>
                  <a:lnTo>
                    <a:pt x="387" y="96"/>
                  </a:lnTo>
                  <a:lnTo>
                    <a:pt x="387" y="96"/>
                  </a:lnTo>
                  <a:lnTo>
                    <a:pt x="387" y="100"/>
                  </a:lnTo>
                  <a:lnTo>
                    <a:pt x="385" y="104"/>
                  </a:lnTo>
                  <a:lnTo>
                    <a:pt x="385" y="111"/>
                  </a:lnTo>
                  <a:lnTo>
                    <a:pt x="383" y="113"/>
                  </a:lnTo>
                  <a:lnTo>
                    <a:pt x="383" y="115"/>
                  </a:lnTo>
                  <a:lnTo>
                    <a:pt x="383" y="117"/>
                  </a:lnTo>
                  <a:lnTo>
                    <a:pt x="383" y="115"/>
                  </a:lnTo>
                  <a:lnTo>
                    <a:pt x="381" y="115"/>
                  </a:lnTo>
                  <a:lnTo>
                    <a:pt x="377" y="113"/>
                  </a:lnTo>
                  <a:lnTo>
                    <a:pt x="371" y="111"/>
                  </a:lnTo>
                  <a:lnTo>
                    <a:pt x="365" y="107"/>
                  </a:lnTo>
                  <a:lnTo>
                    <a:pt x="361" y="104"/>
                  </a:lnTo>
                  <a:lnTo>
                    <a:pt x="354" y="100"/>
                  </a:lnTo>
                  <a:lnTo>
                    <a:pt x="348" y="98"/>
                  </a:lnTo>
                  <a:lnTo>
                    <a:pt x="344" y="96"/>
                  </a:lnTo>
                  <a:lnTo>
                    <a:pt x="338" y="92"/>
                  </a:lnTo>
                  <a:lnTo>
                    <a:pt x="336" y="92"/>
                  </a:lnTo>
                  <a:lnTo>
                    <a:pt x="336" y="92"/>
                  </a:lnTo>
                  <a:lnTo>
                    <a:pt x="334" y="94"/>
                  </a:lnTo>
                  <a:lnTo>
                    <a:pt x="334" y="96"/>
                  </a:lnTo>
                  <a:lnTo>
                    <a:pt x="334" y="96"/>
                  </a:lnTo>
                  <a:lnTo>
                    <a:pt x="334" y="98"/>
                  </a:lnTo>
                  <a:lnTo>
                    <a:pt x="336" y="100"/>
                  </a:lnTo>
                  <a:lnTo>
                    <a:pt x="336" y="102"/>
                  </a:lnTo>
                  <a:lnTo>
                    <a:pt x="336" y="104"/>
                  </a:lnTo>
                  <a:lnTo>
                    <a:pt x="336" y="104"/>
                  </a:lnTo>
                  <a:lnTo>
                    <a:pt x="336" y="104"/>
                  </a:lnTo>
                  <a:lnTo>
                    <a:pt x="336" y="109"/>
                  </a:lnTo>
                  <a:lnTo>
                    <a:pt x="334" y="111"/>
                  </a:lnTo>
                  <a:lnTo>
                    <a:pt x="334" y="113"/>
                  </a:lnTo>
                  <a:lnTo>
                    <a:pt x="334" y="113"/>
                  </a:lnTo>
                  <a:lnTo>
                    <a:pt x="334" y="113"/>
                  </a:lnTo>
                  <a:lnTo>
                    <a:pt x="334" y="113"/>
                  </a:lnTo>
                  <a:lnTo>
                    <a:pt x="334" y="115"/>
                  </a:lnTo>
                  <a:lnTo>
                    <a:pt x="334" y="115"/>
                  </a:lnTo>
                  <a:lnTo>
                    <a:pt x="334" y="115"/>
                  </a:lnTo>
                  <a:lnTo>
                    <a:pt x="334" y="117"/>
                  </a:lnTo>
                  <a:lnTo>
                    <a:pt x="334" y="117"/>
                  </a:lnTo>
                  <a:lnTo>
                    <a:pt x="334" y="119"/>
                  </a:lnTo>
                  <a:lnTo>
                    <a:pt x="334" y="119"/>
                  </a:lnTo>
                  <a:lnTo>
                    <a:pt x="334" y="121"/>
                  </a:lnTo>
                  <a:lnTo>
                    <a:pt x="334" y="121"/>
                  </a:lnTo>
                  <a:lnTo>
                    <a:pt x="334" y="121"/>
                  </a:lnTo>
                  <a:lnTo>
                    <a:pt x="334" y="123"/>
                  </a:lnTo>
                  <a:lnTo>
                    <a:pt x="334" y="123"/>
                  </a:lnTo>
                  <a:lnTo>
                    <a:pt x="334" y="123"/>
                  </a:lnTo>
                  <a:lnTo>
                    <a:pt x="334" y="123"/>
                  </a:lnTo>
                  <a:lnTo>
                    <a:pt x="334" y="125"/>
                  </a:lnTo>
                  <a:lnTo>
                    <a:pt x="332" y="129"/>
                  </a:lnTo>
                  <a:lnTo>
                    <a:pt x="330" y="131"/>
                  </a:lnTo>
                  <a:lnTo>
                    <a:pt x="328" y="135"/>
                  </a:lnTo>
                  <a:lnTo>
                    <a:pt x="326" y="139"/>
                  </a:lnTo>
                  <a:lnTo>
                    <a:pt x="326" y="139"/>
                  </a:lnTo>
                  <a:lnTo>
                    <a:pt x="326" y="139"/>
                  </a:lnTo>
                  <a:lnTo>
                    <a:pt x="326" y="139"/>
                  </a:lnTo>
                  <a:lnTo>
                    <a:pt x="326" y="139"/>
                  </a:lnTo>
                  <a:lnTo>
                    <a:pt x="326" y="141"/>
                  </a:lnTo>
                  <a:lnTo>
                    <a:pt x="326" y="141"/>
                  </a:lnTo>
                  <a:lnTo>
                    <a:pt x="324" y="145"/>
                  </a:lnTo>
                  <a:lnTo>
                    <a:pt x="324" y="145"/>
                  </a:lnTo>
                  <a:lnTo>
                    <a:pt x="324" y="145"/>
                  </a:lnTo>
                  <a:lnTo>
                    <a:pt x="322" y="148"/>
                  </a:lnTo>
                  <a:lnTo>
                    <a:pt x="322" y="148"/>
                  </a:lnTo>
                  <a:lnTo>
                    <a:pt x="322" y="148"/>
                  </a:lnTo>
                  <a:lnTo>
                    <a:pt x="320" y="148"/>
                  </a:lnTo>
                  <a:lnTo>
                    <a:pt x="320" y="150"/>
                  </a:lnTo>
                  <a:lnTo>
                    <a:pt x="320" y="152"/>
                  </a:lnTo>
                  <a:lnTo>
                    <a:pt x="320" y="152"/>
                  </a:lnTo>
                  <a:lnTo>
                    <a:pt x="320" y="152"/>
                  </a:lnTo>
                  <a:lnTo>
                    <a:pt x="318" y="154"/>
                  </a:lnTo>
                  <a:lnTo>
                    <a:pt x="316" y="154"/>
                  </a:lnTo>
                  <a:lnTo>
                    <a:pt x="316" y="154"/>
                  </a:lnTo>
                  <a:lnTo>
                    <a:pt x="316" y="156"/>
                  </a:lnTo>
                  <a:lnTo>
                    <a:pt x="316" y="154"/>
                  </a:lnTo>
                  <a:lnTo>
                    <a:pt x="314" y="154"/>
                  </a:lnTo>
                  <a:lnTo>
                    <a:pt x="314" y="154"/>
                  </a:lnTo>
                  <a:lnTo>
                    <a:pt x="314" y="154"/>
                  </a:lnTo>
                  <a:lnTo>
                    <a:pt x="314" y="154"/>
                  </a:lnTo>
                  <a:lnTo>
                    <a:pt x="314" y="154"/>
                  </a:lnTo>
                  <a:lnTo>
                    <a:pt x="314" y="154"/>
                  </a:lnTo>
                  <a:lnTo>
                    <a:pt x="311" y="154"/>
                  </a:lnTo>
                  <a:lnTo>
                    <a:pt x="311" y="158"/>
                  </a:lnTo>
                  <a:lnTo>
                    <a:pt x="309" y="162"/>
                  </a:lnTo>
                  <a:lnTo>
                    <a:pt x="307" y="166"/>
                  </a:lnTo>
                  <a:lnTo>
                    <a:pt x="305" y="170"/>
                  </a:lnTo>
                  <a:lnTo>
                    <a:pt x="305" y="170"/>
                  </a:lnTo>
                  <a:lnTo>
                    <a:pt x="305" y="170"/>
                  </a:lnTo>
                  <a:lnTo>
                    <a:pt x="303" y="170"/>
                  </a:lnTo>
                  <a:lnTo>
                    <a:pt x="301" y="170"/>
                  </a:lnTo>
                  <a:lnTo>
                    <a:pt x="297" y="168"/>
                  </a:lnTo>
                  <a:lnTo>
                    <a:pt x="293" y="166"/>
                  </a:lnTo>
                  <a:lnTo>
                    <a:pt x="293" y="166"/>
                  </a:lnTo>
                  <a:lnTo>
                    <a:pt x="293" y="168"/>
                  </a:lnTo>
                  <a:lnTo>
                    <a:pt x="291" y="172"/>
                  </a:lnTo>
                  <a:lnTo>
                    <a:pt x="289" y="174"/>
                  </a:lnTo>
                  <a:lnTo>
                    <a:pt x="289" y="174"/>
                  </a:lnTo>
                  <a:lnTo>
                    <a:pt x="289" y="174"/>
                  </a:lnTo>
                  <a:lnTo>
                    <a:pt x="289" y="176"/>
                  </a:lnTo>
                  <a:lnTo>
                    <a:pt x="289" y="176"/>
                  </a:lnTo>
                  <a:lnTo>
                    <a:pt x="289" y="178"/>
                  </a:lnTo>
                  <a:lnTo>
                    <a:pt x="289" y="180"/>
                  </a:lnTo>
                  <a:lnTo>
                    <a:pt x="287" y="180"/>
                  </a:lnTo>
                  <a:lnTo>
                    <a:pt x="289" y="186"/>
                  </a:lnTo>
                  <a:lnTo>
                    <a:pt x="289" y="186"/>
                  </a:lnTo>
                  <a:lnTo>
                    <a:pt x="287" y="186"/>
                  </a:lnTo>
                  <a:lnTo>
                    <a:pt x="287" y="189"/>
                  </a:lnTo>
                  <a:lnTo>
                    <a:pt x="287" y="189"/>
                  </a:lnTo>
                  <a:lnTo>
                    <a:pt x="285" y="191"/>
                  </a:lnTo>
                  <a:lnTo>
                    <a:pt x="285" y="191"/>
                  </a:lnTo>
                  <a:lnTo>
                    <a:pt x="285" y="193"/>
                  </a:lnTo>
                  <a:lnTo>
                    <a:pt x="285" y="193"/>
                  </a:lnTo>
                  <a:lnTo>
                    <a:pt x="285" y="195"/>
                  </a:lnTo>
                  <a:lnTo>
                    <a:pt x="283" y="197"/>
                  </a:lnTo>
                  <a:lnTo>
                    <a:pt x="283" y="199"/>
                  </a:lnTo>
                  <a:lnTo>
                    <a:pt x="283" y="199"/>
                  </a:lnTo>
                  <a:lnTo>
                    <a:pt x="283" y="199"/>
                  </a:lnTo>
                  <a:lnTo>
                    <a:pt x="283" y="199"/>
                  </a:lnTo>
                  <a:lnTo>
                    <a:pt x="283" y="203"/>
                  </a:lnTo>
                  <a:lnTo>
                    <a:pt x="283" y="203"/>
                  </a:lnTo>
                  <a:lnTo>
                    <a:pt x="283" y="205"/>
                  </a:lnTo>
                  <a:lnTo>
                    <a:pt x="281" y="207"/>
                  </a:lnTo>
                  <a:lnTo>
                    <a:pt x="281" y="211"/>
                  </a:lnTo>
                  <a:lnTo>
                    <a:pt x="277" y="215"/>
                  </a:lnTo>
                  <a:lnTo>
                    <a:pt x="277" y="215"/>
                  </a:lnTo>
                  <a:lnTo>
                    <a:pt x="277" y="215"/>
                  </a:lnTo>
                  <a:lnTo>
                    <a:pt x="277" y="215"/>
                  </a:lnTo>
                  <a:lnTo>
                    <a:pt x="271" y="215"/>
                  </a:lnTo>
                  <a:lnTo>
                    <a:pt x="266" y="215"/>
                  </a:lnTo>
                  <a:lnTo>
                    <a:pt x="262" y="213"/>
                  </a:lnTo>
                  <a:lnTo>
                    <a:pt x="258" y="213"/>
                  </a:lnTo>
                  <a:lnTo>
                    <a:pt x="258" y="213"/>
                  </a:lnTo>
                  <a:lnTo>
                    <a:pt x="258" y="213"/>
                  </a:lnTo>
                  <a:lnTo>
                    <a:pt x="258" y="213"/>
                  </a:lnTo>
                  <a:lnTo>
                    <a:pt x="258" y="211"/>
                  </a:lnTo>
                  <a:lnTo>
                    <a:pt x="258" y="211"/>
                  </a:lnTo>
                  <a:lnTo>
                    <a:pt x="258" y="211"/>
                  </a:lnTo>
                  <a:lnTo>
                    <a:pt x="258" y="211"/>
                  </a:lnTo>
                  <a:lnTo>
                    <a:pt x="258" y="211"/>
                  </a:lnTo>
                  <a:lnTo>
                    <a:pt x="252" y="205"/>
                  </a:lnTo>
                  <a:lnTo>
                    <a:pt x="252" y="205"/>
                  </a:lnTo>
                  <a:lnTo>
                    <a:pt x="252" y="205"/>
                  </a:lnTo>
                  <a:lnTo>
                    <a:pt x="252" y="205"/>
                  </a:lnTo>
                  <a:lnTo>
                    <a:pt x="244" y="203"/>
                  </a:lnTo>
                  <a:lnTo>
                    <a:pt x="244" y="203"/>
                  </a:lnTo>
                  <a:lnTo>
                    <a:pt x="244" y="205"/>
                  </a:lnTo>
                  <a:lnTo>
                    <a:pt x="244" y="205"/>
                  </a:lnTo>
                  <a:lnTo>
                    <a:pt x="244" y="207"/>
                  </a:lnTo>
                  <a:lnTo>
                    <a:pt x="244" y="207"/>
                  </a:lnTo>
                  <a:lnTo>
                    <a:pt x="244" y="209"/>
                  </a:lnTo>
                  <a:lnTo>
                    <a:pt x="244" y="209"/>
                  </a:lnTo>
                  <a:lnTo>
                    <a:pt x="244" y="209"/>
                  </a:lnTo>
                  <a:lnTo>
                    <a:pt x="244" y="211"/>
                  </a:lnTo>
                  <a:lnTo>
                    <a:pt x="244" y="211"/>
                  </a:lnTo>
                  <a:lnTo>
                    <a:pt x="242" y="213"/>
                  </a:lnTo>
                  <a:lnTo>
                    <a:pt x="242" y="215"/>
                  </a:lnTo>
                  <a:lnTo>
                    <a:pt x="242" y="215"/>
                  </a:lnTo>
                  <a:lnTo>
                    <a:pt x="242" y="219"/>
                  </a:lnTo>
                  <a:lnTo>
                    <a:pt x="242" y="221"/>
                  </a:lnTo>
                  <a:lnTo>
                    <a:pt x="242" y="221"/>
                  </a:lnTo>
                  <a:lnTo>
                    <a:pt x="242" y="223"/>
                  </a:lnTo>
                  <a:lnTo>
                    <a:pt x="242" y="225"/>
                  </a:lnTo>
                  <a:lnTo>
                    <a:pt x="242" y="227"/>
                  </a:lnTo>
                  <a:lnTo>
                    <a:pt x="240" y="229"/>
                  </a:lnTo>
                  <a:lnTo>
                    <a:pt x="240" y="229"/>
                  </a:lnTo>
                  <a:lnTo>
                    <a:pt x="238" y="229"/>
                  </a:lnTo>
                  <a:lnTo>
                    <a:pt x="238" y="229"/>
                  </a:lnTo>
                  <a:lnTo>
                    <a:pt x="238" y="232"/>
                  </a:lnTo>
                  <a:lnTo>
                    <a:pt x="238" y="232"/>
                  </a:lnTo>
                  <a:lnTo>
                    <a:pt x="238" y="234"/>
                  </a:lnTo>
                  <a:lnTo>
                    <a:pt x="238" y="234"/>
                  </a:lnTo>
                  <a:lnTo>
                    <a:pt x="236" y="236"/>
                  </a:lnTo>
                  <a:lnTo>
                    <a:pt x="236" y="236"/>
                  </a:lnTo>
                  <a:lnTo>
                    <a:pt x="238" y="238"/>
                  </a:lnTo>
                  <a:lnTo>
                    <a:pt x="238" y="238"/>
                  </a:lnTo>
                  <a:lnTo>
                    <a:pt x="238" y="238"/>
                  </a:lnTo>
                  <a:lnTo>
                    <a:pt x="238" y="240"/>
                  </a:lnTo>
                  <a:lnTo>
                    <a:pt x="238" y="240"/>
                  </a:lnTo>
                  <a:lnTo>
                    <a:pt x="238" y="240"/>
                  </a:lnTo>
                  <a:lnTo>
                    <a:pt x="236" y="242"/>
                  </a:lnTo>
                  <a:lnTo>
                    <a:pt x="234" y="244"/>
                  </a:lnTo>
                  <a:lnTo>
                    <a:pt x="234" y="244"/>
                  </a:lnTo>
                  <a:lnTo>
                    <a:pt x="232" y="248"/>
                  </a:lnTo>
                  <a:lnTo>
                    <a:pt x="230" y="252"/>
                  </a:lnTo>
                  <a:lnTo>
                    <a:pt x="230" y="252"/>
                  </a:lnTo>
                  <a:lnTo>
                    <a:pt x="230" y="252"/>
                  </a:lnTo>
                  <a:lnTo>
                    <a:pt x="230" y="254"/>
                  </a:lnTo>
                  <a:lnTo>
                    <a:pt x="230" y="254"/>
                  </a:lnTo>
                  <a:lnTo>
                    <a:pt x="230" y="254"/>
                  </a:lnTo>
                  <a:lnTo>
                    <a:pt x="230" y="262"/>
                  </a:lnTo>
                  <a:lnTo>
                    <a:pt x="228" y="266"/>
                  </a:lnTo>
                  <a:lnTo>
                    <a:pt x="225" y="270"/>
                  </a:lnTo>
                  <a:lnTo>
                    <a:pt x="223" y="275"/>
                  </a:lnTo>
                  <a:lnTo>
                    <a:pt x="219" y="281"/>
                  </a:lnTo>
                  <a:lnTo>
                    <a:pt x="217" y="285"/>
                  </a:lnTo>
                  <a:lnTo>
                    <a:pt x="215" y="289"/>
                  </a:lnTo>
                  <a:lnTo>
                    <a:pt x="211" y="295"/>
                  </a:lnTo>
                  <a:lnTo>
                    <a:pt x="211" y="295"/>
                  </a:lnTo>
                  <a:lnTo>
                    <a:pt x="211" y="297"/>
                  </a:lnTo>
                  <a:lnTo>
                    <a:pt x="211" y="297"/>
                  </a:lnTo>
                  <a:lnTo>
                    <a:pt x="209" y="303"/>
                  </a:lnTo>
                  <a:lnTo>
                    <a:pt x="207" y="309"/>
                  </a:lnTo>
                  <a:lnTo>
                    <a:pt x="207" y="309"/>
                  </a:lnTo>
                  <a:lnTo>
                    <a:pt x="207" y="311"/>
                  </a:lnTo>
                  <a:lnTo>
                    <a:pt x="207" y="311"/>
                  </a:lnTo>
                  <a:lnTo>
                    <a:pt x="207" y="311"/>
                  </a:lnTo>
                  <a:lnTo>
                    <a:pt x="209" y="311"/>
                  </a:lnTo>
                  <a:lnTo>
                    <a:pt x="209" y="311"/>
                  </a:lnTo>
                  <a:lnTo>
                    <a:pt x="213" y="314"/>
                  </a:lnTo>
                  <a:lnTo>
                    <a:pt x="213" y="314"/>
                  </a:lnTo>
                  <a:lnTo>
                    <a:pt x="213" y="314"/>
                  </a:lnTo>
                  <a:lnTo>
                    <a:pt x="213" y="316"/>
                  </a:lnTo>
                  <a:lnTo>
                    <a:pt x="213" y="316"/>
                  </a:lnTo>
                  <a:lnTo>
                    <a:pt x="213" y="316"/>
                  </a:lnTo>
                  <a:lnTo>
                    <a:pt x="213" y="318"/>
                  </a:lnTo>
                  <a:lnTo>
                    <a:pt x="211" y="318"/>
                  </a:lnTo>
                  <a:lnTo>
                    <a:pt x="209" y="320"/>
                  </a:lnTo>
                  <a:lnTo>
                    <a:pt x="209" y="320"/>
                  </a:lnTo>
                  <a:lnTo>
                    <a:pt x="209" y="320"/>
                  </a:lnTo>
                  <a:lnTo>
                    <a:pt x="209" y="322"/>
                  </a:lnTo>
                  <a:lnTo>
                    <a:pt x="207" y="322"/>
                  </a:lnTo>
                  <a:lnTo>
                    <a:pt x="207" y="324"/>
                  </a:lnTo>
                  <a:lnTo>
                    <a:pt x="207" y="324"/>
                  </a:lnTo>
                  <a:lnTo>
                    <a:pt x="209" y="324"/>
                  </a:lnTo>
                  <a:lnTo>
                    <a:pt x="209" y="324"/>
                  </a:lnTo>
                  <a:lnTo>
                    <a:pt x="209" y="324"/>
                  </a:lnTo>
                  <a:lnTo>
                    <a:pt x="209" y="326"/>
                  </a:lnTo>
                  <a:lnTo>
                    <a:pt x="211" y="326"/>
                  </a:lnTo>
                  <a:lnTo>
                    <a:pt x="211" y="326"/>
                  </a:lnTo>
                  <a:lnTo>
                    <a:pt x="211" y="328"/>
                  </a:lnTo>
                  <a:lnTo>
                    <a:pt x="209" y="328"/>
                  </a:lnTo>
                  <a:lnTo>
                    <a:pt x="201" y="336"/>
                  </a:lnTo>
                  <a:lnTo>
                    <a:pt x="199" y="338"/>
                  </a:lnTo>
                  <a:lnTo>
                    <a:pt x="199" y="338"/>
                  </a:lnTo>
                  <a:lnTo>
                    <a:pt x="197" y="338"/>
                  </a:lnTo>
                  <a:lnTo>
                    <a:pt x="197" y="338"/>
                  </a:lnTo>
                  <a:lnTo>
                    <a:pt x="197" y="338"/>
                  </a:lnTo>
                  <a:lnTo>
                    <a:pt x="197" y="338"/>
                  </a:lnTo>
                  <a:lnTo>
                    <a:pt x="197" y="338"/>
                  </a:lnTo>
                  <a:lnTo>
                    <a:pt x="195" y="338"/>
                  </a:lnTo>
                  <a:lnTo>
                    <a:pt x="195" y="338"/>
                  </a:lnTo>
                  <a:lnTo>
                    <a:pt x="195" y="338"/>
                  </a:lnTo>
                  <a:lnTo>
                    <a:pt x="195" y="336"/>
                  </a:lnTo>
                  <a:lnTo>
                    <a:pt x="195" y="336"/>
                  </a:lnTo>
                  <a:lnTo>
                    <a:pt x="195" y="336"/>
                  </a:lnTo>
                  <a:lnTo>
                    <a:pt x="195" y="336"/>
                  </a:lnTo>
                  <a:lnTo>
                    <a:pt x="193" y="336"/>
                  </a:lnTo>
                  <a:lnTo>
                    <a:pt x="193" y="336"/>
                  </a:lnTo>
                  <a:lnTo>
                    <a:pt x="191" y="336"/>
                  </a:lnTo>
                  <a:lnTo>
                    <a:pt x="189" y="336"/>
                  </a:lnTo>
                  <a:lnTo>
                    <a:pt x="187" y="338"/>
                  </a:lnTo>
                  <a:lnTo>
                    <a:pt x="182" y="342"/>
                  </a:lnTo>
                  <a:lnTo>
                    <a:pt x="178" y="344"/>
                  </a:lnTo>
                  <a:lnTo>
                    <a:pt x="174" y="348"/>
                  </a:lnTo>
                  <a:lnTo>
                    <a:pt x="174" y="348"/>
                  </a:lnTo>
                  <a:lnTo>
                    <a:pt x="174" y="348"/>
                  </a:lnTo>
                  <a:lnTo>
                    <a:pt x="174" y="348"/>
                  </a:lnTo>
                  <a:lnTo>
                    <a:pt x="174" y="348"/>
                  </a:lnTo>
                  <a:lnTo>
                    <a:pt x="174" y="348"/>
                  </a:lnTo>
                  <a:lnTo>
                    <a:pt x="172" y="348"/>
                  </a:lnTo>
                  <a:lnTo>
                    <a:pt x="172" y="346"/>
                  </a:lnTo>
                  <a:lnTo>
                    <a:pt x="172" y="346"/>
                  </a:lnTo>
                  <a:lnTo>
                    <a:pt x="172" y="346"/>
                  </a:lnTo>
                  <a:lnTo>
                    <a:pt x="170" y="346"/>
                  </a:lnTo>
                  <a:lnTo>
                    <a:pt x="170" y="346"/>
                  </a:lnTo>
                  <a:lnTo>
                    <a:pt x="170" y="346"/>
                  </a:lnTo>
                  <a:lnTo>
                    <a:pt x="170" y="346"/>
                  </a:lnTo>
                  <a:lnTo>
                    <a:pt x="170" y="344"/>
                  </a:lnTo>
                  <a:lnTo>
                    <a:pt x="168" y="344"/>
                  </a:lnTo>
                  <a:lnTo>
                    <a:pt x="168" y="344"/>
                  </a:lnTo>
                  <a:lnTo>
                    <a:pt x="166" y="344"/>
                  </a:lnTo>
                  <a:lnTo>
                    <a:pt x="166" y="344"/>
                  </a:lnTo>
                  <a:lnTo>
                    <a:pt x="164" y="344"/>
                  </a:lnTo>
                  <a:lnTo>
                    <a:pt x="164" y="346"/>
                  </a:lnTo>
                  <a:lnTo>
                    <a:pt x="164" y="346"/>
                  </a:lnTo>
                  <a:lnTo>
                    <a:pt x="162" y="346"/>
                  </a:lnTo>
                  <a:lnTo>
                    <a:pt x="162" y="348"/>
                  </a:lnTo>
                  <a:lnTo>
                    <a:pt x="162" y="348"/>
                  </a:lnTo>
                  <a:lnTo>
                    <a:pt x="162" y="348"/>
                  </a:lnTo>
                  <a:lnTo>
                    <a:pt x="162" y="348"/>
                  </a:lnTo>
                  <a:lnTo>
                    <a:pt x="162" y="350"/>
                  </a:lnTo>
                  <a:lnTo>
                    <a:pt x="162" y="350"/>
                  </a:lnTo>
                  <a:lnTo>
                    <a:pt x="164" y="352"/>
                  </a:lnTo>
                  <a:lnTo>
                    <a:pt x="164" y="352"/>
                  </a:lnTo>
                  <a:lnTo>
                    <a:pt x="164" y="354"/>
                  </a:lnTo>
                  <a:lnTo>
                    <a:pt x="164" y="354"/>
                  </a:lnTo>
                  <a:lnTo>
                    <a:pt x="164" y="357"/>
                  </a:lnTo>
                  <a:lnTo>
                    <a:pt x="164" y="357"/>
                  </a:lnTo>
                  <a:lnTo>
                    <a:pt x="158" y="361"/>
                  </a:lnTo>
                  <a:lnTo>
                    <a:pt x="158" y="361"/>
                  </a:lnTo>
                  <a:lnTo>
                    <a:pt x="158" y="361"/>
                  </a:lnTo>
                  <a:lnTo>
                    <a:pt x="156" y="361"/>
                  </a:lnTo>
                  <a:lnTo>
                    <a:pt x="156" y="361"/>
                  </a:lnTo>
                  <a:lnTo>
                    <a:pt x="154" y="361"/>
                  </a:lnTo>
                  <a:lnTo>
                    <a:pt x="152" y="363"/>
                  </a:lnTo>
                  <a:lnTo>
                    <a:pt x="152" y="363"/>
                  </a:lnTo>
                  <a:lnTo>
                    <a:pt x="144" y="365"/>
                  </a:lnTo>
                  <a:lnTo>
                    <a:pt x="137" y="369"/>
                  </a:lnTo>
                  <a:lnTo>
                    <a:pt x="135" y="371"/>
                  </a:lnTo>
                  <a:lnTo>
                    <a:pt x="135" y="369"/>
                  </a:lnTo>
                  <a:lnTo>
                    <a:pt x="135" y="369"/>
                  </a:lnTo>
                  <a:lnTo>
                    <a:pt x="135" y="369"/>
                  </a:lnTo>
                  <a:lnTo>
                    <a:pt x="135" y="369"/>
                  </a:lnTo>
                  <a:lnTo>
                    <a:pt x="135" y="369"/>
                  </a:lnTo>
                  <a:lnTo>
                    <a:pt x="133" y="369"/>
                  </a:lnTo>
                  <a:lnTo>
                    <a:pt x="133" y="367"/>
                  </a:lnTo>
                  <a:lnTo>
                    <a:pt x="129" y="365"/>
                  </a:lnTo>
                  <a:lnTo>
                    <a:pt x="127" y="365"/>
                  </a:lnTo>
                  <a:lnTo>
                    <a:pt x="127" y="365"/>
                  </a:lnTo>
                  <a:lnTo>
                    <a:pt x="125" y="363"/>
                  </a:lnTo>
                  <a:lnTo>
                    <a:pt x="125" y="363"/>
                  </a:lnTo>
                  <a:lnTo>
                    <a:pt x="125" y="363"/>
                  </a:lnTo>
                  <a:lnTo>
                    <a:pt x="123" y="363"/>
                  </a:lnTo>
                  <a:lnTo>
                    <a:pt x="123" y="363"/>
                  </a:lnTo>
                  <a:lnTo>
                    <a:pt x="121" y="363"/>
                  </a:lnTo>
                  <a:lnTo>
                    <a:pt x="121" y="363"/>
                  </a:lnTo>
                  <a:lnTo>
                    <a:pt x="121" y="365"/>
                  </a:lnTo>
                  <a:lnTo>
                    <a:pt x="121" y="365"/>
                  </a:lnTo>
                  <a:lnTo>
                    <a:pt x="121" y="367"/>
                  </a:lnTo>
                  <a:lnTo>
                    <a:pt x="121" y="367"/>
                  </a:lnTo>
                  <a:lnTo>
                    <a:pt x="119" y="369"/>
                  </a:lnTo>
                  <a:lnTo>
                    <a:pt x="119" y="369"/>
                  </a:lnTo>
                  <a:lnTo>
                    <a:pt x="119" y="371"/>
                  </a:lnTo>
                  <a:lnTo>
                    <a:pt x="115" y="371"/>
                  </a:lnTo>
                  <a:lnTo>
                    <a:pt x="113" y="371"/>
                  </a:lnTo>
                  <a:lnTo>
                    <a:pt x="113" y="371"/>
                  </a:lnTo>
                  <a:lnTo>
                    <a:pt x="113" y="373"/>
                  </a:lnTo>
                  <a:lnTo>
                    <a:pt x="109" y="377"/>
                  </a:lnTo>
                  <a:lnTo>
                    <a:pt x="109" y="379"/>
                  </a:lnTo>
                  <a:lnTo>
                    <a:pt x="109" y="379"/>
                  </a:lnTo>
                  <a:lnTo>
                    <a:pt x="107" y="379"/>
                  </a:lnTo>
                  <a:lnTo>
                    <a:pt x="101" y="379"/>
                  </a:lnTo>
                  <a:lnTo>
                    <a:pt x="101" y="379"/>
                  </a:lnTo>
                  <a:lnTo>
                    <a:pt x="96" y="379"/>
                  </a:lnTo>
                  <a:lnTo>
                    <a:pt x="94" y="377"/>
                  </a:lnTo>
                  <a:lnTo>
                    <a:pt x="94" y="377"/>
                  </a:lnTo>
                  <a:lnTo>
                    <a:pt x="92" y="377"/>
                  </a:lnTo>
                  <a:lnTo>
                    <a:pt x="90" y="375"/>
                  </a:lnTo>
                  <a:lnTo>
                    <a:pt x="90" y="375"/>
                  </a:lnTo>
                  <a:lnTo>
                    <a:pt x="90" y="375"/>
                  </a:lnTo>
                  <a:lnTo>
                    <a:pt x="90" y="373"/>
                  </a:lnTo>
                  <a:lnTo>
                    <a:pt x="90" y="373"/>
                  </a:lnTo>
                  <a:lnTo>
                    <a:pt x="88" y="373"/>
                  </a:lnTo>
                  <a:lnTo>
                    <a:pt x="86" y="373"/>
                  </a:lnTo>
                  <a:lnTo>
                    <a:pt x="86" y="373"/>
                  </a:lnTo>
                  <a:lnTo>
                    <a:pt x="84" y="375"/>
                  </a:lnTo>
                  <a:lnTo>
                    <a:pt x="84" y="373"/>
                  </a:lnTo>
                  <a:lnTo>
                    <a:pt x="82" y="373"/>
                  </a:lnTo>
                  <a:lnTo>
                    <a:pt x="82" y="373"/>
                  </a:lnTo>
                  <a:lnTo>
                    <a:pt x="82" y="373"/>
                  </a:lnTo>
                  <a:lnTo>
                    <a:pt x="82" y="373"/>
                  </a:lnTo>
                  <a:lnTo>
                    <a:pt x="80" y="371"/>
                  </a:lnTo>
                  <a:lnTo>
                    <a:pt x="80" y="371"/>
                  </a:lnTo>
                  <a:lnTo>
                    <a:pt x="80" y="369"/>
                  </a:lnTo>
                  <a:lnTo>
                    <a:pt x="78" y="369"/>
                  </a:lnTo>
                  <a:lnTo>
                    <a:pt x="74" y="367"/>
                  </a:lnTo>
                  <a:lnTo>
                    <a:pt x="74" y="367"/>
                  </a:lnTo>
                  <a:lnTo>
                    <a:pt x="74" y="367"/>
                  </a:lnTo>
                  <a:lnTo>
                    <a:pt x="74" y="365"/>
                  </a:lnTo>
                  <a:lnTo>
                    <a:pt x="74" y="365"/>
                  </a:lnTo>
                  <a:lnTo>
                    <a:pt x="72" y="365"/>
                  </a:lnTo>
                  <a:lnTo>
                    <a:pt x="72" y="363"/>
                  </a:lnTo>
                  <a:lnTo>
                    <a:pt x="72" y="361"/>
                  </a:lnTo>
                  <a:lnTo>
                    <a:pt x="72" y="361"/>
                  </a:lnTo>
                  <a:lnTo>
                    <a:pt x="72" y="361"/>
                  </a:lnTo>
                  <a:lnTo>
                    <a:pt x="72" y="361"/>
                  </a:lnTo>
                  <a:lnTo>
                    <a:pt x="72" y="359"/>
                  </a:lnTo>
                  <a:lnTo>
                    <a:pt x="72" y="359"/>
                  </a:lnTo>
                  <a:lnTo>
                    <a:pt x="72" y="359"/>
                  </a:lnTo>
                  <a:lnTo>
                    <a:pt x="68" y="357"/>
                  </a:lnTo>
                  <a:lnTo>
                    <a:pt x="68" y="357"/>
                  </a:lnTo>
                  <a:lnTo>
                    <a:pt x="68" y="357"/>
                  </a:lnTo>
                  <a:lnTo>
                    <a:pt x="68" y="357"/>
                  </a:lnTo>
                  <a:lnTo>
                    <a:pt x="68" y="354"/>
                  </a:lnTo>
                  <a:lnTo>
                    <a:pt x="68" y="354"/>
                  </a:lnTo>
                  <a:lnTo>
                    <a:pt x="70" y="352"/>
                  </a:lnTo>
                  <a:lnTo>
                    <a:pt x="70" y="352"/>
                  </a:lnTo>
                  <a:lnTo>
                    <a:pt x="70" y="352"/>
                  </a:lnTo>
                  <a:lnTo>
                    <a:pt x="70" y="352"/>
                  </a:lnTo>
                  <a:lnTo>
                    <a:pt x="70" y="352"/>
                  </a:lnTo>
                  <a:lnTo>
                    <a:pt x="70" y="350"/>
                  </a:lnTo>
                  <a:lnTo>
                    <a:pt x="70" y="350"/>
                  </a:lnTo>
                  <a:lnTo>
                    <a:pt x="68" y="350"/>
                  </a:lnTo>
                  <a:lnTo>
                    <a:pt x="68" y="350"/>
                  </a:lnTo>
                  <a:lnTo>
                    <a:pt x="68" y="348"/>
                  </a:lnTo>
                  <a:lnTo>
                    <a:pt x="66" y="348"/>
                  </a:lnTo>
                  <a:lnTo>
                    <a:pt x="66" y="348"/>
                  </a:lnTo>
                  <a:lnTo>
                    <a:pt x="62" y="350"/>
                  </a:lnTo>
                  <a:lnTo>
                    <a:pt x="62" y="350"/>
                  </a:lnTo>
                  <a:lnTo>
                    <a:pt x="53" y="348"/>
                  </a:lnTo>
                  <a:lnTo>
                    <a:pt x="53" y="348"/>
                  </a:lnTo>
                  <a:lnTo>
                    <a:pt x="51" y="348"/>
                  </a:lnTo>
                  <a:lnTo>
                    <a:pt x="51" y="346"/>
                  </a:lnTo>
                  <a:lnTo>
                    <a:pt x="51" y="346"/>
                  </a:lnTo>
                  <a:lnTo>
                    <a:pt x="51" y="346"/>
                  </a:lnTo>
                  <a:lnTo>
                    <a:pt x="51" y="346"/>
                  </a:lnTo>
                  <a:lnTo>
                    <a:pt x="51" y="344"/>
                  </a:lnTo>
                  <a:lnTo>
                    <a:pt x="51" y="344"/>
                  </a:lnTo>
                  <a:lnTo>
                    <a:pt x="47" y="342"/>
                  </a:lnTo>
                  <a:lnTo>
                    <a:pt x="47" y="342"/>
                  </a:lnTo>
                  <a:lnTo>
                    <a:pt x="47" y="342"/>
                  </a:lnTo>
                  <a:lnTo>
                    <a:pt x="45" y="342"/>
                  </a:lnTo>
                  <a:lnTo>
                    <a:pt x="45" y="342"/>
                  </a:lnTo>
                  <a:lnTo>
                    <a:pt x="43" y="340"/>
                  </a:lnTo>
                  <a:lnTo>
                    <a:pt x="43" y="340"/>
                  </a:lnTo>
                  <a:lnTo>
                    <a:pt x="43" y="340"/>
                  </a:lnTo>
                  <a:lnTo>
                    <a:pt x="41" y="340"/>
                  </a:lnTo>
                  <a:lnTo>
                    <a:pt x="37" y="338"/>
                  </a:lnTo>
                  <a:lnTo>
                    <a:pt x="37" y="338"/>
                  </a:lnTo>
                  <a:lnTo>
                    <a:pt x="37" y="338"/>
                  </a:lnTo>
                  <a:lnTo>
                    <a:pt x="37" y="336"/>
                  </a:lnTo>
                  <a:lnTo>
                    <a:pt x="35" y="334"/>
                  </a:lnTo>
                  <a:lnTo>
                    <a:pt x="35" y="332"/>
                  </a:lnTo>
                  <a:lnTo>
                    <a:pt x="35" y="332"/>
                  </a:lnTo>
                  <a:lnTo>
                    <a:pt x="33" y="332"/>
                  </a:lnTo>
                  <a:lnTo>
                    <a:pt x="33" y="330"/>
                  </a:lnTo>
                  <a:lnTo>
                    <a:pt x="25" y="326"/>
                  </a:lnTo>
                  <a:lnTo>
                    <a:pt x="25" y="324"/>
                  </a:lnTo>
                  <a:lnTo>
                    <a:pt x="25" y="324"/>
                  </a:lnTo>
                  <a:lnTo>
                    <a:pt x="25" y="324"/>
                  </a:lnTo>
                  <a:lnTo>
                    <a:pt x="25" y="320"/>
                  </a:lnTo>
                  <a:lnTo>
                    <a:pt x="23" y="320"/>
                  </a:lnTo>
                  <a:lnTo>
                    <a:pt x="23" y="318"/>
                  </a:lnTo>
                  <a:lnTo>
                    <a:pt x="23" y="318"/>
                  </a:lnTo>
                  <a:lnTo>
                    <a:pt x="23" y="318"/>
                  </a:lnTo>
                  <a:lnTo>
                    <a:pt x="21" y="318"/>
                  </a:lnTo>
                  <a:lnTo>
                    <a:pt x="17" y="316"/>
                  </a:lnTo>
                  <a:lnTo>
                    <a:pt x="17" y="314"/>
                  </a:lnTo>
                  <a:lnTo>
                    <a:pt x="17" y="314"/>
                  </a:lnTo>
                  <a:lnTo>
                    <a:pt x="17" y="314"/>
                  </a:lnTo>
                  <a:lnTo>
                    <a:pt x="17" y="311"/>
                  </a:lnTo>
                  <a:lnTo>
                    <a:pt x="19" y="311"/>
                  </a:lnTo>
                  <a:lnTo>
                    <a:pt x="19" y="311"/>
                  </a:lnTo>
                  <a:lnTo>
                    <a:pt x="17" y="309"/>
                  </a:lnTo>
                  <a:lnTo>
                    <a:pt x="17" y="309"/>
                  </a:lnTo>
                  <a:lnTo>
                    <a:pt x="17" y="309"/>
                  </a:lnTo>
                  <a:lnTo>
                    <a:pt x="17" y="309"/>
                  </a:lnTo>
                  <a:lnTo>
                    <a:pt x="10" y="305"/>
                  </a:lnTo>
                  <a:lnTo>
                    <a:pt x="10" y="305"/>
                  </a:lnTo>
                  <a:lnTo>
                    <a:pt x="10" y="303"/>
                  </a:lnTo>
                  <a:lnTo>
                    <a:pt x="8" y="301"/>
                  </a:lnTo>
                  <a:lnTo>
                    <a:pt x="8" y="301"/>
                  </a:lnTo>
                  <a:lnTo>
                    <a:pt x="0" y="293"/>
                  </a:lnTo>
                  <a:lnTo>
                    <a:pt x="0" y="293"/>
                  </a:lnTo>
                  <a:lnTo>
                    <a:pt x="0" y="291"/>
                  </a:lnTo>
                  <a:lnTo>
                    <a:pt x="0" y="291"/>
                  </a:lnTo>
                  <a:lnTo>
                    <a:pt x="0" y="291"/>
                  </a:lnTo>
                  <a:lnTo>
                    <a:pt x="0" y="291"/>
                  </a:lnTo>
                  <a:lnTo>
                    <a:pt x="0" y="291"/>
                  </a:lnTo>
                  <a:lnTo>
                    <a:pt x="2" y="289"/>
                  </a:lnTo>
                  <a:lnTo>
                    <a:pt x="2" y="289"/>
                  </a:lnTo>
                  <a:lnTo>
                    <a:pt x="2" y="287"/>
                  </a:lnTo>
                  <a:lnTo>
                    <a:pt x="2" y="287"/>
                  </a:lnTo>
                  <a:lnTo>
                    <a:pt x="2" y="287"/>
                  </a:lnTo>
                  <a:lnTo>
                    <a:pt x="2" y="285"/>
                  </a:lnTo>
                  <a:lnTo>
                    <a:pt x="2" y="285"/>
                  </a:lnTo>
                  <a:lnTo>
                    <a:pt x="2" y="285"/>
                  </a:lnTo>
                  <a:lnTo>
                    <a:pt x="2" y="283"/>
                  </a:lnTo>
                  <a:lnTo>
                    <a:pt x="2" y="283"/>
                  </a:lnTo>
                  <a:lnTo>
                    <a:pt x="4" y="283"/>
                  </a:lnTo>
                  <a:lnTo>
                    <a:pt x="4" y="283"/>
                  </a:lnTo>
                  <a:lnTo>
                    <a:pt x="4" y="283"/>
                  </a:lnTo>
                  <a:lnTo>
                    <a:pt x="4" y="283"/>
                  </a:lnTo>
                  <a:lnTo>
                    <a:pt x="4" y="281"/>
                  </a:lnTo>
                  <a:lnTo>
                    <a:pt x="4" y="281"/>
                  </a:lnTo>
                  <a:lnTo>
                    <a:pt x="4" y="279"/>
                  </a:lnTo>
                  <a:lnTo>
                    <a:pt x="4" y="277"/>
                  </a:lnTo>
                  <a:lnTo>
                    <a:pt x="4" y="277"/>
                  </a:lnTo>
                  <a:lnTo>
                    <a:pt x="2" y="275"/>
                  </a:lnTo>
                  <a:lnTo>
                    <a:pt x="2" y="275"/>
                  </a:lnTo>
                  <a:lnTo>
                    <a:pt x="0" y="270"/>
                  </a:lnTo>
                  <a:lnTo>
                    <a:pt x="0" y="270"/>
                  </a:lnTo>
                  <a:lnTo>
                    <a:pt x="0" y="270"/>
                  </a:lnTo>
                  <a:lnTo>
                    <a:pt x="0" y="268"/>
                  </a:lnTo>
                  <a:lnTo>
                    <a:pt x="0" y="266"/>
                  </a:lnTo>
                  <a:lnTo>
                    <a:pt x="0" y="264"/>
                  </a:lnTo>
                  <a:lnTo>
                    <a:pt x="0" y="264"/>
                  </a:lnTo>
                  <a:lnTo>
                    <a:pt x="0" y="264"/>
                  </a:lnTo>
                  <a:lnTo>
                    <a:pt x="2" y="266"/>
                  </a:lnTo>
                  <a:lnTo>
                    <a:pt x="6" y="264"/>
                  </a:lnTo>
                  <a:lnTo>
                    <a:pt x="12" y="260"/>
                  </a:lnTo>
                  <a:lnTo>
                    <a:pt x="19" y="260"/>
                  </a:lnTo>
                  <a:lnTo>
                    <a:pt x="21" y="258"/>
                  </a:lnTo>
                  <a:lnTo>
                    <a:pt x="23" y="256"/>
                  </a:lnTo>
                  <a:lnTo>
                    <a:pt x="23" y="254"/>
                  </a:lnTo>
                  <a:lnTo>
                    <a:pt x="23" y="244"/>
                  </a:lnTo>
                  <a:lnTo>
                    <a:pt x="23" y="242"/>
                  </a:lnTo>
                  <a:lnTo>
                    <a:pt x="25" y="242"/>
                  </a:lnTo>
                  <a:lnTo>
                    <a:pt x="29" y="242"/>
                  </a:lnTo>
                  <a:lnTo>
                    <a:pt x="31" y="240"/>
                  </a:lnTo>
                  <a:lnTo>
                    <a:pt x="31" y="238"/>
                  </a:lnTo>
                  <a:lnTo>
                    <a:pt x="31" y="238"/>
                  </a:lnTo>
                  <a:lnTo>
                    <a:pt x="31" y="236"/>
                  </a:lnTo>
                  <a:lnTo>
                    <a:pt x="31" y="236"/>
                  </a:lnTo>
                  <a:lnTo>
                    <a:pt x="29" y="234"/>
                  </a:lnTo>
                  <a:lnTo>
                    <a:pt x="29" y="232"/>
                  </a:lnTo>
                  <a:lnTo>
                    <a:pt x="29" y="229"/>
                  </a:lnTo>
                  <a:lnTo>
                    <a:pt x="29" y="227"/>
                  </a:lnTo>
                  <a:lnTo>
                    <a:pt x="27" y="225"/>
                  </a:lnTo>
                  <a:lnTo>
                    <a:pt x="27" y="225"/>
                  </a:lnTo>
                  <a:lnTo>
                    <a:pt x="25" y="223"/>
                  </a:lnTo>
                  <a:lnTo>
                    <a:pt x="25" y="221"/>
                  </a:lnTo>
                  <a:lnTo>
                    <a:pt x="27" y="219"/>
                  </a:lnTo>
                  <a:lnTo>
                    <a:pt x="29" y="217"/>
                  </a:lnTo>
                  <a:lnTo>
                    <a:pt x="29" y="215"/>
                  </a:lnTo>
                  <a:lnTo>
                    <a:pt x="29" y="213"/>
                  </a:lnTo>
                  <a:lnTo>
                    <a:pt x="29" y="211"/>
                  </a:lnTo>
                  <a:lnTo>
                    <a:pt x="29" y="207"/>
                  </a:lnTo>
                  <a:lnTo>
                    <a:pt x="31" y="205"/>
                  </a:lnTo>
                  <a:lnTo>
                    <a:pt x="33" y="199"/>
                  </a:lnTo>
                  <a:lnTo>
                    <a:pt x="35" y="195"/>
                  </a:lnTo>
                  <a:lnTo>
                    <a:pt x="37" y="193"/>
                  </a:lnTo>
                  <a:lnTo>
                    <a:pt x="39" y="193"/>
                  </a:lnTo>
                  <a:lnTo>
                    <a:pt x="41" y="193"/>
                  </a:lnTo>
                  <a:lnTo>
                    <a:pt x="41" y="195"/>
                  </a:lnTo>
                  <a:lnTo>
                    <a:pt x="45" y="195"/>
                  </a:lnTo>
                  <a:lnTo>
                    <a:pt x="45" y="197"/>
                  </a:lnTo>
                  <a:lnTo>
                    <a:pt x="47" y="199"/>
                  </a:lnTo>
                  <a:lnTo>
                    <a:pt x="47" y="199"/>
                  </a:lnTo>
                  <a:lnTo>
                    <a:pt x="47" y="201"/>
                  </a:lnTo>
                  <a:lnTo>
                    <a:pt x="49" y="201"/>
                  </a:lnTo>
                  <a:lnTo>
                    <a:pt x="49" y="201"/>
                  </a:lnTo>
                  <a:lnTo>
                    <a:pt x="49" y="201"/>
                  </a:lnTo>
                  <a:lnTo>
                    <a:pt x="47" y="203"/>
                  </a:lnTo>
                  <a:lnTo>
                    <a:pt x="47" y="203"/>
                  </a:lnTo>
                  <a:lnTo>
                    <a:pt x="47" y="203"/>
                  </a:lnTo>
                  <a:lnTo>
                    <a:pt x="47" y="205"/>
                  </a:lnTo>
                  <a:lnTo>
                    <a:pt x="47" y="205"/>
                  </a:lnTo>
                  <a:lnTo>
                    <a:pt x="47" y="205"/>
                  </a:lnTo>
                  <a:lnTo>
                    <a:pt x="47" y="207"/>
                  </a:lnTo>
                  <a:lnTo>
                    <a:pt x="49" y="207"/>
                  </a:lnTo>
                  <a:lnTo>
                    <a:pt x="51" y="205"/>
                  </a:lnTo>
                  <a:lnTo>
                    <a:pt x="53" y="203"/>
                  </a:lnTo>
                  <a:lnTo>
                    <a:pt x="53" y="203"/>
                  </a:lnTo>
                  <a:lnTo>
                    <a:pt x="53" y="199"/>
                  </a:lnTo>
                  <a:lnTo>
                    <a:pt x="53" y="199"/>
                  </a:lnTo>
                  <a:lnTo>
                    <a:pt x="55" y="197"/>
                  </a:lnTo>
                  <a:lnTo>
                    <a:pt x="55" y="197"/>
                  </a:lnTo>
                  <a:lnTo>
                    <a:pt x="58" y="199"/>
                  </a:lnTo>
                  <a:lnTo>
                    <a:pt x="58" y="199"/>
                  </a:lnTo>
                  <a:lnTo>
                    <a:pt x="60" y="199"/>
                  </a:lnTo>
                  <a:lnTo>
                    <a:pt x="60" y="197"/>
                  </a:lnTo>
                  <a:lnTo>
                    <a:pt x="60" y="197"/>
                  </a:lnTo>
                  <a:lnTo>
                    <a:pt x="58" y="195"/>
                  </a:lnTo>
                  <a:lnTo>
                    <a:pt x="58" y="191"/>
                  </a:lnTo>
                  <a:lnTo>
                    <a:pt x="58" y="189"/>
                  </a:lnTo>
                  <a:lnTo>
                    <a:pt x="55" y="189"/>
                  </a:lnTo>
                  <a:lnTo>
                    <a:pt x="55" y="189"/>
                  </a:lnTo>
                  <a:lnTo>
                    <a:pt x="55" y="186"/>
                  </a:lnTo>
                  <a:lnTo>
                    <a:pt x="53" y="186"/>
                  </a:lnTo>
                  <a:lnTo>
                    <a:pt x="53" y="186"/>
                  </a:lnTo>
                  <a:lnTo>
                    <a:pt x="53" y="184"/>
                  </a:lnTo>
                  <a:lnTo>
                    <a:pt x="53" y="184"/>
                  </a:lnTo>
                  <a:lnTo>
                    <a:pt x="53" y="184"/>
                  </a:lnTo>
                  <a:lnTo>
                    <a:pt x="58" y="182"/>
                  </a:lnTo>
                  <a:lnTo>
                    <a:pt x="58" y="180"/>
                  </a:lnTo>
                  <a:lnTo>
                    <a:pt x="58" y="178"/>
                  </a:lnTo>
                  <a:lnTo>
                    <a:pt x="58" y="174"/>
                  </a:lnTo>
                  <a:lnTo>
                    <a:pt x="58" y="172"/>
                  </a:lnTo>
                  <a:lnTo>
                    <a:pt x="58" y="172"/>
                  </a:lnTo>
                  <a:lnTo>
                    <a:pt x="60" y="166"/>
                  </a:lnTo>
                  <a:lnTo>
                    <a:pt x="62" y="162"/>
                  </a:lnTo>
                  <a:lnTo>
                    <a:pt x="62" y="162"/>
                  </a:lnTo>
                  <a:lnTo>
                    <a:pt x="64" y="162"/>
                  </a:lnTo>
                  <a:lnTo>
                    <a:pt x="66" y="160"/>
                  </a:lnTo>
                  <a:lnTo>
                    <a:pt x="68" y="160"/>
                  </a:lnTo>
                  <a:lnTo>
                    <a:pt x="68" y="160"/>
                  </a:lnTo>
                  <a:lnTo>
                    <a:pt x="68" y="160"/>
                  </a:lnTo>
                  <a:lnTo>
                    <a:pt x="68" y="160"/>
                  </a:lnTo>
                  <a:lnTo>
                    <a:pt x="70" y="160"/>
                  </a:lnTo>
                  <a:lnTo>
                    <a:pt x="70" y="158"/>
                  </a:lnTo>
                  <a:lnTo>
                    <a:pt x="70" y="154"/>
                  </a:lnTo>
                  <a:lnTo>
                    <a:pt x="70" y="152"/>
                  </a:lnTo>
                  <a:lnTo>
                    <a:pt x="76" y="145"/>
                  </a:lnTo>
                  <a:lnTo>
                    <a:pt x="76" y="145"/>
                  </a:lnTo>
                  <a:lnTo>
                    <a:pt x="80" y="143"/>
                  </a:lnTo>
                  <a:lnTo>
                    <a:pt x="82" y="145"/>
                  </a:lnTo>
                  <a:lnTo>
                    <a:pt x="82" y="148"/>
                  </a:lnTo>
                  <a:lnTo>
                    <a:pt x="84" y="148"/>
                  </a:lnTo>
                  <a:lnTo>
                    <a:pt x="86" y="150"/>
                  </a:lnTo>
                  <a:lnTo>
                    <a:pt x="88" y="150"/>
                  </a:lnTo>
                  <a:lnTo>
                    <a:pt x="90" y="145"/>
                  </a:lnTo>
                  <a:lnTo>
                    <a:pt x="92" y="145"/>
                  </a:lnTo>
                  <a:lnTo>
                    <a:pt x="94" y="143"/>
                  </a:lnTo>
                  <a:lnTo>
                    <a:pt x="94" y="143"/>
                  </a:lnTo>
                  <a:lnTo>
                    <a:pt x="96" y="141"/>
                  </a:lnTo>
                  <a:lnTo>
                    <a:pt x="98" y="141"/>
                  </a:lnTo>
                  <a:lnTo>
                    <a:pt x="101" y="137"/>
                  </a:lnTo>
                  <a:lnTo>
                    <a:pt x="101" y="137"/>
                  </a:lnTo>
                  <a:lnTo>
                    <a:pt x="105" y="135"/>
                  </a:lnTo>
                  <a:lnTo>
                    <a:pt x="105" y="133"/>
                  </a:lnTo>
                  <a:lnTo>
                    <a:pt x="107" y="129"/>
                  </a:lnTo>
                  <a:lnTo>
                    <a:pt x="109" y="125"/>
                  </a:lnTo>
                  <a:lnTo>
                    <a:pt x="117" y="117"/>
                  </a:lnTo>
                  <a:lnTo>
                    <a:pt x="121" y="113"/>
                  </a:lnTo>
                  <a:lnTo>
                    <a:pt x="121" y="113"/>
                  </a:lnTo>
                  <a:lnTo>
                    <a:pt x="123" y="109"/>
                  </a:lnTo>
                  <a:lnTo>
                    <a:pt x="123" y="109"/>
                  </a:lnTo>
                  <a:lnTo>
                    <a:pt x="121" y="107"/>
                  </a:lnTo>
                  <a:lnTo>
                    <a:pt x="121" y="107"/>
                  </a:lnTo>
                  <a:lnTo>
                    <a:pt x="121" y="107"/>
                  </a:lnTo>
                  <a:lnTo>
                    <a:pt x="123" y="104"/>
                  </a:lnTo>
                  <a:lnTo>
                    <a:pt x="123" y="102"/>
                  </a:lnTo>
                  <a:lnTo>
                    <a:pt x="123" y="100"/>
                  </a:lnTo>
                  <a:lnTo>
                    <a:pt x="121" y="100"/>
                  </a:lnTo>
                  <a:lnTo>
                    <a:pt x="121" y="98"/>
                  </a:lnTo>
                  <a:lnTo>
                    <a:pt x="119" y="98"/>
                  </a:lnTo>
                  <a:lnTo>
                    <a:pt x="119" y="96"/>
                  </a:lnTo>
                  <a:lnTo>
                    <a:pt x="121" y="96"/>
                  </a:lnTo>
                  <a:lnTo>
                    <a:pt x="121" y="94"/>
                  </a:lnTo>
                  <a:lnTo>
                    <a:pt x="121" y="92"/>
                  </a:lnTo>
                  <a:lnTo>
                    <a:pt x="121" y="90"/>
                  </a:lnTo>
                  <a:lnTo>
                    <a:pt x="123" y="90"/>
                  </a:lnTo>
                  <a:lnTo>
                    <a:pt x="123" y="88"/>
                  </a:lnTo>
                  <a:lnTo>
                    <a:pt x="123" y="86"/>
                  </a:lnTo>
                  <a:lnTo>
                    <a:pt x="123" y="86"/>
                  </a:lnTo>
                  <a:lnTo>
                    <a:pt x="123" y="84"/>
                  </a:lnTo>
                  <a:lnTo>
                    <a:pt x="123" y="84"/>
                  </a:lnTo>
                  <a:lnTo>
                    <a:pt x="123" y="82"/>
                  </a:lnTo>
                  <a:lnTo>
                    <a:pt x="123" y="80"/>
                  </a:lnTo>
                  <a:lnTo>
                    <a:pt x="123" y="80"/>
                  </a:lnTo>
                  <a:lnTo>
                    <a:pt x="125" y="82"/>
                  </a:lnTo>
                  <a:lnTo>
                    <a:pt x="125" y="80"/>
                  </a:lnTo>
                  <a:lnTo>
                    <a:pt x="125" y="80"/>
                  </a:lnTo>
                  <a:lnTo>
                    <a:pt x="125" y="78"/>
                  </a:lnTo>
                  <a:lnTo>
                    <a:pt x="125" y="78"/>
                  </a:lnTo>
                  <a:lnTo>
                    <a:pt x="125" y="78"/>
                  </a:lnTo>
                  <a:lnTo>
                    <a:pt x="125" y="76"/>
                  </a:lnTo>
                  <a:lnTo>
                    <a:pt x="125" y="74"/>
                  </a:lnTo>
                  <a:lnTo>
                    <a:pt x="125" y="72"/>
                  </a:lnTo>
                  <a:lnTo>
                    <a:pt x="125" y="70"/>
                  </a:lnTo>
                  <a:lnTo>
                    <a:pt x="125" y="66"/>
                  </a:lnTo>
                  <a:lnTo>
                    <a:pt x="125" y="63"/>
                  </a:lnTo>
                  <a:lnTo>
                    <a:pt x="125" y="61"/>
                  </a:lnTo>
                  <a:lnTo>
                    <a:pt x="127" y="57"/>
                  </a:lnTo>
                  <a:lnTo>
                    <a:pt x="127" y="55"/>
                  </a:lnTo>
                  <a:lnTo>
                    <a:pt x="127" y="51"/>
                  </a:lnTo>
                  <a:lnTo>
                    <a:pt x="127" y="49"/>
                  </a:lnTo>
                  <a:lnTo>
                    <a:pt x="127" y="43"/>
                  </a:lnTo>
                  <a:lnTo>
                    <a:pt x="129" y="43"/>
                  </a:lnTo>
                  <a:lnTo>
                    <a:pt x="131" y="41"/>
                  </a:lnTo>
                  <a:lnTo>
                    <a:pt x="131" y="41"/>
                  </a:lnTo>
                  <a:lnTo>
                    <a:pt x="131" y="37"/>
                  </a:lnTo>
                  <a:lnTo>
                    <a:pt x="131" y="37"/>
                  </a:lnTo>
                  <a:lnTo>
                    <a:pt x="131" y="35"/>
                  </a:lnTo>
                  <a:lnTo>
                    <a:pt x="129" y="33"/>
                  </a:lnTo>
                  <a:lnTo>
                    <a:pt x="129" y="31"/>
                  </a:lnTo>
                  <a:lnTo>
                    <a:pt x="129" y="31"/>
                  </a:lnTo>
                  <a:lnTo>
                    <a:pt x="129" y="31"/>
                  </a:lnTo>
                  <a:lnTo>
                    <a:pt x="129" y="31"/>
                  </a:lnTo>
                  <a:lnTo>
                    <a:pt x="129" y="29"/>
                  </a:lnTo>
                  <a:lnTo>
                    <a:pt x="129" y="29"/>
                  </a:lnTo>
                  <a:lnTo>
                    <a:pt x="127" y="29"/>
                  </a:lnTo>
                  <a:lnTo>
                    <a:pt x="127" y="27"/>
                  </a:lnTo>
                  <a:lnTo>
                    <a:pt x="129" y="23"/>
                  </a:lnTo>
                  <a:lnTo>
                    <a:pt x="129" y="20"/>
                  </a:lnTo>
                  <a:lnTo>
                    <a:pt x="127" y="18"/>
                  </a:lnTo>
                  <a:lnTo>
                    <a:pt x="127" y="16"/>
                  </a:lnTo>
                  <a:lnTo>
                    <a:pt x="125" y="14"/>
                  </a:lnTo>
                  <a:lnTo>
                    <a:pt x="121" y="10"/>
                  </a:lnTo>
                  <a:lnTo>
                    <a:pt x="121" y="8"/>
                  </a:lnTo>
                  <a:lnTo>
                    <a:pt x="121" y="6"/>
                  </a:lnTo>
                  <a:lnTo>
                    <a:pt x="123" y="6"/>
                  </a:lnTo>
                  <a:lnTo>
                    <a:pt x="123" y="4"/>
                  </a:lnTo>
                  <a:lnTo>
                    <a:pt x="127" y="4"/>
                  </a:lnTo>
                  <a:lnTo>
                    <a:pt x="127" y="4"/>
                  </a:lnTo>
                  <a:lnTo>
                    <a:pt x="131" y="2"/>
                  </a:lnTo>
                  <a:lnTo>
                    <a:pt x="131" y="0"/>
                  </a:lnTo>
                  <a:lnTo>
                    <a:pt x="131" y="0"/>
                  </a:lnTo>
                  <a:lnTo>
                    <a:pt x="131" y="0"/>
                  </a:lnTo>
                  <a:lnTo>
                    <a:pt x="131" y="0"/>
                  </a:lnTo>
                  <a:lnTo>
                    <a:pt x="131" y="0"/>
                  </a:lnTo>
                  <a:lnTo>
                    <a:pt x="131" y="2"/>
                  </a:lnTo>
                  <a:lnTo>
                    <a:pt x="131" y="2"/>
                  </a:lnTo>
                  <a:lnTo>
                    <a:pt x="131" y="2"/>
                  </a:lnTo>
                  <a:lnTo>
                    <a:pt x="131" y="2"/>
                  </a:lnTo>
                  <a:lnTo>
                    <a:pt x="133" y="10"/>
                  </a:lnTo>
                  <a:lnTo>
                    <a:pt x="135" y="18"/>
                  </a:lnTo>
                  <a:lnTo>
                    <a:pt x="137" y="27"/>
                  </a:lnTo>
                  <a:lnTo>
                    <a:pt x="137" y="35"/>
                  </a:lnTo>
                  <a:lnTo>
                    <a:pt x="139" y="43"/>
                  </a:lnTo>
                  <a:lnTo>
                    <a:pt x="141" y="51"/>
                  </a:lnTo>
                  <a:lnTo>
                    <a:pt x="144" y="59"/>
                  </a:lnTo>
                  <a:lnTo>
                    <a:pt x="144" y="70"/>
                  </a:lnTo>
                  <a:lnTo>
                    <a:pt x="146" y="76"/>
                  </a:lnTo>
                  <a:lnTo>
                    <a:pt x="148" y="84"/>
                  </a:lnTo>
                  <a:lnTo>
                    <a:pt x="148" y="90"/>
                  </a:lnTo>
                  <a:lnTo>
                    <a:pt x="150" y="98"/>
                  </a:lnTo>
                  <a:lnTo>
                    <a:pt x="160" y="96"/>
                  </a:lnTo>
                  <a:lnTo>
                    <a:pt x="170" y="94"/>
                  </a:lnTo>
                  <a:lnTo>
                    <a:pt x="182" y="92"/>
                  </a:lnTo>
                  <a:lnTo>
                    <a:pt x="193" y="90"/>
                  </a:lnTo>
                  <a:lnTo>
                    <a:pt x="203" y="88"/>
                  </a:lnTo>
                  <a:lnTo>
                    <a:pt x="213" y="86"/>
                  </a:lnTo>
                  <a:lnTo>
                    <a:pt x="225" y="84"/>
                  </a:lnTo>
                  <a:lnTo>
                    <a:pt x="236" y="82"/>
                  </a:lnTo>
                  <a:lnTo>
                    <a:pt x="236" y="82"/>
                  </a:lnTo>
                  <a:close/>
                </a:path>
              </a:pathLst>
            </a:custGeom>
            <a:solidFill>
              <a:schemeClr val="tx1"/>
            </a:solidFill>
            <a:ln w="3175" cap="rnd">
              <a:solidFill>
                <a:schemeClr val="bg1"/>
              </a:solidFill>
              <a:prstDash val="solid"/>
              <a:round/>
              <a:headEnd/>
              <a:tailEnd/>
            </a:ln>
          </p:spPr>
          <p:txBody>
            <a:bodyPr vert="horz" wrap="square" lIns="0" tIns="144000" rIns="144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WV</a:t>
              </a:r>
            </a:p>
          </p:txBody>
        </p:sp>
        <p:sp>
          <p:nvSpPr>
            <p:cNvPr id="297" name="Freeform 7">
              <a:extLst>
                <a:ext uri="{FF2B5EF4-FFF2-40B4-BE49-F238E27FC236}">
                  <a16:creationId xmlns:a16="http://schemas.microsoft.com/office/drawing/2014/main" id="{AF37028F-E835-F20A-91F6-5BD940D5734C}"/>
                </a:ext>
              </a:extLst>
            </p:cNvPr>
            <p:cNvSpPr>
              <a:spLocks noEditPoints="1"/>
            </p:cNvSpPr>
            <p:nvPr/>
          </p:nvSpPr>
          <p:spPr bwMode="auto">
            <a:xfrm>
              <a:off x="3283" y="345"/>
              <a:ext cx="475" cy="478"/>
            </a:xfrm>
            <a:custGeom>
              <a:avLst/>
              <a:gdLst>
                <a:gd name="T0" fmla="*/ 167 w 475"/>
                <a:gd name="T1" fmla="*/ 23 h 478"/>
                <a:gd name="T2" fmla="*/ 172 w 475"/>
                <a:gd name="T3" fmla="*/ 13 h 478"/>
                <a:gd name="T4" fmla="*/ 139 w 475"/>
                <a:gd name="T5" fmla="*/ 17 h 478"/>
                <a:gd name="T6" fmla="*/ 417 w 475"/>
                <a:gd name="T7" fmla="*/ 213 h 478"/>
                <a:gd name="T8" fmla="*/ 395 w 475"/>
                <a:gd name="T9" fmla="*/ 244 h 478"/>
                <a:gd name="T10" fmla="*/ 395 w 475"/>
                <a:gd name="T11" fmla="*/ 226 h 478"/>
                <a:gd name="T12" fmla="*/ 415 w 475"/>
                <a:gd name="T13" fmla="*/ 197 h 478"/>
                <a:gd name="T14" fmla="*/ 409 w 475"/>
                <a:gd name="T15" fmla="*/ 177 h 478"/>
                <a:gd name="T16" fmla="*/ 409 w 475"/>
                <a:gd name="T17" fmla="*/ 154 h 478"/>
                <a:gd name="T18" fmla="*/ 395 w 475"/>
                <a:gd name="T19" fmla="*/ 158 h 478"/>
                <a:gd name="T20" fmla="*/ 399 w 475"/>
                <a:gd name="T21" fmla="*/ 144 h 478"/>
                <a:gd name="T22" fmla="*/ 397 w 475"/>
                <a:gd name="T23" fmla="*/ 127 h 478"/>
                <a:gd name="T24" fmla="*/ 389 w 475"/>
                <a:gd name="T25" fmla="*/ 119 h 478"/>
                <a:gd name="T26" fmla="*/ 376 w 475"/>
                <a:gd name="T27" fmla="*/ 117 h 478"/>
                <a:gd name="T28" fmla="*/ 370 w 475"/>
                <a:gd name="T29" fmla="*/ 103 h 478"/>
                <a:gd name="T30" fmla="*/ 354 w 475"/>
                <a:gd name="T31" fmla="*/ 99 h 478"/>
                <a:gd name="T32" fmla="*/ 339 w 475"/>
                <a:gd name="T33" fmla="*/ 97 h 478"/>
                <a:gd name="T34" fmla="*/ 325 w 475"/>
                <a:gd name="T35" fmla="*/ 97 h 478"/>
                <a:gd name="T36" fmla="*/ 311 w 475"/>
                <a:gd name="T37" fmla="*/ 97 h 478"/>
                <a:gd name="T38" fmla="*/ 243 w 475"/>
                <a:gd name="T39" fmla="*/ 80 h 478"/>
                <a:gd name="T40" fmla="*/ 202 w 475"/>
                <a:gd name="T41" fmla="*/ 60 h 478"/>
                <a:gd name="T42" fmla="*/ 190 w 475"/>
                <a:gd name="T43" fmla="*/ 56 h 478"/>
                <a:gd name="T44" fmla="*/ 157 w 475"/>
                <a:gd name="T45" fmla="*/ 41 h 478"/>
                <a:gd name="T46" fmla="*/ 145 w 475"/>
                <a:gd name="T47" fmla="*/ 50 h 478"/>
                <a:gd name="T48" fmla="*/ 155 w 475"/>
                <a:gd name="T49" fmla="*/ 21 h 478"/>
                <a:gd name="T50" fmla="*/ 145 w 475"/>
                <a:gd name="T51" fmla="*/ 17 h 478"/>
                <a:gd name="T52" fmla="*/ 133 w 475"/>
                <a:gd name="T53" fmla="*/ 23 h 478"/>
                <a:gd name="T54" fmla="*/ 122 w 475"/>
                <a:gd name="T55" fmla="*/ 29 h 478"/>
                <a:gd name="T56" fmla="*/ 57 w 475"/>
                <a:gd name="T57" fmla="*/ 47 h 478"/>
                <a:gd name="T58" fmla="*/ 47 w 475"/>
                <a:gd name="T59" fmla="*/ 52 h 478"/>
                <a:gd name="T60" fmla="*/ 40 w 475"/>
                <a:gd name="T61" fmla="*/ 78 h 478"/>
                <a:gd name="T62" fmla="*/ 34 w 475"/>
                <a:gd name="T63" fmla="*/ 121 h 478"/>
                <a:gd name="T64" fmla="*/ 16 w 475"/>
                <a:gd name="T65" fmla="*/ 134 h 478"/>
                <a:gd name="T66" fmla="*/ 12 w 475"/>
                <a:gd name="T67" fmla="*/ 173 h 478"/>
                <a:gd name="T68" fmla="*/ 12 w 475"/>
                <a:gd name="T69" fmla="*/ 203 h 478"/>
                <a:gd name="T70" fmla="*/ 16 w 475"/>
                <a:gd name="T71" fmla="*/ 238 h 478"/>
                <a:gd name="T72" fmla="*/ 45 w 475"/>
                <a:gd name="T73" fmla="*/ 271 h 478"/>
                <a:gd name="T74" fmla="*/ 108 w 475"/>
                <a:gd name="T75" fmla="*/ 322 h 478"/>
                <a:gd name="T76" fmla="*/ 133 w 475"/>
                <a:gd name="T77" fmla="*/ 332 h 478"/>
                <a:gd name="T78" fmla="*/ 145 w 475"/>
                <a:gd name="T79" fmla="*/ 351 h 478"/>
                <a:gd name="T80" fmla="*/ 147 w 475"/>
                <a:gd name="T81" fmla="*/ 379 h 478"/>
                <a:gd name="T82" fmla="*/ 155 w 475"/>
                <a:gd name="T83" fmla="*/ 414 h 478"/>
                <a:gd name="T84" fmla="*/ 169 w 475"/>
                <a:gd name="T85" fmla="*/ 459 h 478"/>
                <a:gd name="T86" fmla="*/ 204 w 475"/>
                <a:gd name="T87" fmla="*/ 478 h 478"/>
                <a:gd name="T88" fmla="*/ 247 w 475"/>
                <a:gd name="T89" fmla="*/ 476 h 478"/>
                <a:gd name="T90" fmla="*/ 432 w 475"/>
                <a:gd name="T91" fmla="*/ 449 h 478"/>
                <a:gd name="T92" fmla="*/ 426 w 475"/>
                <a:gd name="T93" fmla="*/ 410 h 478"/>
                <a:gd name="T94" fmla="*/ 419 w 475"/>
                <a:gd name="T95" fmla="*/ 384 h 478"/>
                <a:gd name="T96" fmla="*/ 428 w 475"/>
                <a:gd name="T97" fmla="*/ 328 h 478"/>
                <a:gd name="T98" fmla="*/ 426 w 475"/>
                <a:gd name="T99" fmla="*/ 298 h 478"/>
                <a:gd name="T100" fmla="*/ 434 w 475"/>
                <a:gd name="T101" fmla="*/ 259 h 478"/>
                <a:gd name="T102" fmla="*/ 157 w 475"/>
                <a:gd name="T103" fmla="*/ 19 h 478"/>
                <a:gd name="T104" fmla="*/ 182 w 475"/>
                <a:gd name="T105" fmla="*/ 2 h 478"/>
                <a:gd name="T106" fmla="*/ 473 w 475"/>
                <a:gd name="T107" fmla="*/ 144 h 478"/>
                <a:gd name="T108" fmla="*/ 475 w 475"/>
                <a:gd name="T109" fmla="*/ 152 h 478"/>
                <a:gd name="T110" fmla="*/ 458 w 475"/>
                <a:gd name="T111" fmla="*/ 160 h 478"/>
                <a:gd name="T112" fmla="*/ 446 w 475"/>
                <a:gd name="T113" fmla="*/ 175 h 478"/>
                <a:gd name="T114" fmla="*/ 440 w 475"/>
                <a:gd name="T115" fmla="*/ 207 h 478"/>
                <a:gd name="T116" fmla="*/ 458 w 475"/>
                <a:gd name="T117" fmla="*/ 183 h 478"/>
                <a:gd name="T118" fmla="*/ 460 w 475"/>
                <a:gd name="T119" fmla="*/ 173 h 478"/>
                <a:gd name="T120" fmla="*/ 466 w 475"/>
                <a:gd name="T121" fmla="*/ 16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5" h="478">
                  <a:moveTo>
                    <a:pt x="153" y="33"/>
                  </a:moveTo>
                  <a:lnTo>
                    <a:pt x="155" y="35"/>
                  </a:lnTo>
                  <a:lnTo>
                    <a:pt x="155" y="37"/>
                  </a:lnTo>
                  <a:lnTo>
                    <a:pt x="159" y="33"/>
                  </a:lnTo>
                  <a:lnTo>
                    <a:pt x="163" y="33"/>
                  </a:lnTo>
                  <a:lnTo>
                    <a:pt x="163" y="31"/>
                  </a:lnTo>
                  <a:lnTo>
                    <a:pt x="163" y="31"/>
                  </a:lnTo>
                  <a:lnTo>
                    <a:pt x="163" y="29"/>
                  </a:lnTo>
                  <a:lnTo>
                    <a:pt x="165" y="27"/>
                  </a:lnTo>
                  <a:lnTo>
                    <a:pt x="167" y="27"/>
                  </a:lnTo>
                  <a:lnTo>
                    <a:pt x="169" y="27"/>
                  </a:lnTo>
                  <a:lnTo>
                    <a:pt x="169" y="25"/>
                  </a:lnTo>
                  <a:lnTo>
                    <a:pt x="169" y="25"/>
                  </a:lnTo>
                  <a:lnTo>
                    <a:pt x="167" y="23"/>
                  </a:lnTo>
                  <a:lnTo>
                    <a:pt x="167" y="23"/>
                  </a:lnTo>
                  <a:lnTo>
                    <a:pt x="163" y="25"/>
                  </a:lnTo>
                  <a:lnTo>
                    <a:pt x="161" y="27"/>
                  </a:lnTo>
                  <a:lnTo>
                    <a:pt x="161" y="29"/>
                  </a:lnTo>
                  <a:lnTo>
                    <a:pt x="155" y="31"/>
                  </a:lnTo>
                  <a:lnTo>
                    <a:pt x="153" y="33"/>
                  </a:lnTo>
                  <a:close/>
                  <a:moveTo>
                    <a:pt x="167" y="19"/>
                  </a:moveTo>
                  <a:lnTo>
                    <a:pt x="169" y="19"/>
                  </a:lnTo>
                  <a:lnTo>
                    <a:pt x="172" y="19"/>
                  </a:lnTo>
                  <a:lnTo>
                    <a:pt x="172" y="19"/>
                  </a:lnTo>
                  <a:lnTo>
                    <a:pt x="172" y="17"/>
                  </a:lnTo>
                  <a:lnTo>
                    <a:pt x="172" y="17"/>
                  </a:lnTo>
                  <a:lnTo>
                    <a:pt x="172" y="15"/>
                  </a:lnTo>
                  <a:lnTo>
                    <a:pt x="174" y="15"/>
                  </a:lnTo>
                  <a:lnTo>
                    <a:pt x="174" y="13"/>
                  </a:lnTo>
                  <a:lnTo>
                    <a:pt x="172" y="13"/>
                  </a:lnTo>
                  <a:lnTo>
                    <a:pt x="169" y="15"/>
                  </a:lnTo>
                  <a:lnTo>
                    <a:pt x="165" y="15"/>
                  </a:lnTo>
                  <a:lnTo>
                    <a:pt x="163" y="17"/>
                  </a:lnTo>
                  <a:lnTo>
                    <a:pt x="163" y="19"/>
                  </a:lnTo>
                  <a:lnTo>
                    <a:pt x="163" y="19"/>
                  </a:lnTo>
                  <a:lnTo>
                    <a:pt x="167" y="19"/>
                  </a:lnTo>
                  <a:close/>
                  <a:moveTo>
                    <a:pt x="139" y="17"/>
                  </a:moveTo>
                  <a:lnTo>
                    <a:pt x="141" y="15"/>
                  </a:lnTo>
                  <a:lnTo>
                    <a:pt x="141" y="15"/>
                  </a:lnTo>
                  <a:lnTo>
                    <a:pt x="143" y="13"/>
                  </a:lnTo>
                  <a:lnTo>
                    <a:pt x="141" y="11"/>
                  </a:lnTo>
                  <a:lnTo>
                    <a:pt x="141" y="13"/>
                  </a:lnTo>
                  <a:lnTo>
                    <a:pt x="139" y="15"/>
                  </a:lnTo>
                  <a:lnTo>
                    <a:pt x="139" y="15"/>
                  </a:lnTo>
                  <a:lnTo>
                    <a:pt x="139" y="17"/>
                  </a:lnTo>
                  <a:close/>
                  <a:moveTo>
                    <a:pt x="444" y="211"/>
                  </a:moveTo>
                  <a:lnTo>
                    <a:pt x="442" y="211"/>
                  </a:lnTo>
                  <a:lnTo>
                    <a:pt x="440" y="209"/>
                  </a:lnTo>
                  <a:lnTo>
                    <a:pt x="436" y="205"/>
                  </a:lnTo>
                  <a:lnTo>
                    <a:pt x="434" y="205"/>
                  </a:lnTo>
                  <a:lnTo>
                    <a:pt x="432" y="205"/>
                  </a:lnTo>
                  <a:lnTo>
                    <a:pt x="432" y="207"/>
                  </a:lnTo>
                  <a:lnTo>
                    <a:pt x="430" y="207"/>
                  </a:lnTo>
                  <a:lnTo>
                    <a:pt x="426" y="209"/>
                  </a:lnTo>
                  <a:lnTo>
                    <a:pt x="426" y="211"/>
                  </a:lnTo>
                  <a:lnTo>
                    <a:pt x="426" y="209"/>
                  </a:lnTo>
                  <a:lnTo>
                    <a:pt x="423" y="209"/>
                  </a:lnTo>
                  <a:lnTo>
                    <a:pt x="421" y="211"/>
                  </a:lnTo>
                  <a:lnTo>
                    <a:pt x="419" y="211"/>
                  </a:lnTo>
                  <a:lnTo>
                    <a:pt x="417" y="213"/>
                  </a:lnTo>
                  <a:lnTo>
                    <a:pt x="415" y="220"/>
                  </a:lnTo>
                  <a:lnTo>
                    <a:pt x="413" y="224"/>
                  </a:lnTo>
                  <a:lnTo>
                    <a:pt x="415" y="226"/>
                  </a:lnTo>
                  <a:lnTo>
                    <a:pt x="413" y="228"/>
                  </a:lnTo>
                  <a:lnTo>
                    <a:pt x="413" y="230"/>
                  </a:lnTo>
                  <a:lnTo>
                    <a:pt x="413" y="230"/>
                  </a:lnTo>
                  <a:lnTo>
                    <a:pt x="411" y="232"/>
                  </a:lnTo>
                  <a:lnTo>
                    <a:pt x="407" y="234"/>
                  </a:lnTo>
                  <a:lnTo>
                    <a:pt x="403" y="238"/>
                  </a:lnTo>
                  <a:lnTo>
                    <a:pt x="401" y="238"/>
                  </a:lnTo>
                  <a:lnTo>
                    <a:pt x="401" y="240"/>
                  </a:lnTo>
                  <a:lnTo>
                    <a:pt x="401" y="244"/>
                  </a:lnTo>
                  <a:lnTo>
                    <a:pt x="399" y="244"/>
                  </a:lnTo>
                  <a:lnTo>
                    <a:pt x="397" y="244"/>
                  </a:lnTo>
                  <a:lnTo>
                    <a:pt x="395" y="244"/>
                  </a:lnTo>
                  <a:lnTo>
                    <a:pt x="393" y="244"/>
                  </a:lnTo>
                  <a:lnTo>
                    <a:pt x="393" y="242"/>
                  </a:lnTo>
                  <a:lnTo>
                    <a:pt x="391" y="242"/>
                  </a:lnTo>
                  <a:lnTo>
                    <a:pt x="391" y="240"/>
                  </a:lnTo>
                  <a:lnTo>
                    <a:pt x="393" y="238"/>
                  </a:lnTo>
                  <a:lnTo>
                    <a:pt x="393" y="236"/>
                  </a:lnTo>
                  <a:lnTo>
                    <a:pt x="393" y="234"/>
                  </a:lnTo>
                  <a:lnTo>
                    <a:pt x="393" y="234"/>
                  </a:lnTo>
                  <a:lnTo>
                    <a:pt x="393" y="232"/>
                  </a:lnTo>
                  <a:lnTo>
                    <a:pt x="395" y="232"/>
                  </a:lnTo>
                  <a:lnTo>
                    <a:pt x="395" y="232"/>
                  </a:lnTo>
                  <a:lnTo>
                    <a:pt x="393" y="230"/>
                  </a:lnTo>
                  <a:lnTo>
                    <a:pt x="393" y="230"/>
                  </a:lnTo>
                  <a:lnTo>
                    <a:pt x="393" y="226"/>
                  </a:lnTo>
                  <a:lnTo>
                    <a:pt x="395" y="226"/>
                  </a:lnTo>
                  <a:lnTo>
                    <a:pt x="395" y="224"/>
                  </a:lnTo>
                  <a:lnTo>
                    <a:pt x="397" y="222"/>
                  </a:lnTo>
                  <a:lnTo>
                    <a:pt x="397" y="222"/>
                  </a:lnTo>
                  <a:lnTo>
                    <a:pt x="397" y="220"/>
                  </a:lnTo>
                  <a:lnTo>
                    <a:pt x="397" y="220"/>
                  </a:lnTo>
                  <a:lnTo>
                    <a:pt x="397" y="218"/>
                  </a:lnTo>
                  <a:lnTo>
                    <a:pt x="399" y="218"/>
                  </a:lnTo>
                  <a:lnTo>
                    <a:pt x="399" y="216"/>
                  </a:lnTo>
                  <a:lnTo>
                    <a:pt x="403" y="209"/>
                  </a:lnTo>
                  <a:lnTo>
                    <a:pt x="403" y="207"/>
                  </a:lnTo>
                  <a:lnTo>
                    <a:pt x="403" y="205"/>
                  </a:lnTo>
                  <a:lnTo>
                    <a:pt x="403" y="201"/>
                  </a:lnTo>
                  <a:lnTo>
                    <a:pt x="407" y="199"/>
                  </a:lnTo>
                  <a:lnTo>
                    <a:pt x="413" y="197"/>
                  </a:lnTo>
                  <a:lnTo>
                    <a:pt x="415" y="197"/>
                  </a:lnTo>
                  <a:lnTo>
                    <a:pt x="417" y="195"/>
                  </a:lnTo>
                  <a:lnTo>
                    <a:pt x="417" y="193"/>
                  </a:lnTo>
                  <a:lnTo>
                    <a:pt x="417" y="191"/>
                  </a:lnTo>
                  <a:lnTo>
                    <a:pt x="417" y="189"/>
                  </a:lnTo>
                  <a:lnTo>
                    <a:pt x="417" y="189"/>
                  </a:lnTo>
                  <a:lnTo>
                    <a:pt x="417" y="187"/>
                  </a:lnTo>
                  <a:lnTo>
                    <a:pt x="419" y="185"/>
                  </a:lnTo>
                  <a:lnTo>
                    <a:pt x="419" y="183"/>
                  </a:lnTo>
                  <a:lnTo>
                    <a:pt x="415" y="183"/>
                  </a:lnTo>
                  <a:lnTo>
                    <a:pt x="413" y="181"/>
                  </a:lnTo>
                  <a:lnTo>
                    <a:pt x="413" y="181"/>
                  </a:lnTo>
                  <a:lnTo>
                    <a:pt x="413" y="181"/>
                  </a:lnTo>
                  <a:lnTo>
                    <a:pt x="411" y="179"/>
                  </a:lnTo>
                  <a:lnTo>
                    <a:pt x="411" y="177"/>
                  </a:lnTo>
                  <a:lnTo>
                    <a:pt x="409" y="177"/>
                  </a:lnTo>
                  <a:lnTo>
                    <a:pt x="409" y="175"/>
                  </a:lnTo>
                  <a:lnTo>
                    <a:pt x="407" y="175"/>
                  </a:lnTo>
                  <a:lnTo>
                    <a:pt x="407" y="170"/>
                  </a:lnTo>
                  <a:lnTo>
                    <a:pt x="409" y="170"/>
                  </a:lnTo>
                  <a:lnTo>
                    <a:pt x="409" y="166"/>
                  </a:lnTo>
                  <a:lnTo>
                    <a:pt x="411" y="160"/>
                  </a:lnTo>
                  <a:lnTo>
                    <a:pt x="411" y="160"/>
                  </a:lnTo>
                  <a:lnTo>
                    <a:pt x="413" y="158"/>
                  </a:lnTo>
                  <a:lnTo>
                    <a:pt x="413" y="158"/>
                  </a:lnTo>
                  <a:lnTo>
                    <a:pt x="413" y="158"/>
                  </a:lnTo>
                  <a:lnTo>
                    <a:pt x="413" y="156"/>
                  </a:lnTo>
                  <a:lnTo>
                    <a:pt x="411" y="156"/>
                  </a:lnTo>
                  <a:lnTo>
                    <a:pt x="411" y="156"/>
                  </a:lnTo>
                  <a:lnTo>
                    <a:pt x="411" y="154"/>
                  </a:lnTo>
                  <a:lnTo>
                    <a:pt x="409" y="154"/>
                  </a:lnTo>
                  <a:lnTo>
                    <a:pt x="409" y="154"/>
                  </a:lnTo>
                  <a:lnTo>
                    <a:pt x="409" y="154"/>
                  </a:lnTo>
                  <a:lnTo>
                    <a:pt x="403" y="158"/>
                  </a:lnTo>
                  <a:lnTo>
                    <a:pt x="403" y="158"/>
                  </a:lnTo>
                  <a:lnTo>
                    <a:pt x="403" y="158"/>
                  </a:lnTo>
                  <a:lnTo>
                    <a:pt x="401" y="158"/>
                  </a:lnTo>
                  <a:lnTo>
                    <a:pt x="399" y="158"/>
                  </a:lnTo>
                  <a:lnTo>
                    <a:pt x="399" y="158"/>
                  </a:lnTo>
                  <a:lnTo>
                    <a:pt x="399" y="158"/>
                  </a:lnTo>
                  <a:lnTo>
                    <a:pt x="399" y="158"/>
                  </a:lnTo>
                  <a:lnTo>
                    <a:pt x="397" y="160"/>
                  </a:lnTo>
                  <a:lnTo>
                    <a:pt x="397" y="160"/>
                  </a:lnTo>
                  <a:lnTo>
                    <a:pt x="395" y="158"/>
                  </a:lnTo>
                  <a:lnTo>
                    <a:pt x="395" y="158"/>
                  </a:lnTo>
                  <a:lnTo>
                    <a:pt x="395" y="158"/>
                  </a:lnTo>
                  <a:lnTo>
                    <a:pt x="395" y="156"/>
                  </a:lnTo>
                  <a:lnTo>
                    <a:pt x="395" y="154"/>
                  </a:lnTo>
                  <a:lnTo>
                    <a:pt x="395" y="154"/>
                  </a:lnTo>
                  <a:lnTo>
                    <a:pt x="395" y="152"/>
                  </a:lnTo>
                  <a:lnTo>
                    <a:pt x="395" y="152"/>
                  </a:lnTo>
                  <a:lnTo>
                    <a:pt x="395" y="150"/>
                  </a:lnTo>
                  <a:lnTo>
                    <a:pt x="395" y="150"/>
                  </a:lnTo>
                  <a:lnTo>
                    <a:pt x="395" y="150"/>
                  </a:lnTo>
                  <a:lnTo>
                    <a:pt x="397" y="148"/>
                  </a:lnTo>
                  <a:lnTo>
                    <a:pt x="399" y="148"/>
                  </a:lnTo>
                  <a:lnTo>
                    <a:pt x="399" y="146"/>
                  </a:lnTo>
                  <a:lnTo>
                    <a:pt x="399" y="146"/>
                  </a:lnTo>
                  <a:lnTo>
                    <a:pt x="399" y="144"/>
                  </a:lnTo>
                  <a:lnTo>
                    <a:pt x="399" y="144"/>
                  </a:lnTo>
                  <a:lnTo>
                    <a:pt x="399" y="144"/>
                  </a:lnTo>
                  <a:lnTo>
                    <a:pt x="399" y="144"/>
                  </a:lnTo>
                  <a:lnTo>
                    <a:pt x="399" y="140"/>
                  </a:lnTo>
                  <a:lnTo>
                    <a:pt x="397" y="138"/>
                  </a:lnTo>
                  <a:lnTo>
                    <a:pt x="397" y="138"/>
                  </a:lnTo>
                  <a:lnTo>
                    <a:pt x="397" y="136"/>
                  </a:lnTo>
                  <a:lnTo>
                    <a:pt x="399" y="136"/>
                  </a:lnTo>
                  <a:lnTo>
                    <a:pt x="399" y="136"/>
                  </a:lnTo>
                  <a:lnTo>
                    <a:pt x="399" y="136"/>
                  </a:lnTo>
                  <a:lnTo>
                    <a:pt x="399" y="136"/>
                  </a:lnTo>
                  <a:lnTo>
                    <a:pt x="399" y="134"/>
                  </a:lnTo>
                  <a:lnTo>
                    <a:pt x="399" y="134"/>
                  </a:lnTo>
                  <a:lnTo>
                    <a:pt x="399" y="132"/>
                  </a:lnTo>
                  <a:lnTo>
                    <a:pt x="399" y="132"/>
                  </a:lnTo>
                  <a:lnTo>
                    <a:pt x="397" y="129"/>
                  </a:lnTo>
                  <a:lnTo>
                    <a:pt x="397" y="127"/>
                  </a:lnTo>
                  <a:lnTo>
                    <a:pt x="397" y="127"/>
                  </a:lnTo>
                  <a:lnTo>
                    <a:pt x="397" y="127"/>
                  </a:lnTo>
                  <a:lnTo>
                    <a:pt x="397" y="125"/>
                  </a:lnTo>
                  <a:lnTo>
                    <a:pt x="397" y="125"/>
                  </a:lnTo>
                  <a:lnTo>
                    <a:pt x="397" y="125"/>
                  </a:lnTo>
                  <a:lnTo>
                    <a:pt x="397" y="125"/>
                  </a:lnTo>
                  <a:lnTo>
                    <a:pt x="397" y="125"/>
                  </a:lnTo>
                  <a:lnTo>
                    <a:pt x="397" y="123"/>
                  </a:lnTo>
                  <a:lnTo>
                    <a:pt x="395" y="123"/>
                  </a:lnTo>
                  <a:lnTo>
                    <a:pt x="395" y="121"/>
                  </a:lnTo>
                  <a:lnTo>
                    <a:pt x="393" y="121"/>
                  </a:lnTo>
                  <a:lnTo>
                    <a:pt x="391" y="121"/>
                  </a:lnTo>
                  <a:lnTo>
                    <a:pt x="391" y="119"/>
                  </a:lnTo>
                  <a:lnTo>
                    <a:pt x="391" y="119"/>
                  </a:lnTo>
                  <a:lnTo>
                    <a:pt x="389" y="119"/>
                  </a:lnTo>
                  <a:lnTo>
                    <a:pt x="389" y="119"/>
                  </a:lnTo>
                  <a:lnTo>
                    <a:pt x="389" y="117"/>
                  </a:lnTo>
                  <a:lnTo>
                    <a:pt x="389" y="117"/>
                  </a:lnTo>
                  <a:lnTo>
                    <a:pt x="385" y="117"/>
                  </a:lnTo>
                  <a:lnTo>
                    <a:pt x="382" y="117"/>
                  </a:lnTo>
                  <a:lnTo>
                    <a:pt x="382" y="117"/>
                  </a:lnTo>
                  <a:lnTo>
                    <a:pt x="382" y="117"/>
                  </a:lnTo>
                  <a:lnTo>
                    <a:pt x="382" y="117"/>
                  </a:lnTo>
                  <a:lnTo>
                    <a:pt x="380" y="115"/>
                  </a:lnTo>
                  <a:lnTo>
                    <a:pt x="380" y="115"/>
                  </a:lnTo>
                  <a:lnTo>
                    <a:pt x="380" y="115"/>
                  </a:lnTo>
                  <a:lnTo>
                    <a:pt x="380" y="115"/>
                  </a:lnTo>
                  <a:lnTo>
                    <a:pt x="378" y="117"/>
                  </a:lnTo>
                  <a:lnTo>
                    <a:pt x="376" y="117"/>
                  </a:lnTo>
                  <a:lnTo>
                    <a:pt x="376" y="117"/>
                  </a:lnTo>
                  <a:lnTo>
                    <a:pt x="374" y="117"/>
                  </a:lnTo>
                  <a:lnTo>
                    <a:pt x="374" y="115"/>
                  </a:lnTo>
                  <a:lnTo>
                    <a:pt x="372" y="115"/>
                  </a:lnTo>
                  <a:lnTo>
                    <a:pt x="372" y="115"/>
                  </a:lnTo>
                  <a:lnTo>
                    <a:pt x="370" y="115"/>
                  </a:lnTo>
                  <a:lnTo>
                    <a:pt x="370" y="113"/>
                  </a:lnTo>
                  <a:lnTo>
                    <a:pt x="370" y="113"/>
                  </a:lnTo>
                  <a:lnTo>
                    <a:pt x="370" y="113"/>
                  </a:lnTo>
                  <a:lnTo>
                    <a:pt x="370" y="111"/>
                  </a:lnTo>
                  <a:lnTo>
                    <a:pt x="372" y="109"/>
                  </a:lnTo>
                  <a:lnTo>
                    <a:pt x="372" y="109"/>
                  </a:lnTo>
                  <a:lnTo>
                    <a:pt x="372" y="109"/>
                  </a:lnTo>
                  <a:lnTo>
                    <a:pt x="372" y="107"/>
                  </a:lnTo>
                  <a:lnTo>
                    <a:pt x="372" y="107"/>
                  </a:lnTo>
                  <a:lnTo>
                    <a:pt x="370" y="103"/>
                  </a:lnTo>
                  <a:lnTo>
                    <a:pt x="370" y="103"/>
                  </a:lnTo>
                  <a:lnTo>
                    <a:pt x="368" y="101"/>
                  </a:lnTo>
                  <a:lnTo>
                    <a:pt x="368" y="101"/>
                  </a:lnTo>
                  <a:lnTo>
                    <a:pt x="366" y="101"/>
                  </a:lnTo>
                  <a:lnTo>
                    <a:pt x="364" y="101"/>
                  </a:lnTo>
                  <a:lnTo>
                    <a:pt x="364" y="99"/>
                  </a:lnTo>
                  <a:lnTo>
                    <a:pt x="364" y="99"/>
                  </a:lnTo>
                  <a:lnTo>
                    <a:pt x="362" y="101"/>
                  </a:lnTo>
                  <a:lnTo>
                    <a:pt x="362" y="101"/>
                  </a:lnTo>
                  <a:lnTo>
                    <a:pt x="362" y="101"/>
                  </a:lnTo>
                  <a:lnTo>
                    <a:pt x="360" y="101"/>
                  </a:lnTo>
                  <a:lnTo>
                    <a:pt x="358" y="99"/>
                  </a:lnTo>
                  <a:lnTo>
                    <a:pt x="358" y="99"/>
                  </a:lnTo>
                  <a:lnTo>
                    <a:pt x="356" y="99"/>
                  </a:lnTo>
                  <a:lnTo>
                    <a:pt x="354" y="99"/>
                  </a:lnTo>
                  <a:lnTo>
                    <a:pt x="354" y="99"/>
                  </a:lnTo>
                  <a:lnTo>
                    <a:pt x="352" y="99"/>
                  </a:lnTo>
                  <a:lnTo>
                    <a:pt x="350" y="97"/>
                  </a:lnTo>
                  <a:lnTo>
                    <a:pt x="350" y="97"/>
                  </a:lnTo>
                  <a:lnTo>
                    <a:pt x="350" y="97"/>
                  </a:lnTo>
                  <a:lnTo>
                    <a:pt x="348" y="99"/>
                  </a:lnTo>
                  <a:lnTo>
                    <a:pt x="346" y="99"/>
                  </a:lnTo>
                  <a:lnTo>
                    <a:pt x="346" y="99"/>
                  </a:lnTo>
                  <a:lnTo>
                    <a:pt x="344" y="97"/>
                  </a:lnTo>
                  <a:lnTo>
                    <a:pt x="342" y="97"/>
                  </a:lnTo>
                  <a:lnTo>
                    <a:pt x="342" y="97"/>
                  </a:lnTo>
                  <a:lnTo>
                    <a:pt x="342" y="97"/>
                  </a:lnTo>
                  <a:lnTo>
                    <a:pt x="342" y="97"/>
                  </a:lnTo>
                  <a:lnTo>
                    <a:pt x="339" y="97"/>
                  </a:lnTo>
                  <a:lnTo>
                    <a:pt x="339" y="97"/>
                  </a:lnTo>
                  <a:lnTo>
                    <a:pt x="337" y="97"/>
                  </a:lnTo>
                  <a:lnTo>
                    <a:pt x="337" y="95"/>
                  </a:lnTo>
                  <a:lnTo>
                    <a:pt x="335" y="95"/>
                  </a:lnTo>
                  <a:lnTo>
                    <a:pt x="335" y="97"/>
                  </a:lnTo>
                  <a:lnTo>
                    <a:pt x="335" y="97"/>
                  </a:lnTo>
                  <a:lnTo>
                    <a:pt x="333" y="97"/>
                  </a:lnTo>
                  <a:lnTo>
                    <a:pt x="333" y="97"/>
                  </a:lnTo>
                  <a:lnTo>
                    <a:pt x="333" y="97"/>
                  </a:lnTo>
                  <a:lnTo>
                    <a:pt x="333" y="97"/>
                  </a:lnTo>
                  <a:lnTo>
                    <a:pt x="331" y="97"/>
                  </a:lnTo>
                  <a:lnTo>
                    <a:pt x="331" y="97"/>
                  </a:lnTo>
                  <a:lnTo>
                    <a:pt x="329" y="99"/>
                  </a:lnTo>
                  <a:lnTo>
                    <a:pt x="329" y="99"/>
                  </a:lnTo>
                  <a:lnTo>
                    <a:pt x="329" y="99"/>
                  </a:lnTo>
                  <a:lnTo>
                    <a:pt x="325" y="97"/>
                  </a:lnTo>
                  <a:lnTo>
                    <a:pt x="323" y="97"/>
                  </a:lnTo>
                  <a:lnTo>
                    <a:pt x="323" y="97"/>
                  </a:lnTo>
                  <a:lnTo>
                    <a:pt x="321" y="97"/>
                  </a:lnTo>
                  <a:lnTo>
                    <a:pt x="321" y="97"/>
                  </a:lnTo>
                  <a:lnTo>
                    <a:pt x="321" y="97"/>
                  </a:lnTo>
                  <a:lnTo>
                    <a:pt x="319" y="97"/>
                  </a:lnTo>
                  <a:lnTo>
                    <a:pt x="319" y="97"/>
                  </a:lnTo>
                  <a:lnTo>
                    <a:pt x="317" y="97"/>
                  </a:lnTo>
                  <a:lnTo>
                    <a:pt x="317" y="97"/>
                  </a:lnTo>
                  <a:lnTo>
                    <a:pt x="317" y="97"/>
                  </a:lnTo>
                  <a:lnTo>
                    <a:pt x="315" y="97"/>
                  </a:lnTo>
                  <a:lnTo>
                    <a:pt x="315" y="97"/>
                  </a:lnTo>
                  <a:lnTo>
                    <a:pt x="313" y="97"/>
                  </a:lnTo>
                  <a:lnTo>
                    <a:pt x="313" y="97"/>
                  </a:lnTo>
                  <a:lnTo>
                    <a:pt x="311" y="97"/>
                  </a:lnTo>
                  <a:lnTo>
                    <a:pt x="307" y="95"/>
                  </a:lnTo>
                  <a:lnTo>
                    <a:pt x="301" y="93"/>
                  </a:lnTo>
                  <a:lnTo>
                    <a:pt x="296" y="91"/>
                  </a:lnTo>
                  <a:lnTo>
                    <a:pt x="292" y="88"/>
                  </a:lnTo>
                  <a:lnTo>
                    <a:pt x="290" y="88"/>
                  </a:lnTo>
                  <a:lnTo>
                    <a:pt x="286" y="86"/>
                  </a:lnTo>
                  <a:lnTo>
                    <a:pt x="286" y="86"/>
                  </a:lnTo>
                  <a:lnTo>
                    <a:pt x="284" y="86"/>
                  </a:lnTo>
                  <a:lnTo>
                    <a:pt x="280" y="86"/>
                  </a:lnTo>
                  <a:lnTo>
                    <a:pt x="276" y="84"/>
                  </a:lnTo>
                  <a:lnTo>
                    <a:pt x="270" y="84"/>
                  </a:lnTo>
                  <a:lnTo>
                    <a:pt x="264" y="84"/>
                  </a:lnTo>
                  <a:lnTo>
                    <a:pt x="258" y="82"/>
                  </a:lnTo>
                  <a:lnTo>
                    <a:pt x="249" y="82"/>
                  </a:lnTo>
                  <a:lnTo>
                    <a:pt x="243" y="80"/>
                  </a:lnTo>
                  <a:lnTo>
                    <a:pt x="237" y="78"/>
                  </a:lnTo>
                  <a:lnTo>
                    <a:pt x="229" y="78"/>
                  </a:lnTo>
                  <a:lnTo>
                    <a:pt x="225" y="76"/>
                  </a:lnTo>
                  <a:lnTo>
                    <a:pt x="219" y="76"/>
                  </a:lnTo>
                  <a:lnTo>
                    <a:pt x="217" y="76"/>
                  </a:lnTo>
                  <a:lnTo>
                    <a:pt x="213" y="76"/>
                  </a:lnTo>
                  <a:lnTo>
                    <a:pt x="213" y="76"/>
                  </a:lnTo>
                  <a:lnTo>
                    <a:pt x="210" y="74"/>
                  </a:lnTo>
                  <a:lnTo>
                    <a:pt x="210" y="74"/>
                  </a:lnTo>
                  <a:lnTo>
                    <a:pt x="210" y="74"/>
                  </a:lnTo>
                  <a:lnTo>
                    <a:pt x="208" y="72"/>
                  </a:lnTo>
                  <a:lnTo>
                    <a:pt x="206" y="70"/>
                  </a:lnTo>
                  <a:lnTo>
                    <a:pt x="204" y="66"/>
                  </a:lnTo>
                  <a:lnTo>
                    <a:pt x="204" y="62"/>
                  </a:lnTo>
                  <a:lnTo>
                    <a:pt x="202" y="60"/>
                  </a:lnTo>
                  <a:lnTo>
                    <a:pt x="202" y="60"/>
                  </a:lnTo>
                  <a:lnTo>
                    <a:pt x="200" y="58"/>
                  </a:lnTo>
                  <a:lnTo>
                    <a:pt x="200" y="58"/>
                  </a:lnTo>
                  <a:lnTo>
                    <a:pt x="198" y="58"/>
                  </a:lnTo>
                  <a:lnTo>
                    <a:pt x="198" y="58"/>
                  </a:lnTo>
                  <a:lnTo>
                    <a:pt x="196" y="58"/>
                  </a:lnTo>
                  <a:lnTo>
                    <a:pt x="196" y="58"/>
                  </a:lnTo>
                  <a:lnTo>
                    <a:pt x="196" y="56"/>
                  </a:lnTo>
                  <a:lnTo>
                    <a:pt x="194" y="56"/>
                  </a:lnTo>
                  <a:lnTo>
                    <a:pt x="194" y="56"/>
                  </a:lnTo>
                  <a:lnTo>
                    <a:pt x="192" y="56"/>
                  </a:lnTo>
                  <a:lnTo>
                    <a:pt x="192" y="54"/>
                  </a:lnTo>
                  <a:lnTo>
                    <a:pt x="192" y="54"/>
                  </a:lnTo>
                  <a:lnTo>
                    <a:pt x="190" y="54"/>
                  </a:lnTo>
                  <a:lnTo>
                    <a:pt x="190" y="56"/>
                  </a:lnTo>
                  <a:lnTo>
                    <a:pt x="188" y="56"/>
                  </a:lnTo>
                  <a:lnTo>
                    <a:pt x="188" y="56"/>
                  </a:lnTo>
                  <a:lnTo>
                    <a:pt x="188" y="56"/>
                  </a:lnTo>
                  <a:lnTo>
                    <a:pt x="186" y="56"/>
                  </a:lnTo>
                  <a:lnTo>
                    <a:pt x="186" y="56"/>
                  </a:lnTo>
                  <a:lnTo>
                    <a:pt x="186" y="54"/>
                  </a:lnTo>
                  <a:lnTo>
                    <a:pt x="186" y="52"/>
                  </a:lnTo>
                  <a:lnTo>
                    <a:pt x="186" y="52"/>
                  </a:lnTo>
                  <a:lnTo>
                    <a:pt x="184" y="54"/>
                  </a:lnTo>
                  <a:lnTo>
                    <a:pt x="182" y="54"/>
                  </a:lnTo>
                  <a:lnTo>
                    <a:pt x="180" y="52"/>
                  </a:lnTo>
                  <a:lnTo>
                    <a:pt x="174" y="50"/>
                  </a:lnTo>
                  <a:lnTo>
                    <a:pt x="165" y="47"/>
                  </a:lnTo>
                  <a:lnTo>
                    <a:pt x="159" y="43"/>
                  </a:lnTo>
                  <a:lnTo>
                    <a:pt x="157" y="41"/>
                  </a:lnTo>
                  <a:lnTo>
                    <a:pt x="159" y="41"/>
                  </a:lnTo>
                  <a:lnTo>
                    <a:pt x="159" y="43"/>
                  </a:lnTo>
                  <a:lnTo>
                    <a:pt x="159" y="43"/>
                  </a:lnTo>
                  <a:lnTo>
                    <a:pt x="159" y="43"/>
                  </a:lnTo>
                  <a:lnTo>
                    <a:pt x="157" y="43"/>
                  </a:lnTo>
                  <a:lnTo>
                    <a:pt x="157" y="45"/>
                  </a:lnTo>
                  <a:lnTo>
                    <a:pt x="157" y="45"/>
                  </a:lnTo>
                  <a:lnTo>
                    <a:pt x="159" y="45"/>
                  </a:lnTo>
                  <a:lnTo>
                    <a:pt x="159" y="47"/>
                  </a:lnTo>
                  <a:lnTo>
                    <a:pt x="157" y="50"/>
                  </a:lnTo>
                  <a:lnTo>
                    <a:pt x="147" y="54"/>
                  </a:lnTo>
                  <a:lnTo>
                    <a:pt x="145" y="54"/>
                  </a:lnTo>
                  <a:lnTo>
                    <a:pt x="143" y="54"/>
                  </a:lnTo>
                  <a:lnTo>
                    <a:pt x="145" y="52"/>
                  </a:lnTo>
                  <a:lnTo>
                    <a:pt x="145" y="50"/>
                  </a:lnTo>
                  <a:lnTo>
                    <a:pt x="149" y="43"/>
                  </a:lnTo>
                  <a:lnTo>
                    <a:pt x="149" y="41"/>
                  </a:lnTo>
                  <a:lnTo>
                    <a:pt x="149" y="41"/>
                  </a:lnTo>
                  <a:lnTo>
                    <a:pt x="149" y="39"/>
                  </a:lnTo>
                  <a:lnTo>
                    <a:pt x="149" y="39"/>
                  </a:lnTo>
                  <a:lnTo>
                    <a:pt x="149" y="37"/>
                  </a:lnTo>
                  <a:lnTo>
                    <a:pt x="149" y="35"/>
                  </a:lnTo>
                  <a:lnTo>
                    <a:pt x="149" y="33"/>
                  </a:lnTo>
                  <a:lnTo>
                    <a:pt x="151" y="31"/>
                  </a:lnTo>
                  <a:lnTo>
                    <a:pt x="151" y="31"/>
                  </a:lnTo>
                  <a:lnTo>
                    <a:pt x="153" y="25"/>
                  </a:lnTo>
                  <a:lnTo>
                    <a:pt x="155" y="25"/>
                  </a:lnTo>
                  <a:lnTo>
                    <a:pt x="155" y="23"/>
                  </a:lnTo>
                  <a:lnTo>
                    <a:pt x="153" y="23"/>
                  </a:lnTo>
                  <a:lnTo>
                    <a:pt x="155" y="21"/>
                  </a:lnTo>
                  <a:lnTo>
                    <a:pt x="155" y="21"/>
                  </a:lnTo>
                  <a:lnTo>
                    <a:pt x="155" y="21"/>
                  </a:lnTo>
                  <a:lnTo>
                    <a:pt x="153" y="19"/>
                  </a:lnTo>
                  <a:lnTo>
                    <a:pt x="153" y="17"/>
                  </a:lnTo>
                  <a:lnTo>
                    <a:pt x="153" y="17"/>
                  </a:lnTo>
                  <a:lnTo>
                    <a:pt x="151" y="17"/>
                  </a:lnTo>
                  <a:lnTo>
                    <a:pt x="149" y="17"/>
                  </a:lnTo>
                  <a:lnTo>
                    <a:pt x="149" y="17"/>
                  </a:lnTo>
                  <a:lnTo>
                    <a:pt x="149" y="15"/>
                  </a:lnTo>
                  <a:lnTo>
                    <a:pt x="149" y="15"/>
                  </a:lnTo>
                  <a:lnTo>
                    <a:pt x="149" y="15"/>
                  </a:lnTo>
                  <a:lnTo>
                    <a:pt x="147" y="15"/>
                  </a:lnTo>
                  <a:lnTo>
                    <a:pt x="147" y="15"/>
                  </a:lnTo>
                  <a:lnTo>
                    <a:pt x="145" y="15"/>
                  </a:lnTo>
                  <a:lnTo>
                    <a:pt x="145" y="17"/>
                  </a:lnTo>
                  <a:lnTo>
                    <a:pt x="145" y="17"/>
                  </a:lnTo>
                  <a:lnTo>
                    <a:pt x="145" y="17"/>
                  </a:lnTo>
                  <a:lnTo>
                    <a:pt x="145" y="17"/>
                  </a:lnTo>
                  <a:lnTo>
                    <a:pt x="143" y="19"/>
                  </a:lnTo>
                  <a:lnTo>
                    <a:pt x="143" y="19"/>
                  </a:lnTo>
                  <a:lnTo>
                    <a:pt x="141" y="19"/>
                  </a:lnTo>
                  <a:lnTo>
                    <a:pt x="141" y="17"/>
                  </a:lnTo>
                  <a:lnTo>
                    <a:pt x="139" y="17"/>
                  </a:lnTo>
                  <a:lnTo>
                    <a:pt x="139" y="19"/>
                  </a:lnTo>
                  <a:lnTo>
                    <a:pt x="139" y="19"/>
                  </a:lnTo>
                  <a:lnTo>
                    <a:pt x="139" y="19"/>
                  </a:lnTo>
                  <a:lnTo>
                    <a:pt x="139" y="19"/>
                  </a:lnTo>
                  <a:lnTo>
                    <a:pt x="135" y="21"/>
                  </a:lnTo>
                  <a:lnTo>
                    <a:pt x="135" y="21"/>
                  </a:lnTo>
                  <a:lnTo>
                    <a:pt x="133" y="23"/>
                  </a:lnTo>
                  <a:lnTo>
                    <a:pt x="133" y="23"/>
                  </a:lnTo>
                  <a:lnTo>
                    <a:pt x="133" y="23"/>
                  </a:lnTo>
                  <a:lnTo>
                    <a:pt x="133" y="23"/>
                  </a:lnTo>
                  <a:lnTo>
                    <a:pt x="131" y="25"/>
                  </a:lnTo>
                  <a:lnTo>
                    <a:pt x="131" y="25"/>
                  </a:lnTo>
                  <a:lnTo>
                    <a:pt x="131" y="25"/>
                  </a:lnTo>
                  <a:lnTo>
                    <a:pt x="129" y="27"/>
                  </a:lnTo>
                  <a:lnTo>
                    <a:pt x="129" y="27"/>
                  </a:lnTo>
                  <a:lnTo>
                    <a:pt x="126" y="27"/>
                  </a:lnTo>
                  <a:lnTo>
                    <a:pt x="126" y="27"/>
                  </a:lnTo>
                  <a:lnTo>
                    <a:pt x="126" y="27"/>
                  </a:lnTo>
                  <a:lnTo>
                    <a:pt x="126" y="27"/>
                  </a:lnTo>
                  <a:lnTo>
                    <a:pt x="126" y="25"/>
                  </a:lnTo>
                  <a:lnTo>
                    <a:pt x="124" y="27"/>
                  </a:lnTo>
                  <a:lnTo>
                    <a:pt x="122" y="29"/>
                  </a:lnTo>
                  <a:lnTo>
                    <a:pt x="122" y="27"/>
                  </a:lnTo>
                  <a:lnTo>
                    <a:pt x="122" y="25"/>
                  </a:lnTo>
                  <a:lnTo>
                    <a:pt x="120" y="27"/>
                  </a:lnTo>
                  <a:lnTo>
                    <a:pt x="116" y="29"/>
                  </a:lnTo>
                  <a:lnTo>
                    <a:pt x="110" y="33"/>
                  </a:lnTo>
                  <a:lnTo>
                    <a:pt x="108" y="37"/>
                  </a:lnTo>
                  <a:lnTo>
                    <a:pt x="106" y="37"/>
                  </a:lnTo>
                  <a:lnTo>
                    <a:pt x="100" y="39"/>
                  </a:lnTo>
                  <a:lnTo>
                    <a:pt x="94" y="41"/>
                  </a:lnTo>
                  <a:lnTo>
                    <a:pt x="77" y="47"/>
                  </a:lnTo>
                  <a:lnTo>
                    <a:pt x="67" y="50"/>
                  </a:lnTo>
                  <a:lnTo>
                    <a:pt x="65" y="50"/>
                  </a:lnTo>
                  <a:lnTo>
                    <a:pt x="59" y="47"/>
                  </a:lnTo>
                  <a:lnTo>
                    <a:pt x="59" y="47"/>
                  </a:lnTo>
                  <a:lnTo>
                    <a:pt x="57" y="47"/>
                  </a:lnTo>
                  <a:lnTo>
                    <a:pt x="55" y="45"/>
                  </a:lnTo>
                  <a:lnTo>
                    <a:pt x="53" y="43"/>
                  </a:lnTo>
                  <a:lnTo>
                    <a:pt x="53" y="43"/>
                  </a:lnTo>
                  <a:lnTo>
                    <a:pt x="53" y="43"/>
                  </a:lnTo>
                  <a:lnTo>
                    <a:pt x="51" y="45"/>
                  </a:lnTo>
                  <a:lnTo>
                    <a:pt x="51" y="45"/>
                  </a:lnTo>
                  <a:lnTo>
                    <a:pt x="49" y="47"/>
                  </a:lnTo>
                  <a:lnTo>
                    <a:pt x="49" y="47"/>
                  </a:lnTo>
                  <a:lnTo>
                    <a:pt x="49" y="47"/>
                  </a:lnTo>
                  <a:lnTo>
                    <a:pt x="49" y="47"/>
                  </a:lnTo>
                  <a:lnTo>
                    <a:pt x="47" y="50"/>
                  </a:lnTo>
                  <a:lnTo>
                    <a:pt x="47" y="50"/>
                  </a:lnTo>
                  <a:lnTo>
                    <a:pt x="47" y="50"/>
                  </a:lnTo>
                  <a:lnTo>
                    <a:pt x="47" y="50"/>
                  </a:lnTo>
                  <a:lnTo>
                    <a:pt x="47" y="52"/>
                  </a:lnTo>
                  <a:lnTo>
                    <a:pt x="47" y="54"/>
                  </a:lnTo>
                  <a:lnTo>
                    <a:pt x="47" y="54"/>
                  </a:lnTo>
                  <a:lnTo>
                    <a:pt x="47" y="54"/>
                  </a:lnTo>
                  <a:lnTo>
                    <a:pt x="45" y="54"/>
                  </a:lnTo>
                  <a:lnTo>
                    <a:pt x="45" y="56"/>
                  </a:lnTo>
                  <a:lnTo>
                    <a:pt x="45" y="56"/>
                  </a:lnTo>
                  <a:lnTo>
                    <a:pt x="43" y="56"/>
                  </a:lnTo>
                  <a:lnTo>
                    <a:pt x="40" y="56"/>
                  </a:lnTo>
                  <a:lnTo>
                    <a:pt x="40" y="56"/>
                  </a:lnTo>
                  <a:lnTo>
                    <a:pt x="40" y="56"/>
                  </a:lnTo>
                  <a:lnTo>
                    <a:pt x="40" y="56"/>
                  </a:lnTo>
                  <a:lnTo>
                    <a:pt x="40" y="58"/>
                  </a:lnTo>
                  <a:lnTo>
                    <a:pt x="40" y="64"/>
                  </a:lnTo>
                  <a:lnTo>
                    <a:pt x="40" y="70"/>
                  </a:lnTo>
                  <a:lnTo>
                    <a:pt x="40" y="78"/>
                  </a:lnTo>
                  <a:lnTo>
                    <a:pt x="43" y="84"/>
                  </a:lnTo>
                  <a:lnTo>
                    <a:pt x="43" y="91"/>
                  </a:lnTo>
                  <a:lnTo>
                    <a:pt x="43" y="97"/>
                  </a:lnTo>
                  <a:lnTo>
                    <a:pt x="43" y="103"/>
                  </a:lnTo>
                  <a:lnTo>
                    <a:pt x="43" y="111"/>
                  </a:lnTo>
                  <a:lnTo>
                    <a:pt x="43" y="111"/>
                  </a:lnTo>
                  <a:lnTo>
                    <a:pt x="45" y="115"/>
                  </a:lnTo>
                  <a:lnTo>
                    <a:pt x="43" y="115"/>
                  </a:lnTo>
                  <a:lnTo>
                    <a:pt x="40" y="117"/>
                  </a:lnTo>
                  <a:lnTo>
                    <a:pt x="40" y="117"/>
                  </a:lnTo>
                  <a:lnTo>
                    <a:pt x="40" y="119"/>
                  </a:lnTo>
                  <a:lnTo>
                    <a:pt x="38" y="121"/>
                  </a:lnTo>
                  <a:lnTo>
                    <a:pt x="38" y="121"/>
                  </a:lnTo>
                  <a:lnTo>
                    <a:pt x="36" y="121"/>
                  </a:lnTo>
                  <a:lnTo>
                    <a:pt x="34" y="121"/>
                  </a:lnTo>
                  <a:lnTo>
                    <a:pt x="34" y="121"/>
                  </a:lnTo>
                  <a:lnTo>
                    <a:pt x="32" y="121"/>
                  </a:lnTo>
                  <a:lnTo>
                    <a:pt x="30" y="125"/>
                  </a:lnTo>
                  <a:lnTo>
                    <a:pt x="30" y="125"/>
                  </a:lnTo>
                  <a:lnTo>
                    <a:pt x="26" y="125"/>
                  </a:lnTo>
                  <a:lnTo>
                    <a:pt x="26" y="125"/>
                  </a:lnTo>
                  <a:lnTo>
                    <a:pt x="26" y="127"/>
                  </a:lnTo>
                  <a:lnTo>
                    <a:pt x="24" y="127"/>
                  </a:lnTo>
                  <a:lnTo>
                    <a:pt x="24" y="127"/>
                  </a:lnTo>
                  <a:lnTo>
                    <a:pt x="24" y="127"/>
                  </a:lnTo>
                  <a:lnTo>
                    <a:pt x="24" y="129"/>
                  </a:lnTo>
                  <a:lnTo>
                    <a:pt x="24" y="129"/>
                  </a:lnTo>
                  <a:lnTo>
                    <a:pt x="22" y="129"/>
                  </a:lnTo>
                  <a:lnTo>
                    <a:pt x="20" y="129"/>
                  </a:lnTo>
                  <a:lnTo>
                    <a:pt x="16" y="134"/>
                  </a:lnTo>
                  <a:lnTo>
                    <a:pt x="16" y="134"/>
                  </a:lnTo>
                  <a:lnTo>
                    <a:pt x="14" y="136"/>
                  </a:lnTo>
                  <a:lnTo>
                    <a:pt x="12" y="138"/>
                  </a:lnTo>
                  <a:lnTo>
                    <a:pt x="8" y="144"/>
                  </a:lnTo>
                  <a:lnTo>
                    <a:pt x="8" y="146"/>
                  </a:lnTo>
                  <a:lnTo>
                    <a:pt x="6" y="150"/>
                  </a:lnTo>
                  <a:lnTo>
                    <a:pt x="0" y="156"/>
                  </a:lnTo>
                  <a:lnTo>
                    <a:pt x="0" y="158"/>
                  </a:lnTo>
                  <a:lnTo>
                    <a:pt x="0" y="160"/>
                  </a:lnTo>
                  <a:lnTo>
                    <a:pt x="0" y="166"/>
                  </a:lnTo>
                  <a:lnTo>
                    <a:pt x="2" y="170"/>
                  </a:lnTo>
                  <a:lnTo>
                    <a:pt x="4" y="170"/>
                  </a:lnTo>
                  <a:lnTo>
                    <a:pt x="8" y="170"/>
                  </a:lnTo>
                  <a:lnTo>
                    <a:pt x="12" y="173"/>
                  </a:lnTo>
                  <a:lnTo>
                    <a:pt x="12" y="173"/>
                  </a:lnTo>
                  <a:lnTo>
                    <a:pt x="14" y="177"/>
                  </a:lnTo>
                  <a:lnTo>
                    <a:pt x="14" y="179"/>
                  </a:lnTo>
                  <a:lnTo>
                    <a:pt x="16" y="181"/>
                  </a:lnTo>
                  <a:lnTo>
                    <a:pt x="18" y="183"/>
                  </a:lnTo>
                  <a:lnTo>
                    <a:pt x="18" y="183"/>
                  </a:lnTo>
                  <a:lnTo>
                    <a:pt x="20" y="185"/>
                  </a:lnTo>
                  <a:lnTo>
                    <a:pt x="20" y="187"/>
                  </a:lnTo>
                  <a:lnTo>
                    <a:pt x="18" y="191"/>
                  </a:lnTo>
                  <a:lnTo>
                    <a:pt x="16" y="193"/>
                  </a:lnTo>
                  <a:lnTo>
                    <a:pt x="16" y="195"/>
                  </a:lnTo>
                  <a:lnTo>
                    <a:pt x="16" y="197"/>
                  </a:lnTo>
                  <a:lnTo>
                    <a:pt x="14" y="197"/>
                  </a:lnTo>
                  <a:lnTo>
                    <a:pt x="14" y="199"/>
                  </a:lnTo>
                  <a:lnTo>
                    <a:pt x="12" y="201"/>
                  </a:lnTo>
                  <a:lnTo>
                    <a:pt x="12" y="203"/>
                  </a:lnTo>
                  <a:lnTo>
                    <a:pt x="14" y="207"/>
                  </a:lnTo>
                  <a:lnTo>
                    <a:pt x="12" y="209"/>
                  </a:lnTo>
                  <a:lnTo>
                    <a:pt x="12" y="211"/>
                  </a:lnTo>
                  <a:lnTo>
                    <a:pt x="12" y="211"/>
                  </a:lnTo>
                  <a:lnTo>
                    <a:pt x="14" y="216"/>
                  </a:lnTo>
                  <a:lnTo>
                    <a:pt x="14" y="218"/>
                  </a:lnTo>
                  <a:lnTo>
                    <a:pt x="14" y="220"/>
                  </a:lnTo>
                  <a:lnTo>
                    <a:pt x="14" y="220"/>
                  </a:lnTo>
                  <a:lnTo>
                    <a:pt x="12" y="222"/>
                  </a:lnTo>
                  <a:lnTo>
                    <a:pt x="12" y="222"/>
                  </a:lnTo>
                  <a:lnTo>
                    <a:pt x="12" y="224"/>
                  </a:lnTo>
                  <a:lnTo>
                    <a:pt x="14" y="230"/>
                  </a:lnTo>
                  <a:lnTo>
                    <a:pt x="14" y="234"/>
                  </a:lnTo>
                  <a:lnTo>
                    <a:pt x="16" y="238"/>
                  </a:lnTo>
                  <a:lnTo>
                    <a:pt x="16" y="238"/>
                  </a:lnTo>
                  <a:lnTo>
                    <a:pt x="14" y="240"/>
                  </a:lnTo>
                  <a:lnTo>
                    <a:pt x="14" y="242"/>
                  </a:lnTo>
                  <a:lnTo>
                    <a:pt x="14" y="244"/>
                  </a:lnTo>
                  <a:lnTo>
                    <a:pt x="14" y="246"/>
                  </a:lnTo>
                  <a:lnTo>
                    <a:pt x="14" y="248"/>
                  </a:lnTo>
                  <a:lnTo>
                    <a:pt x="12" y="257"/>
                  </a:lnTo>
                  <a:lnTo>
                    <a:pt x="14" y="259"/>
                  </a:lnTo>
                  <a:lnTo>
                    <a:pt x="18" y="261"/>
                  </a:lnTo>
                  <a:lnTo>
                    <a:pt x="24" y="265"/>
                  </a:lnTo>
                  <a:lnTo>
                    <a:pt x="26" y="267"/>
                  </a:lnTo>
                  <a:lnTo>
                    <a:pt x="26" y="267"/>
                  </a:lnTo>
                  <a:lnTo>
                    <a:pt x="28" y="269"/>
                  </a:lnTo>
                  <a:lnTo>
                    <a:pt x="28" y="269"/>
                  </a:lnTo>
                  <a:lnTo>
                    <a:pt x="32" y="271"/>
                  </a:lnTo>
                  <a:lnTo>
                    <a:pt x="45" y="271"/>
                  </a:lnTo>
                  <a:lnTo>
                    <a:pt x="47" y="273"/>
                  </a:lnTo>
                  <a:lnTo>
                    <a:pt x="49" y="275"/>
                  </a:lnTo>
                  <a:lnTo>
                    <a:pt x="53" y="277"/>
                  </a:lnTo>
                  <a:lnTo>
                    <a:pt x="55" y="281"/>
                  </a:lnTo>
                  <a:lnTo>
                    <a:pt x="55" y="283"/>
                  </a:lnTo>
                  <a:lnTo>
                    <a:pt x="57" y="283"/>
                  </a:lnTo>
                  <a:lnTo>
                    <a:pt x="57" y="283"/>
                  </a:lnTo>
                  <a:lnTo>
                    <a:pt x="67" y="285"/>
                  </a:lnTo>
                  <a:lnTo>
                    <a:pt x="71" y="285"/>
                  </a:lnTo>
                  <a:lnTo>
                    <a:pt x="83" y="295"/>
                  </a:lnTo>
                  <a:lnTo>
                    <a:pt x="88" y="300"/>
                  </a:lnTo>
                  <a:lnTo>
                    <a:pt x="94" y="310"/>
                  </a:lnTo>
                  <a:lnTo>
                    <a:pt x="96" y="312"/>
                  </a:lnTo>
                  <a:lnTo>
                    <a:pt x="98" y="314"/>
                  </a:lnTo>
                  <a:lnTo>
                    <a:pt x="108" y="322"/>
                  </a:lnTo>
                  <a:lnTo>
                    <a:pt x="110" y="322"/>
                  </a:lnTo>
                  <a:lnTo>
                    <a:pt x="110" y="322"/>
                  </a:lnTo>
                  <a:lnTo>
                    <a:pt x="118" y="322"/>
                  </a:lnTo>
                  <a:lnTo>
                    <a:pt x="118" y="322"/>
                  </a:lnTo>
                  <a:lnTo>
                    <a:pt x="124" y="324"/>
                  </a:lnTo>
                  <a:lnTo>
                    <a:pt x="124" y="324"/>
                  </a:lnTo>
                  <a:lnTo>
                    <a:pt x="124" y="324"/>
                  </a:lnTo>
                  <a:lnTo>
                    <a:pt x="129" y="324"/>
                  </a:lnTo>
                  <a:lnTo>
                    <a:pt x="129" y="326"/>
                  </a:lnTo>
                  <a:lnTo>
                    <a:pt x="129" y="326"/>
                  </a:lnTo>
                  <a:lnTo>
                    <a:pt x="131" y="326"/>
                  </a:lnTo>
                  <a:lnTo>
                    <a:pt x="131" y="326"/>
                  </a:lnTo>
                  <a:lnTo>
                    <a:pt x="131" y="328"/>
                  </a:lnTo>
                  <a:lnTo>
                    <a:pt x="131" y="330"/>
                  </a:lnTo>
                  <a:lnTo>
                    <a:pt x="133" y="332"/>
                  </a:lnTo>
                  <a:lnTo>
                    <a:pt x="133" y="332"/>
                  </a:lnTo>
                  <a:lnTo>
                    <a:pt x="137" y="334"/>
                  </a:lnTo>
                  <a:lnTo>
                    <a:pt x="139" y="334"/>
                  </a:lnTo>
                  <a:lnTo>
                    <a:pt x="139" y="334"/>
                  </a:lnTo>
                  <a:lnTo>
                    <a:pt x="139" y="336"/>
                  </a:lnTo>
                  <a:lnTo>
                    <a:pt x="141" y="336"/>
                  </a:lnTo>
                  <a:lnTo>
                    <a:pt x="141" y="341"/>
                  </a:lnTo>
                  <a:lnTo>
                    <a:pt x="141" y="343"/>
                  </a:lnTo>
                  <a:lnTo>
                    <a:pt x="141" y="345"/>
                  </a:lnTo>
                  <a:lnTo>
                    <a:pt x="141" y="347"/>
                  </a:lnTo>
                  <a:lnTo>
                    <a:pt x="141" y="347"/>
                  </a:lnTo>
                  <a:lnTo>
                    <a:pt x="141" y="349"/>
                  </a:lnTo>
                  <a:lnTo>
                    <a:pt x="143" y="349"/>
                  </a:lnTo>
                  <a:lnTo>
                    <a:pt x="143" y="349"/>
                  </a:lnTo>
                  <a:lnTo>
                    <a:pt x="145" y="351"/>
                  </a:lnTo>
                  <a:lnTo>
                    <a:pt x="145" y="351"/>
                  </a:lnTo>
                  <a:lnTo>
                    <a:pt x="145" y="353"/>
                  </a:lnTo>
                  <a:lnTo>
                    <a:pt x="145" y="355"/>
                  </a:lnTo>
                  <a:lnTo>
                    <a:pt x="145" y="361"/>
                  </a:lnTo>
                  <a:lnTo>
                    <a:pt x="145" y="363"/>
                  </a:lnTo>
                  <a:lnTo>
                    <a:pt x="145" y="365"/>
                  </a:lnTo>
                  <a:lnTo>
                    <a:pt x="145" y="365"/>
                  </a:lnTo>
                  <a:lnTo>
                    <a:pt x="145" y="369"/>
                  </a:lnTo>
                  <a:lnTo>
                    <a:pt x="145" y="371"/>
                  </a:lnTo>
                  <a:lnTo>
                    <a:pt x="147" y="373"/>
                  </a:lnTo>
                  <a:lnTo>
                    <a:pt x="147" y="375"/>
                  </a:lnTo>
                  <a:lnTo>
                    <a:pt x="147" y="375"/>
                  </a:lnTo>
                  <a:lnTo>
                    <a:pt x="147" y="379"/>
                  </a:lnTo>
                  <a:lnTo>
                    <a:pt x="147" y="379"/>
                  </a:lnTo>
                  <a:lnTo>
                    <a:pt x="147" y="379"/>
                  </a:lnTo>
                  <a:lnTo>
                    <a:pt x="147" y="382"/>
                  </a:lnTo>
                  <a:lnTo>
                    <a:pt x="147" y="384"/>
                  </a:lnTo>
                  <a:lnTo>
                    <a:pt x="147" y="384"/>
                  </a:lnTo>
                  <a:lnTo>
                    <a:pt x="149" y="386"/>
                  </a:lnTo>
                  <a:lnTo>
                    <a:pt x="149" y="388"/>
                  </a:lnTo>
                  <a:lnTo>
                    <a:pt x="149" y="388"/>
                  </a:lnTo>
                  <a:lnTo>
                    <a:pt x="149" y="392"/>
                  </a:lnTo>
                  <a:lnTo>
                    <a:pt x="151" y="392"/>
                  </a:lnTo>
                  <a:lnTo>
                    <a:pt x="151" y="392"/>
                  </a:lnTo>
                  <a:lnTo>
                    <a:pt x="159" y="394"/>
                  </a:lnTo>
                  <a:lnTo>
                    <a:pt x="161" y="396"/>
                  </a:lnTo>
                  <a:lnTo>
                    <a:pt x="161" y="400"/>
                  </a:lnTo>
                  <a:lnTo>
                    <a:pt x="159" y="404"/>
                  </a:lnTo>
                  <a:lnTo>
                    <a:pt x="157" y="410"/>
                  </a:lnTo>
                  <a:lnTo>
                    <a:pt x="155" y="414"/>
                  </a:lnTo>
                  <a:lnTo>
                    <a:pt x="157" y="420"/>
                  </a:lnTo>
                  <a:lnTo>
                    <a:pt x="157" y="425"/>
                  </a:lnTo>
                  <a:lnTo>
                    <a:pt x="157" y="429"/>
                  </a:lnTo>
                  <a:lnTo>
                    <a:pt x="157" y="431"/>
                  </a:lnTo>
                  <a:lnTo>
                    <a:pt x="159" y="431"/>
                  </a:lnTo>
                  <a:lnTo>
                    <a:pt x="159" y="437"/>
                  </a:lnTo>
                  <a:lnTo>
                    <a:pt x="159" y="439"/>
                  </a:lnTo>
                  <a:lnTo>
                    <a:pt x="161" y="439"/>
                  </a:lnTo>
                  <a:lnTo>
                    <a:pt x="163" y="443"/>
                  </a:lnTo>
                  <a:lnTo>
                    <a:pt x="163" y="443"/>
                  </a:lnTo>
                  <a:lnTo>
                    <a:pt x="165" y="445"/>
                  </a:lnTo>
                  <a:lnTo>
                    <a:pt x="165" y="451"/>
                  </a:lnTo>
                  <a:lnTo>
                    <a:pt x="165" y="451"/>
                  </a:lnTo>
                  <a:lnTo>
                    <a:pt x="169" y="457"/>
                  </a:lnTo>
                  <a:lnTo>
                    <a:pt x="169" y="459"/>
                  </a:lnTo>
                  <a:lnTo>
                    <a:pt x="172" y="459"/>
                  </a:lnTo>
                  <a:lnTo>
                    <a:pt x="176" y="461"/>
                  </a:lnTo>
                  <a:lnTo>
                    <a:pt x="190" y="461"/>
                  </a:lnTo>
                  <a:lnTo>
                    <a:pt x="194" y="464"/>
                  </a:lnTo>
                  <a:lnTo>
                    <a:pt x="196" y="464"/>
                  </a:lnTo>
                  <a:lnTo>
                    <a:pt x="198" y="464"/>
                  </a:lnTo>
                  <a:lnTo>
                    <a:pt x="198" y="466"/>
                  </a:lnTo>
                  <a:lnTo>
                    <a:pt x="200" y="470"/>
                  </a:lnTo>
                  <a:lnTo>
                    <a:pt x="202" y="472"/>
                  </a:lnTo>
                  <a:lnTo>
                    <a:pt x="204" y="474"/>
                  </a:lnTo>
                  <a:lnTo>
                    <a:pt x="204" y="476"/>
                  </a:lnTo>
                  <a:lnTo>
                    <a:pt x="204" y="476"/>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19" y="478"/>
                  </a:lnTo>
                  <a:lnTo>
                    <a:pt x="233" y="476"/>
                  </a:lnTo>
                  <a:lnTo>
                    <a:pt x="247" y="476"/>
                  </a:lnTo>
                  <a:lnTo>
                    <a:pt x="262" y="474"/>
                  </a:lnTo>
                  <a:lnTo>
                    <a:pt x="276" y="474"/>
                  </a:lnTo>
                  <a:lnTo>
                    <a:pt x="290" y="472"/>
                  </a:lnTo>
                  <a:lnTo>
                    <a:pt x="305" y="470"/>
                  </a:lnTo>
                  <a:lnTo>
                    <a:pt x="319" y="470"/>
                  </a:lnTo>
                  <a:lnTo>
                    <a:pt x="333" y="468"/>
                  </a:lnTo>
                  <a:lnTo>
                    <a:pt x="348" y="468"/>
                  </a:lnTo>
                  <a:lnTo>
                    <a:pt x="362" y="466"/>
                  </a:lnTo>
                  <a:lnTo>
                    <a:pt x="376" y="464"/>
                  </a:lnTo>
                  <a:lnTo>
                    <a:pt x="391" y="464"/>
                  </a:lnTo>
                  <a:lnTo>
                    <a:pt x="405" y="461"/>
                  </a:lnTo>
                  <a:lnTo>
                    <a:pt x="419" y="459"/>
                  </a:lnTo>
                  <a:lnTo>
                    <a:pt x="434" y="459"/>
                  </a:lnTo>
                  <a:lnTo>
                    <a:pt x="432" y="451"/>
                  </a:lnTo>
                  <a:lnTo>
                    <a:pt x="432" y="449"/>
                  </a:lnTo>
                  <a:lnTo>
                    <a:pt x="434" y="447"/>
                  </a:lnTo>
                  <a:lnTo>
                    <a:pt x="434" y="447"/>
                  </a:lnTo>
                  <a:lnTo>
                    <a:pt x="432" y="445"/>
                  </a:lnTo>
                  <a:lnTo>
                    <a:pt x="432" y="443"/>
                  </a:lnTo>
                  <a:lnTo>
                    <a:pt x="432" y="443"/>
                  </a:lnTo>
                  <a:lnTo>
                    <a:pt x="432" y="441"/>
                  </a:lnTo>
                  <a:lnTo>
                    <a:pt x="432" y="439"/>
                  </a:lnTo>
                  <a:lnTo>
                    <a:pt x="434" y="437"/>
                  </a:lnTo>
                  <a:lnTo>
                    <a:pt x="434" y="429"/>
                  </a:lnTo>
                  <a:lnTo>
                    <a:pt x="434" y="427"/>
                  </a:lnTo>
                  <a:lnTo>
                    <a:pt x="432" y="425"/>
                  </a:lnTo>
                  <a:lnTo>
                    <a:pt x="428" y="420"/>
                  </a:lnTo>
                  <a:lnTo>
                    <a:pt x="428" y="418"/>
                  </a:lnTo>
                  <a:lnTo>
                    <a:pt x="428" y="418"/>
                  </a:lnTo>
                  <a:lnTo>
                    <a:pt x="426" y="410"/>
                  </a:lnTo>
                  <a:lnTo>
                    <a:pt x="426" y="408"/>
                  </a:lnTo>
                  <a:lnTo>
                    <a:pt x="423" y="406"/>
                  </a:lnTo>
                  <a:lnTo>
                    <a:pt x="421" y="404"/>
                  </a:lnTo>
                  <a:lnTo>
                    <a:pt x="419" y="404"/>
                  </a:lnTo>
                  <a:lnTo>
                    <a:pt x="419" y="402"/>
                  </a:lnTo>
                  <a:lnTo>
                    <a:pt x="421" y="398"/>
                  </a:lnTo>
                  <a:lnTo>
                    <a:pt x="421" y="396"/>
                  </a:lnTo>
                  <a:lnTo>
                    <a:pt x="421" y="396"/>
                  </a:lnTo>
                  <a:lnTo>
                    <a:pt x="421" y="396"/>
                  </a:lnTo>
                  <a:lnTo>
                    <a:pt x="419" y="394"/>
                  </a:lnTo>
                  <a:lnTo>
                    <a:pt x="419" y="392"/>
                  </a:lnTo>
                  <a:lnTo>
                    <a:pt x="419" y="390"/>
                  </a:lnTo>
                  <a:lnTo>
                    <a:pt x="419" y="390"/>
                  </a:lnTo>
                  <a:lnTo>
                    <a:pt x="419" y="388"/>
                  </a:lnTo>
                  <a:lnTo>
                    <a:pt x="419" y="384"/>
                  </a:lnTo>
                  <a:lnTo>
                    <a:pt x="417" y="384"/>
                  </a:lnTo>
                  <a:lnTo>
                    <a:pt x="417" y="382"/>
                  </a:lnTo>
                  <a:lnTo>
                    <a:pt x="417" y="377"/>
                  </a:lnTo>
                  <a:lnTo>
                    <a:pt x="417" y="369"/>
                  </a:lnTo>
                  <a:lnTo>
                    <a:pt x="417" y="367"/>
                  </a:lnTo>
                  <a:lnTo>
                    <a:pt x="421" y="357"/>
                  </a:lnTo>
                  <a:lnTo>
                    <a:pt x="423" y="351"/>
                  </a:lnTo>
                  <a:lnTo>
                    <a:pt x="421" y="349"/>
                  </a:lnTo>
                  <a:lnTo>
                    <a:pt x="421" y="347"/>
                  </a:lnTo>
                  <a:lnTo>
                    <a:pt x="423" y="345"/>
                  </a:lnTo>
                  <a:lnTo>
                    <a:pt x="426" y="334"/>
                  </a:lnTo>
                  <a:lnTo>
                    <a:pt x="428" y="330"/>
                  </a:lnTo>
                  <a:lnTo>
                    <a:pt x="428" y="328"/>
                  </a:lnTo>
                  <a:lnTo>
                    <a:pt x="428" y="328"/>
                  </a:lnTo>
                  <a:lnTo>
                    <a:pt x="428" y="328"/>
                  </a:lnTo>
                  <a:lnTo>
                    <a:pt x="428" y="326"/>
                  </a:lnTo>
                  <a:lnTo>
                    <a:pt x="428" y="326"/>
                  </a:lnTo>
                  <a:lnTo>
                    <a:pt x="428" y="324"/>
                  </a:lnTo>
                  <a:lnTo>
                    <a:pt x="428" y="324"/>
                  </a:lnTo>
                  <a:lnTo>
                    <a:pt x="428" y="322"/>
                  </a:lnTo>
                  <a:lnTo>
                    <a:pt x="426" y="320"/>
                  </a:lnTo>
                  <a:lnTo>
                    <a:pt x="426" y="320"/>
                  </a:lnTo>
                  <a:lnTo>
                    <a:pt x="423" y="318"/>
                  </a:lnTo>
                  <a:lnTo>
                    <a:pt x="423" y="316"/>
                  </a:lnTo>
                  <a:lnTo>
                    <a:pt x="423" y="308"/>
                  </a:lnTo>
                  <a:lnTo>
                    <a:pt x="423" y="306"/>
                  </a:lnTo>
                  <a:lnTo>
                    <a:pt x="426" y="304"/>
                  </a:lnTo>
                  <a:lnTo>
                    <a:pt x="426" y="304"/>
                  </a:lnTo>
                  <a:lnTo>
                    <a:pt x="426" y="300"/>
                  </a:lnTo>
                  <a:lnTo>
                    <a:pt x="426" y="298"/>
                  </a:lnTo>
                  <a:lnTo>
                    <a:pt x="428" y="287"/>
                  </a:lnTo>
                  <a:lnTo>
                    <a:pt x="430" y="287"/>
                  </a:lnTo>
                  <a:lnTo>
                    <a:pt x="430" y="285"/>
                  </a:lnTo>
                  <a:lnTo>
                    <a:pt x="436" y="283"/>
                  </a:lnTo>
                  <a:lnTo>
                    <a:pt x="436" y="281"/>
                  </a:lnTo>
                  <a:lnTo>
                    <a:pt x="438" y="279"/>
                  </a:lnTo>
                  <a:lnTo>
                    <a:pt x="438" y="277"/>
                  </a:lnTo>
                  <a:lnTo>
                    <a:pt x="438" y="275"/>
                  </a:lnTo>
                  <a:lnTo>
                    <a:pt x="438" y="273"/>
                  </a:lnTo>
                  <a:lnTo>
                    <a:pt x="434" y="269"/>
                  </a:lnTo>
                  <a:lnTo>
                    <a:pt x="434" y="265"/>
                  </a:lnTo>
                  <a:lnTo>
                    <a:pt x="434" y="265"/>
                  </a:lnTo>
                  <a:lnTo>
                    <a:pt x="434" y="263"/>
                  </a:lnTo>
                  <a:lnTo>
                    <a:pt x="434" y="261"/>
                  </a:lnTo>
                  <a:lnTo>
                    <a:pt x="434" y="259"/>
                  </a:lnTo>
                  <a:lnTo>
                    <a:pt x="434" y="257"/>
                  </a:lnTo>
                  <a:lnTo>
                    <a:pt x="434" y="254"/>
                  </a:lnTo>
                  <a:lnTo>
                    <a:pt x="436" y="242"/>
                  </a:lnTo>
                  <a:lnTo>
                    <a:pt x="436" y="238"/>
                  </a:lnTo>
                  <a:lnTo>
                    <a:pt x="438" y="234"/>
                  </a:lnTo>
                  <a:lnTo>
                    <a:pt x="442" y="228"/>
                  </a:lnTo>
                  <a:lnTo>
                    <a:pt x="442" y="226"/>
                  </a:lnTo>
                  <a:lnTo>
                    <a:pt x="442" y="224"/>
                  </a:lnTo>
                  <a:lnTo>
                    <a:pt x="444" y="224"/>
                  </a:lnTo>
                  <a:lnTo>
                    <a:pt x="444" y="224"/>
                  </a:lnTo>
                  <a:lnTo>
                    <a:pt x="444" y="222"/>
                  </a:lnTo>
                  <a:lnTo>
                    <a:pt x="444" y="213"/>
                  </a:lnTo>
                  <a:lnTo>
                    <a:pt x="444" y="211"/>
                  </a:lnTo>
                  <a:lnTo>
                    <a:pt x="444" y="211"/>
                  </a:lnTo>
                  <a:close/>
                  <a:moveTo>
                    <a:pt x="157" y="19"/>
                  </a:moveTo>
                  <a:lnTo>
                    <a:pt x="159" y="19"/>
                  </a:lnTo>
                  <a:lnTo>
                    <a:pt x="159" y="19"/>
                  </a:lnTo>
                  <a:lnTo>
                    <a:pt x="159" y="17"/>
                  </a:lnTo>
                  <a:lnTo>
                    <a:pt x="159" y="15"/>
                  </a:lnTo>
                  <a:lnTo>
                    <a:pt x="157" y="15"/>
                  </a:lnTo>
                  <a:lnTo>
                    <a:pt x="157" y="15"/>
                  </a:lnTo>
                  <a:lnTo>
                    <a:pt x="155" y="15"/>
                  </a:lnTo>
                  <a:lnTo>
                    <a:pt x="155" y="15"/>
                  </a:lnTo>
                  <a:lnTo>
                    <a:pt x="155" y="15"/>
                  </a:lnTo>
                  <a:lnTo>
                    <a:pt x="155" y="17"/>
                  </a:lnTo>
                  <a:lnTo>
                    <a:pt x="155" y="17"/>
                  </a:lnTo>
                  <a:lnTo>
                    <a:pt x="157" y="19"/>
                  </a:lnTo>
                  <a:lnTo>
                    <a:pt x="157" y="19"/>
                  </a:lnTo>
                  <a:close/>
                  <a:moveTo>
                    <a:pt x="182" y="4"/>
                  </a:moveTo>
                  <a:lnTo>
                    <a:pt x="182" y="2"/>
                  </a:lnTo>
                  <a:lnTo>
                    <a:pt x="182" y="2"/>
                  </a:lnTo>
                  <a:lnTo>
                    <a:pt x="182" y="0"/>
                  </a:lnTo>
                  <a:lnTo>
                    <a:pt x="182" y="0"/>
                  </a:lnTo>
                  <a:lnTo>
                    <a:pt x="182" y="0"/>
                  </a:lnTo>
                  <a:lnTo>
                    <a:pt x="180" y="0"/>
                  </a:lnTo>
                  <a:lnTo>
                    <a:pt x="178" y="2"/>
                  </a:lnTo>
                  <a:lnTo>
                    <a:pt x="178" y="7"/>
                  </a:lnTo>
                  <a:lnTo>
                    <a:pt x="178" y="9"/>
                  </a:lnTo>
                  <a:lnTo>
                    <a:pt x="180" y="7"/>
                  </a:lnTo>
                  <a:lnTo>
                    <a:pt x="182" y="4"/>
                  </a:lnTo>
                  <a:close/>
                  <a:moveTo>
                    <a:pt x="475" y="150"/>
                  </a:moveTo>
                  <a:lnTo>
                    <a:pt x="475" y="150"/>
                  </a:lnTo>
                  <a:lnTo>
                    <a:pt x="475" y="148"/>
                  </a:lnTo>
                  <a:lnTo>
                    <a:pt x="475" y="146"/>
                  </a:lnTo>
                  <a:lnTo>
                    <a:pt x="473" y="144"/>
                  </a:lnTo>
                  <a:lnTo>
                    <a:pt x="473" y="144"/>
                  </a:lnTo>
                  <a:lnTo>
                    <a:pt x="471" y="146"/>
                  </a:lnTo>
                  <a:lnTo>
                    <a:pt x="469" y="146"/>
                  </a:lnTo>
                  <a:lnTo>
                    <a:pt x="469" y="144"/>
                  </a:lnTo>
                  <a:lnTo>
                    <a:pt x="466" y="144"/>
                  </a:lnTo>
                  <a:lnTo>
                    <a:pt x="466" y="144"/>
                  </a:lnTo>
                  <a:lnTo>
                    <a:pt x="466" y="146"/>
                  </a:lnTo>
                  <a:lnTo>
                    <a:pt x="466" y="148"/>
                  </a:lnTo>
                  <a:lnTo>
                    <a:pt x="466" y="150"/>
                  </a:lnTo>
                  <a:lnTo>
                    <a:pt x="466" y="152"/>
                  </a:lnTo>
                  <a:lnTo>
                    <a:pt x="466" y="152"/>
                  </a:lnTo>
                  <a:lnTo>
                    <a:pt x="466" y="152"/>
                  </a:lnTo>
                  <a:lnTo>
                    <a:pt x="469" y="152"/>
                  </a:lnTo>
                  <a:lnTo>
                    <a:pt x="469" y="152"/>
                  </a:lnTo>
                  <a:lnTo>
                    <a:pt x="475" y="152"/>
                  </a:lnTo>
                  <a:lnTo>
                    <a:pt x="475" y="152"/>
                  </a:lnTo>
                  <a:lnTo>
                    <a:pt x="475" y="150"/>
                  </a:lnTo>
                  <a:close/>
                  <a:moveTo>
                    <a:pt x="466" y="162"/>
                  </a:moveTo>
                  <a:lnTo>
                    <a:pt x="464" y="160"/>
                  </a:lnTo>
                  <a:lnTo>
                    <a:pt x="466" y="160"/>
                  </a:lnTo>
                  <a:lnTo>
                    <a:pt x="466" y="158"/>
                  </a:lnTo>
                  <a:lnTo>
                    <a:pt x="464" y="158"/>
                  </a:lnTo>
                  <a:lnTo>
                    <a:pt x="462" y="158"/>
                  </a:lnTo>
                  <a:lnTo>
                    <a:pt x="460" y="158"/>
                  </a:lnTo>
                  <a:lnTo>
                    <a:pt x="460" y="158"/>
                  </a:lnTo>
                  <a:lnTo>
                    <a:pt x="458" y="158"/>
                  </a:lnTo>
                  <a:lnTo>
                    <a:pt x="458" y="158"/>
                  </a:lnTo>
                  <a:lnTo>
                    <a:pt x="458" y="158"/>
                  </a:lnTo>
                  <a:lnTo>
                    <a:pt x="458" y="160"/>
                  </a:lnTo>
                  <a:lnTo>
                    <a:pt x="458" y="160"/>
                  </a:lnTo>
                  <a:lnTo>
                    <a:pt x="458" y="162"/>
                  </a:lnTo>
                  <a:lnTo>
                    <a:pt x="456" y="162"/>
                  </a:lnTo>
                  <a:lnTo>
                    <a:pt x="456" y="162"/>
                  </a:lnTo>
                  <a:lnTo>
                    <a:pt x="456" y="162"/>
                  </a:lnTo>
                  <a:lnTo>
                    <a:pt x="456" y="166"/>
                  </a:lnTo>
                  <a:lnTo>
                    <a:pt x="454" y="168"/>
                  </a:lnTo>
                  <a:lnTo>
                    <a:pt x="454" y="170"/>
                  </a:lnTo>
                  <a:lnTo>
                    <a:pt x="452" y="170"/>
                  </a:lnTo>
                  <a:lnTo>
                    <a:pt x="452" y="173"/>
                  </a:lnTo>
                  <a:lnTo>
                    <a:pt x="452" y="173"/>
                  </a:lnTo>
                  <a:lnTo>
                    <a:pt x="450" y="173"/>
                  </a:lnTo>
                  <a:lnTo>
                    <a:pt x="448" y="173"/>
                  </a:lnTo>
                  <a:lnTo>
                    <a:pt x="448" y="173"/>
                  </a:lnTo>
                  <a:lnTo>
                    <a:pt x="446" y="175"/>
                  </a:lnTo>
                  <a:lnTo>
                    <a:pt x="446" y="175"/>
                  </a:lnTo>
                  <a:lnTo>
                    <a:pt x="446" y="177"/>
                  </a:lnTo>
                  <a:lnTo>
                    <a:pt x="446" y="181"/>
                  </a:lnTo>
                  <a:lnTo>
                    <a:pt x="446" y="183"/>
                  </a:lnTo>
                  <a:lnTo>
                    <a:pt x="444" y="183"/>
                  </a:lnTo>
                  <a:lnTo>
                    <a:pt x="444" y="185"/>
                  </a:lnTo>
                  <a:lnTo>
                    <a:pt x="444" y="185"/>
                  </a:lnTo>
                  <a:lnTo>
                    <a:pt x="444" y="185"/>
                  </a:lnTo>
                  <a:lnTo>
                    <a:pt x="444" y="187"/>
                  </a:lnTo>
                  <a:lnTo>
                    <a:pt x="444" y="187"/>
                  </a:lnTo>
                  <a:lnTo>
                    <a:pt x="444" y="187"/>
                  </a:lnTo>
                  <a:lnTo>
                    <a:pt x="440" y="193"/>
                  </a:lnTo>
                  <a:lnTo>
                    <a:pt x="438" y="195"/>
                  </a:lnTo>
                  <a:lnTo>
                    <a:pt x="438" y="201"/>
                  </a:lnTo>
                  <a:lnTo>
                    <a:pt x="438" y="205"/>
                  </a:lnTo>
                  <a:lnTo>
                    <a:pt x="440" y="207"/>
                  </a:lnTo>
                  <a:lnTo>
                    <a:pt x="444" y="211"/>
                  </a:lnTo>
                  <a:lnTo>
                    <a:pt x="446" y="209"/>
                  </a:lnTo>
                  <a:lnTo>
                    <a:pt x="448" y="209"/>
                  </a:lnTo>
                  <a:lnTo>
                    <a:pt x="452" y="203"/>
                  </a:lnTo>
                  <a:lnTo>
                    <a:pt x="452" y="203"/>
                  </a:lnTo>
                  <a:lnTo>
                    <a:pt x="452" y="201"/>
                  </a:lnTo>
                  <a:lnTo>
                    <a:pt x="452" y="199"/>
                  </a:lnTo>
                  <a:lnTo>
                    <a:pt x="452" y="199"/>
                  </a:lnTo>
                  <a:lnTo>
                    <a:pt x="454" y="197"/>
                  </a:lnTo>
                  <a:lnTo>
                    <a:pt x="454" y="197"/>
                  </a:lnTo>
                  <a:lnTo>
                    <a:pt x="452" y="195"/>
                  </a:lnTo>
                  <a:lnTo>
                    <a:pt x="454" y="191"/>
                  </a:lnTo>
                  <a:lnTo>
                    <a:pt x="456" y="187"/>
                  </a:lnTo>
                  <a:lnTo>
                    <a:pt x="456" y="183"/>
                  </a:lnTo>
                  <a:lnTo>
                    <a:pt x="458" y="183"/>
                  </a:lnTo>
                  <a:lnTo>
                    <a:pt x="458" y="183"/>
                  </a:lnTo>
                  <a:lnTo>
                    <a:pt x="458" y="183"/>
                  </a:lnTo>
                  <a:lnTo>
                    <a:pt x="460" y="183"/>
                  </a:lnTo>
                  <a:lnTo>
                    <a:pt x="460" y="183"/>
                  </a:lnTo>
                  <a:lnTo>
                    <a:pt x="460" y="183"/>
                  </a:lnTo>
                  <a:lnTo>
                    <a:pt x="460" y="181"/>
                  </a:lnTo>
                  <a:lnTo>
                    <a:pt x="460" y="181"/>
                  </a:lnTo>
                  <a:lnTo>
                    <a:pt x="460" y="179"/>
                  </a:lnTo>
                  <a:lnTo>
                    <a:pt x="460" y="179"/>
                  </a:lnTo>
                  <a:lnTo>
                    <a:pt x="462" y="179"/>
                  </a:lnTo>
                  <a:lnTo>
                    <a:pt x="462" y="179"/>
                  </a:lnTo>
                  <a:lnTo>
                    <a:pt x="462" y="177"/>
                  </a:lnTo>
                  <a:lnTo>
                    <a:pt x="460" y="175"/>
                  </a:lnTo>
                  <a:lnTo>
                    <a:pt x="458" y="173"/>
                  </a:lnTo>
                  <a:lnTo>
                    <a:pt x="460" y="173"/>
                  </a:lnTo>
                  <a:lnTo>
                    <a:pt x="460" y="173"/>
                  </a:lnTo>
                  <a:lnTo>
                    <a:pt x="462" y="175"/>
                  </a:lnTo>
                  <a:lnTo>
                    <a:pt x="462" y="173"/>
                  </a:lnTo>
                  <a:lnTo>
                    <a:pt x="462" y="170"/>
                  </a:lnTo>
                  <a:lnTo>
                    <a:pt x="460" y="170"/>
                  </a:lnTo>
                  <a:lnTo>
                    <a:pt x="460" y="168"/>
                  </a:lnTo>
                  <a:lnTo>
                    <a:pt x="462" y="166"/>
                  </a:lnTo>
                  <a:lnTo>
                    <a:pt x="462" y="164"/>
                  </a:lnTo>
                  <a:lnTo>
                    <a:pt x="460" y="164"/>
                  </a:lnTo>
                  <a:lnTo>
                    <a:pt x="460" y="164"/>
                  </a:lnTo>
                  <a:lnTo>
                    <a:pt x="462" y="164"/>
                  </a:lnTo>
                  <a:lnTo>
                    <a:pt x="462" y="164"/>
                  </a:lnTo>
                  <a:lnTo>
                    <a:pt x="466" y="166"/>
                  </a:lnTo>
                  <a:lnTo>
                    <a:pt x="466" y="162"/>
                  </a:lnTo>
                  <a:lnTo>
                    <a:pt x="466" y="162"/>
                  </a:lnTo>
                  <a:lnTo>
                    <a:pt x="466" y="162"/>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I</a:t>
              </a:r>
            </a:p>
          </p:txBody>
        </p:sp>
        <p:sp>
          <p:nvSpPr>
            <p:cNvPr id="298" name="Freeform 8">
              <a:extLst>
                <a:ext uri="{FF2B5EF4-FFF2-40B4-BE49-F238E27FC236}">
                  <a16:creationId xmlns:a16="http://schemas.microsoft.com/office/drawing/2014/main" id="{158A78EC-30C3-C7E0-DB77-2FDFD8A1E69D}"/>
                </a:ext>
              </a:extLst>
            </p:cNvPr>
            <p:cNvSpPr>
              <a:spLocks noEditPoints="1"/>
            </p:cNvSpPr>
            <p:nvPr/>
          </p:nvSpPr>
          <p:spPr bwMode="auto">
            <a:xfrm>
              <a:off x="860" y="0"/>
              <a:ext cx="587" cy="387"/>
            </a:xfrm>
            <a:custGeom>
              <a:avLst/>
              <a:gdLst>
                <a:gd name="T0" fmla="*/ 147 w 587"/>
                <a:gd name="T1" fmla="*/ 57 h 387"/>
                <a:gd name="T2" fmla="*/ 137 w 587"/>
                <a:gd name="T3" fmla="*/ 37 h 387"/>
                <a:gd name="T4" fmla="*/ 149 w 587"/>
                <a:gd name="T5" fmla="*/ 35 h 387"/>
                <a:gd name="T6" fmla="*/ 149 w 587"/>
                <a:gd name="T7" fmla="*/ 94 h 387"/>
                <a:gd name="T8" fmla="*/ 149 w 587"/>
                <a:gd name="T9" fmla="*/ 27 h 387"/>
                <a:gd name="T10" fmla="*/ 143 w 587"/>
                <a:gd name="T11" fmla="*/ 43 h 387"/>
                <a:gd name="T12" fmla="*/ 149 w 587"/>
                <a:gd name="T13" fmla="*/ 78 h 387"/>
                <a:gd name="T14" fmla="*/ 166 w 587"/>
                <a:gd name="T15" fmla="*/ 111 h 387"/>
                <a:gd name="T16" fmla="*/ 161 w 587"/>
                <a:gd name="T17" fmla="*/ 103 h 387"/>
                <a:gd name="T18" fmla="*/ 163 w 587"/>
                <a:gd name="T19" fmla="*/ 76 h 387"/>
                <a:gd name="T20" fmla="*/ 163 w 587"/>
                <a:gd name="T21" fmla="*/ 35 h 387"/>
                <a:gd name="T22" fmla="*/ 161 w 587"/>
                <a:gd name="T23" fmla="*/ 43 h 387"/>
                <a:gd name="T24" fmla="*/ 159 w 587"/>
                <a:gd name="T25" fmla="*/ 172 h 387"/>
                <a:gd name="T26" fmla="*/ 149 w 587"/>
                <a:gd name="T27" fmla="*/ 174 h 387"/>
                <a:gd name="T28" fmla="*/ 155 w 587"/>
                <a:gd name="T29" fmla="*/ 146 h 387"/>
                <a:gd name="T30" fmla="*/ 127 w 587"/>
                <a:gd name="T31" fmla="*/ 191 h 387"/>
                <a:gd name="T32" fmla="*/ 114 w 587"/>
                <a:gd name="T33" fmla="*/ 180 h 387"/>
                <a:gd name="T34" fmla="*/ 20 w 587"/>
                <a:gd name="T35" fmla="*/ 234 h 387"/>
                <a:gd name="T36" fmla="*/ 139 w 587"/>
                <a:gd name="T37" fmla="*/ 27 h 387"/>
                <a:gd name="T38" fmla="*/ 133 w 587"/>
                <a:gd name="T39" fmla="*/ 55 h 387"/>
                <a:gd name="T40" fmla="*/ 546 w 587"/>
                <a:gd name="T41" fmla="*/ 76 h 387"/>
                <a:gd name="T42" fmla="*/ 166 w 587"/>
                <a:gd name="T43" fmla="*/ 6 h 387"/>
                <a:gd name="T44" fmla="*/ 166 w 587"/>
                <a:gd name="T45" fmla="*/ 33 h 387"/>
                <a:gd name="T46" fmla="*/ 172 w 587"/>
                <a:gd name="T47" fmla="*/ 47 h 387"/>
                <a:gd name="T48" fmla="*/ 157 w 587"/>
                <a:gd name="T49" fmla="*/ 55 h 387"/>
                <a:gd name="T50" fmla="*/ 172 w 587"/>
                <a:gd name="T51" fmla="*/ 72 h 387"/>
                <a:gd name="T52" fmla="*/ 174 w 587"/>
                <a:gd name="T53" fmla="*/ 105 h 387"/>
                <a:gd name="T54" fmla="*/ 182 w 587"/>
                <a:gd name="T55" fmla="*/ 109 h 387"/>
                <a:gd name="T56" fmla="*/ 166 w 587"/>
                <a:gd name="T57" fmla="*/ 129 h 387"/>
                <a:gd name="T58" fmla="*/ 161 w 587"/>
                <a:gd name="T59" fmla="*/ 152 h 387"/>
                <a:gd name="T60" fmla="*/ 147 w 587"/>
                <a:gd name="T61" fmla="*/ 178 h 387"/>
                <a:gd name="T62" fmla="*/ 114 w 587"/>
                <a:gd name="T63" fmla="*/ 189 h 387"/>
                <a:gd name="T64" fmla="*/ 110 w 587"/>
                <a:gd name="T65" fmla="*/ 187 h 387"/>
                <a:gd name="T66" fmla="*/ 127 w 587"/>
                <a:gd name="T67" fmla="*/ 164 h 387"/>
                <a:gd name="T68" fmla="*/ 129 w 587"/>
                <a:gd name="T69" fmla="*/ 178 h 387"/>
                <a:gd name="T70" fmla="*/ 143 w 587"/>
                <a:gd name="T71" fmla="*/ 178 h 387"/>
                <a:gd name="T72" fmla="*/ 143 w 587"/>
                <a:gd name="T73" fmla="*/ 148 h 387"/>
                <a:gd name="T74" fmla="*/ 157 w 587"/>
                <a:gd name="T75" fmla="*/ 135 h 387"/>
                <a:gd name="T76" fmla="*/ 151 w 587"/>
                <a:gd name="T77" fmla="*/ 123 h 387"/>
                <a:gd name="T78" fmla="*/ 125 w 587"/>
                <a:gd name="T79" fmla="*/ 160 h 387"/>
                <a:gd name="T80" fmla="*/ 133 w 587"/>
                <a:gd name="T81" fmla="*/ 119 h 387"/>
                <a:gd name="T82" fmla="*/ 147 w 587"/>
                <a:gd name="T83" fmla="*/ 119 h 387"/>
                <a:gd name="T84" fmla="*/ 137 w 587"/>
                <a:gd name="T85" fmla="*/ 92 h 387"/>
                <a:gd name="T86" fmla="*/ 123 w 587"/>
                <a:gd name="T87" fmla="*/ 88 h 387"/>
                <a:gd name="T88" fmla="*/ 69 w 587"/>
                <a:gd name="T89" fmla="*/ 72 h 387"/>
                <a:gd name="T90" fmla="*/ 6 w 587"/>
                <a:gd name="T91" fmla="*/ 49 h 387"/>
                <a:gd name="T92" fmla="*/ 14 w 587"/>
                <a:gd name="T93" fmla="*/ 103 h 387"/>
                <a:gd name="T94" fmla="*/ 14 w 587"/>
                <a:gd name="T95" fmla="*/ 189 h 387"/>
                <a:gd name="T96" fmla="*/ 32 w 587"/>
                <a:gd name="T97" fmla="*/ 189 h 387"/>
                <a:gd name="T98" fmla="*/ 16 w 587"/>
                <a:gd name="T99" fmla="*/ 195 h 387"/>
                <a:gd name="T100" fmla="*/ 37 w 587"/>
                <a:gd name="T101" fmla="*/ 223 h 387"/>
                <a:gd name="T102" fmla="*/ 22 w 587"/>
                <a:gd name="T103" fmla="*/ 240 h 387"/>
                <a:gd name="T104" fmla="*/ 16 w 587"/>
                <a:gd name="T105" fmla="*/ 221 h 387"/>
                <a:gd name="T106" fmla="*/ 14 w 587"/>
                <a:gd name="T107" fmla="*/ 256 h 387"/>
                <a:gd name="T108" fmla="*/ 63 w 587"/>
                <a:gd name="T109" fmla="*/ 281 h 387"/>
                <a:gd name="T110" fmla="*/ 96 w 587"/>
                <a:gd name="T111" fmla="*/ 322 h 387"/>
                <a:gd name="T112" fmla="*/ 163 w 587"/>
                <a:gd name="T113" fmla="*/ 351 h 387"/>
                <a:gd name="T114" fmla="*/ 245 w 587"/>
                <a:gd name="T115" fmla="*/ 369 h 387"/>
                <a:gd name="T116" fmla="*/ 340 w 587"/>
                <a:gd name="T117" fmla="*/ 363 h 387"/>
                <a:gd name="T118" fmla="*/ 553 w 587"/>
                <a:gd name="T119" fmla="*/ 387 h 387"/>
                <a:gd name="T120" fmla="*/ 573 w 587"/>
                <a:gd name="T121" fmla="*/ 178 h 387"/>
                <a:gd name="T122" fmla="*/ 127 w 587"/>
                <a:gd name="T123" fmla="*/ 2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7" h="387">
                  <a:moveTo>
                    <a:pt x="151" y="51"/>
                  </a:moveTo>
                  <a:lnTo>
                    <a:pt x="149" y="51"/>
                  </a:lnTo>
                  <a:lnTo>
                    <a:pt x="149" y="51"/>
                  </a:lnTo>
                  <a:lnTo>
                    <a:pt x="147" y="51"/>
                  </a:lnTo>
                  <a:lnTo>
                    <a:pt x="147" y="51"/>
                  </a:lnTo>
                  <a:lnTo>
                    <a:pt x="149" y="51"/>
                  </a:lnTo>
                  <a:lnTo>
                    <a:pt x="149" y="53"/>
                  </a:lnTo>
                  <a:lnTo>
                    <a:pt x="149" y="53"/>
                  </a:lnTo>
                  <a:lnTo>
                    <a:pt x="149" y="53"/>
                  </a:lnTo>
                  <a:lnTo>
                    <a:pt x="149" y="55"/>
                  </a:lnTo>
                  <a:lnTo>
                    <a:pt x="149" y="55"/>
                  </a:lnTo>
                  <a:lnTo>
                    <a:pt x="149" y="55"/>
                  </a:lnTo>
                  <a:lnTo>
                    <a:pt x="149" y="53"/>
                  </a:lnTo>
                  <a:lnTo>
                    <a:pt x="151" y="53"/>
                  </a:lnTo>
                  <a:lnTo>
                    <a:pt x="151" y="53"/>
                  </a:lnTo>
                  <a:lnTo>
                    <a:pt x="151" y="51"/>
                  </a:lnTo>
                  <a:lnTo>
                    <a:pt x="151" y="51"/>
                  </a:lnTo>
                  <a:lnTo>
                    <a:pt x="151" y="51"/>
                  </a:lnTo>
                  <a:lnTo>
                    <a:pt x="151" y="51"/>
                  </a:lnTo>
                  <a:lnTo>
                    <a:pt x="151" y="51"/>
                  </a:lnTo>
                  <a:close/>
                  <a:moveTo>
                    <a:pt x="147" y="62"/>
                  </a:moveTo>
                  <a:lnTo>
                    <a:pt x="147" y="60"/>
                  </a:lnTo>
                  <a:lnTo>
                    <a:pt x="149" y="60"/>
                  </a:lnTo>
                  <a:lnTo>
                    <a:pt x="149" y="57"/>
                  </a:lnTo>
                  <a:lnTo>
                    <a:pt x="149" y="55"/>
                  </a:lnTo>
                  <a:lnTo>
                    <a:pt x="147" y="57"/>
                  </a:lnTo>
                  <a:lnTo>
                    <a:pt x="147" y="55"/>
                  </a:lnTo>
                  <a:lnTo>
                    <a:pt x="145" y="55"/>
                  </a:lnTo>
                  <a:lnTo>
                    <a:pt x="145" y="53"/>
                  </a:lnTo>
                  <a:lnTo>
                    <a:pt x="147" y="49"/>
                  </a:lnTo>
                  <a:lnTo>
                    <a:pt x="147" y="47"/>
                  </a:lnTo>
                  <a:lnTo>
                    <a:pt x="147" y="45"/>
                  </a:lnTo>
                  <a:lnTo>
                    <a:pt x="145" y="45"/>
                  </a:lnTo>
                  <a:lnTo>
                    <a:pt x="143" y="47"/>
                  </a:lnTo>
                  <a:lnTo>
                    <a:pt x="143" y="47"/>
                  </a:lnTo>
                  <a:lnTo>
                    <a:pt x="143" y="47"/>
                  </a:lnTo>
                  <a:lnTo>
                    <a:pt x="143" y="49"/>
                  </a:lnTo>
                  <a:lnTo>
                    <a:pt x="143" y="49"/>
                  </a:lnTo>
                  <a:lnTo>
                    <a:pt x="141" y="51"/>
                  </a:lnTo>
                  <a:lnTo>
                    <a:pt x="141" y="51"/>
                  </a:lnTo>
                  <a:lnTo>
                    <a:pt x="139" y="53"/>
                  </a:lnTo>
                  <a:lnTo>
                    <a:pt x="139" y="55"/>
                  </a:lnTo>
                  <a:lnTo>
                    <a:pt x="141" y="55"/>
                  </a:lnTo>
                  <a:lnTo>
                    <a:pt x="143" y="57"/>
                  </a:lnTo>
                  <a:lnTo>
                    <a:pt x="143" y="57"/>
                  </a:lnTo>
                  <a:lnTo>
                    <a:pt x="143" y="60"/>
                  </a:lnTo>
                  <a:lnTo>
                    <a:pt x="147" y="62"/>
                  </a:lnTo>
                  <a:close/>
                  <a:moveTo>
                    <a:pt x="141" y="33"/>
                  </a:moveTo>
                  <a:lnTo>
                    <a:pt x="139" y="35"/>
                  </a:lnTo>
                  <a:lnTo>
                    <a:pt x="137" y="35"/>
                  </a:lnTo>
                  <a:lnTo>
                    <a:pt x="137" y="35"/>
                  </a:lnTo>
                  <a:lnTo>
                    <a:pt x="137" y="37"/>
                  </a:lnTo>
                  <a:lnTo>
                    <a:pt x="137" y="37"/>
                  </a:lnTo>
                  <a:lnTo>
                    <a:pt x="137" y="39"/>
                  </a:lnTo>
                  <a:lnTo>
                    <a:pt x="139" y="41"/>
                  </a:lnTo>
                  <a:lnTo>
                    <a:pt x="139" y="39"/>
                  </a:lnTo>
                  <a:lnTo>
                    <a:pt x="139" y="39"/>
                  </a:lnTo>
                  <a:lnTo>
                    <a:pt x="139" y="37"/>
                  </a:lnTo>
                  <a:lnTo>
                    <a:pt x="141" y="37"/>
                  </a:lnTo>
                  <a:lnTo>
                    <a:pt x="141" y="37"/>
                  </a:lnTo>
                  <a:lnTo>
                    <a:pt x="143" y="39"/>
                  </a:lnTo>
                  <a:lnTo>
                    <a:pt x="143" y="39"/>
                  </a:lnTo>
                  <a:lnTo>
                    <a:pt x="143" y="41"/>
                  </a:lnTo>
                  <a:lnTo>
                    <a:pt x="143" y="41"/>
                  </a:lnTo>
                  <a:lnTo>
                    <a:pt x="143" y="43"/>
                  </a:lnTo>
                  <a:lnTo>
                    <a:pt x="145" y="43"/>
                  </a:lnTo>
                  <a:lnTo>
                    <a:pt x="147" y="43"/>
                  </a:lnTo>
                  <a:lnTo>
                    <a:pt x="149" y="41"/>
                  </a:lnTo>
                  <a:lnTo>
                    <a:pt x="145" y="35"/>
                  </a:lnTo>
                  <a:lnTo>
                    <a:pt x="147" y="35"/>
                  </a:lnTo>
                  <a:lnTo>
                    <a:pt x="147" y="35"/>
                  </a:lnTo>
                  <a:lnTo>
                    <a:pt x="147" y="33"/>
                  </a:lnTo>
                  <a:lnTo>
                    <a:pt x="147" y="33"/>
                  </a:lnTo>
                  <a:lnTo>
                    <a:pt x="147" y="31"/>
                  </a:lnTo>
                  <a:lnTo>
                    <a:pt x="147" y="31"/>
                  </a:lnTo>
                  <a:lnTo>
                    <a:pt x="149" y="33"/>
                  </a:lnTo>
                  <a:lnTo>
                    <a:pt x="149" y="33"/>
                  </a:lnTo>
                  <a:lnTo>
                    <a:pt x="149" y="35"/>
                  </a:lnTo>
                  <a:lnTo>
                    <a:pt x="149" y="37"/>
                  </a:lnTo>
                  <a:lnTo>
                    <a:pt x="149" y="41"/>
                  </a:lnTo>
                  <a:lnTo>
                    <a:pt x="151" y="41"/>
                  </a:lnTo>
                  <a:lnTo>
                    <a:pt x="151" y="41"/>
                  </a:lnTo>
                  <a:lnTo>
                    <a:pt x="153" y="41"/>
                  </a:lnTo>
                  <a:lnTo>
                    <a:pt x="153" y="41"/>
                  </a:lnTo>
                  <a:lnTo>
                    <a:pt x="153" y="41"/>
                  </a:lnTo>
                  <a:lnTo>
                    <a:pt x="153" y="41"/>
                  </a:lnTo>
                  <a:lnTo>
                    <a:pt x="157" y="39"/>
                  </a:lnTo>
                  <a:lnTo>
                    <a:pt x="157" y="39"/>
                  </a:lnTo>
                  <a:lnTo>
                    <a:pt x="157" y="37"/>
                  </a:lnTo>
                  <a:lnTo>
                    <a:pt x="151" y="31"/>
                  </a:lnTo>
                  <a:lnTo>
                    <a:pt x="147" y="31"/>
                  </a:lnTo>
                  <a:lnTo>
                    <a:pt x="147" y="31"/>
                  </a:lnTo>
                  <a:lnTo>
                    <a:pt x="145" y="31"/>
                  </a:lnTo>
                  <a:lnTo>
                    <a:pt x="141" y="33"/>
                  </a:lnTo>
                  <a:lnTo>
                    <a:pt x="141" y="33"/>
                  </a:lnTo>
                  <a:close/>
                  <a:moveTo>
                    <a:pt x="145" y="98"/>
                  </a:moveTo>
                  <a:lnTo>
                    <a:pt x="147" y="100"/>
                  </a:lnTo>
                  <a:lnTo>
                    <a:pt x="147" y="103"/>
                  </a:lnTo>
                  <a:lnTo>
                    <a:pt x="147" y="105"/>
                  </a:lnTo>
                  <a:lnTo>
                    <a:pt x="149" y="105"/>
                  </a:lnTo>
                  <a:lnTo>
                    <a:pt x="149" y="103"/>
                  </a:lnTo>
                  <a:lnTo>
                    <a:pt x="151" y="100"/>
                  </a:lnTo>
                  <a:lnTo>
                    <a:pt x="149" y="98"/>
                  </a:lnTo>
                  <a:lnTo>
                    <a:pt x="149" y="94"/>
                  </a:lnTo>
                  <a:lnTo>
                    <a:pt x="149" y="94"/>
                  </a:lnTo>
                  <a:lnTo>
                    <a:pt x="149" y="94"/>
                  </a:lnTo>
                  <a:lnTo>
                    <a:pt x="147" y="94"/>
                  </a:lnTo>
                  <a:lnTo>
                    <a:pt x="149" y="96"/>
                  </a:lnTo>
                  <a:lnTo>
                    <a:pt x="149" y="98"/>
                  </a:lnTo>
                  <a:lnTo>
                    <a:pt x="149" y="100"/>
                  </a:lnTo>
                  <a:lnTo>
                    <a:pt x="147" y="100"/>
                  </a:lnTo>
                  <a:lnTo>
                    <a:pt x="147" y="98"/>
                  </a:lnTo>
                  <a:lnTo>
                    <a:pt x="147" y="96"/>
                  </a:lnTo>
                  <a:lnTo>
                    <a:pt x="147" y="96"/>
                  </a:lnTo>
                  <a:lnTo>
                    <a:pt x="147" y="96"/>
                  </a:lnTo>
                  <a:lnTo>
                    <a:pt x="147" y="96"/>
                  </a:lnTo>
                  <a:lnTo>
                    <a:pt x="145" y="98"/>
                  </a:lnTo>
                  <a:close/>
                  <a:moveTo>
                    <a:pt x="147" y="25"/>
                  </a:moveTo>
                  <a:lnTo>
                    <a:pt x="147" y="25"/>
                  </a:lnTo>
                  <a:lnTo>
                    <a:pt x="147" y="27"/>
                  </a:lnTo>
                  <a:lnTo>
                    <a:pt x="147" y="27"/>
                  </a:lnTo>
                  <a:lnTo>
                    <a:pt x="147" y="27"/>
                  </a:lnTo>
                  <a:lnTo>
                    <a:pt x="147" y="27"/>
                  </a:lnTo>
                  <a:lnTo>
                    <a:pt x="147" y="27"/>
                  </a:lnTo>
                  <a:lnTo>
                    <a:pt x="149" y="27"/>
                  </a:lnTo>
                  <a:lnTo>
                    <a:pt x="147" y="27"/>
                  </a:lnTo>
                  <a:lnTo>
                    <a:pt x="149" y="27"/>
                  </a:lnTo>
                  <a:lnTo>
                    <a:pt x="149" y="27"/>
                  </a:lnTo>
                  <a:lnTo>
                    <a:pt x="149" y="27"/>
                  </a:lnTo>
                  <a:lnTo>
                    <a:pt x="149" y="27"/>
                  </a:lnTo>
                  <a:lnTo>
                    <a:pt x="149" y="27"/>
                  </a:lnTo>
                  <a:lnTo>
                    <a:pt x="147" y="25"/>
                  </a:lnTo>
                  <a:lnTo>
                    <a:pt x="149" y="25"/>
                  </a:lnTo>
                  <a:lnTo>
                    <a:pt x="149" y="25"/>
                  </a:lnTo>
                  <a:lnTo>
                    <a:pt x="149" y="25"/>
                  </a:lnTo>
                  <a:lnTo>
                    <a:pt x="149" y="25"/>
                  </a:lnTo>
                  <a:lnTo>
                    <a:pt x="149" y="25"/>
                  </a:lnTo>
                  <a:lnTo>
                    <a:pt x="147" y="25"/>
                  </a:lnTo>
                  <a:lnTo>
                    <a:pt x="147" y="25"/>
                  </a:lnTo>
                  <a:lnTo>
                    <a:pt x="147" y="25"/>
                  </a:lnTo>
                  <a:lnTo>
                    <a:pt x="147" y="25"/>
                  </a:lnTo>
                  <a:lnTo>
                    <a:pt x="147" y="25"/>
                  </a:lnTo>
                  <a:close/>
                  <a:moveTo>
                    <a:pt x="139" y="45"/>
                  </a:moveTo>
                  <a:lnTo>
                    <a:pt x="139" y="45"/>
                  </a:lnTo>
                  <a:lnTo>
                    <a:pt x="141" y="45"/>
                  </a:lnTo>
                  <a:lnTo>
                    <a:pt x="141" y="45"/>
                  </a:lnTo>
                  <a:lnTo>
                    <a:pt x="141" y="45"/>
                  </a:lnTo>
                  <a:lnTo>
                    <a:pt x="141" y="45"/>
                  </a:lnTo>
                  <a:lnTo>
                    <a:pt x="141" y="45"/>
                  </a:lnTo>
                  <a:lnTo>
                    <a:pt x="143" y="45"/>
                  </a:lnTo>
                  <a:lnTo>
                    <a:pt x="143" y="45"/>
                  </a:lnTo>
                  <a:lnTo>
                    <a:pt x="143" y="45"/>
                  </a:lnTo>
                  <a:lnTo>
                    <a:pt x="143" y="45"/>
                  </a:lnTo>
                  <a:lnTo>
                    <a:pt x="143" y="45"/>
                  </a:lnTo>
                  <a:lnTo>
                    <a:pt x="143" y="43"/>
                  </a:lnTo>
                  <a:lnTo>
                    <a:pt x="143" y="43"/>
                  </a:lnTo>
                  <a:lnTo>
                    <a:pt x="143" y="43"/>
                  </a:lnTo>
                  <a:lnTo>
                    <a:pt x="143" y="43"/>
                  </a:lnTo>
                  <a:lnTo>
                    <a:pt x="143" y="43"/>
                  </a:lnTo>
                  <a:lnTo>
                    <a:pt x="143" y="43"/>
                  </a:lnTo>
                  <a:lnTo>
                    <a:pt x="143" y="43"/>
                  </a:lnTo>
                  <a:lnTo>
                    <a:pt x="141" y="43"/>
                  </a:lnTo>
                  <a:lnTo>
                    <a:pt x="143" y="43"/>
                  </a:lnTo>
                  <a:lnTo>
                    <a:pt x="143" y="43"/>
                  </a:lnTo>
                  <a:lnTo>
                    <a:pt x="141" y="41"/>
                  </a:lnTo>
                  <a:lnTo>
                    <a:pt x="141" y="41"/>
                  </a:lnTo>
                  <a:lnTo>
                    <a:pt x="137" y="41"/>
                  </a:lnTo>
                  <a:lnTo>
                    <a:pt x="137" y="41"/>
                  </a:lnTo>
                  <a:lnTo>
                    <a:pt x="137" y="41"/>
                  </a:lnTo>
                  <a:lnTo>
                    <a:pt x="137" y="41"/>
                  </a:lnTo>
                  <a:lnTo>
                    <a:pt x="137" y="43"/>
                  </a:lnTo>
                  <a:lnTo>
                    <a:pt x="137" y="43"/>
                  </a:lnTo>
                  <a:lnTo>
                    <a:pt x="139" y="43"/>
                  </a:lnTo>
                  <a:lnTo>
                    <a:pt x="139" y="43"/>
                  </a:lnTo>
                  <a:lnTo>
                    <a:pt x="139" y="45"/>
                  </a:lnTo>
                  <a:close/>
                  <a:moveTo>
                    <a:pt x="163" y="66"/>
                  </a:moveTo>
                  <a:lnTo>
                    <a:pt x="163" y="66"/>
                  </a:lnTo>
                  <a:lnTo>
                    <a:pt x="161" y="68"/>
                  </a:lnTo>
                  <a:lnTo>
                    <a:pt x="161" y="68"/>
                  </a:lnTo>
                  <a:lnTo>
                    <a:pt x="159" y="68"/>
                  </a:lnTo>
                  <a:lnTo>
                    <a:pt x="157" y="70"/>
                  </a:lnTo>
                  <a:lnTo>
                    <a:pt x="149" y="78"/>
                  </a:lnTo>
                  <a:lnTo>
                    <a:pt x="149" y="80"/>
                  </a:lnTo>
                  <a:lnTo>
                    <a:pt x="149" y="84"/>
                  </a:lnTo>
                  <a:lnTo>
                    <a:pt x="149" y="84"/>
                  </a:lnTo>
                  <a:lnTo>
                    <a:pt x="149" y="86"/>
                  </a:lnTo>
                  <a:lnTo>
                    <a:pt x="151" y="86"/>
                  </a:lnTo>
                  <a:lnTo>
                    <a:pt x="151" y="86"/>
                  </a:lnTo>
                  <a:lnTo>
                    <a:pt x="151" y="86"/>
                  </a:lnTo>
                  <a:lnTo>
                    <a:pt x="153" y="90"/>
                  </a:lnTo>
                  <a:lnTo>
                    <a:pt x="155" y="90"/>
                  </a:lnTo>
                  <a:lnTo>
                    <a:pt x="157" y="90"/>
                  </a:lnTo>
                  <a:lnTo>
                    <a:pt x="157" y="90"/>
                  </a:lnTo>
                  <a:lnTo>
                    <a:pt x="157" y="92"/>
                  </a:lnTo>
                  <a:lnTo>
                    <a:pt x="155" y="98"/>
                  </a:lnTo>
                  <a:lnTo>
                    <a:pt x="155" y="100"/>
                  </a:lnTo>
                  <a:lnTo>
                    <a:pt x="157" y="103"/>
                  </a:lnTo>
                  <a:lnTo>
                    <a:pt x="155" y="105"/>
                  </a:lnTo>
                  <a:lnTo>
                    <a:pt x="157" y="107"/>
                  </a:lnTo>
                  <a:lnTo>
                    <a:pt x="157" y="109"/>
                  </a:lnTo>
                  <a:lnTo>
                    <a:pt x="159" y="109"/>
                  </a:lnTo>
                  <a:lnTo>
                    <a:pt x="159" y="111"/>
                  </a:lnTo>
                  <a:lnTo>
                    <a:pt x="159" y="111"/>
                  </a:lnTo>
                  <a:lnTo>
                    <a:pt x="161" y="111"/>
                  </a:lnTo>
                  <a:lnTo>
                    <a:pt x="161" y="111"/>
                  </a:lnTo>
                  <a:lnTo>
                    <a:pt x="163" y="109"/>
                  </a:lnTo>
                  <a:lnTo>
                    <a:pt x="163" y="109"/>
                  </a:lnTo>
                  <a:lnTo>
                    <a:pt x="166" y="111"/>
                  </a:lnTo>
                  <a:lnTo>
                    <a:pt x="166" y="113"/>
                  </a:lnTo>
                  <a:lnTo>
                    <a:pt x="166" y="115"/>
                  </a:lnTo>
                  <a:lnTo>
                    <a:pt x="166" y="117"/>
                  </a:lnTo>
                  <a:lnTo>
                    <a:pt x="166" y="119"/>
                  </a:lnTo>
                  <a:lnTo>
                    <a:pt x="166" y="119"/>
                  </a:lnTo>
                  <a:lnTo>
                    <a:pt x="168" y="117"/>
                  </a:lnTo>
                  <a:lnTo>
                    <a:pt x="170" y="119"/>
                  </a:lnTo>
                  <a:lnTo>
                    <a:pt x="168" y="119"/>
                  </a:lnTo>
                  <a:lnTo>
                    <a:pt x="168" y="119"/>
                  </a:lnTo>
                  <a:lnTo>
                    <a:pt x="170" y="119"/>
                  </a:lnTo>
                  <a:lnTo>
                    <a:pt x="170" y="119"/>
                  </a:lnTo>
                  <a:lnTo>
                    <a:pt x="170" y="119"/>
                  </a:lnTo>
                  <a:lnTo>
                    <a:pt x="170" y="119"/>
                  </a:lnTo>
                  <a:lnTo>
                    <a:pt x="172" y="117"/>
                  </a:lnTo>
                  <a:lnTo>
                    <a:pt x="172" y="115"/>
                  </a:lnTo>
                  <a:lnTo>
                    <a:pt x="174" y="115"/>
                  </a:lnTo>
                  <a:lnTo>
                    <a:pt x="174" y="115"/>
                  </a:lnTo>
                  <a:lnTo>
                    <a:pt x="172" y="113"/>
                  </a:lnTo>
                  <a:lnTo>
                    <a:pt x="172" y="111"/>
                  </a:lnTo>
                  <a:lnTo>
                    <a:pt x="172" y="109"/>
                  </a:lnTo>
                  <a:lnTo>
                    <a:pt x="168" y="103"/>
                  </a:lnTo>
                  <a:lnTo>
                    <a:pt x="166" y="103"/>
                  </a:lnTo>
                  <a:lnTo>
                    <a:pt x="166" y="100"/>
                  </a:lnTo>
                  <a:lnTo>
                    <a:pt x="163" y="98"/>
                  </a:lnTo>
                  <a:lnTo>
                    <a:pt x="161" y="100"/>
                  </a:lnTo>
                  <a:lnTo>
                    <a:pt x="161" y="103"/>
                  </a:lnTo>
                  <a:lnTo>
                    <a:pt x="163" y="105"/>
                  </a:lnTo>
                  <a:lnTo>
                    <a:pt x="161" y="107"/>
                  </a:lnTo>
                  <a:lnTo>
                    <a:pt x="159" y="107"/>
                  </a:lnTo>
                  <a:lnTo>
                    <a:pt x="159" y="105"/>
                  </a:lnTo>
                  <a:lnTo>
                    <a:pt x="159" y="100"/>
                  </a:lnTo>
                  <a:lnTo>
                    <a:pt x="161" y="94"/>
                  </a:lnTo>
                  <a:lnTo>
                    <a:pt x="161" y="90"/>
                  </a:lnTo>
                  <a:lnTo>
                    <a:pt x="161" y="88"/>
                  </a:lnTo>
                  <a:lnTo>
                    <a:pt x="159" y="86"/>
                  </a:lnTo>
                  <a:lnTo>
                    <a:pt x="157" y="84"/>
                  </a:lnTo>
                  <a:lnTo>
                    <a:pt x="157" y="84"/>
                  </a:lnTo>
                  <a:lnTo>
                    <a:pt x="155" y="82"/>
                  </a:lnTo>
                  <a:lnTo>
                    <a:pt x="155" y="82"/>
                  </a:lnTo>
                  <a:lnTo>
                    <a:pt x="153" y="82"/>
                  </a:lnTo>
                  <a:lnTo>
                    <a:pt x="151" y="82"/>
                  </a:lnTo>
                  <a:lnTo>
                    <a:pt x="151" y="80"/>
                  </a:lnTo>
                  <a:lnTo>
                    <a:pt x="155" y="82"/>
                  </a:lnTo>
                  <a:lnTo>
                    <a:pt x="157" y="80"/>
                  </a:lnTo>
                  <a:lnTo>
                    <a:pt x="157" y="80"/>
                  </a:lnTo>
                  <a:lnTo>
                    <a:pt x="157" y="78"/>
                  </a:lnTo>
                  <a:lnTo>
                    <a:pt x="157" y="76"/>
                  </a:lnTo>
                  <a:lnTo>
                    <a:pt x="159" y="80"/>
                  </a:lnTo>
                  <a:lnTo>
                    <a:pt x="159" y="78"/>
                  </a:lnTo>
                  <a:lnTo>
                    <a:pt x="161" y="76"/>
                  </a:lnTo>
                  <a:lnTo>
                    <a:pt x="161" y="76"/>
                  </a:lnTo>
                  <a:lnTo>
                    <a:pt x="163" y="76"/>
                  </a:lnTo>
                  <a:lnTo>
                    <a:pt x="163" y="78"/>
                  </a:lnTo>
                  <a:lnTo>
                    <a:pt x="166" y="78"/>
                  </a:lnTo>
                  <a:lnTo>
                    <a:pt x="166" y="78"/>
                  </a:lnTo>
                  <a:lnTo>
                    <a:pt x="168" y="78"/>
                  </a:lnTo>
                  <a:lnTo>
                    <a:pt x="168" y="76"/>
                  </a:lnTo>
                  <a:lnTo>
                    <a:pt x="163" y="72"/>
                  </a:lnTo>
                  <a:lnTo>
                    <a:pt x="163" y="70"/>
                  </a:lnTo>
                  <a:lnTo>
                    <a:pt x="163" y="68"/>
                  </a:lnTo>
                  <a:lnTo>
                    <a:pt x="163" y="68"/>
                  </a:lnTo>
                  <a:lnTo>
                    <a:pt x="163" y="68"/>
                  </a:lnTo>
                  <a:lnTo>
                    <a:pt x="163" y="66"/>
                  </a:lnTo>
                  <a:close/>
                  <a:moveTo>
                    <a:pt x="168" y="35"/>
                  </a:moveTo>
                  <a:lnTo>
                    <a:pt x="168" y="35"/>
                  </a:lnTo>
                  <a:lnTo>
                    <a:pt x="166" y="35"/>
                  </a:lnTo>
                  <a:lnTo>
                    <a:pt x="166" y="35"/>
                  </a:lnTo>
                  <a:lnTo>
                    <a:pt x="166" y="35"/>
                  </a:lnTo>
                  <a:lnTo>
                    <a:pt x="168" y="37"/>
                  </a:lnTo>
                  <a:lnTo>
                    <a:pt x="170" y="37"/>
                  </a:lnTo>
                  <a:lnTo>
                    <a:pt x="170" y="35"/>
                  </a:lnTo>
                  <a:lnTo>
                    <a:pt x="170" y="35"/>
                  </a:lnTo>
                  <a:lnTo>
                    <a:pt x="168" y="33"/>
                  </a:lnTo>
                  <a:lnTo>
                    <a:pt x="168" y="35"/>
                  </a:lnTo>
                  <a:lnTo>
                    <a:pt x="168" y="35"/>
                  </a:lnTo>
                  <a:lnTo>
                    <a:pt x="168" y="35"/>
                  </a:lnTo>
                  <a:lnTo>
                    <a:pt x="168" y="35"/>
                  </a:lnTo>
                  <a:close/>
                  <a:moveTo>
                    <a:pt x="163" y="35"/>
                  </a:moveTo>
                  <a:lnTo>
                    <a:pt x="163" y="31"/>
                  </a:lnTo>
                  <a:lnTo>
                    <a:pt x="161" y="31"/>
                  </a:lnTo>
                  <a:lnTo>
                    <a:pt x="161" y="31"/>
                  </a:lnTo>
                  <a:lnTo>
                    <a:pt x="161" y="33"/>
                  </a:lnTo>
                  <a:lnTo>
                    <a:pt x="161" y="33"/>
                  </a:lnTo>
                  <a:lnTo>
                    <a:pt x="163" y="37"/>
                  </a:lnTo>
                  <a:lnTo>
                    <a:pt x="163" y="39"/>
                  </a:lnTo>
                  <a:lnTo>
                    <a:pt x="166" y="39"/>
                  </a:lnTo>
                  <a:lnTo>
                    <a:pt x="166" y="41"/>
                  </a:lnTo>
                  <a:lnTo>
                    <a:pt x="168" y="41"/>
                  </a:lnTo>
                  <a:lnTo>
                    <a:pt x="168" y="41"/>
                  </a:lnTo>
                  <a:lnTo>
                    <a:pt x="168" y="41"/>
                  </a:lnTo>
                  <a:lnTo>
                    <a:pt x="168" y="39"/>
                  </a:lnTo>
                  <a:lnTo>
                    <a:pt x="168" y="37"/>
                  </a:lnTo>
                  <a:lnTo>
                    <a:pt x="168" y="37"/>
                  </a:lnTo>
                  <a:lnTo>
                    <a:pt x="166" y="37"/>
                  </a:lnTo>
                  <a:lnTo>
                    <a:pt x="166" y="35"/>
                  </a:lnTo>
                  <a:lnTo>
                    <a:pt x="163" y="35"/>
                  </a:lnTo>
                  <a:close/>
                  <a:moveTo>
                    <a:pt x="161" y="43"/>
                  </a:moveTo>
                  <a:lnTo>
                    <a:pt x="161" y="43"/>
                  </a:lnTo>
                  <a:lnTo>
                    <a:pt x="163" y="45"/>
                  </a:lnTo>
                  <a:lnTo>
                    <a:pt x="163" y="43"/>
                  </a:lnTo>
                  <a:lnTo>
                    <a:pt x="163" y="43"/>
                  </a:lnTo>
                  <a:lnTo>
                    <a:pt x="163" y="43"/>
                  </a:lnTo>
                  <a:lnTo>
                    <a:pt x="161" y="43"/>
                  </a:lnTo>
                  <a:lnTo>
                    <a:pt x="161" y="43"/>
                  </a:lnTo>
                  <a:close/>
                  <a:moveTo>
                    <a:pt x="159" y="45"/>
                  </a:moveTo>
                  <a:lnTo>
                    <a:pt x="159" y="45"/>
                  </a:lnTo>
                  <a:lnTo>
                    <a:pt x="159" y="43"/>
                  </a:lnTo>
                  <a:lnTo>
                    <a:pt x="157" y="43"/>
                  </a:lnTo>
                  <a:lnTo>
                    <a:pt x="157" y="45"/>
                  </a:lnTo>
                  <a:lnTo>
                    <a:pt x="157" y="47"/>
                  </a:lnTo>
                  <a:lnTo>
                    <a:pt x="157" y="49"/>
                  </a:lnTo>
                  <a:lnTo>
                    <a:pt x="157" y="49"/>
                  </a:lnTo>
                  <a:lnTo>
                    <a:pt x="159" y="51"/>
                  </a:lnTo>
                  <a:lnTo>
                    <a:pt x="159" y="51"/>
                  </a:lnTo>
                  <a:lnTo>
                    <a:pt x="159" y="49"/>
                  </a:lnTo>
                  <a:lnTo>
                    <a:pt x="159" y="49"/>
                  </a:lnTo>
                  <a:lnTo>
                    <a:pt x="161" y="49"/>
                  </a:lnTo>
                  <a:lnTo>
                    <a:pt x="161" y="47"/>
                  </a:lnTo>
                  <a:lnTo>
                    <a:pt x="161" y="47"/>
                  </a:lnTo>
                  <a:lnTo>
                    <a:pt x="159" y="45"/>
                  </a:lnTo>
                  <a:lnTo>
                    <a:pt x="159" y="45"/>
                  </a:lnTo>
                  <a:close/>
                  <a:moveTo>
                    <a:pt x="153" y="172"/>
                  </a:moveTo>
                  <a:lnTo>
                    <a:pt x="151" y="172"/>
                  </a:lnTo>
                  <a:lnTo>
                    <a:pt x="151" y="172"/>
                  </a:lnTo>
                  <a:lnTo>
                    <a:pt x="151" y="174"/>
                  </a:lnTo>
                  <a:lnTo>
                    <a:pt x="151" y="176"/>
                  </a:lnTo>
                  <a:lnTo>
                    <a:pt x="153" y="174"/>
                  </a:lnTo>
                  <a:lnTo>
                    <a:pt x="155" y="172"/>
                  </a:lnTo>
                  <a:lnTo>
                    <a:pt x="159" y="172"/>
                  </a:lnTo>
                  <a:lnTo>
                    <a:pt x="159" y="172"/>
                  </a:lnTo>
                  <a:lnTo>
                    <a:pt x="159" y="170"/>
                  </a:lnTo>
                  <a:lnTo>
                    <a:pt x="157" y="170"/>
                  </a:lnTo>
                  <a:lnTo>
                    <a:pt x="155" y="168"/>
                  </a:lnTo>
                  <a:lnTo>
                    <a:pt x="155" y="166"/>
                  </a:lnTo>
                  <a:lnTo>
                    <a:pt x="155" y="166"/>
                  </a:lnTo>
                  <a:lnTo>
                    <a:pt x="155" y="164"/>
                  </a:lnTo>
                  <a:lnTo>
                    <a:pt x="155" y="162"/>
                  </a:lnTo>
                  <a:lnTo>
                    <a:pt x="155" y="162"/>
                  </a:lnTo>
                  <a:lnTo>
                    <a:pt x="155" y="162"/>
                  </a:lnTo>
                  <a:lnTo>
                    <a:pt x="155" y="160"/>
                  </a:lnTo>
                  <a:lnTo>
                    <a:pt x="155" y="160"/>
                  </a:lnTo>
                  <a:lnTo>
                    <a:pt x="155" y="160"/>
                  </a:lnTo>
                  <a:lnTo>
                    <a:pt x="153" y="160"/>
                  </a:lnTo>
                  <a:lnTo>
                    <a:pt x="151" y="162"/>
                  </a:lnTo>
                  <a:lnTo>
                    <a:pt x="151" y="162"/>
                  </a:lnTo>
                  <a:lnTo>
                    <a:pt x="149" y="170"/>
                  </a:lnTo>
                  <a:lnTo>
                    <a:pt x="147" y="170"/>
                  </a:lnTo>
                  <a:lnTo>
                    <a:pt x="147" y="172"/>
                  </a:lnTo>
                  <a:lnTo>
                    <a:pt x="147" y="172"/>
                  </a:lnTo>
                  <a:lnTo>
                    <a:pt x="147" y="174"/>
                  </a:lnTo>
                  <a:lnTo>
                    <a:pt x="147" y="174"/>
                  </a:lnTo>
                  <a:lnTo>
                    <a:pt x="147" y="174"/>
                  </a:lnTo>
                  <a:lnTo>
                    <a:pt x="149" y="176"/>
                  </a:lnTo>
                  <a:lnTo>
                    <a:pt x="149" y="174"/>
                  </a:lnTo>
                  <a:lnTo>
                    <a:pt x="149" y="174"/>
                  </a:lnTo>
                  <a:lnTo>
                    <a:pt x="149" y="174"/>
                  </a:lnTo>
                  <a:lnTo>
                    <a:pt x="151" y="172"/>
                  </a:lnTo>
                  <a:lnTo>
                    <a:pt x="151" y="170"/>
                  </a:lnTo>
                  <a:lnTo>
                    <a:pt x="151" y="170"/>
                  </a:lnTo>
                  <a:lnTo>
                    <a:pt x="153" y="170"/>
                  </a:lnTo>
                  <a:lnTo>
                    <a:pt x="153" y="170"/>
                  </a:lnTo>
                  <a:lnTo>
                    <a:pt x="153" y="170"/>
                  </a:lnTo>
                  <a:lnTo>
                    <a:pt x="155" y="170"/>
                  </a:lnTo>
                  <a:lnTo>
                    <a:pt x="153" y="170"/>
                  </a:lnTo>
                  <a:lnTo>
                    <a:pt x="153" y="172"/>
                  </a:lnTo>
                  <a:close/>
                  <a:moveTo>
                    <a:pt x="149" y="148"/>
                  </a:moveTo>
                  <a:lnTo>
                    <a:pt x="149" y="148"/>
                  </a:lnTo>
                  <a:lnTo>
                    <a:pt x="149" y="148"/>
                  </a:lnTo>
                  <a:lnTo>
                    <a:pt x="151" y="148"/>
                  </a:lnTo>
                  <a:lnTo>
                    <a:pt x="151" y="150"/>
                  </a:lnTo>
                  <a:lnTo>
                    <a:pt x="153" y="152"/>
                  </a:lnTo>
                  <a:lnTo>
                    <a:pt x="155" y="150"/>
                  </a:lnTo>
                  <a:lnTo>
                    <a:pt x="155" y="150"/>
                  </a:lnTo>
                  <a:lnTo>
                    <a:pt x="155" y="150"/>
                  </a:lnTo>
                  <a:lnTo>
                    <a:pt x="155" y="150"/>
                  </a:lnTo>
                  <a:lnTo>
                    <a:pt x="155" y="148"/>
                  </a:lnTo>
                  <a:lnTo>
                    <a:pt x="155" y="148"/>
                  </a:lnTo>
                  <a:lnTo>
                    <a:pt x="155" y="148"/>
                  </a:lnTo>
                  <a:lnTo>
                    <a:pt x="155" y="146"/>
                  </a:lnTo>
                  <a:lnTo>
                    <a:pt x="153" y="146"/>
                  </a:lnTo>
                  <a:lnTo>
                    <a:pt x="155" y="146"/>
                  </a:lnTo>
                  <a:lnTo>
                    <a:pt x="155" y="146"/>
                  </a:lnTo>
                  <a:lnTo>
                    <a:pt x="155" y="144"/>
                  </a:lnTo>
                  <a:lnTo>
                    <a:pt x="155" y="144"/>
                  </a:lnTo>
                  <a:lnTo>
                    <a:pt x="155" y="141"/>
                  </a:lnTo>
                  <a:lnTo>
                    <a:pt x="155" y="137"/>
                  </a:lnTo>
                  <a:lnTo>
                    <a:pt x="155" y="137"/>
                  </a:lnTo>
                  <a:lnTo>
                    <a:pt x="155" y="137"/>
                  </a:lnTo>
                  <a:lnTo>
                    <a:pt x="153" y="135"/>
                  </a:lnTo>
                  <a:lnTo>
                    <a:pt x="153" y="135"/>
                  </a:lnTo>
                  <a:lnTo>
                    <a:pt x="153" y="135"/>
                  </a:lnTo>
                  <a:lnTo>
                    <a:pt x="151" y="137"/>
                  </a:lnTo>
                  <a:lnTo>
                    <a:pt x="151" y="137"/>
                  </a:lnTo>
                  <a:lnTo>
                    <a:pt x="151" y="139"/>
                  </a:lnTo>
                  <a:lnTo>
                    <a:pt x="149" y="139"/>
                  </a:lnTo>
                  <a:lnTo>
                    <a:pt x="149" y="141"/>
                  </a:lnTo>
                  <a:lnTo>
                    <a:pt x="149" y="141"/>
                  </a:lnTo>
                  <a:lnTo>
                    <a:pt x="149" y="144"/>
                  </a:lnTo>
                  <a:lnTo>
                    <a:pt x="149" y="144"/>
                  </a:lnTo>
                  <a:lnTo>
                    <a:pt x="149" y="146"/>
                  </a:lnTo>
                  <a:lnTo>
                    <a:pt x="149" y="148"/>
                  </a:lnTo>
                  <a:close/>
                  <a:moveTo>
                    <a:pt x="131" y="187"/>
                  </a:moveTo>
                  <a:lnTo>
                    <a:pt x="129" y="187"/>
                  </a:lnTo>
                  <a:lnTo>
                    <a:pt x="129" y="189"/>
                  </a:lnTo>
                  <a:lnTo>
                    <a:pt x="129" y="189"/>
                  </a:lnTo>
                  <a:lnTo>
                    <a:pt x="127" y="189"/>
                  </a:lnTo>
                  <a:lnTo>
                    <a:pt x="127" y="189"/>
                  </a:lnTo>
                  <a:lnTo>
                    <a:pt x="127" y="191"/>
                  </a:lnTo>
                  <a:lnTo>
                    <a:pt x="127" y="191"/>
                  </a:lnTo>
                  <a:lnTo>
                    <a:pt x="127" y="193"/>
                  </a:lnTo>
                  <a:lnTo>
                    <a:pt x="129" y="193"/>
                  </a:lnTo>
                  <a:lnTo>
                    <a:pt x="129" y="193"/>
                  </a:lnTo>
                  <a:lnTo>
                    <a:pt x="129" y="193"/>
                  </a:lnTo>
                  <a:lnTo>
                    <a:pt x="131" y="193"/>
                  </a:lnTo>
                  <a:lnTo>
                    <a:pt x="131" y="193"/>
                  </a:lnTo>
                  <a:lnTo>
                    <a:pt x="133" y="191"/>
                  </a:lnTo>
                  <a:lnTo>
                    <a:pt x="133" y="189"/>
                  </a:lnTo>
                  <a:lnTo>
                    <a:pt x="133" y="189"/>
                  </a:lnTo>
                  <a:lnTo>
                    <a:pt x="131" y="189"/>
                  </a:lnTo>
                  <a:lnTo>
                    <a:pt x="131" y="187"/>
                  </a:lnTo>
                  <a:close/>
                  <a:moveTo>
                    <a:pt x="120" y="176"/>
                  </a:moveTo>
                  <a:lnTo>
                    <a:pt x="120" y="174"/>
                  </a:lnTo>
                  <a:lnTo>
                    <a:pt x="120" y="174"/>
                  </a:lnTo>
                  <a:lnTo>
                    <a:pt x="123" y="174"/>
                  </a:lnTo>
                  <a:lnTo>
                    <a:pt x="120" y="174"/>
                  </a:lnTo>
                  <a:lnTo>
                    <a:pt x="120" y="174"/>
                  </a:lnTo>
                  <a:lnTo>
                    <a:pt x="118" y="174"/>
                  </a:lnTo>
                  <a:lnTo>
                    <a:pt x="118" y="174"/>
                  </a:lnTo>
                  <a:lnTo>
                    <a:pt x="116" y="174"/>
                  </a:lnTo>
                  <a:lnTo>
                    <a:pt x="116" y="174"/>
                  </a:lnTo>
                  <a:lnTo>
                    <a:pt x="116" y="176"/>
                  </a:lnTo>
                  <a:lnTo>
                    <a:pt x="114" y="178"/>
                  </a:lnTo>
                  <a:lnTo>
                    <a:pt x="114" y="178"/>
                  </a:lnTo>
                  <a:lnTo>
                    <a:pt x="114" y="180"/>
                  </a:lnTo>
                  <a:lnTo>
                    <a:pt x="116" y="182"/>
                  </a:lnTo>
                  <a:lnTo>
                    <a:pt x="116" y="182"/>
                  </a:lnTo>
                  <a:lnTo>
                    <a:pt x="116" y="182"/>
                  </a:lnTo>
                  <a:lnTo>
                    <a:pt x="116" y="185"/>
                  </a:lnTo>
                  <a:lnTo>
                    <a:pt x="116" y="185"/>
                  </a:lnTo>
                  <a:lnTo>
                    <a:pt x="116" y="187"/>
                  </a:lnTo>
                  <a:lnTo>
                    <a:pt x="118" y="185"/>
                  </a:lnTo>
                  <a:lnTo>
                    <a:pt x="120" y="185"/>
                  </a:lnTo>
                  <a:lnTo>
                    <a:pt x="120" y="182"/>
                  </a:lnTo>
                  <a:lnTo>
                    <a:pt x="120" y="180"/>
                  </a:lnTo>
                  <a:lnTo>
                    <a:pt x="120" y="180"/>
                  </a:lnTo>
                  <a:lnTo>
                    <a:pt x="118" y="178"/>
                  </a:lnTo>
                  <a:lnTo>
                    <a:pt x="118" y="176"/>
                  </a:lnTo>
                  <a:lnTo>
                    <a:pt x="120" y="176"/>
                  </a:lnTo>
                  <a:close/>
                  <a:moveTo>
                    <a:pt x="18" y="238"/>
                  </a:moveTo>
                  <a:lnTo>
                    <a:pt x="18" y="238"/>
                  </a:lnTo>
                  <a:lnTo>
                    <a:pt x="18" y="240"/>
                  </a:lnTo>
                  <a:lnTo>
                    <a:pt x="20" y="244"/>
                  </a:lnTo>
                  <a:lnTo>
                    <a:pt x="20" y="242"/>
                  </a:lnTo>
                  <a:lnTo>
                    <a:pt x="20" y="242"/>
                  </a:lnTo>
                  <a:lnTo>
                    <a:pt x="22" y="240"/>
                  </a:lnTo>
                  <a:lnTo>
                    <a:pt x="22" y="238"/>
                  </a:lnTo>
                  <a:lnTo>
                    <a:pt x="20" y="236"/>
                  </a:lnTo>
                  <a:lnTo>
                    <a:pt x="20" y="236"/>
                  </a:lnTo>
                  <a:lnTo>
                    <a:pt x="20" y="236"/>
                  </a:lnTo>
                  <a:lnTo>
                    <a:pt x="20" y="234"/>
                  </a:lnTo>
                  <a:lnTo>
                    <a:pt x="20" y="234"/>
                  </a:lnTo>
                  <a:lnTo>
                    <a:pt x="18" y="236"/>
                  </a:lnTo>
                  <a:lnTo>
                    <a:pt x="18" y="236"/>
                  </a:lnTo>
                  <a:lnTo>
                    <a:pt x="18" y="238"/>
                  </a:lnTo>
                  <a:lnTo>
                    <a:pt x="18" y="238"/>
                  </a:lnTo>
                  <a:close/>
                  <a:moveTo>
                    <a:pt x="127" y="33"/>
                  </a:moveTo>
                  <a:lnTo>
                    <a:pt x="129" y="33"/>
                  </a:lnTo>
                  <a:lnTo>
                    <a:pt x="129" y="35"/>
                  </a:lnTo>
                  <a:lnTo>
                    <a:pt x="131" y="35"/>
                  </a:lnTo>
                  <a:lnTo>
                    <a:pt x="131" y="35"/>
                  </a:lnTo>
                  <a:lnTo>
                    <a:pt x="131" y="35"/>
                  </a:lnTo>
                  <a:lnTo>
                    <a:pt x="131" y="35"/>
                  </a:lnTo>
                  <a:lnTo>
                    <a:pt x="131" y="35"/>
                  </a:lnTo>
                  <a:lnTo>
                    <a:pt x="129" y="33"/>
                  </a:lnTo>
                  <a:lnTo>
                    <a:pt x="129" y="33"/>
                  </a:lnTo>
                  <a:lnTo>
                    <a:pt x="129" y="33"/>
                  </a:lnTo>
                  <a:lnTo>
                    <a:pt x="127" y="33"/>
                  </a:lnTo>
                  <a:lnTo>
                    <a:pt x="127" y="33"/>
                  </a:lnTo>
                  <a:close/>
                  <a:moveTo>
                    <a:pt x="137" y="31"/>
                  </a:moveTo>
                  <a:lnTo>
                    <a:pt x="137" y="31"/>
                  </a:lnTo>
                  <a:lnTo>
                    <a:pt x="137" y="31"/>
                  </a:lnTo>
                  <a:lnTo>
                    <a:pt x="139" y="31"/>
                  </a:lnTo>
                  <a:lnTo>
                    <a:pt x="139" y="31"/>
                  </a:lnTo>
                  <a:lnTo>
                    <a:pt x="139" y="31"/>
                  </a:lnTo>
                  <a:lnTo>
                    <a:pt x="139" y="29"/>
                  </a:lnTo>
                  <a:lnTo>
                    <a:pt x="139" y="27"/>
                  </a:lnTo>
                  <a:lnTo>
                    <a:pt x="137" y="27"/>
                  </a:lnTo>
                  <a:lnTo>
                    <a:pt x="137" y="29"/>
                  </a:lnTo>
                  <a:lnTo>
                    <a:pt x="135" y="29"/>
                  </a:lnTo>
                  <a:lnTo>
                    <a:pt x="135" y="29"/>
                  </a:lnTo>
                  <a:lnTo>
                    <a:pt x="137" y="31"/>
                  </a:lnTo>
                  <a:lnTo>
                    <a:pt x="137" y="31"/>
                  </a:lnTo>
                  <a:close/>
                  <a:moveTo>
                    <a:pt x="129" y="37"/>
                  </a:moveTo>
                  <a:lnTo>
                    <a:pt x="127" y="37"/>
                  </a:lnTo>
                  <a:lnTo>
                    <a:pt x="125" y="37"/>
                  </a:lnTo>
                  <a:lnTo>
                    <a:pt x="125" y="39"/>
                  </a:lnTo>
                  <a:lnTo>
                    <a:pt x="125" y="39"/>
                  </a:lnTo>
                  <a:lnTo>
                    <a:pt x="125" y="43"/>
                  </a:lnTo>
                  <a:lnTo>
                    <a:pt x="125" y="47"/>
                  </a:lnTo>
                  <a:lnTo>
                    <a:pt x="125" y="47"/>
                  </a:lnTo>
                  <a:lnTo>
                    <a:pt x="125" y="49"/>
                  </a:lnTo>
                  <a:lnTo>
                    <a:pt x="127" y="49"/>
                  </a:lnTo>
                  <a:lnTo>
                    <a:pt x="127" y="49"/>
                  </a:lnTo>
                  <a:lnTo>
                    <a:pt x="129" y="51"/>
                  </a:lnTo>
                  <a:lnTo>
                    <a:pt x="129" y="51"/>
                  </a:lnTo>
                  <a:lnTo>
                    <a:pt x="131" y="51"/>
                  </a:lnTo>
                  <a:lnTo>
                    <a:pt x="131" y="51"/>
                  </a:lnTo>
                  <a:lnTo>
                    <a:pt x="131" y="51"/>
                  </a:lnTo>
                  <a:lnTo>
                    <a:pt x="133" y="53"/>
                  </a:lnTo>
                  <a:lnTo>
                    <a:pt x="133" y="53"/>
                  </a:lnTo>
                  <a:lnTo>
                    <a:pt x="133" y="53"/>
                  </a:lnTo>
                  <a:lnTo>
                    <a:pt x="133" y="55"/>
                  </a:lnTo>
                  <a:lnTo>
                    <a:pt x="135" y="55"/>
                  </a:lnTo>
                  <a:lnTo>
                    <a:pt x="135" y="55"/>
                  </a:lnTo>
                  <a:lnTo>
                    <a:pt x="137" y="55"/>
                  </a:lnTo>
                  <a:lnTo>
                    <a:pt x="137" y="55"/>
                  </a:lnTo>
                  <a:lnTo>
                    <a:pt x="137" y="55"/>
                  </a:lnTo>
                  <a:lnTo>
                    <a:pt x="137" y="53"/>
                  </a:lnTo>
                  <a:lnTo>
                    <a:pt x="135" y="53"/>
                  </a:lnTo>
                  <a:lnTo>
                    <a:pt x="135" y="53"/>
                  </a:lnTo>
                  <a:lnTo>
                    <a:pt x="135" y="49"/>
                  </a:lnTo>
                  <a:lnTo>
                    <a:pt x="135" y="49"/>
                  </a:lnTo>
                  <a:lnTo>
                    <a:pt x="135" y="49"/>
                  </a:lnTo>
                  <a:lnTo>
                    <a:pt x="135" y="49"/>
                  </a:lnTo>
                  <a:lnTo>
                    <a:pt x="137" y="49"/>
                  </a:lnTo>
                  <a:lnTo>
                    <a:pt x="137" y="49"/>
                  </a:lnTo>
                  <a:lnTo>
                    <a:pt x="137" y="47"/>
                  </a:lnTo>
                  <a:lnTo>
                    <a:pt x="139" y="47"/>
                  </a:lnTo>
                  <a:lnTo>
                    <a:pt x="137" y="45"/>
                  </a:lnTo>
                  <a:lnTo>
                    <a:pt x="135" y="43"/>
                  </a:lnTo>
                  <a:lnTo>
                    <a:pt x="133" y="41"/>
                  </a:lnTo>
                  <a:lnTo>
                    <a:pt x="133" y="41"/>
                  </a:lnTo>
                  <a:lnTo>
                    <a:pt x="131" y="39"/>
                  </a:lnTo>
                  <a:lnTo>
                    <a:pt x="131" y="37"/>
                  </a:lnTo>
                  <a:lnTo>
                    <a:pt x="129" y="37"/>
                  </a:lnTo>
                  <a:close/>
                  <a:moveTo>
                    <a:pt x="579" y="80"/>
                  </a:moveTo>
                  <a:lnTo>
                    <a:pt x="563" y="78"/>
                  </a:lnTo>
                  <a:lnTo>
                    <a:pt x="546" y="76"/>
                  </a:lnTo>
                  <a:lnTo>
                    <a:pt x="530" y="72"/>
                  </a:lnTo>
                  <a:lnTo>
                    <a:pt x="514" y="70"/>
                  </a:lnTo>
                  <a:lnTo>
                    <a:pt x="497" y="68"/>
                  </a:lnTo>
                  <a:lnTo>
                    <a:pt x="481" y="64"/>
                  </a:lnTo>
                  <a:lnTo>
                    <a:pt x="465" y="62"/>
                  </a:lnTo>
                  <a:lnTo>
                    <a:pt x="448" y="60"/>
                  </a:lnTo>
                  <a:lnTo>
                    <a:pt x="432" y="55"/>
                  </a:lnTo>
                  <a:lnTo>
                    <a:pt x="415" y="53"/>
                  </a:lnTo>
                  <a:lnTo>
                    <a:pt x="399" y="49"/>
                  </a:lnTo>
                  <a:lnTo>
                    <a:pt x="383" y="47"/>
                  </a:lnTo>
                  <a:lnTo>
                    <a:pt x="366" y="45"/>
                  </a:lnTo>
                  <a:lnTo>
                    <a:pt x="350" y="41"/>
                  </a:lnTo>
                  <a:lnTo>
                    <a:pt x="333" y="39"/>
                  </a:lnTo>
                  <a:lnTo>
                    <a:pt x="317" y="35"/>
                  </a:lnTo>
                  <a:lnTo>
                    <a:pt x="301" y="33"/>
                  </a:lnTo>
                  <a:lnTo>
                    <a:pt x="284" y="29"/>
                  </a:lnTo>
                  <a:lnTo>
                    <a:pt x="270" y="25"/>
                  </a:lnTo>
                  <a:lnTo>
                    <a:pt x="254" y="23"/>
                  </a:lnTo>
                  <a:lnTo>
                    <a:pt x="237" y="19"/>
                  </a:lnTo>
                  <a:lnTo>
                    <a:pt x="221" y="16"/>
                  </a:lnTo>
                  <a:lnTo>
                    <a:pt x="204" y="12"/>
                  </a:lnTo>
                  <a:lnTo>
                    <a:pt x="188" y="10"/>
                  </a:lnTo>
                  <a:lnTo>
                    <a:pt x="172" y="6"/>
                  </a:lnTo>
                  <a:lnTo>
                    <a:pt x="163" y="4"/>
                  </a:lnTo>
                  <a:lnTo>
                    <a:pt x="163" y="4"/>
                  </a:lnTo>
                  <a:lnTo>
                    <a:pt x="166" y="6"/>
                  </a:lnTo>
                  <a:lnTo>
                    <a:pt x="166" y="8"/>
                  </a:lnTo>
                  <a:lnTo>
                    <a:pt x="161" y="6"/>
                  </a:lnTo>
                  <a:lnTo>
                    <a:pt x="159" y="6"/>
                  </a:lnTo>
                  <a:lnTo>
                    <a:pt x="159" y="8"/>
                  </a:lnTo>
                  <a:lnTo>
                    <a:pt x="159" y="10"/>
                  </a:lnTo>
                  <a:lnTo>
                    <a:pt x="163" y="10"/>
                  </a:lnTo>
                  <a:lnTo>
                    <a:pt x="163" y="12"/>
                  </a:lnTo>
                  <a:lnTo>
                    <a:pt x="163" y="12"/>
                  </a:lnTo>
                  <a:lnTo>
                    <a:pt x="161" y="12"/>
                  </a:lnTo>
                  <a:lnTo>
                    <a:pt x="161" y="14"/>
                  </a:lnTo>
                  <a:lnTo>
                    <a:pt x="161" y="14"/>
                  </a:lnTo>
                  <a:lnTo>
                    <a:pt x="161" y="16"/>
                  </a:lnTo>
                  <a:lnTo>
                    <a:pt x="161" y="16"/>
                  </a:lnTo>
                  <a:lnTo>
                    <a:pt x="163" y="21"/>
                  </a:lnTo>
                  <a:lnTo>
                    <a:pt x="166" y="23"/>
                  </a:lnTo>
                  <a:lnTo>
                    <a:pt x="166" y="23"/>
                  </a:lnTo>
                  <a:lnTo>
                    <a:pt x="163" y="27"/>
                  </a:lnTo>
                  <a:lnTo>
                    <a:pt x="166" y="25"/>
                  </a:lnTo>
                  <a:lnTo>
                    <a:pt x="166" y="25"/>
                  </a:lnTo>
                  <a:lnTo>
                    <a:pt x="168" y="27"/>
                  </a:lnTo>
                  <a:lnTo>
                    <a:pt x="168" y="29"/>
                  </a:lnTo>
                  <a:lnTo>
                    <a:pt x="168" y="29"/>
                  </a:lnTo>
                  <a:lnTo>
                    <a:pt x="166" y="31"/>
                  </a:lnTo>
                  <a:lnTo>
                    <a:pt x="166" y="31"/>
                  </a:lnTo>
                  <a:lnTo>
                    <a:pt x="166" y="33"/>
                  </a:lnTo>
                  <a:lnTo>
                    <a:pt x="166" y="33"/>
                  </a:lnTo>
                  <a:lnTo>
                    <a:pt x="166" y="33"/>
                  </a:lnTo>
                  <a:lnTo>
                    <a:pt x="168" y="33"/>
                  </a:lnTo>
                  <a:lnTo>
                    <a:pt x="170" y="31"/>
                  </a:lnTo>
                  <a:lnTo>
                    <a:pt x="172" y="29"/>
                  </a:lnTo>
                  <a:lnTo>
                    <a:pt x="174" y="29"/>
                  </a:lnTo>
                  <a:lnTo>
                    <a:pt x="174" y="29"/>
                  </a:lnTo>
                  <a:lnTo>
                    <a:pt x="176" y="31"/>
                  </a:lnTo>
                  <a:lnTo>
                    <a:pt x="178" y="33"/>
                  </a:lnTo>
                  <a:lnTo>
                    <a:pt x="178" y="33"/>
                  </a:lnTo>
                  <a:lnTo>
                    <a:pt x="176" y="37"/>
                  </a:lnTo>
                  <a:lnTo>
                    <a:pt x="176" y="39"/>
                  </a:lnTo>
                  <a:lnTo>
                    <a:pt x="176" y="39"/>
                  </a:lnTo>
                  <a:lnTo>
                    <a:pt x="176" y="39"/>
                  </a:lnTo>
                  <a:lnTo>
                    <a:pt x="176" y="43"/>
                  </a:lnTo>
                  <a:lnTo>
                    <a:pt x="176" y="43"/>
                  </a:lnTo>
                  <a:lnTo>
                    <a:pt x="178" y="45"/>
                  </a:lnTo>
                  <a:lnTo>
                    <a:pt x="178" y="45"/>
                  </a:lnTo>
                  <a:lnTo>
                    <a:pt x="178" y="45"/>
                  </a:lnTo>
                  <a:lnTo>
                    <a:pt x="178" y="45"/>
                  </a:lnTo>
                  <a:lnTo>
                    <a:pt x="180" y="49"/>
                  </a:lnTo>
                  <a:lnTo>
                    <a:pt x="180" y="51"/>
                  </a:lnTo>
                  <a:lnTo>
                    <a:pt x="178" y="51"/>
                  </a:lnTo>
                  <a:lnTo>
                    <a:pt x="176" y="53"/>
                  </a:lnTo>
                  <a:lnTo>
                    <a:pt x="176" y="51"/>
                  </a:lnTo>
                  <a:lnTo>
                    <a:pt x="174" y="49"/>
                  </a:lnTo>
                  <a:lnTo>
                    <a:pt x="172" y="47"/>
                  </a:lnTo>
                  <a:lnTo>
                    <a:pt x="170" y="47"/>
                  </a:lnTo>
                  <a:lnTo>
                    <a:pt x="170" y="49"/>
                  </a:lnTo>
                  <a:lnTo>
                    <a:pt x="174" y="51"/>
                  </a:lnTo>
                  <a:lnTo>
                    <a:pt x="174" y="53"/>
                  </a:lnTo>
                  <a:lnTo>
                    <a:pt x="174" y="55"/>
                  </a:lnTo>
                  <a:lnTo>
                    <a:pt x="174" y="57"/>
                  </a:lnTo>
                  <a:lnTo>
                    <a:pt x="174" y="60"/>
                  </a:lnTo>
                  <a:lnTo>
                    <a:pt x="174" y="60"/>
                  </a:lnTo>
                  <a:lnTo>
                    <a:pt x="174" y="62"/>
                  </a:lnTo>
                  <a:lnTo>
                    <a:pt x="174" y="62"/>
                  </a:lnTo>
                  <a:lnTo>
                    <a:pt x="174" y="62"/>
                  </a:lnTo>
                  <a:lnTo>
                    <a:pt x="172" y="64"/>
                  </a:lnTo>
                  <a:lnTo>
                    <a:pt x="172" y="62"/>
                  </a:lnTo>
                  <a:lnTo>
                    <a:pt x="170" y="62"/>
                  </a:lnTo>
                  <a:lnTo>
                    <a:pt x="170" y="60"/>
                  </a:lnTo>
                  <a:lnTo>
                    <a:pt x="168" y="57"/>
                  </a:lnTo>
                  <a:lnTo>
                    <a:pt x="166" y="57"/>
                  </a:lnTo>
                  <a:lnTo>
                    <a:pt x="166" y="62"/>
                  </a:lnTo>
                  <a:lnTo>
                    <a:pt x="166" y="60"/>
                  </a:lnTo>
                  <a:lnTo>
                    <a:pt x="163" y="55"/>
                  </a:lnTo>
                  <a:lnTo>
                    <a:pt x="163" y="53"/>
                  </a:lnTo>
                  <a:lnTo>
                    <a:pt x="161" y="55"/>
                  </a:lnTo>
                  <a:lnTo>
                    <a:pt x="159" y="55"/>
                  </a:lnTo>
                  <a:lnTo>
                    <a:pt x="159" y="55"/>
                  </a:lnTo>
                  <a:lnTo>
                    <a:pt x="157" y="55"/>
                  </a:lnTo>
                  <a:lnTo>
                    <a:pt x="157" y="55"/>
                  </a:lnTo>
                  <a:lnTo>
                    <a:pt x="157" y="57"/>
                  </a:lnTo>
                  <a:lnTo>
                    <a:pt x="159" y="57"/>
                  </a:lnTo>
                  <a:lnTo>
                    <a:pt x="159" y="57"/>
                  </a:lnTo>
                  <a:lnTo>
                    <a:pt x="159" y="60"/>
                  </a:lnTo>
                  <a:lnTo>
                    <a:pt x="159" y="62"/>
                  </a:lnTo>
                  <a:lnTo>
                    <a:pt x="157" y="62"/>
                  </a:lnTo>
                  <a:lnTo>
                    <a:pt x="157" y="62"/>
                  </a:lnTo>
                  <a:lnTo>
                    <a:pt x="157" y="64"/>
                  </a:lnTo>
                  <a:lnTo>
                    <a:pt x="159" y="64"/>
                  </a:lnTo>
                  <a:lnTo>
                    <a:pt x="159" y="66"/>
                  </a:lnTo>
                  <a:lnTo>
                    <a:pt x="161" y="66"/>
                  </a:lnTo>
                  <a:lnTo>
                    <a:pt x="161" y="66"/>
                  </a:lnTo>
                  <a:lnTo>
                    <a:pt x="163" y="64"/>
                  </a:lnTo>
                  <a:lnTo>
                    <a:pt x="166" y="64"/>
                  </a:lnTo>
                  <a:lnTo>
                    <a:pt x="166" y="64"/>
                  </a:lnTo>
                  <a:lnTo>
                    <a:pt x="166" y="64"/>
                  </a:lnTo>
                  <a:lnTo>
                    <a:pt x="168" y="64"/>
                  </a:lnTo>
                  <a:lnTo>
                    <a:pt x="168" y="64"/>
                  </a:lnTo>
                  <a:lnTo>
                    <a:pt x="166" y="66"/>
                  </a:lnTo>
                  <a:lnTo>
                    <a:pt x="166" y="66"/>
                  </a:lnTo>
                  <a:lnTo>
                    <a:pt x="168" y="68"/>
                  </a:lnTo>
                  <a:lnTo>
                    <a:pt x="168" y="70"/>
                  </a:lnTo>
                  <a:lnTo>
                    <a:pt x="168" y="70"/>
                  </a:lnTo>
                  <a:lnTo>
                    <a:pt x="170" y="72"/>
                  </a:lnTo>
                  <a:lnTo>
                    <a:pt x="172" y="72"/>
                  </a:lnTo>
                  <a:lnTo>
                    <a:pt x="172" y="72"/>
                  </a:lnTo>
                  <a:lnTo>
                    <a:pt x="174" y="74"/>
                  </a:lnTo>
                  <a:lnTo>
                    <a:pt x="176" y="76"/>
                  </a:lnTo>
                  <a:lnTo>
                    <a:pt x="178" y="78"/>
                  </a:lnTo>
                  <a:lnTo>
                    <a:pt x="178" y="80"/>
                  </a:lnTo>
                  <a:lnTo>
                    <a:pt x="178" y="80"/>
                  </a:lnTo>
                  <a:lnTo>
                    <a:pt x="178" y="82"/>
                  </a:lnTo>
                  <a:lnTo>
                    <a:pt x="178" y="82"/>
                  </a:lnTo>
                  <a:lnTo>
                    <a:pt x="176" y="84"/>
                  </a:lnTo>
                  <a:lnTo>
                    <a:pt x="176" y="84"/>
                  </a:lnTo>
                  <a:lnTo>
                    <a:pt x="176" y="86"/>
                  </a:lnTo>
                  <a:lnTo>
                    <a:pt x="176" y="86"/>
                  </a:lnTo>
                  <a:lnTo>
                    <a:pt x="174" y="84"/>
                  </a:lnTo>
                  <a:lnTo>
                    <a:pt x="174" y="84"/>
                  </a:lnTo>
                  <a:lnTo>
                    <a:pt x="174" y="82"/>
                  </a:lnTo>
                  <a:lnTo>
                    <a:pt x="172" y="82"/>
                  </a:lnTo>
                  <a:lnTo>
                    <a:pt x="170" y="82"/>
                  </a:lnTo>
                  <a:lnTo>
                    <a:pt x="168" y="82"/>
                  </a:lnTo>
                  <a:lnTo>
                    <a:pt x="166" y="84"/>
                  </a:lnTo>
                  <a:lnTo>
                    <a:pt x="166" y="86"/>
                  </a:lnTo>
                  <a:lnTo>
                    <a:pt x="163" y="88"/>
                  </a:lnTo>
                  <a:lnTo>
                    <a:pt x="163" y="90"/>
                  </a:lnTo>
                  <a:lnTo>
                    <a:pt x="166" y="92"/>
                  </a:lnTo>
                  <a:lnTo>
                    <a:pt x="166" y="94"/>
                  </a:lnTo>
                  <a:lnTo>
                    <a:pt x="172" y="100"/>
                  </a:lnTo>
                  <a:lnTo>
                    <a:pt x="172" y="100"/>
                  </a:lnTo>
                  <a:lnTo>
                    <a:pt x="174" y="105"/>
                  </a:lnTo>
                  <a:lnTo>
                    <a:pt x="174" y="105"/>
                  </a:lnTo>
                  <a:lnTo>
                    <a:pt x="176" y="105"/>
                  </a:lnTo>
                  <a:lnTo>
                    <a:pt x="174" y="100"/>
                  </a:lnTo>
                  <a:lnTo>
                    <a:pt x="174" y="100"/>
                  </a:lnTo>
                  <a:lnTo>
                    <a:pt x="172" y="98"/>
                  </a:lnTo>
                  <a:lnTo>
                    <a:pt x="172" y="98"/>
                  </a:lnTo>
                  <a:lnTo>
                    <a:pt x="170" y="96"/>
                  </a:lnTo>
                  <a:lnTo>
                    <a:pt x="170" y="94"/>
                  </a:lnTo>
                  <a:lnTo>
                    <a:pt x="170" y="94"/>
                  </a:lnTo>
                  <a:lnTo>
                    <a:pt x="168" y="92"/>
                  </a:lnTo>
                  <a:lnTo>
                    <a:pt x="168" y="90"/>
                  </a:lnTo>
                  <a:lnTo>
                    <a:pt x="170" y="88"/>
                  </a:lnTo>
                  <a:lnTo>
                    <a:pt x="172" y="88"/>
                  </a:lnTo>
                  <a:lnTo>
                    <a:pt x="172" y="86"/>
                  </a:lnTo>
                  <a:lnTo>
                    <a:pt x="172" y="86"/>
                  </a:lnTo>
                  <a:lnTo>
                    <a:pt x="172" y="86"/>
                  </a:lnTo>
                  <a:lnTo>
                    <a:pt x="174" y="86"/>
                  </a:lnTo>
                  <a:lnTo>
                    <a:pt x="174" y="86"/>
                  </a:lnTo>
                  <a:lnTo>
                    <a:pt x="174" y="86"/>
                  </a:lnTo>
                  <a:lnTo>
                    <a:pt x="176" y="88"/>
                  </a:lnTo>
                  <a:lnTo>
                    <a:pt x="176" y="90"/>
                  </a:lnTo>
                  <a:lnTo>
                    <a:pt x="176" y="94"/>
                  </a:lnTo>
                  <a:lnTo>
                    <a:pt x="176" y="98"/>
                  </a:lnTo>
                  <a:lnTo>
                    <a:pt x="176" y="100"/>
                  </a:lnTo>
                  <a:lnTo>
                    <a:pt x="178" y="105"/>
                  </a:lnTo>
                  <a:lnTo>
                    <a:pt x="182" y="109"/>
                  </a:lnTo>
                  <a:lnTo>
                    <a:pt x="184" y="109"/>
                  </a:lnTo>
                  <a:lnTo>
                    <a:pt x="186" y="109"/>
                  </a:lnTo>
                  <a:lnTo>
                    <a:pt x="186" y="109"/>
                  </a:lnTo>
                  <a:lnTo>
                    <a:pt x="186" y="109"/>
                  </a:lnTo>
                  <a:lnTo>
                    <a:pt x="186" y="111"/>
                  </a:lnTo>
                  <a:lnTo>
                    <a:pt x="186" y="111"/>
                  </a:lnTo>
                  <a:lnTo>
                    <a:pt x="186" y="111"/>
                  </a:lnTo>
                  <a:lnTo>
                    <a:pt x="184" y="111"/>
                  </a:lnTo>
                  <a:lnTo>
                    <a:pt x="184" y="113"/>
                  </a:lnTo>
                  <a:lnTo>
                    <a:pt x="184" y="113"/>
                  </a:lnTo>
                  <a:lnTo>
                    <a:pt x="182" y="115"/>
                  </a:lnTo>
                  <a:lnTo>
                    <a:pt x="182" y="115"/>
                  </a:lnTo>
                  <a:lnTo>
                    <a:pt x="178" y="115"/>
                  </a:lnTo>
                  <a:lnTo>
                    <a:pt x="178" y="115"/>
                  </a:lnTo>
                  <a:lnTo>
                    <a:pt x="178" y="115"/>
                  </a:lnTo>
                  <a:lnTo>
                    <a:pt x="176" y="117"/>
                  </a:lnTo>
                  <a:lnTo>
                    <a:pt x="176" y="117"/>
                  </a:lnTo>
                  <a:lnTo>
                    <a:pt x="174" y="117"/>
                  </a:lnTo>
                  <a:lnTo>
                    <a:pt x="174" y="119"/>
                  </a:lnTo>
                  <a:lnTo>
                    <a:pt x="174" y="119"/>
                  </a:lnTo>
                  <a:lnTo>
                    <a:pt x="172" y="121"/>
                  </a:lnTo>
                  <a:lnTo>
                    <a:pt x="172" y="123"/>
                  </a:lnTo>
                  <a:lnTo>
                    <a:pt x="170" y="125"/>
                  </a:lnTo>
                  <a:lnTo>
                    <a:pt x="168" y="125"/>
                  </a:lnTo>
                  <a:lnTo>
                    <a:pt x="168" y="127"/>
                  </a:lnTo>
                  <a:lnTo>
                    <a:pt x="166" y="129"/>
                  </a:lnTo>
                  <a:lnTo>
                    <a:pt x="166" y="129"/>
                  </a:lnTo>
                  <a:lnTo>
                    <a:pt x="166" y="131"/>
                  </a:lnTo>
                  <a:lnTo>
                    <a:pt x="166" y="133"/>
                  </a:lnTo>
                  <a:lnTo>
                    <a:pt x="166" y="135"/>
                  </a:lnTo>
                  <a:lnTo>
                    <a:pt x="166" y="135"/>
                  </a:lnTo>
                  <a:lnTo>
                    <a:pt x="166" y="137"/>
                  </a:lnTo>
                  <a:lnTo>
                    <a:pt x="166" y="139"/>
                  </a:lnTo>
                  <a:lnTo>
                    <a:pt x="163" y="141"/>
                  </a:lnTo>
                  <a:lnTo>
                    <a:pt x="163" y="141"/>
                  </a:lnTo>
                  <a:lnTo>
                    <a:pt x="163" y="141"/>
                  </a:lnTo>
                  <a:lnTo>
                    <a:pt x="161" y="144"/>
                  </a:lnTo>
                  <a:lnTo>
                    <a:pt x="161" y="144"/>
                  </a:lnTo>
                  <a:lnTo>
                    <a:pt x="161" y="144"/>
                  </a:lnTo>
                  <a:lnTo>
                    <a:pt x="161" y="144"/>
                  </a:lnTo>
                  <a:lnTo>
                    <a:pt x="161" y="146"/>
                  </a:lnTo>
                  <a:lnTo>
                    <a:pt x="161" y="146"/>
                  </a:lnTo>
                  <a:lnTo>
                    <a:pt x="166" y="148"/>
                  </a:lnTo>
                  <a:lnTo>
                    <a:pt x="166" y="150"/>
                  </a:lnTo>
                  <a:lnTo>
                    <a:pt x="166" y="152"/>
                  </a:lnTo>
                  <a:lnTo>
                    <a:pt x="166" y="152"/>
                  </a:lnTo>
                  <a:lnTo>
                    <a:pt x="166" y="154"/>
                  </a:lnTo>
                  <a:lnTo>
                    <a:pt x="163" y="154"/>
                  </a:lnTo>
                  <a:lnTo>
                    <a:pt x="163" y="152"/>
                  </a:lnTo>
                  <a:lnTo>
                    <a:pt x="163" y="150"/>
                  </a:lnTo>
                  <a:lnTo>
                    <a:pt x="161" y="150"/>
                  </a:lnTo>
                  <a:lnTo>
                    <a:pt x="161" y="152"/>
                  </a:lnTo>
                  <a:lnTo>
                    <a:pt x="161" y="152"/>
                  </a:lnTo>
                  <a:lnTo>
                    <a:pt x="161" y="154"/>
                  </a:lnTo>
                  <a:lnTo>
                    <a:pt x="161" y="158"/>
                  </a:lnTo>
                  <a:lnTo>
                    <a:pt x="161" y="160"/>
                  </a:lnTo>
                  <a:lnTo>
                    <a:pt x="161" y="160"/>
                  </a:lnTo>
                  <a:lnTo>
                    <a:pt x="161" y="162"/>
                  </a:lnTo>
                  <a:lnTo>
                    <a:pt x="161" y="166"/>
                  </a:lnTo>
                  <a:lnTo>
                    <a:pt x="161" y="168"/>
                  </a:lnTo>
                  <a:lnTo>
                    <a:pt x="163" y="170"/>
                  </a:lnTo>
                  <a:lnTo>
                    <a:pt x="163" y="172"/>
                  </a:lnTo>
                  <a:lnTo>
                    <a:pt x="163" y="174"/>
                  </a:lnTo>
                  <a:lnTo>
                    <a:pt x="161" y="176"/>
                  </a:lnTo>
                  <a:lnTo>
                    <a:pt x="161" y="176"/>
                  </a:lnTo>
                  <a:lnTo>
                    <a:pt x="159" y="176"/>
                  </a:lnTo>
                  <a:lnTo>
                    <a:pt x="157" y="176"/>
                  </a:lnTo>
                  <a:lnTo>
                    <a:pt x="155" y="178"/>
                  </a:lnTo>
                  <a:lnTo>
                    <a:pt x="153" y="178"/>
                  </a:lnTo>
                  <a:lnTo>
                    <a:pt x="153" y="178"/>
                  </a:lnTo>
                  <a:lnTo>
                    <a:pt x="153" y="180"/>
                  </a:lnTo>
                  <a:lnTo>
                    <a:pt x="153" y="180"/>
                  </a:lnTo>
                  <a:lnTo>
                    <a:pt x="155" y="182"/>
                  </a:lnTo>
                  <a:lnTo>
                    <a:pt x="153" y="182"/>
                  </a:lnTo>
                  <a:lnTo>
                    <a:pt x="153" y="182"/>
                  </a:lnTo>
                  <a:lnTo>
                    <a:pt x="151" y="182"/>
                  </a:lnTo>
                  <a:lnTo>
                    <a:pt x="149" y="180"/>
                  </a:lnTo>
                  <a:lnTo>
                    <a:pt x="147" y="178"/>
                  </a:lnTo>
                  <a:lnTo>
                    <a:pt x="145" y="176"/>
                  </a:lnTo>
                  <a:lnTo>
                    <a:pt x="145" y="180"/>
                  </a:lnTo>
                  <a:lnTo>
                    <a:pt x="143" y="185"/>
                  </a:lnTo>
                  <a:lnTo>
                    <a:pt x="141" y="187"/>
                  </a:lnTo>
                  <a:lnTo>
                    <a:pt x="133" y="193"/>
                  </a:lnTo>
                  <a:lnTo>
                    <a:pt x="131" y="195"/>
                  </a:lnTo>
                  <a:lnTo>
                    <a:pt x="127" y="197"/>
                  </a:lnTo>
                  <a:lnTo>
                    <a:pt x="127" y="195"/>
                  </a:lnTo>
                  <a:lnTo>
                    <a:pt x="127" y="195"/>
                  </a:lnTo>
                  <a:lnTo>
                    <a:pt x="125" y="193"/>
                  </a:lnTo>
                  <a:lnTo>
                    <a:pt x="125" y="193"/>
                  </a:lnTo>
                  <a:lnTo>
                    <a:pt x="123" y="191"/>
                  </a:lnTo>
                  <a:lnTo>
                    <a:pt x="123" y="189"/>
                  </a:lnTo>
                  <a:lnTo>
                    <a:pt x="123" y="189"/>
                  </a:lnTo>
                  <a:lnTo>
                    <a:pt x="120" y="187"/>
                  </a:lnTo>
                  <a:lnTo>
                    <a:pt x="120" y="189"/>
                  </a:lnTo>
                  <a:lnTo>
                    <a:pt x="120" y="189"/>
                  </a:lnTo>
                  <a:lnTo>
                    <a:pt x="120" y="189"/>
                  </a:lnTo>
                  <a:lnTo>
                    <a:pt x="120" y="191"/>
                  </a:lnTo>
                  <a:lnTo>
                    <a:pt x="118" y="191"/>
                  </a:lnTo>
                  <a:lnTo>
                    <a:pt x="116" y="191"/>
                  </a:lnTo>
                  <a:lnTo>
                    <a:pt x="118" y="189"/>
                  </a:lnTo>
                  <a:lnTo>
                    <a:pt x="118" y="189"/>
                  </a:lnTo>
                  <a:lnTo>
                    <a:pt x="118" y="189"/>
                  </a:lnTo>
                  <a:lnTo>
                    <a:pt x="118" y="187"/>
                  </a:lnTo>
                  <a:lnTo>
                    <a:pt x="114" y="189"/>
                  </a:lnTo>
                  <a:lnTo>
                    <a:pt x="114" y="189"/>
                  </a:lnTo>
                  <a:lnTo>
                    <a:pt x="114" y="191"/>
                  </a:lnTo>
                  <a:lnTo>
                    <a:pt x="114" y="193"/>
                  </a:lnTo>
                  <a:lnTo>
                    <a:pt x="114" y="193"/>
                  </a:lnTo>
                  <a:lnTo>
                    <a:pt x="112" y="195"/>
                  </a:lnTo>
                  <a:lnTo>
                    <a:pt x="112" y="195"/>
                  </a:lnTo>
                  <a:lnTo>
                    <a:pt x="112" y="197"/>
                  </a:lnTo>
                  <a:lnTo>
                    <a:pt x="112" y="199"/>
                  </a:lnTo>
                  <a:lnTo>
                    <a:pt x="112" y="197"/>
                  </a:lnTo>
                  <a:lnTo>
                    <a:pt x="112" y="197"/>
                  </a:lnTo>
                  <a:lnTo>
                    <a:pt x="110" y="195"/>
                  </a:lnTo>
                  <a:lnTo>
                    <a:pt x="110" y="193"/>
                  </a:lnTo>
                  <a:lnTo>
                    <a:pt x="112" y="193"/>
                  </a:lnTo>
                  <a:lnTo>
                    <a:pt x="112" y="191"/>
                  </a:lnTo>
                  <a:lnTo>
                    <a:pt x="112" y="191"/>
                  </a:lnTo>
                  <a:lnTo>
                    <a:pt x="112" y="189"/>
                  </a:lnTo>
                  <a:lnTo>
                    <a:pt x="110" y="191"/>
                  </a:lnTo>
                  <a:lnTo>
                    <a:pt x="108" y="193"/>
                  </a:lnTo>
                  <a:lnTo>
                    <a:pt x="106" y="193"/>
                  </a:lnTo>
                  <a:lnTo>
                    <a:pt x="104" y="193"/>
                  </a:lnTo>
                  <a:lnTo>
                    <a:pt x="106" y="193"/>
                  </a:lnTo>
                  <a:lnTo>
                    <a:pt x="108" y="191"/>
                  </a:lnTo>
                  <a:lnTo>
                    <a:pt x="112" y="187"/>
                  </a:lnTo>
                  <a:lnTo>
                    <a:pt x="112" y="185"/>
                  </a:lnTo>
                  <a:lnTo>
                    <a:pt x="112" y="185"/>
                  </a:lnTo>
                  <a:lnTo>
                    <a:pt x="110" y="187"/>
                  </a:lnTo>
                  <a:lnTo>
                    <a:pt x="110" y="187"/>
                  </a:lnTo>
                  <a:lnTo>
                    <a:pt x="108" y="187"/>
                  </a:lnTo>
                  <a:lnTo>
                    <a:pt x="102" y="191"/>
                  </a:lnTo>
                  <a:lnTo>
                    <a:pt x="100" y="191"/>
                  </a:lnTo>
                  <a:lnTo>
                    <a:pt x="102" y="189"/>
                  </a:lnTo>
                  <a:lnTo>
                    <a:pt x="102" y="189"/>
                  </a:lnTo>
                  <a:lnTo>
                    <a:pt x="104" y="189"/>
                  </a:lnTo>
                  <a:lnTo>
                    <a:pt x="106" y="189"/>
                  </a:lnTo>
                  <a:lnTo>
                    <a:pt x="106" y="187"/>
                  </a:lnTo>
                  <a:lnTo>
                    <a:pt x="104" y="187"/>
                  </a:lnTo>
                  <a:lnTo>
                    <a:pt x="102" y="187"/>
                  </a:lnTo>
                  <a:lnTo>
                    <a:pt x="100" y="187"/>
                  </a:lnTo>
                  <a:lnTo>
                    <a:pt x="102" y="185"/>
                  </a:lnTo>
                  <a:lnTo>
                    <a:pt x="104" y="185"/>
                  </a:lnTo>
                  <a:lnTo>
                    <a:pt x="108" y="185"/>
                  </a:lnTo>
                  <a:lnTo>
                    <a:pt x="110" y="182"/>
                  </a:lnTo>
                  <a:lnTo>
                    <a:pt x="112" y="180"/>
                  </a:lnTo>
                  <a:lnTo>
                    <a:pt x="116" y="174"/>
                  </a:lnTo>
                  <a:lnTo>
                    <a:pt x="116" y="174"/>
                  </a:lnTo>
                  <a:lnTo>
                    <a:pt x="118" y="174"/>
                  </a:lnTo>
                  <a:lnTo>
                    <a:pt x="118" y="174"/>
                  </a:lnTo>
                  <a:lnTo>
                    <a:pt x="120" y="172"/>
                  </a:lnTo>
                  <a:lnTo>
                    <a:pt x="123" y="172"/>
                  </a:lnTo>
                  <a:lnTo>
                    <a:pt x="123" y="170"/>
                  </a:lnTo>
                  <a:lnTo>
                    <a:pt x="127" y="166"/>
                  </a:lnTo>
                  <a:lnTo>
                    <a:pt x="127" y="164"/>
                  </a:lnTo>
                  <a:lnTo>
                    <a:pt x="127" y="166"/>
                  </a:lnTo>
                  <a:lnTo>
                    <a:pt x="127" y="166"/>
                  </a:lnTo>
                  <a:lnTo>
                    <a:pt x="127" y="166"/>
                  </a:lnTo>
                  <a:lnTo>
                    <a:pt x="127" y="168"/>
                  </a:lnTo>
                  <a:lnTo>
                    <a:pt x="127" y="168"/>
                  </a:lnTo>
                  <a:lnTo>
                    <a:pt x="127" y="170"/>
                  </a:lnTo>
                  <a:lnTo>
                    <a:pt x="127" y="172"/>
                  </a:lnTo>
                  <a:lnTo>
                    <a:pt x="127" y="174"/>
                  </a:lnTo>
                  <a:lnTo>
                    <a:pt x="125" y="176"/>
                  </a:lnTo>
                  <a:lnTo>
                    <a:pt x="125" y="176"/>
                  </a:lnTo>
                  <a:lnTo>
                    <a:pt x="123" y="178"/>
                  </a:lnTo>
                  <a:lnTo>
                    <a:pt x="123" y="185"/>
                  </a:lnTo>
                  <a:lnTo>
                    <a:pt x="125" y="187"/>
                  </a:lnTo>
                  <a:lnTo>
                    <a:pt x="127" y="187"/>
                  </a:lnTo>
                  <a:lnTo>
                    <a:pt x="127" y="185"/>
                  </a:lnTo>
                  <a:lnTo>
                    <a:pt x="127" y="185"/>
                  </a:lnTo>
                  <a:lnTo>
                    <a:pt x="127" y="185"/>
                  </a:lnTo>
                  <a:lnTo>
                    <a:pt x="127" y="182"/>
                  </a:lnTo>
                  <a:lnTo>
                    <a:pt x="129" y="182"/>
                  </a:lnTo>
                  <a:lnTo>
                    <a:pt x="129" y="182"/>
                  </a:lnTo>
                  <a:lnTo>
                    <a:pt x="129" y="182"/>
                  </a:lnTo>
                  <a:lnTo>
                    <a:pt x="129" y="182"/>
                  </a:lnTo>
                  <a:lnTo>
                    <a:pt x="129" y="182"/>
                  </a:lnTo>
                  <a:lnTo>
                    <a:pt x="129" y="182"/>
                  </a:lnTo>
                  <a:lnTo>
                    <a:pt x="131" y="180"/>
                  </a:lnTo>
                  <a:lnTo>
                    <a:pt x="129" y="178"/>
                  </a:lnTo>
                  <a:lnTo>
                    <a:pt x="129" y="176"/>
                  </a:lnTo>
                  <a:lnTo>
                    <a:pt x="129" y="174"/>
                  </a:lnTo>
                  <a:lnTo>
                    <a:pt x="131" y="174"/>
                  </a:lnTo>
                  <a:lnTo>
                    <a:pt x="131" y="172"/>
                  </a:lnTo>
                  <a:lnTo>
                    <a:pt x="131" y="172"/>
                  </a:lnTo>
                  <a:lnTo>
                    <a:pt x="133" y="170"/>
                  </a:lnTo>
                  <a:lnTo>
                    <a:pt x="133" y="170"/>
                  </a:lnTo>
                  <a:lnTo>
                    <a:pt x="133" y="170"/>
                  </a:lnTo>
                  <a:lnTo>
                    <a:pt x="133" y="170"/>
                  </a:lnTo>
                  <a:lnTo>
                    <a:pt x="135" y="170"/>
                  </a:lnTo>
                  <a:lnTo>
                    <a:pt x="135" y="168"/>
                  </a:lnTo>
                  <a:lnTo>
                    <a:pt x="139" y="168"/>
                  </a:lnTo>
                  <a:lnTo>
                    <a:pt x="139" y="168"/>
                  </a:lnTo>
                  <a:lnTo>
                    <a:pt x="141" y="166"/>
                  </a:lnTo>
                  <a:lnTo>
                    <a:pt x="141" y="168"/>
                  </a:lnTo>
                  <a:lnTo>
                    <a:pt x="139" y="170"/>
                  </a:lnTo>
                  <a:lnTo>
                    <a:pt x="137" y="170"/>
                  </a:lnTo>
                  <a:lnTo>
                    <a:pt x="137" y="172"/>
                  </a:lnTo>
                  <a:lnTo>
                    <a:pt x="135" y="174"/>
                  </a:lnTo>
                  <a:lnTo>
                    <a:pt x="135" y="174"/>
                  </a:lnTo>
                  <a:lnTo>
                    <a:pt x="135" y="176"/>
                  </a:lnTo>
                  <a:lnTo>
                    <a:pt x="135" y="176"/>
                  </a:lnTo>
                  <a:lnTo>
                    <a:pt x="141" y="180"/>
                  </a:lnTo>
                  <a:lnTo>
                    <a:pt x="143" y="180"/>
                  </a:lnTo>
                  <a:lnTo>
                    <a:pt x="143" y="178"/>
                  </a:lnTo>
                  <a:lnTo>
                    <a:pt x="143" y="178"/>
                  </a:lnTo>
                  <a:lnTo>
                    <a:pt x="143" y="174"/>
                  </a:lnTo>
                  <a:lnTo>
                    <a:pt x="143" y="174"/>
                  </a:lnTo>
                  <a:lnTo>
                    <a:pt x="145" y="172"/>
                  </a:lnTo>
                  <a:lnTo>
                    <a:pt x="145" y="172"/>
                  </a:lnTo>
                  <a:lnTo>
                    <a:pt x="147" y="170"/>
                  </a:lnTo>
                  <a:lnTo>
                    <a:pt x="145" y="168"/>
                  </a:lnTo>
                  <a:lnTo>
                    <a:pt x="147" y="166"/>
                  </a:lnTo>
                  <a:lnTo>
                    <a:pt x="147" y="164"/>
                  </a:lnTo>
                  <a:lnTo>
                    <a:pt x="149" y="162"/>
                  </a:lnTo>
                  <a:lnTo>
                    <a:pt x="149" y="160"/>
                  </a:lnTo>
                  <a:lnTo>
                    <a:pt x="151" y="158"/>
                  </a:lnTo>
                  <a:lnTo>
                    <a:pt x="151" y="156"/>
                  </a:lnTo>
                  <a:lnTo>
                    <a:pt x="151" y="156"/>
                  </a:lnTo>
                  <a:lnTo>
                    <a:pt x="149" y="154"/>
                  </a:lnTo>
                  <a:lnTo>
                    <a:pt x="151" y="152"/>
                  </a:lnTo>
                  <a:lnTo>
                    <a:pt x="149" y="150"/>
                  </a:lnTo>
                  <a:lnTo>
                    <a:pt x="147" y="150"/>
                  </a:lnTo>
                  <a:lnTo>
                    <a:pt x="145" y="152"/>
                  </a:lnTo>
                  <a:lnTo>
                    <a:pt x="143" y="152"/>
                  </a:lnTo>
                  <a:lnTo>
                    <a:pt x="139" y="152"/>
                  </a:lnTo>
                  <a:lnTo>
                    <a:pt x="139" y="152"/>
                  </a:lnTo>
                  <a:lnTo>
                    <a:pt x="141" y="152"/>
                  </a:lnTo>
                  <a:lnTo>
                    <a:pt x="143" y="150"/>
                  </a:lnTo>
                  <a:lnTo>
                    <a:pt x="143" y="148"/>
                  </a:lnTo>
                  <a:lnTo>
                    <a:pt x="143" y="148"/>
                  </a:lnTo>
                  <a:lnTo>
                    <a:pt x="143" y="148"/>
                  </a:lnTo>
                  <a:lnTo>
                    <a:pt x="141" y="146"/>
                  </a:lnTo>
                  <a:lnTo>
                    <a:pt x="139" y="146"/>
                  </a:lnTo>
                  <a:lnTo>
                    <a:pt x="139" y="144"/>
                  </a:lnTo>
                  <a:lnTo>
                    <a:pt x="139" y="144"/>
                  </a:lnTo>
                  <a:lnTo>
                    <a:pt x="141" y="141"/>
                  </a:lnTo>
                  <a:lnTo>
                    <a:pt x="141" y="141"/>
                  </a:lnTo>
                  <a:lnTo>
                    <a:pt x="141" y="139"/>
                  </a:lnTo>
                  <a:lnTo>
                    <a:pt x="143" y="146"/>
                  </a:lnTo>
                  <a:lnTo>
                    <a:pt x="145" y="150"/>
                  </a:lnTo>
                  <a:lnTo>
                    <a:pt x="147" y="148"/>
                  </a:lnTo>
                  <a:lnTo>
                    <a:pt x="147" y="148"/>
                  </a:lnTo>
                  <a:lnTo>
                    <a:pt x="147" y="148"/>
                  </a:lnTo>
                  <a:lnTo>
                    <a:pt x="147" y="137"/>
                  </a:lnTo>
                  <a:lnTo>
                    <a:pt x="147" y="135"/>
                  </a:lnTo>
                  <a:lnTo>
                    <a:pt x="145" y="135"/>
                  </a:lnTo>
                  <a:lnTo>
                    <a:pt x="145" y="135"/>
                  </a:lnTo>
                  <a:lnTo>
                    <a:pt x="145" y="133"/>
                  </a:lnTo>
                  <a:lnTo>
                    <a:pt x="145" y="133"/>
                  </a:lnTo>
                  <a:lnTo>
                    <a:pt x="145" y="133"/>
                  </a:lnTo>
                  <a:lnTo>
                    <a:pt x="149" y="137"/>
                  </a:lnTo>
                  <a:lnTo>
                    <a:pt x="151" y="137"/>
                  </a:lnTo>
                  <a:lnTo>
                    <a:pt x="151" y="135"/>
                  </a:lnTo>
                  <a:lnTo>
                    <a:pt x="153" y="135"/>
                  </a:lnTo>
                  <a:lnTo>
                    <a:pt x="153" y="133"/>
                  </a:lnTo>
                  <a:lnTo>
                    <a:pt x="153" y="133"/>
                  </a:lnTo>
                  <a:lnTo>
                    <a:pt x="157" y="135"/>
                  </a:lnTo>
                  <a:lnTo>
                    <a:pt x="157" y="135"/>
                  </a:lnTo>
                  <a:lnTo>
                    <a:pt x="159" y="133"/>
                  </a:lnTo>
                  <a:lnTo>
                    <a:pt x="159" y="133"/>
                  </a:lnTo>
                  <a:lnTo>
                    <a:pt x="159" y="133"/>
                  </a:lnTo>
                  <a:lnTo>
                    <a:pt x="159" y="131"/>
                  </a:lnTo>
                  <a:lnTo>
                    <a:pt x="159" y="131"/>
                  </a:lnTo>
                  <a:lnTo>
                    <a:pt x="159" y="129"/>
                  </a:lnTo>
                  <a:lnTo>
                    <a:pt x="159" y="129"/>
                  </a:lnTo>
                  <a:lnTo>
                    <a:pt x="157" y="129"/>
                  </a:lnTo>
                  <a:lnTo>
                    <a:pt x="159" y="127"/>
                  </a:lnTo>
                  <a:lnTo>
                    <a:pt x="159" y="127"/>
                  </a:lnTo>
                  <a:lnTo>
                    <a:pt x="159" y="125"/>
                  </a:lnTo>
                  <a:lnTo>
                    <a:pt x="157" y="125"/>
                  </a:lnTo>
                  <a:lnTo>
                    <a:pt x="159" y="121"/>
                  </a:lnTo>
                  <a:lnTo>
                    <a:pt x="159" y="119"/>
                  </a:lnTo>
                  <a:lnTo>
                    <a:pt x="159" y="117"/>
                  </a:lnTo>
                  <a:lnTo>
                    <a:pt x="157" y="115"/>
                  </a:lnTo>
                  <a:lnTo>
                    <a:pt x="153" y="111"/>
                  </a:lnTo>
                  <a:lnTo>
                    <a:pt x="153" y="113"/>
                  </a:lnTo>
                  <a:lnTo>
                    <a:pt x="153" y="115"/>
                  </a:lnTo>
                  <a:lnTo>
                    <a:pt x="153" y="117"/>
                  </a:lnTo>
                  <a:lnTo>
                    <a:pt x="153" y="121"/>
                  </a:lnTo>
                  <a:lnTo>
                    <a:pt x="153" y="123"/>
                  </a:lnTo>
                  <a:lnTo>
                    <a:pt x="153" y="125"/>
                  </a:lnTo>
                  <a:lnTo>
                    <a:pt x="151" y="125"/>
                  </a:lnTo>
                  <a:lnTo>
                    <a:pt x="151" y="123"/>
                  </a:lnTo>
                  <a:lnTo>
                    <a:pt x="151" y="123"/>
                  </a:lnTo>
                  <a:lnTo>
                    <a:pt x="151" y="121"/>
                  </a:lnTo>
                  <a:lnTo>
                    <a:pt x="151" y="121"/>
                  </a:lnTo>
                  <a:lnTo>
                    <a:pt x="149" y="121"/>
                  </a:lnTo>
                  <a:lnTo>
                    <a:pt x="149" y="123"/>
                  </a:lnTo>
                  <a:lnTo>
                    <a:pt x="139" y="131"/>
                  </a:lnTo>
                  <a:lnTo>
                    <a:pt x="139" y="131"/>
                  </a:lnTo>
                  <a:lnTo>
                    <a:pt x="137" y="135"/>
                  </a:lnTo>
                  <a:lnTo>
                    <a:pt x="137" y="137"/>
                  </a:lnTo>
                  <a:lnTo>
                    <a:pt x="135" y="137"/>
                  </a:lnTo>
                  <a:lnTo>
                    <a:pt x="133" y="137"/>
                  </a:lnTo>
                  <a:lnTo>
                    <a:pt x="127" y="139"/>
                  </a:lnTo>
                  <a:lnTo>
                    <a:pt x="123" y="141"/>
                  </a:lnTo>
                  <a:lnTo>
                    <a:pt x="120" y="141"/>
                  </a:lnTo>
                  <a:lnTo>
                    <a:pt x="114" y="148"/>
                  </a:lnTo>
                  <a:lnTo>
                    <a:pt x="108" y="154"/>
                  </a:lnTo>
                  <a:lnTo>
                    <a:pt x="108" y="156"/>
                  </a:lnTo>
                  <a:lnTo>
                    <a:pt x="106" y="158"/>
                  </a:lnTo>
                  <a:lnTo>
                    <a:pt x="104" y="158"/>
                  </a:lnTo>
                  <a:lnTo>
                    <a:pt x="104" y="160"/>
                  </a:lnTo>
                  <a:lnTo>
                    <a:pt x="104" y="162"/>
                  </a:lnTo>
                  <a:lnTo>
                    <a:pt x="108" y="164"/>
                  </a:lnTo>
                  <a:lnTo>
                    <a:pt x="114" y="162"/>
                  </a:lnTo>
                  <a:lnTo>
                    <a:pt x="120" y="160"/>
                  </a:lnTo>
                  <a:lnTo>
                    <a:pt x="123" y="160"/>
                  </a:lnTo>
                  <a:lnTo>
                    <a:pt x="125" y="160"/>
                  </a:lnTo>
                  <a:lnTo>
                    <a:pt x="123" y="162"/>
                  </a:lnTo>
                  <a:lnTo>
                    <a:pt x="120" y="162"/>
                  </a:lnTo>
                  <a:lnTo>
                    <a:pt x="106" y="164"/>
                  </a:lnTo>
                  <a:lnTo>
                    <a:pt x="102" y="164"/>
                  </a:lnTo>
                  <a:lnTo>
                    <a:pt x="100" y="162"/>
                  </a:lnTo>
                  <a:lnTo>
                    <a:pt x="100" y="160"/>
                  </a:lnTo>
                  <a:lnTo>
                    <a:pt x="102" y="158"/>
                  </a:lnTo>
                  <a:lnTo>
                    <a:pt x="104" y="154"/>
                  </a:lnTo>
                  <a:lnTo>
                    <a:pt x="106" y="152"/>
                  </a:lnTo>
                  <a:lnTo>
                    <a:pt x="108" y="152"/>
                  </a:lnTo>
                  <a:lnTo>
                    <a:pt x="110" y="150"/>
                  </a:lnTo>
                  <a:lnTo>
                    <a:pt x="112" y="146"/>
                  </a:lnTo>
                  <a:lnTo>
                    <a:pt x="114" y="144"/>
                  </a:lnTo>
                  <a:lnTo>
                    <a:pt x="123" y="137"/>
                  </a:lnTo>
                  <a:lnTo>
                    <a:pt x="123" y="137"/>
                  </a:lnTo>
                  <a:lnTo>
                    <a:pt x="125" y="137"/>
                  </a:lnTo>
                  <a:lnTo>
                    <a:pt x="125" y="137"/>
                  </a:lnTo>
                  <a:lnTo>
                    <a:pt x="125" y="135"/>
                  </a:lnTo>
                  <a:lnTo>
                    <a:pt x="127" y="133"/>
                  </a:lnTo>
                  <a:lnTo>
                    <a:pt x="129" y="131"/>
                  </a:lnTo>
                  <a:lnTo>
                    <a:pt x="131" y="129"/>
                  </a:lnTo>
                  <a:lnTo>
                    <a:pt x="133" y="129"/>
                  </a:lnTo>
                  <a:lnTo>
                    <a:pt x="131" y="125"/>
                  </a:lnTo>
                  <a:lnTo>
                    <a:pt x="131" y="123"/>
                  </a:lnTo>
                  <a:lnTo>
                    <a:pt x="131" y="121"/>
                  </a:lnTo>
                  <a:lnTo>
                    <a:pt x="133" y="119"/>
                  </a:lnTo>
                  <a:lnTo>
                    <a:pt x="133" y="121"/>
                  </a:lnTo>
                  <a:lnTo>
                    <a:pt x="133" y="123"/>
                  </a:lnTo>
                  <a:lnTo>
                    <a:pt x="133" y="125"/>
                  </a:lnTo>
                  <a:lnTo>
                    <a:pt x="135" y="123"/>
                  </a:lnTo>
                  <a:lnTo>
                    <a:pt x="135" y="123"/>
                  </a:lnTo>
                  <a:lnTo>
                    <a:pt x="135" y="121"/>
                  </a:lnTo>
                  <a:lnTo>
                    <a:pt x="137" y="119"/>
                  </a:lnTo>
                  <a:lnTo>
                    <a:pt x="137" y="123"/>
                  </a:lnTo>
                  <a:lnTo>
                    <a:pt x="135" y="125"/>
                  </a:lnTo>
                  <a:lnTo>
                    <a:pt x="133" y="131"/>
                  </a:lnTo>
                  <a:lnTo>
                    <a:pt x="131" y="133"/>
                  </a:lnTo>
                  <a:lnTo>
                    <a:pt x="131" y="135"/>
                  </a:lnTo>
                  <a:lnTo>
                    <a:pt x="133" y="135"/>
                  </a:lnTo>
                  <a:lnTo>
                    <a:pt x="133" y="135"/>
                  </a:lnTo>
                  <a:lnTo>
                    <a:pt x="135" y="135"/>
                  </a:lnTo>
                  <a:lnTo>
                    <a:pt x="135" y="135"/>
                  </a:lnTo>
                  <a:lnTo>
                    <a:pt x="135" y="133"/>
                  </a:lnTo>
                  <a:lnTo>
                    <a:pt x="137" y="131"/>
                  </a:lnTo>
                  <a:lnTo>
                    <a:pt x="137" y="129"/>
                  </a:lnTo>
                  <a:lnTo>
                    <a:pt x="139" y="127"/>
                  </a:lnTo>
                  <a:lnTo>
                    <a:pt x="141" y="125"/>
                  </a:lnTo>
                  <a:lnTo>
                    <a:pt x="145" y="121"/>
                  </a:lnTo>
                  <a:lnTo>
                    <a:pt x="145" y="121"/>
                  </a:lnTo>
                  <a:lnTo>
                    <a:pt x="147" y="119"/>
                  </a:lnTo>
                  <a:lnTo>
                    <a:pt x="147" y="119"/>
                  </a:lnTo>
                  <a:lnTo>
                    <a:pt x="147" y="119"/>
                  </a:lnTo>
                  <a:lnTo>
                    <a:pt x="151" y="119"/>
                  </a:lnTo>
                  <a:lnTo>
                    <a:pt x="151" y="119"/>
                  </a:lnTo>
                  <a:lnTo>
                    <a:pt x="151" y="117"/>
                  </a:lnTo>
                  <a:lnTo>
                    <a:pt x="147" y="111"/>
                  </a:lnTo>
                  <a:lnTo>
                    <a:pt x="147" y="111"/>
                  </a:lnTo>
                  <a:lnTo>
                    <a:pt x="147" y="109"/>
                  </a:lnTo>
                  <a:lnTo>
                    <a:pt x="147" y="109"/>
                  </a:lnTo>
                  <a:lnTo>
                    <a:pt x="147" y="107"/>
                  </a:lnTo>
                  <a:lnTo>
                    <a:pt x="147" y="107"/>
                  </a:lnTo>
                  <a:lnTo>
                    <a:pt x="145" y="105"/>
                  </a:lnTo>
                  <a:lnTo>
                    <a:pt x="143" y="98"/>
                  </a:lnTo>
                  <a:lnTo>
                    <a:pt x="143" y="98"/>
                  </a:lnTo>
                  <a:lnTo>
                    <a:pt x="143" y="96"/>
                  </a:lnTo>
                  <a:lnTo>
                    <a:pt x="143" y="96"/>
                  </a:lnTo>
                  <a:lnTo>
                    <a:pt x="143" y="94"/>
                  </a:lnTo>
                  <a:lnTo>
                    <a:pt x="143" y="94"/>
                  </a:lnTo>
                  <a:lnTo>
                    <a:pt x="143" y="92"/>
                  </a:lnTo>
                  <a:lnTo>
                    <a:pt x="145" y="92"/>
                  </a:lnTo>
                  <a:lnTo>
                    <a:pt x="147" y="92"/>
                  </a:lnTo>
                  <a:lnTo>
                    <a:pt x="145" y="90"/>
                  </a:lnTo>
                  <a:lnTo>
                    <a:pt x="143" y="88"/>
                  </a:lnTo>
                  <a:lnTo>
                    <a:pt x="141" y="90"/>
                  </a:lnTo>
                  <a:lnTo>
                    <a:pt x="139" y="90"/>
                  </a:lnTo>
                  <a:lnTo>
                    <a:pt x="137" y="90"/>
                  </a:lnTo>
                  <a:lnTo>
                    <a:pt x="137" y="92"/>
                  </a:lnTo>
                  <a:lnTo>
                    <a:pt x="137" y="92"/>
                  </a:lnTo>
                  <a:lnTo>
                    <a:pt x="137" y="94"/>
                  </a:lnTo>
                  <a:lnTo>
                    <a:pt x="139" y="98"/>
                  </a:lnTo>
                  <a:lnTo>
                    <a:pt x="139" y="98"/>
                  </a:lnTo>
                  <a:lnTo>
                    <a:pt x="137" y="103"/>
                  </a:lnTo>
                  <a:lnTo>
                    <a:pt x="137" y="103"/>
                  </a:lnTo>
                  <a:lnTo>
                    <a:pt x="135" y="103"/>
                  </a:lnTo>
                  <a:lnTo>
                    <a:pt x="135" y="103"/>
                  </a:lnTo>
                  <a:lnTo>
                    <a:pt x="137" y="100"/>
                  </a:lnTo>
                  <a:lnTo>
                    <a:pt x="137" y="98"/>
                  </a:lnTo>
                  <a:lnTo>
                    <a:pt x="135" y="96"/>
                  </a:lnTo>
                  <a:lnTo>
                    <a:pt x="135" y="96"/>
                  </a:lnTo>
                  <a:lnTo>
                    <a:pt x="135" y="94"/>
                  </a:lnTo>
                  <a:lnTo>
                    <a:pt x="133" y="94"/>
                  </a:lnTo>
                  <a:lnTo>
                    <a:pt x="133" y="94"/>
                  </a:lnTo>
                  <a:lnTo>
                    <a:pt x="133" y="92"/>
                  </a:lnTo>
                  <a:lnTo>
                    <a:pt x="133" y="92"/>
                  </a:lnTo>
                  <a:lnTo>
                    <a:pt x="131" y="90"/>
                  </a:lnTo>
                  <a:lnTo>
                    <a:pt x="131" y="90"/>
                  </a:lnTo>
                  <a:lnTo>
                    <a:pt x="127" y="90"/>
                  </a:lnTo>
                  <a:lnTo>
                    <a:pt x="127" y="92"/>
                  </a:lnTo>
                  <a:lnTo>
                    <a:pt x="127" y="96"/>
                  </a:lnTo>
                  <a:lnTo>
                    <a:pt x="125" y="96"/>
                  </a:lnTo>
                  <a:lnTo>
                    <a:pt x="125" y="94"/>
                  </a:lnTo>
                  <a:lnTo>
                    <a:pt x="123" y="94"/>
                  </a:lnTo>
                  <a:lnTo>
                    <a:pt x="125" y="90"/>
                  </a:lnTo>
                  <a:lnTo>
                    <a:pt x="123" y="88"/>
                  </a:lnTo>
                  <a:lnTo>
                    <a:pt x="120" y="86"/>
                  </a:lnTo>
                  <a:lnTo>
                    <a:pt x="118" y="84"/>
                  </a:lnTo>
                  <a:lnTo>
                    <a:pt x="116" y="84"/>
                  </a:lnTo>
                  <a:lnTo>
                    <a:pt x="116" y="82"/>
                  </a:lnTo>
                  <a:lnTo>
                    <a:pt x="118" y="82"/>
                  </a:lnTo>
                  <a:lnTo>
                    <a:pt x="118" y="82"/>
                  </a:lnTo>
                  <a:lnTo>
                    <a:pt x="120" y="82"/>
                  </a:lnTo>
                  <a:lnTo>
                    <a:pt x="120" y="80"/>
                  </a:lnTo>
                  <a:lnTo>
                    <a:pt x="116" y="82"/>
                  </a:lnTo>
                  <a:lnTo>
                    <a:pt x="110" y="84"/>
                  </a:lnTo>
                  <a:lnTo>
                    <a:pt x="108" y="84"/>
                  </a:lnTo>
                  <a:lnTo>
                    <a:pt x="96" y="82"/>
                  </a:lnTo>
                  <a:lnTo>
                    <a:pt x="96" y="80"/>
                  </a:lnTo>
                  <a:lnTo>
                    <a:pt x="96" y="80"/>
                  </a:lnTo>
                  <a:lnTo>
                    <a:pt x="96" y="80"/>
                  </a:lnTo>
                  <a:lnTo>
                    <a:pt x="96" y="80"/>
                  </a:lnTo>
                  <a:lnTo>
                    <a:pt x="98" y="80"/>
                  </a:lnTo>
                  <a:lnTo>
                    <a:pt x="92" y="80"/>
                  </a:lnTo>
                  <a:lnTo>
                    <a:pt x="90" y="78"/>
                  </a:lnTo>
                  <a:lnTo>
                    <a:pt x="88" y="76"/>
                  </a:lnTo>
                  <a:lnTo>
                    <a:pt x="84" y="76"/>
                  </a:lnTo>
                  <a:lnTo>
                    <a:pt x="82" y="78"/>
                  </a:lnTo>
                  <a:lnTo>
                    <a:pt x="80" y="76"/>
                  </a:lnTo>
                  <a:lnTo>
                    <a:pt x="77" y="74"/>
                  </a:lnTo>
                  <a:lnTo>
                    <a:pt x="75" y="74"/>
                  </a:lnTo>
                  <a:lnTo>
                    <a:pt x="69" y="72"/>
                  </a:lnTo>
                  <a:lnTo>
                    <a:pt x="59" y="70"/>
                  </a:lnTo>
                  <a:lnTo>
                    <a:pt x="49" y="64"/>
                  </a:lnTo>
                  <a:lnTo>
                    <a:pt x="49" y="64"/>
                  </a:lnTo>
                  <a:lnTo>
                    <a:pt x="47" y="60"/>
                  </a:lnTo>
                  <a:lnTo>
                    <a:pt x="45" y="57"/>
                  </a:lnTo>
                  <a:lnTo>
                    <a:pt x="39" y="55"/>
                  </a:lnTo>
                  <a:lnTo>
                    <a:pt x="39" y="53"/>
                  </a:lnTo>
                  <a:lnTo>
                    <a:pt x="34" y="53"/>
                  </a:lnTo>
                  <a:lnTo>
                    <a:pt x="32" y="53"/>
                  </a:lnTo>
                  <a:lnTo>
                    <a:pt x="32" y="51"/>
                  </a:lnTo>
                  <a:lnTo>
                    <a:pt x="30" y="49"/>
                  </a:lnTo>
                  <a:lnTo>
                    <a:pt x="26" y="47"/>
                  </a:lnTo>
                  <a:lnTo>
                    <a:pt x="24" y="45"/>
                  </a:lnTo>
                  <a:lnTo>
                    <a:pt x="14" y="37"/>
                  </a:lnTo>
                  <a:lnTo>
                    <a:pt x="10" y="35"/>
                  </a:lnTo>
                  <a:lnTo>
                    <a:pt x="6" y="33"/>
                  </a:lnTo>
                  <a:lnTo>
                    <a:pt x="6" y="35"/>
                  </a:lnTo>
                  <a:lnTo>
                    <a:pt x="6" y="37"/>
                  </a:lnTo>
                  <a:lnTo>
                    <a:pt x="8" y="39"/>
                  </a:lnTo>
                  <a:lnTo>
                    <a:pt x="8" y="41"/>
                  </a:lnTo>
                  <a:lnTo>
                    <a:pt x="8" y="41"/>
                  </a:lnTo>
                  <a:lnTo>
                    <a:pt x="8" y="41"/>
                  </a:lnTo>
                  <a:lnTo>
                    <a:pt x="8" y="43"/>
                  </a:lnTo>
                  <a:lnTo>
                    <a:pt x="6" y="45"/>
                  </a:lnTo>
                  <a:lnTo>
                    <a:pt x="6" y="47"/>
                  </a:lnTo>
                  <a:lnTo>
                    <a:pt x="6" y="49"/>
                  </a:lnTo>
                  <a:lnTo>
                    <a:pt x="4" y="49"/>
                  </a:lnTo>
                  <a:lnTo>
                    <a:pt x="4" y="49"/>
                  </a:lnTo>
                  <a:lnTo>
                    <a:pt x="4" y="49"/>
                  </a:lnTo>
                  <a:lnTo>
                    <a:pt x="4" y="51"/>
                  </a:lnTo>
                  <a:lnTo>
                    <a:pt x="4" y="51"/>
                  </a:lnTo>
                  <a:lnTo>
                    <a:pt x="4" y="55"/>
                  </a:lnTo>
                  <a:lnTo>
                    <a:pt x="2" y="55"/>
                  </a:lnTo>
                  <a:lnTo>
                    <a:pt x="2" y="55"/>
                  </a:lnTo>
                  <a:lnTo>
                    <a:pt x="0" y="57"/>
                  </a:lnTo>
                  <a:lnTo>
                    <a:pt x="2" y="64"/>
                  </a:lnTo>
                  <a:lnTo>
                    <a:pt x="2" y="66"/>
                  </a:lnTo>
                  <a:lnTo>
                    <a:pt x="0" y="70"/>
                  </a:lnTo>
                  <a:lnTo>
                    <a:pt x="0" y="74"/>
                  </a:lnTo>
                  <a:lnTo>
                    <a:pt x="2" y="78"/>
                  </a:lnTo>
                  <a:lnTo>
                    <a:pt x="2" y="82"/>
                  </a:lnTo>
                  <a:lnTo>
                    <a:pt x="4" y="86"/>
                  </a:lnTo>
                  <a:lnTo>
                    <a:pt x="4" y="86"/>
                  </a:lnTo>
                  <a:lnTo>
                    <a:pt x="6" y="88"/>
                  </a:lnTo>
                  <a:lnTo>
                    <a:pt x="6" y="88"/>
                  </a:lnTo>
                  <a:lnTo>
                    <a:pt x="8" y="88"/>
                  </a:lnTo>
                  <a:lnTo>
                    <a:pt x="10" y="94"/>
                  </a:lnTo>
                  <a:lnTo>
                    <a:pt x="12" y="96"/>
                  </a:lnTo>
                  <a:lnTo>
                    <a:pt x="12" y="100"/>
                  </a:lnTo>
                  <a:lnTo>
                    <a:pt x="12" y="103"/>
                  </a:lnTo>
                  <a:lnTo>
                    <a:pt x="12" y="103"/>
                  </a:lnTo>
                  <a:lnTo>
                    <a:pt x="14" y="103"/>
                  </a:lnTo>
                  <a:lnTo>
                    <a:pt x="14" y="105"/>
                  </a:lnTo>
                  <a:lnTo>
                    <a:pt x="14" y="107"/>
                  </a:lnTo>
                  <a:lnTo>
                    <a:pt x="16" y="113"/>
                  </a:lnTo>
                  <a:lnTo>
                    <a:pt x="16" y="115"/>
                  </a:lnTo>
                  <a:lnTo>
                    <a:pt x="14" y="123"/>
                  </a:lnTo>
                  <a:lnTo>
                    <a:pt x="14" y="127"/>
                  </a:lnTo>
                  <a:lnTo>
                    <a:pt x="14" y="144"/>
                  </a:lnTo>
                  <a:lnTo>
                    <a:pt x="14" y="144"/>
                  </a:lnTo>
                  <a:lnTo>
                    <a:pt x="16" y="146"/>
                  </a:lnTo>
                  <a:lnTo>
                    <a:pt x="16" y="146"/>
                  </a:lnTo>
                  <a:lnTo>
                    <a:pt x="16" y="146"/>
                  </a:lnTo>
                  <a:lnTo>
                    <a:pt x="14" y="148"/>
                  </a:lnTo>
                  <a:lnTo>
                    <a:pt x="14" y="148"/>
                  </a:lnTo>
                  <a:lnTo>
                    <a:pt x="16" y="150"/>
                  </a:lnTo>
                  <a:lnTo>
                    <a:pt x="16" y="150"/>
                  </a:lnTo>
                  <a:lnTo>
                    <a:pt x="16" y="150"/>
                  </a:lnTo>
                  <a:lnTo>
                    <a:pt x="18" y="154"/>
                  </a:lnTo>
                  <a:lnTo>
                    <a:pt x="18" y="158"/>
                  </a:lnTo>
                  <a:lnTo>
                    <a:pt x="18" y="162"/>
                  </a:lnTo>
                  <a:lnTo>
                    <a:pt x="18" y="170"/>
                  </a:lnTo>
                  <a:lnTo>
                    <a:pt x="18" y="176"/>
                  </a:lnTo>
                  <a:lnTo>
                    <a:pt x="18" y="178"/>
                  </a:lnTo>
                  <a:lnTo>
                    <a:pt x="16" y="185"/>
                  </a:lnTo>
                  <a:lnTo>
                    <a:pt x="14" y="187"/>
                  </a:lnTo>
                  <a:lnTo>
                    <a:pt x="14" y="187"/>
                  </a:lnTo>
                  <a:lnTo>
                    <a:pt x="14" y="189"/>
                  </a:lnTo>
                  <a:lnTo>
                    <a:pt x="14" y="189"/>
                  </a:lnTo>
                  <a:lnTo>
                    <a:pt x="14" y="189"/>
                  </a:lnTo>
                  <a:lnTo>
                    <a:pt x="14" y="189"/>
                  </a:lnTo>
                  <a:lnTo>
                    <a:pt x="18" y="187"/>
                  </a:lnTo>
                  <a:lnTo>
                    <a:pt x="18" y="187"/>
                  </a:lnTo>
                  <a:lnTo>
                    <a:pt x="18" y="187"/>
                  </a:lnTo>
                  <a:lnTo>
                    <a:pt x="18" y="187"/>
                  </a:lnTo>
                  <a:lnTo>
                    <a:pt x="18" y="185"/>
                  </a:lnTo>
                  <a:lnTo>
                    <a:pt x="18" y="185"/>
                  </a:lnTo>
                  <a:lnTo>
                    <a:pt x="18" y="182"/>
                  </a:lnTo>
                  <a:lnTo>
                    <a:pt x="18" y="180"/>
                  </a:lnTo>
                  <a:lnTo>
                    <a:pt x="18" y="180"/>
                  </a:lnTo>
                  <a:lnTo>
                    <a:pt x="18" y="178"/>
                  </a:lnTo>
                  <a:lnTo>
                    <a:pt x="20" y="178"/>
                  </a:lnTo>
                  <a:lnTo>
                    <a:pt x="22" y="178"/>
                  </a:lnTo>
                  <a:lnTo>
                    <a:pt x="24" y="178"/>
                  </a:lnTo>
                  <a:lnTo>
                    <a:pt x="26" y="180"/>
                  </a:lnTo>
                  <a:lnTo>
                    <a:pt x="26" y="182"/>
                  </a:lnTo>
                  <a:lnTo>
                    <a:pt x="28" y="182"/>
                  </a:lnTo>
                  <a:lnTo>
                    <a:pt x="28" y="187"/>
                  </a:lnTo>
                  <a:lnTo>
                    <a:pt x="28" y="187"/>
                  </a:lnTo>
                  <a:lnTo>
                    <a:pt x="30" y="189"/>
                  </a:lnTo>
                  <a:lnTo>
                    <a:pt x="34" y="189"/>
                  </a:lnTo>
                  <a:lnTo>
                    <a:pt x="34" y="189"/>
                  </a:lnTo>
                  <a:lnTo>
                    <a:pt x="34" y="189"/>
                  </a:lnTo>
                  <a:lnTo>
                    <a:pt x="32" y="189"/>
                  </a:lnTo>
                  <a:lnTo>
                    <a:pt x="39" y="191"/>
                  </a:lnTo>
                  <a:lnTo>
                    <a:pt x="41" y="191"/>
                  </a:lnTo>
                  <a:lnTo>
                    <a:pt x="43" y="193"/>
                  </a:lnTo>
                  <a:lnTo>
                    <a:pt x="37" y="193"/>
                  </a:lnTo>
                  <a:lnTo>
                    <a:pt x="30" y="193"/>
                  </a:lnTo>
                  <a:lnTo>
                    <a:pt x="26" y="195"/>
                  </a:lnTo>
                  <a:lnTo>
                    <a:pt x="26" y="195"/>
                  </a:lnTo>
                  <a:lnTo>
                    <a:pt x="24" y="195"/>
                  </a:lnTo>
                  <a:lnTo>
                    <a:pt x="22" y="195"/>
                  </a:lnTo>
                  <a:lnTo>
                    <a:pt x="22" y="197"/>
                  </a:lnTo>
                  <a:lnTo>
                    <a:pt x="22" y="197"/>
                  </a:lnTo>
                  <a:lnTo>
                    <a:pt x="24" y="197"/>
                  </a:lnTo>
                  <a:lnTo>
                    <a:pt x="24" y="199"/>
                  </a:lnTo>
                  <a:lnTo>
                    <a:pt x="24" y="199"/>
                  </a:lnTo>
                  <a:lnTo>
                    <a:pt x="24" y="201"/>
                  </a:lnTo>
                  <a:lnTo>
                    <a:pt x="22" y="201"/>
                  </a:lnTo>
                  <a:lnTo>
                    <a:pt x="22" y="201"/>
                  </a:lnTo>
                  <a:lnTo>
                    <a:pt x="22" y="201"/>
                  </a:lnTo>
                  <a:lnTo>
                    <a:pt x="20" y="199"/>
                  </a:lnTo>
                  <a:lnTo>
                    <a:pt x="20" y="199"/>
                  </a:lnTo>
                  <a:lnTo>
                    <a:pt x="20" y="197"/>
                  </a:lnTo>
                  <a:lnTo>
                    <a:pt x="18" y="195"/>
                  </a:lnTo>
                  <a:lnTo>
                    <a:pt x="18" y="195"/>
                  </a:lnTo>
                  <a:lnTo>
                    <a:pt x="18" y="193"/>
                  </a:lnTo>
                  <a:lnTo>
                    <a:pt x="16" y="193"/>
                  </a:lnTo>
                  <a:lnTo>
                    <a:pt x="16" y="195"/>
                  </a:lnTo>
                  <a:lnTo>
                    <a:pt x="16" y="199"/>
                  </a:lnTo>
                  <a:lnTo>
                    <a:pt x="16" y="203"/>
                  </a:lnTo>
                  <a:lnTo>
                    <a:pt x="16" y="209"/>
                  </a:lnTo>
                  <a:lnTo>
                    <a:pt x="16" y="211"/>
                  </a:lnTo>
                  <a:lnTo>
                    <a:pt x="18" y="211"/>
                  </a:lnTo>
                  <a:lnTo>
                    <a:pt x="20" y="213"/>
                  </a:lnTo>
                  <a:lnTo>
                    <a:pt x="22" y="213"/>
                  </a:lnTo>
                  <a:lnTo>
                    <a:pt x="22" y="213"/>
                  </a:lnTo>
                  <a:lnTo>
                    <a:pt x="22" y="213"/>
                  </a:lnTo>
                  <a:lnTo>
                    <a:pt x="24" y="215"/>
                  </a:lnTo>
                  <a:lnTo>
                    <a:pt x="24" y="215"/>
                  </a:lnTo>
                  <a:lnTo>
                    <a:pt x="24" y="215"/>
                  </a:lnTo>
                  <a:lnTo>
                    <a:pt x="24" y="213"/>
                  </a:lnTo>
                  <a:lnTo>
                    <a:pt x="24" y="213"/>
                  </a:lnTo>
                  <a:lnTo>
                    <a:pt x="28" y="215"/>
                  </a:lnTo>
                  <a:lnTo>
                    <a:pt x="28" y="215"/>
                  </a:lnTo>
                  <a:lnTo>
                    <a:pt x="30" y="213"/>
                  </a:lnTo>
                  <a:lnTo>
                    <a:pt x="30" y="213"/>
                  </a:lnTo>
                  <a:lnTo>
                    <a:pt x="32" y="213"/>
                  </a:lnTo>
                  <a:lnTo>
                    <a:pt x="32" y="213"/>
                  </a:lnTo>
                  <a:lnTo>
                    <a:pt x="34" y="215"/>
                  </a:lnTo>
                  <a:lnTo>
                    <a:pt x="37" y="219"/>
                  </a:lnTo>
                  <a:lnTo>
                    <a:pt x="37" y="219"/>
                  </a:lnTo>
                  <a:lnTo>
                    <a:pt x="39" y="221"/>
                  </a:lnTo>
                  <a:lnTo>
                    <a:pt x="39" y="221"/>
                  </a:lnTo>
                  <a:lnTo>
                    <a:pt x="37" y="223"/>
                  </a:lnTo>
                  <a:lnTo>
                    <a:pt x="34" y="221"/>
                  </a:lnTo>
                  <a:lnTo>
                    <a:pt x="34" y="221"/>
                  </a:lnTo>
                  <a:lnTo>
                    <a:pt x="34" y="219"/>
                  </a:lnTo>
                  <a:lnTo>
                    <a:pt x="34" y="217"/>
                  </a:lnTo>
                  <a:lnTo>
                    <a:pt x="30" y="217"/>
                  </a:lnTo>
                  <a:lnTo>
                    <a:pt x="28" y="219"/>
                  </a:lnTo>
                  <a:lnTo>
                    <a:pt x="26" y="221"/>
                  </a:lnTo>
                  <a:lnTo>
                    <a:pt x="26" y="223"/>
                  </a:lnTo>
                  <a:lnTo>
                    <a:pt x="28" y="228"/>
                  </a:lnTo>
                  <a:lnTo>
                    <a:pt x="26" y="225"/>
                  </a:lnTo>
                  <a:lnTo>
                    <a:pt x="24" y="223"/>
                  </a:lnTo>
                  <a:lnTo>
                    <a:pt x="24" y="223"/>
                  </a:lnTo>
                  <a:lnTo>
                    <a:pt x="24" y="225"/>
                  </a:lnTo>
                  <a:lnTo>
                    <a:pt x="26" y="228"/>
                  </a:lnTo>
                  <a:lnTo>
                    <a:pt x="26" y="232"/>
                  </a:lnTo>
                  <a:lnTo>
                    <a:pt x="26" y="232"/>
                  </a:lnTo>
                  <a:lnTo>
                    <a:pt x="26" y="232"/>
                  </a:lnTo>
                  <a:lnTo>
                    <a:pt x="26" y="234"/>
                  </a:lnTo>
                  <a:lnTo>
                    <a:pt x="26" y="236"/>
                  </a:lnTo>
                  <a:lnTo>
                    <a:pt x="26" y="236"/>
                  </a:lnTo>
                  <a:lnTo>
                    <a:pt x="24" y="236"/>
                  </a:lnTo>
                  <a:lnTo>
                    <a:pt x="22" y="236"/>
                  </a:lnTo>
                  <a:lnTo>
                    <a:pt x="22" y="238"/>
                  </a:lnTo>
                  <a:lnTo>
                    <a:pt x="22" y="238"/>
                  </a:lnTo>
                  <a:lnTo>
                    <a:pt x="22" y="240"/>
                  </a:lnTo>
                  <a:lnTo>
                    <a:pt x="22" y="240"/>
                  </a:lnTo>
                  <a:lnTo>
                    <a:pt x="22" y="240"/>
                  </a:lnTo>
                  <a:lnTo>
                    <a:pt x="24" y="242"/>
                  </a:lnTo>
                  <a:lnTo>
                    <a:pt x="24" y="242"/>
                  </a:lnTo>
                  <a:lnTo>
                    <a:pt x="24" y="242"/>
                  </a:lnTo>
                  <a:lnTo>
                    <a:pt x="24" y="242"/>
                  </a:lnTo>
                  <a:lnTo>
                    <a:pt x="24" y="244"/>
                  </a:lnTo>
                  <a:lnTo>
                    <a:pt x="24" y="244"/>
                  </a:lnTo>
                  <a:lnTo>
                    <a:pt x="26" y="246"/>
                  </a:lnTo>
                  <a:lnTo>
                    <a:pt x="28" y="246"/>
                  </a:lnTo>
                  <a:lnTo>
                    <a:pt x="26" y="248"/>
                  </a:lnTo>
                  <a:lnTo>
                    <a:pt x="26" y="246"/>
                  </a:lnTo>
                  <a:lnTo>
                    <a:pt x="22" y="244"/>
                  </a:lnTo>
                  <a:lnTo>
                    <a:pt x="22" y="244"/>
                  </a:lnTo>
                  <a:lnTo>
                    <a:pt x="22" y="244"/>
                  </a:lnTo>
                  <a:lnTo>
                    <a:pt x="22" y="246"/>
                  </a:lnTo>
                  <a:lnTo>
                    <a:pt x="20" y="248"/>
                  </a:lnTo>
                  <a:lnTo>
                    <a:pt x="18" y="248"/>
                  </a:lnTo>
                  <a:lnTo>
                    <a:pt x="16" y="248"/>
                  </a:lnTo>
                  <a:lnTo>
                    <a:pt x="16" y="246"/>
                  </a:lnTo>
                  <a:lnTo>
                    <a:pt x="14" y="244"/>
                  </a:lnTo>
                  <a:lnTo>
                    <a:pt x="14" y="238"/>
                  </a:lnTo>
                  <a:lnTo>
                    <a:pt x="16" y="236"/>
                  </a:lnTo>
                  <a:lnTo>
                    <a:pt x="18" y="228"/>
                  </a:lnTo>
                  <a:lnTo>
                    <a:pt x="18" y="225"/>
                  </a:lnTo>
                  <a:lnTo>
                    <a:pt x="16" y="223"/>
                  </a:lnTo>
                  <a:lnTo>
                    <a:pt x="16" y="221"/>
                  </a:lnTo>
                  <a:lnTo>
                    <a:pt x="18" y="219"/>
                  </a:lnTo>
                  <a:lnTo>
                    <a:pt x="16" y="221"/>
                  </a:lnTo>
                  <a:lnTo>
                    <a:pt x="14" y="225"/>
                  </a:lnTo>
                  <a:lnTo>
                    <a:pt x="12" y="242"/>
                  </a:lnTo>
                  <a:lnTo>
                    <a:pt x="12" y="246"/>
                  </a:lnTo>
                  <a:lnTo>
                    <a:pt x="10" y="248"/>
                  </a:lnTo>
                  <a:lnTo>
                    <a:pt x="10" y="250"/>
                  </a:lnTo>
                  <a:lnTo>
                    <a:pt x="10" y="252"/>
                  </a:lnTo>
                  <a:lnTo>
                    <a:pt x="8" y="252"/>
                  </a:lnTo>
                  <a:lnTo>
                    <a:pt x="8" y="254"/>
                  </a:lnTo>
                  <a:lnTo>
                    <a:pt x="6" y="256"/>
                  </a:lnTo>
                  <a:lnTo>
                    <a:pt x="6" y="256"/>
                  </a:lnTo>
                  <a:lnTo>
                    <a:pt x="6" y="258"/>
                  </a:lnTo>
                  <a:lnTo>
                    <a:pt x="8" y="258"/>
                  </a:lnTo>
                  <a:lnTo>
                    <a:pt x="10" y="258"/>
                  </a:lnTo>
                  <a:lnTo>
                    <a:pt x="10" y="258"/>
                  </a:lnTo>
                  <a:lnTo>
                    <a:pt x="10" y="258"/>
                  </a:lnTo>
                  <a:lnTo>
                    <a:pt x="10" y="258"/>
                  </a:lnTo>
                  <a:lnTo>
                    <a:pt x="10" y="258"/>
                  </a:lnTo>
                  <a:lnTo>
                    <a:pt x="10" y="258"/>
                  </a:lnTo>
                  <a:lnTo>
                    <a:pt x="10" y="256"/>
                  </a:lnTo>
                  <a:lnTo>
                    <a:pt x="10" y="256"/>
                  </a:lnTo>
                  <a:lnTo>
                    <a:pt x="10" y="256"/>
                  </a:lnTo>
                  <a:lnTo>
                    <a:pt x="12" y="254"/>
                  </a:lnTo>
                  <a:lnTo>
                    <a:pt x="14" y="254"/>
                  </a:lnTo>
                  <a:lnTo>
                    <a:pt x="14" y="256"/>
                  </a:lnTo>
                  <a:lnTo>
                    <a:pt x="16" y="256"/>
                  </a:lnTo>
                  <a:lnTo>
                    <a:pt x="18" y="262"/>
                  </a:lnTo>
                  <a:lnTo>
                    <a:pt x="20" y="262"/>
                  </a:lnTo>
                  <a:lnTo>
                    <a:pt x="22" y="262"/>
                  </a:lnTo>
                  <a:lnTo>
                    <a:pt x="24" y="262"/>
                  </a:lnTo>
                  <a:lnTo>
                    <a:pt x="26" y="262"/>
                  </a:lnTo>
                  <a:lnTo>
                    <a:pt x="28" y="260"/>
                  </a:lnTo>
                  <a:lnTo>
                    <a:pt x="28" y="260"/>
                  </a:lnTo>
                  <a:lnTo>
                    <a:pt x="30" y="262"/>
                  </a:lnTo>
                  <a:lnTo>
                    <a:pt x="30" y="262"/>
                  </a:lnTo>
                  <a:lnTo>
                    <a:pt x="32" y="262"/>
                  </a:lnTo>
                  <a:lnTo>
                    <a:pt x="34" y="260"/>
                  </a:lnTo>
                  <a:lnTo>
                    <a:pt x="37" y="260"/>
                  </a:lnTo>
                  <a:lnTo>
                    <a:pt x="37" y="260"/>
                  </a:lnTo>
                  <a:lnTo>
                    <a:pt x="37" y="262"/>
                  </a:lnTo>
                  <a:lnTo>
                    <a:pt x="39" y="262"/>
                  </a:lnTo>
                  <a:lnTo>
                    <a:pt x="39" y="264"/>
                  </a:lnTo>
                  <a:lnTo>
                    <a:pt x="39" y="264"/>
                  </a:lnTo>
                  <a:lnTo>
                    <a:pt x="43" y="266"/>
                  </a:lnTo>
                  <a:lnTo>
                    <a:pt x="53" y="266"/>
                  </a:lnTo>
                  <a:lnTo>
                    <a:pt x="55" y="266"/>
                  </a:lnTo>
                  <a:lnTo>
                    <a:pt x="55" y="269"/>
                  </a:lnTo>
                  <a:lnTo>
                    <a:pt x="57" y="271"/>
                  </a:lnTo>
                  <a:lnTo>
                    <a:pt x="57" y="273"/>
                  </a:lnTo>
                  <a:lnTo>
                    <a:pt x="57" y="275"/>
                  </a:lnTo>
                  <a:lnTo>
                    <a:pt x="63" y="281"/>
                  </a:lnTo>
                  <a:lnTo>
                    <a:pt x="63" y="281"/>
                  </a:lnTo>
                  <a:lnTo>
                    <a:pt x="65" y="283"/>
                  </a:lnTo>
                  <a:lnTo>
                    <a:pt x="67" y="283"/>
                  </a:lnTo>
                  <a:lnTo>
                    <a:pt x="71" y="281"/>
                  </a:lnTo>
                  <a:lnTo>
                    <a:pt x="73" y="281"/>
                  </a:lnTo>
                  <a:lnTo>
                    <a:pt x="77" y="281"/>
                  </a:lnTo>
                  <a:lnTo>
                    <a:pt x="80" y="283"/>
                  </a:lnTo>
                  <a:lnTo>
                    <a:pt x="80" y="283"/>
                  </a:lnTo>
                  <a:lnTo>
                    <a:pt x="82" y="287"/>
                  </a:lnTo>
                  <a:lnTo>
                    <a:pt x="84" y="287"/>
                  </a:lnTo>
                  <a:lnTo>
                    <a:pt x="86" y="287"/>
                  </a:lnTo>
                  <a:lnTo>
                    <a:pt x="88" y="289"/>
                  </a:lnTo>
                  <a:lnTo>
                    <a:pt x="90" y="291"/>
                  </a:lnTo>
                  <a:lnTo>
                    <a:pt x="92" y="293"/>
                  </a:lnTo>
                  <a:lnTo>
                    <a:pt x="92" y="295"/>
                  </a:lnTo>
                  <a:lnTo>
                    <a:pt x="94" y="297"/>
                  </a:lnTo>
                  <a:lnTo>
                    <a:pt x="94" y="299"/>
                  </a:lnTo>
                  <a:lnTo>
                    <a:pt x="94" y="303"/>
                  </a:lnTo>
                  <a:lnTo>
                    <a:pt x="96" y="305"/>
                  </a:lnTo>
                  <a:lnTo>
                    <a:pt x="96" y="305"/>
                  </a:lnTo>
                  <a:lnTo>
                    <a:pt x="96" y="307"/>
                  </a:lnTo>
                  <a:lnTo>
                    <a:pt x="98" y="310"/>
                  </a:lnTo>
                  <a:lnTo>
                    <a:pt x="96" y="314"/>
                  </a:lnTo>
                  <a:lnTo>
                    <a:pt x="98" y="318"/>
                  </a:lnTo>
                  <a:lnTo>
                    <a:pt x="96" y="320"/>
                  </a:lnTo>
                  <a:lnTo>
                    <a:pt x="96" y="322"/>
                  </a:lnTo>
                  <a:lnTo>
                    <a:pt x="96" y="324"/>
                  </a:lnTo>
                  <a:lnTo>
                    <a:pt x="96" y="328"/>
                  </a:lnTo>
                  <a:lnTo>
                    <a:pt x="96" y="328"/>
                  </a:lnTo>
                  <a:lnTo>
                    <a:pt x="96" y="330"/>
                  </a:lnTo>
                  <a:lnTo>
                    <a:pt x="96" y="332"/>
                  </a:lnTo>
                  <a:lnTo>
                    <a:pt x="96" y="332"/>
                  </a:lnTo>
                  <a:lnTo>
                    <a:pt x="96" y="336"/>
                  </a:lnTo>
                  <a:lnTo>
                    <a:pt x="96" y="340"/>
                  </a:lnTo>
                  <a:lnTo>
                    <a:pt x="96" y="340"/>
                  </a:lnTo>
                  <a:lnTo>
                    <a:pt x="96" y="342"/>
                  </a:lnTo>
                  <a:lnTo>
                    <a:pt x="98" y="344"/>
                  </a:lnTo>
                  <a:lnTo>
                    <a:pt x="100" y="346"/>
                  </a:lnTo>
                  <a:lnTo>
                    <a:pt x="106" y="348"/>
                  </a:lnTo>
                  <a:lnTo>
                    <a:pt x="108" y="348"/>
                  </a:lnTo>
                  <a:lnTo>
                    <a:pt x="110" y="348"/>
                  </a:lnTo>
                  <a:lnTo>
                    <a:pt x="112" y="351"/>
                  </a:lnTo>
                  <a:lnTo>
                    <a:pt x="116" y="353"/>
                  </a:lnTo>
                  <a:lnTo>
                    <a:pt x="118" y="355"/>
                  </a:lnTo>
                  <a:lnTo>
                    <a:pt x="125" y="355"/>
                  </a:lnTo>
                  <a:lnTo>
                    <a:pt x="131" y="359"/>
                  </a:lnTo>
                  <a:lnTo>
                    <a:pt x="131" y="359"/>
                  </a:lnTo>
                  <a:lnTo>
                    <a:pt x="133" y="359"/>
                  </a:lnTo>
                  <a:lnTo>
                    <a:pt x="139" y="357"/>
                  </a:lnTo>
                  <a:lnTo>
                    <a:pt x="153" y="355"/>
                  </a:lnTo>
                  <a:lnTo>
                    <a:pt x="157" y="355"/>
                  </a:lnTo>
                  <a:lnTo>
                    <a:pt x="163" y="351"/>
                  </a:lnTo>
                  <a:lnTo>
                    <a:pt x="168" y="351"/>
                  </a:lnTo>
                  <a:lnTo>
                    <a:pt x="170" y="351"/>
                  </a:lnTo>
                  <a:lnTo>
                    <a:pt x="176" y="353"/>
                  </a:lnTo>
                  <a:lnTo>
                    <a:pt x="186" y="353"/>
                  </a:lnTo>
                  <a:lnTo>
                    <a:pt x="209" y="359"/>
                  </a:lnTo>
                  <a:lnTo>
                    <a:pt x="213" y="361"/>
                  </a:lnTo>
                  <a:lnTo>
                    <a:pt x="215" y="363"/>
                  </a:lnTo>
                  <a:lnTo>
                    <a:pt x="215" y="365"/>
                  </a:lnTo>
                  <a:lnTo>
                    <a:pt x="215" y="367"/>
                  </a:lnTo>
                  <a:lnTo>
                    <a:pt x="215" y="369"/>
                  </a:lnTo>
                  <a:lnTo>
                    <a:pt x="217" y="369"/>
                  </a:lnTo>
                  <a:lnTo>
                    <a:pt x="219" y="369"/>
                  </a:lnTo>
                  <a:lnTo>
                    <a:pt x="225" y="369"/>
                  </a:lnTo>
                  <a:lnTo>
                    <a:pt x="225" y="369"/>
                  </a:lnTo>
                  <a:lnTo>
                    <a:pt x="227" y="369"/>
                  </a:lnTo>
                  <a:lnTo>
                    <a:pt x="229" y="369"/>
                  </a:lnTo>
                  <a:lnTo>
                    <a:pt x="229" y="369"/>
                  </a:lnTo>
                  <a:lnTo>
                    <a:pt x="231" y="369"/>
                  </a:lnTo>
                  <a:lnTo>
                    <a:pt x="233" y="369"/>
                  </a:lnTo>
                  <a:lnTo>
                    <a:pt x="233" y="371"/>
                  </a:lnTo>
                  <a:lnTo>
                    <a:pt x="237" y="371"/>
                  </a:lnTo>
                  <a:lnTo>
                    <a:pt x="239" y="371"/>
                  </a:lnTo>
                  <a:lnTo>
                    <a:pt x="241" y="371"/>
                  </a:lnTo>
                  <a:lnTo>
                    <a:pt x="241" y="371"/>
                  </a:lnTo>
                  <a:lnTo>
                    <a:pt x="245" y="369"/>
                  </a:lnTo>
                  <a:lnTo>
                    <a:pt x="245" y="369"/>
                  </a:lnTo>
                  <a:lnTo>
                    <a:pt x="252" y="369"/>
                  </a:lnTo>
                  <a:lnTo>
                    <a:pt x="256" y="369"/>
                  </a:lnTo>
                  <a:lnTo>
                    <a:pt x="256" y="367"/>
                  </a:lnTo>
                  <a:lnTo>
                    <a:pt x="256" y="367"/>
                  </a:lnTo>
                  <a:lnTo>
                    <a:pt x="258" y="367"/>
                  </a:lnTo>
                  <a:lnTo>
                    <a:pt x="260" y="367"/>
                  </a:lnTo>
                  <a:lnTo>
                    <a:pt x="270" y="371"/>
                  </a:lnTo>
                  <a:lnTo>
                    <a:pt x="272" y="371"/>
                  </a:lnTo>
                  <a:lnTo>
                    <a:pt x="274" y="371"/>
                  </a:lnTo>
                  <a:lnTo>
                    <a:pt x="274" y="371"/>
                  </a:lnTo>
                  <a:lnTo>
                    <a:pt x="278" y="371"/>
                  </a:lnTo>
                  <a:lnTo>
                    <a:pt x="278" y="371"/>
                  </a:lnTo>
                  <a:lnTo>
                    <a:pt x="280" y="371"/>
                  </a:lnTo>
                  <a:lnTo>
                    <a:pt x="284" y="371"/>
                  </a:lnTo>
                  <a:lnTo>
                    <a:pt x="284" y="371"/>
                  </a:lnTo>
                  <a:lnTo>
                    <a:pt x="286" y="371"/>
                  </a:lnTo>
                  <a:lnTo>
                    <a:pt x="288" y="371"/>
                  </a:lnTo>
                  <a:lnTo>
                    <a:pt x="290" y="371"/>
                  </a:lnTo>
                  <a:lnTo>
                    <a:pt x="293" y="371"/>
                  </a:lnTo>
                  <a:lnTo>
                    <a:pt x="295" y="371"/>
                  </a:lnTo>
                  <a:lnTo>
                    <a:pt x="297" y="369"/>
                  </a:lnTo>
                  <a:lnTo>
                    <a:pt x="299" y="367"/>
                  </a:lnTo>
                  <a:lnTo>
                    <a:pt x="303" y="367"/>
                  </a:lnTo>
                  <a:lnTo>
                    <a:pt x="315" y="365"/>
                  </a:lnTo>
                  <a:lnTo>
                    <a:pt x="336" y="365"/>
                  </a:lnTo>
                  <a:lnTo>
                    <a:pt x="340" y="363"/>
                  </a:lnTo>
                  <a:lnTo>
                    <a:pt x="342" y="361"/>
                  </a:lnTo>
                  <a:lnTo>
                    <a:pt x="344" y="361"/>
                  </a:lnTo>
                  <a:lnTo>
                    <a:pt x="346" y="361"/>
                  </a:lnTo>
                  <a:lnTo>
                    <a:pt x="352" y="363"/>
                  </a:lnTo>
                  <a:lnTo>
                    <a:pt x="356" y="363"/>
                  </a:lnTo>
                  <a:lnTo>
                    <a:pt x="362" y="363"/>
                  </a:lnTo>
                  <a:lnTo>
                    <a:pt x="381" y="365"/>
                  </a:lnTo>
                  <a:lnTo>
                    <a:pt x="385" y="365"/>
                  </a:lnTo>
                  <a:lnTo>
                    <a:pt x="389" y="361"/>
                  </a:lnTo>
                  <a:lnTo>
                    <a:pt x="391" y="361"/>
                  </a:lnTo>
                  <a:lnTo>
                    <a:pt x="393" y="363"/>
                  </a:lnTo>
                  <a:lnTo>
                    <a:pt x="403" y="365"/>
                  </a:lnTo>
                  <a:lnTo>
                    <a:pt x="413" y="365"/>
                  </a:lnTo>
                  <a:lnTo>
                    <a:pt x="424" y="367"/>
                  </a:lnTo>
                  <a:lnTo>
                    <a:pt x="434" y="369"/>
                  </a:lnTo>
                  <a:lnTo>
                    <a:pt x="442" y="371"/>
                  </a:lnTo>
                  <a:lnTo>
                    <a:pt x="463" y="373"/>
                  </a:lnTo>
                  <a:lnTo>
                    <a:pt x="473" y="375"/>
                  </a:lnTo>
                  <a:lnTo>
                    <a:pt x="483" y="377"/>
                  </a:lnTo>
                  <a:lnTo>
                    <a:pt x="493" y="379"/>
                  </a:lnTo>
                  <a:lnTo>
                    <a:pt x="503" y="381"/>
                  </a:lnTo>
                  <a:lnTo>
                    <a:pt x="512" y="381"/>
                  </a:lnTo>
                  <a:lnTo>
                    <a:pt x="522" y="383"/>
                  </a:lnTo>
                  <a:lnTo>
                    <a:pt x="532" y="385"/>
                  </a:lnTo>
                  <a:lnTo>
                    <a:pt x="542" y="387"/>
                  </a:lnTo>
                  <a:lnTo>
                    <a:pt x="553" y="387"/>
                  </a:lnTo>
                  <a:lnTo>
                    <a:pt x="553" y="383"/>
                  </a:lnTo>
                  <a:lnTo>
                    <a:pt x="549" y="377"/>
                  </a:lnTo>
                  <a:lnTo>
                    <a:pt x="549" y="377"/>
                  </a:lnTo>
                  <a:lnTo>
                    <a:pt x="551" y="375"/>
                  </a:lnTo>
                  <a:lnTo>
                    <a:pt x="553" y="373"/>
                  </a:lnTo>
                  <a:lnTo>
                    <a:pt x="553" y="371"/>
                  </a:lnTo>
                  <a:lnTo>
                    <a:pt x="553" y="369"/>
                  </a:lnTo>
                  <a:lnTo>
                    <a:pt x="553" y="367"/>
                  </a:lnTo>
                  <a:lnTo>
                    <a:pt x="553" y="361"/>
                  </a:lnTo>
                  <a:lnTo>
                    <a:pt x="551" y="359"/>
                  </a:lnTo>
                  <a:lnTo>
                    <a:pt x="549" y="355"/>
                  </a:lnTo>
                  <a:lnTo>
                    <a:pt x="546" y="348"/>
                  </a:lnTo>
                  <a:lnTo>
                    <a:pt x="546" y="348"/>
                  </a:lnTo>
                  <a:lnTo>
                    <a:pt x="546" y="346"/>
                  </a:lnTo>
                  <a:lnTo>
                    <a:pt x="549" y="342"/>
                  </a:lnTo>
                  <a:lnTo>
                    <a:pt x="549" y="340"/>
                  </a:lnTo>
                  <a:lnTo>
                    <a:pt x="551" y="324"/>
                  </a:lnTo>
                  <a:lnTo>
                    <a:pt x="555" y="307"/>
                  </a:lnTo>
                  <a:lnTo>
                    <a:pt x="557" y="291"/>
                  </a:lnTo>
                  <a:lnTo>
                    <a:pt x="559" y="275"/>
                  </a:lnTo>
                  <a:lnTo>
                    <a:pt x="561" y="258"/>
                  </a:lnTo>
                  <a:lnTo>
                    <a:pt x="563" y="242"/>
                  </a:lnTo>
                  <a:lnTo>
                    <a:pt x="565" y="225"/>
                  </a:lnTo>
                  <a:lnTo>
                    <a:pt x="569" y="209"/>
                  </a:lnTo>
                  <a:lnTo>
                    <a:pt x="571" y="195"/>
                  </a:lnTo>
                  <a:lnTo>
                    <a:pt x="573" y="178"/>
                  </a:lnTo>
                  <a:lnTo>
                    <a:pt x="575" y="162"/>
                  </a:lnTo>
                  <a:lnTo>
                    <a:pt x="577" y="146"/>
                  </a:lnTo>
                  <a:lnTo>
                    <a:pt x="581" y="129"/>
                  </a:lnTo>
                  <a:lnTo>
                    <a:pt x="583" y="113"/>
                  </a:lnTo>
                  <a:lnTo>
                    <a:pt x="585" y="98"/>
                  </a:lnTo>
                  <a:lnTo>
                    <a:pt x="587" y="82"/>
                  </a:lnTo>
                  <a:lnTo>
                    <a:pt x="579" y="80"/>
                  </a:lnTo>
                  <a:close/>
                  <a:moveTo>
                    <a:pt x="143" y="0"/>
                  </a:moveTo>
                  <a:lnTo>
                    <a:pt x="139" y="0"/>
                  </a:lnTo>
                  <a:lnTo>
                    <a:pt x="139" y="0"/>
                  </a:lnTo>
                  <a:lnTo>
                    <a:pt x="139" y="2"/>
                  </a:lnTo>
                  <a:lnTo>
                    <a:pt x="143" y="0"/>
                  </a:lnTo>
                  <a:lnTo>
                    <a:pt x="143" y="0"/>
                  </a:lnTo>
                  <a:close/>
                  <a:moveTo>
                    <a:pt x="125" y="31"/>
                  </a:moveTo>
                  <a:lnTo>
                    <a:pt x="127" y="31"/>
                  </a:lnTo>
                  <a:lnTo>
                    <a:pt x="125" y="31"/>
                  </a:lnTo>
                  <a:lnTo>
                    <a:pt x="125" y="31"/>
                  </a:lnTo>
                  <a:lnTo>
                    <a:pt x="125" y="29"/>
                  </a:lnTo>
                  <a:lnTo>
                    <a:pt x="125" y="31"/>
                  </a:lnTo>
                  <a:lnTo>
                    <a:pt x="127" y="31"/>
                  </a:lnTo>
                  <a:lnTo>
                    <a:pt x="127" y="31"/>
                  </a:lnTo>
                  <a:lnTo>
                    <a:pt x="127" y="31"/>
                  </a:lnTo>
                  <a:lnTo>
                    <a:pt x="127" y="29"/>
                  </a:lnTo>
                  <a:lnTo>
                    <a:pt x="127" y="29"/>
                  </a:lnTo>
                  <a:lnTo>
                    <a:pt x="127" y="29"/>
                  </a:lnTo>
                  <a:lnTo>
                    <a:pt x="127" y="29"/>
                  </a:lnTo>
                  <a:lnTo>
                    <a:pt x="125" y="29"/>
                  </a:lnTo>
                  <a:lnTo>
                    <a:pt x="125" y="29"/>
                  </a:lnTo>
                  <a:lnTo>
                    <a:pt x="125" y="29"/>
                  </a:lnTo>
                  <a:lnTo>
                    <a:pt x="125" y="29"/>
                  </a:lnTo>
                  <a:lnTo>
                    <a:pt x="123" y="27"/>
                  </a:lnTo>
                  <a:lnTo>
                    <a:pt x="123" y="27"/>
                  </a:lnTo>
                  <a:lnTo>
                    <a:pt x="123" y="29"/>
                  </a:lnTo>
                  <a:lnTo>
                    <a:pt x="125" y="31"/>
                  </a:lnTo>
                  <a:close/>
                  <a:moveTo>
                    <a:pt x="163" y="53"/>
                  </a:moveTo>
                  <a:lnTo>
                    <a:pt x="163" y="53"/>
                  </a:lnTo>
                  <a:lnTo>
                    <a:pt x="166" y="53"/>
                  </a:lnTo>
                  <a:lnTo>
                    <a:pt x="168" y="53"/>
                  </a:lnTo>
                  <a:lnTo>
                    <a:pt x="168" y="53"/>
                  </a:lnTo>
                  <a:lnTo>
                    <a:pt x="168" y="53"/>
                  </a:lnTo>
                  <a:lnTo>
                    <a:pt x="168" y="53"/>
                  </a:lnTo>
                  <a:lnTo>
                    <a:pt x="168" y="51"/>
                  </a:lnTo>
                  <a:lnTo>
                    <a:pt x="166" y="49"/>
                  </a:lnTo>
                  <a:lnTo>
                    <a:pt x="163" y="47"/>
                  </a:lnTo>
                  <a:lnTo>
                    <a:pt x="163" y="47"/>
                  </a:lnTo>
                  <a:lnTo>
                    <a:pt x="163" y="47"/>
                  </a:lnTo>
                  <a:lnTo>
                    <a:pt x="163" y="49"/>
                  </a:lnTo>
                  <a:lnTo>
                    <a:pt x="163" y="49"/>
                  </a:lnTo>
                  <a:lnTo>
                    <a:pt x="161" y="51"/>
                  </a:lnTo>
                  <a:lnTo>
                    <a:pt x="163" y="53"/>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A</a:t>
              </a:r>
            </a:p>
          </p:txBody>
        </p:sp>
        <p:sp>
          <p:nvSpPr>
            <p:cNvPr id="299" name="Freeform 9">
              <a:extLst>
                <a:ext uri="{FF2B5EF4-FFF2-40B4-BE49-F238E27FC236}">
                  <a16:creationId xmlns:a16="http://schemas.microsoft.com/office/drawing/2014/main" id="{82801E1C-64EB-DAA1-F650-73E4AA78AAAD}"/>
                </a:ext>
              </a:extLst>
            </p:cNvPr>
            <p:cNvSpPr>
              <a:spLocks/>
            </p:cNvSpPr>
            <p:nvPr/>
          </p:nvSpPr>
          <p:spPr bwMode="auto">
            <a:xfrm>
              <a:off x="4810" y="303"/>
              <a:ext cx="150" cy="265"/>
            </a:xfrm>
            <a:custGeom>
              <a:avLst/>
              <a:gdLst>
                <a:gd name="T0" fmla="*/ 2 w 150"/>
                <a:gd name="T1" fmla="*/ 37 h 265"/>
                <a:gd name="T2" fmla="*/ 2 w 150"/>
                <a:gd name="T3" fmla="*/ 41 h 265"/>
                <a:gd name="T4" fmla="*/ 0 w 150"/>
                <a:gd name="T5" fmla="*/ 45 h 265"/>
                <a:gd name="T6" fmla="*/ 2 w 150"/>
                <a:gd name="T7" fmla="*/ 56 h 265"/>
                <a:gd name="T8" fmla="*/ 4 w 150"/>
                <a:gd name="T9" fmla="*/ 62 h 265"/>
                <a:gd name="T10" fmla="*/ 2 w 150"/>
                <a:gd name="T11" fmla="*/ 64 h 265"/>
                <a:gd name="T12" fmla="*/ 7 w 150"/>
                <a:gd name="T13" fmla="*/ 68 h 265"/>
                <a:gd name="T14" fmla="*/ 2 w 150"/>
                <a:gd name="T15" fmla="*/ 68 h 265"/>
                <a:gd name="T16" fmla="*/ 2 w 150"/>
                <a:gd name="T17" fmla="*/ 76 h 265"/>
                <a:gd name="T18" fmla="*/ 4 w 150"/>
                <a:gd name="T19" fmla="*/ 78 h 265"/>
                <a:gd name="T20" fmla="*/ 9 w 150"/>
                <a:gd name="T21" fmla="*/ 84 h 265"/>
                <a:gd name="T22" fmla="*/ 13 w 150"/>
                <a:gd name="T23" fmla="*/ 93 h 265"/>
                <a:gd name="T24" fmla="*/ 13 w 150"/>
                <a:gd name="T25" fmla="*/ 101 h 265"/>
                <a:gd name="T26" fmla="*/ 15 w 150"/>
                <a:gd name="T27" fmla="*/ 95 h 265"/>
                <a:gd name="T28" fmla="*/ 19 w 150"/>
                <a:gd name="T29" fmla="*/ 105 h 265"/>
                <a:gd name="T30" fmla="*/ 17 w 150"/>
                <a:gd name="T31" fmla="*/ 119 h 265"/>
                <a:gd name="T32" fmla="*/ 19 w 150"/>
                <a:gd name="T33" fmla="*/ 138 h 265"/>
                <a:gd name="T34" fmla="*/ 21 w 150"/>
                <a:gd name="T35" fmla="*/ 140 h 265"/>
                <a:gd name="T36" fmla="*/ 25 w 150"/>
                <a:gd name="T37" fmla="*/ 152 h 265"/>
                <a:gd name="T38" fmla="*/ 27 w 150"/>
                <a:gd name="T39" fmla="*/ 158 h 265"/>
                <a:gd name="T40" fmla="*/ 31 w 150"/>
                <a:gd name="T41" fmla="*/ 164 h 265"/>
                <a:gd name="T42" fmla="*/ 31 w 150"/>
                <a:gd name="T43" fmla="*/ 179 h 265"/>
                <a:gd name="T44" fmla="*/ 33 w 150"/>
                <a:gd name="T45" fmla="*/ 185 h 265"/>
                <a:gd name="T46" fmla="*/ 35 w 150"/>
                <a:gd name="T47" fmla="*/ 183 h 265"/>
                <a:gd name="T48" fmla="*/ 35 w 150"/>
                <a:gd name="T49" fmla="*/ 179 h 265"/>
                <a:gd name="T50" fmla="*/ 37 w 150"/>
                <a:gd name="T51" fmla="*/ 177 h 265"/>
                <a:gd name="T52" fmla="*/ 43 w 150"/>
                <a:gd name="T53" fmla="*/ 181 h 265"/>
                <a:gd name="T54" fmla="*/ 47 w 150"/>
                <a:gd name="T55" fmla="*/ 185 h 265"/>
                <a:gd name="T56" fmla="*/ 50 w 150"/>
                <a:gd name="T57" fmla="*/ 201 h 265"/>
                <a:gd name="T58" fmla="*/ 58 w 150"/>
                <a:gd name="T59" fmla="*/ 238 h 265"/>
                <a:gd name="T60" fmla="*/ 62 w 150"/>
                <a:gd name="T61" fmla="*/ 252 h 265"/>
                <a:gd name="T62" fmla="*/ 66 w 150"/>
                <a:gd name="T63" fmla="*/ 265 h 265"/>
                <a:gd name="T64" fmla="*/ 93 w 150"/>
                <a:gd name="T65" fmla="*/ 259 h 265"/>
                <a:gd name="T66" fmla="*/ 113 w 150"/>
                <a:gd name="T67" fmla="*/ 257 h 265"/>
                <a:gd name="T68" fmla="*/ 129 w 150"/>
                <a:gd name="T69" fmla="*/ 252 h 265"/>
                <a:gd name="T70" fmla="*/ 119 w 150"/>
                <a:gd name="T71" fmla="*/ 242 h 265"/>
                <a:gd name="T72" fmla="*/ 117 w 150"/>
                <a:gd name="T73" fmla="*/ 236 h 265"/>
                <a:gd name="T74" fmla="*/ 121 w 150"/>
                <a:gd name="T75" fmla="*/ 226 h 265"/>
                <a:gd name="T76" fmla="*/ 119 w 150"/>
                <a:gd name="T77" fmla="*/ 207 h 265"/>
                <a:gd name="T78" fmla="*/ 117 w 150"/>
                <a:gd name="T79" fmla="*/ 201 h 265"/>
                <a:gd name="T80" fmla="*/ 117 w 150"/>
                <a:gd name="T81" fmla="*/ 197 h 265"/>
                <a:gd name="T82" fmla="*/ 117 w 150"/>
                <a:gd name="T83" fmla="*/ 191 h 265"/>
                <a:gd name="T84" fmla="*/ 115 w 150"/>
                <a:gd name="T85" fmla="*/ 160 h 265"/>
                <a:gd name="T86" fmla="*/ 115 w 150"/>
                <a:gd name="T87" fmla="*/ 148 h 265"/>
                <a:gd name="T88" fmla="*/ 121 w 150"/>
                <a:gd name="T89" fmla="*/ 136 h 265"/>
                <a:gd name="T90" fmla="*/ 125 w 150"/>
                <a:gd name="T91" fmla="*/ 117 h 265"/>
                <a:gd name="T92" fmla="*/ 123 w 150"/>
                <a:gd name="T93" fmla="*/ 113 h 265"/>
                <a:gd name="T94" fmla="*/ 121 w 150"/>
                <a:gd name="T95" fmla="*/ 84 h 265"/>
                <a:gd name="T96" fmla="*/ 133 w 150"/>
                <a:gd name="T97" fmla="*/ 74 h 265"/>
                <a:gd name="T98" fmla="*/ 144 w 150"/>
                <a:gd name="T99" fmla="*/ 62 h 265"/>
                <a:gd name="T100" fmla="*/ 148 w 150"/>
                <a:gd name="T101" fmla="*/ 52 h 265"/>
                <a:gd name="T102" fmla="*/ 150 w 150"/>
                <a:gd name="T103" fmla="*/ 45 h 265"/>
                <a:gd name="T104" fmla="*/ 144 w 150"/>
                <a:gd name="T105" fmla="*/ 35 h 265"/>
                <a:gd name="T106" fmla="*/ 140 w 150"/>
                <a:gd name="T107" fmla="*/ 27 h 265"/>
                <a:gd name="T108" fmla="*/ 144 w 150"/>
                <a:gd name="T109" fmla="*/ 9 h 265"/>
                <a:gd name="T110" fmla="*/ 144 w 150"/>
                <a:gd name="T111" fmla="*/ 0 h 265"/>
                <a:gd name="T112" fmla="*/ 105 w 150"/>
                <a:gd name="T113" fmla="*/ 11 h 265"/>
                <a:gd name="T114" fmla="*/ 66 w 150"/>
                <a:gd name="T115" fmla="*/ 21 h 265"/>
                <a:gd name="T116" fmla="*/ 21 w 150"/>
                <a:gd name="T117" fmla="*/ 31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265">
                  <a:moveTo>
                    <a:pt x="17" y="33"/>
                  </a:moveTo>
                  <a:lnTo>
                    <a:pt x="13" y="33"/>
                  </a:lnTo>
                  <a:lnTo>
                    <a:pt x="13" y="35"/>
                  </a:lnTo>
                  <a:lnTo>
                    <a:pt x="7" y="35"/>
                  </a:lnTo>
                  <a:lnTo>
                    <a:pt x="2" y="37"/>
                  </a:lnTo>
                  <a:lnTo>
                    <a:pt x="2" y="37"/>
                  </a:lnTo>
                  <a:lnTo>
                    <a:pt x="0" y="37"/>
                  </a:lnTo>
                  <a:lnTo>
                    <a:pt x="2" y="39"/>
                  </a:lnTo>
                  <a:lnTo>
                    <a:pt x="2" y="41"/>
                  </a:lnTo>
                  <a:lnTo>
                    <a:pt x="2" y="41"/>
                  </a:lnTo>
                  <a:lnTo>
                    <a:pt x="2" y="43"/>
                  </a:lnTo>
                  <a:lnTo>
                    <a:pt x="2" y="43"/>
                  </a:lnTo>
                  <a:lnTo>
                    <a:pt x="0" y="43"/>
                  </a:lnTo>
                  <a:lnTo>
                    <a:pt x="0" y="43"/>
                  </a:lnTo>
                  <a:lnTo>
                    <a:pt x="0" y="45"/>
                  </a:lnTo>
                  <a:lnTo>
                    <a:pt x="2" y="48"/>
                  </a:lnTo>
                  <a:lnTo>
                    <a:pt x="2" y="52"/>
                  </a:lnTo>
                  <a:lnTo>
                    <a:pt x="2" y="54"/>
                  </a:lnTo>
                  <a:lnTo>
                    <a:pt x="2" y="56"/>
                  </a:lnTo>
                  <a:lnTo>
                    <a:pt x="2" y="56"/>
                  </a:lnTo>
                  <a:lnTo>
                    <a:pt x="4" y="58"/>
                  </a:lnTo>
                  <a:lnTo>
                    <a:pt x="4" y="58"/>
                  </a:lnTo>
                  <a:lnTo>
                    <a:pt x="4" y="60"/>
                  </a:lnTo>
                  <a:lnTo>
                    <a:pt x="4" y="62"/>
                  </a:lnTo>
                  <a:lnTo>
                    <a:pt x="4" y="62"/>
                  </a:lnTo>
                  <a:lnTo>
                    <a:pt x="4" y="62"/>
                  </a:lnTo>
                  <a:lnTo>
                    <a:pt x="2" y="62"/>
                  </a:lnTo>
                  <a:lnTo>
                    <a:pt x="2" y="64"/>
                  </a:lnTo>
                  <a:lnTo>
                    <a:pt x="2" y="64"/>
                  </a:lnTo>
                  <a:lnTo>
                    <a:pt x="2" y="64"/>
                  </a:lnTo>
                  <a:lnTo>
                    <a:pt x="4" y="66"/>
                  </a:lnTo>
                  <a:lnTo>
                    <a:pt x="4" y="66"/>
                  </a:lnTo>
                  <a:lnTo>
                    <a:pt x="7" y="66"/>
                  </a:lnTo>
                  <a:lnTo>
                    <a:pt x="7" y="68"/>
                  </a:lnTo>
                  <a:lnTo>
                    <a:pt x="7" y="68"/>
                  </a:lnTo>
                  <a:lnTo>
                    <a:pt x="7" y="70"/>
                  </a:lnTo>
                  <a:lnTo>
                    <a:pt x="7" y="70"/>
                  </a:lnTo>
                  <a:lnTo>
                    <a:pt x="4" y="68"/>
                  </a:lnTo>
                  <a:lnTo>
                    <a:pt x="4" y="68"/>
                  </a:lnTo>
                  <a:lnTo>
                    <a:pt x="2" y="68"/>
                  </a:lnTo>
                  <a:lnTo>
                    <a:pt x="2" y="68"/>
                  </a:lnTo>
                  <a:lnTo>
                    <a:pt x="2" y="70"/>
                  </a:lnTo>
                  <a:lnTo>
                    <a:pt x="4" y="72"/>
                  </a:lnTo>
                  <a:lnTo>
                    <a:pt x="4" y="74"/>
                  </a:lnTo>
                  <a:lnTo>
                    <a:pt x="2" y="76"/>
                  </a:lnTo>
                  <a:lnTo>
                    <a:pt x="4" y="76"/>
                  </a:lnTo>
                  <a:lnTo>
                    <a:pt x="4" y="78"/>
                  </a:lnTo>
                  <a:lnTo>
                    <a:pt x="4" y="78"/>
                  </a:lnTo>
                  <a:lnTo>
                    <a:pt x="4" y="78"/>
                  </a:lnTo>
                  <a:lnTo>
                    <a:pt x="4" y="78"/>
                  </a:lnTo>
                  <a:lnTo>
                    <a:pt x="4" y="80"/>
                  </a:lnTo>
                  <a:lnTo>
                    <a:pt x="7" y="82"/>
                  </a:lnTo>
                  <a:lnTo>
                    <a:pt x="7" y="84"/>
                  </a:lnTo>
                  <a:lnTo>
                    <a:pt x="9" y="84"/>
                  </a:lnTo>
                  <a:lnTo>
                    <a:pt x="9" y="84"/>
                  </a:lnTo>
                  <a:lnTo>
                    <a:pt x="11" y="86"/>
                  </a:lnTo>
                  <a:lnTo>
                    <a:pt x="11" y="88"/>
                  </a:lnTo>
                  <a:lnTo>
                    <a:pt x="9" y="91"/>
                  </a:lnTo>
                  <a:lnTo>
                    <a:pt x="11" y="93"/>
                  </a:lnTo>
                  <a:lnTo>
                    <a:pt x="13" y="93"/>
                  </a:lnTo>
                  <a:lnTo>
                    <a:pt x="13" y="95"/>
                  </a:lnTo>
                  <a:lnTo>
                    <a:pt x="11" y="97"/>
                  </a:lnTo>
                  <a:lnTo>
                    <a:pt x="11" y="97"/>
                  </a:lnTo>
                  <a:lnTo>
                    <a:pt x="13" y="99"/>
                  </a:lnTo>
                  <a:lnTo>
                    <a:pt x="13" y="101"/>
                  </a:lnTo>
                  <a:lnTo>
                    <a:pt x="13" y="99"/>
                  </a:lnTo>
                  <a:lnTo>
                    <a:pt x="13" y="97"/>
                  </a:lnTo>
                  <a:lnTo>
                    <a:pt x="13" y="95"/>
                  </a:lnTo>
                  <a:lnTo>
                    <a:pt x="13" y="95"/>
                  </a:lnTo>
                  <a:lnTo>
                    <a:pt x="15" y="95"/>
                  </a:lnTo>
                  <a:lnTo>
                    <a:pt x="15" y="101"/>
                  </a:lnTo>
                  <a:lnTo>
                    <a:pt x="15" y="101"/>
                  </a:lnTo>
                  <a:lnTo>
                    <a:pt x="17" y="101"/>
                  </a:lnTo>
                  <a:lnTo>
                    <a:pt x="17" y="103"/>
                  </a:lnTo>
                  <a:lnTo>
                    <a:pt x="19" y="105"/>
                  </a:lnTo>
                  <a:lnTo>
                    <a:pt x="19" y="109"/>
                  </a:lnTo>
                  <a:lnTo>
                    <a:pt x="19" y="109"/>
                  </a:lnTo>
                  <a:lnTo>
                    <a:pt x="21" y="111"/>
                  </a:lnTo>
                  <a:lnTo>
                    <a:pt x="21" y="113"/>
                  </a:lnTo>
                  <a:lnTo>
                    <a:pt x="17" y="119"/>
                  </a:lnTo>
                  <a:lnTo>
                    <a:pt x="15" y="121"/>
                  </a:lnTo>
                  <a:lnTo>
                    <a:pt x="17" y="123"/>
                  </a:lnTo>
                  <a:lnTo>
                    <a:pt x="17" y="136"/>
                  </a:lnTo>
                  <a:lnTo>
                    <a:pt x="19" y="140"/>
                  </a:lnTo>
                  <a:lnTo>
                    <a:pt x="19" y="138"/>
                  </a:lnTo>
                  <a:lnTo>
                    <a:pt x="19" y="138"/>
                  </a:lnTo>
                  <a:lnTo>
                    <a:pt x="21" y="138"/>
                  </a:lnTo>
                  <a:lnTo>
                    <a:pt x="21" y="138"/>
                  </a:lnTo>
                  <a:lnTo>
                    <a:pt x="21" y="138"/>
                  </a:lnTo>
                  <a:lnTo>
                    <a:pt x="21" y="140"/>
                  </a:lnTo>
                  <a:lnTo>
                    <a:pt x="21" y="142"/>
                  </a:lnTo>
                  <a:lnTo>
                    <a:pt x="23" y="146"/>
                  </a:lnTo>
                  <a:lnTo>
                    <a:pt x="23" y="148"/>
                  </a:lnTo>
                  <a:lnTo>
                    <a:pt x="25" y="150"/>
                  </a:lnTo>
                  <a:lnTo>
                    <a:pt x="25" y="152"/>
                  </a:lnTo>
                  <a:lnTo>
                    <a:pt x="27" y="152"/>
                  </a:lnTo>
                  <a:lnTo>
                    <a:pt x="27" y="154"/>
                  </a:lnTo>
                  <a:lnTo>
                    <a:pt x="27" y="154"/>
                  </a:lnTo>
                  <a:lnTo>
                    <a:pt x="27" y="156"/>
                  </a:lnTo>
                  <a:lnTo>
                    <a:pt x="27" y="158"/>
                  </a:lnTo>
                  <a:lnTo>
                    <a:pt x="27" y="158"/>
                  </a:lnTo>
                  <a:lnTo>
                    <a:pt x="29" y="160"/>
                  </a:lnTo>
                  <a:lnTo>
                    <a:pt x="31" y="160"/>
                  </a:lnTo>
                  <a:lnTo>
                    <a:pt x="31" y="162"/>
                  </a:lnTo>
                  <a:lnTo>
                    <a:pt x="31" y="164"/>
                  </a:lnTo>
                  <a:lnTo>
                    <a:pt x="31" y="164"/>
                  </a:lnTo>
                  <a:lnTo>
                    <a:pt x="31" y="166"/>
                  </a:lnTo>
                  <a:lnTo>
                    <a:pt x="31" y="177"/>
                  </a:lnTo>
                  <a:lnTo>
                    <a:pt x="31" y="177"/>
                  </a:lnTo>
                  <a:lnTo>
                    <a:pt x="31" y="179"/>
                  </a:lnTo>
                  <a:lnTo>
                    <a:pt x="31" y="181"/>
                  </a:lnTo>
                  <a:lnTo>
                    <a:pt x="31" y="183"/>
                  </a:lnTo>
                  <a:lnTo>
                    <a:pt x="31" y="183"/>
                  </a:lnTo>
                  <a:lnTo>
                    <a:pt x="33" y="185"/>
                  </a:lnTo>
                  <a:lnTo>
                    <a:pt x="33" y="185"/>
                  </a:lnTo>
                  <a:lnTo>
                    <a:pt x="33" y="185"/>
                  </a:lnTo>
                  <a:lnTo>
                    <a:pt x="33" y="185"/>
                  </a:lnTo>
                  <a:lnTo>
                    <a:pt x="35" y="183"/>
                  </a:lnTo>
                  <a:lnTo>
                    <a:pt x="35" y="183"/>
                  </a:lnTo>
                  <a:lnTo>
                    <a:pt x="35" y="183"/>
                  </a:lnTo>
                  <a:lnTo>
                    <a:pt x="35" y="183"/>
                  </a:lnTo>
                  <a:lnTo>
                    <a:pt x="35" y="181"/>
                  </a:lnTo>
                  <a:lnTo>
                    <a:pt x="35" y="179"/>
                  </a:lnTo>
                  <a:lnTo>
                    <a:pt x="35" y="179"/>
                  </a:lnTo>
                  <a:lnTo>
                    <a:pt x="35" y="179"/>
                  </a:lnTo>
                  <a:lnTo>
                    <a:pt x="35" y="179"/>
                  </a:lnTo>
                  <a:lnTo>
                    <a:pt x="37" y="177"/>
                  </a:lnTo>
                  <a:lnTo>
                    <a:pt x="37" y="177"/>
                  </a:lnTo>
                  <a:lnTo>
                    <a:pt x="37" y="177"/>
                  </a:lnTo>
                  <a:lnTo>
                    <a:pt x="37" y="177"/>
                  </a:lnTo>
                  <a:lnTo>
                    <a:pt x="39" y="177"/>
                  </a:lnTo>
                  <a:lnTo>
                    <a:pt x="39" y="177"/>
                  </a:lnTo>
                  <a:lnTo>
                    <a:pt x="41" y="177"/>
                  </a:lnTo>
                  <a:lnTo>
                    <a:pt x="41" y="179"/>
                  </a:lnTo>
                  <a:lnTo>
                    <a:pt x="43" y="181"/>
                  </a:lnTo>
                  <a:lnTo>
                    <a:pt x="43" y="183"/>
                  </a:lnTo>
                  <a:lnTo>
                    <a:pt x="45" y="183"/>
                  </a:lnTo>
                  <a:lnTo>
                    <a:pt x="45" y="183"/>
                  </a:lnTo>
                  <a:lnTo>
                    <a:pt x="45" y="183"/>
                  </a:lnTo>
                  <a:lnTo>
                    <a:pt x="47" y="185"/>
                  </a:lnTo>
                  <a:lnTo>
                    <a:pt x="47" y="187"/>
                  </a:lnTo>
                  <a:lnTo>
                    <a:pt x="47" y="189"/>
                  </a:lnTo>
                  <a:lnTo>
                    <a:pt x="47" y="191"/>
                  </a:lnTo>
                  <a:lnTo>
                    <a:pt x="50" y="195"/>
                  </a:lnTo>
                  <a:lnTo>
                    <a:pt x="50" y="201"/>
                  </a:lnTo>
                  <a:lnTo>
                    <a:pt x="52" y="207"/>
                  </a:lnTo>
                  <a:lnTo>
                    <a:pt x="54" y="214"/>
                  </a:lnTo>
                  <a:lnTo>
                    <a:pt x="56" y="226"/>
                  </a:lnTo>
                  <a:lnTo>
                    <a:pt x="58" y="232"/>
                  </a:lnTo>
                  <a:lnTo>
                    <a:pt x="58" y="238"/>
                  </a:lnTo>
                  <a:lnTo>
                    <a:pt x="60" y="242"/>
                  </a:lnTo>
                  <a:lnTo>
                    <a:pt x="60" y="246"/>
                  </a:lnTo>
                  <a:lnTo>
                    <a:pt x="62" y="250"/>
                  </a:lnTo>
                  <a:lnTo>
                    <a:pt x="62" y="252"/>
                  </a:lnTo>
                  <a:lnTo>
                    <a:pt x="62" y="252"/>
                  </a:lnTo>
                  <a:lnTo>
                    <a:pt x="62" y="254"/>
                  </a:lnTo>
                  <a:lnTo>
                    <a:pt x="62" y="257"/>
                  </a:lnTo>
                  <a:lnTo>
                    <a:pt x="62" y="261"/>
                  </a:lnTo>
                  <a:lnTo>
                    <a:pt x="64" y="263"/>
                  </a:lnTo>
                  <a:lnTo>
                    <a:pt x="66" y="265"/>
                  </a:lnTo>
                  <a:lnTo>
                    <a:pt x="78" y="263"/>
                  </a:lnTo>
                  <a:lnTo>
                    <a:pt x="82" y="263"/>
                  </a:lnTo>
                  <a:lnTo>
                    <a:pt x="86" y="261"/>
                  </a:lnTo>
                  <a:lnTo>
                    <a:pt x="88" y="261"/>
                  </a:lnTo>
                  <a:lnTo>
                    <a:pt x="93" y="259"/>
                  </a:lnTo>
                  <a:lnTo>
                    <a:pt x="97" y="259"/>
                  </a:lnTo>
                  <a:lnTo>
                    <a:pt x="101" y="259"/>
                  </a:lnTo>
                  <a:lnTo>
                    <a:pt x="105" y="257"/>
                  </a:lnTo>
                  <a:lnTo>
                    <a:pt x="109" y="257"/>
                  </a:lnTo>
                  <a:lnTo>
                    <a:pt x="113" y="257"/>
                  </a:lnTo>
                  <a:lnTo>
                    <a:pt x="117" y="254"/>
                  </a:lnTo>
                  <a:lnTo>
                    <a:pt x="121" y="254"/>
                  </a:lnTo>
                  <a:lnTo>
                    <a:pt x="125" y="252"/>
                  </a:lnTo>
                  <a:lnTo>
                    <a:pt x="129" y="252"/>
                  </a:lnTo>
                  <a:lnTo>
                    <a:pt x="129" y="252"/>
                  </a:lnTo>
                  <a:lnTo>
                    <a:pt x="127" y="248"/>
                  </a:lnTo>
                  <a:lnTo>
                    <a:pt x="125" y="248"/>
                  </a:lnTo>
                  <a:lnTo>
                    <a:pt x="121" y="244"/>
                  </a:lnTo>
                  <a:lnTo>
                    <a:pt x="119" y="244"/>
                  </a:lnTo>
                  <a:lnTo>
                    <a:pt x="119" y="242"/>
                  </a:lnTo>
                  <a:lnTo>
                    <a:pt x="119" y="242"/>
                  </a:lnTo>
                  <a:lnTo>
                    <a:pt x="117" y="240"/>
                  </a:lnTo>
                  <a:lnTo>
                    <a:pt x="117" y="238"/>
                  </a:lnTo>
                  <a:lnTo>
                    <a:pt x="117" y="238"/>
                  </a:lnTo>
                  <a:lnTo>
                    <a:pt x="117" y="236"/>
                  </a:lnTo>
                  <a:lnTo>
                    <a:pt x="119" y="234"/>
                  </a:lnTo>
                  <a:lnTo>
                    <a:pt x="117" y="230"/>
                  </a:lnTo>
                  <a:lnTo>
                    <a:pt x="117" y="228"/>
                  </a:lnTo>
                  <a:lnTo>
                    <a:pt x="119" y="228"/>
                  </a:lnTo>
                  <a:lnTo>
                    <a:pt x="121" y="226"/>
                  </a:lnTo>
                  <a:lnTo>
                    <a:pt x="121" y="224"/>
                  </a:lnTo>
                  <a:lnTo>
                    <a:pt x="119" y="220"/>
                  </a:lnTo>
                  <a:lnTo>
                    <a:pt x="119" y="214"/>
                  </a:lnTo>
                  <a:lnTo>
                    <a:pt x="119" y="211"/>
                  </a:lnTo>
                  <a:lnTo>
                    <a:pt x="119" y="207"/>
                  </a:lnTo>
                  <a:lnTo>
                    <a:pt x="117" y="207"/>
                  </a:lnTo>
                  <a:lnTo>
                    <a:pt x="117" y="203"/>
                  </a:lnTo>
                  <a:lnTo>
                    <a:pt x="117" y="201"/>
                  </a:lnTo>
                  <a:lnTo>
                    <a:pt x="117" y="201"/>
                  </a:lnTo>
                  <a:lnTo>
                    <a:pt x="117" y="201"/>
                  </a:lnTo>
                  <a:lnTo>
                    <a:pt x="117" y="199"/>
                  </a:lnTo>
                  <a:lnTo>
                    <a:pt x="117" y="199"/>
                  </a:lnTo>
                  <a:lnTo>
                    <a:pt x="117" y="199"/>
                  </a:lnTo>
                  <a:lnTo>
                    <a:pt x="117" y="199"/>
                  </a:lnTo>
                  <a:lnTo>
                    <a:pt x="117" y="197"/>
                  </a:lnTo>
                  <a:lnTo>
                    <a:pt x="117" y="197"/>
                  </a:lnTo>
                  <a:lnTo>
                    <a:pt x="117" y="195"/>
                  </a:lnTo>
                  <a:lnTo>
                    <a:pt x="117" y="195"/>
                  </a:lnTo>
                  <a:lnTo>
                    <a:pt x="119" y="193"/>
                  </a:lnTo>
                  <a:lnTo>
                    <a:pt x="117" y="191"/>
                  </a:lnTo>
                  <a:lnTo>
                    <a:pt x="117" y="187"/>
                  </a:lnTo>
                  <a:lnTo>
                    <a:pt x="113" y="168"/>
                  </a:lnTo>
                  <a:lnTo>
                    <a:pt x="113" y="166"/>
                  </a:lnTo>
                  <a:lnTo>
                    <a:pt x="113" y="164"/>
                  </a:lnTo>
                  <a:lnTo>
                    <a:pt x="115" y="160"/>
                  </a:lnTo>
                  <a:lnTo>
                    <a:pt x="115" y="158"/>
                  </a:lnTo>
                  <a:lnTo>
                    <a:pt x="115" y="156"/>
                  </a:lnTo>
                  <a:lnTo>
                    <a:pt x="115" y="152"/>
                  </a:lnTo>
                  <a:lnTo>
                    <a:pt x="115" y="148"/>
                  </a:lnTo>
                  <a:lnTo>
                    <a:pt x="115" y="148"/>
                  </a:lnTo>
                  <a:lnTo>
                    <a:pt x="117" y="146"/>
                  </a:lnTo>
                  <a:lnTo>
                    <a:pt x="117" y="144"/>
                  </a:lnTo>
                  <a:lnTo>
                    <a:pt x="121" y="140"/>
                  </a:lnTo>
                  <a:lnTo>
                    <a:pt x="121" y="138"/>
                  </a:lnTo>
                  <a:lnTo>
                    <a:pt x="121" y="136"/>
                  </a:lnTo>
                  <a:lnTo>
                    <a:pt x="121" y="134"/>
                  </a:lnTo>
                  <a:lnTo>
                    <a:pt x="121" y="132"/>
                  </a:lnTo>
                  <a:lnTo>
                    <a:pt x="121" y="127"/>
                  </a:lnTo>
                  <a:lnTo>
                    <a:pt x="121" y="125"/>
                  </a:lnTo>
                  <a:lnTo>
                    <a:pt x="125" y="117"/>
                  </a:lnTo>
                  <a:lnTo>
                    <a:pt x="125" y="117"/>
                  </a:lnTo>
                  <a:lnTo>
                    <a:pt x="123" y="117"/>
                  </a:lnTo>
                  <a:lnTo>
                    <a:pt x="123" y="115"/>
                  </a:lnTo>
                  <a:lnTo>
                    <a:pt x="123" y="115"/>
                  </a:lnTo>
                  <a:lnTo>
                    <a:pt x="123" y="113"/>
                  </a:lnTo>
                  <a:lnTo>
                    <a:pt x="125" y="107"/>
                  </a:lnTo>
                  <a:lnTo>
                    <a:pt x="125" y="103"/>
                  </a:lnTo>
                  <a:lnTo>
                    <a:pt x="123" y="99"/>
                  </a:lnTo>
                  <a:lnTo>
                    <a:pt x="121" y="91"/>
                  </a:lnTo>
                  <a:lnTo>
                    <a:pt x="121" y="84"/>
                  </a:lnTo>
                  <a:lnTo>
                    <a:pt x="121" y="80"/>
                  </a:lnTo>
                  <a:lnTo>
                    <a:pt x="123" y="78"/>
                  </a:lnTo>
                  <a:lnTo>
                    <a:pt x="127" y="76"/>
                  </a:lnTo>
                  <a:lnTo>
                    <a:pt x="131" y="76"/>
                  </a:lnTo>
                  <a:lnTo>
                    <a:pt x="133" y="74"/>
                  </a:lnTo>
                  <a:lnTo>
                    <a:pt x="136" y="74"/>
                  </a:lnTo>
                  <a:lnTo>
                    <a:pt x="136" y="70"/>
                  </a:lnTo>
                  <a:lnTo>
                    <a:pt x="138" y="68"/>
                  </a:lnTo>
                  <a:lnTo>
                    <a:pt x="144" y="62"/>
                  </a:lnTo>
                  <a:lnTo>
                    <a:pt x="144" y="62"/>
                  </a:lnTo>
                  <a:lnTo>
                    <a:pt x="146" y="60"/>
                  </a:lnTo>
                  <a:lnTo>
                    <a:pt x="146" y="58"/>
                  </a:lnTo>
                  <a:lnTo>
                    <a:pt x="148" y="56"/>
                  </a:lnTo>
                  <a:lnTo>
                    <a:pt x="150" y="52"/>
                  </a:lnTo>
                  <a:lnTo>
                    <a:pt x="148" y="52"/>
                  </a:lnTo>
                  <a:lnTo>
                    <a:pt x="148" y="50"/>
                  </a:lnTo>
                  <a:lnTo>
                    <a:pt x="148" y="48"/>
                  </a:lnTo>
                  <a:lnTo>
                    <a:pt x="148" y="45"/>
                  </a:lnTo>
                  <a:lnTo>
                    <a:pt x="150" y="45"/>
                  </a:lnTo>
                  <a:lnTo>
                    <a:pt x="150" y="45"/>
                  </a:lnTo>
                  <a:lnTo>
                    <a:pt x="150" y="43"/>
                  </a:lnTo>
                  <a:lnTo>
                    <a:pt x="150" y="43"/>
                  </a:lnTo>
                  <a:lnTo>
                    <a:pt x="150" y="41"/>
                  </a:lnTo>
                  <a:lnTo>
                    <a:pt x="148" y="41"/>
                  </a:lnTo>
                  <a:lnTo>
                    <a:pt x="144" y="35"/>
                  </a:lnTo>
                  <a:lnTo>
                    <a:pt x="144" y="35"/>
                  </a:lnTo>
                  <a:lnTo>
                    <a:pt x="144" y="33"/>
                  </a:lnTo>
                  <a:lnTo>
                    <a:pt x="142" y="31"/>
                  </a:lnTo>
                  <a:lnTo>
                    <a:pt x="140" y="31"/>
                  </a:lnTo>
                  <a:lnTo>
                    <a:pt x="140" y="27"/>
                  </a:lnTo>
                  <a:lnTo>
                    <a:pt x="142" y="23"/>
                  </a:lnTo>
                  <a:lnTo>
                    <a:pt x="144" y="19"/>
                  </a:lnTo>
                  <a:lnTo>
                    <a:pt x="146" y="13"/>
                  </a:lnTo>
                  <a:lnTo>
                    <a:pt x="146" y="11"/>
                  </a:lnTo>
                  <a:lnTo>
                    <a:pt x="144" y="9"/>
                  </a:lnTo>
                  <a:lnTo>
                    <a:pt x="144" y="7"/>
                  </a:lnTo>
                  <a:lnTo>
                    <a:pt x="142" y="4"/>
                  </a:lnTo>
                  <a:lnTo>
                    <a:pt x="142" y="2"/>
                  </a:lnTo>
                  <a:lnTo>
                    <a:pt x="142" y="0"/>
                  </a:lnTo>
                  <a:lnTo>
                    <a:pt x="144" y="0"/>
                  </a:lnTo>
                  <a:lnTo>
                    <a:pt x="136" y="2"/>
                  </a:lnTo>
                  <a:lnTo>
                    <a:pt x="127" y="4"/>
                  </a:lnTo>
                  <a:lnTo>
                    <a:pt x="119" y="7"/>
                  </a:lnTo>
                  <a:lnTo>
                    <a:pt x="113" y="9"/>
                  </a:lnTo>
                  <a:lnTo>
                    <a:pt x="105" y="11"/>
                  </a:lnTo>
                  <a:lnTo>
                    <a:pt x="97" y="13"/>
                  </a:lnTo>
                  <a:lnTo>
                    <a:pt x="90" y="15"/>
                  </a:lnTo>
                  <a:lnTo>
                    <a:pt x="82" y="17"/>
                  </a:lnTo>
                  <a:lnTo>
                    <a:pt x="74" y="19"/>
                  </a:lnTo>
                  <a:lnTo>
                    <a:pt x="66" y="21"/>
                  </a:lnTo>
                  <a:lnTo>
                    <a:pt x="60" y="23"/>
                  </a:lnTo>
                  <a:lnTo>
                    <a:pt x="52" y="25"/>
                  </a:lnTo>
                  <a:lnTo>
                    <a:pt x="35" y="29"/>
                  </a:lnTo>
                  <a:lnTo>
                    <a:pt x="29" y="31"/>
                  </a:lnTo>
                  <a:lnTo>
                    <a:pt x="21" y="31"/>
                  </a:lnTo>
                  <a:lnTo>
                    <a:pt x="21" y="31"/>
                  </a:lnTo>
                  <a:lnTo>
                    <a:pt x="19" y="33"/>
                  </a:lnTo>
                  <a:lnTo>
                    <a:pt x="17" y="33"/>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VT</a:t>
              </a:r>
            </a:p>
          </p:txBody>
        </p:sp>
        <p:sp>
          <p:nvSpPr>
            <p:cNvPr id="300" name="Freeform 10">
              <a:extLst>
                <a:ext uri="{FF2B5EF4-FFF2-40B4-BE49-F238E27FC236}">
                  <a16:creationId xmlns:a16="http://schemas.microsoft.com/office/drawing/2014/main" id="{2BCB20C3-6C8F-23B2-4E40-80EB4F4A9869}"/>
                </a:ext>
              </a:extLst>
            </p:cNvPr>
            <p:cNvSpPr>
              <a:spLocks noEditPoints="1"/>
            </p:cNvSpPr>
            <p:nvPr/>
          </p:nvSpPr>
          <p:spPr bwMode="auto">
            <a:xfrm>
              <a:off x="4143" y="1002"/>
              <a:ext cx="688" cy="379"/>
            </a:xfrm>
            <a:custGeom>
              <a:avLst/>
              <a:gdLst>
                <a:gd name="T0" fmla="*/ 665 w 688"/>
                <a:gd name="T1" fmla="*/ 166 h 379"/>
                <a:gd name="T2" fmla="*/ 655 w 688"/>
                <a:gd name="T3" fmla="*/ 111 h 379"/>
                <a:gd name="T4" fmla="*/ 651 w 688"/>
                <a:gd name="T5" fmla="*/ 129 h 379"/>
                <a:gd name="T6" fmla="*/ 641 w 688"/>
                <a:gd name="T7" fmla="*/ 150 h 379"/>
                <a:gd name="T8" fmla="*/ 641 w 688"/>
                <a:gd name="T9" fmla="*/ 170 h 379"/>
                <a:gd name="T10" fmla="*/ 649 w 688"/>
                <a:gd name="T11" fmla="*/ 201 h 379"/>
                <a:gd name="T12" fmla="*/ 655 w 688"/>
                <a:gd name="T13" fmla="*/ 170 h 379"/>
                <a:gd name="T14" fmla="*/ 665 w 688"/>
                <a:gd name="T15" fmla="*/ 156 h 379"/>
                <a:gd name="T16" fmla="*/ 676 w 688"/>
                <a:gd name="T17" fmla="*/ 101 h 379"/>
                <a:gd name="T18" fmla="*/ 680 w 688"/>
                <a:gd name="T19" fmla="*/ 113 h 379"/>
                <a:gd name="T20" fmla="*/ 624 w 688"/>
                <a:gd name="T21" fmla="*/ 232 h 379"/>
                <a:gd name="T22" fmla="*/ 608 w 688"/>
                <a:gd name="T23" fmla="*/ 234 h 379"/>
                <a:gd name="T24" fmla="*/ 585 w 688"/>
                <a:gd name="T25" fmla="*/ 209 h 379"/>
                <a:gd name="T26" fmla="*/ 536 w 688"/>
                <a:gd name="T27" fmla="*/ 207 h 379"/>
                <a:gd name="T28" fmla="*/ 553 w 688"/>
                <a:gd name="T29" fmla="*/ 205 h 379"/>
                <a:gd name="T30" fmla="*/ 571 w 688"/>
                <a:gd name="T31" fmla="*/ 205 h 379"/>
                <a:gd name="T32" fmla="*/ 598 w 688"/>
                <a:gd name="T33" fmla="*/ 217 h 379"/>
                <a:gd name="T34" fmla="*/ 620 w 688"/>
                <a:gd name="T35" fmla="*/ 209 h 379"/>
                <a:gd name="T36" fmla="*/ 579 w 688"/>
                <a:gd name="T37" fmla="*/ 187 h 379"/>
                <a:gd name="T38" fmla="*/ 598 w 688"/>
                <a:gd name="T39" fmla="*/ 195 h 379"/>
                <a:gd name="T40" fmla="*/ 604 w 688"/>
                <a:gd name="T41" fmla="*/ 183 h 379"/>
                <a:gd name="T42" fmla="*/ 614 w 688"/>
                <a:gd name="T43" fmla="*/ 174 h 379"/>
                <a:gd name="T44" fmla="*/ 604 w 688"/>
                <a:gd name="T45" fmla="*/ 162 h 379"/>
                <a:gd name="T46" fmla="*/ 573 w 688"/>
                <a:gd name="T47" fmla="*/ 146 h 379"/>
                <a:gd name="T48" fmla="*/ 549 w 688"/>
                <a:gd name="T49" fmla="*/ 129 h 379"/>
                <a:gd name="T50" fmla="*/ 534 w 688"/>
                <a:gd name="T51" fmla="*/ 115 h 379"/>
                <a:gd name="T52" fmla="*/ 575 w 688"/>
                <a:gd name="T53" fmla="*/ 144 h 379"/>
                <a:gd name="T54" fmla="*/ 596 w 688"/>
                <a:gd name="T55" fmla="*/ 156 h 379"/>
                <a:gd name="T56" fmla="*/ 604 w 688"/>
                <a:gd name="T57" fmla="*/ 146 h 379"/>
                <a:gd name="T58" fmla="*/ 602 w 688"/>
                <a:gd name="T59" fmla="*/ 123 h 379"/>
                <a:gd name="T60" fmla="*/ 573 w 688"/>
                <a:gd name="T61" fmla="*/ 111 h 379"/>
                <a:gd name="T62" fmla="*/ 540 w 688"/>
                <a:gd name="T63" fmla="*/ 107 h 379"/>
                <a:gd name="T64" fmla="*/ 530 w 688"/>
                <a:gd name="T65" fmla="*/ 88 h 379"/>
                <a:gd name="T66" fmla="*/ 506 w 688"/>
                <a:gd name="T67" fmla="*/ 88 h 379"/>
                <a:gd name="T68" fmla="*/ 514 w 688"/>
                <a:gd name="T69" fmla="*/ 66 h 379"/>
                <a:gd name="T70" fmla="*/ 518 w 688"/>
                <a:gd name="T71" fmla="*/ 39 h 379"/>
                <a:gd name="T72" fmla="*/ 483 w 688"/>
                <a:gd name="T73" fmla="*/ 25 h 379"/>
                <a:gd name="T74" fmla="*/ 450 w 688"/>
                <a:gd name="T75" fmla="*/ 4 h 379"/>
                <a:gd name="T76" fmla="*/ 397 w 688"/>
                <a:gd name="T77" fmla="*/ 4 h 379"/>
                <a:gd name="T78" fmla="*/ 397 w 688"/>
                <a:gd name="T79" fmla="*/ 29 h 379"/>
                <a:gd name="T80" fmla="*/ 385 w 688"/>
                <a:gd name="T81" fmla="*/ 56 h 379"/>
                <a:gd name="T82" fmla="*/ 372 w 688"/>
                <a:gd name="T83" fmla="*/ 70 h 379"/>
                <a:gd name="T84" fmla="*/ 352 w 688"/>
                <a:gd name="T85" fmla="*/ 94 h 379"/>
                <a:gd name="T86" fmla="*/ 340 w 688"/>
                <a:gd name="T87" fmla="*/ 123 h 379"/>
                <a:gd name="T88" fmla="*/ 307 w 688"/>
                <a:gd name="T89" fmla="*/ 113 h 379"/>
                <a:gd name="T90" fmla="*/ 301 w 688"/>
                <a:gd name="T91" fmla="*/ 140 h 379"/>
                <a:gd name="T92" fmla="*/ 293 w 688"/>
                <a:gd name="T93" fmla="*/ 162 h 379"/>
                <a:gd name="T94" fmla="*/ 276 w 688"/>
                <a:gd name="T95" fmla="*/ 222 h 379"/>
                <a:gd name="T96" fmla="*/ 272 w 688"/>
                <a:gd name="T97" fmla="*/ 236 h 379"/>
                <a:gd name="T98" fmla="*/ 245 w 688"/>
                <a:gd name="T99" fmla="*/ 250 h 379"/>
                <a:gd name="T100" fmla="*/ 227 w 688"/>
                <a:gd name="T101" fmla="*/ 252 h 379"/>
                <a:gd name="T102" fmla="*/ 217 w 688"/>
                <a:gd name="T103" fmla="*/ 269 h 379"/>
                <a:gd name="T104" fmla="*/ 184 w 688"/>
                <a:gd name="T105" fmla="*/ 271 h 379"/>
                <a:gd name="T106" fmla="*/ 157 w 688"/>
                <a:gd name="T107" fmla="*/ 285 h 379"/>
                <a:gd name="T108" fmla="*/ 137 w 688"/>
                <a:gd name="T109" fmla="*/ 275 h 379"/>
                <a:gd name="T110" fmla="*/ 133 w 688"/>
                <a:gd name="T111" fmla="*/ 260 h 379"/>
                <a:gd name="T112" fmla="*/ 75 w 688"/>
                <a:gd name="T113" fmla="*/ 316 h 379"/>
                <a:gd name="T114" fmla="*/ 63 w 688"/>
                <a:gd name="T115" fmla="*/ 338 h 379"/>
                <a:gd name="T116" fmla="*/ 22 w 688"/>
                <a:gd name="T117" fmla="*/ 367 h 379"/>
                <a:gd name="T118" fmla="*/ 143 w 688"/>
                <a:gd name="T119" fmla="*/ 357 h 379"/>
                <a:gd name="T120" fmla="*/ 311 w 688"/>
                <a:gd name="T121" fmla="*/ 330 h 379"/>
                <a:gd name="T122" fmla="*/ 626 w 688"/>
                <a:gd name="T123" fmla="*/ 271 h 379"/>
                <a:gd name="T124" fmla="*/ 667 w 688"/>
                <a:gd name="T125" fmla="*/ 25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8" h="379">
                  <a:moveTo>
                    <a:pt x="663" y="260"/>
                  </a:moveTo>
                  <a:lnTo>
                    <a:pt x="663" y="262"/>
                  </a:lnTo>
                  <a:lnTo>
                    <a:pt x="663" y="262"/>
                  </a:lnTo>
                  <a:lnTo>
                    <a:pt x="663" y="262"/>
                  </a:lnTo>
                  <a:lnTo>
                    <a:pt x="665" y="262"/>
                  </a:lnTo>
                  <a:lnTo>
                    <a:pt x="665" y="262"/>
                  </a:lnTo>
                  <a:lnTo>
                    <a:pt x="665" y="260"/>
                  </a:lnTo>
                  <a:lnTo>
                    <a:pt x="663" y="260"/>
                  </a:lnTo>
                  <a:close/>
                  <a:moveTo>
                    <a:pt x="657" y="189"/>
                  </a:moveTo>
                  <a:lnTo>
                    <a:pt x="655" y="189"/>
                  </a:lnTo>
                  <a:lnTo>
                    <a:pt x="657" y="191"/>
                  </a:lnTo>
                  <a:lnTo>
                    <a:pt x="659" y="189"/>
                  </a:lnTo>
                  <a:lnTo>
                    <a:pt x="659" y="187"/>
                  </a:lnTo>
                  <a:lnTo>
                    <a:pt x="659" y="185"/>
                  </a:lnTo>
                  <a:lnTo>
                    <a:pt x="659" y="181"/>
                  </a:lnTo>
                  <a:lnTo>
                    <a:pt x="659" y="181"/>
                  </a:lnTo>
                  <a:lnTo>
                    <a:pt x="659" y="183"/>
                  </a:lnTo>
                  <a:lnTo>
                    <a:pt x="659" y="185"/>
                  </a:lnTo>
                  <a:lnTo>
                    <a:pt x="657" y="187"/>
                  </a:lnTo>
                  <a:lnTo>
                    <a:pt x="657" y="189"/>
                  </a:lnTo>
                  <a:close/>
                  <a:moveTo>
                    <a:pt x="665" y="166"/>
                  </a:moveTo>
                  <a:lnTo>
                    <a:pt x="665" y="164"/>
                  </a:lnTo>
                  <a:lnTo>
                    <a:pt x="665" y="162"/>
                  </a:lnTo>
                  <a:lnTo>
                    <a:pt x="665" y="162"/>
                  </a:lnTo>
                  <a:lnTo>
                    <a:pt x="663" y="162"/>
                  </a:lnTo>
                  <a:lnTo>
                    <a:pt x="663" y="168"/>
                  </a:lnTo>
                  <a:lnTo>
                    <a:pt x="663" y="170"/>
                  </a:lnTo>
                  <a:lnTo>
                    <a:pt x="663" y="170"/>
                  </a:lnTo>
                  <a:lnTo>
                    <a:pt x="663" y="170"/>
                  </a:lnTo>
                  <a:lnTo>
                    <a:pt x="665" y="166"/>
                  </a:lnTo>
                  <a:close/>
                  <a:moveTo>
                    <a:pt x="676" y="99"/>
                  </a:moveTo>
                  <a:lnTo>
                    <a:pt x="674" y="99"/>
                  </a:lnTo>
                  <a:lnTo>
                    <a:pt x="669" y="101"/>
                  </a:lnTo>
                  <a:lnTo>
                    <a:pt x="665" y="103"/>
                  </a:lnTo>
                  <a:lnTo>
                    <a:pt x="661" y="103"/>
                  </a:lnTo>
                  <a:lnTo>
                    <a:pt x="659" y="105"/>
                  </a:lnTo>
                  <a:lnTo>
                    <a:pt x="657" y="105"/>
                  </a:lnTo>
                  <a:lnTo>
                    <a:pt x="657" y="105"/>
                  </a:lnTo>
                  <a:lnTo>
                    <a:pt x="655" y="107"/>
                  </a:lnTo>
                  <a:lnTo>
                    <a:pt x="655" y="109"/>
                  </a:lnTo>
                  <a:lnTo>
                    <a:pt x="657" y="109"/>
                  </a:lnTo>
                  <a:lnTo>
                    <a:pt x="655" y="111"/>
                  </a:lnTo>
                  <a:lnTo>
                    <a:pt x="655" y="111"/>
                  </a:lnTo>
                  <a:lnTo>
                    <a:pt x="651" y="113"/>
                  </a:lnTo>
                  <a:lnTo>
                    <a:pt x="651" y="115"/>
                  </a:lnTo>
                  <a:lnTo>
                    <a:pt x="649" y="117"/>
                  </a:lnTo>
                  <a:lnTo>
                    <a:pt x="649" y="117"/>
                  </a:lnTo>
                  <a:lnTo>
                    <a:pt x="651" y="117"/>
                  </a:lnTo>
                  <a:lnTo>
                    <a:pt x="653" y="117"/>
                  </a:lnTo>
                  <a:lnTo>
                    <a:pt x="655" y="117"/>
                  </a:lnTo>
                  <a:lnTo>
                    <a:pt x="655" y="119"/>
                  </a:lnTo>
                  <a:lnTo>
                    <a:pt x="655" y="119"/>
                  </a:lnTo>
                  <a:lnTo>
                    <a:pt x="655" y="121"/>
                  </a:lnTo>
                  <a:lnTo>
                    <a:pt x="655" y="121"/>
                  </a:lnTo>
                  <a:lnTo>
                    <a:pt x="657" y="121"/>
                  </a:lnTo>
                  <a:lnTo>
                    <a:pt x="655" y="123"/>
                  </a:lnTo>
                  <a:lnTo>
                    <a:pt x="653" y="123"/>
                  </a:lnTo>
                  <a:lnTo>
                    <a:pt x="653" y="123"/>
                  </a:lnTo>
                  <a:lnTo>
                    <a:pt x="653" y="123"/>
                  </a:lnTo>
                  <a:lnTo>
                    <a:pt x="653" y="125"/>
                  </a:lnTo>
                  <a:lnTo>
                    <a:pt x="653" y="125"/>
                  </a:lnTo>
                  <a:lnTo>
                    <a:pt x="655" y="127"/>
                  </a:lnTo>
                  <a:lnTo>
                    <a:pt x="651" y="129"/>
                  </a:lnTo>
                  <a:lnTo>
                    <a:pt x="649" y="129"/>
                  </a:lnTo>
                  <a:lnTo>
                    <a:pt x="649" y="127"/>
                  </a:lnTo>
                  <a:lnTo>
                    <a:pt x="647" y="127"/>
                  </a:lnTo>
                  <a:lnTo>
                    <a:pt x="647" y="129"/>
                  </a:lnTo>
                  <a:lnTo>
                    <a:pt x="649" y="131"/>
                  </a:lnTo>
                  <a:lnTo>
                    <a:pt x="649" y="131"/>
                  </a:lnTo>
                  <a:lnTo>
                    <a:pt x="649" y="133"/>
                  </a:lnTo>
                  <a:lnTo>
                    <a:pt x="647" y="135"/>
                  </a:lnTo>
                  <a:lnTo>
                    <a:pt x="647" y="135"/>
                  </a:lnTo>
                  <a:lnTo>
                    <a:pt x="649" y="135"/>
                  </a:lnTo>
                  <a:lnTo>
                    <a:pt x="649" y="135"/>
                  </a:lnTo>
                  <a:lnTo>
                    <a:pt x="647" y="140"/>
                  </a:lnTo>
                  <a:lnTo>
                    <a:pt x="647" y="142"/>
                  </a:lnTo>
                  <a:lnTo>
                    <a:pt x="647" y="144"/>
                  </a:lnTo>
                  <a:lnTo>
                    <a:pt x="645" y="144"/>
                  </a:lnTo>
                  <a:lnTo>
                    <a:pt x="645" y="144"/>
                  </a:lnTo>
                  <a:lnTo>
                    <a:pt x="643" y="146"/>
                  </a:lnTo>
                  <a:lnTo>
                    <a:pt x="643" y="148"/>
                  </a:lnTo>
                  <a:lnTo>
                    <a:pt x="645" y="148"/>
                  </a:lnTo>
                  <a:lnTo>
                    <a:pt x="643" y="150"/>
                  </a:lnTo>
                  <a:lnTo>
                    <a:pt x="641" y="150"/>
                  </a:lnTo>
                  <a:lnTo>
                    <a:pt x="641" y="152"/>
                  </a:lnTo>
                  <a:lnTo>
                    <a:pt x="641" y="152"/>
                  </a:lnTo>
                  <a:lnTo>
                    <a:pt x="641" y="152"/>
                  </a:lnTo>
                  <a:lnTo>
                    <a:pt x="641" y="154"/>
                  </a:lnTo>
                  <a:lnTo>
                    <a:pt x="641" y="156"/>
                  </a:lnTo>
                  <a:lnTo>
                    <a:pt x="643" y="156"/>
                  </a:lnTo>
                  <a:lnTo>
                    <a:pt x="643" y="158"/>
                  </a:lnTo>
                  <a:lnTo>
                    <a:pt x="641" y="160"/>
                  </a:lnTo>
                  <a:lnTo>
                    <a:pt x="641" y="162"/>
                  </a:lnTo>
                  <a:lnTo>
                    <a:pt x="641" y="164"/>
                  </a:lnTo>
                  <a:lnTo>
                    <a:pt x="643" y="164"/>
                  </a:lnTo>
                  <a:lnTo>
                    <a:pt x="643" y="164"/>
                  </a:lnTo>
                  <a:lnTo>
                    <a:pt x="643" y="164"/>
                  </a:lnTo>
                  <a:lnTo>
                    <a:pt x="641" y="166"/>
                  </a:lnTo>
                  <a:lnTo>
                    <a:pt x="641" y="168"/>
                  </a:lnTo>
                  <a:lnTo>
                    <a:pt x="641" y="170"/>
                  </a:lnTo>
                  <a:lnTo>
                    <a:pt x="641" y="172"/>
                  </a:lnTo>
                  <a:lnTo>
                    <a:pt x="641" y="172"/>
                  </a:lnTo>
                  <a:lnTo>
                    <a:pt x="641" y="172"/>
                  </a:lnTo>
                  <a:lnTo>
                    <a:pt x="641" y="170"/>
                  </a:lnTo>
                  <a:lnTo>
                    <a:pt x="641" y="170"/>
                  </a:lnTo>
                  <a:lnTo>
                    <a:pt x="643" y="170"/>
                  </a:lnTo>
                  <a:lnTo>
                    <a:pt x="643" y="172"/>
                  </a:lnTo>
                  <a:lnTo>
                    <a:pt x="641" y="174"/>
                  </a:lnTo>
                  <a:lnTo>
                    <a:pt x="641" y="174"/>
                  </a:lnTo>
                  <a:lnTo>
                    <a:pt x="641" y="176"/>
                  </a:lnTo>
                  <a:lnTo>
                    <a:pt x="641" y="176"/>
                  </a:lnTo>
                  <a:lnTo>
                    <a:pt x="641" y="178"/>
                  </a:lnTo>
                  <a:lnTo>
                    <a:pt x="639" y="185"/>
                  </a:lnTo>
                  <a:lnTo>
                    <a:pt x="641" y="183"/>
                  </a:lnTo>
                  <a:lnTo>
                    <a:pt x="641" y="183"/>
                  </a:lnTo>
                  <a:lnTo>
                    <a:pt x="643" y="183"/>
                  </a:lnTo>
                  <a:lnTo>
                    <a:pt x="641" y="185"/>
                  </a:lnTo>
                  <a:lnTo>
                    <a:pt x="641" y="187"/>
                  </a:lnTo>
                  <a:lnTo>
                    <a:pt x="641" y="191"/>
                  </a:lnTo>
                  <a:lnTo>
                    <a:pt x="643" y="191"/>
                  </a:lnTo>
                  <a:lnTo>
                    <a:pt x="643" y="193"/>
                  </a:lnTo>
                  <a:lnTo>
                    <a:pt x="643" y="193"/>
                  </a:lnTo>
                  <a:lnTo>
                    <a:pt x="645" y="197"/>
                  </a:lnTo>
                  <a:lnTo>
                    <a:pt x="647" y="199"/>
                  </a:lnTo>
                  <a:lnTo>
                    <a:pt x="647" y="201"/>
                  </a:lnTo>
                  <a:lnTo>
                    <a:pt x="649" y="201"/>
                  </a:lnTo>
                  <a:lnTo>
                    <a:pt x="651" y="201"/>
                  </a:lnTo>
                  <a:lnTo>
                    <a:pt x="651" y="199"/>
                  </a:lnTo>
                  <a:lnTo>
                    <a:pt x="651" y="197"/>
                  </a:lnTo>
                  <a:lnTo>
                    <a:pt x="651" y="193"/>
                  </a:lnTo>
                  <a:lnTo>
                    <a:pt x="651" y="193"/>
                  </a:lnTo>
                  <a:lnTo>
                    <a:pt x="651" y="191"/>
                  </a:lnTo>
                  <a:lnTo>
                    <a:pt x="651" y="191"/>
                  </a:lnTo>
                  <a:lnTo>
                    <a:pt x="653" y="191"/>
                  </a:lnTo>
                  <a:lnTo>
                    <a:pt x="653" y="195"/>
                  </a:lnTo>
                  <a:lnTo>
                    <a:pt x="653" y="197"/>
                  </a:lnTo>
                  <a:lnTo>
                    <a:pt x="655" y="195"/>
                  </a:lnTo>
                  <a:lnTo>
                    <a:pt x="655" y="195"/>
                  </a:lnTo>
                  <a:lnTo>
                    <a:pt x="653" y="193"/>
                  </a:lnTo>
                  <a:lnTo>
                    <a:pt x="653" y="191"/>
                  </a:lnTo>
                  <a:lnTo>
                    <a:pt x="653" y="189"/>
                  </a:lnTo>
                  <a:lnTo>
                    <a:pt x="653" y="187"/>
                  </a:lnTo>
                  <a:lnTo>
                    <a:pt x="653" y="176"/>
                  </a:lnTo>
                  <a:lnTo>
                    <a:pt x="653" y="176"/>
                  </a:lnTo>
                  <a:lnTo>
                    <a:pt x="653" y="174"/>
                  </a:lnTo>
                  <a:lnTo>
                    <a:pt x="653" y="172"/>
                  </a:lnTo>
                  <a:lnTo>
                    <a:pt x="655" y="170"/>
                  </a:lnTo>
                  <a:lnTo>
                    <a:pt x="655" y="168"/>
                  </a:lnTo>
                  <a:lnTo>
                    <a:pt x="653" y="168"/>
                  </a:lnTo>
                  <a:lnTo>
                    <a:pt x="653" y="166"/>
                  </a:lnTo>
                  <a:lnTo>
                    <a:pt x="653" y="166"/>
                  </a:lnTo>
                  <a:lnTo>
                    <a:pt x="655" y="162"/>
                  </a:lnTo>
                  <a:lnTo>
                    <a:pt x="655" y="162"/>
                  </a:lnTo>
                  <a:lnTo>
                    <a:pt x="655" y="160"/>
                  </a:lnTo>
                  <a:lnTo>
                    <a:pt x="661" y="158"/>
                  </a:lnTo>
                  <a:lnTo>
                    <a:pt x="661" y="158"/>
                  </a:lnTo>
                  <a:lnTo>
                    <a:pt x="659" y="158"/>
                  </a:lnTo>
                  <a:lnTo>
                    <a:pt x="659" y="158"/>
                  </a:lnTo>
                  <a:lnTo>
                    <a:pt x="657" y="158"/>
                  </a:lnTo>
                  <a:lnTo>
                    <a:pt x="657" y="156"/>
                  </a:lnTo>
                  <a:lnTo>
                    <a:pt x="659" y="154"/>
                  </a:lnTo>
                  <a:lnTo>
                    <a:pt x="659" y="152"/>
                  </a:lnTo>
                  <a:lnTo>
                    <a:pt x="661" y="154"/>
                  </a:lnTo>
                  <a:lnTo>
                    <a:pt x="661" y="156"/>
                  </a:lnTo>
                  <a:lnTo>
                    <a:pt x="663" y="156"/>
                  </a:lnTo>
                  <a:lnTo>
                    <a:pt x="663" y="158"/>
                  </a:lnTo>
                  <a:lnTo>
                    <a:pt x="665" y="158"/>
                  </a:lnTo>
                  <a:lnTo>
                    <a:pt x="665" y="156"/>
                  </a:lnTo>
                  <a:lnTo>
                    <a:pt x="667" y="154"/>
                  </a:lnTo>
                  <a:lnTo>
                    <a:pt x="669" y="152"/>
                  </a:lnTo>
                  <a:lnTo>
                    <a:pt x="669" y="148"/>
                  </a:lnTo>
                  <a:lnTo>
                    <a:pt x="667" y="148"/>
                  </a:lnTo>
                  <a:lnTo>
                    <a:pt x="667" y="146"/>
                  </a:lnTo>
                  <a:lnTo>
                    <a:pt x="667" y="142"/>
                  </a:lnTo>
                  <a:lnTo>
                    <a:pt x="669" y="137"/>
                  </a:lnTo>
                  <a:lnTo>
                    <a:pt x="669" y="133"/>
                  </a:lnTo>
                  <a:lnTo>
                    <a:pt x="671" y="119"/>
                  </a:lnTo>
                  <a:lnTo>
                    <a:pt x="676" y="115"/>
                  </a:lnTo>
                  <a:lnTo>
                    <a:pt x="676" y="113"/>
                  </a:lnTo>
                  <a:lnTo>
                    <a:pt x="674" y="111"/>
                  </a:lnTo>
                  <a:lnTo>
                    <a:pt x="676" y="111"/>
                  </a:lnTo>
                  <a:lnTo>
                    <a:pt x="676" y="109"/>
                  </a:lnTo>
                  <a:lnTo>
                    <a:pt x="676" y="109"/>
                  </a:lnTo>
                  <a:lnTo>
                    <a:pt x="674" y="109"/>
                  </a:lnTo>
                  <a:lnTo>
                    <a:pt x="674" y="105"/>
                  </a:lnTo>
                  <a:lnTo>
                    <a:pt x="674" y="103"/>
                  </a:lnTo>
                  <a:lnTo>
                    <a:pt x="674" y="103"/>
                  </a:lnTo>
                  <a:lnTo>
                    <a:pt x="674" y="101"/>
                  </a:lnTo>
                  <a:lnTo>
                    <a:pt x="676" y="101"/>
                  </a:lnTo>
                  <a:lnTo>
                    <a:pt x="676" y="99"/>
                  </a:lnTo>
                  <a:lnTo>
                    <a:pt x="676" y="99"/>
                  </a:lnTo>
                  <a:lnTo>
                    <a:pt x="676" y="99"/>
                  </a:lnTo>
                  <a:close/>
                  <a:moveTo>
                    <a:pt x="688" y="94"/>
                  </a:moveTo>
                  <a:lnTo>
                    <a:pt x="686" y="94"/>
                  </a:lnTo>
                  <a:lnTo>
                    <a:pt x="686" y="94"/>
                  </a:lnTo>
                  <a:lnTo>
                    <a:pt x="686" y="97"/>
                  </a:lnTo>
                  <a:lnTo>
                    <a:pt x="684" y="101"/>
                  </a:lnTo>
                  <a:lnTo>
                    <a:pt x="684" y="101"/>
                  </a:lnTo>
                  <a:lnTo>
                    <a:pt x="684" y="105"/>
                  </a:lnTo>
                  <a:lnTo>
                    <a:pt x="684" y="107"/>
                  </a:lnTo>
                  <a:lnTo>
                    <a:pt x="682" y="107"/>
                  </a:lnTo>
                  <a:lnTo>
                    <a:pt x="682" y="109"/>
                  </a:lnTo>
                  <a:lnTo>
                    <a:pt x="682" y="109"/>
                  </a:lnTo>
                  <a:lnTo>
                    <a:pt x="680" y="109"/>
                  </a:lnTo>
                  <a:lnTo>
                    <a:pt x="680" y="109"/>
                  </a:lnTo>
                  <a:lnTo>
                    <a:pt x="682" y="111"/>
                  </a:lnTo>
                  <a:lnTo>
                    <a:pt x="682" y="111"/>
                  </a:lnTo>
                  <a:lnTo>
                    <a:pt x="682" y="113"/>
                  </a:lnTo>
                  <a:lnTo>
                    <a:pt x="682" y="113"/>
                  </a:lnTo>
                  <a:lnTo>
                    <a:pt x="680" y="113"/>
                  </a:lnTo>
                  <a:lnTo>
                    <a:pt x="680" y="113"/>
                  </a:lnTo>
                  <a:lnTo>
                    <a:pt x="680" y="113"/>
                  </a:lnTo>
                  <a:lnTo>
                    <a:pt x="682" y="113"/>
                  </a:lnTo>
                  <a:lnTo>
                    <a:pt x="684" y="111"/>
                  </a:lnTo>
                  <a:lnTo>
                    <a:pt x="686" y="107"/>
                  </a:lnTo>
                  <a:lnTo>
                    <a:pt x="688" y="92"/>
                  </a:lnTo>
                  <a:lnTo>
                    <a:pt x="688" y="94"/>
                  </a:lnTo>
                  <a:close/>
                  <a:moveTo>
                    <a:pt x="655" y="236"/>
                  </a:moveTo>
                  <a:lnTo>
                    <a:pt x="653" y="228"/>
                  </a:lnTo>
                  <a:lnTo>
                    <a:pt x="651" y="226"/>
                  </a:lnTo>
                  <a:lnTo>
                    <a:pt x="649" y="226"/>
                  </a:lnTo>
                  <a:lnTo>
                    <a:pt x="647" y="228"/>
                  </a:lnTo>
                  <a:lnTo>
                    <a:pt x="643" y="228"/>
                  </a:lnTo>
                  <a:lnTo>
                    <a:pt x="639" y="228"/>
                  </a:lnTo>
                  <a:lnTo>
                    <a:pt x="635" y="228"/>
                  </a:lnTo>
                  <a:lnTo>
                    <a:pt x="626" y="226"/>
                  </a:lnTo>
                  <a:lnTo>
                    <a:pt x="624" y="226"/>
                  </a:lnTo>
                  <a:lnTo>
                    <a:pt x="622" y="230"/>
                  </a:lnTo>
                  <a:lnTo>
                    <a:pt x="622" y="230"/>
                  </a:lnTo>
                  <a:lnTo>
                    <a:pt x="624" y="232"/>
                  </a:lnTo>
                  <a:lnTo>
                    <a:pt x="624" y="232"/>
                  </a:lnTo>
                  <a:lnTo>
                    <a:pt x="624" y="234"/>
                  </a:lnTo>
                  <a:lnTo>
                    <a:pt x="624" y="234"/>
                  </a:lnTo>
                  <a:lnTo>
                    <a:pt x="624" y="236"/>
                  </a:lnTo>
                  <a:lnTo>
                    <a:pt x="626" y="238"/>
                  </a:lnTo>
                  <a:lnTo>
                    <a:pt x="624" y="238"/>
                  </a:lnTo>
                  <a:lnTo>
                    <a:pt x="624" y="238"/>
                  </a:lnTo>
                  <a:lnTo>
                    <a:pt x="622" y="236"/>
                  </a:lnTo>
                  <a:lnTo>
                    <a:pt x="622" y="236"/>
                  </a:lnTo>
                  <a:lnTo>
                    <a:pt x="620" y="234"/>
                  </a:lnTo>
                  <a:lnTo>
                    <a:pt x="618" y="234"/>
                  </a:lnTo>
                  <a:lnTo>
                    <a:pt x="616" y="234"/>
                  </a:lnTo>
                  <a:lnTo>
                    <a:pt x="614" y="236"/>
                  </a:lnTo>
                  <a:lnTo>
                    <a:pt x="612" y="238"/>
                  </a:lnTo>
                  <a:lnTo>
                    <a:pt x="610" y="238"/>
                  </a:lnTo>
                  <a:lnTo>
                    <a:pt x="608" y="240"/>
                  </a:lnTo>
                  <a:lnTo>
                    <a:pt x="606" y="240"/>
                  </a:lnTo>
                  <a:lnTo>
                    <a:pt x="606" y="240"/>
                  </a:lnTo>
                  <a:lnTo>
                    <a:pt x="608" y="238"/>
                  </a:lnTo>
                  <a:lnTo>
                    <a:pt x="610" y="236"/>
                  </a:lnTo>
                  <a:lnTo>
                    <a:pt x="610" y="236"/>
                  </a:lnTo>
                  <a:lnTo>
                    <a:pt x="608" y="234"/>
                  </a:lnTo>
                  <a:lnTo>
                    <a:pt x="608" y="234"/>
                  </a:lnTo>
                  <a:lnTo>
                    <a:pt x="608" y="232"/>
                  </a:lnTo>
                  <a:lnTo>
                    <a:pt x="608" y="230"/>
                  </a:lnTo>
                  <a:lnTo>
                    <a:pt x="608" y="230"/>
                  </a:lnTo>
                  <a:lnTo>
                    <a:pt x="602" y="228"/>
                  </a:lnTo>
                  <a:lnTo>
                    <a:pt x="602" y="228"/>
                  </a:lnTo>
                  <a:lnTo>
                    <a:pt x="600" y="228"/>
                  </a:lnTo>
                  <a:lnTo>
                    <a:pt x="600" y="228"/>
                  </a:lnTo>
                  <a:lnTo>
                    <a:pt x="598" y="228"/>
                  </a:lnTo>
                  <a:lnTo>
                    <a:pt x="598" y="226"/>
                  </a:lnTo>
                  <a:lnTo>
                    <a:pt x="598" y="226"/>
                  </a:lnTo>
                  <a:lnTo>
                    <a:pt x="598" y="226"/>
                  </a:lnTo>
                  <a:lnTo>
                    <a:pt x="600" y="226"/>
                  </a:lnTo>
                  <a:lnTo>
                    <a:pt x="600" y="224"/>
                  </a:lnTo>
                  <a:lnTo>
                    <a:pt x="594" y="224"/>
                  </a:lnTo>
                  <a:lnTo>
                    <a:pt x="592" y="224"/>
                  </a:lnTo>
                  <a:lnTo>
                    <a:pt x="592" y="222"/>
                  </a:lnTo>
                  <a:lnTo>
                    <a:pt x="590" y="215"/>
                  </a:lnTo>
                  <a:lnTo>
                    <a:pt x="587" y="209"/>
                  </a:lnTo>
                  <a:lnTo>
                    <a:pt x="585" y="209"/>
                  </a:lnTo>
                  <a:lnTo>
                    <a:pt x="585" y="209"/>
                  </a:lnTo>
                  <a:lnTo>
                    <a:pt x="583" y="213"/>
                  </a:lnTo>
                  <a:lnTo>
                    <a:pt x="581" y="213"/>
                  </a:lnTo>
                  <a:lnTo>
                    <a:pt x="579" y="213"/>
                  </a:lnTo>
                  <a:lnTo>
                    <a:pt x="577" y="209"/>
                  </a:lnTo>
                  <a:lnTo>
                    <a:pt x="575" y="209"/>
                  </a:lnTo>
                  <a:lnTo>
                    <a:pt x="567" y="211"/>
                  </a:lnTo>
                  <a:lnTo>
                    <a:pt x="565" y="211"/>
                  </a:lnTo>
                  <a:lnTo>
                    <a:pt x="563" y="209"/>
                  </a:lnTo>
                  <a:lnTo>
                    <a:pt x="561" y="209"/>
                  </a:lnTo>
                  <a:lnTo>
                    <a:pt x="559" y="209"/>
                  </a:lnTo>
                  <a:lnTo>
                    <a:pt x="559" y="207"/>
                  </a:lnTo>
                  <a:lnTo>
                    <a:pt x="557" y="205"/>
                  </a:lnTo>
                  <a:lnTo>
                    <a:pt x="555" y="205"/>
                  </a:lnTo>
                  <a:lnTo>
                    <a:pt x="555" y="205"/>
                  </a:lnTo>
                  <a:lnTo>
                    <a:pt x="553" y="207"/>
                  </a:lnTo>
                  <a:lnTo>
                    <a:pt x="551" y="207"/>
                  </a:lnTo>
                  <a:lnTo>
                    <a:pt x="551" y="207"/>
                  </a:lnTo>
                  <a:lnTo>
                    <a:pt x="551" y="207"/>
                  </a:lnTo>
                  <a:lnTo>
                    <a:pt x="549" y="207"/>
                  </a:lnTo>
                  <a:lnTo>
                    <a:pt x="542" y="207"/>
                  </a:lnTo>
                  <a:lnTo>
                    <a:pt x="536" y="207"/>
                  </a:lnTo>
                  <a:lnTo>
                    <a:pt x="534" y="207"/>
                  </a:lnTo>
                  <a:lnTo>
                    <a:pt x="534" y="207"/>
                  </a:lnTo>
                  <a:lnTo>
                    <a:pt x="534" y="207"/>
                  </a:lnTo>
                  <a:lnTo>
                    <a:pt x="532" y="207"/>
                  </a:lnTo>
                  <a:lnTo>
                    <a:pt x="532" y="205"/>
                  </a:lnTo>
                  <a:lnTo>
                    <a:pt x="534" y="203"/>
                  </a:lnTo>
                  <a:lnTo>
                    <a:pt x="536" y="203"/>
                  </a:lnTo>
                  <a:lnTo>
                    <a:pt x="536" y="205"/>
                  </a:lnTo>
                  <a:lnTo>
                    <a:pt x="540" y="203"/>
                  </a:lnTo>
                  <a:lnTo>
                    <a:pt x="540" y="203"/>
                  </a:lnTo>
                  <a:lnTo>
                    <a:pt x="542" y="205"/>
                  </a:lnTo>
                  <a:lnTo>
                    <a:pt x="544" y="205"/>
                  </a:lnTo>
                  <a:lnTo>
                    <a:pt x="544" y="203"/>
                  </a:lnTo>
                  <a:lnTo>
                    <a:pt x="547" y="203"/>
                  </a:lnTo>
                  <a:lnTo>
                    <a:pt x="547" y="203"/>
                  </a:lnTo>
                  <a:lnTo>
                    <a:pt x="549" y="203"/>
                  </a:lnTo>
                  <a:lnTo>
                    <a:pt x="549" y="203"/>
                  </a:lnTo>
                  <a:lnTo>
                    <a:pt x="551" y="203"/>
                  </a:lnTo>
                  <a:lnTo>
                    <a:pt x="551" y="203"/>
                  </a:lnTo>
                  <a:lnTo>
                    <a:pt x="551" y="205"/>
                  </a:lnTo>
                  <a:lnTo>
                    <a:pt x="553" y="205"/>
                  </a:lnTo>
                  <a:lnTo>
                    <a:pt x="553" y="205"/>
                  </a:lnTo>
                  <a:lnTo>
                    <a:pt x="553" y="205"/>
                  </a:lnTo>
                  <a:lnTo>
                    <a:pt x="555" y="201"/>
                  </a:lnTo>
                  <a:lnTo>
                    <a:pt x="555" y="201"/>
                  </a:lnTo>
                  <a:lnTo>
                    <a:pt x="557" y="201"/>
                  </a:lnTo>
                  <a:lnTo>
                    <a:pt x="557" y="201"/>
                  </a:lnTo>
                  <a:lnTo>
                    <a:pt x="561" y="205"/>
                  </a:lnTo>
                  <a:lnTo>
                    <a:pt x="563" y="207"/>
                  </a:lnTo>
                  <a:lnTo>
                    <a:pt x="563" y="207"/>
                  </a:lnTo>
                  <a:lnTo>
                    <a:pt x="565" y="207"/>
                  </a:lnTo>
                  <a:lnTo>
                    <a:pt x="567" y="205"/>
                  </a:lnTo>
                  <a:lnTo>
                    <a:pt x="567" y="205"/>
                  </a:lnTo>
                  <a:lnTo>
                    <a:pt x="567" y="203"/>
                  </a:lnTo>
                  <a:lnTo>
                    <a:pt x="567" y="201"/>
                  </a:lnTo>
                  <a:lnTo>
                    <a:pt x="567" y="199"/>
                  </a:lnTo>
                  <a:lnTo>
                    <a:pt x="567" y="199"/>
                  </a:lnTo>
                  <a:lnTo>
                    <a:pt x="569" y="201"/>
                  </a:lnTo>
                  <a:lnTo>
                    <a:pt x="569" y="203"/>
                  </a:lnTo>
                  <a:lnTo>
                    <a:pt x="569" y="205"/>
                  </a:lnTo>
                  <a:lnTo>
                    <a:pt x="571" y="205"/>
                  </a:lnTo>
                  <a:lnTo>
                    <a:pt x="571" y="205"/>
                  </a:lnTo>
                  <a:lnTo>
                    <a:pt x="575" y="207"/>
                  </a:lnTo>
                  <a:lnTo>
                    <a:pt x="577" y="207"/>
                  </a:lnTo>
                  <a:lnTo>
                    <a:pt x="577" y="207"/>
                  </a:lnTo>
                  <a:lnTo>
                    <a:pt x="579" y="207"/>
                  </a:lnTo>
                  <a:lnTo>
                    <a:pt x="579" y="209"/>
                  </a:lnTo>
                  <a:lnTo>
                    <a:pt x="579" y="209"/>
                  </a:lnTo>
                  <a:lnTo>
                    <a:pt x="581" y="209"/>
                  </a:lnTo>
                  <a:lnTo>
                    <a:pt x="581" y="209"/>
                  </a:lnTo>
                  <a:lnTo>
                    <a:pt x="581" y="207"/>
                  </a:lnTo>
                  <a:lnTo>
                    <a:pt x="581" y="207"/>
                  </a:lnTo>
                  <a:lnTo>
                    <a:pt x="583" y="207"/>
                  </a:lnTo>
                  <a:lnTo>
                    <a:pt x="585" y="205"/>
                  </a:lnTo>
                  <a:lnTo>
                    <a:pt x="587" y="205"/>
                  </a:lnTo>
                  <a:lnTo>
                    <a:pt x="590" y="205"/>
                  </a:lnTo>
                  <a:lnTo>
                    <a:pt x="592" y="207"/>
                  </a:lnTo>
                  <a:lnTo>
                    <a:pt x="592" y="209"/>
                  </a:lnTo>
                  <a:lnTo>
                    <a:pt x="592" y="213"/>
                  </a:lnTo>
                  <a:lnTo>
                    <a:pt x="594" y="213"/>
                  </a:lnTo>
                  <a:lnTo>
                    <a:pt x="594" y="215"/>
                  </a:lnTo>
                  <a:lnTo>
                    <a:pt x="596" y="215"/>
                  </a:lnTo>
                  <a:lnTo>
                    <a:pt x="598" y="217"/>
                  </a:lnTo>
                  <a:lnTo>
                    <a:pt x="600" y="217"/>
                  </a:lnTo>
                  <a:lnTo>
                    <a:pt x="608" y="222"/>
                  </a:lnTo>
                  <a:lnTo>
                    <a:pt x="610" y="224"/>
                  </a:lnTo>
                  <a:lnTo>
                    <a:pt x="612" y="228"/>
                  </a:lnTo>
                  <a:lnTo>
                    <a:pt x="614" y="228"/>
                  </a:lnTo>
                  <a:lnTo>
                    <a:pt x="614" y="226"/>
                  </a:lnTo>
                  <a:lnTo>
                    <a:pt x="616" y="224"/>
                  </a:lnTo>
                  <a:lnTo>
                    <a:pt x="618" y="224"/>
                  </a:lnTo>
                  <a:lnTo>
                    <a:pt x="618" y="222"/>
                  </a:lnTo>
                  <a:lnTo>
                    <a:pt x="620" y="222"/>
                  </a:lnTo>
                  <a:lnTo>
                    <a:pt x="622" y="222"/>
                  </a:lnTo>
                  <a:lnTo>
                    <a:pt x="622" y="219"/>
                  </a:lnTo>
                  <a:lnTo>
                    <a:pt x="624" y="217"/>
                  </a:lnTo>
                  <a:lnTo>
                    <a:pt x="624" y="215"/>
                  </a:lnTo>
                  <a:lnTo>
                    <a:pt x="622" y="211"/>
                  </a:lnTo>
                  <a:lnTo>
                    <a:pt x="622" y="211"/>
                  </a:lnTo>
                  <a:lnTo>
                    <a:pt x="618" y="213"/>
                  </a:lnTo>
                  <a:lnTo>
                    <a:pt x="616" y="211"/>
                  </a:lnTo>
                  <a:lnTo>
                    <a:pt x="618" y="211"/>
                  </a:lnTo>
                  <a:lnTo>
                    <a:pt x="620" y="209"/>
                  </a:lnTo>
                  <a:lnTo>
                    <a:pt x="620" y="209"/>
                  </a:lnTo>
                  <a:lnTo>
                    <a:pt x="620" y="207"/>
                  </a:lnTo>
                  <a:lnTo>
                    <a:pt x="618" y="205"/>
                  </a:lnTo>
                  <a:lnTo>
                    <a:pt x="614" y="205"/>
                  </a:lnTo>
                  <a:lnTo>
                    <a:pt x="614" y="205"/>
                  </a:lnTo>
                  <a:lnTo>
                    <a:pt x="614" y="205"/>
                  </a:lnTo>
                  <a:lnTo>
                    <a:pt x="612" y="205"/>
                  </a:lnTo>
                  <a:lnTo>
                    <a:pt x="612" y="205"/>
                  </a:lnTo>
                  <a:lnTo>
                    <a:pt x="612" y="203"/>
                  </a:lnTo>
                  <a:lnTo>
                    <a:pt x="610" y="201"/>
                  </a:lnTo>
                  <a:lnTo>
                    <a:pt x="610" y="201"/>
                  </a:lnTo>
                  <a:lnTo>
                    <a:pt x="612" y="201"/>
                  </a:lnTo>
                  <a:lnTo>
                    <a:pt x="610" y="199"/>
                  </a:lnTo>
                  <a:lnTo>
                    <a:pt x="608" y="199"/>
                  </a:lnTo>
                  <a:lnTo>
                    <a:pt x="606" y="201"/>
                  </a:lnTo>
                  <a:lnTo>
                    <a:pt x="604" y="201"/>
                  </a:lnTo>
                  <a:lnTo>
                    <a:pt x="602" y="201"/>
                  </a:lnTo>
                  <a:lnTo>
                    <a:pt x="598" y="199"/>
                  </a:lnTo>
                  <a:lnTo>
                    <a:pt x="590" y="195"/>
                  </a:lnTo>
                  <a:lnTo>
                    <a:pt x="583" y="191"/>
                  </a:lnTo>
                  <a:lnTo>
                    <a:pt x="581" y="187"/>
                  </a:lnTo>
                  <a:lnTo>
                    <a:pt x="579" y="187"/>
                  </a:lnTo>
                  <a:lnTo>
                    <a:pt x="577" y="185"/>
                  </a:lnTo>
                  <a:lnTo>
                    <a:pt x="573" y="181"/>
                  </a:lnTo>
                  <a:lnTo>
                    <a:pt x="571" y="178"/>
                  </a:lnTo>
                  <a:lnTo>
                    <a:pt x="571" y="178"/>
                  </a:lnTo>
                  <a:lnTo>
                    <a:pt x="569" y="178"/>
                  </a:lnTo>
                  <a:lnTo>
                    <a:pt x="569" y="178"/>
                  </a:lnTo>
                  <a:lnTo>
                    <a:pt x="569" y="176"/>
                  </a:lnTo>
                  <a:lnTo>
                    <a:pt x="569" y="176"/>
                  </a:lnTo>
                  <a:lnTo>
                    <a:pt x="569" y="174"/>
                  </a:lnTo>
                  <a:lnTo>
                    <a:pt x="569" y="174"/>
                  </a:lnTo>
                  <a:lnTo>
                    <a:pt x="575" y="178"/>
                  </a:lnTo>
                  <a:lnTo>
                    <a:pt x="579" y="183"/>
                  </a:lnTo>
                  <a:lnTo>
                    <a:pt x="581" y="185"/>
                  </a:lnTo>
                  <a:lnTo>
                    <a:pt x="583" y="185"/>
                  </a:lnTo>
                  <a:lnTo>
                    <a:pt x="583" y="185"/>
                  </a:lnTo>
                  <a:lnTo>
                    <a:pt x="592" y="193"/>
                  </a:lnTo>
                  <a:lnTo>
                    <a:pt x="592" y="193"/>
                  </a:lnTo>
                  <a:lnTo>
                    <a:pt x="594" y="193"/>
                  </a:lnTo>
                  <a:lnTo>
                    <a:pt x="594" y="193"/>
                  </a:lnTo>
                  <a:lnTo>
                    <a:pt x="596" y="195"/>
                  </a:lnTo>
                  <a:lnTo>
                    <a:pt x="598" y="195"/>
                  </a:lnTo>
                  <a:lnTo>
                    <a:pt x="602" y="197"/>
                  </a:lnTo>
                  <a:lnTo>
                    <a:pt x="604" y="197"/>
                  </a:lnTo>
                  <a:lnTo>
                    <a:pt x="610" y="195"/>
                  </a:lnTo>
                  <a:lnTo>
                    <a:pt x="610" y="193"/>
                  </a:lnTo>
                  <a:lnTo>
                    <a:pt x="610" y="193"/>
                  </a:lnTo>
                  <a:lnTo>
                    <a:pt x="608" y="191"/>
                  </a:lnTo>
                  <a:lnTo>
                    <a:pt x="608" y="191"/>
                  </a:lnTo>
                  <a:lnTo>
                    <a:pt x="606" y="191"/>
                  </a:lnTo>
                  <a:lnTo>
                    <a:pt x="604" y="191"/>
                  </a:lnTo>
                  <a:lnTo>
                    <a:pt x="604" y="191"/>
                  </a:lnTo>
                  <a:lnTo>
                    <a:pt x="606" y="189"/>
                  </a:lnTo>
                  <a:lnTo>
                    <a:pt x="606" y="189"/>
                  </a:lnTo>
                  <a:lnTo>
                    <a:pt x="606" y="187"/>
                  </a:lnTo>
                  <a:lnTo>
                    <a:pt x="606" y="187"/>
                  </a:lnTo>
                  <a:lnTo>
                    <a:pt x="604" y="187"/>
                  </a:lnTo>
                  <a:lnTo>
                    <a:pt x="602" y="187"/>
                  </a:lnTo>
                  <a:lnTo>
                    <a:pt x="602" y="185"/>
                  </a:lnTo>
                  <a:lnTo>
                    <a:pt x="602" y="185"/>
                  </a:lnTo>
                  <a:lnTo>
                    <a:pt x="602" y="183"/>
                  </a:lnTo>
                  <a:lnTo>
                    <a:pt x="604" y="183"/>
                  </a:lnTo>
                  <a:lnTo>
                    <a:pt x="604" y="183"/>
                  </a:lnTo>
                  <a:lnTo>
                    <a:pt x="606" y="183"/>
                  </a:lnTo>
                  <a:lnTo>
                    <a:pt x="604" y="183"/>
                  </a:lnTo>
                  <a:lnTo>
                    <a:pt x="604" y="181"/>
                  </a:lnTo>
                  <a:lnTo>
                    <a:pt x="604" y="181"/>
                  </a:lnTo>
                  <a:lnTo>
                    <a:pt x="602" y="181"/>
                  </a:lnTo>
                  <a:lnTo>
                    <a:pt x="602" y="178"/>
                  </a:lnTo>
                  <a:lnTo>
                    <a:pt x="604" y="178"/>
                  </a:lnTo>
                  <a:lnTo>
                    <a:pt x="608" y="183"/>
                  </a:lnTo>
                  <a:lnTo>
                    <a:pt x="610" y="183"/>
                  </a:lnTo>
                  <a:lnTo>
                    <a:pt x="610" y="183"/>
                  </a:lnTo>
                  <a:lnTo>
                    <a:pt x="612" y="183"/>
                  </a:lnTo>
                  <a:lnTo>
                    <a:pt x="612" y="185"/>
                  </a:lnTo>
                  <a:lnTo>
                    <a:pt x="616" y="187"/>
                  </a:lnTo>
                  <a:lnTo>
                    <a:pt x="618" y="189"/>
                  </a:lnTo>
                  <a:lnTo>
                    <a:pt x="618" y="189"/>
                  </a:lnTo>
                  <a:lnTo>
                    <a:pt x="618" y="185"/>
                  </a:lnTo>
                  <a:lnTo>
                    <a:pt x="618" y="178"/>
                  </a:lnTo>
                  <a:lnTo>
                    <a:pt x="618" y="176"/>
                  </a:lnTo>
                  <a:lnTo>
                    <a:pt x="616" y="174"/>
                  </a:lnTo>
                  <a:lnTo>
                    <a:pt x="616" y="174"/>
                  </a:lnTo>
                  <a:lnTo>
                    <a:pt x="614" y="174"/>
                  </a:lnTo>
                  <a:lnTo>
                    <a:pt x="614" y="174"/>
                  </a:lnTo>
                  <a:lnTo>
                    <a:pt x="614" y="172"/>
                  </a:lnTo>
                  <a:lnTo>
                    <a:pt x="614" y="170"/>
                  </a:lnTo>
                  <a:lnTo>
                    <a:pt x="614" y="170"/>
                  </a:lnTo>
                  <a:lnTo>
                    <a:pt x="616" y="170"/>
                  </a:lnTo>
                  <a:lnTo>
                    <a:pt x="616" y="168"/>
                  </a:lnTo>
                  <a:lnTo>
                    <a:pt x="612" y="166"/>
                  </a:lnTo>
                  <a:lnTo>
                    <a:pt x="612" y="166"/>
                  </a:lnTo>
                  <a:lnTo>
                    <a:pt x="612" y="168"/>
                  </a:lnTo>
                  <a:lnTo>
                    <a:pt x="610" y="170"/>
                  </a:lnTo>
                  <a:lnTo>
                    <a:pt x="610" y="170"/>
                  </a:lnTo>
                  <a:lnTo>
                    <a:pt x="606" y="168"/>
                  </a:lnTo>
                  <a:lnTo>
                    <a:pt x="604" y="168"/>
                  </a:lnTo>
                  <a:lnTo>
                    <a:pt x="602" y="168"/>
                  </a:lnTo>
                  <a:lnTo>
                    <a:pt x="602" y="166"/>
                  </a:lnTo>
                  <a:lnTo>
                    <a:pt x="604" y="166"/>
                  </a:lnTo>
                  <a:lnTo>
                    <a:pt x="608" y="164"/>
                  </a:lnTo>
                  <a:lnTo>
                    <a:pt x="610" y="164"/>
                  </a:lnTo>
                  <a:lnTo>
                    <a:pt x="610" y="162"/>
                  </a:lnTo>
                  <a:lnTo>
                    <a:pt x="608" y="162"/>
                  </a:lnTo>
                  <a:lnTo>
                    <a:pt x="604" y="162"/>
                  </a:lnTo>
                  <a:lnTo>
                    <a:pt x="600" y="162"/>
                  </a:lnTo>
                  <a:lnTo>
                    <a:pt x="598" y="160"/>
                  </a:lnTo>
                  <a:lnTo>
                    <a:pt x="596" y="160"/>
                  </a:lnTo>
                  <a:lnTo>
                    <a:pt x="594" y="160"/>
                  </a:lnTo>
                  <a:lnTo>
                    <a:pt x="590" y="160"/>
                  </a:lnTo>
                  <a:lnTo>
                    <a:pt x="587" y="160"/>
                  </a:lnTo>
                  <a:lnTo>
                    <a:pt x="585" y="158"/>
                  </a:lnTo>
                  <a:lnTo>
                    <a:pt x="585" y="156"/>
                  </a:lnTo>
                  <a:lnTo>
                    <a:pt x="583" y="156"/>
                  </a:lnTo>
                  <a:lnTo>
                    <a:pt x="583" y="154"/>
                  </a:lnTo>
                  <a:lnTo>
                    <a:pt x="583" y="154"/>
                  </a:lnTo>
                  <a:lnTo>
                    <a:pt x="581" y="152"/>
                  </a:lnTo>
                  <a:lnTo>
                    <a:pt x="581" y="150"/>
                  </a:lnTo>
                  <a:lnTo>
                    <a:pt x="577" y="148"/>
                  </a:lnTo>
                  <a:lnTo>
                    <a:pt x="577" y="148"/>
                  </a:lnTo>
                  <a:lnTo>
                    <a:pt x="573" y="148"/>
                  </a:lnTo>
                  <a:lnTo>
                    <a:pt x="573" y="148"/>
                  </a:lnTo>
                  <a:lnTo>
                    <a:pt x="573" y="146"/>
                  </a:lnTo>
                  <a:lnTo>
                    <a:pt x="573" y="146"/>
                  </a:lnTo>
                  <a:lnTo>
                    <a:pt x="573" y="146"/>
                  </a:lnTo>
                  <a:lnTo>
                    <a:pt x="573" y="146"/>
                  </a:lnTo>
                  <a:lnTo>
                    <a:pt x="571" y="146"/>
                  </a:lnTo>
                  <a:lnTo>
                    <a:pt x="571" y="146"/>
                  </a:lnTo>
                  <a:lnTo>
                    <a:pt x="569" y="146"/>
                  </a:lnTo>
                  <a:lnTo>
                    <a:pt x="569" y="146"/>
                  </a:lnTo>
                  <a:lnTo>
                    <a:pt x="567" y="144"/>
                  </a:lnTo>
                  <a:lnTo>
                    <a:pt x="567" y="144"/>
                  </a:lnTo>
                  <a:lnTo>
                    <a:pt x="565" y="144"/>
                  </a:lnTo>
                  <a:lnTo>
                    <a:pt x="563" y="140"/>
                  </a:lnTo>
                  <a:lnTo>
                    <a:pt x="563" y="140"/>
                  </a:lnTo>
                  <a:lnTo>
                    <a:pt x="561" y="137"/>
                  </a:lnTo>
                  <a:lnTo>
                    <a:pt x="561" y="135"/>
                  </a:lnTo>
                  <a:lnTo>
                    <a:pt x="559" y="135"/>
                  </a:lnTo>
                  <a:lnTo>
                    <a:pt x="557" y="135"/>
                  </a:lnTo>
                  <a:lnTo>
                    <a:pt x="555" y="135"/>
                  </a:lnTo>
                  <a:lnTo>
                    <a:pt x="555" y="133"/>
                  </a:lnTo>
                  <a:lnTo>
                    <a:pt x="553" y="131"/>
                  </a:lnTo>
                  <a:lnTo>
                    <a:pt x="553" y="131"/>
                  </a:lnTo>
                  <a:lnTo>
                    <a:pt x="551" y="131"/>
                  </a:lnTo>
                  <a:lnTo>
                    <a:pt x="551" y="129"/>
                  </a:lnTo>
                  <a:lnTo>
                    <a:pt x="549" y="129"/>
                  </a:lnTo>
                  <a:lnTo>
                    <a:pt x="549" y="129"/>
                  </a:lnTo>
                  <a:lnTo>
                    <a:pt x="547" y="123"/>
                  </a:lnTo>
                  <a:lnTo>
                    <a:pt x="547" y="123"/>
                  </a:lnTo>
                  <a:lnTo>
                    <a:pt x="544" y="121"/>
                  </a:lnTo>
                  <a:lnTo>
                    <a:pt x="542" y="121"/>
                  </a:lnTo>
                  <a:lnTo>
                    <a:pt x="542" y="119"/>
                  </a:lnTo>
                  <a:lnTo>
                    <a:pt x="536" y="119"/>
                  </a:lnTo>
                  <a:lnTo>
                    <a:pt x="534" y="119"/>
                  </a:lnTo>
                  <a:lnTo>
                    <a:pt x="534" y="119"/>
                  </a:lnTo>
                  <a:lnTo>
                    <a:pt x="534" y="117"/>
                  </a:lnTo>
                  <a:lnTo>
                    <a:pt x="534" y="115"/>
                  </a:lnTo>
                  <a:lnTo>
                    <a:pt x="532" y="115"/>
                  </a:lnTo>
                  <a:lnTo>
                    <a:pt x="532" y="115"/>
                  </a:lnTo>
                  <a:lnTo>
                    <a:pt x="532" y="115"/>
                  </a:lnTo>
                  <a:lnTo>
                    <a:pt x="528" y="117"/>
                  </a:lnTo>
                  <a:lnTo>
                    <a:pt x="526" y="115"/>
                  </a:lnTo>
                  <a:lnTo>
                    <a:pt x="526" y="115"/>
                  </a:lnTo>
                  <a:lnTo>
                    <a:pt x="526" y="113"/>
                  </a:lnTo>
                  <a:lnTo>
                    <a:pt x="528" y="113"/>
                  </a:lnTo>
                  <a:lnTo>
                    <a:pt x="532" y="113"/>
                  </a:lnTo>
                  <a:lnTo>
                    <a:pt x="534" y="115"/>
                  </a:lnTo>
                  <a:lnTo>
                    <a:pt x="534" y="115"/>
                  </a:lnTo>
                  <a:lnTo>
                    <a:pt x="536" y="117"/>
                  </a:lnTo>
                  <a:lnTo>
                    <a:pt x="536" y="117"/>
                  </a:lnTo>
                  <a:lnTo>
                    <a:pt x="538" y="117"/>
                  </a:lnTo>
                  <a:lnTo>
                    <a:pt x="542" y="117"/>
                  </a:lnTo>
                  <a:lnTo>
                    <a:pt x="542" y="119"/>
                  </a:lnTo>
                  <a:lnTo>
                    <a:pt x="544" y="119"/>
                  </a:lnTo>
                  <a:lnTo>
                    <a:pt x="547" y="121"/>
                  </a:lnTo>
                  <a:lnTo>
                    <a:pt x="551" y="127"/>
                  </a:lnTo>
                  <a:lnTo>
                    <a:pt x="551" y="127"/>
                  </a:lnTo>
                  <a:lnTo>
                    <a:pt x="555" y="129"/>
                  </a:lnTo>
                  <a:lnTo>
                    <a:pt x="557" y="131"/>
                  </a:lnTo>
                  <a:lnTo>
                    <a:pt x="563" y="133"/>
                  </a:lnTo>
                  <a:lnTo>
                    <a:pt x="565" y="135"/>
                  </a:lnTo>
                  <a:lnTo>
                    <a:pt x="569" y="142"/>
                  </a:lnTo>
                  <a:lnTo>
                    <a:pt x="569" y="142"/>
                  </a:lnTo>
                  <a:lnTo>
                    <a:pt x="571" y="142"/>
                  </a:lnTo>
                  <a:lnTo>
                    <a:pt x="571" y="142"/>
                  </a:lnTo>
                  <a:lnTo>
                    <a:pt x="573" y="140"/>
                  </a:lnTo>
                  <a:lnTo>
                    <a:pt x="573" y="142"/>
                  </a:lnTo>
                  <a:lnTo>
                    <a:pt x="573" y="144"/>
                  </a:lnTo>
                  <a:lnTo>
                    <a:pt x="575" y="144"/>
                  </a:lnTo>
                  <a:lnTo>
                    <a:pt x="575" y="144"/>
                  </a:lnTo>
                  <a:lnTo>
                    <a:pt x="575" y="142"/>
                  </a:lnTo>
                  <a:lnTo>
                    <a:pt x="577" y="144"/>
                  </a:lnTo>
                  <a:lnTo>
                    <a:pt x="577" y="144"/>
                  </a:lnTo>
                  <a:lnTo>
                    <a:pt x="577" y="144"/>
                  </a:lnTo>
                  <a:lnTo>
                    <a:pt x="581" y="146"/>
                  </a:lnTo>
                  <a:lnTo>
                    <a:pt x="581" y="146"/>
                  </a:lnTo>
                  <a:lnTo>
                    <a:pt x="583" y="148"/>
                  </a:lnTo>
                  <a:lnTo>
                    <a:pt x="585" y="152"/>
                  </a:lnTo>
                  <a:lnTo>
                    <a:pt x="587" y="154"/>
                  </a:lnTo>
                  <a:lnTo>
                    <a:pt x="587" y="154"/>
                  </a:lnTo>
                  <a:lnTo>
                    <a:pt x="590" y="156"/>
                  </a:lnTo>
                  <a:lnTo>
                    <a:pt x="590" y="158"/>
                  </a:lnTo>
                  <a:lnTo>
                    <a:pt x="592" y="156"/>
                  </a:lnTo>
                  <a:lnTo>
                    <a:pt x="592" y="152"/>
                  </a:lnTo>
                  <a:lnTo>
                    <a:pt x="592" y="152"/>
                  </a:lnTo>
                  <a:lnTo>
                    <a:pt x="594" y="152"/>
                  </a:lnTo>
                  <a:lnTo>
                    <a:pt x="594" y="154"/>
                  </a:lnTo>
                  <a:lnTo>
                    <a:pt x="596" y="154"/>
                  </a:lnTo>
                  <a:lnTo>
                    <a:pt x="596" y="156"/>
                  </a:lnTo>
                  <a:lnTo>
                    <a:pt x="596" y="156"/>
                  </a:lnTo>
                  <a:lnTo>
                    <a:pt x="596" y="154"/>
                  </a:lnTo>
                  <a:lnTo>
                    <a:pt x="598" y="156"/>
                  </a:lnTo>
                  <a:lnTo>
                    <a:pt x="598" y="156"/>
                  </a:lnTo>
                  <a:lnTo>
                    <a:pt x="600" y="156"/>
                  </a:lnTo>
                  <a:lnTo>
                    <a:pt x="604" y="158"/>
                  </a:lnTo>
                  <a:lnTo>
                    <a:pt x="606" y="158"/>
                  </a:lnTo>
                  <a:lnTo>
                    <a:pt x="608" y="156"/>
                  </a:lnTo>
                  <a:lnTo>
                    <a:pt x="606" y="156"/>
                  </a:lnTo>
                  <a:lnTo>
                    <a:pt x="606" y="156"/>
                  </a:lnTo>
                  <a:lnTo>
                    <a:pt x="604" y="154"/>
                  </a:lnTo>
                  <a:lnTo>
                    <a:pt x="604" y="152"/>
                  </a:lnTo>
                  <a:lnTo>
                    <a:pt x="604" y="152"/>
                  </a:lnTo>
                  <a:lnTo>
                    <a:pt x="604" y="152"/>
                  </a:lnTo>
                  <a:lnTo>
                    <a:pt x="606" y="150"/>
                  </a:lnTo>
                  <a:lnTo>
                    <a:pt x="604" y="150"/>
                  </a:lnTo>
                  <a:lnTo>
                    <a:pt x="606" y="150"/>
                  </a:lnTo>
                  <a:lnTo>
                    <a:pt x="606" y="150"/>
                  </a:lnTo>
                  <a:lnTo>
                    <a:pt x="608" y="150"/>
                  </a:lnTo>
                  <a:lnTo>
                    <a:pt x="608" y="148"/>
                  </a:lnTo>
                  <a:lnTo>
                    <a:pt x="608" y="148"/>
                  </a:lnTo>
                  <a:lnTo>
                    <a:pt x="604" y="146"/>
                  </a:lnTo>
                  <a:lnTo>
                    <a:pt x="604" y="144"/>
                  </a:lnTo>
                  <a:lnTo>
                    <a:pt x="604" y="144"/>
                  </a:lnTo>
                  <a:lnTo>
                    <a:pt x="604" y="144"/>
                  </a:lnTo>
                  <a:lnTo>
                    <a:pt x="604" y="144"/>
                  </a:lnTo>
                  <a:lnTo>
                    <a:pt x="606" y="144"/>
                  </a:lnTo>
                  <a:lnTo>
                    <a:pt x="606" y="142"/>
                  </a:lnTo>
                  <a:lnTo>
                    <a:pt x="606" y="142"/>
                  </a:lnTo>
                  <a:lnTo>
                    <a:pt x="606" y="140"/>
                  </a:lnTo>
                  <a:lnTo>
                    <a:pt x="604" y="140"/>
                  </a:lnTo>
                  <a:lnTo>
                    <a:pt x="602" y="135"/>
                  </a:lnTo>
                  <a:lnTo>
                    <a:pt x="602" y="133"/>
                  </a:lnTo>
                  <a:lnTo>
                    <a:pt x="602" y="133"/>
                  </a:lnTo>
                  <a:lnTo>
                    <a:pt x="604" y="133"/>
                  </a:lnTo>
                  <a:lnTo>
                    <a:pt x="606" y="135"/>
                  </a:lnTo>
                  <a:lnTo>
                    <a:pt x="608" y="135"/>
                  </a:lnTo>
                  <a:lnTo>
                    <a:pt x="608" y="133"/>
                  </a:lnTo>
                  <a:lnTo>
                    <a:pt x="608" y="131"/>
                  </a:lnTo>
                  <a:lnTo>
                    <a:pt x="608" y="127"/>
                  </a:lnTo>
                  <a:lnTo>
                    <a:pt x="606" y="125"/>
                  </a:lnTo>
                  <a:lnTo>
                    <a:pt x="604" y="125"/>
                  </a:lnTo>
                  <a:lnTo>
                    <a:pt x="602" y="123"/>
                  </a:lnTo>
                  <a:lnTo>
                    <a:pt x="594" y="123"/>
                  </a:lnTo>
                  <a:lnTo>
                    <a:pt x="592" y="121"/>
                  </a:lnTo>
                  <a:lnTo>
                    <a:pt x="585" y="121"/>
                  </a:lnTo>
                  <a:lnTo>
                    <a:pt x="585" y="121"/>
                  </a:lnTo>
                  <a:lnTo>
                    <a:pt x="585" y="119"/>
                  </a:lnTo>
                  <a:lnTo>
                    <a:pt x="587" y="119"/>
                  </a:lnTo>
                  <a:lnTo>
                    <a:pt x="587" y="119"/>
                  </a:lnTo>
                  <a:lnTo>
                    <a:pt x="585" y="119"/>
                  </a:lnTo>
                  <a:lnTo>
                    <a:pt x="585" y="119"/>
                  </a:lnTo>
                  <a:lnTo>
                    <a:pt x="583" y="117"/>
                  </a:lnTo>
                  <a:lnTo>
                    <a:pt x="583" y="117"/>
                  </a:lnTo>
                  <a:lnTo>
                    <a:pt x="579" y="119"/>
                  </a:lnTo>
                  <a:lnTo>
                    <a:pt x="579" y="119"/>
                  </a:lnTo>
                  <a:lnTo>
                    <a:pt x="579" y="117"/>
                  </a:lnTo>
                  <a:lnTo>
                    <a:pt x="579" y="117"/>
                  </a:lnTo>
                  <a:lnTo>
                    <a:pt x="579" y="115"/>
                  </a:lnTo>
                  <a:lnTo>
                    <a:pt x="579" y="115"/>
                  </a:lnTo>
                  <a:lnTo>
                    <a:pt x="579" y="113"/>
                  </a:lnTo>
                  <a:lnTo>
                    <a:pt x="575" y="111"/>
                  </a:lnTo>
                  <a:lnTo>
                    <a:pt x="573" y="111"/>
                  </a:lnTo>
                  <a:lnTo>
                    <a:pt x="573" y="111"/>
                  </a:lnTo>
                  <a:lnTo>
                    <a:pt x="571" y="107"/>
                  </a:lnTo>
                  <a:lnTo>
                    <a:pt x="571" y="107"/>
                  </a:lnTo>
                  <a:lnTo>
                    <a:pt x="571" y="107"/>
                  </a:lnTo>
                  <a:lnTo>
                    <a:pt x="569" y="107"/>
                  </a:lnTo>
                  <a:lnTo>
                    <a:pt x="569" y="109"/>
                  </a:lnTo>
                  <a:lnTo>
                    <a:pt x="567" y="109"/>
                  </a:lnTo>
                  <a:lnTo>
                    <a:pt x="567" y="109"/>
                  </a:lnTo>
                  <a:lnTo>
                    <a:pt x="565" y="109"/>
                  </a:lnTo>
                  <a:lnTo>
                    <a:pt x="565" y="107"/>
                  </a:lnTo>
                  <a:lnTo>
                    <a:pt x="565" y="107"/>
                  </a:lnTo>
                  <a:lnTo>
                    <a:pt x="563" y="109"/>
                  </a:lnTo>
                  <a:lnTo>
                    <a:pt x="561" y="111"/>
                  </a:lnTo>
                  <a:lnTo>
                    <a:pt x="559" y="111"/>
                  </a:lnTo>
                  <a:lnTo>
                    <a:pt x="559" y="111"/>
                  </a:lnTo>
                  <a:lnTo>
                    <a:pt x="557" y="109"/>
                  </a:lnTo>
                  <a:lnTo>
                    <a:pt x="557" y="109"/>
                  </a:lnTo>
                  <a:lnTo>
                    <a:pt x="555" y="109"/>
                  </a:lnTo>
                  <a:lnTo>
                    <a:pt x="553" y="109"/>
                  </a:lnTo>
                  <a:lnTo>
                    <a:pt x="549" y="109"/>
                  </a:lnTo>
                  <a:lnTo>
                    <a:pt x="544" y="109"/>
                  </a:lnTo>
                  <a:lnTo>
                    <a:pt x="540" y="107"/>
                  </a:lnTo>
                  <a:lnTo>
                    <a:pt x="540" y="105"/>
                  </a:lnTo>
                  <a:lnTo>
                    <a:pt x="540" y="105"/>
                  </a:lnTo>
                  <a:lnTo>
                    <a:pt x="540" y="103"/>
                  </a:lnTo>
                  <a:lnTo>
                    <a:pt x="540" y="103"/>
                  </a:lnTo>
                  <a:lnTo>
                    <a:pt x="538" y="101"/>
                  </a:lnTo>
                  <a:lnTo>
                    <a:pt x="538" y="101"/>
                  </a:lnTo>
                  <a:lnTo>
                    <a:pt x="536" y="101"/>
                  </a:lnTo>
                  <a:lnTo>
                    <a:pt x="536" y="101"/>
                  </a:lnTo>
                  <a:lnTo>
                    <a:pt x="532" y="97"/>
                  </a:lnTo>
                  <a:lnTo>
                    <a:pt x="532" y="97"/>
                  </a:lnTo>
                  <a:lnTo>
                    <a:pt x="530" y="97"/>
                  </a:lnTo>
                  <a:lnTo>
                    <a:pt x="530" y="97"/>
                  </a:lnTo>
                  <a:lnTo>
                    <a:pt x="530" y="97"/>
                  </a:lnTo>
                  <a:lnTo>
                    <a:pt x="532" y="97"/>
                  </a:lnTo>
                  <a:lnTo>
                    <a:pt x="532" y="94"/>
                  </a:lnTo>
                  <a:lnTo>
                    <a:pt x="532" y="94"/>
                  </a:lnTo>
                  <a:lnTo>
                    <a:pt x="534" y="92"/>
                  </a:lnTo>
                  <a:lnTo>
                    <a:pt x="532" y="92"/>
                  </a:lnTo>
                  <a:lnTo>
                    <a:pt x="532" y="90"/>
                  </a:lnTo>
                  <a:lnTo>
                    <a:pt x="532" y="88"/>
                  </a:lnTo>
                  <a:lnTo>
                    <a:pt x="530" y="88"/>
                  </a:lnTo>
                  <a:lnTo>
                    <a:pt x="528" y="90"/>
                  </a:lnTo>
                  <a:lnTo>
                    <a:pt x="526" y="92"/>
                  </a:lnTo>
                  <a:lnTo>
                    <a:pt x="522" y="94"/>
                  </a:lnTo>
                  <a:lnTo>
                    <a:pt x="520" y="97"/>
                  </a:lnTo>
                  <a:lnTo>
                    <a:pt x="518" y="97"/>
                  </a:lnTo>
                  <a:lnTo>
                    <a:pt x="512" y="99"/>
                  </a:lnTo>
                  <a:lnTo>
                    <a:pt x="510" y="99"/>
                  </a:lnTo>
                  <a:lnTo>
                    <a:pt x="506" y="99"/>
                  </a:lnTo>
                  <a:lnTo>
                    <a:pt x="506" y="99"/>
                  </a:lnTo>
                  <a:lnTo>
                    <a:pt x="506" y="99"/>
                  </a:lnTo>
                  <a:lnTo>
                    <a:pt x="508" y="97"/>
                  </a:lnTo>
                  <a:lnTo>
                    <a:pt x="510" y="97"/>
                  </a:lnTo>
                  <a:lnTo>
                    <a:pt x="510" y="97"/>
                  </a:lnTo>
                  <a:lnTo>
                    <a:pt x="508" y="94"/>
                  </a:lnTo>
                  <a:lnTo>
                    <a:pt x="508" y="94"/>
                  </a:lnTo>
                  <a:lnTo>
                    <a:pt x="504" y="92"/>
                  </a:lnTo>
                  <a:lnTo>
                    <a:pt x="501" y="90"/>
                  </a:lnTo>
                  <a:lnTo>
                    <a:pt x="504" y="90"/>
                  </a:lnTo>
                  <a:lnTo>
                    <a:pt x="504" y="90"/>
                  </a:lnTo>
                  <a:lnTo>
                    <a:pt x="506" y="92"/>
                  </a:lnTo>
                  <a:lnTo>
                    <a:pt x="506" y="88"/>
                  </a:lnTo>
                  <a:lnTo>
                    <a:pt x="506" y="84"/>
                  </a:lnTo>
                  <a:lnTo>
                    <a:pt x="506" y="80"/>
                  </a:lnTo>
                  <a:lnTo>
                    <a:pt x="506" y="78"/>
                  </a:lnTo>
                  <a:lnTo>
                    <a:pt x="506" y="76"/>
                  </a:lnTo>
                  <a:lnTo>
                    <a:pt x="506" y="76"/>
                  </a:lnTo>
                  <a:lnTo>
                    <a:pt x="508" y="74"/>
                  </a:lnTo>
                  <a:lnTo>
                    <a:pt x="506" y="74"/>
                  </a:lnTo>
                  <a:lnTo>
                    <a:pt x="506" y="74"/>
                  </a:lnTo>
                  <a:lnTo>
                    <a:pt x="506" y="74"/>
                  </a:lnTo>
                  <a:lnTo>
                    <a:pt x="506" y="72"/>
                  </a:lnTo>
                  <a:lnTo>
                    <a:pt x="508" y="70"/>
                  </a:lnTo>
                  <a:lnTo>
                    <a:pt x="508" y="68"/>
                  </a:lnTo>
                  <a:lnTo>
                    <a:pt x="508" y="66"/>
                  </a:lnTo>
                  <a:lnTo>
                    <a:pt x="508" y="66"/>
                  </a:lnTo>
                  <a:lnTo>
                    <a:pt x="508" y="64"/>
                  </a:lnTo>
                  <a:lnTo>
                    <a:pt x="510" y="64"/>
                  </a:lnTo>
                  <a:lnTo>
                    <a:pt x="510" y="64"/>
                  </a:lnTo>
                  <a:lnTo>
                    <a:pt x="510" y="66"/>
                  </a:lnTo>
                  <a:lnTo>
                    <a:pt x="512" y="68"/>
                  </a:lnTo>
                  <a:lnTo>
                    <a:pt x="512" y="66"/>
                  </a:lnTo>
                  <a:lnTo>
                    <a:pt x="514" y="66"/>
                  </a:lnTo>
                  <a:lnTo>
                    <a:pt x="514" y="64"/>
                  </a:lnTo>
                  <a:lnTo>
                    <a:pt x="516" y="64"/>
                  </a:lnTo>
                  <a:lnTo>
                    <a:pt x="514" y="62"/>
                  </a:lnTo>
                  <a:lnTo>
                    <a:pt x="514" y="62"/>
                  </a:lnTo>
                  <a:lnTo>
                    <a:pt x="512" y="62"/>
                  </a:lnTo>
                  <a:lnTo>
                    <a:pt x="512" y="60"/>
                  </a:lnTo>
                  <a:lnTo>
                    <a:pt x="514" y="58"/>
                  </a:lnTo>
                  <a:lnTo>
                    <a:pt x="514" y="58"/>
                  </a:lnTo>
                  <a:lnTo>
                    <a:pt x="514" y="60"/>
                  </a:lnTo>
                  <a:lnTo>
                    <a:pt x="514" y="60"/>
                  </a:lnTo>
                  <a:lnTo>
                    <a:pt x="516" y="60"/>
                  </a:lnTo>
                  <a:lnTo>
                    <a:pt x="516" y="58"/>
                  </a:lnTo>
                  <a:lnTo>
                    <a:pt x="516" y="58"/>
                  </a:lnTo>
                  <a:lnTo>
                    <a:pt x="518" y="58"/>
                  </a:lnTo>
                  <a:lnTo>
                    <a:pt x="518" y="58"/>
                  </a:lnTo>
                  <a:lnTo>
                    <a:pt x="520" y="56"/>
                  </a:lnTo>
                  <a:lnTo>
                    <a:pt x="520" y="56"/>
                  </a:lnTo>
                  <a:lnTo>
                    <a:pt x="522" y="53"/>
                  </a:lnTo>
                  <a:lnTo>
                    <a:pt x="522" y="51"/>
                  </a:lnTo>
                  <a:lnTo>
                    <a:pt x="518" y="39"/>
                  </a:lnTo>
                  <a:lnTo>
                    <a:pt x="518" y="39"/>
                  </a:lnTo>
                  <a:lnTo>
                    <a:pt x="518" y="39"/>
                  </a:lnTo>
                  <a:lnTo>
                    <a:pt x="518" y="37"/>
                  </a:lnTo>
                  <a:lnTo>
                    <a:pt x="516" y="35"/>
                  </a:lnTo>
                  <a:lnTo>
                    <a:pt x="516" y="35"/>
                  </a:lnTo>
                  <a:lnTo>
                    <a:pt x="516" y="35"/>
                  </a:lnTo>
                  <a:lnTo>
                    <a:pt x="514" y="35"/>
                  </a:lnTo>
                  <a:lnTo>
                    <a:pt x="512" y="33"/>
                  </a:lnTo>
                  <a:lnTo>
                    <a:pt x="510" y="33"/>
                  </a:lnTo>
                  <a:lnTo>
                    <a:pt x="510" y="31"/>
                  </a:lnTo>
                  <a:lnTo>
                    <a:pt x="508" y="31"/>
                  </a:lnTo>
                  <a:lnTo>
                    <a:pt x="506" y="31"/>
                  </a:lnTo>
                  <a:lnTo>
                    <a:pt x="501" y="31"/>
                  </a:lnTo>
                  <a:lnTo>
                    <a:pt x="501" y="31"/>
                  </a:lnTo>
                  <a:lnTo>
                    <a:pt x="499" y="31"/>
                  </a:lnTo>
                  <a:lnTo>
                    <a:pt x="499" y="29"/>
                  </a:lnTo>
                  <a:lnTo>
                    <a:pt x="497" y="27"/>
                  </a:lnTo>
                  <a:lnTo>
                    <a:pt x="497" y="27"/>
                  </a:lnTo>
                  <a:lnTo>
                    <a:pt x="495" y="25"/>
                  </a:lnTo>
                  <a:lnTo>
                    <a:pt x="493" y="25"/>
                  </a:lnTo>
                  <a:lnTo>
                    <a:pt x="489" y="23"/>
                  </a:lnTo>
                  <a:lnTo>
                    <a:pt x="483" y="25"/>
                  </a:lnTo>
                  <a:lnTo>
                    <a:pt x="481" y="25"/>
                  </a:lnTo>
                  <a:lnTo>
                    <a:pt x="477" y="21"/>
                  </a:lnTo>
                  <a:lnTo>
                    <a:pt x="475" y="21"/>
                  </a:lnTo>
                  <a:lnTo>
                    <a:pt x="473" y="19"/>
                  </a:lnTo>
                  <a:lnTo>
                    <a:pt x="473" y="19"/>
                  </a:lnTo>
                  <a:lnTo>
                    <a:pt x="473" y="17"/>
                  </a:lnTo>
                  <a:lnTo>
                    <a:pt x="475" y="12"/>
                  </a:lnTo>
                  <a:lnTo>
                    <a:pt x="477" y="10"/>
                  </a:lnTo>
                  <a:lnTo>
                    <a:pt x="477" y="8"/>
                  </a:lnTo>
                  <a:lnTo>
                    <a:pt x="475" y="8"/>
                  </a:lnTo>
                  <a:lnTo>
                    <a:pt x="473" y="6"/>
                  </a:lnTo>
                  <a:lnTo>
                    <a:pt x="471" y="6"/>
                  </a:lnTo>
                  <a:lnTo>
                    <a:pt x="469" y="6"/>
                  </a:lnTo>
                  <a:lnTo>
                    <a:pt x="467" y="4"/>
                  </a:lnTo>
                  <a:lnTo>
                    <a:pt x="467" y="4"/>
                  </a:lnTo>
                  <a:lnTo>
                    <a:pt x="463" y="2"/>
                  </a:lnTo>
                  <a:lnTo>
                    <a:pt x="458" y="2"/>
                  </a:lnTo>
                  <a:lnTo>
                    <a:pt x="456" y="2"/>
                  </a:lnTo>
                  <a:lnTo>
                    <a:pt x="452" y="4"/>
                  </a:lnTo>
                  <a:lnTo>
                    <a:pt x="450" y="2"/>
                  </a:lnTo>
                  <a:lnTo>
                    <a:pt x="450" y="4"/>
                  </a:lnTo>
                  <a:lnTo>
                    <a:pt x="450" y="4"/>
                  </a:lnTo>
                  <a:lnTo>
                    <a:pt x="450" y="8"/>
                  </a:lnTo>
                  <a:lnTo>
                    <a:pt x="448" y="12"/>
                  </a:lnTo>
                  <a:lnTo>
                    <a:pt x="448" y="19"/>
                  </a:lnTo>
                  <a:lnTo>
                    <a:pt x="446" y="21"/>
                  </a:lnTo>
                  <a:lnTo>
                    <a:pt x="446" y="23"/>
                  </a:lnTo>
                  <a:lnTo>
                    <a:pt x="446" y="25"/>
                  </a:lnTo>
                  <a:lnTo>
                    <a:pt x="446" y="23"/>
                  </a:lnTo>
                  <a:lnTo>
                    <a:pt x="444" y="23"/>
                  </a:lnTo>
                  <a:lnTo>
                    <a:pt x="440" y="21"/>
                  </a:lnTo>
                  <a:lnTo>
                    <a:pt x="434" y="19"/>
                  </a:lnTo>
                  <a:lnTo>
                    <a:pt x="428" y="15"/>
                  </a:lnTo>
                  <a:lnTo>
                    <a:pt x="424" y="12"/>
                  </a:lnTo>
                  <a:lnTo>
                    <a:pt x="417" y="8"/>
                  </a:lnTo>
                  <a:lnTo>
                    <a:pt x="411" y="6"/>
                  </a:lnTo>
                  <a:lnTo>
                    <a:pt x="407" y="4"/>
                  </a:lnTo>
                  <a:lnTo>
                    <a:pt x="401" y="0"/>
                  </a:lnTo>
                  <a:lnTo>
                    <a:pt x="399" y="0"/>
                  </a:lnTo>
                  <a:lnTo>
                    <a:pt x="399" y="0"/>
                  </a:lnTo>
                  <a:lnTo>
                    <a:pt x="397" y="2"/>
                  </a:lnTo>
                  <a:lnTo>
                    <a:pt x="397" y="4"/>
                  </a:lnTo>
                  <a:lnTo>
                    <a:pt x="397" y="4"/>
                  </a:lnTo>
                  <a:lnTo>
                    <a:pt x="397" y="6"/>
                  </a:lnTo>
                  <a:lnTo>
                    <a:pt x="399" y="8"/>
                  </a:lnTo>
                  <a:lnTo>
                    <a:pt x="399" y="10"/>
                  </a:lnTo>
                  <a:lnTo>
                    <a:pt x="399" y="12"/>
                  </a:lnTo>
                  <a:lnTo>
                    <a:pt x="399" y="12"/>
                  </a:lnTo>
                  <a:lnTo>
                    <a:pt x="399" y="12"/>
                  </a:lnTo>
                  <a:lnTo>
                    <a:pt x="399" y="17"/>
                  </a:lnTo>
                  <a:lnTo>
                    <a:pt x="397" y="19"/>
                  </a:lnTo>
                  <a:lnTo>
                    <a:pt x="397" y="21"/>
                  </a:lnTo>
                  <a:lnTo>
                    <a:pt x="397" y="21"/>
                  </a:lnTo>
                  <a:lnTo>
                    <a:pt x="397" y="21"/>
                  </a:lnTo>
                  <a:lnTo>
                    <a:pt x="397" y="21"/>
                  </a:lnTo>
                  <a:lnTo>
                    <a:pt x="397" y="23"/>
                  </a:lnTo>
                  <a:lnTo>
                    <a:pt x="397" y="23"/>
                  </a:lnTo>
                  <a:lnTo>
                    <a:pt x="397" y="23"/>
                  </a:lnTo>
                  <a:lnTo>
                    <a:pt x="397" y="25"/>
                  </a:lnTo>
                  <a:lnTo>
                    <a:pt x="397" y="25"/>
                  </a:lnTo>
                  <a:lnTo>
                    <a:pt x="397" y="27"/>
                  </a:lnTo>
                  <a:lnTo>
                    <a:pt x="397" y="27"/>
                  </a:lnTo>
                  <a:lnTo>
                    <a:pt x="397" y="29"/>
                  </a:lnTo>
                  <a:lnTo>
                    <a:pt x="397" y="29"/>
                  </a:lnTo>
                  <a:lnTo>
                    <a:pt x="397" y="29"/>
                  </a:lnTo>
                  <a:lnTo>
                    <a:pt x="397" y="31"/>
                  </a:lnTo>
                  <a:lnTo>
                    <a:pt x="397" y="31"/>
                  </a:lnTo>
                  <a:lnTo>
                    <a:pt x="397" y="31"/>
                  </a:lnTo>
                  <a:lnTo>
                    <a:pt x="397" y="31"/>
                  </a:lnTo>
                  <a:lnTo>
                    <a:pt x="397" y="33"/>
                  </a:lnTo>
                  <a:lnTo>
                    <a:pt x="395" y="37"/>
                  </a:lnTo>
                  <a:lnTo>
                    <a:pt x="393" y="39"/>
                  </a:lnTo>
                  <a:lnTo>
                    <a:pt x="391" y="43"/>
                  </a:lnTo>
                  <a:lnTo>
                    <a:pt x="389" y="47"/>
                  </a:lnTo>
                  <a:lnTo>
                    <a:pt x="389" y="47"/>
                  </a:lnTo>
                  <a:lnTo>
                    <a:pt x="389" y="47"/>
                  </a:lnTo>
                  <a:lnTo>
                    <a:pt x="389" y="47"/>
                  </a:lnTo>
                  <a:lnTo>
                    <a:pt x="389" y="47"/>
                  </a:lnTo>
                  <a:lnTo>
                    <a:pt x="389" y="49"/>
                  </a:lnTo>
                  <a:lnTo>
                    <a:pt x="389" y="49"/>
                  </a:lnTo>
                  <a:lnTo>
                    <a:pt x="387" y="53"/>
                  </a:lnTo>
                  <a:lnTo>
                    <a:pt x="387" y="53"/>
                  </a:lnTo>
                  <a:lnTo>
                    <a:pt x="387" y="53"/>
                  </a:lnTo>
                  <a:lnTo>
                    <a:pt x="385" y="56"/>
                  </a:lnTo>
                  <a:lnTo>
                    <a:pt x="385" y="56"/>
                  </a:lnTo>
                  <a:lnTo>
                    <a:pt x="385" y="56"/>
                  </a:lnTo>
                  <a:lnTo>
                    <a:pt x="383" y="56"/>
                  </a:lnTo>
                  <a:lnTo>
                    <a:pt x="383" y="58"/>
                  </a:lnTo>
                  <a:lnTo>
                    <a:pt x="383" y="60"/>
                  </a:lnTo>
                  <a:lnTo>
                    <a:pt x="383" y="60"/>
                  </a:lnTo>
                  <a:lnTo>
                    <a:pt x="383" y="60"/>
                  </a:lnTo>
                  <a:lnTo>
                    <a:pt x="381" y="62"/>
                  </a:lnTo>
                  <a:lnTo>
                    <a:pt x="379" y="62"/>
                  </a:lnTo>
                  <a:lnTo>
                    <a:pt x="379" y="62"/>
                  </a:lnTo>
                  <a:lnTo>
                    <a:pt x="379" y="64"/>
                  </a:lnTo>
                  <a:lnTo>
                    <a:pt x="379" y="62"/>
                  </a:lnTo>
                  <a:lnTo>
                    <a:pt x="377" y="62"/>
                  </a:lnTo>
                  <a:lnTo>
                    <a:pt x="377" y="62"/>
                  </a:lnTo>
                  <a:lnTo>
                    <a:pt x="377" y="62"/>
                  </a:lnTo>
                  <a:lnTo>
                    <a:pt x="377" y="62"/>
                  </a:lnTo>
                  <a:lnTo>
                    <a:pt x="377" y="62"/>
                  </a:lnTo>
                  <a:lnTo>
                    <a:pt x="377" y="62"/>
                  </a:lnTo>
                  <a:lnTo>
                    <a:pt x="374" y="62"/>
                  </a:lnTo>
                  <a:lnTo>
                    <a:pt x="374" y="66"/>
                  </a:lnTo>
                  <a:lnTo>
                    <a:pt x="372" y="70"/>
                  </a:lnTo>
                  <a:lnTo>
                    <a:pt x="370" y="74"/>
                  </a:lnTo>
                  <a:lnTo>
                    <a:pt x="368" y="78"/>
                  </a:lnTo>
                  <a:lnTo>
                    <a:pt x="368" y="78"/>
                  </a:lnTo>
                  <a:lnTo>
                    <a:pt x="368" y="78"/>
                  </a:lnTo>
                  <a:lnTo>
                    <a:pt x="366" y="78"/>
                  </a:lnTo>
                  <a:lnTo>
                    <a:pt x="364" y="78"/>
                  </a:lnTo>
                  <a:lnTo>
                    <a:pt x="360" y="76"/>
                  </a:lnTo>
                  <a:lnTo>
                    <a:pt x="356" y="74"/>
                  </a:lnTo>
                  <a:lnTo>
                    <a:pt x="356" y="74"/>
                  </a:lnTo>
                  <a:lnTo>
                    <a:pt x="356" y="76"/>
                  </a:lnTo>
                  <a:lnTo>
                    <a:pt x="354" y="80"/>
                  </a:lnTo>
                  <a:lnTo>
                    <a:pt x="352" y="82"/>
                  </a:lnTo>
                  <a:lnTo>
                    <a:pt x="352" y="82"/>
                  </a:lnTo>
                  <a:lnTo>
                    <a:pt x="352" y="82"/>
                  </a:lnTo>
                  <a:lnTo>
                    <a:pt x="352" y="84"/>
                  </a:lnTo>
                  <a:lnTo>
                    <a:pt x="352" y="84"/>
                  </a:lnTo>
                  <a:lnTo>
                    <a:pt x="352" y="86"/>
                  </a:lnTo>
                  <a:lnTo>
                    <a:pt x="352" y="88"/>
                  </a:lnTo>
                  <a:lnTo>
                    <a:pt x="350" y="88"/>
                  </a:lnTo>
                  <a:lnTo>
                    <a:pt x="352" y="94"/>
                  </a:lnTo>
                  <a:lnTo>
                    <a:pt x="352" y="94"/>
                  </a:lnTo>
                  <a:lnTo>
                    <a:pt x="350" y="94"/>
                  </a:lnTo>
                  <a:lnTo>
                    <a:pt x="350" y="97"/>
                  </a:lnTo>
                  <a:lnTo>
                    <a:pt x="350" y="97"/>
                  </a:lnTo>
                  <a:lnTo>
                    <a:pt x="348" y="99"/>
                  </a:lnTo>
                  <a:lnTo>
                    <a:pt x="348" y="99"/>
                  </a:lnTo>
                  <a:lnTo>
                    <a:pt x="348" y="101"/>
                  </a:lnTo>
                  <a:lnTo>
                    <a:pt x="348" y="101"/>
                  </a:lnTo>
                  <a:lnTo>
                    <a:pt x="348" y="103"/>
                  </a:lnTo>
                  <a:lnTo>
                    <a:pt x="346" y="105"/>
                  </a:lnTo>
                  <a:lnTo>
                    <a:pt x="346" y="107"/>
                  </a:lnTo>
                  <a:lnTo>
                    <a:pt x="346" y="107"/>
                  </a:lnTo>
                  <a:lnTo>
                    <a:pt x="346" y="107"/>
                  </a:lnTo>
                  <a:lnTo>
                    <a:pt x="346" y="107"/>
                  </a:lnTo>
                  <a:lnTo>
                    <a:pt x="346" y="111"/>
                  </a:lnTo>
                  <a:lnTo>
                    <a:pt x="346" y="111"/>
                  </a:lnTo>
                  <a:lnTo>
                    <a:pt x="346" y="113"/>
                  </a:lnTo>
                  <a:lnTo>
                    <a:pt x="344" y="115"/>
                  </a:lnTo>
                  <a:lnTo>
                    <a:pt x="344" y="119"/>
                  </a:lnTo>
                  <a:lnTo>
                    <a:pt x="340" y="123"/>
                  </a:lnTo>
                  <a:lnTo>
                    <a:pt x="340" y="123"/>
                  </a:lnTo>
                  <a:lnTo>
                    <a:pt x="340" y="123"/>
                  </a:lnTo>
                  <a:lnTo>
                    <a:pt x="340" y="123"/>
                  </a:lnTo>
                  <a:lnTo>
                    <a:pt x="334" y="123"/>
                  </a:lnTo>
                  <a:lnTo>
                    <a:pt x="329" y="123"/>
                  </a:lnTo>
                  <a:lnTo>
                    <a:pt x="325" y="121"/>
                  </a:lnTo>
                  <a:lnTo>
                    <a:pt x="321" y="121"/>
                  </a:lnTo>
                  <a:lnTo>
                    <a:pt x="321" y="121"/>
                  </a:lnTo>
                  <a:lnTo>
                    <a:pt x="321" y="121"/>
                  </a:lnTo>
                  <a:lnTo>
                    <a:pt x="321" y="121"/>
                  </a:lnTo>
                  <a:lnTo>
                    <a:pt x="321" y="119"/>
                  </a:lnTo>
                  <a:lnTo>
                    <a:pt x="321" y="119"/>
                  </a:lnTo>
                  <a:lnTo>
                    <a:pt x="321" y="119"/>
                  </a:lnTo>
                  <a:lnTo>
                    <a:pt x="321" y="119"/>
                  </a:lnTo>
                  <a:lnTo>
                    <a:pt x="321" y="119"/>
                  </a:lnTo>
                  <a:lnTo>
                    <a:pt x="315" y="113"/>
                  </a:lnTo>
                  <a:lnTo>
                    <a:pt x="315" y="113"/>
                  </a:lnTo>
                  <a:lnTo>
                    <a:pt x="315" y="113"/>
                  </a:lnTo>
                  <a:lnTo>
                    <a:pt x="315" y="113"/>
                  </a:lnTo>
                  <a:lnTo>
                    <a:pt x="307" y="111"/>
                  </a:lnTo>
                  <a:lnTo>
                    <a:pt x="307" y="111"/>
                  </a:lnTo>
                  <a:lnTo>
                    <a:pt x="307" y="113"/>
                  </a:lnTo>
                  <a:lnTo>
                    <a:pt x="307" y="113"/>
                  </a:lnTo>
                  <a:lnTo>
                    <a:pt x="307" y="115"/>
                  </a:lnTo>
                  <a:lnTo>
                    <a:pt x="307" y="115"/>
                  </a:lnTo>
                  <a:lnTo>
                    <a:pt x="307" y="117"/>
                  </a:lnTo>
                  <a:lnTo>
                    <a:pt x="307" y="117"/>
                  </a:lnTo>
                  <a:lnTo>
                    <a:pt x="307" y="117"/>
                  </a:lnTo>
                  <a:lnTo>
                    <a:pt x="307" y="119"/>
                  </a:lnTo>
                  <a:lnTo>
                    <a:pt x="307" y="119"/>
                  </a:lnTo>
                  <a:lnTo>
                    <a:pt x="305" y="121"/>
                  </a:lnTo>
                  <a:lnTo>
                    <a:pt x="305" y="123"/>
                  </a:lnTo>
                  <a:lnTo>
                    <a:pt x="305" y="123"/>
                  </a:lnTo>
                  <a:lnTo>
                    <a:pt x="305" y="127"/>
                  </a:lnTo>
                  <a:lnTo>
                    <a:pt x="305" y="129"/>
                  </a:lnTo>
                  <a:lnTo>
                    <a:pt x="305" y="129"/>
                  </a:lnTo>
                  <a:lnTo>
                    <a:pt x="305" y="131"/>
                  </a:lnTo>
                  <a:lnTo>
                    <a:pt x="305" y="133"/>
                  </a:lnTo>
                  <a:lnTo>
                    <a:pt x="305" y="135"/>
                  </a:lnTo>
                  <a:lnTo>
                    <a:pt x="303" y="137"/>
                  </a:lnTo>
                  <a:lnTo>
                    <a:pt x="303" y="137"/>
                  </a:lnTo>
                  <a:lnTo>
                    <a:pt x="301" y="137"/>
                  </a:lnTo>
                  <a:lnTo>
                    <a:pt x="301" y="137"/>
                  </a:lnTo>
                  <a:lnTo>
                    <a:pt x="301" y="140"/>
                  </a:lnTo>
                  <a:lnTo>
                    <a:pt x="301" y="140"/>
                  </a:lnTo>
                  <a:lnTo>
                    <a:pt x="301" y="142"/>
                  </a:lnTo>
                  <a:lnTo>
                    <a:pt x="301" y="142"/>
                  </a:lnTo>
                  <a:lnTo>
                    <a:pt x="299" y="144"/>
                  </a:lnTo>
                  <a:lnTo>
                    <a:pt x="299" y="144"/>
                  </a:lnTo>
                  <a:lnTo>
                    <a:pt x="301" y="146"/>
                  </a:lnTo>
                  <a:lnTo>
                    <a:pt x="301" y="146"/>
                  </a:lnTo>
                  <a:lnTo>
                    <a:pt x="301" y="146"/>
                  </a:lnTo>
                  <a:lnTo>
                    <a:pt x="301" y="148"/>
                  </a:lnTo>
                  <a:lnTo>
                    <a:pt x="301" y="148"/>
                  </a:lnTo>
                  <a:lnTo>
                    <a:pt x="301" y="148"/>
                  </a:lnTo>
                  <a:lnTo>
                    <a:pt x="299" y="150"/>
                  </a:lnTo>
                  <a:lnTo>
                    <a:pt x="297" y="152"/>
                  </a:lnTo>
                  <a:lnTo>
                    <a:pt x="297" y="152"/>
                  </a:lnTo>
                  <a:lnTo>
                    <a:pt x="295" y="156"/>
                  </a:lnTo>
                  <a:lnTo>
                    <a:pt x="293" y="160"/>
                  </a:lnTo>
                  <a:lnTo>
                    <a:pt x="293" y="160"/>
                  </a:lnTo>
                  <a:lnTo>
                    <a:pt x="293" y="160"/>
                  </a:lnTo>
                  <a:lnTo>
                    <a:pt x="293" y="162"/>
                  </a:lnTo>
                  <a:lnTo>
                    <a:pt x="293" y="162"/>
                  </a:lnTo>
                  <a:lnTo>
                    <a:pt x="293" y="162"/>
                  </a:lnTo>
                  <a:lnTo>
                    <a:pt x="293" y="170"/>
                  </a:lnTo>
                  <a:lnTo>
                    <a:pt x="291" y="174"/>
                  </a:lnTo>
                  <a:lnTo>
                    <a:pt x="288" y="178"/>
                  </a:lnTo>
                  <a:lnTo>
                    <a:pt x="286" y="183"/>
                  </a:lnTo>
                  <a:lnTo>
                    <a:pt x="282" y="189"/>
                  </a:lnTo>
                  <a:lnTo>
                    <a:pt x="280" y="193"/>
                  </a:lnTo>
                  <a:lnTo>
                    <a:pt x="278" y="197"/>
                  </a:lnTo>
                  <a:lnTo>
                    <a:pt x="274" y="203"/>
                  </a:lnTo>
                  <a:lnTo>
                    <a:pt x="274" y="203"/>
                  </a:lnTo>
                  <a:lnTo>
                    <a:pt x="274" y="205"/>
                  </a:lnTo>
                  <a:lnTo>
                    <a:pt x="274" y="205"/>
                  </a:lnTo>
                  <a:lnTo>
                    <a:pt x="272" y="211"/>
                  </a:lnTo>
                  <a:lnTo>
                    <a:pt x="270" y="217"/>
                  </a:lnTo>
                  <a:lnTo>
                    <a:pt x="270" y="217"/>
                  </a:lnTo>
                  <a:lnTo>
                    <a:pt x="270" y="219"/>
                  </a:lnTo>
                  <a:lnTo>
                    <a:pt x="270" y="219"/>
                  </a:lnTo>
                  <a:lnTo>
                    <a:pt x="270" y="219"/>
                  </a:lnTo>
                  <a:lnTo>
                    <a:pt x="272" y="219"/>
                  </a:lnTo>
                  <a:lnTo>
                    <a:pt x="272" y="219"/>
                  </a:lnTo>
                  <a:lnTo>
                    <a:pt x="276" y="222"/>
                  </a:lnTo>
                  <a:lnTo>
                    <a:pt x="276" y="222"/>
                  </a:lnTo>
                  <a:lnTo>
                    <a:pt x="276" y="222"/>
                  </a:lnTo>
                  <a:lnTo>
                    <a:pt x="276" y="224"/>
                  </a:lnTo>
                  <a:lnTo>
                    <a:pt x="276" y="224"/>
                  </a:lnTo>
                  <a:lnTo>
                    <a:pt x="276" y="224"/>
                  </a:lnTo>
                  <a:lnTo>
                    <a:pt x="276" y="226"/>
                  </a:lnTo>
                  <a:lnTo>
                    <a:pt x="274" y="226"/>
                  </a:lnTo>
                  <a:lnTo>
                    <a:pt x="272" y="228"/>
                  </a:lnTo>
                  <a:lnTo>
                    <a:pt x="272" y="228"/>
                  </a:lnTo>
                  <a:lnTo>
                    <a:pt x="272" y="228"/>
                  </a:lnTo>
                  <a:lnTo>
                    <a:pt x="272" y="230"/>
                  </a:lnTo>
                  <a:lnTo>
                    <a:pt x="270" y="230"/>
                  </a:lnTo>
                  <a:lnTo>
                    <a:pt x="270" y="232"/>
                  </a:lnTo>
                  <a:lnTo>
                    <a:pt x="270" y="232"/>
                  </a:lnTo>
                  <a:lnTo>
                    <a:pt x="272" y="232"/>
                  </a:lnTo>
                  <a:lnTo>
                    <a:pt x="272" y="232"/>
                  </a:lnTo>
                  <a:lnTo>
                    <a:pt x="272" y="232"/>
                  </a:lnTo>
                  <a:lnTo>
                    <a:pt x="272" y="234"/>
                  </a:lnTo>
                  <a:lnTo>
                    <a:pt x="274" y="234"/>
                  </a:lnTo>
                  <a:lnTo>
                    <a:pt x="274" y="234"/>
                  </a:lnTo>
                  <a:lnTo>
                    <a:pt x="274" y="236"/>
                  </a:lnTo>
                  <a:lnTo>
                    <a:pt x="272" y="236"/>
                  </a:lnTo>
                  <a:lnTo>
                    <a:pt x="264" y="244"/>
                  </a:lnTo>
                  <a:lnTo>
                    <a:pt x="262" y="246"/>
                  </a:lnTo>
                  <a:lnTo>
                    <a:pt x="262" y="246"/>
                  </a:lnTo>
                  <a:lnTo>
                    <a:pt x="260" y="246"/>
                  </a:lnTo>
                  <a:lnTo>
                    <a:pt x="260" y="246"/>
                  </a:lnTo>
                  <a:lnTo>
                    <a:pt x="260" y="246"/>
                  </a:lnTo>
                  <a:lnTo>
                    <a:pt x="260" y="246"/>
                  </a:lnTo>
                  <a:lnTo>
                    <a:pt x="260" y="246"/>
                  </a:lnTo>
                  <a:lnTo>
                    <a:pt x="258" y="246"/>
                  </a:lnTo>
                  <a:lnTo>
                    <a:pt x="258" y="246"/>
                  </a:lnTo>
                  <a:lnTo>
                    <a:pt x="258" y="246"/>
                  </a:lnTo>
                  <a:lnTo>
                    <a:pt x="258" y="244"/>
                  </a:lnTo>
                  <a:lnTo>
                    <a:pt x="258" y="244"/>
                  </a:lnTo>
                  <a:lnTo>
                    <a:pt x="258" y="244"/>
                  </a:lnTo>
                  <a:lnTo>
                    <a:pt x="258" y="244"/>
                  </a:lnTo>
                  <a:lnTo>
                    <a:pt x="256" y="244"/>
                  </a:lnTo>
                  <a:lnTo>
                    <a:pt x="256" y="244"/>
                  </a:lnTo>
                  <a:lnTo>
                    <a:pt x="254" y="244"/>
                  </a:lnTo>
                  <a:lnTo>
                    <a:pt x="252" y="244"/>
                  </a:lnTo>
                  <a:lnTo>
                    <a:pt x="250" y="246"/>
                  </a:lnTo>
                  <a:lnTo>
                    <a:pt x="245" y="250"/>
                  </a:lnTo>
                  <a:lnTo>
                    <a:pt x="241" y="252"/>
                  </a:lnTo>
                  <a:lnTo>
                    <a:pt x="237" y="256"/>
                  </a:lnTo>
                  <a:lnTo>
                    <a:pt x="237" y="256"/>
                  </a:lnTo>
                  <a:lnTo>
                    <a:pt x="237" y="256"/>
                  </a:lnTo>
                  <a:lnTo>
                    <a:pt x="237" y="256"/>
                  </a:lnTo>
                  <a:lnTo>
                    <a:pt x="237" y="256"/>
                  </a:lnTo>
                  <a:lnTo>
                    <a:pt x="237" y="256"/>
                  </a:lnTo>
                  <a:lnTo>
                    <a:pt x="235" y="256"/>
                  </a:lnTo>
                  <a:lnTo>
                    <a:pt x="235" y="254"/>
                  </a:lnTo>
                  <a:lnTo>
                    <a:pt x="235" y="254"/>
                  </a:lnTo>
                  <a:lnTo>
                    <a:pt x="235" y="254"/>
                  </a:lnTo>
                  <a:lnTo>
                    <a:pt x="233" y="254"/>
                  </a:lnTo>
                  <a:lnTo>
                    <a:pt x="233" y="254"/>
                  </a:lnTo>
                  <a:lnTo>
                    <a:pt x="233" y="254"/>
                  </a:lnTo>
                  <a:lnTo>
                    <a:pt x="233" y="254"/>
                  </a:lnTo>
                  <a:lnTo>
                    <a:pt x="233" y="252"/>
                  </a:lnTo>
                  <a:lnTo>
                    <a:pt x="231" y="252"/>
                  </a:lnTo>
                  <a:lnTo>
                    <a:pt x="231" y="252"/>
                  </a:lnTo>
                  <a:lnTo>
                    <a:pt x="229" y="252"/>
                  </a:lnTo>
                  <a:lnTo>
                    <a:pt x="229" y="252"/>
                  </a:lnTo>
                  <a:lnTo>
                    <a:pt x="227" y="252"/>
                  </a:lnTo>
                  <a:lnTo>
                    <a:pt x="227" y="254"/>
                  </a:lnTo>
                  <a:lnTo>
                    <a:pt x="227" y="254"/>
                  </a:lnTo>
                  <a:lnTo>
                    <a:pt x="225" y="254"/>
                  </a:lnTo>
                  <a:lnTo>
                    <a:pt x="225" y="256"/>
                  </a:lnTo>
                  <a:lnTo>
                    <a:pt x="225" y="256"/>
                  </a:lnTo>
                  <a:lnTo>
                    <a:pt x="225" y="256"/>
                  </a:lnTo>
                  <a:lnTo>
                    <a:pt x="225" y="256"/>
                  </a:lnTo>
                  <a:lnTo>
                    <a:pt x="225" y="258"/>
                  </a:lnTo>
                  <a:lnTo>
                    <a:pt x="225" y="258"/>
                  </a:lnTo>
                  <a:lnTo>
                    <a:pt x="227" y="260"/>
                  </a:lnTo>
                  <a:lnTo>
                    <a:pt x="227" y="260"/>
                  </a:lnTo>
                  <a:lnTo>
                    <a:pt x="227" y="262"/>
                  </a:lnTo>
                  <a:lnTo>
                    <a:pt x="227" y="262"/>
                  </a:lnTo>
                  <a:lnTo>
                    <a:pt x="227" y="265"/>
                  </a:lnTo>
                  <a:lnTo>
                    <a:pt x="227" y="265"/>
                  </a:lnTo>
                  <a:lnTo>
                    <a:pt x="221" y="269"/>
                  </a:lnTo>
                  <a:lnTo>
                    <a:pt x="221" y="269"/>
                  </a:lnTo>
                  <a:lnTo>
                    <a:pt x="221" y="269"/>
                  </a:lnTo>
                  <a:lnTo>
                    <a:pt x="219" y="269"/>
                  </a:lnTo>
                  <a:lnTo>
                    <a:pt x="219" y="269"/>
                  </a:lnTo>
                  <a:lnTo>
                    <a:pt x="217" y="269"/>
                  </a:lnTo>
                  <a:lnTo>
                    <a:pt x="215" y="271"/>
                  </a:lnTo>
                  <a:lnTo>
                    <a:pt x="215" y="271"/>
                  </a:lnTo>
                  <a:lnTo>
                    <a:pt x="207" y="273"/>
                  </a:lnTo>
                  <a:lnTo>
                    <a:pt x="200" y="277"/>
                  </a:lnTo>
                  <a:lnTo>
                    <a:pt x="198" y="279"/>
                  </a:lnTo>
                  <a:lnTo>
                    <a:pt x="198" y="277"/>
                  </a:lnTo>
                  <a:lnTo>
                    <a:pt x="198" y="277"/>
                  </a:lnTo>
                  <a:lnTo>
                    <a:pt x="198" y="277"/>
                  </a:lnTo>
                  <a:lnTo>
                    <a:pt x="198" y="277"/>
                  </a:lnTo>
                  <a:lnTo>
                    <a:pt x="198" y="277"/>
                  </a:lnTo>
                  <a:lnTo>
                    <a:pt x="196" y="277"/>
                  </a:lnTo>
                  <a:lnTo>
                    <a:pt x="196" y="275"/>
                  </a:lnTo>
                  <a:lnTo>
                    <a:pt x="192" y="273"/>
                  </a:lnTo>
                  <a:lnTo>
                    <a:pt x="190" y="273"/>
                  </a:lnTo>
                  <a:lnTo>
                    <a:pt x="190" y="273"/>
                  </a:lnTo>
                  <a:lnTo>
                    <a:pt x="188" y="271"/>
                  </a:lnTo>
                  <a:lnTo>
                    <a:pt x="188" y="271"/>
                  </a:lnTo>
                  <a:lnTo>
                    <a:pt x="188" y="271"/>
                  </a:lnTo>
                  <a:lnTo>
                    <a:pt x="186" y="271"/>
                  </a:lnTo>
                  <a:lnTo>
                    <a:pt x="186" y="271"/>
                  </a:lnTo>
                  <a:lnTo>
                    <a:pt x="184" y="271"/>
                  </a:lnTo>
                  <a:lnTo>
                    <a:pt x="184" y="271"/>
                  </a:lnTo>
                  <a:lnTo>
                    <a:pt x="184" y="273"/>
                  </a:lnTo>
                  <a:lnTo>
                    <a:pt x="184" y="273"/>
                  </a:lnTo>
                  <a:lnTo>
                    <a:pt x="184" y="275"/>
                  </a:lnTo>
                  <a:lnTo>
                    <a:pt x="184" y="275"/>
                  </a:lnTo>
                  <a:lnTo>
                    <a:pt x="182" y="277"/>
                  </a:lnTo>
                  <a:lnTo>
                    <a:pt x="182" y="277"/>
                  </a:lnTo>
                  <a:lnTo>
                    <a:pt x="182" y="279"/>
                  </a:lnTo>
                  <a:lnTo>
                    <a:pt x="178" y="279"/>
                  </a:lnTo>
                  <a:lnTo>
                    <a:pt x="176" y="279"/>
                  </a:lnTo>
                  <a:lnTo>
                    <a:pt x="176" y="279"/>
                  </a:lnTo>
                  <a:lnTo>
                    <a:pt x="176" y="281"/>
                  </a:lnTo>
                  <a:lnTo>
                    <a:pt x="172" y="285"/>
                  </a:lnTo>
                  <a:lnTo>
                    <a:pt x="172" y="287"/>
                  </a:lnTo>
                  <a:lnTo>
                    <a:pt x="172" y="287"/>
                  </a:lnTo>
                  <a:lnTo>
                    <a:pt x="170" y="287"/>
                  </a:lnTo>
                  <a:lnTo>
                    <a:pt x="164" y="287"/>
                  </a:lnTo>
                  <a:lnTo>
                    <a:pt x="164" y="287"/>
                  </a:lnTo>
                  <a:lnTo>
                    <a:pt x="159" y="287"/>
                  </a:lnTo>
                  <a:lnTo>
                    <a:pt x="157" y="285"/>
                  </a:lnTo>
                  <a:lnTo>
                    <a:pt x="157" y="285"/>
                  </a:lnTo>
                  <a:lnTo>
                    <a:pt x="155" y="285"/>
                  </a:lnTo>
                  <a:lnTo>
                    <a:pt x="153" y="283"/>
                  </a:lnTo>
                  <a:lnTo>
                    <a:pt x="153" y="283"/>
                  </a:lnTo>
                  <a:lnTo>
                    <a:pt x="153" y="283"/>
                  </a:lnTo>
                  <a:lnTo>
                    <a:pt x="153" y="281"/>
                  </a:lnTo>
                  <a:lnTo>
                    <a:pt x="153" y="281"/>
                  </a:lnTo>
                  <a:lnTo>
                    <a:pt x="151" y="281"/>
                  </a:lnTo>
                  <a:lnTo>
                    <a:pt x="149" y="281"/>
                  </a:lnTo>
                  <a:lnTo>
                    <a:pt x="149" y="281"/>
                  </a:lnTo>
                  <a:lnTo>
                    <a:pt x="147" y="283"/>
                  </a:lnTo>
                  <a:lnTo>
                    <a:pt x="147" y="281"/>
                  </a:lnTo>
                  <a:lnTo>
                    <a:pt x="145" y="281"/>
                  </a:lnTo>
                  <a:lnTo>
                    <a:pt x="145" y="281"/>
                  </a:lnTo>
                  <a:lnTo>
                    <a:pt x="145" y="281"/>
                  </a:lnTo>
                  <a:lnTo>
                    <a:pt x="145" y="281"/>
                  </a:lnTo>
                  <a:lnTo>
                    <a:pt x="143" y="279"/>
                  </a:lnTo>
                  <a:lnTo>
                    <a:pt x="143" y="279"/>
                  </a:lnTo>
                  <a:lnTo>
                    <a:pt x="143" y="277"/>
                  </a:lnTo>
                  <a:lnTo>
                    <a:pt x="141" y="277"/>
                  </a:lnTo>
                  <a:lnTo>
                    <a:pt x="137" y="275"/>
                  </a:lnTo>
                  <a:lnTo>
                    <a:pt x="137" y="275"/>
                  </a:lnTo>
                  <a:lnTo>
                    <a:pt x="137" y="275"/>
                  </a:lnTo>
                  <a:lnTo>
                    <a:pt x="137" y="273"/>
                  </a:lnTo>
                  <a:lnTo>
                    <a:pt x="137" y="273"/>
                  </a:lnTo>
                  <a:lnTo>
                    <a:pt x="135" y="273"/>
                  </a:lnTo>
                  <a:lnTo>
                    <a:pt x="135" y="271"/>
                  </a:lnTo>
                  <a:lnTo>
                    <a:pt x="135" y="269"/>
                  </a:lnTo>
                  <a:lnTo>
                    <a:pt x="135" y="269"/>
                  </a:lnTo>
                  <a:lnTo>
                    <a:pt x="135" y="269"/>
                  </a:lnTo>
                  <a:lnTo>
                    <a:pt x="135" y="269"/>
                  </a:lnTo>
                  <a:lnTo>
                    <a:pt x="135" y="267"/>
                  </a:lnTo>
                  <a:lnTo>
                    <a:pt x="135" y="267"/>
                  </a:lnTo>
                  <a:lnTo>
                    <a:pt x="135" y="267"/>
                  </a:lnTo>
                  <a:lnTo>
                    <a:pt x="131" y="265"/>
                  </a:lnTo>
                  <a:lnTo>
                    <a:pt x="131" y="265"/>
                  </a:lnTo>
                  <a:lnTo>
                    <a:pt x="131" y="265"/>
                  </a:lnTo>
                  <a:lnTo>
                    <a:pt x="131" y="265"/>
                  </a:lnTo>
                  <a:lnTo>
                    <a:pt x="131" y="262"/>
                  </a:lnTo>
                  <a:lnTo>
                    <a:pt x="131" y="262"/>
                  </a:lnTo>
                  <a:lnTo>
                    <a:pt x="133" y="260"/>
                  </a:lnTo>
                  <a:lnTo>
                    <a:pt x="133" y="260"/>
                  </a:lnTo>
                  <a:lnTo>
                    <a:pt x="133" y="260"/>
                  </a:lnTo>
                  <a:lnTo>
                    <a:pt x="133" y="260"/>
                  </a:lnTo>
                  <a:lnTo>
                    <a:pt x="133" y="260"/>
                  </a:lnTo>
                  <a:lnTo>
                    <a:pt x="133" y="258"/>
                  </a:lnTo>
                  <a:lnTo>
                    <a:pt x="133" y="258"/>
                  </a:lnTo>
                  <a:lnTo>
                    <a:pt x="131" y="258"/>
                  </a:lnTo>
                  <a:lnTo>
                    <a:pt x="131" y="258"/>
                  </a:lnTo>
                  <a:lnTo>
                    <a:pt x="131" y="256"/>
                  </a:lnTo>
                  <a:lnTo>
                    <a:pt x="127" y="262"/>
                  </a:lnTo>
                  <a:lnTo>
                    <a:pt x="121" y="269"/>
                  </a:lnTo>
                  <a:lnTo>
                    <a:pt x="116" y="275"/>
                  </a:lnTo>
                  <a:lnTo>
                    <a:pt x="108" y="283"/>
                  </a:lnTo>
                  <a:lnTo>
                    <a:pt x="102" y="291"/>
                  </a:lnTo>
                  <a:lnTo>
                    <a:pt x="100" y="291"/>
                  </a:lnTo>
                  <a:lnTo>
                    <a:pt x="94" y="295"/>
                  </a:lnTo>
                  <a:lnTo>
                    <a:pt x="88" y="299"/>
                  </a:lnTo>
                  <a:lnTo>
                    <a:pt x="80" y="306"/>
                  </a:lnTo>
                  <a:lnTo>
                    <a:pt x="75" y="310"/>
                  </a:lnTo>
                  <a:lnTo>
                    <a:pt x="75" y="312"/>
                  </a:lnTo>
                  <a:lnTo>
                    <a:pt x="73" y="312"/>
                  </a:lnTo>
                  <a:lnTo>
                    <a:pt x="75" y="314"/>
                  </a:lnTo>
                  <a:lnTo>
                    <a:pt x="75" y="316"/>
                  </a:lnTo>
                  <a:lnTo>
                    <a:pt x="75" y="318"/>
                  </a:lnTo>
                  <a:lnTo>
                    <a:pt x="75" y="318"/>
                  </a:lnTo>
                  <a:lnTo>
                    <a:pt x="75" y="318"/>
                  </a:lnTo>
                  <a:lnTo>
                    <a:pt x="75" y="320"/>
                  </a:lnTo>
                  <a:lnTo>
                    <a:pt x="75" y="320"/>
                  </a:lnTo>
                  <a:lnTo>
                    <a:pt x="75" y="320"/>
                  </a:lnTo>
                  <a:lnTo>
                    <a:pt x="73" y="320"/>
                  </a:lnTo>
                  <a:lnTo>
                    <a:pt x="67" y="326"/>
                  </a:lnTo>
                  <a:lnTo>
                    <a:pt x="65" y="328"/>
                  </a:lnTo>
                  <a:lnTo>
                    <a:pt x="65" y="328"/>
                  </a:lnTo>
                  <a:lnTo>
                    <a:pt x="63" y="330"/>
                  </a:lnTo>
                  <a:lnTo>
                    <a:pt x="65" y="332"/>
                  </a:lnTo>
                  <a:lnTo>
                    <a:pt x="65" y="332"/>
                  </a:lnTo>
                  <a:lnTo>
                    <a:pt x="65" y="332"/>
                  </a:lnTo>
                  <a:lnTo>
                    <a:pt x="65" y="334"/>
                  </a:lnTo>
                  <a:lnTo>
                    <a:pt x="65" y="334"/>
                  </a:lnTo>
                  <a:lnTo>
                    <a:pt x="65" y="336"/>
                  </a:lnTo>
                  <a:lnTo>
                    <a:pt x="65" y="336"/>
                  </a:lnTo>
                  <a:lnTo>
                    <a:pt x="65" y="336"/>
                  </a:lnTo>
                  <a:lnTo>
                    <a:pt x="63" y="338"/>
                  </a:lnTo>
                  <a:lnTo>
                    <a:pt x="63" y="338"/>
                  </a:lnTo>
                  <a:lnTo>
                    <a:pt x="57" y="340"/>
                  </a:lnTo>
                  <a:lnTo>
                    <a:pt x="53" y="344"/>
                  </a:lnTo>
                  <a:lnTo>
                    <a:pt x="49" y="344"/>
                  </a:lnTo>
                  <a:lnTo>
                    <a:pt x="49" y="344"/>
                  </a:lnTo>
                  <a:lnTo>
                    <a:pt x="49" y="344"/>
                  </a:lnTo>
                  <a:lnTo>
                    <a:pt x="47" y="347"/>
                  </a:lnTo>
                  <a:lnTo>
                    <a:pt x="47" y="351"/>
                  </a:lnTo>
                  <a:lnTo>
                    <a:pt x="45" y="353"/>
                  </a:lnTo>
                  <a:lnTo>
                    <a:pt x="45" y="353"/>
                  </a:lnTo>
                  <a:lnTo>
                    <a:pt x="45" y="353"/>
                  </a:lnTo>
                  <a:lnTo>
                    <a:pt x="45" y="355"/>
                  </a:lnTo>
                  <a:lnTo>
                    <a:pt x="45" y="355"/>
                  </a:lnTo>
                  <a:lnTo>
                    <a:pt x="45" y="355"/>
                  </a:lnTo>
                  <a:lnTo>
                    <a:pt x="45" y="357"/>
                  </a:lnTo>
                  <a:lnTo>
                    <a:pt x="45" y="357"/>
                  </a:lnTo>
                  <a:lnTo>
                    <a:pt x="43" y="357"/>
                  </a:lnTo>
                  <a:lnTo>
                    <a:pt x="35" y="359"/>
                  </a:lnTo>
                  <a:lnTo>
                    <a:pt x="26" y="363"/>
                  </a:lnTo>
                  <a:lnTo>
                    <a:pt x="24" y="367"/>
                  </a:lnTo>
                  <a:lnTo>
                    <a:pt x="22" y="367"/>
                  </a:lnTo>
                  <a:lnTo>
                    <a:pt x="22" y="367"/>
                  </a:lnTo>
                  <a:lnTo>
                    <a:pt x="20" y="369"/>
                  </a:lnTo>
                  <a:lnTo>
                    <a:pt x="12" y="371"/>
                  </a:lnTo>
                  <a:lnTo>
                    <a:pt x="6" y="375"/>
                  </a:lnTo>
                  <a:lnTo>
                    <a:pt x="6" y="375"/>
                  </a:lnTo>
                  <a:lnTo>
                    <a:pt x="4" y="375"/>
                  </a:lnTo>
                  <a:lnTo>
                    <a:pt x="0" y="379"/>
                  </a:lnTo>
                  <a:lnTo>
                    <a:pt x="10" y="377"/>
                  </a:lnTo>
                  <a:lnTo>
                    <a:pt x="18" y="377"/>
                  </a:lnTo>
                  <a:lnTo>
                    <a:pt x="37" y="373"/>
                  </a:lnTo>
                  <a:lnTo>
                    <a:pt x="45" y="373"/>
                  </a:lnTo>
                  <a:lnTo>
                    <a:pt x="55" y="371"/>
                  </a:lnTo>
                  <a:lnTo>
                    <a:pt x="63" y="371"/>
                  </a:lnTo>
                  <a:lnTo>
                    <a:pt x="71" y="369"/>
                  </a:lnTo>
                  <a:lnTo>
                    <a:pt x="82" y="367"/>
                  </a:lnTo>
                  <a:lnTo>
                    <a:pt x="90" y="367"/>
                  </a:lnTo>
                  <a:lnTo>
                    <a:pt x="100" y="365"/>
                  </a:lnTo>
                  <a:lnTo>
                    <a:pt x="108" y="363"/>
                  </a:lnTo>
                  <a:lnTo>
                    <a:pt x="116" y="361"/>
                  </a:lnTo>
                  <a:lnTo>
                    <a:pt x="127" y="361"/>
                  </a:lnTo>
                  <a:lnTo>
                    <a:pt x="135" y="359"/>
                  </a:lnTo>
                  <a:lnTo>
                    <a:pt x="143" y="357"/>
                  </a:lnTo>
                  <a:lnTo>
                    <a:pt x="147" y="357"/>
                  </a:lnTo>
                  <a:lnTo>
                    <a:pt x="149" y="357"/>
                  </a:lnTo>
                  <a:lnTo>
                    <a:pt x="151" y="355"/>
                  </a:lnTo>
                  <a:lnTo>
                    <a:pt x="151" y="355"/>
                  </a:lnTo>
                  <a:lnTo>
                    <a:pt x="151" y="355"/>
                  </a:lnTo>
                  <a:lnTo>
                    <a:pt x="157" y="353"/>
                  </a:lnTo>
                  <a:lnTo>
                    <a:pt x="166" y="353"/>
                  </a:lnTo>
                  <a:lnTo>
                    <a:pt x="174" y="351"/>
                  </a:lnTo>
                  <a:lnTo>
                    <a:pt x="174" y="353"/>
                  </a:lnTo>
                  <a:lnTo>
                    <a:pt x="174" y="353"/>
                  </a:lnTo>
                  <a:lnTo>
                    <a:pt x="176" y="353"/>
                  </a:lnTo>
                  <a:lnTo>
                    <a:pt x="176" y="353"/>
                  </a:lnTo>
                  <a:lnTo>
                    <a:pt x="192" y="351"/>
                  </a:lnTo>
                  <a:lnTo>
                    <a:pt x="207" y="349"/>
                  </a:lnTo>
                  <a:lnTo>
                    <a:pt x="221" y="344"/>
                  </a:lnTo>
                  <a:lnTo>
                    <a:pt x="237" y="342"/>
                  </a:lnTo>
                  <a:lnTo>
                    <a:pt x="252" y="340"/>
                  </a:lnTo>
                  <a:lnTo>
                    <a:pt x="266" y="338"/>
                  </a:lnTo>
                  <a:lnTo>
                    <a:pt x="282" y="336"/>
                  </a:lnTo>
                  <a:lnTo>
                    <a:pt x="297" y="332"/>
                  </a:lnTo>
                  <a:lnTo>
                    <a:pt x="311" y="330"/>
                  </a:lnTo>
                  <a:lnTo>
                    <a:pt x="327" y="328"/>
                  </a:lnTo>
                  <a:lnTo>
                    <a:pt x="342" y="326"/>
                  </a:lnTo>
                  <a:lnTo>
                    <a:pt x="356" y="322"/>
                  </a:lnTo>
                  <a:lnTo>
                    <a:pt x="372" y="320"/>
                  </a:lnTo>
                  <a:lnTo>
                    <a:pt x="387" y="318"/>
                  </a:lnTo>
                  <a:lnTo>
                    <a:pt x="401" y="314"/>
                  </a:lnTo>
                  <a:lnTo>
                    <a:pt x="417" y="312"/>
                  </a:lnTo>
                  <a:lnTo>
                    <a:pt x="432" y="310"/>
                  </a:lnTo>
                  <a:lnTo>
                    <a:pt x="446" y="306"/>
                  </a:lnTo>
                  <a:lnTo>
                    <a:pt x="461" y="303"/>
                  </a:lnTo>
                  <a:lnTo>
                    <a:pt x="477" y="301"/>
                  </a:lnTo>
                  <a:lnTo>
                    <a:pt x="491" y="297"/>
                  </a:lnTo>
                  <a:lnTo>
                    <a:pt x="506" y="295"/>
                  </a:lnTo>
                  <a:lnTo>
                    <a:pt x="522" y="291"/>
                  </a:lnTo>
                  <a:lnTo>
                    <a:pt x="536" y="289"/>
                  </a:lnTo>
                  <a:lnTo>
                    <a:pt x="551" y="285"/>
                  </a:lnTo>
                  <a:lnTo>
                    <a:pt x="567" y="283"/>
                  </a:lnTo>
                  <a:lnTo>
                    <a:pt x="581" y="279"/>
                  </a:lnTo>
                  <a:lnTo>
                    <a:pt x="596" y="277"/>
                  </a:lnTo>
                  <a:lnTo>
                    <a:pt x="610" y="275"/>
                  </a:lnTo>
                  <a:lnTo>
                    <a:pt x="626" y="271"/>
                  </a:lnTo>
                  <a:lnTo>
                    <a:pt x="641" y="269"/>
                  </a:lnTo>
                  <a:lnTo>
                    <a:pt x="653" y="265"/>
                  </a:lnTo>
                  <a:lnTo>
                    <a:pt x="655" y="265"/>
                  </a:lnTo>
                  <a:lnTo>
                    <a:pt x="655" y="265"/>
                  </a:lnTo>
                  <a:lnTo>
                    <a:pt x="655" y="262"/>
                  </a:lnTo>
                  <a:lnTo>
                    <a:pt x="653" y="262"/>
                  </a:lnTo>
                  <a:lnTo>
                    <a:pt x="653" y="260"/>
                  </a:lnTo>
                  <a:lnTo>
                    <a:pt x="657" y="265"/>
                  </a:lnTo>
                  <a:lnTo>
                    <a:pt x="661" y="262"/>
                  </a:lnTo>
                  <a:lnTo>
                    <a:pt x="661" y="262"/>
                  </a:lnTo>
                  <a:lnTo>
                    <a:pt x="659" y="258"/>
                  </a:lnTo>
                  <a:lnTo>
                    <a:pt x="657" y="246"/>
                  </a:lnTo>
                  <a:lnTo>
                    <a:pt x="657" y="246"/>
                  </a:lnTo>
                  <a:lnTo>
                    <a:pt x="659" y="246"/>
                  </a:lnTo>
                  <a:lnTo>
                    <a:pt x="659" y="246"/>
                  </a:lnTo>
                  <a:lnTo>
                    <a:pt x="661" y="246"/>
                  </a:lnTo>
                  <a:lnTo>
                    <a:pt x="661" y="248"/>
                  </a:lnTo>
                  <a:lnTo>
                    <a:pt x="665" y="254"/>
                  </a:lnTo>
                  <a:lnTo>
                    <a:pt x="665" y="254"/>
                  </a:lnTo>
                  <a:lnTo>
                    <a:pt x="667" y="256"/>
                  </a:lnTo>
                  <a:lnTo>
                    <a:pt x="667" y="256"/>
                  </a:lnTo>
                  <a:lnTo>
                    <a:pt x="667" y="258"/>
                  </a:lnTo>
                  <a:lnTo>
                    <a:pt x="667" y="258"/>
                  </a:lnTo>
                  <a:lnTo>
                    <a:pt x="667" y="260"/>
                  </a:lnTo>
                  <a:lnTo>
                    <a:pt x="669" y="262"/>
                  </a:lnTo>
                  <a:lnTo>
                    <a:pt x="669" y="262"/>
                  </a:lnTo>
                  <a:lnTo>
                    <a:pt x="671" y="260"/>
                  </a:lnTo>
                  <a:lnTo>
                    <a:pt x="669" y="256"/>
                  </a:lnTo>
                  <a:lnTo>
                    <a:pt x="655" y="236"/>
                  </a:lnTo>
                  <a:close/>
                </a:path>
              </a:pathLst>
            </a:custGeom>
            <a:solidFill>
              <a:schemeClr val="tx1"/>
            </a:solidFill>
            <a:ln w="3175" cap="rnd">
              <a:solidFill>
                <a:schemeClr val="bg1"/>
              </a:solidFill>
              <a:prstDash val="solid"/>
              <a:round/>
              <a:headEnd/>
              <a:tailEnd/>
            </a:ln>
          </p:spPr>
          <p:txBody>
            <a:bodyPr vert="horz" wrap="square" lIns="19200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VA</a:t>
              </a:r>
            </a:p>
          </p:txBody>
        </p:sp>
        <p:sp>
          <p:nvSpPr>
            <p:cNvPr id="301" name="Freeform 11">
              <a:extLst>
                <a:ext uri="{FF2B5EF4-FFF2-40B4-BE49-F238E27FC236}">
                  <a16:creationId xmlns:a16="http://schemas.microsoft.com/office/drawing/2014/main" id="{D42AEDF3-732D-1382-5D7E-ADE481D71957}"/>
                </a:ext>
              </a:extLst>
            </p:cNvPr>
            <p:cNvSpPr>
              <a:spLocks/>
            </p:cNvSpPr>
            <p:nvPr/>
          </p:nvSpPr>
          <p:spPr bwMode="auto">
            <a:xfrm>
              <a:off x="1511" y="836"/>
              <a:ext cx="467" cy="576"/>
            </a:xfrm>
            <a:custGeom>
              <a:avLst/>
              <a:gdLst>
                <a:gd name="T0" fmla="*/ 309 w 467"/>
                <a:gd name="T1" fmla="*/ 41 h 576"/>
                <a:gd name="T2" fmla="*/ 307 w 467"/>
                <a:gd name="T3" fmla="*/ 62 h 576"/>
                <a:gd name="T4" fmla="*/ 307 w 467"/>
                <a:gd name="T5" fmla="*/ 80 h 576"/>
                <a:gd name="T6" fmla="*/ 305 w 467"/>
                <a:gd name="T7" fmla="*/ 101 h 576"/>
                <a:gd name="T8" fmla="*/ 303 w 467"/>
                <a:gd name="T9" fmla="*/ 121 h 576"/>
                <a:gd name="T10" fmla="*/ 301 w 467"/>
                <a:gd name="T11" fmla="*/ 133 h 576"/>
                <a:gd name="T12" fmla="*/ 301 w 467"/>
                <a:gd name="T13" fmla="*/ 133 h 576"/>
                <a:gd name="T14" fmla="*/ 301 w 467"/>
                <a:gd name="T15" fmla="*/ 133 h 576"/>
                <a:gd name="T16" fmla="*/ 332 w 467"/>
                <a:gd name="T17" fmla="*/ 137 h 576"/>
                <a:gd name="T18" fmla="*/ 362 w 467"/>
                <a:gd name="T19" fmla="*/ 140 h 576"/>
                <a:gd name="T20" fmla="*/ 393 w 467"/>
                <a:gd name="T21" fmla="*/ 142 h 576"/>
                <a:gd name="T22" fmla="*/ 424 w 467"/>
                <a:gd name="T23" fmla="*/ 146 h 576"/>
                <a:gd name="T24" fmla="*/ 457 w 467"/>
                <a:gd name="T25" fmla="*/ 148 h 576"/>
                <a:gd name="T26" fmla="*/ 465 w 467"/>
                <a:gd name="T27" fmla="*/ 174 h 576"/>
                <a:gd name="T28" fmla="*/ 461 w 467"/>
                <a:gd name="T29" fmla="*/ 215 h 576"/>
                <a:gd name="T30" fmla="*/ 457 w 467"/>
                <a:gd name="T31" fmla="*/ 254 h 576"/>
                <a:gd name="T32" fmla="*/ 455 w 467"/>
                <a:gd name="T33" fmla="*/ 295 h 576"/>
                <a:gd name="T34" fmla="*/ 451 w 467"/>
                <a:gd name="T35" fmla="*/ 334 h 576"/>
                <a:gd name="T36" fmla="*/ 448 w 467"/>
                <a:gd name="T37" fmla="*/ 375 h 576"/>
                <a:gd name="T38" fmla="*/ 444 w 467"/>
                <a:gd name="T39" fmla="*/ 414 h 576"/>
                <a:gd name="T40" fmla="*/ 440 w 467"/>
                <a:gd name="T41" fmla="*/ 455 h 576"/>
                <a:gd name="T42" fmla="*/ 438 w 467"/>
                <a:gd name="T43" fmla="*/ 496 h 576"/>
                <a:gd name="T44" fmla="*/ 434 w 467"/>
                <a:gd name="T45" fmla="*/ 535 h 576"/>
                <a:gd name="T46" fmla="*/ 432 w 467"/>
                <a:gd name="T47" fmla="*/ 576 h 576"/>
                <a:gd name="T48" fmla="*/ 391 w 467"/>
                <a:gd name="T49" fmla="*/ 572 h 576"/>
                <a:gd name="T50" fmla="*/ 350 w 467"/>
                <a:gd name="T51" fmla="*/ 568 h 576"/>
                <a:gd name="T52" fmla="*/ 309 w 467"/>
                <a:gd name="T53" fmla="*/ 564 h 576"/>
                <a:gd name="T54" fmla="*/ 270 w 467"/>
                <a:gd name="T55" fmla="*/ 562 h 576"/>
                <a:gd name="T56" fmla="*/ 229 w 467"/>
                <a:gd name="T57" fmla="*/ 558 h 576"/>
                <a:gd name="T58" fmla="*/ 188 w 467"/>
                <a:gd name="T59" fmla="*/ 551 h 576"/>
                <a:gd name="T60" fmla="*/ 149 w 467"/>
                <a:gd name="T61" fmla="*/ 547 h 576"/>
                <a:gd name="T62" fmla="*/ 108 w 467"/>
                <a:gd name="T63" fmla="*/ 543 h 576"/>
                <a:gd name="T64" fmla="*/ 68 w 467"/>
                <a:gd name="T65" fmla="*/ 539 h 576"/>
                <a:gd name="T66" fmla="*/ 27 w 467"/>
                <a:gd name="T67" fmla="*/ 533 h 576"/>
                <a:gd name="T68" fmla="*/ 2 w 467"/>
                <a:gd name="T69" fmla="*/ 513 h 576"/>
                <a:gd name="T70" fmla="*/ 8 w 467"/>
                <a:gd name="T71" fmla="*/ 463 h 576"/>
                <a:gd name="T72" fmla="*/ 16 w 467"/>
                <a:gd name="T73" fmla="*/ 414 h 576"/>
                <a:gd name="T74" fmla="*/ 22 w 467"/>
                <a:gd name="T75" fmla="*/ 363 h 576"/>
                <a:gd name="T76" fmla="*/ 29 w 467"/>
                <a:gd name="T77" fmla="*/ 314 h 576"/>
                <a:gd name="T78" fmla="*/ 35 w 467"/>
                <a:gd name="T79" fmla="*/ 265 h 576"/>
                <a:gd name="T80" fmla="*/ 41 w 467"/>
                <a:gd name="T81" fmla="*/ 215 h 576"/>
                <a:gd name="T82" fmla="*/ 47 w 467"/>
                <a:gd name="T83" fmla="*/ 164 h 576"/>
                <a:gd name="T84" fmla="*/ 53 w 467"/>
                <a:gd name="T85" fmla="*/ 115 h 576"/>
                <a:gd name="T86" fmla="*/ 59 w 467"/>
                <a:gd name="T87" fmla="*/ 66 h 576"/>
                <a:gd name="T88" fmla="*/ 65 w 467"/>
                <a:gd name="T89" fmla="*/ 17 h 576"/>
                <a:gd name="T90" fmla="*/ 98 w 467"/>
                <a:gd name="T91" fmla="*/ 4 h 576"/>
                <a:gd name="T92" fmla="*/ 143 w 467"/>
                <a:gd name="T93" fmla="*/ 10 h 576"/>
                <a:gd name="T94" fmla="*/ 190 w 467"/>
                <a:gd name="T95" fmla="*/ 15 h 576"/>
                <a:gd name="T96" fmla="*/ 235 w 467"/>
                <a:gd name="T97" fmla="*/ 21 h 576"/>
                <a:gd name="T98" fmla="*/ 281 w 467"/>
                <a:gd name="T99" fmla="*/ 25 h 576"/>
                <a:gd name="T100" fmla="*/ 311 w 467"/>
                <a:gd name="T101" fmla="*/ 29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7" h="576">
                  <a:moveTo>
                    <a:pt x="311" y="29"/>
                  </a:moveTo>
                  <a:lnTo>
                    <a:pt x="311" y="35"/>
                  </a:lnTo>
                  <a:lnTo>
                    <a:pt x="309" y="41"/>
                  </a:lnTo>
                  <a:lnTo>
                    <a:pt x="309" y="47"/>
                  </a:lnTo>
                  <a:lnTo>
                    <a:pt x="309" y="53"/>
                  </a:lnTo>
                  <a:lnTo>
                    <a:pt x="307" y="62"/>
                  </a:lnTo>
                  <a:lnTo>
                    <a:pt x="307" y="68"/>
                  </a:lnTo>
                  <a:lnTo>
                    <a:pt x="307" y="74"/>
                  </a:lnTo>
                  <a:lnTo>
                    <a:pt x="307" y="80"/>
                  </a:lnTo>
                  <a:lnTo>
                    <a:pt x="305" y="88"/>
                  </a:lnTo>
                  <a:lnTo>
                    <a:pt x="305" y="94"/>
                  </a:lnTo>
                  <a:lnTo>
                    <a:pt x="305" y="101"/>
                  </a:lnTo>
                  <a:lnTo>
                    <a:pt x="303" y="107"/>
                  </a:lnTo>
                  <a:lnTo>
                    <a:pt x="303" y="113"/>
                  </a:lnTo>
                  <a:lnTo>
                    <a:pt x="303" y="121"/>
                  </a:lnTo>
                  <a:lnTo>
                    <a:pt x="301" y="127"/>
                  </a:lnTo>
                  <a:lnTo>
                    <a:pt x="301" y="133"/>
                  </a:lnTo>
                  <a:lnTo>
                    <a:pt x="301" y="133"/>
                  </a:lnTo>
                  <a:lnTo>
                    <a:pt x="301" y="133"/>
                  </a:lnTo>
                  <a:lnTo>
                    <a:pt x="301" y="133"/>
                  </a:lnTo>
                  <a:lnTo>
                    <a:pt x="301" y="133"/>
                  </a:lnTo>
                  <a:lnTo>
                    <a:pt x="301" y="133"/>
                  </a:lnTo>
                  <a:lnTo>
                    <a:pt x="301" y="133"/>
                  </a:lnTo>
                  <a:lnTo>
                    <a:pt x="301" y="133"/>
                  </a:lnTo>
                  <a:lnTo>
                    <a:pt x="311" y="135"/>
                  </a:lnTo>
                  <a:lnTo>
                    <a:pt x="321" y="135"/>
                  </a:lnTo>
                  <a:lnTo>
                    <a:pt x="332" y="137"/>
                  </a:lnTo>
                  <a:lnTo>
                    <a:pt x="342" y="137"/>
                  </a:lnTo>
                  <a:lnTo>
                    <a:pt x="352" y="140"/>
                  </a:lnTo>
                  <a:lnTo>
                    <a:pt x="362" y="140"/>
                  </a:lnTo>
                  <a:lnTo>
                    <a:pt x="373" y="142"/>
                  </a:lnTo>
                  <a:lnTo>
                    <a:pt x="383" y="142"/>
                  </a:lnTo>
                  <a:lnTo>
                    <a:pt x="393" y="142"/>
                  </a:lnTo>
                  <a:lnTo>
                    <a:pt x="403" y="144"/>
                  </a:lnTo>
                  <a:lnTo>
                    <a:pt x="414" y="144"/>
                  </a:lnTo>
                  <a:lnTo>
                    <a:pt x="424" y="146"/>
                  </a:lnTo>
                  <a:lnTo>
                    <a:pt x="436" y="146"/>
                  </a:lnTo>
                  <a:lnTo>
                    <a:pt x="446" y="148"/>
                  </a:lnTo>
                  <a:lnTo>
                    <a:pt x="457" y="148"/>
                  </a:lnTo>
                  <a:lnTo>
                    <a:pt x="467" y="150"/>
                  </a:lnTo>
                  <a:lnTo>
                    <a:pt x="465" y="162"/>
                  </a:lnTo>
                  <a:lnTo>
                    <a:pt x="465" y="174"/>
                  </a:lnTo>
                  <a:lnTo>
                    <a:pt x="463" y="189"/>
                  </a:lnTo>
                  <a:lnTo>
                    <a:pt x="463" y="201"/>
                  </a:lnTo>
                  <a:lnTo>
                    <a:pt x="461" y="215"/>
                  </a:lnTo>
                  <a:lnTo>
                    <a:pt x="459" y="228"/>
                  </a:lnTo>
                  <a:lnTo>
                    <a:pt x="459" y="242"/>
                  </a:lnTo>
                  <a:lnTo>
                    <a:pt x="457" y="254"/>
                  </a:lnTo>
                  <a:lnTo>
                    <a:pt x="457" y="269"/>
                  </a:lnTo>
                  <a:lnTo>
                    <a:pt x="455" y="281"/>
                  </a:lnTo>
                  <a:lnTo>
                    <a:pt x="455" y="295"/>
                  </a:lnTo>
                  <a:lnTo>
                    <a:pt x="453" y="308"/>
                  </a:lnTo>
                  <a:lnTo>
                    <a:pt x="453" y="322"/>
                  </a:lnTo>
                  <a:lnTo>
                    <a:pt x="451" y="334"/>
                  </a:lnTo>
                  <a:lnTo>
                    <a:pt x="451" y="349"/>
                  </a:lnTo>
                  <a:lnTo>
                    <a:pt x="448" y="361"/>
                  </a:lnTo>
                  <a:lnTo>
                    <a:pt x="448" y="375"/>
                  </a:lnTo>
                  <a:lnTo>
                    <a:pt x="446" y="388"/>
                  </a:lnTo>
                  <a:lnTo>
                    <a:pt x="446" y="402"/>
                  </a:lnTo>
                  <a:lnTo>
                    <a:pt x="444" y="414"/>
                  </a:lnTo>
                  <a:lnTo>
                    <a:pt x="442" y="428"/>
                  </a:lnTo>
                  <a:lnTo>
                    <a:pt x="442" y="441"/>
                  </a:lnTo>
                  <a:lnTo>
                    <a:pt x="440" y="455"/>
                  </a:lnTo>
                  <a:lnTo>
                    <a:pt x="440" y="469"/>
                  </a:lnTo>
                  <a:lnTo>
                    <a:pt x="438" y="482"/>
                  </a:lnTo>
                  <a:lnTo>
                    <a:pt x="438" y="496"/>
                  </a:lnTo>
                  <a:lnTo>
                    <a:pt x="436" y="508"/>
                  </a:lnTo>
                  <a:lnTo>
                    <a:pt x="436" y="523"/>
                  </a:lnTo>
                  <a:lnTo>
                    <a:pt x="434" y="535"/>
                  </a:lnTo>
                  <a:lnTo>
                    <a:pt x="434" y="549"/>
                  </a:lnTo>
                  <a:lnTo>
                    <a:pt x="432" y="562"/>
                  </a:lnTo>
                  <a:lnTo>
                    <a:pt x="432" y="576"/>
                  </a:lnTo>
                  <a:lnTo>
                    <a:pt x="418" y="574"/>
                  </a:lnTo>
                  <a:lnTo>
                    <a:pt x="403" y="574"/>
                  </a:lnTo>
                  <a:lnTo>
                    <a:pt x="391" y="572"/>
                  </a:lnTo>
                  <a:lnTo>
                    <a:pt x="377" y="570"/>
                  </a:lnTo>
                  <a:lnTo>
                    <a:pt x="364" y="570"/>
                  </a:lnTo>
                  <a:lnTo>
                    <a:pt x="350" y="568"/>
                  </a:lnTo>
                  <a:lnTo>
                    <a:pt x="338" y="568"/>
                  </a:lnTo>
                  <a:lnTo>
                    <a:pt x="324" y="566"/>
                  </a:lnTo>
                  <a:lnTo>
                    <a:pt x="309" y="564"/>
                  </a:lnTo>
                  <a:lnTo>
                    <a:pt x="297" y="564"/>
                  </a:lnTo>
                  <a:lnTo>
                    <a:pt x="283" y="562"/>
                  </a:lnTo>
                  <a:lnTo>
                    <a:pt x="270" y="562"/>
                  </a:lnTo>
                  <a:lnTo>
                    <a:pt x="256" y="560"/>
                  </a:lnTo>
                  <a:lnTo>
                    <a:pt x="242" y="558"/>
                  </a:lnTo>
                  <a:lnTo>
                    <a:pt x="229" y="558"/>
                  </a:lnTo>
                  <a:lnTo>
                    <a:pt x="215" y="556"/>
                  </a:lnTo>
                  <a:lnTo>
                    <a:pt x="203" y="554"/>
                  </a:lnTo>
                  <a:lnTo>
                    <a:pt x="188" y="551"/>
                  </a:lnTo>
                  <a:lnTo>
                    <a:pt x="176" y="551"/>
                  </a:lnTo>
                  <a:lnTo>
                    <a:pt x="162" y="549"/>
                  </a:lnTo>
                  <a:lnTo>
                    <a:pt x="149" y="547"/>
                  </a:lnTo>
                  <a:lnTo>
                    <a:pt x="135" y="547"/>
                  </a:lnTo>
                  <a:lnTo>
                    <a:pt x="121" y="545"/>
                  </a:lnTo>
                  <a:lnTo>
                    <a:pt x="108" y="543"/>
                  </a:lnTo>
                  <a:lnTo>
                    <a:pt x="94" y="541"/>
                  </a:lnTo>
                  <a:lnTo>
                    <a:pt x="82" y="539"/>
                  </a:lnTo>
                  <a:lnTo>
                    <a:pt x="68" y="539"/>
                  </a:lnTo>
                  <a:lnTo>
                    <a:pt x="55" y="537"/>
                  </a:lnTo>
                  <a:lnTo>
                    <a:pt x="41" y="535"/>
                  </a:lnTo>
                  <a:lnTo>
                    <a:pt x="27" y="533"/>
                  </a:lnTo>
                  <a:lnTo>
                    <a:pt x="14" y="531"/>
                  </a:lnTo>
                  <a:lnTo>
                    <a:pt x="0" y="531"/>
                  </a:lnTo>
                  <a:lnTo>
                    <a:pt x="2" y="513"/>
                  </a:lnTo>
                  <a:lnTo>
                    <a:pt x="4" y="496"/>
                  </a:lnTo>
                  <a:lnTo>
                    <a:pt x="6" y="480"/>
                  </a:lnTo>
                  <a:lnTo>
                    <a:pt x="8" y="463"/>
                  </a:lnTo>
                  <a:lnTo>
                    <a:pt x="12" y="447"/>
                  </a:lnTo>
                  <a:lnTo>
                    <a:pt x="14" y="431"/>
                  </a:lnTo>
                  <a:lnTo>
                    <a:pt x="16" y="414"/>
                  </a:lnTo>
                  <a:lnTo>
                    <a:pt x="18" y="398"/>
                  </a:lnTo>
                  <a:lnTo>
                    <a:pt x="20" y="381"/>
                  </a:lnTo>
                  <a:lnTo>
                    <a:pt x="22" y="363"/>
                  </a:lnTo>
                  <a:lnTo>
                    <a:pt x="25" y="347"/>
                  </a:lnTo>
                  <a:lnTo>
                    <a:pt x="27" y="330"/>
                  </a:lnTo>
                  <a:lnTo>
                    <a:pt x="29" y="314"/>
                  </a:lnTo>
                  <a:lnTo>
                    <a:pt x="31" y="297"/>
                  </a:lnTo>
                  <a:lnTo>
                    <a:pt x="33" y="281"/>
                  </a:lnTo>
                  <a:lnTo>
                    <a:pt x="35" y="265"/>
                  </a:lnTo>
                  <a:lnTo>
                    <a:pt x="37" y="248"/>
                  </a:lnTo>
                  <a:lnTo>
                    <a:pt x="39" y="232"/>
                  </a:lnTo>
                  <a:lnTo>
                    <a:pt x="41" y="215"/>
                  </a:lnTo>
                  <a:lnTo>
                    <a:pt x="43" y="199"/>
                  </a:lnTo>
                  <a:lnTo>
                    <a:pt x="45" y="183"/>
                  </a:lnTo>
                  <a:lnTo>
                    <a:pt x="47" y="164"/>
                  </a:lnTo>
                  <a:lnTo>
                    <a:pt x="49" y="148"/>
                  </a:lnTo>
                  <a:lnTo>
                    <a:pt x="51" y="131"/>
                  </a:lnTo>
                  <a:lnTo>
                    <a:pt x="53" y="115"/>
                  </a:lnTo>
                  <a:lnTo>
                    <a:pt x="55" y="99"/>
                  </a:lnTo>
                  <a:lnTo>
                    <a:pt x="57" y="82"/>
                  </a:lnTo>
                  <a:lnTo>
                    <a:pt x="59" y="66"/>
                  </a:lnTo>
                  <a:lnTo>
                    <a:pt x="61" y="49"/>
                  </a:lnTo>
                  <a:lnTo>
                    <a:pt x="63" y="33"/>
                  </a:lnTo>
                  <a:lnTo>
                    <a:pt x="65" y="17"/>
                  </a:lnTo>
                  <a:lnTo>
                    <a:pt x="68" y="0"/>
                  </a:lnTo>
                  <a:lnTo>
                    <a:pt x="84" y="2"/>
                  </a:lnTo>
                  <a:lnTo>
                    <a:pt x="98" y="4"/>
                  </a:lnTo>
                  <a:lnTo>
                    <a:pt x="113" y="6"/>
                  </a:lnTo>
                  <a:lnTo>
                    <a:pt x="129" y="8"/>
                  </a:lnTo>
                  <a:lnTo>
                    <a:pt x="143" y="10"/>
                  </a:lnTo>
                  <a:lnTo>
                    <a:pt x="160" y="12"/>
                  </a:lnTo>
                  <a:lnTo>
                    <a:pt x="174" y="12"/>
                  </a:lnTo>
                  <a:lnTo>
                    <a:pt x="190" y="15"/>
                  </a:lnTo>
                  <a:lnTo>
                    <a:pt x="205" y="17"/>
                  </a:lnTo>
                  <a:lnTo>
                    <a:pt x="219" y="19"/>
                  </a:lnTo>
                  <a:lnTo>
                    <a:pt x="235" y="21"/>
                  </a:lnTo>
                  <a:lnTo>
                    <a:pt x="250" y="23"/>
                  </a:lnTo>
                  <a:lnTo>
                    <a:pt x="266" y="23"/>
                  </a:lnTo>
                  <a:lnTo>
                    <a:pt x="281" y="25"/>
                  </a:lnTo>
                  <a:lnTo>
                    <a:pt x="297" y="27"/>
                  </a:lnTo>
                  <a:lnTo>
                    <a:pt x="311" y="29"/>
                  </a:lnTo>
                  <a:lnTo>
                    <a:pt x="311" y="29"/>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UT</a:t>
              </a:r>
            </a:p>
          </p:txBody>
        </p:sp>
        <p:sp>
          <p:nvSpPr>
            <p:cNvPr id="302" name="Freeform 12">
              <a:extLst>
                <a:ext uri="{FF2B5EF4-FFF2-40B4-BE49-F238E27FC236}">
                  <a16:creationId xmlns:a16="http://schemas.microsoft.com/office/drawing/2014/main" id="{CF63FADA-EC23-B2F0-5793-26208D434728}"/>
                </a:ext>
              </a:extLst>
            </p:cNvPr>
            <p:cNvSpPr>
              <a:spLocks noEditPoints="1"/>
            </p:cNvSpPr>
            <p:nvPr/>
          </p:nvSpPr>
          <p:spPr bwMode="auto">
            <a:xfrm>
              <a:off x="2121" y="1494"/>
              <a:ext cx="1211" cy="1150"/>
            </a:xfrm>
            <a:custGeom>
              <a:avLst/>
              <a:gdLst>
                <a:gd name="T0" fmla="*/ 862 w 1211"/>
                <a:gd name="T1" fmla="*/ 1016 h 1150"/>
                <a:gd name="T2" fmla="*/ 871 w 1211"/>
                <a:gd name="T3" fmla="*/ 967 h 1150"/>
                <a:gd name="T4" fmla="*/ 895 w 1211"/>
                <a:gd name="T5" fmla="*/ 930 h 1150"/>
                <a:gd name="T6" fmla="*/ 916 w 1211"/>
                <a:gd name="T7" fmla="*/ 902 h 1150"/>
                <a:gd name="T8" fmla="*/ 969 w 1211"/>
                <a:gd name="T9" fmla="*/ 863 h 1150"/>
                <a:gd name="T10" fmla="*/ 1104 w 1211"/>
                <a:gd name="T11" fmla="*/ 764 h 1150"/>
                <a:gd name="T12" fmla="*/ 1194 w 1211"/>
                <a:gd name="T13" fmla="*/ 541 h 1150"/>
                <a:gd name="T14" fmla="*/ 1178 w 1211"/>
                <a:gd name="T15" fmla="*/ 516 h 1150"/>
                <a:gd name="T16" fmla="*/ 1157 w 1211"/>
                <a:gd name="T17" fmla="*/ 475 h 1150"/>
                <a:gd name="T18" fmla="*/ 1116 w 1211"/>
                <a:gd name="T19" fmla="*/ 305 h 1150"/>
                <a:gd name="T20" fmla="*/ 1065 w 1211"/>
                <a:gd name="T21" fmla="*/ 281 h 1150"/>
                <a:gd name="T22" fmla="*/ 1020 w 1211"/>
                <a:gd name="T23" fmla="*/ 279 h 1150"/>
                <a:gd name="T24" fmla="*/ 987 w 1211"/>
                <a:gd name="T25" fmla="*/ 281 h 1150"/>
                <a:gd name="T26" fmla="*/ 926 w 1211"/>
                <a:gd name="T27" fmla="*/ 291 h 1150"/>
                <a:gd name="T28" fmla="*/ 895 w 1211"/>
                <a:gd name="T29" fmla="*/ 283 h 1150"/>
                <a:gd name="T30" fmla="*/ 862 w 1211"/>
                <a:gd name="T31" fmla="*/ 293 h 1150"/>
                <a:gd name="T32" fmla="*/ 828 w 1211"/>
                <a:gd name="T33" fmla="*/ 275 h 1150"/>
                <a:gd name="T34" fmla="*/ 752 w 1211"/>
                <a:gd name="T35" fmla="*/ 262 h 1150"/>
                <a:gd name="T36" fmla="*/ 674 w 1211"/>
                <a:gd name="T37" fmla="*/ 227 h 1150"/>
                <a:gd name="T38" fmla="*/ 610 w 1211"/>
                <a:gd name="T39" fmla="*/ 156 h 1150"/>
                <a:gd name="T40" fmla="*/ 342 w 1211"/>
                <a:gd name="T41" fmla="*/ 80 h 1150"/>
                <a:gd name="T42" fmla="*/ 127 w 1211"/>
                <a:gd name="T43" fmla="*/ 478 h 1150"/>
                <a:gd name="T44" fmla="*/ 43 w 1211"/>
                <a:gd name="T45" fmla="*/ 533 h 1150"/>
                <a:gd name="T46" fmla="*/ 123 w 1211"/>
                <a:gd name="T47" fmla="*/ 605 h 1150"/>
                <a:gd name="T48" fmla="*/ 156 w 1211"/>
                <a:gd name="T49" fmla="*/ 635 h 1150"/>
                <a:gd name="T50" fmla="*/ 172 w 1211"/>
                <a:gd name="T51" fmla="*/ 693 h 1150"/>
                <a:gd name="T52" fmla="*/ 215 w 1211"/>
                <a:gd name="T53" fmla="*/ 752 h 1150"/>
                <a:gd name="T54" fmla="*/ 299 w 1211"/>
                <a:gd name="T55" fmla="*/ 805 h 1150"/>
                <a:gd name="T56" fmla="*/ 340 w 1211"/>
                <a:gd name="T57" fmla="*/ 771 h 1150"/>
                <a:gd name="T58" fmla="*/ 359 w 1211"/>
                <a:gd name="T59" fmla="*/ 730 h 1150"/>
                <a:gd name="T60" fmla="*/ 410 w 1211"/>
                <a:gd name="T61" fmla="*/ 723 h 1150"/>
                <a:gd name="T62" fmla="*/ 473 w 1211"/>
                <a:gd name="T63" fmla="*/ 725 h 1150"/>
                <a:gd name="T64" fmla="*/ 514 w 1211"/>
                <a:gd name="T65" fmla="*/ 762 h 1150"/>
                <a:gd name="T66" fmla="*/ 555 w 1211"/>
                <a:gd name="T67" fmla="*/ 826 h 1150"/>
                <a:gd name="T68" fmla="*/ 584 w 1211"/>
                <a:gd name="T69" fmla="*/ 887 h 1150"/>
                <a:gd name="T70" fmla="*/ 621 w 1211"/>
                <a:gd name="T71" fmla="*/ 935 h 1150"/>
                <a:gd name="T72" fmla="*/ 658 w 1211"/>
                <a:gd name="T73" fmla="*/ 965 h 1150"/>
                <a:gd name="T74" fmla="*/ 664 w 1211"/>
                <a:gd name="T75" fmla="*/ 1016 h 1150"/>
                <a:gd name="T76" fmla="*/ 701 w 1211"/>
                <a:gd name="T77" fmla="*/ 1092 h 1150"/>
                <a:gd name="T78" fmla="*/ 742 w 1211"/>
                <a:gd name="T79" fmla="*/ 1109 h 1150"/>
                <a:gd name="T80" fmla="*/ 840 w 1211"/>
                <a:gd name="T81" fmla="*/ 1131 h 1150"/>
                <a:gd name="T82" fmla="*/ 877 w 1211"/>
                <a:gd name="T83" fmla="*/ 1137 h 1150"/>
                <a:gd name="T84" fmla="*/ 875 w 1211"/>
                <a:gd name="T85" fmla="*/ 1121 h 1150"/>
                <a:gd name="T86" fmla="*/ 860 w 1211"/>
                <a:gd name="T87" fmla="*/ 1088 h 1150"/>
                <a:gd name="T88" fmla="*/ 846 w 1211"/>
                <a:gd name="T89" fmla="*/ 1031 h 1150"/>
                <a:gd name="T90" fmla="*/ 828 w 1211"/>
                <a:gd name="T91" fmla="*/ 996 h 1150"/>
                <a:gd name="T92" fmla="*/ 848 w 1211"/>
                <a:gd name="T93" fmla="*/ 988 h 1150"/>
                <a:gd name="T94" fmla="*/ 871 w 1211"/>
                <a:gd name="T95" fmla="*/ 957 h 1150"/>
                <a:gd name="T96" fmla="*/ 864 w 1211"/>
                <a:gd name="T97" fmla="*/ 930 h 1150"/>
                <a:gd name="T98" fmla="*/ 887 w 1211"/>
                <a:gd name="T99" fmla="*/ 910 h 1150"/>
                <a:gd name="T100" fmla="*/ 899 w 1211"/>
                <a:gd name="T101" fmla="*/ 902 h 1150"/>
                <a:gd name="T102" fmla="*/ 916 w 1211"/>
                <a:gd name="T103" fmla="*/ 867 h 1150"/>
                <a:gd name="T104" fmla="*/ 944 w 1211"/>
                <a:gd name="T105" fmla="*/ 861 h 1150"/>
                <a:gd name="T106" fmla="*/ 940 w 1211"/>
                <a:gd name="T107" fmla="*/ 846 h 1150"/>
                <a:gd name="T108" fmla="*/ 950 w 1211"/>
                <a:gd name="T109" fmla="*/ 836 h 1150"/>
                <a:gd name="T110" fmla="*/ 971 w 1211"/>
                <a:gd name="T111" fmla="*/ 850 h 1150"/>
                <a:gd name="T112" fmla="*/ 1010 w 1211"/>
                <a:gd name="T113" fmla="*/ 834 h 1150"/>
                <a:gd name="T114" fmla="*/ 1086 w 1211"/>
                <a:gd name="T115" fmla="*/ 766 h 1150"/>
                <a:gd name="T116" fmla="*/ 1079 w 1211"/>
                <a:gd name="T117" fmla="*/ 740 h 1150"/>
                <a:gd name="T118" fmla="*/ 1104 w 1211"/>
                <a:gd name="T119" fmla="*/ 736 h 1150"/>
                <a:gd name="T120" fmla="*/ 1114 w 1211"/>
                <a:gd name="T121" fmla="*/ 752 h 1150"/>
                <a:gd name="T122" fmla="*/ 1196 w 1211"/>
                <a:gd name="T123" fmla="*/ 658 h 1150"/>
                <a:gd name="T124" fmla="*/ 1208 w 1211"/>
                <a:gd name="T125" fmla="*/ 586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1" h="1150">
                  <a:moveTo>
                    <a:pt x="866" y="1057"/>
                  </a:moveTo>
                  <a:lnTo>
                    <a:pt x="868" y="1062"/>
                  </a:lnTo>
                  <a:lnTo>
                    <a:pt x="868" y="1064"/>
                  </a:lnTo>
                  <a:lnTo>
                    <a:pt x="871" y="1066"/>
                  </a:lnTo>
                  <a:lnTo>
                    <a:pt x="871" y="1068"/>
                  </a:lnTo>
                  <a:lnTo>
                    <a:pt x="873" y="1074"/>
                  </a:lnTo>
                  <a:lnTo>
                    <a:pt x="873" y="1076"/>
                  </a:lnTo>
                  <a:lnTo>
                    <a:pt x="877" y="1080"/>
                  </a:lnTo>
                  <a:lnTo>
                    <a:pt x="877" y="1082"/>
                  </a:lnTo>
                  <a:lnTo>
                    <a:pt x="879" y="1090"/>
                  </a:lnTo>
                  <a:lnTo>
                    <a:pt x="879" y="1092"/>
                  </a:lnTo>
                  <a:lnTo>
                    <a:pt x="881" y="1096"/>
                  </a:lnTo>
                  <a:lnTo>
                    <a:pt x="881" y="1098"/>
                  </a:lnTo>
                  <a:lnTo>
                    <a:pt x="883" y="1119"/>
                  </a:lnTo>
                  <a:lnTo>
                    <a:pt x="885" y="1121"/>
                  </a:lnTo>
                  <a:lnTo>
                    <a:pt x="885" y="1121"/>
                  </a:lnTo>
                  <a:lnTo>
                    <a:pt x="887" y="1121"/>
                  </a:lnTo>
                  <a:lnTo>
                    <a:pt x="887" y="1119"/>
                  </a:lnTo>
                  <a:lnTo>
                    <a:pt x="885" y="1113"/>
                  </a:lnTo>
                  <a:lnTo>
                    <a:pt x="883" y="1109"/>
                  </a:lnTo>
                  <a:lnTo>
                    <a:pt x="883" y="1107"/>
                  </a:lnTo>
                  <a:lnTo>
                    <a:pt x="883" y="1103"/>
                  </a:lnTo>
                  <a:lnTo>
                    <a:pt x="883" y="1100"/>
                  </a:lnTo>
                  <a:lnTo>
                    <a:pt x="881" y="1096"/>
                  </a:lnTo>
                  <a:lnTo>
                    <a:pt x="881" y="1090"/>
                  </a:lnTo>
                  <a:lnTo>
                    <a:pt x="879" y="1086"/>
                  </a:lnTo>
                  <a:lnTo>
                    <a:pt x="879" y="1086"/>
                  </a:lnTo>
                  <a:lnTo>
                    <a:pt x="879" y="1084"/>
                  </a:lnTo>
                  <a:lnTo>
                    <a:pt x="868" y="1051"/>
                  </a:lnTo>
                  <a:lnTo>
                    <a:pt x="864" y="1033"/>
                  </a:lnTo>
                  <a:lnTo>
                    <a:pt x="862" y="1004"/>
                  </a:lnTo>
                  <a:lnTo>
                    <a:pt x="862" y="1002"/>
                  </a:lnTo>
                  <a:lnTo>
                    <a:pt x="862" y="1004"/>
                  </a:lnTo>
                  <a:lnTo>
                    <a:pt x="862" y="1010"/>
                  </a:lnTo>
                  <a:lnTo>
                    <a:pt x="860" y="1012"/>
                  </a:lnTo>
                  <a:lnTo>
                    <a:pt x="862" y="1014"/>
                  </a:lnTo>
                  <a:lnTo>
                    <a:pt x="862" y="1016"/>
                  </a:lnTo>
                  <a:lnTo>
                    <a:pt x="860" y="1021"/>
                  </a:lnTo>
                  <a:lnTo>
                    <a:pt x="860" y="1023"/>
                  </a:lnTo>
                  <a:lnTo>
                    <a:pt x="862" y="1025"/>
                  </a:lnTo>
                  <a:lnTo>
                    <a:pt x="862" y="1035"/>
                  </a:lnTo>
                  <a:lnTo>
                    <a:pt x="862" y="1039"/>
                  </a:lnTo>
                  <a:lnTo>
                    <a:pt x="862" y="1043"/>
                  </a:lnTo>
                  <a:lnTo>
                    <a:pt x="864" y="1047"/>
                  </a:lnTo>
                  <a:lnTo>
                    <a:pt x="866" y="1049"/>
                  </a:lnTo>
                  <a:lnTo>
                    <a:pt x="866" y="1049"/>
                  </a:lnTo>
                  <a:lnTo>
                    <a:pt x="866" y="1049"/>
                  </a:lnTo>
                  <a:lnTo>
                    <a:pt x="866" y="1049"/>
                  </a:lnTo>
                  <a:lnTo>
                    <a:pt x="866" y="1051"/>
                  </a:lnTo>
                  <a:lnTo>
                    <a:pt x="864" y="1051"/>
                  </a:lnTo>
                  <a:lnTo>
                    <a:pt x="864" y="1051"/>
                  </a:lnTo>
                  <a:lnTo>
                    <a:pt x="864" y="1051"/>
                  </a:lnTo>
                  <a:lnTo>
                    <a:pt x="866" y="1053"/>
                  </a:lnTo>
                  <a:lnTo>
                    <a:pt x="866" y="1053"/>
                  </a:lnTo>
                  <a:lnTo>
                    <a:pt x="866" y="1053"/>
                  </a:lnTo>
                  <a:lnTo>
                    <a:pt x="866" y="1055"/>
                  </a:lnTo>
                  <a:lnTo>
                    <a:pt x="866" y="1057"/>
                  </a:lnTo>
                  <a:close/>
                  <a:moveTo>
                    <a:pt x="891" y="935"/>
                  </a:moveTo>
                  <a:lnTo>
                    <a:pt x="891" y="937"/>
                  </a:lnTo>
                  <a:lnTo>
                    <a:pt x="891" y="939"/>
                  </a:lnTo>
                  <a:lnTo>
                    <a:pt x="887" y="941"/>
                  </a:lnTo>
                  <a:lnTo>
                    <a:pt x="883" y="945"/>
                  </a:lnTo>
                  <a:lnTo>
                    <a:pt x="879" y="957"/>
                  </a:lnTo>
                  <a:lnTo>
                    <a:pt x="879" y="957"/>
                  </a:lnTo>
                  <a:lnTo>
                    <a:pt x="877" y="955"/>
                  </a:lnTo>
                  <a:lnTo>
                    <a:pt x="877" y="955"/>
                  </a:lnTo>
                  <a:lnTo>
                    <a:pt x="875" y="953"/>
                  </a:lnTo>
                  <a:lnTo>
                    <a:pt x="875" y="955"/>
                  </a:lnTo>
                  <a:lnTo>
                    <a:pt x="875" y="957"/>
                  </a:lnTo>
                  <a:lnTo>
                    <a:pt x="875" y="957"/>
                  </a:lnTo>
                  <a:lnTo>
                    <a:pt x="873" y="959"/>
                  </a:lnTo>
                  <a:lnTo>
                    <a:pt x="875" y="961"/>
                  </a:lnTo>
                  <a:lnTo>
                    <a:pt x="873" y="963"/>
                  </a:lnTo>
                  <a:lnTo>
                    <a:pt x="871" y="967"/>
                  </a:lnTo>
                  <a:lnTo>
                    <a:pt x="868" y="969"/>
                  </a:lnTo>
                  <a:lnTo>
                    <a:pt x="868" y="969"/>
                  </a:lnTo>
                  <a:lnTo>
                    <a:pt x="866" y="973"/>
                  </a:lnTo>
                  <a:lnTo>
                    <a:pt x="866" y="975"/>
                  </a:lnTo>
                  <a:lnTo>
                    <a:pt x="866" y="980"/>
                  </a:lnTo>
                  <a:lnTo>
                    <a:pt x="862" y="988"/>
                  </a:lnTo>
                  <a:lnTo>
                    <a:pt x="862" y="998"/>
                  </a:lnTo>
                  <a:lnTo>
                    <a:pt x="862" y="1000"/>
                  </a:lnTo>
                  <a:lnTo>
                    <a:pt x="862" y="1000"/>
                  </a:lnTo>
                  <a:lnTo>
                    <a:pt x="862" y="1000"/>
                  </a:lnTo>
                  <a:lnTo>
                    <a:pt x="864" y="998"/>
                  </a:lnTo>
                  <a:lnTo>
                    <a:pt x="864" y="996"/>
                  </a:lnTo>
                  <a:lnTo>
                    <a:pt x="866" y="986"/>
                  </a:lnTo>
                  <a:lnTo>
                    <a:pt x="873" y="971"/>
                  </a:lnTo>
                  <a:lnTo>
                    <a:pt x="881" y="953"/>
                  </a:lnTo>
                  <a:lnTo>
                    <a:pt x="893" y="935"/>
                  </a:lnTo>
                  <a:lnTo>
                    <a:pt x="893" y="935"/>
                  </a:lnTo>
                  <a:lnTo>
                    <a:pt x="893" y="932"/>
                  </a:lnTo>
                  <a:lnTo>
                    <a:pt x="891" y="935"/>
                  </a:lnTo>
                  <a:close/>
                  <a:moveTo>
                    <a:pt x="911" y="902"/>
                  </a:moveTo>
                  <a:lnTo>
                    <a:pt x="909" y="902"/>
                  </a:lnTo>
                  <a:lnTo>
                    <a:pt x="907" y="902"/>
                  </a:lnTo>
                  <a:lnTo>
                    <a:pt x="907" y="904"/>
                  </a:lnTo>
                  <a:lnTo>
                    <a:pt x="907" y="904"/>
                  </a:lnTo>
                  <a:lnTo>
                    <a:pt x="907" y="906"/>
                  </a:lnTo>
                  <a:lnTo>
                    <a:pt x="905" y="906"/>
                  </a:lnTo>
                  <a:lnTo>
                    <a:pt x="899" y="916"/>
                  </a:lnTo>
                  <a:lnTo>
                    <a:pt x="899" y="916"/>
                  </a:lnTo>
                  <a:lnTo>
                    <a:pt x="901" y="916"/>
                  </a:lnTo>
                  <a:lnTo>
                    <a:pt x="901" y="916"/>
                  </a:lnTo>
                  <a:lnTo>
                    <a:pt x="901" y="918"/>
                  </a:lnTo>
                  <a:lnTo>
                    <a:pt x="901" y="918"/>
                  </a:lnTo>
                  <a:lnTo>
                    <a:pt x="897" y="922"/>
                  </a:lnTo>
                  <a:lnTo>
                    <a:pt x="895" y="926"/>
                  </a:lnTo>
                  <a:lnTo>
                    <a:pt x="893" y="930"/>
                  </a:lnTo>
                  <a:lnTo>
                    <a:pt x="895" y="932"/>
                  </a:lnTo>
                  <a:lnTo>
                    <a:pt x="895" y="930"/>
                  </a:lnTo>
                  <a:lnTo>
                    <a:pt x="897" y="928"/>
                  </a:lnTo>
                  <a:lnTo>
                    <a:pt x="899" y="924"/>
                  </a:lnTo>
                  <a:lnTo>
                    <a:pt x="903" y="918"/>
                  </a:lnTo>
                  <a:lnTo>
                    <a:pt x="911" y="908"/>
                  </a:lnTo>
                  <a:lnTo>
                    <a:pt x="911" y="908"/>
                  </a:lnTo>
                  <a:lnTo>
                    <a:pt x="911" y="906"/>
                  </a:lnTo>
                  <a:lnTo>
                    <a:pt x="911" y="904"/>
                  </a:lnTo>
                  <a:lnTo>
                    <a:pt x="911" y="904"/>
                  </a:lnTo>
                  <a:lnTo>
                    <a:pt x="911" y="902"/>
                  </a:lnTo>
                  <a:close/>
                  <a:moveTo>
                    <a:pt x="952" y="873"/>
                  </a:moveTo>
                  <a:lnTo>
                    <a:pt x="952" y="873"/>
                  </a:lnTo>
                  <a:lnTo>
                    <a:pt x="950" y="873"/>
                  </a:lnTo>
                  <a:lnTo>
                    <a:pt x="950" y="873"/>
                  </a:lnTo>
                  <a:lnTo>
                    <a:pt x="950" y="873"/>
                  </a:lnTo>
                  <a:lnTo>
                    <a:pt x="950" y="875"/>
                  </a:lnTo>
                  <a:lnTo>
                    <a:pt x="950" y="877"/>
                  </a:lnTo>
                  <a:lnTo>
                    <a:pt x="948" y="877"/>
                  </a:lnTo>
                  <a:lnTo>
                    <a:pt x="948" y="879"/>
                  </a:lnTo>
                  <a:lnTo>
                    <a:pt x="944" y="879"/>
                  </a:lnTo>
                  <a:lnTo>
                    <a:pt x="942" y="879"/>
                  </a:lnTo>
                  <a:lnTo>
                    <a:pt x="942" y="879"/>
                  </a:lnTo>
                  <a:lnTo>
                    <a:pt x="940" y="881"/>
                  </a:lnTo>
                  <a:lnTo>
                    <a:pt x="934" y="883"/>
                  </a:lnTo>
                  <a:lnTo>
                    <a:pt x="934" y="885"/>
                  </a:lnTo>
                  <a:lnTo>
                    <a:pt x="934" y="885"/>
                  </a:lnTo>
                  <a:lnTo>
                    <a:pt x="930" y="887"/>
                  </a:lnTo>
                  <a:lnTo>
                    <a:pt x="928" y="889"/>
                  </a:lnTo>
                  <a:lnTo>
                    <a:pt x="928" y="889"/>
                  </a:lnTo>
                  <a:lnTo>
                    <a:pt x="924" y="894"/>
                  </a:lnTo>
                  <a:lnTo>
                    <a:pt x="924" y="894"/>
                  </a:lnTo>
                  <a:lnTo>
                    <a:pt x="922" y="894"/>
                  </a:lnTo>
                  <a:lnTo>
                    <a:pt x="918" y="896"/>
                  </a:lnTo>
                  <a:lnTo>
                    <a:pt x="918" y="896"/>
                  </a:lnTo>
                  <a:lnTo>
                    <a:pt x="916" y="896"/>
                  </a:lnTo>
                  <a:lnTo>
                    <a:pt x="916" y="898"/>
                  </a:lnTo>
                  <a:lnTo>
                    <a:pt x="916" y="900"/>
                  </a:lnTo>
                  <a:lnTo>
                    <a:pt x="916" y="902"/>
                  </a:lnTo>
                  <a:lnTo>
                    <a:pt x="916" y="902"/>
                  </a:lnTo>
                  <a:lnTo>
                    <a:pt x="916" y="902"/>
                  </a:lnTo>
                  <a:lnTo>
                    <a:pt x="914" y="904"/>
                  </a:lnTo>
                  <a:lnTo>
                    <a:pt x="914" y="906"/>
                  </a:lnTo>
                  <a:lnTo>
                    <a:pt x="914" y="908"/>
                  </a:lnTo>
                  <a:lnTo>
                    <a:pt x="914" y="908"/>
                  </a:lnTo>
                  <a:lnTo>
                    <a:pt x="914" y="906"/>
                  </a:lnTo>
                  <a:lnTo>
                    <a:pt x="916" y="906"/>
                  </a:lnTo>
                  <a:lnTo>
                    <a:pt x="918" y="902"/>
                  </a:lnTo>
                  <a:lnTo>
                    <a:pt x="924" y="898"/>
                  </a:lnTo>
                  <a:lnTo>
                    <a:pt x="926" y="896"/>
                  </a:lnTo>
                  <a:lnTo>
                    <a:pt x="934" y="891"/>
                  </a:lnTo>
                  <a:lnTo>
                    <a:pt x="938" y="885"/>
                  </a:lnTo>
                  <a:lnTo>
                    <a:pt x="942" y="883"/>
                  </a:lnTo>
                  <a:lnTo>
                    <a:pt x="944" y="883"/>
                  </a:lnTo>
                  <a:lnTo>
                    <a:pt x="952" y="879"/>
                  </a:lnTo>
                  <a:lnTo>
                    <a:pt x="952" y="879"/>
                  </a:lnTo>
                  <a:lnTo>
                    <a:pt x="952" y="877"/>
                  </a:lnTo>
                  <a:lnTo>
                    <a:pt x="952" y="877"/>
                  </a:lnTo>
                  <a:lnTo>
                    <a:pt x="952" y="875"/>
                  </a:lnTo>
                  <a:lnTo>
                    <a:pt x="952" y="873"/>
                  </a:lnTo>
                  <a:lnTo>
                    <a:pt x="952" y="873"/>
                  </a:lnTo>
                  <a:close/>
                  <a:moveTo>
                    <a:pt x="965" y="863"/>
                  </a:moveTo>
                  <a:lnTo>
                    <a:pt x="961" y="865"/>
                  </a:lnTo>
                  <a:lnTo>
                    <a:pt x="957" y="871"/>
                  </a:lnTo>
                  <a:lnTo>
                    <a:pt x="957" y="871"/>
                  </a:lnTo>
                  <a:lnTo>
                    <a:pt x="959" y="871"/>
                  </a:lnTo>
                  <a:lnTo>
                    <a:pt x="959" y="869"/>
                  </a:lnTo>
                  <a:lnTo>
                    <a:pt x="963" y="867"/>
                  </a:lnTo>
                  <a:lnTo>
                    <a:pt x="965" y="867"/>
                  </a:lnTo>
                  <a:lnTo>
                    <a:pt x="965" y="865"/>
                  </a:lnTo>
                  <a:lnTo>
                    <a:pt x="967" y="863"/>
                  </a:lnTo>
                  <a:lnTo>
                    <a:pt x="967" y="863"/>
                  </a:lnTo>
                  <a:lnTo>
                    <a:pt x="967" y="863"/>
                  </a:lnTo>
                  <a:lnTo>
                    <a:pt x="967" y="863"/>
                  </a:lnTo>
                  <a:lnTo>
                    <a:pt x="969" y="863"/>
                  </a:lnTo>
                  <a:lnTo>
                    <a:pt x="969" y="863"/>
                  </a:lnTo>
                  <a:lnTo>
                    <a:pt x="969" y="861"/>
                  </a:lnTo>
                  <a:lnTo>
                    <a:pt x="965" y="863"/>
                  </a:lnTo>
                  <a:close/>
                  <a:moveTo>
                    <a:pt x="1098" y="762"/>
                  </a:moveTo>
                  <a:lnTo>
                    <a:pt x="1098" y="762"/>
                  </a:lnTo>
                  <a:lnTo>
                    <a:pt x="1098" y="762"/>
                  </a:lnTo>
                  <a:lnTo>
                    <a:pt x="1098" y="762"/>
                  </a:lnTo>
                  <a:lnTo>
                    <a:pt x="1098" y="762"/>
                  </a:lnTo>
                  <a:lnTo>
                    <a:pt x="1098" y="762"/>
                  </a:lnTo>
                  <a:lnTo>
                    <a:pt x="1098" y="762"/>
                  </a:lnTo>
                  <a:lnTo>
                    <a:pt x="1098" y="762"/>
                  </a:lnTo>
                  <a:lnTo>
                    <a:pt x="1098" y="762"/>
                  </a:lnTo>
                  <a:lnTo>
                    <a:pt x="1096" y="762"/>
                  </a:lnTo>
                  <a:lnTo>
                    <a:pt x="1096" y="764"/>
                  </a:lnTo>
                  <a:lnTo>
                    <a:pt x="1098" y="764"/>
                  </a:lnTo>
                  <a:lnTo>
                    <a:pt x="1098" y="766"/>
                  </a:lnTo>
                  <a:lnTo>
                    <a:pt x="1098" y="766"/>
                  </a:lnTo>
                  <a:lnTo>
                    <a:pt x="1098" y="769"/>
                  </a:lnTo>
                  <a:lnTo>
                    <a:pt x="1096" y="769"/>
                  </a:lnTo>
                  <a:lnTo>
                    <a:pt x="1094" y="769"/>
                  </a:lnTo>
                  <a:lnTo>
                    <a:pt x="1094" y="769"/>
                  </a:lnTo>
                  <a:lnTo>
                    <a:pt x="1094" y="771"/>
                  </a:lnTo>
                  <a:lnTo>
                    <a:pt x="1090" y="775"/>
                  </a:lnTo>
                  <a:lnTo>
                    <a:pt x="1090" y="775"/>
                  </a:lnTo>
                  <a:lnTo>
                    <a:pt x="1088" y="775"/>
                  </a:lnTo>
                  <a:lnTo>
                    <a:pt x="1088" y="775"/>
                  </a:lnTo>
                  <a:lnTo>
                    <a:pt x="1086" y="777"/>
                  </a:lnTo>
                  <a:lnTo>
                    <a:pt x="1086" y="777"/>
                  </a:lnTo>
                  <a:lnTo>
                    <a:pt x="1086" y="779"/>
                  </a:lnTo>
                  <a:lnTo>
                    <a:pt x="1077" y="783"/>
                  </a:lnTo>
                  <a:lnTo>
                    <a:pt x="1075" y="787"/>
                  </a:lnTo>
                  <a:lnTo>
                    <a:pt x="1073" y="789"/>
                  </a:lnTo>
                  <a:lnTo>
                    <a:pt x="1071" y="791"/>
                  </a:lnTo>
                  <a:lnTo>
                    <a:pt x="1073" y="791"/>
                  </a:lnTo>
                  <a:lnTo>
                    <a:pt x="1073" y="789"/>
                  </a:lnTo>
                  <a:lnTo>
                    <a:pt x="1088" y="779"/>
                  </a:lnTo>
                  <a:lnTo>
                    <a:pt x="1092" y="777"/>
                  </a:lnTo>
                  <a:lnTo>
                    <a:pt x="1104" y="764"/>
                  </a:lnTo>
                  <a:lnTo>
                    <a:pt x="1100" y="762"/>
                  </a:lnTo>
                  <a:lnTo>
                    <a:pt x="1098" y="762"/>
                  </a:lnTo>
                  <a:close/>
                  <a:moveTo>
                    <a:pt x="1211" y="574"/>
                  </a:moveTo>
                  <a:lnTo>
                    <a:pt x="1208" y="572"/>
                  </a:lnTo>
                  <a:lnTo>
                    <a:pt x="1206" y="570"/>
                  </a:lnTo>
                  <a:lnTo>
                    <a:pt x="1206" y="568"/>
                  </a:lnTo>
                  <a:lnTo>
                    <a:pt x="1206" y="566"/>
                  </a:lnTo>
                  <a:lnTo>
                    <a:pt x="1206" y="566"/>
                  </a:lnTo>
                  <a:lnTo>
                    <a:pt x="1206" y="559"/>
                  </a:lnTo>
                  <a:lnTo>
                    <a:pt x="1206" y="559"/>
                  </a:lnTo>
                  <a:lnTo>
                    <a:pt x="1204" y="557"/>
                  </a:lnTo>
                  <a:lnTo>
                    <a:pt x="1202" y="559"/>
                  </a:lnTo>
                  <a:lnTo>
                    <a:pt x="1202" y="559"/>
                  </a:lnTo>
                  <a:lnTo>
                    <a:pt x="1202" y="559"/>
                  </a:lnTo>
                  <a:lnTo>
                    <a:pt x="1202" y="559"/>
                  </a:lnTo>
                  <a:lnTo>
                    <a:pt x="1202" y="559"/>
                  </a:lnTo>
                  <a:lnTo>
                    <a:pt x="1202" y="557"/>
                  </a:lnTo>
                  <a:lnTo>
                    <a:pt x="1202" y="557"/>
                  </a:lnTo>
                  <a:lnTo>
                    <a:pt x="1200" y="557"/>
                  </a:lnTo>
                  <a:lnTo>
                    <a:pt x="1200" y="555"/>
                  </a:lnTo>
                  <a:lnTo>
                    <a:pt x="1200" y="553"/>
                  </a:lnTo>
                  <a:lnTo>
                    <a:pt x="1200" y="553"/>
                  </a:lnTo>
                  <a:lnTo>
                    <a:pt x="1200" y="553"/>
                  </a:lnTo>
                  <a:lnTo>
                    <a:pt x="1200" y="551"/>
                  </a:lnTo>
                  <a:lnTo>
                    <a:pt x="1198" y="551"/>
                  </a:lnTo>
                  <a:lnTo>
                    <a:pt x="1198" y="551"/>
                  </a:lnTo>
                  <a:lnTo>
                    <a:pt x="1198" y="549"/>
                  </a:lnTo>
                  <a:lnTo>
                    <a:pt x="1198" y="549"/>
                  </a:lnTo>
                  <a:lnTo>
                    <a:pt x="1198" y="549"/>
                  </a:lnTo>
                  <a:lnTo>
                    <a:pt x="1194" y="547"/>
                  </a:lnTo>
                  <a:lnTo>
                    <a:pt x="1194" y="545"/>
                  </a:lnTo>
                  <a:lnTo>
                    <a:pt x="1194" y="545"/>
                  </a:lnTo>
                  <a:lnTo>
                    <a:pt x="1194" y="545"/>
                  </a:lnTo>
                  <a:lnTo>
                    <a:pt x="1194" y="543"/>
                  </a:lnTo>
                  <a:lnTo>
                    <a:pt x="1194" y="543"/>
                  </a:lnTo>
                  <a:lnTo>
                    <a:pt x="1194" y="541"/>
                  </a:lnTo>
                  <a:lnTo>
                    <a:pt x="1194" y="541"/>
                  </a:lnTo>
                  <a:lnTo>
                    <a:pt x="1196" y="539"/>
                  </a:lnTo>
                  <a:lnTo>
                    <a:pt x="1196" y="539"/>
                  </a:lnTo>
                  <a:lnTo>
                    <a:pt x="1196" y="539"/>
                  </a:lnTo>
                  <a:lnTo>
                    <a:pt x="1194" y="539"/>
                  </a:lnTo>
                  <a:lnTo>
                    <a:pt x="1192" y="537"/>
                  </a:lnTo>
                  <a:lnTo>
                    <a:pt x="1192" y="535"/>
                  </a:lnTo>
                  <a:lnTo>
                    <a:pt x="1192" y="535"/>
                  </a:lnTo>
                  <a:lnTo>
                    <a:pt x="1190" y="535"/>
                  </a:lnTo>
                  <a:lnTo>
                    <a:pt x="1190" y="533"/>
                  </a:lnTo>
                  <a:lnTo>
                    <a:pt x="1190" y="531"/>
                  </a:lnTo>
                  <a:lnTo>
                    <a:pt x="1190" y="531"/>
                  </a:lnTo>
                  <a:lnTo>
                    <a:pt x="1190" y="531"/>
                  </a:lnTo>
                  <a:lnTo>
                    <a:pt x="1190" y="531"/>
                  </a:lnTo>
                  <a:lnTo>
                    <a:pt x="1188" y="531"/>
                  </a:lnTo>
                  <a:lnTo>
                    <a:pt x="1188" y="531"/>
                  </a:lnTo>
                  <a:lnTo>
                    <a:pt x="1188" y="531"/>
                  </a:lnTo>
                  <a:lnTo>
                    <a:pt x="1186" y="529"/>
                  </a:lnTo>
                  <a:lnTo>
                    <a:pt x="1186" y="529"/>
                  </a:lnTo>
                  <a:lnTo>
                    <a:pt x="1186" y="529"/>
                  </a:lnTo>
                  <a:lnTo>
                    <a:pt x="1186" y="527"/>
                  </a:lnTo>
                  <a:lnTo>
                    <a:pt x="1186" y="527"/>
                  </a:lnTo>
                  <a:lnTo>
                    <a:pt x="1188" y="527"/>
                  </a:lnTo>
                  <a:lnTo>
                    <a:pt x="1188" y="527"/>
                  </a:lnTo>
                  <a:lnTo>
                    <a:pt x="1188" y="527"/>
                  </a:lnTo>
                  <a:lnTo>
                    <a:pt x="1188" y="527"/>
                  </a:lnTo>
                  <a:lnTo>
                    <a:pt x="1188" y="525"/>
                  </a:lnTo>
                  <a:lnTo>
                    <a:pt x="1188" y="525"/>
                  </a:lnTo>
                  <a:lnTo>
                    <a:pt x="1188" y="525"/>
                  </a:lnTo>
                  <a:lnTo>
                    <a:pt x="1188" y="525"/>
                  </a:lnTo>
                  <a:lnTo>
                    <a:pt x="1186" y="525"/>
                  </a:lnTo>
                  <a:lnTo>
                    <a:pt x="1184" y="523"/>
                  </a:lnTo>
                  <a:lnTo>
                    <a:pt x="1184" y="523"/>
                  </a:lnTo>
                  <a:lnTo>
                    <a:pt x="1184" y="523"/>
                  </a:lnTo>
                  <a:lnTo>
                    <a:pt x="1182" y="523"/>
                  </a:lnTo>
                  <a:lnTo>
                    <a:pt x="1180" y="521"/>
                  </a:lnTo>
                  <a:lnTo>
                    <a:pt x="1180" y="518"/>
                  </a:lnTo>
                  <a:lnTo>
                    <a:pt x="1178" y="516"/>
                  </a:lnTo>
                  <a:lnTo>
                    <a:pt x="1178" y="516"/>
                  </a:lnTo>
                  <a:lnTo>
                    <a:pt x="1178" y="516"/>
                  </a:lnTo>
                  <a:lnTo>
                    <a:pt x="1178" y="514"/>
                  </a:lnTo>
                  <a:lnTo>
                    <a:pt x="1178" y="514"/>
                  </a:lnTo>
                  <a:lnTo>
                    <a:pt x="1178" y="512"/>
                  </a:lnTo>
                  <a:lnTo>
                    <a:pt x="1178" y="512"/>
                  </a:lnTo>
                  <a:lnTo>
                    <a:pt x="1178" y="512"/>
                  </a:lnTo>
                  <a:lnTo>
                    <a:pt x="1178" y="510"/>
                  </a:lnTo>
                  <a:lnTo>
                    <a:pt x="1178" y="508"/>
                  </a:lnTo>
                  <a:lnTo>
                    <a:pt x="1178" y="506"/>
                  </a:lnTo>
                  <a:lnTo>
                    <a:pt x="1180" y="504"/>
                  </a:lnTo>
                  <a:lnTo>
                    <a:pt x="1180" y="504"/>
                  </a:lnTo>
                  <a:lnTo>
                    <a:pt x="1180" y="504"/>
                  </a:lnTo>
                  <a:lnTo>
                    <a:pt x="1178" y="504"/>
                  </a:lnTo>
                  <a:lnTo>
                    <a:pt x="1178" y="502"/>
                  </a:lnTo>
                  <a:lnTo>
                    <a:pt x="1178" y="502"/>
                  </a:lnTo>
                  <a:lnTo>
                    <a:pt x="1178" y="502"/>
                  </a:lnTo>
                  <a:lnTo>
                    <a:pt x="1178" y="500"/>
                  </a:lnTo>
                  <a:lnTo>
                    <a:pt x="1176" y="496"/>
                  </a:lnTo>
                  <a:lnTo>
                    <a:pt x="1176" y="496"/>
                  </a:lnTo>
                  <a:lnTo>
                    <a:pt x="1174" y="492"/>
                  </a:lnTo>
                  <a:lnTo>
                    <a:pt x="1174" y="492"/>
                  </a:lnTo>
                  <a:lnTo>
                    <a:pt x="1172" y="490"/>
                  </a:lnTo>
                  <a:lnTo>
                    <a:pt x="1172" y="490"/>
                  </a:lnTo>
                  <a:lnTo>
                    <a:pt x="1172" y="488"/>
                  </a:lnTo>
                  <a:lnTo>
                    <a:pt x="1170" y="486"/>
                  </a:lnTo>
                  <a:lnTo>
                    <a:pt x="1168" y="484"/>
                  </a:lnTo>
                  <a:lnTo>
                    <a:pt x="1168" y="484"/>
                  </a:lnTo>
                  <a:lnTo>
                    <a:pt x="1163" y="482"/>
                  </a:lnTo>
                  <a:lnTo>
                    <a:pt x="1163" y="482"/>
                  </a:lnTo>
                  <a:lnTo>
                    <a:pt x="1163" y="482"/>
                  </a:lnTo>
                  <a:lnTo>
                    <a:pt x="1163" y="482"/>
                  </a:lnTo>
                  <a:lnTo>
                    <a:pt x="1161" y="478"/>
                  </a:lnTo>
                  <a:lnTo>
                    <a:pt x="1159" y="478"/>
                  </a:lnTo>
                  <a:lnTo>
                    <a:pt x="1159" y="478"/>
                  </a:lnTo>
                  <a:lnTo>
                    <a:pt x="1157" y="475"/>
                  </a:lnTo>
                  <a:lnTo>
                    <a:pt x="1157" y="475"/>
                  </a:lnTo>
                  <a:lnTo>
                    <a:pt x="1157" y="475"/>
                  </a:lnTo>
                  <a:lnTo>
                    <a:pt x="1157" y="475"/>
                  </a:lnTo>
                  <a:lnTo>
                    <a:pt x="1155" y="473"/>
                  </a:lnTo>
                  <a:lnTo>
                    <a:pt x="1155" y="467"/>
                  </a:lnTo>
                  <a:lnTo>
                    <a:pt x="1155" y="453"/>
                  </a:lnTo>
                  <a:lnTo>
                    <a:pt x="1155" y="441"/>
                  </a:lnTo>
                  <a:lnTo>
                    <a:pt x="1153" y="428"/>
                  </a:lnTo>
                  <a:lnTo>
                    <a:pt x="1153" y="416"/>
                  </a:lnTo>
                  <a:lnTo>
                    <a:pt x="1153" y="404"/>
                  </a:lnTo>
                  <a:lnTo>
                    <a:pt x="1151" y="377"/>
                  </a:lnTo>
                  <a:lnTo>
                    <a:pt x="1151" y="365"/>
                  </a:lnTo>
                  <a:lnTo>
                    <a:pt x="1149" y="353"/>
                  </a:lnTo>
                  <a:lnTo>
                    <a:pt x="1149" y="340"/>
                  </a:lnTo>
                  <a:lnTo>
                    <a:pt x="1147" y="326"/>
                  </a:lnTo>
                  <a:lnTo>
                    <a:pt x="1147" y="314"/>
                  </a:lnTo>
                  <a:lnTo>
                    <a:pt x="1147" y="307"/>
                  </a:lnTo>
                  <a:lnTo>
                    <a:pt x="1147" y="307"/>
                  </a:lnTo>
                  <a:lnTo>
                    <a:pt x="1145" y="305"/>
                  </a:lnTo>
                  <a:lnTo>
                    <a:pt x="1145" y="305"/>
                  </a:lnTo>
                  <a:lnTo>
                    <a:pt x="1141" y="303"/>
                  </a:lnTo>
                  <a:lnTo>
                    <a:pt x="1141" y="305"/>
                  </a:lnTo>
                  <a:lnTo>
                    <a:pt x="1139" y="305"/>
                  </a:lnTo>
                  <a:lnTo>
                    <a:pt x="1137" y="305"/>
                  </a:lnTo>
                  <a:lnTo>
                    <a:pt x="1133" y="303"/>
                  </a:lnTo>
                  <a:lnTo>
                    <a:pt x="1133" y="303"/>
                  </a:lnTo>
                  <a:lnTo>
                    <a:pt x="1131" y="305"/>
                  </a:lnTo>
                  <a:lnTo>
                    <a:pt x="1131" y="305"/>
                  </a:lnTo>
                  <a:lnTo>
                    <a:pt x="1124" y="303"/>
                  </a:lnTo>
                  <a:lnTo>
                    <a:pt x="1124" y="303"/>
                  </a:lnTo>
                  <a:lnTo>
                    <a:pt x="1122" y="305"/>
                  </a:lnTo>
                  <a:lnTo>
                    <a:pt x="1122" y="307"/>
                  </a:lnTo>
                  <a:lnTo>
                    <a:pt x="1122" y="307"/>
                  </a:lnTo>
                  <a:lnTo>
                    <a:pt x="1120" y="307"/>
                  </a:lnTo>
                  <a:lnTo>
                    <a:pt x="1118" y="307"/>
                  </a:lnTo>
                  <a:lnTo>
                    <a:pt x="1116" y="307"/>
                  </a:lnTo>
                  <a:lnTo>
                    <a:pt x="1116" y="305"/>
                  </a:lnTo>
                  <a:lnTo>
                    <a:pt x="1116" y="305"/>
                  </a:lnTo>
                  <a:lnTo>
                    <a:pt x="1116" y="305"/>
                  </a:lnTo>
                  <a:lnTo>
                    <a:pt x="1114" y="305"/>
                  </a:lnTo>
                  <a:lnTo>
                    <a:pt x="1112" y="303"/>
                  </a:lnTo>
                  <a:lnTo>
                    <a:pt x="1110" y="303"/>
                  </a:lnTo>
                  <a:lnTo>
                    <a:pt x="1110" y="301"/>
                  </a:lnTo>
                  <a:lnTo>
                    <a:pt x="1108" y="299"/>
                  </a:lnTo>
                  <a:lnTo>
                    <a:pt x="1106" y="299"/>
                  </a:lnTo>
                  <a:lnTo>
                    <a:pt x="1106" y="299"/>
                  </a:lnTo>
                  <a:lnTo>
                    <a:pt x="1104" y="299"/>
                  </a:lnTo>
                  <a:lnTo>
                    <a:pt x="1102" y="297"/>
                  </a:lnTo>
                  <a:lnTo>
                    <a:pt x="1102" y="299"/>
                  </a:lnTo>
                  <a:lnTo>
                    <a:pt x="1098" y="297"/>
                  </a:lnTo>
                  <a:lnTo>
                    <a:pt x="1098" y="297"/>
                  </a:lnTo>
                  <a:lnTo>
                    <a:pt x="1098" y="295"/>
                  </a:lnTo>
                  <a:lnTo>
                    <a:pt x="1098" y="295"/>
                  </a:lnTo>
                  <a:lnTo>
                    <a:pt x="1096" y="295"/>
                  </a:lnTo>
                  <a:lnTo>
                    <a:pt x="1094" y="295"/>
                  </a:lnTo>
                  <a:lnTo>
                    <a:pt x="1092" y="295"/>
                  </a:lnTo>
                  <a:lnTo>
                    <a:pt x="1092" y="295"/>
                  </a:lnTo>
                  <a:lnTo>
                    <a:pt x="1090" y="295"/>
                  </a:lnTo>
                  <a:lnTo>
                    <a:pt x="1090" y="293"/>
                  </a:lnTo>
                  <a:lnTo>
                    <a:pt x="1088" y="293"/>
                  </a:lnTo>
                  <a:lnTo>
                    <a:pt x="1088" y="295"/>
                  </a:lnTo>
                  <a:lnTo>
                    <a:pt x="1088" y="295"/>
                  </a:lnTo>
                  <a:lnTo>
                    <a:pt x="1086" y="295"/>
                  </a:lnTo>
                  <a:lnTo>
                    <a:pt x="1086" y="293"/>
                  </a:lnTo>
                  <a:lnTo>
                    <a:pt x="1084" y="293"/>
                  </a:lnTo>
                  <a:lnTo>
                    <a:pt x="1081" y="291"/>
                  </a:lnTo>
                  <a:lnTo>
                    <a:pt x="1081" y="289"/>
                  </a:lnTo>
                  <a:lnTo>
                    <a:pt x="1079" y="289"/>
                  </a:lnTo>
                  <a:lnTo>
                    <a:pt x="1077" y="289"/>
                  </a:lnTo>
                  <a:lnTo>
                    <a:pt x="1071" y="289"/>
                  </a:lnTo>
                  <a:lnTo>
                    <a:pt x="1067" y="285"/>
                  </a:lnTo>
                  <a:lnTo>
                    <a:pt x="1067" y="283"/>
                  </a:lnTo>
                  <a:lnTo>
                    <a:pt x="1065" y="283"/>
                  </a:lnTo>
                  <a:lnTo>
                    <a:pt x="1065" y="281"/>
                  </a:lnTo>
                  <a:lnTo>
                    <a:pt x="1065" y="281"/>
                  </a:lnTo>
                  <a:lnTo>
                    <a:pt x="1063" y="281"/>
                  </a:lnTo>
                  <a:lnTo>
                    <a:pt x="1063" y="279"/>
                  </a:lnTo>
                  <a:lnTo>
                    <a:pt x="1063" y="279"/>
                  </a:lnTo>
                  <a:lnTo>
                    <a:pt x="1063" y="279"/>
                  </a:lnTo>
                  <a:lnTo>
                    <a:pt x="1061" y="279"/>
                  </a:lnTo>
                  <a:lnTo>
                    <a:pt x="1061" y="277"/>
                  </a:lnTo>
                  <a:lnTo>
                    <a:pt x="1059" y="277"/>
                  </a:lnTo>
                  <a:lnTo>
                    <a:pt x="1057" y="277"/>
                  </a:lnTo>
                  <a:lnTo>
                    <a:pt x="1055" y="277"/>
                  </a:lnTo>
                  <a:lnTo>
                    <a:pt x="1053" y="273"/>
                  </a:lnTo>
                  <a:lnTo>
                    <a:pt x="1051" y="273"/>
                  </a:lnTo>
                  <a:lnTo>
                    <a:pt x="1049" y="273"/>
                  </a:lnTo>
                  <a:lnTo>
                    <a:pt x="1047" y="271"/>
                  </a:lnTo>
                  <a:lnTo>
                    <a:pt x="1047" y="271"/>
                  </a:lnTo>
                  <a:lnTo>
                    <a:pt x="1047" y="271"/>
                  </a:lnTo>
                  <a:lnTo>
                    <a:pt x="1045" y="268"/>
                  </a:lnTo>
                  <a:lnTo>
                    <a:pt x="1038" y="268"/>
                  </a:lnTo>
                  <a:lnTo>
                    <a:pt x="1038" y="268"/>
                  </a:lnTo>
                  <a:lnTo>
                    <a:pt x="1036" y="268"/>
                  </a:lnTo>
                  <a:lnTo>
                    <a:pt x="1036" y="271"/>
                  </a:lnTo>
                  <a:lnTo>
                    <a:pt x="1036" y="273"/>
                  </a:lnTo>
                  <a:lnTo>
                    <a:pt x="1034" y="275"/>
                  </a:lnTo>
                  <a:lnTo>
                    <a:pt x="1034" y="273"/>
                  </a:lnTo>
                  <a:lnTo>
                    <a:pt x="1034" y="275"/>
                  </a:lnTo>
                  <a:lnTo>
                    <a:pt x="1032" y="275"/>
                  </a:lnTo>
                  <a:lnTo>
                    <a:pt x="1032" y="275"/>
                  </a:lnTo>
                  <a:lnTo>
                    <a:pt x="1032" y="277"/>
                  </a:lnTo>
                  <a:lnTo>
                    <a:pt x="1030" y="275"/>
                  </a:lnTo>
                  <a:lnTo>
                    <a:pt x="1030" y="275"/>
                  </a:lnTo>
                  <a:lnTo>
                    <a:pt x="1030" y="277"/>
                  </a:lnTo>
                  <a:lnTo>
                    <a:pt x="1030" y="277"/>
                  </a:lnTo>
                  <a:lnTo>
                    <a:pt x="1028" y="277"/>
                  </a:lnTo>
                  <a:lnTo>
                    <a:pt x="1028" y="279"/>
                  </a:lnTo>
                  <a:lnTo>
                    <a:pt x="1028" y="279"/>
                  </a:lnTo>
                  <a:lnTo>
                    <a:pt x="1028" y="279"/>
                  </a:lnTo>
                  <a:lnTo>
                    <a:pt x="1020" y="279"/>
                  </a:lnTo>
                  <a:lnTo>
                    <a:pt x="1020" y="279"/>
                  </a:lnTo>
                  <a:lnTo>
                    <a:pt x="1018" y="279"/>
                  </a:lnTo>
                  <a:lnTo>
                    <a:pt x="1018" y="277"/>
                  </a:lnTo>
                  <a:lnTo>
                    <a:pt x="1018" y="277"/>
                  </a:lnTo>
                  <a:lnTo>
                    <a:pt x="1016" y="277"/>
                  </a:lnTo>
                  <a:lnTo>
                    <a:pt x="1016" y="277"/>
                  </a:lnTo>
                  <a:lnTo>
                    <a:pt x="1016" y="279"/>
                  </a:lnTo>
                  <a:lnTo>
                    <a:pt x="1016" y="279"/>
                  </a:lnTo>
                  <a:lnTo>
                    <a:pt x="1014" y="277"/>
                  </a:lnTo>
                  <a:lnTo>
                    <a:pt x="1014" y="277"/>
                  </a:lnTo>
                  <a:lnTo>
                    <a:pt x="1014" y="277"/>
                  </a:lnTo>
                  <a:lnTo>
                    <a:pt x="1014" y="277"/>
                  </a:lnTo>
                  <a:lnTo>
                    <a:pt x="1012" y="277"/>
                  </a:lnTo>
                  <a:lnTo>
                    <a:pt x="1010" y="277"/>
                  </a:lnTo>
                  <a:lnTo>
                    <a:pt x="1012" y="275"/>
                  </a:lnTo>
                  <a:lnTo>
                    <a:pt x="1010" y="273"/>
                  </a:lnTo>
                  <a:lnTo>
                    <a:pt x="1010" y="273"/>
                  </a:lnTo>
                  <a:lnTo>
                    <a:pt x="1008" y="271"/>
                  </a:lnTo>
                  <a:lnTo>
                    <a:pt x="1006" y="271"/>
                  </a:lnTo>
                  <a:lnTo>
                    <a:pt x="1006" y="271"/>
                  </a:lnTo>
                  <a:lnTo>
                    <a:pt x="1004" y="271"/>
                  </a:lnTo>
                  <a:lnTo>
                    <a:pt x="1004" y="273"/>
                  </a:lnTo>
                  <a:lnTo>
                    <a:pt x="1004" y="273"/>
                  </a:lnTo>
                  <a:lnTo>
                    <a:pt x="1002" y="273"/>
                  </a:lnTo>
                  <a:lnTo>
                    <a:pt x="1002" y="273"/>
                  </a:lnTo>
                  <a:lnTo>
                    <a:pt x="1000" y="275"/>
                  </a:lnTo>
                  <a:lnTo>
                    <a:pt x="998" y="275"/>
                  </a:lnTo>
                  <a:lnTo>
                    <a:pt x="998" y="275"/>
                  </a:lnTo>
                  <a:lnTo>
                    <a:pt x="995" y="277"/>
                  </a:lnTo>
                  <a:lnTo>
                    <a:pt x="995" y="277"/>
                  </a:lnTo>
                  <a:lnTo>
                    <a:pt x="995" y="277"/>
                  </a:lnTo>
                  <a:lnTo>
                    <a:pt x="993" y="277"/>
                  </a:lnTo>
                  <a:lnTo>
                    <a:pt x="991" y="277"/>
                  </a:lnTo>
                  <a:lnTo>
                    <a:pt x="989" y="277"/>
                  </a:lnTo>
                  <a:lnTo>
                    <a:pt x="989" y="281"/>
                  </a:lnTo>
                  <a:lnTo>
                    <a:pt x="989" y="281"/>
                  </a:lnTo>
                  <a:lnTo>
                    <a:pt x="989" y="281"/>
                  </a:lnTo>
                  <a:lnTo>
                    <a:pt x="987" y="281"/>
                  </a:lnTo>
                  <a:lnTo>
                    <a:pt x="987" y="281"/>
                  </a:lnTo>
                  <a:lnTo>
                    <a:pt x="987" y="281"/>
                  </a:lnTo>
                  <a:lnTo>
                    <a:pt x="987" y="281"/>
                  </a:lnTo>
                  <a:lnTo>
                    <a:pt x="985" y="281"/>
                  </a:lnTo>
                  <a:lnTo>
                    <a:pt x="983" y="283"/>
                  </a:lnTo>
                  <a:lnTo>
                    <a:pt x="983" y="281"/>
                  </a:lnTo>
                  <a:lnTo>
                    <a:pt x="977" y="279"/>
                  </a:lnTo>
                  <a:lnTo>
                    <a:pt x="977" y="277"/>
                  </a:lnTo>
                  <a:lnTo>
                    <a:pt x="975" y="277"/>
                  </a:lnTo>
                  <a:lnTo>
                    <a:pt x="975" y="279"/>
                  </a:lnTo>
                  <a:lnTo>
                    <a:pt x="973" y="279"/>
                  </a:lnTo>
                  <a:lnTo>
                    <a:pt x="973" y="281"/>
                  </a:lnTo>
                  <a:lnTo>
                    <a:pt x="973" y="281"/>
                  </a:lnTo>
                  <a:lnTo>
                    <a:pt x="971" y="281"/>
                  </a:lnTo>
                  <a:lnTo>
                    <a:pt x="969" y="283"/>
                  </a:lnTo>
                  <a:lnTo>
                    <a:pt x="967" y="283"/>
                  </a:lnTo>
                  <a:lnTo>
                    <a:pt x="965" y="283"/>
                  </a:lnTo>
                  <a:lnTo>
                    <a:pt x="961" y="283"/>
                  </a:lnTo>
                  <a:lnTo>
                    <a:pt x="959" y="285"/>
                  </a:lnTo>
                  <a:lnTo>
                    <a:pt x="959" y="285"/>
                  </a:lnTo>
                  <a:lnTo>
                    <a:pt x="957" y="285"/>
                  </a:lnTo>
                  <a:lnTo>
                    <a:pt x="957" y="287"/>
                  </a:lnTo>
                  <a:lnTo>
                    <a:pt x="955" y="289"/>
                  </a:lnTo>
                  <a:lnTo>
                    <a:pt x="955" y="291"/>
                  </a:lnTo>
                  <a:lnTo>
                    <a:pt x="952" y="293"/>
                  </a:lnTo>
                  <a:lnTo>
                    <a:pt x="950" y="293"/>
                  </a:lnTo>
                  <a:lnTo>
                    <a:pt x="946" y="293"/>
                  </a:lnTo>
                  <a:lnTo>
                    <a:pt x="944" y="293"/>
                  </a:lnTo>
                  <a:lnTo>
                    <a:pt x="944" y="293"/>
                  </a:lnTo>
                  <a:lnTo>
                    <a:pt x="944" y="295"/>
                  </a:lnTo>
                  <a:lnTo>
                    <a:pt x="944" y="297"/>
                  </a:lnTo>
                  <a:lnTo>
                    <a:pt x="940" y="299"/>
                  </a:lnTo>
                  <a:lnTo>
                    <a:pt x="938" y="297"/>
                  </a:lnTo>
                  <a:lnTo>
                    <a:pt x="936" y="293"/>
                  </a:lnTo>
                  <a:lnTo>
                    <a:pt x="934" y="291"/>
                  </a:lnTo>
                  <a:lnTo>
                    <a:pt x="932" y="291"/>
                  </a:lnTo>
                  <a:lnTo>
                    <a:pt x="926" y="291"/>
                  </a:lnTo>
                  <a:lnTo>
                    <a:pt x="926" y="291"/>
                  </a:lnTo>
                  <a:lnTo>
                    <a:pt x="924" y="289"/>
                  </a:lnTo>
                  <a:lnTo>
                    <a:pt x="924" y="289"/>
                  </a:lnTo>
                  <a:lnTo>
                    <a:pt x="924" y="287"/>
                  </a:lnTo>
                  <a:lnTo>
                    <a:pt x="924" y="287"/>
                  </a:lnTo>
                  <a:lnTo>
                    <a:pt x="922" y="287"/>
                  </a:lnTo>
                  <a:lnTo>
                    <a:pt x="918" y="285"/>
                  </a:lnTo>
                  <a:lnTo>
                    <a:pt x="918" y="285"/>
                  </a:lnTo>
                  <a:lnTo>
                    <a:pt x="916" y="285"/>
                  </a:lnTo>
                  <a:lnTo>
                    <a:pt x="916" y="283"/>
                  </a:lnTo>
                  <a:lnTo>
                    <a:pt x="916" y="283"/>
                  </a:lnTo>
                  <a:lnTo>
                    <a:pt x="916" y="283"/>
                  </a:lnTo>
                  <a:lnTo>
                    <a:pt x="916" y="281"/>
                  </a:lnTo>
                  <a:lnTo>
                    <a:pt x="918" y="281"/>
                  </a:lnTo>
                  <a:lnTo>
                    <a:pt x="918" y="279"/>
                  </a:lnTo>
                  <a:lnTo>
                    <a:pt x="916" y="279"/>
                  </a:lnTo>
                  <a:lnTo>
                    <a:pt x="914" y="277"/>
                  </a:lnTo>
                  <a:lnTo>
                    <a:pt x="911" y="277"/>
                  </a:lnTo>
                  <a:lnTo>
                    <a:pt x="911" y="277"/>
                  </a:lnTo>
                  <a:lnTo>
                    <a:pt x="911" y="277"/>
                  </a:lnTo>
                  <a:lnTo>
                    <a:pt x="911" y="279"/>
                  </a:lnTo>
                  <a:lnTo>
                    <a:pt x="909" y="279"/>
                  </a:lnTo>
                  <a:lnTo>
                    <a:pt x="909" y="283"/>
                  </a:lnTo>
                  <a:lnTo>
                    <a:pt x="909" y="283"/>
                  </a:lnTo>
                  <a:lnTo>
                    <a:pt x="909" y="283"/>
                  </a:lnTo>
                  <a:lnTo>
                    <a:pt x="907" y="283"/>
                  </a:lnTo>
                  <a:lnTo>
                    <a:pt x="907" y="285"/>
                  </a:lnTo>
                  <a:lnTo>
                    <a:pt x="907" y="285"/>
                  </a:lnTo>
                  <a:lnTo>
                    <a:pt x="905" y="285"/>
                  </a:lnTo>
                  <a:lnTo>
                    <a:pt x="905" y="285"/>
                  </a:lnTo>
                  <a:lnTo>
                    <a:pt x="903" y="285"/>
                  </a:lnTo>
                  <a:lnTo>
                    <a:pt x="903" y="285"/>
                  </a:lnTo>
                  <a:lnTo>
                    <a:pt x="903" y="285"/>
                  </a:lnTo>
                  <a:lnTo>
                    <a:pt x="899" y="283"/>
                  </a:lnTo>
                  <a:lnTo>
                    <a:pt x="899" y="283"/>
                  </a:lnTo>
                  <a:lnTo>
                    <a:pt x="899" y="283"/>
                  </a:lnTo>
                  <a:lnTo>
                    <a:pt x="895" y="283"/>
                  </a:lnTo>
                  <a:lnTo>
                    <a:pt x="895" y="283"/>
                  </a:lnTo>
                  <a:lnTo>
                    <a:pt x="893" y="283"/>
                  </a:lnTo>
                  <a:lnTo>
                    <a:pt x="893" y="283"/>
                  </a:lnTo>
                  <a:lnTo>
                    <a:pt x="891" y="281"/>
                  </a:lnTo>
                  <a:lnTo>
                    <a:pt x="891" y="281"/>
                  </a:lnTo>
                  <a:lnTo>
                    <a:pt x="891" y="279"/>
                  </a:lnTo>
                  <a:lnTo>
                    <a:pt x="891" y="277"/>
                  </a:lnTo>
                  <a:lnTo>
                    <a:pt x="889" y="275"/>
                  </a:lnTo>
                  <a:lnTo>
                    <a:pt x="889" y="275"/>
                  </a:lnTo>
                  <a:lnTo>
                    <a:pt x="889" y="275"/>
                  </a:lnTo>
                  <a:lnTo>
                    <a:pt x="887" y="275"/>
                  </a:lnTo>
                  <a:lnTo>
                    <a:pt x="887" y="275"/>
                  </a:lnTo>
                  <a:lnTo>
                    <a:pt x="887" y="275"/>
                  </a:lnTo>
                  <a:lnTo>
                    <a:pt x="883" y="275"/>
                  </a:lnTo>
                  <a:lnTo>
                    <a:pt x="883" y="275"/>
                  </a:lnTo>
                  <a:lnTo>
                    <a:pt x="883" y="275"/>
                  </a:lnTo>
                  <a:lnTo>
                    <a:pt x="881" y="275"/>
                  </a:lnTo>
                  <a:lnTo>
                    <a:pt x="881" y="277"/>
                  </a:lnTo>
                  <a:lnTo>
                    <a:pt x="881" y="279"/>
                  </a:lnTo>
                  <a:lnTo>
                    <a:pt x="881" y="283"/>
                  </a:lnTo>
                  <a:lnTo>
                    <a:pt x="879" y="285"/>
                  </a:lnTo>
                  <a:lnTo>
                    <a:pt x="877" y="285"/>
                  </a:lnTo>
                  <a:lnTo>
                    <a:pt x="873" y="285"/>
                  </a:lnTo>
                  <a:lnTo>
                    <a:pt x="873" y="287"/>
                  </a:lnTo>
                  <a:lnTo>
                    <a:pt x="875" y="287"/>
                  </a:lnTo>
                  <a:lnTo>
                    <a:pt x="875" y="287"/>
                  </a:lnTo>
                  <a:lnTo>
                    <a:pt x="875" y="289"/>
                  </a:lnTo>
                  <a:lnTo>
                    <a:pt x="875" y="289"/>
                  </a:lnTo>
                  <a:lnTo>
                    <a:pt x="873" y="291"/>
                  </a:lnTo>
                  <a:lnTo>
                    <a:pt x="873" y="291"/>
                  </a:lnTo>
                  <a:lnTo>
                    <a:pt x="873" y="295"/>
                  </a:lnTo>
                  <a:lnTo>
                    <a:pt x="873" y="297"/>
                  </a:lnTo>
                  <a:lnTo>
                    <a:pt x="871" y="299"/>
                  </a:lnTo>
                  <a:lnTo>
                    <a:pt x="868" y="299"/>
                  </a:lnTo>
                  <a:lnTo>
                    <a:pt x="864" y="297"/>
                  </a:lnTo>
                  <a:lnTo>
                    <a:pt x="864" y="295"/>
                  </a:lnTo>
                  <a:lnTo>
                    <a:pt x="862" y="293"/>
                  </a:lnTo>
                  <a:lnTo>
                    <a:pt x="862" y="291"/>
                  </a:lnTo>
                  <a:lnTo>
                    <a:pt x="862" y="289"/>
                  </a:lnTo>
                  <a:lnTo>
                    <a:pt x="864" y="285"/>
                  </a:lnTo>
                  <a:lnTo>
                    <a:pt x="864" y="283"/>
                  </a:lnTo>
                  <a:lnTo>
                    <a:pt x="864" y="283"/>
                  </a:lnTo>
                  <a:lnTo>
                    <a:pt x="862" y="281"/>
                  </a:lnTo>
                  <a:lnTo>
                    <a:pt x="862" y="281"/>
                  </a:lnTo>
                  <a:lnTo>
                    <a:pt x="860" y="279"/>
                  </a:lnTo>
                  <a:lnTo>
                    <a:pt x="860" y="279"/>
                  </a:lnTo>
                  <a:lnTo>
                    <a:pt x="860" y="281"/>
                  </a:lnTo>
                  <a:lnTo>
                    <a:pt x="858" y="281"/>
                  </a:lnTo>
                  <a:lnTo>
                    <a:pt x="858" y="281"/>
                  </a:lnTo>
                  <a:lnTo>
                    <a:pt x="858" y="283"/>
                  </a:lnTo>
                  <a:lnTo>
                    <a:pt x="856" y="285"/>
                  </a:lnTo>
                  <a:lnTo>
                    <a:pt x="856" y="285"/>
                  </a:lnTo>
                  <a:lnTo>
                    <a:pt x="854" y="283"/>
                  </a:lnTo>
                  <a:lnTo>
                    <a:pt x="852" y="283"/>
                  </a:lnTo>
                  <a:lnTo>
                    <a:pt x="852" y="285"/>
                  </a:lnTo>
                  <a:lnTo>
                    <a:pt x="850" y="285"/>
                  </a:lnTo>
                  <a:lnTo>
                    <a:pt x="850" y="285"/>
                  </a:lnTo>
                  <a:lnTo>
                    <a:pt x="850" y="285"/>
                  </a:lnTo>
                  <a:lnTo>
                    <a:pt x="850" y="287"/>
                  </a:lnTo>
                  <a:lnTo>
                    <a:pt x="848" y="287"/>
                  </a:lnTo>
                  <a:lnTo>
                    <a:pt x="848" y="287"/>
                  </a:lnTo>
                  <a:lnTo>
                    <a:pt x="848" y="289"/>
                  </a:lnTo>
                  <a:lnTo>
                    <a:pt x="846" y="289"/>
                  </a:lnTo>
                  <a:lnTo>
                    <a:pt x="842" y="289"/>
                  </a:lnTo>
                  <a:lnTo>
                    <a:pt x="840" y="289"/>
                  </a:lnTo>
                  <a:lnTo>
                    <a:pt x="840" y="285"/>
                  </a:lnTo>
                  <a:lnTo>
                    <a:pt x="838" y="283"/>
                  </a:lnTo>
                  <a:lnTo>
                    <a:pt x="838" y="283"/>
                  </a:lnTo>
                  <a:lnTo>
                    <a:pt x="836" y="281"/>
                  </a:lnTo>
                  <a:lnTo>
                    <a:pt x="834" y="281"/>
                  </a:lnTo>
                  <a:lnTo>
                    <a:pt x="830" y="281"/>
                  </a:lnTo>
                  <a:lnTo>
                    <a:pt x="828" y="281"/>
                  </a:lnTo>
                  <a:lnTo>
                    <a:pt x="828" y="279"/>
                  </a:lnTo>
                  <a:lnTo>
                    <a:pt x="828" y="275"/>
                  </a:lnTo>
                  <a:lnTo>
                    <a:pt x="825" y="273"/>
                  </a:lnTo>
                  <a:lnTo>
                    <a:pt x="821" y="271"/>
                  </a:lnTo>
                  <a:lnTo>
                    <a:pt x="819" y="273"/>
                  </a:lnTo>
                  <a:lnTo>
                    <a:pt x="815" y="275"/>
                  </a:lnTo>
                  <a:lnTo>
                    <a:pt x="809" y="283"/>
                  </a:lnTo>
                  <a:lnTo>
                    <a:pt x="805" y="285"/>
                  </a:lnTo>
                  <a:lnTo>
                    <a:pt x="801" y="285"/>
                  </a:lnTo>
                  <a:lnTo>
                    <a:pt x="797" y="285"/>
                  </a:lnTo>
                  <a:lnTo>
                    <a:pt x="795" y="283"/>
                  </a:lnTo>
                  <a:lnTo>
                    <a:pt x="795" y="283"/>
                  </a:lnTo>
                  <a:lnTo>
                    <a:pt x="795" y="281"/>
                  </a:lnTo>
                  <a:lnTo>
                    <a:pt x="795" y="281"/>
                  </a:lnTo>
                  <a:lnTo>
                    <a:pt x="795" y="279"/>
                  </a:lnTo>
                  <a:lnTo>
                    <a:pt x="795" y="277"/>
                  </a:lnTo>
                  <a:lnTo>
                    <a:pt x="795" y="277"/>
                  </a:lnTo>
                  <a:lnTo>
                    <a:pt x="795" y="275"/>
                  </a:lnTo>
                  <a:lnTo>
                    <a:pt x="795" y="275"/>
                  </a:lnTo>
                  <a:lnTo>
                    <a:pt x="795" y="273"/>
                  </a:lnTo>
                  <a:lnTo>
                    <a:pt x="795" y="273"/>
                  </a:lnTo>
                  <a:lnTo>
                    <a:pt x="793" y="273"/>
                  </a:lnTo>
                  <a:lnTo>
                    <a:pt x="791" y="271"/>
                  </a:lnTo>
                  <a:lnTo>
                    <a:pt x="787" y="271"/>
                  </a:lnTo>
                  <a:lnTo>
                    <a:pt x="782" y="268"/>
                  </a:lnTo>
                  <a:lnTo>
                    <a:pt x="782" y="264"/>
                  </a:lnTo>
                  <a:lnTo>
                    <a:pt x="780" y="262"/>
                  </a:lnTo>
                  <a:lnTo>
                    <a:pt x="782" y="260"/>
                  </a:lnTo>
                  <a:lnTo>
                    <a:pt x="782" y="256"/>
                  </a:lnTo>
                  <a:lnTo>
                    <a:pt x="780" y="256"/>
                  </a:lnTo>
                  <a:lnTo>
                    <a:pt x="778" y="256"/>
                  </a:lnTo>
                  <a:lnTo>
                    <a:pt x="774" y="256"/>
                  </a:lnTo>
                  <a:lnTo>
                    <a:pt x="770" y="258"/>
                  </a:lnTo>
                  <a:lnTo>
                    <a:pt x="760" y="256"/>
                  </a:lnTo>
                  <a:lnTo>
                    <a:pt x="758" y="256"/>
                  </a:lnTo>
                  <a:lnTo>
                    <a:pt x="756" y="258"/>
                  </a:lnTo>
                  <a:lnTo>
                    <a:pt x="754" y="260"/>
                  </a:lnTo>
                  <a:lnTo>
                    <a:pt x="754" y="262"/>
                  </a:lnTo>
                  <a:lnTo>
                    <a:pt x="752" y="262"/>
                  </a:lnTo>
                  <a:lnTo>
                    <a:pt x="750" y="264"/>
                  </a:lnTo>
                  <a:lnTo>
                    <a:pt x="746" y="264"/>
                  </a:lnTo>
                  <a:lnTo>
                    <a:pt x="746" y="262"/>
                  </a:lnTo>
                  <a:lnTo>
                    <a:pt x="742" y="260"/>
                  </a:lnTo>
                  <a:lnTo>
                    <a:pt x="739" y="258"/>
                  </a:lnTo>
                  <a:lnTo>
                    <a:pt x="739" y="258"/>
                  </a:lnTo>
                  <a:lnTo>
                    <a:pt x="737" y="256"/>
                  </a:lnTo>
                  <a:lnTo>
                    <a:pt x="737" y="254"/>
                  </a:lnTo>
                  <a:lnTo>
                    <a:pt x="735" y="254"/>
                  </a:lnTo>
                  <a:lnTo>
                    <a:pt x="733" y="254"/>
                  </a:lnTo>
                  <a:lnTo>
                    <a:pt x="731" y="254"/>
                  </a:lnTo>
                  <a:lnTo>
                    <a:pt x="725" y="258"/>
                  </a:lnTo>
                  <a:lnTo>
                    <a:pt x="725" y="256"/>
                  </a:lnTo>
                  <a:lnTo>
                    <a:pt x="713" y="254"/>
                  </a:lnTo>
                  <a:lnTo>
                    <a:pt x="711" y="254"/>
                  </a:lnTo>
                  <a:lnTo>
                    <a:pt x="705" y="250"/>
                  </a:lnTo>
                  <a:lnTo>
                    <a:pt x="703" y="250"/>
                  </a:lnTo>
                  <a:lnTo>
                    <a:pt x="701" y="250"/>
                  </a:lnTo>
                  <a:lnTo>
                    <a:pt x="701" y="250"/>
                  </a:lnTo>
                  <a:lnTo>
                    <a:pt x="699" y="250"/>
                  </a:lnTo>
                  <a:lnTo>
                    <a:pt x="696" y="250"/>
                  </a:lnTo>
                  <a:lnTo>
                    <a:pt x="692" y="250"/>
                  </a:lnTo>
                  <a:lnTo>
                    <a:pt x="690" y="248"/>
                  </a:lnTo>
                  <a:lnTo>
                    <a:pt x="686" y="250"/>
                  </a:lnTo>
                  <a:lnTo>
                    <a:pt x="684" y="248"/>
                  </a:lnTo>
                  <a:lnTo>
                    <a:pt x="682" y="248"/>
                  </a:lnTo>
                  <a:lnTo>
                    <a:pt x="682" y="246"/>
                  </a:lnTo>
                  <a:lnTo>
                    <a:pt x="682" y="240"/>
                  </a:lnTo>
                  <a:lnTo>
                    <a:pt x="682" y="238"/>
                  </a:lnTo>
                  <a:lnTo>
                    <a:pt x="682" y="238"/>
                  </a:lnTo>
                  <a:lnTo>
                    <a:pt x="682" y="236"/>
                  </a:lnTo>
                  <a:lnTo>
                    <a:pt x="678" y="234"/>
                  </a:lnTo>
                  <a:lnTo>
                    <a:pt x="678" y="232"/>
                  </a:lnTo>
                  <a:lnTo>
                    <a:pt x="678" y="230"/>
                  </a:lnTo>
                  <a:lnTo>
                    <a:pt x="676" y="227"/>
                  </a:lnTo>
                  <a:lnTo>
                    <a:pt x="674" y="227"/>
                  </a:lnTo>
                  <a:lnTo>
                    <a:pt x="674" y="227"/>
                  </a:lnTo>
                  <a:lnTo>
                    <a:pt x="672" y="227"/>
                  </a:lnTo>
                  <a:lnTo>
                    <a:pt x="672" y="227"/>
                  </a:lnTo>
                  <a:lnTo>
                    <a:pt x="670" y="225"/>
                  </a:lnTo>
                  <a:lnTo>
                    <a:pt x="670" y="225"/>
                  </a:lnTo>
                  <a:lnTo>
                    <a:pt x="670" y="225"/>
                  </a:lnTo>
                  <a:lnTo>
                    <a:pt x="670" y="223"/>
                  </a:lnTo>
                  <a:lnTo>
                    <a:pt x="668" y="223"/>
                  </a:lnTo>
                  <a:lnTo>
                    <a:pt x="666" y="223"/>
                  </a:lnTo>
                  <a:lnTo>
                    <a:pt x="666" y="223"/>
                  </a:lnTo>
                  <a:lnTo>
                    <a:pt x="666" y="230"/>
                  </a:lnTo>
                  <a:lnTo>
                    <a:pt x="664" y="232"/>
                  </a:lnTo>
                  <a:lnTo>
                    <a:pt x="664" y="232"/>
                  </a:lnTo>
                  <a:lnTo>
                    <a:pt x="662" y="232"/>
                  </a:lnTo>
                  <a:lnTo>
                    <a:pt x="660" y="232"/>
                  </a:lnTo>
                  <a:lnTo>
                    <a:pt x="655" y="230"/>
                  </a:lnTo>
                  <a:lnTo>
                    <a:pt x="651" y="227"/>
                  </a:lnTo>
                  <a:lnTo>
                    <a:pt x="651" y="227"/>
                  </a:lnTo>
                  <a:lnTo>
                    <a:pt x="649" y="230"/>
                  </a:lnTo>
                  <a:lnTo>
                    <a:pt x="649" y="230"/>
                  </a:lnTo>
                  <a:lnTo>
                    <a:pt x="647" y="232"/>
                  </a:lnTo>
                  <a:lnTo>
                    <a:pt x="647" y="232"/>
                  </a:lnTo>
                  <a:lnTo>
                    <a:pt x="641" y="232"/>
                  </a:lnTo>
                  <a:lnTo>
                    <a:pt x="639" y="230"/>
                  </a:lnTo>
                  <a:lnTo>
                    <a:pt x="639" y="230"/>
                  </a:lnTo>
                  <a:lnTo>
                    <a:pt x="637" y="225"/>
                  </a:lnTo>
                  <a:lnTo>
                    <a:pt x="621" y="211"/>
                  </a:lnTo>
                  <a:lnTo>
                    <a:pt x="621" y="211"/>
                  </a:lnTo>
                  <a:lnTo>
                    <a:pt x="619" y="211"/>
                  </a:lnTo>
                  <a:lnTo>
                    <a:pt x="619" y="211"/>
                  </a:lnTo>
                  <a:lnTo>
                    <a:pt x="617" y="209"/>
                  </a:lnTo>
                  <a:lnTo>
                    <a:pt x="612" y="211"/>
                  </a:lnTo>
                  <a:lnTo>
                    <a:pt x="610" y="211"/>
                  </a:lnTo>
                  <a:lnTo>
                    <a:pt x="610" y="205"/>
                  </a:lnTo>
                  <a:lnTo>
                    <a:pt x="610" y="193"/>
                  </a:lnTo>
                  <a:lnTo>
                    <a:pt x="610" y="180"/>
                  </a:lnTo>
                  <a:lnTo>
                    <a:pt x="610" y="168"/>
                  </a:lnTo>
                  <a:lnTo>
                    <a:pt x="610" y="156"/>
                  </a:lnTo>
                  <a:lnTo>
                    <a:pt x="610" y="143"/>
                  </a:lnTo>
                  <a:lnTo>
                    <a:pt x="610" y="131"/>
                  </a:lnTo>
                  <a:lnTo>
                    <a:pt x="610" y="119"/>
                  </a:lnTo>
                  <a:lnTo>
                    <a:pt x="610" y="107"/>
                  </a:lnTo>
                  <a:lnTo>
                    <a:pt x="610" y="94"/>
                  </a:lnTo>
                  <a:lnTo>
                    <a:pt x="610" y="82"/>
                  </a:lnTo>
                  <a:lnTo>
                    <a:pt x="610" y="70"/>
                  </a:lnTo>
                  <a:lnTo>
                    <a:pt x="610" y="57"/>
                  </a:lnTo>
                  <a:lnTo>
                    <a:pt x="610" y="45"/>
                  </a:lnTo>
                  <a:lnTo>
                    <a:pt x="610" y="33"/>
                  </a:lnTo>
                  <a:lnTo>
                    <a:pt x="610" y="21"/>
                  </a:lnTo>
                  <a:lnTo>
                    <a:pt x="610" y="8"/>
                  </a:lnTo>
                  <a:lnTo>
                    <a:pt x="610" y="4"/>
                  </a:lnTo>
                  <a:lnTo>
                    <a:pt x="610" y="4"/>
                  </a:lnTo>
                  <a:lnTo>
                    <a:pt x="594" y="4"/>
                  </a:lnTo>
                  <a:lnTo>
                    <a:pt x="582" y="4"/>
                  </a:lnTo>
                  <a:lnTo>
                    <a:pt x="565" y="4"/>
                  </a:lnTo>
                  <a:lnTo>
                    <a:pt x="545" y="4"/>
                  </a:lnTo>
                  <a:lnTo>
                    <a:pt x="524" y="2"/>
                  </a:lnTo>
                  <a:lnTo>
                    <a:pt x="502" y="2"/>
                  </a:lnTo>
                  <a:lnTo>
                    <a:pt x="477" y="2"/>
                  </a:lnTo>
                  <a:lnTo>
                    <a:pt x="453" y="2"/>
                  </a:lnTo>
                  <a:lnTo>
                    <a:pt x="430" y="2"/>
                  </a:lnTo>
                  <a:lnTo>
                    <a:pt x="408" y="2"/>
                  </a:lnTo>
                  <a:lnTo>
                    <a:pt x="389" y="0"/>
                  </a:lnTo>
                  <a:lnTo>
                    <a:pt x="373" y="0"/>
                  </a:lnTo>
                  <a:lnTo>
                    <a:pt x="361" y="0"/>
                  </a:lnTo>
                  <a:lnTo>
                    <a:pt x="352" y="0"/>
                  </a:lnTo>
                  <a:lnTo>
                    <a:pt x="348" y="0"/>
                  </a:lnTo>
                  <a:lnTo>
                    <a:pt x="346" y="0"/>
                  </a:lnTo>
                  <a:lnTo>
                    <a:pt x="346" y="2"/>
                  </a:lnTo>
                  <a:lnTo>
                    <a:pt x="346" y="4"/>
                  </a:lnTo>
                  <a:lnTo>
                    <a:pt x="344" y="21"/>
                  </a:lnTo>
                  <a:lnTo>
                    <a:pt x="344" y="35"/>
                  </a:lnTo>
                  <a:lnTo>
                    <a:pt x="344" y="49"/>
                  </a:lnTo>
                  <a:lnTo>
                    <a:pt x="344" y="66"/>
                  </a:lnTo>
                  <a:lnTo>
                    <a:pt x="342" y="80"/>
                  </a:lnTo>
                  <a:lnTo>
                    <a:pt x="342" y="94"/>
                  </a:lnTo>
                  <a:lnTo>
                    <a:pt x="342" y="111"/>
                  </a:lnTo>
                  <a:lnTo>
                    <a:pt x="342" y="125"/>
                  </a:lnTo>
                  <a:lnTo>
                    <a:pt x="342" y="139"/>
                  </a:lnTo>
                  <a:lnTo>
                    <a:pt x="340" y="156"/>
                  </a:lnTo>
                  <a:lnTo>
                    <a:pt x="340" y="170"/>
                  </a:lnTo>
                  <a:lnTo>
                    <a:pt x="340" y="184"/>
                  </a:lnTo>
                  <a:lnTo>
                    <a:pt x="340" y="199"/>
                  </a:lnTo>
                  <a:lnTo>
                    <a:pt x="338" y="215"/>
                  </a:lnTo>
                  <a:lnTo>
                    <a:pt x="338" y="230"/>
                  </a:lnTo>
                  <a:lnTo>
                    <a:pt x="338" y="244"/>
                  </a:lnTo>
                  <a:lnTo>
                    <a:pt x="338" y="260"/>
                  </a:lnTo>
                  <a:lnTo>
                    <a:pt x="336" y="275"/>
                  </a:lnTo>
                  <a:lnTo>
                    <a:pt x="336" y="289"/>
                  </a:lnTo>
                  <a:lnTo>
                    <a:pt x="336" y="305"/>
                  </a:lnTo>
                  <a:lnTo>
                    <a:pt x="336" y="320"/>
                  </a:lnTo>
                  <a:lnTo>
                    <a:pt x="334" y="334"/>
                  </a:lnTo>
                  <a:lnTo>
                    <a:pt x="334" y="350"/>
                  </a:lnTo>
                  <a:lnTo>
                    <a:pt x="334" y="365"/>
                  </a:lnTo>
                  <a:lnTo>
                    <a:pt x="334" y="379"/>
                  </a:lnTo>
                  <a:lnTo>
                    <a:pt x="334" y="396"/>
                  </a:lnTo>
                  <a:lnTo>
                    <a:pt x="332" y="410"/>
                  </a:lnTo>
                  <a:lnTo>
                    <a:pt x="332" y="424"/>
                  </a:lnTo>
                  <a:lnTo>
                    <a:pt x="332" y="441"/>
                  </a:lnTo>
                  <a:lnTo>
                    <a:pt x="332" y="455"/>
                  </a:lnTo>
                  <a:lnTo>
                    <a:pt x="330" y="469"/>
                  </a:lnTo>
                  <a:lnTo>
                    <a:pt x="330" y="486"/>
                  </a:lnTo>
                  <a:lnTo>
                    <a:pt x="309" y="484"/>
                  </a:lnTo>
                  <a:lnTo>
                    <a:pt x="289" y="484"/>
                  </a:lnTo>
                  <a:lnTo>
                    <a:pt x="268" y="484"/>
                  </a:lnTo>
                  <a:lnTo>
                    <a:pt x="248" y="482"/>
                  </a:lnTo>
                  <a:lnTo>
                    <a:pt x="229" y="482"/>
                  </a:lnTo>
                  <a:lnTo>
                    <a:pt x="209" y="482"/>
                  </a:lnTo>
                  <a:lnTo>
                    <a:pt x="189" y="480"/>
                  </a:lnTo>
                  <a:lnTo>
                    <a:pt x="168" y="480"/>
                  </a:lnTo>
                  <a:lnTo>
                    <a:pt x="148" y="478"/>
                  </a:lnTo>
                  <a:lnTo>
                    <a:pt x="127" y="478"/>
                  </a:lnTo>
                  <a:lnTo>
                    <a:pt x="107" y="475"/>
                  </a:lnTo>
                  <a:lnTo>
                    <a:pt x="86" y="475"/>
                  </a:lnTo>
                  <a:lnTo>
                    <a:pt x="66" y="473"/>
                  </a:lnTo>
                  <a:lnTo>
                    <a:pt x="45" y="473"/>
                  </a:lnTo>
                  <a:lnTo>
                    <a:pt x="25" y="471"/>
                  </a:lnTo>
                  <a:lnTo>
                    <a:pt x="4" y="471"/>
                  </a:lnTo>
                  <a:lnTo>
                    <a:pt x="2" y="471"/>
                  </a:lnTo>
                  <a:lnTo>
                    <a:pt x="0" y="471"/>
                  </a:lnTo>
                  <a:lnTo>
                    <a:pt x="0" y="471"/>
                  </a:lnTo>
                  <a:lnTo>
                    <a:pt x="2" y="475"/>
                  </a:lnTo>
                  <a:lnTo>
                    <a:pt x="2" y="478"/>
                  </a:lnTo>
                  <a:lnTo>
                    <a:pt x="4" y="482"/>
                  </a:lnTo>
                  <a:lnTo>
                    <a:pt x="4" y="484"/>
                  </a:lnTo>
                  <a:lnTo>
                    <a:pt x="6" y="486"/>
                  </a:lnTo>
                  <a:lnTo>
                    <a:pt x="4" y="488"/>
                  </a:lnTo>
                  <a:lnTo>
                    <a:pt x="6" y="488"/>
                  </a:lnTo>
                  <a:lnTo>
                    <a:pt x="6" y="490"/>
                  </a:lnTo>
                  <a:lnTo>
                    <a:pt x="8" y="490"/>
                  </a:lnTo>
                  <a:lnTo>
                    <a:pt x="8" y="490"/>
                  </a:lnTo>
                  <a:lnTo>
                    <a:pt x="10" y="492"/>
                  </a:lnTo>
                  <a:lnTo>
                    <a:pt x="14" y="498"/>
                  </a:lnTo>
                  <a:lnTo>
                    <a:pt x="16" y="498"/>
                  </a:lnTo>
                  <a:lnTo>
                    <a:pt x="21" y="498"/>
                  </a:lnTo>
                  <a:lnTo>
                    <a:pt x="25" y="500"/>
                  </a:lnTo>
                  <a:lnTo>
                    <a:pt x="27" y="502"/>
                  </a:lnTo>
                  <a:lnTo>
                    <a:pt x="29" y="506"/>
                  </a:lnTo>
                  <a:lnTo>
                    <a:pt x="31" y="510"/>
                  </a:lnTo>
                  <a:lnTo>
                    <a:pt x="33" y="518"/>
                  </a:lnTo>
                  <a:lnTo>
                    <a:pt x="33" y="521"/>
                  </a:lnTo>
                  <a:lnTo>
                    <a:pt x="37" y="525"/>
                  </a:lnTo>
                  <a:lnTo>
                    <a:pt x="39" y="527"/>
                  </a:lnTo>
                  <a:lnTo>
                    <a:pt x="39" y="527"/>
                  </a:lnTo>
                  <a:lnTo>
                    <a:pt x="39" y="529"/>
                  </a:lnTo>
                  <a:lnTo>
                    <a:pt x="39" y="529"/>
                  </a:lnTo>
                  <a:lnTo>
                    <a:pt x="39" y="529"/>
                  </a:lnTo>
                  <a:lnTo>
                    <a:pt x="43" y="531"/>
                  </a:lnTo>
                  <a:lnTo>
                    <a:pt x="43" y="533"/>
                  </a:lnTo>
                  <a:lnTo>
                    <a:pt x="45" y="533"/>
                  </a:lnTo>
                  <a:lnTo>
                    <a:pt x="49" y="535"/>
                  </a:lnTo>
                  <a:lnTo>
                    <a:pt x="51" y="537"/>
                  </a:lnTo>
                  <a:lnTo>
                    <a:pt x="53" y="537"/>
                  </a:lnTo>
                  <a:lnTo>
                    <a:pt x="55" y="539"/>
                  </a:lnTo>
                  <a:lnTo>
                    <a:pt x="57" y="539"/>
                  </a:lnTo>
                  <a:lnTo>
                    <a:pt x="62" y="541"/>
                  </a:lnTo>
                  <a:lnTo>
                    <a:pt x="62" y="543"/>
                  </a:lnTo>
                  <a:lnTo>
                    <a:pt x="64" y="543"/>
                  </a:lnTo>
                  <a:lnTo>
                    <a:pt x="64" y="545"/>
                  </a:lnTo>
                  <a:lnTo>
                    <a:pt x="64" y="547"/>
                  </a:lnTo>
                  <a:lnTo>
                    <a:pt x="66" y="547"/>
                  </a:lnTo>
                  <a:lnTo>
                    <a:pt x="68" y="549"/>
                  </a:lnTo>
                  <a:lnTo>
                    <a:pt x="68" y="549"/>
                  </a:lnTo>
                  <a:lnTo>
                    <a:pt x="68" y="549"/>
                  </a:lnTo>
                  <a:lnTo>
                    <a:pt x="70" y="551"/>
                  </a:lnTo>
                  <a:lnTo>
                    <a:pt x="76" y="559"/>
                  </a:lnTo>
                  <a:lnTo>
                    <a:pt x="78" y="562"/>
                  </a:lnTo>
                  <a:lnTo>
                    <a:pt x="78" y="564"/>
                  </a:lnTo>
                  <a:lnTo>
                    <a:pt x="84" y="568"/>
                  </a:lnTo>
                  <a:lnTo>
                    <a:pt x="86" y="570"/>
                  </a:lnTo>
                  <a:lnTo>
                    <a:pt x="86" y="570"/>
                  </a:lnTo>
                  <a:lnTo>
                    <a:pt x="90" y="572"/>
                  </a:lnTo>
                  <a:lnTo>
                    <a:pt x="90" y="574"/>
                  </a:lnTo>
                  <a:lnTo>
                    <a:pt x="92" y="574"/>
                  </a:lnTo>
                  <a:lnTo>
                    <a:pt x="94" y="576"/>
                  </a:lnTo>
                  <a:lnTo>
                    <a:pt x="94" y="578"/>
                  </a:lnTo>
                  <a:lnTo>
                    <a:pt x="96" y="582"/>
                  </a:lnTo>
                  <a:lnTo>
                    <a:pt x="96" y="584"/>
                  </a:lnTo>
                  <a:lnTo>
                    <a:pt x="98" y="584"/>
                  </a:lnTo>
                  <a:lnTo>
                    <a:pt x="103" y="588"/>
                  </a:lnTo>
                  <a:lnTo>
                    <a:pt x="109" y="594"/>
                  </a:lnTo>
                  <a:lnTo>
                    <a:pt x="113" y="600"/>
                  </a:lnTo>
                  <a:lnTo>
                    <a:pt x="113" y="600"/>
                  </a:lnTo>
                  <a:lnTo>
                    <a:pt x="117" y="603"/>
                  </a:lnTo>
                  <a:lnTo>
                    <a:pt x="121" y="605"/>
                  </a:lnTo>
                  <a:lnTo>
                    <a:pt x="123" y="605"/>
                  </a:lnTo>
                  <a:lnTo>
                    <a:pt x="123" y="607"/>
                  </a:lnTo>
                  <a:lnTo>
                    <a:pt x="123" y="607"/>
                  </a:lnTo>
                  <a:lnTo>
                    <a:pt x="125" y="607"/>
                  </a:lnTo>
                  <a:lnTo>
                    <a:pt x="125" y="607"/>
                  </a:lnTo>
                  <a:lnTo>
                    <a:pt x="125" y="607"/>
                  </a:lnTo>
                  <a:lnTo>
                    <a:pt x="125" y="607"/>
                  </a:lnTo>
                  <a:lnTo>
                    <a:pt x="125" y="607"/>
                  </a:lnTo>
                  <a:lnTo>
                    <a:pt x="127" y="607"/>
                  </a:lnTo>
                  <a:lnTo>
                    <a:pt x="127" y="607"/>
                  </a:lnTo>
                  <a:lnTo>
                    <a:pt x="129" y="607"/>
                  </a:lnTo>
                  <a:lnTo>
                    <a:pt x="129" y="609"/>
                  </a:lnTo>
                  <a:lnTo>
                    <a:pt x="129" y="609"/>
                  </a:lnTo>
                  <a:lnTo>
                    <a:pt x="131" y="609"/>
                  </a:lnTo>
                  <a:lnTo>
                    <a:pt x="131" y="609"/>
                  </a:lnTo>
                  <a:lnTo>
                    <a:pt x="131" y="611"/>
                  </a:lnTo>
                  <a:lnTo>
                    <a:pt x="131" y="611"/>
                  </a:lnTo>
                  <a:lnTo>
                    <a:pt x="133" y="611"/>
                  </a:lnTo>
                  <a:lnTo>
                    <a:pt x="133" y="611"/>
                  </a:lnTo>
                  <a:lnTo>
                    <a:pt x="133" y="613"/>
                  </a:lnTo>
                  <a:lnTo>
                    <a:pt x="135" y="613"/>
                  </a:lnTo>
                  <a:lnTo>
                    <a:pt x="135" y="613"/>
                  </a:lnTo>
                  <a:lnTo>
                    <a:pt x="139" y="617"/>
                  </a:lnTo>
                  <a:lnTo>
                    <a:pt x="141" y="619"/>
                  </a:lnTo>
                  <a:lnTo>
                    <a:pt x="141" y="619"/>
                  </a:lnTo>
                  <a:lnTo>
                    <a:pt x="143" y="619"/>
                  </a:lnTo>
                  <a:lnTo>
                    <a:pt x="146" y="621"/>
                  </a:lnTo>
                  <a:lnTo>
                    <a:pt x="148" y="623"/>
                  </a:lnTo>
                  <a:lnTo>
                    <a:pt x="148" y="623"/>
                  </a:lnTo>
                  <a:lnTo>
                    <a:pt x="148" y="625"/>
                  </a:lnTo>
                  <a:lnTo>
                    <a:pt x="148" y="627"/>
                  </a:lnTo>
                  <a:lnTo>
                    <a:pt x="148" y="627"/>
                  </a:lnTo>
                  <a:lnTo>
                    <a:pt x="150" y="627"/>
                  </a:lnTo>
                  <a:lnTo>
                    <a:pt x="152" y="627"/>
                  </a:lnTo>
                  <a:lnTo>
                    <a:pt x="152" y="629"/>
                  </a:lnTo>
                  <a:lnTo>
                    <a:pt x="154" y="629"/>
                  </a:lnTo>
                  <a:lnTo>
                    <a:pt x="156" y="633"/>
                  </a:lnTo>
                  <a:lnTo>
                    <a:pt x="156" y="635"/>
                  </a:lnTo>
                  <a:lnTo>
                    <a:pt x="156" y="635"/>
                  </a:lnTo>
                  <a:lnTo>
                    <a:pt x="156" y="639"/>
                  </a:lnTo>
                  <a:lnTo>
                    <a:pt x="158" y="639"/>
                  </a:lnTo>
                  <a:lnTo>
                    <a:pt x="158" y="641"/>
                  </a:lnTo>
                  <a:lnTo>
                    <a:pt x="158" y="641"/>
                  </a:lnTo>
                  <a:lnTo>
                    <a:pt x="158" y="641"/>
                  </a:lnTo>
                  <a:lnTo>
                    <a:pt x="158" y="644"/>
                  </a:lnTo>
                  <a:lnTo>
                    <a:pt x="158" y="644"/>
                  </a:lnTo>
                  <a:lnTo>
                    <a:pt x="158" y="646"/>
                  </a:lnTo>
                  <a:lnTo>
                    <a:pt x="160" y="646"/>
                  </a:lnTo>
                  <a:lnTo>
                    <a:pt x="160" y="648"/>
                  </a:lnTo>
                  <a:lnTo>
                    <a:pt x="160" y="650"/>
                  </a:lnTo>
                  <a:lnTo>
                    <a:pt x="158" y="650"/>
                  </a:lnTo>
                  <a:lnTo>
                    <a:pt x="160" y="650"/>
                  </a:lnTo>
                  <a:lnTo>
                    <a:pt x="160" y="652"/>
                  </a:lnTo>
                  <a:lnTo>
                    <a:pt x="160" y="652"/>
                  </a:lnTo>
                  <a:lnTo>
                    <a:pt x="162" y="654"/>
                  </a:lnTo>
                  <a:lnTo>
                    <a:pt x="162" y="654"/>
                  </a:lnTo>
                  <a:lnTo>
                    <a:pt x="162" y="654"/>
                  </a:lnTo>
                  <a:lnTo>
                    <a:pt x="162" y="656"/>
                  </a:lnTo>
                  <a:lnTo>
                    <a:pt x="162" y="658"/>
                  </a:lnTo>
                  <a:lnTo>
                    <a:pt x="162" y="658"/>
                  </a:lnTo>
                  <a:lnTo>
                    <a:pt x="164" y="658"/>
                  </a:lnTo>
                  <a:lnTo>
                    <a:pt x="166" y="662"/>
                  </a:lnTo>
                  <a:lnTo>
                    <a:pt x="166" y="664"/>
                  </a:lnTo>
                  <a:lnTo>
                    <a:pt x="168" y="666"/>
                  </a:lnTo>
                  <a:lnTo>
                    <a:pt x="168" y="668"/>
                  </a:lnTo>
                  <a:lnTo>
                    <a:pt x="170" y="668"/>
                  </a:lnTo>
                  <a:lnTo>
                    <a:pt x="170" y="668"/>
                  </a:lnTo>
                  <a:lnTo>
                    <a:pt x="172" y="672"/>
                  </a:lnTo>
                  <a:lnTo>
                    <a:pt x="174" y="674"/>
                  </a:lnTo>
                  <a:lnTo>
                    <a:pt x="174" y="676"/>
                  </a:lnTo>
                  <a:lnTo>
                    <a:pt x="174" y="680"/>
                  </a:lnTo>
                  <a:lnTo>
                    <a:pt x="174" y="682"/>
                  </a:lnTo>
                  <a:lnTo>
                    <a:pt x="172" y="687"/>
                  </a:lnTo>
                  <a:lnTo>
                    <a:pt x="172" y="689"/>
                  </a:lnTo>
                  <a:lnTo>
                    <a:pt x="172" y="693"/>
                  </a:lnTo>
                  <a:lnTo>
                    <a:pt x="172" y="699"/>
                  </a:lnTo>
                  <a:lnTo>
                    <a:pt x="172" y="699"/>
                  </a:lnTo>
                  <a:lnTo>
                    <a:pt x="172" y="701"/>
                  </a:lnTo>
                  <a:lnTo>
                    <a:pt x="172" y="701"/>
                  </a:lnTo>
                  <a:lnTo>
                    <a:pt x="174" y="703"/>
                  </a:lnTo>
                  <a:lnTo>
                    <a:pt x="174" y="703"/>
                  </a:lnTo>
                  <a:lnTo>
                    <a:pt x="174" y="705"/>
                  </a:lnTo>
                  <a:lnTo>
                    <a:pt x="174" y="705"/>
                  </a:lnTo>
                  <a:lnTo>
                    <a:pt x="176" y="707"/>
                  </a:lnTo>
                  <a:lnTo>
                    <a:pt x="178" y="713"/>
                  </a:lnTo>
                  <a:lnTo>
                    <a:pt x="178" y="713"/>
                  </a:lnTo>
                  <a:lnTo>
                    <a:pt x="180" y="715"/>
                  </a:lnTo>
                  <a:lnTo>
                    <a:pt x="180" y="717"/>
                  </a:lnTo>
                  <a:lnTo>
                    <a:pt x="182" y="719"/>
                  </a:lnTo>
                  <a:lnTo>
                    <a:pt x="182" y="723"/>
                  </a:lnTo>
                  <a:lnTo>
                    <a:pt x="184" y="725"/>
                  </a:lnTo>
                  <a:lnTo>
                    <a:pt x="184" y="728"/>
                  </a:lnTo>
                  <a:lnTo>
                    <a:pt x="184" y="730"/>
                  </a:lnTo>
                  <a:lnTo>
                    <a:pt x="184" y="732"/>
                  </a:lnTo>
                  <a:lnTo>
                    <a:pt x="186" y="732"/>
                  </a:lnTo>
                  <a:lnTo>
                    <a:pt x="186" y="734"/>
                  </a:lnTo>
                  <a:lnTo>
                    <a:pt x="191" y="736"/>
                  </a:lnTo>
                  <a:lnTo>
                    <a:pt x="193" y="738"/>
                  </a:lnTo>
                  <a:lnTo>
                    <a:pt x="193" y="738"/>
                  </a:lnTo>
                  <a:lnTo>
                    <a:pt x="193" y="740"/>
                  </a:lnTo>
                  <a:lnTo>
                    <a:pt x="193" y="740"/>
                  </a:lnTo>
                  <a:lnTo>
                    <a:pt x="195" y="742"/>
                  </a:lnTo>
                  <a:lnTo>
                    <a:pt x="195" y="742"/>
                  </a:lnTo>
                  <a:lnTo>
                    <a:pt x="203" y="746"/>
                  </a:lnTo>
                  <a:lnTo>
                    <a:pt x="203" y="748"/>
                  </a:lnTo>
                  <a:lnTo>
                    <a:pt x="205" y="748"/>
                  </a:lnTo>
                  <a:lnTo>
                    <a:pt x="207" y="748"/>
                  </a:lnTo>
                  <a:lnTo>
                    <a:pt x="209" y="748"/>
                  </a:lnTo>
                  <a:lnTo>
                    <a:pt x="211" y="750"/>
                  </a:lnTo>
                  <a:lnTo>
                    <a:pt x="213" y="752"/>
                  </a:lnTo>
                  <a:lnTo>
                    <a:pt x="215" y="752"/>
                  </a:lnTo>
                  <a:lnTo>
                    <a:pt x="215" y="752"/>
                  </a:lnTo>
                  <a:lnTo>
                    <a:pt x="217" y="756"/>
                  </a:lnTo>
                  <a:lnTo>
                    <a:pt x="219" y="760"/>
                  </a:lnTo>
                  <a:lnTo>
                    <a:pt x="221" y="762"/>
                  </a:lnTo>
                  <a:lnTo>
                    <a:pt x="225" y="764"/>
                  </a:lnTo>
                  <a:lnTo>
                    <a:pt x="229" y="769"/>
                  </a:lnTo>
                  <a:lnTo>
                    <a:pt x="232" y="771"/>
                  </a:lnTo>
                  <a:lnTo>
                    <a:pt x="242" y="775"/>
                  </a:lnTo>
                  <a:lnTo>
                    <a:pt x="246" y="777"/>
                  </a:lnTo>
                  <a:lnTo>
                    <a:pt x="254" y="777"/>
                  </a:lnTo>
                  <a:lnTo>
                    <a:pt x="254" y="777"/>
                  </a:lnTo>
                  <a:lnTo>
                    <a:pt x="256" y="777"/>
                  </a:lnTo>
                  <a:lnTo>
                    <a:pt x="256" y="779"/>
                  </a:lnTo>
                  <a:lnTo>
                    <a:pt x="254" y="781"/>
                  </a:lnTo>
                  <a:lnTo>
                    <a:pt x="256" y="781"/>
                  </a:lnTo>
                  <a:lnTo>
                    <a:pt x="256" y="783"/>
                  </a:lnTo>
                  <a:lnTo>
                    <a:pt x="258" y="783"/>
                  </a:lnTo>
                  <a:lnTo>
                    <a:pt x="262" y="787"/>
                  </a:lnTo>
                  <a:lnTo>
                    <a:pt x="264" y="789"/>
                  </a:lnTo>
                  <a:lnTo>
                    <a:pt x="273" y="791"/>
                  </a:lnTo>
                  <a:lnTo>
                    <a:pt x="275" y="791"/>
                  </a:lnTo>
                  <a:lnTo>
                    <a:pt x="277" y="791"/>
                  </a:lnTo>
                  <a:lnTo>
                    <a:pt x="277" y="791"/>
                  </a:lnTo>
                  <a:lnTo>
                    <a:pt x="277" y="791"/>
                  </a:lnTo>
                  <a:lnTo>
                    <a:pt x="277" y="793"/>
                  </a:lnTo>
                  <a:lnTo>
                    <a:pt x="279" y="793"/>
                  </a:lnTo>
                  <a:lnTo>
                    <a:pt x="283" y="799"/>
                  </a:lnTo>
                  <a:lnTo>
                    <a:pt x="287" y="801"/>
                  </a:lnTo>
                  <a:lnTo>
                    <a:pt x="287" y="801"/>
                  </a:lnTo>
                  <a:lnTo>
                    <a:pt x="289" y="801"/>
                  </a:lnTo>
                  <a:lnTo>
                    <a:pt x="291" y="805"/>
                  </a:lnTo>
                  <a:lnTo>
                    <a:pt x="293" y="805"/>
                  </a:lnTo>
                  <a:lnTo>
                    <a:pt x="293" y="805"/>
                  </a:lnTo>
                  <a:lnTo>
                    <a:pt x="295" y="803"/>
                  </a:lnTo>
                  <a:lnTo>
                    <a:pt x="295" y="803"/>
                  </a:lnTo>
                  <a:lnTo>
                    <a:pt x="297" y="805"/>
                  </a:lnTo>
                  <a:lnTo>
                    <a:pt x="297" y="805"/>
                  </a:lnTo>
                  <a:lnTo>
                    <a:pt x="299" y="805"/>
                  </a:lnTo>
                  <a:lnTo>
                    <a:pt x="297" y="807"/>
                  </a:lnTo>
                  <a:lnTo>
                    <a:pt x="299" y="807"/>
                  </a:lnTo>
                  <a:lnTo>
                    <a:pt x="305" y="807"/>
                  </a:lnTo>
                  <a:lnTo>
                    <a:pt x="309" y="809"/>
                  </a:lnTo>
                  <a:lnTo>
                    <a:pt x="313" y="809"/>
                  </a:lnTo>
                  <a:lnTo>
                    <a:pt x="316" y="809"/>
                  </a:lnTo>
                  <a:lnTo>
                    <a:pt x="318" y="805"/>
                  </a:lnTo>
                  <a:lnTo>
                    <a:pt x="318" y="801"/>
                  </a:lnTo>
                  <a:lnTo>
                    <a:pt x="318" y="801"/>
                  </a:lnTo>
                  <a:lnTo>
                    <a:pt x="318" y="801"/>
                  </a:lnTo>
                  <a:lnTo>
                    <a:pt x="320" y="801"/>
                  </a:lnTo>
                  <a:lnTo>
                    <a:pt x="320" y="801"/>
                  </a:lnTo>
                  <a:lnTo>
                    <a:pt x="320" y="799"/>
                  </a:lnTo>
                  <a:lnTo>
                    <a:pt x="322" y="799"/>
                  </a:lnTo>
                  <a:lnTo>
                    <a:pt x="324" y="797"/>
                  </a:lnTo>
                  <a:lnTo>
                    <a:pt x="326" y="795"/>
                  </a:lnTo>
                  <a:lnTo>
                    <a:pt x="326" y="795"/>
                  </a:lnTo>
                  <a:lnTo>
                    <a:pt x="326" y="795"/>
                  </a:lnTo>
                  <a:lnTo>
                    <a:pt x="330" y="789"/>
                  </a:lnTo>
                  <a:lnTo>
                    <a:pt x="330" y="789"/>
                  </a:lnTo>
                  <a:lnTo>
                    <a:pt x="330" y="789"/>
                  </a:lnTo>
                  <a:lnTo>
                    <a:pt x="330" y="789"/>
                  </a:lnTo>
                  <a:lnTo>
                    <a:pt x="332" y="789"/>
                  </a:lnTo>
                  <a:lnTo>
                    <a:pt x="334" y="789"/>
                  </a:lnTo>
                  <a:lnTo>
                    <a:pt x="338" y="785"/>
                  </a:lnTo>
                  <a:lnTo>
                    <a:pt x="340" y="785"/>
                  </a:lnTo>
                  <a:lnTo>
                    <a:pt x="342" y="785"/>
                  </a:lnTo>
                  <a:lnTo>
                    <a:pt x="342" y="785"/>
                  </a:lnTo>
                  <a:lnTo>
                    <a:pt x="340" y="783"/>
                  </a:lnTo>
                  <a:lnTo>
                    <a:pt x="338" y="781"/>
                  </a:lnTo>
                  <a:lnTo>
                    <a:pt x="338" y="781"/>
                  </a:lnTo>
                  <a:lnTo>
                    <a:pt x="338" y="779"/>
                  </a:lnTo>
                  <a:lnTo>
                    <a:pt x="338" y="775"/>
                  </a:lnTo>
                  <a:lnTo>
                    <a:pt x="340" y="773"/>
                  </a:lnTo>
                  <a:lnTo>
                    <a:pt x="340" y="773"/>
                  </a:lnTo>
                  <a:lnTo>
                    <a:pt x="340" y="771"/>
                  </a:lnTo>
                  <a:lnTo>
                    <a:pt x="340" y="771"/>
                  </a:lnTo>
                  <a:lnTo>
                    <a:pt x="342" y="771"/>
                  </a:lnTo>
                  <a:lnTo>
                    <a:pt x="342" y="771"/>
                  </a:lnTo>
                  <a:lnTo>
                    <a:pt x="342" y="771"/>
                  </a:lnTo>
                  <a:lnTo>
                    <a:pt x="344" y="771"/>
                  </a:lnTo>
                  <a:lnTo>
                    <a:pt x="344" y="771"/>
                  </a:lnTo>
                  <a:lnTo>
                    <a:pt x="344" y="769"/>
                  </a:lnTo>
                  <a:lnTo>
                    <a:pt x="342" y="769"/>
                  </a:lnTo>
                  <a:lnTo>
                    <a:pt x="342" y="766"/>
                  </a:lnTo>
                  <a:lnTo>
                    <a:pt x="344" y="766"/>
                  </a:lnTo>
                  <a:lnTo>
                    <a:pt x="344" y="764"/>
                  </a:lnTo>
                  <a:lnTo>
                    <a:pt x="344" y="762"/>
                  </a:lnTo>
                  <a:lnTo>
                    <a:pt x="344" y="762"/>
                  </a:lnTo>
                  <a:lnTo>
                    <a:pt x="344" y="760"/>
                  </a:lnTo>
                  <a:lnTo>
                    <a:pt x="344" y="760"/>
                  </a:lnTo>
                  <a:lnTo>
                    <a:pt x="344" y="758"/>
                  </a:lnTo>
                  <a:lnTo>
                    <a:pt x="348" y="750"/>
                  </a:lnTo>
                  <a:lnTo>
                    <a:pt x="348" y="750"/>
                  </a:lnTo>
                  <a:lnTo>
                    <a:pt x="348" y="750"/>
                  </a:lnTo>
                  <a:lnTo>
                    <a:pt x="348" y="750"/>
                  </a:lnTo>
                  <a:lnTo>
                    <a:pt x="350" y="748"/>
                  </a:lnTo>
                  <a:lnTo>
                    <a:pt x="348" y="748"/>
                  </a:lnTo>
                  <a:lnTo>
                    <a:pt x="350" y="748"/>
                  </a:lnTo>
                  <a:lnTo>
                    <a:pt x="350" y="746"/>
                  </a:lnTo>
                  <a:lnTo>
                    <a:pt x="350" y="746"/>
                  </a:lnTo>
                  <a:lnTo>
                    <a:pt x="350" y="744"/>
                  </a:lnTo>
                  <a:lnTo>
                    <a:pt x="352" y="744"/>
                  </a:lnTo>
                  <a:lnTo>
                    <a:pt x="352" y="744"/>
                  </a:lnTo>
                  <a:lnTo>
                    <a:pt x="352" y="742"/>
                  </a:lnTo>
                  <a:lnTo>
                    <a:pt x="352" y="742"/>
                  </a:lnTo>
                  <a:lnTo>
                    <a:pt x="354" y="740"/>
                  </a:lnTo>
                  <a:lnTo>
                    <a:pt x="354" y="740"/>
                  </a:lnTo>
                  <a:lnTo>
                    <a:pt x="354" y="738"/>
                  </a:lnTo>
                  <a:lnTo>
                    <a:pt x="359" y="734"/>
                  </a:lnTo>
                  <a:lnTo>
                    <a:pt x="359" y="732"/>
                  </a:lnTo>
                  <a:lnTo>
                    <a:pt x="359" y="732"/>
                  </a:lnTo>
                  <a:lnTo>
                    <a:pt x="359" y="730"/>
                  </a:lnTo>
                  <a:lnTo>
                    <a:pt x="359" y="730"/>
                  </a:lnTo>
                  <a:lnTo>
                    <a:pt x="361" y="730"/>
                  </a:lnTo>
                  <a:lnTo>
                    <a:pt x="363" y="730"/>
                  </a:lnTo>
                  <a:lnTo>
                    <a:pt x="365" y="730"/>
                  </a:lnTo>
                  <a:lnTo>
                    <a:pt x="369" y="728"/>
                  </a:lnTo>
                  <a:lnTo>
                    <a:pt x="371" y="728"/>
                  </a:lnTo>
                  <a:lnTo>
                    <a:pt x="371" y="728"/>
                  </a:lnTo>
                  <a:lnTo>
                    <a:pt x="371" y="728"/>
                  </a:lnTo>
                  <a:lnTo>
                    <a:pt x="371" y="728"/>
                  </a:lnTo>
                  <a:lnTo>
                    <a:pt x="373" y="728"/>
                  </a:lnTo>
                  <a:lnTo>
                    <a:pt x="373" y="728"/>
                  </a:lnTo>
                  <a:lnTo>
                    <a:pt x="373" y="728"/>
                  </a:lnTo>
                  <a:lnTo>
                    <a:pt x="373" y="728"/>
                  </a:lnTo>
                  <a:lnTo>
                    <a:pt x="373" y="728"/>
                  </a:lnTo>
                  <a:lnTo>
                    <a:pt x="373" y="728"/>
                  </a:lnTo>
                  <a:lnTo>
                    <a:pt x="375" y="725"/>
                  </a:lnTo>
                  <a:lnTo>
                    <a:pt x="375" y="725"/>
                  </a:lnTo>
                  <a:lnTo>
                    <a:pt x="385" y="725"/>
                  </a:lnTo>
                  <a:lnTo>
                    <a:pt x="385" y="725"/>
                  </a:lnTo>
                  <a:lnTo>
                    <a:pt x="385" y="725"/>
                  </a:lnTo>
                  <a:lnTo>
                    <a:pt x="387" y="723"/>
                  </a:lnTo>
                  <a:lnTo>
                    <a:pt x="387" y="721"/>
                  </a:lnTo>
                  <a:lnTo>
                    <a:pt x="389" y="719"/>
                  </a:lnTo>
                  <a:lnTo>
                    <a:pt x="389" y="717"/>
                  </a:lnTo>
                  <a:lnTo>
                    <a:pt x="389" y="717"/>
                  </a:lnTo>
                  <a:lnTo>
                    <a:pt x="391" y="717"/>
                  </a:lnTo>
                  <a:lnTo>
                    <a:pt x="391" y="717"/>
                  </a:lnTo>
                  <a:lnTo>
                    <a:pt x="393" y="715"/>
                  </a:lnTo>
                  <a:lnTo>
                    <a:pt x="393" y="713"/>
                  </a:lnTo>
                  <a:lnTo>
                    <a:pt x="395" y="715"/>
                  </a:lnTo>
                  <a:lnTo>
                    <a:pt x="395" y="715"/>
                  </a:lnTo>
                  <a:lnTo>
                    <a:pt x="397" y="717"/>
                  </a:lnTo>
                  <a:lnTo>
                    <a:pt x="399" y="715"/>
                  </a:lnTo>
                  <a:lnTo>
                    <a:pt x="399" y="717"/>
                  </a:lnTo>
                  <a:lnTo>
                    <a:pt x="402" y="719"/>
                  </a:lnTo>
                  <a:lnTo>
                    <a:pt x="404" y="719"/>
                  </a:lnTo>
                  <a:lnTo>
                    <a:pt x="408" y="721"/>
                  </a:lnTo>
                  <a:lnTo>
                    <a:pt x="410" y="723"/>
                  </a:lnTo>
                  <a:lnTo>
                    <a:pt x="414" y="723"/>
                  </a:lnTo>
                  <a:lnTo>
                    <a:pt x="422" y="723"/>
                  </a:lnTo>
                  <a:lnTo>
                    <a:pt x="424" y="723"/>
                  </a:lnTo>
                  <a:lnTo>
                    <a:pt x="426" y="723"/>
                  </a:lnTo>
                  <a:lnTo>
                    <a:pt x="428" y="723"/>
                  </a:lnTo>
                  <a:lnTo>
                    <a:pt x="428" y="723"/>
                  </a:lnTo>
                  <a:lnTo>
                    <a:pt x="430" y="725"/>
                  </a:lnTo>
                  <a:lnTo>
                    <a:pt x="430" y="725"/>
                  </a:lnTo>
                  <a:lnTo>
                    <a:pt x="432" y="725"/>
                  </a:lnTo>
                  <a:lnTo>
                    <a:pt x="432" y="723"/>
                  </a:lnTo>
                  <a:lnTo>
                    <a:pt x="432" y="723"/>
                  </a:lnTo>
                  <a:lnTo>
                    <a:pt x="434" y="723"/>
                  </a:lnTo>
                  <a:lnTo>
                    <a:pt x="434" y="723"/>
                  </a:lnTo>
                  <a:lnTo>
                    <a:pt x="436" y="723"/>
                  </a:lnTo>
                  <a:lnTo>
                    <a:pt x="440" y="723"/>
                  </a:lnTo>
                  <a:lnTo>
                    <a:pt x="440" y="723"/>
                  </a:lnTo>
                  <a:lnTo>
                    <a:pt x="442" y="723"/>
                  </a:lnTo>
                  <a:lnTo>
                    <a:pt x="442" y="725"/>
                  </a:lnTo>
                  <a:lnTo>
                    <a:pt x="442" y="725"/>
                  </a:lnTo>
                  <a:lnTo>
                    <a:pt x="457" y="728"/>
                  </a:lnTo>
                  <a:lnTo>
                    <a:pt x="463" y="728"/>
                  </a:lnTo>
                  <a:lnTo>
                    <a:pt x="465" y="728"/>
                  </a:lnTo>
                  <a:lnTo>
                    <a:pt x="465" y="725"/>
                  </a:lnTo>
                  <a:lnTo>
                    <a:pt x="465" y="725"/>
                  </a:lnTo>
                  <a:lnTo>
                    <a:pt x="465" y="723"/>
                  </a:lnTo>
                  <a:lnTo>
                    <a:pt x="465" y="723"/>
                  </a:lnTo>
                  <a:lnTo>
                    <a:pt x="465" y="723"/>
                  </a:lnTo>
                  <a:lnTo>
                    <a:pt x="467" y="723"/>
                  </a:lnTo>
                  <a:lnTo>
                    <a:pt x="467" y="723"/>
                  </a:lnTo>
                  <a:lnTo>
                    <a:pt x="467" y="725"/>
                  </a:lnTo>
                  <a:lnTo>
                    <a:pt x="467" y="725"/>
                  </a:lnTo>
                  <a:lnTo>
                    <a:pt x="467" y="728"/>
                  </a:lnTo>
                  <a:lnTo>
                    <a:pt x="467" y="728"/>
                  </a:lnTo>
                  <a:lnTo>
                    <a:pt x="469" y="730"/>
                  </a:lnTo>
                  <a:lnTo>
                    <a:pt x="469" y="728"/>
                  </a:lnTo>
                  <a:lnTo>
                    <a:pt x="471" y="728"/>
                  </a:lnTo>
                  <a:lnTo>
                    <a:pt x="473" y="725"/>
                  </a:lnTo>
                  <a:lnTo>
                    <a:pt x="473" y="728"/>
                  </a:lnTo>
                  <a:lnTo>
                    <a:pt x="475" y="728"/>
                  </a:lnTo>
                  <a:lnTo>
                    <a:pt x="475" y="728"/>
                  </a:lnTo>
                  <a:lnTo>
                    <a:pt x="475" y="730"/>
                  </a:lnTo>
                  <a:lnTo>
                    <a:pt x="477" y="728"/>
                  </a:lnTo>
                  <a:lnTo>
                    <a:pt x="477" y="728"/>
                  </a:lnTo>
                  <a:lnTo>
                    <a:pt x="479" y="728"/>
                  </a:lnTo>
                  <a:lnTo>
                    <a:pt x="479" y="730"/>
                  </a:lnTo>
                  <a:lnTo>
                    <a:pt x="479" y="730"/>
                  </a:lnTo>
                  <a:lnTo>
                    <a:pt x="479" y="732"/>
                  </a:lnTo>
                  <a:lnTo>
                    <a:pt x="481" y="734"/>
                  </a:lnTo>
                  <a:lnTo>
                    <a:pt x="481" y="736"/>
                  </a:lnTo>
                  <a:lnTo>
                    <a:pt x="483" y="738"/>
                  </a:lnTo>
                  <a:lnTo>
                    <a:pt x="483" y="740"/>
                  </a:lnTo>
                  <a:lnTo>
                    <a:pt x="483" y="740"/>
                  </a:lnTo>
                  <a:lnTo>
                    <a:pt x="486" y="742"/>
                  </a:lnTo>
                  <a:lnTo>
                    <a:pt x="488" y="742"/>
                  </a:lnTo>
                  <a:lnTo>
                    <a:pt x="490" y="742"/>
                  </a:lnTo>
                  <a:lnTo>
                    <a:pt x="488" y="744"/>
                  </a:lnTo>
                  <a:lnTo>
                    <a:pt x="488" y="746"/>
                  </a:lnTo>
                  <a:lnTo>
                    <a:pt x="488" y="748"/>
                  </a:lnTo>
                  <a:lnTo>
                    <a:pt x="488" y="748"/>
                  </a:lnTo>
                  <a:lnTo>
                    <a:pt x="490" y="746"/>
                  </a:lnTo>
                  <a:lnTo>
                    <a:pt x="492" y="744"/>
                  </a:lnTo>
                  <a:lnTo>
                    <a:pt x="496" y="744"/>
                  </a:lnTo>
                  <a:lnTo>
                    <a:pt x="496" y="746"/>
                  </a:lnTo>
                  <a:lnTo>
                    <a:pt x="496" y="748"/>
                  </a:lnTo>
                  <a:lnTo>
                    <a:pt x="496" y="752"/>
                  </a:lnTo>
                  <a:lnTo>
                    <a:pt x="496" y="754"/>
                  </a:lnTo>
                  <a:lnTo>
                    <a:pt x="498" y="754"/>
                  </a:lnTo>
                  <a:lnTo>
                    <a:pt x="498" y="754"/>
                  </a:lnTo>
                  <a:lnTo>
                    <a:pt x="500" y="754"/>
                  </a:lnTo>
                  <a:lnTo>
                    <a:pt x="500" y="756"/>
                  </a:lnTo>
                  <a:lnTo>
                    <a:pt x="502" y="758"/>
                  </a:lnTo>
                  <a:lnTo>
                    <a:pt x="504" y="760"/>
                  </a:lnTo>
                  <a:lnTo>
                    <a:pt x="510" y="762"/>
                  </a:lnTo>
                  <a:lnTo>
                    <a:pt x="514" y="762"/>
                  </a:lnTo>
                  <a:lnTo>
                    <a:pt x="514" y="764"/>
                  </a:lnTo>
                  <a:lnTo>
                    <a:pt x="514" y="766"/>
                  </a:lnTo>
                  <a:lnTo>
                    <a:pt x="514" y="769"/>
                  </a:lnTo>
                  <a:lnTo>
                    <a:pt x="514" y="771"/>
                  </a:lnTo>
                  <a:lnTo>
                    <a:pt x="516" y="771"/>
                  </a:lnTo>
                  <a:lnTo>
                    <a:pt x="516" y="773"/>
                  </a:lnTo>
                  <a:lnTo>
                    <a:pt x="518" y="773"/>
                  </a:lnTo>
                  <a:lnTo>
                    <a:pt x="524" y="777"/>
                  </a:lnTo>
                  <a:lnTo>
                    <a:pt x="526" y="779"/>
                  </a:lnTo>
                  <a:lnTo>
                    <a:pt x="529" y="781"/>
                  </a:lnTo>
                  <a:lnTo>
                    <a:pt x="529" y="781"/>
                  </a:lnTo>
                  <a:lnTo>
                    <a:pt x="535" y="783"/>
                  </a:lnTo>
                  <a:lnTo>
                    <a:pt x="537" y="785"/>
                  </a:lnTo>
                  <a:lnTo>
                    <a:pt x="537" y="787"/>
                  </a:lnTo>
                  <a:lnTo>
                    <a:pt x="539" y="789"/>
                  </a:lnTo>
                  <a:lnTo>
                    <a:pt x="539" y="793"/>
                  </a:lnTo>
                  <a:lnTo>
                    <a:pt x="539" y="793"/>
                  </a:lnTo>
                  <a:lnTo>
                    <a:pt x="543" y="797"/>
                  </a:lnTo>
                  <a:lnTo>
                    <a:pt x="545" y="799"/>
                  </a:lnTo>
                  <a:lnTo>
                    <a:pt x="545" y="799"/>
                  </a:lnTo>
                  <a:lnTo>
                    <a:pt x="545" y="799"/>
                  </a:lnTo>
                  <a:lnTo>
                    <a:pt x="547" y="799"/>
                  </a:lnTo>
                  <a:lnTo>
                    <a:pt x="547" y="799"/>
                  </a:lnTo>
                  <a:lnTo>
                    <a:pt x="549" y="801"/>
                  </a:lnTo>
                  <a:lnTo>
                    <a:pt x="549" y="807"/>
                  </a:lnTo>
                  <a:lnTo>
                    <a:pt x="551" y="812"/>
                  </a:lnTo>
                  <a:lnTo>
                    <a:pt x="551" y="814"/>
                  </a:lnTo>
                  <a:lnTo>
                    <a:pt x="551" y="816"/>
                  </a:lnTo>
                  <a:lnTo>
                    <a:pt x="551" y="818"/>
                  </a:lnTo>
                  <a:lnTo>
                    <a:pt x="551" y="818"/>
                  </a:lnTo>
                  <a:lnTo>
                    <a:pt x="551" y="820"/>
                  </a:lnTo>
                  <a:lnTo>
                    <a:pt x="551" y="820"/>
                  </a:lnTo>
                  <a:lnTo>
                    <a:pt x="553" y="822"/>
                  </a:lnTo>
                  <a:lnTo>
                    <a:pt x="553" y="822"/>
                  </a:lnTo>
                  <a:lnTo>
                    <a:pt x="555" y="824"/>
                  </a:lnTo>
                  <a:lnTo>
                    <a:pt x="555" y="826"/>
                  </a:lnTo>
                  <a:lnTo>
                    <a:pt x="555" y="826"/>
                  </a:lnTo>
                  <a:lnTo>
                    <a:pt x="557" y="826"/>
                  </a:lnTo>
                  <a:lnTo>
                    <a:pt x="557" y="826"/>
                  </a:lnTo>
                  <a:lnTo>
                    <a:pt x="557" y="828"/>
                  </a:lnTo>
                  <a:lnTo>
                    <a:pt x="557" y="828"/>
                  </a:lnTo>
                  <a:lnTo>
                    <a:pt x="557" y="830"/>
                  </a:lnTo>
                  <a:lnTo>
                    <a:pt x="557" y="830"/>
                  </a:lnTo>
                  <a:lnTo>
                    <a:pt x="559" y="830"/>
                  </a:lnTo>
                  <a:lnTo>
                    <a:pt x="559" y="830"/>
                  </a:lnTo>
                  <a:lnTo>
                    <a:pt x="559" y="830"/>
                  </a:lnTo>
                  <a:lnTo>
                    <a:pt x="561" y="832"/>
                  </a:lnTo>
                  <a:lnTo>
                    <a:pt x="561" y="832"/>
                  </a:lnTo>
                  <a:lnTo>
                    <a:pt x="561" y="834"/>
                  </a:lnTo>
                  <a:lnTo>
                    <a:pt x="563" y="844"/>
                  </a:lnTo>
                  <a:lnTo>
                    <a:pt x="565" y="846"/>
                  </a:lnTo>
                  <a:lnTo>
                    <a:pt x="569" y="850"/>
                  </a:lnTo>
                  <a:lnTo>
                    <a:pt x="569" y="853"/>
                  </a:lnTo>
                  <a:lnTo>
                    <a:pt x="569" y="853"/>
                  </a:lnTo>
                  <a:lnTo>
                    <a:pt x="572" y="855"/>
                  </a:lnTo>
                  <a:lnTo>
                    <a:pt x="574" y="855"/>
                  </a:lnTo>
                  <a:lnTo>
                    <a:pt x="574" y="857"/>
                  </a:lnTo>
                  <a:lnTo>
                    <a:pt x="574" y="859"/>
                  </a:lnTo>
                  <a:lnTo>
                    <a:pt x="574" y="861"/>
                  </a:lnTo>
                  <a:lnTo>
                    <a:pt x="574" y="863"/>
                  </a:lnTo>
                  <a:lnTo>
                    <a:pt x="576" y="863"/>
                  </a:lnTo>
                  <a:lnTo>
                    <a:pt x="580" y="865"/>
                  </a:lnTo>
                  <a:lnTo>
                    <a:pt x="580" y="865"/>
                  </a:lnTo>
                  <a:lnTo>
                    <a:pt x="578" y="867"/>
                  </a:lnTo>
                  <a:lnTo>
                    <a:pt x="578" y="867"/>
                  </a:lnTo>
                  <a:lnTo>
                    <a:pt x="578" y="869"/>
                  </a:lnTo>
                  <a:lnTo>
                    <a:pt x="578" y="869"/>
                  </a:lnTo>
                  <a:lnTo>
                    <a:pt x="578" y="871"/>
                  </a:lnTo>
                  <a:lnTo>
                    <a:pt x="580" y="871"/>
                  </a:lnTo>
                  <a:lnTo>
                    <a:pt x="580" y="875"/>
                  </a:lnTo>
                  <a:lnTo>
                    <a:pt x="580" y="879"/>
                  </a:lnTo>
                  <a:lnTo>
                    <a:pt x="584" y="881"/>
                  </a:lnTo>
                  <a:lnTo>
                    <a:pt x="584" y="885"/>
                  </a:lnTo>
                  <a:lnTo>
                    <a:pt x="584" y="887"/>
                  </a:lnTo>
                  <a:lnTo>
                    <a:pt x="584" y="889"/>
                  </a:lnTo>
                  <a:lnTo>
                    <a:pt x="584" y="891"/>
                  </a:lnTo>
                  <a:lnTo>
                    <a:pt x="586" y="891"/>
                  </a:lnTo>
                  <a:lnTo>
                    <a:pt x="588" y="894"/>
                  </a:lnTo>
                  <a:lnTo>
                    <a:pt x="590" y="894"/>
                  </a:lnTo>
                  <a:lnTo>
                    <a:pt x="592" y="894"/>
                  </a:lnTo>
                  <a:lnTo>
                    <a:pt x="592" y="896"/>
                  </a:lnTo>
                  <a:lnTo>
                    <a:pt x="592" y="896"/>
                  </a:lnTo>
                  <a:lnTo>
                    <a:pt x="592" y="898"/>
                  </a:lnTo>
                  <a:lnTo>
                    <a:pt x="592" y="900"/>
                  </a:lnTo>
                  <a:lnTo>
                    <a:pt x="594" y="900"/>
                  </a:lnTo>
                  <a:lnTo>
                    <a:pt x="604" y="904"/>
                  </a:lnTo>
                  <a:lnTo>
                    <a:pt x="606" y="906"/>
                  </a:lnTo>
                  <a:lnTo>
                    <a:pt x="606" y="908"/>
                  </a:lnTo>
                  <a:lnTo>
                    <a:pt x="606" y="910"/>
                  </a:lnTo>
                  <a:lnTo>
                    <a:pt x="606" y="910"/>
                  </a:lnTo>
                  <a:lnTo>
                    <a:pt x="608" y="912"/>
                  </a:lnTo>
                  <a:lnTo>
                    <a:pt x="608" y="912"/>
                  </a:lnTo>
                  <a:lnTo>
                    <a:pt x="610" y="912"/>
                  </a:lnTo>
                  <a:lnTo>
                    <a:pt x="610" y="914"/>
                  </a:lnTo>
                  <a:lnTo>
                    <a:pt x="610" y="914"/>
                  </a:lnTo>
                  <a:lnTo>
                    <a:pt x="610" y="914"/>
                  </a:lnTo>
                  <a:lnTo>
                    <a:pt x="610" y="916"/>
                  </a:lnTo>
                  <a:lnTo>
                    <a:pt x="610" y="918"/>
                  </a:lnTo>
                  <a:lnTo>
                    <a:pt x="612" y="920"/>
                  </a:lnTo>
                  <a:lnTo>
                    <a:pt x="612" y="922"/>
                  </a:lnTo>
                  <a:lnTo>
                    <a:pt x="615" y="922"/>
                  </a:lnTo>
                  <a:lnTo>
                    <a:pt x="617" y="922"/>
                  </a:lnTo>
                  <a:lnTo>
                    <a:pt x="619" y="922"/>
                  </a:lnTo>
                  <a:lnTo>
                    <a:pt x="617" y="924"/>
                  </a:lnTo>
                  <a:lnTo>
                    <a:pt x="617" y="926"/>
                  </a:lnTo>
                  <a:lnTo>
                    <a:pt x="619" y="928"/>
                  </a:lnTo>
                  <a:lnTo>
                    <a:pt x="621" y="930"/>
                  </a:lnTo>
                  <a:lnTo>
                    <a:pt x="623" y="930"/>
                  </a:lnTo>
                  <a:lnTo>
                    <a:pt x="623" y="930"/>
                  </a:lnTo>
                  <a:lnTo>
                    <a:pt x="623" y="932"/>
                  </a:lnTo>
                  <a:lnTo>
                    <a:pt x="621" y="935"/>
                  </a:lnTo>
                  <a:lnTo>
                    <a:pt x="621" y="935"/>
                  </a:lnTo>
                  <a:lnTo>
                    <a:pt x="623" y="937"/>
                  </a:lnTo>
                  <a:lnTo>
                    <a:pt x="623" y="937"/>
                  </a:lnTo>
                  <a:lnTo>
                    <a:pt x="625" y="937"/>
                  </a:lnTo>
                  <a:lnTo>
                    <a:pt x="625" y="939"/>
                  </a:lnTo>
                  <a:lnTo>
                    <a:pt x="625" y="941"/>
                  </a:lnTo>
                  <a:lnTo>
                    <a:pt x="625" y="941"/>
                  </a:lnTo>
                  <a:lnTo>
                    <a:pt x="625" y="941"/>
                  </a:lnTo>
                  <a:lnTo>
                    <a:pt x="625" y="943"/>
                  </a:lnTo>
                  <a:lnTo>
                    <a:pt x="627" y="945"/>
                  </a:lnTo>
                  <a:lnTo>
                    <a:pt x="627" y="945"/>
                  </a:lnTo>
                  <a:lnTo>
                    <a:pt x="629" y="945"/>
                  </a:lnTo>
                  <a:lnTo>
                    <a:pt x="631" y="947"/>
                  </a:lnTo>
                  <a:lnTo>
                    <a:pt x="631" y="947"/>
                  </a:lnTo>
                  <a:lnTo>
                    <a:pt x="633" y="949"/>
                  </a:lnTo>
                  <a:lnTo>
                    <a:pt x="633" y="949"/>
                  </a:lnTo>
                  <a:lnTo>
                    <a:pt x="635" y="949"/>
                  </a:lnTo>
                  <a:lnTo>
                    <a:pt x="635" y="951"/>
                  </a:lnTo>
                  <a:lnTo>
                    <a:pt x="637" y="951"/>
                  </a:lnTo>
                  <a:lnTo>
                    <a:pt x="637" y="953"/>
                  </a:lnTo>
                  <a:lnTo>
                    <a:pt x="637" y="953"/>
                  </a:lnTo>
                  <a:lnTo>
                    <a:pt x="637" y="955"/>
                  </a:lnTo>
                  <a:lnTo>
                    <a:pt x="639" y="957"/>
                  </a:lnTo>
                  <a:lnTo>
                    <a:pt x="639" y="957"/>
                  </a:lnTo>
                  <a:lnTo>
                    <a:pt x="643" y="957"/>
                  </a:lnTo>
                  <a:lnTo>
                    <a:pt x="643" y="957"/>
                  </a:lnTo>
                  <a:lnTo>
                    <a:pt x="645" y="959"/>
                  </a:lnTo>
                  <a:lnTo>
                    <a:pt x="645" y="959"/>
                  </a:lnTo>
                  <a:lnTo>
                    <a:pt x="645" y="959"/>
                  </a:lnTo>
                  <a:lnTo>
                    <a:pt x="647" y="959"/>
                  </a:lnTo>
                  <a:lnTo>
                    <a:pt x="649" y="959"/>
                  </a:lnTo>
                  <a:lnTo>
                    <a:pt x="649" y="959"/>
                  </a:lnTo>
                  <a:lnTo>
                    <a:pt x="651" y="961"/>
                  </a:lnTo>
                  <a:lnTo>
                    <a:pt x="651" y="961"/>
                  </a:lnTo>
                  <a:lnTo>
                    <a:pt x="653" y="961"/>
                  </a:lnTo>
                  <a:lnTo>
                    <a:pt x="655" y="963"/>
                  </a:lnTo>
                  <a:lnTo>
                    <a:pt x="658" y="965"/>
                  </a:lnTo>
                  <a:lnTo>
                    <a:pt x="658" y="965"/>
                  </a:lnTo>
                  <a:lnTo>
                    <a:pt x="658" y="971"/>
                  </a:lnTo>
                  <a:lnTo>
                    <a:pt x="658" y="973"/>
                  </a:lnTo>
                  <a:lnTo>
                    <a:pt x="658" y="973"/>
                  </a:lnTo>
                  <a:lnTo>
                    <a:pt x="658" y="975"/>
                  </a:lnTo>
                  <a:lnTo>
                    <a:pt x="660" y="975"/>
                  </a:lnTo>
                  <a:lnTo>
                    <a:pt x="662" y="975"/>
                  </a:lnTo>
                  <a:lnTo>
                    <a:pt x="662" y="975"/>
                  </a:lnTo>
                  <a:lnTo>
                    <a:pt x="662" y="978"/>
                  </a:lnTo>
                  <a:lnTo>
                    <a:pt x="662" y="978"/>
                  </a:lnTo>
                  <a:lnTo>
                    <a:pt x="662" y="982"/>
                  </a:lnTo>
                  <a:lnTo>
                    <a:pt x="662" y="984"/>
                  </a:lnTo>
                  <a:lnTo>
                    <a:pt x="660" y="986"/>
                  </a:lnTo>
                  <a:lnTo>
                    <a:pt x="660" y="988"/>
                  </a:lnTo>
                  <a:lnTo>
                    <a:pt x="660" y="990"/>
                  </a:lnTo>
                  <a:lnTo>
                    <a:pt x="660" y="990"/>
                  </a:lnTo>
                  <a:lnTo>
                    <a:pt x="660" y="992"/>
                  </a:lnTo>
                  <a:lnTo>
                    <a:pt x="658" y="994"/>
                  </a:lnTo>
                  <a:lnTo>
                    <a:pt x="658" y="994"/>
                  </a:lnTo>
                  <a:lnTo>
                    <a:pt x="658" y="994"/>
                  </a:lnTo>
                  <a:lnTo>
                    <a:pt x="660" y="996"/>
                  </a:lnTo>
                  <a:lnTo>
                    <a:pt x="660" y="996"/>
                  </a:lnTo>
                  <a:lnTo>
                    <a:pt x="660" y="996"/>
                  </a:lnTo>
                  <a:lnTo>
                    <a:pt x="660" y="998"/>
                  </a:lnTo>
                  <a:lnTo>
                    <a:pt x="662" y="998"/>
                  </a:lnTo>
                  <a:lnTo>
                    <a:pt x="662" y="998"/>
                  </a:lnTo>
                  <a:lnTo>
                    <a:pt x="662" y="998"/>
                  </a:lnTo>
                  <a:lnTo>
                    <a:pt x="664" y="1000"/>
                  </a:lnTo>
                  <a:lnTo>
                    <a:pt x="664" y="1002"/>
                  </a:lnTo>
                  <a:lnTo>
                    <a:pt x="666" y="1004"/>
                  </a:lnTo>
                  <a:lnTo>
                    <a:pt x="666" y="1006"/>
                  </a:lnTo>
                  <a:lnTo>
                    <a:pt x="666" y="1008"/>
                  </a:lnTo>
                  <a:lnTo>
                    <a:pt x="664" y="1012"/>
                  </a:lnTo>
                  <a:lnTo>
                    <a:pt x="664" y="1014"/>
                  </a:lnTo>
                  <a:lnTo>
                    <a:pt x="664" y="1014"/>
                  </a:lnTo>
                  <a:lnTo>
                    <a:pt x="664" y="1016"/>
                  </a:lnTo>
                  <a:lnTo>
                    <a:pt x="664" y="1016"/>
                  </a:lnTo>
                  <a:lnTo>
                    <a:pt x="666" y="1016"/>
                  </a:lnTo>
                  <a:lnTo>
                    <a:pt x="664" y="1019"/>
                  </a:lnTo>
                  <a:lnTo>
                    <a:pt x="662" y="1023"/>
                  </a:lnTo>
                  <a:lnTo>
                    <a:pt x="664" y="1025"/>
                  </a:lnTo>
                  <a:lnTo>
                    <a:pt x="666" y="1025"/>
                  </a:lnTo>
                  <a:lnTo>
                    <a:pt x="666" y="1027"/>
                  </a:lnTo>
                  <a:lnTo>
                    <a:pt x="668" y="1027"/>
                  </a:lnTo>
                  <a:lnTo>
                    <a:pt x="668" y="1027"/>
                  </a:lnTo>
                  <a:lnTo>
                    <a:pt x="668" y="1027"/>
                  </a:lnTo>
                  <a:lnTo>
                    <a:pt x="670" y="1027"/>
                  </a:lnTo>
                  <a:lnTo>
                    <a:pt x="670" y="1029"/>
                  </a:lnTo>
                  <a:lnTo>
                    <a:pt x="670" y="1031"/>
                  </a:lnTo>
                  <a:lnTo>
                    <a:pt x="670" y="1033"/>
                  </a:lnTo>
                  <a:lnTo>
                    <a:pt x="672" y="1033"/>
                  </a:lnTo>
                  <a:lnTo>
                    <a:pt x="674" y="1037"/>
                  </a:lnTo>
                  <a:lnTo>
                    <a:pt x="676" y="1037"/>
                  </a:lnTo>
                  <a:lnTo>
                    <a:pt x="678" y="1041"/>
                  </a:lnTo>
                  <a:lnTo>
                    <a:pt x="680" y="1043"/>
                  </a:lnTo>
                  <a:lnTo>
                    <a:pt x="682" y="1045"/>
                  </a:lnTo>
                  <a:lnTo>
                    <a:pt x="684" y="1047"/>
                  </a:lnTo>
                  <a:lnTo>
                    <a:pt x="684" y="1051"/>
                  </a:lnTo>
                  <a:lnTo>
                    <a:pt x="686" y="1055"/>
                  </a:lnTo>
                  <a:lnTo>
                    <a:pt x="690" y="1068"/>
                  </a:lnTo>
                  <a:lnTo>
                    <a:pt x="690" y="1070"/>
                  </a:lnTo>
                  <a:lnTo>
                    <a:pt x="690" y="1074"/>
                  </a:lnTo>
                  <a:lnTo>
                    <a:pt x="692" y="1078"/>
                  </a:lnTo>
                  <a:lnTo>
                    <a:pt x="694" y="1078"/>
                  </a:lnTo>
                  <a:lnTo>
                    <a:pt x="696" y="1078"/>
                  </a:lnTo>
                  <a:lnTo>
                    <a:pt x="699" y="1080"/>
                  </a:lnTo>
                  <a:lnTo>
                    <a:pt x="699" y="1084"/>
                  </a:lnTo>
                  <a:lnTo>
                    <a:pt x="699" y="1084"/>
                  </a:lnTo>
                  <a:lnTo>
                    <a:pt x="699" y="1086"/>
                  </a:lnTo>
                  <a:lnTo>
                    <a:pt x="699" y="1088"/>
                  </a:lnTo>
                  <a:lnTo>
                    <a:pt x="696" y="1088"/>
                  </a:lnTo>
                  <a:lnTo>
                    <a:pt x="699" y="1090"/>
                  </a:lnTo>
                  <a:lnTo>
                    <a:pt x="699" y="1092"/>
                  </a:lnTo>
                  <a:lnTo>
                    <a:pt x="701" y="1092"/>
                  </a:lnTo>
                  <a:lnTo>
                    <a:pt x="703" y="1092"/>
                  </a:lnTo>
                  <a:lnTo>
                    <a:pt x="705" y="1092"/>
                  </a:lnTo>
                  <a:lnTo>
                    <a:pt x="705" y="1092"/>
                  </a:lnTo>
                  <a:lnTo>
                    <a:pt x="707" y="1092"/>
                  </a:lnTo>
                  <a:lnTo>
                    <a:pt x="707" y="1092"/>
                  </a:lnTo>
                  <a:lnTo>
                    <a:pt x="707" y="1092"/>
                  </a:lnTo>
                  <a:lnTo>
                    <a:pt x="709" y="1092"/>
                  </a:lnTo>
                  <a:lnTo>
                    <a:pt x="711" y="1092"/>
                  </a:lnTo>
                  <a:lnTo>
                    <a:pt x="713" y="1092"/>
                  </a:lnTo>
                  <a:lnTo>
                    <a:pt x="713" y="1094"/>
                  </a:lnTo>
                  <a:lnTo>
                    <a:pt x="715" y="1092"/>
                  </a:lnTo>
                  <a:lnTo>
                    <a:pt x="719" y="1096"/>
                  </a:lnTo>
                  <a:lnTo>
                    <a:pt x="721" y="1094"/>
                  </a:lnTo>
                  <a:lnTo>
                    <a:pt x="721" y="1096"/>
                  </a:lnTo>
                  <a:lnTo>
                    <a:pt x="723" y="1096"/>
                  </a:lnTo>
                  <a:lnTo>
                    <a:pt x="723" y="1096"/>
                  </a:lnTo>
                  <a:lnTo>
                    <a:pt x="723" y="1094"/>
                  </a:lnTo>
                  <a:lnTo>
                    <a:pt x="723" y="1094"/>
                  </a:lnTo>
                  <a:lnTo>
                    <a:pt x="725" y="1096"/>
                  </a:lnTo>
                  <a:lnTo>
                    <a:pt x="725" y="1096"/>
                  </a:lnTo>
                  <a:lnTo>
                    <a:pt x="727" y="1094"/>
                  </a:lnTo>
                  <a:lnTo>
                    <a:pt x="727" y="1094"/>
                  </a:lnTo>
                  <a:lnTo>
                    <a:pt x="727" y="1096"/>
                  </a:lnTo>
                  <a:lnTo>
                    <a:pt x="729" y="1096"/>
                  </a:lnTo>
                  <a:lnTo>
                    <a:pt x="733" y="1098"/>
                  </a:lnTo>
                  <a:lnTo>
                    <a:pt x="733" y="1100"/>
                  </a:lnTo>
                  <a:lnTo>
                    <a:pt x="733" y="1103"/>
                  </a:lnTo>
                  <a:lnTo>
                    <a:pt x="735" y="1103"/>
                  </a:lnTo>
                  <a:lnTo>
                    <a:pt x="735" y="1103"/>
                  </a:lnTo>
                  <a:lnTo>
                    <a:pt x="737" y="1103"/>
                  </a:lnTo>
                  <a:lnTo>
                    <a:pt x="737" y="1105"/>
                  </a:lnTo>
                  <a:lnTo>
                    <a:pt x="737" y="1105"/>
                  </a:lnTo>
                  <a:lnTo>
                    <a:pt x="737" y="1107"/>
                  </a:lnTo>
                  <a:lnTo>
                    <a:pt x="737" y="1107"/>
                  </a:lnTo>
                  <a:lnTo>
                    <a:pt x="739" y="1107"/>
                  </a:lnTo>
                  <a:lnTo>
                    <a:pt x="742" y="1109"/>
                  </a:lnTo>
                  <a:lnTo>
                    <a:pt x="742" y="1109"/>
                  </a:lnTo>
                  <a:lnTo>
                    <a:pt x="744" y="1109"/>
                  </a:lnTo>
                  <a:lnTo>
                    <a:pt x="748" y="1107"/>
                  </a:lnTo>
                  <a:lnTo>
                    <a:pt x="752" y="1109"/>
                  </a:lnTo>
                  <a:lnTo>
                    <a:pt x="754" y="1109"/>
                  </a:lnTo>
                  <a:lnTo>
                    <a:pt x="758" y="1111"/>
                  </a:lnTo>
                  <a:lnTo>
                    <a:pt x="760" y="1113"/>
                  </a:lnTo>
                  <a:lnTo>
                    <a:pt x="760" y="1111"/>
                  </a:lnTo>
                  <a:lnTo>
                    <a:pt x="760" y="1111"/>
                  </a:lnTo>
                  <a:lnTo>
                    <a:pt x="764" y="1111"/>
                  </a:lnTo>
                  <a:lnTo>
                    <a:pt x="766" y="1113"/>
                  </a:lnTo>
                  <a:lnTo>
                    <a:pt x="770" y="1113"/>
                  </a:lnTo>
                  <a:lnTo>
                    <a:pt x="768" y="1115"/>
                  </a:lnTo>
                  <a:lnTo>
                    <a:pt x="768" y="1117"/>
                  </a:lnTo>
                  <a:lnTo>
                    <a:pt x="770" y="1117"/>
                  </a:lnTo>
                  <a:lnTo>
                    <a:pt x="772" y="1117"/>
                  </a:lnTo>
                  <a:lnTo>
                    <a:pt x="772" y="1119"/>
                  </a:lnTo>
                  <a:lnTo>
                    <a:pt x="774" y="1121"/>
                  </a:lnTo>
                  <a:lnTo>
                    <a:pt x="776" y="1123"/>
                  </a:lnTo>
                  <a:lnTo>
                    <a:pt x="785" y="1125"/>
                  </a:lnTo>
                  <a:lnTo>
                    <a:pt x="787" y="1127"/>
                  </a:lnTo>
                  <a:lnTo>
                    <a:pt x="791" y="1127"/>
                  </a:lnTo>
                  <a:lnTo>
                    <a:pt x="795" y="1125"/>
                  </a:lnTo>
                  <a:lnTo>
                    <a:pt x="797" y="1127"/>
                  </a:lnTo>
                  <a:lnTo>
                    <a:pt x="799" y="1129"/>
                  </a:lnTo>
                  <a:lnTo>
                    <a:pt x="799" y="1129"/>
                  </a:lnTo>
                  <a:lnTo>
                    <a:pt x="801" y="1129"/>
                  </a:lnTo>
                  <a:lnTo>
                    <a:pt x="805" y="1127"/>
                  </a:lnTo>
                  <a:lnTo>
                    <a:pt x="805" y="1127"/>
                  </a:lnTo>
                  <a:lnTo>
                    <a:pt x="811" y="1127"/>
                  </a:lnTo>
                  <a:lnTo>
                    <a:pt x="817" y="1127"/>
                  </a:lnTo>
                  <a:lnTo>
                    <a:pt x="825" y="1127"/>
                  </a:lnTo>
                  <a:lnTo>
                    <a:pt x="828" y="1127"/>
                  </a:lnTo>
                  <a:lnTo>
                    <a:pt x="828" y="1129"/>
                  </a:lnTo>
                  <a:lnTo>
                    <a:pt x="828" y="1129"/>
                  </a:lnTo>
                  <a:lnTo>
                    <a:pt x="838" y="1129"/>
                  </a:lnTo>
                  <a:lnTo>
                    <a:pt x="838" y="1129"/>
                  </a:lnTo>
                  <a:lnTo>
                    <a:pt x="840" y="1131"/>
                  </a:lnTo>
                  <a:lnTo>
                    <a:pt x="842" y="1131"/>
                  </a:lnTo>
                  <a:lnTo>
                    <a:pt x="844" y="1133"/>
                  </a:lnTo>
                  <a:lnTo>
                    <a:pt x="844" y="1135"/>
                  </a:lnTo>
                  <a:lnTo>
                    <a:pt x="846" y="1137"/>
                  </a:lnTo>
                  <a:lnTo>
                    <a:pt x="848" y="1137"/>
                  </a:lnTo>
                  <a:lnTo>
                    <a:pt x="852" y="1141"/>
                  </a:lnTo>
                  <a:lnTo>
                    <a:pt x="854" y="1144"/>
                  </a:lnTo>
                  <a:lnTo>
                    <a:pt x="856" y="1144"/>
                  </a:lnTo>
                  <a:lnTo>
                    <a:pt x="858" y="1144"/>
                  </a:lnTo>
                  <a:lnTo>
                    <a:pt x="860" y="1144"/>
                  </a:lnTo>
                  <a:lnTo>
                    <a:pt x="860" y="1146"/>
                  </a:lnTo>
                  <a:lnTo>
                    <a:pt x="860" y="1148"/>
                  </a:lnTo>
                  <a:lnTo>
                    <a:pt x="862" y="1148"/>
                  </a:lnTo>
                  <a:lnTo>
                    <a:pt x="864" y="1148"/>
                  </a:lnTo>
                  <a:lnTo>
                    <a:pt x="864" y="1148"/>
                  </a:lnTo>
                  <a:lnTo>
                    <a:pt x="864" y="1148"/>
                  </a:lnTo>
                  <a:lnTo>
                    <a:pt x="864" y="1148"/>
                  </a:lnTo>
                  <a:lnTo>
                    <a:pt x="864" y="1148"/>
                  </a:lnTo>
                  <a:lnTo>
                    <a:pt x="864" y="1148"/>
                  </a:lnTo>
                  <a:lnTo>
                    <a:pt x="864" y="1148"/>
                  </a:lnTo>
                  <a:lnTo>
                    <a:pt x="866" y="1148"/>
                  </a:lnTo>
                  <a:lnTo>
                    <a:pt x="866" y="1148"/>
                  </a:lnTo>
                  <a:lnTo>
                    <a:pt x="866" y="1150"/>
                  </a:lnTo>
                  <a:lnTo>
                    <a:pt x="868" y="1150"/>
                  </a:lnTo>
                  <a:lnTo>
                    <a:pt x="871" y="1148"/>
                  </a:lnTo>
                  <a:lnTo>
                    <a:pt x="871" y="1146"/>
                  </a:lnTo>
                  <a:lnTo>
                    <a:pt x="868" y="1144"/>
                  </a:lnTo>
                  <a:lnTo>
                    <a:pt x="868" y="1141"/>
                  </a:lnTo>
                  <a:lnTo>
                    <a:pt x="868" y="1141"/>
                  </a:lnTo>
                  <a:lnTo>
                    <a:pt x="868" y="1141"/>
                  </a:lnTo>
                  <a:lnTo>
                    <a:pt x="871" y="1139"/>
                  </a:lnTo>
                  <a:lnTo>
                    <a:pt x="873" y="1141"/>
                  </a:lnTo>
                  <a:lnTo>
                    <a:pt x="875" y="1139"/>
                  </a:lnTo>
                  <a:lnTo>
                    <a:pt x="877" y="1139"/>
                  </a:lnTo>
                  <a:lnTo>
                    <a:pt x="877" y="1137"/>
                  </a:lnTo>
                  <a:lnTo>
                    <a:pt x="877" y="1137"/>
                  </a:lnTo>
                  <a:lnTo>
                    <a:pt x="877" y="1137"/>
                  </a:lnTo>
                  <a:lnTo>
                    <a:pt x="877" y="1137"/>
                  </a:lnTo>
                  <a:lnTo>
                    <a:pt x="879" y="1135"/>
                  </a:lnTo>
                  <a:lnTo>
                    <a:pt x="883" y="1137"/>
                  </a:lnTo>
                  <a:lnTo>
                    <a:pt x="889" y="1135"/>
                  </a:lnTo>
                  <a:lnTo>
                    <a:pt x="889" y="1135"/>
                  </a:lnTo>
                  <a:lnTo>
                    <a:pt x="889" y="1129"/>
                  </a:lnTo>
                  <a:lnTo>
                    <a:pt x="889" y="1127"/>
                  </a:lnTo>
                  <a:lnTo>
                    <a:pt x="889" y="1123"/>
                  </a:lnTo>
                  <a:lnTo>
                    <a:pt x="887" y="1123"/>
                  </a:lnTo>
                  <a:lnTo>
                    <a:pt x="885" y="1125"/>
                  </a:lnTo>
                  <a:lnTo>
                    <a:pt x="885" y="1125"/>
                  </a:lnTo>
                  <a:lnTo>
                    <a:pt x="885" y="1127"/>
                  </a:lnTo>
                  <a:lnTo>
                    <a:pt x="885" y="1129"/>
                  </a:lnTo>
                  <a:lnTo>
                    <a:pt x="885" y="1131"/>
                  </a:lnTo>
                  <a:lnTo>
                    <a:pt x="883" y="1131"/>
                  </a:lnTo>
                  <a:lnTo>
                    <a:pt x="881" y="1133"/>
                  </a:lnTo>
                  <a:lnTo>
                    <a:pt x="881" y="1133"/>
                  </a:lnTo>
                  <a:lnTo>
                    <a:pt x="881" y="1133"/>
                  </a:lnTo>
                  <a:lnTo>
                    <a:pt x="881" y="1133"/>
                  </a:lnTo>
                  <a:lnTo>
                    <a:pt x="879" y="1133"/>
                  </a:lnTo>
                  <a:lnTo>
                    <a:pt x="879" y="1133"/>
                  </a:lnTo>
                  <a:lnTo>
                    <a:pt x="879" y="1133"/>
                  </a:lnTo>
                  <a:lnTo>
                    <a:pt x="879" y="1131"/>
                  </a:lnTo>
                  <a:lnTo>
                    <a:pt x="879" y="1129"/>
                  </a:lnTo>
                  <a:lnTo>
                    <a:pt x="879" y="1127"/>
                  </a:lnTo>
                  <a:lnTo>
                    <a:pt x="879" y="1125"/>
                  </a:lnTo>
                  <a:lnTo>
                    <a:pt x="881" y="1125"/>
                  </a:lnTo>
                  <a:lnTo>
                    <a:pt x="881" y="1125"/>
                  </a:lnTo>
                  <a:lnTo>
                    <a:pt x="883" y="1123"/>
                  </a:lnTo>
                  <a:lnTo>
                    <a:pt x="883" y="1123"/>
                  </a:lnTo>
                  <a:lnTo>
                    <a:pt x="881" y="1121"/>
                  </a:lnTo>
                  <a:lnTo>
                    <a:pt x="881" y="1121"/>
                  </a:lnTo>
                  <a:lnTo>
                    <a:pt x="877" y="1121"/>
                  </a:lnTo>
                  <a:lnTo>
                    <a:pt x="877" y="1121"/>
                  </a:lnTo>
                  <a:lnTo>
                    <a:pt x="875" y="1121"/>
                  </a:lnTo>
                  <a:lnTo>
                    <a:pt x="875" y="1121"/>
                  </a:lnTo>
                  <a:lnTo>
                    <a:pt x="875" y="1121"/>
                  </a:lnTo>
                  <a:lnTo>
                    <a:pt x="873" y="1119"/>
                  </a:lnTo>
                  <a:lnTo>
                    <a:pt x="873" y="1117"/>
                  </a:lnTo>
                  <a:lnTo>
                    <a:pt x="873" y="1113"/>
                  </a:lnTo>
                  <a:lnTo>
                    <a:pt x="873" y="1111"/>
                  </a:lnTo>
                  <a:lnTo>
                    <a:pt x="871" y="1109"/>
                  </a:lnTo>
                  <a:lnTo>
                    <a:pt x="871" y="1109"/>
                  </a:lnTo>
                  <a:lnTo>
                    <a:pt x="871" y="1107"/>
                  </a:lnTo>
                  <a:lnTo>
                    <a:pt x="871" y="1105"/>
                  </a:lnTo>
                  <a:lnTo>
                    <a:pt x="871" y="1105"/>
                  </a:lnTo>
                  <a:lnTo>
                    <a:pt x="873" y="1105"/>
                  </a:lnTo>
                  <a:lnTo>
                    <a:pt x="871" y="1103"/>
                  </a:lnTo>
                  <a:lnTo>
                    <a:pt x="871" y="1103"/>
                  </a:lnTo>
                  <a:lnTo>
                    <a:pt x="871" y="1103"/>
                  </a:lnTo>
                  <a:lnTo>
                    <a:pt x="868" y="1103"/>
                  </a:lnTo>
                  <a:lnTo>
                    <a:pt x="868" y="1103"/>
                  </a:lnTo>
                  <a:lnTo>
                    <a:pt x="866" y="1103"/>
                  </a:lnTo>
                  <a:lnTo>
                    <a:pt x="866" y="1100"/>
                  </a:lnTo>
                  <a:lnTo>
                    <a:pt x="868" y="1096"/>
                  </a:lnTo>
                  <a:lnTo>
                    <a:pt x="868" y="1096"/>
                  </a:lnTo>
                  <a:lnTo>
                    <a:pt x="868" y="1096"/>
                  </a:lnTo>
                  <a:lnTo>
                    <a:pt x="868" y="1094"/>
                  </a:lnTo>
                  <a:lnTo>
                    <a:pt x="868" y="1094"/>
                  </a:lnTo>
                  <a:lnTo>
                    <a:pt x="868" y="1094"/>
                  </a:lnTo>
                  <a:lnTo>
                    <a:pt x="866" y="1096"/>
                  </a:lnTo>
                  <a:lnTo>
                    <a:pt x="866" y="1096"/>
                  </a:lnTo>
                  <a:lnTo>
                    <a:pt x="866" y="1096"/>
                  </a:lnTo>
                  <a:lnTo>
                    <a:pt x="866" y="1096"/>
                  </a:lnTo>
                  <a:lnTo>
                    <a:pt x="864" y="1096"/>
                  </a:lnTo>
                  <a:lnTo>
                    <a:pt x="866" y="1094"/>
                  </a:lnTo>
                  <a:lnTo>
                    <a:pt x="866" y="1092"/>
                  </a:lnTo>
                  <a:lnTo>
                    <a:pt x="866" y="1092"/>
                  </a:lnTo>
                  <a:lnTo>
                    <a:pt x="864" y="1092"/>
                  </a:lnTo>
                  <a:lnTo>
                    <a:pt x="862" y="1092"/>
                  </a:lnTo>
                  <a:lnTo>
                    <a:pt x="862" y="1090"/>
                  </a:lnTo>
                  <a:lnTo>
                    <a:pt x="862" y="1088"/>
                  </a:lnTo>
                  <a:lnTo>
                    <a:pt x="862" y="1088"/>
                  </a:lnTo>
                  <a:lnTo>
                    <a:pt x="860" y="1088"/>
                  </a:lnTo>
                  <a:lnTo>
                    <a:pt x="858" y="1088"/>
                  </a:lnTo>
                  <a:lnTo>
                    <a:pt x="858" y="1088"/>
                  </a:lnTo>
                  <a:lnTo>
                    <a:pt x="858" y="1086"/>
                  </a:lnTo>
                  <a:lnTo>
                    <a:pt x="858" y="1084"/>
                  </a:lnTo>
                  <a:lnTo>
                    <a:pt x="858" y="1082"/>
                  </a:lnTo>
                  <a:lnTo>
                    <a:pt x="858" y="1080"/>
                  </a:lnTo>
                  <a:lnTo>
                    <a:pt x="856" y="1080"/>
                  </a:lnTo>
                  <a:lnTo>
                    <a:pt x="858" y="1078"/>
                  </a:lnTo>
                  <a:lnTo>
                    <a:pt x="860" y="1078"/>
                  </a:lnTo>
                  <a:lnTo>
                    <a:pt x="860" y="1076"/>
                  </a:lnTo>
                  <a:lnTo>
                    <a:pt x="860" y="1078"/>
                  </a:lnTo>
                  <a:lnTo>
                    <a:pt x="860" y="1078"/>
                  </a:lnTo>
                  <a:lnTo>
                    <a:pt x="860" y="1078"/>
                  </a:lnTo>
                  <a:lnTo>
                    <a:pt x="860" y="1076"/>
                  </a:lnTo>
                  <a:lnTo>
                    <a:pt x="858" y="1068"/>
                  </a:lnTo>
                  <a:lnTo>
                    <a:pt x="856" y="1062"/>
                  </a:lnTo>
                  <a:lnTo>
                    <a:pt x="854" y="1053"/>
                  </a:lnTo>
                  <a:lnTo>
                    <a:pt x="854" y="1049"/>
                  </a:lnTo>
                  <a:lnTo>
                    <a:pt x="854" y="1047"/>
                  </a:lnTo>
                  <a:lnTo>
                    <a:pt x="852" y="1045"/>
                  </a:lnTo>
                  <a:lnTo>
                    <a:pt x="852" y="1045"/>
                  </a:lnTo>
                  <a:lnTo>
                    <a:pt x="850" y="1045"/>
                  </a:lnTo>
                  <a:lnTo>
                    <a:pt x="848" y="1045"/>
                  </a:lnTo>
                  <a:lnTo>
                    <a:pt x="848" y="1045"/>
                  </a:lnTo>
                  <a:lnTo>
                    <a:pt x="846" y="1043"/>
                  </a:lnTo>
                  <a:lnTo>
                    <a:pt x="846" y="1041"/>
                  </a:lnTo>
                  <a:lnTo>
                    <a:pt x="846" y="1039"/>
                  </a:lnTo>
                  <a:lnTo>
                    <a:pt x="846" y="1037"/>
                  </a:lnTo>
                  <a:lnTo>
                    <a:pt x="848" y="1037"/>
                  </a:lnTo>
                  <a:lnTo>
                    <a:pt x="848" y="1037"/>
                  </a:lnTo>
                  <a:lnTo>
                    <a:pt x="852" y="1041"/>
                  </a:lnTo>
                  <a:lnTo>
                    <a:pt x="854" y="1039"/>
                  </a:lnTo>
                  <a:lnTo>
                    <a:pt x="852" y="1037"/>
                  </a:lnTo>
                  <a:lnTo>
                    <a:pt x="848" y="1035"/>
                  </a:lnTo>
                  <a:lnTo>
                    <a:pt x="848" y="1035"/>
                  </a:lnTo>
                  <a:lnTo>
                    <a:pt x="846" y="1033"/>
                  </a:lnTo>
                  <a:lnTo>
                    <a:pt x="846" y="1031"/>
                  </a:lnTo>
                  <a:lnTo>
                    <a:pt x="846" y="1027"/>
                  </a:lnTo>
                  <a:lnTo>
                    <a:pt x="846" y="1025"/>
                  </a:lnTo>
                  <a:lnTo>
                    <a:pt x="848" y="1025"/>
                  </a:lnTo>
                  <a:lnTo>
                    <a:pt x="852" y="1025"/>
                  </a:lnTo>
                  <a:lnTo>
                    <a:pt x="854" y="1023"/>
                  </a:lnTo>
                  <a:lnTo>
                    <a:pt x="854" y="1021"/>
                  </a:lnTo>
                  <a:lnTo>
                    <a:pt x="852" y="1019"/>
                  </a:lnTo>
                  <a:lnTo>
                    <a:pt x="854" y="1016"/>
                  </a:lnTo>
                  <a:lnTo>
                    <a:pt x="852" y="1016"/>
                  </a:lnTo>
                  <a:lnTo>
                    <a:pt x="852" y="1014"/>
                  </a:lnTo>
                  <a:lnTo>
                    <a:pt x="852" y="1014"/>
                  </a:lnTo>
                  <a:lnTo>
                    <a:pt x="854" y="1014"/>
                  </a:lnTo>
                  <a:lnTo>
                    <a:pt x="854" y="1012"/>
                  </a:lnTo>
                  <a:lnTo>
                    <a:pt x="856" y="1012"/>
                  </a:lnTo>
                  <a:lnTo>
                    <a:pt x="856" y="1010"/>
                  </a:lnTo>
                  <a:lnTo>
                    <a:pt x="856" y="1010"/>
                  </a:lnTo>
                  <a:lnTo>
                    <a:pt x="856" y="1008"/>
                  </a:lnTo>
                  <a:lnTo>
                    <a:pt x="856" y="1006"/>
                  </a:lnTo>
                  <a:lnTo>
                    <a:pt x="856" y="1006"/>
                  </a:lnTo>
                  <a:lnTo>
                    <a:pt x="856" y="1004"/>
                  </a:lnTo>
                  <a:lnTo>
                    <a:pt x="856" y="1002"/>
                  </a:lnTo>
                  <a:lnTo>
                    <a:pt x="856" y="1000"/>
                  </a:lnTo>
                  <a:lnTo>
                    <a:pt x="856" y="1000"/>
                  </a:lnTo>
                  <a:lnTo>
                    <a:pt x="858" y="1000"/>
                  </a:lnTo>
                  <a:lnTo>
                    <a:pt x="858" y="998"/>
                  </a:lnTo>
                  <a:lnTo>
                    <a:pt x="858" y="996"/>
                  </a:lnTo>
                  <a:lnTo>
                    <a:pt x="858" y="996"/>
                  </a:lnTo>
                  <a:lnTo>
                    <a:pt x="852" y="998"/>
                  </a:lnTo>
                  <a:lnTo>
                    <a:pt x="850" y="998"/>
                  </a:lnTo>
                  <a:lnTo>
                    <a:pt x="848" y="1000"/>
                  </a:lnTo>
                  <a:lnTo>
                    <a:pt x="846" y="1000"/>
                  </a:lnTo>
                  <a:lnTo>
                    <a:pt x="840" y="998"/>
                  </a:lnTo>
                  <a:lnTo>
                    <a:pt x="838" y="998"/>
                  </a:lnTo>
                  <a:lnTo>
                    <a:pt x="838" y="996"/>
                  </a:lnTo>
                  <a:lnTo>
                    <a:pt x="836" y="996"/>
                  </a:lnTo>
                  <a:lnTo>
                    <a:pt x="834" y="996"/>
                  </a:lnTo>
                  <a:lnTo>
                    <a:pt x="828" y="996"/>
                  </a:lnTo>
                  <a:lnTo>
                    <a:pt x="825" y="996"/>
                  </a:lnTo>
                  <a:lnTo>
                    <a:pt x="825" y="994"/>
                  </a:lnTo>
                  <a:lnTo>
                    <a:pt x="828" y="994"/>
                  </a:lnTo>
                  <a:lnTo>
                    <a:pt x="830" y="994"/>
                  </a:lnTo>
                  <a:lnTo>
                    <a:pt x="832" y="994"/>
                  </a:lnTo>
                  <a:lnTo>
                    <a:pt x="834" y="994"/>
                  </a:lnTo>
                  <a:lnTo>
                    <a:pt x="836" y="992"/>
                  </a:lnTo>
                  <a:lnTo>
                    <a:pt x="834" y="992"/>
                  </a:lnTo>
                  <a:lnTo>
                    <a:pt x="834" y="990"/>
                  </a:lnTo>
                  <a:lnTo>
                    <a:pt x="832" y="992"/>
                  </a:lnTo>
                  <a:lnTo>
                    <a:pt x="832" y="992"/>
                  </a:lnTo>
                  <a:lnTo>
                    <a:pt x="832" y="992"/>
                  </a:lnTo>
                  <a:lnTo>
                    <a:pt x="832" y="990"/>
                  </a:lnTo>
                  <a:lnTo>
                    <a:pt x="834" y="990"/>
                  </a:lnTo>
                  <a:lnTo>
                    <a:pt x="832" y="988"/>
                  </a:lnTo>
                  <a:lnTo>
                    <a:pt x="828" y="984"/>
                  </a:lnTo>
                  <a:lnTo>
                    <a:pt x="830" y="984"/>
                  </a:lnTo>
                  <a:lnTo>
                    <a:pt x="828" y="982"/>
                  </a:lnTo>
                  <a:lnTo>
                    <a:pt x="825" y="978"/>
                  </a:lnTo>
                  <a:lnTo>
                    <a:pt x="825" y="975"/>
                  </a:lnTo>
                  <a:lnTo>
                    <a:pt x="828" y="978"/>
                  </a:lnTo>
                  <a:lnTo>
                    <a:pt x="830" y="980"/>
                  </a:lnTo>
                  <a:lnTo>
                    <a:pt x="838" y="990"/>
                  </a:lnTo>
                  <a:lnTo>
                    <a:pt x="838" y="992"/>
                  </a:lnTo>
                  <a:lnTo>
                    <a:pt x="838" y="992"/>
                  </a:lnTo>
                  <a:lnTo>
                    <a:pt x="838" y="994"/>
                  </a:lnTo>
                  <a:lnTo>
                    <a:pt x="840" y="994"/>
                  </a:lnTo>
                  <a:lnTo>
                    <a:pt x="842" y="994"/>
                  </a:lnTo>
                  <a:lnTo>
                    <a:pt x="842" y="992"/>
                  </a:lnTo>
                  <a:lnTo>
                    <a:pt x="842" y="992"/>
                  </a:lnTo>
                  <a:lnTo>
                    <a:pt x="842" y="992"/>
                  </a:lnTo>
                  <a:lnTo>
                    <a:pt x="844" y="988"/>
                  </a:lnTo>
                  <a:lnTo>
                    <a:pt x="844" y="988"/>
                  </a:lnTo>
                  <a:lnTo>
                    <a:pt x="844" y="990"/>
                  </a:lnTo>
                  <a:lnTo>
                    <a:pt x="846" y="988"/>
                  </a:lnTo>
                  <a:lnTo>
                    <a:pt x="846" y="988"/>
                  </a:lnTo>
                  <a:lnTo>
                    <a:pt x="848" y="988"/>
                  </a:lnTo>
                  <a:lnTo>
                    <a:pt x="848" y="986"/>
                  </a:lnTo>
                  <a:lnTo>
                    <a:pt x="848" y="986"/>
                  </a:lnTo>
                  <a:lnTo>
                    <a:pt x="850" y="984"/>
                  </a:lnTo>
                  <a:lnTo>
                    <a:pt x="852" y="982"/>
                  </a:lnTo>
                  <a:lnTo>
                    <a:pt x="852" y="984"/>
                  </a:lnTo>
                  <a:lnTo>
                    <a:pt x="852" y="986"/>
                  </a:lnTo>
                  <a:lnTo>
                    <a:pt x="852" y="988"/>
                  </a:lnTo>
                  <a:lnTo>
                    <a:pt x="852" y="988"/>
                  </a:lnTo>
                  <a:lnTo>
                    <a:pt x="854" y="988"/>
                  </a:lnTo>
                  <a:lnTo>
                    <a:pt x="854" y="988"/>
                  </a:lnTo>
                  <a:lnTo>
                    <a:pt x="854" y="988"/>
                  </a:lnTo>
                  <a:lnTo>
                    <a:pt x="854" y="988"/>
                  </a:lnTo>
                  <a:lnTo>
                    <a:pt x="854" y="988"/>
                  </a:lnTo>
                  <a:lnTo>
                    <a:pt x="854" y="990"/>
                  </a:lnTo>
                  <a:lnTo>
                    <a:pt x="854" y="990"/>
                  </a:lnTo>
                  <a:lnTo>
                    <a:pt x="852" y="990"/>
                  </a:lnTo>
                  <a:lnTo>
                    <a:pt x="850" y="990"/>
                  </a:lnTo>
                  <a:lnTo>
                    <a:pt x="850" y="990"/>
                  </a:lnTo>
                  <a:lnTo>
                    <a:pt x="850" y="990"/>
                  </a:lnTo>
                  <a:lnTo>
                    <a:pt x="852" y="990"/>
                  </a:lnTo>
                  <a:lnTo>
                    <a:pt x="852" y="992"/>
                  </a:lnTo>
                  <a:lnTo>
                    <a:pt x="850" y="992"/>
                  </a:lnTo>
                  <a:lnTo>
                    <a:pt x="848" y="994"/>
                  </a:lnTo>
                  <a:lnTo>
                    <a:pt x="850" y="996"/>
                  </a:lnTo>
                  <a:lnTo>
                    <a:pt x="850" y="996"/>
                  </a:lnTo>
                  <a:lnTo>
                    <a:pt x="852" y="992"/>
                  </a:lnTo>
                  <a:lnTo>
                    <a:pt x="858" y="990"/>
                  </a:lnTo>
                  <a:lnTo>
                    <a:pt x="860" y="990"/>
                  </a:lnTo>
                  <a:lnTo>
                    <a:pt x="860" y="986"/>
                  </a:lnTo>
                  <a:lnTo>
                    <a:pt x="864" y="975"/>
                  </a:lnTo>
                  <a:lnTo>
                    <a:pt x="864" y="973"/>
                  </a:lnTo>
                  <a:lnTo>
                    <a:pt x="864" y="973"/>
                  </a:lnTo>
                  <a:lnTo>
                    <a:pt x="866" y="971"/>
                  </a:lnTo>
                  <a:lnTo>
                    <a:pt x="866" y="965"/>
                  </a:lnTo>
                  <a:lnTo>
                    <a:pt x="871" y="961"/>
                  </a:lnTo>
                  <a:lnTo>
                    <a:pt x="871" y="959"/>
                  </a:lnTo>
                  <a:lnTo>
                    <a:pt x="871" y="957"/>
                  </a:lnTo>
                  <a:lnTo>
                    <a:pt x="871" y="955"/>
                  </a:lnTo>
                  <a:lnTo>
                    <a:pt x="871" y="955"/>
                  </a:lnTo>
                  <a:lnTo>
                    <a:pt x="873" y="953"/>
                  </a:lnTo>
                  <a:lnTo>
                    <a:pt x="873" y="951"/>
                  </a:lnTo>
                  <a:lnTo>
                    <a:pt x="873" y="951"/>
                  </a:lnTo>
                  <a:lnTo>
                    <a:pt x="873" y="949"/>
                  </a:lnTo>
                  <a:lnTo>
                    <a:pt x="864" y="945"/>
                  </a:lnTo>
                  <a:lnTo>
                    <a:pt x="862" y="945"/>
                  </a:lnTo>
                  <a:lnTo>
                    <a:pt x="860" y="941"/>
                  </a:lnTo>
                  <a:lnTo>
                    <a:pt x="860" y="941"/>
                  </a:lnTo>
                  <a:lnTo>
                    <a:pt x="860" y="939"/>
                  </a:lnTo>
                  <a:lnTo>
                    <a:pt x="860" y="937"/>
                  </a:lnTo>
                  <a:lnTo>
                    <a:pt x="860" y="935"/>
                  </a:lnTo>
                  <a:lnTo>
                    <a:pt x="860" y="935"/>
                  </a:lnTo>
                  <a:lnTo>
                    <a:pt x="858" y="937"/>
                  </a:lnTo>
                  <a:lnTo>
                    <a:pt x="858" y="937"/>
                  </a:lnTo>
                  <a:lnTo>
                    <a:pt x="856" y="935"/>
                  </a:lnTo>
                  <a:lnTo>
                    <a:pt x="854" y="937"/>
                  </a:lnTo>
                  <a:lnTo>
                    <a:pt x="852" y="935"/>
                  </a:lnTo>
                  <a:lnTo>
                    <a:pt x="850" y="935"/>
                  </a:lnTo>
                  <a:lnTo>
                    <a:pt x="848" y="930"/>
                  </a:lnTo>
                  <a:lnTo>
                    <a:pt x="850" y="930"/>
                  </a:lnTo>
                  <a:lnTo>
                    <a:pt x="850" y="930"/>
                  </a:lnTo>
                  <a:lnTo>
                    <a:pt x="850" y="930"/>
                  </a:lnTo>
                  <a:lnTo>
                    <a:pt x="850" y="930"/>
                  </a:lnTo>
                  <a:lnTo>
                    <a:pt x="850" y="932"/>
                  </a:lnTo>
                  <a:lnTo>
                    <a:pt x="852" y="932"/>
                  </a:lnTo>
                  <a:lnTo>
                    <a:pt x="852" y="932"/>
                  </a:lnTo>
                  <a:lnTo>
                    <a:pt x="852" y="932"/>
                  </a:lnTo>
                  <a:lnTo>
                    <a:pt x="854" y="932"/>
                  </a:lnTo>
                  <a:lnTo>
                    <a:pt x="854" y="932"/>
                  </a:lnTo>
                  <a:lnTo>
                    <a:pt x="854" y="932"/>
                  </a:lnTo>
                  <a:lnTo>
                    <a:pt x="854" y="930"/>
                  </a:lnTo>
                  <a:lnTo>
                    <a:pt x="856" y="930"/>
                  </a:lnTo>
                  <a:lnTo>
                    <a:pt x="862" y="930"/>
                  </a:lnTo>
                  <a:lnTo>
                    <a:pt x="864" y="930"/>
                  </a:lnTo>
                  <a:lnTo>
                    <a:pt x="864" y="930"/>
                  </a:lnTo>
                  <a:lnTo>
                    <a:pt x="864" y="932"/>
                  </a:lnTo>
                  <a:lnTo>
                    <a:pt x="864" y="932"/>
                  </a:lnTo>
                  <a:lnTo>
                    <a:pt x="864" y="932"/>
                  </a:lnTo>
                  <a:lnTo>
                    <a:pt x="866" y="932"/>
                  </a:lnTo>
                  <a:lnTo>
                    <a:pt x="871" y="930"/>
                  </a:lnTo>
                  <a:lnTo>
                    <a:pt x="873" y="930"/>
                  </a:lnTo>
                  <a:lnTo>
                    <a:pt x="875" y="930"/>
                  </a:lnTo>
                  <a:lnTo>
                    <a:pt x="875" y="932"/>
                  </a:lnTo>
                  <a:lnTo>
                    <a:pt x="877" y="932"/>
                  </a:lnTo>
                  <a:lnTo>
                    <a:pt x="877" y="935"/>
                  </a:lnTo>
                  <a:lnTo>
                    <a:pt x="875" y="935"/>
                  </a:lnTo>
                  <a:lnTo>
                    <a:pt x="875" y="937"/>
                  </a:lnTo>
                  <a:lnTo>
                    <a:pt x="879" y="937"/>
                  </a:lnTo>
                  <a:lnTo>
                    <a:pt x="881" y="935"/>
                  </a:lnTo>
                  <a:lnTo>
                    <a:pt x="887" y="924"/>
                  </a:lnTo>
                  <a:lnTo>
                    <a:pt x="891" y="918"/>
                  </a:lnTo>
                  <a:lnTo>
                    <a:pt x="891" y="918"/>
                  </a:lnTo>
                  <a:lnTo>
                    <a:pt x="891" y="918"/>
                  </a:lnTo>
                  <a:lnTo>
                    <a:pt x="891" y="918"/>
                  </a:lnTo>
                  <a:lnTo>
                    <a:pt x="891" y="918"/>
                  </a:lnTo>
                  <a:lnTo>
                    <a:pt x="893" y="914"/>
                  </a:lnTo>
                  <a:lnTo>
                    <a:pt x="893" y="914"/>
                  </a:lnTo>
                  <a:lnTo>
                    <a:pt x="895" y="912"/>
                  </a:lnTo>
                  <a:lnTo>
                    <a:pt x="895" y="912"/>
                  </a:lnTo>
                  <a:lnTo>
                    <a:pt x="895" y="912"/>
                  </a:lnTo>
                  <a:lnTo>
                    <a:pt x="895" y="910"/>
                  </a:lnTo>
                  <a:lnTo>
                    <a:pt x="895" y="906"/>
                  </a:lnTo>
                  <a:lnTo>
                    <a:pt x="895" y="904"/>
                  </a:lnTo>
                  <a:lnTo>
                    <a:pt x="893" y="904"/>
                  </a:lnTo>
                  <a:lnTo>
                    <a:pt x="893" y="904"/>
                  </a:lnTo>
                  <a:lnTo>
                    <a:pt x="893" y="904"/>
                  </a:lnTo>
                  <a:lnTo>
                    <a:pt x="893" y="904"/>
                  </a:lnTo>
                  <a:lnTo>
                    <a:pt x="893" y="904"/>
                  </a:lnTo>
                  <a:lnTo>
                    <a:pt x="893" y="906"/>
                  </a:lnTo>
                  <a:lnTo>
                    <a:pt x="891" y="908"/>
                  </a:lnTo>
                  <a:lnTo>
                    <a:pt x="887" y="910"/>
                  </a:lnTo>
                  <a:lnTo>
                    <a:pt x="887" y="910"/>
                  </a:lnTo>
                  <a:lnTo>
                    <a:pt x="887" y="912"/>
                  </a:lnTo>
                  <a:lnTo>
                    <a:pt x="885" y="914"/>
                  </a:lnTo>
                  <a:lnTo>
                    <a:pt x="885" y="914"/>
                  </a:lnTo>
                  <a:lnTo>
                    <a:pt x="885" y="916"/>
                  </a:lnTo>
                  <a:lnTo>
                    <a:pt x="883" y="916"/>
                  </a:lnTo>
                  <a:lnTo>
                    <a:pt x="883" y="916"/>
                  </a:lnTo>
                  <a:lnTo>
                    <a:pt x="883" y="914"/>
                  </a:lnTo>
                  <a:lnTo>
                    <a:pt x="883" y="914"/>
                  </a:lnTo>
                  <a:lnTo>
                    <a:pt x="883" y="912"/>
                  </a:lnTo>
                  <a:lnTo>
                    <a:pt x="881" y="910"/>
                  </a:lnTo>
                  <a:lnTo>
                    <a:pt x="879" y="910"/>
                  </a:lnTo>
                  <a:lnTo>
                    <a:pt x="877" y="910"/>
                  </a:lnTo>
                  <a:lnTo>
                    <a:pt x="877" y="910"/>
                  </a:lnTo>
                  <a:lnTo>
                    <a:pt x="879" y="906"/>
                  </a:lnTo>
                  <a:lnTo>
                    <a:pt x="883" y="902"/>
                  </a:lnTo>
                  <a:lnTo>
                    <a:pt x="881" y="902"/>
                  </a:lnTo>
                  <a:lnTo>
                    <a:pt x="881" y="902"/>
                  </a:lnTo>
                  <a:lnTo>
                    <a:pt x="881" y="900"/>
                  </a:lnTo>
                  <a:lnTo>
                    <a:pt x="881" y="900"/>
                  </a:lnTo>
                  <a:lnTo>
                    <a:pt x="883" y="900"/>
                  </a:lnTo>
                  <a:lnTo>
                    <a:pt x="883" y="900"/>
                  </a:lnTo>
                  <a:lnTo>
                    <a:pt x="885" y="900"/>
                  </a:lnTo>
                  <a:lnTo>
                    <a:pt x="883" y="902"/>
                  </a:lnTo>
                  <a:lnTo>
                    <a:pt x="887" y="900"/>
                  </a:lnTo>
                  <a:lnTo>
                    <a:pt x="891" y="898"/>
                  </a:lnTo>
                  <a:lnTo>
                    <a:pt x="893" y="896"/>
                  </a:lnTo>
                  <a:lnTo>
                    <a:pt x="895" y="894"/>
                  </a:lnTo>
                  <a:lnTo>
                    <a:pt x="895" y="894"/>
                  </a:lnTo>
                  <a:lnTo>
                    <a:pt x="895" y="896"/>
                  </a:lnTo>
                  <a:lnTo>
                    <a:pt x="895" y="900"/>
                  </a:lnTo>
                  <a:lnTo>
                    <a:pt x="897" y="900"/>
                  </a:lnTo>
                  <a:lnTo>
                    <a:pt x="895" y="900"/>
                  </a:lnTo>
                  <a:lnTo>
                    <a:pt x="895" y="902"/>
                  </a:lnTo>
                  <a:lnTo>
                    <a:pt x="895" y="902"/>
                  </a:lnTo>
                  <a:lnTo>
                    <a:pt x="895" y="902"/>
                  </a:lnTo>
                  <a:lnTo>
                    <a:pt x="899" y="902"/>
                  </a:lnTo>
                  <a:lnTo>
                    <a:pt x="899" y="902"/>
                  </a:lnTo>
                  <a:lnTo>
                    <a:pt x="901" y="900"/>
                  </a:lnTo>
                  <a:lnTo>
                    <a:pt x="901" y="898"/>
                  </a:lnTo>
                  <a:lnTo>
                    <a:pt x="901" y="896"/>
                  </a:lnTo>
                  <a:lnTo>
                    <a:pt x="901" y="894"/>
                  </a:lnTo>
                  <a:lnTo>
                    <a:pt x="901" y="894"/>
                  </a:lnTo>
                  <a:lnTo>
                    <a:pt x="903" y="889"/>
                  </a:lnTo>
                  <a:lnTo>
                    <a:pt x="903" y="887"/>
                  </a:lnTo>
                  <a:lnTo>
                    <a:pt x="905" y="887"/>
                  </a:lnTo>
                  <a:lnTo>
                    <a:pt x="905" y="889"/>
                  </a:lnTo>
                  <a:lnTo>
                    <a:pt x="905" y="891"/>
                  </a:lnTo>
                  <a:lnTo>
                    <a:pt x="903" y="894"/>
                  </a:lnTo>
                  <a:lnTo>
                    <a:pt x="905" y="896"/>
                  </a:lnTo>
                  <a:lnTo>
                    <a:pt x="903" y="898"/>
                  </a:lnTo>
                  <a:lnTo>
                    <a:pt x="903" y="900"/>
                  </a:lnTo>
                  <a:lnTo>
                    <a:pt x="901" y="904"/>
                  </a:lnTo>
                  <a:lnTo>
                    <a:pt x="903" y="902"/>
                  </a:lnTo>
                  <a:lnTo>
                    <a:pt x="907" y="902"/>
                  </a:lnTo>
                  <a:lnTo>
                    <a:pt x="907" y="900"/>
                  </a:lnTo>
                  <a:lnTo>
                    <a:pt x="911" y="896"/>
                  </a:lnTo>
                  <a:lnTo>
                    <a:pt x="914" y="894"/>
                  </a:lnTo>
                  <a:lnTo>
                    <a:pt x="916" y="891"/>
                  </a:lnTo>
                  <a:lnTo>
                    <a:pt x="918" y="889"/>
                  </a:lnTo>
                  <a:lnTo>
                    <a:pt x="916" y="885"/>
                  </a:lnTo>
                  <a:lnTo>
                    <a:pt x="916" y="883"/>
                  </a:lnTo>
                  <a:lnTo>
                    <a:pt x="918" y="881"/>
                  </a:lnTo>
                  <a:lnTo>
                    <a:pt x="918" y="879"/>
                  </a:lnTo>
                  <a:lnTo>
                    <a:pt x="916" y="877"/>
                  </a:lnTo>
                  <a:lnTo>
                    <a:pt x="914" y="875"/>
                  </a:lnTo>
                  <a:lnTo>
                    <a:pt x="911" y="871"/>
                  </a:lnTo>
                  <a:lnTo>
                    <a:pt x="911" y="869"/>
                  </a:lnTo>
                  <a:lnTo>
                    <a:pt x="914" y="871"/>
                  </a:lnTo>
                  <a:lnTo>
                    <a:pt x="916" y="871"/>
                  </a:lnTo>
                  <a:lnTo>
                    <a:pt x="918" y="873"/>
                  </a:lnTo>
                  <a:lnTo>
                    <a:pt x="918" y="871"/>
                  </a:lnTo>
                  <a:lnTo>
                    <a:pt x="918" y="871"/>
                  </a:lnTo>
                  <a:lnTo>
                    <a:pt x="918" y="869"/>
                  </a:lnTo>
                  <a:lnTo>
                    <a:pt x="916" y="867"/>
                  </a:lnTo>
                  <a:lnTo>
                    <a:pt x="914" y="867"/>
                  </a:lnTo>
                  <a:lnTo>
                    <a:pt x="914" y="867"/>
                  </a:lnTo>
                  <a:lnTo>
                    <a:pt x="914" y="865"/>
                  </a:lnTo>
                  <a:lnTo>
                    <a:pt x="916" y="865"/>
                  </a:lnTo>
                  <a:lnTo>
                    <a:pt x="916" y="865"/>
                  </a:lnTo>
                  <a:lnTo>
                    <a:pt x="916" y="865"/>
                  </a:lnTo>
                  <a:lnTo>
                    <a:pt x="918" y="867"/>
                  </a:lnTo>
                  <a:lnTo>
                    <a:pt x="918" y="869"/>
                  </a:lnTo>
                  <a:lnTo>
                    <a:pt x="920" y="869"/>
                  </a:lnTo>
                  <a:lnTo>
                    <a:pt x="920" y="869"/>
                  </a:lnTo>
                  <a:lnTo>
                    <a:pt x="920" y="869"/>
                  </a:lnTo>
                  <a:lnTo>
                    <a:pt x="920" y="871"/>
                  </a:lnTo>
                  <a:lnTo>
                    <a:pt x="920" y="871"/>
                  </a:lnTo>
                  <a:lnTo>
                    <a:pt x="922" y="871"/>
                  </a:lnTo>
                  <a:lnTo>
                    <a:pt x="924" y="873"/>
                  </a:lnTo>
                  <a:lnTo>
                    <a:pt x="924" y="873"/>
                  </a:lnTo>
                  <a:lnTo>
                    <a:pt x="924" y="873"/>
                  </a:lnTo>
                  <a:lnTo>
                    <a:pt x="924" y="877"/>
                  </a:lnTo>
                  <a:lnTo>
                    <a:pt x="926" y="879"/>
                  </a:lnTo>
                  <a:lnTo>
                    <a:pt x="926" y="881"/>
                  </a:lnTo>
                  <a:lnTo>
                    <a:pt x="928" y="879"/>
                  </a:lnTo>
                  <a:lnTo>
                    <a:pt x="930" y="881"/>
                  </a:lnTo>
                  <a:lnTo>
                    <a:pt x="940" y="875"/>
                  </a:lnTo>
                  <a:lnTo>
                    <a:pt x="940" y="875"/>
                  </a:lnTo>
                  <a:lnTo>
                    <a:pt x="944" y="873"/>
                  </a:lnTo>
                  <a:lnTo>
                    <a:pt x="946" y="871"/>
                  </a:lnTo>
                  <a:lnTo>
                    <a:pt x="952" y="869"/>
                  </a:lnTo>
                  <a:lnTo>
                    <a:pt x="952" y="865"/>
                  </a:lnTo>
                  <a:lnTo>
                    <a:pt x="950" y="863"/>
                  </a:lnTo>
                  <a:lnTo>
                    <a:pt x="946" y="863"/>
                  </a:lnTo>
                  <a:lnTo>
                    <a:pt x="942" y="863"/>
                  </a:lnTo>
                  <a:lnTo>
                    <a:pt x="942" y="863"/>
                  </a:lnTo>
                  <a:lnTo>
                    <a:pt x="940" y="865"/>
                  </a:lnTo>
                  <a:lnTo>
                    <a:pt x="938" y="865"/>
                  </a:lnTo>
                  <a:lnTo>
                    <a:pt x="938" y="863"/>
                  </a:lnTo>
                  <a:lnTo>
                    <a:pt x="938" y="863"/>
                  </a:lnTo>
                  <a:lnTo>
                    <a:pt x="944" y="861"/>
                  </a:lnTo>
                  <a:lnTo>
                    <a:pt x="942" y="859"/>
                  </a:lnTo>
                  <a:lnTo>
                    <a:pt x="942" y="857"/>
                  </a:lnTo>
                  <a:lnTo>
                    <a:pt x="942" y="857"/>
                  </a:lnTo>
                  <a:lnTo>
                    <a:pt x="942" y="857"/>
                  </a:lnTo>
                  <a:lnTo>
                    <a:pt x="940" y="855"/>
                  </a:lnTo>
                  <a:lnTo>
                    <a:pt x="936" y="853"/>
                  </a:lnTo>
                  <a:lnTo>
                    <a:pt x="936" y="853"/>
                  </a:lnTo>
                  <a:lnTo>
                    <a:pt x="934" y="855"/>
                  </a:lnTo>
                  <a:lnTo>
                    <a:pt x="934" y="855"/>
                  </a:lnTo>
                  <a:lnTo>
                    <a:pt x="932" y="853"/>
                  </a:lnTo>
                  <a:lnTo>
                    <a:pt x="932" y="853"/>
                  </a:lnTo>
                  <a:lnTo>
                    <a:pt x="934" y="850"/>
                  </a:lnTo>
                  <a:lnTo>
                    <a:pt x="934" y="848"/>
                  </a:lnTo>
                  <a:lnTo>
                    <a:pt x="932" y="848"/>
                  </a:lnTo>
                  <a:lnTo>
                    <a:pt x="932" y="846"/>
                  </a:lnTo>
                  <a:lnTo>
                    <a:pt x="930" y="842"/>
                  </a:lnTo>
                  <a:lnTo>
                    <a:pt x="928" y="842"/>
                  </a:lnTo>
                  <a:lnTo>
                    <a:pt x="928" y="840"/>
                  </a:lnTo>
                  <a:lnTo>
                    <a:pt x="928" y="836"/>
                  </a:lnTo>
                  <a:lnTo>
                    <a:pt x="930" y="838"/>
                  </a:lnTo>
                  <a:lnTo>
                    <a:pt x="930" y="838"/>
                  </a:lnTo>
                  <a:lnTo>
                    <a:pt x="930" y="838"/>
                  </a:lnTo>
                  <a:lnTo>
                    <a:pt x="932" y="838"/>
                  </a:lnTo>
                  <a:lnTo>
                    <a:pt x="932" y="838"/>
                  </a:lnTo>
                  <a:lnTo>
                    <a:pt x="934" y="838"/>
                  </a:lnTo>
                  <a:lnTo>
                    <a:pt x="936" y="838"/>
                  </a:lnTo>
                  <a:lnTo>
                    <a:pt x="936" y="840"/>
                  </a:lnTo>
                  <a:lnTo>
                    <a:pt x="936" y="840"/>
                  </a:lnTo>
                  <a:lnTo>
                    <a:pt x="936" y="840"/>
                  </a:lnTo>
                  <a:lnTo>
                    <a:pt x="936" y="842"/>
                  </a:lnTo>
                  <a:lnTo>
                    <a:pt x="936" y="844"/>
                  </a:lnTo>
                  <a:lnTo>
                    <a:pt x="936" y="844"/>
                  </a:lnTo>
                  <a:lnTo>
                    <a:pt x="938" y="844"/>
                  </a:lnTo>
                  <a:lnTo>
                    <a:pt x="938" y="846"/>
                  </a:lnTo>
                  <a:lnTo>
                    <a:pt x="938" y="846"/>
                  </a:lnTo>
                  <a:lnTo>
                    <a:pt x="940" y="846"/>
                  </a:lnTo>
                  <a:lnTo>
                    <a:pt x="940" y="846"/>
                  </a:lnTo>
                  <a:lnTo>
                    <a:pt x="940" y="846"/>
                  </a:lnTo>
                  <a:lnTo>
                    <a:pt x="942" y="846"/>
                  </a:lnTo>
                  <a:lnTo>
                    <a:pt x="942" y="846"/>
                  </a:lnTo>
                  <a:lnTo>
                    <a:pt x="944" y="846"/>
                  </a:lnTo>
                  <a:lnTo>
                    <a:pt x="944" y="848"/>
                  </a:lnTo>
                  <a:lnTo>
                    <a:pt x="948" y="846"/>
                  </a:lnTo>
                  <a:lnTo>
                    <a:pt x="948" y="848"/>
                  </a:lnTo>
                  <a:lnTo>
                    <a:pt x="948" y="850"/>
                  </a:lnTo>
                  <a:lnTo>
                    <a:pt x="946" y="850"/>
                  </a:lnTo>
                  <a:lnTo>
                    <a:pt x="944" y="850"/>
                  </a:lnTo>
                  <a:lnTo>
                    <a:pt x="944" y="853"/>
                  </a:lnTo>
                  <a:lnTo>
                    <a:pt x="946" y="853"/>
                  </a:lnTo>
                  <a:lnTo>
                    <a:pt x="950" y="850"/>
                  </a:lnTo>
                  <a:lnTo>
                    <a:pt x="955" y="846"/>
                  </a:lnTo>
                  <a:lnTo>
                    <a:pt x="952" y="846"/>
                  </a:lnTo>
                  <a:lnTo>
                    <a:pt x="950" y="846"/>
                  </a:lnTo>
                  <a:lnTo>
                    <a:pt x="950" y="844"/>
                  </a:lnTo>
                  <a:lnTo>
                    <a:pt x="950" y="842"/>
                  </a:lnTo>
                  <a:lnTo>
                    <a:pt x="950" y="842"/>
                  </a:lnTo>
                  <a:lnTo>
                    <a:pt x="950" y="842"/>
                  </a:lnTo>
                  <a:lnTo>
                    <a:pt x="950" y="840"/>
                  </a:lnTo>
                  <a:lnTo>
                    <a:pt x="950" y="840"/>
                  </a:lnTo>
                  <a:lnTo>
                    <a:pt x="952" y="840"/>
                  </a:lnTo>
                  <a:lnTo>
                    <a:pt x="952" y="838"/>
                  </a:lnTo>
                  <a:lnTo>
                    <a:pt x="952" y="838"/>
                  </a:lnTo>
                  <a:lnTo>
                    <a:pt x="952" y="838"/>
                  </a:lnTo>
                  <a:lnTo>
                    <a:pt x="950" y="838"/>
                  </a:lnTo>
                  <a:lnTo>
                    <a:pt x="950" y="838"/>
                  </a:lnTo>
                  <a:lnTo>
                    <a:pt x="950" y="838"/>
                  </a:lnTo>
                  <a:lnTo>
                    <a:pt x="948" y="838"/>
                  </a:lnTo>
                  <a:lnTo>
                    <a:pt x="948" y="836"/>
                  </a:lnTo>
                  <a:lnTo>
                    <a:pt x="948" y="834"/>
                  </a:lnTo>
                  <a:lnTo>
                    <a:pt x="948" y="832"/>
                  </a:lnTo>
                  <a:lnTo>
                    <a:pt x="948" y="832"/>
                  </a:lnTo>
                  <a:lnTo>
                    <a:pt x="948" y="834"/>
                  </a:lnTo>
                  <a:lnTo>
                    <a:pt x="950" y="836"/>
                  </a:lnTo>
                  <a:lnTo>
                    <a:pt x="950" y="836"/>
                  </a:lnTo>
                  <a:lnTo>
                    <a:pt x="952" y="836"/>
                  </a:lnTo>
                  <a:lnTo>
                    <a:pt x="952" y="834"/>
                  </a:lnTo>
                  <a:lnTo>
                    <a:pt x="955" y="836"/>
                  </a:lnTo>
                  <a:lnTo>
                    <a:pt x="955" y="838"/>
                  </a:lnTo>
                  <a:lnTo>
                    <a:pt x="955" y="840"/>
                  </a:lnTo>
                  <a:lnTo>
                    <a:pt x="952" y="840"/>
                  </a:lnTo>
                  <a:lnTo>
                    <a:pt x="955" y="842"/>
                  </a:lnTo>
                  <a:lnTo>
                    <a:pt x="957" y="844"/>
                  </a:lnTo>
                  <a:lnTo>
                    <a:pt x="957" y="844"/>
                  </a:lnTo>
                  <a:lnTo>
                    <a:pt x="957" y="846"/>
                  </a:lnTo>
                  <a:lnTo>
                    <a:pt x="957" y="846"/>
                  </a:lnTo>
                  <a:lnTo>
                    <a:pt x="959" y="846"/>
                  </a:lnTo>
                  <a:lnTo>
                    <a:pt x="961" y="844"/>
                  </a:lnTo>
                  <a:lnTo>
                    <a:pt x="963" y="840"/>
                  </a:lnTo>
                  <a:lnTo>
                    <a:pt x="965" y="840"/>
                  </a:lnTo>
                  <a:lnTo>
                    <a:pt x="965" y="842"/>
                  </a:lnTo>
                  <a:lnTo>
                    <a:pt x="967" y="840"/>
                  </a:lnTo>
                  <a:lnTo>
                    <a:pt x="969" y="840"/>
                  </a:lnTo>
                  <a:lnTo>
                    <a:pt x="969" y="840"/>
                  </a:lnTo>
                  <a:lnTo>
                    <a:pt x="971" y="840"/>
                  </a:lnTo>
                  <a:lnTo>
                    <a:pt x="973" y="840"/>
                  </a:lnTo>
                  <a:lnTo>
                    <a:pt x="971" y="840"/>
                  </a:lnTo>
                  <a:lnTo>
                    <a:pt x="969" y="844"/>
                  </a:lnTo>
                  <a:lnTo>
                    <a:pt x="969" y="846"/>
                  </a:lnTo>
                  <a:lnTo>
                    <a:pt x="969" y="846"/>
                  </a:lnTo>
                  <a:lnTo>
                    <a:pt x="971" y="846"/>
                  </a:lnTo>
                  <a:lnTo>
                    <a:pt x="973" y="846"/>
                  </a:lnTo>
                  <a:lnTo>
                    <a:pt x="975" y="846"/>
                  </a:lnTo>
                  <a:lnTo>
                    <a:pt x="975" y="846"/>
                  </a:lnTo>
                  <a:lnTo>
                    <a:pt x="977" y="846"/>
                  </a:lnTo>
                  <a:lnTo>
                    <a:pt x="977" y="846"/>
                  </a:lnTo>
                  <a:lnTo>
                    <a:pt x="977" y="846"/>
                  </a:lnTo>
                  <a:lnTo>
                    <a:pt x="975" y="848"/>
                  </a:lnTo>
                  <a:lnTo>
                    <a:pt x="971" y="848"/>
                  </a:lnTo>
                  <a:lnTo>
                    <a:pt x="969" y="848"/>
                  </a:lnTo>
                  <a:lnTo>
                    <a:pt x="969" y="850"/>
                  </a:lnTo>
                  <a:lnTo>
                    <a:pt x="971" y="850"/>
                  </a:lnTo>
                  <a:lnTo>
                    <a:pt x="975" y="850"/>
                  </a:lnTo>
                  <a:lnTo>
                    <a:pt x="981" y="846"/>
                  </a:lnTo>
                  <a:lnTo>
                    <a:pt x="983" y="846"/>
                  </a:lnTo>
                  <a:lnTo>
                    <a:pt x="983" y="846"/>
                  </a:lnTo>
                  <a:lnTo>
                    <a:pt x="987" y="844"/>
                  </a:lnTo>
                  <a:lnTo>
                    <a:pt x="989" y="842"/>
                  </a:lnTo>
                  <a:lnTo>
                    <a:pt x="991" y="844"/>
                  </a:lnTo>
                  <a:lnTo>
                    <a:pt x="991" y="846"/>
                  </a:lnTo>
                  <a:lnTo>
                    <a:pt x="991" y="846"/>
                  </a:lnTo>
                  <a:lnTo>
                    <a:pt x="991" y="848"/>
                  </a:lnTo>
                  <a:lnTo>
                    <a:pt x="989" y="848"/>
                  </a:lnTo>
                  <a:lnTo>
                    <a:pt x="975" y="857"/>
                  </a:lnTo>
                  <a:lnTo>
                    <a:pt x="973" y="859"/>
                  </a:lnTo>
                  <a:lnTo>
                    <a:pt x="971" y="861"/>
                  </a:lnTo>
                  <a:lnTo>
                    <a:pt x="973" y="861"/>
                  </a:lnTo>
                  <a:lnTo>
                    <a:pt x="979" y="857"/>
                  </a:lnTo>
                  <a:lnTo>
                    <a:pt x="985" y="855"/>
                  </a:lnTo>
                  <a:lnTo>
                    <a:pt x="989" y="848"/>
                  </a:lnTo>
                  <a:lnTo>
                    <a:pt x="1000" y="846"/>
                  </a:lnTo>
                  <a:lnTo>
                    <a:pt x="1006" y="842"/>
                  </a:lnTo>
                  <a:lnTo>
                    <a:pt x="1016" y="836"/>
                  </a:lnTo>
                  <a:lnTo>
                    <a:pt x="1014" y="836"/>
                  </a:lnTo>
                  <a:lnTo>
                    <a:pt x="1010" y="838"/>
                  </a:lnTo>
                  <a:lnTo>
                    <a:pt x="998" y="844"/>
                  </a:lnTo>
                  <a:lnTo>
                    <a:pt x="998" y="846"/>
                  </a:lnTo>
                  <a:lnTo>
                    <a:pt x="995" y="846"/>
                  </a:lnTo>
                  <a:lnTo>
                    <a:pt x="995" y="846"/>
                  </a:lnTo>
                  <a:lnTo>
                    <a:pt x="995" y="846"/>
                  </a:lnTo>
                  <a:lnTo>
                    <a:pt x="995" y="844"/>
                  </a:lnTo>
                  <a:lnTo>
                    <a:pt x="995" y="844"/>
                  </a:lnTo>
                  <a:lnTo>
                    <a:pt x="995" y="844"/>
                  </a:lnTo>
                  <a:lnTo>
                    <a:pt x="995" y="842"/>
                  </a:lnTo>
                  <a:lnTo>
                    <a:pt x="995" y="842"/>
                  </a:lnTo>
                  <a:lnTo>
                    <a:pt x="995" y="840"/>
                  </a:lnTo>
                  <a:lnTo>
                    <a:pt x="995" y="838"/>
                  </a:lnTo>
                  <a:lnTo>
                    <a:pt x="1008" y="834"/>
                  </a:lnTo>
                  <a:lnTo>
                    <a:pt x="1010" y="834"/>
                  </a:lnTo>
                  <a:lnTo>
                    <a:pt x="1016" y="834"/>
                  </a:lnTo>
                  <a:lnTo>
                    <a:pt x="1020" y="834"/>
                  </a:lnTo>
                  <a:lnTo>
                    <a:pt x="1024" y="832"/>
                  </a:lnTo>
                  <a:lnTo>
                    <a:pt x="1028" y="830"/>
                  </a:lnTo>
                  <a:lnTo>
                    <a:pt x="1038" y="822"/>
                  </a:lnTo>
                  <a:lnTo>
                    <a:pt x="1045" y="818"/>
                  </a:lnTo>
                  <a:lnTo>
                    <a:pt x="1047" y="816"/>
                  </a:lnTo>
                  <a:lnTo>
                    <a:pt x="1049" y="816"/>
                  </a:lnTo>
                  <a:lnTo>
                    <a:pt x="1049" y="816"/>
                  </a:lnTo>
                  <a:lnTo>
                    <a:pt x="1055" y="812"/>
                  </a:lnTo>
                  <a:lnTo>
                    <a:pt x="1059" y="805"/>
                  </a:lnTo>
                  <a:lnTo>
                    <a:pt x="1061" y="803"/>
                  </a:lnTo>
                  <a:lnTo>
                    <a:pt x="1067" y="797"/>
                  </a:lnTo>
                  <a:lnTo>
                    <a:pt x="1069" y="797"/>
                  </a:lnTo>
                  <a:lnTo>
                    <a:pt x="1069" y="795"/>
                  </a:lnTo>
                  <a:lnTo>
                    <a:pt x="1069" y="793"/>
                  </a:lnTo>
                  <a:lnTo>
                    <a:pt x="1067" y="789"/>
                  </a:lnTo>
                  <a:lnTo>
                    <a:pt x="1067" y="787"/>
                  </a:lnTo>
                  <a:lnTo>
                    <a:pt x="1069" y="783"/>
                  </a:lnTo>
                  <a:lnTo>
                    <a:pt x="1067" y="781"/>
                  </a:lnTo>
                  <a:lnTo>
                    <a:pt x="1067" y="781"/>
                  </a:lnTo>
                  <a:lnTo>
                    <a:pt x="1067" y="781"/>
                  </a:lnTo>
                  <a:lnTo>
                    <a:pt x="1069" y="781"/>
                  </a:lnTo>
                  <a:lnTo>
                    <a:pt x="1071" y="781"/>
                  </a:lnTo>
                  <a:lnTo>
                    <a:pt x="1071" y="783"/>
                  </a:lnTo>
                  <a:lnTo>
                    <a:pt x="1073" y="783"/>
                  </a:lnTo>
                  <a:lnTo>
                    <a:pt x="1075" y="781"/>
                  </a:lnTo>
                  <a:lnTo>
                    <a:pt x="1081" y="773"/>
                  </a:lnTo>
                  <a:lnTo>
                    <a:pt x="1081" y="773"/>
                  </a:lnTo>
                  <a:lnTo>
                    <a:pt x="1081" y="771"/>
                  </a:lnTo>
                  <a:lnTo>
                    <a:pt x="1081" y="771"/>
                  </a:lnTo>
                  <a:lnTo>
                    <a:pt x="1081" y="771"/>
                  </a:lnTo>
                  <a:lnTo>
                    <a:pt x="1084" y="771"/>
                  </a:lnTo>
                  <a:lnTo>
                    <a:pt x="1084" y="771"/>
                  </a:lnTo>
                  <a:lnTo>
                    <a:pt x="1086" y="771"/>
                  </a:lnTo>
                  <a:lnTo>
                    <a:pt x="1086" y="769"/>
                  </a:lnTo>
                  <a:lnTo>
                    <a:pt x="1086" y="766"/>
                  </a:lnTo>
                  <a:lnTo>
                    <a:pt x="1088" y="766"/>
                  </a:lnTo>
                  <a:lnTo>
                    <a:pt x="1088" y="769"/>
                  </a:lnTo>
                  <a:lnTo>
                    <a:pt x="1090" y="769"/>
                  </a:lnTo>
                  <a:lnTo>
                    <a:pt x="1092" y="764"/>
                  </a:lnTo>
                  <a:lnTo>
                    <a:pt x="1092" y="762"/>
                  </a:lnTo>
                  <a:lnTo>
                    <a:pt x="1092" y="760"/>
                  </a:lnTo>
                  <a:lnTo>
                    <a:pt x="1094" y="760"/>
                  </a:lnTo>
                  <a:lnTo>
                    <a:pt x="1096" y="760"/>
                  </a:lnTo>
                  <a:lnTo>
                    <a:pt x="1098" y="762"/>
                  </a:lnTo>
                  <a:lnTo>
                    <a:pt x="1098" y="760"/>
                  </a:lnTo>
                  <a:lnTo>
                    <a:pt x="1098" y="760"/>
                  </a:lnTo>
                  <a:lnTo>
                    <a:pt x="1098" y="760"/>
                  </a:lnTo>
                  <a:lnTo>
                    <a:pt x="1098" y="760"/>
                  </a:lnTo>
                  <a:lnTo>
                    <a:pt x="1094" y="758"/>
                  </a:lnTo>
                  <a:lnTo>
                    <a:pt x="1092" y="758"/>
                  </a:lnTo>
                  <a:lnTo>
                    <a:pt x="1092" y="758"/>
                  </a:lnTo>
                  <a:lnTo>
                    <a:pt x="1090" y="754"/>
                  </a:lnTo>
                  <a:lnTo>
                    <a:pt x="1090" y="754"/>
                  </a:lnTo>
                  <a:lnTo>
                    <a:pt x="1090" y="754"/>
                  </a:lnTo>
                  <a:lnTo>
                    <a:pt x="1090" y="754"/>
                  </a:lnTo>
                  <a:lnTo>
                    <a:pt x="1088" y="754"/>
                  </a:lnTo>
                  <a:lnTo>
                    <a:pt x="1088" y="754"/>
                  </a:lnTo>
                  <a:lnTo>
                    <a:pt x="1088" y="754"/>
                  </a:lnTo>
                  <a:lnTo>
                    <a:pt x="1090" y="756"/>
                  </a:lnTo>
                  <a:lnTo>
                    <a:pt x="1090" y="756"/>
                  </a:lnTo>
                  <a:lnTo>
                    <a:pt x="1088" y="756"/>
                  </a:lnTo>
                  <a:lnTo>
                    <a:pt x="1086" y="754"/>
                  </a:lnTo>
                  <a:lnTo>
                    <a:pt x="1086" y="752"/>
                  </a:lnTo>
                  <a:lnTo>
                    <a:pt x="1084" y="752"/>
                  </a:lnTo>
                  <a:lnTo>
                    <a:pt x="1084" y="752"/>
                  </a:lnTo>
                  <a:lnTo>
                    <a:pt x="1086" y="750"/>
                  </a:lnTo>
                  <a:lnTo>
                    <a:pt x="1088" y="750"/>
                  </a:lnTo>
                  <a:lnTo>
                    <a:pt x="1088" y="748"/>
                  </a:lnTo>
                  <a:lnTo>
                    <a:pt x="1088" y="748"/>
                  </a:lnTo>
                  <a:lnTo>
                    <a:pt x="1081" y="746"/>
                  </a:lnTo>
                  <a:lnTo>
                    <a:pt x="1077" y="744"/>
                  </a:lnTo>
                  <a:lnTo>
                    <a:pt x="1079" y="740"/>
                  </a:lnTo>
                  <a:lnTo>
                    <a:pt x="1079" y="740"/>
                  </a:lnTo>
                  <a:lnTo>
                    <a:pt x="1081" y="738"/>
                  </a:lnTo>
                  <a:lnTo>
                    <a:pt x="1081" y="736"/>
                  </a:lnTo>
                  <a:lnTo>
                    <a:pt x="1079" y="734"/>
                  </a:lnTo>
                  <a:lnTo>
                    <a:pt x="1077" y="732"/>
                  </a:lnTo>
                  <a:lnTo>
                    <a:pt x="1077" y="730"/>
                  </a:lnTo>
                  <a:lnTo>
                    <a:pt x="1079" y="730"/>
                  </a:lnTo>
                  <a:lnTo>
                    <a:pt x="1079" y="728"/>
                  </a:lnTo>
                  <a:lnTo>
                    <a:pt x="1079" y="728"/>
                  </a:lnTo>
                  <a:lnTo>
                    <a:pt x="1077" y="728"/>
                  </a:lnTo>
                  <a:lnTo>
                    <a:pt x="1077" y="728"/>
                  </a:lnTo>
                  <a:lnTo>
                    <a:pt x="1075" y="728"/>
                  </a:lnTo>
                  <a:lnTo>
                    <a:pt x="1075" y="728"/>
                  </a:lnTo>
                  <a:lnTo>
                    <a:pt x="1073" y="725"/>
                  </a:lnTo>
                  <a:lnTo>
                    <a:pt x="1073" y="725"/>
                  </a:lnTo>
                  <a:lnTo>
                    <a:pt x="1079" y="725"/>
                  </a:lnTo>
                  <a:lnTo>
                    <a:pt x="1084" y="725"/>
                  </a:lnTo>
                  <a:lnTo>
                    <a:pt x="1086" y="730"/>
                  </a:lnTo>
                  <a:lnTo>
                    <a:pt x="1090" y="730"/>
                  </a:lnTo>
                  <a:lnTo>
                    <a:pt x="1092" y="728"/>
                  </a:lnTo>
                  <a:lnTo>
                    <a:pt x="1094" y="723"/>
                  </a:lnTo>
                  <a:lnTo>
                    <a:pt x="1094" y="721"/>
                  </a:lnTo>
                  <a:lnTo>
                    <a:pt x="1094" y="719"/>
                  </a:lnTo>
                  <a:lnTo>
                    <a:pt x="1096" y="719"/>
                  </a:lnTo>
                  <a:lnTo>
                    <a:pt x="1100" y="717"/>
                  </a:lnTo>
                  <a:lnTo>
                    <a:pt x="1102" y="715"/>
                  </a:lnTo>
                  <a:lnTo>
                    <a:pt x="1102" y="715"/>
                  </a:lnTo>
                  <a:lnTo>
                    <a:pt x="1104" y="715"/>
                  </a:lnTo>
                  <a:lnTo>
                    <a:pt x="1104" y="717"/>
                  </a:lnTo>
                  <a:lnTo>
                    <a:pt x="1104" y="719"/>
                  </a:lnTo>
                  <a:lnTo>
                    <a:pt x="1106" y="719"/>
                  </a:lnTo>
                  <a:lnTo>
                    <a:pt x="1106" y="719"/>
                  </a:lnTo>
                  <a:lnTo>
                    <a:pt x="1106" y="721"/>
                  </a:lnTo>
                  <a:lnTo>
                    <a:pt x="1108" y="723"/>
                  </a:lnTo>
                  <a:lnTo>
                    <a:pt x="1106" y="725"/>
                  </a:lnTo>
                  <a:lnTo>
                    <a:pt x="1106" y="732"/>
                  </a:lnTo>
                  <a:lnTo>
                    <a:pt x="1104" y="736"/>
                  </a:lnTo>
                  <a:lnTo>
                    <a:pt x="1104" y="738"/>
                  </a:lnTo>
                  <a:lnTo>
                    <a:pt x="1102" y="740"/>
                  </a:lnTo>
                  <a:lnTo>
                    <a:pt x="1102" y="740"/>
                  </a:lnTo>
                  <a:lnTo>
                    <a:pt x="1100" y="742"/>
                  </a:lnTo>
                  <a:lnTo>
                    <a:pt x="1098" y="742"/>
                  </a:lnTo>
                  <a:lnTo>
                    <a:pt x="1098" y="742"/>
                  </a:lnTo>
                  <a:lnTo>
                    <a:pt x="1100" y="744"/>
                  </a:lnTo>
                  <a:lnTo>
                    <a:pt x="1100" y="744"/>
                  </a:lnTo>
                  <a:lnTo>
                    <a:pt x="1102" y="744"/>
                  </a:lnTo>
                  <a:lnTo>
                    <a:pt x="1106" y="742"/>
                  </a:lnTo>
                  <a:lnTo>
                    <a:pt x="1120" y="738"/>
                  </a:lnTo>
                  <a:lnTo>
                    <a:pt x="1122" y="738"/>
                  </a:lnTo>
                  <a:lnTo>
                    <a:pt x="1122" y="738"/>
                  </a:lnTo>
                  <a:lnTo>
                    <a:pt x="1124" y="740"/>
                  </a:lnTo>
                  <a:lnTo>
                    <a:pt x="1127" y="740"/>
                  </a:lnTo>
                  <a:lnTo>
                    <a:pt x="1129" y="740"/>
                  </a:lnTo>
                  <a:lnTo>
                    <a:pt x="1129" y="738"/>
                  </a:lnTo>
                  <a:lnTo>
                    <a:pt x="1129" y="740"/>
                  </a:lnTo>
                  <a:lnTo>
                    <a:pt x="1129" y="742"/>
                  </a:lnTo>
                  <a:lnTo>
                    <a:pt x="1127" y="744"/>
                  </a:lnTo>
                  <a:lnTo>
                    <a:pt x="1127" y="744"/>
                  </a:lnTo>
                  <a:lnTo>
                    <a:pt x="1120" y="744"/>
                  </a:lnTo>
                  <a:lnTo>
                    <a:pt x="1120" y="744"/>
                  </a:lnTo>
                  <a:lnTo>
                    <a:pt x="1118" y="744"/>
                  </a:lnTo>
                  <a:lnTo>
                    <a:pt x="1116" y="748"/>
                  </a:lnTo>
                  <a:lnTo>
                    <a:pt x="1116" y="748"/>
                  </a:lnTo>
                  <a:lnTo>
                    <a:pt x="1114" y="748"/>
                  </a:lnTo>
                  <a:lnTo>
                    <a:pt x="1114" y="748"/>
                  </a:lnTo>
                  <a:lnTo>
                    <a:pt x="1112" y="750"/>
                  </a:lnTo>
                  <a:lnTo>
                    <a:pt x="1110" y="750"/>
                  </a:lnTo>
                  <a:lnTo>
                    <a:pt x="1102" y="758"/>
                  </a:lnTo>
                  <a:lnTo>
                    <a:pt x="1102" y="760"/>
                  </a:lnTo>
                  <a:lnTo>
                    <a:pt x="1102" y="760"/>
                  </a:lnTo>
                  <a:lnTo>
                    <a:pt x="1104" y="762"/>
                  </a:lnTo>
                  <a:lnTo>
                    <a:pt x="1106" y="760"/>
                  </a:lnTo>
                  <a:lnTo>
                    <a:pt x="1110" y="754"/>
                  </a:lnTo>
                  <a:lnTo>
                    <a:pt x="1114" y="752"/>
                  </a:lnTo>
                  <a:lnTo>
                    <a:pt x="1143" y="736"/>
                  </a:lnTo>
                  <a:lnTo>
                    <a:pt x="1153" y="732"/>
                  </a:lnTo>
                  <a:lnTo>
                    <a:pt x="1161" y="728"/>
                  </a:lnTo>
                  <a:lnTo>
                    <a:pt x="1163" y="725"/>
                  </a:lnTo>
                  <a:lnTo>
                    <a:pt x="1168" y="723"/>
                  </a:lnTo>
                  <a:lnTo>
                    <a:pt x="1170" y="723"/>
                  </a:lnTo>
                  <a:lnTo>
                    <a:pt x="1182" y="723"/>
                  </a:lnTo>
                  <a:lnTo>
                    <a:pt x="1184" y="723"/>
                  </a:lnTo>
                  <a:lnTo>
                    <a:pt x="1186" y="723"/>
                  </a:lnTo>
                  <a:lnTo>
                    <a:pt x="1186" y="721"/>
                  </a:lnTo>
                  <a:lnTo>
                    <a:pt x="1186" y="719"/>
                  </a:lnTo>
                  <a:lnTo>
                    <a:pt x="1180" y="713"/>
                  </a:lnTo>
                  <a:lnTo>
                    <a:pt x="1178" y="709"/>
                  </a:lnTo>
                  <a:lnTo>
                    <a:pt x="1178" y="705"/>
                  </a:lnTo>
                  <a:lnTo>
                    <a:pt x="1184" y="695"/>
                  </a:lnTo>
                  <a:lnTo>
                    <a:pt x="1186" y="693"/>
                  </a:lnTo>
                  <a:lnTo>
                    <a:pt x="1186" y="691"/>
                  </a:lnTo>
                  <a:lnTo>
                    <a:pt x="1186" y="689"/>
                  </a:lnTo>
                  <a:lnTo>
                    <a:pt x="1190" y="689"/>
                  </a:lnTo>
                  <a:lnTo>
                    <a:pt x="1190" y="689"/>
                  </a:lnTo>
                  <a:lnTo>
                    <a:pt x="1190" y="689"/>
                  </a:lnTo>
                  <a:lnTo>
                    <a:pt x="1192" y="687"/>
                  </a:lnTo>
                  <a:lnTo>
                    <a:pt x="1198" y="680"/>
                  </a:lnTo>
                  <a:lnTo>
                    <a:pt x="1196" y="678"/>
                  </a:lnTo>
                  <a:lnTo>
                    <a:pt x="1196" y="676"/>
                  </a:lnTo>
                  <a:lnTo>
                    <a:pt x="1198" y="674"/>
                  </a:lnTo>
                  <a:lnTo>
                    <a:pt x="1198" y="672"/>
                  </a:lnTo>
                  <a:lnTo>
                    <a:pt x="1198" y="670"/>
                  </a:lnTo>
                  <a:lnTo>
                    <a:pt x="1198" y="670"/>
                  </a:lnTo>
                  <a:lnTo>
                    <a:pt x="1198" y="668"/>
                  </a:lnTo>
                  <a:lnTo>
                    <a:pt x="1198" y="666"/>
                  </a:lnTo>
                  <a:lnTo>
                    <a:pt x="1196" y="664"/>
                  </a:lnTo>
                  <a:lnTo>
                    <a:pt x="1196" y="664"/>
                  </a:lnTo>
                  <a:lnTo>
                    <a:pt x="1196" y="662"/>
                  </a:lnTo>
                  <a:lnTo>
                    <a:pt x="1196" y="660"/>
                  </a:lnTo>
                  <a:lnTo>
                    <a:pt x="1198" y="660"/>
                  </a:lnTo>
                  <a:lnTo>
                    <a:pt x="1196" y="658"/>
                  </a:lnTo>
                  <a:lnTo>
                    <a:pt x="1196" y="656"/>
                  </a:lnTo>
                  <a:lnTo>
                    <a:pt x="1194" y="654"/>
                  </a:lnTo>
                  <a:lnTo>
                    <a:pt x="1192" y="652"/>
                  </a:lnTo>
                  <a:lnTo>
                    <a:pt x="1192" y="648"/>
                  </a:lnTo>
                  <a:lnTo>
                    <a:pt x="1192" y="646"/>
                  </a:lnTo>
                  <a:lnTo>
                    <a:pt x="1194" y="644"/>
                  </a:lnTo>
                  <a:lnTo>
                    <a:pt x="1196" y="641"/>
                  </a:lnTo>
                  <a:lnTo>
                    <a:pt x="1196" y="639"/>
                  </a:lnTo>
                  <a:lnTo>
                    <a:pt x="1196" y="637"/>
                  </a:lnTo>
                  <a:lnTo>
                    <a:pt x="1196" y="635"/>
                  </a:lnTo>
                  <a:lnTo>
                    <a:pt x="1194" y="633"/>
                  </a:lnTo>
                  <a:lnTo>
                    <a:pt x="1194" y="633"/>
                  </a:lnTo>
                  <a:lnTo>
                    <a:pt x="1194" y="631"/>
                  </a:lnTo>
                  <a:lnTo>
                    <a:pt x="1194" y="629"/>
                  </a:lnTo>
                  <a:lnTo>
                    <a:pt x="1194" y="629"/>
                  </a:lnTo>
                  <a:lnTo>
                    <a:pt x="1194" y="629"/>
                  </a:lnTo>
                  <a:lnTo>
                    <a:pt x="1194" y="627"/>
                  </a:lnTo>
                  <a:lnTo>
                    <a:pt x="1194" y="625"/>
                  </a:lnTo>
                  <a:lnTo>
                    <a:pt x="1196" y="623"/>
                  </a:lnTo>
                  <a:lnTo>
                    <a:pt x="1198" y="623"/>
                  </a:lnTo>
                  <a:lnTo>
                    <a:pt x="1198" y="621"/>
                  </a:lnTo>
                  <a:lnTo>
                    <a:pt x="1198" y="617"/>
                  </a:lnTo>
                  <a:lnTo>
                    <a:pt x="1198" y="615"/>
                  </a:lnTo>
                  <a:lnTo>
                    <a:pt x="1202" y="613"/>
                  </a:lnTo>
                  <a:lnTo>
                    <a:pt x="1202" y="611"/>
                  </a:lnTo>
                  <a:lnTo>
                    <a:pt x="1204" y="605"/>
                  </a:lnTo>
                  <a:lnTo>
                    <a:pt x="1206" y="598"/>
                  </a:lnTo>
                  <a:lnTo>
                    <a:pt x="1206" y="596"/>
                  </a:lnTo>
                  <a:lnTo>
                    <a:pt x="1206" y="596"/>
                  </a:lnTo>
                  <a:lnTo>
                    <a:pt x="1206" y="594"/>
                  </a:lnTo>
                  <a:lnTo>
                    <a:pt x="1206" y="594"/>
                  </a:lnTo>
                  <a:lnTo>
                    <a:pt x="1206" y="592"/>
                  </a:lnTo>
                  <a:lnTo>
                    <a:pt x="1206" y="590"/>
                  </a:lnTo>
                  <a:lnTo>
                    <a:pt x="1206" y="590"/>
                  </a:lnTo>
                  <a:lnTo>
                    <a:pt x="1206" y="588"/>
                  </a:lnTo>
                  <a:lnTo>
                    <a:pt x="1208" y="586"/>
                  </a:lnTo>
                  <a:lnTo>
                    <a:pt x="1208" y="586"/>
                  </a:lnTo>
                  <a:lnTo>
                    <a:pt x="1208" y="586"/>
                  </a:lnTo>
                  <a:lnTo>
                    <a:pt x="1208" y="584"/>
                  </a:lnTo>
                  <a:lnTo>
                    <a:pt x="1208" y="584"/>
                  </a:lnTo>
                  <a:lnTo>
                    <a:pt x="1206" y="582"/>
                  </a:lnTo>
                  <a:lnTo>
                    <a:pt x="1204" y="578"/>
                  </a:lnTo>
                  <a:lnTo>
                    <a:pt x="1206" y="578"/>
                  </a:lnTo>
                  <a:lnTo>
                    <a:pt x="1206" y="578"/>
                  </a:lnTo>
                  <a:lnTo>
                    <a:pt x="1211" y="576"/>
                  </a:lnTo>
                  <a:lnTo>
                    <a:pt x="1211" y="576"/>
                  </a:lnTo>
                  <a:lnTo>
                    <a:pt x="1211" y="574"/>
                  </a:lnTo>
                  <a:lnTo>
                    <a:pt x="1211" y="574"/>
                  </a:lnTo>
                  <a:close/>
                </a:path>
              </a:pathLst>
            </a:custGeom>
            <a:solidFill>
              <a:schemeClr val="tx1"/>
            </a:solidFill>
            <a:ln w="3175" cap="rnd">
              <a:no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TX</a:t>
              </a:r>
            </a:p>
          </p:txBody>
        </p:sp>
        <p:sp>
          <p:nvSpPr>
            <p:cNvPr id="303" name="Freeform 13">
              <a:extLst>
                <a:ext uri="{FF2B5EF4-FFF2-40B4-BE49-F238E27FC236}">
                  <a16:creationId xmlns:a16="http://schemas.microsoft.com/office/drawing/2014/main" id="{CC3363D4-1881-D8F9-D800-6DB1B5F0BE02}"/>
                </a:ext>
              </a:extLst>
            </p:cNvPr>
            <p:cNvSpPr>
              <a:spLocks/>
            </p:cNvSpPr>
            <p:nvPr/>
          </p:nvSpPr>
          <p:spPr bwMode="auto">
            <a:xfrm>
              <a:off x="3590" y="1353"/>
              <a:ext cx="733" cy="268"/>
            </a:xfrm>
            <a:custGeom>
              <a:avLst/>
              <a:gdLst>
                <a:gd name="T0" fmla="*/ 622 w 733"/>
                <a:gd name="T1" fmla="*/ 20 h 268"/>
                <a:gd name="T2" fmla="*/ 694 w 733"/>
                <a:gd name="T3" fmla="*/ 8 h 268"/>
                <a:gd name="T4" fmla="*/ 725 w 733"/>
                <a:gd name="T5" fmla="*/ 2 h 268"/>
                <a:gd name="T6" fmla="*/ 729 w 733"/>
                <a:gd name="T7" fmla="*/ 22 h 268"/>
                <a:gd name="T8" fmla="*/ 733 w 733"/>
                <a:gd name="T9" fmla="*/ 30 h 268"/>
                <a:gd name="T10" fmla="*/ 714 w 733"/>
                <a:gd name="T11" fmla="*/ 39 h 268"/>
                <a:gd name="T12" fmla="*/ 704 w 733"/>
                <a:gd name="T13" fmla="*/ 61 h 268"/>
                <a:gd name="T14" fmla="*/ 700 w 733"/>
                <a:gd name="T15" fmla="*/ 59 h 268"/>
                <a:gd name="T16" fmla="*/ 696 w 733"/>
                <a:gd name="T17" fmla="*/ 57 h 268"/>
                <a:gd name="T18" fmla="*/ 690 w 733"/>
                <a:gd name="T19" fmla="*/ 59 h 268"/>
                <a:gd name="T20" fmla="*/ 677 w 733"/>
                <a:gd name="T21" fmla="*/ 65 h 268"/>
                <a:gd name="T22" fmla="*/ 671 w 733"/>
                <a:gd name="T23" fmla="*/ 77 h 268"/>
                <a:gd name="T24" fmla="*/ 663 w 733"/>
                <a:gd name="T25" fmla="*/ 82 h 268"/>
                <a:gd name="T26" fmla="*/ 661 w 733"/>
                <a:gd name="T27" fmla="*/ 75 h 268"/>
                <a:gd name="T28" fmla="*/ 655 w 733"/>
                <a:gd name="T29" fmla="*/ 75 h 268"/>
                <a:gd name="T30" fmla="*/ 647 w 733"/>
                <a:gd name="T31" fmla="*/ 84 h 268"/>
                <a:gd name="T32" fmla="*/ 643 w 733"/>
                <a:gd name="T33" fmla="*/ 88 h 268"/>
                <a:gd name="T34" fmla="*/ 634 w 733"/>
                <a:gd name="T35" fmla="*/ 90 h 268"/>
                <a:gd name="T36" fmla="*/ 637 w 733"/>
                <a:gd name="T37" fmla="*/ 94 h 268"/>
                <a:gd name="T38" fmla="*/ 632 w 733"/>
                <a:gd name="T39" fmla="*/ 106 h 268"/>
                <a:gd name="T40" fmla="*/ 620 w 733"/>
                <a:gd name="T41" fmla="*/ 110 h 268"/>
                <a:gd name="T42" fmla="*/ 610 w 733"/>
                <a:gd name="T43" fmla="*/ 118 h 268"/>
                <a:gd name="T44" fmla="*/ 604 w 733"/>
                <a:gd name="T45" fmla="*/ 125 h 268"/>
                <a:gd name="T46" fmla="*/ 594 w 733"/>
                <a:gd name="T47" fmla="*/ 133 h 268"/>
                <a:gd name="T48" fmla="*/ 583 w 733"/>
                <a:gd name="T49" fmla="*/ 137 h 268"/>
                <a:gd name="T50" fmla="*/ 577 w 733"/>
                <a:gd name="T51" fmla="*/ 139 h 268"/>
                <a:gd name="T52" fmla="*/ 569 w 733"/>
                <a:gd name="T53" fmla="*/ 141 h 268"/>
                <a:gd name="T54" fmla="*/ 557 w 733"/>
                <a:gd name="T55" fmla="*/ 147 h 268"/>
                <a:gd name="T56" fmla="*/ 551 w 733"/>
                <a:gd name="T57" fmla="*/ 155 h 268"/>
                <a:gd name="T58" fmla="*/ 548 w 733"/>
                <a:gd name="T59" fmla="*/ 164 h 268"/>
                <a:gd name="T60" fmla="*/ 546 w 733"/>
                <a:gd name="T61" fmla="*/ 174 h 268"/>
                <a:gd name="T62" fmla="*/ 534 w 733"/>
                <a:gd name="T63" fmla="*/ 180 h 268"/>
                <a:gd name="T64" fmla="*/ 530 w 733"/>
                <a:gd name="T65" fmla="*/ 180 h 268"/>
                <a:gd name="T66" fmla="*/ 526 w 733"/>
                <a:gd name="T67" fmla="*/ 192 h 268"/>
                <a:gd name="T68" fmla="*/ 501 w 733"/>
                <a:gd name="T69" fmla="*/ 211 h 268"/>
                <a:gd name="T70" fmla="*/ 413 w 733"/>
                <a:gd name="T71" fmla="*/ 223 h 268"/>
                <a:gd name="T72" fmla="*/ 303 w 733"/>
                <a:gd name="T73" fmla="*/ 235 h 268"/>
                <a:gd name="T74" fmla="*/ 190 w 733"/>
                <a:gd name="T75" fmla="*/ 248 h 268"/>
                <a:gd name="T76" fmla="*/ 149 w 733"/>
                <a:gd name="T77" fmla="*/ 254 h 268"/>
                <a:gd name="T78" fmla="*/ 57 w 733"/>
                <a:gd name="T79" fmla="*/ 264 h 268"/>
                <a:gd name="T80" fmla="*/ 2 w 733"/>
                <a:gd name="T81" fmla="*/ 266 h 268"/>
                <a:gd name="T82" fmla="*/ 12 w 733"/>
                <a:gd name="T83" fmla="*/ 254 h 268"/>
                <a:gd name="T84" fmla="*/ 14 w 733"/>
                <a:gd name="T85" fmla="*/ 229 h 268"/>
                <a:gd name="T86" fmla="*/ 22 w 733"/>
                <a:gd name="T87" fmla="*/ 211 h 268"/>
                <a:gd name="T88" fmla="*/ 26 w 733"/>
                <a:gd name="T89" fmla="*/ 200 h 268"/>
                <a:gd name="T90" fmla="*/ 26 w 733"/>
                <a:gd name="T91" fmla="*/ 186 h 268"/>
                <a:gd name="T92" fmla="*/ 41 w 733"/>
                <a:gd name="T93" fmla="*/ 166 h 268"/>
                <a:gd name="T94" fmla="*/ 43 w 733"/>
                <a:gd name="T95" fmla="*/ 155 h 268"/>
                <a:gd name="T96" fmla="*/ 51 w 733"/>
                <a:gd name="T97" fmla="*/ 141 h 268"/>
                <a:gd name="T98" fmla="*/ 53 w 733"/>
                <a:gd name="T99" fmla="*/ 125 h 268"/>
                <a:gd name="T100" fmla="*/ 55 w 733"/>
                <a:gd name="T101" fmla="*/ 116 h 268"/>
                <a:gd name="T102" fmla="*/ 57 w 733"/>
                <a:gd name="T103" fmla="*/ 100 h 268"/>
                <a:gd name="T104" fmla="*/ 63 w 733"/>
                <a:gd name="T105" fmla="*/ 100 h 268"/>
                <a:gd name="T106" fmla="*/ 182 w 733"/>
                <a:gd name="T107" fmla="*/ 88 h 268"/>
                <a:gd name="T108" fmla="*/ 178 w 733"/>
                <a:gd name="T109" fmla="*/ 67 h 268"/>
                <a:gd name="T110" fmla="*/ 198 w 733"/>
                <a:gd name="T111" fmla="*/ 71 h 268"/>
                <a:gd name="T112" fmla="*/ 227 w 733"/>
                <a:gd name="T113" fmla="*/ 67 h 268"/>
                <a:gd name="T114" fmla="*/ 297 w 733"/>
                <a:gd name="T115" fmla="*/ 59 h 268"/>
                <a:gd name="T116" fmla="*/ 319 w 733"/>
                <a:gd name="T117" fmla="*/ 55 h 268"/>
                <a:gd name="T118" fmla="*/ 456 w 733"/>
                <a:gd name="T119" fmla="*/ 43 h 268"/>
                <a:gd name="T120" fmla="*/ 555 w 733"/>
                <a:gd name="T121" fmla="*/ 3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3" h="268">
                  <a:moveTo>
                    <a:pt x="559" y="28"/>
                  </a:moveTo>
                  <a:lnTo>
                    <a:pt x="569" y="26"/>
                  </a:lnTo>
                  <a:lnTo>
                    <a:pt x="577" y="26"/>
                  </a:lnTo>
                  <a:lnTo>
                    <a:pt x="585" y="24"/>
                  </a:lnTo>
                  <a:lnTo>
                    <a:pt x="596" y="22"/>
                  </a:lnTo>
                  <a:lnTo>
                    <a:pt x="604" y="22"/>
                  </a:lnTo>
                  <a:lnTo>
                    <a:pt x="614" y="20"/>
                  </a:lnTo>
                  <a:lnTo>
                    <a:pt x="622" y="20"/>
                  </a:lnTo>
                  <a:lnTo>
                    <a:pt x="630" y="18"/>
                  </a:lnTo>
                  <a:lnTo>
                    <a:pt x="641" y="16"/>
                  </a:lnTo>
                  <a:lnTo>
                    <a:pt x="649" y="16"/>
                  </a:lnTo>
                  <a:lnTo>
                    <a:pt x="659" y="14"/>
                  </a:lnTo>
                  <a:lnTo>
                    <a:pt x="667" y="12"/>
                  </a:lnTo>
                  <a:lnTo>
                    <a:pt x="675" y="10"/>
                  </a:lnTo>
                  <a:lnTo>
                    <a:pt x="686" y="10"/>
                  </a:lnTo>
                  <a:lnTo>
                    <a:pt x="694" y="8"/>
                  </a:lnTo>
                  <a:lnTo>
                    <a:pt x="702" y="6"/>
                  </a:lnTo>
                  <a:lnTo>
                    <a:pt x="706" y="6"/>
                  </a:lnTo>
                  <a:lnTo>
                    <a:pt x="708" y="6"/>
                  </a:lnTo>
                  <a:lnTo>
                    <a:pt x="710" y="4"/>
                  </a:lnTo>
                  <a:lnTo>
                    <a:pt x="710" y="4"/>
                  </a:lnTo>
                  <a:lnTo>
                    <a:pt x="710" y="4"/>
                  </a:lnTo>
                  <a:lnTo>
                    <a:pt x="716" y="2"/>
                  </a:lnTo>
                  <a:lnTo>
                    <a:pt x="725" y="2"/>
                  </a:lnTo>
                  <a:lnTo>
                    <a:pt x="733" y="0"/>
                  </a:lnTo>
                  <a:lnTo>
                    <a:pt x="729" y="8"/>
                  </a:lnTo>
                  <a:lnTo>
                    <a:pt x="729" y="10"/>
                  </a:lnTo>
                  <a:lnTo>
                    <a:pt x="729" y="10"/>
                  </a:lnTo>
                  <a:lnTo>
                    <a:pt x="731" y="12"/>
                  </a:lnTo>
                  <a:lnTo>
                    <a:pt x="731" y="14"/>
                  </a:lnTo>
                  <a:lnTo>
                    <a:pt x="731" y="18"/>
                  </a:lnTo>
                  <a:lnTo>
                    <a:pt x="729" y="22"/>
                  </a:lnTo>
                  <a:lnTo>
                    <a:pt x="729" y="24"/>
                  </a:lnTo>
                  <a:lnTo>
                    <a:pt x="729" y="24"/>
                  </a:lnTo>
                  <a:lnTo>
                    <a:pt x="729" y="24"/>
                  </a:lnTo>
                  <a:lnTo>
                    <a:pt x="731" y="26"/>
                  </a:lnTo>
                  <a:lnTo>
                    <a:pt x="731" y="28"/>
                  </a:lnTo>
                  <a:lnTo>
                    <a:pt x="731" y="28"/>
                  </a:lnTo>
                  <a:lnTo>
                    <a:pt x="733" y="28"/>
                  </a:lnTo>
                  <a:lnTo>
                    <a:pt x="733" y="30"/>
                  </a:lnTo>
                  <a:lnTo>
                    <a:pt x="731" y="30"/>
                  </a:lnTo>
                  <a:lnTo>
                    <a:pt x="729" y="30"/>
                  </a:lnTo>
                  <a:lnTo>
                    <a:pt x="725" y="28"/>
                  </a:lnTo>
                  <a:lnTo>
                    <a:pt x="723" y="28"/>
                  </a:lnTo>
                  <a:lnTo>
                    <a:pt x="723" y="28"/>
                  </a:lnTo>
                  <a:lnTo>
                    <a:pt x="716" y="34"/>
                  </a:lnTo>
                  <a:lnTo>
                    <a:pt x="714" y="37"/>
                  </a:lnTo>
                  <a:lnTo>
                    <a:pt x="714" y="39"/>
                  </a:lnTo>
                  <a:lnTo>
                    <a:pt x="708" y="55"/>
                  </a:lnTo>
                  <a:lnTo>
                    <a:pt x="708" y="57"/>
                  </a:lnTo>
                  <a:lnTo>
                    <a:pt x="708" y="57"/>
                  </a:lnTo>
                  <a:lnTo>
                    <a:pt x="706" y="57"/>
                  </a:lnTo>
                  <a:lnTo>
                    <a:pt x="706" y="59"/>
                  </a:lnTo>
                  <a:lnTo>
                    <a:pt x="704" y="61"/>
                  </a:lnTo>
                  <a:lnTo>
                    <a:pt x="704" y="61"/>
                  </a:lnTo>
                  <a:lnTo>
                    <a:pt x="704" y="61"/>
                  </a:lnTo>
                  <a:lnTo>
                    <a:pt x="702" y="61"/>
                  </a:lnTo>
                  <a:lnTo>
                    <a:pt x="702" y="61"/>
                  </a:lnTo>
                  <a:lnTo>
                    <a:pt x="700" y="61"/>
                  </a:lnTo>
                  <a:lnTo>
                    <a:pt x="700" y="61"/>
                  </a:lnTo>
                  <a:lnTo>
                    <a:pt x="700" y="59"/>
                  </a:lnTo>
                  <a:lnTo>
                    <a:pt x="700" y="59"/>
                  </a:lnTo>
                  <a:lnTo>
                    <a:pt x="700" y="59"/>
                  </a:lnTo>
                  <a:lnTo>
                    <a:pt x="700" y="59"/>
                  </a:lnTo>
                  <a:lnTo>
                    <a:pt x="698" y="59"/>
                  </a:lnTo>
                  <a:lnTo>
                    <a:pt x="698" y="57"/>
                  </a:lnTo>
                  <a:lnTo>
                    <a:pt x="698" y="57"/>
                  </a:lnTo>
                  <a:lnTo>
                    <a:pt x="698" y="57"/>
                  </a:lnTo>
                  <a:lnTo>
                    <a:pt x="698" y="57"/>
                  </a:lnTo>
                  <a:lnTo>
                    <a:pt x="698" y="57"/>
                  </a:lnTo>
                  <a:lnTo>
                    <a:pt x="696" y="57"/>
                  </a:lnTo>
                  <a:lnTo>
                    <a:pt x="696" y="57"/>
                  </a:lnTo>
                  <a:lnTo>
                    <a:pt x="694" y="57"/>
                  </a:lnTo>
                  <a:lnTo>
                    <a:pt x="694" y="57"/>
                  </a:lnTo>
                  <a:lnTo>
                    <a:pt x="694" y="57"/>
                  </a:lnTo>
                  <a:lnTo>
                    <a:pt x="694" y="55"/>
                  </a:lnTo>
                  <a:lnTo>
                    <a:pt x="692" y="57"/>
                  </a:lnTo>
                  <a:lnTo>
                    <a:pt x="692" y="57"/>
                  </a:lnTo>
                  <a:lnTo>
                    <a:pt x="692" y="57"/>
                  </a:lnTo>
                  <a:lnTo>
                    <a:pt x="690" y="59"/>
                  </a:lnTo>
                  <a:lnTo>
                    <a:pt x="688" y="59"/>
                  </a:lnTo>
                  <a:lnTo>
                    <a:pt x="686" y="59"/>
                  </a:lnTo>
                  <a:lnTo>
                    <a:pt x="686" y="59"/>
                  </a:lnTo>
                  <a:lnTo>
                    <a:pt x="684" y="61"/>
                  </a:lnTo>
                  <a:lnTo>
                    <a:pt x="682" y="63"/>
                  </a:lnTo>
                  <a:lnTo>
                    <a:pt x="680" y="63"/>
                  </a:lnTo>
                  <a:lnTo>
                    <a:pt x="680" y="63"/>
                  </a:lnTo>
                  <a:lnTo>
                    <a:pt x="677" y="65"/>
                  </a:lnTo>
                  <a:lnTo>
                    <a:pt x="675" y="69"/>
                  </a:lnTo>
                  <a:lnTo>
                    <a:pt x="673" y="71"/>
                  </a:lnTo>
                  <a:lnTo>
                    <a:pt x="673" y="73"/>
                  </a:lnTo>
                  <a:lnTo>
                    <a:pt x="673" y="73"/>
                  </a:lnTo>
                  <a:lnTo>
                    <a:pt x="671" y="75"/>
                  </a:lnTo>
                  <a:lnTo>
                    <a:pt x="671" y="77"/>
                  </a:lnTo>
                  <a:lnTo>
                    <a:pt x="671" y="77"/>
                  </a:lnTo>
                  <a:lnTo>
                    <a:pt x="671" y="77"/>
                  </a:lnTo>
                  <a:lnTo>
                    <a:pt x="671" y="77"/>
                  </a:lnTo>
                  <a:lnTo>
                    <a:pt x="667" y="82"/>
                  </a:lnTo>
                  <a:lnTo>
                    <a:pt x="665" y="82"/>
                  </a:lnTo>
                  <a:lnTo>
                    <a:pt x="665" y="82"/>
                  </a:lnTo>
                  <a:lnTo>
                    <a:pt x="665" y="82"/>
                  </a:lnTo>
                  <a:lnTo>
                    <a:pt x="665" y="82"/>
                  </a:lnTo>
                  <a:lnTo>
                    <a:pt x="663" y="82"/>
                  </a:lnTo>
                  <a:lnTo>
                    <a:pt x="663" y="82"/>
                  </a:lnTo>
                  <a:lnTo>
                    <a:pt x="663" y="82"/>
                  </a:lnTo>
                  <a:lnTo>
                    <a:pt x="663" y="82"/>
                  </a:lnTo>
                  <a:lnTo>
                    <a:pt x="663" y="80"/>
                  </a:lnTo>
                  <a:lnTo>
                    <a:pt x="661" y="80"/>
                  </a:lnTo>
                  <a:lnTo>
                    <a:pt x="661" y="80"/>
                  </a:lnTo>
                  <a:lnTo>
                    <a:pt x="661" y="77"/>
                  </a:lnTo>
                  <a:lnTo>
                    <a:pt x="661" y="77"/>
                  </a:lnTo>
                  <a:lnTo>
                    <a:pt x="661" y="75"/>
                  </a:lnTo>
                  <a:lnTo>
                    <a:pt x="661" y="75"/>
                  </a:lnTo>
                  <a:lnTo>
                    <a:pt x="661" y="75"/>
                  </a:lnTo>
                  <a:lnTo>
                    <a:pt x="661" y="75"/>
                  </a:lnTo>
                  <a:lnTo>
                    <a:pt x="659" y="73"/>
                  </a:lnTo>
                  <a:lnTo>
                    <a:pt x="659" y="73"/>
                  </a:lnTo>
                  <a:lnTo>
                    <a:pt x="659" y="73"/>
                  </a:lnTo>
                  <a:lnTo>
                    <a:pt x="657" y="73"/>
                  </a:lnTo>
                  <a:lnTo>
                    <a:pt x="655" y="75"/>
                  </a:lnTo>
                  <a:lnTo>
                    <a:pt x="653" y="77"/>
                  </a:lnTo>
                  <a:lnTo>
                    <a:pt x="647" y="82"/>
                  </a:lnTo>
                  <a:lnTo>
                    <a:pt x="647" y="82"/>
                  </a:lnTo>
                  <a:lnTo>
                    <a:pt x="647" y="82"/>
                  </a:lnTo>
                  <a:lnTo>
                    <a:pt x="647" y="82"/>
                  </a:lnTo>
                  <a:lnTo>
                    <a:pt x="647" y="84"/>
                  </a:lnTo>
                  <a:lnTo>
                    <a:pt x="647" y="84"/>
                  </a:lnTo>
                  <a:lnTo>
                    <a:pt x="647" y="84"/>
                  </a:lnTo>
                  <a:lnTo>
                    <a:pt x="645" y="86"/>
                  </a:lnTo>
                  <a:lnTo>
                    <a:pt x="645" y="86"/>
                  </a:lnTo>
                  <a:lnTo>
                    <a:pt x="645" y="88"/>
                  </a:lnTo>
                  <a:lnTo>
                    <a:pt x="645" y="88"/>
                  </a:lnTo>
                  <a:lnTo>
                    <a:pt x="645" y="88"/>
                  </a:lnTo>
                  <a:lnTo>
                    <a:pt x="645" y="88"/>
                  </a:lnTo>
                  <a:lnTo>
                    <a:pt x="643" y="88"/>
                  </a:lnTo>
                  <a:lnTo>
                    <a:pt x="643" y="88"/>
                  </a:lnTo>
                  <a:lnTo>
                    <a:pt x="641" y="88"/>
                  </a:lnTo>
                  <a:lnTo>
                    <a:pt x="641" y="88"/>
                  </a:lnTo>
                  <a:lnTo>
                    <a:pt x="639" y="88"/>
                  </a:lnTo>
                  <a:lnTo>
                    <a:pt x="639" y="88"/>
                  </a:lnTo>
                  <a:lnTo>
                    <a:pt x="637" y="88"/>
                  </a:lnTo>
                  <a:lnTo>
                    <a:pt x="637" y="88"/>
                  </a:lnTo>
                  <a:lnTo>
                    <a:pt x="637" y="88"/>
                  </a:lnTo>
                  <a:lnTo>
                    <a:pt x="634" y="90"/>
                  </a:lnTo>
                  <a:lnTo>
                    <a:pt x="634" y="90"/>
                  </a:lnTo>
                  <a:lnTo>
                    <a:pt x="634" y="90"/>
                  </a:lnTo>
                  <a:lnTo>
                    <a:pt x="634" y="90"/>
                  </a:lnTo>
                  <a:lnTo>
                    <a:pt x="634" y="92"/>
                  </a:lnTo>
                  <a:lnTo>
                    <a:pt x="634" y="92"/>
                  </a:lnTo>
                  <a:lnTo>
                    <a:pt x="637" y="92"/>
                  </a:lnTo>
                  <a:lnTo>
                    <a:pt x="637" y="94"/>
                  </a:lnTo>
                  <a:lnTo>
                    <a:pt x="637" y="94"/>
                  </a:lnTo>
                  <a:lnTo>
                    <a:pt x="637" y="96"/>
                  </a:lnTo>
                  <a:lnTo>
                    <a:pt x="637" y="96"/>
                  </a:lnTo>
                  <a:lnTo>
                    <a:pt x="637" y="98"/>
                  </a:lnTo>
                  <a:lnTo>
                    <a:pt x="637" y="98"/>
                  </a:lnTo>
                  <a:lnTo>
                    <a:pt x="637" y="98"/>
                  </a:lnTo>
                  <a:lnTo>
                    <a:pt x="634" y="100"/>
                  </a:lnTo>
                  <a:lnTo>
                    <a:pt x="634" y="104"/>
                  </a:lnTo>
                  <a:lnTo>
                    <a:pt x="632" y="106"/>
                  </a:lnTo>
                  <a:lnTo>
                    <a:pt x="630" y="106"/>
                  </a:lnTo>
                  <a:lnTo>
                    <a:pt x="630" y="106"/>
                  </a:lnTo>
                  <a:lnTo>
                    <a:pt x="628" y="106"/>
                  </a:lnTo>
                  <a:lnTo>
                    <a:pt x="626" y="106"/>
                  </a:lnTo>
                  <a:lnTo>
                    <a:pt x="624" y="106"/>
                  </a:lnTo>
                  <a:lnTo>
                    <a:pt x="624" y="106"/>
                  </a:lnTo>
                  <a:lnTo>
                    <a:pt x="624" y="108"/>
                  </a:lnTo>
                  <a:lnTo>
                    <a:pt x="620" y="110"/>
                  </a:lnTo>
                  <a:lnTo>
                    <a:pt x="616" y="112"/>
                  </a:lnTo>
                  <a:lnTo>
                    <a:pt x="616" y="112"/>
                  </a:lnTo>
                  <a:lnTo>
                    <a:pt x="616" y="112"/>
                  </a:lnTo>
                  <a:lnTo>
                    <a:pt x="614" y="114"/>
                  </a:lnTo>
                  <a:lnTo>
                    <a:pt x="612" y="116"/>
                  </a:lnTo>
                  <a:lnTo>
                    <a:pt x="610" y="116"/>
                  </a:lnTo>
                  <a:lnTo>
                    <a:pt x="610" y="116"/>
                  </a:lnTo>
                  <a:lnTo>
                    <a:pt x="610" y="118"/>
                  </a:lnTo>
                  <a:lnTo>
                    <a:pt x="610" y="118"/>
                  </a:lnTo>
                  <a:lnTo>
                    <a:pt x="608" y="121"/>
                  </a:lnTo>
                  <a:lnTo>
                    <a:pt x="606" y="123"/>
                  </a:lnTo>
                  <a:lnTo>
                    <a:pt x="606" y="123"/>
                  </a:lnTo>
                  <a:lnTo>
                    <a:pt x="606" y="123"/>
                  </a:lnTo>
                  <a:lnTo>
                    <a:pt x="604" y="123"/>
                  </a:lnTo>
                  <a:lnTo>
                    <a:pt x="604" y="123"/>
                  </a:lnTo>
                  <a:lnTo>
                    <a:pt x="604" y="125"/>
                  </a:lnTo>
                  <a:lnTo>
                    <a:pt x="602" y="125"/>
                  </a:lnTo>
                  <a:lnTo>
                    <a:pt x="602" y="127"/>
                  </a:lnTo>
                  <a:lnTo>
                    <a:pt x="600" y="127"/>
                  </a:lnTo>
                  <a:lnTo>
                    <a:pt x="600" y="129"/>
                  </a:lnTo>
                  <a:lnTo>
                    <a:pt x="596" y="131"/>
                  </a:lnTo>
                  <a:lnTo>
                    <a:pt x="594" y="131"/>
                  </a:lnTo>
                  <a:lnTo>
                    <a:pt x="594" y="133"/>
                  </a:lnTo>
                  <a:lnTo>
                    <a:pt x="594" y="133"/>
                  </a:lnTo>
                  <a:lnTo>
                    <a:pt x="591" y="135"/>
                  </a:lnTo>
                  <a:lnTo>
                    <a:pt x="591" y="137"/>
                  </a:lnTo>
                  <a:lnTo>
                    <a:pt x="589" y="137"/>
                  </a:lnTo>
                  <a:lnTo>
                    <a:pt x="585" y="139"/>
                  </a:lnTo>
                  <a:lnTo>
                    <a:pt x="583" y="139"/>
                  </a:lnTo>
                  <a:lnTo>
                    <a:pt x="583" y="139"/>
                  </a:lnTo>
                  <a:lnTo>
                    <a:pt x="583" y="139"/>
                  </a:lnTo>
                  <a:lnTo>
                    <a:pt x="583" y="137"/>
                  </a:lnTo>
                  <a:lnTo>
                    <a:pt x="581" y="137"/>
                  </a:lnTo>
                  <a:lnTo>
                    <a:pt x="581" y="137"/>
                  </a:lnTo>
                  <a:lnTo>
                    <a:pt x="581" y="137"/>
                  </a:lnTo>
                  <a:lnTo>
                    <a:pt x="579" y="139"/>
                  </a:lnTo>
                  <a:lnTo>
                    <a:pt x="577" y="139"/>
                  </a:lnTo>
                  <a:lnTo>
                    <a:pt x="577" y="139"/>
                  </a:lnTo>
                  <a:lnTo>
                    <a:pt x="577" y="139"/>
                  </a:lnTo>
                  <a:lnTo>
                    <a:pt x="577" y="139"/>
                  </a:lnTo>
                  <a:lnTo>
                    <a:pt x="575" y="139"/>
                  </a:lnTo>
                  <a:lnTo>
                    <a:pt x="575" y="139"/>
                  </a:lnTo>
                  <a:lnTo>
                    <a:pt x="575" y="139"/>
                  </a:lnTo>
                  <a:lnTo>
                    <a:pt x="573" y="139"/>
                  </a:lnTo>
                  <a:lnTo>
                    <a:pt x="573" y="139"/>
                  </a:lnTo>
                  <a:lnTo>
                    <a:pt x="571" y="139"/>
                  </a:lnTo>
                  <a:lnTo>
                    <a:pt x="569" y="139"/>
                  </a:lnTo>
                  <a:lnTo>
                    <a:pt x="569" y="141"/>
                  </a:lnTo>
                  <a:lnTo>
                    <a:pt x="567" y="141"/>
                  </a:lnTo>
                  <a:lnTo>
                    <a:pt x="565" y="143"/>
                  </a:lnTo>
                  <a:lnTo>
                    <a:pt x="563" y="145"/>
                  </a:lnTo>
                  <a:lnTo>
                    <a:pt x="563" y="145"/>
                  </a:lnTo>
                  <a:lnTo>
                    <a:pt x="563" y="145"/>
                  </a:lnTo>
                  <a:lnTo>
                    <a:pt x="559" y="147"/>
                  </a:lnTo>
                  <a:lnTo>
                    <a:pt x="559" y="147"/>
                  </a:lnTo>
                  <a:lnTo>
                    <a:pt x="557" y="147"/>
                  </a:lnTo>
                  <a:lnTo>
                    <a:pt x="557" y="147"/>
                  </a:lnTo>
                  <a:lnTo>
                    <a:pt x="557" y="151"/>
                  </a:lnTo>
                  <a:lnTo>
                    <a:pt x="555" y="151"/>
                  </a:lnTo>
                  <a:lnTo>
                    <a:pt x="555" y="153"/>
                  </a:lnTo>
                  <a:lnTo>
                    <a:pt x="555" y="153"/>
                  </a:lnTo>
                  <a:lnTo>
                    <a:pt x="551" y="155"/>
                  </a:lnTo>
                  <a:lnTo>
                    <a:pt x="551" y="155"/>
                  </a:lnTo>
                  <a:lnTo>
                    <a:pt x="551" y="155"/>
                  </a:lnTo>
                  <a:lnTo>
                    <a:pt x="548" y="157"/>
                  </a:lnTo>
                  <a:lnTo>
                    <a:pt x="548" y="159"/>
                  </a:lnTo>
                  <a:lnTo>
                    <a:pt x="548" y="159"/>
                  </a:lnTo>
                  <a:lnTo>
                    <a:pt x="548" y="159"/>
                  </a:lnTo>
                  <a:lnTo>
                    <a:pt x="548" y="159"/>
                  </a:lnTo>
                  <a:lnTo>
                    <a:pt x="548" y="162"/>
                  </a:lnTo>
                  <a:lnTo>
                    <a:pt x="548" y="162"/>
                  </a:lnTo>
                  <a:lnTo>
                    <a:pt x="548" y="164"/>
                  </a:lnTo>
                  <a:lnTo>
                    <a:pt x="548" y="164"/>
                  </a:lnTo>
                  <a:lnTo>
                    <a:pt x="548" y="164"/>
                  </a:lnTo>
                  <a:lnTo>
                    <a:pt x="546" y="166"/>
                  </a:lnTo>
                  <a:lnTo>
                    <a:pt x="546" y="168"/>
                  </a:lnTo>
                  <a:lnTo>
                    <a:pt x="546" y="168"/>
                  </a:lnTo>
                  <a:lnTo>
                    <a:pt x="546" y="168"/>
                  </a:lnTo>
                  <a:lnTo>
                    <a:pt x="546" y="172"/>
                  </a:lnTo>
                  <a:lnTo>
                    <a:pt x="546" y="174"/>
                  </a:lnTo>
                  <a:lnTo>
                    <a:pt x="546" y="174"/>
                  </a:lnTo>
                  <a:lnTo>
                    <a:pt x="544" y="176"/>
                  </a:lnTo>
                  <a:lnTo>
                    <a:pt x="544" y="176"/>
                  </a:lnTo>
                  <a:lnTo>
                    <a:pt x="542" y="178"/>
                  </a:lnTo>
                  <a:lnTo>
                    <a:pt x="542" y="178"/>
                  </a:lnTo>
                  <a:lnTo>
                    <a:pt x="540" y="178"/>
                  </a:lnTo>
                  <a:lnTo>
                    <a:pt x="536" y="178"/>
                  </a:lnTo>
                  <a:lnTo>
                    <a:pt x="534" y="180"/>
                  </a:lnTo>
                  <a:lnTo>
                    <a:pt x="534" y="180"/>
                  </a:lnTo>
                  <a:lnTo>
                    <a:pt x="534" y="178"/>
                  </a:lnTo>
                  <a:lnTo>
                    <a:pt x="534" y="178"/>
                  </a:lnTo>
                  <a:lnTo>
                    <a:pt x="532" y="178"/>
                  </a:lnTo>
                  <a:lnTo>
                    <a:pt x="532" y="178"/>
                  </a:lnTo>
                  <a:lnTo>
                    <a:pt x="532" y="178"/>
                  </a:lnTo>
                  <a:lnTo>
                    <a:pt x="530" y="178"/>
                  </a:lnTo>
                  <a:lnTo>
                    <a:pt x="530" y="180"/>
                  </a:lnTo>
                  <a:lnTo>
                    <a:pt x="528" y="180"/>
                  </a:lnTo>
                  <a:lnTo>
                    <a:pt x="528" y="182"/>
                  </a:lnTo>
                  <a:lnTo>
                    <a:pt x="526" y="182"/>
                  </a:lnTo>
                  <a:lnTo>
                    <a:pt x="526" y="184"/>
                  </a:lnTo>
                  <a:lnTo>
                    <a:pt x="526" y="184"/>
                  </a:lnTo>
                  <a:lnTo>
                    <a:pt x="526" y="186"/>
                  </a:lnTo>
                  <a:lnTo>
                    <a:pt x="526" y="188"/>
                  </a:lnTo>
                  <a:lnTo>
                    <a:pt x="526" y="192"/>
                  </a:lnTo>
                  <a:lnTo>
                    <a:pt x="526" y="198"/>
                  </a:lnTo>
                  <a:lnTo>
                    <a:pt x="526" y="205"/>
                  </a:lnTo>
                  <a:lnTo>
                    <a:pt x="528" y="209"/>
                  </a:lnTo>
                  <a:lnTo>
                    <a:pt x="520" y="211"/>
                  </a:lnTo>
                  <a:lnTo>
                    <a:pt x="512" y="211"/>
                  </a:lnTo>
                  <a:lnTo>
                    <a:pt x="505" y="211"/>
                  </a:lnTo>
                  <a:lnTo>
                    <a:pt x="503" y="211"/>
                  </a:lnTo>
                  <a:lnTo>
                    <a:pt x="501" y="211"/>
                  </a:lnTo>
                  <a:lnTo>
                    <a:pt x="491" y="213"/>
                  </a:lnTo>
                  <a:lnTo>
                    <a:pt x="479" y="215"/>
                  </a:lnTo>
                  <a:lnTo>
                    <a:pt x="469" y="217"/>
                  </a:lnTo>
                  <a:lnTo>
                    <a:pt x="456" y="217"/>
                  </a:lnTo>
                  <a:lnTo>
                    <a:pt x="446" y="219"/>
                  </a:lnTo>
                  <a:lnTo>
                    <a:pt x="436" y="221"/>
                  </a:lnTo>
                  <a:lnTo>
                    <a:pt x="424" y="221"/>
                  </a:lnTo>
                  <a:lnTo>
                    <a:pt x="413" y="223"/>
                  </a:lnTo>
                  <a:lnTo>
                    <a:pt x="399" y="225"/>
                  </a:lnTo>
                  <a:lnTo>
                    <a:pt x="385" y="227"/>
                  </a:lnTo>
                  <a:lnTo>
                    <a:pt x="372" y="227"/>
                  </a:lnTo>
                  <a:lnTo>
                    <a:pt x="358" y="229"/>
                  </a:lnTo>
                  <a:lnTo>
                    <a:pt x="344" y="231"/>
                  </a:lnTo>
                  <a:lnTo>
                    <a:pt x="329" y="233"/>
                  </a:lnTo>
                  <a:lnTo>
                    <a:pt x="315" y="235"/>
                  </a:lnTo>
                  <a:lnTo>
                    <a:pt x="303" y="235"/>
                  </a:lnTo>
                  <a:lnTo>
                    <a:pt x="288" y="237"/>
                  </a:lnTo>
                  <a:lnTo>
                    <a:pt x="274" y="239"/>
                  </a:lnTo>
                  <a:lnTo>
                    <a:pt x="260" y="239"/>
                  </a:lnTo>
                  <a:lnTo>
                    <a:pt x="245" y="241"/>
                  </a:lnTo>
                  <a:lnTo>
                    <a:pt x="233" y="243"/>
                  </a:lnTo>
                  <a:lnTo>
                    <a:pt x="219" y="243"/>
                  </a:lnTo>
                  <a:lnTo>
                    <a:pt x="204" y="246"/>
                  </a:lnTo>
                  <a:lnTo>
                    <a:pt x="190" y="248"/>
                  </a:lnTo>
                  <a:lnTo>
                    <a:pt x="188" y="248"/>
                  </a:lnTo>
                  <a:lnTo>
                    <a:pt x="186" y="248"/>
                  </a:lnTo>
                  <a:lnTo>
                    <a:pt x="188" y="250"/>
                  </a:lnTo>
                  <a:lnTo>
                    <a:pt x="188" y="250"/>
                  </a:lnTo>
                  <a:lnTo>
                    <a:pt x="184" y="250"/>
                  </a:lnTo>
                  <a:lnTo>
                    <a:pt x="172" y="252"/>
                  </a:lnTo>
                  <a:lnTo>
                    <a:pt x="161" y="254"/>
                  </a:lnTo>
                  <a:lnTo>
                    <a:pt x="149" y="254"/>
                  </a:lnTo>
                  <a:lnTo>
                    <a:pt x="139" y="256"/>
                  </a:lnTo>
                  <a:lnTo>
                    <a:pt x="127" y="256"/>
                  </a:lnTo>
                  <a:lnTo>
                    <a:pt x="114" y="258"/>
                  </a:lnTo>
                  <a:lnTo>
                    <a:pt x="104" y="258"/>
                  </a:lnTo>
                  <a:lnTo>
                    <a:pt x="92" y="260"/>
                  </a:lnTo>
                  <a:lnTo>
                    <a:pt x="81" y="262"/>
                  </a:lnTo>
                  <a:lnTo>
                    <a:pt x="69" y="262"/>
                  </a:lnTo>
                  <a:lnTo>
                    <a:pt x="57" y="264"/>
                  </a:lnTo>
                  <a:lnTo>
                    <a:pt x="47" y="264"/>
                  </a:lnTo>
                  <a:lnTo>
                    <a:pt x="34" y="266"/>
                  </a:lnTo>
                  <a:lnTo>
                    <a:pt x="24" y="266"/>
                  </a:lnTo>
                  <a:lnTo>
                    <a:pt x="12" y="268"/>
                  </a:lnTo>
                  <a:lnTo>
                    <a:pt x="0" y="268"/>
                  </a:lnTo>
                  <a:lnTo>
                    <a:pt x="0" y="268"/>
                  </a:lnTo>
                  <a:lnTo>
                    <a:pt x="0" y="266"/>
                  </a:lnTo>
                  <a:lnTo>
                    <a:pt x="2" y="266"/>
                  </a:lnTo>
                  <a:lnTo>
                    <a:pt x="4" y="264"/>
                  </a:lnTo>
                  <a:lnTo>
                    <a:pt x="8" y="262"/>
                  </a:lnTo>
                  <a:lnTo>
                    <a:pt x="8" y="262"/>
                  </a:lnTo>
                  <a:lnTo>
                    <a:pt x="10" y="260"/>
                  </a:lnTo>
                  <a:lnTo>
                    <a:pt x="10" y="258"/>
                  </a:lnTo>
                  <a:lnTo>
                    <a:pt x="10" y="256"/>
                  </a:lnTo>
                  <a:lnTo>
                    <a:pt x="10" y="254"/>
                  </a:lnTo>
                  <a:lnTo>
                    <a:pt x="12" y="254"/>
                  </a:lnTo>
                  <a:lnTo>
                    <a:pt x="14" y="254"/>
                  </a:lnTo>
                  <a:lnTo>
                    <a:pt x="16" y="254"/>
                  </a:lnTo>
                  <a:lnTo>
                    <a:pt x="18" y="250"/>
                  </a:lnTo>
                  <a:lnTo>
                    <a:pt x="18" y="246"/>
                  </a:lnTo>
                  <a:lnTo>
                    <a:pt x="16" y="241"/>
                  </a:lnTo>
                  <a:lnTo>
                    <a:pt x="14" y="237"/>
                  </a:lnTo>
                  <a:lnTo>
                    <a:pt x="14" y="235"/>
                  </a:lnTo>
                  <a:lnTo>
                    <a:pt x="14" y="229"/>
                  </a:lnTo>
                  <a:lnTo>
                    <a:pt x="14" y="227"/>
                  </a:lnTo>
                  <a:lnTo>
                    <a:pt x="14" y="225"/>
                  </a:lnTo>
                  <a:lnTo>
                    <a:pt x="18" y="221"/>
                  </a:lnTo>
                  <a:lnTo>
                    <a:pt x="20" y="219"/>
                  </a:lnTo>
                  <a:lnTo>
                    <a:pt x="20" y="217"/>
                  </a:lnTo>
                  <a:lnTo>
                    <a:pt x="22" y="215"/>
                  </a:lnTo>
                  <a:lnTo>
                    <a:pt x="20" y="213"/>
                  </a:lnTo>
                  <a:lnTo>
                    <a:pt x="22" y="211"/>
                  </a:lnTo>
                  <a:lnTo>
                    <a:pt x="22" y="211"/>
                  </a:lnTo>
                  <a:lnTo>
                    <a:pt x="24" y="209"/>
                  </a:lnTo>
                  <a:lnTo>
                    <a:pt x="26" y="209"/>
                  </a:lnTo>
                  <a:lnTo>
                    <a:pt x="28" y="209"/>
                  </a:lnTo>
                  <a:lnTo>
                    <a:pt x="28" y="207"/>
                  </a:lnTo>
                  <a:lnTo>
                    <a:pt x="28" y="205"/>
                  </a:lnTo>
                  <a:lnTo>
                    <a:pt x="26" y="202"/>
                  </a:lnTo>
                  <a:lnTo>
                    <a:pt x="26" y="200"/>
                  </a:lnTo>
                  <a:lnTo>
                    <a:pt x="26" y="200"/>
                  </a:lnTo>
                  <a:lnTo>
                    <a:pt x="28" y="198"/>
                  </a:lnTo>
                  <a:lnTo>
                    <a:pt x="28" y="196"/>
                  </a:lnTo>
                  <a:lnTo>
                    <a:pt x="28" y="194"/>
                  </a:lnTo>
                  <a:lnTo>
                    <a:pt x="26" y="192"/>
                  </a:lnTo>
                  <a:lnTo>
                    <a:pt x="24" y="190"/>
                  </a:lnTo>
                  <a:lnTo>
                    <a:pt x="24" y="188"/>
                  </a:lnTo>
                  <a:lnTo>
                    <a:pt x="26" y="186"/>
                  </a:lnTo>
                  <a:lnTo>
                    <a:pt x="38" y="180"/>
                  </a:lnTo>
                  <a:lnTo>
                    <a:pt x="43" y="174"/>
                  </a:lnTo>
                  <a:lnTo>
                    <a:pt x="43" y="172"/>
                  </a:lnTo>
                  <a:lnTo>
                    <a:pt x="41" y="172"/>
                  </a:lnTo>
                  <a:lnTo>
                    <a:pt x="38" y="170"/>
                  </a:lnTo>
                  <a:lnTo>
                    <a:pt x="38" y="168"/>
                  </a:lnTo>
                  <a:lnTo>
                    <a:pt x="38" y="166"/>
                  </a:lnTo>
                  <a:lnTo>
                    <a:pt x="41" y="166"/>
                  </a:lnTo>
                  <a:lnTo>
                    <a:pt x="43" y="166"/>
                  </a:lnTo>
                  <a:lnTo>
                    <a:pt x="47" y="168"/>
                  </a:lnTo>
                  <a:lnTo>
                    <a:pt x="47" y="168"/>
                  </a:lnTo>
                  <a:lnTo>
                    <a:pt x="47" y="166"/>
                  </a:lnTo>
                  <a:lnTo>
                    <a:pt x="47" y="162"/>
                  </a:lnTo>
                  <a:lnTo>
                    <a:pt x="43" y="159"/>
                  </a:lnTo>
                  <a:lnTo>
                    <a:pt x="43" y="157"/>
                  </a:lnTo>
                  <a:lnTo>
                    <a:pt x="43" y="155"/>
                  </a:lnTo>
                  <a:lnTo>
                    <a:pt x="43" y="153"/>
                  </a:lnTo>
                  <a:lnTo>
                    <a:pt x="45" y="147"/>
                  </a:lnTo>
                  <a:lnTo>
                    <a:pt x="45" y="145"/>
                  </a:lnTo>
                  <a:lnTo>
                    <a:pt x="45" y="145"/>
                  </a:lnTo>
                  <a:lnTo>
                    <a:pt x="47" y="143"/>
                  </a:lnTo>
                  <a:lnTo>
                    <a:pt x="49" y="143"/>
                  </a:lnTo>
                  <a:lnTo>
                    <a:pt x="49" y="143"/>
                  </a:lnTo>
                  <a:lnTo>
                    <a:pt x="51" y="141"/>
                  </a:lnTo>
                  <a:lnTo>
                    <a:pt x="47" y="137"/>
                  </a:lnTo>
                  <a:lnTo>
                    <a:pt x="43" y="129"/>
                  </a:lnTo>
                  <a:lnTo>
                    <a:pt x="43" y="129"/>
                  </a:lnTo>
                  <a:lnTo>
                    <a:pt x="51" y="129"/>
                  </a:lnTo>
                  <a:lnTo>
                    <a:pt x="53" y="127"/>
                  </a:lnTo>
                  <a:lnTo>
                    <a:pt x="53" y="127"/>
                  </a:lnTo>
                  <a:lnTo>
                    <a:pt x="53" y="125"/>
                  </a:lnTo>
                  <a:lnTo>
                    <a:pt x="53" y="125"/>
                  </a:lnTo>
                  <a:lnTo>
                    <a:pt x="51" y="125"/>
                  </a:lnTo>
                  <a:lnTo>
                    <a:pt x="49" y="123"/>
                  </a:lnTo>
                  <a:lnTo>
                    <a:pt x="47" y="121"/>
                  </a:lnTo>
                  <a:lnTo>
                    <a:pt x="47" y="118"/>
                  </a:lnTo>
                  <a:lnTo>
                    <a:pt x="49" y="118"/>
                  </a:lnTo>
                  <a:lnTo>
                    <a:pt x="51" y="118"/>
                  </a:lnTo>
                  <a:lnTo>
                    <a:pt x="53" y="116"/>
                  </a:lnTo>
                  <a:lnTo>
                    <a:pt x="55" y="116"/>
                  </a:lnTo>
                  <a:lnTo>
                    <a:pt x="55" y="114"/>
                  </a:lnTo>
                  <a:lnTo>
                    <a:pt x="55" y="112"/>
                  </a:lnTo>
                  <a:lnTo>
                    <a:pt x="53" y="106"/>
                  </a:lnTo>
                  <a:lnTo>
                    <a:pt x="51" y="106"/>
                  </a:lnTo>
                  <a:lnTo>
                    <a:pt x="53" y="104"/>
                  </a:lnTo>
                  <a:lnTo>
                    <a:pt x="51" y="102"/>
                  </a:lnTo>
                  <a:lnTo>
                    <a:pt x="51" y="102"/>
                  </a:lnTo>
                  <a:lnTo>
                    <a:pt x="57" y="100"/>
                  </a:lnTo>
                  <a:lnTo>
                    <a:pt x="57" y="102"/>
                  </a:lnTo>
                  <a:lnTo>
                    <a:pt x="55" y="104"/>
                  </a:lnTo>
                  <a:lnTo>
                    <a:pt x="57" y="106"/>
                  </a:lnTo>
                  <a:lnTo>
                    <a:pt x="59" y="106"/>
                  </a:lnTo>
                  <a:lnTo>
                    <a:pt x="59" y="104"/>
                  </a:lnTo>
                  <a:lnTo>
                    <a:pt x="61" y="104"/>
                  </a:lnTo>
                  <a:lnTo>
                    <a:pt x="63" y="102"/>
                  </a:lnTo>
                  <a:lnTo>
                    <a:pt x="63" y="100"/>
                  </a:lnTo>
                  <a:lnTo>
                    <a:pt x="77" y="98"/>
                  </a:lnTo>
                  <a:lnTo>
                    <a:pt x="92" y="98"/>
                  </a:lnTo>
                  <a:lnTo>
                    <a:pt x="108" y="96"/>
                  </a:lnTo>
                  <a:lnTo>
                    <a:pt x="122" y="94"/>
                  </a:lnTo>
                  <a:lnTo>
                    <a:pt x="137" y="94"/>
                  </a:lnTo>
                  <a:lnTo>
                    <a:pt x="153" y="92"/>
                  </a:lnTo>
                  <a:lnTo>
                    <a:pt x="168" y="90"/>
                  </a:lnTo>
                  <a:lnTo>
                    <a:pt x="182" y="88"/>
                  </a:lnTo>
                  <a:lnTo>
                    <a:pt x="182" y="86"/>
                  </a:lnTo>
                  <a:lnTo>
                    <a:pt x="182" y="82"/>
                  </a:lnTo>
                  <a:lnTo>
                    <a:pt x="182" y="80"/>
                  </a:lnTo>
                  <a:lnTo>
                    <a:pt x="180" y="75"/>
                  </a:lnTo>
                  <a:lnTo>
                    <a:pt x="178" y="69"/>
                  </a:lnTo>
                  <a:lnTo>
                    <a:pt x="178" y="69"/>
                  </a:lnTo>
                  <a:lnTo>
                    <a:pt x="178" y="67"/>
                  </a:lnTo>
                  <a:lnTo>
                    <a:pt x="178" y="67"/>
                  </a:lnTo>
                  <a:lnTo>
                    <a:pt x="178" y="67"/>
                  </a:lnTo>
                  <a:lnTo>
                    <a:pt x="184" y="67"/>
                  </a:lnTo>
                  <a:lnTo>
                    <a:pt x="190" y="67"/>
                  </a:lnTo>
                  <a:lnTo>
                    <a:pt x="196" y="67"/>
                  </a:lnTo>
                  <a:lnTo>
                    <a:pt x="196" y="67"/>
                  </a:lnTo>
                  <a:lnTo>
                    <a:pt x="196" y="69"/>
                  </a:lnTo>
                  <a:lnTo>
                    <a:pt x="198" y="69"/>
                  </a:lnTo>
                  <a:lnTo>
                    <a:pt x="198" y="71"/>
                  </a:lnTo>
                  <a:lnTo>
                    <a:pt x="198" y="71"/>
                  </a:lnTo>
                  <a:lnTo>
                    <a:pt x="198" y="71"/>
                  </a:lnTo>
                  <a:lnTo>
                    <a:pt x="202" y="69"/>
                  </a:lnTo>
                  <a:lnTo>
                    <a:pt x="204" y="69"/>
                  </a:lnTo>
                  <a:lnTo>
                    <a:pt x="206" y="69"/>
                  </a:lnTo>
                  <a:lnTo>
                    <a:pt x="213" y="69"/>
                  </a:lnTo>
                  <a:lnTo>
                    <a:pt x="219" y="67"/>
                  </a:lnTo>
                  <a:lnTo>
                    <a:pt x="227" y="67"/>
                  </a:lnTo>
                  <a:lnTo>
                    <a:pt x="235" y="65"/>
                  </a:lnTo>
                  <a:lnTo>
                    <a:pt x="245" y="65"/>
                  </a:lnTo>
                  <a:lnTo>
                    <a:pt x="254" y="63"/>
                  </a:lnTo>
                  <a:lnTo>
                    <a:pt x="264" y="63"/>
                  </a:lnTo>
                  <a:lnTo>
                    <a:pt x="274" y="61"/>
                  </a:lnTo>
                  <a:lnTo>
                    <a:pt x="282" y="61"/>
                  </a:lnTo>
                  <a:lnTo>
                    <a:pt x="290" y="59"/>
                  </a:lnTo>
                  <a:lnTo>
                    <a:pt x="297" y="59"/>
                  </a:lnTo>
                  <a:lnTo>
                    <a:pt x="301" y="57"/>
                  </a:lnTo>
                  <a:lnTo>
                    <a:pt x="305" y="57"/>
                  </a:lnTo>
                  <a:lnTo>
                    <a:pt x="307" y="57"/>
                  </a:lnTo>
                  <a:lnTo>
                    <a:pt x="309" y="57"/>
                  </a:lnTo>
                  <a:lnTo>
                    <a:pt x="313" y="55"/>
                  </a:lnTo>
                  <a:lnTo>
                    <a:pt x="313" y="55"/>
                  </a:lnTo>
                  <a:lnTo>
                    <a:pt x="317" y="55"/>
                  </a:lnTo>
                  <a:lnTo>
                    <a:pt x="319" y="55"/>
                  </a:lnTo>
                  <a:lnTo>
                    <a:pt x="327" y="55"/>
                  </a:lnTo>
                  <a:lnTo>
                    <a:pt x="340" y="53"/>
                  </a:lnTo>
                  <a:lnTo>
                    <a:pt x="354" y="51"/>
                  </a:lnTo>
                  <a:lnTo>
                    <a:pt x="370" y="51"/>
                  </a:lnTo>
                  <a:lnTo>
                    <a:pt x="391" y="49"/>
                  </a:lnTo>
                  <a:lnTo>
                    <a:pt x="411" y="47"/>
                  </a:lnTo>
                  <a:lnTo>
                    <a:pt x="434" y="45"/>
                  </a:lnTo>
                  <a:lnTo>
                    <a:pt x="456" y="43"/>
                  </a:lnTo>
                  <a:lnTo>
                    <a:pt x="477" y="39"/>
                  </a:lnTo>
                  <a:lnTo>
                    <a:pt x="495" y="37"/>
                  </a:lnTo>
                  <a:lnTo>
                    <a:pt x="514" y="37"/>
                  </a:lnTo>
                  <a:lnTo>
                    <a:pt x="528" y="34"/>
                  </a:lnTo>
                  <a:lnTo>
                    <a:pt x="540" y="32"/>
                  </a:lnTo>
                  <a:lnTo>
                    <a:pt x="546" y="32"/>
                  </a:lnTo>
                  <a:lnTo>
                    <a:pt x="551" y="32"/>
                  </a:lnTo>
                  <a:lnTo>
                    <a:pt x="555" y="30"/>
                  </a:lnTo>
                  <a:lnTo>
                    <a:pt x="557" y="30"/>
                  </a:lnTo>
                  <a:lnTo>
                    <a:pt x="559" y="28"/>
                  </a:lnTo>
                  <a:lnTo>
                    <a:pt x="559" y="2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TN</a:t>
              </a:r>
            </a:p>
          </p:txBody>
        </p:sp>
        <p:sp>
          <p:nvSpPr>
            <p:cNvPr id="304" name="Freeform 14">
              <a:extLst>
                <a:ext uri="{FF2B5EF4-FFF2-40B4-BE49-F238E27FC236}">
                  <a16:creationId xmlns:a16="http://schemas.microsoft.com/office/drawing/2014/main" id="{BABF1FC6-300C-0700-6CC3-5284C35C97B3}"/>
                </a:ext>
              </a:extLst>
            </p:cNvPr>
            <p:cNvSpPr>
              <a:spLocks/>
            </p:cNvSpPr>
            <p:nvPr/>
          </p:nvSpPr>
          <p:spPr bwMode="auto">
            <a:xfrm>
              <a:off x="2403" y="490"/>
              <a:ext cx="612" cy="361"/>
            </a:xfrm>
            <a:custGeom>
              <a:avLst/>
              <a:gdLst>
                <a:gd name="T0" fmla="*/ 594 w 612"/>
                <a:gd name="T1" fmla="*/ 10 h 361"/>
                <a:gd name="T2" fmla="*/ 588 w 612"/>
                <a:gd name="T3" fmla="*/ 20 h 361"/>
                <a:gd name="T4" fmla="*/ 573 w 612"/>
                <a:gd name="T5" fmla="*/ 33 h 361"/>
                <a:gd name="T6" fmla="*/ 579 w 612"/>
                <a:gd name="T7" fmla="*/ 45 h 361"/>
                <a:gd name="T8" fmla="*/ 598 w 612"/>
                <a:gd name="T9" fmla="*/ 59 h 361"/>
                <a:gd name="T10" fmla="*/ 606 w 612"/>
                <a:gd name="T11" fmla="*/ 67 h 361"/>
                <a:gd name="T12" fmla="*/ 608 w 612"/>
                <a:gd name="T13" fmla="*/ 164 h 361"/>
                <a:gd name="T14" fmla="*/ 600 w 612"/>
                <a:gd name="T15" fmla="*/ 256 h 361"/>
                <a:gd name="T16" fmla="*/ 600 w 612"/>
                <a:gd name="T17" fmla="*/ 262 h 361"/>
                <a:gd name="T18" fmla="*/ 604 w 612"/>
                <a:gd name="T19" fmla="*/ 268 h 361"/>
                <a:gd name="T20" fmla="*/ 604 w 612"/>
                <a:gd name="T21" fmla="*/ 279 h 361"/>
                <a:gd name="T22" fmla="*/ 602 w 612"/>
                <a:gd name="T23" fmla="*/ 281 h 361"/>
                <a:gd name="T24" fmla="*/ 602 w 612"/>
                <a:gd name="T25" fmla="*/ 283 h 361"/>
                <a:gd name="T26" fmla="*/ 604 w 612"/>
                <a:gd name="T27" fmla="*/ 285 h 361"/>
                <a:gd name="T28" fmla="*/ 610 w 612"/>
                <a:gd name="T29" fmla="*/ 287 h 361"/>
                <a:gd name="T30" fmla="*/ 612 w 612"/>
                <a:gd name="T31" fmla="*/ 295 h 361"/>
                <a:gd name="T32" fmla="*/ 608 w 612"/>
                <a:gd name="T33" fmla="*/ 303 h 361"/>
                <a:gd name="T34" fmla="*/ 610 w 612"/>
                <a:gd name="T35" fmla="*/ 307 h 361"/>
                <a:gd name="T36" fmla="*/ 608 w 612"/>
                <a:gd name="T37" fmla="*/ 311 h 361"/>
                <a:gd name="T38" fmla="*/ 606 w 612"/>
                <a:gd name="T39" fmla="*/ 318 h 361"/>
                <a:gd name="T40" fmla="*/ 604 w 612"/>
                <a:gd name="T41" fmla="*/ 322 h 361"/>
                <a:gd name="T42" fmla="*/ 602 w 612"/>
                <a:gd name="T43" fmla="*/ 326 h 361"/>
                <a:gd name="T44" fmla="*/ 602 w 612"/>
                <a:gd name="T45" fmla="*/ 328 h 361"/>
                <a:gd name="T46" fmla="*/ 598 w 612"/>
                <a:gd name="T47" fmla="*/ 336 h 361"/>
                <a:gd name="T48" fmla="*/ 606 w 612"/>
                <a:gd name="T49" fmla="*/ 344 h 361"/>
                <a:gd name="T50" fmla="*/ 608 w 612"/>
                <a:gd name="T51" fmla="*/ 346 h 361"/>
                <a:gd name="T52" fmla="*/ 608 w 612"/>
                <a:gd name="T53" fmla="*/ 350 h 361"/>
                <a:gd name="T54" fmla="*/ 610 w 612"/>
                <a:gd name="T55" fmla="*/ 352 h 361"/>
                <a:gd name="T56" fmla="*/ 602 w 612"/>
                <a:gd name="T57" fmla="*/ 358 h 361"/>
                <a:gd name="T58" fmla="*/ 594 w 612"/>
                <a:gd name="T59" fmla="*/ 348 h 361"/>
                <a:gd name="T60" fmla="*/ 594 w 612"/>
                <a:gd name="T61" fmla="*/ 344 h 361"/>
                <a:gd name="T62" fmla="*/ 586 w 612"/>
                <a:gd name="T63" fmla="*/ 342 h 361"/>
                <a:gd name="T64" fmla="*/ 573 w 612"/>
                <a:gd name="T65" fmla="*/ 336 h 361"/>
                <a:gd name="T66" fmla="*/ 565 w 612"/>
                <a:gd name="T67" fmla="*/ 334 h 361"/>
                <a:gd name="T68" fmla="*/ 553 w 612"/>
                <a:gd name="T69" fmla="*/ 328 h 361"/>
                <a:gd name="T70" fmla="*/ 526 w 612"/>
                <a:gd name="T71" fmla="*/ 326 h 361"/>
                <a:gd name="T72" fmla="*/ 512 w 612"/>
                <a:gd name="T73" fmla="*/ 326 h 361"/>
                <a:gd name="T74" fmla="*/ 497 w 612"/>
                <a:gd name="T75" fmla="*/ 328 h 361"/>
                <a:gd name="T76" fmla="*/ 493 w 612"/>
                <a:gd name="T77" fmla="*/ 334 h 361"/>
                <a:gd name="T78" fmla="*/ 481 w 612"/>
                <a:gd name="T79" fmla="*/ 332 h 361"/>
                <a:gd name="T80" fmla="*/ 461 w 612"/>
                <a:gd name="T81" fmla="*/ 320 h 361"/>
                <a:gd name="T82" fmla="*/ 448 w 612"/>
                <a:gd name="T83" fmla="*/ 313 h 361"/>
                <a:gd name="T84" fmla="*/ 373 w 612"/>
                <a:gd name="T85" fmla="*/ 313 h 361"/>
                <a:gd name="T86" fmla="*/ 289 w 612"/>
                <a:gd name="T87" fmla="*/ 313 h 361"/>
                <a:gd name="T88" fmla="*/ 207 w 612"/>
                <a:gd name="T89" fmla="*/ 313 h 361"/>
                <a:gd name="T90" fmla="*/ 125 w 612"/>
                <a:gd name="T91" fmla="*/ 311 h 361"/>
                <a:gd name="T92" fmla="*/ 41 w 612"/>
                <a:gd name="T93" fmla="*/ 309 h 361"/>
                <a:gd name="T94" fmla="*/ 2 w 612"/>
                <a:gd name="T95" fmla="*/ 268 h 361"/>
                <a:gd name="T96" fmla="*/ 4 w 612"/>
                <a:gd name="T97" fmla="*/ 188 h 361"/>
                <a:gd name="T98" fmla="*/ 6 w 612"/>
                <a:gd name="T99" fmla="*/ 111 h 361"/>
                <a:gd name="T100" fmla="*/ 10 w 612"/>
                <a:gd name="T101" fmla="*/ 67 h 361"/>
                <a:gd name="T102" fmla="*/ 12 w 612"/>
                <a:gd name="T103" fmla="*/ 0 h 361"/>
                <a:gd name="T104" fmla="*/ 123 w 612"/>
                <a:gd name="T105" fmla="*/ 2 h 361"/>
                <a:gd name="T106" fmla="*/ 231 w 612"/>
                <a:gd name="T107" fmla="*/ 4 h 361"/>
                <a:gd name="T108" fmla="*/ 340 w 612"/>
                <a:gd name="T109" fmla="*/ 4 h 361"/>
                <a:gd name="T110" fmla="*/ 448 w 612"/>
                <a:gd name="T111" fmla="*/ 4 h 361"/>
                <a:gd name="T112" fmla="*/ 559 w 612"/>
                <a:gd name="T113" fmla="*/ 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2" h="361">
                  <a:moveTo>
                    <a:pt x="596" y="0"/>
                  </a:moveTo>
                  <a:lnTo>
                    <a:pt x="594" y="2"/>
                  </a:lnTo>
                  <a:lnTo>
                    <a:pt x="594" y="2"/>
                  </a:lnTo>
                  <a:lnTo>
                    <a:pt x="594" y="2"/>
                  </a:lnTo>
                  <a:lnTo>
                    <a:pt x="594" y="4"/>
                  </a:lnTo>
                  <a:lnTo>
                    <a:pt x="594" y="10"/>
                  </a:lnTo>
                  <a:lnTo>
                    <a:pt x="594" y="12"/>
                  </a:lnTo>
                  <a:lnTo>
                    <a:pt x="592" y="14"/>
                  </a:lnTo>
                  <a:lnTo>
                    <a:pt x="590" y="18"/>
                  </a:lnTo>
                  <a:lnTo>
                    <a:pt x="590" y="20"/>
                  </a:lnTo>
                  <a:lnTo>
                    <a:pt x="588" y="20"/>
                  </a:lnTo>
                  <a:lnTo>
                    <a:pt x="588" y="20"/>
                  </a:lnTo>
                  <a:lnTo>
                    <a:pt x="586" y="22"/>
                  </a:lnTo>
                  <a:lnTo>
                    <a:pt x="579" y="27"/>
                  </a:lnTo>
                  <a:lnTo>
                    <a:pt x="579" y="27"/>
                  </a:lnTo>
                  <a:lnTo>
                    <a:pt x="577" y="29"/>
                  </a:lnTo>
                  <a:lnTo>
                    <a:pt x="575" y="31"/>
                  </a:lnTo>
                  <a:lnTo>
                    <a:pt x="573" y="33"/>
                  </a:lnTo>
                  <a:lnTo>
                    <a:pt x="573" y="33"/>
                  </a:lnTo>
                  <a:lnTo>
                    <a:pt x="573" y="35"/>
                  </a:lnTo>
                  <a:lnTo>
                    <a:pt x="571" y="37"/>
                  </a:lnTo>
                  <a:lnTo>
                    <a:pt x="573" y="39"/>
                  </a:lnTo>
                  <a:lnTo>
                    <a:pt x="577" y="43"/>
                  </a:lnTo>
                  <a:lnTo>
                    <a:pt x="579" y="45"/>
                  </a:lnTo>
                  <a:lnTo>
                    <a:pt x="583" y="51"/>
                  </a:lnTo>
                  <a:lnTo>
                    <a:pt x="586" y="55"/>
                  </a:lnTo>
                  <a:lnTo>
                    <a:pt x="586" y="57"/>
                  </a:lnTo>
                  <a:lnTo>
                    <a:pt x="592" y="57"/>
                  </a:lnTo>
                  <a:lnTo>
                    <a:pt x="596" y="57"/>
                  </a:lnTo>
                  <a:lnTo>
                    <a:pt x="598" y="59"/>
                  </a:lnTo>
                  <a:lnTo>
                    <a:pt x="600" y="59"/>
                  </a:lnTo>
                  <a:lnTo>
                    <a:pt x="602" y="61"/>
                  </a:lnTo>
                  <a:lnTo>
                    <a:pt x="602" y="61"/>
                  </a:lnTo>
                  <a:lnTo>
                    <a:pt x="604" y="65"/>
                  </a:lnTo>
                  <a:lnTo>
                    <a:pt x="604" y="67"/>
                  </a:lnTo>
                  <a:lnTo>
                    <a:pt x="606" y="67"/>
                  </a:lnTo>
                  <a:lnTo>
                    <a:pt x="606" y="67"/>
                  </a:lnTo>
                  <a:lnTo>
                    <a:pt x="606" y="72"/>
                  </a:lnTo>
                  <a:lnTo>
                    <a:pt x="606" y="94"/>
                  </a:lnTo>
                  <a:lnTo>
                    <a:pt x="606" y="117"/>
                  </a:lnTo>
                  <a:lnTo>
                    <a:pt x="608" y="141"/>
                  </a:lnTo>
                  <a:lnTo>
                    <a:pt x="608" y="164"/>
                  </a:lnTo>
                  <a:lnTo>
                    <a:pt x="608" y="186"/>
                  </a:lnTo>
                  <a:lnTo>
                    <a:pt x="610" y="209"/>
                  </a:lnTo>
                  <a:lnTo>
                    <a:pt x="610" y="233"/>
                  </a:lnTo>
                  <a:lnTo>
                    <a:pt x="612" y="256"/>
                  </a:lnTo>
                  <a:lnTo>
                    <a:pt x="600" y="256"/>
                  </a:lnTo>
                  <a:lnTo>
                    <a:pt x="600" y="256"/>
                  </a:lnTo>
                  <a:lnTo>
                    <a:pt x="600" y="258"/>
                  </a:lnTo>
                  <a:lnTo>
                    <a:pt x="600" y="258"/>
                  </a:lnTo>
                  <a:lnTo>
                    <a:pt x="600" y="258"/>
                  </a:lnTo>
                  <a:lnTo>
                    <a:pt x="600" y="260"/>
                  </a:lnTo>
                  <a:lnTo>
                    <a:pt x="600" y="260"/>
                  </a:lnTo>
                  <a:lnTo>
                    <a:pt x="600" y="262"/>
                  </a:lnTo>
                  <a:lnTo>
                    <a:pt x="600" y="262"/>
                  </a:lnTo>
                  <a:lnTo>
                    <a:pt x="600" y="264"/>
                  </a:lnTo>
                  <a:lnTo>
                    <a:pt x="602" y="264"/>
                  </a:lnTo>
                  <a:lnTo>
                    <a:pt x="602" y="266"/>
                  </a:lnTo>
                  <a:lnTo>
                    <a:pt x="604" y="266"/>
                  </a:lnTo>
                  <a:lnTo>
                    <a:pt x="604" y="268"/>
                  </a:lnTo>
                  <a:lnTo>
                    <a:pt x="604" y="268"/>
                  </a:lnTo>
                  <a:lnTo>
                    <a:pt x="606" y="268"/>
                  </a:lnTo>
                  <a:lnTo>
                    <a:pt x="606" y="274"/>
                  </a:lnTo>
                  <a:lnTo>
                    <a:pt x="606" y="277"/>
                  </a:lnTo>
                  <a:lnTo>
                    <a:pt x="604" y="279"/>
                  </a:lnTo>
                  <a:lnTo>
                    <a:pt x="604" y="279"/>
                  </a:lnTo>
                  <a:lnTo>
                    <a:pt x="604" y="279"/>
                  </a:lnTo>
                  <a:lnTo>
                    <a:pt x="604" y="279"/>
                  </a:lnTo>
                  <a:lnTo>
                    <a:pt x="602" y="279"/>
                  </a:lnTo>
                  <a:lnTo>
                    <a:pt x="602" y="279"/>
                  </a:lnTo>
                  <a:lnTo>
                    <a:pt x="602" y="279"/>
                  </a:lnTo>
                  <a:lnTo>
                    <a:pt x="602" y="281"/>
                  </a:lnTo>
                  <a:lnTo>
                    <a:pt x="602" y="281"/>
                  </a:lnTo>
                  <a:lnTo>
                    <a:pt x="604" y="281"/>
                  </a:lnTo>
                  <a:lnTo>
                    <a:pt x="604" y="283"/>
                  </a:lnTo>
                  <a:lnTo>
                    <a:pt x="604" y="283"/>
                  </a:lnTo>
                  <a:lnTo>
                    <a:pt x="604" y="283"/>
                  </a:lnTo>
                  <a:lnTo>
                    <a:pt x="602" y="283"/>
                  </a:lnTo>
                  <a:lnTo>
                    <a:pt x="602" y="285"/>
                  </a:lnTo>
                  <a:lnTo>
                    <a:pt x="602" y="285"/>
                  </a:lnTo>
                  <a:lnTo>
                    <a:pt x="602" y="285"/>
                  </a:lnTo>
                  <a:lnTo>
                    <a:pt x="604" y="285"/>
                  </a:lnTo>
                  <a:lnTo>
                    <a:pt x="604" y="285"/>
                  </a:lnTo>
                  <a:lnTo>
                    <a:pt x="604" y="285"/>
                  </a:lnTo>
                  <a:lnTo>
                    <a:pt x="606" y="285"/>
                  </a:lnTo>
                  <a:lnTo>
                    <a:pt x="608" y="287"/>
                  </a:lnTo>
                  <a:lnTo>
                    <a:pt x="608" y="287"/>
                  </a:lnTo>
                  <a:lnTo>
                    <a:pt x="608" y="285"/>
                  </a:lnTo>
                  <a:lnTo>
                    <a:pt x="610" y="285"/>
                  </a:lnTo>
                  <a:lnTo>
                    <a:pt x="610" y="287"/>
                  </a:lnTo>
                  <a:lnTo>
                    <a:pt x="610" y="287"/>
                  </a:lnTo>
                  <a:lnTo>
                    <a:pt x="610" y="287"/>
                  </a:lnTo>
                  <a:lnTo>
                    <a:pt x="610" y="289"/>
                  </a:lnTo>
                  <a:lnTo>
                    <a:pt x="612" y="293"/>
                  </a:lnTo>
                  <a:lnTo>
                    <a:pt x="612" y="293"/>
                  </a:lnTo>
                  <a:lnTo>
                    <a:pt x="612" y="295"/>
                  </a:lnTo>
                  <a:lnTo>
                    <a:pt x="612" y="295"/>
                  </a:lnTo>
                  <a:lnTo>
                    <a:pt x="612" y="295"/>
                  </a:lnTo>
                  <a:lnTo>
                    <a:pt x="612" y="301"/>
                  </a:lnTo>
                  <a:lnTo>
                    <a:pt x="612" y="301"/>
                  </a:lnTo>
                  <a:lnTo>
                    <a:pt x="610" y="301"/>
                  </a:lnTo>
                  <a:lnTo>
                    <a:pt x="608" y="303"/>
                  </a:lnTo>
                  <a:lnTo>
                    <a:pt x="608" y="305"/>
                  </a:lnTo>
                  <a:lnTo>
                    <a:pt x="608" y="305"/>
                  </a:lnTo>
                  <a:lnTo>
                    <a:pt x="608" y="305"/>
                  </a:lnTo>
                  <a:lnTo>
                    <a:pt x="608" y="305"/>
                  </a:lnTo>
                  <a:lnTo>
                    <a:pt x="608" y="307"/>
                  </a:lnTo>
                  <a:lnTo>
                    <a:pt x="610" y="307"/>
                  </a:lnTo>
                  <a:lnTo>
                    <a:pt x="608" y="307"/>
                  </a:lnTo>
                  <a:lnTo>
                    <a:pt x="608" y="309"/>
                  </a:lnTo>
                  <a:lnTo>
                    <a:pt x="608" y="309"/>
                  </a:lnTo>
                  <a:lnTo>
                    <a:pt x="608" y="309"/>
                  </a:lnTo>
                  <a:lnTo>
                    <a:pt x="608" y="309"/>
                  </a:lnTo>
                  <a:lnTo>
                    <a:pt x="608" y="311"/>
                  </a:lnTo>
                  <a:lnTo>
                    <a:pt x="608" y="313"/>
                  </a:lnTo>
                  <a:lnTo>
                    <a:pt x="608" y="313"/>
                  </a:lnTo>
                  <a:lnTo>
                    <a:pt x="608" y="313"/>
                  </a:lnTo>
                  <a:lnTo>
                    <a:pt x="606" y="315"/>
                  </a:lnTo>
                  <a:lnTo>
                    <a:pt x="606" y="315"/>
                  </a:lnTo>
                  <a:lnTo>
                    <a:pt x="606" y="318"/>
                  </a:lnTo>
                  <a:lnTo>
                    <a:pt x="606" y="320"/>
                  </a:lnTo>
                  <a:lnTo>
                    <a:pt x="606" y="322"/>
                  </a:lnTo>
                  <a:lnTo>
                    <a:pt x="606" y="322"/>
                  </a:lnTo>
                  <a:lnTo>
                    <a:pt x="606" y="322"/>
                  </a:lnTo>
                  <a:lnTo>
                    <a:pt x="606" y="322"/>
                  </a:lnTo>
                  <a:lnTo>
                    <a:pt x="604" y="322"/>
                  </a:lnTo>
                  <a:lnTo>
                    <a:pt x="604" y="324"/>
                  </a:lnTo>
                  <a:lnTo>
                    <a:pt x="604" y="324"/>
                  </a:lnTo>
                  <a:lnTo>
                    <a:pt x="604" y="326"/>
                  </a:lnTo>
                  <a:lnTo>
                    <a:pt x="604" y="326"/>
                  </a:lnTo>
                  <a:lnTo>
                    <a:pt x="604" y="326"/>
                  </a:lnTo>
                  <a:lnTo>
                    <a:pt x="602" y="326"/>
                  </a:lnTo>
                  <a:lnTo>
                    <a:pt x="602" y="326"/>
                  </a:lnTo>
                  <a:lnTo>
                    <a:pt x="602" y="326"/>
                  </a:lnTo>
                  <a:lnTo>
                    <a:pt x="602" y="328"/>
                  </a:lnTo>
                  <a:lnTo>
                    <a:pt x="602" y="328"/>
                  </a:lnTo>
                  <a:lnTo>
                    <a:pt x="602" y="328"/>
                  </a:lnTo>
                  <a:lnTo>
                    <a:pt x="602" y="328"/>
                  </a:lnTo>
                  <a:lnTo>
                    <a:pt x="602" y="330"/>
                  </a:lnTo>
                  <a:lnTo>
                    <a:pt x="602" y="330"/>
                  </a:lnTo>
                  <a:lnTo>
                    <a:pt x="600" y="332"/>
                  </a:lnTo>
                  <a:lnTo>
                    <a:pt x="600" y="334"/>
                  </a:lnTo>
                  <a:lnTo>
                    <a:pt x="600" y="334"/>
                  </a:lnTo>
                  <a:lnTo>
                    <a:pt x="598" y="336"/>
                  </a:lnTo>
                  <a:lnTo>
                    <a:pt x="600" y="336"/>
                  </a:lnTo>
                  <a:lnTo>
                    <a:pt x="600" y="338"/>
                  </a:lnTo>
                  <a:lnTo>
                    <a:pt x="600" y="340"/>
                  </a:lnTo>
                  <a:lnTo>
                    <a:pt x="602" y="340"/>
                  </a:lnTo>
                  <a:lnTo>
                    <a:pt x="602" y="340"/>
                  </a:lnTo>
                  <a:lnTo>
                    <a:pt x="606" y="344"/>
                  </a:lnTo>
                  <a:lnTo>
                    <a:pt x="608" y="344"/>
                  </a:lnTo>
                  <a:lnTo>
                    <a:pt x="608" y="344"/>
                  </a:lnTo>
                  <a:lnTo>
                    <a:pt x="608" y="346"/>
                  </a:lnTo>
                  <a:lnTo>
                    <a:pt x="608" y="346"/>
                  </a:lnTo>
                  <a:lnTo>
                    <a:pt x="608" y="346"/>
                  </a:lnTo>
                  <a:lnTo>
                    <a:pt x="608" y="346"/>
                  </a:lnTo>
                  <a:lnTo>
                    <a:pt x="608" y="348"/>
                  </a:lnTo>
                  <a:lnTo>
                    <a:pt x="606" y="348"/>
                  </a:lnTo>
                  <a:lnTo>
                    <a:pt x="606" y="348"/>
                  </a:lnTo>
                  <a:lnTo>
                    <a:pt x="608" y="348"/>
                  </a:lnTo>
                  <a:lnTo>
                    <a:pt x="608" y="348"/>
                  </a:lnTo>
                  <a:lnTo>
                    <a:pt x="608" y="350"/>
                  </a:lnTo>
                  <a:lnTo>
                    <a:pt x="610" y="350"/>
                  </a:lnTo>
                  <a:lnTo>
                    <a:pt x="610" y="350"/>
                  </a:lnTo>
                  <a:lnTo>
                    <a:pt x="610" y="350"/>
                  </a:lnTo>
                  <a:lnTo>
                    <a:pt x="610" y="352"/>
                  </a:lnTo>
                  <a:lnTo>
                    <a:pt x="610" y="352"/>
                  </a:lnTo>
                  <a:lnTo>
                    <a:pt x="610" y="352"/>
                  </a:lnTo>
                  <a:lnTo>
                    <a:pt x="610" y="354"/>
                  </a:lnTo>
                  <a:lnTo>
                    <a:pt x="610" y="354"/>
                  </a:lnTo>
                  <a:lnTo>
                    <a:pt x="612" y="354"/>
                  </a:lnTo>
                  <a:lnTo>
                    <a:pt x="612" y="356"/>
                  </a:lnTo>
                  <a:lnTo>
                    <a:pt x="612" y="361"/>
                  </a:lnTo>
                  <a:lnTo>
                    <a:pt x="602" y="358"/>
                  </a:lnTo>
                  <a:lnTo>
                    <a:pt x="600" y="358"/>
                  </a:lnTo>
                  <a:lnTo>
                    <a:pt x="600" y="356"/>
                  </a:lnTo>
                  <a:lnTo>
                    <a:pt x="600" y="354"/>
                  </a:lnTo>
                  <a:lnTo>
                    <a:pt x="598" y="352"/>
                  </a:lnTo>
                  <a:lnTo>
                    <a:pt x="594" y="350"/>
                  </a:lnTo>
                  <a:lnTo>
                    <a:pt x="594" y="348"/>
                  </a:lnTo>
                  <a:lnTo>
                    <a:pt x="594" y="348"/>
                  </a:lnTo>
                  <a:lnTo>
                    <a:pt x="594" y="346"/>
                  </a:lnTo>
                  <a:lnTo>
                    <a:pt x="594" y="346"/>
                  </a:lnTo>
                  <a:lnTo>
                    <a:pt x="594" y="344"/>
                  </a:lnTo>
                  <a:lnTo>
                    <a:pt x="594" y="344"/>
                  </a:lnTo>
                  <a:lnTo>
                    <a:pt x="594" y="344"/>
                  </a:lnTo>
                  <a:lnTo>
                    <a:pt x="592" y="342"/>
                  </a:lnTo>
                  <a:lnTo>
                    <a:pt x="592" y="342"/>
                  </a:lnTo>
                  <a:lnTo>
                    <a:pt x="588" y="344"/>
                  </a:lnTo>
                  <a:lnTo>
                    <a:pt x="588" y="344"/>
                  </a:lnTo>
                  <a:lnTo>
                    <a:pt x="586" y="342"/>
                  </a:lnTo>
                  <a:lnTo>
                    <a:pt x="586" y="342"/>
                  </a:lnTo>
                  <a:lnTo>
                    <a:pt x="586" y="342"/>
                  </a:lnTo>
                  <a:lnTo>
                    <a:pt x="583" y="340"/>
                  </a:lnTo>
                  <a:lnTo>
                    <a:pt x="583" y="340"/>
                  </a:lnTo>
                  <a:lnTo>
                    <a:pt x="583" y="338"/>
                  </a:lnTo>
                  <a:lnTo>
                    <a:pt x="581" y="338"/>
                  </a:lnTo>
                  <a:lnTo>
                    <a:pt x="573" y="336"/>
                  </a:lnTo>
                  <a:lnTo>
                    <a:pt x="571" y="336"/>
                  </a:lnTo>
                  <a:lnTo>
                    <a:pt x="571" y="336"/>
                  </a:lnTo>
                  <a:lnTo>
                    <a:pt x="571" y="336"/>
                  </a:lnTo>
                  <a:lnTo>
                    <a:pt x="569" y="334"/>
                  </a:lnTo>
                  <a:lnTo>
                    <a:pt x="567" y="334"/>
                  </a:lnTo>
                  <a:lnTo>
                    <a:pt x="565" y="334"/>
                  </a:lnTo>
                  <a:lnTo>
                    <a:pt x="565" y="334"/>
                  </a:lnTo>
                  <a:lnTo>
                    <a:pt x="561" y="334"/>
                  </a:lnTo>
                  <a:lnTo>
                    <a:pt x="559" y="332"/>
                  </a:lnTo>
                  <a:lnTo>
                    <a:pt x="557" y="332"/>
                  </a:lnTo>
                  <a:lnTo>
                    <a:pt x="555" y="330"/>
                  </a:lnTo>
                  <a:lnTo>
                    <a:pt x="553" y="328"/>
                  </a:lnTo>
                  <a:lnTo>
                    <a:pt x="551" y="326"/>
                  </a:lnTo>
                  <a:lnTo>
                    <a:pt x="549" y="324"/>
                  </a:lnTo>
                  <a:lnTo>
                    <a:pt x="547" y="324"/>
                  </a:lnTo>
                  <a:lnTo>
                    <a:pt x="545" y="322"/>
                  </a:lnTo>
                  <a:lnTo>
                    <a:pt x="528" y="326"/>
                  </a:lnTo>
                  <a:lnTo>
                    <a:pt x="526" y="326"/>
                  </a:lnTo>
                  <a:lnTo>
                    <a:pt x="520" y="324"/>
                  </a:lnTo>
                  <a:lnTo>
                    <a:pt x="518" y="326"/>
                  </a:lnTo>
                  <a:lnTo>
                    <a:pt x="516" y="328"/>
                  </a:lnTo>
                  <a:lnTo>
                    <a:pt x="514" y="328"/>
                  </a:lnTo>
                  <a:lnTo>
                    <a:pt x="512" y="326"/>
                  </a:lnTo>
                  <a:lnTo>
                    <a:pt x="512" y="326"/>
                  </a:lnTo>
                  <a:lnTo>
                    <a:pt x="510" y="326"/>
                  </a:lnTo>
                  <a:lnTo>
                    <a:pt x="506" y="326"/>
                  </a:lnTo>
                  <a:lnTo>
                    <a:pt x="502" y="326"/>
                  </a:lnTo>
                  <a:lnTo>
                    <a:pt x="500" y="326"/>
                  </a:lnTo>
                  <a:lnTo>
                    <a:pt x="497" y="326"/>
                  </a:lnTo>
                  <a:lnTo>
                    <a:pt x="497" y="328"/>
                  </a:lnTo>
                  <a:lnTo>
                    <a:pt x="497" y="328"/>
                  </a:lnTo>
                  <a:lnTo>
                    <a:pt x="495" y="330"/>
                  </a:lnTo>
                  <a:lnTo>
                    <a:pt x="495" y="332"/>
                  </a:lnTo>
                  <a:lnTo>
                    <a:pt x="495" y="332"/>
                  </a:lnTo>
                  <a:lnTo>
                    <a:pt x="495" y="332"/>
                  </a:lnTo>
                  <a:lnTo>
                    <a:pt x="493" y="334"/>
                  </a:lnTo>
                  <a:lnTo>
                    <a:pt x="491" y="334"/>
                  </a:lnTo>
                  <a:lnTo>
                    <a:pt x="489" y="334"/>
                  </a:lnTo>
                  <a:lnTo>
                    <a:pt x="487" y="334"/>
                  </a:lnTo>
                  <a:lnTo>
                    <a:pt x="481" y="332"/>
                  </a:lnTo>
                  <a:lnTo>
                    <a:pt x="481" y="332"/>
                  </a:lnTo>
                  <a:lnTo>
                    <a:pt x="481" y="332"/>
                  </a:lnTo>
                  <a:lnTo>
                    <a:pt x="479" y="330"/>
                  </a:lnTo>
                  <a:lnTo>
                    <a:pt x="469" y="326"/>
                  </a:lnTo>
                  <a:lnTo>
                    <a:pt x="465" y="324"/>
                  </a:lnTo>
                  <a:lnTo>
                    <a:pt x="461" y="322"/>
                  </a:lnTo>
                  <a:lnTo>
                    <a:pt x="461" y="320"/>
                  </a:lnTo>
                  <a:lnTo>
                    <a:pt x="461" y="320"/>
                  </a:lnTo>
                  <a:lnTo>
                    <a:pt x="459" y="320"/>
                  </a:lnTo>
                  <a:lnTo>
                    <a:pt x="450" y="315"/>
                  </a:lnTo>
                  <a:lnTo>
                    <a:pt x="450" y="315"/>
                  </a:lnTo>
                  <a:lnTo>
                    <a:pt x="448" y="313"/>
                  </a:lnTo>
                  <a:lnTo>
                    <a:pt x="448" y="313"/>
                  </a:lnTo>
                  <a:lnTo>
                    <a:pt x="448" y="313"/>
                  </a:lnTo>
                  <a:lnTo>
                    <a:pt x="440" y="313"/>
                  </a:lnTo>
                  <a:lnTo>
                    <a:pt x="428" y="313"/>
                  </a:lnTo>
                  <a:lnTo>
                    <a:pt x="414" y="313"/>
                  </a:lnTo>
                  <a:lnTo>
                    <a:pt x="399" y="313"/>
                  </a:lnTo>
                  <a:lnTo>
                    <a:pt x="387" y="313"/>
                  </a:lnTo>
                  <a:lnTo>
                    <a:pt x="373" y="313"/>
                  </a:lnTo>
                  <a:lnTo>
                    <a:pt x="358" y="313"/>
                  </a:lnTo>
                  <a:lnTo>
                    <a:pt x="344" y="313"/>
                  </a:lnTo>
                  <a:lnTo>
                    <a:pt x="332" y="313"/>
                  </a:lnTo>
                  <a:lnTo>
                    <a:pt x="317" y="313"/>
                  </a:lnTo>
                  <a:lnTo>
                    <a:pt x="303" y="313"/>
                  </a:lnTo>
                  <a:lnTo>
                    <a:pt x="289" y="313"/>
                  </a:lnTo>
                  <a:lnTo>
                    <a:pt x="276" y="313"/>
                  </a:lnTo>
                  <a:lnTo>
                    <a:pt x="262" y="313"/>
                  </a:lnTo>
                  <a:lnTo>
                    <a:pt x="248" y="313"/>
                  </a:lnTo>
                  <a:lnTo>
                    <a:pt x="233" y="313"/>
                  </a:lnTo>
                  <a:lnTo>
                    <a:pt x="221" y="313"/>
                  </a:lnTo>
                  <a:lnTo>
                    <a:pt x="207" y="313"/>
                  </a:lnTo>
                  <a:lnTo>
                    <a:pt x="192" y="311"/>
                  </a:lnTo>
                  <a:lnTo>
                    <a:pt x="180" y="311"/>
                  </a:lnTo>
                  <a:lnTo>
                    <a:pt x="166" y="311"/>
                  </a:lnTo>
                  <a:lnTo>
                    <a:pt x="151" y="311"/>
                  </a:lnTo>
                  <a:lnTo>
                    <a:pt x="137" y="311"/>
                  </a:lnTo>
                  <a:lnTo>
                    <a:pt x="125" y="311"/>
                  </a:lnTo>
                  <a:lnTo>
                    <a:pt x="110" y="311"/>
                  </a:lnTo>
                  <a:lnTo>
                    <a:pt x="96" y="309"/>
                  </a:lnTo>
                  <a:lnTo>
                    <a:pt x="82" y="309"/>
                  </a:lnTo>
                  <a:lnTo>
                    <a:pt x="69" y="309"/>
                  </a:lnTo>
                  <a:lnTo>
                    <a:pt x="55" y="309"/>
                  </a:lnTo>
                  <a:lnTo>
                    <a:pt x="41" y="309"/>
                  </a:lnTo>
                  <a:lnTo>
                    <a:pt x="26" y="309"/>
                  </a:lnTo>
                  <a:lnTo>
                    <a:pt x="14" y="307"/>
                  </a:lnTo>
                  <a:lnTo>
                    <a:pt x="0" y="307"/>
                  </a:lnTo>
                  <a:lnTo>
                    <a:pt x="0" y="295"/>
                  </a:lnTo>
                  <a:lnTo>
                    <a:pt x="0" y="281"/>
                  </a:lnTo>
                  <a:lnTo>
                    <a:pt x="2" y="268"/>
                  </a:lnTo>
                  <a:lnTo>
                    <a:pt x="2" y="254"/>
                  </a:lnTo>
                  <a:lnTo>
                    <a:pt x="2" y="242"/>
                  </a:lnTo>
                  <a:lnTo>
                    <a:pt x="2" y="227"/>
                  </a:lnTo>
                  <a:lnTo>
                    <a:pt x="4" y="215"/>
                  </a:lnTo>
                  <a:lnTo>
                    <a:pt x="4" y="203"/>
                  </a:lnTo>
                  <a:lnTo>
                    <a:pt x="4" y="188"/>
                  </a:lnTo>
                  <a:lnTo>
                    <a:pt x="4" y="176"/>
                  </a:lnTo>
                  <a:lnTo>
                    <a:pt x="4" y="162"/>
                  </a:lnTo>
                  <a:lnTo>
                    <a:pt x="6" y="149"/>
                  </a:lnTo>
                  <a:lnTo>
                    <a:pt x="6" y="137"/>
                  </a:lnTo>
                  <a:lnTo>
                    <a:pt x="6" y="123"/>
                  </a:lnTo>
                  <a:lnTo>
                    <a:pt x="6" y="111"/>
                  </a:lnTo>
                  <a:lnTo>
                    <a:pt x="6" y="96"/>
                  </a:lnTo>
                  <a:lnTo>
                    <a:pt x="10" y="98"/>
                  </a:lnTo>
                  <a:lnTo>
                    <a:pt x="10" y="96"/>
                  </a:lnTo>
                  <a:lnTo>
                    <a:pt x="10" y="90"/>
                  </a:lnTo>
                  <a:lnTo>
                    <a:pt x="10" y="78"/>
                  </a:lnTo>
                  <a:lnTo>
                    <a:pt x="10" y="67"/>
                  </a:lnTo>
                  <a:lnTo>
                    <a:pt x="10" y="55"/>
                  </a:lnTo>
                  <a:lnTo>
                    <a:pt x="12" y="45"/>
                  </a:lnTo>
                  <a:lnTo>
                    <a:pt x="12" y="33"/>
                  </a:lnTo>
                  <a:lnTo>
                    <a:pt x="12" y="22"/>
                  </a:lnTo>
                  <a:lnTo>
                    <a:pt x="12" y="10"/>
                  </a:lnTo>
                  <a:lnTo>
                    <a:pt x="12" y="0"/>
                  </a:lnTo>
                  <a:lnTo>
                    <a:pt x="31" y="0"/>
                  </a:lnTo>
                  <a:lnTo>
                    <a:pt x="49" y="0"/>
                  </a:lnTo>
                  <a:lnTo>
                    <a:pt x="67" y="0"/>
                  </a:lnTo>
                  <a:lnTo>
                    <a:pt x="86" y="2"/>
                  </a:lnTo>
                  <a:lnTo>
                    <a:pt x="104" y="2"/>
                  </a:lnTo>
                  <a:lnTo>
                    <a:pt x="123" y="2"/>
                  </a:lnTo>
                  <a:lnTo>
                    <a:pt x="139" y="2"/>
                  </a:lnTo>
                  <a:lnTo>
                    <a:pt x="157" y="4"/>
                  </a:lnTo>
                  <a:lnTo>
                    <a:pt x="176" y="4"/>
                  </a:lnTo>
                  <a:lnTo>
                    <a:pt x="194" y="4"/>
                  </a:lnTo>
                  <a:lnTo>
                    <a:pt x="213" y="4"/>
                  </a:lnTo>
                  <a:lnTo>
                    <a:pt x="231" y="4"/>
                  </a:lnTo>
                  <a:lnTo>
                    <a:pt x="250" y="4"/>
                  </a:lnTo>
                  <a:lnTo>
                    <a:pt x="268" y="4"/>
                  </a:lnTo>
                  <a:lnTo>
                    <a:pt x="284" y="4"/>
                  </a:lnTo>
                  <a:lnTo>
                    <a:pt x="303" y="4"/>
                  </a:lnTo>
                  <a:lnTo>
                    <a:pt x="321" y="4"/>
                  </a:lnTo>
                  <a:lnTo>
                    <a:pt x="340" y="4"/>
                  </a:lnTo>
                  <a:lnTo>
                    <a:pt x="358" y="4"/>
                  </a:lnTo>
                  <a:lnTo>
                    <a:pt x="377" y="4"/>
                  </a:lnTo>
                  <a:lnTo>
                    <a:pt x="395" y="4"/>
                  </a:lnTo>
                  <a:lnTo>
                    <a:pt x="414" y="4"/>
                  </a:lnTo>
                  <a:lnTo>
                    <a:pt x="432" y="4"/>
                  </a:lnTo>
                  <a:lnTo>
                    <a:pt x="448" y="4"/>
                  </a:lnTo>
                  <a:lnTo>
                    <a:pt x="467" y="4"/>
                  </a:lnTo>
                  <a:lnTo>
                    <a:pt x="485" y="4"/>
                  </a:lnTo>
                  <a:lnTo>
                    <a:pt x="504" y="2"/>
                  </a:lnTo>
                  <a:lnTo>
                    <a:pt x="522" y="2"/>
                  </a:lnTo>
                  <a:lnTo>
                    <a:pt x="540" y="2"/>
                  </a:lnTo>
                  <a:lnTo>
                    <a:pt x="559" y="2"/>
                  </a:lnTo>
                  <a:lnTo>
                    <a:pt x="577" y="2"/>
                  </a:lnTo>
                  <a:lnTo>
                    <a:pt x="596" y="0"/>
                  </a:lnTo>
                  <a:lnTo>
                    <a:pt x="596" y="0"/>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SD</a:t>
              </a:r>
            </a:p>
          </p:txBody>
        </p:sp>
        <p:sp>
          <p:nvSpPr>
            <p:cNvPr id="305" name="Freeform 15">
              <a:extLst>
                <a:ext uri="{FF2B5EF4-FFF2-40B4-BE49-F238E27FC236}">
                  <a16:creationId xmlns:a16="http://schemas.microsoft.com/office/drawing/2014/main" id="{09406C69-D889-3C50-566F-DC4368DD2D73}"/>
                </a:ext>
              </a:extLst>
            </p:cNvPr>
            <p:cNvSpPr>
              <a:spLocks noEditPoints="1"/>
            </p:cNvSpPr>
            <p:nvPr/>
          </p:nvSpPr>
          <p:spPr bwMode="auto">
            <a:xfrm>
              <a:off x="4206" y="1500"/>
              <a:ext cx="438" cy="328"/>
            </a:xfrm>
            <a:custGeom>
              <a:avLst/>
              <a:gdLst>
                <a:gd name="T0" fmla="*/ 387 w 438"/>
                <a:gd name="T1" fmla="*/ 193 h 328"/>
                <a:gd name="T2" fmla="*/ 410 w 438"/>
                <a:gd name="T3" fmla="*/ 74 h 328"/>
                <a:gd name="T4" fmla="*/ 324 w 438"/>
                <a:gd name="T5" fmla="*/ 15 h 328"/>
                <a:gd name="T6" fmla="*/ 272 w 438"/>
                <a:gd name="T7" fmla="*/ 23 h 328"/>
                <a:gd name="T8" fmla="*/ 223 w 438"/>
                <a:gd name="T9" fmla="*/ 29 h 328"/>
                <a:gd name="T10" fmla="*/ 205 w 438"/>
                <a:gd name="T11" fmla="*/ 2 h 328"/>
                <a:gd name="T12" fmla="*/ 197 w 438"/>
                <a:gd name="T13" fmla="*/ 6 h 328"/>
                <a:gd name="T14" fmla="*/ 195 w 438"/>
                <a:gd name="T15" fmla="*/ 0 h 328"/>
                <a:gd name="T16" fmla="*/ 125 w 438"/>
                <a:gd name="T17" fmla="*/ 6 h 328"/>
                <a:gd name="T18" fmla="*/ 78 w 438"/>
                <a:gd name="T19" fmla="*/ 12 h 328"/>
                <a:gd name="T20" fmla="*/ 74 w 438"/>
                <a:gd name="T21" fmla="*/ 17 h 328"/>
                <a:gd name="T22" fmla="*/ 57 w 438"/>
                <a:gd name="T23" fmla="*/ 25 h 328"/>
                <a:gd name="T24" fmla="*/ 49 w 438"/>
                <a:gd name="T25" fmla="*/ 31 h 328"/>
                <a:gd name="T26" fmla="*/ 16 w 438"/>
                <a:gd name="T27" fmla="*/ 47 h 328"/>
                <a:gd name="T28" fmla="*/ 4 w 438"/>
                <a:gd name="T29" fmla="*/ 66 h 328"/>
                <a:gd name="T30" fmla="*/ 12 w 438"/>
                <a:gd name="T31" fmla="*/ 86 h 328"/>
                <a:gd name="T32" fmla="*/ 35 w 438"/>
                <a:gd name="T33" fmla="*/ 99 h 328"/>
                <a:gd name="T34" fmla="*/ 66 w 438"/>
                <a:gd name="T35" fmla="*/ 127 h 328"/>
                <a:gd name="T36" fmla="*/ 80 w 438"/>
                <a:gd name="T37" fmla="*/ 142 h 328"/>
                <a:gd name="T38" fmla="*/ 102 w 438"/>
                <a:gd name="T39" fmla="*/ 158 h 328"/>
                <a:gd name="T40" fmla="*/ 133 w 438"/>
                <a:gd name="T41" fmla="*/ 181 h 328"/>
                <a:gd name="T42" fmla="*/ 147 w 438"/>
                <a:gd name="T43" fmla="*/ 199 h 328"/>
                <a:gd name="T44" fmla="*/ 158 w 438"/>
                <a:gd name="T45" fmla="*/ 207 h 328"/>
                <a:gd name="T46" fmla="*/ 168 w 438"/>
                <a:gd name="T47" fmla="*/ 221 h 328"/>
                <a:gd name="T48" fmla="*/ 195 w 438"/>
                <a:gd name="T49" fmla="*/ 236 h 328"/>
                <a:gd name="T50" fmla="*/ 207 w 438"/>
                <a:gd name="T51" fmla="*/ 262 h 328"/>
                <a:gd name="T52" fmla="*/ 209 w 438"/>
                <a:gd name="T53" fmla="*/ 273 h 328"/>
                <a:gd name="T54" fmla="*/ 223 w 438"/>
                <a:gd name="T55" fmla="*/ 281 h 328"/>
                <a:gd name="T56" fmla="*/ 238 w 438"/>
                <a:gd name="T57" fmla="*/ 299 h 328"/>
                <a:gd name="T58" fmla="*/ 240 w 438"/>
                <a:gd name="T59" fmla="*/ 316 h 328"/>
                <a:gd name="T60" fmla="*/ 248 w 438"/>
                <a:gd name="T61" fmla="*/ 326 h 328"/>
                <a:gd name="T62" fmla="*/ 266 w 438"/>
                <a:gd name="T63" fmla="*/ 326 h 328"/>
                <a:gd name="T64" fmla="*/ 272 w 438"/>
                <a:gd name="T65" fmla="*/ 303 h 328"/>
                <a:gd name="T66" fmla="*/ 277 w 438"/>
                <a:gd name="T67" fmla="*/ 301 h 328"/>
                <a:gd name="T68" fmla="*/ 264 w 438"/>
                <a:gd name="T69" fmla="*/ 279 h 328"/>
                <a:gd name="T70" fmla="*/ 268 w 438"/>
                <a:gd name="T71" fmla="*/ 279 h 328"/>
                <a:gd name="T72" fmla="*/ 281 w 438"/>
                <a:gd name="T73" fmla="*/ 291 h 328"/>
                <a:gd name="T74" fmla="*/ 281 w 438"/>
                <a:gd name="T75" fmla="*/ 281 h 328"/>
                <a:gd name="T76" fmla="*/ 293 w 438"/>
                <a:gd name="T77" fmla="*/ 297 h 328"/>
                <a:gd name="T78" fmla="*/ 301 w 438"/>
                <a:gd name="T79" fmla="*/ 283 h 328"/>
                <a:gd name="T80" fmla="*/ 293 w 438"/>
                <a:gd name="T81" fmla="*/ 287 h 328"/>
                <a:gd name="T82" fmla="*/ 295 w 438"/>
                <a:gd name="T83" fmla="*/ 275 h 328"/>
                <a:gd name="T84" fmla="*/ 277 w 438"/>
                <a:gd name="T85" fmla="*/ 273 h 328"/>
                <a:gd name="T86" fmla="*/ 291 w 438"/>
                <a:gd name="T87" fmla="*/ 269 h 328"/>
                <a:gd name="T88" fmla="*/ 305 w 438"/>
                <a:gd name="T89" fmla="*/ 269 h 328"/>
                <a:gd name="T90" fmla="*/ 317 w 438"/>
                <a:gd name="T91" fmla="*/ 262 h 328"/>
                <a:gd name="T92" fmla="*/ 322 w 438"/>
                <a:gd name="T93" fmla="*/ 260 h 328"/>
                <a:gd name="T94" fmla="*/ 334 w 438"/>
                <a:gd name="T95" fmla="*/ 248 h 328"/>
                <a:gd name="T96" fmla="*/ 342 w 438"/>
                <a:gd name="T97" fmla="*/ 238 h 328"/>
                <a:gd name="T98" fmla="*/ 338 w 438"/>
                <a:gd name="T99" fmla="*/ 230 h 328"/>
                <a:gd name="T100" fmla="*/ 340 w 438"/>
                <a:gd name="T101" fmla="*/ 232 h 328"/>
                <a:gd name="T102" fmla="*/ 358 w 438"/>
                <a:gd name="T103" fmla="*/ 221 h 328"/>
                <a:gd name="T104" fmla="*/ 367 w 438"/>
                <a:gd name="T105" fmla="*/ 211 h 328"/>
                <a:gd name="T106" fmla="*/ 371 w 438"/>
                <a:gd name="T107" fmla="*/ 201 h 328"/>
                <a:gd name="T108" fmla="*/ 383 w 438"/>
                <a:gd name="T109" fmla="*/ 195 h 328"/>
                <a:gd name="T110" fmla="*/ 391 w 438"/>
                <a:gd name="T111" fmla="*/ 187 h 328"/>
                <a:gd name="T112" fmla="*/ 393 w 438"/>
                <a:gd name="T113" fmla="*/ 183 h 328"/>
                <a:gd name="T114" fmla="*/ 391 w 438"/>
                <a:gd name="T115" fmla="*/ 172 h 328"/>
                <a:gd name="T116" fmla="*/ 391 w 438"/>
                <a:gd name="T117" fmla="*/ 154 h 328"/>
                <a:gd name="T118" fmla="*/ 397 w 438"/>
                <a:gd name="T119" fmla="*/ 174 h 328"/>
                <a:gd name="T120" fmla="*/ 434 w 438"/>
                <a:gd name="T121" fmla="*/ 99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 h="328">
                  <a:moveTo>
                    <a:pt x="385" y="193"/>
                  </a:moveTo>
                  <a:lnTo>
                    <a:pt x="385" y="195"/>
                  </a:lnTo>
                  <a:lnTo>
                    <a:pt x="385" y="197"/>
                  </a:lnTo>
                  <a:lnTo>
                    <a:pt x="383" y="199"/>
                  </a:lnTo>
                  <a:lnTo>
                    <a:pt x="385" y="201"/>
                  </a:lnTo>
                  <a:lnTo>
                    <a:pt x="385" y="201"/>
                  </a:lnTo>
                  <a:lnTo>
                    <a:pt x="385" y="195"/>
                  </a:lnTo>
                  <a:lnTo>
                    <a:pt x="385" y="195"/>
                  </a:lnTo>
                  <a:lnTo>
                    <a:pt x="387" y="195"/>
                  </a:lnTo>
                  <a:lnTo>
                    <a:pt x="387" y="193"/>
                  </a:lnTo>
                  <a:lnTo>
                    <a:pt x="387" y="193"/>
                  </a:lnTo>
                  <a:lnTo>
                    <a:pt x="385" y="193"/>
                  </a:lnTo>
                  <a:close/>
                  <a:moveTo>
                    <a:pt x="436" y="96"/>
                  </a:moveTo>
                  <a:lnTo>
                    <a:pt x="436" y="96"/>
                  </a:lnTo>
                  <a:lnTo>
                    <a:pt x="436" y="96"/>
                  </a:lnTo>
                  <a:lnTo>
                    <a:pt x="434" y="96"/>
                  </a:lnTo>
                  <a:lnTo>
                    <a:pt x="434" y="94"/>
                  </a:lnTo>
                  <a:lnTo>
                    <a:pt x="436" y="94"/>
                  </a:lnTo>
                  <a:lnTo>
                    <a:pt x="430" y="88"/>
                  </a:lnTo>
                  <a:lnTo>
                    <a:pt x="424" y="84"/>
                  </a:lnTo>
                  <a:lnTo>
                    <a:pt x="416" y="80"/>
                  </a:lnTo>
                  <a:lnTo>
                    <a:pt x="410" y="74"/>
                  </a:lnTo>
                  <a:lnTo>
                    <a:pt x="401" y="70"/>
                  </a:lnTo>
                  <a:lnTo>
                    <a:pt x="395" y="66"/>
                  </a:lnTo>
                  <a:lnTo>
                    <a:pt x="389" y="60"/>
                  </a:lnTo>
                  <a:lnTo>
                    <a:pt x="381" y="55"/>
                  </a:lnTo>
                  <a:lnTo>
                    <a:pt x="375" y="51"/>
                  </a:lnTo>
                  <a:lnTo>
                    <a:pt x="360" y="41"/>
                  </a:lnTo>
                  <a:lnTo>
                    <a:pt x="348" y="31"/>
                  </a:lnTo>
                  <a:lnTo>
                    <a:pt x="340" y="27"/>
                  </a:lnTo>
                  <a:lnTo>
                    <a:pt x="334" y="23"/>
                  </a:lnTo>
                  <a:lnTo>
                    <a:pt x="328" y="17"/>
                  </a:lnTo>
                  <a:lnTo>
                    <a:pt x="324" y="15"/>
                  </a:lnTo>
                  <a:lnTo>
                    <a:pt x="322" y="15"/>
                  </a:lnTo>
                  <a:lnTo>
                    <a:pt x="320" y="15"/>
                  </a:lnTo>
                  <a:lnTo>
                    <a:pt x="315" y="15"/>
                  </a:lnTo>
                  <a:lnTo>
                    <a:pt x="315" y="17"/>
                  </a:lnTo>
                  <a:lnTo>
                    <a:pt x="311" y="17"/>
                  </a:lnTo>
                  <a:lnTo>
                    <a:pt x="307" y="17"/>
                  </a:lnTo>
                  <a:lnTo>
                    <a:pt x="303" y="19"/>
                  </a:lnTo>
                  <a:lnTo>
                    <a:pt x="295" y="19"/>
                  </a:lnTo>
                  <a:lnTo>
                    <a:pt x="289" y="21"/>
                  </a:lnTo>
                  <a:lnTo>
                    <a:pt x="281" y="21"/>
                  </a:lnTo>
                  <a:lnTo>
                    <a:pt x="272" y="23"/>
                  </a:lnTo>
                  <a:lnTo>
                    <a:pt x="264" y="23"/>
                  </a:lnTo>
                  <a:lnTo>
                    <a:pt x="256" y="25"/>
                  </a:lnTo>
                  <a:lnTo>
                    <a:pt x="248" y="27"/>
                  </a:lnTo>
                  <a:lnTo>
                    <a:pt x="242" y="27"/>
                  </a:lnTo>
                  <a:lnTo>
                    <a:pt x="236" y="29"/>
                  </a:lnTo>
                  <a:lnTo>
                    <a:pt x="231" y="29"/>
                  </a:lnTo>
                  <a:lnTo>
                    <a:pt x="229" y="29"/>
                  </a:lnTo>
                  <a:lnTo>
                    <a:pt x="229" y="29"/>
                  </a:lnTo>
                  <a:lnTo>
                    <a:pt x="225" y="29"/>
                  </a:lnTo>
                  <a:lnTo>
                    <a:pt x="223" y="29"/>
                  </a:lnTo>
                  <a:lnTo>
                    <a:pt x="223" y="29"/>
                  </a:lnTo>
                  <a:lnTo>
                    <a:pt x="223" y="29"/>
                  </a:lnTo>
                  <a:lnTo>
                    <a:pt x="223" y="29"/>
                  </a:lnTo>
                  <a:lnTo>
                    <a:pt x="221" y="17"/>
                  </a:lnTo>
                  <a:lnTo>
                    <a:pt x="221" y="17"/>
                  </a:lnTo>
                  <a:lnTo>
                    <a:pt x="221" y="17"/>
                  </a:lnTo>
                  <a:lnTo>
                    <a:pt x="217" y="10"/>
                  </a:lnTo>
                  <a:lnTo>
                    <a:pt x="211" y="6"/>
                  </a:lnTo>
                  <a:lnTo>
                    <a:pt x="207" y="2"/>
                  </a:lnTo>
                  <a:lnTo>
                    <a:pt x="207" y="2"/>
                  </a:lnTo>
                  <a:lnTo>
                    <a:pt x="207" y="2"/>
                  </a:lnTo>
                  <a:lnTo>
                    <a:pt x="205" y="2"/>
                  </a:lnTo>
                  <a:lnTo>
                    <a:pt x="205" y="2"/>
                  </a:lnTo>
                  <a:lnTo>
                    <a:pt x="199" y="8"/>
                  </a:lnTo>
                  <a:lnTo>
                    <a:pt x="199" y="8"/>
                  </a:lnTo>
                  <a:lnTo>
                    <a:pt x="199" y="8"/>
                  </a:lnTo>
                  <a:lnTo>
                    <a:pt x="197" y="8"/>
                  </a:lnTo>
                  <a:lnTo>
                    <a:pt x="197" y="8"/>
                  </a:lnTo>
                  <a:lnTo>
                    <a:pt x="197" y="8"/>
                  </a:lnTo>
                  <a:lnTo>
                    <a:pt x="197" y="6"/>
                  </a:lnTo>
                  <a:lnTo>
                    <a:pt x="197" y="6"/>
                  </a:lnTo>
                  <a:lnTo>
                    <a:pt x="197" y="6"/>
                  </a:lnTo>
                  <a:lnTo>
                    <a:pt x="197" y="6"/>
                  </a:lnTo>
                  <a:lnTo>
                    <a:pt x="197" y="6"/>
                  </a:lnTo>
                  <a:lnTo>
                    <a:pt x="197" y="2"/>
                  </a:lnTo>
                  <a:lnTo>
                    <a:pt x="197" y="2"/>
                  </a:lnTo>
                  <a:lnTo>
                    <a:pt x="197" y="2"/>
                  </a:lnTo>
                  <a:lnTo>
                    <a:pt x="197" y="2"/>
                  </a:lnTo>
                  <a:lnTo>
                    <a:pt x="197" y="0"/>
                  </a:lnTo>
                  <a:lnTo>
                    <a:pt x="197" y="0"/>
                  </a:lnTo>
                  <a:lnTo>
                    <a:pt x="197" y="0"/>
                  </a:lnTo>
                  <a:lnTo>
                    <a:pt x="195" y="0"/>
                  </a:lnTo>
                  <a:lnTo>
                    <a:pt x="195" y="0"/>
                  </a:lnTo>
                  <a:lnTo>
                    <a:pt x="195" y="0"/>
                  </a:lnTo>
                  <a:lnTo>
                    <a:pt x="193" y="0"/>
                  </a:lnTo>
                  <a:lnTo>
                    <a:pt x="188" y="0"/>
                  </a:lnTo>
                  <a:lnTo>
                    <a:pt x="182" y="0"/>
                  </a:lnTo>
                  <a:lnTo>
                    <a:pt x="178" y="2"/>
                  </a:lnTo>
                  <a:lnTo>
                    <a:pt x="170" y="2"/>
                  </a:lnTo>
                  <a:lnTo>
                    <a:pt x="164" y="2"/>
                  </a:lnTo>
                  <a:lnTo>
                    <a:pt x="156" y="4"/>
                  </a:lnTo>
                  <a:lnTo>
                    <a:pt x="147" y="4"/>
                  </a:lnTo>
                  <a:lnTo>
                    <a:pt x="139" y="6"/>
                  </a:lnTo>
                  <a:lnTo>
                    <a:pt x="133" y="6"/>
                  </a:lnTo>
                  <a:lnTo>
                    <a:pt x="125" y="6"/>
                  </a:lnTo>
                  <a:lnTo>
                    <a:pt x="117" y="8"/>
                  </a:lnTo>
                  <a:lnTo>
                    <a:pt x="111" y="8"/>
                  </a:lnTo>
                  <a:lnTo>
                    <a:pt x="104" y="10"/>
                  </a:lnTo>
                  <a:lnTo>
                    <a:pt x="100" y="10"/>
                  </a:lnTo>
                  <a:lnTo>
                    <a:pt x="96" y="10"/>
                  </a:lnTo>
                  <a:lnTo>
                    <a:pt x="92" y="10"/>
                  </a:lnTo>
                  <a:lnTo>
                    <a:pt x="92" y="10"/>
                  </a:lnTo>
                  <a:lnTo>
                    <a:pt x="86" y="12"/>
                  </a:lnTo>
                  <a:lnTo>
                    <a:pt x="80" y="12"/>
                  </a:lnTo>
                  <a:lnTo>
                    <a:pt x="80" y="12"/>
                  </a:lnTo>
                  <a:lnTo>
                    <a:pt x="78" y="12"/>
                  </a:lnTo>
                  <a:lnTo>
                    <a:pt x="78" y="12"/>
                  </a:lnTo>
                  <a:lnTo>
                    <a:pt x="78" y="12"/>
                  </a:lnTo>
                  <a:lnTo>
                    <a:pt x="78" y="12"/>
                  </a:lnTo>
                  <a:lnTo>
                    <a:pt x="78" y="12"/>
                  </a:lnTo>
                  <a:lnTo>
                    <a:pt x="78" y="12"/>
                  </a:lnTo>
                  <a:lnTo>
                    <a:pt x="76" y="12"/>
                  </a:lnTo>
                  <a:lnTo>
                    <a:pt x="76" y="12"/>
                  </a:lnTo>
                  <a:lnTo>
                    <a:pt x="74" y="15"/>
                  </a:lnTo>
                  <a:lnTo>
                    <a:pt x="74" y="15"/>
                  </a:lnTo>
                  <a:lnTo>
                    <a:pt x="74" y="17"/>
                  </a:lnTo>
                  <a:lnTo>
                    <a:pt x="74" y="17"/>
                  </a:lnTo>
                  <a:lnTo>
                    <a:pt x="74" y="17"/>
                  </a:lnTo>
                  <a:lnTo>
                    <a:pt x="70" y="17"/>
                  </a:lnTo>
                  <a:lnTo>
                    <a:pt x="70" y="19"/>
                  </a:lnTo>
                  <a:lnTo>
                    <a:pt x="70" y="19"/>
                  </a:lnTo>
                  <a:lnTo>
                    <a:pt x="68" y="19"/>
                  </a:lnTo>
                  <a:lnTo>
                    <a:pt x="68" y="19"/>
                  </a:lnTo>
                  <a:lnTo>
                    <a:pt x="68" y="19"/>
                  </a:lnTo>
                  <a:lnTo>
                    <a:pt x="64" y="21"/>
                  </a:lnTo>
                  <a:lnTo>
                    <a:pt x="64" y="21"/>
                  </a:lnTo>
                  <a:lnTo>
                    <a:pt x="59" y="23"/>
                  </a:lnTo>
                  <a:lnTo>
                    <a:pt x="57" y="25"/>
                  </a:lnTo>
                  <a:lnTo>
                    <a:pt x="55" y="25"/>
                  </a:lnTo>
                  <a:lnTo>
                    <a:pt x="55" y="25"/>
                  </a:lnTo>
                  <a:lnTo>
                    <a:pt x="53" y="25"/>
                  </a:lnTo>
                  <a:lnTo>
                    <a:pt x="53" y="25"/>
                  </a:lnTo>
                  <a:lnTo>
                    <a:pt x="53" y="27"/>
                  </a:lnTo>
                  <a:lnTo>
                    <a:pt x="53" y="27"/>
                  </a:lnTo>
                  <a:lnTo>
                    <a:pt x="53" y="27"/>
                  </a:lnTo>
                  <a:lnTo>
                    <a:pt x="51" y="29"/>
                  </a:lnTo>
                  <a:lnTo>
                    <a:pt x="51" y="29"/>
                  </a:lnTo>
                  <a:lnTo>
                    <a:pt x="49" y="31"/>
                  </a:lnTo>
                  <a:lnTo>
                    <a:pt x="49" y="31"/>
                  </a:lnTo>
                  <a:lnTo>
                    <a:pt x="47" y="33"/>
                  </a:lnTo>
                  <a:lnTo>
                    <a:pt x="47" y="33"/>
                  </a:lnTo>
                  <a:lnTo>
                    <a:pt x="47" y="33"/>
                  </a:lnTo>
                  <a:lnTo>
                    <a:pt x="47" y="31"/>
                  </a:lnTo>
                  <a:lnTo>
                    <a:pt x="45" y="31"/>
                  </a:lnTo>
                  <a:lnTo>
                    <a:pt x="43" y="33"/>
                  </a:lnTo>
                  <a:lnTo>
                    <a:pt x="18" y="45"/>
                  </a:lnTo>
                  <a:lnTo>
                    <a:pt x="16" y="45"/>
                  </a:lnTo>
                  <a:lnTo>
                    <a:pt x="16" y="45"/>
                  </a:lnTo>
                  <a:lnTo>
                    <a:pt x="16" y="47"/>
                  </a:lnTo>
                  <a:lnTo>
                    <a:pt x="16" y="47"/>
                  </a:lnTo>
                  <a:lnTo>
                    <a:pt x="16" y="49"/>
                  </a:lnTo>
                  <a:lnTo>
                    <a:pt x="16" y="49"/>
                  </a:lnTo>
                  <a:lnTo>
                    <a:pt x="12" y="51"/>
                  </a:lnTo>
                  <a:lnTo>
                    <a:pt x="12" y="51"/>
                  </a:lnTo>
                  <a:lnTo>
                    <a:pt x="8" y="55"/>
                  </a:lnTo>
                  <a:lnTo>
                    <a:pt x="8" y="55"/>
                  </a:lnTo>
                  <a:lnTo>
                    <a:pt x="8" y="58"/>
                  </a:lnTo>
                  <a:lnTo>
                    <a:pt x="6" y="62"/>
                  </a:lnTo>
                  <a:lnTo>
                    <a:pt x="6" y="64"/>
                  </a:lnTo>
                  <a:lnTo>
                    <a:pt x="6" y="64"/>
                  </a:lnTo>
                  <a:lnTo>
                    <a:pt x="4" y="66"/>
                  </a:lnTo>
                  <a:lnTo>
                    <a:pt x="4" y="66"/>
                  </a:lnTo>
                  <a:lnTo>
                    <a:pt x="2" y="68"/>
                  </a:lnTo>
                  <a:lnTo>
                    <a:pt x="2" y="70"/>
                  </a:lnTo>
                  <a:lnTo>
                    <a:pt x="2" y="70"/>
                  </a:lnTo>
                  <a:lnTo>
                    <a:pt x="2" y="70"/>
                  </a:lnTo>
                  <a:lnTo>
                    <a:pt x="2" y="72"/>
                  </a:lnTo>
                  <a:lnTo>
                    <a:pt x="2" y="72"/>
                  </a:lnTo>
                  <a:lnTo>
                    <a:pt x="0" y="74"/>
                  </a:lnTo>
                  <a:lnTo>
                    <a:pt x="0" y="80"/>
                  </a:lnTo>
                  <a:lnTo>
                    <a:pt x="4" y="82"/>
                  </a:lnTo>
                  <a:lnTo>
                    <a:pt x="12" y="86"/>
                  </a:lnTo>
                  <a:lnTo>
                    <a:pt x="16" y="88"/>
                  </a:lnTo>
                  <a:lnTo>
                    <a:pt x="18" y="86"/>
                  </a:lnTo>
                  <a:lnTo>
                    <a:pt x="18" y="86"/>
                  </a:lnTo>
                  <a:lnTo>
                    <a:pt x="18" y="88"/>
                  </a:lnTo>
                  <a:lnTo>
                    <a:pt x="21" y="90"/>
                  </a:lnTo>
                  <a:lnTo>
                    <a:pt x="23" y="90"/>
                  </a:lnTo>
                  <a:lnTo>
                    <a:pt x="27" y="92"/>
                  </a:lnTo>
                  <a:lnTo>
                    <a:pt x="29" y="94"/>
                  </a:lnTo>
                  <a:lnTo>
                    <a:pt x="29" y="96"/>
                  </a:lnTo>
                  <a:lnTo>
                    <a:pt x="31" y="99"/>
                  </a:lnTo>
                  <a:lnTo>
                    <a:pt x="35" y="99"/>
                  </a:lnTo>
                  <a:lnTo>
                    <a:pt x="39" y="99"/>
                  </a:lnTo>
                  <a:lnTo>
                    <a:pt x="45" y="96"/>
                  </a:lnTo>
                  <a:lnTo>
                    <a:pt x="49" y="99"/>
                  </a:lnTo>
                  <a:lnTo>
                    <a:pt x="49" y="101"/>
                  </a:lnTo>
                  <a:lnTo>
                    <a:pt x="51" y="105"/>
                  </a:lnTo>
                  <a:lnTo>
                    <a:pt x="53" y="107"/>
                  </a:lnTo>
                  <a:lnTo>
                    <a:pt x="53" y="109"/>
                  </a:lnTo>
                  <a:lnTo>
                    <a:pt x="59" y="115"/>
                  </a:lnTo>
                  <a:lnTo>
                    <a:pt x="61" y="117"/>
                  </a:lnTo>
                  <a:lnTo>
                    <a:pt x="64" y="127"/>
                  </a:lnTo>
                  <a:lnTo>
                    <a:pt x="66" y="127"/>
                  </a:lnTo>
                  <a:lnTo>
                    <a:pt x="66" y="129"/>
                  </a:lnTo>
                  <a:lnTo>
                    <a:pt x="68" y="129"/>
                  </a:lnTo>
                  <a:lnTo>
                    <a:pt x="70" y="131"/>
                  </a:lnTo>
                  <a:lnTo>
                    <a:pt x="72" y="131"/>
                  </a:lnTo>
                  <a:lnTo>
                    <a:pt x="72" y="133"/>
                  </a:lnTo>
                  <a:lnTo>
                    <a:pt x="74" y="133"/>
                  </a:lnTo>
                  <a:lnTo>
                    <a:pt x="74" y="135"/>
                  </a:lnTo>
                  <a:lnTo>
                    <a:pt x="76" y="137"/>
                  </a:lnTo>
                  <a:lnTo>
                    <a:pt x="78" y="140"/>
                  </a:lnTo>
                  <a:lnTo>
                    <a:pt x="78" y="140"/>
                  </a:lnTo>
                  <a:lnTo>
                    <a:pt x="80" y="142"/>
                  </a:lnTo>
                  <a:lnTo>
                    <a:pt x="82" y="146"/>
                  </a:lnTo>
                  <a:lnTo>
                    <a:pt x="82" y="148"/>
                  </a:lnTo>
                  <a:lnTo>
                    <a:pt x="84" y="148"/>
                  </a:lnTo>
                  <a:lnTo>
                    <a:pt x="86" y="148"/>
                  </a:lnTo>
                  <a:lnTo>
                    <a:pt x="86" y="148"/>
                  </a:lnTo>
                  <a:lnTo>
                    <a:pt x="88" y="150"/>
                  </a:lnTo>
                  <a:lnTo>
                    <a:pt x="90" y="152"/>
                  </a:lnTo>
                  <a:lnTo>
                    <a:pt x="92" y="154"/>
                  </a:lnTo>
                  <a:lnTo>
                    <a:pt x="96" y="156"/>
                  </a:lnTo>
                  <a:lnTo>
                    <a:pt x="98" y="156"/>
                  </a:lnTo>
                  <a:lnTo>
                    <a:pt x="102" y="158"/>
                  </a:lnTo>
                  <a:lnTo>
                    <a:pt x="107" y="160"/>
                  </a:lnTo>
                  <a:lnTo>
                    <a:pt x="113" y="164"/>
                  </a:lnTo>
                  <a:lnTo>
                    <a:pt x="115" y="166"/>
                  </a:lnTo>
                  <a:lnTo>
                    <a:pt x="117" y="170"/>
                  </a:lnTo>
                  <a:lnTo>
                    <a:pt x="119" y="172"/>
                  </a:lnTo>
                  <a:lnTo>
                    <a:pt x="119" y="174"/>
                  </a:lnTo>
                  <a:lnTo>
                    <a:pt x="121" y="178"/>
                  </a:lnTo>
                  <a:lnTo>
                    <a:pt x="123" y="178"/>
                  </a:lnTo>
                  <a:lnTo>
                    <a:pt x="125" y="181"/>
                  </a:lnTo>
                  <a:lnTo>
                    <a:pt x="127" y="181"/>
                  </a:lnTo>
                  <a:lnTo>
                    <a:pt x="133" y="181"/>
                  </a:lnTo>
                  <a:lnTo>
                    <a:pt x="133" y="183"/>
                  </a:lnTo>
                  <a:lnTo>
                    <a:pt x="137" y="183"/>
                  </a:lnTo>
                  <a:lnTo>
                    <a:pt x="141" y="187"/>
                  </a:lnTo>
                  <a:lnTo>
                    <a:pt x="143" y="189"/>
                  </a:lnTo>
                  <a:lnTo>
                    <a:pt x="147" y="191"/>
                  </a:lnTo>
                  <a:lnTo>
                    <a:pt x="147" y="193"/>
                  </a:lnTo>
                  <a:lnTo>
                    <a:pt x="147" y="195"/>
                  </a:lnTo>
                  <a:lnTo>
                    <a:pt x="150" y="195"/>
                  </a:lnTo>
                  <a:lnTo>
                    <a:pt x="150" y="197"/>
                  </a:lnTo>
                  <a:lnTo>
                    <a:pt x="147" y="197"/>
                  </a:lnTo>
                  <a:lnTo>
                    <a:pt x="147" y="199"/>
                  </a:lnTo>
                  <a:lnTo>
                    <a:pt x="150" y="201"/>
                  </a:lnTo>
                  <a:lnTo>
                    <a:pt x="150" y="201"/>
                  </a:lnTo>
                  <a:lnTo>
                    <a:pt x="150" y="203"/>
                  </a:lnTo>
                  <a:lnTo>
                    <a:pt x="154" y="207"/>
                  </a:lnTo>
                  <a:lnTo>
                    <a:pt x="156" y="207"/>
                  </a:lnTo>
                  <a:lnTo>
                    <a:pt x="156" y="207"/>
                  </a:lnTo>
                  <a:lnTo>
                    <a:pt x="156" y="207"/>
                  </a:lnTo>
                  <a:lnTo>
                    <a:pt x="156" y="205"/>
                  </a:lnTo>
                  <a:lnTo>
                    <a:pt x="158" y="207"/>
                  </a:lnTo>
                  <a:lnTo>
                    <a:pt x="158" y="207"/>
                  </a:lnTo>
                  <a:lnTo>
                    <a:pt x="158" y="207"/>
                  </a:lnTo>
                  <a:lnTo>
                    <a:pt x="158" y="209"/>
                  </a:lnTo>
                  <a:lnTo>
                    <a:pt x="160" y="209"/>
                  </a:lnTo>
                  <a:lnTo>
                    <a:pt x="160" y="211"/>
                  </a:lnTo>
                  <a:lnTo>
                    <a:pt x="160" y="211"/>
                  </a:lnTo>
                  <a:lnTo>
                    <a:pt x="158" y="213"/>
                  </a:lnTo>
                  <a:lnTo>
                    <a:pt x="160" y="215"/>
                  </a:lnTo>
                  <a:lnTo>
                    <a:pt x="162" y="215"/>
                  </a:lnTo>
                  <a:lnTo>
                    <a:pt x="164" y="215"/>
                  </a:lnTo>
                  <a:lnTo>
                    <a:pt x="166" y="215"/>
                  </a:lnTo>
                  <a:lnTo>
                    <a:pt x="166" y="217"/>
                  </a:lnTo>
                  <a:lnTo>
                    <a:pt x="168" y="221"/>
                  </a:lnTo>
                  <a:lnTo>
                    <a:pt x="168" y="221"/>
                  </a:lnTo>
                  <a:lnTo>
                    <a:pt x="172" y="224"/>
                  </a:lnTo>
                  <a:lnTo>
                    <a:pt x="180" y="226"/>
                  </a:lnTo>
                  <a:lnTo>
                    <a:pt x="184" y="228"/>
                  </a:lnTo>
                  <a:lnTo>
                    <a:pt x="186" y="230"/>
                  </a:lnTo>
                  <a:lnTo>
                    <a:pt x="188" y="230"/>
                  </a:lnTo>
                  <a:lnTo>
                    <a:pt x="191" y="230"/>
                  </a:lnTo>
                  <a:lnTo>
                    <a:pt x="193" y="232"/>
                  </a:lnTo>
                  <a:lnTo>
                    <a:pt x="193" y="232"/>
                  </a:lnTo>
                  <a:lnTo>
                    <a:pt x="195" y="234"/>
                  </a:lnTo>
                  <a:lnTo>
                    <a:pt x="195" y="236"/>
                  </a:lnTo>
                  <a:lnTo>
                    <a:pt x="195" y="240"/>
                  </a:lnTo>
                  <a:lnTo>
                    <a:pt x="195" y="242"/>
                  </a:lnTo>
                  <a:lnTo>
                    <a:pt x="197" y="242"/>
                  </a:lnTo>
                  <a:lnTo>
                    <a:pt x="203" y="250"/>
                  </a:lnTo>
                  <a:lnTo>
                    <a:pt x="205" y="252"/>
                  </a:lnTo>
                  <a:lnTo>
                    <a:pt x="205" y="254"/>
                  </a:lnTo>
                  <a:lnTo>
                    <a:pt x="205" y="256"/>
                  </a:lnTo>
                  <a:lnTo>
                    <a:pt x="205" y="258"/>
                  </a:lnTo>
                  <a:lnTo>
                    <a:pt x="207" y="258"/>
                  </a:lnTo>
                  <a:lnTo>
                    <a:pt x="207" y="260"/>
                  </a:lnTo>
                  <a:lnTo>
                    <a:pt x="207" y="262"/>
                  </a:lnTo>
                  <a:lnTo>
                    <a:pt x="207" y="262"/>
                  </a:lnTo>
                  <a:lnTo>
                    <a:pt x="207" y="265"/>
                  </a:lnTo>
                  <a:lnTo>
                    <a:pt x="207" y="265"/>
                  </a:lnTo>
                  <a:lnTo>
                    <a:pt x="207" y="267"/>
                  </a:lnTo>
                  <a:lnTo>
                    <a:pt x="209" y="267"/>
                  </a:lnTo>
                  <a:lnTo>
                    <a:pt x="209" y="267"/>
                  </a:lnTo>
                  <a:lnTo>
                    <a:pt x="209" y="267"/>
                  </a:lnTo>
                  <a:lnTo>
                    <a:pt x="209" y="269"/>
                  </a:lnTo>
                  <a:lnTo>
                    <a:pt x="209" y="271"/>
                  </a:lnTo>
                  <a:lnTo>
                    <a:pt x="209" y="273"/>
                  </a:lnTo>
                  <a:lnTo>
                    <a:pt x="209" y="273"/>
                  </a:lnTo>
                  <a:lnTo>
                    <a:pt x="211" y="275"/>
                  </a:lnTo>
                  <a:lnTo>
                    <a:pt x="213" y="277"/>
                  </a:lnTo>
                  <a:lnTo>
                    <a:pt x="213" y="277"/>
                  </a:lnTo>
                  <a:lnTo>
                    <a:pt x="215" y="277"/>
                  </a:lnTo>
                  <a:lnTo>
                    <a:pt x="219" y="277"/>
                  </a:lnTo>
                  <a:lnTo>
                    <a:pt x="219" y="277"/>
                  </a:lnTo>
                  <a:lnTo>
                    <a:pt x="221" y="279"/>
                  </a:lnTo>
                  <a:lnTo>
                    <a:pt x="221" y="279"/>
                  </a:lnTo>
                  <a:lnTo>
                    <a:pt x="223" y="281"/>
                  </a:lnTo>
                  <a:lnTo>
                    <a:pt x="223" y="281"/>
                  </a:lnTo>
                  <a:lnTo>
                    <a:pt x="223" y="281"/>
                  </a:lnTo>
                  <a:lnTo>
                    <a:pt x="225" y="281"/>
                  </a:lnTo>
                  <a:lnTo>
                    <a:pt x="225" y="281"/>
                  </a:lnTo>
                  <a:lnTo>
                    <a:pt x="227" y="283"/>
                  </a:lnTo>
                  <a:lnTo>
                    <a:pt x="227" y="283"/>
                  </a:lnTo>
                  <a:lnTo>
                    <a:pt x="227" y="285"/>
                  </a:lnTo>
                  <a:lnTo>
                    <a:pt x="229" y="285"/>
                  </a:lnTo>
                  <a:lnTo>
                    <a:pt x="231" y="285"/>
                  </a:lnTo>
                  <a:lnTo>
                    <a:pt x="231" y="287"/>
                  </a:lnTo>
                  <a:lnTo>
                    <a:pt x="231" y="291"/>
                  </a:lnTo>
                  <a:lnTo>
                    <a:pt x="236" y="299"/>
                  </a:lnTo>
                  <a:lnTo>
                    <a:pt x="238" y="299"/>
                  </a:lnTo>
                  <a:lnTo>
                    <a:pt x="240" y="299"/>
                  </a:lnTo>
                  <a:lnTo>
                    <a:pt x="240" y="301"/>
                  </a:lnTo>
                  <a:lnTo>
                    <a:pt x="240" y="303"/>
                  </a:lnTo>
                  <a:lnTo>
                    <a:pt x="240" y="306"/>
                  </a:lnTo>
                  <a:lnTo>
                    <a:pt x="240" y="308"/>
                  </a:lnTo>
                  <a:lnTo>
                    <a:pt x="240" y="308"/>
                  </a:lnTo>
                  <a:lnTo>
                    <a:pt x="240" y="310"/>
                  </a:lnTo>
                  <a:lnTo>
                    <a:pt x="240" y="312"/>
                  </a:lnTo>
                  <a:lnTo>
                    <a:pt x="240" y="312"/>
                  </a:lnTo>
                  <a:lnTo>
                    <a:pt x="240" y="314"/>
                  </a:lnTo>
                  <a:lnTo>
                    <a:pt x="240" y="316"/>
                  </a:lnTo>
                  <a:lnTo>
                    <a:pt x="240" y="316"/>
                  </a:lnTo>
                  <a:lnTo>
                    <a:pt x="242" y="320"/>
                  </a:lnTo>
                  <a:lnTo>
                    <a:pt x="242" y="320"/>
                  </a:lnTo>
                  <a:lnTo>
                    <a:pt x="242" y="320"/>
                  </a:lnTo>
                  <a:lnTo>
                    <a:pt x="242" y="320"/>
                  </a:lnTo>
                  <a:lnTo>
                    <a:pt x="244" y="322"/>
                  </a:lnTo>
                  <a:lnTo>
                    <a:pt x="244" y="322"/>
                  </a:lnTo>
                  <a:lnTo>
                    <a:pt x="244" y="322"/>
                  </a:lnTo>
                  <a:lnTo>
                    <a:pt x="246" y="322"/>
                  </a:lnTo>
                  <a:lnTo>
                    <a:pt x="248" y="326"/>
                  </a:lnTo>
                  <a:lnTo>
                    <a:pt x="248" y="326"/>
                  </a:lnTo>
                  <a:lnTo>
                    <a:pt x="254" y="324"/>
                  </a:lnTo>
                  <a:lnTo>
                    <a:pt x="256" y="324"/>
                  </a:lnTo>
                  <a:lnTo>
                    <a:pt x="260" y="326"/>
                  </a:lnTo>
                  <a:lnTo>
                    <a:pt x="260" y="326"/>
                  </a:lnTo>
                  <a:lnTo>
                    <a:pt x="262" y="328"/>
                  </a:lnTo>
                  <a:lnTo>
                    <a:pt x="262" y="328"/>
                  </a:lnTo>
                  <a:lnTo>
                    <a:pt x="264" y="328"/>
                  </a:lnTo>
                  <a:lnTo>
                    <a:pt x="266" y="328"/>
                  </a:lnTo>
                  <a:lnTo>
                    <a:pt x="266" y="328"/>
                  </a:lnTo>
                  <a:lnTo>
                    <a:pt x="266" y="328"/>
                  </a:lnTo>
                  <a:lnTo>
                    <a:pt x="266" y="326"/>
                  </a:lnTo>
                  <a:lnTo>
                    <a:pt x="266" y="324"/>
                  </a:lnTo>
                  <a:lnTo>
                    <a:pt x="270" y="320"/>
                  </a:lnTo>
                  <a:lnTo>
                    <a:pt x="270" y="316"/>
                  </a:lnTo>
                  <a:lnTo>
                    <a:pt x="270" y="314"/>
                  </a:lnTo>
                  <a:lnTo>
                    <a:pt x="270" y="314"/>
                  </a:lnTo>
                  <a:lnTo>
                    <a:pt x="272" y="312"/>
                  </a:lnTo>
                  <a:lnTo>
                    <a:pt x="272" y="310"/>
                  </a:lnTo>
                  <a:lnTo>
                    <a:pt x="272" y="308"/>
                  </a:lnTo>
                  <a:lnTo>
                    <a:pt x="272" y="306"/>
                  </a:lnTo>
                  <a:lnTo>
                    <a:pt x="272" y="306"/>
                  </a:lnTo>
                  <a:lnTo>
                    <a:pt x="272" y="303"/>
                  </a:lnTo>
                  <a:lnTo>
                    <a:pt x="274" y="308"/>
                  </a:lnTo>
                  <a:lnTo>
                    <a:pt x="272" y="316"/>
                  </a:lnTo>
                  <a:lnTo>
                    <a:pt x="272" y="320"/>
                  </a:lnTo>
                  <a:lnTo>
                    <a:pt x="279" y="314"/>
                  </a:lnTo>
                  <a:lnTo>
                    <a:pt x="281" y="310"/>
                  </a:lnTo>
                  <a:lnTo>
                    <a:pt x="283" y="306"/>
                  </a:lnTo>
                  <a:lnTo>
                    <a:pt x="283" y="306"/>
                  </a:lnTo>
                  <a:lnTo>
                    <a:pt x="281" y="303"/>
                  </a:lnTo>
                  <a:lnTo>
                    <a:pt x="281" y="301"/>
                  </a:lnTo>
                  <a:lnTo>
                    <a:pt x="279" y="301"/>
                  </a:lnTo>
                  <a:lnTo>
                    <a:pt x="277" y="301"/>
                  </a:lnTo>
                  <a:lnTo>
                    <a:pt x="277" y="301"/>
                  </a:lnTo>
                  <a:lnTo>
                    <a:pt x="272" y="297"/>
                  </a:lnTo>
                  <a:lnTo>
                    <a:pt x="270" y="297"/>
                  </a:lnTo>
                  <a:lnTo>
                    <a:pt x="270" y="297"/>
                  </a:lnTo>
                  <a:lnTo>
                    <a:pt x="270" y="295"/>
                  </a:lnTo>
                  <a:lnTo>
                    <a:pt x="270" y="293"/>
                  </a:lnTo>
                  <a:lnTo>
                    <a:pt x="268" y="289"/>
                  </a:lnTo>
                  <a:lnTo>
                    <a:pt x="266" y="287"/>
                  </a:lnTo>
                  <a:lnTo>
                    <a:pt x="264" y="283"/>
                  </a:lnTo>
                  <a:lnTo>
                    <a:pt x="264" y="281"/>
                  </a:lnTo>
                  <a:lnTo>
                    <a:pt x="264" y="279"/>
                  </a:lnTo>
                  <a:lnTo>
                    <a:pt x="264" y="279"/>
                  </a:lnTo>
                  <a:lnTo>
                    <a:pt x="262" y="275"/>
                  </a:lnTo>
                  <a:lnTo>
                    <a:pt x="260" y="275"/>
                  </a:lnTo>
                  <a:lnTo>
                    <a:pt x="260" y="275"/>
                  </a:lnTo>
                  <a:lnTo>
                    <a:pt x="262" y="273"/>
                  </a:lnTo>
                  <a:lnTo>
                    <a:pt x="262" y="275"/>
                  </a:lnTo>
                  <a:lnTo>
                    <a:pt x="264" y="275"/>
                  </a:lnTo>
                  <a:lnTo>
                    <a:pt x="264" y="277"/>
                  </a:lnTo>
                  <a:lnTo>
                    <a:pt x="266" y="277"/>
                  </a:lnTo>
                  <a:lnTo>
                    <a:pt x="268" y="277"/>
                  </a:lnTo>
                  <a:lnTo>
                    <a:pt x="268" y="279"/>
                  </a:lnTo>
                  <a:lnTo>
                    <a:pt x="266" y="281"/>
                  </a:lnTo>
                  <a:lnTo>
                    <a:pt x="268" y="283"/>
                  </a:lnTo>
                  <a:lnTo>
                    <a:pt x="268" y="285"/>
                  </a:lnTo>
                  <a:lnTo>
                    <a:pt x="272" y="291"/>
                  </a:lnTo>
                  <a:lnTo>
                    <a:pt x="279" y="295"/>
                  </a:lnTo>
                  <a:lnTo>
                    <a:pt x="281" y="297"/>
                  </a:lnTo>
                  <a:lnTo>
                    <a:pt x="283" y="295"/>
                  </a:lnTo>
                  <a:lnTo>
                    <a:pt x="283" y="293"/>
                  </a:lnTo>
                  <a:lnTo>
                    <a:pt x="281" y="293"/>
                  </a:lnTo>
                  <a:lnTo>
                    <a:pt x="281" y="291"/>
                  </a:lnTo>
                  <a:lnTo>
                    <a:pt x="281" y="291"/>
                  </a:lnTo>
                  <a:lnTo>
                    <a:pt x="279" y="283"/>
                  </a:lnTo>
                  <a:lnTo>
                    <a:pt x="279" y="281"/>
                  </a:lnTo>
                  <a:lnTo>
                    <a:pt x="279" y="281"/>
                  </a:lnTo>
                  <a:lnTo>
                    <a:pt x="279" y="281"/>
                  </a:lnTo>
                  <a:lnTo>
                    <a:pt x="279" y="279"/>
                  </a:lnTo>
                  <a:lnTo>
                    <a:pt x="279" y="281"/>
                  </a:lnTo>
                  <a:lnTo>
                    <a:pt x="279" y="281"/>
                  </a:lnTo>
                  <a:lnTo>
                    <a:pt x="279" y="281"/>
                  </a:lnTo>
                  <a:lnTo>
                    <a:pt x="277" y="279"/>
                  </a:lnTo>
                  <a:lnTo>
                    <a:pt x="281" y="279"/>
                  </a:lnTo>
                  <a:lnTo>
                    <a:pt x="281" y="281"/>
                  </a:lnTo>
                  <a:lnTo>
                    <a:pt x="281" y="289"/>
                  </a:lnTo>
                  <a:lnTo>
                    <a:pt x="281" y="289"/>
                  </a:lnTo>
                  <a:lnTo>
                    <a:pt x="285" y="287"/>
                  </a:lnTo>
                  <a:lnTo>
                    <a:pt x="285" y="293"/>
                  </a:lnTo>
                  <a:lnTo>
                    <a:pt x="285" y="297"/>
                  </a:lnTo>
                  <a:lnTo>
                    <a:pt x="285" y="299"/>
                  </a:lnTo>
                  <a:lnTo>
                    <a:pt x="287" y="299"/>
                  </a:lnTo>
                  <a:lnTo>
                    <a:pt x="289" y="297"/>
                  </a:lnTo>
                  <a:lnTo>
                    <a:pt x="291" y="297"/>
                  </a:lnTo>
                  <a:lnTo>
                    <a:pt x="291" y="297"/>
                  </a:lnTo>
                  <a:lnTo>
                    <a:pt x="293" y="297"/>
                  </a:lnTo>
                  <a:lnTo>
                    <a:pt x="299" y="291"/>
                  </a:lnTo>
                  <a:lnTo>
                    <a:pt x="299" y="289"/>
                  </a:lnTo>
                  <a:lnTo>
                    <a:pt x="297" y="289"/>
                  </a:lnTo>
                  <a:lnTo>
                    <a:pt x="299" y="289"/>
                  </a:lnTo>
                  <a:lnTo>
                    <a:pt x="299" y="289"/>
                  </a:lnTo>
                  <a:lnTo>
                    <a:pt x="299" y="287"/>
                  </a:lnTo>
                  <a:lnTo>
                    <a:pt x="299" y="287"/>
                  </a:lnTo>
                  <a:lnTo>
                    <a:pt x="299" y="287"/>
                  </a:lnTo>
                  <a:lnTo>
                    <a:pt x="301" y="287"/>
                  </a:lnTo>
                  <a:lnTo>
                    <a:pt x="301" y="285"/>
                  </a:lnTo>
                  <a:lnTo>
                    <a:pt x="301" y="283"/>
                  </a:lnTo>
                  <a:lnTo>
                    <a:pt x="301" y="281"/>
                  </a:lnTo>
                  <a:lnTo>
                    <a:pt x="301" y="281"/>
                  </a:lnTo>
                  <a:lnTo>
                    <a:pt x="301" y="283"/>
                  </a:lnTo>
                  <a:lnTo>
                    <a:pt x="299" y="283"/>
                  </a:lnTo>
                  <a:lnTo>
                    <a:pt x="299" y="285"/>
                  </a:lnTo>
                  <a:lnTo>
                    <a:pt x="297" y="285"/>
                  </a:lnTo>
                  <a:lnTo>
                    <a:pt x="295" y="287"/>
                  </a:lnTo>
                  <a:lnTo>
                    <a:pt x="293" y="289"/>
                  </a:lnTo>
                  <a:lnTo>
                    <a:pt x="291" y="289"/>
                  </a:lnTo>
                  <a:lnTo>
                    <a:pt x="291" y="289"/>
                  </a:lnTo>
                  <a:lnTo>
                    <a:pt x="293" y="287"/>
                  </a:lnTo>
                  <a:lnTo>
                    <a:pt x="295" y="285"/>
                  </a:lnTo>
                  <a:lnTo>
                    <a:pt x="299" y="283"/>
                  </a:lnTo>
                  <a:lnTo>
                    <a:pt x="299" y="281"/>
                  </a:lnTo>
                  <a:lnTo>
                    <a:pt x="297" y="279"/>
                  </a:lnTo>
                  <a:lnTo>
                    <a:pt x="295" y="277"/>
                  </a:lnTo>
                  <a:lnTo>
                    <a:pt x="287" y="279"/>
                  </a:lnTo>
                  <a:lnTo>
                    <a:pt x="289" y="277"/>
                  </a:lnTo>
                  <a:lnTo>
                    <a:pt x="291" y="277"/>
                  </a:lnTo>
                  <a:lnTo>
                    <a:pt x="293" y="275"/>
                  </a:lnTo>
                  <a:lnTo>
                    <a:pt x="295" y="275"/>
                  </a:lnTo>
                  <a:lnTo>
                    <a:pt x="295" y="275"/>
                  </a:lnTo>
                  <a:lnTo>
                    <a:pt x="295" y="275"/>
                  </a:lnTo>
                  <a:lnTo>
                    <a:pt x="291" y="273"/>
                  </a:lnTo>
                  <a:lnTo>
                    <a:pt x="291" y="273"/>
                  </a:lnTo>
                  <a:lnTo>
                    <a:pt x="289" y="273"/>
                  </a:lnTo>
                  <a:lnTo>
                    <a:pt x="289" y="275"/>
                  </a:lnTo>
                  <a:lnTo>
                    <a:pt x="287" y="275"/>
                  </a:lnTo>
                  <a:lnTo>
                    <a:pt x="279" y="275"/>
                  </a:lnTo>
                  <a:lnTo>
                    <a:pt x="277" y="275"/>
                  </a:lnTo>
                  <a:lnTo>
                    <a:pt x="277" y="275"/>
                  </a:lnTo>
                  <a:lnTo>
                    <a:pt x="277" y="275"/>
                  </a:lnTo>
                  <a:lnTo>
                    <a:pt x="277" y="273"/>
                  </a:lnTo>
                  <a:lnTo>
                    <a:pt x="279" y="273"/>
                  </a:lnTo>
                  <a:lnTo>
                    <a:pt x="281" y="273"/>
                  </a:lnTo>
                  <a:lnTo>
                    <a:pt x="287" y="273"/>
                  </a:lnTo>
                  <a:lnTo>
                    <a:pt x="289" y="271"/>
                  </a:lnTo>
                  <a:lnTo>
                    <a:pt x="289" y="271"/>
                  </a:lnTo>
                  <a:lnTo>
                    <a:pt x="289" y="269"/>
                  </a:lnTo>
                  <a:lnTo>
                    <a:pt x="289" y="269"/>
                  </a:lnTo>
                  <a:lnTo>
                    <a:pt x="289" y="267"/>
                  </a:lnTo>
                  <a:lnTo>
                    <a:pt x="289" y="267"/>
                  </a:lnTo>
                  <a:lnTo>
                    <a:pt x="289" y="269"/>
                  </a:lnTo>
                  <a:lnTo>
                    <a:pt x="291" y="269"/>
                  </a:lnTo>
                  <a:lnTo>
                    <a:pt x="295" y="271"/>
                  </a:lnTo>
                  <a:lnTo>
                    <a:pt x="295" y="271"/>
                  </a:lnTo>
                  <a:lnTo>
                    <a:pt x="297" y="271"/>
                  </a:lnTo>
                  <a:lnTo>
                    <a:pt x="299" y="271"/>
                  </a:lnTo>
                  <a:lnTo>
                    <a:pt x="299" y="273"/>
                  </a:lnTo>
                  <a:lnTo>
                    <a:pt x="301" y="273"/>
                  </a:lnTo>
                  <a:lnTo>
                    <a:pt x="301" y="273"/>
                  </a:lnTo>
                  <a:lnTo>
                    <a:pt x="303" y="273"/>
                  </a:lnTo>
                  <a:lnTo>
                    <a:pt x="305" y="273"/>
                  </a:lnTo>
                  <a:lnTo>
                    <a:pt x="305" y="271"/>
                  </a:lnTo>
                  <a:lnTo>
                    <a:pt x="305" y="269"/>
                  </a:lnTo>
                  <a:lnTo>
                    <a:pt x="305" y="267"/>
                  </a:lnTo>
                  <a:lnTo>
                    <a:pt x="305" y="267"/>
                  </a:lnTo>
                  <a:lnTo>
                    <a:pt x="305" y="269"/>
                  </a:lnTo>
                  <a:lnTo>
                    <a:pt x="307" y="269"/>
                  </a:lnTo>
                  <a:lnTo>
                    <a:pt x="307" y="271"/>
                  </a:lnTo>
                  <a:lnTo>
                    <a:pt x="309" y="271"/>
                  </a:lnTo>
                  <a:lnTo>
                    <a:pt x="309" y="271"/>
                  </a:lnTo>
                  <a:lnTo>
                    <a:pt x="309" y="271"/>
                  </a:lnTo>
                  <a:lnTo>
                    <a:pt x="311" y="269"/>
                  </a:lnTo>
                  <a:lnTo>
                    <a:pt x="315" y="265"/>
                  </a:lnTo>
                  <a:lnTo>
                    <a:pt x="317" y="262"/>
                  </a:lnTo>
                  <a:lnTo>
                    <a:pt x="317" y="262"/>
                  </a:lnTo>
                  <a:lnTo>
                    <a:pt x="317" y="260"/>
                  </a:lnTo>
                  <a:lnTo>
                    <a:pt x="320" y="260"/>
                  </a:lnTo>
                  <a:lnTo>
                    <a:pt x="317" y="260"/>
                  </a:lnTo>
                  <a:lnTo>
                    <a:pt x="317" y="260"/>
                  </a:lnTo>
                  <a:lnTo>
                    <a:pt x="313" y="256"/>
                  </a:lnTo>
                  <a:lnTo>
                    <a:pt x="311" y="256"/>
                  </a:lnTo>
                  <a:lnTo>
                    <a:pt x="313" y="256"/>
                  </a:lnTo>
                  <a:lnTo>
                    <a:pt x="315" y="256"/>
                  </a:lnTo>
                  <a:lnTo>
                    <a:pt x="317" y="258"/>
                  </a:lnTo>
                  <a:lnTo>
                    <a:pt x="322" y="260"/>
                  </a:lnTo>
                  <a:lnTo>
                    <a:pt x="322" y="260"/>
                  </a:lnTo>
                  <a:lnTo>
                    <a:pt x="324" y="258"/>
                  </a:lnTo>
                  <a:lnTo>
                    <a:pt x="326" y="256"/>
                  </a:lnTo>
                  <a:lnTo>
                    <a:pt x="328" y="256"/>
                  </a:lnTo>
                  <a:lnTo>
                    <a:pt x="330" y="254"/>
                  </a:lnTo>
                  <a:lnTo>
                    <a:pt x="336" y="252"/>
                  </a:lnTo>
                  <a:lnTo>
                    <a:pt x="336" y="252"/>
                  </a:lnTo>
                  <a:lnTo>
                    <a:pt x="336" y="250"/>
                  </a:lnTo>
                  <a:lnTo>
                    <a:pt x="334" y="250"/>
                  </a:lnTo>
                  <a:lnTo>
                    <a:pt x="332" y="248"/>
                  </a:lnTo>
                  <a:lnTo>
                    <a:pt x="334" y="248"/>
                  </a:lnTo>
                  <a:lnTo>
                    <a:pt x="334" y="248"/>
                  </a:lnTo>
                  <a:lnTo>
                    <a:pt x="336" y="248"/>
                  </a:lnTo>
                  <a:lnTo>
                    <a:pt x="340" y="248"/>
                  </a:lnTo>
                  <a:lnTo>
                    <a:pt x="340" y="248"/>
                  </a:lnTo>
                  <a:lnTo>
                    <a:pt x="344" y="242"/>
                  </a:lnTo>
                  <a:lnTo>
                    <a:pt x="346" y="240"/>
                  </a:lnTo>
                  <a:lnTo>
                    <a:pt x="344" y="238"/>
                  </a:lnTo>
                  <a:lnTo>
                    <a:pt x="344" y="238"/>
                  </a:lnTo>
                  <a:lnTo>
                    <a:pt x="344" y="238"/>
                  </a:lnTo>
                  <a:lnTo>
                    <a:pt x="344" y="238"/>
                  </a:lnTo>
                  <a:lnTo>
                    <a:pt x="342" y="238"/>
                  </a:lnTo>
                  <a:lnTo>
                    <a:pt x="342" y="236"/>
                  </a:lnTo>
                  <a:lnTo>
                    <a:pt x="342" y="236"/>
                  </a:lnTo>
                  <a:lnTo>
                    <a:pt x="338" y="236"/>
                  </a:lnTo>
                  <a:lnTo>
                    <a:pt x="336" y="236"/>
                  </a:lnTo>
                  <a:lnTo>
                    <a:pt x="336" y="234"/>
                  </a:lnTo>
                  <a:lnTo>
                    <a:pt x="334" y="232"/>
                  </a:lnTo>
                  <a:lnTo>
                    <a:pt x="336" y="234"/>
                  </a:lnTo>
                  <a:lnTo>
                    <a:pt x="338" y="234"/>
                  </a:lnTo>
                  <a:lnTo>
                    <a:pt x="338" y="234"/>
                  </a:lnTo>
                  <a:lnTo>
                    <a:pt x="338" y="232"/>
                  </a:lnTo>
                  <a:lnTo>
                    <a:pt x="338" y="230"/>
                  </a:lnTo>
                  <a:lnTo>
                    <a:pt x="336" y="228"/>
                  </a:lnTo>
                  <a:lnTo>
                    <a:pt x="336" y="226"/>
                  </a:lnTo>
                  <a:lnTo>
                    <a:pt x="336" y="226"/>
                  </a:lnTo>
                  <a:lnTo>
                    <a:pt x="340" y="228"/>
                  </a:lnTo>
                  <a:lnTo>
                    <a:pt x="340" y="228"/>
                  </a:lnTo>
                  <a:lnTo>
                    <a:pt x="340" y="226"/>
                  </a:lnTo>
                  <a:lnTo>
                    <a:pt x="340" y="226"/>
                  </a:lnTo>
                  <a:lnTo>
                    <a:pt x="340" y="226"/>
                  </a:lnTo>
                  <a:lnTo>
                    <a:pt x="342" y="226"/>
                  </a:lnTo>
                  <a:lnTo>
                    <a:pt x="340" y="230"/>
                  </a:lnTo>
                  <a:lnTo>
                    <a:pt x="340" y="232"/>
                  </a:lnTo>
                  <a:lnTo>
                    <a:pt x="342" y="232"/>
                  </a:lnTo>
                  <a:lnTo>
                    <a:pt x="342" y="232"/>
                  </a:lnTo>
                  <a:lnTo>
                    <a:pt x="344" y="234"/>
                  </a:lnTo>
                  <a:lnTo>
                    <a:pt x="346" y="234"/>
                  </a:lnTo>
                  <a:lnTo>
                    <a:pt x="346" y="234"/>
                  </a:lnTo>
                  <a:lnTo>
                    <a:pt x="348" y="234"/>
                  </a:lnTo>
                  <a:lnTo>
                    <a:pt x="350" y="232"/>
                  </a:lnTo>
                  <a:lnTo>
                    <a:pt x="354" y="228"/>
                  </a:lnTo>
                  <a:lnTo>
                    <a:pt x="356" y="226"/>
                  </a:lnTo>
                  <a:lnTo>
                    <a:pt x="356" y="224"/>
                  </a:lnTo>
                  <a:lnTo>
                    <a:pt x="358" y="221"/>
                  </a:lnTo>
                  <a:lnTo>
                    <a:pt x="360" y="219"/>
                  </a:lnTo>
                  <a:lnTo>
                    <a:pt x="360" y="219"/>
                  </a:lnTo>
                  <a:lnTo>
                    <a:pt x="360" y="219"/>
                  </a:lnTo>
                  <a:lnTo>
                    <a:pt x="360" y="217"/>
                  </a:lnTo>
                  <a:lnTo>
                    <a:pt x="363" y="217"/>
                  </a:lnTo>
                  <a:lnTo>
                    <a:pt x="363" y="217"/>
                  </a:lnTo>
                  <a:lnTo>
                    <a:pt x="367" y="213"/>
                  </a:lnTo>
                  <a:lnTo>
                    <a:pt x="367" y="213"/>
                  </a:lnTo>
                  <a:lnTo>
                    <a:pt x="367" y="211"/>
                  </a:lnTo>
                  <a:lnTo>
                    <a:pt x="367" y="211"/>
                  </a:lnTo>
                  <a:lnTo>
                    <a:pt x="367" y="211"/>
                  </a:lnTo>
                  <a:lnTo>
                    <a:pt x="365" y="213"/>
                  </a:lnTo>
                  <a:lnTo>
                    <a:pt x="365" y="213"/>
                  </a:lnTo>
                  <a:lnTo>
                    <a:pt x="363" y="213"/>
                  </a:lnTo>
                  <a:lnTo>
                    <a:pt x="363" y="211"/>
                  </a:lnTo>
                  <a:lnTo>
                    <a:pt x="363" y="209"/>
                  </a:lnTo>
                  <a:lnTo>
                    <a:pt x="365" y="205"/>
                  </a:lnTo>
                  <a:lnTo>
                    <a:pt x="365" y="203"/>
                  </a:lnTo>
                  <a:lnTo>
                    <a:pt x="367" y="203"/>
                  </a:lnTo>
                  <a:lnTo>
                    <a:pt x="369" y="199"/>
                  </a:lnTo>
                  <a:lnTo>
                    <a:pt x="371" y="199"/>
                  </a:lnTo>
                  <a:lnTo>
                    <a:pt x="371" y="201"/>
                  </a:lnTo>
                  <a:lnTo>
                    <a:pt x="371" y="201"/>
                  </a:lnTo>
                  <a:lnTo>
                    <a:pt x="373" y="203"/>
                  </a:lnTo>
                  <a:lnTo>
                    <a:pt x="373" y="203"/>
                  </a:lnTo>
                  <a:lnTo>
                    <a:pt x="375" y="203"/>
                  </a:lnTo>
                  <a:lnTo>
                    <a:pt x="377" y="201"/>
                  </a:lnTo>
                  <a:lnTo>
                    <a:pt x="379" y="201"/>
                  </a:lnTo>
                  <a:lnTo>
                    <a:pt x="381" y="201"/>
                  </a:lnTo>
                  <a:lnTo>
                    <a:pt x="383" y="199"/>
                  </a:lnTo>
                  <a:lnTo>
                    <a:pt x="383" y="199"/>
                  </a:lnTo>
                  <a:lnTo>
                    <a:pt x="383" y="197"/>
                  </a:lnTo>
                  <a:lnTo>
                    <a:pt x="383" y="195"/>
                  </a:lnTo>
                  <a:lnTo>
                    <a:pt x="385" y="193"/>
                  </a:lnTo>
                  <a:lnTo>
                    <a:pt x="387" y="191"/>
                  </a:lnTo>
                  <a:lnTo>
                    <a:pt x="389" y="189"/>
                  </a:lnTo>
                  <a:lnTo>
                    <a:pt x="389" y="187"/>
                  </a:lnTo>
                  <a:lnTo>
                    <a:pt x="387" y="185"/>
                  </a:lnTo>
                  <a:lnTo>
                    <a:pt x="385" y="185"/>
                  </a:lnTo>
                  <a:lnTo>
                    <a:pt x="383" y="185"/>
                  </a:lnTo>
                  <a:lnTo>
                    <a:pt x="385" y="185"/>
                  </a:lnTo>
                  <a:lnTo>
                    <a:pt x="387" y="185"/>
                  </a:lnTo>
                  <a:lnTo>
                    <a:pt x="389" y="185"/>
                  </a:lnTo>
                  <a:lnTo>
                    <a:pt x="391" y="187"/>
                  </a:lnTo>
                  <a:lnTo>
                    <a:pt x="391" y="187"/>
                  </a:lnTo>
                  <a:lnTo>
                    <a:pt x="391" y="187"/>
                  </a:lnTo>
                  <a:lnTo>
                    <a:pt x="391" y="185"/>
                  </a:lnTo>
                  <a:lnTo>
                    <a:pt x="391" y="185"/>
                  </a:lnTo>
                  <a:lnTo>
                    <a:pt x="391" y="185"/>
                  </a:lnTo>
                  <a:lnTo>
                    <a:pt x="389" y="183"/>
                  </a:lnTo>
                  <a:lnTo>
                    <a:pt x="389" y="183"/>
                  </a:lnTo>
                  <a:lnTo>
                    <a:pt x="391" y="181"/>
                  </a:lnTo>
                  <a:lnTo>
                    <a:pt x="391" y="181"/>
                  </a:lnTo>
                  <a:lnTo>
                    <a:pt x="393" y="183"/>
                  </a:lnTo>
                  <a:lnTo>
                    <a:pt x="393" y="183"/>
                  </a:lnTo>
                  <a:lnTo>
                    <a:pt x="395" y="183"/>
                  </a:lnTo>
                  <a:lnTo>
                    <a:pt x="395" y="181"/>
                  </a:lnTo>
                  <a:lnTo>
                    <a:pt x="395" y="178"/>
                  </a:lnTo>
                  <a:lnTo>
                    <a:pt x="397" y="178"/>
                  </a:lnTo>
                  <a:lnTo>
                    <a:pt x="395" y="178"/>
                  </a:lnTo>
                  <a:lnTo>
                    <a:pt x="395" y="178"/>
                  </a:lnTo>
                  <a:lnTo>
                    <a:pt x="395" y="176"/>
                  </a:lnTo>
                  <a:lnTo>
                    <a:pt x="393" y="174"/>
                  </a:lnTo>
                  <a:lnTo>
                    <a:pt x="393" y="174"/>
                  </a:lnTo>
                  <a:lnTo>
                    <a:pt x="393" y="172"/>
                  </a:lnTo>
                  <a:lnTo>
                    <a:pt x="391" y="172"/>
                  </a:lnTo>
                  <a:lnTo>
                    <a:pt x="387" y="172"/>
                  </a:lnTo>
                  <a:lnTo>
                    <a:pt x="385" y="170"/>
                  </a:lnTo>
                  <a:lnTo>
                    <a:pt x="385" y="168"/>
                  </a:lnTo>
                  <a:lnTo>
                    <a:pt x="385" y="166"/>
                  </a:lnTo>
                  <a:lnTo>
                    <a:pt x="385" y="164"/>
                  </a:lnTo>
                  <a:lnTo>
                    <a:pt x="385" y="162"/>
                  </a:lnTo>
                  <a:lnTo>
                    <a:pt x="389" y="154"/>
                  </a:lnTo>
                  <a:lnTo>
                    <a:pt x="389" y="154"/>
                  </a:lnTo>
                  <a:lnTo>
                    <a:pt x="391" y="152"/>
                  </a:lnTo>
                  <a:lnTo>
                    <a:pt x="391" y="152"/>
                  </a:lnTo>
                  <a:lnTo>
                    <a:pt x="391" y="154"/>
                  </a:lnTo>
                  <a:lnTo>
                    <a:pt x="389" y="158"/>
                  </a:lnTo>
                  <a:lnTo>
                    <a:pt x="387" y="162"/>
                  </a:lnTo>
                  <a:lnTo>
                    <a:pt x="387" y="166"/>
                  </a:lnTo>
                  <a:lnTo>
                    <a:pt x="387" y="166"/>
                  </a:lnTo>
                  <a:lnTo>
                    <a:pt x="391" y="166"/>
                  </a:lnTo>
                  <a:lnTo>
                    <a:pt x="391" y="166"/>
                  </a:lnTo>
                  <a:lnTo>
                    <a:pt x="393" y="168"/>
                  </a:lnTo>
                  <a:lnTo>
                    <a:pt x="393" y="170"/>
                  </a:lnTo>
                  <a:lnTo>
                    <a:pt x="395" y="174"/>
                  </a:lnTo>
                  <a:lnTo>
                    <a:pt x="395" y="174"/>
                  </a:lnTo>
                  <a:lnTo>
                    <a:pt x="397" y="174"/>
                  </a:lnTo>
                  <a:lnTo>
                    <a:pt x="395" y="172"/>
                  </a:lnTo>
                  <a:lnTo>
                    <a:pt x="395" y="160"/>
                  </a:lnTo>
                  <a:lnTo>
                    <a:pt x="397" y="158"/>
                  </a:lnTo>
                  <a:lnTo>
                    <a:pt x="395" y="158"/>
                  </a:lnTo>
                  <a:lnTo>
                    <a:pt x="397" y="152"/>
                  </a:lnTo>
                  <a:lnTo>
                    <a:pt x="404" y="140"/>
                  </a:lnTo>
                  <a:lnTo>
                    <a:pt x="410" y="125"/>
                  </a:lnTo>
                  <a:lnTo>
                    <a:pt x="414" y="117"/>
                  </a:lnTo>
                  <a:lnTo>
                    <a:pt x="422" y="109"/>
                  </a:lnTo>
                  <a:lnTo>
                    <a:pt x="430" y="101"/>
                  </a:lnTo>
                  <a:lnTo>
                    <a:pt x="434" y="99"/>
                  </a:lnTo>
                  <a:lnTo>
                    <a:pt x="438" y="96"/>
                  </a:lnTo>
                  <a:lnTo>
                    <a:pt x="436" y="96"/>
                  </a:lnTo>
                  <a:close/>
                </a:path>
              </a:pathLst>
            </a:custGeom>
            <a:solidFill>
              <a:schemeClr val="tx1"/>
            </a:solidFill>
            <a:ln w="3175" cap="rnd">
              <a:solidFill>
                <a:schemeClr val="bg1"/>
              </a:solidFill>
              <a:prstDash val="solid"/>
              <a:round/>
              <a:headEnd/>
              <a:tailEnd/>
            </a:ln>
          </p:spPr>
          <p:txBody>
            <a:bodyPr vert="horz" wrap="square" lIns="0" tIns="0" rIns="0" bIns="96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SC</a:t>
              </a:r>
            </a:p>
          </p:txBody>
        </p:sp>
        <p:sp>
          <p:nvSpPr>
            <p:cNvPr id="306" name="Freeform 16">
              <a:extLst>
                <a:ext uri="{FF2B5EF4-FFF2-40B4-BE49-F238E27FC236}">
                  <a16:creationId xmlns:a16="http://schemas.microsoft.com/office/drawing/2014/main" id="{15445C81-9352-CA96-B35E-57D6C32D8877}"/>
                </a:ext>
              </a:extLst>
            </p:cNvPr>
            <p:cNvSpPr>
              <a:spLocks noEditPoints="1"/>
            </p:cNvSpPr>
            <p:nvPr/>
          </p:nvSpPr>
          <p:spPr bwMode="auto">
            <a:xfrm>
              <a:off x="5014" y="607"/>
              <a:ext cx="59" cy="92"/>
            </a:xfrm>
            <a:custGeom>
              <a:avLst/>
              <a:gdLst>
                <a:gd name="T0" fmla="*/ 41 w 59"/>
                <a:gd name="T1" fmla="*/ 86 h 92"/>
                <a:gd name="T2" fmla="*/ 39 w 59"/>
                <a:gd name="T3" fmla="*/ 86 h 92"/>
                <a:gd name="T4" fmla="*/ 37 w 59"/>
                <a:gd name="T5" fmla="*/ 90 h 92"/>
                <a:gd name="T6" fmla="*/ 43 w 59"/>
                <a:gd name="T7" fmla="*/ 92 h 92"/>
                <a:gd name="T8" fmla="*/ 43 w 59"/>
                <a:gd name="T9" fmla="*/ 88 h 92"/>
                <a:gd name="T10" fmla="*/ 47 w 59"/>
                <a:gd name="T11" fmla="*/ 45 h 92"/>
                <a:gd name="T12" fmla="*/ 47 w 59"/>
                <a:gd name="T13" fmla="*/ 49 h 92"/>
                <a:gd name="T14" fmla="*/ 47 w 59"/>
                <a:gd name="T15" fmla="*/ 51 h 92"/>
                <a:gd name="T16" fmla="*/ 47 w 59"/>
                <a:gd name="T17" fmla="*/ 57 h 92"/>
                <a:gd name="T18" fmla="*/ 49 w 59"/>
                <a:gd name="T19" fmla="*/ 53 h 92"/>
                <a:gd name="T20" fmla="*/ 59 w 59"/>
                <a:gd name="T21" fmla="*/ 49 h 92"/>
                <a:gd name="T22" fmla="*/ 57 w 59"/>
                <a:gd name="T23" fmla="*/ 39 h 92"/>
                <a:gd name="T24" fmla="*/ 53 w 59"/>
                <a:gd name="T25" fmla="*/ 35 h 92"/>
                <a:gd name="T26" fmla="*/ 53 w 59"/>
                <a:gd name="T27" fmla="*/ 41 h 92"/>
                <a:gd name="T28" fmla="*/ 53 w 59"/>
                <a:gd name="T29" fmla="*/ 45 h 92"/>
                <a:gd name="T30" fmla="*/ 51 w 59"/>
                <a:gd name="T31" fmla="*/ 49 h 92"/>
                <a:gd name="T32" fmla="*/ 51 w 59"/>
                <a:gd name="T33" fmla="*/ 53 h 92"/>
                <a:gd name="T34" fmla="*/ 53 w 59"/>
                <a:gd name="T35" fmla="*/ 55 h 92"/>
                <a:gd name="T36" fmla="*/ 57 w 59"/>
                <a:gd name="T37" fmla="*/ 51 h 92"/>
                <a:gd name="T38" fmla="*/ 53 w 59"/>
                <a:gd name="T39" fmla="*/ 30 h 92"/>
                <a:gd name="T40" fmla="*/ 53 w 59"/>
                <a:gd name="T41" fmla="*/ 28 h 92"/>
                <a:gd name="T42" fmla="*/ 47 w 59"/>
                <a:gd name="T43" fmla="*/ 22 h 92"/>
                <a:gd name="T44" fmla="*/ 43 w 59"/>
                <a:gd name="T45" fmla="*/ 20 h 92"/>
                <a:gd name="T46" fmla="*/ 41 w 59"/>
                <a:gd name="T47" fmla="*/ 14 h 92"/>
                <a:gd name="T48" fmla="*/ 41 w 59"/>
                <a:gd name="T49" fmla="*/ 12 h 92"/>
                <a:gd name="T50" fmla="*/ 39 w 59"/>
                <a:gd name="T51" fmla="*/ 12 h 92"/>
                <a:gd name="T52" fmla="*/ 35 w 59"/>
                <a:gd name="T53" fmla="*/ 4 h 92"/>
                <a:gd name="T54" fmla="*/ 23 w 59"/>
                <a:gd name="T55" fmla="*/ 2 h 92"/>
                <a:gd name="T56" fmla="*/ 2 w 59"/>
                <a:gd name="T57" fmla="*/ 14 h 92"/>
                <a:gd name="T58" fmla="*/ 8 w 59"/>
                <a:gd name="T59" fmla="*/ 39 h 92"/>
                <a:gd name="T60" fmla="*/ 14 w 59"/>
                <a:gd name="T61" fmla="*/ 59 h 92"/>
                <a:gd name="T62" fmla="*/ 14 w 59"/>
                <a:gd name="T63" fmla="*/ 71 h 92"/>
                <a:gd name="T64" fmla="*/ 23 w 59"/>
                <a:gd name="T65" fmla="*/ 78 h 92"/>
                <a:gd name="T66" fmla="*/ 41 w 59"/>
                <a:gd name="T67" fmla="*/ 67 h 92"/>
                <a:gd name="T68" fmla="*/ 43 w 59"/>
                <a:gd name="T69" fmla="*/ 65 h 92"/>
                <a:gd name="T70" fmla="*/ 43 w 59"/>
                <a:gd name="T71" fmla="*/ 49 h 92"/>
                <a:gd name="T72" fmla="*/ 43 w 59"/>
                <a:gd name="T73" fmla="*/ 43 h 92"/>
                <a:gd name="T74" fmla="*/ 41 w 59"/>
                <a:gd name="T75" fmla="*/ 37 h 92"/>
                <a:gd name="T76" fmla="*/ 39 w 59"/>
                <a:gd name="T77" fmla="*/ 32 h 92"/>
                <a:gd name="T78" fmla="*/ 43 w 59"/>
                <a:gd name="T79" fmla="*/ 35 h 92"/>
                <a:gd name="T80" fmla="*/ 43 w 59"/>
                <a:gd name="T81" fmla="*/ 28 h 92"/>
                <a:gd name="T82" fmla="*/ 41 w 59"/>
                <a:gd name="T83" fmla="*/ 26 h 92"/>
                <a:gd name="T84" fmla="*/ 41 w 59"/>
                <a:gd name="T85" fmla="*/ 20 h 92"/>
                <a:gd name="T86" fmla="*/ 43 w 59"/>
                <a:gd name="T87" fmla="*/ 26 h 92"/>
                <a:gd name="T88" fmla="*/ 47 w 59"/>
                <a:gd name="T89" fmla="*/ 26 h 92"/>
                <a:gd name="T90" fmla="*/ 49 w 59"/>
                <a:gd name="T91" fmla="*/ 24 h 92"/>
                <a:gd name="T92" fmla="*/ 49 w 59"/>
                <a:gd name="T93" fmla="*/ 32 h 92"/>
                <a:gd name="T94" fmla="*/ 53 w 59"/>
                <a:gd name="T9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92">
                  <a:moveTo>
                    <a:pt x="43" y="88"/>
                  </a:moveTo>
                  <a:lnTo>
                    <a:pt x="41" y="88"/>
                  </a:lnTo>
                  <a:lnTo>
                    <a:pt x="41" y="86"/>
                  </a:lnTo>
                  <a:lnTo>
                    <a:pt x="41" y="86"/>
                  </a:lnTo>
                  <a:lnTo>
                    <a:pt x="41" y="84"/>
                  </a:lnTo>
                  <a:lnTo>
                    <a:pt x="41" y="84"/>
                  </a:lnTo>
                  <a:lnTo>
                    <a:pt x="39" y="84"/>
                  </a:lnTo>
                  <a:lnTo>
                    <a:pt x="39" y="86"/>
                  </a:lnTo>
                  <a:lnTo>
                    <a:pt x="41" y="86"/>
                  </a:lnTo>
                  <a:lnTo>
                    <a:pt x="39" y="88"/>
                  </a:lnTo>
                  <a:lnTo>
                    <a:pt x="39" y="88"/>
                  </a:lnTo>
                  <a:lnTo>
                    <a:pt x="37" y="90"/>
                  </a:lnTo>
                  <a:lnTo>
                    <a:pt x="39" y="90"/>
                  </a:lnTo>
                  <a:lnTo>
                    <a:pt x="39" y="92"/>
                  </a:lnTo>
                  <a:lnTo>
                    <a:pt x="41" y="92"/>
                  </a:lnTo>
                  <a:lnTo>
                    <a:pt x="43" y="92"/>
                  </a:lnTo>
                  <a:lnTo>
                    <a:pt x="43" y="90"/>
                  </a:lnTo>
                  <a:lnTo>
                    <a:pt x="43" y="90"/>
                  </a:lnTo>
                  <a:lnTo>
                    <a:pt x="43" y="90"/>
                  </a:lnTo>
                  <a:lnTo>
                    <a:pt x="43" y="88"/>
                  </a:lnTo>
                  <a:close/>
                  <a:moveTo>
                    <a:pt x="49" y="47"/>
                  </a:moveTo>
                  <a:lnTo>
                    <a:pt x="49" y="45"/>
                  </a:lnTo>
                  <a:lnTo>
                    <a:pt x="47" y="45"/>
                  </a:lnTo>
                  <a:lnTo>
                    <a:pt x="47" y="45"/>
                  </a:lnTo>
                  <a:lnTo>
                    <a:pt x="47" y="45"/>
                  </a:lnTo>
                  <a:lnTo>
                    <a:pt x="47" y="45"/>
                  </a:lnTo>
                  <a:lnTo>
                    <a:pt x="45" y="49"/>
                  </a:lnTo>
                  <a:lnTo>
                    <a:pt x="47" y="49"/>
                  </a:lnTo>
                  <a:lnTo>
                    <a:pt x="47" y="51"/>
                  </a:lnTo>
                  <a:lnTo>
                    <a:pt x="47" y="51"/>
                  </a:lnTo>
                  <a:lnTo>
                    <a:pt x="47" y="51"/>
                  </a:lnTo>
                  <a:lnTo>
                    <a:pt x="47" y="51"/>
                  </a:lnTo>
                  <a:lnTo>
                    <a:pt x="47" y="53"/>
                  </a:lnTo>
                  <a:lnTo>
                    <a:pt x="47" y="53"/>
                  </a:lnTo>
                  <a:lnTo>
                    <a:pt x="47" y="55"/>
                  </a:lnTo>
                  <a:lnTo>
                    <a:pt x="47" y="57"/>
                  </a:lnTo>
                  <a:lnTo>
                    <a:pt x="47" y="55"/>
                  </a:lnTo>
                  <a:lnTo>
                    <a:pt x="49" y="55"/>
                  </a:lnTo>
                  <a:lnTo>
                    <a:pt x="49" y="55"/>
                  </a:lnTo>
                  <a:lnTo>
                    <a:pt x="49" y="53"/>
                  </a:lnTo>
                  <a:lnTo>
                    <a:pt x="49" y="53"/>
                  </a:lnTo>
                  <a:lnTo>
                    <a:pt x="49" y="51"/>
                  </a:lnTo>
                  <a:lnTo>
                    <a:pt x="49" y="47"/>
                  </a:lnTo>
                  <a:close/>
                  <a:moveTo>
                    <a:pt x="59" y="49"/>
                  </a:moveTo>
                  <a:lnTo>
                    <a:pt x="59" y="49"/>
                  </a:lnTo>
                  <a:lnTo>
                    <a:pt x="59" y="47"/>
                  </a:lnTo>
                  <a:lnTo>
                    <a:pt x="59" y="45"/>
                  </a:lnTo>
                  <a:lnTo>
                    <a:pt x="57" y="39"/>
                  </a:lnTo>
                  <a:lnTo>
                    <a:pt x="57" y="35"/>
                  </a:lnTo>
                  <a:lnTo>
                    <a:pt x="57" y="32"/>
                  </a:lnTo>
                  <a:lnTo>
                    <a:pt x="55" y="32"/>
                  </a:lnTo>
                  <a:lnTo>
                    <a:pt x="53" y="35"/>
                  </a:lnTo>
                  <a:lnTo>
                    <a:pt x="53" y="37"/>
                  </a:lnTo>
                  <a:lnTo>
                    <a:pt x="53" y="37"/>
                  </a:lnTo>
                  <a:lnTo>
                    <a:pt x="53" y="41"/>
                  </a:lnTo>
                  <a:lnTo>
                    <a:pt x="53" y="41"/>
                  </a:lnTo>
                  <a:lnTo>
                    <a:pt x="53" y="43"/>
                  </a:lnTo>
                  <a:lnTo>
                    <a:pt x="51" y="43"/>
                  </a:lnTo>
                  <a:lnTo>
                    <a:pt x="51" y="43"/>
                  </a:lnTo>
                  <a:lnTo>
                    <a:pt x="53" y="45"/>
                  </a:lnTo>
                  <a:lnTo>
                    <a:pt x="53" y="45"/>
                  </a:lnTo>
                  <a:lnTo>
                    <a:pt x="53" y="47"/>
                  </a:lnTo>
                  <a:lnTo>
                    <a:pt x="51" y="47"/>
                  </a:lnTo>
                  <a:lnTo>
                    <a:pt x="51" y="49"/>
                  </a:lnTo>
                  <a:lnTo>
                    <a:pt x="53" y="49"/>
                  </a:lnTo>
                  <a:lnTo>
                    <a:pt x="53" y="51"/>
                  </a:lnTo>
                  <a:lnTo>
                    <a:pt x="53" y="51"/>
                  </a:lnTo>
                  <a:lnTo>
                    <a:pt x="51" y="53"/>
                  </a:lnTo>
                  <a:lnTo>
                    <a:pt x="51" y="55"/>
                  </a:lnTo>
                  <a:lnTo>
                    <a:pt x="51" y="55"/>
                  </a:lnTo>
                  <a:lnTo>
                    <a:pt x="51" y="55"/>
                  </a:lnTo>
                  <a:lnTo>
                    <a:pt x="53" y="55"/>
                  </a:lnTo>
                  <a:lnTo>
                    <a:pt x="53" y="53"/>
                  </a:lnTo>
                  <a:lnTo>
                    <a:pt x="55" y="53"/>
                  </a:lnTo>
                  <a:lnTo>
                    <a:pt x="55" y="51"/>
                  </a:lnTo>
                  <a:lnTo>
                    <a:pt x="57" y="51"/>
                  </a:lnTo>
                  <a:lnTo>
                    <a:pt x="59" y="51"/>
                  </a:lnTo>
                  <a:lnTo>
                    <a:pt x="59" y="49"/>
                  </a:lnTo>
                  <a:close/>
                  <a:moveTo>
                    <a:pt x="53" y="32"/>
                  </a:moveTo>
                  <a:lnTo>
                    <a:pt x="53" y="30"/>
                  </a:lnTo>
                  <a:lnTo>
                    <a:pt x="55" y="30"/>
                  </a:lnTo>
                  <a:lnTo>
                    <a:pt x="53" y="30"/>
                  </a:lnTo>
                  <a:lnTo>
                    <a:pt x="53" y="28"/>
                  </a:lnTo>
                  <a:lnTo>
                    <a:pt x="53" y="28"/>
                  </a:lnTo>
                  <a:lnTo>
                    <a:pt x="53" y="28"/>
                  </a:lnTo>
                  <a:lnTo>
                    <a:pt x="51" y="24"/>
                  </a:lnTo>
                  <a:lnTo>
                    <a:pt x="49" y="22"/>
                  </a:lnTo>
                  <a:lnTo>
                    <a:pt x="47" y="22"/>
                  </a:lnTo>
                  <a:lnTo>
                    <a:pt x="47" y="22"/>
                  </a:lnTo>
                  <a:lnTo>
                    <a:pt x="45" y="22"/>
                  </a:lnTo>
                  <a:lnTo>
                    <a:pt x="43" y="22"/>
                  </a:lnTo>
                  <a:lnTo>
                    <a:pt x="43" y="20"/>
                  </a:lnTo>
                  <a:lnTo>
                    <a:pt x="43" y="20"/>
                  </a:lnTo>
                  <a:lnTo>
                    <a:pt x="43" y="20"/>
                  </a:lnTo>
                  <a:lnTo>
                    <a:pt x="43" y="16"/>
                  </a:lnTo>
                  <a:lnTo>
                    <a:pt x="41" y="14"/>
                  </a:lnTo>
                  <a:lnTo>
                    <a:pt x="41" y="14"/>
                  </a:lnTo>
                  <a:lnTo>
                    <a:pt x="41" y="14"/>
                  </a:lnTo>
                  <a:lnTo>
                    <a:pt x="41" y="12"/>
                  </a:lnTo>
                  <a:lnTo>
                    <a:pt x="41" y="12"/>
                  </a:lnTo>
                  <a:lnTo>
                    <a:pt x="41" y="12"/>
                  </a:lnTo>
                  <a:lnTo>
                    <a:pt x="41" y="10"/>
                  </a:lnTo>
                  <a:lnTo>
                    <a:pt x="39" y="10"/>
                  </a:lnTo>
                  <a:lnTo>
                    <a:pt x="39" y="12"/>
                  </a:lnTo>
                  <a:lnTo>
                    <a:pt x="37" y="12"/>
                  </a:lnTo>
                  <a:lnTo>
                    <a:pt x="37" y="10"/>
                  </a:lnTo>
                  <a:lnTo>
                    <a:pt x="37" y="10"/>
                  </a:lnTo>
                  <a:lnTo>
                    <a:pt x="35" y="4"/>
                  </a:lnTo>
                  <a:lnTo>
                    <a:pt x="35" y="0"/>
                  </a:lnTo>
                  <a:lnTo>
                    <a:pt x="33" y="0"/>
                  </a:lnTo>
                  <a:lnTo>
                    <a:pt x="29" y="0"/>
                  </a:lnTo>
                  <a:lnTo>
                    <a:pt x="23" y="2"/>
                  </a:lnTo>
                  <a:lnTo>
                    <a:pt x="14" y="4"/>
                  </a:lnTo>
                  <a:lnTo>
                    <a:pt x="8" y="6"/>
                  </a:lnTo>
                  <a:lnTo>
                    <a:pt x="0" y="8"/>
                  </a:lnTo>
                  <a:lnTo>
                    <a:pt x="2" y="14"/>
                  </a:lnTo>
                  <a:lnTo>
                    <a:pt x="4" y="20"/>
                  </a:lnTo>
                  <a:lnTo>
                    <a:pt x="6" y="26"/>
                  </a:lnTo>
                  <a:lnTo>
                    <a:pt x="8" y="32"/>
                  </a:lnTo>
                  <a:lnTo>
                    <a:pt x="8" y="39"/>
                  </a:lnTo>
                  <a:lnTo>
                    <a:pt x="10" y="45"/>
                  </a:lnTo>
                  <a:lnTo>
                    <a:pt x="12" y="49"/>
                  </a:lnTo>
                  <a:lnTo>
                    <a:pt x="14" y="55"/>
                  </a:lnTo>
                  <a:lnTo>
                    <a:pt x="14" y="59"/>
                  </a:lnTo>
                  <a:lnTo>
                    <a:pt x="14" y="63"/>
                  </a:lnTo>
                  <a:lnTo>
                    <a:pt x="16" y="69"/>
                  </a:lnTo>
                  <a:lnTo>
                    <a:pt x="16" y="69"/>
                  </a:lnTo>
                  <a:lnTo>
                    <a:pt x="14" y="71"/>
                  </a:lnTo>
                  <a:lnTo>
                    <a:pt x="14" y="73"/>
                  </a:lnTo>
                  <a:lnTo>
                    <a:pt x="16" y="78"/>
                  </a:lnTo>
                  <a:lnTo>
                    <a:pt x="16" y="80"/>
                  </a:lnTo>
                  <a:lnTo>
                    <a:pt x="23" y="78"/>
                  </a:lnTo>
                  <a:lnTo>
                    <a:pt x="35" y="69"/>
                  </a:lnTo>
                  <a:lnTo>
                    <a:pt x="39" y="67"/>
                  </a:lnTo>
                  <a:lnTo>
                    <a:pt x="39" y="67"/>
                  </a:lnTo>
                  <a:lnTo>
                    <a:pt x="41" y="67"/>
                  </a:lnTo>
                  <a:lnTo>
                    <a:pt x="43" y="67"/>
                  </a:lnTo>
                  <a:lnTo>
                    <a:pt x="43" y="67"/>
                  </a:lnTo>
                  <a:lnTo>
                    <a:pt x="43" y="67"/>
                  </a:lnTo>
                  <a:lnTo>
                    <a:pt x="43" y="65"/>
                  </a:lnTo>
                  <a:lnTo>
                    <a:pt x="43" y="65"/>
                  </a:lnTo>
                  <a:lnTo>
                    <a:pt x="45" y="57"/>
                  </a:lnTo>
                  <a:lnTo>
                    <a:pt x="45" y="55"/>
                  </a:lnTo>
                  <a:lnTo>
                    <a:pt x="43" y="49"/>
                  </a:lnTo>
                  <a:lnTo>
                    <a:pt x="43" y="47"/>
                  </a:lnTo>
                  <a:lnTo>
                    <a:pt x="41" y="45"/>
                  </a:lnTo>
                  <a:lnTo>
                    <a:pt x="41" y="45"/>
                  </a:lnTo>
                  <a:lnTo>
                    <a:pt x="43" y="43"/>
                  </a:lnTo>
                  <a:lnTo>
                    <a:pt x="43" y="41"/>
                  </a:lnTo>
                  <a:lnTo>
                    <a:pt x="43" y="39"/>
                  </a:lnTo>
                  <a:lnTo>
                    <a:pt x="41" y="37"/>
                  </a:lnTo>
                  <a:lnTo>
                    <a:pt x="41" y="37"/>
                  </a:lnTo>
                  <a:lnTo>
                    <a:pt x="39" y="35"/>
                  </a:lnTo>
                  <a:lnTo>
                    <a:pt x="39" y="35"/>
                  </a:lnTo>
                  <a:lnTo>
                    <a:pt x="39" y="32"/>
                  </a:lnTo>
                  <a:lnTo>
                    <a:pt x="39" y="32"/>
                  </a:lnTo>
                  <a:lnTo>
                    <a:pt x="41" y="32"/>
                  </a:lnTo>
                  <a:lnTo>
                    <a:pt x="41" y="32"/>
                  </a:lnTo>
                  <a:lnTo>
                    <a:pt x="43" y="32"/>
                  </a:lnTo>
                  <a:lnTo>
                    <a:pt x="43" y="35"/>
                  </a:lnTo>
                  <a:lnTo>
                    <a:pt x="43" y="32"/>
                  </a:lnTo>
                  <a:lnTo>
                    <a:pt x="43" y="30"/>
                  </a:lnTo>
                  <a:lnTo>
                    <a:pt x="43" y="30"/>
                  </a:lnTo>
                  <a:lnTo>
                    <a:pt x="43" y="28"/>
                  </a:lnTo>
                  <a:lnTo>
                    <a:pt x="43" y="28"/>
                  </a:lnTo>
                  <a:lnTo>
                    <a:pt x="41" y="28"/>
                  </a:lnTo>
                  <a:lnTo>
                    <a:pt x="41" y="26"/>
                  </a:lnTo>
                  <a:lnTo>
                    <a:pt x="41" y="26"/>
                  </a:lnTo>
                  <a:lnTo>
                    <a:pt x="39" y="22"/>
                  </a:lnTo>
                  <a:lnTo>
                    <a:pt x="39" y="20"/>
                  </a:lnTo>
                  <a:lnTo>
                    <a:pt x="39" y="20"/>
                  </a:lnTo>
                  <a:lnTo>
                    <a:pt x="41" y="20"/>
                  </a:lnTo>
                  <a:lnTo>
                    <a:pt x="41" y="22"/>
                  </a:lnTo>
                  <a:lnTo>
                    <a:pt x="41" y="22"/>
                  </a:lnTo>
                  <a:lnTo>
                    <a:pt x="43" y="24"/>
                  </a:lnTo>
                  <a:lnTo>
                    <a:pt x="43" y="26"/>
                  </a:lnTo>
                  <a:lnTo>
                    <a:pt x="45" y="26"/>
                  </a:lnTo>
                  <a:lnTo>
                    <a:pt x="47" y="28"/>
                  </a:lnTo>
                  <a:lnTo>
                    <a:pt x="47" y="28"/>
                  </a:lnTo>
                  <a:lnTo>
                    <a:pt x="47" y="26"/>
                  </a:lnTo>
                  <a:lnTo>
                    <a:pt x="47" y="24"/>
                  </a:lnTo>
                  <a:lnTo>
                    <a:pt x="47" y="24"/>
                  </a:lnTo>
                  <a:lnTo>
                    <a:pt x="49" y="24"/>
                  </a:lnTo>
                  <a:lnTo>
                    <a:pt x="49" y="24"/>
                  </a:lnTo>
                  <a:lnTo>
                    <a:pt x="49" y="24"/>
                  </a:lnTo>
                  <a:lnTo>
                    <a:pt x="49" y="28"/>
                  </a:lnTo>
                  <a:lnTo>
                    <a:pt x="49" y="30"/>
                  </a:lnTo>
                  <a:lnTo>
                    <a:pt x="49" y="32"/>
                  </a:lnTo>
                  <a:lnTo>
                    <a:pt x="49" y="32"/>
                  </a:lnTo>
                  <a:lnTo>
                    <a:pt x="49" y="35"/>
                  </a:lnTo>
                  <a:lnTo>
                    <a:pt x="51" y="35"/>
                  </a:lnTo>
                  <a:lnTo>
                    <a:pt x="53" y="32"/>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307" name="Freeform 17">
              <a:extLst>
                <a:ext uri="{FF2B5EF4-FFF2-40B4-BE49-F238E27FC236}">
                  <a16:creationId xmlns:a16="http://schemas.microsoft.com/office/drawing/2014/main" id="{61E1029E-2701-8903-32C0-D8EB664184D7}"/>
                </a:ext>
              </a:extLst>
            </p:cNvPr>
            <p:cNvSpPr>
              <a:spLocks/>
            </p:cNvSpPr>
            <p:nvPr/>
          </p:nvSpPr>
          <p:spPr bwMode="auto">
            <a:xfrm>
              <a:off x="4317" y="685"/>
              <a:ext cx="510" cy="323"/>
            </a:xfrm>
            <a:custGeom>
              <a:avLst/>
              <a:gdLst>
                <a:gd name="T0" fmla="*/ 491 w 510"/>
                <a:gd name="T1" fmla="*/ 166 h 323"/>
                <a:gd name="T2" fmla="*/ 475 w 510"/>
                <a:gd name="T3" fmla="*/ 157 h 323"/>
                <a:gd name="T4" fmla="*/ 463 w 510"/>
                <a:gd name="T5" fmla="*/ 145 h 323"/>
                <a:gd name="T6" fmla="*/ 458 w 510"/>
                <a:gd name="T7" fmla="*/ 135 h 323"/>
                <a:gd name="T8" fmla="*/ 458 w 510"/>
                <a:gd name="T9" fmla="*/ 127 h 323"/>
                <a:gd name="T10" fmla="*/ 458 w 510"/>
                <a:gd name="T11" fmla="*/ 123 h 323"/>
                <a:gd name="T12" fmla="*/ 465 w 510"/>
                <a:gd name="T13" fmla="*/ 114 h 323"/>
                <a:gd name="T14" fmla="*/ 460 w 510"/>
                <a:gd name="T15" fmla="*/ 106 h 323"/>
                <a:gd name="T16" fmla="*/ 458 w 510"/>
                <a:gd name="T17" fmla="*/ 106 h 323"/>
                <a:gd name="T18" fmla="*/ 456 w 510"/>
                <a:gd name="T19" fmla="*/ 100 h 323"/>
                <a:gd name="T20" fmla="*/ 467 w 510"/>
                <a:gd name="T21" fmla="*/ 88 h 323"/>
                <a:gd name="T22" fmla="*/ 467 w 510"/>
                <a:gd name="T23" fmla="*/ 84 h 323"/>
                <a:gd name="T24" fmla="*/ 473 w 510"/>
                <a:gd name="T25" fmla="*/ 67 h 323"/>
                <a:gd name="T26" fmla="*/ 477 w 510"/>
                <a:gd name="T27" fmla="*/ 59 h 323"/>
                <a:gd name="T28" fmla="*/ 483 w 510"/>
                <a:gd name="T29" fmla="*/ 55 h 323"/>
                <a:gd name="T30" fmla="*/ 477 w 510"/>
                <a:gd name="T31" fmla="*/ 47 h 323"/>
                <a:gd name="T32" fmla="*/ 467 w 510"/>
                <a:gd name="T33" fmla="*/ 49 h 323"/>
                <a:gd name="T34" fmla="*/ 456 w 510"/>
                <a:gd name="T35" fmla="*/ 45 h 323"/>
                <a:gd name="T36" fmla="*/ 446 w 510"/>
                <a:gd name="T37" fmla="*/ 26 h 323"/>
                <a:gd name="T38" fmla="*/ 442 w 510"/>
                <a:gd name="T39" fmla="*/ 18 h 323"/>
                <a:gd name="T40" fmla="*/ 438 w 510"/>
                <a:gd name="T41" fmla="*/ 12 h 323"/>
                <a:gd name="T42" fmla="*/ 426 w 510"/>
                <a:gd name="T43" fmla="*/ 10 h 323"/>
                <a:gd name="T44" fmla="*/ 415 w 510"/>
                <a:gd name="T45" fmla="*/ 2 h 323"/>
                <a:gd name="T46" fmla="*/ 381 w 510"/>
                <a:gd name="T47" fmla="*/ 8 h 323"/>
                <a:gd name="T48" fmla="*/ 315 w 510"/>
                <a:gd name="T49" fmla="*/ 22 h 323"/>
                <a:gd name="T50" fmla="*/ 250 w 510"/>
                <a:gd name="T51" fmla="*/ 36 h 323"/>
                <a:gd name="T52" fmla="*/ 184 w 510"/>
                <a:gd name="T53" fmla="*/ 49 h 323"/>
                <a:gd name="T54" fmla="*/ 118 w 510"/>
                <a:gd name="T55" fmla="*/ 63 h 323"/>
                <a:gd name="T56" fmla="*/ 61 w 510"/>
                <a:gd name="T57" fmla="*/ 73 h 323"/>
                <a:gd name="T58" fmla="*/ 57 w 510"/>
                <a:gd name="T59" fmla="*/ 55 h 323"/>
                <a:gd name="T60" fmla="*/ 43 w 510"/>
                <a:gd name="T61" fmla="*/ 55 h 323"/>
                <a:gd name="T62" fmla="*/ 28 w 510"/>
                <a:gd name="T63" fmla="*/ 65 h 323"/>
                <a:gd name="T64" fmla="*/ 32 w 510"/>
                <a:gd name="T65" fmla="*/ 61 h 323"/>
                <a:gd name="T66" fmla="*/ 26 w 510"/>
                <a:gd name="T67" fmla="*/ 67 h 323"/>
                <a:gd name="T68" fmla="*/ 4 w 510"/>
                <a:gd name="T69" fmla="*/ 84 h 323"/>
                <a:gd name="T70" fmla="*/ 14 w 510"/>
                <a:gd name="T71" fmla="*/ 159 h 323"/>
                <a:gd name="T72" fmla="*/ 24 w 510"/>
                <a:gd name="T73" fmla="*/ 225 h 323"/>
                <a:gd name="T74" fmla="*/ 24 w 510"/>
                <a:gd name="T75" fmla="*/ 227 h 323"/>
                <a:gd name="T76" fmla="*/ 32 w 510"/>
                <a:gd name="T77" fmla="*/ 268 h 323"/>
                <a:gd name="T78" fmla="*/ 41 w 510"/>
                <a:gd name="T79" fmla="*/ 315 h 323"/>
                <a:gd name="T80" fmla="*/ 96 w 510"/>
                <a:gd name="T81" fmla="*/ 313 h 323"/>
                <a:gd name="T82" fmla="*/ 157 w 510"/>
                <a:gd name="T83" fmla="*/ 301 h 323"/>
                <a:gd name="T84" fmla="*/ 215 w 510"/>
                <a:gd name="T85" fmla="*/ 291 h 323"/>
                <a:gd name="T86" fmla="*/ 272 w 510"/>
                <a:gd name="T87" fmla="*/ 278 h 323"/>
                <a:gd name="T88" fmla="*/ 329 w 510"/>
                <a:gd name="T89" fmla="*/ 268 h 323"/>
                <a:gd name="T90" fmla="*/ 385 w 510"/>
                <a:gd name="T91" fmla="*/ 256 h 323"/>
                <a:gd name="T92" fmla="*/ 434 w 510"/>
                <a:gd name="T93" fmla="*/ 245 h 323"/>
                <a:gd name="T94" fmla="*/ 440 w 510"/>
                <a:gd name="T95" fmla="*/ 231 h 323"/>
                <a:gd name="T96" fmla="*/ 456 w 510"/>
                <a:gd name="T97" fmla="*/ 227 h 323"/>
                <a:gd name="T98" fmla="*/ 465 w 510"/>
                <a:gd name="T99" fmla="*/ 223 h 323"/>
                <a:gd name="T100" fmla="*/ 481 w 510"/>
                <a:gd name="T101" fmla="*/ 213 h 323"/>
                <a:gd name="T102" fmla="*/ 487 w 510"/>
                <a:gd name="T103" fmla="*/ 200 h 323"/>
                <a:gd name="T104" fmla="*/ 497 w 510"/>
                <a:gd name="T105" fmla="*/ 190 h 323"/>
                <a:gd name="T106" fmla="*/ 508 w 510"/>
                <a:gd name="T107" fmla="*/ 18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0" h="323">
                  <a:moveTo>
                    <a:pt x="506" y="176"/>
                  </a:moveTo>
                  <a:lnTo>
                    <a:pt x="499" y="174"/>
                  </a:lnTo>
                  <a:lnTo>
                    <a:pt x="495" y="170"/>
                  </a:lnTo>
                  <a:lnTo>
                    <a:pt x="493" y="168"/>
                  </a:lnTo>
                  <a:lnTo>
                    <a:pt x="493" y="166"/>
                  </a:lnTo>
                  <a:lnTo>
                    <a:pt x="491" y="166"/>
                  </a:lnTo>
                  <a:lnTo>
                    <a:pt x="487" y="163"/>
                  </a:lnTo>
                  <a:lnTo>
                    <a:pt x="485" y="159"/>
                  </a:lnTo>
                  <a:lnTo>
                    <a:pt x="483" y="157"/>
                  </a:lnTo>
                  <a:lnTo>
                    <a:pt x="479" y="159"/>
                  </a:lnTo>
                  <a:lnTo>
                    <a:pt x="477" y="159"/>
                  </a:lnTo>
                  <a:lnTo>
                    <a:pt x="475" y="157"/>
                  </a:lnTo>
                  <a:lnTo>
                    <a:pt x="475" y="155"/>
                  </a:lnTo>
                  <a:lnTo>
                    <a:pt x="473" y="147"/>
                  </a:lnTo>
                  <a:lnTo>
                    <a:pt x="471" y="145"/>
                  </a:lnTo>
                  <a:lnTo>
                    <a:pt x="465" y="145"/>
                  </a:lnTo>
                  <a:lnTo>
                    <a:pt x="463" y="145"/>
                  </a:lnTo>
                  <a:lnTo>
                    <a:pt x="463" y="145"/>
                  </a:lnTo>
                  <a:lnTo>
                    <a:pt x="460" y="143"/>
                  </a:lnTo>
                  <a:lnTo>
                    <a:pt x="460" y="141"/>
                  </a:lnTo>
                  <a:lnTo>
                    <a:pt x="460" y="141"/>
                  </a:lnTo>
                  <a:lnTo>
                    <a:pt x="460" y="139"/>
                  </a:lnTo>
                  <a:lnTo>
                    <a:pt x="458" y="137"/>
                  </a:lnTo>
                  <a:lnTo>
                    <a:pt x="458" y="135"/>
                  </a:lnTo>
                  <a:lnTo>
                    <a:pt x="458" y="135"/>
                  </a:lnTo>
                  <a:lnTo>
                    <a:pt x="458" y="133"/>
                  </a:lnTo>
                  <a:lnTo>
                    <a:pt x="458" y="133"/>
                  </a:lnTo>
                  <a:lnTo>
                    <a:pt x="458" y="131"/>
                  </a:lnTo>
                  <a:lnTo>
                    <a:pt x="458" y="127"/>
                  </a:lnTo>
                  <a:lnTo>
                    <a:pt x="458" y="127"/>
                  </a:lnTo>
                  <a:lnTo>
                    <a:pt x="456" y="127"/>
                  </a:lnTo>
                  <a:lnTo>
                    <a:pt x="456" y="127"/>
                  </a:lnTo>
                  <a:lnTo>
                    <a:pt x="456" y="125"/>
                  </a:lnTo>
                  <a:lnTo>
                    <a:pt x="458" y="125"/>
                  </a:lnTo>
                  <a:lnTo>
                    <a:pt x="458" y="125"/>
                  </a:lnTo>
                  <a:lnTo>
                    <a:pt x="458" y="123"/>
                  </a:lnTo>
                  <a:lnTo>
                    <a:pt x="460" y="123"/>
                  </a:lnTo>
                  <a:lnTo>
                    <a:pt x="463" y="123"/>
                  </a:lnTo>
                  <a:lnTo>
                    <a:pt x="463" y="120"/>
                  </a:lnTo>
                  <a:lnTo>
                    <a:pt x="463" y="118"/>
                  </a:lnTo>
                  <a:lnTo>
                    <a:pt x="463" y="116"/>
                  </a:lnTo>
                  <a:lnTo>
                    <a:pt x="465" y="114"/>
                  </a:lnTo>
                  <a:lnTo>
                    <a:pt x="465" y="114"/>
                  </a:lnTo>
                  <a:lnTo>
                    <a:pt x="465" y="112"/>
                  </a:lnTo>
                  <a:lnTo>
                    <a:pt x="465" y="110"/>
                  </a:lnTo>
                  <a:lnTo>
                    <a:pt x="463" y="108"/>
                  </a:lnTo>
                  <a:lnTo>
                    <a:pt x="460" y="106"/>
                  </a:lnTo>
                  <a:lnTo>
                    <a:pt x="460" y="106"/>
                  </a:lnTo>
                  <a:lnTo>
                    <a:pt x="460" y="106"/>
                  </a:lnTo>
                  <a:lnTo>
                    <a:pt x="460" y="106"/>
                  </a:lnTo>
                  <a:lnTo>
                    <a:pt x="458" y="106"/>
                  </a:lnTo>
                  <a:lnTo>
                    <a:pt x="458" y="106"/>
                  </a:lnTo>
                  <a:lnTo>
                    <a:pt x="458" y="106"/>
                  </a:lnTo>
                  <a:lnTo>
                    <a:pt x="458" y="106"/>
                  </a:lnTo>
                  <a:lnTo>
                    <a:pt x="458" y="104"/>
                  </a:lnTo>
                  <a:lnTo>
                    <a:pt x="458" y="104"/>
                  </a:lnTo>
                  <a:lnTo>
                    <a:pt x="456" y="104"/>
                  </a:lnTo>
                  <a:lnTo>
                    <a:pt x="456" y="102"/>
                  </a:lnTo>
                  <a:lnTo>
                    <a:pt x="456" y="102"/>
                  </a:lnTo>
                  <a:lnTo>
                    <a:pt x="456" y="100"/>
                  </a:lnTo>
                  <a:lnTo>
                    <a:pt x="458" y="98"/>
                  </a:lnTo>
                  <a:lnTo>
                    <a:pt x="458" y="96"/>
                  </a:lnTo>
                  <a:lnTo>
                    <a:pt x="460" y="96"/>
                  </a:lnTo>
                  <a:lnTo>
                    <a:pt x="463" y="94"/>
                  </a:lnTo>
                  <a:lnTo>
                    <a:pt x="463" y="94"/>
                  </a:lnTo>
                  <a:lnTo>
                    <a:pt x="467" y="88"/>
                  </a:lnTo>
                  <a:lnTo>
                    <a:pt x="467" y="88"/>
                  </a:lnTo>
                  <a:lnTo>
                    <a:pt x="467" y="88"/>
                  </a:lnTo>
                  <a:lnTo>
                    <a:pt x="465" y="86"/>
                  </a:lnTo>
                  <a:lnTo>
                    <a:pt x="467" y="86"/>
                  </a:lnTo>
                  <a:lnTo>
                    <a:pt x="467" y="86"/>
                  </a:lnTo>
                  <a:lnTo>
                    <a:pt x="467" y="84"/>
                  </a:lnTo>
                  <a:lnTo>
                    <a:pt x="467" y="84"/>
                  </a:lnTo>
                  <a:lnTo>
                    <a:pt x="469" y="84"/>
                  </a:lnTo>
                  <a:lnTo>
                    <a:pt x="471" y="77"/>
                  </a:lnTo>
                  <a:lnTo>
                    <a:pt x="473" y="71"/>
                  </a:lnTo>
                  <a:lnTo>
                    <a:pt x="473" y="69"/>
                  </a:lnTo>
                  <a:lnTo>
                    <a:pt x="473" y="67"/>
                  </a:lnTo>
                  <a:lnTo>
                    <a:pt x="473" y="67"/>
                  </a:lnTo>
                  <a:lnTo>
                    <a:pt x="477" y="61"/>
                  </a:lnTo>
                  <a:lnTo>
                    <a:pt x="477" y="61"/>
                  </a:lnTo>
                  <a:lnTo>
                    <a:pt x="477" y="59"/>
                  </a:lnTo>
                  <a:lnTo>
                    <a:pt x="477" y="59"/>
                  </a:lnTo>
                  <a:lnTo>
                    <a:pt x="477" y="59"/>
                  </a:lnTo>
                  <a:lnTo>
                    <a:pt x="477" y="59"/>
                  </a:lnTo>
                  <a:lnTo>
                    <a:pt x="479" y="57"/>
                  </a:lnTo>
                  <a:lnTo>
                    <a:pt x="479" y="57"/>
                  </a:lnTo>
                  <a:lnTo>
                    <a:pt x="481" y="57"/>
                  </a:lnTo>
                  <a:lnTo>
                    <a:pt x="483" y="55"/>
                  </a:lnTo>
                  <a:lnTo>
                    <a:pt x="483" y="55"/>
                  </a:lnTo>
                  <a:lnTo>
                    <a:pt x="481" y="53"/>
                  </a:lnTo>
                  <a:lnTo>
                    <a:pt x="479" y="51"/>
                  </a:lnTo>
                  <a:lnTo>
                    <a:pt x="479" y="51"/>
                  </a:lnTo>
                  <a:lnTo>
                    <a:pt x="477" y="49"/>
                  </a:lnTo>
                  <a:lnTo>
                    <a:pt x="477" y="49"/>
                  </a:lnTo>
                  <a:lnTo>
                    <a:pt x="477" y="47"/>
                  </a:lnTo>
                  <a:lnTo>
                    <a:pt x="475" y="49"/>
                  </a:lnTo>
                  <a:lnTo>
                    <a:pt x="475" y="49"/>
                  </a:lnTo>
                  <a:lnTo>
                    <a:pt x="475" y="49"/>
                  </a:lnTo>
                  <a:lnTo>
                    <a:pt x="473" y="49"/>
                  </a:lnTo>
                  <a:lnTo>
                    <a:pt x="471" y="47"/>
                  </a:lnTo>
                  <a:lnTo>
                    <a:pt x="467" y="49"/>
                  </a:lnTo>
                  <a:lnTo>
                    <a:pt x="465" y="49"/>
                  </a:lnTo>
                  <a:lnTo>
                    <a:pt x="465" y="49"/>
                  </a:lnTo>
                  <a:lnTo>
                    <a:pt x="463" y="47"/>
                  </a:lnTo>
                  <a:lnTo>
                    <a:pt x="460" y="47"/>
                  </a:lnTo>
                  <a:lnTo>
                    <a:pt x="458" y="47"/>
                  </a:lnTo>
                  <a:lnTo>
                    <a:pt x="456" y="45"/>
                  </a:lnTo>
                  <a:lnTo>
                    <a:pt x="454" y="45"/>
                  </a:lnTo>
                  <a:lnTo>
                    <a:pt x="448" y="36"/>
                  </a:lnTo>
                  <a:lnTo>
                    <a:pt x="448" y="36"/>
                  </a:lnTo>
                  <a:lnTo>
                    <a:pt x="446" y="34"/>
                  </a:lnTo>
                  <a:lnTo>
                    <a:pt x="446" y="30"/>
                  </a:lnTo>
                  <a:lnTo>
                    <a:pt x="446" y="26"/>
                  </a:lnTo>
                  <a:lnTo>
                    <a:pt x="444" y="24"/>
                  </a:lnTo>
                  <a:lnTo>
                    <a:pt x="444" y="22"/>
                  </a:lnTo>
                  <a:lnTo>
                    <a:pt x="444" y="22"/>
                  </a:lnTo>
                  <a:lnTo>
                    <a:pt x="444" y="20"/>
                  </a:lnTo>
                  <a:lnTo>
                    <a:pt x="444" y="18"/>
                  </a:lnTo>
                  <a:lnTo>
                    <a:pt x="442" y="18"/>
                  </a:lnTo>
                  <a:lnTo>
                    <a:pt x="440" y="18"/>
                  </a:lnTo>
                  <a:lnTo>
                    <a:pt x="440" y="16"/>
                  </a:lnTo>
                  <a:lnTo>
                    <a:pt x="440" y="14"/>
                  </a:lnTo>
                  <a:lnTo>
                    <a:pt x="440" y="14"/>
                  </a:lnTo>
                  <a:lnTo>
                    <a:pt x="440" y="12"/>
                  </a:lnTo>
                  <a:lnTo>
                    <a:pt x="438" y="12"/>
                  </a:lnTo>
                  <a:lnTo>
                    <a:pt x="438" y="12"/>
                  </a:lnTo>
                  <a:lnTo>
                    <a:pt x="434" y="10"/>
                  </a:lnTo>
                  <a:lnTo>
                    <a:pt x="432" y="10"/>
                  </a:lnTo>
                  <a:lnTo>
                    <a:pt x="432" y="10"/>
                  </a:lnTo>
                  <a:lnTo>
                    <a:pt x="428" y="12"/>
                  </a:lnTo>
                  <a:lnTo>
                    <a:pt x="426" y="10"/>
                  </a:lnTo>
                  <a:lnTo>
                    <a:pt x="426" y="8"/>
                  </a:lnTo>
                  <a:lnTo>
                    <a:pt x="424" y="6"/>
                  </a:lnTo>
                  <a:lnTo>
                    <a:pt x="424" y="4"/>
                  </a:lnTo>
                  <a:lnTo>
                    <a:pt x="422" y="4"/>
                  </a:lnTo>
                  <a:lnTo>
                    <a:pt x="417" y="4"/>
                  </a:lnTo>
                  <a:lnTo>
                    <a:pt x="415" y="2"/>
                  </a:lnTo>
                  <a:lnTo>
                    <a:pt x="415" y="0"/>
                  </a:lnTo>
                  <a:lnTo>
                    <a:pt x="415" y="0"/>
                  </a:lnTo>
                  <a:lnTo>
                    <a:pt x="413" y="2"/>
                  </a:lnTo>
                  <a:lnTo>
                    <a:pt x="403" y="4"/>
                  </a:lnTo>
                  <a:lnTo>
                    <a:pt x="391" y="6"/>
                  </a:lnTo>
                  <a:lnTo>
                    <a:pt x="381" y="8"/>
                  </a:lnTo>
                  <a:lnTo>
                    <a:pt x="370" y="10"/>
                  </a:lnTo>
                  <a:lnTo>
                    <a:pt x="358" y="14"/>
                  </a:lnTo>
                  <a:lnTo>
                    <a:pt x="348" y="16"/>
                  </a:lnTo>
                  <a:lnTo>
                    <a:pt x="338" y="18"/>
                  </a:lnTo>
                  <a:lnTo>
                    <a:pt x="325" y="20"/>
                  </a:lnTo>
                  <a:lnTo>
                    <a:pt x="315" y="22"/>
                  </a:lnTo>
                  <a:lnTo>
                    <a:pt x="305" y="24"/>
                  </a:lnTo>
                  <a:lnTo>
                    <a:pt x="293" y="26"/>
                  </a:lnTo>
                  <a:lnTo>
                    <a:pt x="282" y="30"/>
                  </a:lnTo>
                  <a:lnTo>
                    <a:pt x="272" y="32"/>
                  </a:lnTo>
                  <a:lnTo>
                    <a:pt x="260" y="34"/>
                  </a:lnTo>
                  <a:lnTo>
                    <a:pt x="250" y="36"/>
                  </a:lnTo>
                  <a:lnTo>
                    <a:pt x="239" y="38"/>
                  </a:lnTo>
                  <a:lnTo>
                    <a:pt x="227" y="41"/>
                  </a:lnTo>
                  <a:lnTo>
                    <a:pt x="217" y="43"/>
                  </a:lnTo>
                  <a:lnTo>
                    <a:pt x="207" y="45"/>
                  </a:lnTo>
                  <a:lnTo>
                    <a:pt x="194" y="47"/>
                  </a:lnTo>
                  <a:lnTo>
                    <a:pt x="184" y="49"/>
                  </a:lnTo>
                  <a:lnTo>
                    <a:pt x="174" y="51"/>
                  </a:lnTo>
                  <a:lnTo>
                    <a:pt x="161" y="53"/>
                  </a:lnTo>
                  <a:lnTo>
                    <a:pt x="151" y="55"/>
                  </a:lnTo>
                  <a:lnTo>
                    <a:pt x="141" y="59"/>
                  </a:lnTo>
                  <a:lnTo>
                    <a:pt x="129" y="61"/>
                  </a:lnTo>
                  <a:lnTo>
                    <a:pt x="118" y="63"/>
                  </a:lnTo>
                  <a:lnTo>
                    <a:pt x="108" y="65"/>
                  </a:lnTo>
                  <a:lnTo>
                    <a:pt x="96" y="67"/>
                  </a:lnTo>
                  <a:lnTo>
                    <a:pt x="86" y="69"/>
                  </a:lnTo>
                  <a:lnTo>
                    <a:pt x="75" y="71"/>
                  </a:lnTo>
                  <a:lnTo>
                    <a:pt x="63" y="73"/>
                  </a:lnTo>
                  <a:lnTo>
                    <a:pt x="61" y="73"/>
                  </a:lnTo>
                  <a:lnTo>
                    <a:pt x="61" y="69"/>
                  </a:lnTo>
                  <a:lnTo>
                    <a:pt x="59" y="67"/>
                  </a:lnTo>
                  <a:lnTo>
                    <a:pt x="59" y="63"/>
                  </a:lnTo>
                  <a:lnTo>
                    <a:pt x="59" y="61"/>
                  </a:lnTo>
                  <a:lnTo>
                    <a:pt x="57" y="57"/>
                  </a:lnTo>
                  <a:lnTo>
                    <a:pt x="57" y="55"/>
                  </a:lnTo>
                  <a:lnTo>
                    <a:pt x="57" y="51"/>
                  </a:lnTo>
                  <a:lnTo>
                    <a:pt x="57" y="49"/>
                  </a:lnTo>
                  <a:lnTo>
                    <a:pt x="55" y="45"/>
                  </a:lnTo>
                  <a:lnTo>
                    <a:pt x="55" y="45"/>
                  </a:lnTo>
                  <a:lnTo>
                    <a:pt x="47" y="51"/>
                  </a:lnTo>
                  <a:lnTo>
                    <a:pt x="43" y="55"/>
                  </a:lnTo>
                  <a:lnTo>
                    <a:pt x="41" y="55"/>
                  </a:lnTo>
                  <a:lnTo>
                    <a:pt x="37" y="59"/>
                  </a:lnTo>
                  <a:lnTo>
                    <a:pt x="34" y="61"/>
                  </a:lnTo>
                  <a:lnTo>
                    <a:pt x="30" y="65"/>
                  </a:lnTo>
                  <a:lnTo>
                    <a:pt x="28" y="65"/>
                  </a:lnTo>
                  <a:lnTo>
                    <a:pt x="28" y="65"/>
                  </a:lnTo>
                  <a:lnTo>
                    <a:pt x="28" y="63"/>
                  </a:lnTo>
                  <a:lnTo>
                    <a:pt x="30" y="63"/>
                  </a:lnTo>
                  <a:lnTo>
                    <a:pt x="30" y="63"/>
                  </a:lnTo>
                  <a:lnTo>
                    <a:pt x="32" y="61"/>
                  </a:lnTo>
                  <a:lnTo>
                    <a:pt x="32" y="61"/>
                  </a:lnTo>
                  <a:lnTo>
                    <a:pt x="32" y="61"/>
                  </a:lnTo>
                  <a:lnTo>
                    <a:pt x="30" y="59"/>
                  </a:lnTo>
                  <a:lnTo>
                    <a:pt x="30" y="61"/>
                  </a:lnTo>
                  <a:lnTo>
                    <a:pt x="28" y="63"/>
                  </a:lnTo>
                  <a:lnTo>
                    <a:pt x="26" y="63"/>
                  </a:lnTo>
                  <a:lnTo>
                    <a:pt x="26" y="67"/>
                  </a:lnTo>
                  <a:lnTo>
                    <a:pt x="26" y="67"/>
                  </a:lnTo>
                  <a:lnTo>
                    <a:pt x="24" y="67"/>
                  </a:lnTo>
                  <a:lnTo>
                    <a:pt x="22" y="69"/>
                  </a:lnTo>
                  <a:lnTo>
                    <a:pt x="12" y="79"/>
                  </a:lnTo>
                  <a:lnTo>
                    <a:pt x="6" y="82"/>
                  </a:lnTo>
                  <a:lnTo>
                    <a:pt x="6" y="82"/>
                  </a:lnTo>
                  <a:lnTo>
                    <a:pt x="4" y="84"/>
                  </a:lnTo>
                  <a:lnTo>
                    <a:pt x="0" y="86"/>
                  </a:lnTo>
                  <a:lnTo>
                    <a:pt x="2" y="94"/>
                  </a:lnTo>
                  <a:lnTo>
                    <a:pt x="6" y="116"/>
                  </a:lnTo>
                  <a:lnTo>
                    <a:pt x="10" y="137"/>
                  </a:lnTo>
                  <a:lnTo>
                    <a:pt x="12" y="149"/>
                  </a:lnTo>
                  <a:lnTo>
                    <a:pt x="14" y="159"/>
                  </a:lnTo>
                  <a:lnTo>
                    <a:pt x="16" y="172"/>
                  </a:lnTo>
                  <a:lnTo>
                    <a:pt x="18" y="182"/>
                  </a:lnTo>
                  <a:lnTo>
                    <a:pt x="20" y="192"/>
                  </a:lnTo>
                  <a:lnTo>
                    <a:pt x="20" y="204"/>
                  </a:lnTo>
                  <a:lnTo>
                    <a:pt x="22" y="215"/>
                  </a:lnTo>
                  <a:lnTo>
                    <a:pt x="24" y="225"/>
                  </a:lnTo>
                  <a:lnTo>
                    <a:pt x="24" y="225"/>
                  </a:lnTo>
                  <a:lnTo>
                    <a:pt x="24" y="225"/>
                  </a:lnTo>
                  <a:lnTo>
                    <a:pt x="24" y="225"/>
                  </a:lnTo>
                  <a:lnTo>
                    <a:pt x="24" y="225"/>
                  </a:lnTo>
                  <a:lnTo>
                    <a:pt x="24" y="227"/>
                  </a:lnTo>
                  <a:lnTo>
                    <a:pt x="24" y="227"/>
                  </a:lnTo>
                  <a:lnTo>
                    <a:pt x="24" y="227"/>
                  </a:lnTo>
                  <a:lnTo>
                    <a:pt x="24" y="227"/>
                  </a:lnTo>
                  <a:lnTo>
                    <a:pt x="28" y="243"/>
                  </a:lnTo>
                  <a:lnTo>
                    <a:pt x="30" y="252"/>
                  </a:lnTo>
                  <a:lnTo>
                    <a:pt x="30" y="260"/>
                  </a:lnTo>
                  <a:lnTo>
                    <a:pt x="32" y="268"/>
                  </a:lnTo>
                  <a:lnTo>
                    <a:pt x="34" y="276"/>
                  </a:lnTo>
                  <a:lnTo>
                    <a:pt x="37" y="284"/>
                  </a:lnTo>
                  <a:lnTo>
                    <a:pt x="37" y="295"/>
                  </a:lnTo>
                  <a:lnTo>
                    <a:pt x="39" y="301"/>
                  </a:lnTo>
                  <a:lnTo>
                    <a:pt x="41" y="309"/>
                  </a:lnTo>
                  <a:lnTo>
                    <a:pt x="41" y="315"/>
                  </a:lnTo>
                  <a:lnTo>
                    <a:pt x="43" y="323"/>
                  </a:lnTo>
                  <a:lnTo>
                    <a:pt x="53" y="321"/>
                  </a:lnTo>
                  <a:lnTo>
                    <a:pt x="63" y="319"/>
                  </a:lnTo>
                  <a:lnTo>
                    <a:pt x="75" y="317"/>
                  </a:lnTo>
                  <a:lnTo>
                    <a:pt x="86" y="315"/>
                  </a:lnTo>
                  <a:lnTo>
                    <a:pt x="96" y="313"/>
                  </a:lnTo>
                  <a:lnTo>
                    <a:pt x="106" y="311"/>
                  </a:lnTo>
                  <a:lnTo>
                    <a:pt x="118" y="309"/>
                  </a:lnTo>
                  <a:lnTo>
                    <a:pt x="129" y="307"/>
                  </a:lnTo>
                  <a:lnTo>
                    <a:pt x="139" y="305"/>
                  </a:lnTo>
                  <a:lnTo>
                    <a:pt x="147" y="303"/>
                  </a:lnTo>
                  <a:lnTo>
                    <a:pt x="157" y="301"/>
                  </a:lnTo>
                  <a:lnTo>
                    <a:pt x="168" y="301"/>
                  </a:lnTo>
                  <a:lnTo>
                    <a:pt x="176" y="299"/>
                  </a:lnTo>
                  <a:lnTo>
                    <a:pt x="186" y="297"/>
                  </a:lnTo>
                  <a:lnTo>
                    <a:pt x="196" y="295"/>
                  </a:lnTo>
                  <a:lnTo>
                    <a:pt x="204" y="293"/>
                  </a:lnTo>
                  <a:lnTo>
                    <a:pt x="215" y="291"/>
                  </a:lnTo>
                  <a:lnTo>
                    <a:pt x="223" y="288"/>
                  </a:lnTo>
                  <a:lnTo>
                    <a:pt x="233" y="286"/>
                  </a:lnTo>
                  <a:lnTo>
                    <a:pt x="243" y="284"/>
                  </a:lnTo>
                  <a:lnTo>
                    <a:pt x="252" y="282"/>
                  </a:lnTo>
                  <a:lnTo>
                    <a:pt x="262" y="280"/>
                  </a:lnTo>
                  <a:lnTo>
                    <a:pt x="272" y="278"/>
                  </a:lnTo>
                  <a:lnTo>
                    <a:pt x="280" y="278"/>
                  </a:lnTo>
                  <a:lnTo>
                    <a:pt x="291" y="276"/>
                  </a:lnTo>
                  <a:lnTo>
                    <a:pt x="301" y="274"/>
                  </a:lnTo>
                  <a:lnTo>
                    <a:pt x="309" y="272"/>
                  </a:lnTo>
                  <a:lnTo>
                    <a:pt x="319" y="270"/>
                  </a:lnTo>
                  <a:lnTo>
                    <a:pt x="329" y="268"/>
                  </a:lnTo>
                  <a:lnTo>
                    <a:pt x="338" y="266"/>
                  </a:lnTo>
                  <a:lnTo>
                    <a:pt x="348" y="264"/>
                  </a:lnTo>
                  <a:lnTo>
                    <a:pt x="356" y="262"/>
                  </a:lnTo>
                  <a:lnTo>
                    <a:pt x="366" y="260"/>
                  </a:lnTo>
                  <a:lnTo>
                    <a:pt x="377" y="258"/>
                  </a:lnTo>
                  <a:lnTo>
                    <a:pt x="385" y="256"/>
                  </a:lnTo>
                  <a:lnTo>
                    <a:pt x="395" y="254"/>
                  </a:lnTo>
                  <a:lnTo>
                    <a:pt x="405" y="252"/>
                  </a:lnTo>
                  <a:lnTo>
                    <a:pt x="413" y="250"/>
                  </a:lnTo>
                  <a:lnTo>
                    <a:pt x="424" y="248"/>
                  </a:lnTo>
                  <a:lnTo>
                    <a:pt x="432" y="245"/>
                  </a:lnTo>
                  <a:lnTo>
                    <a:pt x="434" y="245"/>
                  </a:lnTo>
                  <a:lnTo>
                    <a:pt x="434" y="245"/>
                  </a:lnTo>
                  <a:lnTo>
                    <a:pt x="434" y="241"/>
                  </a:lnTo>
                  <a:lnTo>
                    <a:pt x="436" y="237"/>
                  </a:lnTo>
                  <a:lnTo>
                    <a:pt x="438" y="233"/>
                  </a:lnTo>
                  <a:lnTo>
                    <a:pt x="438" y="233"/>
                  </a:lnTo>
                  <a:lnTo>
                    <a:pt x="440" y="231"/>
                  </a:lnTo>
                  <a:lnTo>
                    <a:pt x="442" y="229"/>
                  </a:lnTo>
                  <a:lnTo>
                    <a:pt x="444" y="229"/>
                  </a:lnTo>
                  <a:lnTo>
                    <a:pt x="446" y="227"/>
                  </a:lnTo>
                  <a:lnTo>
                    <a:pt x="448" y="227"/>
                  </a:lnTo>
                  <a:lnTo>
                    <a:pt x="452" y="227"/>
                  </a:lnTo>
                  <a:lnTo>
                    <a:pt x="456" y="227"/>
                  </a:lnTo>
                  <a:lnTo>
                    <a:pt x="458" y="227"/>
                  </a:lnTo>
                  <a:lnTo>
                    <a:pt x="460" y="229"/>
                  </a:lnTo>
                  <a:lnTo>
                    <a:pt x="460" y="229"/>
                  </a:lnTo>
                  <a:lnTo>
                    <a:pt x="463" y="225"/>
                  </a:lnTo>
                  <a:lnTo>
                    <a:pt x="463" y="225"/>
                  </a:lnTo>
                  <a:lnTo>
                    <a:pt x="465" y="223"/>
                  </a:lnTo>
                  <a:lnTo>
                    <a:pt x="469" y="221"/>
                  </a:lnTo>
                  <a:lnTo>
                    <a:pt x="471" y="221"/>
                  </a:lnTo>
                  <a:lnTo>
                    <a:pt x="473" y="219"/>
                  </a:lnTo>
                  <a:lnTo>
                    <a:pt x="477" y="217"/>
                  </a:lnTo>
                  <a:lnTo>
                    <a:pt x="481" y="215"/>
                  </a:lnTo>
                  <a:lnTo>
                    <a:pt x="481" y="213"/>
                  </a:lnTo>
                  <a:lnTo>
                    <a:pt x="481" y="211"/>
                  </a:lnTo>
                  <a:lnTo>
                    <a:pt x="481" y="209"/>
                  </a:lnTo>
                  <a:lnTo>
                    <a:pt x="481" y="207"/>
                  </a:lnTo>
                  <a:lnTo>
                    <a:pt x="483" y="204"/>
                  </a:lnTo>
                  <a:lnTo>
                    <a:pt x="485" y="204"/>
                  </a:lnTo>
                  <a:lnTo>
                    <a:pt x="487" y="200"/>
                  </a:lnTo>
                  <a:lnTo>
                    <a:pt x="489" y="200"/>
                  </a:lnTo>
                  <a:lnTo>
                    <a:pt x="491" y="198"/>
                  </a:lnTo>
                  <a:lnTo>
                    <a:pt x="491" y="196"/>
                  </a:lnTo>
                  <a:lnTo>
                    <a:pt x="493" y="192"/>
                  </a:lnTo>
                  <a:lnTo>
                    <a:pt x="495" y="192"/>
                  </a:lnTo>
                  <a:lnTo>
                    <a:pt x="497" y="190"/>
                  </a:lnTo>
                  <a:lnTo>
                    <a:pt x="499" y="190"/>
                  </a:lnTo>
                  <a:lnTo>
                    <a:pt x="501" y="186"/>
                  </a:lnTo>
                  <a:lnTo>
                    <a:pt x="501" y="186"/>
                  </a:lnTo>
                  <a:lnTo>
                    <a:pt x="504" y="184"/>
                  </a:lnTo>
                  <a:lnTo>
                    <a:pt x="506" y="184"/>
                  </a:lnTo>
                  <a:lnTo>
                    <a:pt x="508" y="182"/>
                  </a:lnTo>
                  <a:lnTo>
                    <a:pt x="510" y="180"/>
                  </a:lnTo>
                  <a:lnTo>
                    <a:pt x="508" y="178"/>
                  </a:lnTo>
                  <a:lnTo>
                    <a:pt x="506" y="176"/>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PA</a:t>
              </a:r>
            </a:p>
          </p:txBody>
        </p:sp>
        <p:sp>
          <p:nvSpPr>
            <p:cNvPr id="308" name="Freeform 18">
              <a:extLst>
                <a:ext uri="{FF2B5EF4-FFF2-40B4-BE49-F238E27FC236}">
                  <a16:creationId xmlns:a16="http://schemas.microsoft.com/office/drawing/2014/main" id="{DB9F32EA-E9DA-B121-1C40-6BE0848E1C76}"/>
                </a:ext>
              </a:extLst>
            </p:cNvPr>
            <p:cNvSpPr>
              <a:spLocks/>
            </p:cNvSpPr>
            <p:nvPr/>
          </p:nvSpPr>
          <p:spPr bwMode="auto">
            <a:xfrm>
              <a:off x="747" y="264"/>
              <a:ext cx="692" cy="537"/>
            </a:xfrm>
            <a:custGeom>
              <a:avLst/>
              <a:gdLst>
                <a:gd name="T0" fmla="*/ 205 w 692"/>
                <a:gd name="T1" fmla="*/ 31 h 537"/>
                <a:gd name="T2" fmla="*/ 209 w 692"/>
                <a:gd name="T3" fmla="*/ 58 h 537"/>
                <a:gd name="T4" fmla="*/ 211 w 692"/>
                <a:gd name="T5" fmla="*/ 80 h 537"/>
                <a:gd name="T6" fmla="*/ 246 w 692"/>
                <a:gd name="T7" fmla="*/ 95 h 537"/>
                <a:gd name="T8" fmla="*/ 328 w 692"/>
                <a:gd name="T9" fmla="*/ 99 h 537"/>
                <a:gd name="T10" fmla="*/ 344 w 692"/>
                <a:gd name="T11" fmla="*/ 105 h 537"/>
                <a:gd name="T12" fmla="*/ 369 w 692"/>
                <a:gd name="T13" fmla="*/ 103 h 537"/>
                <a:gd name="T14" fmla="*/ 397 w 692"/>
                <a:gd name="T15" fmla="*/ 107 h 537"/>
                <a:gd name="T16" fmla="*/ 449 w 692"/>
                <a:gd name="T17" fmla="*/ 101 h 537"/>
                <a:gd name="T18" fmla="*/ 504 w 692"/>
                <a:gd name="T19" fmla="*/ 97 h 537"/>
                <a:gd name="T20" fmla="*/ 606 w 692"/>
                <a:gd name="T21" fmla="*/ 115 h 537"/>
                <a:gd name="T22" fmla="*/ 672 w 692"/>
                <a:gd name="T23" fmla="*/ 142 h 537"/>
                <a:gd name="T24" fmla="*/ 692 w 692"/>
                <a:gd name="T25" fmla="*/ 166 h 537"/>
                <a:gd name="T26" fmla="*/ 678 w 692"/>
                <a:gd name="T27" fmla="*/ 189 h 537"/>
                <a:gd name="T28" fmla="*/ 653 w 692"/>
                <a:gd name="T29" fmla="*/ 226 h 537"/>
                <a:gd name="T30" fmla="*/ 641 w 692"/>
                <a:gd name="T31" fmla="*/ 250 h 537"/>
                <a:gd name="T32" fmla="*/ 621 w 692"/>
                <a:gd name="T33" fmla="*/ 273 h 537"/>
                <a:gd name="T34" fmla="*/ 614 w 692"/>
                <a:gd name="T35" fmla="*/ 287 h 537"/>
                <a:gd name="T36" fmla="*/ 621 w 692"/>
                <a:gd name="T37" fmla="*/ 298 h 537"/>
                <a:gd name="T38" fmla="*/ 631 w 692"/>
                <a:gd name="T39" fmla="*/ 304 h 537"/>
                <a:gd name="T40" fmla="*/ 635 w 692"/>
                <a:gd name="T41" fmla="*/ 314 h 537"/>
                <a:gd name="T42" fmla="*/ 631 w 692"/>
                <a:gd name="T43" fmla="*/ 328 h 537"/>
                <a:gd name="T44" fmla="*/ 619 w 692"/>
                <a:gd name="T45" fmla="*/ 347 h 537"/>
                <a:gd name="T46" fmla="*/ 608 w 692"/>
                <a:gd name="T47" fmla="*/ 421 h 537"/>
                <a:gd name="T48" fmla="*/ 590 w 692"/>
                <a:gd name="T49" fmla="*/ 537 h 537"/>
                <a:gd name="T50" fmla="*/ 426 w 692"/>
                <a:gd name="T51" fmla="*/ 511 h 537"/>
                <a:gd name="T52" fmla="*/ 223 w 692"/>
                <a:gd name="T53" fmla="*/ 474 h 537"/>
                <a:gd name="T54" fmla="*/ 14 w 692"/>
                <a:gd name="T55" fmla="*/ 429 h 537"/>
                <a:gd name="T56" fmla="*/ 2 w 692"/>
                <a:gd name="T57" fmla="*/ 396 h 537"/>
                <a:gd name="T58" fmla="*/ 4 w 692"/>
                <a:gd name="T59" fmla="*/ 378 h 537"/>
                <a:gd name="T60" fmla="*/ 8 w 692"/>
                <a:gd name="T61" fmla="*/ 353 h 537"/>
                <a:gd name="T62" fmla="*/ 10 w 692"/>
                <a:gd name="T63" fmla="*/ 326 h 537"/>
                <a:gd name="T64" fmla="*/ 29 w 692"/>
                <a:gd name="T65" fmla="*/ 289 h 537"/>
                <a:gd name="T66" fmla="*/ 35 w 692"/>
                <a:gd name="T67" fmla="*/ 289 h 537"/>
                <a:gd name="T68" fmla="*/ 43 w 692"/>
                <a:gd name="T69" fmla="*/ 283 h 537"/>
                <a:gd name="T70" fmla="*/ 47 w 692"/>
                <a:gd name="T71" fmla="*/ 279 h 537"/>
                <a:gd name="T72" fmla="*/ 49 w 692"/>
                <a:gd name="T73" fmla="*/ 261 h 537"/>
                <a:gd name="T74" fmla="*/ 57 w 692"/>
                <a:gd name="T75" fmla="*/ 255 h 537"/>
                <a:gd name="T76" fmla="*/ 53 w 692"/>
                <a:gd name="T77" fmla="*/ 255 h 537"/>
                <a:gd name="T78" fmla="*/ 66 w 692"/>
                <a:gd name="T79" fmla="*/ 220 h 537"/>
                <a:gd name="T80" fmla="*/ 72 w 692"/>
                <a:gd name="T81" fmla="*/ 193 h 537"/>
                <a:gd name="T82" fmla="*/ 78 w 692"/>
                <a:gd name="T83" fmla="*/ 181 h 537"/>
                <a:gd name="T84" fmla="*/ 84 w 692"/>
                <a:gd name="T85" fmla="*/ 162 h 537"/>
                <a:gd name="T86" fmla="*/ 90 w 692"/>
                <a:gd name="T87" fmla="*/ 138 h 537"/>
                <a:gd name="T88" fmla="*/ 98 w 692"/>
                <a:gd name="T89" fmla="*/ 119 h 537"/>
                <a:gd name="T90" fmla="*/ 104 w 692"/>
                <a:gd name="T91" fmla="*/ 99 h 537"/>
                <a:gd name="T92" fmla="*/ 104 w 692"/>
                <a:gd name="T93" fmla="*/ 89 h 537"/>
                <a:gd name="T94" fmla="*/ 111 w 692"/>
                <a:gd name="T95" fmla="*/ 84 h 537"/>
                <a:gd name="T96" fmla="*/ 113 w 692"/>
                <a:gd name="T97" fmla="*/ 76 h 537"/>
                <a:gd name="T98" fmla="*/ 115 w 692"/>
                <a:gd name="T99" fmla="*/ 68 h 537"/>
                <a:gd name="T100" fmla="*/ 123 w 692"/>
                <a:gd name="T101" fmla="*/ 56 h 537"/>
                <a:gd name="T102" fmla="*/ 117 w 692"/>
                <a:gd name="T103" fmla="*/ 52 h 537"/>
                <a:gd name="T104" fmla="*/ 121 w 692"/>
                <a:gd name="T105" fmla="*/ 27 h 537"/>
                <a:gd name="T106" fmla="*/ 127 w 692"/>
                <a:gd name="T107" fmla="*/ 0 h 537"/>
                <a:gd name="T108" fmla="*/ 137 w 692"/>
                <a:gd name="T109" fmla="*/ 11 h 537"/>
                <a:gd name="T110" fmla="*/ 137 w 692"/>
                <a:gd name="T111" fmla="*/ 9 h 537"/>
                <a:gd name="T112" fmla="*/ 145 w 692"/>
                <a:gd name="T113" fmla="*/ 9 h 537"/>
                <a:gd name="T114" fmla="*/ 162 w 692"/>
                <a:gd name="T115" fmla="*/ 7 h 537"/>
                <a:gd name="T116" fmla="*/ 186 w 692"/>
                <a:gd name="T117" fmla="*/ 1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2" h="537">
                  <a:moveTo>
                    <a:pt x="186" y="17"/>
                  </a:moveTo>
                  <a:lnTo>
                    <a:pt x="190" y="17"/>
                  </a:lnTo>
                  <a:lnTo>
                    <a:pt x="193" y="19"/>
                  </a:lnTo>
                  <a:lnTo>
                    <a:pt x="193" y="19"/>
                  </a:lnTo>
                  <a:lnTo>
                    <a:pt x="195" y="23"/>
                  </a:lnTo>
                  <a:lnTo>
                    <a:pt x="197" y="23"/>
                  </a:lnTo>
                  <a:lnTo>
                    <a:pt x="199" y="23"/>
                  </a:lnTo>
                  <a:lnTo>
                    <a:pt x="201" y="25"/>
                  </a:lnTo>
                  <a:lnTo>
                    <a:pt x="203" y="27"/>
                  </a:lnTo>
                  <a:lnTo>
                    <a:pt x="205" y="29"/>
                  </a:lnTo>
                  <a:lnTo>
                    <a:pt x="205" y="31"/>
                  </a:lnTo>
                  <a:lnTo>
                    <a:pt x="207" y="33"/>
                  </a:lnTo>
                  <a:lnTo>
                    <a:pt x="207" y="35"/>
                  </a:lnTo>
                  <a:lnTo>
                    <a:pt x="207" y="39"/>
                  </a:lnTo>
                  <a:lnTo>
                    <a:pt x="209" y="41"/>
                  </a:lnTo>
                  <a:lnTo>
                    <a:pt x="209" y="41"/>
                  </a:lnTo>
                  <a:lnTo>
                    <a:pt x="209" y="43"/>
                  </a:lnTo>
                  <a:lnTo>
                    <a:pt x="211" y="46"/>
                  </a:lnTo>
                  <a:lnTo>
                    <a:pt x="209" y="50"/>
                  </a:lnTo>
                  <a:lnTo>
                    <a:pt x="211" y="54"/>
                  </a:lnTo>
                  <a:lnTo>
                    <a:pt x="209" y="56"/>
                  </a:lnTo>
                  <a:lnTo>
                    <a:pt x="209" y="58"/>
                  </a:lnTo>
                  <a:lnTo>
                    <a:pt x="209" y="60"/>
                  </a:lnTo>
                  <a:lnTo>
                    <a:pt x="209" y="64"/>
                  </a:lnTo>
                  <a:lnTo>
                    <a:pt x="209" y="64"/>
                  </a:lnTo>
                  <a:lnTo>
                    <a:pt x="209" y="66"/>
                  </a:lnTo>
                  <a:lnTo>
                    <a:pt x="209" y="68"/>
                  </a:lnTo>
                  <a:lnTo>
                    <a:pt x="209" y="68"/>
                  </a:lnTo>
                  <a:lnTo>
                    <a:pt x="209" y="72"/>
                  </a:lnTo>
                  <a:lnTo>
                    <a:pt x="209" y="76"/>
                  </a:lnTo>
                  <a:lnTo>
                    <a:pt x="209" y="76"/>
                  </a:lnTo>
                  <a:lnTo>
                    <a:pt x="209" y="78"/>
                  </a:lnTo>
                  <a:lnTo>
                    <a:pt x="211" y="80"/>
                  </a:lnTo>
                  <a:lnTo>
                    <a:pt x="213" y="82"/>
                  </a:lnTo>
                  <a:lnTo>
                    <a:pt x="219" y="84"/>
                  </a:lnTo>
                  <a:lnTo>
                    <a:pt x="221" y="84"/>
                  </a:lnTo>
                  <a:lnTo>
                    <a:pt x="223" y="84"/>
                  </a:lnTo>
                  <a:lnTo>
                    <a:pt x="225" y="87"/>
                  </a:lnTo>
                  <a:lnTo>
                    <a:pt x="229" y="89"/>
                  </a:lnTo>
                  <a:lnTo>
                    <a:pt x="231" y="91"/>
                  </a:lnTo>
                  <a:lnTo>
                    <a:pt x="238" y="91"/>
                  </a:lnTo>
                  <a:lnTo>
                    <a:pt x="244" y="95"/>
                  </a:lnTo>
                  <a:lnTo>
                    <a:pt x="244" y="95"/>
                  </a:lnTo>
                  <a:lnTo>
                    <a:pt x="246" y="95"/>
                  </a:lnTo>
                  <a:lnTo>
                    <a:pt x="252" y="93"/>
                  </a:lnTo>
                  <a:lnTo>
                    <a:pt x="266" y="91"/>
                  </a:lnTo>
                  <a:lnTo>
                    <a:pt x="270" y="91"/>
                  </a:lnTo>
                  <a:lnTo>
                    <a:pt x="276" y="87"/>
                  </a:lnTo>
                  <a:lnTo>
                    <a:pt x="281" y="87"/>
                  </a:lnTo>
                  <a:lnTo>
                    <a:pt x="283" y="87"/>
                  </a:lnTo>
                  <a:lnTo>
                    <a:pt x="289" y="89"/>
                  </a:lnTo>
                  <a:lnTo>
                    <a:pt x="299" y="89"/>
                  </a:lnTo>
                  <a:lnTo>
                    <a:pt x="322" y="95"/>
                  </a:lnTo>
                  <a:lnTo>
                    <a:pt x="326" y="97"/>
                  </a:lnTo>
                  <a:lnTo>
                    <a:pt x="328" y="99"/>
                  </a:lnTo>
                  <a:lnTo>
                    <a:pt x="328" y="101"/>
                  </a:lnTo>
                  <a:lnTo>
                    <a:pt x="328" y="103"/>
                  </a:lnTo>
                  <a:lnTo>
                    <a:pt x="328" y="105"/>
                  </a:lnTo>
                  <a:lnTo>
                    <a:pt x="330" y="105"/>
                  </a:lnTo>
                  <a:lnTo>
                    <a:pt x="332" y="105"/>
                  </a:lnTo>
                  <a:lnTo>
                    <a:pt x="338" y="105"/>
                  </a:lnTo>
                  <a:lnTo>
                    <a:pt x="338" y="105"/>
                  </a:lnTo>
                  <a:lnTo>
                    <a:pt x="340" y="105"/>
                  </a:lnTo>
                  <a:lnTo>
                    <a:pt x="342" y="105"/>
                  </a:lnTo>
                  <a:lnTo>
                    <a:pt x="342" y="105"/>
                  </a:lnTo>
                  <a:lnTo>
                    <a:pt x="344" y="105"/>
                  </a:lnTo>
                  <a:lnTo>
                    <a:pt x="346" y="105"/>
                  </a:lnTo>
                  <a:lnTo>
                    <a:pt x="346" y="107"/>
                  </a:lnTo>
                  <a:lnTo>
                    <a:pt x="350" y="107"/>
                  </a:lnTo>
                  <a:lnTo>
                    <a:pt x="352" y="107"/>
                  </a:lnTo>
                  <a:lnTo>
                    <a:pt x="354" y="107"/>
                  </a:lnTo>
                  <a:lnTo>
                    <a:pt x="354" y="107"/>
                  </a:lnTo>
                  <a:lnTo>
                    <a:pt x="358" y="105"/>
                  </a:lnTo>
                  <a:lnTo>
                    <a:pt x="358" y="105"/>
                  </a:lnTo>
                  <a:lnTo>
                    <a:pt x="365" y="105"/>
                  </a:lnTo>
                  <a:lnTo>
                    <a:pt x="369" y="105"/>
                  </a:lnTo>
                  <a:lnTo>
                    <a:pt x="369" y="103"/>
                  </a:lnTo>
                  <a:lnTo>
                    <a:pt x="369" y="103"/>
                  </a:lnTo>
                  <a:lnTo>
                    <a:pt x="371" y="103"/>
                  </a:lnTo>
                  <a:lnTo>
                    <a:pt x="373" y="103"/>
                  </a:lnTo>
                  <a:lnTo>
                    <a:pt x="383" y="107"/>
                  </a:lnTo>
                  <a:lnTo>
                    <a:pt x="385" y="107"/>
                  </a:lnTo>
                  <a:lnTo>
                    <a:pt x="387" y="107"/>
                  </a:lnTo>
                  <a:lnTo>
                    <a:pt x="387" y="107"/>
                  </a:lnTo>
                  <a:lnTo>
                    <a:pt x="391" y="107"/>
                  </a:lnTo>
                  <a:lnTo>
                    <a:pt x="391" y="107"/>
                  </a:lnTo>
                  <a:lnTo>
                    <a:pt x="393" y="107"/>
                  </a:lnTo>
                  <a:lnTo>
                    <a:pt x="397" y="107"/>
                  </a:lnTo>
                  <a:lnTo>
                    <a:pt x="397" y="107"/>
                  </a:lnTo>
                  <a:lnTo>
                    <a:pt x="399" y="107"/>
                  </a:lnTo>
                  <a:lnTo>
                    <a:pt x="401" y="107"/>
                  </a:lnTo>
                  <a:lnTo>
                    <a:pt x="403" y="107"/>
                  </a:lnTo>
                  <a:lnTo>
                    <a:pt x="406" y="107"/>
                  </a:lnTo>
                  <a:lnTo>
                    <a:pt x="408" y="107"/>
                  </a:lnTo>
                  <a:lnTo>
                    <a:pt x="410" y="105"/>
                  </a:lnTo>
                  <a:lnTo>
                    <a:pt x="412" y="103"/>
                  </a:lnTo>
                  <a:lnTo>
                    <a:pt x="416" y="103"/>
                  </a:lnTo>
                  <a:lnTo>
                    <a:pt x="428" y="101"/>
                  </a:lnTo>
                  <a:lnTo>
                    <a:pt x="449" y="101"/>
                  </a:lnTo>
                  <a:lnTo>
                    <a:pt x="453" y="99"/>
                  </a:lnTo>
                  <a:lnTo>
                    <a:pt x="455" y="97"/>
                  </a:lnTo>
                  <a:lnTo>
                    <a:pt x="457" y="97"/>
                  </a:lnTo>
                  <a:lnTo>
                    <a:pt x="459" y="97"/>
                  </a:lnTo>
                  <a:lnTo>
                    <a:pt x="465" y="99"/>
                  </a:lnTo>
                  <a:lnTo>
                    <a:pt x="469" y="99"/>
                  </a:lnTo>
                  <a:lnTo>
                    <a:pt x="475" y="99"/>
                  </a:lnTo>
                  <a:lnTo>
                    <a:pt x="494" y="101"/>
                  </a:lnTo>
                  <a:lnTo>
                    <a:pt x="498" y="101"/>
                  </a:lnTo>
                  <a:lnTo>
                    <a:pt x="502" y="97"/>
                  </a:lnTo>
                  <a:lnTo>
                    <a:pt x="504" y="97"/>
                  </a:lnTo>
                  <a:lnTo>
                    <a:pt x="506" y="99"/>
                  </a:lnTo>
                  <a:lnTo>
                    <a:pt x="516" y="101"/>
                  </a:lnTo>
                  <a:lnTo>
                    <a:pt x="526" y="101"/>
                  </a:lnTo>
                  <a:lnTo>
                    <a:pt x="537" y="103"/>
                  </a:lnTo>
                  <a:lnTo>
                    <a:pt x="547" y="105"/>
                  </a:lnTo>
                  <a:lnTo>
                    <a:pt x="555" y="107"/>
                  </a:lnTo>
                  <a:lnTo>
                    <a:pt x="565" y="109"/>
                  </a:lnTo>
                  <a:lnTo>
                    <a:pt x="576" y="109"/>
                  </a:lnTo>
                  <a:lnTo>
                    <a:pt x="586" y="111"/>
                  </a:lnTo>
                  <a:lnTo>
                    <a:pt x="596" y="113"/>
                  </a:lnTo>
                  <a:lnTo>
                    <a:pt x="606" y="115"/>
                  </a:lnTo>
                  <a:lnTo>
                    <a:pt x="616" y="117"/>
                  </a:lnTo>
                  <a:lnTo>
                    <a:pt x="625" y="117"/>
                  </a:lnTo>
                  <a:lnTo>
                    <a:pt x="635" y="119"/>
                  </a:lnTo>
                  <a:lnTo>
                    <a:pt x="645" y="121"/>
                  </a:lnTo>
                  <a:lnTo>
                    <a:pt x="655" y="123"/>
                  </a:lnTo>
                  <a:lnTo>
                    <a:pt x="666" y="123"/>
                  </a:lnTo>
                  <a:lnTo>
                    <a:pt x="666" y="125"/>
                  </a:lnTo>
                  <a:lnTo>
                    <a:pt x="666" y="127"/>
                  </a:lnTo>
                  <a:lnTo>
                    <a:pt x="668" y="134"/>
                  </a:lnTo>
                  <a:lnTo>
                    <a:pt x="672" y="140"/>
                  </a:lnTo>
                  <a:lnTo>
                    <a:pt x="672" y="142"/>
                  </a:lnTo>
                  <a:lnTo>
                    <a:pt x="672" y="142"/>
                  </a:lnTo>
                  <a:lnTo>
                    <a:pt x="678" y="144"/>
                  </a:lnTo>
                  <a:lnTo>
                    <a:pt x="678" y="146"/>
                  </a:lnTo>
                  <a:lnTo>
                    <a:pt x="680" y="148"/>
                  </a:lnTo>
                  <a:lnTo>
                    <a:pt x="684" y="150"/>
                  </a:lnTo>
                  <a:lnTo>
                    <a:pt x="686" y="152"/>
                  </a:lnTo>
                  <a:lnTo>
                    <a:pt x="688" y="152"/>
                  </a:lnTo>
                  <a:lnTo>
                    <a:pt x="688" y="154"/>
                  </a:lnTo>
                  <a:lnTo>
                    <a:pt x="690" y="156"/>
                  </a:lnTo>
                  <a:lnTo>
                    <a:pt x="690" y="160"/>
                  </a:lnTo>
                  <a:lnTo>
                    <a:pt x="692" y="166"/>
                  </a:lnTo>
                  <a:lnTo>
                    <a:pt x="692" y="168"/>
                  </a:lnTo>
                  <a:lnTo>
                    <a:pt x="692" y="171"/>
                  </a:lnTo>
                  <a:lnTo>
                    <a:pt x="692" y="173"/>
                  </a:lnTo>
                  <a:lnTo>
                    <a:pt x="690" y="175"/>
                  </a:lnTo>
                  <a:lnTo>
                    <a:pt x="688" y="177"/>
                  </a:lnTo>
                  <a:lnTo>
                    <a:pt x="686" y="177"/>
                  </a:lnTo>
                  <a:lnTo>
                    <a:pt x="684" y="179"/>
                  </a:lnTo>
                  <a:lnTo>
                    <a:pt x="684" y="181"/>
                  </a:lnTo>
                  <a:lnTo>
                    <a:pt x="684" y="183"/>
                  </a:lnTo>
                  <a:lnTo>
                    <a:pt x="680" y="187"/>
                  </a:lnTo>
                  <a:lnTo>
                    <a:pt x="678" y="189"/>
                  </a:lnTo>
                  <a:lnTo>
                    <a:pt x="674" y="193"/>
                  </a:lnTo>
                  <a:lnTo>
                    <a:pt x="674" y="195"/>
                  </a:lnTo>
                  <a:lnTo>
                    <a:pt x="672" y="197"/>
                  </a:lnTo>
                  <a:lnTo>
                    <a:pt x="672" y="201"/>
                  </a:lnTo>
                  <a:lnTo>
                    <a:pt x="672" y="201"/>
                  </a:lnTo>
                  <a:lnTo>
                    <a:pt x="670" y="203"/>
                  </a:lnTo>
                  <a:lnTo>
                    <a:pt x="668" y="209"/>
                  </a:lnTo>
                  <a:lnTo>
                    <a:pt x="666" y="214"/>
                  </a:lnTo>
                  <a:lnTo>
                    <a:pt x="655" y="224"/>
                  </a:lnTo>
                  <a:lnTo>
                    <a:pt x="653" y="226"/>
                  </a:lnTo>
                  <a:lnTo>
                    <a:pt x="653" y="226"/>
                  </a:lnTo>
                  <a:lnTo>
                    <a:pt x="653" y="228"/>
                  </a:lnTo>
                  <a:lnTo>
                    <a:pt x="653" y="228"/>
                  </a:lnTo>
                  <a:lnTo>
                    <a:pt x="653" y="230"/>
                  </a:lnTo>
                  <a:lnTo>
                    <a:pt x="653" y="230"/>
                  </a:lnTo>
                  <a:lnTo>
                    <a:pt x="653" y="232"/>
                  </a:lnTo>
                  <a:lnTo>
                    <a:pt x="651" y="236"/>
                  </a:lnTo>
                  <a:lnTo>
                    <a:pt x="651" y="238"/>
                  </a:lnTo>
                  <a:lnTo>
                    <a:pt x="649" y="242"/>
                  </a:lnTo>
                  <a:lnTo>
                    <a:pt x="643" y="246"/>
                  </a:lnTo>
                  <a:lnTo>
                    <a:pt x="643" y="248"/>
                  </a:lnTo>
                  <a:lnTo>
                    <a:pt x="641" y="250"/>
                  </a:lnTo>
                  <a:lnTo>
                    <a:pt x="635" y="253"/>
                  </a:lnTo>
                  <a:lnTo>
                    <a:pt x="635" y="253"/>
                  </a:lnTo>
                  <a:lnTo>
                    <a:pt x="633" y="255"/>
                  </a:lnTo>
                  <a:lnTo>
                    <a:pt x="631" y="259"/>
                  </a:lnTo>
                  <a:lnTo>
                    <a:pt x="627" y="263"/>
                  </a:lnTo>
                  <a:lnTo>
                    <a:pt x="627" y="265"/>
                  </a:lnTo>
                  <a:lnTo>
                    <a:pt x="625" y="269"/>
                  </a:lnTo>
                  <a:lnTo>
                    <a:pt x="625" y="271"/>
                  </a:lnTo>
                  <a:lnTo>
                    <a:pt x="623" y="273"/>
                  </a:lnTo>
                  <a:lnTo>
                    <a:pt x="621" y="273"/>
                  </a:lnTo>
                  <a:lnTo>
                    <a:pt x="621" y="273"/>
                  </a:lnTo>
                  <a:lnTo>
                    <a:pt x="619" y="273"/>
                  </a:lnTo>
                  <a:lnTo>
                    <a:pt x="619" y="275"/>
                  </a:lnTo>
                  <a:lnTo>
                    <a:pt x="619" y="275"/>
                  </a:lnTo>
                  <a:lnTo>
                    <a:pt x="619" y="275"/>
                  </a:lnTo>
                  <a:lnTo>
                    <a:pt x="616" y="277"/>
                  </a:lnTo>
                  <a:lnTo>
                    <a:pt x="616" y="277"/>
                  </a:lnTo>
                  <a:lnTo>
                    <a:pt x="616" y="279"/>
                  </a:lnTo>
                  <a:lnTo>
                    <a:pt x="616" y="281"/>
                  </a:lnTo>
                  <a:lnTo>
                    <a:pt x="614" y="283"/>
                  </a:lnTo>
                  <a:lnTo>
                    <a:pt x="614" y="285"/>
                  </a:lnTo>
                  <a:lnTo>
                    <a:pt x="614" y="287"/>
                  </a:lnTo>
                  <a:lnTo>
                    <a:pt x="614" y="289"/>
                  </a:lnTo>
                  <a:lnTo>
                    <a:pt x="614" y="291"/>
                  </a:lnTo>
                  <a:lnTo>
                    <a:pt x="614" y="291"/>
                  </a:lnTo>
                  <a:lnTo>
                    <a:pt x="614" y="293"/>
                  </a:lnTo>
                  <a:lnTo>
                    <a:pt x="614" y="293"/>
                  </a:lnTo>
                  <a:lnTo>
                    <a:pt x="614" y="296"/>
                  </a:lnTo>
                  <a:lnTo>
                    <a:pt x="614" y="298"/>
                  </a:lnTo>
                  <a:lnTo>
                    <a:pt x="619" y="300"/>
                  </a:lnTo>
                  <a:lnTo>
                    <a:pt x="619" y="300"/>
                  </a:lnTo>
                  <a:lnTo>
                    <a:pt x="619" y="300"/>
                  </a:lnTo>
                  <a:lnTo>
                    <a:pt x="621" y="298"/>
                  </a:lnTo>
                  <a:lnTo>
                    <a:pt x="621" y="298"/>
                  </a:lnTo>
                  <a:lnTo>
                    <a:pt x="623" y="298"/>
                  </a:lnTo>
                  <a:lnTo>
                    <a:pt x="623" y="300"/>
                  </a:lnTo>
                  <a:lnTo>
                    <a:pt x="623" y="300"/>
                  </a:lnTo>
                  <a:lnTo>
                    <a:pt x="623" y="302"/>
                  </a:lnTo>
                  <a:lnTo>
                    <a:pt x="625" y="302"/>
                  </a:lnTo>
                  <a:lnTo>
                    <a:pt x="627" y="302"/>
                  </a:lnTo>
                  <a:lnTo>
                    <a:pt x="629" y="302"/>
                  </a:lnTo>
                  <a:lnTo>
                    <a:pt x="631" y="302"/>
                  </a:lnTo>
                  <a:lnTo>
                    <a:pt x="631" y="302"/>
                  </a:lnTo>
                  <a:lnTo>
                    <a:pt x="631" y="304"/>
                  </a:lnTo>
                  <a:lnTo>
                    <a:pt x="631" y="304"/>
                  </a:lnTo>
                  <a:lnTo>
                    <a:pt x="631" y="306"/>
                  </a:lnTo>
                  <a:lnTo>
                    <a:pt x="631" y="308"/>
                  </a:lnTo>
                  <a:lnTo>
                    <a:pt x="631" y="308"/>
                  </a:lnTo>
                  <a:lnTo>
                    <a:pt x="633" y="308"/>
                  </a:lnTo>
                  <a:lnTo>
                    <a:pt x="635" y="310"/>
                  </a:lnTo>
                  <a:lnTo>
                    <a:pt x="635" y="312"/>
                  </a:lnTo>
                  <a:lnTo>
                    <a:pt x="635" y="312"/>
                  </a:lnTo>
                  <a:lnTo>
                    <a:pt x="635" y="314"/>
                  </a:lnTo>
                  <a:lnTo>
                    <a:pt x="635" y="314"/>
                  </a:lnTo>
                  <a:lnTo>
                    <a:pt x="635" y="314"/>
                  </a:lnTo>
                  <a:lnTo>
                    <a:pt x="635" y="316"/>
                  </a:lnTo>
                  <a:lnTo>
                    <a:pt x="633" y="316"/>
                  </a:lnTo>
                  <a:lnTo>
                    <a:pt x="633" y="318"/>
                  </a:lnTo>
                  <a:lnTo>
                    <a:pt x="633" y="318"/>
                  </a:lnTo>
                  <a:lnTo>
                    <a:pt x="631" y="318"/>
                  </a:lnTo>
                  <a:lnTo>
                    <a:pt x="631" y="318"/>
                  </a:lnTo>
                  <a:lnTo>
                    <a:pt x="629" y="318"/>
                  </a:lnTo>
                  <a:lnTo>
                    <a:pt x="629" y="320"/>
                  </a:lnTo>
                  <a:lnTo>
                    <a:pt x="629" y="322"/>
                  </a:lnTo>
                  <a:lnTo>
                    <a:pt x="631" y="324"/>
                  </a:lnTo>
                  <a:lnTo>
                    <a:pt x="631" y="328"/>
                  </a:lnTo>
                  <a:lnTo>
                    <a:pt x="631" y="328"/>
                  </a:lnTo>
                  <a:lnTo>
                    <a:pt x="629" y="330"/>
                  </a:lnTo>
                  <a:lnTo>
                    <a:pt x="629" y="330"/>
                  </a:lnTo>
                  <a:lnTo>
                    <a:pt x="629" y="330"/>
                  </a:lnTo>
                  <a:lnTo>
                    <a:pt x="627" y="334"/>
                  </a:lnTo>
                  <a:lnTo>
                    <a:pt x="627" y="339"/>
                  </a:lnTo>
                  <a:lnTo>
                    <a:pt x="625" y="341"/>
                  </a:lnTo>
                  <a:lnTo>
                    <a:pt x="625" y="343"/>
                  </a:lnTo>
                  <a:lnTo>
                    <a:pt x="623" y="345"/>
                  </a:lnTo>
                  <a:lnTo>
                    <a:pt x="621" y="345"/>
                  </a:lnTo>
                  <a:lnTo>
                    <a:pt x="619" y="347"/>
                  </a:lnTo>
                  <a:lnTo>
                    <a:pt x="619" y="349"/>
                  </a:lnTo>
                  <a:lnTo>
                    <a:pt x="619" y="351"/>
                  </a:lnTo>
                  <a:lnTo>
                    <a:pt x="619" y="351"/>
                  </a:lnTo>
                  <a:lnTo>
                    <a:pt x="619" y="351"/>
                  </a:lnTo>
                  <a:lnTo>
                    <a:pt x="619" y="361"/>
                  </a:lnTo>
                  <a:lnTo>
                    <a:pt x="616" y="365"/>
                  </a:lnTo>
                  <a:lnTo>
                    <a:pt x="616" y="375"/>
                  </a:lnTo>
                  <a:lnTo>
                    <a:pt x="614" y="388"/>
                  </a:lnTo>
                  <a:lnTo>
                    <a:pt x="612" y="398"/>
                  </a:lnTo>
                  <a:lnTo>
                    <a:pt x="610" y="408"/>
                  </a:lnTo>
                  <a:lnTo>
                    <a:pt x="608" y="421"/>
                  </a:lnTo>
                  <a:lnTo>
                    <a:pt x="608" y="431"/>
                  </a:lnTo>
                  <a:lnTo>
                    <a:pt x="606" y="441"/>
                  </a:lnTo>
                  <a:lnTo>
                    <a:pt x="604" y="451"/>
                  </a:lnTo>
                  <a:lnTo>
                    <a:pt x="602" y="464"/>
                  </a:lnTo>
                  <a:lnTo>
                    <a:pt x="600" y="474"/>
                  </a:lnTo>
                  <a:lnTo>
                    <a:pt x="600" y="484"/>
                  </a:lnTo>
                  <a:lnTo>
                    <a:pt x="598" y="494"/>
                  </a:lnTo>
                  <a:lnTo>
                    <a:pt x="596" y="507"/>
                  </a:lnTo>
                  <a:lnTo>
                    <a:pt x="594" y="517"/>
                  </a:lnTo>
                  <a:lnTo>
                    <a:pt x="592" y="527"/>
                  </a:lnTo>
                  <a:lnTo>
                    <a:pt x="590" y="537"/>
                  </a:lnTo>
                  <a:lnTo>
                    <a:pt x="576" y="535"/>
                  </a:lnTo>
                  <a:lnTo>
                    <a:pt x="561" y="533"/>
                  </a:lnTo>
                  <a:lnTo>
                    <a:pt x="545" y="531"/>
                  </a:lnTo>
                  <a:lnTo>
                    <a:pt x="530" y="529"/>
                  </a:lnTo>
                  <a:lnTo>
                    <a:pt x="516" y="527"/>
                  </a:lnTo>
                  <a:lnTo>
                    <a:pt x="500" y="523"/>
                  </a:lnTo>
                  <a:lnTo>
                    <a:pt x="485" y="521"/>
                  </a:lnTo>
                  <a:lnTo>
                    <a:pt x="471" y="519"/>
                  </a:lnTo>
                  <a:lnTo>
                    <a:pt x="455" y="517"/>
                  </a:lnTo>
                  <a:lnTo>
                    <a:pt x="440" y="513"/>
                  </a:lnTo>
                  <a:lnTo>
                    <a:pt x="426" y="511"/>
                  </a:lnTo>
                  <a:lnTo>
                    <a:pt x="410" y="509"/>
                  </a:lnTo>
                  <a:lnTo>
                    <a:pt x="395" y="507"/>
                  </a:lnTo>
                  <a:lnTo>
                    <a:pt x="381" y="503"/>
                  </a:lnTo>
                  <a:lnTo>
                    <a:pt x="365" y="500"/>
                  </a:lnTo>
                  <a:lnTo>
                    <a:pt x="350" y="498"/>
                  </a:lnTo>
                  <a:lnTo>
                    <a:pt x="330" y="494"/>
                  </a:lnTo>
                  <a:lnTo>
                    <a:pt x="307" y="490"/>
                  </a:lnTo>
                  <a:lnTo>
                    <a:pt x="287" y="486"/>
                  </a:lnTo>
                  <a:lnTo>
                    <a:pt x="266" y="482"/>
                  </a:lnTo>
                  <a:lnTo>
                    <a:pt x="244" y="478"/>
                  </a:lnTo>
                  <a:lnTo>
                    <a:pt x="223" y="474"/>
                  </a:lnTo>
                  <a:lnTo>
                    <a:pt x="203" y="470"/>
                  </a:lnTo>
                  <a:lnTo>
                    <a:pt x="182" y="466"/>
                  </a:lnTo>
                  <a:lnTo>
                    <a:pt x="160" y="462"/>
                  </a:lnTo>
                  <a:lnTo>
                    <a:pt x="139" y="457"/>
                  </a:lnTo>
                  <a:lnTo>
                    <a:pt x="119" y="451"/>
                  </a:lnTo>
                  <a:lnTo>
                    <a:pt x="98" y="447"/>
                  </a:lnTo>
                  <a:lnTo>
                    <a:pt x="76" y="443"/>
                  </a:lnTo>
                  <a:lnTo>
                    <a:pt x="55" y="439"/>
                  </a:lnTo>
                  <a:lnTo>
                    <a:pt x="35" y="435"/>
                  </a:lnTo>
                  <a:lnTo>
                    <a:pt x="14" y="429"/>
                  </a:lnTo>
                  <a:lnTo>
                    <a:pt x="14" y="429"/>
                  </a:lnTo>
                  <a:lnTo>
                    <a:pt x="12" y="429"/>
                  </a:lnTo>
                  <a:lnTo>
                    <a:pt x="10" y="427"/>
                  </a:lnTo>
                  <a:lnTo>
                    <a:pt x="6" y="423"/>
                  </a:lnTo>
                  <a:lnTo>
                    <a:pt x="4" y="416"/>
                  </a:lnTo>
                  <a:lnTo>
                    <a:pt x="2" y="416"/>
                  </a:lnTo>
                  <a:lnTo>
                    <a:pt x="2" y="414"/>
                  </a:lnTo>
                  <a:lnTo>
                    <a:pt x="4" y="404"/>
                  </a:lnTo>
                  <a:lnTo>
                    <a:pt x="2" y="400"/>
                  </a:lnTo>
                  <a:lnTo>
                    <a:pt x="2" y="400"/>
                  </a:lnTo>
                  <a:lnTo>
                    <a:pt x="2" y="398"/>
                  </a:lnTo>
                  <a:lnTo>
                    <a:pt x="2" y="396"/>
                  </a:lnTo>
                  <a:lnTo>
                    <a:pt x="2" y="392"/>
                  </a:lnTo>
                  <a:lnTo>
                    <a:pt x="2" y="392"/>
                  </a:lnTo>
                  <a:lnTo>
                    <a:pt x="2" y="392"/>
                  </a:lnTo>
                  <a:lnTo>
                    <a:pt x="0" y="390"/>
                  </a:lnTo>
                  <a:lnTo>
                    <a:pt x="2" y="390"/>
                  </a:lnTo>
                  <a:lnTo>
                    <a:pt x="2" y="390"/>
                  </a:lnTo>
                  <a:lnTo>
                    <a:pt x="4" y="388"/>
                  </a:lnTo>
                  <a:lnTo>
                    <a:pt x="4" y="386"/>
                  </a:lnTo>
                  <a:lnTo>
                    <a:pt x="4" y="384"/>
                  </a:lnTo>
                  <a:lnTo>
                    <a:pt x="4" y="382"/>
                  </a:lnTo>
                  <a:lnTo>
                    <a:pt x="4" y="378"/>
                  </a:lnTo>
                  <a:lnTo>
                    <a:pt x="4" y="378"/>
                  </a:lnTo>
                  <a:lnTo>
                    <a:pt x="6" y="375"/>
                  </a:lnTo>
                  <a:lnTo>
                    <a:pt x="8" y="371"/>
                  </a:lnTo>
                  <a:lnTo>
                    <a:pt x="8" y="371"/>
                  </a:lnTo>
                  <a:lnTo>
                    <a:pt x="10" y="367"/>
                  </a:lnTo>
                  <a:lnTo>
                    <a:pt x="10" y="361"/>
                  </a:lnTo>
                  <a:lnTo>
                    <a:pt x="10" y="359"/>
                  </a:lnTo>
                  <a:lnTo>
                    <a:pt x="10" y="357"/>
                  </a:lnTo>
                  <a:lnTo>
                    <a:pt x="10" y="355"/>
                  </a:lnTo>
                  <a:lnTo>
                    <a:pt x="10" y="355"/>
                  </a:lnTo>
                  <a:lnTo>
                    <a:pt x="8" y="353"/>
                  </a:lnTo>
                  <a:lnTo>
                    <a:pt x="8" y="351"/>
                  </a:lnTo>
                  <a:lnTo>
                    <a:pt x="8" y="349"/>
                  </a:lnTo>
                  <a:lnTo>
                    <a:pt x="6" y="347"/>
                  </a:lnTo>
                  <a:lnTo>
                    <a:pt x="6" y="347"/>
                  </a:lnTo>
                  <a:lnTo>
                    <a:pt x="4" y="347"/>
                  </a:lnTo>
                  <a:lnTo>
                    <a:pt x="4" y="341"/>
                  </a:lnTo>
                  <a:lnTo>
                    <a:pt x="4" y="339"/>
                  </a:lnTo>
                  <a:lnTo>
                    <a:pt x="4" y="339"/>
                  </a:lnTo>
                  <a:lnTo>
                    <a:pt x="2" y="337"/>
                  </a:lnTo>
                  <a:lnTo>
                    <a:pt x="4" y="337"/>
                  </a:lnTo>
                  <a:lnTo>
                    <a:pt x="10" y="326"/>
                  </a:lnTo>
                  <a:lnTo>
                    <a:pt x="14" y="322"/>
                  </a:lnTo>
                  <a:lnTo>
                    <a:pt x="16" y="320"/>
                  </a:lnTo>
                  <a:lnTo>
                    <a:pt x="16" y="318"/>
                  </a:lnTo>
                  <a:lnTo>
                    <a:pt x="18" y="318"/>
                  </a:lnTo>
                  <a:lnTo>
                    <a:pt x="20" y="316"/>
                  </a:lnTo>
                  <a:lnTo>
                    <a:pt x="20" y="314"/>
                  </a:lnTo>
                  <a:lnTo>
                    <a:pt x="23" y="310"/>
                  </a:lnTo>
                  <a:lnTo>
                    <a:pt x="29" y="296"/>
                  </a:lnTo>
                  <a:lnTo>
                    <a:pt x="29" y="291"/>
                  </a:lnTo>
                  <a:lnTo>
                    <a:pt x="29" y="289"/>
                  </a:lnTo>
                  <a:lnTo>
                    <a:pt x="29" y="289"/>
                  </a:lnTo>
                  <a:lnTo>
                    <a:pt x="31" y="287"/>
                  </a:lnTo>
                  <a:lnTo>
                    <a:pt x="31" y="287"/>
                  </a:lnTo>
                  <a:lnTo>
                    <a:pt x="33" y="287"/>
                  </a:lnTo>
                  <a:lnTo>
                    <a:pt x="33" y="285"/>
                  </a:lnTo>
                  <a:lnTo>
                    <a:pt x="35" y="285"/>
                  </a:lnTo>
                  <a:lnTo>
                    <a:pt x="33" y="291"/>
                  </a:lnTo>
                  <a:lnTo>
                    <a:pt x="35" y="293"/>
                  </a:lnTo>
                  <a:lnTo>
                    <a:pt x="35" y="293"/>
                  </a:lnTo>
                  <a:lnTo>
                    <a:pt x="35" y="291"/>
                  </a:lnTo>
                  <a:lnTo>
                    <a:pt x="37" y="289"/>
                  </a:lnTo>
                  <a:lnTo>
                    <a:pt x="35" y="289"/>
                  </a:lnTo>
                  <a:lnTo>
                    <a:pt x="37" y="289"/>
                  </a:lnTo>
                  <a:lnTo>
                    <a:pt x="37" y="289"/>
                  </a:lnTo>
                  <a:lnTo>
                    <a:pt x="37" y="287"/>
                  </a:lnTo>
                  <a:lnTo>
                    <a:pt x="39" y="287"/>
                  </a:lnTo>
                  <a:lnTo>
                    <a:pt x="37" y="285"/>
                  </a:lnTo>
                  <a:lnTo>
                    <a:pt x="39" y="283"/>
                  </a:lnTo>
                  <a:lnTo>
                    <a:pt x="41" y="281"/>
                  </a:lnTo>
                  <a:lnTo>
                    <a:pt x="43" y="281"/>
                  </a:lnTo>
                  <a:lnTo>
                    <a:pt x="45" y="281"/>
                  </a:lnTo>
                  <a:lnTo>
                    <a:pt x="45" y="283"/>
                  </a:lnTo>
                  <a:lnTo>
                    <a:pt x="43" y="283"/>
                  </a:lnTo>
                  <a:lnTo>
                    <a:pt x="45" y="285"/>
                  </a:lnTo>
                  <a:lnTo>
                    <a:pt x="45" y="287"/>
                  </a:lnTo>
                  <a:lnTo>
                    <a:pt x="47" y="287"/>
                  </a:lnTo>
                  <a:lnTo>
                    <a:pt x="47" y="289"/>
                  </a:lnTo>
                  <a:lnTo>
                    <a:pt x="49" y="289"/>
                  </a:lnTo>
                  <a:lnTo>
                    <a:pt x="47" y="283"/>
                  </a:lnTo>
                  <a:lnTo>
                    <a:pt x="47" y="281"/>
                  </a:lnTo>
                  <a:lnTo>
                    <a:pt x="47" y="281"/>
                  </a:lnTo>
                  <a:lnTo>
                    <a:pt x="47" y="279"/>
                  </a:lnTo>
                  <a:lnTo>
                    <a:pt x="47" y="279"/>
                  </a:lnTo>
                  <a:lnTo>
                    <a:pt x="47" y="279"/>
                  </a:lnTo>
                  <a:lnTo>
                    <a:pt x="47" y="277"/>
                  </a:lnTo>
                  <a:lnTo>
                    <a:pt x="45" y="277"/>
                  </a:lnTo>
                  <a:lnTo>
                    <a:pt x="41" y="279"/>
                  </a:lnTo>
                  <a:lnTo>
                    <a:pt x="39" y="283"/>
                  </a:lnTo>
                  <a:lnTo>
                    <a:pt x="37" y="285"/>
                  </a:lnTo>
                  <a:lnTo>
                    <a:pt x="35" y="283"/>
                  </a:lnTo>
                  <a:lnTo>
                    <a:pt x="37" y="281"/>
                  </a:lnTo>
                  <a:lnTo>
                    <a:pt x="45" y="269"/>
                  </a:lnTo>
                  <a:lnTo>
                    <a:pt x="45" y="267"/>
                  </a:lnTo>
                  <a:lnTo>
                    <a:pt x="47" y="265"/>
                  </a:lnTo>
                  <a:lnTo>
                    <a:pt x="49" y="261"/>
                  </a:lnTo>
                  <a:lnTo>
                    <a:pt x="49" y="259"/>
                  </a:lnTo>
                  <a:lnTo>
                    <a:pt x="51" y="259"/>
                  </a:lnTo>
                  <a:lnTo>
                    <a:pt x="53" y="257"/>
                  </a:lnTo>
                  <a:lnTo>
                    <a:pt x="55" y="257"/>
                  </a:lnTo>
                  <a:lnTo>
                    <a:pt x="55" y="255"/>
                  </a:lnTo>
                  <a:lnTo>
                    <a:pt x="55" y="253"/>
                  </a:lnTo>
                  <a:lnTo>
                    <a:pt x="57" y="253"/>
                  </a:lnTo>
                  <a:lnTo>
                    <a:pt x="57" y="253"/>
                  </a:lnTo>
                  <a:lnTo>
                    <a:pt x="57" y="253"/>
                  </a:lnTo>
                  <a:lnTo>
                    <a:pt x="57" y="255"/>
                  </a:lnTo>
                  <a:lnTo>
                    <a:pt x="57" y="255"/>
                  </a:lnTo>
                  <a:lnTo>
                    <a:pt x="57" y="255"/>
                  </a:lnTo>
                  <a:lnTo>
                    <a:pt x="61" y="255"/>
                  </a:lnTo>
                  <a:lnTo>
                    <a:pt x="61" y="255"/>
                  </a:lnTo>
                  <a:lnTo>
                    <a:pt x="61" y="255"/>
                  </a:lnTo>
                  <a:lnTo>
                    <a:pt x="59" y="253"/>
                  </a:lnTo>
                  <a:lnTo>
                    <a:pt x="57" y="250"/>
                  </a:lnTo>
                  <a:lnTo>
                    <a:pt x="57" y="250"/>
                  </a:lnTo>
                  <a:lnTo>
                    <a:pt x="55" y="253"/>
                  </a:lnTo>
                  <a:lnTo>
                    <a:pt x="53" y="255"/>
                  </a:lnTo>
                  <a:lnTo>
                    <a:pt x="53" y="257"/>
                  </a:lnTo>
                  <a:lnTo>
                    <a:pt x="53" y="255"/>
                  </a:lnTo>
                  <a:lnTo>
                    <a:pt x="53" y="253"/>
                  </a:lnTo>
                  <a:lnTo>
                    <a:pt x="55" y="248"/>
                  </a:lnTo>
                  <a:lnTo>
                    <a:pt x="59" y="236"/>
                  </a:lnTo>
                  <a:lnTo>
                    <a:pt x="61" y="232"/>
                  </a:lnTo>
                  <a:lnTo>
                    <a:pt x="61" y="230"/>
                  </a:lnTo>
                  <a:lnTo>
                    <a:pt x="63" y="226"/>
                  </a:lnTo>
                  <a:lnTo>
                    <a:pt x="63" y="226"/>
                  </a:lnTo>
                  <a:lnTo>
                    <a:pt x="63" y="224"/>
                  </a:lnTo>
                  <a:lnTo>
                    <a:pt x="66" y="224"/>
                  </a:lnTo>
                  <a:lnTo>
                    <a:pt x="66" y="224"/>
                  </a:lnTo>
                  <a:lnTo>
                    <a:pt x="66" y="220"/>
                  </a:lnTo>
                  <a:lnTo>
                    <a:pt x="66" y="220"/>
                  </a:lnTo>
                  <a:lnTo>
                    <a:pt x="66" y="218"/>
                  </a:lnTo>
                  <a:lnTo>
                    <a:pt x="66" y="218"/>
                  </a:lnTo>
                  <a:lnTo>
                    <a:pt x="68" y="214"/>
                  </a:lnTo>
                  <a:lnTo>
                    <a:pt x="70" y="205"/>
                  </a:lnTo>
                  <a:lnTo>
                    <a:pt x="72" y="199"/>
                  </a:lnTo>
                  <a:lnTo>
                    <a:pt x="72" y="195"/>
                  </a:lnTo>
                  <a:lnTo>
                    <a:pt x="72" y="195"/>
                  </a:lnTo>
                  <a:lnTo>
                    <a:pt x="72" y="193"/>
                  </a:lnTo>
                  <a:lnTo>
                    <a:pt x="72" y="193"/>
                  </a:lnTo>
                  <a:lnTo>
                    <a:pt x="72" y="193"/>
                  </a:lnTo>
                  <a:lnTo>
                    <a:pt x="74" y="191"/>
                  </a:lnTo>
                  <a:lnTo>
                    <a:pt x="74" y="191"/>
                  </a:lnTo>
                  <a:lnTo>
                    <a:pt x="76" y="185"/>
                  </a:lnTo>
                  <a:lnTo>
                    <a:pt x="78" y="183"/>
                  </a:lnTo>
                  <a:lnTo>
                    <a:pt x="78" y="183"/>
                  </a:lnTo>
                  <a:lnTo>
                    <a:pt x="80" y="183"/>
                  </a:lnTo>
                  <a:lnTo>
                    <a:pt x="82" y="185"/>
                  </a:lnTo>
                  <a:lnTo>
                    <a:pt x="82" y="181"/>
                  </a:lnTo>
                  <a:lnTo>
                    <a:pt x="80" y="181"/>
                  </a:lnTo>
                  <a:lnTo>
                    <a:pt x="80" y="181"/>
                  </a:lnTo>
                  <a:lnTo>
                    <a:pt x="78" y="181"/>
                  </a:lnTo>
                  <a:lnTo>
                    <a:pt x="78" y="179"/>
                  </a:lnTo>
                  <a:lnTo>
                    <a:pt x="78" y="175"/>
                  </a:lnTo>
                  <a:lnTo>
                    <a:pt x="84" y="162"/>
                  </a:lnTo>
                  <a:lnTo>
                    <a:pt x="84" y="162"/>
                  </a:lnTo>
                  <a:lnTo>
                    <a:pt x="86" y="164"/>
                  </a:lnTo>
                  <a:lnTo>
                    <a:pt x="88" y="164"/>
                  </a:lnTo>
                  <a:lnTo>
                    <a:pt x="88" y="162"/>
                  </a:lnTo>
                  <a:lnTo>
                    <a:pt x="88" y="162"/>
                  </a:lnTo>
                  <a:lnTo>
                    <a:pt x="86" y="162"/>
                  </a:lnTo>
                  <a:lnTo>
                    <a:pt x="86" y="162"/>
                  </a:lnTo>
                  <a:lnTo>
                    <a:pt x="84" y="162"/>
                  </a:lnTo>
                  <a:lnTo>
                    <a:pt x="84" y="160"/>
                  </a:lnTo>
                  <a:lnTo>
                    <a:pt x="84" y="160"/>
                  </a:lnTo>
                  <a:lnTo>
                    <a:pt x="84" y="158"/>
                  </a:lnTo>
                  <a:lnTo>
                    <a:pt x="84" y="156"/>
                  </a:lnTo>
                  <a:lnTo>
                    <a:pt x="84" y="156"/>
                  </a:lnTo>
                  <a:lnTo>
                    <a:pt x="86" y="150"/>
                  </a:lnTo>
                  <a:lnTo>
                    <a:pt x="86" y="148"/>
                  </a:lnTo>
                  <a:lnTo>
                    <a:pt x="86" y="148"/>
                  </a:lnTo>
                  <a:lnTo>
                    <a:pt x="88" y="140"/>
                  </a:lnTo>
                  <a:lnTo>
                    <a:pt x="88" y="140"/>
                  </a:lnTo>
                  <a:lnTo>
                    <a:pt x="90" y="138"/>
                  </a:lnTo>
                  <a:lnTo>
                    <a:pt x="92" y="136"/>
                  </a:lnTo>
                  <a:lnTo>
                    <a:pt x="92" y="134"/>
                  </a:lnTo>
                  <a:lnTo>
                    <a:pt x="92" y="134"/>
                  </a:lnTo>
                  <a:lnTo>
                    <a:pt x="92" y="134"/>
                  </a:lnTo>
                  <a:lnTo>
                    <a:pt x="94" y="132"/>
                  </a:lnTo>
                  <a:lnTo>
                    <a:pt x="94" y="130"/>
                  </a:lnTo>
                  <a:lnTo>
                    <a:pt x="94" y="130"/>
                  </a:lnTo>
                  <a:lnTo>
                    <a:pt x="94" y="130"/>
                  </a:lnTo>
                  <a:lnTo>
                    <a:pt x="94" y="127"/>
                  </a:lnTo>
                  <a:lnTo>
                    <a:pt x="96" y="123"/>
                  </a:lnTo>
                  <a:lnTo>
                    <a:pt x="98" y="119"/>
                  </a:lnTo>
                  <a:lnTo>
                    <a:pt x="96" y="117"/>
                  </a:lnTo>
                  <a:lnTo>
                    <a:pt x="96" y="117"/>
                  </a:lnTo>
                  <a:lnTo>
                    <a:pt x="98" y="115"/>
                  </a:lnTo>
                  <a:lnTo>
                    <a:pt x="100" y="113"/>
                  </a:lnTo>
                  <a:lnTo>
                    <a:pt x="102" y="111"/>
                  </a:lnTo>
                  <a:lnTo>
                    <a:pt x="102" y="109"/>
                  </a:lnTo>
                  <a:lnTo>
                    <a:pt x="102" y="107"/>
                  </a:lnTo>
                  <a:lnTo>
                    <a:pt x="102" y="105"/>
                  </a:lnTo>
                  <a:lnTo>
                    <a:pt x="102" y="103"/>
                  </a:lnTo>
                  <a:lnTo>
                    <a:pt x="104" y="103"/>
                  </a:lnTo>
                  <a:lnTo>
                    <a:pt x="104" y="99"/>
                  </a:lnTo>
                  <a:lnTo>
                    <a:pt x="104" y="99"/>
                  </a:lnTo>
                  <a:lnTo>
                    <a:pt x="104" y="99"/>
                  </a:lnTo>
                  <a:lnTo>
                    <a:pt x="107" y="99"/>
                  </a:lnTo>
                  <a:lnTo>
                    <a:pt x="107" y="97"/>
                  </a:lnTo>
                  <a:lnTo>
                    <a:pt x="107" y="97"/>
                  </a:lnTo>
                  <a:lnTo>
                    <a:pt x="107" y="95"/>
                  </a:lnTo>
                  <a:lnTo>
                    <a:pt x="107" y="91"/>
                  </a:lnTo>
                  <a:lnTo>
                    <a:pt x="107" y="91"/>
                  </a:lnTo>
                  <a:lnTo>
                    <a:pt x="104" y="91"/>
                  </a:lnTo>
                  <a:lnTo>
                    <a:pt x="104" y="89"/>
                  </a:lnTo>
                  <a:lnTo>
                    <a:pt x="104" y="89"/>
                  </a:lnTo>
                  <a:lnTo>
                    <a:pt x="107" y="89"/>
                  </a:lnTo>
                  <a:lnTo>
                    <a:pt x="107" y="89"/>
                  </a:lnTo>
                  <a:lnTo>
                    <a:pt x="109" y="87"/>
                  </a:lnTo>
                  <a:lnTo>
                    <a:pt x="109" y="84"/>
                  </a:lnTo>
                  <a:lnTo>
                    <a:pt x="109" y="84"/>
                  </a:lnTo>
                  <a:lnTo>
                    <a:pt x="109" y="82"/>
                  </a:lnTo>
                  <a:lnTo>
                    <a:pt x="109" y="82"/>
                  </a:lnTo>
                  <a:lnTo>
                    <a:pt x="111" y="82"/>
                  </a:lnTo>
                  <a:lnTo>
                    <a:pt x="109" y="82"/>
                  </a:lnTo>
                  <a:lnTo>
                    <a:pt x="109" y="87"/>
                  </a:lnTo>
                  <a:lnTo>
                    <a:pt x="111" y="84"/>
                  </a:lnTo>
                  <a:lnTo>
                    <a:pt x="111" y="84"/>
                  </a:lnTo>
                  <a:lnTo>
                    <a:pt x="113" y="82"/>
                  </a:lnTo>
                  <a:lnTo>
                    <a:pt x="111" y="80"/>
                  </a:lnTo>
                  <a:lnTo>
                    <a:pt x="109" y="78"/>
                  </a:lnTo>
                  <a:lnTo>
                    <a:pt x="111" y="74"/>
                  </a:lnTo>
                  <a:lnTo>
                    <a:pt x="111" y="72"/>
                  </a:lnTo>
                  <a:lnTo>
                    <a:pt x="113" y="68"/>
                  </a:lnTo>
                  <a:lnTo>
                    <a:pt x="113" y="68"/>
                  </a:lnTo>
                  <a:lnTo>
                    <a:pt x="113" y="72"/>
                  </a:lnTo>
                  <a:lnTo>
                    <a:pt x="113" y="74"/>
                  </a:lnTo>
                  <a:lnTo>
                    <a:pt x="113" y="76"/>
                  </a:lnTo>
                  <a:lnTo>
                    <a:pt x="115" y="76"/>
                  </a:lnTo>
                  <a:lnTo>
                    <a:pt x="117" y="78"/>
                  </a:lnTo>
                  <a:lnTo>
                    <a:pt x="117" y="76"/>
                  </a:lnTo>
                  <a:lnTo>
                    <a:pt x="117" y="76"/>
                  </a:lnTo>
                  <a:lnTo>
                    <a:pt x="119" y="76"/>
                  </a:lnTo>
                  <a:lnTo>
                    <a:pt x="119" y="74"/>
                  </a:lnTo>
                  <a:lnTo>
                    <a:pt x="117" y="74"/>
                  </a:lnTo>
                  <a:lnTo>
                    <a:pt x="117" y="72"/>
                  </a:lnTo>
                  <a:lnTo>
                    <a:pt x="117" y="70"/>
                  </a:lnTo>
                  <a:lnTo>
                    <a:pt x="117" y="68"/>
                  </a:lnTo>
                  <a:lnTo>
                    <a:pt x="115" y="68"/>
                  </a:lnTo>
                  <a:lnTo>
                    <a:pt x="113" y="66"/>
                  </a:lnTo>
                  <a:lnTo>
                    <a:pt x="113" y="66"/>
                  </a:lnTo>
                  <a:lnTo>
                    <a:pt x="113" y="64"/>
                  </a:lnTo>
                  <a:lnTo>
                    <a:pt x="115" y="62"/>
                  </a:lnTo>
                  <a:lnTo>
                    <a:pt x="117" y="60"/>
                  </a:lnTo>
                  <a:lnTo>
                    <a:pt x="119" y="58"/>
                  </a:lnTo>
                  <a:lnTo>
                    <a:pt x="119" y="58"/>
                  </a:lnTo>
                  <a:lnTo>
                    <a:pt x="119" y="56"/>
                  </a:lnTo>
                  <a:lnTo>
                    <a:pt x="121" y="56"/>
                  </a:lnTo>
                  <a:lnTo>
                    <a:pt x="121" y="56"/>
                  </a:lnTo>
                  <a:lnTo>
                    <a:pt x="123" y="56"/>
                  </a:lnTo>
                  <a:lnTo>
                    <a:pt x="121" y="56"/>
                  </a:lnTo>
                  <a:lnTo>
                    <a:pt x="121" y="56"/>
                  </a:lnTo>
                  <a:lnTo>
                    <a:pt x="121" y="56"/>
                  </a:lnTo>
                  <a:lnTo>
                    <a:pt x="121" y="56"/>
                  </a:lnTo>
                  <a:lnTo>
                    <a:pt x="119" y="54"/>
                  </a:lnTo>
                  <a:lnTo>
                    <a:pt x="119" y="54"/>
                  </a:lnTo>
                  <a:lnTo>
                    <a:pt x="119" y="56"/>
                  </a:lnTo>
                  <a:lnTo>
                    <a:pt x="117" y="56"/>
                  </a:lnTo>
                  <a:lnTo>
                    <a:pt x="117" y="58"/>
                  </a:lnTo>
                  <a:lnTo>
                    <a:pt x="117" y="54"/>
                  </a:lnTo>
                  <a:lnTo>
                    <a:pt x="117" y="52"/>
                  </a:lnTo>
                  <a:lnTo>
                    <a:pt x="117" y="48"/>
                  </a:lnTo>
                  <a:lnTo>
                    <a:pt x="115" y="48"/>
                  </a:lnTo>
                  <a:lnTo>
                    <a:pt x="117" y="43"/>
                  </a:lnTo>
                  <a:lnTo>
                    <a:pt x="119" y="41"/>
                  </a:lnTo>
                  <a:lnTo>
                    <a:pt x="119" y="35"/>
                  </a:lnTo>
                  <a:lnTo>
                    <a:pt x="121" y="33"/>
                  </a:lnTo>
                  <a:lnTo>
                    <a:pt x="119" y="31"/>
                  </a:lnTo>
                  <a:lnTo>
                    <a:pt x="119" y="29"/>
                  </a:lnTo>
                  <a:lnTo>
                    <a:pt x="119" y="27"/>
                  </a:lnTo>
                  <a:lnTo>
                    <a:pt x="121" y="27"/>
                  </a:lnTo>
                  <a:lnTo>
                    <a:pt x="121" y="27"/>
                  </a:lnTo>
                  <a:lnTo>
                    <a:pt x="123" y="25"/>
                  </a:lnTo>
                  <a:lnTo>
                    <a:pt x="123" y="25"/>
                  </a:lnTo>
                  <a:lnTo>
                    <a:pt x="125" y="25"/>
                  </a:lnTo>
                  <a:lnTo>
                    <a:pt x="125" y="21"/>
                  </a:lnTo>
                  <a:lnTo>
                    <a:pt x="127" y="19"/>
                  </a:lnTo>
                  <a:lnTo>
                    <a:pt x="127" y="17"/>
                  </a:lnTo>
                  <a:lnTo>
                    <a:pt x="127" y="15"/>
                  </a:lnTo>
                  <a:lnTo>
                    <a:pt x="127" y="11"/>
                  </a:lnTo>
                  <a:lnTo>
                    <a:pt x="125" y="2"/>
                  </a:lnTo>
                  <a:lnTo>
                    <a:pt x="125" y="0"/>
                  </a:lnTo>
                  <a:lnTo>
                    <a:pt x="127" y="0"/>
                  </a:lnTo>
                  <a:lnTo>
                    <a:pt x="125" y="0"/>
                  </a:lnTo>
                  <a:lnTo>
                    <a:pt x="125" y="0"/>
                  </a:lnTo>
                  <a:lnTo>
                    <a:pt x="125" y="0"/>
                  </a:lnTo>
                  <a:lnTo>
                    <a:pt x="127" y="2"/>
                  </a:lnTo>
                  <a:lnTo>
                    <a:pt x="129" y="2"/>
                  </a:lnTo>
                  <a:lnTo>
                    <a:pt x="131" y="5"/>
                  </a:lnTo>
                  <a:lnTo>
                    <a:pt x="131" y="7"/>
                  </a:lnTo>
                  <a:lnTo>
                    <a:pt x="133" y="9"/>
                  </a:lnTo>
                  <a:lnTo>
                    <a:pt x="135" y="9"/>
                  </a:lnTo>
                  <a:lnTo>
                    <a:pt x="137" y="9"/>
                  </a:lnTo>
                  <a:lnTo>
                    <a:pt x="137" y="11"/>
                  </a:lnTo>
                  <a:lnTo>
                    <a:pt x="137" y="13"/>
                  </a:lnTo>
                  <a:lnTo>
                    <a:pt x="135" y="13"/>
                  </a:lnTo>
                  <a:lnTo>
                    <a:pt x="137" y="15"/>
                  </a:lnTo>
                  <a:lnTo>
                    <a:pt x="137" y="13"/>
                  </a:lnTo>
                  <a:lnTo>
                    <a:pt x="137" y="13"/>
                  </a:lnTo>
                  <a:lnTo>
                    <a:pt x="137" y="13"/>
                  </a:lnTo>
                  <a:lnTo>
                    <a:pt x="139" y="13"/>
                  </a:lnTo>
                  <a:lnTo>
                    <a:pt x="139" y="11"/>
                  </a:lnTo>
                  <a:lnTo>
                    <a:pt x="139" y="11"/>
                  </a:lnTo>
                  <a:lnTo>
                    <a:pt x="137" y="9"/>
                  </a:lnTo>
                  <a:lnTo>
                    <a:pt x="137" y="9"/>
                  </a:lnTo>
                  <a:lnTo>
                    <a:pt x="137" y="7"/>
                  </a:lnTo>
                  <a:lnTo>
                    <a:pt x="135" y="7"/>
                  </a:lnTo>
                  <a:lnTo>
                    <a:pt x="135" y="7"/>
                  </a:lnTo>
                  <a:lnTo>
                    <a:pt x="135" y="7"/>
                  </a:lnTo>
                  <a:lnTo>
                    <a:pt x="135" y="5"/>
                  </a:lnTo>
                  <a:lnTo>
                    <a:pt x="139" y="7"/>
                  </a:lnTo>
                  <a:lnTo>
                    <a:pt x="141" y="5"/>
                  </a:lnTo>
                  <a:lnTo>
                    <a:pt x="141" y="5"/>
                  </a:lnTo>
                  <a:lnTo>
                    <a:pt x="141" y="7"/>
                  </a:lnTo>
                  <a:lnTo>
                    <a:pt x="143" y="9"/>
                  </a:lnTo>
                  <a:lnTo>
                    <a:pt x="145" y="9"/>
                  </a:lnTo>
                  <a:lnTo>
                    <a:pt x="145" y="9"/>
                  </a:lnTo>
                  <a:lnTo>
                    <a:pt x="154" y="9"/>
                  </a:lnTo>
                  <a:lnTo>
                    <a:pt x="154" y="9"/>
                  </a:lnTo>
                  <a:lnTo>
                    <a:pt x="154" y="9"/>
                  </a:lnTo>
                  <a:lnTo>
                    <a:pt x="154" y="7"/>
                  </a:lnTo>
                  <a:lnTo>
                    <a:pt x="154" y="7"/>
                  </a:lnTo>
                  <a:lnTo>
                    <a:pt x="156" y="9"/>
                  </a:lnTo>
                  <a:lnTo>
                    <a:pt x="158" y="9"/>
                  </a:lnTo>
                  <a:lnTo>
                    <a:pt x="160" y="7"/>
                  </a:lnTo>
                  <a:lnTo>
                    <a:pt x="162" y="7"/>
                  </a:lnTo>
                  <a:lnTo>
                    <a:pt x="162" y="7"/>
                  </a:lnTo>
                  <a:lnTo>
                    <a:pt x="164" y="7"/>
                  </a:lnTo>
                  <a:lnTo>
                    <a:pt x="164" y="9"/>
                  </a:lnTo>
                  <a:lnTo>
                    <a:pt x="168" y="15"/>
                  </a:lnTo>
                  <a:lnTo>
                    <a:pt x="168" y="15"/>
                  </a:lnTo>
                  <a:lnTo>
                    <a:pt x="168" y="17"/>
                  </a:lnTo>
                  <a:lnTo>
                    <a:pt x="176" y="19"/>
                  </a:lnTo>
                  <a:lnTo>
                    <a:pt x="180" y="21"/>
                  </a:lnTo>
                  <a:lnTo>
                    <a:pt x="182" y="21"/>
                  </a:lnTo>
                  <a:lnTo>
                    <a:pt x="184" y="19"/>
                  </a:lnTo>
                  <a:lnTo>
                    <a:pt x="186" y="17"/>
                  </a:lnTo>
                  <a:lnTo>
                    <a:pt x="186" y="17"/>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R</a:t>
              </a:r>
            </a:p>
          </p:txBody>
        </p:sp>
        <p:sp>
          <p:nvSpPr>
            <p:cNvPr id="309" name="Freeform 19">
              <a:extLst>
                <a:ext uri="{FF2B5EF4-FFF2-40B4-BE49-F238E27FC236}">
                  <a16:creationId xmlns:a16="http://schemas.microsoft.com/office/drawing/2014/main" id="{14135F7B-58C1-457D-4A01-55FCD54D4255}"/>
                </a:ext>
              </a:extLst>
            </p:cNvPr>
            <p:cNvSpPr>
              <a:spLocks/>
            </p:cNvSpPr>
            <p:nvPr/>
          </p:nvSpPr>
          <p:spPr bwMode="auto">
            <a:xfrm>
              <a:off x="2466" y="1433"/>
              <a:ext cx="758" cy="360"/>
            </a:xfrm>
            <a:custGeom>
              <a:avLst/>
              <a:gdLst>
                <a:gd name="T0" fmla="*/ 750 w 758"/>
                <a:gd name="T1" fmla="*/ 157 h 360"/>
                <a:gd name="T2" fmla="*/ 758 w 758"/>
                <a:gd name="T3" fmla="*/ 336 h 360"/>
                <a:gd name="T4" fmla="*/ 750 w 758"/>
                <a:gd name="T5" fmla="*/ 356 h 360"/>
                <a:gd name="T6" fmla="*/ 740 w 758"/>
                <a:gd name="T7" fmla="*/ 354 h 360"/>
                <a:gd name="T8" fmla="*/ 731 w 758"/>
                <a:gd name="T9" fmla="*/ 350 h 360"/>
                <a:gd name="T10" fmla="*/ 715 w 758"/>
                <a:gd name="T11" fmla="*/ 342 h 360"/>
                <a:gd name="T12" fmla="*/ 707 w 758"/>
                <a:gd name="T13" fmla="*/ 338 h 360"/>
                <a:gd name="T14" fmla="*/ 690 w 758"/>
                <a:gd name="T15" fmla="*/ 329 h 360"/>
                <a:gd name="T16" fmla="*/ 684 w 758"/>
                <a:gd name="T17" fmla="*/ 336 h 360"/>
                <a:gd name="T18" fmla="*/ 680 w 758"/>
                <a:gd name="T19" fmla="*/ 340 h 360"/>
                <a:gd name="T20" fmla="*/ 668 w 758"/>
                <a:gd name="T21" fmla="*/ 338 h 360"/>
                <a:gd name="T22" fmla="*/ 664 w 758"/>
                <a:gd name="T23" fmla="*/ 338 h 360"/>
                <a:gd name="T24" fmla="*/ 656 w 758"/>
                <a:gd name="T25" fmla="*/ 332 h 360"/>
                <a:gd name="T26" fmla="*/ 647 w 758"/>
                <a:gd name="T27" fmla="*/ 338 h 360"/>
                <a:gd name="T28" fmla="*/ 641 w 758"/>
                <a:gd name="T29" fmla="*/ 342 h 360"/>
                <a:gd name="T30" fmla="*/ 629 w 758"/>
                <a:gd name="T31" fmla="*/ 340 h 360"/>
                <a:gd name="T32" fmla="*/ 621 w 758"/>
                <a:gd name="T33" fmla="*/ 344 h 360"/>
                <a:gd name="T34" fmla="*/ 607 w 758"/>
                <a:gd name="T35" fmla="*/ 350 h 360"/>
                <a:gd name="T36" fmla="*/ 596 w 758"/>
                <a:gd name="T37" fmla="*/ 358 h 360"/>
                <a:gd name="T38" fmla="*/ 576 w 758"/>
                <a:gd name="T39" fmla="*/ 350 h 360"/>
                <a:gd name="T40" fmla="*/ 568 w 758"/>
                <a:gd name="T41" fmla="*/ 346 h 360"/>
                <a:gd name="T42" fmla="*/ 566 w 758"/>
                <a:gd name="T43" fmla="*/ 338 h 360"/>
                <a:gd name="T44" fmla="*/ 561 w 758"/>
                <a:gd name="T45" fmla="*/ 344 h 360"/>
                <a:gd name="T46" fmla="*/ 555 w 758"/>
                <a:gd name="T47" fmla="*/ 346 h 360"/>
                <a:gd name="T48" fmla="*/ 543 w 758"/>
                <a:gd name="T49" fmla="*/ 342 h 360"/>
                <a:gd name="T50" fmla="*/ 539 w 758"/>
                <a:gd name="T51" fmla="*/ 336 h 360"/>
                <a:gd name="T52" fmla="*/ 533 w 758"/>
                <a:gd name="T53" fmla="*/ 344 h 360"/>
                <a:gd name="T54" fmla="*/ 527 w 758"/>
                <a:gd name="T55" fmla="*/ 350 h 360"/>
                <a:gd name="T56" fmla="*/ 516 w 758"/>
                <a:gd name="T57" fmla="*/ 356 h 360"/>
                <a:gd name="T58" fmla="*/ 514 w 758"/>
                <a:gd name="T59" fmla="*/ 342 h 360"/>
                <a:gd name="T60" fmla="*/ 508 w 758"/>
                <a:gd name="T61" fmla="*/ 346 h 360"/>
                <a:gd name="T62" fmla="*/ 500 w 758"/>
                <a:gd name="T63" fmla="*/ 348 h 360"/>
                <a:gd name="T64" fmla="*/ 490 w 758"/>
                <a:gd name="T65" fmla="*/ 344 h 360"/>
                <a:gd name="T66" fmla="*/ 473 w 758"/>
                <a:gd name="T67" fmla="*/ 332 h 360"/>
                <a:gd name="T68" fmla="*/ 447 w 758"/>
                <a:gd name="T69" fmla="*/ 344 h 360"/>
                <a:gd name="T70" fmla="*/ 447 w 758"/>
                <a:gd name="T71" fmla="*/ 334 h 360"/>
                <a:gd name="T72" fmla="*/ 434 w 758"/>
                <a:gd name="T73" fmla="*/ 321 h 360"/>
                <a:gd name="T74" fmla="*/ 408 w 758"/>
                <a:gd name="T75" fmla="*/ 319 h 360"/>
                <a:gd name="T76" fmla="*/ 391 w 758"/>
                <a:gd name="T77" fmla="*/ 319 h 360"/>
                <a:gd name="T78" fmla="*/ 377 w 758"/>
                <a:gd name="T79" fmla="*/ 317 h 360"/>
                <a:gd name="T80" fmla="*/ 348 w 758"/>
                <a:gd name="T81" fmla="*/ 311 h 360"/>
                <a:gd name="T82" fmla="*/ 334 w 758"/>
                <a:gd name="T83" fmla="*/ 299 h 360"/>
                <a:gd name="T84" fmla="*/ 326 w 758"/>
                <a:gd name="T85" fmla="*/ 288 h 360"/>
                <a:gd name="T86" fmla="*/ 318 w 758"/>
                <a:gd name="T87" fmla="*/ 284 h 360"/>
                <a:gd name="T88" fmla="*/ 303 w 758"/>
                <a:gd name="T89" fmla="*/ 288 h 360"/>
                <a:gd name="T90" fmla="*/ 291 w 758"/>
                <a:gd name="T91" fmla="*/ 291 h 360"/>
                <a:gd name="T92" fmla="*/ 262 w 758"/>
                <a:gd name="T93" fmla="*/ 272 h 360"/>
                <a:gd name="T94" fmla="*/ 262 w 758"/>
                <a:gd name="T95" fmla="*/ 192 h 360"/>
                <a:gd name="T96" fmla="*/ 262 w 758"/>
                <a:gd name="T97" fmla="*/ 94 h 360"/>
                <a:gd name="T98" fmla="*/ 234 w 758"/>
                <a:gd name="T99" fmla="*/ 65 h 360"/>
                <a:gd name="T100" fmla="*/ 60 w 758"/>
                <a:gd name="T101" fmla="*/ 63 h 360"/>
                <a:gd name="T102" fmla="*/ 2 w 758"/>
                <a:gd name="T103" fmla="*/ 20 h 360"/>
                <a:gd name="T104" fmla="*/ 78 w 758"/>
                <a:gd name="T105" fmla="*/ 10 h 360"/>
                <a:gd name="T106" fmla="*/ 228 w 758"/>
                <a:gd name="T107" fmla="*/ 10 h 360"/>
                <a:gd name="T108" fmla="*/ 389 w 758"/>
                <a:gd name="T109" fmla="*/ 10 h 360"/>
                <a:gd name="T110" fmla="*/ 549 w 758"/>
                <a:gd name="T111" fmla="*/ 6 h 360"/>
                <a:gd name="T112" fmla="*/ 709 w 758"/>
                <a:gd name="T113"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8" h="360">
                  <a:moveTo>
                    <a:pt x="731" y="53"/>
                  </a:moveTo>
                  <a:lnTo>
                    <a:pt x="736" y="67"/>
                  </a:lnTo>
                  <a:lnTo>
                    <a:pt x="738" y="84"/>
                  </a:lnTo>
                  <a:lnTo>
                    <a:pt x="740" y="98"/>
                  </a:lnTo>
                  <a:lnTo>
                    <a:pt x="744" y="112"/>
                  </a:lnTo>
                  <a:lnTo>
                    <a:pt x="746" y="127"/>
                  </a:lnTo>
                  <a:lnTo>
                    <a:pt x="748" y="143"/>
                  </a:lnTo>
                  <a:lnTo>
                    <a:pt x="750" y="157"/>
                  </a:lnTo>
                  <a:lnTo>
                    <a:pt x="754" y="172"/>
                  </a:lnTo>
                  <a:lnTo>
                    <a:pt x="754" y="196"/>
                  </a:lnTo>
                  <a:lnTo>
                    <a:pt x="754" y="219"/>
                  </a:lnTo>
                  <a:lnTo>
                    <a:pt x="756" y="241"/>
                  </a:lnTo>
                  <a:lnTo>
                    <a:pt x="756" y="266"/>
                  </a:lnTo>
                  <a:lnTo>
                    <a:pt x="756" y="288"/>
                  </a:lnTo>
                  <a:lnTo>
                    <a:pt x="758" y="313"/>
                  </a:lnTo>
                  <a:lnTo>
                    <a:pt x="758" y="336"/>
                  </a:lnTo>
                  <a:lnTo>
                    <a:pt x="758" y="360"/>
                  </a:lnTo>
                  <a:lnTo>
                    <a:pt x="758" y="360"/>
                  </a:lnTo>
                  <a:lnTo>
                    <a:pt x="756" y="360"/>
                  </a:lnTo>
                  <a:lnTo>
                    <a:pt x="754" y="358"/>
                  </a:lnTo>
                  <a:lnTo>
                    <a:pt x="754" y="360"/>
                  </a:lnTo>
                  <a:lnTo>
                    <a:pt x="750" y="358"/>
                  </a:lnTo>
                  <a:lnTo>
                    <a:pt x="750" y="358"/>
                  </a:lnTo>
                  <a:lnTo>
                    <a:pt x="750" y="356"/>
                  </a:lnTo>
                  <a:lnTo>
                    <a:pt x="750" y="356"/>
                  </a:lnTo>
                  <a:lnTo>
                    <a:pt x="748" y="356"/>
                  </a:lnTo>
                  <a:lnTo>
                    <a:pt x="746" y="356"/>
                  </a:lnTo>
                  <a:lnTo>
                    <a:pt x="744" y="356"/>
                  </a:lnTo>
                  <a:lnTo>
                    <a:pt x="744" y="356"/>
                  </a:lnTo>
                  <a:lnTo>
                    <a:pt x="742" y="356"/>
                  </a:lnTo>
                  <a:lnTo>
                    <a:pt x="742" y="354"/>
                  </a:lnTo>
                  <a:lnTo>
                    <a:pt x="740" y="354"/>
                  </a:lnTo>
                  <a:lnTo>
                    <a:pt x="740" y="356"/>
                  </a:lnTo>
                  <a:lnTo>
                    <a:pt x="740" y="356"/>
                  </a:lnTo>
                  <a:lnTo>
                    <a:pt x="738" y="356"/>
                  </a:lnTo>
                  <a:lnTo>
                    <a:pt x="738" y="354"/>
                  </a:lnTo>
                  <a:lnTo>
                    <a:pt x="736" y="354"/>
                  </a:lnTo>
                  <a:lnTo>
                    <a:pt x="733" y="352"/>
                  </a:lnTo>
                  <a:lnTo>
                    <a:pt x="733" y="350"/>
                  </a:lnTo>
                  <a:lnTo>
                    <a:pt x="731" y="350"/>
                  </a:lnTo>
                  <a:lnTo>
                    <a:pt x="729" y="350"/>
                  </a:lnTo>
                  <a:lnTo>
                    <a:pt x="723" y="350"/>
                  </a:lnTo>
                  <a:lnTo>
                    <a:pt x="719" y="346"/>
                  </a:lnTo>
                  <a:lnTo>
                    <a:pt x="719" y="344"/>
                  </a:lnTo>
                  <a:lnTo>
                    <a:pt x="717" y="344"/>
                  </a:lnTo>
                  <a:lnTo>
                    <a:pt x="717" y="342"/>
                  </a:lnTo>
                  <a:lnTo>
                    <a:pt x="717" y="342"/>
                  </a:lnTo>
                  <a:lnTo>
                    <a:pt x="715" y="342"/>
                  </a:lnTo>
                  <a:lnTo>
                    <a:pt x="715" y="340"/>
                  </a:lnTo>
                  <a:lnTo>
                    <a:pt x="715" y="340"/>
                  </a:lnTo>
                  <a:lnTo>
                    <a:pt x="715" y="340"/>
                  </a:lnTo>
                  <a:lnTo>
                    <a:pt x="713" y="340"/>
                  </a:lnTo>
                  <a:lnTo>
                    <a:pt x="713" y="338"/>
                  </a:lnTo>
                  <a:lnTo>
                    <a:pt x="711" y="338"/>
                  </a:lnTo>
                  <a:lnTo>
                    <a:pt x="709" y="338"/>
                  </a:lnTo>
                  <a:lnTo>
                    <a:pt x="707" y="338"/>
                  </a:lnTo>
                  <a:lnTo>
                    <a:pt x="705" y="334"/>
                  </a:lnTo>
                  <a:lnTo>
                    <a:pt x="703" y="334"/>
                  </a:lnTo>
                  <a:lnTo>
                    <a:pt x="701" y="334"/>
                  </a:lnTo>
                  <a:lnTo>
                    <a:pt x="699" y="332"/>
                  </a:lnTo>
                  <a:lnTo>
                    <a:pt x="699" y="332"/>
                  </a:lnTo>
                  <a:lnTo>
                    <a:pt x="699" y="332"/>
                  </a:lnTo>
                  <a:lnTo>
                    <a:pt x="697" y="329"/>
                  </a:lnTo>
                  <a:lnTo>
                    <a:pt x="690" y="329"/>
                  </a:lnTo>
                  <a:lnTo>
                    <a:pt x="690" y="329"/>
                  </a:lnTo>
                  <a:lnTo>
                    <a:pt x="688" y="329"/>
                  </a:lnTo>
                  <a:lnTo>
                    <a:pt x="688" y="332"/>
                  </a:lnTo>
                  <a:lnTo>
                    <a:pt x="688" y="334"/>
                  </a:lnTo>
                  <a:lnTo>
                    <a:pt x="686" y="336"/>
                  </a:lnTo>
                  <a:lnTo>
                    <a:pt x="686" y="334"/>
                  </a:lnTo>
                  <a:lnTo>
                    <a:pt x="686" y="336"/>
                  </a:lnTo>
                  <a:lnTo>
                    <a:pt x="684" y="336"/>
                  </a:lnTo>
                  <a:lnTo>
                    <a:pt x="684" y="336"/>
                  </a:lnTo>
                  <a:lnTo>
                    <a:pt x="684" y="338"/>
                  </a:lnTo>
                  <a:lnTo>
                    <a:pt x="682" y="336"/>
                  </a:lnTo>
                  <a:lnTo>
                    <a:pt x="682" y="336"/>
                  </a:lnTo>
                  <a:lnTo>
                    <a:pt x="682" y="338"/>
                  </a:lnTo>
                  <a:lnTo>
                    <a:pt x="682" y="338"/>
                  </a:lnTo>
                  <a:lnTo>
                    <a:pt x="680" y="338"/>
                  </a:lnTo>
                  <a:lnTo>
                    <a:pt x="680" y="340"/>
                  </a:lnTo>
                  <a:lnTo>
                    <a:pt x="680" y="340"/>
                  </a:lnTo>
                  <a:lnTo>
                    <a:pt x="680" y="340"/>
                  </a:lnTo>
                  <a:lnTo>
                    <a:pt x="672" y="340"/>
                  </a:lnTo>
                  <a:lnTo>
                    <a:pt x="672" y="340"/>
                  </a:lnTo>
                  <a:lnTo>
                    <a:pt x="670" y="340"/>
                  </a:lnTo>
                  <a:lnTo>
                    <a:pt x="670" y="338"/>
                  </a:lnTo>
                  <a:lnTo>
                    <a:pt x="670" y="338"/>
                  </a:lnTo>
                  <a:lnTo>
                    <a:pt x="668" y="338"/>
                  </a:lnTo>
                  <a:lnTo>
                    <a:pt x="668" y="338"/>
                  </a:lnTo>
                  <a:lnTo>
                    <a:pt x="668" y="340"/>
                  </a:lnTo>
                  <a:lnTo>
                    <a:pt x="668" y="340"/>
                  </a:lnTo>
                  <a:lnTo>
                    <a:pt x="666" y="338"/>
                  </a:lnTo>
                  <a:lnTo>
                    <a:pt x="666" y="338"/>
                  </a:lnTo>
                  <a:lnTo>
                    <a:pt x="666" y="338"/>
                  </a:lnTo>
                  <a:lnTo>
                    <a:pt x="666" y="338"/>
                  </a:lnTo>
                  <a:lnTo>
                    <a:pt x="664" y="338"/>
                  </a:lnTo>
                  <a:lnTo>
                    <a:pt x="662" y="338"/>
                  </a:lnTo>
                  <a:lnTo>
                    <a:pt x="664" y="336"/>
                  </a:lnTo>
                  <a:lnTo>
                    <a:pt x="662" y="334"/>
                  </a:lnTo>
                  <a:lnTo>
                    <a:pt x="662" y="334"/>
                  </a:lnTo>
                  <a:lnTo>
                    <a:pt x="660" y="332"/>
                  </a:lnTo>
                  <a:lnTo>
                    <a:pt x="658" y="332"/>
                  </a:lnTo>
                  <a:lnTo>
                    <a:pt x="658" y="332"/>
                  </a:lnTo>
                  <a:lnTo>
                    <a:pt x="656" y="332"/>
                  </a:lnTo>
                  <a:lnTo>
                    <a:pt x="656" y="334"/>
                  </a:lnTo>
                  <a:lnTo>
                    <a:pt x="656" y="334"/>
                  </a:lnTo>
                  <a:lnTo>
                    <a:pt x="654" y="334"/>
                  </a:lnTo>
                  <a:lnTo>
                    <a:pt x="654" y="334"/>
                  </a:lnTo>
                  <a:lnTo>
                    <a:pt x="652" y="336"/>
                  </a:lnTo>
                  <a:lnTo>
                    <a:pt x="650" y="336"/>
                  </a:lnTo>
                  <a:lnTo>
                    <a:pt x="650" y="336"/>
                  </a:lnTo>
                  <a:lnTo>
                    <a:pt x="647" y="338"/>
                  </a:lnTo>
                  <a:lnTo>
                    <a:pt x="647" y="338"/>
                  </a:lnTo>
                  <a:lnTo>
                    <a:pt x="647" y="338"/>
                  </a:lnTo>
                  <a:lnTo>
                    <a:pt x="645" y="338"/>
                  </a:lnTo>
                  <a:lnTo>
                    <a:pt x="643" y="338"/>
                  </a:lnTo>
                  <a:lnTo>
                    <a:pt x="641" y="338"/>
                  </a:lnTo>
                  <a:lnTo>
                    <a:pt x="641" y="342"/>
                  </a:lnTo>
                  <a:lnTo>
                    <a:pt x="641" y="342"/>
                  </a:lnTo>
                  <a:lnTo>
                    <a:pt x="641" y="342"/>
                  </a:lnTo>
                  <a:lnTo>
                    <a:pt x="639" y="342"/>
                  </a:lnTo>
                  <a:lnTo>
                    <a:pt x="639" y="342"/>
                  </a:lnTo>
                  <a:lnTo>
                    <a:pt x="639" y="342"/>
                  </a:lnTo>
                  <a:lnTo>
                    <a:pt x="639" y="342"/>
                  </a:lnTo>
                  <a:lnTo>
                    <a:pt x="637" y="342"/>
                  </a:lnTo>
                  <a:lnTo>
                    <a:pt x="635" y="344"/>
                  </a:lnTo>
                  <a:lnTo>
                    <a:pt x="635" y="342"/>
                  </a:lnTo>
                  <a:lnTo>
                    <a:pt x="629" y="340"/>
                  </a:lnTo>
                  <a:lnTo>
                    <a:pt x="629" y="338"/>
                  </a:lnTo>
                  <a:lnTo>
                    <a:pt x="627" y="338"/>
                  </a:lnTo>
                  <a:lnTo>
                    <a:pt x="627" y="340"/>
                  </a:lnTo>
                  <a:lnTo>
                    <a:pt x="625" y="340"/>
                  </a:lnTo>
                  <a:lnTo>
                    <a:pt x="625" y="342"/>
                  </a:lnTo>
                  <a:lnTo>
                    <a:pt x="625" y="342"/>
                  </a:lnTo>
                  <a:lnTo>
                    <a:pt x="623" y="342"/>
                  </a:lnTo>
                  <a:lnTo>
                    <a:pt x="621" y="344"/>
                  </a:lnTo>
                  <a:lnTo>
                    <a:pt x="619" y="344"/>
                  </a:lnTo>
                  <a:lnTo>
                    <a:pt x="617" y="344"/>
                  </a:lnTo>
                  <a:lnTo>
                    <a:pt x="613" y="344"/>
                  </a:lnTo>
                  <a:lnTo>
                    <a:pt x="611" y="346"/>
                  </a:lnTo>
                  <a:lnTo>
                    <a:pt x="611" y="346"/>
                  </a:lnTo>
                  <a:lnTo>
                    <a:pt x="609" y="346"/>
                  </a:lnTo>
                  <a:lnTo>
                    <a:pt x="609" y="348"/>
                  </a:lnTo>
                  <a:lnTo>
                    <a:pt x="607" y="350"/>
                  </a:lnTo>
                  <a:lnTo>
                    <a:pt x="607" y="352"/>
                  </a:lnTo>
                  <a:lnTo>
                    <a:pt x="604" y="354"/>
                  </a:lnTo>
                  <a:lnTo>
                    <a:pt x="602" y="354"/>
                  </a:lnTo>
                  <a:lnTo>
                    <a:pt x="598" y="354"/>
                  </a:lnTo>
                  <a:lnTo>
                    <a:pt x="596" y="354"/>
                  </a:lnTo>
                  <a:lnTo>
                    <a:pt x="596" y="354"/>
                  </a:lnTo>
                  <a:lnTo>
                    <a:pt x="596" y="356"/>
                  </a:lnTo>
                  <a:lnTo>
                    <a:pt x="596" y="358"/>
                  </a:lnTo>
                  <a:lnTo>
                    <a:pt x="592" y="360"/>
                  </a:lnTo>
                  <a:lnTo>
                    <a:pt x="590" y="358"/>
                  </a:lnTo>
                  <a:lnTo>
                    <a:pt x="588" y="354"/>
                  </a:lnTo>
                  <a:lnTo>
                    <a:pt x="586" y="352"/>
                  </a:lnTo>
                  <a:lnTo>
                    <a:pt x="584" y="352"/>
                  </a:lnTo>
                  <a:lnTo>
                    <a:pt x="578" y="352"/>
                  </a:lnTo>
                  <a:lnTo>
                    <a:pt x="578" y="352"/>
                  </a:lnTo>
                  <a:lnTo>
                    <a:pt x="576" y="350"/>
                  </a:lnTo>
                  <a:lnTo>
                    <a:pt x="576" y="350"/>
                  </a:lnTo>
                  <a:lnTo>
                    <a:pt x="576" y="348"/>
                  </a:lnTo>
                  <a:lnTo>
                    <a:pt x="576" y="348"/>
                  </a:lnTo>
                  <a:lnTo>
                    <a:pt x="574" y="348"/>
                  </a:lnTo>
                  <a:lnTo>
                    <a:pt x="574" y="348"/>
                  </a:lnTo>
                  <a:lnTo>
                    <a:pt x="570" y="346"/>
                  </a:lnTo>
                  <a:lnTo>
                    <a:pt x="570" y="346"/>
                  </a:lnTo>
                  <a:lnTo>
                    <a:pt x="568" y="346"/>
                  </a:lnTo>
                  <a:lnTo>
                    <a:pt x="568" y="344"/>
                  </a:lnTo>
                  <a:lnTo>
                    <a:pt x="568" y="344"/>
                  </a:lnTo>
                  <a:lnTo>
                    <a:pt x="568" y="344"/>
                  </a:lnTo>
                  <a:lnTo>
                    <a:pt x="568" y="342"/>
                  </a:lnTo>
                  <a:lnTo>
                    <a:pt x="570" y="342"/>
                  </a:lnTo>
                  <a:lnTo>
                    <a:pt x="570" y="340"/>
                  </a:lnTo>
                  <a:lnTo>
                    <a:pt x="568" y="340"/>
                  </a:lnTo>
                  <a:lnTo>
                    <a:pt x="566" y="338"/>
                  </a:lnTo>
                  <a:lnTo>
                    <a:pt x="563" y="338"/>
                  </a:lnTo>
                  <a:lnTo>
                    <a:pt x="563" y="338"/>
                  </a:lnTo>
                  <a:lnTo>
                    <a:pt x="563" y="338"/>
                  </a:lnTo>
                  <a:lnTo>
                    <a:pt x="563" y="340"/>
                  </a:lnTo>
                  <a:lnTo>
                    <a:pt x="561" y="340"/>
                  </a:lnTo>
                  <a:lnTo>
                    <a:pt x="561" y="344"/>
                  </a:lnTo>
                  <a:lnTo>
                    <a:pt x="561" y="344"/>
                  </a:lnTo>
                  <a:lnTo>
                    <a:pt x="561" y="344"/>
                  </a:lnTo>
                  <a:lnTo>
                    <a:pt x="559" y="344"/>
                  </a:lnTo>
                  <a:lnTo>
                    <a:pt x="559" y="346"/>
                  </a:lnTo>
                  <a:lnTo>
                    <a:pt x="559" y="346"/>
                  </a:lnTo>
                  <a:lnTo>
                    <a:pt x="557" y="346"/>
                  </a:lnTo>
                  <a:lnTo>
                    <a:pt x="557" y="346"/>
                  </a:lnTo>
                  <a:lnTo>
                    <a:pt x="555" y="346"/>
                  </a:lnTo>
                  <a:lnTo>
                    <a:pt x="555" y="346"/>
                  </a:lnTo>
                  <a:lnTo>
                    <a:pt x="555" y="346"/>
                  </a:lnTo>
                  <a:lnTo>
                    <a:pt x="551" y="344"/>
                  </a:lnTo>
                  <a:lnTo>
                    <a:pt x="551" y="344"/>
                  </a:lnTo>
                  <a:lnTo>
                    <a:pt x="551" y="344"/>
                  </a:lnTo>
                  <a:lnTo>
                    <a:pt x="547" y="344"/>
                  </a:lnTo>
                  <a:lnTo>
                    <a:pt x="547" y="344"/>
                  </a:lnTo>
                  <a:lnTo>
                    <a:pt x="545" y="344"/>
                  </a:lnTo>
                  <a:lnTo>
                    <a:pt x="545" y="344"/>
                  </a:lnTo>
                  <a:lnTo>
                    <a:pt x="543" y="342"/>
                  </a:lnTo>
                  <a:lnTo>
                    <a:pt x="543" y="342"/>
                  </a:lnTo>
                  <a:lnTo>
                    <a:pt x="543" y="340"/>
                  </a:lnTo>
                  <a:lnTo>
                    <a:pt x="543" y="338"/>
                  </a:lnTo>
                  <a:lnTo>
                    <a:pt x="541" y="336"/>
                  </a:lnTo>
                  <a:lnTo>
                    <a:pt x="541" y="336"/>
                  </a:lnTo>
                  <a:lnTo>
                    <a:pt x="541" y="336"/>
                  </a:lnTo>
                  <a:lnTo>
                    <a:pt x="539" y="336"/>
                  </a:lnTo>
                  <a:lnTo>
                    <a:pt x="539" y="336"/>
                  </a:lnTo>
                  <a:lnTo>
                    <a:pt x="539" y="336"/>
                  </a:lnTo>
                  <a:lnTo>
                    <a:pt x="535" y="336"/>
                  </a:lnTo>
                  <a:lnTo>
                    <a:pt x="535" y="336"/>
                  </a:lnTo>
                  <a:lnTo>
                    <a:pt x="535" y="336"/>
                  </a:lnTo>
                  <a:lnTo>
                    <a:pt x="533" y="336"/>
                  </a:lnTo>
                  <a:lnTo>
                    <a:pt x="533" y="338"/>
                  </a:lnTo>
                  <a:lnTo>
                    <a:pt x="533" y="340"/>
                  </a:lnTo>
                  <a:lnTo>
                    <a:pt x="533" y="344"/>
                  </a:lnTo>
                  <a:lnTo>
                    <a:pt x="531" y="346"/>
                  </a:lnTo>
                  <a:lnTo>
                    <a:pt x="529" y="346"/>
                  </a:lnTo>
                  <a:lnTo>
                    <a:pt x="525" y="346"/>
                  </a:lnTo>
                  <a:lnTo>
                    <a:pt x="525" y="348"/>
                  </a:lnTo>
                  <a:lnTo>
                    <a:pt x="527" y="348"/>
                  </a:lnTo>
                  <a:lnTo>
                    <a:pt x="527" y="348"/>
                  </a:lnTo>
                  <a:lnTo>
                    <a:pt x="527" y="350"/>
                  </a:lnTo>
                  <a:lnTo>
                    <a:pt x="527" y="350"/>
                  </a:lnTo>
                  <a:lnTo>
                    <a:pt x="525" y="352"/>
                  </a:lnTo>
                  <a:lnTo>
                    <a:pt x="525" y="352"/>
                  </a:lnTo>
                  <a:lnTo>
                    <a:pt x="525" y="356"/>
                  </a:lnTo>
                  <a:lnTo>
                    <a:pt x="525" y="358"/>
                  </a:lnTo>
                  <a:lnTo>
                    <a:pt x="523" y="360"/>
                  </a:lnTo>
                  <a:lnTo>
                    <a:pt x="520" y="360"/>
                  </a:lnTo>
                  <a:lnTo>
                    <a:pt x="516" y="358"/>
                  </a:lnTo>
                  <a:lnTo>
                    <a:pt x="516" y="356"/>
                  </a:lnTo>
                  <a:lnTo>
                    <a:pt x="514" y="354"/>
                  </a:lnTo>
                  <a:lnTo>
                    <a:pt x="514" y="352"/>
                  </a:lnTo>
                  <a:lnTo>
                    <a:pt x="514" y="350"/>
                  </a:lnTo>
                  <a:lnTo>
                    <a:pt x="516" y="346"/>
                  </a:lnTo>
                  <a:lnTo>
                    <a:pt x="516" y="344"/>
                  </a:lnTo>
                  <a:lnTo>
                    <a:pt x="516" y="344"/>
                  </a:lnTo>
                  <a:lnTo>
                    <a:pt x="514" y="342"/>
                  </a:lnTo>
                  <a:lnTo>
                    <a:pt x="514" y="342"/>
                  </a:lnTo>
                  <a:lnTo>
                    <a:pt x="512" y="340"/>
                  </a:lnTo>
                  <a:lnTo>
                    <a:pt x="512" y="340"/>
                  </a:lnTo>
                  <a:lnTo>
                    <a:pt x="512" y="342"/>
                  </a:lnTo>
                  <a:lnTo>
                    <a:pt x="510" y="342"/>
                  </a:lnTo>
                  <a:lnTo>
                    <a:pt x="510" y="342"/>
                  </a:lnTo>
                  <a:lnTo>
                    <a:pt x="510" y="344"/>
                  </a:lnTo>
                  <a:lnTo>
                    <a:pt x="508" y="346"/>
                  </a:lnTo>
                  <a:lnTo>
                    <a:pt x="508" y="346"/>
                  </a:lnTo>
                  <a:lnTo>
                    <a:pt x="506" y="344"/>
                  </a:lnTo>
                  <a:lnTo>
                    <a:pt x="504" y="344"/>
                  </a:lnTo>
                  <a:lnTo>
                    <a:pt x="504" y="346"/>
                  </a:lnTo>
                  <a:lnTo>
                    <a:pt x="502" y="346"/>
                  </a:lnTo>
                  <a:lnTo>
                    <a:pt x="502" y="346"/>
                  </a:lnTo>
                  <a:lnTo>
                    <a:pt x="502" y="346"/>
                  </a:lnTo>
                  <a:lnTo>
                    <a:pt x="502" y="348"/>
                  </a:lnTo>
                  <a:lnTo>
                    <a:pt x="500" y="348"/>
                  </a:lnTo>
                  <a:lnTo>
                    <a:pt x="500" y="348"/>
                  </a:lnTo>
                  <a:lnTo>
                    <a:pt x="500" y="350"/>
                  </a:lnTo>
                  <a:lnTo>
                    <a:pt x="498" y="350"/>
                  </a:lnTo>
                  <a:lnTo>
                    <a:pt x="494" y="350"/>
                  </a:lnTo>
                  <a:lnTo>
                    <a:pt x="492" y="350"/>
                  </a:lnTo>
                  <a:lnTo>
                    <a:pt x="492" y="346"/>
                  </a:lnTo>
                  <a:lnTo>
                    <a:pt x="490" y="344"/>
                  </a:lnTo>
                  <a:lnTo>
                    <a:pt x="490" y="344"/>
                  </a:lnTo>
                  <a:lnTo>
                    <a:pt x="488" y="342"/>
                  </a:lnTo>
                  <a:lnTo>
                    <a:pt x="486" y="342"/>
                  </a:lnTo>
                  <a:lnTo>
                    <a:pt x="482" y="342"/>
                  </a:lnTo>
                  <a:lnTo>
                    <a:pt x="480" y="342"/>
                  </a:lnTo>
                  <a:lnTo>
                    <a:pt x="480" y="340"/>
                  </a:lnTo>
                  <a:lnTo>
                    <a:pt x="480" y="336"/>
                  </a:lnTo>
                  <a:lnTo>
                    <a:pt x="477" y="334"/>
                  </a:lnTo>
                  <a:lnTo>
                    <a:pt x="473" y="332"/>
                  </a:lnTo>
                  <a:lnTo>
                    <a:pt x="471" y="334"/>
                  </a:lnTo>
                  <a:lnTo>
                    <a:pt x="467" y="336"/>
                  </a:lnTo>
                  <a:lnTo>
                    <a:pt x="461" y="344"/>
                  </a:lnTo>
                  <a:lnTo>
                    <a:pt x="457" y="346"/>
                  </a:lnTo>
                  <a:lnTo>
                    <a:pt x="453" y="346"/>
                  </a:lnTo>
                  <a:lnTo>
                    <a:pt x="449" y="346"/>
                  </a:lnTo>
                  <a:lnTo>
                    <a:pt x="447" y="344"/>
                  </a:lnTo>
                  <a:lnTo>
                    <a:pt x="447" y="344"/>
                  </a:lnTo>
                  <a:lnTo>
                    <a:pt x="447" y="342"/>
                  </a:lnTo>
                  <a:lnTo>
                    <a:pt x="447" y="342"/>
                  </a:lnTo>
                  <a:lnTo>
                    <a:pt x="447" y="340"/>
                  </a:lnTo>
                  <a:lnTo>
                    <a:pt x="447" y="338"/>
                  </a:lnTo>
                  <a:lnTo>
                    <a:pt x="447" y="338"/>
                  </a:lnTo>
                  <a:lnTo>
                    <a:pt x="447" y="336"/>
                  </a:lnTo>
                  <a:lnTo>
                    <a:pt x="447" y="336"/>
                  </a:lnTo>
                  <a:lnTo>
                    <a:pt x="447" y="334"/>
                  </a:lnTo>
                  <a:lnTo>
                    <a:pt x="447" y="334"/>
                  </a:lnTo>
                  <a:lnTo>
                    <a:pt x="445" y="334"/>
                  </a:lnTo>
                  <a:lnTo>
                    <a:pt x="443" y="332"/>
                  </a:lnTo>
                  <a:lnTo>
                    <a:pt x="439" y="332"/>
                  </a:lnTo>
                  <a:lnTo>
                    <a:pt x="434" y="329"/>
                  </a:lnTo>
                  <a:lnTo>
                    <a:pt x="434" y="325"/>
                  </a:lnTo>
                  <a:lnTo>
                    <a:pt x="432" y="323"/>
                  </a:lnTo>
                  <a:lnTo>
                    <a:pt x="434" y="321"/>
                  </a:lnTo>
                  <a:lnTo>
                    <a:pt x="434" y="317"/>
                  </a:lnTo>
                  <a:lnTo>
                    <a:pt x="432" y="317"/>
                  </a:lnTo>
                  <a:lnTo>
                    <a:pt x="430" y="317"/>
                  </a:lnTo>
                  <a:lnTo>
                    <a:pt x="426" y="317"/>
                  </a:lnTo>
                  <a:lnTo>
                    <a:pt x="422" y="319"/>
                  </a:lnTo>
                  <a:lnTo>
                    <a:pt x="412" y="317"/>
                  </a:lnTo>
                  <a:lnTo>
                    <a:pt x="410" y="317"/>
                  </a:lnTo>
                  <a:lnTo>
                    <a:pt x="408" y="319"/>
                  </a:lnTo>
                  <a:lnTo>
                    <a:pt x="406" y="321"/>
                  </a:lnTo>
                  <a:lnTo>
                    <a:pt x="406" y="323"/>
                  </a:lnTo>
                  <a:lnTo>
                    <a:pt x="404" y="323"/>
                  </a:lnTo>
                  <a:lnTo>
                    <a:pt x="402" y="325"/>
                  </a:lnTo>
                  <a:lnTo>
                    <a:pt x="398" y="325"/>
                  </a:lnTo>
                  <a:lnTo>
                    <a:pt x="398" y="323"/>
                  </a:lnTo>
                  <a:lnTo>
                    <a:pt x="394" y="321"/>
                  </a:lnTo>
                  <a:lnTo>
                    <a:pt x="391" y="319"/>
                  </a:lnTo>
                  <a:lnTo>
                    <a:pt x="391" y="319"/>
                  </a:lnTo>
                  <a:lnTo>
                    <a:pt x="389" y="317"/>
                  </a:lnTo>
                  <a:lnTo>
                    <a:pt x="389" y="315"/>
                  </a:lnTo>
                  <a:lnTo>
                    <a:pt x="387" y="315"/>
                  </a:lnTo>
                  <a:lnTo>
                    <a:pt x="385" y="315"/>
                  </a:lnTo>
                  <a:lnTo>
                    <a:pt x="383" y="315"/>
                  </a:lnTo>
                  <a:lnTo>
                    <a:pt x="377" y="319"/>
                  </a:lnTo>
                  <a:lnTo>
                    <a:pt x="377" y="317"/>
                  </a:lnTo>
                  <a:lnTo>
                    <a:pt x="365" y="315"/>
                  </a:lnTo>
                  <a:lnTo>
                    <a:pt x="363" y="315"/>
                  </a:lnTo>
                  <a:lnTo>
                    <a:pt x="357" y="311"/>
                  </a:lnTo>
                  <a:lnTo>
                    <a:pt x="355" y="311"/>
                  </a:lnTo>
                  <a:lnTo>
                    <a:pt x="353" y="311"/>
                  </a:lnTo>
                  <a:lnTo>
                    <a:pt x="353" y="311"/>
                  </a:lnTo>
                  <a:lnTo>
                    <a:pt x="351" y="311"/>
                  </a:lnTo>
                  <a:lnTo>
                    <a:pt x="348" y="311"/>
                  </a:lnTo>
                  <a:lnTo>
                    <a:pt x="344" y="311"/>
                  </a:lnTo>
                  <a:lnTo>
                    <a:pt x="342" y="309"/>
                  </a:lnTo>
                  <a:lnTo>
                    <a:pt x="338" y="311"/>
                  </a:lnTo>
                  <a:lnTo>
                    <a:pt x="336" y="309"/>
                  </a:lnTo>
                  <a:lnTo>
                    <a:pt x="334" y="309"/>
                  </a:lnTo>
                  <a:lnTo>
                    <a:pt x="334" y="307"/>
                  </a:lnTo>
                  <a:lnTo>
                    <a:pt x="334" y="301"/>
                  </a:lnTo>
                  <a:lnTo>
                    <a:pt x="334" y="299"/>
                  </a:lnTo>
                  <a:lnTo>
                    <a:pt x="334" y="299"/>
                  </a:lnTo>
                  <a:lnTo>
                    <a:pt x="334" y="297"/>
                  </a:lnTo>
                  <a:lnTo>
                    <a:pt x="330" y="295"/>
                  </a:lnTo>
                  <a:lnTo>
                    <a:pt x="330" y="293"/>
                  </a:lnTo>
                  <a:lnTo>
                    <a:pt x="330" y="291"/>
                  </a:lnTo>
                  <a:lnTo>
                    <a:pt x="328" y="288"/>
                  </a:lnTo>
                  <a:lnTo>
                    <a:pt x="326" y="288"/>
                  </a:lnTo>
                  <a:lnTo>
                    <a:pt x="326" y="288"/>
                  </a:lnTo>
                  <a:lnTo>
                    <a:pt x="324" y="288"/>
                  </a:lnTo>
                  <a:lnTo>
                    <a:pt x="324" y="288"/>
                  </a:lnTo>
                  <a:lnTo>
                    <a:pt x="322" y="286"/>
                  </a:lnTo>
                  <a:lnTo>
                    <a:pt x="322" y="286"/>
                  </a:lnTo>
                  <a:lnTo>
                    <a:pt x="322" y="286"/>
                  </a:lnTo>
                  <a:lnTo>
                    <a:pt x="322" y="284"/>
                  </a:lnTo>
                  <a:lnTo>
                    <a:pt x="320" y="284"/>
                  </a:lnTo>
                  <a:lnTo>
                    <a:pt x="318" y="284"/>
                  </a:lnTo>
                  <a:lnTo>
                    <a:pt x="318" y="284"/>
                  </a:lnTo>
                  <a:lnTo>
                    <a:pt x="318" y="291"/>
                  </a:lnTo>
                  <a:lnTo>
                    <a:pt x="316" y="293"/>
                  </a:lnTo>
                  <a:lnTo>
                    <a:pt x="316" y="293"/>
                  </a:lnTo>
                  <a:lnTo>
                    <a:pt x="314" y="293"/>
                  </a:lnTo>
                  <a:lnTo>
                    <a:pt x="312" y="293"/>
                  </a:lnTo>
                  <a:lnTo>
                    <a:pt x="307" y="291"/>
                  </a:lnTo>
                  <a:lnTo>
                    <a:pt x="303" y="288"/>
                  </a:lnTo>
                  <a:lnTo>
                    <a:pt x="303" y="288"/>
                  </a:lnTo>
                  <a:lnTo>
                    <a:pt x="301" y="291"/>
                  </a:lnTo>
                  <a:lnTo>
                    <a:pt x="301" y="291"/>
                  </a:lnTo>
                  <a:lnTo>
                    <a:pt x="299" y="293"/>
                  </a:lnTo>
                  <a:lnTo>
                    <a:pt x="299" y="293"/>
                  </a:lnTo>
                  <a:lnTo>
                    <a:pt x="293" y="293"/>
                  </a:lnTo>
                  <a:lnTo>
                    <a:pt x="291" y="291"/>
                  </a:lnTo>
                  <a:lnTo>
                    <a:pt x="291" y="291"/>
                  </a:lnTo>
                  <a:lnTo>
                    <a:pt x="289" y="286"/>
                  </a:lnTo>
                  <a:lnTo>
                    <a:pt x="273" y="272"/>
                  </a:lnTo>
                  <a:lnTo>
                    <a:pt x="273" y="272"/>
                  </a:lnTo>
                  <a:lnTo>
                    <a:pt x="271" y="272"/>
                  </a:lnTo>
                  <a:lnTo>
                    <a:pt x="271" y="272"/>
                  </a:lnTo>
                  <a:lnTo>
                    <a:pt x="269" y="270"/>
                  </a:lnTo>
                  <a:lnTo>
                    <a:pt x="264" y="272"/>
                  </a:lnTo>
                  <a:lnTo>
                    <a:pt x="262" y="272"/>
                  </a:lnTo>
                  <a:lnTo>
                    <a:pt x="262" y="270"/>
                  </a:lnTo>
                  <a:lnTo>
                    <a:pt x="262" y="266"/>
                  </a:lnTo>
                  <a:lnTo>
                    <a:pt x="262" y="254"/>
                  </a:lnTo>
                  <a:lnTo>
                    <a:pt x="262" y="241"/>
                  </a:lnTo>
                  <a:lnTo>
                    <a:pt x="262" y="229"/>
                  </a:lnTo>
                  <a:lnTo>
                    <a:pt x="262" y="217"/>
                  </a:lnTo>
                  <a:lnTo>
                    <a:pt x="262" y="204"/>
                  </a:lnTo>
                  <a:lnTo>
                    <a:pt x="262" y="192"/>
                  </a:lnTo>
                  <a:lnTo>
                    <a:pt x="262" y="180"/>
                  </a:lnTo>
                  <a:lnTo>
                    <a:pt x="262" y="168"/>
                  </a:lnTo>
                  <a:lnTo>
                    <a:pt x="262" y="155"/>
                  </a:lnTo>
                  <a:lnTo>
                    <a:pt x="262" y="143"/>
                  </a:lnTo>
                  <a:lnTo>
                    <a:pt x="262" y="131"/>
                  </a:lnTo>
                  <a:lnTo>
                    <a:pt x="262" y="118"/>
                  </a:lnTo>
                  <a:lnTo>
                    <a:pt x="262" y="106"/>
                  </a:lnTo>
                  <a:lnTo>
                    <a:pt x="262" y="94"/>
                  </a:lnTo>
                  <a:lnTo>
                    <a:pt x="262" y="82"/>
                  </a:lnTo>
                  <a:lnTo>
                    <a:pt x="262" y="69"/>
                  </a:lnTo>
                  <a:lnTo>
                    <a:pt x="262" y="65"/>
                  </a:lnTo>
                  <a:lnTo>
                    <a:pt x="262" y="65"/>
                  </a:lnTo>
                  <a:lnTo>
                    <a:pt x="256" y="65"/>
                  </a:lnTo>
                  <a:lnTo>
                    <a:pt x="254" y="65"/>
                  </a:lnTo>
                  <a:lnTo>
                    <a:pt x="246" y="65"/>
                  </a:lnTo>
                  <a:lnTo>
                    <a:pt x="234" y="65"/>
                  </a:lnTo>
                  <a:lnTo>
                    <a:pt x="217" y="65"/>
                  </a:lnTo>
                  <a:lnTo>
                    <a:pt x="197" y="65"/>
                  </a:lnTo>
                  <a:lnTo>
                    <a:pt x="176" y="63"/>
                  </a:lnTo>
                  <a:lnTo>
                    <a:pt x="154" y="63"/>
                  </a:lnTo>
                  <a:lnTo>
                    <a:pt x="129" y="63"/>
                  </a:lnTo>
                  <a:lnTo>
                    <a:pt x="105" y="63"/>
                  </a:lnTo>
                  <a:lnTo>
                    <a:pt x="82" y="63"/>
                  </a:lnTo>
                  <a:lnTo>
                    <a:pt x="60" y="63"/>
                  </a:lnTo>
                  <a:lnTo>
                    <a:pt x="41" y="61"/>
                  </a:lnTo>
                  <a:lnTo>
                    <a:pt x="25" y="61"/>
                  </a:lnTo>
                  <a:lnTo>
                    <a:pt x="13" y="61"/>
                  </a:lnTo>
                  <a:lnTo>
                    <a:pt x="4" y="61"/>
                  </a:lnTo>
                  <a:lnTo>
                    <a:pt x="0" y="61"/>
                  </a:lnTo>
                  <a:lnTo>
                    <a:pt x="2" y="47"/>
                  </a:lnTo>
                  <a:lnTo>
                    <a:pt x="2" y="34"/>
                  </a:lnTo>
                  <a:lnTo>
                    <a:pt x="2" y="20"/>
                  </a:lnTo>
                  <a:lnTo>
                    <a:pt x="2" y="8"/>
                  </a:lnTo>
                  <a:lnTo>
                    <a:pt x="13" y="8"/>
                  </a:lnTo>
                  <a:lnTo>
                    <a:pt x="25" y="8"/>
                  </a:lnTo>
                  <a:lnTo>
                    <a:pt x="35" y="8"/>
                  </a:lnTo>
                  <a:lnTo>
                    <a:pt x="45" y="8"/>
                  </a:lnTo>
                  <a:lnTo>
                    <a:pt x="56" y="8"/>
                  </a:lnTo>
                  <a:lnTo>
                    <a:pt x="68" y="8"/>
                  </a:lnTo>
                  <a:lnTo>
                    <a:pt x="78" y="10"/>
                  </a:lnTo>
                  <a:lnTo>
                    <a:pt x="88" y="10"/>
                  </a:lnTo>
                  <a:lnTo>
                    <a:pt x="109" y="10"/>
                  </a:lnTo>
                  <a:lnTo>
                    <a:pt x="129" y="10"/>
                  </a:lnTo>
                  <a:lnTo>
                    <a:pt x="148" y="10"/>
                  </a:lnTo>
                  <a:lnTo>
                    <a:pt x="168" y="10"/>
                  </a:lnTo>
                  <a:lnTo>
                    <a:pt x="189" y="10"/>
                  </a:lnTo>
                  <a:lnTo>
                    <a:pt x="209" y="10"/>
                  </a:lnTo>
                  <a:lnTo>
                    <a:pt x="228" y="10"/>
                  </a:lnTo>
                  <a:lnTo>
                    <a:pt x="248" y="10"/>
                  </a:lnTo>
                  <a:lnTo>
                    <a:pt x="269" y="10"/>
                  </a:lnTo>
                  <a:lnTo>
                    <a:pt x="289" y="10"/>
                  </a:lnTo>
                  <a:lnTo>
                    <a:pt x="310" y="10"/>
                  </a:lnTo>
                  <a:lnTo>
                    <a:pt x="328" y="10"/>
                  </a:lnTo>
                  <a:lnTo>
                    <a:pt x="348" y="10"/>
                  </a:lnTo>
                  <a:lnTo>
                    <a:pt x="369" y="10"/>
                  </a:lnTo>
                  <a:lnTo>
                    <a:pt x="389" y="10"/>
                  </a:lnTo>
                  <a:lnTo>
                    <a:pt x="410" y="10"/>
                  </a:lnTo>
                  <a:lnTo>
                    <a:pt x="428" y="10"/>
                  </a:lnTo>
                  <a:lnTo>
                    <a:pt x="449" y="10"/>
                  </a:lnTo>
                  <a:lnTo>
                    <a:pt x="469" y="8"/>
                  </a:lnTo>
                  <a:lnTo>
                    <a:pt x="490" y="8"/>
                  </a:lnTo>
                  <a:lnTo>
                    <a:pt x="508" y="8"/>
                  </a:lnTo>
                  <a:lnTo>
                    <a:pt x="529" y="8"/>
                  </a:lnTo>
                  <a:lnTo>
                    <a:pt x="549" y="6"/>
                  </a:lnTo>
                  <a:lnTo>
                    <a:pt x="570" y="6"/>
                  </a:lnTo>
                  <a:lnTo>
                    <a:pt x="590" y="6"/>
                  </a:lnTo>
                  <a:lnTo>
                    <a:pt x="609" y="4"/>
                  </a:lnTo>
                  <a:lnTo>
                    <a:pt x="629" y="4"/>
                  </a:lnTo>
                  <a:lnTo>
                    <a:pt x="650" y="4"/>
                  </a:lnTo>
                  <a:lnTo>
                    <a:pt x="670" y="2"/>
                  </a:lnTo>
                  <a:lnTo>
                    <a:pt x="688" y="2"/>
                  </a:lnTo>
                  <a:lnTo>
                    <a:pt x="709" y="0"/>
                  </a:lnTo>
                  <a:lnTo>
                    <a:pt x="729" y="0"/>
                  </a:lnTo>
                  <a:lnTo>
                    <a:pt x="729" y="12"/>
                  </a:lnTo>
                  <a:lnTo>
                    <a:pt x="731" y="26"/>
                  </a:lnTo>
                  <a:lnTo>
                    <a:pt x="731" y="41"/>
                  </a:lnTo>
                  <a:lnTo>
                    <a:pt x="731" y="53"/>
                  </a:lnTo>
                  <a:lnTo>
                    <a:pt x="731" y="53"/>
                  </a:lnTo>
                  <a:close/>
                </a:path>
              </a:pathLst>
            </a:custGeom>
            <a:solidFill>
              <a:schemeClr val="tx1"/>
            </a:solidFill>
            <a:ln w="3175" cap="rnd">
              <a:solidFill>
                <a:schemeClr val="bg1"/>
              </a:solidFill>
              <a:prstDash val="solid"/>
              <a:round/>
              <a:headEnd/>
              <a:tailEnd/>
            </a:ln>
          </p:spPr>
          <p:txBody>
            <a:bodyPr vert="horz" wrap="square" lIns="38400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OK</a:t>
              </a:r>
            </a:p>
          </p:txBody>
        </p:sp>
        <p:sp>
          <p:nvSpPr>
            <p:cNvPr id="310" name="Freeform 20">
              <a:extLst>
                <a:ext uri="{FF2B5EF4-FFF2-40B4-BE49-F238E27FC236}">
                  <a16:creationId xmlns:a16="http://schemas.microsoft.com/office/drawing/2014/main" id="{A8ED03A3-0DE9-4C89-A400-46A9234B4D2F}"/>
                </a:ext>
              </a:extLst>
            </p:cNvPr>
            <p:cNvSpPr>
              <a:spLocks/>
            </p:cNvSpPr>
            <p:nvPr/>
          </p:nvSpPr>
          <p:spPr bwMode="auto">
            <a:xfrm>
              <a:off x="3975" y="771"/>
              <a:ext cx="366" cy="405"/>
            </a:xfrm>
            <a:custGeom>
              <a:avLst/>
              <a:gdLst>
                <a:gd name="T0" fmla="*/ 362 w 366"/>
                <a:gd name="T1" fmla="*/ 118 h 405"/>
                <a:gd name="T2" fmla="*/ 344 w 366"/>
                <a:gd name="T3" fmla="*/ 8 h 405"/>
                <a:gd name="T4" fmla="*/ 313 w 366"/>
                <a:gd name="T5" fmla="*/ 16 h 405"/>
                <a:gd name="T6" fmla="*/ 250 w 366"/>
                <a:gd name="T7" fmla="*/ 67 h 405"/>
                <a:gd name="T8" fmla="*/ 227 w 366"/>
                <a:gd name="T9" fmla="*/ 69 h 405"/>
                <a:gd name="T10" fmla="*/ 196 w 366"/>
                <a:gd name="T11" fmla="*/ 88 h 405"/>
                <a:gd name="T12" fmla="*/ 178 w 366"/>
                <a:gd name="T13" fmla="*/ 82 h 405"/>
                <a:gd name="T14" fmla="*/ 174 w 366"/>
                <a:gd name="T15" fmla="*/ 84 h 405"/>
                <a:gd name="T16" fmla="*/ 161 w 366"/>
                <a:gd name="T17" fmla="*/ 88 h 405"/>
                <a:gd name="T18" fmla="*/ 145 w 366"/>
                <a:gd name="T19" fmla="*/ 88 h 405"/>
                <a:gd name="T20" fmla="*/ 153 w 366"/>
                <a:gd name="T21" fmla="*/ 84 h 405"/>
                <a:gd name="T22" fmla="*/ 174 w 366"/>
                <a:gd name="T23" fmla="*/ 77 h 405"/>
                <a:gd name="T24" fmla="*/ 166 w 366"/>
                <a:gd name="T25" fmla="*/ 75 h 405"/>
                <a:gd name="T26" fmla="*/ 161 w 366"/>
                <a:gd name="T27" fmla="*/ 77 h 405"/>
                <a:gd name="T28" fmla="*/ 143 w 366"/>
                <a:gd name="T29" fmla="*/ 73 h 405"/>
                <a:gd name="T30" fmla="*/ 120 w 366"/>
                <a:gd name="T31" fmla="*/ 65 h 405"/>
                <a:gd name="T32" fmla="*/ 94 w 366"/>
                <a:gd name="T33" fmla="*/ 67 h 405"/>
                <a:gd name="T34" fmla="*/ 41 w 366"/>
                <a:gd name="T35" fmla="*/ 77 h 405"/>
                <a:gd name="T36" fmla="*/ 2 w 366"/>
                <a:gd name="T37" fmla="*/ 102 h 405"/>
                <a:gd name="T38" fmla="*/ 12 w 366"/>
                <a:gd name="T39" fmla="*/ 178 h 405"/>
                <a:gd name="T40" fmla="*/ 22 w 366"/>
                <a:gd name="T41" fmla="*/ 248 h 405"/>
                <a:gd name="T42" fmla="*/ 30 w 366"/>
                <a:gd name="T43" fmla="*/ 317 h 405"/>
                <a:gd name="T44" fmla="*/ 43 w 366"/>
                <a:gd name="T45" fmla="*/ 354 h 405"/>
                <a:gd name="T46" fmla="*/ 63 w 366"/>
                <a:gd name="T47" fmla="*/ 354 h 405"/>
                <a:gd name="T48" fmla="*/ 80 w 366"/>
                <a:gd name="T49" fmla="*/ 360 h 405"/>
                <a:gd name="T50" fmla="*/ 88 w 366"/>
                <a:gd name="T51" fmla="*/ 373 h 405"/>
                <a:gd name="T52" fmla="*/ 104 w 366"/>
                <a:gd name="T53" fmla="*/ 385 h 405"/>
                <a:gd name="T54" fmla="*/ 133 w 366"/>
                <a:gd name="T55" fmla="*/ 393 h 405"/>
                <a:gd name="T56" fmla="*/ 151 w 366"/>
                <a:gd name="T57" fmla="*/ 385 h 405"/>
                <a:gd name="T58" fmla="*/ 166 w 366"/>
                <a:gd name="T59" fmla="*/ 389 h 405"/>
                <a:gd name="T60" fmla="*/ 176 w 366"/>
                <a:gd name="T61" fmla="*/ 391 h 405"/>
                <a:gd name="T62" fmla="*/ 188 w 366"/>
                <a:gd name="T63" fmla="*/ 383 h 405"/>
                <a:gd name="T64" fmla="*/ 202 w 366"/>
                <a:gd name="T65" fmla="*/ 373 h 405"/>
                <a:gd name="T66" fmla="*/ 221 w 366"/>
                <a:gd name="T67" fmla="*/ 391 h 405"/>
                <a:gd name="T68" fmla="*/ 241 w 366"/>
                <a:gd name="T69" fmla="*/ 403 h 405"/>
                <a:gd name="T70" fmla="*/ 260 w 366"/>
                <a:gd name="T71" fmla="*/ 381 h 405"/>
                <a:gd name="T72" fmla="*/ 264 w 366"/>
                <a:gd name="T73" fmla="*/ 371 h 405"/>
                <a:gd name="T74" fmla="*/ 264 w 366"/>
                <a:gd name="T75" fmla="*/ 356 h 405"/>
                <a:gd name="T76" fmla="*/ 272 w 366"/>
                <a:gd name="T77" fmla="*/ 332 h 405"/>
                <a:gd name="T78" fmla="*/ 282 w 366"/>
                <a:gd name="T79" fmla="*/ 340 h 405"/>
                <a:gd name="T80" fmla="*/ 282 w 366"/>
                <a:gd name="T81" fmla="*/ 344 h 405"/>
                <a:gd name="T82" fmla="*/ 288 w 366"/>
                <a:gd name="T83" fmla="*/ 338 h 405"/>
                <a:gd name="T84" fmla="*/ 293 w 366"/>
                <a:gd name="T85" fmla="*/ 334 h 405"/>
                <a:gd name="T86" fmla="*/ 288 w 366"/>
                <a:gd name="T87" fmla="*/ 323 h 405"/>
                <a:gd name="T88" fmla="*/ 293 w 366"/>
                <a:gd name="T89" fmla="*/ 311 h 405"/>
                <a:gd name="T90" fmla="*/ 303 w 366"/>
                <a:gd name="T91" fmla="*/ 299 h 405"/>
                <a:gd name="T92" fmla="*/ 315 w 366"/>
                <a:gd name="T93" fmla="*/ 282 h 405"/>
                <a:gd name="T94" fmla="*/ 329 w 366"/>
                <a:gd name="T95" fmla="*/ 282 h 405"/>
                <a:gd name="T96" fmla="*/ 342 w 366"/>
                <a:gd name="T97" fmla="*/ 268 h 405"/>
                <a:gd name="T98" fmla="*/ 356 w 366"/>
                <a:gd name="T99" fmla="*/ 246 h 405"/>
                <a:gd name="T100" fmla="*/ 354 w 366"/>
                <a:gd name="T101" fmla="*/ 235 h 405"/>
                <a:gd name="T102" fmla="*/ 358 w 366"/>
                <a:gd name="T103" fmla="*/ 225 h 405"/>
                <a:gd name="T104" fmla="*/ 360 w 366"/>
                <a:gd name="T105" fmla="*/ 219 h 405"/>
                <a:gd name="T106" fmla="*/ 360 w 366"/>
                <a:gd name="T107" fmla="*/ 205 h 405"/>
                <a:gd name="T108" fmla="*/ 364 w 366"/>
                <a:gd name="T109" fmla="*/ 182 h 405"/>
                <a:gd name="T110" fmla="*/ 364 w 366"/>
                <a:gd name="T111" fmla="*/ 170 h 405"/>
                <a:gd name="T112" fmla="*/ 364 w 366"/>
                <a:gd name="T113" fmla="*/ 159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6" h="405">
                  <a:moveTo>
                    <a:pt x="358" y="145"/>
                  </a:moveTo>
                  <a:lnTo>
                    <a:pt x="358" y="143"/>
                  </a:lnTo>
                  <a:lnTo>
                    <a:pt x="362" y="143"/>
                  </a:lnTo>
                  <a:lnTo>
                    <a:pt x="362" y="143"/>
                  </a:lnTo>
                  <a:lnTo>
                    <a:pt x="366" y="141"/>
                  </a:lnTo>
                  <a:lnTo>
                    <a:pt x="366" y="139"/>
                  </a:lnTo>
                  <a:lnTo>
                    <a:pt x="364" y="129"/>
                  </a:lnTo>
                  <a:lnTo>
                    <a:pt x="362" y="118"/>
                  </a:lnTo>
                  <a:lnTo>
                    <a:pt x="362" y="106"/>
                  </a:lnTo>
                  <a:lnTo>
                    <a:pt x="360" y="96"/>
                  </a:lnTo>
                  <a:lnTo>
                    <a:pt x="358" y="86"/>
                  </a:lnTo>
                  <a:lnTo>
                    <a:pt x="356" y="73"/>
                  </a:lnTo>
                  <a:lnTo>
                    <a:pt x="354" y="63"/>
                  </a:lnTo>
                  <a:lnTo>
                    <a:pt x="352" y="51"/>
                  </a:lnTo>
                  <a:lnTo>
                    <a:pt x="348" y="30"/>
                  </a:lnTo>
                  <a:lnTo>
                    <a:pt x="344" y="8"/>
                  </a:lnTo>
                  <a:lnTo>
                    <a:pt x="342" y="0"/>
                  </a:lnTo>
                  <a:lnTo>
                    <a:pt x="323" y="10"/>
                  </a:lnTo>
                  <a:lnTo>
                    <a:pt x="319" y="12"/>
                  </a:lnTo>
                  <a:lnTo>
                    <a:pt x="317" y="14"/>
                  </a:lnTo>
                  <a:lnTo>
                    <a:pt x="315" y="14"/>
                  </a:lnTo>
                  <a:lnTo>
                    <a:pt x="315" y="14"/>
                  </a:lnTo>
                  <a:lnTo>
                    <a:pt x="315" y="16"/>
                  </a:lnTo>
                  <a:lnTo>
                    <a:pt x="313" y="16"/>
                  </a:lnTo>
                  <a:lnTo>
                    <a:pt x="311" y="18"/>
                  </a:lnTo>
                  <a:lnTo>
                    <a:pt x="309" y="20"/>
                  </a:lnTo>
                  <a:lnTo>
                    <a:pt x="305" y="22"/>
                  </a:lnTo>
                  <a:lnTo>
                    <a:pt x="280" y="39"/>
                  </a:lnTo>
                  <a:lnTo>
                    <a:pt x="258" y="63"/>
                  </a:lnTo>
                  <a:lnTo>
                    <a:pt x="254" y="65"/>
                  </a:lnTo>
                  <a:lnTo>
                    <a:pt x="252" y="67"/>
                  </a:lnTo>
                  <a:lnTo>
                    <a:pt x="250" y="67"/>
                  </a:lnTo>
                  <a:lnTo>
                    <a:pt x="247" y="67"/>
                  </a:lnTo>
                  <a:lnTo>
                    <a:pt x="247" y="67"/>
                  </a:lnTo>
                  <a:lnTo>
                    <a:pt x="245" y="67"/>
                  </a:lnTo>
                  <a:lnTo>
                    <a:pt x="243" y="69"/>
                  </a:lnTo>
                  <a:lnTo>
                    <a:pt x="243" y="69"/>
                  </a:lnTo>
                  <a:lnTo>
                    <a:pt x="241" y="69"/>
                  </a:lnTo>
                  <a:lnTo>
                    <a:pt x="231" y="69"/>
                  </a:lnTo>
                  <a:lnTo>
                    <a:pt x="227" y="69"/>
                  </a:lnTo>
                  <a:lnTo>
                    <a:pt x="217" y="75"/>
                  </a:lnTo>
                  <a:lnTo>
                    <a:pt x="211" y="80"/>
                  </a:lnTo>
                  <a:lnTo>
                    <a:pt x="209" y="82"/>
                  </a:lnTo>
                  <a:lnTo>
                    <a:pt x="202" y="82"/>
                  </a:lnTo>
                  <a:lnTo>
                    <a:pt x="200" y="84"/>
                  </a:lnTo>
                  <a:lnTo>
                    <a:pt x="200" y="84"/>
                  </a:lnTo>
                  <a:lnTo>
                    <a:pt x="196" y="88"/>
                  </a:lnTo>
                  <a:lnTo>
                    <a:pt x="196" y="88"/>
                  </a:lnTo>
                  <a:lnTo>
                    <a:pt x="192" y="88"/>
                  </a:lnTo>
                  <a:lnTo>
                    <a:pt x="188" y="88"/>
                  </a:lnTo>
                  <a:lnTo>
                    <a:pt x="182" y="84"/>
                  </a:lnTo>
                  <a:lnTo>
                    <a:pt x="180" y="84"/>
                  </a:lnTo>
                  <a:lnTo>
                    <a:pt x="180" y="84"/>
                  </a:lnTo>
                  <a:lnTo>
                    <a:pt x="178" y="84"/>
                  </a:lnTo>
                  <a:lnTo>
                    <a:pt x="178" y="82"/>
                  </a:lnTo>
                  <a:lnTo>
                    <a:pt x="178" y="82"/>
                  </a:lnTo>
                  <a:lnTo>
                    <a:pt x="176" y="80"/>
                  </a:lnTo>
                  <a:lnTo>
                    <a:pt x="176" y="80"/>
                  </a:lnTo>
                  <a:lnTo>
                    <a:pt x="178" y="82"/>
                  </a:lnTo>
                  <a:lnTo>
                    <a:pt x="180" y="86"/>
                  </a:lnTo>
                  <a:lnTo>
                    <a:pt x="182" y="86"/>
                  </a:lnTo>
                  <a:lnTo>
                    <a:pt x="178" y="84"/>
                  </a:lnTo>
                  <a:lnTo>
                    <a:pt x="176" y="84"/>
                  </a:lnTo>
                  <a:lnTo>
                    <a:pt x="174" y="84"/>
                  </a:lnTo>
                  <a:lnTo>
                    <a:pt x="174" y="84"/>
                  </a:lnTo>
                  <a:lnTo>
                    <a:pt x="172" y="84"/>
                  </a:lnTo>
                  <a:lnTo>
                    <a:pt x="172" y="84"/>
                  </a:lnTo>
                  <a:lnTo>
                    <a:pt x="170" y="86"/>
                  </a:lnTo>
                  <a:lnTo>
                    <a:pt x="170" y="84"/>
                  </a:lnTo>
                  <a:lnTo>
                    <a:pt x="168" y="84"/>
                  </a:lnTo>
                  <a:lnTo>
                    <a:pt x="164" y="86"/>
                  </a:lnTo>
                  <a:lnTo>
                    <a:pt x="161" y="88"/>
                  </a:lnTo>
                  <a:lnTo>
                    <a:pt x="157" y="90"/>
                  </a:lnTo>
                  <a:lnTo>
                    <a:pt x="153" y="88"/>
                  </a:lnTo>
                  <a:lnTo>
                    <a:pt x="153" y="90"/>
                  </a:lnTo>
                  <a:lnTo>
                    <a:pt x="153" y="90"/>
                  </a:lnTo>
                  <a:lnTo>
                    <a:pt x="151" y="90"/>
                  </a:lnTo>
                  <a:lnTo>
                    <a:pt x="151" y="88"/>
                  </a:lnTo>
                  <a:lnTo>
                    <a:pt x="151" y="88"/>
                  </a:lnTo>
                  <a:lnTo>
                    <a:pt x="145" y="88"/>
                  </a:lnTo>
                  <a:lnTo>
                    <a:pt x="147" y="88"/>
                  </a:lnTo>
                  <a:lnTo>
                    <a:pt x="149" y="88"/>
                  </a:lnTo>
                  <a:lnTo>
                    <a:pt x="151" y="86"/>
                  </a:lnTo>
                  <a:lnTo>
                    <a:pt x="151" y="88"/>
                  </a:lnTo>
                  <a:lnTo>
                    <a:pt x="153" y="86"/>
                  </a:lnTo>
                  <a:lnTo>
                    <a:pt x="153" y="86"/>
                  </a:lnTo>
                  <a:lnTo>
                    <a:pt x="153" y="84"/>
                  </a:lnTo>
                  <a:lnTo>
                    <a:pt x="153" y="84"/>
                  </a:lnTo>
                  <a:lnTo>
                    <a:pt x="155" y="84"/>
                  </a:lnTo>
                  <a:lnTo>
                    <a:pt x="157" y="84"/>
                  </a:lnTo>
                  <a:lnTo>
                    <a:pt x="159" y="82"/>
                  </a:lnTo>
                  <a:lnTo>
                    <a:pt x="161" y="82"/>
                  </a:lnTo>
                  <a:lnTo>
                    <a:pt x="164" y="82"/>
                  </a:lnTo>
                  <a:lnTo>
                    <a:pt x="166" y="80"/>
                  </a:lnTo>
                  <a:lnTo>
                    <a:pt x="168" y="80"/>
                  </a:lnTo>
                  <a:lnTo>
                    <a:pt x="174" y="77"/>
                  </a:lnTo>
                  <a:lnTo>
                    <a:pt x="174" y="77"/>
                  </a:lnTo>
                  <a:lnTo>
                    <a:pt x="172" y="75"/>
                  </a:lnTo>
                  <a:lnTo>
                    <a:pt x="172" y="75"/>
                  </a:lnTo>
                  <a:lnTo>
                    <a:pt x="168" y="75"/>
                  </a:lnTo>
                  <a:lnTo>
                    <a:pt x="168" y="75"/>
                  </a:lnTo>
                  <a:lnTo>
                    <a:pt x="166" y="77"/>
                  </a:lnTo>
                  <a:lnTo>
                    <a:pt x="166" y="75"/>
                  </a:lnTo>
                  <a:lnTo>
                    <a:pt x="166" y="75"/>
                  </a:lnTo>
                  <a:lnTo>
                    <a:pt x="166" y="75"/>
                  </a:lnTo>
                  <a:lnTo>
                    <a:pt x="164" y="73"/>
                  </a:lnTo>
                  <a:lnTo>
                    <a:pt x="161" y="73"/>
                  </a:lnTo>
                  <a:lnTo>
                    <a:pt x="161" y="71"/>
                  </a:lnTo>
                  <a:lnTo>
                    <a:pt x="161" y="73"/>
                  </a:lnTo>
                  <a:lnTo>
                    <a:pt x="161" y="73"/>
                  </a:lnTo>
                  <a:lnTo>
                    <a:pt x="161" y="75"/>
                  </a:lnTo>
                  <a:lnTo>
                    <a:pt x="161" y="77"/>
                  </a:lnTo>
                  <a:lnTo>
                    <a:pt x="159" y="77"/>
                  </a:lnTo>
                  <a:lnTo>
                    <a:pt x="159" y="80"/>
                  </a:lnTo>
                  <a:lnTo>
                    <a:pt x="155" y="80"/>
                  </a:lnTo>
                  <a:lnTo>
                    <a:pt x="153" y="80"/>
                  </a:lnTo>
                  <a:lnTo>
                    <a:pt x="151" y="80"/>
                  </a:lnTo>
                  <a:lnTo>
                    <a:pt x="149" y="80"/>
                  </a:lnTo>
                  <a:lnTo>
                    <a:pt x="147" y="77"/>
                  </a:lnTo>
                  <a:lnTo>
                    <a:pt x="143" y="73"/>
                  </a:lnTo>
                  <a:lnTo>
                    <a:pt x="139" y="73"/>
                  </a:lnTo>
                  <a:lnTo>
                    <a:pt x="137" y="73"/>
                  </a:lnTo>
                  <a:lnTo>
                    <a:pt x="135" y="73"/>
                  </a:lnTo>
                  <a:lnTo>
                    <a:pt x="129" y="71"/>
                  </a:lnTo>
                  <a:lnTo>
                    <a:pt x="127" y="69"/>
                  </a:lnTo>
                  <a:lnTo>
                    <a:pt x="123" y="67"/>
                  </a:lnTo>
                  <a:lnTo>
                    <a:pt x="120" y="65"/>
                  </a:lnTo>
                  <a:lnTo>
                    <a:pt x="120" y="65"/>
                  </a:lnTo>
                  <a:lnTo>
                    <a:pt x="118" y="67"/>
                  </a:lnTo>
                  <a:lnTo>
                    <a:pt x="116" y="67"/>
                  </a:lnTo>
                  <a:lnTo>
                    <a:pt x="114" y="67"/>
                  </a:lnTo>
                  <a:lnTo>
                    <a:pt x="108" y="67"/>
                  </a:lnTo>
                  <a:lnTo>
                    <a:pt x="108" y="65"/>
                  </a:lnTo>
                  <a:lnTo>
                    <a:pt x="108" y="65"/>
                  </a:lnTo>
                  <a:lnTo>
                    <a:pt x="102" y="65"/>
                  </a:lnTo>
                  <a:lnTo>
                    <a:pt x="94" y="67"/>
                  </a:lnTo>
                  <a:lnTo>
                    <a:pt x="88" y="69"/>
                  </a:lnTo>
                  <a:lnTo>
                    <a:pt x="82" y="69"/>
                  </a:lnTo>
                  <a:lnTo>
                    <a:pt x="75" y="71"/>
                  </a:lnTo>
                  <a:lnTo>
                    <a:pt x="67" y="71"/>
                  </a:lnTo>
                  <a:lnTo>
                    <a:pt x="61" y="73"/>
                  </a:lnTo>
                  <a:lnTo>
                    <a:pt x="55" y="75"/>
                  </a:lnTo>
                  <a:lnTo>
                    <a:pt x="47" y="75"/>
                  </a:lnTo>
                  <a:lnTo>
                    <a:pt x="41" y="77"/>
                  </a:lnTo>
                  <a:lnTo>
                    <a:pt x="34" y="77"/>
                  </a:lnTo>
                  <a:lnTo>
                    <a:pt x="28" y="80"/>
                  </a:lnTo>
                  <a:lnTo>
                    <a:pt x="20" y="82"/>
                  </a:lnTo>
                  <a:lnTo>
                    <a:pt x="14" y="82"/>
                  </a:lnTo>
                  <a:lnTo>
                    <a:pt x="8" y="84"/>
                  </a:lnTo>
                  <a:lnTo>
                    <a:pt x="0" y="84"/>
                  </a:lnTo>
                  <a:lnTo>
                    <a:pt x="2" y="92"/>
                  </a:lnTo>
                  <a:lnTo>
                    <a:pt x="2" y="102"/>
                  </a:lnTo>
                  <a:lnTo>
                    <a:pt x="6" y="118"/>
                  </a:lnTo>
                  <a:lnTo>
                    <a:pt x="6" y="127"/>
                  </a:lnTo>
                  <a:lnTo>
                    <a:pt x="8" y="135"/>
                  </a:lnTo>
                  <a:lnTo>
                    <a:pt x="8" y="145"/>
                  </a:lnTo>
                  <a:lnTo>
                    <a:pt x="10" y="153"/>
                  </a:lnTo>
                  <a:lnTo>
                    <a:pt x="10" y="162"/>
                  </a:lnTo>
                  <a:lnTo>
                    <a:pt x="12" y="170"/>
                  </a:lnTo>
                  <a:lnTo>
                    <a:pt x="12" y="178"/>
                  </a:lnTo>
                  <a:lnTo>
                    <a:pt x="14" y="188"/>
                  </a:lnTo>
                  <a:lnTo>
                    <a:pt x="14" y="196"/>
                  </a:lnTo>
                  <a:lnTo>
                    <a:pt x="16" y="205"/>
                  </a:lnTo>
                  <a:lnTo>
                    <a:pt x="18" y="213"/>
                  </a:lnTo>
                  <a:lnTo>
                    <a:pt x="18" y="221"/>
                  </a:lnTo>
                  <a:lnTo>
                    <a:pt x="20" y="231"/>
                  </a:lnTo>
                  <a:lnTo>
                    <a:pt x="20" y="239"/>
                  </a:lnTo>
                  <a:lnTo>
                    <a:pt x="22" y="248"/>
                  </a:lnTo>
                  <a:lnTo>
                    <a:pt x="22" y="256"/>
                  </a:lnTo>
                  <a:lnTo>
                    <a:pt x="24" y="264"/>
                  </a:lnTo>
                  <a:lnTo>
                    <a:pt x="24" y="274"/>
                  </a:lnTo>
                  <a:lnTo>
                    <a:pt x="26" y="282"/>
                  </a:lnTo>
                  <a:lnTo>
                    <a:pt x="26" y="291"/>
                  </a:lnTo>
                  <a:lnTo>
                    <a:pt x="28" y="299"/>
                  </a:lnTo>
                  <a:lnTo>
                    <a:pt x="28" y="307"/>
                  </a:lnTo>
                  <a:lnTo>
                    <a:pt x="30" y="317"/>
                  </a:lnTo>
                  <a:lnTo>
                    <a:pt x="32" y="325"/>
                  </a:lnTo>
                  <a:lnTo>
                    <a:pt x="32" y="334"/>
                  </a:lnTo>
                  <a:lnTo>
                    <a:pt x="34" y="342"/>
                  </a:lnTo>
                  <a:lnTo>
                    <a:pt x="34" y="350"/>
                  </a:lnTo>
                  <a:lnTo>
                    <a:pt x="37" y="360"/>
                  </a:lnTo>
                  <a:lnTo>
                    <a:pt x="41" y="356"/>
                  </a:lnTo>
                  <a:lnTo>
                    <a:pt x="41" y="354"/>
                  </a:lnTo>
                  <a:lnTo>
                    <a:pt x="43" y="354"/>
                  </a:lnTo>
                  <a:lnTo>
                    <a:pt x="43" y="354"/>
                  </a:lnTo>
                  <a:lnTo>
                    <a:pt x="45" y="354"/>
                  </a:lnTo>
                  <a:lnTo>
                    <a:pt x="45" y="354"/>
                  </a:lnTo>
                  <a:lnTo>
                    <a:pt x="47" y="356"/>
                  </a:lnTo>
                  <a:lnTo>
                    <a:pt x="47" y="356"/>
                  </a:lnTo>
                  <a:lnTo>
                    <a:pt x="53" y="360"/>
                  </a:lnTo>
                  <a:lnTo>
                    <a:pt x="55" y="360"/>
                  </a:lnTo>
                  <a:lnTo>
                    <a:pt x="63" y="354"/>
                  </a:lnTo>
                  <a:lnTo>
                    <a:pt x="65" y="354"/>
                  </a:lnTo>
                  <a:lnTo>
                    <a:pt x="67" y="354"/>
                  </a:lnTo>
                  <a:lnTo>
                    <a:pt x="69" y="356"/>
                  </a:lnTo>
                  <a:lnTo>
                    <a:pt x="71" y="358"/>
                  </a:lnTo>
                  <a:lnTo>
                    <a:pt x="71" y="358"/>
                  </a:lnTo>
                  <a:lnTo>
                    <a:pt x="73" y="358"/>
                  </a:lnTo>
                  <a:lnTo>
                    <a:pt x="75" y="360"/>
                  </a:lnTo>
                  <a:lnTo>
                    <a:pt x="80" y="360"/>
                  </a:lnTo>
                  <a:lnTo>
                    <a:pt x="82" y="362"/>
                  </a:lnTo>
                  <a:lnTo>
                    <a:pt x="82" y="364"/>
                  </a:lnTo>
                  <a:lnTo>
                    <a:pt x="82" y="366"/>
                  </a:lnTo>
                  <a:lnTo>
                    <a:pt x="84" y="366"/>
                  </a:lnTo>
                  <a:lnTo>
                    <a:pt x="84" y="368"/>
                  </a:lnTo>
                  <a:lnTo>
                    <a:pt x="86" y="371"/>
                  </a:lnTo>
                  <a:lnTo>
                    <a:pt x="86" y="371"/>
                  </a:lnTo>
                  <a:lnTo>
                    <a:pt x="88" y="373"/>
                  </a:lnTo>
                  <a:lnTo>
                    <a:pt x="88" y="373"/>
                  </a:lnTo>
                  <a:lnTo>
                    <a:pt x="90" y="375"/>
                  </a:lnTo>
                  <a:lnTo>
                    <a:pt x="90" y="377"/>
                  </a:lnTo>
                  <a:lnTo>
                    <a:pt x="90" y="379"/>
                  </a:lnTo>
                  <a:lnTo>
                    <a:pt x="92" y="381"/>
                  </a:lnTo>
                  <a:lnTo>
                    <a:pt x="94" y="383"/>
                  </a:lnTo>
                  <a:lnTo>
                    <a:pt x="102" y="385"/>
                  </a:lnTo>
                  <a:lnTo>
                    <a:pt x="104" y="385"/>
                  </a:lnTo>
                  <a:lnTo>
                    <a:pt x="112" y="383"/>
                  </a:lnTo>
                  <a:lnTo>
                    <a:pt x="114" y="383"/>
                  </a:lnTo>
                  <a:lnTo>
                    <a:pt x="118" y="383"/>
                  </a:lnTo>
                  <a:lnTo>
                    <a:pt x="123" y="383"/>
                  </a:lnTo>
                  <a:lnTo>
                    <a:pt x="123" y="385"/>
                  </a:lnTo>
                  <a:lnTo>
                    <a:pt x="125" y="387"/>
                  </a:lnTo>
                  <a:lnTo>
                    <a:pt x="127" y="389"/>
                  </a:lnTo>
                  <a:lnTo>
                    <a:pt x="133" y="393"/>
                  </a:lnTo>
                  <a:lnTo>
                    <a:pt x="137" y="395"/>
                  </a:lnTo>
                  <a:lnTo>
                    <a:pt x="141" y="395"/>
                  </a:lnTo>
                  <a:lnTo>
                    <a:pt x="141" y="395"/>
                  </a:lnTo>
                  <a:lnTo>
                    <a:pt x="143" y="393"/>
                  </a:lnTo>
                  <a:lnTo>
                    <a:pt x="143" y="391"/>
                  </a:lnTo>
                  <a:lnTo>
                    <a:pt x="143" y="389"/>
                  </a:lnTo>
                  <a:lnTo>
                    <a:pt x="145" y="389"/>
                  </a:lnTo>
                  <a:lnTo>
                    <a:pt x="151" y="385"/>
                  </a:lnTo>
                  <a:lnTo>
                    <a:pt x="151" y="385"/>
                  </a:lnTo>
                  <a:lnTo>
                    <a:pt x="153" y="385"/>
                  </a:lnTo>
                  <a:lnTo>
                    <a:pt x="155" y="387"/>
                  </a:lnTo>
                  <a:lnTo>
                    <a:pt x="157" y="387"/>
                  </a:lnTo>
                  <a:lnTo>
                    <a:pt x="157" y="387"/>
                  </a:lnTo>
                  <a:lnTo>
                    <a:pt x="161" y="387"/>
                  </a:lnTo>
                  <a:lnTo>
                    <a:pt x="161" y="387"/>
                  </a:lnTo>
                  <a:lnTo>
                    <a:pt x="166" y="389"/>
                  </a:lnTo>
                  <a:lnTo>
                    <a:pt x="166" y="389"/>
                  </a:lnTo>
                  <a:lnTo>
                    <a:pt x="168" y="389"/>
                  </a:lnTo>
                  <a:lnTo>
                    <a:pt x="170" y="393"/>
                  </a:lnTo>
                  <a:lnTo>
                    <a:pt x="170" y="393"/>
                  </a:lnTo>
                  <a:lnTo>
                    <a:pt x="172" y="393"/>
                  </a:lnTo>
                  <a:lnTo>
                    <a:pt x="174" y="393"/>
                  </a:lnTo>
                  <a:lnTo>
                    <a:pt x="176" y="391"/>
                  </a:lnTo>
                  <a:lnTo>
                    <a:pt x="176" y="391"/>
                  </a:lnTo>
                  <a:lnTo>
                    <a:pt x="178" y="389"/>
                  </a:lnTo>
                  <a:lnTo>
                    <a:pt x="182" y="391"/>
                  </a:lnTo>
                  <a:lnTo>
                    <a:pt x="184" y="389"/>
                  </a:lnTo>
                  <a:lnTo>
                    <a:pt x="186" y="389"/>
                  </a:lnTo>
                  <a:lnTo>
                    <a:pt x="186" y="387"/>
                  </a:lnTo>
                  <a:lnTo>
                    <a:pt x="186" y="385"/>
                  </a:lnTo>
                  <a:lnTo>
                    <a:pt x="186" y="385"/>
                  </a:lnTo>
                  <a:lnTo>
                    <a:pt x="188" y="383"/>
                  </a:lnTo>
                  <a:lnTo>
                    <a:pt x="190" y="383"/>
                  </a:lnTo>
                  <a:lnTo>
                    <a:pt x="190" y="381"/>
                  </a:lnTo>
                  <a:lnTo>
                    <a:pt x="192" y="379"/>
                  </a:lnTo>
                  <a:lnTo>
                    <a:pt x="192" y="379"/>
                  </a:lnTo>
                  <a:lnTo>
                    <a:pt x="194" y="377"/>
                  </a:lnTo>
                  <a:lnTo>
                    <a:pt x="196" y="377"/>
                  </a:lnTo>
                  <a:lnTo>
                    <a:pt x="200" y="373"/>
                  </a:lnTo>
                  <a:lnTo>
                    <a:pt x="202" y="373"/>
                  </a:lnTo>
                  <a:lnTo>
                    <a:pt x="204" y="373"/>
                  </a:lnTo>
                  <a:lnTo>
                    <a:pt x="204" y="375"/>
                  </a:lnTo>
                  <a:lnTo>
                    <a:pt x="204" y="377"/>
                  </a:lnTo>
                  <a:lnTo>
                    <a:pt x="207" y="379"/>
                  </a:lnTo>
                  <a:lnTo>
                    <a:pt x="209" y="385"/>
                  </a:lnTo>
                  <a:lnTo>
                    <a:pt x="213" y="389"/>
                  </a:lnTo>
                  <a:lnTo>
                    <a:pt x="217" y="391"/>
                  </a:lnTo>
                  <a:lnTo>
                    <a:pt x="221" y="391"/>
                  </a:lnTo>
                  <a:lnTo>
                    <a:pt x="223" y="393"/>
                  </a:lnTo>
                  <a:lnTo>
                    <a:pt x="231" y="397"/>
                  </a:lnTo>
                  <a:lnTo>
                    <a:pt x="231" y="399"/>
                  </a:lnTo>
                  <a:lnTo>
                    <a:pt x="233" y="403"/>
                  </a:lnTo>
                  <a:lnTo>
                    <a:pt x="235" y="403"/>
                  </a:lnTo>
                  <a:lnTo>
                    <a:pt x="235" y="403"/>
                  </a:lnTo>
                  <a:lnTo>
                    <a:pt x="237" y="405"/>
                  </a:lnTo>
                  <a:lnTo>
                    <a:pt x="241" y="403"/>
                  </a:lnTo>
                  <a:lnTo>
                    <a:pt x="247" y="399"/>
                  </a:lnTo>
                  <a:lnTo>
                    <a:pt x="254" y="399"/>
                  </a:lnTo>
                  <a:lnTo>
                    <a:pt x="256" y="397"/>
                  </a:lnTo>
                  <a:lnTo>
                    <a:pt x="258" y="395"/>
                  </a:lnTo>
                  <a:lnTo>
                    <a:pt x="258" y="393"/>
                  </a:lnTo>
                  <a:lnTo>
                    <a:pt x="258" y="383"/>
                  </a:lnTo>
                  <a:lnTo>
                    <a:pt x="258" y="381"/>
                  </a:lnTo>
                  <a:lnTo>
                    <a:pt x="260" y="381"/>
                  </a:lnTo>
                  <a:lnTo>
                    <a:pt x="264" y="381"/>
                  </a:lnTo>
                  <a:lnTo>
                    <a:pt x="266" y="379"/>
                  </a:lnTo>
                  <a:lnTo>
                    <a:pt x="266" y="377"/>
                  </a:lnTo>
                  <a:lnTo>
                    <a:pt x="266" y="377"/>
                  </a:lnTo>
                  <a:lnTo>
                    <a:pt x="266" y="375"/>
                  </a:lnTo>
                  <a:lnTo>
                    <a:pt x="266" y="375"/>
                  </a:lnTo>
                  <a:lnTo>
                    <a:pt x="264" y="373"/>
                  </a:lnTo>
                  <a:lnTo>
                    <a:pt x="264" y="371"/>
                  </a:lnTo>
                  <a:lnTo>
                    <a:pt x="264" y="368"/>
                  </a:lnTo>
                  <a:lnTo>
                    <a:pt x="264" y="366"/>
                  </a:lnTo>
                  <a:lnTo>
                    <a:pt x="262" y="364"/>
                  </a:lnTo>
                  <a:lnTo>
                    <a:pt x="262" y="364"/>
                  </a:lnTo>
                  <a:lnTo>
                    <a:pt x="260" y="362"/>
                  </a:lnTo>
                  <a:lnTo>
                    <a:pt x="260" y="360"/>
                  </a:lnTo>
                  <a:lnTo>
                    <a:pt x="262" y="358"/>
                  </a:lnTo>
                  <a:lnTo>
                    <a:pt x="264" y="356"/>
                  </a:lnTo>
                  <a:lnTo>
                    <a:pt x="264" y="354"/>
                  </a:lnTo>
                  <a:lnTo>
                    <a:pt x="264" y="352"/>
                  </a:lnTo>
                  <a:lnTo>
                    <a:pt x="264" y="350"/>
                  </a:lnTo>
                  <a:lnTo>
                    <a:pt x="264" y="346"/>
                  </a:lnTo>
                  <a:lnTo>
                    <a:pt x="266" y="344"/>
                  </a:lnTo>
                  <a:lnTo>
                    <a:pt x="268" y="338"/>
                  </a:lnTo>
                  <a:lnTo>
                    <a:pt x="270" y="334"/>
                  </a:lnTo>
                  <a:lnTo>
                    <a:pt x="272" y="332"/>
                  </a:lnTo>
                  <a:lnTo>
                    <a:pt x="274" y="332"/>
                  </a:lnTo>
                  <a:lnTo>
                    <a:pt x="276" y="332"/>
                  </a:lnTo>
                  <a:lnTo>
                    <a:pt x="276" y="334"/>
                  </a:lnTo>
                  <a:lnTo>
                    <a:pt x="280" y="334"/>
                  </a:lnTo>
                  <a:lnTo>
                    <a:pt x="280" y="336"/>
                  </a:lnTo>
                  <a:lnTo>
                    <a:pt x="282" y="338"/>
                  </a:lnTo>
                  <a:lnTo>
                    <a:pt x="282" y="338"/>
                  </a:lnTo>
                  <a:lnTo>
                    <a:pt x="282" y="340"/>
                  </a:lnTo>
                  <a:lnTo>
                    <a:pt x="284" y="340"/>
                  </a:lnTo>
                  <a:lnTo>
                    <a:pt x="284" y="340"/>
                  </a:lnTo>
                  <a:lnTo>
                    <a:pt x="284" y="340"/>
                  </a:lnTo>
                  <a:lnTo>
                    <a:pt x="282" y="342"/>
                  </a:lnTo>
                  <a:lnTo>
                    <a:pt x="282" y="342"/>
                  </a:lnTo>
                  <a:lnTo>
                    <a:pt x="282" y="342"/>
                  </a:lnTo>
                  <a:lnTo>
                    <a:pt x="282" y="344"/>
                  </a:lnTo>
                  <a:lnTo>
                    <a:pt x="282" y="344"/>
                  </a:lnTo>
                  <a:lnTo>
                    <a:pt x="282" y="344"/>
                  </a:lnTo>
                  <a:lnTo>
                    <a:pt x="282" y="346"/>
                  </a:lnTo>
                  <a:lnTo>
                    <a:pt x="284" y="346"/>
                  </a:lnTo>
                  <a:lnTo>
                    <a:pt x="286" y="344"/>
                  </a:lnTo>
                  <a:lnTo>
                    <a:pt x="288" y="342"/>
                  </a:lnTo>
                  <a:lnTo>
                    <a:pt x="288" y="342"/>
                  </a:lnTo>
                  <a:lnTo>
                    <a:pt x="288" y="338"/>
                  </a:lnTo>
                  <a:lnTo>
                    <a:pt x="288" y="338"/>
                  </a:lnTo>
                  <a:lnTo>
                    <a:pt x="290" y="336"/>
                  </a:lnTo>
                  <a:lnTo>
                    <a:pt x="290" y="336"/>
                  </a:lnTo>
                  <a:lnTo>
                    <a:pt x="293" y="338"/>
                  </a:lnTo>
                  <a:lnTo>
                    <a:pt x="293" y="338"/>
                  </a:lnTo>
                  <a:lnTo>
                    <a:pt x="295" y="338"/>
                  </a:lnTo>
                  <a:lnTo>
                    <a:pt x="295" y="336"/>
                  </a:lnTo>
                  <a:lnTo>
                    <a:pt x="295" y="336"/>
                  </a:lnTo>
                  <a:lnTo>
                    <a:pt x="293" y="334"/>
                  </a:lnTo>
                  <a:lnTo>
                    <a:pt x="293" y="330"/>
                  </a:lnTo>
                  <a:lnTo>
                    <a:pt x="293" y="328"/>
                  </a:lnTo>
                  <a:lnTo>
                    <a:pt x="290" y="328"/>
                  </a:lnTo>
                  <a:lnTo>
                    <a:pt x="290" y="328"/>
                  </a:lnTo>
                  <a:lnTo>
                    <a:pt x="290" y="325"/>
                  </a:lnTo>
                  <a:lnTo>
                    <a:pt x="288" y="325"/>
                  </a:lnTo>
                  <a:lnTo>
                    <a:pt x="288" y="325"/>
                  </a:lnTo>
                  <a:lnTo>
                    <a:pt x="288" y="323"/>
                  </a:lnTo>
                  <a:lnTo>
                    <a:pt x="288" y="323"/>
                  </a:lnTo>
                  <a:lnTo>
                    <a:pt x="288" y="323"/>
                  </a:lnTo>
                  <a:lnTo>
                    <a:pt x="293" y="321"/>
                  </a:lnTo>
                  <a:lnTo>
                    <a:pt x="293" y="319"/>
                  </a:lnTo>
                  <a:lnTo>
                    <a:pt x="293" y="317"/>
                  </a:lnTo>
                  <a:lnTo>
                    <a:pt x="293" y="313"/>
                  </a:lnTo>
                  <a:lnTo>
                    <a:pt x="293" y="311"/>
                  </a:lnTo>
                  <a:lnTo>
                    <a:pt x="293" y="311"/>
                  </a:lnTo>
                  <a:lnTo>
                    <a:pt x="295" y="305"/>
                  </a:lnTo>
                  <a:lnTo>
                    <a:pt x="297" y="301"/>
                  </a:lnTo>
                  <a:lnTo>
                    <a:pt x="297" y="301"/>
                  </a:lnTo>
                  <a:lnTo>
                    <a:pt x="299" y="301"/>
                  </a:lnTo>
                  <a:lnTo>
                    <a:pt x="301" y="299"/>
                  </a:lnTo>
                  <a:lnTo>
                    <a:pt x="303" y="299"/>
                  </a:lnTo>
                  <a:lnTo>
                    <a:pt x="303" y="299"/>
                  </a:lnTo>
                  <a:lnTo>
                    <a:pt x="303" y="299"/>
                  </a:lnTo>
                  <a:lnTo>
                    <a:pt x="303" y="299"/>
                  </a:lnTo>
                  <a:lnTo>
                    <a:pt x="305" y="299"/>
                  </a:lnTo>
                  <a:lnTo>
                    <a:pt x="305" y="297"/>
                  </a:lnTo>
                  <a:lnTo>
                    <a:pt x="305" y="293"/>
                  </a:lnTo>
                  <a:lnTo>
                    <a:pt x="305" y="291"/>
                  </a:lnTo>
                  <a:lnTo>
                    <a:pt x="311" y="284"/>
                  </a:lnTo>
                  <a:lnTo>
                    <a:pt x="311" y="284"/>
                  </a:lnTo>
                  <a:lnTo>
                    <a:pt x="315" y="282"/>
                  </a:lnTo>
                  <a:lnTo>
                    <a:pt x="317" y="284"/>
                  </a:lnTo>
                  <a:lnTo>
                    <a:pt x="317" y="287"/>
                  </a:lnTo>
                  <a:lnTo>
                    <a:pt x="319" y="287"/>
                  </a:lnTo>
                  <a:lnTo>
                    <a:pt x="321" y="289"/>
                  </a:lnTo>
                  <a:lnTo>
                    <a:pt x="323" y="289"/>
                  </a:lnTo>
                  <a:lnTo>
                    <a:pt x="325" y="284"/>
                  </a:lnTo>
                  <a:lnTo>
                    <a:pt x="327" y="284"/>
                  </a:lnTo>
                  <a:lnTo>
                    <a:pt x="329" y="282"/>
                  </a:lnTo>
                  <a:lnTo>
                    <a:pt x="329" y="282"/>
                  </a:lnTo>
                  <a:lnTo>
                    <a:pt x="331" y="280"/>
                  </a:lnTo>
                  <a:lnTo>
                    <a:pt x="333" y="280"/>
                  </a:lnTo>
                  <a:lnTo>
                    <a:pt x="336" y="276"/>
                  </a:lnTo>
                  <a:lnTo>
                    <a:pt x="336" y="276"/>
                  </a:lnTo>
                  <a:lnTo>
                    <a:pt x="340" y="274"/>
                  </a:lnTo>
                  <a:lnTo>
                    <a:pt x="340" y="272"/>
                  </a:lnTo>
                  <a:lnTo>
                    <a:pt x="342" y="268"/>
                  </a:lnTo>
                  <a:lnTo>
                    <a:pt x="344" y="264"/>
                  </a:lnTo>
                  <a:lnTo>
                    <a:pt x="352" y="256"/>
                  </a:lnTo>
                  <a:lnTo>
                    <a:pt x="356" y="252"/>
                  </a:lnTo>
                  <a:lnTo>
                    <a:pt x="356" y="252"/>
                  </a:lnTo>
                  <a:lnTo>
                    <a:pt x="358" y="248"/>
                  </a:lnTo>
                  <a:lnTo>
                    <a:pt x="358" y="248"/>
                  </a:lnTo>
                  <a:lnTo>
                    <a:pt x="356" y="246"/>
                  </a:lnTo>
                  <a:lnTo>
                    <a:pt x="356" y="246"/>
                  </a:lnTo>
                  <a:lnTo>
                    <a:pt x="356" y="246"/>
                  </a:lnTo>
                  <a:lnTo>
                    <a:pt x="358" y="243"/>
                  </a:lnTo>
                  <a:lnTo>
                    <a:pt x="358" y="241"/>
                  </a:lnTo>
                  <a:lnTo>
                    <a:pt x="358" y="239"/>
                  </a:lnTo>
                  <a:lnTo>
                    <a:pt x="356" y="239"/>
                  </a:lnTo>
                  <a:lnTo>
                    <a:pt x="356" y="237"/>
                  </a:lnTo>
                  <a:lnTo>
                    <a:pt x="354" y="237"/>
                  </a:lnTo>
                  <a:lnTo>
                    <a:pt x="354" y="235"/>
                  </a:lnTo>
                  <a:lnTo>
                    <a:pt x="356" y="235"/>
                  </a:lnTo>
                  <a:lnTo>
                    <a:pt x="356" y="233"/>
                  </a:lnTo>
                  <a:lnTo>
                    <a:pt x="356" y="231"/>
                  </a:lnTo>
                  <a:lnTo>
                    <a:pt x="356" y="229"/>
                  </a:lnTo>
                  <a:lnTo>
                    <a:pt x="358" y="229"/>
                  </a:lnTo>
                  <a:lnTo>
                    <a:pt x="358" y="227"/>
                  </a:lnTo>
                  <a:lnTo>
                    <a:pt x="358" y="225"/>
                  </a:lnTo>
                  <a:lnTo>
                    <a:pt x="358" y="225"/>
                  </a:lnTo>
                  <a:lnTo>
                    <a:pt x="358" y="223"/>
                  </a:lnTo>
                  <a:lnTo>
                    <a:pt x="358" y="223"/>
                  </a:lnTo>
                  <a:lnTo>
                    <a:pt x="358" y="221"/>
                  </a:lnTo>
                  <a:lnTo>
                    <a:pt x="358" y="219"/>
                  </a:lnTo>
                  <a:lnTo>
                    <a:pt x="358" y="219"/>
                  </a:lnTo>
                  <a:lnTo>
                    <a:pt x="360" y="221"/>
                  </a:lnTo>
                  <a:lnTo>
                    <a:pt x="360" y="219"/>
                  </a:lnTo>
                  <a:lnTo>
                    <a:pt x="360" y="219"/>
                  </a:lnTo>
                  <a:lnTo>
                    <a:pt x="360" y="217"/>
                  </a:lnTo>
                  <a:lnTo>
                    <a:pt x="360" y="217"/>
                  </a:lnTo>
                  <a:lnTo>
                    <a:pt x="360" y="217"/>
                  </a:lnTo>
                  <a:lnTo>
                    <a:pt x="360" y="215"/>
                  </a:lnTo>
                  <a:lnTo>
                    <a:pt x="360" y="213"/>
                  </a:lnTo>
                  <a:lnTo>
                    <a:pt x="360" y="211"/>
                  </a:lnTo>
                  <a:lnTo>
                    <a:pt x="360" y="209"/>
                  </a:lnTo>
                  <a:lnTo>
                    <a:pt x="360" y="205"/>
                  </a:lnTo>
                  <a:lnTo>
                    <a:pt x="360" y="202"/>
                  </a:lnTo>
                  <a:lnTo>
                    <a:pt x="360" y="200"/>
                  </a:lnTo>
                  <a:lnTo>
                    <a:pt x="362" y="196"/>
                  </a:lnTo>
                  <a:lnTo>
                    <a:pt x="362" y="194"/>
                  </a:lnTo>
                  <a:lnTo>
                    <a:pt x="362" y="190"/>
                  </a:lnTo>
                  <a:lnTo>
                    <a:pt x="362" y="188"/>
                  </a:lnTo>
                  <a:lnTo>
                    <a:pt x="362" y="182"/>
                  </a:lnTo>
                  <a:lnTo>
                    <a:pt x="364" y="182"/>
                  </a:lnTo>
                  <a:lnTo>
                    <a:pt x="366" y="180"/>
                  </a:lnTo>
                  <a:lnTo>
                    <a:pt x="366" y="180"/>
                  </a:lnTo>
                  <a:lnTo>
                    <a:pt x="366" y="176"/>
                  </a:lnTo>
                  <a:lnTo>
                    <a:pt x="366" y="176"/>
                  </a:lnTo>
                  <a:lnTo>
                    <a:pt x="366" y="174"/>
                  </a:lnTo>
                  <a:lnTo>
                    <a:pt x="364" y="172"/>
                  </a:lnTo>
                  <a:lnTo>
                    <a:pt x="364" y="170"/>
                  </a:lnTo>
                  <a:lnTo>
                    <a:pt x="364" y="170"/>
                  </a:lnTo>
                  <a:lnTo>
                    <a:pt x="364" y="170"/>
                  </a:lnTo>
                  <a:lnTo>
                    <a:pt x="364" y="170"/>
                  </a:lnTo>
                  <a:lnTo>
                    <a:pt x="364" y="168"/>
                  </a:lnTo>
                  <a:lnTo>
                    <a:pt x="364" y="168"/>
                  </a:lnTo>
                  <a:lnTo>
                    <a:pt x="362" y="168"/>
                  </a:lnTo>
                  <a:lnTo>
                    <a:pt x="362" y="166"/>
                  </a:lnTo>
                  <a:lnTo>
                    <a:pt x="364" y="162"/>
                  </a:lnTo>
                  <a:lnTo>
                    <a:pt x="364" y="159"/>
                  </a:lnTo>
                  <a:lnTo>
                    <a:pt x="362" y="157"/>
                  </a:lnTo>
                  <a:lnTo>
                    <a:pt x="362" y="155"/>
                  </a:lnTo>
                  <a:lnTo>
                    <a:pt x="360" y="153"/>
                  </a:lnTo>
                  <a:lnTo>
                    <a:pt x="356" y="149"/>
                  </a:lnTo>
                  <a:lnTo>
                    <a:pt x="356" y="147"/>
                  </a:lnTo>
                  <a:lnTo>
                    <a:pt x="356" y="145"/>
                  </a:lnTo>
                  <a:lnTo>
                    <a:pt x="358" y="145"/>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OH</a:t>
              </a:r>
            </a:p>
          </p:txBody>
        </p:sp>
        <p:sp>
          <p:nvSpPr>
            <p:cNvPr id="311" name="Freeform 21">
              <a:extLst>
                <a:ext uri="{FF2B5EF4-FFF2-40B4-BE49-F238E27FC236}">
                  <a16:creationId xmlns:a16="http://schemas.microsoft.com/office/drawing/2014/main" id="{A1A640A2-B9AA-EED8-37FF-1F3237424AED}"/>
                </a:ext>
              </a:extLst>
            </p:cNvPr>
            <p:cNvSpPr>
              <a:spLocks/>
            </p:cNvSpPr>
            <p:nvPr/>
          </p:nvSpPr>
          <p:spPr bwMode="auto">
            <a:xfrm>
              <a:off x="1043" y="762"/>
              <a:ext cx="539" cy="810"/>
            </a:xfrm>
            <a:custGeom>
              <a:avLst/>
              <a:gdLst>
                <a:gd name="T0" fmla="*/ 453 w 539"/>
                <a:gd name="T1" fmla="*/ 701 h 810"/>
                <a:gd name="T2" fmla="*/ 442 w 539"/>
                <a:gd name="T3" fmla="*/ 707 h 810"/>
                <a:gd name="T4" fmla="*/ 436 w 539"/>
                <a:gd name="T5" fmla="*/ 701 h 810"/>
                <a:gd name="T6" fmla="*/ 434 w 539"/>
                <a:gd name="T7" fmla="*/ 693 h 810"/>
                <a:gd name="T8" fmla="*/ 430 w 539"/>
                <a:gd name="T9" fmla="*/ 691 h 810"/>
                <a:gd name="T10" fmla="*/ 426 w 539"/>
                <a:gd name="T11" fmla="*/ 693 h 810"/>
                <a:gd name="T12" fmla="*/ 424 w 539"/>
                <a:gd name="T13" fmla="*/ 693 h 810"/>
                <a:gd name="T14" fmla="*/ 422 w 539"/>
                <a:gd name="T15" fmla="*/ 691 h 810"/>
                <a:gd name="T16" fmla="*/ 416 w 539"/>
                <a:gd name="T17" fmla="*/ 689 h 810"/>
                <a:gd name="T18" fmla="*/ 401 w 539"/>
                <a:gd name="T19" fmla="*/ 691 h 810"/>
                <a:gd name="T20" fmla="*/ 399 w 539"/>
                <a:gd name="T21" fmla="*/ 693 h 810"/>
                <a:gd name="T22" fmla="*/ 399 w 539"/>
                <a:gd name="T23" fmla="*/ 699 h 810"/>
                <a:gd name="T24" fmla="*/ 397 w 539"/>
                <a:gd name="T25" fmla="*/ 707 h 810"/>
                <a:gd name="T26" fmla="*/ 401 w 539"/>
                <a:gd name="T27" fmla="*/ 718 h 810"/>
                <a:gd name="T28" fmla="*/ 397 w 539"/>
                <a:gd name="T29" fmla="*/ 728 h 810"/>
                <a:gd name="T30" fmla="*/ 399 w 539"/>
                <a:gd name="T31" fmla="*/ 744 h 810"/>
                <a:gd name="T32" fmla="*/ 397 w 539"/>
                <a:gd name="T33" fmla="*/ 761 h 810"/>
                <a:gd name="T34" fmla="*/ 401 w 539"/>
                <a:gd name="T35" fmla="*/ 777 h 810"/>
                <a:gd name="T36" fmla="*/ 399 w 539"/>
                <a:gd name="T37" fmla="*/ 791 h 810"/>
                <a:gd name="T38" fmla="*/ 395 w 539"/>
                <a:gd name="T39" fmla="*/ 796 h 810"/>
                <a:gd name="T40" fmla="*/ 393 w 539"/>
                <a:gd name="T41" fmla="*/ 800 h 810"/>
                <a:gd name="T42" fmla="*/ 393 w 539"/>
                <a:gd name="T43" fmla="*/ 806 h 810"/>
                <a:gd name="T44" fmla="*/ 379 w 539"/>
                <a:gd name="T45" fmla="*/ 793 h 810"/>
                <a:gd name="T46" fmla="*/ 323 w 539"/>
                <a:gd name="T47" fmla="*/ 726 h 810"/>
                <a:gd name="T48" fmla="*/ 276 w 539"/>
                <a:gd name="T49" fmla="*/ 662 h 810"/>
                <a:gd name="T50" fmla="*/ 227 w 539"/>
                <a:gd name="T51" fmla="*/ 599 h 810"/>
                <a:gd name="T52" fmla="*/ 172 w 539"/>
                <a:gd name="T53" fmla="*/ 531 h 810"/>
                <a:gd name="T54" fmla="*/ 117 w 539"/>
                <a:gd name="T55" fmla="*/ 459 h 810"/>
                <a:gd name="T56" fmla="*/ 49 w 539"/>
                <a:gd name="T57" fmla="*/ 377 h 810"/>
                <a:gd name="T58" fmla="*/ 0 w 539"/>
                <a:gd name="T59" fmla="*/ 312 h 810"/>
                <a:gd name="T60" fmla="*/ 12 w 539"/>
                <a:gd name="T61" fmla="*/ 248 h 810"/>
                <a:gd name="T62" fmla="*/ 24 w 539"/>
                <a:gd name="T63" fmla="*/ 173 h 810"/>
                <a:gd name="T64" fmla="*/ 39 w 539"/>
                <a:gd name="T65" fmla="*/ 95 h 810"/>
                <a:gd name="T66" fmla="*/ 53 w 539"/>
                <a:gd name="T67" fmla="*/ 19 h 810"/>
                <a:gd name="T68" fmla="*/ 102 w 539"/>
                <a:gd name="T69" fmla="*/ 9 h 810"/>
                <a:gd name="T70" fmla="*/ 162 w 539"/>
                <a:gd name="T71" fmla="*/ 19 h 810"/>
                <a:gd name="T72" fmla="*/ 223 w 539"/>
                <a:gd name="T73" fmla="*/ 29 h 810"/>
                <a:gd name="T74" fmla="*/ 283 w 539"/>
                <a:gd name="T75" fmla="*/ 37 h 810"/>
                <a:gd name="T76" fmla="*/ 344 w 539"/>
                <a:gd name="T77" fmla="*/ 48 h 810"/>
                <a:gd name="T78" fmla="*/ 403 w 539"/>
                <a:gd name="T79" fmla="*/ 56 h 810"/>
                <a:gd name="T80" fmla="*/ 463 w 539"/>
                <a:gd name="T81" fmla="*/ 64 h 810"/>
                <a:gd name="T82" fmla="*/ 524 w 539"/>
                <a:gd name="T83" fmla="*/ 72 h 810"/>
                <a:gd name="T84" fmla="*/ 532 w 539"/>
                <a:gd name="T85" fmla="*/ 123 h 810"/>
                <a:gd name="T86" fmla="*/ 524 w 539"/>
                <a:gd name="T87" fmla="*/ 189 h 810"/>
                <a:gd name="T88" fmla="*/ 516 w 539"/>
                <a:gd name="T89" fmla="*/ 257 h 810"/>
                <a:gd name="T90" fmla="*/ 508 w 539"/>
                <a:gd name="T91" fmla="*/ 322 h 810"/>
                <a:gd name="T92" fmla="*/ 500 w 539"/>
                <a:gd name="T93" fmla="*/ 388 h 810"/>
                <a:gd name="T94" fmla="*/ 491 w 539"/>
                <a:gd name="T95" fmla="*/ 455 h 810"/>
                <a:gd name="T96" fmla="*/ 483 w 539"/>
                <a:gd name="T97" fmla="*/ 521 h 810"/>
                <a:gd name="T98" fmla="*/ 473 w 539"/>
                <a:gd name="T99" fmla="*/ 587 h 810"/>
                <a:gd name="T100" fmla="*/ 471 w 539"/>
                <a:gd name="T101" fmla="*/ 611 h 810"/>
                <a:gd name="T102" fmla="*/ 467 w 539"/>
                <a:gd name="T103" fmla="*/ 636 h 810"/>
                <a:gd name="T104" fmla="*/ 465 w 539"/>
                <a:gd name="T105" fmla="*/ 664 h 810"/>
                <a:gd name="T106" fmla="*/ 461 w 539"/>
                <a:gd name="T107" fmla="*/ 683 h 810"/>
                <a:gd name="T108" fmla="*/ 461 w 539"/>
                <a:gd name="T109" fmla="*/ 689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10">
                  <a:moveTo>
                    <a:pt x="459" y="691"/>
                  </a:moveTo>
                  <a:lnTo>
                    <a:pt x="457" y="693"/>
                  </a:lnTo>
                  <a:lnTo>
                    <a:pt x="455" y="697"/>
                  </a:lnTo>
                  <a:lnTo>
                    <a:pt x="453" y="701"/>
                  </a:lnTo>
                  <a:lnTo>
                    <a:pt x="450" y="705"/>
                  </a:lnTo>
                  <a:lnTo>
                    <a:pt x="448" y="707"/>
                  </a:lnTo>
                  <a:lnTo>
                    <a:pt x="444" y="707"/>
                  </a:lnTo>
                  <a:lnTo>
                    <a:pt x="442" y="707"/>
                  </a:lnTo>
                  <a:lnTo>
                    <a:pt x="440" y="705"/>
                  </a:lnTo>
                  <a:lnTo>
                    <a:pt x="438" y="703"/>
                  </a:lnTo>
                  <a:lnTo>
                    <a:pt x="438" y="701"/>
                  </a:lnTo>
                  <a:lnTo>
                    <a:pt x="436" y="701"/>
                  </a:lnTo>
                  <a:lnTo>
                    <a:pt x="436" y="695"/>
                  </a:lnTo>
                  <a:lnTo>
                    <a:pt x="434" y="695"/>
                  </a:lnTo>
                  <a:lnTo>
                    <a:pt x="434" y="693"/>
                  </a:lnTo>
                  <a:lnTo>
                    <a:pt x="434" y="693"/>
                  </a:lnTo>
                  <a:lnTo>
                    <a:pt x="432" y="693"/>
                  </a:lnTo>
                  <a:lnTo>
                    <a:pt x="432" y="691"/>
                  </a:lnTo>
                  <a:lnTo>
                    <a:pt x="432" y="691"/>
                  </a:lnTo>
                  <a:lnTo>
                    <a:pt x="430" y="691"/>
                  </a:lnTo>
                  <a:lnTo>
                    <a:pt x="430" y="691"/>
                  </a:lnTo>
                  <a:lnTo>
                    <a:pt x="430" y="691"/>
                  </a:lnTo>
                  <a:lnTo>
                    <a:pt x="430" y="691"/>
                  </a:lnTo>
                  <a:lnTo>
                    <a:pt x="426" y="693"/>
                  </a:lnTo>
                  <a:lnTo>
                    <a:pt x="426" y="693"/>
                  </a:lnTo>
                  <a:lnTo>
                    <a:pt x="426" y="693"/>
                  </a:lnTo>
                  <a:lnTo>
                    <a:pt x="424" y="693"/>
                  </a:lnTo>
                  <a:lnTo>
                    <a:pt x="424" y="693"/>
                  </a:lnTo>
                  <a:lnTo>
                    <a:pt x="424" y="693"/>
                  </a:lnTo>
                  <a:lnTo>
                    <a:pt x="422" y="691"/>
                  </a:lnTo>
                  <a:lnTo>
                    <a:pt x="422" y="691"/>
                  </a:lnTo>
                  <a:lnTo>
                    <a:pt x="422" y="691"/>
                  </a:lnTo>
                  <a:lnTo>
                    <a:pt x="422" y="691"/>
                  </a:lnTo>
                  <a:lnTo>
                    <a:pt x="416" y="689"/>
                  </a:lnTo>
                  <a:lnTo>
                    <a:pt x="416" y="689"/>
                  </a:lnTo>
                  <a:lnTo>
                    <a:pt x="416" y="689"/>
                  </a:lnTo>
                  <a:lnTo>
                    <a:pt x="414" y="689"/>
                  </a:lnTo>
                  <a:lnTo>
                    <a:pt x="407" y="689"/>
                  </a:lnTo>
                  <a:lnTo>
                    <a:pt x="405" y="691"/>
                  </a:lnTo>
                  <a:lnTo>
                    <a:pt x="401" y="691"/>
                  </a:lnTo>
                  <a:lnTo>
                    <a:pt x="401" y="691"/>
                  </a:lnTo>
                  <a:lnTo>
                    <a:pt x="401" y="693"/>
                  </a:lnTo>
                  <a:lnTo>
                    <a:pt x="401" y="693"/>
                  </a:lnTo>
                  <a:lnTo>
                    <a:pt x="399" y="693"/>
                  </a:lnTo>
                  <a:lnTo>
                    <a:pt x="399" y="695"/>
                  </a:lnTo>
                  <a:lnTo>
                    <a:pt x="399" y="695"/>
                  </a:lnTo>
                  <a:lnTo>
                    <a:pt x="399" y="697"/>
                  </a:lnTo>
                  <a:lnTo>
                    <a:pt x="399" y="699"/>
                  </a:lnTo>
                  <a:lnTo>
                    <a:pt x="399" y="701"/>
                  </a:lnTo>
                  <a:lnTo>
                    <a:pt x="397" y="701"/>
                  </a:lnTo>
                  <a:lnTo>
                    <a:pt x="397" y="705"/>
                  </a:lnTo>
                  <a:lnTo>
                    <a:pt x="397" y="707"/>
                  </a:lnTo>
                  <a:lnTo>
                    <a:pt x="399" y="709"/>
                  </a:lnTo>
                  <a:lnTo>
                    <a:pt x="401" y="716"/>
                  </a:lnTo>
                  <a:lnTo>
                    <a:pt x="401" y="716"/>
                  </a:lnTo>
                  <a:lnTo>
                    <a:pt x="401" y="718"/>
                  </a:lnTo>
                  <a:lnTo>
                    <a:pt x="401" y="718"/>
                  </a:lnTo>
                  <a:lnTo>
                    <a:pt x="399" y="722"/>
                  </a:lnTo>
                  <a:lnTo>
                    <a:pt x="399" y="722"/>
                  </a:lnTo>
                  <a:lnTo>
                    <a:pt x="397" y="728"/>
                  </a:lnTo>
                  <a:lnTo>
                    <a:pt x="397" y="732"/>
                  </a:lnTo>
                  <a:lnTo>
                    <a:pt x="397" y="734"/>
                  </a:lnTo>
                  <a:lnTo>
                    <a:pt x="399" y="742"/>
                  </a:lnTo>
                  <a:lnTo>
                    <a:pt x="399" y="744"/>
                  </a:lnTo>
                  <a:lnTo>
                    <a:pt x="399" y="746"/>
                  </a:lnTo>
                  <a:lnTo>
                    <a:pt x="399" y="750"/>
                  </a:lnTo>
                  <a:lnTo>
                    <a:pt x="397" y="757"/>
                  </a:lnTo>
                  <a:lnTo>
                    <a:pt x="397" y="761"/>
                  </a:lnTo>
                  <a:lnTo>
                    <a:pt x="399" y="765"/>
                  </a:lnTo>
                  <a:lnTo>
                    <a:pt x="401" y="771"/>
                  </a:lnTo>
                  <a:lnTo>
                    <a:pt x="401" y="773"/>
                  </a:lnTo>
                  <a:lnTo>
                    <a:pt x="401" y="777"/>
                  </a:lnTo>
                  <a:lnTo>
                    <a:pt x="399" y="779"/>
                  </a:lnTo>
                  <a:lnTo>
                    <a:pt x="401" y="785"/>
                  </a:lnTo>
                  <a:lnTo>
                    <a:pt x="401" y="789"/>
                  </a:lnTo>
                  <a:lnTo>
                    <a:pt x="399" y="791"/>
                  </a:lnTo>
                  <a:lnTo>
                    <a:pt x="399" y="796"/>
                  </a:lnTo>
                  <a:lnTo>
                    <a:pt x="399" y="796"/>
                  </a:lnTo>
                  <a:lnTo>
                    <a:pt x="397" y="796"/>
                  </a:lnTo>
                  <a:lnTo>
                    <a:pt x="395" y="796"/>
                  </a:lnTo>
                  <a:lnTo>
                    <a:pt x="395" y="796"/>
                  </a:lnTo>
                  <a:lnTo>
                    <a:pt x="393" y="796"/>
                  </a:lnTo>
                  <a:lnTo>
                    <a:pt x="393" y="798"/>
                  </a:lnTo>
                  <a:lnTo>
                    <a:pt x="393" y="800"/>
                  </a:lnTo>
                  <a:lnTo>
                    <a:pt x="395" y="802"/>
                  </a:lnTo>
                  <a:lnTo>
                    <a:pt x="395" y="802"/>
                  </a:lnTo>
                  <a:lnTo>
                    <a:pt x="395" y="804"/>
                  </a:lnTo>
                  <a:lnTo>
                    <a:pt x="393" y="806"/>
                  </a:lnTo>
                  <a:lnTo>
                    <a:pt x="393" y="810"/>
                  </a:lnTo>
                  <a:lnTo>
                    <a:pt x="393" y="810"/>
                  </a:lnTo>
                  <a:lnTo>
                    <a:pt x="393" y="810"/>
                  </a:lnTo>
                  <a:lnTo>
                    <a:pt x="379" y="793"/>
                  </a:lnTo>
                  <a:lnTo>
                    <a:pt x="364" y="775"/>
                  </a:lnTo>
                  <a:lnTo>
                    <a:pt x="350" y="759"/>
                  </a:lnTo>
                  <a:lnTo>
                    <a:pt x="336" y="740"/>
                  </a:lnTo>
                  <a:lnTo>
                    <a:pt x="323" y="726"/>
                  </a:lnTo>
                  <a:lnTo>
                    <a:pt x="311" y="709"/>
                  </a:lnTo>
                  <a:lnTo>
                    <a:pt x="299" y="695"/>
                  </a:lnTo>
                  <a:lnTo>
                    <a:pt x="287" y="679"/>
                  </a:lnTo>
                  <a:lnTo>
                    <a:pt x="276" y="662"/>
                  </a:lnTo>
                  <a:lnTo>
                    <a:pt x="264" y="648"/>
                  </a:lnTo>
                  <a:lnTo>
                    <a:pt x="252" y="632"/>
                  </a:lnTo>
                  <a:lnTo>
                    <a:pt x="240" y="617"/>
                  </a:lnTo>
                  <a:lnTo>
                    <a:pt x="227" y="599"/>
                  </a:lnTo>
                  <a:lnTo>
                    <a:pt x="213" y="582"/>
                  </a:lnTo>
                  <a:lnTo>
                    <a:pt x="199" y="566"/>
                  </a:lnTo>
                  <a:lnTo>
                    <a:pt x="186" y="548"/>
                  </a:lnTo>
                  <a:lnTo>
                    <a:pt x="172" y="531"/>
                  </a:lnTo>
                  <a:lnTo>
                    <a:pt x="160" y="515"/>
                  </a:lnTo>
                  <a:lnTo>
                    <a:pt x="145" y="496"/>
                  </a:lnTo>
                  <a:lnTo>
                    <a:pt x="133" y="480"/>
                  </a:lnTo>
                  <a:lnTo>
                    <a:pt x="117" y="459"/>
                  </a:lnTo>
                  <a:lnTo>
                    <a:pt x="100" y="439"/>
                  </a:lnTo>
                  <a:lnTo>
                    <a:pt x="82" y="418"/>
                  </a:lnTo>
                  <a:lnTo>
                    <a:pt x="65" y="398"/>
                  </a:lnTo>
                  <a:lnTo>
                    <a:pt x="49" y="377"/>
                  </a:lnTo>
                  <a:lnTo>
                    <a:pt x="33" y="355"/>
                  </a:lnTo>
                  <a:lnTo>
                    <a:pt x="16" y="334"/>
                  </a:lnTo>
                  <a:lnTo>
                    <a:pt x="0" y="314"/>
                  </a:lnTo>
                  <a:lnTo>
                    <a:pt x="0" y="312"/>
                  </a:lnTo>
                  <a:lnTo>
                    <a:pt x="0" y="308"/>
                  </a:lnTo>
                  <a:lnTo>
                    <a:pt x="4" y="287"/>
                  </a:lnTo>
                  <a:lnTo>
                    <a:pt x="8" y="269"/>
                  </a:lnTo>
                  <a:lnTo>
                    <a:pt x="12" y="248"/>
                  </a:lnTo>
                  <a:lnTo>
                    <a:pt x="14" y="230"/>
                  </a:lnTo>
                  <a:lnTo>
                    <a:pt x="18" y="211"/>
                  </a:lnTo>
                  <a:lnTo>
                    <a:pt x="22" y="191"/>
                  </a:lnTo>
                  <a:lnTo>
                    <a:pt x="24" y="173"/>
                  </a:lnTo>
                  <a:lnTo>
                    <a:pt x="29" y="152"/>
                  </a:lnTo>
                  <a:lnTo>
                    <a:pt x="33" y="134"/>
                  </a:lnTo>
                  <a:lnTo>
                    <a:pt x="37" y="115"/>
                  </a:lnTo>
                  <a:lnTo>
                    <a:pt x="39" y="95"/>
                  </a:lnTo>
                  <a:lnTo>
                    <a:pt x="43" y="76"/>
                  </a:lnTo>
                  <a:lnTo>
                    <a:pt x="47" y="58"/>
                  </a:lnTo>
                  <a:lnTo>
                    <a:pt x="49" y="37"/>
                  </a:lnTo>
                  <a:lnTo>
                    <a:pt x="53" y="19"/>
                  </a:lnTo>
                  <a:lnTo>
                    <a:pt x="57" y="0"/>
                  </a:lnTo>
                  <a:lnTo>
                    <a:pt x="72" y="2"/>
                  </a:lnTo>
                  <a:lnTo>
                    <a:pt x="88" y="5"/>
                  </a:lnTo>
                  <a:lnTo>
                    <a:pt x="102" y="9"/>
                  </a:lnTo>
                  <a:lnTo>
                    <a:pt x="117" y="11"/>
                  </a:lnTo>
                  <a:lnTo>
                    <a:pt x="133" y="13"/>
                  </a:lnTo>
                  <a:lnTo>
                    <a:pt x="147" y="15"/>
                  </a:lnTo>
                  <a:lnTo>
                    <a:pt x="162" y="19"/>
                  </a:lnTo>
                  <a:lnTo>
                    <a:pt x="178" y="21"/>
                  </a:lnTo>
                  <a:lnTo>
                    <a:pt x="192" y="23"/>
                  </a:lnTo>
                  <a:lnTo>
                    <a:pt x="207" y="25"/>
                  </a:lnTo>
                  <a:lnTo>
                    <a:pt x="223" y="29"/>
                  </a:lnTo>
                  <a:lnTo>
                    <a:pt x="237" y="31"/>
                  </a:lnTo>
                  <a:lnTo>
                    <a:pt x="252" y="33"/>
                  </a:lnTo>
                  <a:lnTo>
                    <a:pt x="268" y="35"/>
                  </a:lnTo>
                  <a:lnTo>
                    <a:pt x="283" y="37"/>
                  </a:lnTo>
                  <a:lnTo>
                    <a:pt x="297" y="39"/>
                  </a:lnTo>
                  <a:lnTo>
                    <a:pt x="313" y="43"/>
                  </a:lnTo>
                  <a:lnTo>
                    <a:pt x="328" y="46"/>
                  </a:lnTo>
                  <a:lnTo>
                    <a:pt x="344" y="48"/>
                  </a:lnTo>
                  <a:lnTo>
                    <a:pt x="358" y="50"/>
                  </a:lnTo>
                  <a:lnTo>
                    <a:pt x="373" y="52"/>
                  </a:lnTo>
                  <a:lnTo>
                    <a:pt x="389" y="54"/>
                  </a:lnTo>
                  <a:lnTo>
                    <a:pt x="403" y="56"/>
                  </a:lnTo>
                  <a:lnTo>
                    <a:pt x="418" y="58"/>
                  </a:lnTo>
                  <a:lnTo>
                    <a:pt x="434" y="60"/>
                  </a:lnTo>
                  <a:lnTo>
                    <a:pt x="448" y="62"/>
                  </a:lnTo>
                  <a:lnTo>
                    <a:pt x="463" y="64"/>
                  </a:lnTo>
                  <a:lnTo>
                    <a:pt x="479" y="66"/>
                  </a:lnTo>
                  <a:lnTo>
                    <a:pt x="493" y="68"/>
                  </a:lnTo>
                  <a:lnTo>
                    <a:pt x="508" y="70"/>
                  </a:lnTo>
                  <a:lnTo>
                    <a:pt x="524" y="72"/>
                  </a:lnTo>
                  <a:lnTo>
                    <a:pt x="539" y="74"/>
                  </a:lnTo>
                  <a:lnTo>
                    <a:pt x="536" y="91"/>
                  </a:lnTo>
                  <a:lnTo>
                    <a:pt x="534" y="107"/>
                  </a:lnTo>
                  <a:lnTo>
                    <a:pt x="532" y="123"/>
                  </a:lnTo>
                  <a:lnTo>
                    <a:pt x="530" y="140"/>
                  </a:lnTo>
                  <a:lnTo>
                    <a:pt x="528" y="156"/>
                  </a:lnTo>
                  <a:lnTo>
                    <a:pt x="526" y="173"/>
                  </a:lnTo>
                  <a:lnTo>
                    <a:pt x="524" y="189"/>
                  </a:lnTo>
                  <a:lnTo>
                    <a:pt x="522" y="205"/>
                  </a:lnTo>
                  <a:lnTo>
                    <a:pt x="520" y="222"/>
                  </a:lnTo>
                  <a:lnTo>
                    <a:pt x="518" y="238"/>
                  </a:lnTo>
                  <a:lnTo>
                    <a:pt x="516" y="257"/>
                  </a:lnTo>
                  <a:lnTo>
                    <a:pt x="514" y="273"/>
                  </a:lnTo>
                  <a:lnTo>
                    <a:pt x="512" y="289"/>
                  </a:lnTo>
                  <a:lnTo>
                    <a:pt x="510" y="306"/>
                  </a:lnTo>
                  <a:lnTo>
                    <a:pt x="508" y="322"/>
                  </a:lnTo>
                  <a:lnTo>
                    <a:pt x="506" y="339"/>
                  </a:lnTo>
                  <a:lnTo>
                    <a:pt x="504" y="355"/>
                  </a:lnTo>
                  <a:lnTo>
                    <a:pt x="502" y="371"/>
                  </a:lnTo>
                  <a:lnTo>
                    <a:pt x="500" y="388"/>
                  </a:lnTo>
                  <a:lnTo>
                    <a:pt x="498" y="404"/>
                  </a:lnTo>
                  <a:lnTo>
                    <a:pt x="496" y="421"/>
                  </a:lnTo>
                  <a:lnTo>
                    <a:pt x="493" y="437"/>
                  </a:lnTo>
                  <a:lnTo>
                    <a:pt x="491" y="455"/>
                  </a:lnTo>
                  <a:lnTo>
                    <a:pt x="489" y="472"/>
                  </a:lnTo>
                  <a:lnTo>
                    <a:pt x="487" y="488"/>
                  </a:lnTo>
                  <a:lnTo>
                    <a:pt x="485" y="505"/>
                  </a:lnTo>
                  <a:lnTo>
                    <a:pt x="483" y="521"/>
                  </a:lnTo>
                  <a:lnTo>
                    <a:pt x="479" y="537"/>
                  </a:lnTo>
                  <a:lnTo>
                    <a:pt x="477" y="554"/>
                  </a:lnTo>
                  <a:lnTo>
                    <a:pt x="475" y="570"/>
                  </a:lnTo>
                  <a:lnTo>
                    <a:pt x="473" y="587"/>
                  </a:lnTo>
                  <a:lnTo>
                    <a:pt x="471" y="605"/>
                  </a:lnTo>
                  <a:lnTo>
                    <a:pt x="471" y="605"/>
                  </a:lnTo>
                  <a:lnTo>
                    <a:pt x="471" y="607"/>
                  </a:lnTo>
                  <a:lnTo>
                    <a:pt x="471" y="611"/>
                  </a:lnTo>
                  <a:lnTo>
                    <a:pt x="471" y="617"/>
                  </a:lnTo>
                  <a:lnTo>
                    <a:pt x="469" y="623"/>
                  </a:lnTo>
                  <a:lnTo>
                    <a:pt x="469" y="630"/>
                  </a:lnTo>
                  <a:lnTo>
                    <a:pt x="467" y="636"/>
                  </a:lnTo>
                  <a:lnTo>
                    <a:pt x="467" y="644"/>
                  </a:lnTo>
                  <a:lnTo>
                    <a:pt x="465" y="650"/>
                  </a:lnTo>
                  <a:lnTo>
                    <a:pt x="465" y="658"/>
                  </a:lnTo>
                  <a:lnTo>
                    <a:pt x="465" y="664"/>
                  </a:lnTo>
                  <a:lnTo>
                    <a:pt x="463" y="671"/>
                  </a:lnTo>
                  <a:lnTo>
                    <a:pt x="463" y="677"/>
                  </a:lnTo>
                  <a:lnTo>
                    <a:pt x="463" y="681"/>
                  </a:lnTo>
                  <a:lnTo>
                    <a:pt x="461" y="683"/>
                  </a:lnTo>
                  <a:lnTo>
                    <a:pt x="461" y="683"/>
                  </a:lnTo>
                  <a:lnTo>
                    <a:pt x="461" y="687"/>
                  </a:lnTo>
                  <a:lnTo>
                    <a:pt x="461" y="689"/>
                  </a:lnTo>
                  <a:lnTo>
                    <a:pt x="461" y="689"/>
                  </a:lnTo>
                  <a:lnTo>
                    <a:pt x="459" y="691"/>
                  </a:lnTo>
                  <a:lnTo>
                    <a:pt x="459" y="691"/>
                  </a:lnTo>
                  <a:close/>
                </a:path>
              </a:pathLst>
            </a:custGeom>
            <a:solidFill>
              <a:schemeClr val="tx1"/>
            </a:solidFill>
            <a:ln w="3175" cap="rnd">
              <a:solidFill>
                <a:schemeClr val="bg1"/>
              </a:solidFill>
              <a:prstDash val="solid"/>
              <a:round/>
              <a:headEnd/>
              <a:tailEnd/>
            </a:ln>
          </p:spPr>
          <p:txBody>
            <a:bodyPr vert="horz" wrap="square" lIns="0" tIns="0" rIns="0" bIns="240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V</a:t>
              </a:r>
            </a:p>
          </p:txBody>
        </p:sp>
        <p:sp>
          <p:nvSpPr>
            <p:cNvPr id="312" name="Freeform 22">
              <a:extLst>
                <a:ext uri="{FF2B5EF4-FFF2-40B4-BE49-F238E27FC236}">
                  <a16:creationId xmlns:a16="http://schemas.microsoft.com/office/drawing/2014/main" id="{3A698AB9-DFC5-4169-43E4-440AF3A3F11D}"/>
                </a:ext>
              </a:extLst>
            </p:cNvPr>
            <p:cNvSpPr>
              <a:spLocks/>
            </p:cNvSpPr>
            <p:nvPr/>
          </p:nvSpPr>
          <p:spPr bwMode="auto">
            <a:xfrm>
              <a:off x="1895" y="1412"/>
              <a:ext cx="573" cy="615"/>
            </a:xfrm>
            <a:custGeom>
              <a:avLst/>
              <a:gdLst>
                <a:gd name="T0" fmla="*/ 229 w 573"/>
                <a:gd name="T1" fmla="*/ 578 h 615"/>
                <a:gd name="T2" fmla="*/ 215 w 573"/>
                <a:gd name="T3" fmla="*/ 576 h 615"/>
                <a:gd name="T4" fmla="*/ 201 w 573"/>
                <a:gd name="T5" fmla="*/ 576 h 615"/>
                <a:gd name="T6" fmla="*/ 186 w 573"/>
                <a:gd name="T7" fmla="*/ 574 h 615"/>
                <a:gd name="T8" fmla="*/ 172 w 573"/>
                <a:gd name="T9" fmla="*/ 574 h 615"/>
                <a:gd name="T10" fmla="*/ 158 w 573"/>
                <a:gd name="T11" fmla="*/ 572 h 615"/>
                <a:gd name="T12" fmla="*/ 145 w 573"/>
                <a:gd name="T13" fmla="*/ 572 h 615"/>
                <a:gd name="T14" fmla="*/ 131 w 573"/>
                <a:gd name="T15" fmla="*/ 570 h 615"/>
                <a:gd name="T16" fmla="*/ 117 w 573"/>
                <a:gd name="T17" fmla="*/ 570 h 615"/>
                <a:gd name="T18" fmla="*/ 102 w 573"/>
                <a:gd name="T19" fmla="*/ 568 h 615"/>
                <a:gd name="T20" fmla="*/ 88 w 573"/>
                <a:gd name="T21" fmla="*/ 568 h 615"/>
                <a:gd name="T22" fmla="*/ 80 w 573"/>
                <a:gd name="T23" fmla="*/ 568 h 615"/>
                <a:gd name="T24" fmla="*/ 80 w 573"/>
                <a:gd name="T25" fmla="*/ 572 h 615"/>
                <a:gd name="T26" fmla="*/ 80 w 573"/>
                <a:gd name="T27" fmla="*/ 578 h 615"/>
                <a:gd name="T28" fmla="*/ 80 w 573"/>
                <a:gd name="T29" fmla="*/ 582 h 615"/>
                <a:gd name="T30" fmla="*/ 80 w 573"/>
                <a:gd name="T31" fmla="*/ 586 h 615"/>
                <a:gd name="T32" fmla="*/ 78 w 573"/>
                <a:gd name="T33" fmla="*/ 590 h 615"/>
                <a:gd name="T34" fmla="*/ 78 w 573"/>
                <a:gd name="T35" fmla="*/ 596 h 615"/>
                <a:gd name="T36" fmla="*/ 78 w 573"/>
                <a:gd name="T37" fmla="*/ 600 h 615"/>
                <a:gd name="T38" fmla="*/ 78 w 573"/>
                <a:gd name="T39" fmla="*/ 605 h 615"/>
                <a:gd name="T40" fmla="*/ 78 w 573"/>
                <a:gd name="T41" fmla="*/ 609 h 615"/>
                <a:gd name="T42" fmla="*/ 78 w 573"/>
                <a:gd name="T43" fmla="*/ 613 h 615"/>
                <a:gd name="T44" fmla="*/ 65 w 573"/>
                <a:gd name="T45" fmla="*/ 615 h 615"/>
                <a:gd name="T46" fmla="*/ 41 w 573"/>
                <a:gd name="T47" fmla="*/ 613 h 615"/>
                <a:gd name="T48" fmla="*/ 18 w 573"/>
                <a:gd name="T49" fmla="*/ 611 h 615"/>
                <a:gd name="T50" fmla="*/ 0 w 573"/>
                <a:gd name="T51" fmla="*/ 609 h 615"/>
                <a:gd name="T52" fmla="*/ 0 w 573"/>
                <a:gd name="T53" fmla="*/ 609 h 615"/>
                <a:gd name="T54" fmla="*/ 0 w 573"/>
                <a:gd name="T55" fmla="*/ 609 h 615"/>
                <a:gd name="T56" fmla="*/ 0 w 573"/>
                <a:gd name="T57" fmla="*/ 609 h 615"/>
                <a:gd name="T58" fmla="*/ 0 w 573"/>
                <a:gd name="T59" fmla="*/ 609 h 615"/>
                <a:gd name="T60" fmla="*/ 0 w 573"/>
                <a:gd name="T61" fmla="*/ 609 h 615"/>
                <a:gd name="T62" fmla="*/ 8 w 573"/>
                <a:gd name="T63" fmla="*/ 512 h 615"/>
                <a:gd name="T64" fmla="*/ 18 w 573"/>
                <a:gd name="T65" fmla="*/ 400 h 615"/>
                <a:gd name="T66" fmla="*/ 26 w 573"/>
                <a:gd name="T67" fmla="*/ 285 h 615"/>
                <a:gd name="T68" fmla="*/ 37 w 573"/>
                <a:gd name="T69" fmla="*/ 170 h 615"/>
                <a:gd name="T70" fmla="*/ 45 w 573"/>
                <a:gd name="T71" fmla="*/ 57 h 615"/>
                <a:gd name="T72" fmla="*/ 100 w 573"/>
                <a:gd name="T73" fmla="*/ 4 h 615"/>
                <a:gd name="T74" fmla="*/ 196 w 573"/>
                <a:gd name="T75" fmla="*/ 10 h 615"/>
                <a:gd name="T76" fmla="*/ 295 w 573"/>
                <a:gd name="T77" fmla="*/ 16 h 615"/>
                <a:gd name="T78" fmla="*/ 393 w 573"/>
                <a:gd name="T79" fmla="*/ 21 h 615"/>
                <a:gd name="T80" fmla="*/ 491 w 573"/>
                <a:gd name="T81" fmla="*/ 25 h 615"/>
                <a:gd name="T82" fmla="*/ 573 w 573"/>
                <a:gd name="T83" fmla="*/ 41 h 615"/>
                <a:gd name="T84" fmla="*/ 569 w 573"/>
                <a:gd name="T85" fmla="*/ 86 h 615"/>
                <a:gd name="T86" fmla="*/ 565 w 573"/>
                <a:gd name="T87" fmla="*/ 176 h 615"/>
                <a:gd name="T88" fmla="*/ 563 w 573"/>
                <a:gd name="T89" fmla="*/ 266 h 615"/>
                <a:gd name="T90" fmla="*/ 559 w 573"/>
                <a:gd name="T91" fmla="*/ 357 h 615"/>
                <a:gd name="T92" fmla="*/ 557 w 573"/>
                <a:gd name="T93" fmla="*/ 447 h 615"/>
                <a:gd name="T94" fmla="*/ 555 w 573"/>
                <a:gd name="T95" fmla="*/ 537 h 615"/>
                <a:gd name="T96" fmla="*/ 471 w 573"/>
                <a:gd name="T97" fmla="*/ 564 h 615"/>
                <a:gd name="T98" fmla="*/ 350 w 573"/>
                <a:gd name="T99" fmla="*/ 560 h 615"/>
                <a:gd name="T100" fmla="*/ 227 w 573"/>
                <a:gd name="T101" fmla="*/ 553 h 615"/>
                <a:gd name="T102" fmla="*/ 227 w 573"/>
                <a:gd name="T103" fmla="*/ 564 h 615"/>
                <a:gd name="T104" fmla="*/ 231 w 573"/>
                <a:gd name="T105" fmla="*/ 57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3" h="615">
                  <a:moveTo>
                    <a:pt x="233" y="574"/>
                  </a:moveTo>
                  <a:lnTo>
                    <a:pt x="237" y="580"/>
                  </a:lnTo>
                  <a:lnTo>
                    <a:pt x="237" y="578"/>
                  </a:lnTo>
                  <a:lnTo>
                    <a:pt x="235" y="578"/>
                  </a:lnTo>
                  <a:lnTo>
                    <a:pt x="231" y="578"/>
                  </a:lnTo>
                  <a:lnTo>
                    <a:pt x="229" y="578"/>
                  </a:lnTo>
                  <a:lnTo>
                    <a:pt x="227" y="578"/>
                  </a:lnTo>
                  <a:lnTo>
                    <a:pt x="225" y="576"/>
                  </a:lnTo>
                  <a:lnTo>
                    <a:pt x="223" y="576"/>
                  </a:lnTo>
                  <a:lnTo>
                    <a:pt x="221" y="576"/>
                  </a:lnTo>
                  <a:lnTo>
                    <a:pt x="217" y="576"/>
                  </a:lnTo>
                  <a:lnTo>
                    <a:pt x="215" y="576"/>
                  </a:lnTo>
                  <a:lnTo>
                    <a:pt x="213" y="576"/>
                  </a:lnTo>
                  <a:lnTo>
                    <a:pt x="211" y="576"/>
                  </a:lnTo>
                  <a:lnTo>
                    <a:pt x="209" y="576"/>
                  </a:lnTo>
                  <a:lnTo>
                    <a:pt x="207" y="576"/>
                  </a:lnTo>
                  <a:lnTo>
                    <a:pt x="203" y="576"/>
                  </a:lnTo>
                  <a:lnTo>
                    <a:pt x="201" y="576"/>
                  </a:lnTo>
                  <a:lnTo>
                    <a:pt x="199" y="576"/>
                  </a:lnTo>
                  <a:lnTo>
                    <a:pt x="196" y="576"/>
                  </a:lnTo>
                  <a:lnTo>
                    <a:pt x="194" y="574"/>
                  </a:lnTo>
                  <a:lnTo>
                    <a:pt x="192" y="574"/>
                  </a:lnTo>
                  <a:lnTo>
                    <a:pt x="190" y="574"/>
                  </a:lnTo>
                  <a:lnTo>
                    <a:pt x="186" y="574"/>
                  </a:lnTo>
                  <a:lnTo>
                    <a:pt x="184" y="574"/>
                  </a:lnTo>
                  <a:lnTo>
                    <a:pt x="182" y="574"/>
                  </a:lnTo>
                  <a:lnTo>
                    <a:pt x="180" y="574"/>
                  </a:lnTo>
                  <a:lnTo>
                    <a:pt x="178" y="574"/>
                  </a:lnTo>
                  <a:lnTo>
                    <a:pt x="176" y="574"/>
                  </a:lnTo>
                  <a:lnTo>
                    <a:pt x="172" y="574"/>
                  </a:lnTo>
                  <a:lnTo>
                    <a:pt x="170" y="574"/>
                  </a:lnTo>
                  <a:lnTo>
                    <a:pt x="168" y="574"/>
                  </a:lnTo>
                  <a:lnTo>
                    <a:pt x="166" y="574"/>
                  </a:lnTo>
                  <a:lnTo>
                    <a:pt x="164" y="572"/>
                  </a:lnTo>
                  <a:lnTo>
                    <a:pt x="162" y="572"/>
                  </a:lnTo>
                  <a:lnTo>
                    <a:pt x="158" y="572"/>
                  </a:lnTo>
                  <a:lnTo>
                    <a:pt x="156" y="572"/>
                  </a:lnTo>
                  <a:lnTo>
                    <a:pt x="153" y="572"/>
                  </a:lnTo>
                  <a:lnTo>
                    <a:pt x="151" y="572"/>
                  </a:lnTo>
                  <a:lnTo>
                    <a:pt x="149" y="572"/>
                  </a:lnTo>
                  <a:lnTo>
                    <a:pt x="147" y="572"/>
                  </a:lnTo>
                  <a:lnTo>
                    <a:pt x="145" y="572"/>
                  </a:lnTo>
                  <a:lnTo>
                    <a:pt x="141" y="572"/>
                  </a:lnTo>
                  <a:lnTo>
                    <a:pt x="139" y="572"/>
                  </a:lnTo>
                  <a:lnTo>
                    <a:pt x="137" y="572"/>
                  </a:lnTo>
                  <a:lnTo>
                    <a:pt x="135" y="572"/>
                  </a:lnTo>
                  <a:lnTo>
                    <a:pt x="133" y="570"/>
                  </a:lnTo>
                  <a:lnTo>
                    <a:pt x="131" y="570"/>
                  </a:lnTo>
                  <a:lnTo>
                    <a:pt x="127" y="570"/>
                  </a:lnTo>
                  <a:lnTo>
                    <a:pt x="125" y="570"/>
                  </a:lnTo>
                  <a:lnTo>
                    <a:pt x="123" y="570"/>
                  </a:lnTo>
                  <a:lnTo>
                    <a:pt x="121" y="570"/>
                  </a:lnTo>
                  <a:lnTo>
                    <a:pt x="119" y="570"/>
                  </a:lnTo>
                  <a:lnTo>
                    <a:pt x="117" y="570"/>
                  </a:lnTo>
                  <a:lnTo>
                    <a:pt x="113" y="570"/>
                  </a:lnTo>
                  <a:lnTo>
                    <a:pt x="110" y="570"/>
                  </a:lnTo>
                  <a:lnTo>
                    <a:pt x="108" y="570"/>
                  </a:lnTo>
                  <a:lnTo>
                    <a:pt x="106" y="568"/>
                  </a:lnTo>
                  <a:lnTo>
                    <a:pt x="104" y="568"/>
                  </a:lnTo>
                  <a:lnTo>
                    <a:pt x="102" y="568"/>
                  </a:lnTo>
                  <a:lnTo>
                    <a:pt x="100" y="568"/>
                  </a:lnTo>
                  <a:lnTo>
                    <a:pt x="96" y="568"/>
                  </a:lnTo>
                  <a:lnTo>
                    <a:pt x="94" y="568"/>
                  </a:lnTo>
                  <a:lnTo>
                    <a:pt x="92" y="568"/>
                  </a:lnTo>
                  <a:lnTo>
                    <a:pt x="90" y="568"/>
                  </a:lnTo>
                  <a:lnTo>
                    <a:pt x="88" y="568"/>
                  </a:lnTo>
                  <a:lnTo>
                    <a:pt x="86" y="568"/>
                  </a:lnTo>
                  <a:lnTo>
                    <a:pt x="82" y="568"/>
                  </a:lnTo>
                  <a:lnTo>
                    <a:pt x="80" y="568"/>
                  </a:lnTo>
                  <a:lnTo>
                    <a:pt x="80" y="568"/>
                  </a:lnTo>
                  <a:lnTo>
                    <a:pt x="80" y="568"/>
                  </a:lnTo>
                  <a:lnTo>
                    <a:pt x="80" y="568"/>
                  </a:lnTo>
                  <a:lnTo>
                    <a:pt x="80" y="570"/>
                  </a:lnTo>
                  <a:lnTo>
                    <a:pt x="80" y="570"/>
                  </a:lnTo>
                  <a:lnTo>
                    <a:pt x="80" y="570"/>
                  </a:lnTo>
                  <a:lnTo>
                    <a:pt x="80" y="572"/>
                  </a:lnTo>
                  <a:lnTo>
                    <a:pt x="80" y="572"/>
                  </a:lnTo>
                  <a:lnTo>
                    <a:pt x="80" y="572"/>
                  </a:lnTo>
                  <a:lnTo>
                    <a:pt x="80" y="574"/>
                  </a:lnTo>
                  <a:lnTo>
                    <a:pt x="80" y="574"/>
                  </a:lnTo>
                  <a:lnTo>
                    <a:pt x="80" y="576"/>
                  </a:lnTo>
                  <a:lnTo>
                    <a:pt x="80" y="576"/>
                  </a:lnTo>
                  <a:lnTo>
                    <a:pt x="80" y="576"/>
                  </a:lnTo>
                  <a:lnTo>
                    <a:pt x="80" y="578"/>
                  </a:lnTo>
                  <a:lnTo>
                    <a:pt x="80" y="578"/>
                  </a:lnTo>
                  <a:lnTo>
                    <a:pt x="80" y="578"/>
                  </a:lnTo>
                  <a:lnTo>
                    <a:pt x="80" y="580"/>
                  </a:lnTo>
                  <a:lnTo>
                    <a:pt x="80" y="580"/>
                  </a:lnTo>
                  <a:lnTo>
                    <a:pt x="80" y="582"/>
                  </a:lnTo>
                  <a:lnTo>
                    <a:pt x="80" y="582"/>
                  </a:lnTo>
                  <a:lnTo>
                    <a:pt x="80" y="582"/>
                  </a:lnTo>
                  <a:lnTo>
                    <a:pt x="80" y="584"/>
                  </a:lnTo>
                  <a:lnTo>
                    <a:pt x="80" y="584"/>
                  </a:lnTo>
                  <a:lnTo>
                    <a:pt x="80" y="584"/>
                  </a:lnTo>
                  <a:lnTo>
                    <a:pt x="80" y="586"/>
                  </a:lnTo>
                  <a:lnTo>
                    <a:pt x="80" y="586"/>
                  </a:lnTo>
                  <a:lnTo>
                    <a:pt x="80" y="586"/>
                  </a:lnTo>
                  <a:lnTo>
                    <a:pt x="80" y="588"/>
                  </a:lnTo>
                  <a:lnTo>
                    <a:pt x="78" y="588"/>
                  </a:lnTo>
                  <a:lnTo>
                    <a:pt x="78" y="590"/>
                  </a:lnTo>
                  <a:lnTo>
                    <a:pt x="78" y="590"/>
                  </a:lnTo>
                  <a:lnTo>
                    <a:pt x="78" y="590"/>
                  </a:lnTo>
                  <a:lnTo>
                    <a:pt x="78" y="592"/>
                  </a:lnTo>
                  <a:lnTo>
                    <a:pt x="78" y="592"/>
                  </a:lnTo>
                  <a:lnTo>
                    <a:pt x="78" y="592"/>
                  </a:lnTo>
                  <a:lnTo>
                    <a:pt x="78" y="594"/>
                  </a:lnTo>
                  <a:lnTo>
                    <a:pt x="78" y="594"/>
                  </a:lnTo>
                  <a:lnTo>
                    <a:pt x="78" y="596"/>
                  </a:lnTo>
                  <a:lnTo>
                    <a:pt x="78" y="596"/>
                  </a:lnTo>
                  <a:lnTo>
                    <a:pt x="78" y="596"/>
                  </a:lnTo>
                  <a:lnTo>
                    <a:pt x="78" y="598"/>
                  </a:lnTo>
                  <a:lnTo>
                    <a:pt x="78" y="598"/>
                  </a:lnTo>
                  <a:lnTo>
                    <a:pt x="78" y="598"/>
                  </a:lnTo>
                  <a:lnTo>
                    <a:pt x="78" y="600"/>
                  </a:lnTo>
                  <a:lnTo>
                    <a:pt x="78" y="600"/>
                  </a:lnTo>
                  <a:lnTo>
                    <a:pt x="78" y="603"/>
                  </a:lnTo>
                  <a:lnTo>
                    <a:pt x="78" y="603"/>
                  </a:lnTo>
                  <a:lnTo>
                    <a:pt x="78" y="603"/>
                  </a:lnTo>
                  <a:lnTo>
                    <a:pt x="78" y="605"/>
                  </a:lnTo>
                  <a:lnTo>
                    <a:pt x="78" y="605"/>
                  </a:lnTo>
                  <a:lnTo>
                    <a:pt x="78" y="605"/>
                  </a:lnTo>
                  <a:lnTo>
                    <a:pt x="78" y="607"/>
                  </a:lnTo>
                  <a:lnTo>
                    <a:pt x="78" y="607"/>
                  </a:lnTo>
                  <a:lnTo>
                    <a:pt x="78" y="607"/>
                  </a:lnTo>
                  <a:lnTo>
                    <a:pt x="78" y="609"/>
                  </a:lnTo>
                  <a:lnTo>
                    <a:pt x="78" y="609"/>
                  </a:lnTo>
                  <a:lnTo>
                    <a:pt x="78" y="611"/>
                  </a:lnTo>
                  <a:lnTo>
                    <a:pt x="78" y="611"/>
                  </a:lnTo>
                  <a:lnTo>
                    <a:pt x="78" y="611"/>
                  </a:lnTo>
                  <a:lnTo>
                    <a:pt x="78" y="613"/>
                  </a:lnTo>
                  <a:lnTo>
                    <a:pt x="78" y="613"/>
                  </a:lnTo>
                  <a:lnTo>
                    <a:pt x="78" y="613"/>
                  </a:lnTo>
                  <a:lnTo>
                    <a:pt x="78" y="615"/>
                  </a:lnTo>
                  <a:lnTo>
                    <a:pt x="78" y="615"/>
                  </a:lnTo>
                  <a:lnTo>
                    <a:pt x="78" y="615"/>
                  </a:lnTo>
                  <a:lnTo>
                    <a:pt x="74" y="615"/>
                  </a:lnTo>
                  <a:lnTo>
                    <a:pt x="70" y="615"/>
                  </a:lnTo>
                  <a:lnTo>
                    <a:pt x="65" y="615"/>
                  </a:lnTo>
                  <a:lnTo>
                    <a:pt x="61" y="615"/>
                  </a:lnTo>
                  <a:lnTo>
                    <a:pt x="57" y="613"/>
                  </a:lnTo>
                  <a:lnTo>
                    <a:pt x="53" y="613"/>
                  </a:lnTo>
                  <a:lnTo>
                    <a:pt x="49" y="613"/>
                  </a:lnTo>
                  <a:lnTo>
                    <a:pt x="45" y="613"/>
                  </a:lnTo>
                  <a:lnTo>
                    <a:pt x="41" y="613"/>
                  </a:lnTo>
                  <a:lnTo>
                    <a:pt x="37" y="613"/>
                  </a:lnTo>
                  <a:lnTo>
                    <a:pt x="33" y="613"/>
                  </a:lnTo>
                  <a:lnTo>
                    <a:pt x="31" y="611"/>
                  </a:lnTo>
                  <a:lnTo>
                    <a:pt x="26" y="611"/>
                  </a:lnTo>
                  <a:lnTo>
                    <a:pt x="22" y="611"/>
                  </a:lnTo>
                  <a:lnTo>
                    <a:pt x="18" y="611"/>
                  </a:lnTo>
                  <a:lnTo>
                    <a:pt x="14" y="611"/>
                  </a:lnTo>
                  <a:lnTo>
                    <a:pt x="10" y="611"/>
                  </a:lnTo>
                  <a:lnTo>
                    <a:pt x="6" y="609"/>
                  </a:lnTo>
                  <a:lnTo>
                    <a:pt x="2"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2" y="590"/>
                  </a:lnTo>
                  <a:lnTo>
                    <a:pt x="4" y="570"/>
                  </a:lnTo>
                  <a:lnTo>
                    <a:pt x="6" y="551"/>
                  </a:lnTo>
                  <a:lnTo>
                    <a:pt x="6" y="533"/>
                  </a:lnTo>
                  <a:lnTo>
                    <a:pt x="8" y="512"/>
                  </a:lnTo>
                  <a:lnTo>
                    <a:pt x="10" y="494"/>
                  </a:lnTo>
                  <a:lnTo>
                    <a:pt x="12" y="475"/>
                  </a:lnTo>
                  <a:lnTo>
                    <a:pt x="12" y="457"/>
                  </a:lnTo>
                  <a:lnTo>
                    <a:pt x="14" y="437"/>
                  </a:lnTo>
                  <a:lnTo>
                    <a:pt x="16" y="418"/>
                  </a:lnTo>
                  <a:lnTo>
                    <a:pt x="18" y="400"/>
                  </a:lnTo>
                  <a:lnTo>
                    <a:pt x="18" y="379"/>
                  </a:lnTo>
                  <a:lnTo>
                    <a:pt x="20" y="361"/>
                  </a:lnTo>
                  <a:lnTo>
                    <a:pt x="22" y="342"/>
                  </a:lnTo>
                  <a:lnTo>
                    <a:pt x="24" y="324"/>
                  </a:lnTo>
                  <a:lnTo>
                    <a:pt x="24" y="303"/>
                  </a:lnTo>
                  <a:lnTo>
                    <a:pt x="26" y="285"/>
                  </a:lnTo>
                  <a:lnTo>
                    <a:pt x="29" y="266"/>
                  </a:lnTo>
                  <a:lnTo>
                    <a:pt x="31" y="246"/>
                  </a:lnTo>
                  <a:lnTo>
                    <a:pt x="31" y="228"/>
                  </a:lnTo>
                  <a:lnTo>
                    <a:pt x="33" y="209"/>
                  </a:lnTo>
                  <a:lnTo>
                    <a:pt x="35" y="191"/>
                  </a:lnTo>
                  <a:lnTo>
                    <a:pt x="37" y="170"/>
                  </a:lnTo>
                  <a:lnTo>
                    <a:pt x="39" y="152"/>
                  </a:lnTo>
                  <a:lnTo>
                    <a:pt x="39" y="133"/>
                  </a:lnTo>
                  <a:lnTo>
                    <a:pt x="41" y="113"/>
                  </a:lnTo>
                  <a:lnTo>
                    <a:pt x="43" y="94"/>
                  </a:lnTo>
                  <a:lnTo>
                    <a:pt x="45" y="76"/>
                  </a:lnTo>
                  <a:lnTo>
                    <a:pt x="45" y="57"/>
                  </a:lnTo>
                  <a:lnTo>
                    <a:pt x="47" y="37"/>
                  </a:lnTo>
                  <a:lnTo>
                    <a:pt x="49" y="18"/>
                  </a:lnTo>
                  <a:lnTo>
                    <a:pt x="51" y="0"/>
                  </a:lnTo>
                  <a:lnTo>
                    <a:pt x="67" y="0"/>
                  </a:lnTo>
                  <a:lnTo>
                    <a:pt x="84" y="2"/>
                  </a:lnTo>
                  <a:lnTo>
                    <a:pt x="100" y="4"/>
                  </a:lnTo>
                  <a:lnTo>
                    <a:pt x="117" y="4"/>
                  </a:lnTo>
                  <a:lnTo>
                    <a:pt x="131" y="6"/>
                  </a:lnTo>
                  <a:lnTo>
                    <a:pt x="147" y="6"/>
                  </a:lnTo>
                  <a:lnTo>
                    <a:pt x="164" y="8"/>
                  </a:lnTo>
                  <a:lnTo>
                    <a:pt x="180" y="10"/>
                  </a:lnTo>
                  <a:lnTo>
                    <a:pt x="196" y="10"/>
                  </a:lnTo>
                  <a:lnTo>
                    <a:pt x="213" y="12"/>
                  </a:lnTo>
                  <a:lnTo>
                    <a:pt x="229" y="12"/>
                  </a:lnTo>
                  <a:lnTo>
                    <a:pt x="246" y="14"/>
                  </a:lnTo>
                  <a:lnTo>
                    <a:pt x="262" y="14"/>
                  </a:lnTo>
                  <a:lnTo>
                    <a:pt x="278" y="16"/>
                  </a:lnTo>
                  <a:lnTo>
                    <a:pt x="295" y="16"/>
                  </a:lnTo>
                  <a:lnTo>
                    <a:pt x="311" y="16"/>
                  </a:lnTo>
                  <a:lnTo>
                    <a:pt x="328" y="18"/>
                  </a:lnTo>
                  <a:lnTo>
                    <a:pt x="344" y="18"/>
                  </a:lnTo>
                  <a:lnTo>
                    <a:pt x="360" y="21"/>
                  </a:lnTo>
                  <a:lnTo>
                    <a:pt x="377" y="21"/>
                  </a:lnTo>
                  <a:lnTo>
                    <a:pt x="393" y="21"/>
                  </a:lnTo>
                  <a:lnTo>
                    <a:pt x="409" y="23"/>
                  </a:lnTo>
                  <a:lnTo>
                    <a:pt x="426" y="23"/>
                  </a:lnTo>
                  <a:lnTo>
                    <a:pt x="442" y="23"/>
                  </a:lnTo>
                  <a:lnTo>
                    <a:pt x="459" y="25"/>
                  </a:lnTo>
                  <a:lnTo>
                    <a:pt x="475" y="25"/>
                  </a:lnTo>
                  <a:lnTo>
                    <a:pt x="491" y="25"/>
                  </a:lnTo>
                  <a:lnTo>
                    <a:pt x="508" y="27"/>
                  </a:lnTo>
                  <a:lnTo>
                    <a:pt x="524" y="27"/>
                  </a:lnTo>
                  <a:lnTo>
                    <a:pt x="541" y="27"/>
                  </a:lnTo>
                  <a:lnTo>
                    <a:pt x="557" y="27"/>
                  </a:lnTo>
                  <a:lnTo>
                    <a:pt x="573" y="29"/>
                  </a:lnTo>
                  <a:lnTo>
                    <a:pt x="573" y="41"/>
                  </a:lnTo>
                  <a:lnTo>
                    <a:pt x="573" y="55"/>
                  </a:lnTo>
                  <a:lnTo>
                    <a:pt x="573" y="68"/>
                  </a:lnTo>
                  <a:lnTo>
                    <a:pt x="571" y="82"/>
                  </a:lnTo>
                  <a:lnTo>
                    <a:pt x="569" y="82"/>
                  </a:lnTo>
                  <a:lnTo>
                    <a:pt x="569" y="84"/>
                  </a:lnTo>
                  <a:lnTo>
                    <a:pt x="569" y="86"/>
                  </a:lnTo>
                  <a:lnTo>
                    <a:pt x="567" y="103"/>
                  </a:lnTo>
                  <a:lnTo>
                    <a:pt x="567" y="117"/>
                  </a:lnTo>
                  <a:lnTo>
                    <a:pt x="567" y="131"/>
                  </a:lnTo>
                  <a:lnTo>
                    <a:pt x="567" y="148"/>
                  </a:lnTo>
                  <a:lnTo>
                    <a:pt x="565" y="162"/>
                  </a:lnTo>
                  <a:lnTo>
                    <a:pt x="565" y="176"/>
                  </a:lnTo>
                  <a:lnTo>
                    <a:pt x="565" y="193"/>
                  </a:lnTo>
                  <a:lnTo>
                    <a:pt x="565" y="207"/>
                  </a:lnTo>
                  <a:lnTo>
                    <a:pt x="565" y="221"/>
                  </a:lnTo>
                  <a:lnTo>
                    <a:pt x="563" y="238"/>
                  </a:lnTo>
                  <a:lnTo>
                    <a:pt x="563" y="252"/>
                  </a:lnTo>
                  <a:lnTo>
                    <a:pt x="563" y="266"/>
                  </a:lnTo>
                  <a:lnTo>
                    <a:pt x="563" y="281"/>
                  </a:lnTo>
                  <a:lnTo>
                    <a:pt x="561" y="297"/>
                  </a:lnTo>
                  <a:lnTo>
                    <a:pt x="561" y="312"/>
                  </a:lnTo>
                  <a:lnTo>
                    <a:pt x="561" y="326"/>
                  </a:lnTo>
                  <a:lnTo>
                    <a:pt x="561" y="342"/>
                  </a:lnTo>
                  <a:lnTo>
                    <a:pt x="559" y="357"/>
                  </a:lnTo>
                  <a:lnTo>
                    <a:pt x="559" y="371"/>
                  </a:lnTo>
                  <a:lnTo>
                    <a:pt x="559" y="387"/>
                  </a:lnTo>
                  <a:lnTo>
                    <a:pt x="559" y="402"/>
                  </a:lnTo>
                  <a:lnTo>
                    <a:pt x="557" y="416"/>
                  </a:lnTo>
                  <a:lnTo>
                    <a:pt x="557" y="432"/>
                  </a:lnTo>
                  <a:lnTo>
                    <a:pt x="557" y="447"/>
                  </a:lnTo>
                  <a:lnTo>
                    <a:pt x="557" y="461"/>
                  </a:lnTo>
                  <a:lnTo>
                    <a:pt x="557" y="478"/>
                  </a:lnTo>
                  <a:lnTo>
                    <a:pt x="555" y="492"/>
                  </a:lnTo>
                  <a:lnTo>
                    <a:pt x="555" y="506"/>
                  </a:lnTo>
                  <a:lnTo>
                    <a:pt x="555" y="523"/>
                  </a:lnTo>
                  <a:lnTo>
                    <a:pt x="555" y="537"/>
                  </a:lnTo>
                  <a:lnTo>
                    <a:pt x="553" y="551"/>
                  </a:lnTo>
                  <a:lnTo>
                    <a:pt x="553" y="568"/>
                  </a:lnTo>
                  <a:lnTo>
                    <a:pt x="532" y="566"/>
                  </a:lnTo>
                  <a:lnTo>
                    <a:pt x="512" y="566"/>
                  </a:lnTo>
                  <a:lnTo>
                    <a:pt x="491" y="566"/>
                  </a:lnTo>
                  <a:lnTo>
                    <a:pt x="471" y="564"/>
                  </a:lnTo>
                  <a:lnTo>
                    <a:pt x="452" y="564"/>
                  </a:lnTo>
                  <a:lnTo>
                    <a:pt x="432" y="564"/>
                  </a:lnTo>
                  <a:lnTo>
                    <a:pt x="412" y="562"/>
                  </a:lnTo>
                  <a:lnTo>
                    <a:pt x="391" y="562"/>
                  </a:lnTo>
                  <a:lnTo>
                    <a:pt x="371" y="560"/>
                  </a:lnTo>
                  <a:lnTo>
                    <a:pt x="350" y="560"/>
                  </a:lnTo>
                  <a:lnTo>
                    <a:pt x="330" y="557"/>
                  </a:lnTo>
                  <a:lnTo>
                    <a:pt x="309" y="557"/>
                  </a:lnTo>
                  <a:lnTo>
                    <a:pt x="289" y="555"/>
                  </a:lnTo>
                  <a:lnTo>
                    <a:pt x="268" y="555"/>
                  </a:lnTo>
                  <a:lnTo>
                    <a:pt x="248" y="553"/>
                  </a:lnTo>
                  <a:lnTo>
                    <a:pt x="227" y="553"/>
                  </a:lnTo>
                  <a:lnTo>
                    <a:pt x="225" y="553"/>
                  </a:lnTo>
                  <a:lnTo>
                    <a:pt x="223" y="553"/>
                  </a:lnTo>
                  <a:lnTo>
                    <a:pt x="223" y="553"/>
                  </a:lnTo>
                  <a:lnTo>
                    <a:pt x="225" y="557"/>
                  </a:lnTo>
                  <a:lnTo>
                    <a:pt x="225" y="560"/>
                  </a:lnTo>
                  <a:lnTo>
                    <a:pt x="227" y="564"/>
                  </a:lnTo>
                  <a:lnTo>
                    <a:pt x="227" y="566"/>
                  </a:lnTo>
                  <a:lnTo>
                    <a:pt x="229" y="568"/>
                  </a:lnTo>
                  <a:lnTo>
                    <a:pt x="227" y="570"/>
                  </a:lnTo>
                  <a:lnTo>
                    <a:pt x="229" y="570"/>
                  </a:lnTo>
                  <a:lnTo>
                    <a:pt x="229" y="572"/>
                  </a:lnTo>
                  <a:lnTo>
                    <a:pt x="231" y="572"/>
                  </a:lnTo>
                  <a:lnTo>
                    <a:pt x="231" y="572"/>
                  </a:lnTo>
                  <a:lnTo>
                    <a:pt x="231" y="572"/>
                  </a:lnTo>
                  <a:lnTo>
                    <a:pt x="233" y="574"/>
                  </a:lnTo>
                  <a:lnTo>
                    <a:pt x="233" y="574"/>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M</a:t>
              </a:r>
            </a:p>
          </p:txBody>
        </p:sp>
        <p:sp>
          <p:nvSpPr>
            <p:cNvPr id="313" name="Freeform 23">
              <a:extLst>
                <a:ext uri="{FF2B5EF4-FFF2-40B4-BE49-F238E27FC236}">
                  <a16:creationId xmlns:a16="http://schemas.microsoft.com/office/drawing/2014/main" id="{47945A29-8A8E-EC44-3FA9-F409A6A9B468}"/>
                </a:ext>
              </a:extLst>
            </p:cNvPr>
            <p:cNvSpPr>
              <a:spLocks noEditPoints="1"/>
            </p:cNvSpPr>
            <p:nvPr/>
          </p:nvSpPr>
          <p:spPr bwMode="auto">
            <a:xfrm>
              <a:off x="4368" y="340"/>
              <a:ext cx="662" cy="480"/>
            </a:xfrm>
            <a:custGeom>
              <a:avLst/>
              <a:gdLst>
                <a:gd name="T0" fmla="*/ 485 w 662"/>
                <a:gd name="T1" fmla="*/ 480 h 480"/>
                <a:gd name="T2" fmla="*/ 549 w 662"/>
                <a:gd name="T3" fmla="*/ 449 h 480"/>
                <a:gd name="T4" fmla="*/ 573 w 662"/>
                <a:gd name="T5" fmla="*/ 441 h 480"/>
                <a:gd name="T6" fmla="*/ 596 w 662"/>
                <a:gd name="T7" fmla="*/ 422 h 480"/>
                <a:gd name="T8" fmla="*/ 639 w 662"/>
                <a:gd name="T9" fmla="*/ 379 h 480"/>
                <a:gd name="T10" fmla="*/ 627 w 662"/>
                <a:gd name="T11" fmla="*/ 388 h 480"/>
                <a:gd name="T12" fmla="*/ 604 w 662"/>
                <a:gd name="T13" fmla="*/ 406 h 480"/>
                <a:gd name="T14" fmla="*/ 618 w 662"/>
                <a:gd name="T15" fmla="*/ 394 h 480"/>
                <a:gd name="T16" fmla="*/ 629 w 662"/>
                <a:gd name="T17" fmla="*/ 375 h 480"/>
                <a:gd name="T18" fmla="*/ 594 w 662"/>
                <a:gd name="T19" fmla="*/ 402 h 480"/>
                <a:gd name="T20" fmla="*/ 553 w 662"/>
                <a:gd name="T21" fmla="*/ 416 h 480"/>
                <a:gd name="T22" fmla="*/ 539 w 662"/>
                <a:gd name="T23" fmla="*/ 418 h 480"/>
                <a:gd name="T24" fmla="*/ 522 w 662"/>
                <a:gd name="T25" fmla="*/ 433 h 480"/>
                <a:gd name="T26" fmla="*/ 514 w 662"/>
                <a:gd name="T27" fmla="*/ 439 h 480"/>
                <a:gd name="T28" fmla="*/ 502 w 662"/>
                <a:gd name="T29" fmla="*/ 468 h 480"/>
                <a:gd name="T30" fmla="*/ 516 w 662"/>
                <a:gd name="T31" fmla="*/ 455 h 480"/>
                <a:gd name="T32" fmla="*/ 526 w 662"/>
                <a:gd name="T33" fmla="*/ 455 h 480"/>
                <a:gd name="T34" fmla="*/ 567 w 662"/>
                <a:gd name="T35" fmla="*/ 433 h 480"/>
                <a:gd name="T36" fmla="*/ 594 w 662"/>
                <a:gd name="T37" fmla="*/ 422 h 480"/>
                <a:gd name="T38" fmla="*/ 614 w 662"/>
                <a:gd name="T39" fmla="*/ 412 h 480"/>
                <a:gd name="T40" fmla="*/ 641 w 662"/>
                <a:gd name="T41" fmla="*/ 392 h 480"/>
                <a:gd name="T42" fmla="*/ 643 w 662"/>
                <a:gd name="T43" fmla="*/ 355 h 480"/>
                <a:gd name="T44" fmla="*/ 250 w 662"/>
                <a:gd name="T45" fmla="*/ 119 h 480"/>
                <a:gd name="T46" fmla="*/ 260 w 662"/>
                <a:gd name="T47" fmla="*/ 113 h 480"/>
                <a:gd name="T48" fmla="*/ 254 w 662"/>
                <a:gd name="T49" fmla="*/ 115 h 480"/>
                <a:gd name="T50" fmla="*/ 242 w 662"/>
                <a:gd name="T51" fmla="*/ 158 h 480"/>
                <a:gd name="T52" fmla="*/ 487 w 662"/>
                <a:gd name="T53" fmla="*/ 392 h 480"/>
                <a:gd name="T54" fmla="*/ 502 w 662"/>
                <a:gd name="T55" fmla="*/ 437 h 480"/>
                <a:gd name="T56" fmla="*/ 512 w 662"/>
                <a:gd name="T57" fmla="*/ 433 h 480"/>
                <a:gd name="T58" fmla="*/ 518 w 662"/>
                <a:gd name="T59" fmla="*/ 414 h 480"/>
                <a:gd name="T60" fmla="*/ 520 w 662"/>
                <a:gd name="T61" fmla="*/ 381 h 480"/>
                <a:gd name="T62" fmla="*/ 504 w 662"/>
                <a:gd name="T63" fmla="*/ 302 h 480"/>
                <a:gd name="T64" fmla="*/ 504 w 662"/>
                <a:gd name="T65" fmla="*/ 215 h 480"/>
                <a:gd name="T66" fmla="*/ 487 w 662"/>
                <a:gd name="T67" fmla="*/ 146 h 480"/>
                <a:gd name="T68" fmla="*/ 477 w 662"/>
                <a:gd name="T69" fmla="*/ 146 h 480"/>
                <a:gd name="T70" fmla="*/ 473 w 662"/>
                <a:gd name="T71" fmla="*/ 123 h 480"/>
                <a:gd name="T72" fmla="*/ 461 w 662"/>
                <a:gd name="T73" fmla="*/ 101 h 480"/>
                <a:gd name="T74" fmla="*/ 455 w 662"/>
                <a:gd name="T75" fmla="*/ 58 h 480"/>
                <a:gd name="T76" fmla="*/ 449 w 662"/>
                <a:gd name="T77" fmla="*/ 45 h 480"/>
                <a:gd name="T78" fmla="*/ 449 w 662"/>
                <a:gd name="T79" fmla="*/ 31 h 480"/>
                <a:gd name="T80" fmla="*/ 444 w 662"/>
                <a:gd name="T81" fmla="*/ 17 h 480"/>
                <a:gd name="T82" fmla="*/ 410 w 662"/>
                <a:gd name="T83" fmla="*/ 8 h 480"/>
                <a:gd name="T84" fmla="*/ 317 w 662"/>
                <a:gd name="T85" fmla="*/ 35 h 480"/>
                <a:gd name="T86" fmla="*/ 266 w 662"/>
                <a:gd name="T87" fmla="*/ 107 h 480"/>
                <a:gd name="T88" fmla="*/ 238 w 662"/>
                <a:gd name="T89" fmla="*/ 150 h 480"/>
                <a:gd name="T90" fmla="*/ 250 w 662"/>
                <a:gd name="T91" fmla="*/ 148 h 480"/>
                <a:gd name="T92" fmla="*/ 258 w 662"/>
                <a:gd name="T93" fmla="*/ 154 h 480"/>
                <a:gd name="T94" fmla="*/ 244 w 662"/>
                <a:gd name="T95" fmla="*/ 170 h 480"/>
                <a:gd name="T96" fmla="*/ 256 w 662"/>
                <a:gd name="T97" fmla="*/ 187 h 480"/>
                <a:gd name="T98" fmla="*/ 221 w 662"/>
                <a:gd name="T99" fmla="*/ 230 h 480"/>
                <a:gd name="T100" fmla="*/ 203 w 662"/>
                <a:gd name="T101" fmla="*/ 244 h 480"/>
                <a:gd name="T102" fmla="*/ 88 w 662"/>
                <a:gd name="T103" fmla="*/ 252 h 480"/>
                <a:gd name="T104" fmla="*/ 55 w 662"/>
                <a:gd name="T105" fmla="*/ 295 h 480"/>
                <a:gd name="T106" fmla="*/ 53 w 662"/>
                <a:gd name="T107" fmla="*/ 330 h 480"/>
                <a:gd name="T108" fmla="*/ 27 w 662"/>
                <a:gd name="T109" fmla="*/ 363 h 480"/>
                <a:gd name="T110" fmla="*/ 4 w 662"/>
                <a:gd name="T111" fmla="*/ 406 h 480"/>
                <a:gd name="T112" fmla="*/ 139 w 662"/>
                <a:gd name="T113" fmla="*/ 392 h 480"/>
                <a:gd name="T114" fmla="*/ 326 w 662"/>
                <a:gd name="T115" fmla="*/ 353 h 480"/>
                <a:gd name="T116" fmla="*/ 383 w 662"/>
                <a:gd name="T117" fmla="*/ 357 h 480"/>
                <a:gd name="T118" fmla="*/ 393 w 662"/>
                <a:gd name="T119" fmla="*/ 381 h 480"/>
                <a:gd name="T120" fmla="*/ 424 w 662"/>
                <a:gd name="T121" fmla="*/ 396 h 480"/>
                <a:gd name="T122" fmla="*/ 53 w 662"/>
                <a:gd name="T123" fmla="*/ 29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2" h="480">
                  <a:moveTo>
                    <a:pt x="494" y="461"/>
                  </a:moveTo>
                  <a:lnTo>
                    <a:pt x="494" y="461"/>
                  </a:lnTo>
                  <a:lnTo>
                    <a:pt x="492" y="463"/>
                  </a:lnTo>
                  <a:lnTo>
                    <a:pt x="492" y="463"/>
                  </a:lnTo>
                  <a:lnTo>
                    <a:pt x="489" y="463"/>
                  </a:lnTo>
                  <a:lnTo>
                    <a:pt x="487" y="463"/>
                  </a:lnTo>
                  <a:lnTo>
                    <a:pt x="487" y="463"/>
                  </a:lnTo>
                  <a:lnTo>
                    <a:pt x="485" y="465"/>
                  </a:lnTo>
                  <a:lnTo>
                    <a:pt x="487" y="468"/>
                  </a:lnTo>
                  <a:lnTo>
                    <a:pt x="487" y="472"/>
                  </a:lnTo>
                  <a:lnTo>
                    <a:pt x="487" y="472"/>
                  </a:lnTo>
                  <a:lnTo>
                    <a:pt x="485" y="474"/>
                  </a:lnTo>
                  <a:lnTo>
                    <a:pt x="485" y="474"/>
                  </a:lnTo>
                  <a:lnTo>
                    <a:pt x="485" y="474"/>
                  </a:lnTo>
                  <a:lnTo>
                    <a:pt x="485" y="476"/>
                  </a:lnTo>
                  <a:lnTo>
                    <a:pt x="485" y="476"/>
                  </a:lnTo>
                  <a:lnTo>
                    <a:pt x="485" y="480"/>
                  </a:lnTo>
                  <a:lnTo>
                    <a:pt x="494" y="472"/>
                  </a:lnTo>
                  <a:lnTo>
                    <a:pt x="498" y="468"/>
                  </a:lnTo>
                  <a:lnTo>
                    <a:pt x="496" y="461"/>
                  </a:lnTo>
                  <a:lnTo>
                    <a:pt x="494" y="461"/>
                  </a:lnTo>
                  <a:close/>
                  <a:moveTo>
                    <a:pt x="561" y="445"/>
                  </a:moveTo>
                  <a:lnTo>
                    <a:pt x="561" y="445"/>
                  </a:lnTo>
                  <a:lnTo>
                    <a:pt x="561" y="443"/>
                  </a:lnTo>
                  <a:lnTo>
                    <a:pt x="561" y="443"/>
                  </a:lnTo>
                  <a:lnTo>
                    <a:pt x="561" y="443"/>
                  </a:lnTo>
                  <a:lnTo>
                    <a:pt x="559" y="445"/>
                  </a:lnTo>
                  <a:lnTo>
                    <a:pt x="555" y="445"/>
                  </a:lnTo>
                  <a:lnTo>
                    <a:pt x="553" y="445"/>
                  </a:lnTo>
                  <a:lnTo>
                    <a:pt x="553" y="447"/>
                  </a:lnTo>
                  <a:lnTo>
                    <a:pt x="553" y="447"/>
                  </a:lnTo>
                  <a:lnTo>
                    <a:pt x="551" y="449"/>
                  </a:lnTo>
                  <a:lnTo>
                    <a:pt x="551" y="449"/>
                  </a:lnTo>
                  <a:lnTo>
                    <a:pt x="549" y="449"/>
                  </a:lnTo>
                  <a:lnTo>
                    <a:pt x="539" y="455"/>
                  </a:lnTo>
                  <a:lnTo>
                    <a:pt x="541" y="455"/>
                  </a:lnTo>
                  <a:lnTo>
                    <a:pt x="551" y="451"/>
                  </a:lnTo>
                  <a:lnTo>
                    <a:pt x="555" y="447"/>
                  </a:lnTo>
                  <a:lnTo>
                    <a:pt x="561" y="445"/>
                  </a:lnTo>
                  <a:lnTo>
                    <a:pt x="561" y="445"/>
                  </a:lnTo>
                  <a:close/>
                  <a:moveTo>
                    <a:pt x="596" y="422"/>
                  </a:moveTo>
                  <a:lnTo>
                    <a:pt x="592" y="427"/>
                  </a:lnTo>
                  <a:lnTo>
                    <a:pt x="588" y="429"/>
                  </a:lnTo>
                  <a:lnTo>
                    <a:pt x="588" y="429"/>
                  </a:lnTo>
                  <a:lnTo>
                    <a:pt x="586" y="431"/>
                  </a:lnTo>
                  <a:lnTo>
                    <a:pt x="584" y="431"/>
                  </a:lnTo>
                  <a:lnTo>
                    <a:pt x="582" y="433"/>
                  </a:lnTo>
                  <a:lnTo>
                    <a:pt x="582" y="433"/>
                  </a:lnTo>
                  <a:lnTo>
                    <a:pt x="580" y="435"/>
                  </a:lnTo>
                  <a:lnTo>
                    <a:pt x="578" y="437"/>
                  </a:lnTo>
                  <a:lnTo>
                    <a:pt x="573" y="441"/>
                  </a:lnTo>
                  <a:lnTo>
                    <a:pt x="565" y="443"/>
                  </a:lnTo>
                  <a:lnTo>
                    <a:pt x="563" y="445"/>
                  </a:lnTo>
                  <a:lnTo>
                    <a:pt x="561" y="447"/>
                  </a:lnTo>
                  <a:lnTo>
                    <a:pt x="559" y="447"/>
                  </a:lnTo>
                  <a:lnTo>
                    <a:pt x="559" y="447"/>
                  </a:lnTo>
                  <a:lnTo>
                    <a:pt x="563" y="447"/>
                  </a:lnTo>
                  <a:lnTo>
                    <a:pt x="569" y="443"/>
                  </a:lnTo>
                  <a:lnTo>
                    <a:pt x="578" y="437"/>
                  </a:lnTo>
                  <a:lnTo>
                    <a:pt x="580" y="437"/>
                  </a:lnTo>
                  <a:lnTo>
                    <a:pt x="582" y="435"/>
                  </a:lnTo>
                  <a:lnTo>
                    <a:pt x="586" y="431"/>
                  </a:lnTo>
                  <a:lnTo>
                    <a:pt x="592" y="427"/>
                  </a:lnTo>
                  <a:lnTo>
                    <a:pt x="594" y="427"/>
                  </a:lnTo>
                  <a:lnTo>
                    <a:pt x="594" y="424"/>
                  </a:lnTo>
                  <a:lnTo>
                    <a:pt x="598" y="422"/>
                  </a:lnTo>
                  <a:lnTo>
                    <a:pt x="598" y="422"/>
                  </a:lnTo>
                  <a:lnTo>
                    <a:pt x="596" y="422"/>
                  </a:lnTo>
                  <a:close/>
                  <a:moveTo>
                    <a:pt x="662" y="373"/>
                  </a:moveTo>
                  <a:lnTo>
                    <a:pt x="659" y="373"/>
                  </a:lnTo>
                  <a:lnTo>
                    <a:pt x="657" y="373"/>
                  </a:lnTo>
                  <a:lnTo>
                    <a:pt x="657" y="375"/>
                  </a:lnTo>
                  <a:lnTo>
                    <a:pt x="657" y="375"/>
                  </a:lnTo>
                  <a:lnTo>
                    <a:pt x="655" y="375"/>
                  </a:lnTo>
                  <a:lnTo>
                    <a:pt x="655" y="375"/>
                  </a:lnTo>
                  <a:lnTo>
                    <a:pt x="653" y="375"/>
                  </a:lnTo>
                  <a:lnTo>
                    <a:pt x="653" y="377"/>
                  </a:lnTo>
                  <a:lnTo>
                    <a:pt x="651" y="377"/>
                  </a:lnTo>
                  <a:lnTo>
                    <a:pt x="651" y="379"/>
                  </a:lnTo>
                  <a:lnTo>
                    <a:pt x="649" y="381"/>
                  </a:lnTo>
                  <a:lnTo>
                    <a:pt x="645" y="383"/>
                  </a:lnTo>
                  <a:lnTo>
                    <a:pt x="645" y="386"/>
                  </a:lnTo>
                  <a:lnTo>
                    <a:pt x="643" y="383"/>
                  </a:lnTo>
                  <a:lnTo>
                    <a:pt x="643" y="383"/>
                  </a:lnTo>
                  <a:lnTo>
                    <a:pt x="639" y="379"/>
                  </a:lnTo>
                  <a:lnTo>
                    <a:pt x="637" y="379"/>
                  </a:lnTo>
                  <a:lnTo>
                    <a:pt x="637" y="381"/>
                  </a:lnTo>
                  <a:lnTo>
                    <a:pt x="637" y="383"/>
                  </a:lnTo>
                  <a:lnTo>
                    <a:pt x="637" y="386"/>
                  </a:lnTo>
                  <a:lnTo>
                    <a:pt x="633" y="383"/>
                  </a:lnTo>
                  <a:lnTo>
                    <a:pt x="633" y="383"/>
                  </a:lnTo>
                  <a:lnTo>
                    <a:pt x="633" y="383"/>
                  </a:lnTo>
                  <a:lnTo>
                    <a:pt x="633" y="386"/>
                  </a:lnTo>
                  <a:lnTo>
                    <a:pt x="633" y="386"/>
                  </a:lnTo>
                  <a:lnTo>
                    <a:pt x="631" y="386"/>
                  </a:lnTo>
                  <a:lnTo>
                    <a:pt x="629" y="388"/>
                  </a:lnTo>
                  <a:lnTo>
                    <a:pt x="629" y="388"/>
                  </a:lnTo>
                  <a:lnTo>
                    <a:pt x="627" y="388"/>
                  </a:lnTo>
                  <a:lnTo>
                    <a:pt x="627" y="386"/>
                  </a:lnTo>
                  <a:lnTo>
                    <a:pt x="627" y="386"/>
                  </a:lnTo>
                  <a:lnTo>
                    <a:pt x="625" y="386"/>
                  </a:lnTo>
                  <a:lnTo>
                    <a:pt x="627" y="388"/>
                  </a:lnTo>
                  <a:lnTo>
                    <a:pt x="625" y="390"/>
                  </a:lnTo>
                  <a:lnTo>
                    <a:pt x="623" y="392"/>
                  </a:lnTo>
                  <a:lnTo>
                    <a:pt x="621" y="396"/>
                  </a:lnTo>
                  <a:lnTo>
                    <a:pt x="618" y="398"/>
                  </a:lnTo>
                  <a:lnTo>
                    <a:pt x="618" y="400"/>
                  </a:lnTo>
                  <a:lnTo>
                    <a:pt x="621" y="400"/>
                  </a:lnTo>
                  <a:lnTo>
                    <a:pt x="618" y="402"/>
                  </a:lnTo>
                  <a:lnTo>
                    <a:pt x="616" y="402"/>
                  </a:lnTo>
                  <a:lnTo>
                    <a:pt x="614" y="404"/>
                  </a:lnTo>
                  <a:lnTo>
                    <a:pt x="614" y="404"/>
                  </a:lnTo>
                  <a:lnTo>
                    <a:pt x="612" y="404"/>
                  </a:lnTo>
                  <a:lnTo>
                    <a:pt x="610" y="404"/>
                  </a:lnTo>
                  <a:lnTo>
                    <a:pt x="608" y="406"/>
                  </a:lnTo>
                  <a:lnTo>
                    <a:pt x="608" y="404"/>
                  </a:lnTo>
                  <a:lnTo>
                    <a:pt x="606" y="404"/>
                  </a:lnTo>
                  <a:lnTo>
                    <a:pt x="606" y="404"/>
                  </a:lnTo>
                  <a:lnTo>
                    <a:pt x="604" y="406"/>
                  </a:lnTo>
                  <a:lnTo>
                    <a:pt x="606" y="404"/>
                  </a:lnTo>
                  <a:lnTo>
                    <a:pt x="606" y="402"/>
                  </a:lnTo>
                  <a:lnTo>
                    <a:pt x="608" y="400"/>
                  </a:lnTo>
                  <a:lnTo>
                    <a:pt x="610" y="400"/>
                  </a:lnTo>
                  <a:lnTo>
                    <a:pt x="610" y="398"/>
                  </a:lnTo>
                  <a:lnTo>
                    <a:pt x="610" y="396"/>
                  </a:lnTo>
                  <a:lnTo>
                    <a:pt x="610" y="396"/>
                  </a:lnTo>
                  <a:lnTo>
                    <a:pt x="612" y="396"/>
                  </a:lnTo>
                  <a:lnTo>
                    <a:pt x="612" y="394"/>
                  </a:lnTo>
                  <a:lnTo>
                    <a:pt x="612" y="394"/>
                  </a:lnTo>
                  <a:lnTo>
                    <a:pt x="612" y="394"/>
                  </a:lnTo>
                  <a:lnTo>
                    <a:pt x="614" y="394"/>
                  </a:lnTo>
                  <a:lnTo>
                    <a:pt x="614" y="392"/>
                  </a:lnTo>
                  <a:lnTo>
                    <a:pt x="616" y="392"/>
                  </a:lnTo>
                  <a:lnTo>
                    <a:pt x="616" y="392"/>
                  </a:lnTo>
                  <a:lnTo>
                    <a:pt x="616" y="394"/>
                  </a:lnTo>
                  <a:lnTo>
                    <a:pt x="618" y="394"/>
                  </a:lnTo>
                  <a:lnTo>
                    <a:pt x="618" y="392"/>
                  </a:lnTo>
                  <a:lnTo>
                    <a:pt x="618" y="392"/>
                  </a:lnTo>
                  <a:lnTo>
                    <a:pt x="616" y="390"/>
                  </a:lnTo>
                  <a:lnTo>
                    <a:pt x="616" y="390"/>
                  </a:lnTo>
                  <a:lnTo>
                    <a:pt x="618" y="388"/>
                  </a:lnTo>
                  <a:lnTo>
                    <a:pt x="618" y="388"/>
                  </a:lnTo>
                  <a:lnTo>
                    <a:pt x="621" y="388"/>
                  </a:lnTo>
                  <a:lnTo>
                    <a:pt x="621" y="386"/>
                  </a:lnTo>
                  <a:lnTo>
                    <a:pt x="621" y="386"/>
                  </a:lnTo>
                  <a:lnTo>
                    <a:pt x="618" y="386"/>
                  </a:lnTo>
                  <a:lnTo>
                    <a:pt x="618" y="386"/>
                  </a:lnTo>
                  <a:lnTo>
                    <a:pt x="618" y="386"/>
                  </a:lnTo>
                  <a:lnTo>
                    <a:pt x="623" y="377"/>
                  </a:lnTo>
                  <a:lnTo>
                    <a:pt x="625" y="375"/>
                  </a:lnTo>
                  <a:lnTo>
                    <a:pt x="627" y="377"/>
                  </a:lnTo>
                  <a:lnTo>
                    <a:pt x="627" y="377"/>
                  </a:lnTo>
                  <a:lnTo>
                    <a:pt x="629" y="375"/>
                  </a:lnTo>
                  <a:lnTo>
                    <a:pt x="629" y="373"/>
                  </a:lnTo>
                  <a:lnTo>
                    <a:pt x="629" y="373"/>
                  </a:lnTo>
                  <a:lnTo>
                    <a:pt x="629" y="371"/>
                  </a:lnTo>
                  <a:lnTo>
                    <a:pt x="629" y="371"/>
                  </a:lnTo>
                  <a:lnTo>
                    <a:pt x="627" y="371"/>
                  </a:lnTo>
                  <a:lnTo>
                    <a:pt x="625" y="371"/>
                  </a:lnTo>
                  <a:lnTo>
                    <a:pt x="623" y="375"/>
                  </a:lnTo>
                  <a:lnTo>
                    <a:pt x="621" y="377"/>
                  </a:lnTo>
                  <a:lnTo>
                    <a:pt x="618" y="379"/>
                  </a:lnTo>
                  <a:lnTo>
                    <a:pt x="618" y="381"/>
                  </a:lnTo>
                  <a:lnTo>
                    <a:pt x="614" y="383"/>
                  </a:lnTo>
                  <a:lnTo>
                    <a:pt x="614" y="383"/>
                  </a:lnTo>
                  <a:lnTo>
                    <a:pt x="612" y="388"/>
                  </a:lnTo>
                  <a:lnTo>
                    <a:pt x="608" y="390"/>
                  </a:lnTo>
                  <a:lnTo>
                    <a:pt x="604" y="396"/>
                  </a:lnTo>
                  <a:lnTo>
                    <a:pt x="602" y="398"/>
                  </a:lnTo>
                  <a:lnTo>
                    <a:pt x="594" y="402"/>
                  </a:lnTo>
                  <a:lnTo>
                    <a:pt x="580" y="404"/>
                  </a:lnTo>
                  <a:lnTo>
                    <a:pt x="567" y="408"/>
                  </a:lnTo>
                  <a:lnTo>
                    <a:pt x="567" y="408"/>
                  </a:lnTo>
                  <a:lnTo>
                    <a:pt x="567" y="410"/>
                  </a:lnTo>
                  <a:lnTo>
                    <a:pt x="567" y="410"/>
                  </a:lnTo>
                  <a:lnTo>
                    <a:pt x="565" y="410"/>
                  </a:lnTo>
                  <a:lnTo>
                    <a:pt x="565" y="408"/>
                  </a:lnTo>
                  <a:lnTo>
                    <a:pt x="563" y="408"/>
                  </a:lnTo>
                  <a:lnTo>
                    <a:pt x="563" y="408"/>
                  </a:lnTo>
                  <a:lnTo>
                    <a:pt x="561" y="410"/>
                  </a:lnTo>
                  <a:lnTo>
                    <a:pt x="561" y="412"/>
                  </a:lnTo>
                  <a:lnTo>
                    <a:pt x="561" y="414"/>
                  </a:lnTo>
                  <a:lnTo>
                    <a:pt x="561" y="414"/>
                  </a:lnTo>
                  <a:lnTo>
                    <a:pt x="557" y="416"/>
                  </a:lnTo>
                  <a:lnTo>
                    <a:pt x="555" y="418"/>
                  </a:lnTo>
                  <a:lnTo>
                    <a:pt x="555" y="416"/>
                  </a:lnTo>
                  <a:lnTo>
                    <a:pt x="553" y="416"/>
                  </a:lnTo>
                  <a:lnTo>
                    <a:pt x="553" y="416"/>
                  </a:lnTo>
                  <a:lnTo>
                    <a:pt x="551" y="416"/>
                  </a:lnTo>
                  <a:lnTo>
                    <a:pt x="543" y="416"/>
                  </a:lnTo>
                  <a:lnTo>
                    <a:pt x="541" y="416"/>
                  </a:lnTo>
                  <a:lnTo>
                    <a:pt x="541" y="418"/>
                  </a:lnTo>
                  <a:lnTo>
                    <a:pt x="543" y="418"/>
                  </a:lnTo>
                  <a:lnTo>
                    <a:pt x="545" y="418"/>
                  </a:lnTo>
                  <a:lnTo>
                    <a:pt x="545" y="418"/>
                  </a:lnTo>
                  <a:lnTo>
                    <a:pt x="547" y="418"/>
                  </a:lnTo>
                  <a:lnTo>
                    <a:pt x="547" y="420"/>
                  </a:lnTo>
                  <a:lnTo>
                    <a:pt x="545" y="420"/>
                  </a:lnTo>
                  <a:lnTo>
                    <a:pt x="545" y="420"/>
                  </a:lnTo>
                  <a:lnTo>
                    <a:pt x="543" y="420"/>
                  </a:lnTo>
                  <a:lnTo>
                    <a:pt x="541" y="422"/>
                  </a:lnTo>
                  <a:lnTo>
                    <a:pt x="541" y="420"/>
                  </a:lnTo>
                  <a:lnTo>
                    <a:pt x="539" y="420"/>
                  </a:lnTo>
                  <a:lnTo>
                    <a:pt x="539" y="418"/>
                  </a:lnTo>
                  <a:lnTo>
                    <a:pt x="539" y="418"/>
                  </a:lnTo>
                  <a:lnTo>
                    <a:pt x="537" y="418"/>
                  </a:lnTo>
                  <a:lnTo>
                    <a:pt x="535" y="420"/>
                  </a:lnTo>
                  <a:lnTo>
                    <a:pt x="537" y="420"/>
                  </a:lnTo>
                  <a:lnTo>
                    <a:pt x="537" y="422"/>
                  </a:lnTo>
                  <a:lnTo>
                    <a:pt x="539" y="422"/>
                  </a:lnTo>
                  <a:lnTo>
                    <a:pt x="537" y="424"/>
                  </a:lnTo>
                  <a:lnTo>
                    <a:pt x="535" y="424"/>
                  </a:lnTo>
                  <a:lnTo>
                    <a:pt x="535" y="424"/>
                  </a:lnTo>
                  <a:lnTo>
                    <a:pt x="535" y="422"/>
                  </a:lnTo>
                  <a:lnTo>
                    <a:pt x="535" y="422"/>
                  </a:lnTo>
                  <a:lnTo>
                    <a:pt x="530" y="422"/>
                  </a:lnTo>
                  <a:lnTo>
                    <a:pt x="524" y="424"/>
                  </a:lnTo>
                  <a:lnTo>
                    <a:pt x="522" y="429"/>
                  </a:lnTo>
                  <a:lnTo>
                    <a:pt x="526" y="435"/>
                  </a:lnTo>
                  <a:lnTo>
                    <a:pt x="524" y="435"/>
                  </a:lnTo>
                  <a:lnTo>
                    <a:pt x="522" y="433"/>
                  </a:lnTo>
                  <a:lnTo>
                    <a:pt x="520" y="431"/>
                  </a:lnTo>
                  <a:lnTo>
                    <a:pt x="518" y="431"/>
                  </a:lnTo>
                  <a:lnTo>
                    <a:pt x="518" y="431"/>
                  </a:lnTo>
                  <a:lnTo>
                    <a:pt x="518" y="433"/>
                  </a:lnTo>
                  <a:lnTo>
                    <a:pt x="518" y="435"/>
                  </a:lnTo>
                  <a:lnTo>
                    <a:pt x="520" y="435"/>
                  </a:lnTo>
                  <a:lnTo>
                    <a:pt x="520" y="435"/>
                  </a:lnTo>
                  <a:lnTo>
                    <a:pt x="520" y="437"/>
                  </a:lnTo>
                  <a:lnTo>
                    <a:pt x="520" y="437"/>
                  </a:lnTo>
                  <a:lnTo>
                    <a:pt x="520" y="437"/>
                  </a:lnTo>
                  <a:lnTo>
                    <a:pt x="518" y="437"/>
                  </a:lnTo>
                  <a:lnTo>
                    <a:pt x="518" y="435"/>
                  </a:lnTo>
                  <a:lnTo>
                    <a:pt x="516" y="435"/>
                  </a:lnTo>
                  <a:lnTo>
                    <a:pt x="516" y="437"/>
                  </a:lnTo>
                  <a:lnTo>
                    <a:pt x="516" y="439"/>
                  </a:lnTo>
                  <a:lnTo>
                    <a:pt x="516" y="441"/>
                  </a:lnTo>
                  <a:lnTo>
                    <a:pt x="514" y="439"/>
                  </a:lnTo>
                  <a:lnTo>
                    <a:pt x="512" y="439"/>
                  </a:lnTo>
                  <a:lnTo>
                    <a:pt x="510" y="441"/>
                  </a:lnTo>
                  <a:lnTo>
                    <a:pt x="510" y="443"/>
                  </a:lnTo>
                  <a:lnTo>
                    <a:pt x="506" y="443"/>
                  </a:lnTo>
                  <a:lnTo>
                    <a:pt x="504" y="445"/>
                  </a:lnTo>
                  <a:lnTo>
                    <a:pt x="502" y="453"/>
                  </a:lnTo>
                  <a:lnTo>
                    <a:pt x="502" y="453"/>
                  </a:lnTo>
                  <a:lnTo>
                    <a:pt x="500" y="453"/>
                  </a:lnTo>
                  <a:lnTo>
                    <a:pt x="500" y="455"/>
                  </a:lnTo>
                  <a:lnTo>
                    <a:pt x="500" y="455"/>
                  </a:lnTo>
                  <a:lnTo>
                    <a:pt x="500" y="455"/>
                  </a:lnTo>
                  <a:lnTo>
                    <a:pt x="500" y="455"/>
                  </a:lnTo>
                  <a:lnTo>
                    <a:pt x="498" y="459"/>
                  </a:lnTo>
                  <a:lnTo>
                    <a:pt x="498" y="459"/>
                  </a:lnTo>
                  <a:lnTo>
                    <a:pt x="500" y="463"/>
                  </a:lnTo>
                  <a:lnTo>
                    <a:pt x="502" y="465"/>
                  </a:lnTo>
                  <a:lnTo>
                    <a:pt x="502" y="468"/>
                  </a:lnTo>
                  <a:lnTo>
                    <a:pt x="504" y="465"/>
                  </a:lnTo>
                  <a:lnTo>
                    <a:pt x="508" y="465"/>
                  </a:lnTo>
                  <a:lnTo>
                    <a:pt x="508" y="463"/>
                  </a:lnTo>
                  <a:lnTo>
                    <a:pt x="508" y="463"/>
                  </a:lnTo>
                  <a:lnTo>
                    <a:pt x="510" y="463"/>
                  </a:lnTo>
                  <a:lnTo>
                    <a:pt x="510" y="463"/>
                  </a:lnTo>
                  <a:lnTo>
                    <a:pt x="510" y="463"/>
                  </a:lnTo>
                  <a:lnTo>
                    <a:pt x="512" y="463"/>
                  </a:lnTo>
                  <a:lnTo>
                    <a:pt x="512" y="461"/>
                  </a:lnTo>
                  <a:lnTo>
                    <a:pt x="510" y="459"/>
                  </a:lnTo>
                  <a:lnTo>
                    <a:pt x="510" y="459"/>
                  </a:lnTo>
                  <a:lnTo>
                    <a:pt x="510" y="459"/>
                  </a:lnTo>
                  <a:lnTo>
                    <a:pt x="510" y="459"/>
                  </a:lnTo>
                  <a:lnTo>
                    <a:pt x="512" y="457"/>
                  </a:lnTo>
                  <a:lnTo>
                    <a:pt x="512" y="455"/>
                  </a:lnTo>
                  <a:lnTo>
                    <a:pt x="514" y="455"/>
                  </a:lnTo>
                  <a:lnTo>
                    <a:pt x="516" y="455"/>
                  </a:lnTo>
                  <a:lnTo>
                    <a:pt x="518" y="455"/>
                  </a:lnTo>
                  <a:lnTo>
                    <a:pt x="520" y="455"/>
                  </a:lnTo>
                  <a:lnTo>
                    <a:pt x="520" y="457"/>
                  </a:lnTo>
                  <a:lnTo>
                    <a:pt x="520" y="457"/>
                  </a:lnTo>
                  <a:lnTo>
                    <a:pt x="520" y="457"/>
                  </a:lnTo>
                  <a:lnTo>
                    <a:pt x="520" y="457"/>
                  </a:lnTo>
                  <a:lnTo>
                    <a:pt x="520" y="459"/>
                  </a:lnTo>
                  <a:lnTo>
                    <a:pt x="510" y="465"/>
                  </a:lnTo>
                  <a:lnTo>
                    <a:pt x="508" y="468"/>
                  </a:lnTo>
                  <a:lnTo>
                    <a:pt x="512" y="468"/>
                  </a:lnTo>
                  <a:lnTo>
                    <a:pt x="522" y="459"/>
                  </a:lnTo>
                  <a:lnTo>
                    <a:pt x="537" y="457"/>
                  </a:lnTo>
                  <a:lnTo>
                    <a:pt x="537" y="455"/>
                  </a:lnTo>
                  <a:lnTo>
                    <a:pt x="535" y="455"/>
                  </a:lnTo>
                  <a:lnTo>
                    <a:pt x="528" y="459"/>
                  </a:lnTo>
                  <a:lnTo>
                    <a:pt x="526" y="457"/>
                  </a:lnTo>
                  <a:lnTo>
                    <a:pt x="526" y="455"/>
                  </a:lnTo>
                  <a:lnTo>
                    <a:pt x="528" y="455"/>
                  </a:lnTo>
                  <a:lnTo>
                    <a:pt x="532" y="453"/>
                  </a:lnTo>
                  <a:lnTo>
                    <a:pt x="541" y="449"/>
                  </a:lnTo>
                  <a:lnTo>
                    <a:pt x="549" y="447"/>
                  </a:lnTo>
                  <a:lnTo>
                    <a:pt x="551" y="445"/>
                  </a:lnTo>
                  <a:lnTo>
                    <a:pt x="553" y="443"/>
                  </a:lnTo>
                  <a:lnTo>
                    <a:pt x="559" y="441"/>
                  </a:lnTo>
                  <a:lnTo>
                    <a:pt x="559" y="439"/>
                  </a:lnTo>
                  <a:lnTo>
                    <a:pt x="559" y="439"/>
                  </a:lnTo>
                  <a:lnTo>
                    <a:pt x="561" y="437"/>
                  </a:lnTo>
                  <a:lnTo>
                    <a:pt x="561" y="437"/>
                  </a:lnTo>
                  <a:lnTo>
                    <a:pt x="565" y="437"/>
                  </a:lnTo>
                  <a:lnTo>
                    <a:pt x="567" y="437"/>
                  </a:lnTo>
                  <a:lnTo>
                    <a:pt x="569" y="437"/>
                  </a:lnTo>
                  <a:lnTo>
                    <a:pt x="569" y="435"/>
                  </a:lnTo>
                  <a:lnTo>
                    <a:pt x="567" y="435"/>
                  </a:lnTo>
                  <a:lnTo>
                    <a:pt x="567" y="433"/>
                  </a:lnTo>
                  <a:lnTo>
                    <a:pt x="569" y="433"/>
                  </a:lnTo>
                  <a:lnTo>
                    <a:pt x="569" y="433"/>
                  </a:lnTo>
                  <a:lnTo>
                    <a:pt x="571" y="433"/>
                  </a:lnTo>
                  <a:lnTo>
                    <a:pt x="571" y="433"/>
                  </a:lnTo>
                  <a:lnTo>
                    <a:pt x="573" y="433"/>
                  </a:lnTo>
                  <a:lnTo>
                    <a:pt x="575" y="431"/>
                  </a:lnTo>
                  <a:lnTo>
                    <a:pt x="578" y="431"/>
                  </a:lnTo>
                  <a:lnTo>
                    <a:pt x="578" y="429"/>
                  </a:lnTo>
                  <a:lnTo>
                    <a:pt x="584" y="429"/>
                  </a:lnTo>
                  <a:lnTo>
                    <a:pt x="586" y="427"/>
                  </a:lnTo>
                  <a:lnTo>
                    <a:pt x="586" y="424"/>
                  </a:lnTo>
                  <a:lnTo>
                    <a:pt x="588" y="424"/>
                  </a:lnTo>
                  <a:lnTo>
                    <a:pt x="590" y="424"/>
                  </a:lnTo>
                  <a:lnTo>
                    <a:pt x="590" y="424"/>
                  </a:lnTo>
                  <a:lnTo>
                    <a:pt x="592" y="424"/>
                  </a:lnTo>
                  <a:lnTo>
                    <a:pt x="594" y="422"/>
                  </a:lnTo>
                  <a:lnTo>
                    <a:pt x="594" y="422"/>
                  </a:lnTo>
                  <a:lnTo>
                    <a:pt x="592" y="420"/>
                  </a:lnTo>
                  <a:lnTo>
                    <a:pt x="594" y="420"/>
                  </a:lnTo>
                  <a:lnTo>
                    <a:pt x="604" y="416"/>
                  </a:lnTo>
                  <a:lnTo>
                    <a:pt x="606" y="416"/>
                  </a:lnTo>
                  <a:lnTo>
                    <a:pt x="604" y="416"/>
                  </a:lnTo>
                  <a:lnTo>
                    <a:pt x="604" y="418"/>
                  </a:lnTo>
                  <a:lnTo>
                    <a:pt x="600" y="420"/>
                  </a:lnTo>
                  <a:lnTo>
                    <a:pt x="600" y="420"/>
                  </a:lnTo>
                  <a:lnTo>
                    <a:pt x="600" y="420"/>
                  </a:lnTo>
                  <a:lnTo>
                    <a:pt x="600" y="420"/>
                  </a:lnTo>
                  <a:lnTo>
                    <a:pt x="600" y="422"/>
                  </a:lnTo>
                  <a:lnTo>
                    <a:pt x="600" y="420"/>
                  </a:lnTo>
                  <a:lnTo>
                    <a:pt x="600" y="420"/>
                  </a:lnTo>
                  <a:lnTo>
                    <a:pt x="600" y="420"/>
                  </a:lnTo>
                  <a:lnTo>
                    <a:pt x="602" y="420"/>
                  </a:lnTo>
                  <a:lnTo>
                    <a:pt x="610" y="414"/>
                  </a:lnTo>
                  <a:lnTo>
                    <a:pt x="614" y="412"/>
                  </a:lnTo>
                  <a:lnTo>
                    <a:pt x="616" y="410"/>
                  </a:lnTo>
                  <a:lnTo>
                    <a:pt x="618" y="408"/>
                  </a:lnTo>
                  <a:lnTo>
                    <a:pt x="616" y="408"/>
                  </a:lnTo>
                  <a:lnTo>
                    <a:pt x="616" y="406"/>
                  </a:lnTo>
                  <a:lnTo>
                    <a:pt x="616" y="406"/>
                  </a:lnTo>
                  <a:lnTo>
                    <a:pt x="616" y="404"/>
                  </a:lnTo>
                  <a:lnTo>
                    <a:pt x="616" y="404"/>
                  </a:lnTo>
                  <a:lnTo>
                    <a:pt x="618" y="404"/>
                  </a:lnTo>
                  <a:lnTo>
                    <a:pt x="621" y="404"/>
                  </a:lnTo>
                  <a:lnTo>
                    <a:pt x="621" y="406"/>
                  </a:lnTo>
                  <a:lnTo>
                    <a:pt x="621" y="408"/>
                  </a:lnTo>
                  <a:lnTo>
                    <a:pt x="621" y="406"/>
                  </a:lnTo>
                  <a:lnTo>
                    <a:pt x="625" y="404"/>
                  </a:lnTo>
                  <a:lnTo>
                    <a:pt x="627" y="404"/>
                  </a:lnTo>
                  <a:lnTo>
                    <a:pt x="631" y="400"/>
                  </a:lnTo>
                  <a:lnTo>
                    <a:pt x="637" y="394"/>
                  </a:lnTo>
                  <a:lnTo>
                    <a:pt x="641" y="392"/>
                  </a:lnTo>
                  <a:lnTo>
                    <a:pt x="647" y="386"/>
                  </a:lnTo>
                  <a:lnTo>
                    <a:pt x="651" y="383"/>
                  </a:lnTo>
                  <a:lnTo>
                    <a:pt x="659" y="375"/>
                  </a:lnTo>
                  <a:lnTo>
                    <a:pt x="662" y="375"/>
                  </a:lnTo>
                  <a:lnTo>
                    <a:pt x="662" y="373"/>
                  </a:lnTo>
                  <a:lnTo>
                    <a:pt x="662" y="373"/>
                  </a:lnTo>
                  <a:lnTo>
                    <a:pt x="662" y="373"/>
                  </a:lnTo>
                  <a:close/>
                  <a:moveTo>
                    <a:pt x="645" y="357"/>
                  </a:moveTo>
                  <a:lnTo>
                    <a:pt x="645" y="357"/>
                  </a:lnTo>
                  <a:lnTo>
                    <a:pt x="647" y="355"/>
                  </a:lnTo>
                  <a:lnTo>
                    <a:pt x="647" y="353"/>
                  </a:lnTo>
                  <a:lnTo>
                    <a:pt x="649" y="353"/>
                  </a:lnTo>
                  <a:lnTo>
                    <a:pt x="649" y="353"/>
                  </a:lnTo>
                  <a:lnTo>
                    <a:pt x="649" y="353"/>
                  </a:lnTo>
                  <a:lnTo>
                    <a:pt x="649" y="351"/>
                  </a:lnTo>
                  <a:lnTo>
                    <a:pt x="643" y="355"/>
                  </a:lnTo>
                  <a:lnTo>
                    <a:pt x="643" y="355"/>
                  </a:lnTo>
                  <a:lnTo>
                    <a:pt x="643" y="357"/>
                  </a:lnTo>
                  <a:lnTo>
                    <a:pt x="643" y="357"/>
                  </a:lnTo>
                  <a:lnTo>
                    <a:pt x="645" y="357"/>
                  </a:lnTo>
                  <a:close/>
                  <a:moveTo>
                    <a:pt x="465" y="78"/>
                  </a:moveTo>
                  <a:lnTo>
                    <a:pt x="465" y="78"/>
                  </a:lnTo>
                  <a:lnTo>
                    <a:pt x="465" y="78"/>
                  </a:lnTo>
                  <a:lnTo>
                    <a:pt x="465" y="78"/>
                  </a:lnTo>
                  <a:close/>
                  <a:moveTo>
                    <a:pt x="244" y="125"/>
                  </a:moveTo>
                  <a:lnTo>
                    <a:pt x="246" y="125"/>
                  </a:lnTo>
                  <a:lnTo>
                    <a:pt x="246" y="125"/>
                  </a:lnTo>
                  <a:lnTo>
                    <a:pt x="250" y="123"/>
                  </a:lnTo>
                  <a:lnTo>
                    <a:pt x="250" y="121"/>
                  </a:lnTo>
                  <a:lnTo>
                    <a:pt x="250" y="121"/>
                  </a:lnTo>
                  <a:lnTo>
                    <a:pt x="250" y="119"/>
                  </a:lnTo>
                  <a:lnTo>
                    <a:pt x="250" y="119"/>
                  </a:lnTo>
                  <a:lnTo>
                    <a:pt x="250" y="119"/>
                  </a:lnTo>
                  <a:lnTo>
                    <a:pt x="250" y="119"/>
                  </a:lnTo>
                  <a:lnTo>
                    <a:pt x="248" y="121"/>
                  </a:lnTo>
                  <a:lnTo>
                    <a:pt x="248" y="121"/>
                  </a:lnTo>
                  <a:lnTo>
                    <a:pt x="246" y="121"/>
                  </a:lnTo>
                  <a:lnTo>
                    <a:pt x="244" y="123"/>
                  </a:lnTo>
                  <a:lnTo>
                    <a:pt x="244" y="123"/>
                  </a:lnTo>
                  <a:lnTo>
                    <a:pt x="244" y="123"/>
                  </a:lnTo>
                  <a:lnTo>
                    <a:pt x="244" y="125"/>
                  </a:lnTo>
                  <a:lnTo>
                    <a:pt x="244" y="125"/>
                  </a:lnTo>
                  <a:close/>
                  <a:moveTo>
                    <a:pt x="252" y="117"/>
                  </a:moveTo>
                  <a:lnTo>
                    <a:pt x="252" y="119"/>
                  </a:lnTo>
                  <a:lnTo>
                    <a:pt x="252" y="119"/>
                  </a:lnTo>
                  <a:lnTo>
                    <a:pt x="254" y="121"/>
                  </a:lnTo>
                  <a:lnTo>
                    <a:pt x="254" y="119"/>
                  </a:lnTo>
                  <a:lnTo>
                    <a:pt x="256" y="117"/>
                  </a:lnTo>
                  <a:lnTo>
                    <a:pt x="258" y="117"/>
                  </a:lnTo>
                  <a:lnTo>
                    <a:pt x="258" y="115"/>
                  </a:lnTo>
                  <a:lnTo>
                    <a:pt x="260" y="113"/>
                  </a:lnTo>
                  <a:lnTo>
                    <a:pt x="260" y="111"/>
                  </a:lnTo>
                  <a:lnTo>
                    <a:pt x="260" y="111"/>
                  </a:lnTo>
                  <a:lnTo>
                    <a:pt x="260" y="111"/>
                  </a:lnTo>
                  <a:lnTo>
                    <a:pt x="260" y="109"/>
                  </a:lnTo>
                  <a:lnTo>
                    <a:pt x="260" y="111"/>
                  </a:lnTo>
                  <a:lnTo>
                    <a:pt x="258" y="111"/>
                  </a:lnTo>
                  <a:lnTo>
                    <a:pt x="258" y="113"/>
                  </a:lnTo>
                  <a:lnTo>
                    <a:pt x="258" y="111"/>
                  </a:lnTo>
                  <a:lnTo>
                    <a:pt x="256" y="113"/>
                  </a:lnTo>
                  <a:lnTo>
                    <a:pt x="256" y="115"/>
                  </a:lnTo>
                  <a:lnTo>
                    <a:pt x="254" y="115"/>
                  </a:lnTo>
                  <a:lnTo>
                    <a:pt x="254" y="115"/>
                  </a:lnTo>
                  <a:lnTo>
                    <a:pt x="254" y="115"/>
                  </a:lnTo>
                  <a:lnTo>
                    <a:pt x="254" y="115"/>
                  </a:lnTo>
                  <a:lnTo>
                    <a:pt x="254" y="115"/>
                  </a:lnTo>
                  <a:lnTo>
                    <a:pt x="254" y="115"/>
                  </a:lnTo>
                  <a:lnTo>
                    <a:pt x="254" y="115"/>
                  </a:lnTo>
                  <a:lnTo>
                    <a:pt x="252" y="115"/>
                  </a:lnTo>
                  <a:lnTo>
                    <a:pt x="252" y="117"/>
                  </a:lnTo>
                  <a:lnTo>
                    <a:pt x="252" y="115"/>
                  </a:lnTo>
                  <a:lnTo>
                    <a:pt x="252" y="117"/>
                  </a:lnTo>
                  <a:lnTo>
                    <a:pt x="252" y="117"/>
                  </a:lnTo>
                  <a:lnTo>
                    <a:pt x="250" y="117"/>
                  </a:lnTo>
                  <a:lnTo>
                    <a:pt x="252" y="117"/>
                  </a:lnTo>
                  <a:lnTo>
                    <a:pt x="252" y="117"/>
                  </a:lnTo>
                  <a:close/>
                  <a:moveTo>
                    <a:pt x="244" y="154"/>
                  </a:moveTo>
                  <a:lnTo>
                    <a:pt x="246" y="152"/>
                  </a:lnTo>
                  <a:lnTo>
                    <a:pt x="246" y="150"/>
                  </a:lnTo>
                  <a:lnTo>
                    <a:pt x="244" y="150"/>
                  </a:lnTo>
                  <a:lnTo>
                    <a:pt x="244" y="150"/>
                  </a:lnTo>
                  <a:lnTo>
                    <a:pt x="242" y="152"/>
                  </a:lnTo>
                  <a:lnTo>
                    <a:pt x="242" y="154"/>
                  </a:lnTo>
                  <a:lnTo>
                    <a:pt x="240" y="154"/>
                  </a:lnTo>
                  <a:lnTo>
                    <a:pt x="242" y="158"/>
                  </a:lnTo>
                  <a:lnTo>
                    <a:pt x="244" y="154"/>
                  </a:lnTo>
                  <a:lnTo>
                    <a:pt x="244" y="154"/>
                  </a:lnTo>
                  <a:close/>
                  <a:moveTo>
                    <a:pt x="500" y="422"/>
                  </a:moveTo>
                  <a:lnTo>
                    <a:pt x="500" y="420"/>
                  </a:lnTo>
                  <a:lnTo>
                    <a:pt x="496" y="412"/>
                  </a:lnTo>
                  <a:lnTo>
                    <a:pt x="496" y="406"/>
                  </a:lnTo>
                  <a:lnTo>
                    <a:pt x="496" y="404"/>
                  </a:lnTo>
                  <a:lnTo>
                    <a:pt x="494" y="404"/>
                  </a:lnTo>
                  <a:lnTo>
                    <a:pt x="492" y="402"/>
                  </a:lnTo>
                  <a:lnTo>
                    <a:pt x="492" y="402"/>
                  </a:lnTo>
                  <a:lnTo>
                    <a:pt x="489" y="400"/>
                  </a:lnTo>
                  <a:lnTo>
                    <a:pt x="487" y="396"/>
                  </a:lnTo>
                  <a:lnTo>
                    <a:pt x="487" y="396"/>
                  </a:lnTo>
                  <a:lnTo>
                    <a:pt x="487" y="396"/>
                  </a:lnTo>
                  <a:lnTo>
                    <a:pt x="487" y="394"/>
                  </a:lnTo>
                  <a:lnTo>
                    <a:pt x="487" y="394"/>
                  </a:lnTo>
                  <a:lnTo>
                    <a:pt x="487" y="392"/>
                  </a:lnTo>
                  <a:lnTo>
                    <a:pt x="489" y="390"/>
                  </a:lnTo>
                  <a:lnTo>
                    <a:pt x="489" y="392"/>
                  </a:lnTo>
                  <a:lnTo>
                    <a:pt x="489" y="394"/>
                  </a:lnTo>
                  <a:lnTo>
                    <a:pt x="489" y="396"/>
                  </a:lnTo>
                  <a:lnTo>
                    <a:pt x="492" y="398"/>
                  </a:lnTo>
                  <a:lnTo>
                    <a:pt x="494" y="400"/>
                  </a:lnTo>
                  <a:lnTo>
                    <a:pt x="496" y="400"/>
                  </a:lnTo>
                  <a:lnTo>
                    <a:pt x="498" y="402"/>
                  </a:lnTo>
                  <a:lnTo>
                    <a:pt x="498" y="406"/>
                  </a:lnTo>
                  <a:lnTo>
                    <a:pt x="500" y="408"/>
                  </a:lnTo>
                  <a:lnTo>
                    <a:pt x="502" y="418"/>
                  </a:lnTo>
                  <a:lnTo>
                    <a:pt x="502" y="420"/>
                  </a:lnTo>
                  <a:lnTo>
                    <a:pt x="502" y="424"/>
                  </a:lnTo>
                  <a:lnTo>
                    <a:pt x="502" y="429"/>
                  </a:lnTo>
                  <a:lnTo>
                    <a:pt x="502" y="433"/>
                  </a:lnTo>
                  <a:lnTo>
                    <a:pt x="502" y="435"/>
                  </a:lnTo>
                  <a:lnTo>
                    <a:pt x="502" y="437"/>
                  </a:lnTo>
                  <a:lnTo>
                    <a:pt x="498" y="447"/>
                  </a:lnTo>
                  <a:lnTo>
                    <a:pt x="498" y="449"/>
                  </a:lnTo>
                  <a:lnTo>
                    <a:pt x="498" y="451"/>
                  </a:lnTo>
                  <a:lnTo>
                    <a:pt x="500" y="453"/>
                  </a:lnTo>
                  <a:lnTo>
                    <a:pt x="500" y="451"/>
                  </a:lnTo>
                  <a:lnTo>
                    <a:pt x="502" y="445"/>
                  </a:lnTo>
                  <a:lnTo>
                    <a:pt x="504" y="441"/>
                  </a:lnTo>
                  <a:lnTo>
                    <a:pt x="504" y="441"/>
                  </a:lnTo>
                  <a:lnTo>
                    <a:pt x="508" y="439"/>
                  </a:lnTo>
                  <a:lnTo>
                    <a:pt x="510" y="437"/>
                  </a:lnTo>
                  <a:lnTo>
                    <a:pt x="514" y="437"/>
                  </a:lnTo>
                  <a:lnTo>
                    <a:pt x="512" y="437"/>
                  </a:lnTo>
                  <a:lnTo>
                    <a:pt x="510" y="435"/>
                  </a:lnTo>
                  <a:lnTo>
                    <a:pt x="510" y="435"/>
                  </a:lnTo>
                  <a:lnTo>
                    <a:pt x="510" y="433"/>
                  </a:lnTo>
                  <a:lnTo>
                    <a:pt x="512" y="433"/>
                  </a:lnTo>
                  <a:lnTo>
                    <a:pt x="512" y="433"/>
                  </a:lnTo>
                  <a:lnTo>
                    <a:pt x="512" y="433"/>
                  </a:lnTo>
                  <a:lnTo>
                    <a:pt x="512" y="431"/>
                  </a:lnTo>
                  <a:lnTo>
                    <a:pt x="514" y="429"/>
                  </a:lnTo>
                  <a:lnTo>
                    <a:pt x="516" y="424"/>
                  </a:lnTo>
                  <a:lnTo>
                    <a:pt x="516" y="422"/>
                  </a:lnTo>
                  <a:lnTo>
                    <a:pt x="518" y="422"/>
                  </a:lnTo>
                  <a:lnTo>
                    <a:pt x="520" y="422"/>
                  </a:lnTo>
                  <a:lnTo>
                    <a:pt x="520" y="420"/>
                  </a:lnTo>
                  <a:lnTo>
                    <a:pt x="520" y="418"/>
                  </a:lnTo>
                  <a:lnTo>
                    <a:pt x="520" y="418"/>
                  </a:lnTo>
                  <a:lnTo>
                    <a:pt x="520" y="416"/>
                  </a:lnTo>
                  <a:lnTo>
                    <a:pt x="520" y="416"/>
                  </a:lnTo>
                  <a:lnTo>
                    <a:pt x="520" y="416"/>
                  </a:lnTo>
                  <a:lnTo>
                    <a:pt x="520" y="416"/>
                  </a:lnTo>
                  <a:lnTo>
                    <a:pt x="520" y="414"/>
                  </a:lnTo>
                  <a:lnTo>
                    <a:pt x="520" y="414"/>
                  </a:lnTo>
                  <a:lnTo>
                    <a:pt x="518" y="414"/>
                  </a:lnTo>
                  <a:lnTo>
                    <a:pt x="518" y="414"/>
                  </a:lnTo>
                  <a:lnTo>
                    <a:pt x="518" y="414"/>
                  </a:lnTo>
                  <a:lnTo>
                    <a:pt x="518" y="412"/>
                  </a:lnTo>
                  <a:lnTo>
                    <a:pt x="516" y="410"/>
                  </a:lnTo>
                  <a:lnTo>
                    <a:pt x="512" y="408"/>
                  </a:lnTo>
                  <a:lnTo>
                    <a:pt x="512" y="408"/>
                  </a:lnTo>
                  <a:lnTo>
                    <a:pt x="512" y="406"/>
                  </a:lnTo>
                  <a:lnTo>
                    <a:pt x="516" y="404"/>
                  </a:lnTo>
                  <a:lnTo>
                    <a:pt x="520" y="400"/>
                  </a:lnTo>
                  <a:lnTo>
                    <a:pt x="524" y="396"/>
                  </a:lnTo>
                  <a:lnTo>
                    <a:pt x="526" y="392"/>
                  </a:lnTo>
                  <a:lnTo>
                    <a:pt x="528" y="392"/>
                  </a:lnTo>
                  <a:lnTo>
                    <a:pt x="526" y="390"/>
                  </a:lnTo>
                  <a:lnTo>
                    <a:pt x="524" y="388"/>
                  </a:lnTo>
                  <a:lnTo>
                    <a:pt x="524" y="386"/>
                  </a:lnTo>
                  <a:lnTo>
                    <a:pt x="522" y="383"/>
                  </a:lnTo>
                  <a:lnTo>
                    <a:pt x="520" y="381"/>
                  </a:lnTo>
                  <a:lnTo>
                    <a:pt x="520" y="377"/>
                  </a:lnTo>
                  <a:lnTo>
                    <a:pt x="520" y="373"/>
                  </a:lnTo>
                  <a:lnTo>
                    <a:pt x="518" y="367"/>
                  </a:lnTo>
                  <a:lnTo>
                    <a:pt x="518" y="363"/>
                  </a:lnTo>
                  <a:lnTo>
                    <a:pt x="516" y="357"/>
                  </a:lnTo>
                  <a:lnTo>
                    <a:pt x="516" y="353"/>
                  </a:lnTo>
                  <a:lnTo>
                    <a:pt x="516" y="349"/>
                  </a:lnTo>
                  <a:lnTo>
                    <a:pt x="514" y="342"/>
                  </a:lnTo>
                  <a:lnTo>
                    <a:pt x="514" y="338"/>
                  </a:lnTo>
                  <a:lnTo>
                    <a:pt x="512" y="334"/>
                  </a:lnTo>
                  <a:lnTo>
                    <a:pt x="512" y="328"/>
                  </a:lnTo>
                  <a:lnTo>
                    <a:pt x="510" y="324"/>
                  </a:lnTo>
                  <a:lnTo>
                    <a:pt x="510" y="320"/>
                  </a:lnTo>
                  <a:lnTo>
                    <a:pt x="510" y="314"/>
                  </a:lnTo>
                  <a:lnTo>
                    <a:pt x="508" y="310"/>
                  </a:lnTo>
                  <a:lnTo>
                    <a:pt x="508" y="304"/>
                  </a:lnTo>
                  <a:lnTo>
                    <a:pt x="504" y="302"/>
                  </a:lnTo>
                  <a:lnTo>
                    <a:pt x="504" y="299"/>
                  </a:lnTo>
                  <a:lnTo>
                    <a:pt x="506" y="297"/>
                  </a:lnTo>
                  <a:lnTo>
                    <a:pt x="506" y="289"/>
                  </a:lnTo>
                  <a:lnTo>
                    <a:pt x="506" y="273"/>
                  </a:lnTo>
                  <a:lnTo>
                    <a:pt x="506" y="265"/>
                  </a:lnTo>
                  <a:lnTo>
                    <a:pt x="506" y="256"/>
                  </a:lnTo>
                  <a:lnTo>
                    <a:pt x="506" y="248"/>
                  </a:lnTo>
                  <a:lnTo>
                    <a:pt x="506" y="240"/>
                  </a:lnTo>
                  <a:lnTo>
                    <a:pt x="508" y="234"/>
                  </a:lnTo>
                  <a:lnTo>
                    <a:pt x="508" y="230"/>
                  </a:lnTo>
                  <a:lnTo>
                    <a:pt x="508" y="228"/>
                  </a:lnTo>
                  <a:lnTo>
                    <a:pt x="506" y="226"/>
                  </a:lnTo>
                  <a:lnTo>
                    <a:pt x="504" y="224"/>
                  </a:lnTo>
                  <a:lnTo>
                    <a:pt x="504" y="220"/>
                  </a:lnTo>
                  <a:lnTo>
                    <a:pt x="504" y="217"/>
                  </a:lnTo>
                  <a:lnTo>
                    <a:pt x="504" y="215"/>
                  </a:lnTo>
                  <a:lnTo>
                    <a:pt x="504" y="215"/>
                  </a:lnTo>
                  <a:lnTo>
                    <a:pt x="504" y="213"/>
                  </a:lnTo>
                  <a:lnTo>
                    <a:pt x="502" y="209"/>
                  </a:lnTo>
                  <a:lnTo>
                    <a:pt x="502" y="205"/>
                  </a:lnTo>
                  <a:lnTo>
                    <a:pt x="500" y="201"/>
                  </a:lnTo>
                  <a:lnTo>
                    <a:pt x="500" y="195"/>
                  </a:lnTo>
                  <a:lnTo>
                    <a:pt x="498" y="189"/>
                  </a:lnTo>
                  <a:lnTo>
                    <a:pt x="496" y="177"/>
                  </a:lnTo>
                  <a:lnTo>
                    <a:pt x="494" y="170"/>
                  </a:lnTo>
                  <a:lnTo>
                    <a:pt x="492" y="164"/>
                  </a:lnTo>
                  <a:lnTo>
                    <a:pt x="492" y="158"/>
                  </a:lnTo>
                  <a:lnTo>
                    <a:pt x="489" y="154"/>
                  </a:lnTo>
                  <a:lnTo>
                    <a:pt x="489" y="152"/>
                  </a:lnTo>
                  <a:lnTo>
                    <a:pt x="489" y="150"/>
                  </a:lnTo>
                  <a:lnTo>
                    <a:pt x="489" y="148"/>
                  </a:lnTo>
                  <a:lnTo>
                    <a:pt x="487" y="146"/>
                  </a:lnTo>
                  <a:lnTo>
                    <a:pt x="487" y="146"/>
                  </a:lnTo>
                  <a:lnTo>
                    <a:pt x="487" y="146"/>
                  </a:lnTo>
                  <a:lnTo>
                    <a:pt x="485" y="146"/>
                  </a:lnTo>
                  <a:lnTo>
                    <a:pt x="485" y="144"/>
                  </a:lnTo>
                  <a:lnTo>
                    <a:pt x="483" y="142"/>
                  </a:lnTo>
                  <a:lnTo>
                    <a:pt x="483" y="140"/>
                  </a:lnTo>
                  <a:lnTo>
                    <a:pt x="481" y="140"/>
                  </a:lnTo>
                  <a:lnTo>
                    <a:pt x="481" y="140"/>
                  </a:lnTo>
                  <a:lnTo>
                    <a:pt x="479" y="140"/>
                  </a:lnTo>
                  <a:lnTo>
                    <a:pt x="479" y="140"/>
                  </a:lnTo>
                  <a:lnTo>
                    <a:pt x="479" y="140"/>
                  </a:lnTo>
                  <a:lnTo>
                    <a:pt x="479" y="140"/>
                  </a:lnTo>
                  <a:lnTo>
                    <a:pt x="477" y="142"/>
                  </a:lnTo>
                  <a:lnTo>
                    <a:pt x="477" y="142"/>
                  </a:lnTo>
                  <a:lnTo>
                    <a:pt x="477" y="142"/>
                  </a:lnTo>
                  <a:lnTo>
                    <a:pt x="477" y="142"/>
                  </a:lnTo>
                  <a:lnTo>
                    <a:pt x="477" y="144"/>
                  </a:lnTo>
                  <a:lnTo>
                    <a:pt x="477" y="146"/>
                  </a:lnTo>
                  <a:lnTo>
                    <a:pt x="477" y="146"/>
                  </a:lnTo>
                  <a:lnTo>
                    <a:pt x="477" y="146"/>
                  </a:lnTo>
                  <a:lnTo>
                    <a:pt x="477" y="146"/>
                  </a:lnTo>
                  <a:lnTo>
                    <a:pt x="475" y="148"/>
                  </a:lnTo>
                  <a:lnTo>
                    <a:pt x="475" y="148"/>
                  </a:lnTo>
                  <a:lnTo>
                    <a:pt x="475" y="148"/>
                  </a:lnTo>
                  <a:lnTo>
                    <a:pt x="475" y="148"/>
                  </a:lnTo>
                  <a:lnTo>
                    <a:pt x="473" y="146"/>
                  </a:lnTo>
                  <a:lnTo>
                    <a:pt x="473" y="146"/>
                  </a:lnTo>
                  <a:lnTo>
                    <a:pt x="473" y="144"/>
                  </a:lnTo>
                  <a:lnTo>
                    <a:pt x="473" y="142"/>
                  </a:lnTo>
                  <a:lnTo>
                    <a:pt x="473" y="140"/>
                  </a:lnTo>
                  <a:lnTo>
                    <a:pt x="473" y="140"/>
                  </a:lnTo>
                  <a:lnTo>
                    <a:pt x="473" y="129"/>
                  </a:lnTo>
                  <a:lnTo>
                    <a:pt x="473" y="127"/>
                  </a:lnTo>
                  <a:lnTo>
                    <a:pt x="473" y="127"/>
                  </a:lnTo>
                  <a:lnTo>
                    <a:pt x="473" y="125"/>
                  </a:lnTo>
                  <a:lnTo>
                    <a:pt x="473" y="123"/>
                  </a:lnTo>
                  <a:lnTo>
                    <a:pt x="471" y="123"/>
                  </a:lnTo>
                  <a:lnTo>
                    <a:pt x="469" y="121"/>
                  </a:lnTo>
                  <a:lnTo>
                    <a:pt x="469" y="121"/>
                  </a:lnTo>
                  <a:lnTo>
                    <a:pt x="469" y="119"/>
                  </a:lnTo>
                  <a:lnTo>
                    <a:pt x="469" y="117"/>
                  </a:lnTo>
                  <a:lnTo>
                    <a:pt x="469" y="117"/>
                  </a:lnTo>
                  <a:lnTo>
                    <a:pt x="469" y="115"/>
                  </a:lnTo>
                  <a:lnTo>
                    <a:pt x="467" y="115"/>
                  </a:lnTo>
                  <a:lnTo>
                    <a:pt x="467" y="113"/>
                  </a:lnTo>
                  <a:lnTo>
                    <a:pt x="465" y="111"/>
                  </a:lnTo>
                  <a:lnTo>
                    <a:pt x="465" y="109"/>
                  </a:lnTo>
                  <a:lnTo>
                    <a:pt x="463" y="105"/>
                  </a:lnTo>
                  <a:lnTo>
                    <a:pt x="463" y="103"/>
                  </a:lnTo>
                  <a:lnTo>
                    <a:pt x="463" y="101"/>
                  </a:lnTo>
                  <a:lnTo>
                    <a:pt x="463" y="101"/>
                  </a:lnTo>
                  <a:lnTo>
                    <a:pt x="463" y="101"/>
                  </a:lnTo>
                  <a:lnTo>
                    <a:pt x="461" y="101"/>
                  </a:lnTo>
                  <a:lnTo>
                    <a:pt x="461" y="101"/>
                  </a:lnTo>
                  <a:lnTo>
                    <a:pt x="461" y="103"/>
                  </a:lnTo>
                  <a:lnTo>
                    <a:pt x="459" y="99"/>
                  </a:lnTo>
                  <a:lnTo>
                    <a:pt x="459" y="86"/>
                  </a:lnTo>
                  <a:lnTo>
                    <a:pt x="457" y="84"/>
                  </a:lnTo>
                  <a:lnTo>
                    <a:pt x="459" y="82"/>
                  </a:lnTo>
                  <a:lnTo>
                    <a:pt x="463" y="76"/>
                  </a:lnTo>
                  <a:lnTo>
                    <a:pt x="463" y="74"/>
                  </a:lnTo>
                  <a:lnTo>
                    <a:pt x="461" y="72"/>
                  </a:lnTo>
                  <a:lnTo>
                    <a:pt x="461" y="72"/>
                  </a:lnTo>
                  <a:lnTo>
                    <a:pt x="461" y="68"/>
                  </a:lnTo>
                  <a:lnTo>
                    <a:pt x="459" y="66"/>
                  </a:lnTo>
                  <a:lnTo>
                    <a:pt x="459" y="64"/>
                  </a:lnTo>
                  <a:lnTo>
                    <a:pt x="457" y="64"/>
                  </a:lnTo>
                  <a:lnTo>
                    <a:pt x="457" y="64"/>
                  </a:lnTo>
                  <a:lnTo>
                    <a:pt x="457" y="58"/>
                  </a:lnTo>
                  <a:lnTo>
                    <a:pt x="455" y="58"/>
                  </a:lnTo>
                  <a:lnTo>
                    <a:pt x="455" y="58"/>
                  </a:lnTo>
                  <a:lnTo>
                    <a:pt x="455" y="60"/>
                  </a:lnTo>
                  <a:lnTo>
                    <a:pt x="455" y="62"/>
                  </a:lnTo>
                  <a:lnTo>
                    <a:pt x="455" y="64"/>
                  </a:lnTo>
                  <a:lnTo>
                    <a:pt x="455" y="62"/>
                  </a:lnTo>
                  <a:lnTo>
                    <a:pt x="453" y="60"/>
                  </a:lnTo>
                  <a:lnTo>
                    <a:pt x="453" y="60"/>
                  </a:lnTo>
                  <a:lnTo>
                    <a:pt x="455" y="58"/>
                  </a:lnTo>
                  <a:lnTo>
                    <a:pt x="455" y="56"/>
                  </a:lnTo>
                  <a:lnTo>
                    <a:pt x="453" y="56"/>
                  </a:lnTo>
                  <a:lnTo>
                    <a:pt x="451" y="54"/>
                  </a:lnTo>
                  <a:lnTo>
                    <a:pt x="453" y="51"/>
                  </a:lnTo>
                  <a:lnTo>
                    <a:pt x="453" y="49"/>
                  </a:lnTo>
                  <a:lnTo>
                    <a:pt x="451" y="47"/>
                  </a:lnTo>
                  <a:lnTo>
                    <a:pt x="451" y="47"/>
                  </a:lnTo>
                  <a:lnTo>
                    <a:pt x="449" y="47"/>
                  </a:lnTo>
                  <a:lnTo>
                    <a:pt x="449" y="45"/>
                  </a:lnTo>
                  <a:lnTo>
                    <a:pt x="446" y="43"/>
                  </a:lnTo>
                  <a:lnTo>
                    <a:pt x="446" y="41"/>
                  </a:lnTo>
                  <a:lnTo>
                    <a:pt x="446" y="41"/>
                  </a:lnTo>
                  <a:lnTo>
                    <a:pt x="446" y="41"/>
                  </a:lnTo>
                  <a:lnTo>
                    <a:pt x="446" y="41"/>
                  </a:lnTo>
                  <a:lnTo>
                    <a:pt x="446" y="39"/>
                  </a:lnTo>
                  <a:lnTo>
                    <a:pt x="444" y="39"/>
                  </a:lnTo>
                  <a:lnTo>
                    <a:pt x="446" y="37"/>
                  </a:lnTo>
                  <a:lnTo>
                    <a:pt x="446" y="35"/>
                  </a:lnTo>
                  <a:lnTo>
                    <a:pt x="444" y="33"/>
                  </a:lnTo>
                  <a:lnTo>
                    <a:pt x="444" y="31"/>
                  </a:lnTo>
                  <a:lnTo>
                    <a:pt x="444" y="31"/>
                  </a:lnTo>
                  <a:lnTo>
                    <a:pt x="446" y="31"/>
                  </a:lnTo>
                  <a:lnTo>
                    <a:pt x="446" y="31"/>
                  </a:lnTo>
                  <a:lnTo>
                    <a:pt x="449" y="33"/>
                  </a:lnTo>
                  <a:lnTo>
                    <a:pt x="449" y="33"/>
                  </a:lnTo>
                  <a:lnTo>
                    <a:pt x="449" y="31"/>
                  </a:lnTo>
                  <a:lnTo>
                    <a:pt x="449" y="31"/>
                  </a:lnTo>
                  <a:lnTo>
                    <a:pt x="449" y="29"/>
                  </a:lnTo>
                  <a:lnTo>
                    <a:pt x="446" y="29"/>
                  </a:lnTo>
                  <a:lnTo>
                    <a:pt x="446" y="29"/>
                  </a:lnTo>
                  <a:lnTo>
                    <a:pt x="444" y="27"/>
                  </a:lnTo>
                  <a:lnTo>
                    <a:pt x="444" y="27"/>
                  </a:lnTo>
                  <a:lnTo>
                    <a:pt x="444" y="27"/>
                  </a:lnTo>
                  <a:lnTo>
                    <a:pt x="444" y="25"/>
                  </a:lnTo>
                  <a:lnTo>
                    <a:pt x="446" y="25"/>
                  </a:lnTo>
                  <a:lnTo>
                    <a:pt x="446" y="25"/>
                  </a:lnTo>
                  <a:lnTo>
                    <a:pt x="446" y="25"/>
                  </a:lnTo>
                  <a:lnTo>
                    <a:pt x="446" y="23"/>
                  </a:lnTo>
                  <a:lnTo>
                    <a:pt x="446" y="21"/>
                  </a:lnTo>
                  <a:lnTo>
                    <a:pt x="446" y="21"/>
                  </a:lnTo>
                  <a:lnTo>
                    <a:pt x="444" y="19"/>
                  </a:lnTo>
                  <a:lnTo>
                    <a:pt x="444" y="19"/>
                  </a:lnTo>
                  <a:lnTo>
                    <a:pt x="444" y="17"/>
                  </a:lnTo>
                  <a:lnTo>
                    <a:pt x="444" y="15"/>
                  </a:lnTo>
                  <a:lnTo>
                    <a:pt x="444" y="11"/>
                  </a:lnTo>
                  <a:lnTo>
                    <a:pt x="442" y="8"/>
                  </a:lnTo>
                  <a:lnTo>
                    <a:pt x="442" y="6"/>
                  </a:lnTo>
                  <a:lnTo>
                    <a:pt x="442" y="6"/>
                  </a:lnTo>
                  <a:lnTo>
                    <a:pt x="444" y="6"/>
                  </a:lnTo>
                  <a:lnTo>
                    <a:pt x="444" y="6"/>
                  </a:lnTo>
                  <a:lnTo>
                    <a:pt x="444" y="4"/>
                  </a:lnTo>
                  <a:lnTo>
                    <a:pt x="444" y="4"/>
                  </a:lnTo>
                  <a:lnTo>
                    <a:pt x="444" y="2"/>
                  </a:lnTo>
                  <a:lnTo>
                    <a:pt x="442" y="0"/>
                  </a:lnTo>
                  <a:lnTo>
                    <a:pt x="442" y="0"/>
                  </a:lnTo>
                  <a:lnTo>
                    <a:pt x="440" y="0"/>
                  </a:lnTo>
                  <a:lnTo>
                    <a:pt x="432" y="2"/>
                  </a:lnTo>
                  <a:lnTo>
                    <a:pt x="424" y="4"/>
                  </a:lnTo>
                  <a:lnTo>
                    <a:pt x="418" y="6"/>
                  </a:lnTo>
                  <a:lnTo>
                    <a:pt x="410" y="8"/>
                  </a:lnTo>
                  <a:lnTo>
                    <a:pt x="401" y="11"/>
                  </a:lnTo>
                  <a:lnTo>
                    <a:pt x="393" y="13"/>
                  </a:lnTo>
                  <a:lnTo>
                    <a:pt x="387" y="15"/>
                  </a:lnTo>
                  <a:lnTo>
                    <a:pt x="379" y="17"/>
                  </a:lnTo>
                  <a:lnTo>
                    <a:pt x="371" y="19"/>
                  </a:lnTo>
                  <a:lnTo>
                    <a:pt x="362" y="21"/>
                  </a:lnTo>
                  <a:lnTo>
                    <a:pt x="356" y="21"/>
                  </a:lnTo>
                  <a:lnTo>
                    <a:pt x="348" y="23"/>
                  </a:lnTo>
                  <a:lnTo>
                    <a:pt x="340" y="25"/>
                  </a:lnTo>
                  <a:lnTo>
                    <a:pt x="340" y="25"/>
                  </a:lnTo>
                  <a:lnTo>
                    <a:pt x="338" y="27"/>
                  </a:lnTo>
                  <a:lnTo>
                    <a:pt x="328" y="27"/>
                  </a:lnTo>
                  <a:lnTo>
                    <a:pt x="326" y="27"/>
                  </a:lnTo>
                  <a:lnTo>
                    <a:pt x="324" y="29"/>
                  </a:lnTo>
                  <a:lnTo>
                    <a:pt x="322" y="31"/>
                  </a:lnTo>
                  <a:lnTo>
                    <a:pt x="317" y="33"/>
                  </a:lnTo>
                  <a:lnTo>
                    <a:pt x="317" y="35"/>
                  </a:lnTo>
                  <a:lnTo>
                    <a:pt x="313" y="37"/>
                  </a:lnTo>
                  <a:lnTo>
                    <a:pt x="313" y="39"/>
                  </a:lnTo>
                  <a:lnTo>
                    <a:pt x="309" y="41"/>
                  </a:lnTo>
                  <a:lnTo>
                    <a:pt x="299" y="49"/>
                  </a:lnTo>
                  <a:lnTo>
                    <a:pt x="295" y="56"/>
                  </a:lnTo>
                  <a:lnTo>
                    <a:pt x="289" y="66"/>
                  </a:lnTo>
                  <a:lnTo>
                    <a:pt x="281" y="76"/>
                  </a:lnTo>
                  <a:lnTo>
                    <a:pt x="272" y="86"/>
                  </a:lnTo>
                  <a:lnTo>
                    <a:pt x="270" y="92"/>
                  </a:lnTo>
                  <a:lnTo>
                    <a:pt x="268" y="97"/>
                  </a:lnTo>
                  <a:lnTo>
                    <a:pt x="268" y="97"/>
                  </a:lnTo>
                  <a:lnTo>
                    <a:pt x="268" y="97"/>
                  </a:lnTo>
                  <a:lnTo>
                    <a:pt x="268" y="97"/>
                  </a:lnTo>
                  <a:lnTo>
                    <a:pt x="270" y="99"/>
                  </a:lnTo>
                  <a:lnTo>
                    <a:pt x="270" y="101"/>
                  </a:lnTo>
                  <a:lnTo>
                    <a:pt x="270" y="103"/>
                  </a:lnTo>
                  <a:lnTo>
                    <a:pt x="266" y="107"/>
                  </a:lnTo>
                  <a:lnTo>
                    <a:pt x="266" y="107"/>
                  </a:lnTo>
                  <a:lnTo>
                    <a:pt x="266" y="107"/>
                  </a:lnTo>
                  <a:lnTo>
                    <a:pt x="266" y="109"/>
                  </a:lnTo>
                  <a:lnTo>
                    <a:pt x="266" y="109"/>
                  </a:lnTo>
                  <a:lnTo>
                    <a:pt x="264" y="109"/>
                  </a:lnTo>
                  <a:lnTo>
                    <a:pt x="262" y="111"/>
                  </a:lnTo>
                  <a:lnTo>
                    <a:pt x="260" y="113"/>
                  </a:lnTo>
                  <a:lnTo>
                    <a:pt x="260" y="113"/>
                  </a:lnTo>
                  <a:lnTo>
                    <a:pt x="252" y="123"/>
                  </a:lnTo>
                  <a:lnTo>
                    <a:pt x="244" y="131"/>
                  </a:lnTo>
                  <a:lnTo>
                    <a:pt x="231" y="144"/>
                  </a:lnTo>
                  <a:lnTo>
                    <a:pt x="231" y="144"/>
                  </a:lnTo>
                  <a:lnTo>
                    <a:pt x="231" y="148"/>
                  </a:lnTo>
                  <a:lnTo>
                    <a:pt x="233" y="148"/>
                  </a:lnTo>
                  <a:lnTo>
                    <a:pt x="236" y="148"/>
                  </a:lnTo>
                  <a:lnTo>
                    <a:pt x="236" y="148"/>
                  </a:lnTo>
                  <a:lnTo>
                    <a:pt x="238" y="150"/>
                  </a:lnTo>
                  <a:lnTo>
                    <a:pt x="238" y="150"/>
                  </a:lnTo>
                  <a:lnTo>
                    <a:pt x="238" y="152"/>
                  </a:lnTo>
                  <a:lnTo>
                    <a:pt x="238" y="152"/>
                  </a:lnTo>
                  <a:lnTo>
                    <a:pt x="238" y="152"/>
                  </a:lnTo>
                  <a:lnTo>
                    <a:pt x="240" y="152"/>
                  </a:lnTo>
                  <a:lnTo>
                    <a:pt x="240" y="152"/>
                  </a:lnTo>
                  <a:lnTo>
                    <a:pt x="240" y="150"/>
                  </a:lnTo>
                  <a:lnTo>
                    <a:pt x="240" y="148"/>
                  </a:lnTo>
                  <a:lnTo>
                    <a:pt x="244" y="146"/>
                  </a:lnTo>
                  <a:lnTo>
                    <a:pt x="246" y="146"/>
                  </a:lnTo>
                  <a:lnTo>
                    <a:pt x="248" y="146"/>
                  </a:lnTo>
                  <a:lnTo>
                    <a:pt x="250" y="146"/>
                  </a:lnTo>
                  <a:lnTo>
                    <a:pt x="250" y="148"/>
                  </a:lnTo>
                  <a:lnTo>
                    <a:pt x="250" y="148"/>
                  </a:lnTo>
                  <a:lnTo>
                    <a:pt x="250" y="148"/>
                  </a:lnTo>
                  <a:lnTo>
                    <a:pt x="250" y="148"/>
                  </a:lnTo>
                  <a:lnTo>
                    <a:pt x="250" y="148"/>
                  </a:lnTo>
                  <a:lnTo>
                    <a:pt x="250" y="148"/>
                  </a:lnTo>
                  <a:lnTo>
                    <a:pt x="252" y="146"/>
                  </a:lnTo>
                  <a:lnTo>
                    <a:pt x="252" y="148"/>
                  </a:lnTo>
                  <a:lnTo>
                    <a:pt x="250" y="150"/>
                  </a:lnTo>
                  <a:lnTo>
                    <a:pt x="250" y="152"/>
                  </a:lnTo>
                  <a:lnTo>
                    <a:pt x="248" y="152"/>
                  </a:lnTo>
                  <a:lnTo>
                    <a:pt x="246" y="154"/>
                  </a:lnTo>
                  <a:lnTo>
                    <a:pt x="246" y="156"/>
                  </a:lnTo>
                  <a:lnTo>
                    <a:pt x="246" y="156"/>
                  </a:lnTo>
                  <a:lnTo>
                    <a:pt x="252" y="154"/>
                  </a:lnTo>
                  <a:lnTo>
                    <a:pt x="254" y="154"/>
                  </a:lnTo>
                  <a:lnTo>
                    <a:pt x="254" y="152"/>
                  </a:lnTo>
                  <a:lnTo>
                    <a:pt x="256" y="150"/>
                  </a:lnTo>
                  <a:lnTo>
                    <a:pt x="258" y="150"/>
                  </a:lnTo>
                  <a:lnTo>
                    <a:pt x="258" y="152"/>
                  </a:lnTo>
                  <a:lnTo>
                    <a:pt x="258" y="152"/>
                  </a:lnTo>
                  <a:lnTo>
                    <a:pt x="258" y="154"/>
                  </a:lnTo>
                  <a:lnTo>
                    <a:pt x="256" y="156"/>
                  </a:lnTo>
                  <a:lnTo>
                    <a:pt x="254" y="156"/>
                  </a:lnTo>
                  <a:lnTo>
                    <a:pt x="254" y="158"/>
                  </a:lnTo>
                  <a:lnTo>
                    <a:pt x="252" y="158"/>
                  </a:lnTo>
                  <a:lnTo>
                    <a:pt x="254" y="160"/>
                  </a:lnTo>
                  <a:lnTo>
                    <a:pt x="254" y="162"/>
                  </a:lnTo>
                  <a:lnTo>
                    <a:pt x="252" y="164"/>
                  </a:lnTo>
                  <a:lnTo>
                    <a:pt x="250" y="166"/>
                  </a:lnTo>
                  <a:lnTo>
                    <a:pt x="248" y="168"/>
                  </a:lnTo>
                  <a:lnTo>
                    <a:pt x="246" y="168"/>
                  </a:lnTo>
                  <a:lnTo>
                    <a:pt x="246" y="166"/>
                  </a:lnTo>
                  <a:lnTo>
                    <a:pt x="248" y="164"/>
                  </a:lnTo>
                  <a:lnTo>
                    <a:pt x="244" y="166"/>
                  </a:lnTo>
                  <a:lnTo>
                    <a:pt x="242" y="168"/>
                  </a:lnTo>
                  <a:lnTo>
                    <a:pt x="242" y="170"/>
                  </a:lnTo>
                  <a:lnTo>
                    <a:pt x="242" y="170"/>
                  </a:lnTo>
                  <a:lnTo>
                    <a:pt x="244" y="170"/>
                  </a:lnTo>
                  <a:lnTo>
                    <a:pt x="246" y="172"/>
                  </a:lnTo>
                  <a:lnTo>
                    <a:pt x="246" y="172"/>
                  </a:lnTo>
                  <a:lnTo>
                    <a:pt x="248" y="172"/>
                  </a:lnTo>
                  <a:lnTo>
                    <a:pt x="248" y="172"/>
                  </a:lnTo>
                  <a:lnTo>
                    <a:pt x="248" y="174"/>
                  </a:lnTo>
                  <a:lnTo>
                    <a:pt x="248" y="174"/>
                  </a:lnTo>
                  <a:lnTo>
                    <a:pt x="248" y="174"/>
                  </a:lnTo>
                  <a:lnTo>
                    <a:pt x="250" y="177"/>
                  </a:lnTo>
                  <a:lnTo>
                    <a:pt x="252" y="181"/>
                  </a:lnTo>
                  <a:lnTo>
                    <a:pt x="252" y="181"/>
                  </a:lnTo>
                  <a:lnTo>
                    <a:pt x="252" y="183"/>
                  </a:lnTo>
                  <a:lnTo>
                    <a:pt x="252" y="185"/>
                  </a:lnTo>
                  <a:lnTo>
                    <a:pt x="254" y="189"/>
                  </a:lnTo>
                  <a:lnTo>
                    <a:pt x="254" y="191"/>
                  </a:lnTo>
                  <a:lnTo>
                    <a:pt x="254" y="189"/>
                  </a:lnTo>
                  <a:lnTo>
                    <a:pt x="254" y="187"/>
                  </a:lnTo>
                  <a:lnTo>
                    <a:pt x="256" y="187"/>
                  </a:lnTo>
                  <a:lnTo>
                    <a:pt x="256" y="187"/>
                  </a:lnTo>
                  <a:lnTo>
                    <a:pt x="254" y="193"/>
                  </a:lnTo>
                  <a:lnTo>
                    <a:pt x="254" y="195"/>
                  </a:lnTo>
                  <a:lnTo>
                    <a:pt x="258" y="197"/>
                  </a:lnTo>
                  <a:lnTo>
                    <a:pt x="256" y="197"/>
                  </a:lnTo>
                  <a:lnTo>
                    <a:pt x="254" y="203"/>
                  </a:lnTo>
                  <a:lnTo>
                    <a:pt x="252" y="203"/>
                  </a:lnTo>
                  <a:lnTo>
                    <a:pt x="248" y="205"/>
                  </a:lnTo>
                  <a:lnTo>
                    <a:pt x="246" y="205"/>
                  </a:lnTo>
                  <a:lnTo>
                    <a:pt x="242" y="205"/>
                  </a:lnTo>
                  <a:lnTo>
                    <a:pt x="240" y="205"/>
                  </a:lnTo>
                  <a:lnTo>
                    <a:pt x="238" y="211"/>
                  </a:lnTo>
                  <a:lnTo>
                    <a:pt x="236" y="211"/>
                  </a:lnTo>
                  <a:lnTo>
                    <a:pt x="227" y="217"/>
                  </a:lnTo>
                  <a:lnTo>
                    <a:pt x="225" y="220"/>
                  </a:lnTo>
                  <a:lnTo>
                    <a:pt x="223" y="224"/>
                  </a:lnTo>
                  <a:lnTo>
                    <a:pt x="221" y="230"/>
                  </a:lnTo>
                  <a:lnTo>
                    <a:pt x="219" y="230"/>
                  </a:lnTo>
                  <a:lnTo>
                    <a:pt x="217" y="230"/>
                  </a:lnTo>
                  <a:lnTo>
                    <a:pt x="217" y="232"/>
                  </a:lnTo>
                  <a:lnTo>
                    <a:pt x="217" y="232"/>
                  </a:lnTo>
                  <a:lnTo>
                    <a:pt x="213" y="234"/>
                  </a:lnTo>
                  <a:lnTo>
                    <a:pt x="205" y="238"/>
                  </a:lnTo>
                  <a:lnTo>
                    <a:pt x="205" y="238"/>
                  </a:lnTo>
                  <a:lnTo>
                    <a:pt x="205" y="240"/>
                  </a:lnTo>
                  <a:lnTo>
                    <a:pt x="205" y="240"/>
                  </a:lnTo>
                  <a:lnTo>
                    <a:pt x="205" y="240"/>
                  </a:lnTo>
                  <a:lnTo>
                    <a:pt x="205" y="242"/>
                  </a:lnTo>
                  <a:lnTo>
                    <a:pt x="205" y="242"/>
                  </a:lnTo>
                  <a:lnTo>
                    <a:pt x="205" y="242"/>
                  </a:lnTo>
                  <a:lnTo>
                    <a:pt x="205" y="242"/>
                  </a:lnTo>
                  <a:lnTo>
                    <a:pt x="205" y="244"/>
                  </a:lnTo>
                  <a:lnTo>
                    <a:pt x="203" y="244"/>
                  </a:lnTo>
                  <a:lnTo>
                    <a:pt x="203" y="244"/>
                  </a:lnTo>
                  <a:lnTo>
                    <a:pt x="201" y="242"/>
                  </a:lnTo>
                  <a:lnTo>
                    <a:pt x="201" y="242"/>
                  </a:lnTo>
                  <a:lnTo>
                    <a:pt x="201" y="242"/>
                  </a:lnTo>
                  <a:lnTo>
                    <a:pt x="201" y="240"/>
                  </a:lnTo>
                  <a:lnTo>
                    <a:pt x="170" y="246"/>
                  </a:lnTo>
                  <a:lnTo>
                    <a:pt x="168" y="248"/>
                  </a:lnTo>
                  <a:lnTo>
                    <a:pt x="158" y="252"/>
                  </a:lnTo>
                  <a:lnTo>
                    <a:pt x="154" y="254"/>
                  </a:lnTo>
                  <a:lnTo>
                    <a:pt x="152" y="252"/>
                  </a:lnTo>
                  <a:lnTo>
                    <a:pt x="143" y="248"/>
                  </a:lnTo>
                  <a:lnTo>
                    <a:pt x="143" y="248"/>
                  </a:lnTo>
                  <a:lnTo>
                    <a:pt x="141" y="248"/>
                  </a:lnTo>
                  <a:lnTo>
                    <a:pt x="141" y="248"/>
                  </a:lnTo>
                  <a:lnTo>
                    <a:pt x="139" y="246"/>
                  </a:lnTo>
                  <a:lnTo>
                    <a:pt x="111" y="248"/>
                  </a:lnTo>
                  <a:lnTo>
                    <a:pt x="100" y="250"/>
                  </a:lnTo>
                  <a:lnTo>
                    <a:pt x="88" y="252"/>
                  </a:lnTo>
                  <a:lnTo>
                    <a:pt x="66" y="261"/>
                  </a:lnTo>
                  <a:lnTo>
                    <a:pt x="59" y="265"/>
                  </a:lnTo>
                  <a:lnTo>
                    <a:pt x="51" y="267"/>
                  </a:lnTo>
                  <a:lnTo>
                    <a:pt x="43" y="273"/>
                  </a:lnTo>
                  <a:lnTo>
                    <a:pt x="37" y="275"/>
                  </a:lnTo>
                  <a:lnTo>
                    <a:pt x="39" y="277"/>
                  </a:lnTo>
                  <a:lnTo>
                    <a:pt x="41" y="285"/>
                  </a:lnTo>
                  <a:lnTo>
                    <a:pt x="41" y="287"/>
                  </a:lnTo>
                  <a:lnTo>
                    <a:pt x="41" y="287"/>
                  </a:lnTo>
                  <a:lnTo>
                    <a:pt x="41" y="289"/>
                  </a:lnTo>
                  <a:lnTo>
                    <a:pt x="39" y="289"/>
                  </a:lnTo>
                  <a:lnTo>
                    <a:pt x="39" y="291"/>
                  </a:lnTo>
                  <a:lnTo>
                    <a:pt x="41" y="293"/>
                  </a:lnTo>
                  <a:lnTo>
                    <a:pt x="41" y="293"/>
                  </a:lnTo>
                  <a:lnTo>
                    <a:pt x="43" y="293"/>
                  </a:lnTo>
                  <a:lnTo>
                    <a:pt x="53" y="293"/>
                  </a:lnTo>
                  <a:lnTo>
                    <a:pt x="55" y="295"/>
                  </a:lnTo>
                  <a:lnTo>
                    <a:pt x="55" y="297"/>
                  </a:lnTo>
                  <a:lnTo>
                    <a:pt x="53" y="302"/>
                  </a:lnTo>
                  <a:lnTo>
                    <a:pt x="53" y="304"/>
                  </a:lnTo>
                  <a:lnTo>
                    <a:pt x="53" y="304"/>
                  </a:lnTo>
                  <a:lnTo>
                    <a:pt x="55" y="306"/>
                  </a:lnTo>
                  <a:lnTo>
                    <a:pt x="55" y="306"/>
                  </a:lnTo>
                  <a:lnTo>
                    <a:pt x="57" y="310"/>
                  </a:lnTo>
                  <a:lnTo>
                    <a:pt x="57" y="312"/>
                  </a:lnTo>
                  <a:lnTo>
                    <a:pt x="59" y="314"/>
                  </a:lnTo>
                  <a:lnTo>
                    <a:pt x="61" y="316"/>
                  </a:lnTo>
                  <a:lnTo>
                    <a:pt x="61" y="316"/>
                  </a:lnTo>
                  <a:lnTo>
                    <a:pt x="61" y="318"/>
                  </a:lnTo>
                  <a:lnTo>
                    <a:pt x="61" y="322"/>
                  </a:lnTo>
                  <a:lnTo>
                    <a:pt x="61" y="324"/>
                  </a:lnTo>
                  <a:lnTo>
                    <a:pt x="59" y="324"/>
                  </a:lnTo>
                  <a:lnTo>
                    <a:pt x="59" y="326"/>
                  </a:lnTo>
                  <a:lnTo>
                    <a:pt x="53" y="330"/>
                  </a:lnTo>
                  <a:lnTo>
                    <a:pt x="51" y="332"/>
                  </a:lnTo>
                  <a:lnTo>
                    <a:pt x="49" y="336"/>
                  </a:lnTo>
                  <a:lnTo>
                    <a:pt x="47" y="340"/>
                  </a:lnTo>
                  <a:lnTo>
                    <a:pt x="47" y="342"/>
                  </a:lnTo>
                  <a:lnTo>
                    <a:pt x="45" y="342"/>
                  </a:lnTo>
                  <a:lnTo>
                    <a:pt x="45" y="342"/>
                  </a:lnTo>
                  <a:lnTo>
                    <a:pt x="45" y="347"/>
                  </a:lnTo>
                  <a:lnTo>
                    <a:pt x="43" y="349"/>
                  </a:lnTo>
                  <a:lnTo>
                    <a:pt x="43" y="349"/>
                  </a:lnTo>
                  <a:lnTo>
                    <a:pt x="43" y="349"/>
                  </a:lnTo>
                  <a:lnTo>
                    <a:pt x="37" y="353"/>
                  </a:lnTo>
                  <a:lnTo>
                    <a:pt x="37" y="355"/>
                  </a:lnTo>
                  <a:lnTo>
                    <a:pt x="33" y="359"/>
                  </a:lnTo>
                  <a:lnTo>
                    <a:pt x="29" y="361"/>
                  </a:lnTo>
                  <a:lnTo>
                    <a:pt x="29" y="361"/>
                  </a:lnTo>
                  <a:lnTo>
                    <a:pt x="27" y="361"/>
                  </a:lnTo>
                  <a:lnTo>
                    <a:pt x="27" y="363"/>
                  </a:lnTo>
                  <a:lnTo>
                    <a:pt x="27" y="363"/>
                  </a:lnTo>
                  <a:lnTo>
                    <a:pt x="25" y="365"/>
                  </a:lnTo>
                  <a:lnTo>
                    <a:pt x="20" y="371"/>
                  </a:lnTo>
                  <a:lnTo>
                    <a:pt x="18" y="375"/>
                  </a:lnTo>
                  <a:lnTo>
                    <a:pt x="16" y="375"/>
                  </a:lnTo>
                  <a:lnTo>
                    <a:pt x="14" y="377"/>
                  </a:lnTo>
                  <a:lnTo>
                    <a:pt x="10" y="381"/>
                  </a:lnTo>
                  <a:lnTo>
                    <a:pt x="4" y="386"/>
                  </a:lnTo>
                  <a:lnTo>
                    <a:pt x="2" y="388"/>
                  </a:lnTo>
                  <a:lnTo>
                    <a:pt x="2" y="390"/>
                  </a:lnTo>
                  <a:lnTo>
                    <a:pt x="0" y="390"/>
                  </a:lnTo>
                  <a:lnTo>
                    <a:pt x="0" y="390"/>
                  </a:lnTo>
                  <a:lnTo>
                    <a:pt x="2" y="394"/>
                  </a:lnTo>
                  <a:lnTo>
                    <a:pt x="2" y="396"/>
                  </a:lnTo>
                  <a:lnTo>
                    <a:pt x="2" y="400"/>
                  </a:lnTo>
                  <a:lnTo>
                    <a:pt x="2" y="402"/>
                  </a:lnTo>
                  <a:lnTo>
                    <a:pt x="4" y="406"/>
                  </a:lnTo>
                  <a:lnTo>
                    <a:pt x="4" y="408"/>
                  </a:lnTo>
                  <a:lnTo>
                    <a:pt x="4" y="412"/>
                  </a:lnTo>
                  <a:lnTo>
                    <a:pt x="6" y="414"/>
                  </a:lnTo>
                  <a:lnTo>
                    <a:pt x="6" y="418"/>
                  </a:lnTo>
                  <a:lnTo>
                    <a:pt x="8" y="418"/>
                  </a:lnTo>
                  <a:lnTo>
                    <a:pt x="20" y="416"/>
                  </a:lnTo>
                  <a:lnTo>
                    <a:pt x="31" y="414"/>
                  </a:lnTo>
                  <a:lnTo>
                    <a:pt x="41" y="412"/>
                  </a:lnTo>
                  <a:lnTo>
                    <a:pt x="53" y="410"/>
                  </a:lnTo>
                  <a:lnTo>
                    <a:pt x="63" y="408"/>
                  </a:lnTo>
                  <a:lnTo>
                    <a:pt x="74" y="406"/>
                  </a:lnTo>
                  <a:lnTo>
                    <a:pt x="86" y="404"/>
                  </a:lnTo>
                  <a:lnTo>
                    <a:pt x="96" y="400"/>
                  </a:lnTo>
                  <a:lnTo>
                    <a:pt x="106" y="398"/>
                  </a:lnTo>
                  <a:lnTo>
                    <a:pt x="119" y="396"/>
                  </a:lnTo>
                  <a:lnTo>
                    <a:pt x="129" y="394"/>
                  </a:lnTo>
                  <a:lnTo>
                    <a:pt x="139" y="392"/>
                  </a:lnTo>
                  <a:lnTo>
                    <a:pt x="152" y="390"/>
                  </a:lnTo>
                  <a:lnTo>
                    <a:pt x="162" y="388"/>
                  </a:lnTo>
                  <a:lnTo>
                    <a:pt x="172" y="386"/>
                  </a:lnTo>
                  <a:lnTo>
                    <a:pt x="184" y="383"/>
                  </a:lnTo>
                  <a:lnTo>
                    <a:pt x="195" y="381"/>
                  </a:lnTo>
                  <a:lnTo>
                    <a:pt x="205" y="379"/>
                  </a:lnTo>
                  <a:lnTo>
                    <a:pt x="217" y="377"/>
                  </a:lnTo>
                  <a:lnTo>
                    <a:pt x="227" y="375"/>
                  </a:lnTo>
                  <a:lnTo>
                    <a:pt x="238" y="371"/>
                  </a:lnTo>
                  <a:lnTo>
                    <a:pt x="250" y="369"/>
                  </a:lnTo>
                  <a:lnTo>
                    <a:pt x="260" y="367"/>
                  </a:lnTo>
                  <a:lnTo>
                    <a:pt x="270" y="365"/>
                  </a:lnTo>
                  <a:lnTo>
                    <a:pt x="283" y="363"/>
                  </a:lnTo>
                  <a:lnTo>
                    <a:pt x="293" y="361"/>
                  </a:lnTo>
                  <a:lnTo>
                    <a:pt x="303" y="359"/>
                  </a:lnTo>
                  <a:lnTo>
                    <a:pt x="315" y="355"/>
                  </a:lnTo>
                  <a:lnTo>
                    <a:pt x="326" y="353"/>
                  </a:lnTo>
                  <a:lnTo>
                    <a:pt x="336" y="351"/>
                  </a:lnTo>
                  <a:lnTo>
                    <a:pt x="348" y="349"/>
                  </a:lnTo>
                  <a:lnTo>
                    <a:pt x="358" y="347"/>
                  </a:lnTo>
                  <a:lnTo>
                    <a:pt x="360" y="345"/>
                  </a:lnTo>
                  <a:lnTo>
                    <a:pt x="360" y="345"/>
                  </a:lnTo>
                  <a:lnTo>
                    <a:pt x="360" y="347"/>
                  </a:lnTo>
                  <a:lnTo>
                    <a:pt x="362" y="349"/>
                  </a:lnTo>
                  <a:lnTo>
                    <a:pt x="367" y="349"/>
                  </a:lnTo>
                  <a:lnTo>
                    <a:pt x="369" y="349"/>
                  </a:lnTo>
                  <a:lnTo>
                    <a:pt x="369" y="351"/>
                  </a:lnTo>
                  <a:lnTo>
                    <a:pt x="371" y="353"/>
                  </a:lnTo>
                  <a:lnTo>
                    <a:pt x="371" y="355"/>
                  </a:lnTo>
                  <a:lnTo>
                    <a:pt x="373" y="357"/>
                  </a:lnTo>
                  <a:lnTo>
                    <a:pt x="377" y="355"/>
                  </a:lnTo>
                  <a:lnTo>
                    <a:pt x="377" y="355"/>
                  </a:lnTo>
                  <a:lnTo>
                    <a:pt x="379" y="355"/>
                  </a:lnTo>
                  <a:lnTo>
                    <a:pt x="383" y="357"/>
                  </a:lnTo>
                  <a:lnTo>
                    <a:pt x="383" y="357"/>
                  </a:lnTo>
                  <a:lnTo>
                    <a:pt x="385" y="357"/>
                  </a:lnTo>
                  <a:lnTo>
                    <a:pt x="385" y="359"/>
                  </a:lnTo>
                  <a:lnTo>
                    <a:pt x="385" y="359"/>
                  </a:lnTo>
                  <a:lnTo>
                    <a:pt x="385" y="361"/>
                  </a:lnTo>
                  <a:lnTo>
                    <a:pt x="385" y="363"/>
                  </a:lnTo>
                  <a:lnTo>
                    <a:pt x="387" y="363"/>
                  </a:lnTo>
                  <a:lnTo>
                    <a:pt x="389" y="363"/>
                  </a:lnTo>
                  <a:lnTo>
                    <a:pt x="389" y="365"/>
                  </a:lnTo>
                  <a:lnTo>
                    <a:pt x="389" y="367"/>
                  </a:lnTo>
                  <a:lnTo>
                    <a:pt x="389" y="367"/>
                  </a:lnTo>
                  <a:lnTo>
                    <a:pt x="389" y="369"/>
                  </a:lnTo>
                  <a:lnTo>
                    <a:pt x="391" y="371"/>
                  </a:lnTo>
                  <a:lnTo>
                    <a:pt x="391" y="375"/>
                  </a:lnTo>
                  <a:lnTo>
                    <a:pt x="391" y="379"/>
                  </a:lnTo>
                  <a:lnTo>
                    <a:pt x="393" y="381"/>
                  </a:lnTo>
                  <a:lnTo>
                    <a:pt x="393" y="381"/>
                  </a:lnTo>
                  <a:lnTo>
                    <a:pt x="399" y="390"/>
                  </a:lnTo>
                  <a:lnTo>
                    <a:pt x="401" y="390"/>
                  </a:lnTo>
                  <a:lnTo>
                    <a:pt x="403" y="392"/>
                  </a:lnTo>
                  <a:lnTo>
                    <a:pt x="405" y="392"/>
                  </a:lnTo>
                  <a:lnTo>
                    <a:pt x="408" y="392"/>
                  </a:lnTo>
                  <a:lnTo>
                    <a:pt x="410" y="394"/>
                  </a:lnTo>
                  <a:lnTo>
                    <a:pt x="410" y="394"/>
                  </a:lnTo>
                  <a:lnTo>
                    <a:pt x="412" y="394"/>
                  </a:lnTo>
                  <a:lnTo>
                    <a:pt x="416" y="392"/>
                  </a:lnTo>
                  <a:lnTo>
                    <a:pt x="418" y="394"/>
                  </a:lnTo>
                  <a:lnTo>
                    <a:pt x="420" y="394"/>
                  </a:lnTo>
                  <a:lnTo>
                    <a:pt x="420" y="394"/>
                  </a:lnTo>
                  <a:lnTo>
                    <a:pt x="420" y="394"/>
                  </a:lnTo>
                  <a:lnTo>
                    <a:pt x="422" y="392"/>
                  </a:lnTo>
                  <a:lnTo>
                    <a:pt x="422" y="394"/>
                  </a:lnTo>
                  <a:lnTo>
                    <a:pt x="422" y="394"/>
                  </a:lnTo>
                  <a:lnTo>
                    <a:pt x="424" y="396"/>
                  </a:lnTo>
                  <a:lnTo>
                    <a:pt x="424" y="396"/>
                  </a:lnTo>
                  <a:lnTo>
                    <a:pt x="426" y="398"/>
                  </a:lnTo>
                  <a:lnTo>
                    <a:pt x="428" y="400"/>
                  </a:lnTo>
                  <a:lnTo>
                    <a:pt x="436" y="402"/>
                  </a:lnTo>
                  <a:lnTo>
                    <a:pt x="444" y="406"/>
                  </a:lnTo>
                  <a:lnTo>
                    <a:pt x="455" y="408"/>
                  </a:lnTo>
                  <a:lnTo>
                    <a:pt x="463" y="412"/>
                  </a:lnTo>
                  <a:lnTo>
                    <a:pt x="473" y="414"/>
                  </a:lnTo>
                  <a:lnTo>
                    <a:pt x="481" y="416"/>
                  </a:lnTo>
                  <a:lnTo>
                    <a:pt x="492" y="420"/>
                  </a:lnTo>
                  <a:lnTo>
                    <a:pt x="500" y="422"/>
                  </a:lnTo>
                  <a:close/>
                  <a:moveTo>
                    <a:pt x="45" y="302"/>
                  </a:moveTo>
                  <a:lnTo>
                    <a:pt x="47" y="302"/>
                  </a:lnTo>
                  <a:lnTo>
                    <a:pt x="47" y="304"/>
                  </a:lnTo>
                  <a:lnTo>
                    <a:pt x="49" y="304"/>
                  </a:lnTo>
                  <a:lnTo>
                    <a:pt x="51" y="304"/>
                  </a:lnTo>
                  <a:lnTo>
                    <a:pt x="53" y="297"/>
                  </a:lnTo>
                  <a:lnTo>
                    <a:pt x="53" y="295"/>
                  </a:lnTo>
                  <a:lnTo>
                    <a:pt x="53" y="295"/>
                  </a:lnTo>
                  <a:lnTo>
                    <a:pt x="51" y="295"/>
                  </a:lnTo>
                  <a:lnTo>
                    <a:pt x="49" y="295"/>
                  </a:lnTo>
                  <a:lnTo>
                    <a:pt x="47" y="295"/>
                  </a:lnTo>
                  <a:lnTo>
                    <a:pt x="47" y="295"/>
                  </a:lnTo>
                  <a:lnTo>
                    <a:pt x="45" y="295"/>
                  </a:lnTo>
                  <a:lnTo>
                    <a:pt x="45" y="297"/>
                  </a:lnTo>
                  <a:lnTo>
                    <a:pt x="45" y="302"/>
                  </a:lnTo>
                  <a:lnTo>
                    <a:pt x="45" y="302"/>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Y</a:t>
              </a:r>
            </a:p>
          </p:txBody>
        </p:sp>
        <p:sp>
          <p:nvSpPr>
            <p:cNvPr id="314" name="Freeform 24">
              <a:extLst>
                <a:ext uri="{FF2B5EF4-FFF2-40B4-BE49-F238E27FC236}">
                  <a16:creationId xmlns:a16="http://schemas.microsoft.com/office/drawing/2014/main" id="{BF18A461-1402-A453-B3F5-687B61AE3A5C}"/>
                </a:ext>
              </a:extLst>
            </p:cNvPr>
            <p:cNvSpPr>
              <a:spLocks noEditPoints="1"/>
            </p:cNvSpPr>
            <p:nvPr/>
          </p:nvSpPr>
          <p:spPr bwMode="auto">
            <a:xfrm>
              <a:off x="4767" y="740"/>
              <a:ext cx="117" cy="258"/>
            </a:xfrm>
            <a:custGeom>
              <a:avLst/>
              <a:gdLst>
                <a:gd name="T0" fmla="*/ 99 w 117"/>
                <a:gd name="T1" fmla="*/ 197 h 258"/>
                <a:gd name="T2" fmla="*/ 105 w 117"/>
                <a:gd name="T3" fmla="*/ 190 h 258"/>
                <a:gd name="T4" fmla="*/ 115 w 117"/>
                <a:gd name="T5" fmla="*/ 156 h 258"/>
                <a:gd name="T6" fmla="*/ 109 w 117"/>
                <a:gd name="T7" fmla="*/ 182 h 258"/>
                <a:gd name="T8" fmla="*/ 115 w 117"/>
                <a:gd name="T9" fmla="*/ 156 h 258"/>
                <a:gd name="T10" fmla="*/ 115 w 117"/>
                <a:gd name="T11" fmla="*/ 121 h 258"/>
                <a:gd name="T12" fmla="*/ 115 w 117"/>
                <a:gd name="T13" fmla="*/ 98 h 258"/>
                <a:gd name="T14" fmla="*/ 109 w 117"/>
                <a:gd name="T15" fmla="*/ 84 h 258"/>
                <a:gd name="T16" fmla="*/ 90 w 117"/>
                <a:gd name="T17" fmla="*/ 86 h 258"/>
                <a:gd name="T18" fmla="*/ 84 w 117"/>
                <a:gd name="T19" fmla="*/ 76 h 258"/>
                <a:gd name="T20" fmla="*/ 86 w 117"/>
                <a:gd name="T21" fmla="*/ 63 h 258"/>
                <a:gd name="T22" fmla="*/ 90 w 117"/>
                <a:gd name="T23" fmla="*/ 55 h 258"/>
                <a:gd name="T24" fmla="*/ 97 w 117"/>
                <a:gd name="T25" fmla="*/ 55 h 258"/>
                <a:gd name="T26" fmla="*/ 99 w 117"/>
                <a:gd name="T27" fmla="*/ 43 h 258"/>
                <a:gd name="T28" fmla="*/ 74 w 117"/>
                <a:gd name="T29" fmla="*/ 14 h 258"/>
                <a:gd name="T30" fmla="*/ 27 w 117"/>
                <a:gd name="T31" fmla="*/ 2 h 258"/>
                <a:gd name="T32" fmla="*/ 23 w 117"/>
                <a:gd name="T33" fmla="*/ 6 h 258"/>
                <a:gd name="T34" fmla="*/ 15 w 117"/>
                <a:gd name="T35" fmla="*/ 29 h 258"/>
                <a:gd name="T36" fmla="*/ 13 w 117"/>
                <a:gd name="T37" fmla="*/ 33 h 258"/>
                <a:gd name="T38" fmla="*/ 2 w 117"/>
                <a:gd name="T39" fmla="*/ 45 h 258"/>
                <a:gd name="T40" fmla="*/ 4 w 117"/>
                <a:gd name="T41" fmla="*/ 51 h 258"/>
                <a:gd name="T42" fmla="*/ 9 w 117"/>
                <a:gd name="T43" fmla="*/ 53 h 258"/>
                <a:gd name="T44" fmla="*/ 9 w 117"/>
                <a:gd name="T45" fmla="*/ 65 h 258"/>
                <a:gd name="T46" fmla="*/ 2 w 117"/>
                <a:gd name="T47" fmla="*/ 72 h 258"/>
                <a:gd name="T48" fmla="*/ 4 w 117"/>
                <a:gd name="T49" fmla="*/ 80 h 258"/>
                <a:gd name="T50" fmla="*/ 9 w 117"/>
                <a:gd name="T51" fmla="*/ 90 h 258"/>
                <a:gd name="T52" fmla="*/ 23 w 117"/>
                <a:gd name="T53" fmla="*/ 104 h 258"/>
                <a:gd name="T54" fmla="*/ 39 w 117"/>
                <a:gd name="T55" fmla="*/ 113 h 258"/>
                <a:gd name="T56" fmla="*/ 52 w 117"/>
                <a:gd name="T57" fmla="*/ 129 h 258"/>
                <a:gd name="T58" fmla="*/ 39 w 117"/>
                <a:gd name="T59" fmla="*/ 137 h 258"/>
                <a:gd name="T60" fmla="*/ 29 w 117"/>
                <a:gd name="T61" fmla="*/ 154 h 258"/>
                <a:gd name="T62" fmla="*/ 27 w 117"/>
                <a:gd name="T63" fmla="*/ 162 h 258"/>
                <a:gd name="T64" fmla="*/ 21 w 117"/>
                <a:gd name="T65" fmla="*/ 166 h 258"/>
                <a:gd name="T66" fmla="*/ 4 w 117"/>
                <a:gd name="T67" fmla="*/ 184 h 258"/>
                <a:gd name="T68" fmla="*/ 2 w 117"/>
                <a:gd name="T69" fmla="*/ 190 h 258"/>
                <a:gd name="T70" fmla="*/ 4 w 117"/>
                <a:gd name="T71" fmla="*/ 201 h 258"/>
                <a:gd name="T72" fmla="*/ 4 w 117"/>
                <a:gd name="T73" fmla="*/ 211 h 258"/>
                <a:gd name="T74" fmla="*/ 23 w 117"/>
                <a:gd name="T75" fmla="*/ 221 h 258"/>
                <a:gd name="T76" fmla="*/ 29 w 117"/>
                <a:gd name="T77" fmla="*/ 225 h 258"/>
                <a:gd name="T78" fmla="*/ 41 w 117"/>
                <a:gd name="T79" fmla="*/ 229 h 258"/>
                <a:gd name="T80" fmla="*/ 45 w 117"/>
                <a:gd name="T81" fmla="*/ 233 h 258"/>
                <a:gd name="T82" fmla="*/ 54 w 117"/>
                <a:gd name="T83" fmla="*/ 229 h 258"/>
                <a:gd name="T84" fmla="*/ 62 w 117"/>
                <a:gd name="T85" fmla="*/ 229 h 258"/>
                <a:gd name="T86" fmla="*/ 64 w 117"/>
                <a:gd name="T87" fmla="*/ 252 h 258"/>
                <a:gd name="T88" fmla="*/ 68 w 117"/>
                <a:gd name="T89" fmla="*/ 256 h 258"/>
                <a:gd name="T90" fmla="*/ 76 w 117"/>
                <a:gd name="T91" fmla="*/ 242 h 258"/>
                <a:gd name="T92" fmla="*/ 82 w 117"/>
                <a:gd name="T93" fmla="*/ 233 h 258"/>
                <a:gd name="T94" fmla="*/ 78 w 117"/>
                <a:gd name="T95" fmla="*/ 233 h 258"/>
                <a:gd name="T96" fmla="*/ 86 w 117"/>
                <a:gd name="T97" fmla="*/ 219 h 258"/>
                <a:gd name="T98" fmla="*/ 82 w 117"/>
                <a:gd name="T99" fmla="*/ 213 h 258"/>
                <a:gd name="T100" fmla="*/ 90 w 117"/>
                <a:gd name="T101" fmla="*/ 205 h 258"/>
                <a:gd name="T102" fmla="*/ 95 w 117"/>
                <a:gd name="T103" fmla="*/ 207 h 258"/>
                <a:gd name="T104" fmla="*/ 95 w 117"/>
                <a:gd name="T105" fmla="*/ 197 h 258"/>
                <a:gd name="T106" fmla="*/ 99 w 117"/>
                <a:gd name="T107" fmla="*/ 193 h 258"/>
                <a:gd name="T108" fmla="*/ 97 w 117"/>
                <a:gd name="T109" fmla="*/ 182 h 258"/>
                <a:gd name="T110" fmla="*/ 105 w 117"/>
                <a:gd name="T111" fmla="*/ 184 h 258"/>
                <a:gd name="T112" fmla="*/ 105 w 117"/>
                <a:gd name="T113" fmla="*/ 174 h 258"/>
                <a:gd name="T114" fmla="*/ 111 w 117"/>
                <a:gd name="T115" fmla="*/ 166 h 258"/>
                <a:gd name="T116" fmla="*/ 109 w 117"/>
                <a:gd name="T117" fmla="*/ 154 h 258"/>
                <a:gd name="T118" fmla="*/ 111 w 117"/>
                <a:gd name="T119" fmla="*/ 139 h 258"/>
                <a:gd name="T120" fmla="*/ 109 w 117"/>
                <a:gd name="T121" fmla="*/ 131 h 258"/>
                <a:gd name="T122" fmla="*/ 113 w 117"/>
                <a:gd name="T123" fmla="*/ 123 h 258"/>
                <a:gd name="T124" fmla="*/ 115 w 117"/>
                <a:gd name="T125" fmla="*/ 12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7" h="258">
                  <a:moveTo>
                    <a:pt x="101" y="190"/>
                  </a:moveTo>
                  <a:lnTo>
                    <a:pt x="103" y="193"/>
                  </a:lnTo>
                  <a:lnTo>
                    <a:pt x="101" y="193"/>
                  </a:lnTo>
                  <a:lnTo>
                    <a:pt x="101" y="197"/>
                  </a:lnTo>
                  <a:lnTo>
                    <a:pt x="101" y="197"/>
                  </a:lnTo>
                  <a:lnTo>
                    <a:pt x="99" y="197"/>
                  </a:lnTo>
                  <a:lnTo>
                    <a:pt x="99" y="197"/>
                  </a:lnTo>
                  <a:lnTo>
                    <a:pt x="97" y="195"/>
                  </a:lnTo>
                  <a:lnTo>
                    <a:pt x="97" y="197"/>
                  </a:lnTo>
                  <a:lnTo>
                    <a:pt x="99" y="199"/>
                  </a:lnTo>
                  <a:lnTo>
                    <a:pt x="101" y="199"/>
                  </a:lnTo>
                  <a:lnTo>
                    <a:pt x="103" y="197"/>
                  </a:lnTo>
                  <a:lnTo>
                    <a:pt x="105" y="193"/>
                  </a:lnTo>
                  <a:lnTo>
                    <a:pt x="105" y="190"/>
                  </a:lnTo>
                  <a:lnTo>
                    <a:pt x="107" y="190"/>
                  </a:lnTo>
                  <a:lnTo>
                    <a:pt x="107" y="188"/>
                  </a:lnTo>
                  <a:lnTo>
                    <a:pt x="107" y="188"/>
                  </a:lnTo>
                  <a:lnTo>
                    <a:pt x="103" y="188"/>
                  </a:lnTo>
                  <a:lnTo>
                    <a:pt x="101" y="190"/>
                  </a:lnTo>
                  <a:close/>
                  <a:moveTo>
                    <a:pt x="115" y="156"/>
                  </a:moveTo>
                  <a:lnTo>
                    <a:pt x="115" y="156"/>
                  </a:lnTo>
                  <a:lnTo>
                    <a:pt x="115" y="160"/>
                  </a:lnTo>
                  <a:lnTo>
                    <a:pt x="115" y="162"/>
                  </a:lnTo>
                  <a:lnTo>
                    <a:pt x="109" y="176"/>
                  </a:lnTo>
                  <a:lnTo>
                    <a:pt x="109" y="180"/>
                  </a:lnTo>
                  <a:lnTo>
                    <a:pt x="109" y="180"/>
                  </a:lnTo>
                  <a:lnTo>
                    <a:pt x="109" y="180"/>
                  </a:lnTo>
                  <a:lnTo>
                    <a:pt x="109" y="182"/>
                  </a:lnTo>
                  <a:lnTo>
                    <a:pt x="111" y="178"/>
                  </a:lnTo>
                  <a:lnTo>
                    <a:pt x="113" y="170"/>
                  </a:lnTo>
                  <a:lnTo>
                    <a:pt x="115" y="166"/>
                  </a:lnTo>
                  <a:lnTo>
                    <a:pt x="115" y="162"/>
                  </a:lnTo>
                  <a:lnTo>
                    <a:pt x="117" y="158"/>
                  </a:lnTo>
                  <a:lnTo>
                    <a:pt x="117" y="154"/>
                  </a:lnTo>
                  <a:lnTo>
                    <a:pt x="115" y="156"/>
                  </a:lnTo>
                  <a:close/>
                  <a:moveTo>
                    <a:pt x="115" y="139"/>
                  </a:moveTo>
                  <a:lnTo>
                    <a:pt x="117" y="135"/>
                  </a:lnTo>
                  <a:lnTo>
                    <a:pt x="115" y="135"/>
                  </a:lnTo>
                  <a:lnTo>
                    <a:pt x="115" y="133"/>
                  </a:lnTo>
                  <a:lnTo>
                    <a:pt x="115" y="127"/>
                  </a:lnTo>
                  <a:lnTo>
                    <a:pt x="115" y="123"/>
                  </a:lnTo>
                  <a:lnTo>
                    <a:pt x="115" y="121"/>
                  </a:lnTo>
                  <a:lnTo>
                    <a:pt x="113" y="119"/>
                  </a:lnTo>
                  <a:lnTo>
                    <a:pt x="113" y="119"/>
                  </a:lnTo>
                  <a:lnTo>
                    <a:pt x="113" y="115"/>
                  </a:lnTo>
                  <a:lnTo>
                    <a:pt x="113" y="106"/>
                  </a:lnTo>
                  <a:lnTo>
                    <a:pt x="113" y="104"/>
                  </a:lnTo>
                  <a:lnTo>
                    <a:pt x="113" y="100"/>
                  </a:lnTo>
                  <a:lnTo>
                    <a:pt x="115" y="98"/>
                  </a:lnTo>
                  <a:lnTo>
                    <a:pt x="115" y="96"/>
                  </a:lnTo>
                  <a:lnTo>
                    <a:pt x="111" y="82"/>
                  </a:lnTo>
                  <a:lnTo>
                    <a:pt x="109" y="80"/>
                  </a:lnTo>
                  <a:lnTo>
                    <a:pt x="107" y="78"/>
                  </a:lnTo>
                  <a:lnTo>
                    <a:pt x="107" y="80"/>
                  </a:lnTo>
                  <a:lnTo>
                    <a:pt x="107" y="82"/>
                  </a:lnTo>
                  <a:lnTo>
                    <a:pt x="109" y="84"/>
                  </a:lnTo>
                  <a:lnTo>
                    <a:pt x="111" y="84"/>
                  </a:lnTo>
                  <a:lnTo>
                    <a:pt x="109" y="86"/>
                  </a:lnTo>
                  <a:lnTo>
                    <a:pt x="105" y="84"/>
                  </a:lnTo>
                  <a:lnTo>
                    <a:pt x="97" y="84"/>
                  </a:lnTo>
                  <a:lnTo>
                    <a:pt x="95" y="84"/>
                  </a:lnTo>
                  <a:lnTo>
                    <a:pt x="90" y="86"/>
                  </a:lnTo>
                  <a:lnTo>
                    <a:pt x="90" y="86"/>
                  </a:lnTo>
                  <a:lnTo>
                    <a:pt x="88" y="84"/>
                  </a:lnTo>
                  <a:lnTo>
                    <a:pt x="86" y="84"/>
                  </a:lnTo>
                  <a:lnTo>
                    <a:pt x="84" y="84"/>
                  </a:lnTo>
                  <a:lnTo>
                    <a:pt x="84" y="82"/>
                  </a:lnTo>
                  <a:lnTo>
                    <a:pt x="84" y="80"/>
                  </a:lnTo>
                  <a:lnTo>
                    <a:pt x="84" y="78"/>
                  </a:lnTo>
                  <a:lnTo>
                    <a:pt x="84" y="76"/>
                  </a:lnTo>
                  <a:lnTo>
                    <a:pt x="84" y="76"/>
                  </a:lnTo>
                  <a:lnTo>
                    <a:pt x="84" y="74"/>
                  </a:lnTo>
                  <a:lnTo>
                    <a:pt x="84" y="72"/>
                  </a:lnTo>
                  <a:lnTo>
                    <a:pt x="86" y="72"/>
                  </a:lnTo>
                  <a:lnTo>
                    <a:pt x="86" y="70"/>
                  </a:lnTo>
                  <a:lnTo>
                    <a:pt x="86" y="65"/>
                  </a:lnTo>
                  <a:lnTo>
                    <a:pt x="86" y="63"/>
                  </a:lnTo>
                  <a:lnTo>
                    <a:pt x="86" y="61"/>
                  </a:lnTo>
                  <a:lnTo>
                    <a:pt x="88" y="61"/>
                  </a:lnTo>
                  <a:lnTo>
                    <a:pt x="88" y="59"/>
                  </a:lnTo>
                  <a:lnTo>
                    <a:pt x="88" y="59"/>
                  </a:lnTo>
                  <a:lnTo>
                    <a:pt x="88" y="57"/>
                  </a:lnTo>
                  <a:lnTo>
                    <a:pt x="90" y="55"/>
                  </a:lnTo>
                  <a:lnTo>
                    <a:pt x="90" y="55"/>
                  </a:lnTo>
                  <a:lnTo>
                    <a:pt x="93" y="55"/>
                  </a:lnTo>
                  <a:lnTo>
                    <a:pt x="90" y="61"/>
                  </a:lnTo>
                  <a:lnTo>
                    <a:pt x="93" y="59"/>
                  </a:lnTo>
                  <a:lnTo>
                    <a:pt x="93" y="59"/>
                  </a:lnTo>
                  <a:lnTo>
                    <a:pt x="95" y="59"/>
                  </a:lnTo>
                  <a:lnTo>
                    <a:pt x="95" y="57"/>
                  </a:lnTo>
                  <a:lnTo>
                    <a:pt x="97" y="55"/>
                  </a:lnTo>
                  <a:lnTo>
                    <a:pt x="99" y="53"/>
                  </a:lnTo>
                  <a:lnTo>
                    <a:pt x="99" y="51"/>
                  </a:lnTo>
                  <a:lnTo>
                    <a:pt x="99" y="51"/>
                  </a:lnTo>
                  <a:lnTo>
                    <a:pt x="99" y="49"/>
                  </a:lnTo>
                  <a:lnTo>
                    <a:pt x="99" y="49"/>
                  </a:lnTo>
                  <a:lnTo>
                    <a:pt x="99" y="47"/>
                  </a:lnTo>
                  <a:lnTo>
                    <a:pt x="99" y="43"/>
                  </a:lnTo>
                  <a:lnTo>
                    <a:pt x="101" y="37"/>
                  </a:lnTo>
                  <a:lnTo>
                    <a:pt x="101" y="29"/>
                  </a:lnTo>
                  <a:lnTo>
                    <a:pt x="101" y="24"/>
                  </a:lnTo>
                  <a:lnTo>
                    <a:pt x="101" y="22"/>
                  </a:lnTo>
                  <a:lnTo>
                    <a:pt x="93" y="20"/>
                  </a:lnTo>
                  <a:lnTo>
                    <a:pt x="82" y="16"/>
                  </a:lnTo>
                  <a:lnTo>
                    <a:pt x="74" y="14"/>
                  </a:lnTo>
                  <a:lnTo>
                    <a:pt x="64" y="12"/>
                  </a:lnTo>
                  <a:lnTo>
                    <a:pt x="56" y="8"/>
                  </a:lnTo>
                  <a:lnTo>
                    <a:pt x="45" y="6"/>
                  </a:lnTo>
                  <a:lnTo>
                    <a:pt x="37" y="2"/>
                  </a:lnTo>
                  <a:lnTo>
                    <a:pt x="29" y="0"/>
                  </a:lnTo>
                  <a:lnTo>
                    <a:pt x="29" y="0"/>
                  </a:lnTo>
                  <a:lnTo>
                    <a:pt x="27" y="2"/>
                  </a:lnTo>
                  <a:lnTo>
                    <a:pt x="25" y="2"/>
                  </a:lnTo>
                  <a:lnTo>
                    <a:pt x="25" y="2"/>
                  </a:lnTo>
                  <a:lnTo>
                    <a:pt x="23" y="4"/>
                  </a:lnTo>
                  <a:lnTo>
                    <a:pt x="23" y="4"/>
                  </a:lnTo>
                  <a:lnTo>
                    <a:pt x="23" y="4"/>
                  </a:lnTo>
                  <a:lnTo>
                    <a:pt x="23" y="4"/>
                  </a:lnTo>
                  <a:lnTo>
                    <a:pt x="23" y="6"/>
                  </a:lnTo>
                  <a:lnTo>
                    <a:pt x="23" y="6"/>
                  </a:lnTo>
                  <a:lnTo>
                    <a:pt x="19" y="12"/>
                  </a:lnTo>
                  <a:lnTo>
                    <a:pt x="19" y="12"/>
                  </a:lnTo>
                  <a:lnTo>
                    <a:pt x="19" y="14"/>
                  </a:lnTo>
                  <a:lnTo>
                    <a:pt x="19" y="16"/>
                  </a:lnTo>
                  <a:lnTo>
                    <a:pt x="17" y="22"/>
                  </a:lnTo>
                  <a:lnTo>
                    <a:pt x="15" y="29"/>
                  </a:lnTo>
                  <a:lnTo>
                    <a:pt x="13" y="29"/>
                  </a:lnTo>
                  <a:lnTo>
                    <a:pt x="13" y="29"/>
                  </a:lnTo>
                  <a:lnTo>
                    <a:pt x="13" y="31"/>
                  </a:lnTo>
                  <a:lnTo>
                    <a:pt x="13" y="31"/>
                  </a:lnTo>
                  <a:lnTo>
                    <a:pt x="11" y="31"/>
                  </a:lnTo>
                  <a:lnTo>
                    <a:pt x="13" y="33"/>
                  </a:lnTo>
                  <a:lnTo>
                    <a:pt x="13" y="33"/>
                  </a:lnTo>
                  <a:lnTo>
                    <a:pt x="13" y="33"/>
                  </a:lnTo>
                  <a:lnTo>
                    <a:pt x="9" y="39"/>
                  </a:lnTo>
                  <a:lnTo>
                    <a:pt x="9" y="39"/>
                  </a:lnTo>
                  <a:lnTo>
                    <a:pt x="6" y="41"/>
                  </a:lnTo>
                  <a:lnTo>
                    <a:pt x="4" y="41"/>
                  </a:lnTo>
                  <a:lnTo>
                    <a:pt x="4" y="43"/>
                  </a:lnTo>
                  <a:lnTo>
                    <a:pt x="2" y="45"/>
                  </a:lnTo>
                  <a:lnTo>
                    <a:pt x="2" y="47"/>
                  </a:lnTo>
                  <a:lnTo>
                    <a:pt x="2" y="47"/>
                  </a:lnTo>
                  <a:lnTo>
                    <a:pt x="2" y="49"/>
                  </a:lnTo>
                  <a:lnTo>
                    <a:pt x="4" y="49"/>
                  </a:lnTo>
                  <a:lnTo>
                    <a:pt x="4" y="49"/>
                  </a:lnTo>
                  <a:lnTo>
                    <a:pt x="4" y="51"/>
                  </a:lnTo>
                  <a:lnTo>
                    <a:pt x="4" y="51"/>
                  </a:lnTo>
                  <a:lnTo>
                    <a:pt x="4" y="51"/>
                  </a:lnTo>
                  <a:lnTo>
                    <a:pt x="4" y="51"/>
                  </a:lnTo>
                  <a:lnTo>
                    <a:pt x="6" y="51"/>
                  </a:lnTo>
                  <a:lnTo>
                    <a:pt x="6" y="51"/>
                  </a:lnTo>
                  <a:lnTo>
                    <a:pt x="6" y="51"/>
                  </a:lnTo>
                  <a:lnTo>
                    <a:pt x="6" y="51"/>
                  </a:lnTo>
                  <a:lnTo>
                    <a:pt x="9" y="53"/>
                  </a:lnTo>
                  <a:lnTo>
                    <a:pt x="11" y="55"/>
                  </a:lnTo>
                  <a:lnTo>
                    <a:pt x="11" y="57"/>
                  </a:lnTo>
                  <a:lnTo>
                    <a:pt x="11" y="59"/>
                  </a:lnTo>
                  <a:lnTo>
                    <a:pt x="11" y="59"/>
                  </a:lnTo>
                  <a:lnTo>
                    <a:pt x="9" y="61"/>
                  </a:lnTo>
                  <a:lnTo>
                    <a:pt x="9" y="63"/>
                  </a:lnTo>
                  <a:lnTo>
                    <a:pt x="9" y="65"/>
                  </a:lnTo>
                  <a:lnTo>
                    <a:pt x="9" y="68"/>
                  </a:lnTo>
                  <a:lnTo>
                    <a:pt x="6" y="68"/>
                  </a:lnTo>
                  <a:lnTo>
                    <a:pt x="4" y="68"/>
                  </a:lnTo>
                  <a:lnTo>
                    <a:pt x="4" y="70"/>
                  </a:lnTo>
                  <a:lnTo>
                    <a:pt x="4" y="70"/>
                  </a:lnTo>
                  <a:lnTo>
                    <a:pt x="2" y="70"/>
                  </a:lnTo>
                  <a:lnTo>
                    <a:pt x="2" y="72"/>
                  </a:lnTo>
                  <a:lnTo>
                    <a:pt x="2" y="72"/>
                  </a:lnTo>
                  <a:lnTo>
                    <a:pt x="4" y="72"/>
                  </a:lnTo>
                  <a:lnTo>
                    <a:pt x="4" y="72"/>
                  </a:lnTo>
                  <a:lnTo>
                    <a:pt x="4" y="76"/>
                  </a:lnTo>
                  <a:lnTo>
                    <a:pt x="4" y="78"/>
                  </a:lnTo>
                  <a:lnTo>
                    <a:pt x="4" y="78"/>
                  </a:lnTo>
                  <a:lnTo>
                    <a:pt x="4" y="80"/>
                  </a:lnTo>
                  <a:lnTo>
                    <a:pt x="4" y="80"/>
                  </a:lnTo>
                  <a:lnTo>
                    <a:pt x="4" y="82"/>
                  </a:lnTo>
                  <a:lnTo>
                    <a:pt x="6" y="84"/>
                  </a:lnTo>
                  <a:lnTo>
                    <a:pt x="6" y="86"/>
                  </a:lnTo>
                  <a:lnTo>
                    <a:pt x="6" y="86"/>
                  </a:lnTo>
                  <a:lnTo>
                    <a:pt x="6" y="88"/>
                  </a:lnTo>
                  <a:lnTo>
                    <a:pt x="9" y="90"/>
                  </a:lnTo>
                  <a:lnTo>
                    <a:pt x="9" y="90"/>
                  </a:lnTo>
                  <a:lnTo>
                    <a:pt x="11" y="90"/>
                  </a:lnTo>
                  <a:lnTo>
                    <a:pt x="17" y="90"/>
                  </a:lnTo>
                  <a:lnTo>
                    <a:pt x="19" y="92"/>
                  </a:lnTo>
                  <a:lnTo>
                    <a:pt x="21" y="100"/>
                  </a:lnTo>
                  <a:lnTo>
                    <a:pt x="21" y="102"/>
                  </a:lnTo>
                  <a:lnTo>
                    <a:pt x="23" y="104"/>
                  </a:lnTo>
                  <a:lnTo>
                    <a:pt x="25" y="104"/>
                  </a:lnTo>
                  <a:lnTo>
                    <a:pt x="29" y="102"/>
                  </a:lnTo>
                  <a:lnTo>
                    <a:pt x="31" y="104"/>
                  </a:lnTo>
                  <a:lnTo>
                    <a:pt x="33" y="108"/>
                  </a:lnTo>
                  <a:lnTo>
                    <a:pt x="37" y="111"/>
                  </a:lnTo>
                  <a:lnTo>
                    <a:pt x="39" y="111"/>
                  </a:lnTo>
                  <a:lnTo>
                    <a:pt x="39" y="113"/>
                  </a:lnTo>
                  <a:lnTo>
                    <a:pt x="41" y="115"/>
                  </a:lnTo>
                  <a:lnTo>
                    <a:pt x="45" y="119"/>
                  </a:lnTo>
                  <a:lnTo>
                    <a:pt x="52" y="121"/>
                  </a:lnTo>
                  <a:lnTo>
                    <a:pt x="54" y="123"/>
                  </a:lnTo>
                  <a:lnTo>
                    <a:pt x="56" y="125"/>
                  </a:lnTo>
                  <a:lnTo>
                    <a:pt x="54" y="127"/>
                  </a:lnTo>
                  <a:lnTo>
                    <a:pt x="52" y="129"/>
                  </a:lnTo>
                  <a:lnTo>
                    <a:pt x="50" y="129"/>
                  </a:lnTo>
                  <a:lnTo>
                    <a:pt x="47" y="131"/>
                  </a:lnTo>
                  <a:lnTo>
                    <a:pt x="47" y="131"/>
                  </a:lnTo>
                  <a:lnTo>
                    <a:pt x="45" y="135"/>
                  </a:lnTo>
                  <a:lnTo>
                    <a:pt x="43" y="135"/>
                  </a:lnTo>
                  <a:lnTo>
                    <a:pt x="41" y="137"/>
                  </a:lnTo>
                  <a:lnTo>
                    <a:pt x="39" y="137"/>
                  </a:lnTo>
                  <a:lnTo>
                    <a:pt x="37" y="141"/>
                  </a:lnTo>
                  <a:lnTo>
                    <a:pt x="37" y="143"/>
                  </a:lnTo>
                  <a:lnTo>
                    <a:pt x="35" y="145"/>
                  </a:lnTo>
                  <a:lnTo>
                    <a:pt x="33" y="147"/>
                  </a:lnTo>
                  <a:lnTo>
                    <a:pt x="31" y="152"/>
                  </a:lnTo>
                  <a:lnTo>
                    <a:pt x="31" y="152"/>
                  </a:lnTo>
                  <a:lnTo>
                    <a:pt x="29" y="154"/>
                  </a:lnTo>
                  <a:lnTo>
                    <a:pt x="29" y="154"/>
                  </a:lnTo>
                  <a:lnTo>
                    <a:pt x="29" y="156"/>
                  </a:lnTo>
                  <a:lnTo>
                    <a:pt x="29" y="156"/>
                  </a:lnTo>
                  <a:lnTo>
                    <a:pt x="31" y="158"/>
                  </a:lnTo>
                  <a:lnTo>
                    <a:pt x="29" y="160"/>
                  </a:lnTo>
                  <a:lnTo>
                    <a:pt x="29" y="162"/>
                  </a:lnTo>
                  <a:lnTo>
                    <a:pt x="27" y="162"/>
                  </a:lnTo>
                  <a:lnTo>
                    <a:pt x="27" y="162"/>
                  </a:lnTo>
                  <a:lnTo>
                    <a:pt x="25" y="162"/>
                  </a:lnTo>
                  <a:lnTo>
                    <a:pt x="25" y="162"/>
                  </a:lnTo>
                  <a:lnTo>
                    <a:pt x="25" y="162"/>
                  </a:lnTo>
                  <a:lnTo>
                    <a:pt x="23" y="164"/>
                  </a:lnTo>
                  <a:lnTo>
                    <a:pt x="21" y="166"/>
                  </a:lnTo>
                  <a:lnTo>
                    <a:pt x="21" y="166"/>
                  </a:lnTo>
                  <a:lnTo>
                    <a:pt x="19" y="166"/>
                  </a:lnTo>
                  <a:lnTo>
                    <a:pt x="15" y="168"/>
                  </a:lnTo>
                  <a:lnTo>
                    <a:pt x="11" y="172"/>
                  </a:lnTo>
                  <a:lnTo>
                    <a:pt x="9" y="174"/>
                  </a:lnTo>
                  <a:lnTo>
                    <a:pt x="6" y="178"/>
                  </a:lnTo>
                  <a:lnTo>
                    <a:pt x="4" y="180"/>
                  </a:lnTo>
                  <a:lnTo>
                    <a:pt x="4" y="184"/>
                  </a:lnTo>
                  <a:lnTo>
                    <a:pt x="4" y="184"/>
                  </a:lnTo>
                  <a:lnTo>
                    <a:pt x="4" y="184"/>
                  </a:lnTo>
                  <a:lnTo>
                    <a:pt x="4" y="186"/>
                  </a:lnTo>
                  <a:lnTo>
                    <a:pt x="4" y="186"/>
                  </a:lnTo>
                  <a:lnTo>
                    <a:pt x="2" y="188"/>
                  </a:lnTo>
                  <a:lnTo>
                    <a:pt x="2" y="188"/>
                  </a:lnTo>
                  <a:lnTo>
                    <a:pt x="2" y="190"/>
                  </a:lnTo>
                  <a:lnTo>
                    <a:pt x="2" y="193"/>
                  </a:lnTo>
                  <a:lnTo>
                    <a:pt x="2" y="193"/>
                  </a:lnTo>
                  <a:lnTo>
                    <a:pt x="0" y="195"/>
                  </a:lnTo>
                  <a:lnTo>
                    <a:pt x="0" y="197"/>
                  </a:lnTo>
                  <a:lnTo>
                    <a:pt x="0" y="197"/>
                  </a:lnTo>
                  <a:lnTo>
                    <a:pt x="0" y="199"/>
                  </a:lnTo>
                  <a:lnTo>
                    <a:pt x="4" y="201"/>
                  </a:lnTo>
                  <a:lnTo>
                    <a:pt x="4" y="201"/>
                  </a:lnTo>
                  <a:lnTo>
                    <a:pt x="4" y="207"/>
                  </a:lnTo>
                  <a:lnTo>
                    <a:pt x="4" y="209"/>
                  </a:lnTo>
                  <a:lnTo>
                    <a:pt x="4" y="209"/>
                  </a:lnTo>
                  <a:lnTo>
                    <a:pt x="4" y="209"/>
                  </a:lnTo>
                  <a:lnTo>
                    <a:pt x="4" y="207"/>
                  </a:lnTo>
                  <a:lnTo>
                    <a:pt x="4" y="211"/>
                  </a:lnTo>
                  <a:lnTo>
                    <a:pt x="9" y="213"/>
                  </a:lnTo>
                  <a:lnTo>
                    <a:pt x="11" y="213"/>
                  </a:lnTo>
                  <a:lnTo>
                    <a:pt x="21" y="221"/>
                  </a:lnTo>
                  <a:lnTo>
                    <a:pt x="21" y="221"/>
                  </a:lnTo>
                  <a:lnTo>
                    <a:pt x="23" y="221"/>
                  </a:lnTo>
                  <a:lnTo>
                    <a:pt x="23" y="221"/>
                  </a:lnTo>
                  <a:lnTo>
                    <a:pt x="23" y="221"/>
                  </a:lnTo>
                  <a:lnTo>
                    <a:pt x="23" y="221"/>
                  </a:lnTo>
                  <a:lnTo>
                    <a:pt x="25" y="221"/>
                  </a:lnTo>
                  <a:lnTo>
                    <a:pt x="25" y="221"/>
                  </a:lnTo>
                  <a:lnTo>
                    <a:pt x="27" y="221"/>
                  </a:lnTo>
                  <a:lnTo>
                    <a:pt x="27" y="223"/>
                  </a:lnTo>
                  <a:lnTo>
                    <a:pt x="29" y="225"/>
                  </a:lnTo>
                  <a:lnTo>
                    <a:pt x="29" y="225"/>
                  </a:lnTo>
                  <a:lnTo>
                    <a:pt x="33" y="223"/>
                  </a:lnTo>
                  <a:lnTo>
                    <a:pt x="33" y="225"/>
                  </a:lnTo>
                  <a:lnTo>
                    <a:pt x="35" y="227"/>
                  </a:lnTo>
                  <a:lnTo>
                    <a:pt x="35" y="227"/>
                  </a:lnTo>
                  <a:lnTo>
                    <a:pt x="37" y="227"/>
                  </a:lnTo>
                  <a:lnTo>
                    <a:pt x="39" y="229"/>
                  </a:lnTo>
                  <a:lnTo>
                    <a:pt x="41" y="229"/>
                  </a:lnTo>
                  <a:lnTo>
                    <a:pt x="41" y="229"/>
                  </a:lnTo>
                  <a:lnTo>
                    <a:pt x="41" y="231"/>
                  </a:lnTo>
                  <a:lnTo>
                    <a:pt x="41" y="231"/>
                  </a:lnTo>
                  <a:lnTo>
                    <a:pt x="43" y="233"/>
                  </a:lnTo>
                  <a:lnTo>
                    <a:pt x="43" y="233"/>
                  </a:lnTo>
                  <a:lnTo>
                    <a:pt x="43" y="233"/>
                  </a:lnTo>
                  <a:lnTo>
                    <a:pt x="45" y="233"/>
                  </a:lnTo>
                  <a:lnTo>
                    <a:pt x="45" y="233"/>
                  </a:lnTo>
                  <a:lnTo>
                    <a:pt x="47" y="231"/>
                  </a:lnTo>
                  <a:lnTo>
                    <a:pt x="47" y="231"/>
                  </a:lnTo>
                  <a:lnTo>
                    <a:pt x="50" y="229"/>
                  </a:lnTo>
                  <a:lnTo>
                    <a:pt x="52" y="229"/>
                  </a:lnTo>
                  <a:lnTo>
                    <a:pt x="54" y="229"/>
                  </a:lnTo>
                  <a:lnTo>
                    <a:pt x="54" y="229"/>
                  </a:lnTo>
                  <a:lnTo>
                    <a:pt x="54" y="231"/>
                  </a:lnTo>
                  <a:lnTo>
                    <a:pt x="54" y="231"/>
                  </a:lnTo>
                  <a:lnTo>
                    <a:pt x="56" y="231"/>
                  </a:lnTo>
                  <a:lnTo>
                    <a:pt x="56" y="231"/>
                  </a:lnTo>
                  <a:lnTo>
                    <a:pt x="58" y="229"/>
                  </a:lnTo>
                  <a:lnTo>
                    <a:pt x="58" y="229"/>
                  </a:lnTo>
                  <a:lnTo>
                    <a:pt x="62" y="229"/>
                  </a:lnTo>
                  <a:lnTo>
                    <a:pt x="62" y="229"/>
                  </a:lnTo>
                  <a:lnTo>
                    <a:pt x="64" y="229"/>
                  </a:lnTo>
                  <a:lnTo>
                    <a:pt x="66" y="233"/>
                  </a:lnTo>
                  <a:lnTo>
                    <a:pt x="66" y="238"/>
                  </a:lnTo>
                  <a:lnTo>
                    <a:pt x="64" y="248"/>
                  </a:lnTo>
                  <a:lnTo>
                    <a:pt x="64" y="250"/>
                  </a:lnTo>
                  <a:lnTo>
                    <a:pt x="64" y="252"/>
                  </a:lnTo>
                  <a:lnTo>
                    <a:pt x="66" y="254"/>
                  </a:lnTo>
                  <a:lnTo>
                    <a:pt x="66" y="254"/>
                  </a:lnTo>
                  <a:lnTo>
                    <a:pt x="64" y="256"/>
                  </a:lnTo>
                  <a:lnTo>
                    <a:pt x="64" y="256"/>
                  </a:lnTo>
                  <a:lnTo>
                    <a:pt x="66" y="258"/>
                  </a:lnTo>
                  <a:lnTo>
                    <a:pt x="66" y="258"/>
                  </a:lnTo>
                  <a:lnTo>
                    <a:pt x="68" y="256"/>
                  </a:lnTo>
                  <a:lnTo>
                    <a:pt x="72" y="254"/>
                  </a:lnTo>
                  <a:lnTo>
                    <a:pt x="74" y="252"/>
                  </a:lnTo>
                  <a:lnTo>
                    <a:pt x="76" y="248"/>
                  </a:lnTo>
                  <a:lnTo>
                    <a:pt x="78" y="244"/>
                  </a:lnTo>
                  <a:lnTo>
                    <a:pt x="78" y="244"/>
                  </a:lnTo>
                  <a:lnTo>
                    <a:pt x="76" y="244"/>
                  </a:lnTo>
                  <a:lnTo>
                    <a:pt x="76" y="242"/>
                  </a:lnTo>
                  <a:lnTo>
                    <a:pt x="78" y="242"/>
                  </a:lnTo>
                  <a:lnTo>
                    <a:pt x="80" y="240"/>
                  </a:lnTo>
                  <a:lnTo>
                    <a:pt x="80" y="240"/>
                  </a:lnTo>
                  <a:lnTo>
                    <a:pt x="80" y="238"/>
                  </a:lnTo>
                  <a:lnTo>
                    <a:pt x="82" y="236"/>
                  </a:lnTo>
                  <a:lnTo>
                    <a:pt x="82" y="236"/>
                  </a:lnTo>
                  <a:lnTo>
                    <a:pt x="82" y="233"/>
                  </a:lnTo>
                  <a:lnTo>
                    <a:pt x="80" y="233"/>
                  </a:lnTo>
                  <a:lnTo>
                    <a:pt x="80" y="233"/>
                  </a:lnTo>
                  <a:lnTo>
                    <a:pt x="80" y="233"/>
                  </a:lnTo>
                  <a:lnTo>
                    <a:pt x="80" y="233"/>
                  </a:lnTo>
                  <a:lnTo>
                    <a:pt x="80" y="233"/>
                  </a:lnTo>
                  <a:lnTo>
                    <a:pt x="78" y="233"/>
                  </a:lnTo>
                  <a:lnTo>
                    <a:pt x="78" y="233"/>
                  </a:lnTo>
                  <a:lnTo>
                    <a:pt x="80" y="231"/>
                  </a:lnTo>
                  <a:lnTo>
                    <a:pt x="80" y="231"/>
                  </a:lnTo>
                  <a:lnTo>
                    <a:pt x="80" y="231"/>
                  </a:lnTo>
                  <a:lnTo>
                    <a:pt x="82" y="231"/>
                  </a:lnTo>
                  <a:lnTo>
                    <a:pt x="84" y="223"/>
                  </a:lnTo>
                  <a:lnTo>
                    <a:pt x="84" y="221"/>
                  </a:lnTo>
                  <a:lnTo>
                    <a:pt x="86" y="219"/>
                  </a:lnTo>
                  <a:lnTo>
                    <a:pt x="88" y="215"/>
                  </a:lnTo>
                  <a:lnTo>
                    <a:pt x="90" y="213"/>
                  </a:lnTo>
                  <a:lnTo>
                    <a:pt x="90" y="211"/>
                  </a:lnTo>
                  <a:lnTo>
                    <a:pt x="86" y="215"/>
                  </a:lnTo>
                  <a:lnTo>
                    <a:pt x="84" y="215"/>
                  </a:lnTo>
                  <a:lnTo>
                    <a:pt x="84" y="213"/>
                  </a:lnTo>
                  <a:lnTo>
                    <a:pt x="82" y="213"/>
                  </a:lnTo>
                  <a:lnTo>
                    <a:pt x="82" y="213"/>
                  </a:lnTo>
                  <a:lnTo>
                    <a:pt x="82" y="211"/>
                  </a:lnTo>
                  <a:lnTo>
                    <a:pt x="84" y="211"/>
                  </a:lnTo>
                  <a:lnTo>
                    <a:pt x="90" y="209"/>
                  </a:lnTo>
                  <a:lnTo>
                    <a:pt x="90" y="209"/>
                  </a:lnTo>
                  <a:lnTo>
                    <a:pt x="88" y="207"/>
                  </a:lnTo>
                  <a:lnTo>
                    <a:pt x="90" y="205"/>
                  </a:lnTo>
                  <a:lnTo>
                    <a:pt x="93" y="201"/>
                  </a:lnTo>
                  <a:lnTo>
                    <a:pt x="95" y="203"/>
                  </a:lnTo>
                  <a:lnTo>
                    <a:pt x="93" y="205"/>
                  </a:lnTo>
                  <a:lnTo>
                    <a:pt x="93" y="207"/>
                  </a:lnTo>
                  <a:lnTo>
                    <a:pt x="90" y="209"/>
                  </a:lnTo>
                  <a:lnTo>
                    <a:pt x="93" y="209"/>
                  </a:lnTo>
                  <a:lnTo>
                    <a:pt x="95" y="207"/>
                  </a:lnTo>
                  <a:lnTo>
                    <a:pt x="99" y="203"/>
                  </a:lnTo>
                  <a:lnTo>
                    <a:pt x="101" y="203"/>
                  </a:lnTo>
                  <a:lnTo>
                    <a:pt x="99" y="201"/>
                  </a:lnTo>
                  <a:lnTo>
                    <a:pt x="97" y="199"/>
                  </a:lnTo>
                  <a:lnTo>
                    <a:pt x="97" y="197"/>
                  </a:lnTo>
                  <a:lnTo>
                    <a:pt x="95" y="199"/>
                  </a:lnTo>
                  <a:lnTo>
                    <a:pt x="95" y="197"/>
                  </a:lnTo>
                  <a:lnTo>
                    <a:pt x="95" y="197"/>
                  </a:lnTo>
                  <a:lnTo>
                    <a:pt x="95" y="195"/>
                  </a:lnTo>
                  <a:lnTo>
                    <a:pt x="95" y="193"/>
                  </a:lnTo>
                  <a:lnTo>
                    <a:pt x="97" y="193"/>
                  </a:lnTo>
                  <a:lnTo>
                    <a:pt x="97" y="193"/>
                  </a:lnTo>
                  <a:lnTo>
                    <a:pt x="99" y="193"/>
                  </a:lnTo>
                  <a:lnTo>
                    <a:pt x="99" y="193"/>
                  </a:lnTo>
                  <a:lnTo>
                    <a:pt x="101" y="190"/>
                  </a:lnTo>
                  <a:lnTo>
                    <a:pt x="99" y="188"/>
                  </a:lnTo>
                  <a:lnTo>
                    <a:pt x="99" y="186"/>
                  </a:lnTo>
                  <a:lnTo>
                    <a:pt x="97" y="186"/>
                  </a:lnTo>
                  <a:lnTo>
                    <a:pt x="97" y="184"/>
                  </a:lnTo>
                  <a:lnTo>
                    <a:pt x="97" y="180"/>
                  </a:lnTo>
                  <a:lnTo>
                    <a:pt x="97" y="182"/>
                  </a:lnTo>
                  <a:lnTo>
                    <a:pt x="99" y="182"/>
                  </a:lnTo>
                  <a:lnTo>
                    <a:pt x="99" y="182"/>
                  </a:lnTo>
                  <a:lnTo>
                    <a:pt x="101" y="180"/>
                  </a:lnTo>
                  <a:lnTo>
                    <a:pt x="103" y="182"/>
                  </a:lnTo>
                  <a:lnTo>
                    <a:pt x="105" y="182"/>
                  </a:lnTo>
                  <a:lnTo>
                    <a:pt x="105" y="184"/>
                  </a:lnTo>
                  <a:lnTo>
                    <a:pt x="105" y="184"/>
                  </a:lnTo>
                  <a:lnTo>
                    <a:pt x="107" y="184"/>
                  </a:lnTo>
                  <a:lnTo>
                    <a:pt x="107" y="182"/>
                  </a:lnTo>
                  <a:lnTo>
                    <a:pt x="105" y="180"/>
                  </a:lnTo>
                  <a:lnTo>
                    <a:pt x="103" y="178"/>
                  </a:lnTo>
                  <a:lnTo>
                    <a:pt x="103" y="176"/>
                  </a:lnTo>
                  <a:lnTo>
                    <a:pt x="105" y="176"/>
                  </a:lnTo>
                  <a:lnTo>
                    <a:pt x="105" y="174"/>
                  </a:lnTo>
                  <a:lnTo>
                    <a:pt x="105" y="174"/>
                  </a:lnTo>
                  <a:lnTo>
                    <a:pt x="107" y="172"/>
                  </a:lnTo>
                  <a:lnTo>
                    <a:pt x="107" y="172"/>
                  </a:lnTo>
                  <a:lnTo>
                    <a:pt x="107" y="170"/>
                  </a:lnTo>
                  <a:lnTo>
                    <a:pt x="109" y="168"/>
                  </a:lnTo>
                  <a:lnTo>
                    <a:pt x="111" y="168"/>
                  </a:lnTo>
                  <a:lnTo>
                    <a:pt x="111" y="166"/>
                  </a:lnTo>
                  <a:lnTo>
                    <a:pt x="111" y="162"/>
                  </a:lnTo>
                  <a:lnTo>
                    <a:pt x="111" y="162"/>
                  </a:lnTo>
                  <a:lnTo>
                    <a:pt x="113" y="160"/>
                  </a:lnTo>
                  <a:lnTo>
                    <a:pt x="113" y="158"/>
                  </a:lnTo>
                  <a:lnTo>
                    <a:pt x="111" y="158"/>
                  </a:lnTo>
                  <a:lnTo>
                    <a:pt x="109" y="158"/>
                  </a:lnTo>
                  <a:lnTo>
                    <a:pt x="109" y="154"/>
                  </a:lnTo>
                  <a:lnTo>
                    <a:pt x="109" y="149"/>
                  </a:lnTo>
                  <a:lnTo>
                    <a:pt x="111" y="147"/>
                  </a:lnTo>
                  <a:lnTo>
                    <a:pt x="111" y="145"/>
                  </a:lnTo>
                  <a:lnTo>
                    <a:pt x="111" y="145"/>
                  </a:lnTo>
                  <a:lnTo>
                    <a:pt x="111" y="143"/>
                  </a:lnTo>
                  <a:lnTo>
                    <a:pt x="111" y="141"/>
                  </a:lnTo>
                  <a:lnTo>
                    <a:pt x="111" y="139"/>
                  </a:lnTo>
                  <a:lnTo>
                    <a:pt x="113" y="137"/>
                  </a:lnTo>
                  <a:lnTo>
                    <a:pt x="111" y="137"/>
                  </a:lnTo>
                  <a:lnTo>
                    <a:pt x="109" y="137"/>
                  </a:lnTo>
                  <a:lnTo>
                    <a:pt x="111" y="135"/>
                  </a:lnTo>
                  <a:lnTo>
                    <a:pt x="111" y="133"/>
                  </a:lnTo>
                  <a:lnTo>
                    <a:pt x="109" y="131"/>
                  </a:lnTo>
                  <a:lnTo>
                    <a:pt x="109" y="131"/>
                  </a:lnTo>
                  <a:lnTo>
                    <a:pt x="109" y="129"/>
                  </a:lnTo>
                  <a:lnTo>
                    <a:pt x="109" y="129"/>
                  </a:lnTo>
                  <a:lnTo>
                    <a:pt x="111" y="129"/>
                  </a:lnTo>
                  <a:lnTo>
                    <a:pt x="111" y="127"/>
                  </a:lnTo>
                  <a:lnTo>
                    <a:pt x="113" y="127"/>
                  </a:lnTo>
                  <a:lnTo>
                    <a:pt x="113" y="125"/>
                  </a:lnTo>
                  <a:lnTo>
                    <a:pt x="113" y="123"/>
                  </a:lnTo>
                  <a:lnTo>
                    <a:pt x="111" y="125"/>
                  </a:lnTo>
                  <a:lnTo>
                    <a:pt x="111" y="123"/>
                  </a:lnTo>
                  <a:lnTo>
                    <a:pt x="111" y="123"/>
                  </a:lnTo>
                  <a:lnTo>
                    <a:pt x="113" y="123"/>
                  </a:lnTo>
                  <a:lnTo>
                    <a:pt x="113" y="125"/>
                  </a:lnTo>
                  <a:lnTo>
                    <a:pt x="115" y="127"/>
                  </a:lnTo>
                  <a:lnTo>
                    <a:pt x="115" y="129"/>
                  </a:lnTo>
                  <a:lnTo>
                    <a:pt x="115" y="131"/>
                  </a:lnTo>
                  <a:lnTo>
                    <a:pt x="113" y="135"/>
                  </a:lnTo>
                  <a:lnTo>
                    <a:pt x="117" y="152"/>
                  </a:lnTo>
                  <a:lnTo>
                    <a:pt x="117" y="149"/>
                  </a:lnTo>
                  <a:lnTo>
                    <a:pt x="115" y="139"/>
                  </a:lnTo>
                  <a:close/>
                </a:path>
              </a:pathLst>
            </a:custGeom>
            <a:solidFill>
              <a:schemeClr val="tx1"/>
            </a:solidFill>
            <a:ln w="3175" cap="rnd">
              <a:solidFill>
                <a:schemeClr val="bg1"/>
              </a:solidFill>
              <a:prstDash val="solid"/>
              <a:round/>
              <a:headEnd/>
              <a:tailEnd/>
            </a:ln>
          </p:spPr>
          <p:txBody>
            <a:bodyPr vert="horz" wrap="square" lIns="48000" tIns="0" rIns="0" bIns="144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J</a:t>
              </a:r>
            </a:p>
          </p:txBody>
        </p:sp>
        <p:sp>
          <p:nvSpPr>
            <p:cNvPr id="315" name="Freeform 26">
              <a:extLst>
                <a:ext uri="{FF2B5EF4-FFF2-40B4-BE49-F238E27FC236}">
                  <a16:creationId xmlns:a16="http://schemas.microsoft.com/office/drawing/2014/main" id="{7B7BA4E7-E7CD-0D22-C4A8-FD900D7BA643}"/>
                </a:ext>
              </a:extLst>
            </p:cNvPr>
            <p:cNvSpPr>
              <a:spLocks/>
            </p:cNvSpPr>
            <p:nvPr/>
          </p:nvSpPr>
          <p:spPr bwMode="auto">
            <a:xfrm>
              <a:off x="2394" y="797"/>
              <a:ext cx="725" cy="324"/>
            </a:xfrm>
            <a:custGeom>
              <a:avLst/>
              <a:gdLst>
                <a:gd name="T0" fmla="*/ 626 w 725"/>
                <a:gd name="T1" fmla="*/ 64 h 324"/>
                <a:gd name="T2" fmla="*/ 630 w 725"/>
                <a:gd name="T3" fmla="*/ 78 h 324"/>
                <a:gd name="T4" fmla="*/ 632 w 725"/>
                <a:gd name="T5" fmla="*/ 90 h 324"/>
                <a:gd name="T6" fmla="*/ 639 w 725"/>
                <a:gd name="T7" fmla="*/ 101 h 324"/>
                <a:gd name="T8" fmla="*/ 647 w 725"/>
                <a:gd name="T9" fmla="*/ 115 h 324"/>
                <a:gd name="T10" fmla="*/ 655 w 725"/>
                <a:gd name="T11" fmla="*/ 127 h 324"/>
                <a:gd name="T12" fmla="*/ 653 w 725"/>
                <a:gd name="T13" fmla="*/ 138 h 324"/>
                <a:gd name="T14" fmla="*/ 653 w 725"/>
                <a:gd name="T15" fmla="*/ 148 h 324"/>
                <a:gd name="T16" fmla="*/ 657 w 725"/>
                <a:gd name="T17" fmla="*/ 156 h 324"/>
                <a:gd name="T18" fmla="*/ 661 w 725"/>
                <a:gd name="T19" fmla="*/ 156 h 324"/>
                <a:gd name="T20" fmla="*/ 663 w 725"/>
                <a:gd name="T21" fmla="*/ 162 h 324"/>
                <a:gd name="T22" fmla="*/ 667 w 725"/>
                <a:gd name="T23" fmla="*/ 170 h 324"/>
                <a:gd name="T24" fmla="*/ 671 w 725"/>
                <a:gd name="T25" fmla="*/ 181 h 324"/>
                <a:gd name="T26" fmla="*/ 673 w 725"/>
                <a:gd name="T27" fmla="*/ 193 h 324"/>
                <a:gd name="T28" fmla="*/ 673 w 725"/>
                <a:gd name="T29" fmla="*/ 203 h 324"/>
                <a:gd name="T30" fmla="*/ 673 w 725"/>
                <a:gd name="T31" fmla="*/ 207 h 324"/>
                <a:gd name="T32" fmla="*/ 676 w 725"/>
                <a:gd name="T33" fmla="*/ 211 h 324"/>
                <a:gd name="T34" fmla="*/ 678 w 725"/>
                <a:gd name="T35" fmla="*/ 222 h 324"/>
                <a:gd name="T36" fmla="*/ 678 w 725"/>
                <a:gd name="T37" fmla="*/ 234 h 324"/>
                <a:gd name="T38" fmla="*/ 676 w 725"/>
                <a:gd name="T39" fmla="*/ 240 h 324"/>
                <a:gd name="T40" fmla="*/ 684 w 725"/>
                <a:gd name="T41" fmla="*/ 248 h 324"/>
                <a:gd name="T42" fmla="*/ 686 w 725"/>
                <a:gd name="T43" fmla="*/ 261 h 324"/>
                <a:gd name="T44" fmla="*/ 690 w 725"/>
                <a:gd name="T45" fmla="*/ 267 h 324"/>
                <a:gd name="T46" fmla="*/ 694 w 725"/>
                <a:gd name="T47" fmla="*/ 275 h 324"/>
                <a:gd name="T48" fmla="*/ 696 w 725"/>
                <a:gd name="T49" fmla="*/ 283 h 324"/>
                <a:gd name="T50" fmla="*/ 702 w 725"/>
                <a:gd name="T51" fmla="*/ 285 h 324"/>
                <a:gd name="T52" fmla="*/ 710 w 725"/>
                <a:gd name="T53" fmla="*/ 291 h 324"/>
                <a:gd name="T54" fmla="*/ 714 w 725"/>
                <a:gd name="T55" fmla="*/ 302 h 324"/>
                <a:gd name="T56" fmla="*/ 716 w 725"/>
                <a:gd name="T57" fmla="*/ 312 h 324"/>
                <a:gd name="T58" fmla="*/ 690 w 725"/>
                <a:gd name="T59" fmla="*/ 318 h 324"/>
                <a:gd name="T60" fmla="*/ 583 w 725"/>
                <a:gd name="T61" fmla="*/ 322 h 324"/>
                <a:gd name="T62" fmla="*/ 479 w 725"/>
                <a:gd name="T63" fmla="*/ 324 h 324"/>
                <a:gd name="T64" fmla="*/ 372 w 725"/>
                <a:gd name="T65" fmla="*/ 324 h 324"/>
                <a:gd name="T66" fmla="*/ 268 w 725"/>
                <a:gd name="T67" fmla="*/ 324 h 324"/>
                <a:gd name="T68" fmla="*/ 161 w 725"/>
                <a:gd name="T69" fmla="*/ 324 h 324"/>
                <a:gd name="T70" fmla="*/ 163 w 725"/>
                <a:gd name="T71" fmla="*/ 283 h 324"/>
                <a:gd name="T72" fmla="*/ 163 w 725"/>
                <a:gd name="T73" fmla="*/ 244 h 324"/>
                <a:gd name="T74" fmla="*/ 147 w 725"/>
                <a:gd name="T75" fmla="*/ 217 h 324"/>
                <a:gd name="T76" fmla="*/ 88 w 725"/>
                <a:gd name="T77" fmla="*/ 215 h 324"/>
                <a:gd name="T78" fmla="*/ 28 w 725"/>
                <a:gd name="T79" fmla="*/ 213 h 324"/>
                <a:gd name="T80" fmla="*/ 0 w 725"/>
                <a:gd name="T81" fmla="*/ 172 h 324"/>
                <a:gd name="T82" fmla="*/ 2 w 725"/>
                <a:gd name="T83" fmla="*/ 92 h 324"/>
                <a:gd name="T84" fmla="*/ 6 w 725"/>
                <a:gd name="T85" fmla="*/ 13 h 324"/>
                <a:gd name="T86" fmla="*/ 75 w 725"/>
                <a:gd name="T87" fmla="*/ 2 h 324"/>
                <a:gd name="T88" fmla="*/ 157 w 725"/>
                <a:gd name="T89" fmla="*/ 4 h 324"/>
                <a:gd name="T90" fmla="*/ 239 w 725"/>
                <a:gd name="T91" fmla="*/ 6 h 324"/>
                <a:gd name="T92" fmla="*/ 323 w 725"/>
                <a:gd name="T93" fmla="*/ 6 h 324"/>
                <a:gd name="T94" fmla="*/ 405 w 725"/>
                <a:gd name="T95" fmla="*/ 6 h 324"/>
                <a:gd name="T96" fmla="*/ 454 w 725"/>
                <a:gd name="T97" fmla="*/ 6 h 324"/>
                <a:gd name="T98" fmla="*/ 467 w 725"/>
                <a:gd name="T99" fmla="*/ 15 h 324"/>
                <a:gd name="T100" fmla="*/ 487 w 725"/>
                <a:gd name="T101" fmla="*/ 25 h 324"/>
                <a:gd name="T102" fmla="*/ 501 w 725"/>
                <a:gd name="T103" fmla="*/ 25 h 324"/>
                <a:gd name="T104" fmla="*/ 506 w 725"/>
                <a:gd name="T105" fmla="*/ 19 h 324"/>
                <a:gd name="T106" fmla="*/ 520 w 725"/>
                <a:gd name="T107" fmla="*/ 21 h 324"/>
                <a:gd name="T108" fmla="*/ 551 w 725"/>
                <a:gd name="T109" fmla="*/ 15 h 324"/>
                <a:gd name="T110" fmla="*/ 563 w 725"/>
                <a:gd name="T111" fmla="*/ 25 h 324"/>
                <a:gd name="T112" fmla="*/ 575 w 725"/>
                <a:gd name="T113" fmla="*/ 27 h 324"/>
                <a:gd name="T114" fmla="*/ 589 w 725"/>
                <a:gd name="T115" fmla="*/ 31 h 324"/>
                <a:gd name="T116" fmla="*/ 594 w 725"/>
                <a:gd name="T117" fmla="*/ 37 h 324"/>
                <a:gd name="T118" fmla="*/ 600 w 725"/>
                <a:gd name="T119" fmla="*/ 37 h 324"/>
                <a:gd name="T120" fmla="*/ 604 w 725"/>
                <a:gd name="T121" fmla="*/ 45 h 324"/>
                <a:gd name="T122" fmla="*/ 618 w 725"/>
                <a:gd name="T123" fmla="*/ 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5" h="324">
                  <a:moveTo>
                    <a:pt x="618" y="54"/>
                  </a:moveTo>
                  <a:lnTo>
                    <a:pt x="622" y="54"/>
                  </a:lnTo>
                  <a:lnTo>
                    <a:pt x="624" y="54"/>
                  </a:lnTo>
                  <a:lnTo>
                    <a:pt x="624" y="56"/>
                  </a:lnTo>
                  <a:lnTo>
                    <a:pt x="626" y="60"/>
                  </a:lnTo>
                  <a:lnTo>
                    <a:pt x="626" y="64"/>
                  </a:lnTo>
                  <a:lnTo>
                    <a:pt x="624" y="68"/>
                  </a:lnTo>
                  <a:lnTo>
                    <a:pt x="628" y="72"/>
                  </a:lnTo>
                  <a:lnTo>
                    <a:pt x="628" y="74"/>
                  </a:lnTo>
                  <a:lnTo>
                    <a:pt x="628" y="74"/>
                  </a:lnTo>
                  <a:lnTo>
                    <a:pt x="630" y="76"/>
                  </a:lnTo>
                  <a:lnTo>
                    <a:pt x="630" y="78"/>
                  </a:lnTo>
                  <a:lnTo>
                    <a:pt x="630" y="80"/>
                  </a:lnTo>
                  <a:lnTo>
                    <a:pt x="630" y="82"/>
                  </a:lnTo>
                  <a:lnTo>
                    <a:pt x="630" y="84"/>
                  </a:lnTo>
                  <a:lnTo>
                    <a:pt x="630" y="86"/>
                  </a:lnTo>
                  <a:lnTo>
                    <a:pt x="630" y="88"/>
                  </a:lnTo>
                  <a:lnTo>
                    <a:pt x="632" y="90"/>
                  </a:lnTo>
                  <a:lnTo>
                    <a:pt x="635" y="90"/>
                  </a:lnTo>
                  <a:lnTo>
                    <a:pt x="637" y="92"/>
                  </a:lnTo>
                  <a:lnTo>
                    <a:pt x="637" y="95"/>
                  </a:lnTo>
                  <a:lnTo>
                    <a:pt x="637" y="97"/>
                  </a:lnTo>
                  <a:lnTo>
                    <a:pt x="637" y="99"/>
                  </a:lnTo>
                  <a:lnTo>
                    <a:pt x="639" y="101"/>
                  </a:lnTo>
                  <a:lnTo>
                    <a:pt x="641" y="105"/>
                  </a:lnTo>
                  <a:lnTo>
                    <a:pt x="643" y="105"/>
                  </a:lnTo>
                  <a:lnTo>
                    <a:pt x="647" y="109"/>
                  </a:lnTo>
                  <a:lnTo>
                    <a:pt x="649" y="113"/>
                  </a:lnTo>
                  <a:lnTo>
                    <a:pt x="647" y="113"/>
                  </a:lnTo>
                  <a:lnTo>
                    <a:pt x="647" y="115"/>
                  </a:lnTo>
                  <a:lnTo>
                    <a:pt x="647" y="117"/>
                  </a:lnTo>
                  <a:lnTo>
                    <a:pt x="647" y="117"/>
                  </a:lnTo>
                  <a:lnTo>
                    <a:pt x="649" y="121"/>
                  </a:lnTo>
                  <a:lnTo>
                    <a:pt x="649" y="121"/>
                  </a:lnTo>
                  <a:lnTo>
                    <a:pt x="653" y="125"/>
                  </a:lnTo>
                  <a:lnTo>
                    <a:pt x="655" y="127"/>
                  </a:lnTo>
                  <a:lnTo>
                    <a:pt x="655" y="129"/>
                  </a:lnTo>
                  <a:lnTo>
                    <a:pt x="653" y="131"/>
                  </a:lnTo>
                  <a:lnTo>
                    <a:pt x="653" y="133"/>
                  </a:lnTo>
                  <a:lnTo>
                    <a:pt x="653" y="136"/>
                  </a:lnTo>
                  <a:lnTo>
                    <a:pt x="653" y="136"/>
                  </a:lnTo>
                  <a:lnTo>
                    <a:pt x="653" y="138"/>
                  </a:lnTo>
                  <a:lnTo>
                    <a:pt x="653" y="138"/>
                  </a:lnTo>
                  <a:lnTo>
                    <a:pt x="653" y="140"/>
                  </a:lnTo>
                  <a:lnTo>
                    <a:pt x="653" y="140"/>
                  </a:lnTo>
                  <a:lnTo>
                    <a:pt x="653" y="144"/>
                  </a:lnTo>
                  <a:lnTo>
                    <a:pt x="653" y="146"/>
                  </a:lnTo>
                  <a:lnTo>
                    <a:pt x="653" y="148"/>
                  </a:lnTo>
                  <a:lnTo>
                    <a:pt x="655" y="150"/>
                  </a:lnTo>
                  <a:lnTo>
                    <a:pt x="655" y="150"/>
                  </a:lnTo>
                  <a:lnTo>
                    <a:pt x="655" y="152"/>
                  </a:lnTo>
                  <a:lnTo>
                    <a:pt x="655" y="154"/>
                  </a:lnTo>
                  <a:lnTo>
                    <a:pt x="657" y="156"/>
                  </a:lnTo>
                  <a:lnTo>
                    <a:pt x="657" y="156"/>
                  </a:lnTo>
                  <a:lnTo>
                    <a:pt x="659" y="154"/>
                  </a:lnTo>
                  <a:lnTo>
                    <a:pt x="659" y="154"/>
                  </a:lnTo>
                  <a:lnTo>
                    <a:pt x="661" y="154"/>
                  </a:lnTo>
                  <a:lnTo>
                    <a:pt x="661" y="154"/>
                  </a:lnTo>
                  <a:lnTo>
                    <a:pt x="661" y="156"/>
                  </a:lnTo>
                  <a:lnTo>
                    <a:pt x="661" y="156"/>
                  </a:lnTo>
                  <a:lnTo>
                    <a:pt x="661" y="156"/>
                  </a:lnTo>
                  <a:lnTo>
                    <a:pt x="661" y="158"/>
                  </a:lnTo>
                  <a:lnTo>
                    <a:pt x="661" y="160"/>
                  </a:lnTo>
                  <a:lnTo>
                    <a:pt x="661" y="160"/>
                  </a:lnTo>
                  <a:lnTo>
                    <a:pt x="661" y="162"/>
                  </a:lnTo>
                  <a:lnTo>
                    <a:pt x="663" y="162"/>
                  </a:lnTo>
                  <a:lnTo>
                    <a:pt x="665" y="162"/>
                  </a:lnTo>
                  <a:lnTo>
                    <a:pt x="667" y="162"/>
                  </a:lnTo>
                  <a:lnTo>
                    <a:pt x="667" y="162"/>
                  </a:lnTo>
                  <a:lnTo>
                    <a:pt x="667" y="164"/>
                  </a:lnTo>
                  <a:lnTo>
                    <a:pt x="667" y="168"/>
                  </a:lnTo>
                  <a:lnTo>
                    <a:pt x="667" y="170"/>
                  </a:lnTo>
                  <a:lnTo>
                    <a:pt x="665" y="176"/>
                  </a:lnTo>
                  <a:lnTo>
                    <a:pt x="667" y="176"/>
                  </a:lnTo>
                  <a:lnTo>
                    <a:pt x="671" y="179"/>
                  </a:lnTo>
                  <a:lnTo>
                    <a:pt x="671" y="179"/>
                  </a:lnTo>
                  <a:lnTo>
                    <a:pt x="673" y="179"/>
                  </a:lnTo>
                  <a:lnTo>
                    <a:pt x="671" y="181"/>
                  </a:lnTo>
                  <a:lnTo>
                    <a:pt x="669" y="183"/>
                  </a:lnTo>
                  <a:lnTo>
                    <a:pt x="669" y="185"/>
                  </a:lnTo>
                  <a:lnTo>
                    <a:pt x="669" y="189"/>
                  </a:lnTo>
                  <a:lnTo>
                    <a:pt x="669" y="191"/>
                  </a:lnTo>
                  <a:lnTo>
                    <a:pt x="669" y="191"/>
                  </a:lnTo>
                  <a:lnTo>
                    <a:pt x="673" y="193"/>
                  </a:lnTo>
                  <a:lnTo>
                    <a:pt x="676" y="193"/>
                  </a:lnTo>
                  <a:lnTo>
                    <a:pt x="673" y="195"/>
                  </a:lnTo>
                  <a:lnTo>
                    <a:pt x="673" y="195"/>
                  </a:lnTo>
                  <a:lnTo>
                    <a:pt x="673" y="199"/>
                  </a:lnTo>
                  <a:lnTo>
                    <a:pt x="673" y="201"/>
                  </a:lnTo>
                  <a:lnTo>
                    <a:pt x="673" y="203"/>
                  </a:lnTo>
                  <a:lnTo>
                    <a:pt x="673" y="205"/>
                  </a:lnTo>
                  <a:lnTo>
                    <a:pt x="673" y="205"/>
                  </a:lnTo>
                  <a:lnTo>
                    <a:pt x="673" y="205"/>
                  </a:lnTo>
                  <a:lnTo>
                    <a:pt x="673" y="205"/>
                  </a:lnTo>
                  <a:lnTo>
                    <a:pt x="673" y="205"/>
                  </a:lnTo>
                  <a:lnTo>
                    <a:pt x="673" y="207"/>
                  </a:lnTo>
                  <a:lnTo>
                    <a:pt x="673" y="207"/>
                  </a:lnTo>
                  <a:lnTo>
                    <a:pt x="673" y="207"/>
                  </a:lnTo>
                  <a:lnTo>
                    <a:pt x="673" y="209"/>
                  </a:lnTo>
                  <a:lnTo>
                    <a:pt x="673" y="209"/>
                  </a:lnTo>
                  <a:lnTo>
                    <a:pt x="673" y="211"/>
                  </a:lnTo>
                  <a:lnTo>
                    <a:pt x="676" y="211"/>
                  </a:lnTo>
                  <a:lnTo>
                    <a:pt x="676" y="213"/>
                  </a:lnTo>
                  <a:lnTo>
                    <a:pt x="678" y="213"/>
                  </a:lnTo>
                  <a:lnTo>
                    <a:pt x="678" y="215"/>
                  </a:lnTo>
                  <a:lnTo>
                    <a:pt x="676" y="217"/>
                  </a:lnTo>
                  <a:lnTo>
                    <a:pt x="678" y="217"/>
                  </a:lnTo>
                  <a:lnTo>
                    <a:pt x="678" y="222"/>
                  </a:lnTo>
                  <a:lnTo>
                    <a:pt x="678" y="224"/>
                  </a:lnTo>
                  <a:lnTo>
                    <a:pt x="678" y="226"/>
                  </a:lnTo>
                  <a:lnTo>
                    <a:pt x="678" y="228"/>
                  </a:lnTo>
                  <a:lnTo>
                    <a:pt x="678" y="230"/>
                  </a:lnTo>
                  <a:lnTo>
                    <a:pt x="678" y="232"/>
                  </a:lnTo>
                  <a:lnTo>
                    <a:pt x="678" y="234"/>
                  </a:lnTo>
                  <a:lnTo>
                    <a:pt x="678" y="234"/>
                  </a:lnTo>
                  <a:lnTo>
                    <a:pt x="678" y="236"/>
                  </a:lnTo>
                  <a:lnTo>
                    <a:pt x="676" y="238"/>
                  </a:lnTo>
                  <a:lnTo>
                    <a:pt x="676" y="238"/>
                  </a:lnTo>
                  <a:lnTo>
                    <a:pt x="676" y="240"/>
                  </a:lnTo>
                  <a:lnTo>
                    <a:pt x="676" y="240"/>
                  </a:lnTo>
                  <a:lnTo>
                    <a:pt x="676" y="242"/>
                  </a:lnTo>
                  <a:lnTo>
                    <a:pt x="676" y="242"/>
                  </a:lnTo>
                  <a:lnTo>
                    <a:pt x="676" y="244"/>
                  </a:lnTo>
                  <a:lnTo>
                    <a:pt x="678" y="246"/>
                  </a:lnTo>
                  <a:lnTo>
                    <a:pt x="682" y="246"/>
                  </a:lnTo>
                  <a:lnTo>
                    <a:pt x="684" y="248"/>
                  </a:lnTo>
                  <a:lnTo>
                    <a:pt x="684" y="250"/>
                  </a:lnTo>
                  <a:lnTo>
                    <a:pt x="684" y="252"/>
                  </a:lnTo>
                  <a:lnTo>
                    <a:pt x="684" y="254"/>
                  </a:lnTo>
                  <a:lnTo>
                    <a:pt x="684" y="256"/>
                  </a:lnTo>
                  <a:lnTo>
                    <a:pt x="684" y="261"/>
                  </a:lnTo>
                  <a:lnTo>
                    <a:pt x="686" y="261"/>
                  </a:lnTo>
                  <a:lnTo>
                    <a:pt x="688" y="261"/>
                  </a:lnTo>
                  <a:lnTo>
                    <a:pt x="690" y="263"/>
                  </a:lnTo>
                  <a:lnTo>
                    <a:pt x="690" y="263"/>
                  </a:lnTo>
                  <a:lnTo>
                    <a:pt x="690" y="265"/>
                  </a:lnTo>
                  <a:lnTo>
                    <a:pt x="690" y="265"/>
                  </a:lnTo>
                  <a:lnTo>
                    <a:pt x="690" y="267"/>
                  </a:lnTo>
                  <a:lnTo>
                    <a:pt x="692" y="269"/>
                  </a:lnTo>
                  <a:lnTo>
                    <a:pt x="692" y="271"/>
                  </a:lnTo>
                  <a:lnTo>
                    <a:pt x="694" y="271"/>
                  </a:lnTo>
                  <a:lnTo>
                    <a:pt x="694" y="273"/>
                  </a:lnTo>
                  <a:lnTo>
                    <a:pt x="694" y="275"/>
                  </a:lnTo>
                  <a:lnTo>
                    <a:pt x="694" y="275"/>
                  </a:lnTo>
                  <a:lnTo>
                    <a:pt x="694" y="275"/>
                  </a:lnTo>
                  <a:lnTo>
                    <a:pt x="696" y="277"/>
                  </a:lnTo>
                  <a:lnTo>
                    <a:pt x="696" y="281"/>
                  </a:lnTo>
                  <a:lnTo>
                    <a:pt x="696" y="281"/>
                  </a:lnTo>
                  <a:lnTo>
                    <a:pt x="696" y="281"/>
                  </a:lnTo>
                  <a:lnTo>
                    <a:pt x="696" y="283"/>
                  </a:lnTo>
                  <a:lnTo>
                    <a:pt x="694" y="283"/>
                  </a:lnTo>
                  <a:lnTo>
                    <a:pt x="696" y="285"/>
                  </a:lnTo>
                  <a:lnTo>
                    <a:pt x="696" y="285"/>
                  </a:lnTo>
                  <a:lnTo>
                    <a:pt x="698" y="285"/>
                  </a:lnTo>
                  <a:lnTo>
                    <a:pt x="700" y="285"/>
                  </a:lnTo>
                  <a:lnTo>
                    <a:pt x="702" y="285"/>
                  </a:lnTo>
                  <a:lnTo>
                    <a:pt x="702" y="287"/>
                  </a:lnTo>
                  <a:lnTo>
                    <a:pt x="702" y="289"/>
                  </a:lnTo>
                  <a:lnTo>
                    <a:pt x="704" y="289"/>
                  </a:lnTo>
                  <a:lnTo>
                    <a:pt x="704" y="289"/>
                  </a:lnTo>
                  <a:lnTo>
                    <a:pt x="708" y="291"/>
                  </a:lnTo>
                  <a:lnTo>
                    <a:pt x="710" y="291"/>
                  </a:lnTo>
                  <a:lnTo>
                    <a:pt x="710" y="291"/>
                  </a:lnTo>
                  <a:lnTo>
                    <a:pt x="710" y="293"/>
                  </a:lnTo>
                  <a:lnTo>
                    <a:pt x="710" y="295"/>
                  </a:lnTo>
                  <a:lnTo>
                    <a:pt x="712" y="299"/>
                  </a:lnTo>
                  <a:lnTo>
                    <a:pt x="712" y="299"/>
                  </a:lnTo>
                  <a:lnTo>
                    <a:pt x="714" y="302"/>
                  </a:lnTo>
                  <a:lnTo>
                    <a:pt x="716" y="304"/>
                  </a:lnTo>
                  <a:lnTo>
                    <a:pt x="716" y="306"/>
                  </a:lnTo>
                  <a:lnTo>
                    <a:pt x="716" y="306"/>
                  </a:lnTo>
                  <a:lnTo>
                    <a:pt x="716" y="308"/>
                  </a:lnTo>
                  <a:lnTo>
                    <a:pt x="714" y="310"/>
                  </a:lnTo>
                  <a:lnTo>
                    <a:pt x="716" y="312"/>
                  </a:lnTo>
                  <a:lnTo>
                    <a:pt x="716" y="314"/>
                  </a:lnTo>
                  <a:lnTo>
                    <a:pt x="721" y="314"/>
                  </a:lnTo>
                  <a:lnTo>
                    <a:pt x="723" y="314"/>
                  </a:lnTo>
                  <a:lnTo>
                    <a:pt x="725" y="316"/>
                  </a:lnTo>
                  <a:lnTo>
                    <a:pt x="706" y="318"/>
                  </a:lnTo>
                  <a:lnTo>
                    <a:pt x="690" y="318"/>
                  </a:lnTo>
                  <a:lnTo>
                    <a:pt x="671" y="318"/>
                  </a:lnTo>
                  <a:lnTo>
                    <a:pt x="655" y="320"/>
                  </a:lnTo>
                  <a:lnTo>
                    <a:pt x="637" y="320"/>
                  </a:lnTo>
                  <a:lnTo>
                    <a:pt x="618" y="320"/>
                  </a:lnTo>
                  <a:lnTo>
                    <a:pt x="602" y="322"/>
                  </a:lnTo>
                  <a:lnTo>
                    <a:pt x="583" y="322"/>
                  </a:lnTo>
                  <a:lnTo>
                    <a:pt x="567" y="322"/>
                  </a:lnTo>
                  <a:lnTo>
                    <a:pt x="549" y="322"/>
                  </a:lnTo>
                  <a:lnTo>
                    <a:pt x="530" y="322"/>
                  </a:lnTo>
                  <a:lnTo>
                    <a:pt x="514" y="324"/>
                  </a:lnTo>
                  <a:lnTo>
                    <a:pt x="495" y="324"/>
                  </a:lnTo>
                  <a:lnTo>
                    <a:pt x="479" y="324"/>
                  </a:lnTo>
                  <a:lnTo>
                    <a:pt x="460" y="324"/>
                  </a:lnTo>
                  <a:lnTo>
                    <a:pt x="444" y="324"/>
                  </a:lnTo>
                  <a:lnTo>
                    <a:pt x="426" y="324"/>
                  </a:lnTo>
                  <a:lnTo>
                    <a:pt x="407" y="324"/>
                  </a:lnTo>
                  <a:lnTo>
                    <a:pt x="391" y="324"/>
                  </a:lnTo>
                  <a:lnTo>
                    <a:pt x="372" y="324"/>
                  </a:lnTo>
                  <a:lnTo>
                    <a:pt x="356" y="324"/>
                  </a:lnTo>
                  <a:lnTo>
                    <a:pt x="338" y="324"/>
                  </a:lnTo>
                  <a:lnTo>
                    <a:pt x="321" y="324"/>
                  </a:lnTo>
                  <a:lnTo>
                    <a:pt x="303" y="324"/>
                  </a:lnTo>
                  <a:lnTo>
                    <a:pt x="284" y="324"/>
                  </a:lnTo>
                  <a:lnTo>
                    <a:pt x="268" y="324"/>
                  </a:lnTo>
                  <a:lnTo>
                    <a:pt x="250" y="324"/>
                  </a:lnTo>
                  <a:lnTo>
                    <a:pt x="233" y="324"/>
                  </a:lnTo>
                  <a:lnTo>
                    <a:pt x="215" y="324"/>
                  </a:lnTo>
                  <a:lnTo>
                    <a:pt x="198" y="324"/>
                  </a:lnTo>
                  <a:lnTo>
                    <a:pt x="180" y="324"/>
                  </a:lnTo>
                  <a:lnTo>
                    <a:pt x="161" y="324"/>
                  </a:lnTo>
                  <a:lnTo>
                    <a:pt x="161" y="316"/>
                  </a:lnTo>
                  <a:lnTo>
                    <a:pt x="161" y="310"/>
                  </a:lnTo>
                  <a:lnTo>
                    <a:pt x="163" y="304"/>
                  </a:lnTo>
                  <a:lnTo>
                    <a:pt x="163" y="297"/>
                  </a:lnTo>
                  <a:lnTo>
                    <a:pt x="163" y="289"/>
                  </a:lnTo>
                  <a:lnTo>
                    <a:pt x="163" y="283"/>
                  </a:lnTo>
                  <a:lnTo>
                    <a:pt x="163" y="277"/>
                  </a:lnTo>
                  <a:lnTo>
                    <a:pt x="163" y="271"/>
                  </a:lnTo>
                  <a:lnTo>
                    <a:pt x="163" y="263"/>
                  </a:lnTo>
                  <a:lnTo>
                    <a:pt x="163" y="256"/>
                  </a:lnTo>
                  <a:lnTo>
                    <a:pt x="163" y="250"/>
                  </a:lnTo>
                  <a:lnTo>
                    <a:pt x="163" y="244"/>
                  </a:lnTo>
                  <a:lnTo>
                    <a:pt x="163" y="236"/>
                  </a:lnTo>
                  <a:lnTo>
                    <a:pt x="163" y="230"/>
                  </a:lnTo>
                  <a:lnTo>
                    <a:pt x="163" y="224"/>
                  </a:lnTo>
                  <a:lnTo>
                    <a:pt x="163" y="217"/>
                  </a:lnTo>
                  <a:lnTo>
                    <a:pt x="157" y="217"/>
                  </a:lnTo>
                  <a:lnTo>
                    <a:pt x="147" y="217"/>
                  </a:lnTo>
                  <a:lnTo>
                    <a:pt x="137" y="215"/>
                  </a:lnTo>
                  <a:lnTo>
                    <a:pt x="127" y="215"/>
                  </a:lnTo>
                  <a:lnTo>
                    <a:pt x="116" y="215"/>
                  </a:lnTo>
                  <a:lnTo>
                    <a:pt x="106" y="215"/>
                  </a:lnTo>
                  <a:lnTo>
                    <a:pt x="98" y="215"/>
                  </a:lnTo>
                  <a:lnTo>
                    <a:pt x="88" y="215"/>
                  </a:lnTo>
                  <a:lnTo>
                    <a:pt x="77" y="215"/>
                  </a:lnTo>
                  <a:lnTo>
                    <a:pt x="67" y="215"/>
                  </a:lnTo>
                  <a:lnTo>
                    <a:pt x="57" y="213"/>
                  </a:lnTo>
                  <a:lnTo>
                    <a:pt x="49" y="213"/>
                  </a:lnTo>
                  <a:lnTo>
                    <a:pt x="39" y="213"/>
                  </a:lnTo>
                  <a:lnTo>
                    <a:pt x="28" y="213"/>
                  </a:lnTo>
                  <a:lnTo>
                    <a:pt x="18" y="213"/>
                  </a:lnTo>
                  <a:lnTo>
                    <a:pt x="8" y="213"/>
                  </a:lnTo>
                  <a:lnTo>
                    <a:pt x="0" y="213"/>
                  </a:lnTo>
                  <a:lnTo>
                    <a:pt x="0" y="199"/>
                  </a:lnTo>
                  <a:lnTo>
                    <a:pt x="0" y="187"/>
                  </a:lnTo>
                  <a:lnTo>
                    <a:pt x="0" y="172"/>
                  </a:lnTo>
                  <a:lnTo>
                    <a:pt x="0" y="160"/>
                  </a:lnTo>
                  <a:lnTo>
                    <a:pt x="2" y="146"/>
                  </a:lnTo>
                  <a:lnTo>
                    <a:pt x="2" y="133"/>
                  </a:lnTo>
                  <a:lnTo>
                    <a:pt x="2" y="119"/>
                  </a:lnTo>
                  <a:lnTo>
                    <a:pt x="2" y="107"/>
                  </a:lnTo>
                  <a:lnTo>
                    <a:pt x="2" y="92"/>
                  </a:lnTo>
                  <a:lnTo>
                    <a:pt x="4" y="80"/>
                  </a:lnTo>
                  <a:lnTo>
                    <a:pt x="4" y="66"/>
                  </a:lnTo>
                  <a:lnTo>
                    <a:pt x="4" y="54"/>
                  </a:lnTo>
                  <a:lnTo>
                    <a:pt x="4" y="39"/>
                  </a:lnTo>
                  <a:lnTo>
                    <a:pt x="6" y="27"/>
                  </a:lnTo>
                  <a:lnTo>
                    <a:pt x="6" y="13"/>
                  </a:lnTo>
                  <a:lnTo>
                    <a:pt x="6" y="0"/>
                  </a:lnTo>
                  <a:lnTo>
                    <a:pt x="20" y="0"/>
                  </a:lnTo>
                  <a:lnTo>
                    <a:pt x="32" y="2"/>
                  </a:lnTo>
                  <a:lnTo>
                    <a:pt x="47" y="2"/>
                  </a:lnTo>
                  <a:lnTo>
                    <a:pt x="61" y="2"/>
                  </a:lnTo>
                  <a:lnTo>
                    <a:pt x="75" y="2"/>
                  </a:lnTo>
                  <a:lnTo>
                    <a:pt x="88" y="2"/>
                  </a:lnTo>
                  <a:lnTo>
                    <a:pt x="102" y="2"/>
                  </a:lnTo>
                  <a:lnTo>
                    <a:pt x="116" y="4"/>
                  </a:lnTo>
                  <a:lnTo>
                    <a:pt x="131" y="4"/>
                  </a:lnTo>
                  <a:lnTo>
                    <a:pt x="143" y="4"/>
                  </a:lnTo>
                  <a:lnTo>
                    <a:pt x="157" y="4"/>
                  </a:lnTo>
                  <a:lnTo>
                    <a:pt x="172" y="4"/>
                  </a:lnTo>
                  <a:lnTo>
                    <a:pt x="186" y="4"/>
                  </a:lnTo>
                  <a:lnTo>
                    <a:pt x="198" y="4"/>
                  </a:lnTo>
                  <a:lnTo>
                    <a:pt x="213" y="6"/>
                  </a:lnTo>
                  <a:lnTo>
                    <a:pt x="227" y="6"/>
                  </a:lnTo>
                  <a:lnTo>
                    <a:pt x="239" y="6"/>
                  </a:lnTo>
                  <a:lnTo>
                    <a:pt x="254" y="6"/>
                  </a:lnTo>
                  <a:lnTo>
                    <a:pt x="268" y="6"/>
                  </a:lnTo>
                  <a:lnTo>
                    <a:pt x="282" y="6"/>
                  </a:lnTo>
                  <a:lnTo>
                    <a:pt x="295" y="6"/>
                  </a:lnTo>
                  <a:lnTo>
                    <a:pt x="309" y="6"/>
                  </a:lnTo>
                  <a:lnTo>
                    <a:pt x="323" y="6"/>
                  </a:lnTo>
                  <a:lnTo>
                    <a:pt x="338" y="6"/>
                  </a:lnTo>
                  <a:lnTo>
                    <a:pt x="350" y="6"/>
                  </a:lnTo>
                  <a:lnTo>
                    <a:pt x="364" y="6"/>
                  </a:lnTo>
                  <a:lnTo>
                    <a:pt x="379" y="6"/>
                  </a:lnTo>
                  <a:lnTo>
                    <a:pt x="393" y="6"/>
                  </a:lnTo>
                  <a:lnTo>
                    <a:pt x="405" y="6"/>
                  </a:lnTo>
                  <a:lnTo>
                    <a:pt x="420" y="6"/>
                  </a:lnTo>
                  <a:lnTo>
                    <a:pt x="434" y="6"/>
                  </a:lnTo>
                  <a:lnTo>
                    <a:pt x="446" y="6"/>
                  </a:lnTo>
                  <a:lnTo>
                    <a:pt x="454" y="6"/>
                  </a:lnTo>
                  <a:lnTo>
                    <a:pt x="454" y="6"/>
                  </a:lnTo>
                  <a:lnTo>
                    <a:pt x="454" y="6"/>
                  </a:lnTo>
                  <a:lnTo>
                    <a:pt x="456" y="8"/>
                  </a:lnTo>
                  <a:lnTo>
                    <a:pt x="456" y="8"/>
                  </a:lnTo>
                  <a:lnTo>
                    <a:pt x="465" y="13"/>
                  </a:lnTo>
                  <a:lnTo>
                    <a:pt x="467" y="13"/>
                  </a:lnTo>
                  <a:lnTo>
                    <a:pt x="467" y="13"/>
                  </a:lnTo>
                  <a:lnTo>
                    <a:pt x="467" y="15"/>
                  </a:lnTo>
                  <a:lnTo>
                    <a:pt x="471" y="17"/>
                  </a:lnTo>
                  <a:lnTo>
                    <a:pt x="475" y="19"/>
                  </a:lnTo>
                  <a:lnTo>
                    <a:pt x="485" y="23"/>
                  </a:lnTo>
                  <a:lnTo>
                    <a:pt x="487" y="25"/>
                  </a:lnTo>
                  <a:lnTo>
                    <a:pt x="487" y="25"/>
                  </a:lnTo>
                  <a:lnTo>
                    <a:pt x="487" y="25"/>
                  </a:lnTo>
                  <a:lnTo>
                    <a:pt x="493" y="27"/>
                  </a:lnTo>
                  <a:lnTo>
                    <a:pt x="495" y="27"/>
                  </a:lnTo>
                  <a:lnTo>
                    <a:pt x="497" y="27"/>
                  </a:lnTo>
                  <a:lnTo>
                    <a:pt x="499" y="27"/>
                  </a:lnTo>
                  <a:lnTo>
                    <a:pt x="501" y="25"/>
                  </a:lnTo>
                  <a:lnTo>
                    <a:pt x="501" y="25"/>
                  </a:lnTo>
                  <a:lnTo>
                    <a:pt x="501" y="25"/>
                  </a:lnTo>
                  <a:lnTo>
                    <a:pt x="501" y="23"/>
                  </a:lnTo>
                  <a:lnTo>
                    <a:pt x="503" y="21"/>
                  </a:lnTo>
                  <a:lnTo>
                    <a:pt x="503" y="21"/>
                  </a:lnTo>
                  <a:lnTo>
                    <a:pt x="503" y="19"/>
                  </a:lnTo>
                  <a:lnTo>
                    <a:pt x="506" y="19"/>
                  </a:lnTo>
                  <a:lnTo>
                    <a:pt x="508" y="19"/>
                  </a:lnTo>
                  <a:lnTo>
                    <a:pt x="512" y="19"/>
                  </a:lnTo>
                  <a:lnTo>
                    <a:pt x="516" y="19"/>
                  </a:lnTo>
                  <a:lnTo>
                    <a:pt x="518" y="19"/>
                  </a:lnTo>
                  <a:lnTo>
                    <a:pt x="518" y="19"/>
                  </a:lnTo>
                  <a:lnTo>
                    <a:pt x="520" y="21"/>
                  </a:lnTo>
                  <a:lnTo>
                    <a:pt x="522" y="21"/>
                  </a:lnTo>
                  <a:lnTo>
                    <a:pt x="524" y="19"/>
                  </a:lnTo>
                  <a:lnTo>
                    <a:pt x="526" y="17"/>
                  </a:lnTo>
                  <a:lnTo>
                    <a:pt x="532" y="19"/>
                  </a:lnTo>
                  <a:lnTo>
                    <a:pt x="534" y="19"/>
                  </a:lnTo>
                  <a:lnTo>
                    <a:pt x="551" y="15"/>
                  </a:lnTo>
                  <a:lnTo>
                    <a:pt x="553" y="17"/>
                  </a:lnTo>
                  <a:lnTo>
                    <a:pt x="555" y="17"/>
                  </a:lnTo>
                  <a:lnTo>
                    <a:pt x="557" y="19"/>
                  </a:lnTo>
                  <a:lnTo>
                    <a:pt x="559" y="21"/>
                  </a:lnTo>
                  <a:lnTo>
                    <a:pt x="561" y="23"/>
                  </a:lnTo>
                  <a:lnTo>
                    <a:pt x="563" y="25"/>
                  </a:lnTo>
                  <a:lnTo>
                    <a:pt x="565" y="25"/>
                  </a:lnTo>
                  <a:lnTo>
                    <a:pt x="567" y="27"/>
                  </a:lnTo>
                  <a:lnTo>
                    <a:pt x="571" y="27"/>
                  </a:lnTo>
                  <a:lnTo>
                    <a:pt x="571" y="27"/>
                  </a:lnTo>
                  <a:lnTo>
                    <a:pt x="573" y="27"/>
                  </a:lnTo>
                  <a:lnTo>
                    <a:pt x="575" y="27"/>
                  </a:lnTo>
                  <a:lnTo>
                    <a:pt x="577" y="29"/>
                  </a:lnTo>
                  <a:lnTo>
                    <a:pt x="577" y="29"/>
                  </a:lnTo>
                  <a:lnTo>
                    <a:pt x="577" y="29"/>
                  </a:lnTo>
                  <a:lnTo>
                    <a:pt x="579" y="29"/>
                  </a:lnTo>
                  <a:lnTo>
                    <a:pt x="587" y="31"/>
                  </a:lnTo>
                  <a:lnTo>
                    <a:pt x="589" y="31"/>
                  </a:lnTo>
                  <a:lnTo>
                    <a:pt x="589" y="33"/>
                  </a:lnTo>
                  <a:lnTo>
                    <a:pt x="589" y="33"/>
                  </a:lnTo>
                  <a:lnTo>
                    <a:pt x="592" y="35"/>
                  </a:lnTo>
                  <a:lnTo>
                    <a:pt x="592" y="35"/>
                  </a:lnTo>
                  <a:lnTo>
                    <a:pt x="592" y="35"/>
                  </a:lnTo>
                  <a:lnTo>
                    <a:pt x="594" y="37"/>
                  </a:lnTo>
                  <a:lnTo>
                    <a:pt x="594" y="37"/>
                  </a:lnTo>
                  <a:lnTo>
                    <a:pt x="598" y="35"/>
                  </a:lnTo>
                  <a:lnTo>
                    <a:pt x="598" y="35"/>
                  </a:lnTo>
                  <a:lnTo>
                    <a:pt x="600" y="37"/>
                  </a:lnTo>
                  <a:lnTo>
                    <a:pt x="600" y="37"/>
                  </a:lnTo>
                  <a:lnTo>
                    <a:pt x="600" y="37"/>
                  </a:lnTo>
                  <a:lnTo>
                    <a:pt x="600" y="39"/>
                  </a:lnTo>
                  <a:lnTo>
                    <a:pt x="600" y="39"/>
                  </a:lnTo>
                  <a:lnTo>
                    <a:pt x="600" y="41"/>
                  </a:lnTo>
                  <a:lnTo>
                    <a:pt x="600" y="41"/>
                  </a:lnTo>
                  <a:lnTo>
                    <a:pt x="600" y="43"/>
                  </a:lnTo>
                  <a:lnTo>
                    <a:pt x="604" y="45"/>
                  </a:lnTo>
                  <a:lnTo>
                    <a:pt x="606" y="47"/>
                  </a:lnTo>
                  <a:lnTo>
                    <a:pt x="606" y="49"/>
                  </a:lnTo>
                  <a:lnTo>
                    <a:pt x="606" y="51"/>
                  </a:lnTo>
                  <a:lnTo>
                    <a:pt x="608" y="51"/>
                  </a:lnTo>
                  <a:lnTo>
                    <a:pt x="618" y="54"/>
                  </a:lnTo>
                  <a:lnTo>
                    <a:pt x="618" y="54"/>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E</a:t>
              </a:r>
            </a:p>
          </p:txBody>
        </p:sp>
        <p:sp>
          <p:nvSpPr>
            <p:cNvPr id="316" name="Freeform 27">
              <a:extLst>
                <a:ext uri="{FF2B5EF4-FFF2-40B4-BE49-F238E27FC236}">
                  <a16:creationId xmlns:a16="http://schemas.microsoft.com/office/drawing/2014/main" id="{16CA0474-778E-BB64-5141-A909A0EF8CFD}"/>
                </a:ext>
              </a:extLst>
            </p:cNvPr>
            <p:cNvSpPr>
              <a:spLocks/>
            </p:cNvSpPr>
            <p:nvPr/>
          </p:nvSpPr>
          <p:spPr bwMode="auto">
            <a:xfrm>
              <a:off x="2412" y="174"/>
              <a:ext cx="584" cy="320"/>
            </a:xfrm>
            <a:custGeom>
              <a:avLst/>
              <a:gdLst>
                <a:gd name="T0" fmla="*/ 528 w 584"/>
                <a:gd name="T1" fmla="*/ 318 h 320"/>
                <a:gd name="T2" fmla="*/ 455 w 584"/>
                <a:gd name="T3" fmla="*/ 320 h 320"/>
                <a:gd name="T4" fmla="*/ 383 w 584"/>
                <a:gd name="T5" fmla="*/ 320 h 320"/>
                <a:gd name="T6" fmla="*/ 309 w 584"/>
                <a:gd name="T7" fmla="*/ 320 h 320"/>
                <a:gd name="T8" fmla="*/ 238 w 584"/>
                <a:gd name="T9" fmla="*/ 320 h 320"/>
                <a:gd name="T10" fmla="*/ 164 w 584"/>
                <a:gd name="T11" fmla="*/ 320 h 320"/>
                <a:gd name="T12" fmla="*/ 92 w 584"/>
                <a:gd name="T13" fmla="*/ 318 h 320"/>
                <a:gd name="T14" fmla="*/ 19 w 584"/>
                <a:gd name="T15" fmla="*/ 316 h 320"/>
                <a:gd name="T16" fmla="*/ 2 w 584"/>
                <a:gd name="T17" fmla="*/ 256 h 320"/>
                <a:gd name="T18" fmla="*/ 4 w 584"/>
                <a:gd name="T19" fmla="*/ 177 h 320"/>
                <a:gd name="T20" fmla="*/ 6 w 584"/>
                <a:gd name="T21" fmla="*/ 99 h 320"/>
                <a:gd name="T22" fmla="*/ 10 w 584"/>
                <a:gd name="T23" fmla="*/ 21 h 320"/>
                <a:gd name="T24" fmla="*/ 47 w 584"/>
                <a:gd name="T25" fmla="*/ 2 h 320"/>
                <a:gd name="T26" fmla="*/ 115 w 584"/>
                <a:gd name="T27" fmla="*/ 4 h 320"/>
                <a:gd name="T28" fmla="*/ 180 w 584"/>
                <a:gd name="T29" fmla="*/ 4 h 320"/>
                <a:gd name="T30" fmla="*/ 229 w 584"/>
                <a:gd name="T31" fmla="*/ 6 h 320"/>
                <a:gd name="T32" fmla="*/ 297 w 584"/>
                <a:gd name="T33" fmla="*/ 6 h 320"/>
                <a:gd name="T34" fmla="*/ 363 w 584"/>
                <a:gd name="T35" fmla="*/ 6 h 320"/>
                <a:gd name="T36" fmla="*/ 428 w 584"/>
                <a:gd name="T37" fmla="*/ 4 h 320"/>
                <a:gd name="T38" fmla="*/ 496 w 584"/>
                <a:gd name="T39" fmla="*/ 4 h 320"/>
                <a:gd name="T40" fmla="*/ 522 w 584"/>
                <a:gd name="T41" fmla="*/ 6 h 320"/>
                <a:gd name="T42" fmla="*/ 524 w 584"/>
                <a:gd name="T43" fmla="*/ 13 h 320"/>
                <a:gd name="T44" fmla="*/ 526 w 584"/>
                <a:gd name="T45" fmla="*/ 19 h 320"/>
                <a:gd name="T46" fmla="*/ 533 w 584"/>
                <a:gd name="T47" fmla="*/ 33 h 320"/>
                <a:gd name="T48" fmla="*/ 528 w 584"/>
                <a:gd name="T49" fmla="*/ 49 h 320"/>
                <a:gd name="T50" fmla="*/ 533 w 584"/>
                <a:gd name="T51" fmla="*/ 62 h 320"/>
                <a:gd name="T52" fmla="*/ 533 w 584"/>
                <a:gd name="T53" fmla="*/ 74 h 320"/>
                <a:gd name="T54" fmla="*/ 533 w 584"/>
                <a:gd name="T55" fmla="*/ 88 h 320"/>
                <a:gd name="T56" fmla="*/ 539 w 584"/>
                <a:gd name="T57" fmla="*/ 107 h 320"/>
                <a:gd name="T58" fmla="*/ 543 w 584"/>
                <a:gd name="T59" fmla="*/ 117 h 320"/>
                <a:gd name="T60" fmla="*/ 543 w 584"/>
                <a:gd name="T61" fmla="*/ 123 h 320"/>
                <a:gd name="T62" fmla="*/ 545 w 584"/>
                <a:gd name="T63" fmla="*/ 125 h 320"/>
                <a:gd name="T64" fmla="*/ 549 w 584"/>
                <a:gd name="T65" fmla="*/ 131 h 320"/>
                <a:gd name="T66" fmla="*/ 553 w 584"/>
                <a:gd name="T67" fmla="*/ 142 h 320"/>
                <a:gd name="T68" fmla="*/ 555 w 584"/>
                <a:gd name="T69" fmla="*/ 146 h 320"/>
                <a:gd name="T70" fmla="*/ 555 w 584"/>
                <a:gd name="T71" fmla="*/ 150 h 320"/>
                <a:gd name="T72" fmla="*/ 555 w 584"/>
                <a:gd name="T73" fmla="*/ 156 h 320"/>
                <a:gd name="T74" fmla="*/ 555 w 584"/>
                <a:gd name="T75" fmla="*/ 166 h 320"/>
                <a:gd name="T76" fmla="*/ 557 w 584"/>
                <a:gd name="T77" fmla="*/ 183 h 320"/>
                <a:gd name="T78" fmla="*/ 557 w 584"/>
                <a:gd name="T79" fmla="*/ 191 h 320"/>
                <a:gd name="T80" fmla="*/ 559 w 584"/>
                <a:gd name="T81" fmla="*/ 201 h 320"/>
                <a:gd name="T82" fmla="*/ 561 w 584"/>
                <a:gd name="T83" fmla="*/ 211 h 320"/>
                <a:gd name="T84" fmla="*/ 561 w 584"/>
                <a:gd name="T85" fmla="*/ 213 h 320"/>
                <a:gd name="T86" fmla="*/ 563 w 584"/>
                <a:gd name="T87" fmla="*/ 215 h 320"/>
                <a:gd name="T88" fmla="*/ 563 w 584"/>
                <a:gd name="T89" fmla="*/ 217 h 320"/>
                <a:gd name="T90" fmla="*/ 561 w 584"/>
                <a:gd name="T91" fmla="*/ 226 h 320"/>
                <a:gd name="T92" fmla="*/ 561 w 584"/>
                <a:gd name="T93" fmla="*/ 230 h 320"/>
                <a:gd name="T94" fmla="*/ 561 w 584"/>
                <a:gd name="T95" fmla="*/ 242 h 320"/>
                <a:gd name="T96" fmla="*/ 565 w 584"/>
                <a:gd name="T97" fmla="*/ 250 h 320"/>
                <a:gd name="T98" fmla="*/ 567 w 584"/>
                <a:gd name="T99" fmla="*/ 261 h 320"/>
                <a:gd name="T100" fmla="*/ 569 w 584"/>
                <a:gd name="T101" fmla="*/ 263 h 320"/>
                <a:gd name="T102" fmla="*/ 578 w 584"/>
                <a:gd name="T103" fmla="*/ 275 h 320"/>
                <a:gd name="T104" fmla="*/ 580 w 584"/>
                <a:gd name="T105" fmla="*/ 287 h 320"/>
                <a:gd name="T106" fmla="*/ 582 w 584"/>
                <a:gd name="T107" fmla="*/ 293 h 320"/>
                <a:gd name="T108" fmla="*/ 582 w 584"/>
                <a:gd name="T109" fmla="*/ 299 h 320"/>
                <a:gd name="T110" fmla="*/ 582 w 584"/>
                <a:gd name="T111" fmla="*/ 31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320">
                  <a:moveTo>
                    <a:pt x="584" y="316"/>
                  </a:moveTo>
                  <a:lnTo>
                    <a:pt x="565" y="318"/>
                  </a:lnTo>
                  <a:lnTo>
                    <a:pt x="547" y="318"/>
                  </a:lnTo>
                  <a:lnTo>
                    <a:pt x="528" y="318"/>
                  </a:lnTo>
                  <a:lnTo>
                    <a:pt x="510" y="318"/>
                  </a:lnTo>
                  <a:lnTo>
                    <a:pt x="492" y="318"/>
                  </a:lnTo>
                  <a:lnTo>
                    <a:pt x="473" y="320"/>
                  </a:lnTo>
                  <a:lnTo>
                    <a:pt x="455" y="320"/>
                  </a:lnTo>
                  <a:lnTo>
                    <a:pt x="436" y="320"/>
                  </a:lnTo>
                  <a:lnTo>
                    <a:pt x="420" y="320"/>
                  </a:lnTo>
                  <a:lnTo>
                    <a:pt x="402" y="320"/>
                  </a:lnTo>
                  <a:lnTo>
                    <a:pt x="383" y="320"/>
                  </a:lnTo>
                  <a:lnTo>
                    <a:pt x="365" y="320"/>
                  </a:lnTo>
                  <a:lnTo>
                    <a:pt x="346" y="320"/>
                  </a:lnTo>
                  <a:lnTo>
                    <a:pt x="328" y="320"/>
                  </a:lnTo>
                  <a:lnTo>
                    <a:pt x="309" y="320"/>
                  </a:lnTo>
                  <a:lnTo>
                    <a:pt x="291" y="320"/>
                  </a:lnTo>
                  <a:lnTo>
                    <a:pt x="272" y="320"/>
                  </a:lnTo>
                  <a:lnTo>
                    <a:pt x="256" y="320"/>
                  </a:lnTo>
                  <a:lnTo>
                    <a:pt x="238" y="320"/>
                  </a:lnTo>
                  <a:lnTo>
                    <a:pt x="219" y="320"/>
                  </a:lnTo>
                  <a:lnTo>
                    <a:pt x="201" y="320"/>
                  </a:lnTo>
                  <a:lnTo>
                    <a:pt x="182" y="320"/>
                  </a:lnTo>
                  <a:lnTo>
                    <a:pt x="164" y="320"/>
                  </a:lnTo>
                  <a:lnTo>
                    <a:pt x="145" y="320"/>
                  </a:lnTo>
                  <a:lnTo>
                    <a:pt x="127" y="318"/>
                  </a:lnTo>
                  <a:lnTo>
                    <a:pt x="111" y="318"/>
                  </a:lnTo>
                  <a:lnTo>
                    <a:pt x="92" y="318"/>
                  </a:lnTo>
                  <a:lnTo>
                    <a:pt x="74" y="318"/>
                  </a:lnTo>
                  <a:lnTo>
                    <a:pt x="55" y="316"/>
                  </a:lnTo>
                  <a:lnTo>
                    <a:pt x="37" y="316"/>
                  </a:lnTo>
                  <a:lnTo>
                    <a:pt x="19" y="316"/>
                  </a:lnTo>
                  <a:lnTo>
                    <a:pt x="0" y="316"/>
                  </a:lnTo>
                  <a:lnTo>
                    <a:pt x="0" y="295"/>
                  </a:lnTo>
                  <a:lnTo>
                    <a:pt x="2" y="275"/>
                  </a:lnTo>
                  <a:lnTo>
                    <a:pt x="2" y="256"/>
                  </a:lnTo>
                  <a:lnTo>
                    <a:pt x="2" y="236"/>
                  </a:lnTo>
                  <a:lnTo>
                    <a:pt x="4" y="215"/>
                  </a:lnTo>
                  <a:lnTo>
                    <a:pt x="4" y="197"/>
                  </a:lnTo>
                  <a:lnTo>
                    <a:pt x="4" y="177"/>
                  </a:lnTo>
                  <a:lnTo>
                    <a:pt x="6" y="156"/>
                  </a:lnTo>
                  <a:lnTo>
                    <a:pt x="6" y="138"/>
                  </a:lnTo>
                  <a:lnTo>
                    <a:pt x="6" y="117"/>
                  </a:lnTo>
                  <a:lnTo>
                    <a:pt x="6" y="99"/>
                  </a:lnTo>
                  <a:lnTo>
                    <a:pt x="8" y="78"/>
                  </a:lnTo>
                  <a:lnTo>
                    <a:pt x="8" y="60"/>
                  </a:lnTo>
                  <a:lnTo>
                    <a:pt x="8" y="39"/>
                  </a:lnTo>
                  <a:lnTo>
                    <a:pt x="10" y="21"/>
                  </a:lnTo>
                  <a:lnTo>
                    <a:pt x="10" y="0"/>
                  </a:lnTo>
                  <a:lnTo>
                    <a:pt x="14" y="0"/>
                  </a:lnTo>
                  <a:lnTo>
                    <a:pt x="31" y="2"/>
                  </a:lnTo>
                  <a:lnTo>
                    <a:pt x="47" y="2"/>
                  </a:lnTo>
                  <a:lnTo>
                    <a:pt x="64" y="2"/>
                  </a:lnTo>
                  <a:lnTo>
                    <a:pt x="82" y="2"/>
                  </a:lnTo>
                  <a:lnTo>
                    <a:pt x="98" y="4"/>
                  </a:lnTo>
                  <a:lnTo>
                    <a:pt x="115" y="4"/>
                  </a:lnTo>
                  <a:lnTo>
                    <a:pt x="131" y="4"/>
                  </a:lnTo>
                  <a:lnTo>
                    <a:pt x="148" y="4"/>
                  </a:lnTo>
                  <a:lnTo>
                    <a:pt x="164" y="4"/>
                  </a:lnTo>
                  <a:lnTo>
                    <a:pt x="180" y="4"/>
                  </a:lnTo>
                  <a:lnTo>
                    <a:pt x="197" y="4"/>
                  </a:lnTo>
                  <a:lnTo>
                    <a:pt x="211" y="6"/>
                  </a:lnTo>
                  <a:lnTo>
                    <a:pt x="213" y="6"/>
                  </a:lnTo>
                  <a:lnTo>
                    <a:pt x="229" y="6"/>
                  </a:lnTo>
                  <a:lnTo>
                    <a:pt x="246" y="6"/>
                  </a:lnTo>
                  <a:lnTo>
                    <a:pt x="262" y="6"/>
                  </a:lnTo>
                  <a:lnTo>
                    <a:pt x="281" y="6"/>
                  </a:lnTo>
                  <a:lnTo>
                    <a:pt x="297" y="6"/>
                  </a:lnTo>
                  <a:lnTo>
                    <a:pt x="313" y="6"/>
                  </a:lnTo>
                  <a:lnTo>
                    <a:pt x="330" y="6"/>
                  </a:lnTo>
                  <a:lnTo>
                    <a:pt x="346" y="6"/>
                  </a:lnTo>
                  <a:lnTo>
                    <a:pt x="363" y="6"/>
                  </a:lnTo>
                  <a:lnTo>
                    <a:pt x="379" y="6"/>
                  </a:lnTo>
                  <a:lnTo>
                    <a:pt x="395" y="6"/>
                  </a:lnTo>
                  <a:lnTo>
                    <a:pt x="412" y="6"/>
                  </a:lnTo>
                  <a:lnTo>
                    <a:pt x="428" y="4"/>
                  </a:lnTo>
                  <a:lnTo>
                    <a:pt x="445" y="4"/>
                  </a:lnTo>
                  <a:lnTo>
                    <a:pt x="461" y="4"/>
                  </a:lnTo>
                  <a:lnTo>
                    <a:pt x="479" y="4"/>
                  </a:lnTo>
                  <a:lnTo>
                    <a:pt x="496" y="4"/>
                  </a:lnTo>
                  <a:lnTo>
                    <a:pt x="512" y="4"/>
                  </a:lnTo>
                  <a:lnTo>
                    <a:pt x="522" y="4"/>
                  </a:lnTo>
                  <a:lnTo>
                    <a:pt x="522" y="4"/>
                  </a:lnTo>
                  <a:lnTo>
                    <a:pt x="522" y="6"/>
                  </a:lnTo>
                  <a:lnTo>
                    <a:pt x="522" y="8"/>
                  </a:lnTo>
                  <a:lnTo>
                    <a:pt x="524" y="8"/>
                  </a:lnTo>
                  <a:lnTo>
                    <a:pt x="524" y="11"/>
                  </a:lnTo>
                  <a:lnTo>
                    <a:pt x="524" y="13"/>
                  </a:lnTo>
                  <a:lnTo>
                    <a:pt x="524" y="13"/>
                  </a:lnTo>
                  <a:lnTo>
                    <a:pt x="526" y="15"/>
                  </a:lnTo>
                  <a:lnTo>
                    <a:pt x="526" y="15"/>
                  </a:lnTo>
                  <a:lnTo>
                    <a:pt x="526" y="19"/>
                  </a:lnTo>
                  <a:lnTo>
                    <a:pt x="528" y="25"/>
                  </a:lnTo>
                  <a:lnTo>
                    <a:pt x="531" y="29"/>
                  </a:lnTo>
                  <a:lnTo>
                    <a:pt x="531" y="29"/>
                  </a:lnTo>
                  <a:lnTo>
                    <a:pt x="533" y="33"/>
                  </a:lnTo>
                  <a:lnTo>
                    <a:pt x="533" y="39"/>
                  </a:lnTo>
                  <a:lnTo>
                    <a:pt x="533" y="41"/>
                  </a:lnTo>
                  <a:lnTo>
                    <a:pt x="531" y="45"/>
                  </a:lnTo>
                  <a:lnTo>
                    <a:pt x="528" y="49"/>
                  </a:lnTo>
                  <a:lnTo>
                    <a:pt x="531" y="56"/>
                  </a:lnTo>
                  <a:lnTo>
                    <a:pt x="531" y="60"/>
                  </a:lnTo>
                  <a:lnTo>
                    <a:pt x="533" y="62"/>
                  </a:lnTo>
                  <a:lnTo>
                    <a:pt x="533" y="62"/>
                  </a:lnTo>
                  <a:lnTo>
                    <a:pt x="533" y="64"/>
                  </a:lnTo>
                  <a:lnTo>
                    <a:pt x="531" y="66"/>
                  </a:lnTo>
                  <a:lnTo>
                    <a:pt x="531" y="66"/>
                  </a:lnTo>
                  <a:lnTo>
                    <a:pt x="533" y="74"/>
                  </a:lnTo>
                  <a:lnTo>
                    <a:pt x="533" y="74"/>
                  </a:lnTo>
                  <a:lnTo>
                    <a:pt x="533" y="76"/>
                  </a:lnTo>
                  <a:lnTo>
                    <a:pt x="533" y="82"/>
                  </a:lnTo>
                  <a:lnTo>
                    <a:pt x="533" y="88"/>
                  </a:lnTo>
                  <a:lnTo>
                    <a:pt x="533" y="90"/>
                  </a:lnTo>
                  <a:lnTo>
                    <a:pt x="535" y="95"/>
                  </a:lnTo>
                  <a:lnTo>
                    <a:pt x="539" y="103"/>
                  </a:lnTo>
                  <a:lnTo>
                    <a:pt x="539" y="107"/>
                  </a:lnTo>
                  <a:lnTo>
                    <a:pt x="541" y="109"/>
                  </a:lnTo>
                  <a:lnTo>
                    <a:pt x="543" y="113"/>
                  </a:lnTo>
                  <a:lnTo>
                    <a:pt x="541" y="115"/>
                  </a:lnTo>
                  <a:lnTo>
                    <a:pt x="543" y="117"/>
                  </a:lnTo>
                  <a:lnTo>
                    <a:pt x="545" y="123"/>
                  </a:lnTo>
                  <a:lnTo>
                    <a:pt x="545" y="123"/>
                  </a:lnTo>
                  <a:lnTo>
                    <a:pt x="543" y="123"/>
                  </a:lnTo>
                  <a:lnTo>
                    <a:pt x="543" y="123"/>
                  </a:lnTo>
                  <a:lnTo>
                    <a:pt x="545" y="125"/>
                  </a:lnTo>
                  <a:lnTo>
                    <a:pt x="545" y="125"/>
                  </a:lnTo>
                  <a:lnTo>
                    <a:pt x="545" y="125"/>
                  </a:lnTo>
                  <a:lnTo>
                    <a:pt x="545" y="125"/>
                  </a:lnTo>
                  <a:lnTo>
                    <a:pt x="545" y="125"/>
                  </a:lnTo>
                  <a:lnTo>
                    <a:pt x="547" y="127"/>
                  </a:lnTo>
                  <a:lnTo>
                    <a:pt x="547" y="129"/>
                  </a:lnTo>
                  <a:lnTo>
                    <a:pt x="549" y="131"/>
                  </a:lnTo>
                  <a:lnTo>
                    <a:pt x="549" y="133"/>
                  </a:lnTo>
                  <a:lnTo>
                    <a:pt x="551" y="136"/>
                  </a:lnTo>
                  <a:lnTo>
                    <a:pt x="551" y="138"/>
                  </a:lnTo>
                  <a:lnTo>
                    <a:pt x="553" y="142"/>
                  </a:lnTo>
                  <a:lnTo>
                    <a:pt x="553" y="144"/>
                  </a:lnTo>
                  <a:lnTo>
                    <a:pt x="555" y="146"/>
                  </a:lnTo>
                  <a:lnTo>
                    <a:pt x="555" y="146"/>
                  </a:lnTo>
                  <a:lnTo>
                    <a:pt x="555" y="146"/>
                  </a:lnTo>
                  <a:lnTo>
                    <a:pt x="555" y="146"/>
                  </a:lnTo>
                  <a:lnTo>
                    <a:pt x="555" y="148"/>
                  </a:lnTo>
                  <a:lnTo>
                    <a:pt x="555" y="148"/>
                  </a:lnTo>
                  <a:lnTo>
                    <a:pt x="555" y="150"/>
                  </a:lnTo>
                  <a:lnTo>
                    <a:pt x="555" y="152"/>
                  </a:lnTo>
                  <a:lnTo>
                    <a:pt x="555" y="154"/>
                  </a:lnTo>
                  <a:lnTo>
                    <a:pt x="555" y="156"/>
                  </a:lnTo>
                  <a:lnTo>
                    <a:pt x="555" y="156"/>
                  </a:lnTo>
                  <a:lnTo>
                    <a:pt x="555" y="162"/>
                  </a:lnTo>
                  <a:lnTo>
                    <a:pt x="555" y="164"/>
                  </a:lnTo>
                  <a:lnTo>
                    <a:pt x="555" y="164"/>
                  </a:lnTo>
                  <a:lnTo>
                    <a:pt x="555" y="166"/>
                  </a:lnTo>
                  <a:lnTo>
                    <a:pt x="555" y="166"/>
                  </a:lnTo>
                  <a:lnTo>
                    <a:pt x="557" y="168"/>
                  </a:lnTo>
                  <a:lnTo>
                    <a:pt x="557" y="181"/>
                  </a:lnTo>
                  <a:lnTo>
                    <a:pt x="557" y="183"/>
                  </a:lnTo>
                  <a:lnTo>
                    <a:pt x="557" y="189"/>
                  </a:lnTo>
                  <a:lnTo>
                    <a:pt x="557" y="191"/>
                  </a:lnTo>
                  <a:lnTo>
                    <a:pt x="557" y="191"/>
                  </a:lnTo>
                  <a:lnTo>
                    <a:pt x="557" y="191"/>
                  </a:lnTo>
                  <a:lnTo>
                    <a:pt x="557" y="193"/>
                  </a:lnTo>
                  <a:lnTo>
                    <a:pt x="557" y="195"/>
                  </a:lnTo>
                  <a:lnTo>
                    <a:pt x="559" y="199"/>
                  </a:lnTo>
                  <a:lnTo>
                    <a:pt x="559" y="201"/>
                  </a:lnTo>
                  <a:lnTo>
                    <a:pt x="559" y="207"/>
                  </a:lnTo>
                  <a:lnTo>
                    <a:pt x="559" y="209"/>
                  </a:lnTo>
                  <a:lnTo>
                    <a:pt x="559" y="209"/>
                  </a:lnTo>
                  <a:lnTo>
                    <a:pt x="561" y="211"/>
                  </a:lnTo>
                  <a:lnTo>
                    <a:pt x="561" y="211"/>
                  </a:lnTo>
                  <a:lnTo>
                    <a:pt x="561" y="213"/>
                  </a:lnTo>
                  <a:lnTo>
                    <a:pt x="561" y="213"/>
                  </a:lnTo>
                  <a:lnTo>
                    <a:pt x="561" y="213"/>
                  </a:lnTo>
                  <a:lnTo>
                    <a:pt x="561" y="213"/>
                  </a:lnTo>
                  <a:lnTo>
                    <a:pt x="563" y="213"/>
                  </a:lnTo>
                  <a:lnTo>
                    <a:pt x="563" y="213"/>
                  </a:lnTo>
                  <a:lnTo>
                    <a:pt x="563" y="215"/>
                  </a:lnTo>
                  <a:lnTo>
                    <a:pt x="563" y="215"/>
                  </a:lnTo>
                  <a:lnTo>
                    <a:pt x="563" y="215"/>
                  </a:lnTo>
                  <a:lnTo>
                    <a:pt x="563" y="215"/>
                  </a:lnTo>
                  <a:lnTo>
                    <a:pt x="563" y="217"/>
                  </a:lnTo>
                  <a:lnTo>
                    <a:pt x="563" y="220"/>
                  </a:lnTo>
                  <a:lnTo>
                    <a:pt x="561" y="220"/>
                  </a:lnTo>
                  <a:lnTo>
                    <a:pt x="563" y="224"/>
                  </a:lnTo>
                  <a:lnTo>
                    <a:pt x="561" y="226"/>
                  </a:lnTo>
                  <a:lnTo>
                    <a:pt x="561" y="226"/>
                  </a:lnTo>
                  <a:lnTo>
                    <a:pt x="561" y="228"/>
                  </a:lnTo>
                  <a:lnTo>
                    <a:pt x="561" y="228"/>
                  </a:lnTo>
                  <a:lnTo>
                    <a:pt x="561" y="230"/>
                  </a:lnTo>
                  <a:lnTo>
                    <a:pt x="563" y="234"/>
                  </a:lnTo>
                  <a:lnTo>
                    <a:pt x="563" y="236"/>
                  </a:lnTo>
                  <a:lnTo>
                    <a:pt x="563" y="238"/>
                  </a:lnTo>
                  <a:lnTo>
                    <a:pt x="561" y="242"/>
                  </a:lnTo>
                  <a:lnTo>
                    <a:pt x="561" y="244"/>
                  </a:lnTo>
                  <a:lnTo>
                    <a:pt x="563" y="246"/>
                  </a:lnTo>
                  <a:lnTo>
                    <a:pt x="565" y="248"/>
                  </a:lnTo>
                  <a:lnTo>
                    <a:pt x="565" y="250"/>
                  </a:lnTo>
                  <a:lnTo>
                    <a:pt x="567" y="254"/>
                  </a:lnTo>
                  <a:lnTo>
                    <a:pt x="567" y="256"/>
                  </a:lnTo>
                  <a:lnTo>
                    <a:pt x="567" y="258"/>
                  </a:lnTo>
                  <a:lnTo>
                    <a:pt x="567" y="261"/>
                  </a:lnTo>
                  <a:lnTo>
                    <a:pt x="567" y="261"/>
                  </a:lnTo>
                  <a:lnTo>
                    <a:pt x="569" y="263"/>
                  </a:lnTo>
                  <a:lnTo>
                    <a:pt x="569" y="263"/>
                  </a:lnTo>
                  <a:lnTo>
                    <a:pt x="569" y="263"/>
                  </a:lnTo>
                  <a:lnTo>
                    <a:pt x="569" y="265"/>
                  </a:lnTo>
                  <a:lnTo>
                    <a:pt x="569" y="267"/>
                  </a:lnTo>
                  <a:lnTo>
                    <a:pt x="574" y="273"/>
                  </a:lnTo>
                  <a:lnTo>
                    <a:pt x="578" y="275"/>
                  </a:lnTo>
                  <a:lnTo>
                    <a:pt x="578" y="277"/>
                  </a:lnTo>
                  <a:lnTo>
                    <a:pt x="580" y="279"/>
                  </a:lnTo>
                  <a:lnTo>
                    <a:pt x="580" y="285"/>
                  </a:lnTo>
                  <a:lnTo>
                    <a:pt x="580" y="287"/>
                  </a:lnTo>
                  <a:lnTo>
                    <a:pt x="580" y="289"/>
                  </a:lnTo>
                  <a:lnTo>
                    <a:pt x="580" y="289"/>
                  </a:lnTo>
                  <a:lnTo>
                    <a:pt x="582" y="293"/>
                  </a:lnTo>
                  <a:lnTo>
                    <a:pt x="582" y="293"/>
                  </a:lnTo>
                  <a:lnTo>
                    <a:pt x="582" y="293"/>
                  </a:lnTo>
                  <a:lnTo>
                    <a:pt x="582" y="295"/>
                  </a:lnTo>
                  <a:lnTo>
                    <a:pt x="582" y="295"/>
                  </a:lnTo>
                  <a:lnTo>
                    <a:pt x="582" y="299"/>
                  </a:lnTo>
                  <a:lnTo>
                    <a:pt x="582" y="302"/>
                  </a:lnTo>
                  <a:lnTo>
                    <a:pt x="582" y="304"/>
                  </a:lnTo>
                  <a:lnTo>
                    <a:pt x="582" y="306"/>
                  </a:lnTo>
                  <a:lnTo>
                    <a:pt x="582" y="310"/>
                  </a:lnTo>
                  <a:lnTo>
                    <a:pt x="584" y="316"/>
                  </a:lnTo>
                  <a:lnTo>
                    <a:pt x="584" y="316"/>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D</a:t>
              </a:r>
            </a:p>
          </p:txBody>
        </p:sp>
        <p:sp>
          <p:nvSpPr>
            <p:cNvPr id="317" name="Freeform 28">
              <a:extLst>
                <a:ext uri="{FF2B5EF4-FFF2-40B4-BE49-F238E27FC236}">
                  <a16:creationId xmlns:a16="http://schemas.microsoft.com/office/drawing/2014/main" id="{928F3253-FB5D-21AE-D995-FFA75AA65FA2}"/>
                </a:ext>
              </a:extLst>
            </p:cNvPr>
            <p:cNvSpPr>
              <a:spLocks noEditPoints="1"/>
            </p:cNvSpPr>
            <p:nvPr/>
          </p:nvSpPr>
          <p:spPr bwMode="auto">
            <a:xfrm>
              <a:off x="4115" y="1262"/>
              <a:ext cx="764" cy="332"/>
            </a:xfrm>
            <a:custGeom>
              <a:avLst/>
              <a:gdLst>
                <a:gd name="T0" fmla="*/ 588 w 764"/>
                <a:gd name="T1" fmla="*/ 287 h 332"/>
                <a:gd name="T2" fmla="*/ 678 w 764"/>
                <a:gd name="T3" fmla="*/ 214 h 332"/>
                <a:gd name="T4" fmla="*/ 690 w 764"/>
                <a:gd name="T5" fmla="*/ 216 h 332"/>
                <a:gd name="T6" fmla="*/ 721 w 764"/>
                <a:gd name="T7" fmla="*/ 162 h 332"/>
                <a:gd name="T8" fmla="*/ 760 w 764"/>
                <a:gd name="T9" fmla="*/ 91 h 332"/>
                <a:gd name="T10" fmla="*/ 762 w 764"/>
                <a:gd name="T11" fmla="*/ 123 h 332"/>
                <a:gd name="T12" fmla="*/ 750 w 764"/>
                <a:gd name="T13" fmla="*/ 140 h 332"/>
                <a:gd name="T14" fmla="*/ 731 w 764"/>
                <a:gd name="T15" fmla="*/ 66 h 332"/>
                <a:gd name="T16" fmla="*/ 711 w 764"/>
                <a:gd name="T17" fmla="*/ 19 h 332"/>
                <a:gd name="T18" fmla="*/ 723 w 764"/>
                <a:gd name="T19" fmla="*/ 46 h 332"/>
                <a:gd name="T20" fmla="*/ 745 w 764"/>
                <a:gd name="T21" fmla="*/ 72 h 332"/>
                <a:gd name="T22" fmla="*/ 729 w 764"/>
                <a:gd name="T23" fmla="*/ 101 h 332"/>
                <a:gd name="T24" fmla="*/ 735 w 764"/>
                <a:gd name="T25" fmla="*/ 87 h 332"/>
                <a:gd name="T26" fmla="*/ 717 w 764"/>
                <a:gd name="T27" fmla="*/ 66 h 332"/>
                <a:gd name="T28" fmla="*/ 709 w 764"/>
                <a:gd name="T29" fmla="*/ 97 h 332"/>
                <a:gd name="T30" fmla="*/ 698 w 764"/>
                <a:gd name="T31" fmla="*/ 84 h 332"/>
                <a:gd name="T32" fmla="*/ 682 w 764"/>
                <a:gd name="T33" fmla="*/ 74 h 332"/>
                <a:gd name="T34" fmla="*/ 643 w 764"/>
                <a:gd name="T35" fmla="*/ 72 h 332"/>
                <a:gd name="T36" fmla="*/ 637 w 764"/>
                <a:gd name="T37" fmla="*/ 50 h 332"/>
                <a:gd name="T38" fmla="*/ 674 w 764"/>
                <a:gd name="T39" fmla="*/ 56 h 332"/>
                <a:gd name="T40" fmla="*/ 676 w 764"/>
                <a:gd name="T41" fmla="*/ 48 h 332"/>
                <a:gd name="T42" fmla="*/ 688 w 764"/>
                <a:gd name="T43" fmla="*/ 41 h 332"/>
                <a:gd name="T44" fmla="*/ 702 w 764"/>
                <a:gd name="T45" fmla="*/ 41 h 332"/>
                <a:gd name="T46" fmla="*/ 711 w 764"/>
                <a:gd name="T47" fmla="*/ 39 h 332"/>
                <a:gd name="T48" fmla="*/ 700 w 764"/>
                <a:gd name="T49" fmla="*/ 17 h 332"/>
                <a:gd name="T50" fmla="*/ 614 w 764"/>
                <a:gd name="T51" fmla="*/ 19 h 332"/>
                <a:gd name="T52" fmla="*/ 254 w 764"/>
                <a:gd name="T53" fmla="*/ 84 h 332"/>
                <a:gd name="T54" fmla="*/ 203 w 764"/>
                <a:gd name="T55" fmla="*/ 121 h 332"/>
                <a:gd name="T56" fmla="*/ 172 w 764"/>
                <a:gd name="T57" fmla="*/ 148 h 332"/>
                <a:gd name="T58" fmla="*/ 147 w 764"/>
                <a:gd name="T59" fmla="*/ 162 h 332"/>
                <a:gd name="T60" fmla="*/ 135 w 764"/>
                <a:gd name="T61" fmla="*/ 166 h 332"/>
                <a:gd name="T62" fmla="*/ 115 w 764"/>
                <a:gd name="T63" fmla="*/ 179 h 332"/>
                <a:gd name="T64" fmla="*/ 104 w 764"/>
                <a:gd name="T65" fmla="*/ 197 h 332"/>
                <a:gd name="T66" fmla="*/ 76 w 764"/>
                <a:gd name="T67" fmla="*/ 218 h 332"/>
                <a:gd name="T68" fmla="*/ 49 w 764"/>
                <a:gd name="T69" fmla="*/ 230 h 332"/>
                <a:gd name="T70" fmla="*/ 22 w 764"/>
                <a:gd name="T71" fmla="*/ 250 h 332"/>
                <a:gd name="T72" fmla="*/ 8 w 764"/>
                <a:gd name="T73" fmla="*/ 269 h 332"/>
                <a:gd name="T74" fmla="*/ 55 w 764"/>
                <a:gd name="T75" fmla="*/ 291 h 332"/>
                <a:gd name="T76" fmla="*/ 143 w 764"/>
                <a:gd name="T77" fmla="*/ 263 h 332"/>
                <a:gd name="T78" fmla="*/ 168 w 764"/>
                <a:gd name="T79" fmla="*/ 250 h 332"/>
                <a:gd name="T80" fmla="*/ 285 w 764"/>
                <a:gd name="T81" fmla="*/ 238 h 332"/>
                <a:gd name="T82" fmla="*/ 297 w 764"/>
                <a:gd name="T83" fmla="*/ 240 h 332"/>
                <a:gd name="T84" fmla="*/ 397 w 764"/>
                <a:gd name="T85" fmla="*/ 255 h 332"/>
                <a:gd name="T86" fmla="*/ 528 w 764"/>
                <a:gd name="T87" fmla="*/ 332 h 332"/>
                <a:gd name="T88" fmla="*/ 577 w 764"/>
                <a:gd name="T89" fmla="*/ 304 h 332"/>
                <a:gd name="T90" fmla="*/ 596 w 764"/>
                <a:gd name="T91" fmla="*/ 263 h 332"/>
                <a:gd name="T92" fmla="*/ 614 w 764"/>
                <a:gd name="T93" fmla="*/ 228 h 332"/>
                <a:gd name="T94" fmla="*/ 618 w 764"/>
                <a:gd name="T95" fmla="*/ 236 h 332"/>
                <a:gd name="T96" fmla="*/ 637 w 764"/>
                <a:gd name="T97" fmla="*/ 216 h 332"/>
                <a:gd name="T98" fmla="*/ 680 w 764"/>
                <a:gd name="T99" fmla="*/ 209 h 332"/>
                <a:gd name="T100" fmla="*/ 694 w 764"/>
                <a:gd name="T101" fmla="*/ 191 h 332"/>
                <a:gd name="T102" fmla="*/ 698 w 764"/>
                <a:gd name="T103" fmla="*/ 171 h 332"/>
                <a:gd name="T104" fmla="*/ 688 w 764"/>
                <a:gd name="T105" fmla="*/ 171 h 332"/>
                <a:gd name="T106" fmla="*/ 676 w 764"/>
                <a:gd name="T107" fmla="*/ 183 h 332"/>
                <a:gd name="T108" fmla="*/ 635 w 764"/>
                <a:gd name="T109" fmla="*/ 177 h 332"/>
                <a:gd name="T110" fmla="*/ 674 w 764"/>
                <a:gd name="T111" fmla="*/ 160 h 332"/>
                <a:gd name="T112" fmla="*/ 680 w 764"/>
                <a:gd name="T113" fmla="*/ 152 h 332"/>
                <a:gd name="T114" fmla="*/ 629 w 764"/>
                <a:gd name="T115" fmla="*/ 132 h 332"/>
                <a:gd name="T116" fmla="*/ 666 w 764"/>
                <a:gd name="T117" fmla="*/ 134 h 332"/>
                <a:gd name="T118" fmla="*/ 668 w 764"/>
                <a:gd name="T119" fmla="*/ 128 h 332"/>
                <a:gd name="T120" fmla="*/ 682 w 764"/>
                <a:gd name="T121" fmla="*/ 125 h 332"/>
                <a:gd name="T122" fmla="*/ 696 w 764"/>
                <a:gd name="T123" fmla="*/ 136 h 332"/>
                <a:gd name="T124" fmla="*/ 717 w 764"/>
                <a:gd name="T125"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332">
                  <a:moveTo>
                    <a:pt x="580" y="320"/>
                  </a:moveTo>
                  <a:lnTo>
                    <a:pt x="580" y="320"/>
                  </a:lnTo>
                  <a:lnTo>
                    <a:pt x="577" y="320"/>
                  </a:lnTo>
                  <a:lnTo>
                    <a:pt x="575" y="320"/>
                  </a:lnTo>
                  <a:lnTo>
                    <a:pt x="575" y="322"/>
                  </a:lnTo>
                  <a:lnTo>
                    <a:pt x="577" y="324"/>
                  </a:lnTo>
                  <a:lnTo>
                    <a:pt x="577" y="324"/>
                  </a:lnTo>
                  <a:lnTo>
                    <a:pt x="580" y="324"/>
                  </a:lnTo>
                  <a:lnTo>
                    <a:pt x="582" y="324"/>
                  </a:lnTo>
                  <a:lnTo>
                    <a:pt x="582" y="324"/>
                  </a:lnTo>
                  <a:lnTo>
                    <a:pt x="582" y="318"/>
                  </a:lnTo>
                  <a:lnTo>
                    <a:pt x="580" y="320"/>
                  </a:lnTo>
                  <a:lnTo>
                    <a:pt x="580" y="320"/>
                  </a:lnTo>
                  <a:close/>
                  <a:moveTo>
                    <a:pt x="586" y="289"/>
                  </a:moveTo>
                  <a:lnTo>
                    <a:pt x="584" y="291"/>
                  </a:lnTo>
                  <a:lnTo>
                    <a:pt x="584" y="296"/>
                  </a:lnTo>
                  <a:lnTo>
                    <a:pt x="584" y="298"/>
                  </a:lnTo>
                  <a:lnTo>
                    <a:pt x="586" y="296"/>
                  </a:lnTo>
                  <a:lnTo>
                    <a:pt x="586" y="293"/>
                  </a:lnTo>
                  <a:lnTo>
                    <a:pt x="586" y="287"/>
                  </a:lnTo>
                  <a:lnTo>
                    <a:pt x="588" y="287"/>
                  </a:lnTo>
                  <a:lnTo>
                    <a:pt x="588" y="287"/>
                  </a:lnTo>
                  <a:lnTo>
                    <a:pt x="588" y="287"/>
                  </a:lnTo>
                  <a:lnTo>
                    <a:pt x="588" y="287"/>
                  </a:lnTo>
                  <a:lnTo>
                    <a:pt x="586" y="289"/>
                  </a:lnTo>
                  <a:close/>
                  <a:moveTo>
                    <a:pt x="618" y="242"/>
                  </a:moveTo>
                  <a:lnTo>
                    <a:pt x="616" y="246"/>
                  </a:lnTo>
                  <a:lnTo>
                    <a:pt x="614" y="246"/>
                  </a:lnTo>
                  <a:lnTo>
                    <a:pt x="612" y="246"/>
                  </a:lnTo>
                  <a:lnTo>
                    <a:pt x="602" y="257"/>
                  </a:lnTo>
                  <a:lnTo>
                    <a:pt x="600" y="261"/>
                  </a:lnTo>
                  <a:lnTo>
                    <a:pt x="600" y="265"/>
                  </a:lnTo>
                  <a:lnTo>
                    <a:pt x="600" y="263"/>
                  </a:lnTo>
                  <a:lnTo>
                    <a:pt x="608" y="253"/>
                  </a:lnTo>
                  <a:lnTo>
                    <a:pt x="608" y="253"/>
                  </a:lnTo>
                  <a:lnTo>
                    <a:pt x="612" y="250"/>
                  </a:lnTo>
                  <a:lnTo>
                    <a:pt x="618" y="244"/>
                  </a:lnTo>
                  <a:lnTo>
                    <a:pt x="620" y="242"/>
                  </a:lnTo>
                  <a:lnTo>
                    <a:pt x="620" y="242"/>
                  </a:lnTo>
                  <a:lnTo>
                    <a:pt x="620" y="242"/>
                  </a:lnTo>
                  <a:lnTo>
                    <a:pt x="620" y="242"/>
                  </a:lnTo>
                  <a:lnTo>
                    <a:pt x="620" y="242"/>
                  </a:lnTo>
                  <a:lnTo>
                    <a:pt x="618" y="242"/>
                  </a:lnTo>
                  <a:close/>
                  <a:moveTo>
                    <a:pt x="686" y="214"/>
                  </a:moveTo>
                  <a:lnTo>
                    <a:pt x="686" y="212"/>
                  </a:lnTo>
                  <a:lnTo>
                    <a:pt x="680" y="212"/>
                  </a:lnTo>
                  <a:lnTo>
                    <a:pt x="678" y="212"/>
                  </a:lnTo>
                  <a:lnTo>
                    <a:pt x="678" y="214"/>
                  </a:lnTo>
                  <a:lnTo>
                    <a:pt x="678" y="214"/>
                  </a:lnTo>
                  <a:lnTo>
                    <a:pt x="684" y="214"/>
                  </a:lnTo>
                  <a:lnTo>
                    <a:pt x="688" y="216"/>
                  </a:lnTo>
                  <a:lnTo>
                    <a:pt x="688" y="216"/>
                  </a:lnTo>
                  <a:lnTo>
                    <a:pt x="688" y="216"/>
                  </a:lnTo>
                  <a:lnTo>
                    <a:pt x="688" y="214"/>
                  </a:lnTo>
                  <a:lnTo>
                    <a:pt x="686" y="214"/>
                  </a:lnTo>
                  <a:close/>
                  <a:moveTo>
                    <a:pt x="670" y="212"/>
                  </a:moveTo>
                  <a:lnTo>
                    <a:pt x="655" y="216"/>
                  </a:lnTo>
                  <a:lnTo>
                    <a:pt x="643" y="222"/>
                  </a:lnTo>
                  <a:lnTo>
                    <a:pt x="641" y="222"/>
                  </a:lnTo>
                  <a:lnTo>
                    <a:pt x="639" y="224"/>
                  </a:lnTo>
                  <a:lnTo>
                    <a:pt x="661" y="214"/>
                  </a:lnTo>
                  <a:lnTo>
                    <a:pt x="663" y="214"/>
                  </a:lnTo>
                  <a:lnTo>
                    <a:pt x="676" y="212"/>
                  </a:lnTo>
                  <a:lnTo>
                    <a:pt x="674" y="212"/>
                  </a:lnTo>
                  <a:lnTo>
                    <a:pt x="670" y="212"/>
                  </a:lnTo>
                  <a:close/>
                  <a:moveTo>
                    <a:pt x="709" y="179"/>
                  </a:moveTo>
                  <a:lnTo>
                    <a:pt x="707" y="181"/>
                  </a:lnTo>
                  <a:lnTo>
                    <a:pt x="707" y="181"/>
                  </a:lnTo>
                  <a:lnTo>
                    <a:pt x="707" y="181"/>
                  </a:lnTo>
                  <a:lnTo>
                    <a:pt x="702" y="185"/>
                  </a:lnTo>
                  <a:lnTo>
                    <a:pt x="696" y="197"/>
                  </a:lnTo>
                  <a:lnTo>
                    <a:pt x="690" y="216"/>
                  </a:lnTo>
                  <a:lnTo>
                    <a:pt x="690" y="218"/>
                  </a:lnTo>
                  <a:lnTo>
                    <a:pt x="690" y="220"/>
                  </a:lnTo>
                  <a:lnTo>
                    <a:pt x="690" y="218"/>
                  </a:lnTo>
                  <a:lnTo>
                    <a:pt x="698" y="197"/>
                  </a:lnTo>
                  <a:lnTo>
                    <a:pt x="700" y="191"/>
                  </a:lnTo>
                  <a:lnTo>
                    <a:pt x="702" y="189"/>
                  </a:lnTo>
                  <a:lnTo>
                    <a:pt x="704" y="187"/>
                  </a:lnTo>
                  <a:lnTo>
                    <a:pt x="709" y="183"/>
                  </a:lnTo>
                  <a:lnTo>
                    <a:pt x="711" y="181"/>
                  </a:lnTo>
                  <a:lnTo>
                    <a:pt x="711" y="177"/>
                  </a:lnTo>
                  <a:lnTo>
                    <a:pt x="711" y="177"/>
                  </a:lnTo>
                  <a:lnTo>
                    <a:pt x="709" y="179"/>
                  </a:lnTo>
                  <a:close/>
                  <a:moveTo>
                    <a:pt x="719" y="160"/>
                  </a:moveTo>
                  <a:lnTo>
                    <a:pt x="719" y="160"/>
                  </a:lnTo>
                  <a:lnTo>
                    <a:pt x="719" y="162"/>
                  </a:lnTo>
                  <a:lnTo>
                    <a:pt x="719" y="162"/>
                  </a:lnTo>
                  <a:lnTo>
                    <a:pt x="717" y="164"/>
                  </a:lnTo>
                  <a:lnTo>
                    <a:pt x="717" y="164"/>
                  </a:lnTo>
                  <a:lnTo>
                    <a:pt x="717" y="166"/>
                  </a:lnTo>
                  <a:lnTo>
                    <a:pt x="715" y="168"/>
                  </a:lnTo>
                  <a:lnTo>
                    <a:pt x="715" y="171"/>
                  </a:lnTo>
                  <a:lnTo>
                    <a:pt x="715" y="171"/>
                  </a:lnTo>
                  <a:lnTo>
                    <a:pt x="717" y="168"/>
                  </a:lnTo>
                  <a:lnTo>
                    <a:pt x="721" y="162"/>
                  </a:lnTo>
                  <a:lnTo>
                    <a:pt x="721" y="162"/>
                  </a:lnTo>
                  <a:lnTo>
                    <a:pt x="723" y="162"/>
                  </a:lnTo>
                  <a:lnTo>
                    <a:pt x="723" y="162"/>
                  </a:lnTo>
                  <a:lnTo>
                    <a:pt x="723" y="160"/>
                  </a:lnTo>
                  <a:lnTo>
                    <a:pt x="721" y="160"/>
                  </a:lnTo>
                  <a:lnTo>
                    <a:pt x="719" y="160"/>
                  </a:lnTo>
                  <a:close/>
                  <a:moveTo>
                    <a:pt x="733" y="148"/>
                  </a:moveTo>
                  <a:lnTo>
                    <a:pt x="729" y="152"/>
                  </a:lnTo>
                  <a:lnTo>
                    <a:pt x="727" y="154"/>
                  </a:lnTo>
                  <a:lnTo>
                    <a:pt x="725" y="154"/>
                  </a:lnTo>
                  <a:lnTo>
                    <a:pt x="725" y="156"/>
                  </a:lnTo>
                  <a:lnTo>
                    <a:pt x="725" y="158"/>
                  </a:lnTo>
                  <a:lnTo>
                    <a:pt x="723" y="160"/>
                  </a:lnTo>
                  <a:lnTo>
                    <a:pt x="731" y="150"/>
                  </a:lnTo>
                  <a:lnTo>
                    <a:pt x="739" y="146"/>
                  </a:lnTo>
                  <a:lnTo>
                    <a:pt x="741" y="144"/>
                  </a:lnTo>
                  <a:lnTo>
                    <a:pt x="741" y="144"/>
                  </a:lnTo>
                  <a:lnTo>
                    <a:pt x="741" y="142"/>
                  </a:lnTo>
                  <a:lnTo>
                    <a:pt x="743" y="142"/>
                  </a:lnTo>
                  <a:lnTo>
                    <a:pt x="739" y="144"/>
                  </a:lnTo>
                  <a:lnTo>
                    <a:pt x="733" y="148"/>
                  </a:lnTo>
                  <a:close/>
                  <a:moveTo>
                    <a:pt x="762" y="103"/>
                  </a:moveTo>
                  <a:lnTo>
                    <a:pt x="762" y="95"/>
                  </a:lnTo>
                  <a:lnTo>
                    <a:pt x="760" y="91"/>
                  </a:lnTo>
                  <a:lnTo>
                    <a:pt x="758" y="87"/>
                  </a:lnTo>
                  <a:lnTo>
                    <a:pt x="756" y="84"/>
                  </a:lnTo>
                  <a:lnTo>
                    <a:pt x="756" y="82"/>
                  </a:lnTo>
                  <a:lnTo>
                    <a:pt x="754" y="78"/>
                  </a:lnTo>
                  <a:lnTo>
                    <a:pt x="752" y="76"/>
                  </a:lnTo>
                  <a:lnTo>
                    <a:pt x="750" y="76"/>
                  </a:lnTo>
                  <a:lnTo>
                    <a:pt x="750" y="76"/>
                  </a:lnTo>
                  <a:lnTo>
                    <a:pt x="752" y="78"/>
                  </a:lnTo>
                  <a:lnTo>
                    <a:pt x="754" y="80"/>
                  </a:lnTo>
                  <a:lnTo>
                    <a:pt x="754" y="82"/>
                  </a:lnTo>
                  <a:lnTo>
                    <a:pt x="758" y="91"/>
                  </a:lnTo>
                  <a:lnTo>
                    <a:pt x="760" y="95"/>
                  </a:lnTo>
                  <a:lnTo>
                    <a:pt x="760" y="97"/>
                  </a:lnTo>
                  <a:lnTo>
                    <a:pt x="760" y="99"/>
                  </a:lnTo>
                  <a:lnTo>
                    <a:pt x="760" y="101"/>
                  </a:lnTo>
                  <a:lnTo>
                    <a:pt x="760" y="103"/>
                  </a:lnTo>
                  <a:lnTo>
                    <a:pt x="760" y="103"/>
                  </a:lnTo>
                  <a:lnTo>
                    <a:pt x="760" y="105"/>
                  </a:lnTo>
                  <a:lnTo>
                    <a:pt x="760" y="107"/>
                  </a:lnTo>
                  <a:lnTo>
                    <a:pt x="762" y="109"/>
                  </a:lnTo>
                  <a:lnTo>
                    <a:pt x="762" y="113"/>
                  </a:lnTo>
                  <a:lnTo>
                    <a:pt x="762" y="117"/>
                  </a:lnTo>
                  <a:lnTo>
                    <a:pt x="762" y="123"/>
                  </a:lnTo>
                  <a:lnTo>
                    <a:pt x="762" y="123"/>
                  </a:lnTo>
                  <a:lnTo>
                    <a:pt x="762" y="128"/>
                  </a:lnTo>
                  <a:lnTo>
                    <a:pt x="760" y="130"/>
                  </a:lnTo>
                  <a:lnTo>
                    <a:pt x="756" y="134"/>
                  </a:lnTo>
                  <a:lnTo>
                    <a:pt x="750" y="138"/>
                  </a:lnTo>
                  <a:lnTo>
                    <a:pt x="750" y="138"/>
                  </a:lnTo>
                  <a:lnTo>
                    <a:pt x="750" y="138"/>
                  </a:lnTo>
                  <a:lnTo>
                    <a:pt x="750" y="136"/>
                  </a:lnTo>
                  <a:lnTo>
                    <a:pt x="750" y="136"/>
                  </a:lnTo>
                  <a:lnTo>
                    <a:pt x="750" y="136"/>
                  </a:lnTo>
                  <a:lnTo>
                    <a:pt x="747" y="138"/>
                  </a:lnTo>
                  <a:lnTo>
                    <a:pt x="750" y="138"/>
                  </a:lnTo>
                  <a:lnTo>
                    <a:pt x="747" y="138"/>
                  </a:lnTo>
                  <a:lnTo>
                    <a:pt x="747" y="138"/>
                  </a:lnTo>
                  <a:lnTo>
                    <a:pt x="747" y="140"/>
                  </a:lnTo>
                  <a:lnTo>
                    <a:pt x="747" y="140"/>
                  </a:lnTo>
                  <a:lnTo>
                    <a:pt x="747" y="140"/>
                  </a:lnTo>
                  <a:lnTo>
                    <a:pt x="745" y="140"/>
                  </a:lnTo>
                  <a:lnTo>
                    <a:pt x="745" y="142"/>
                  </a:lnTo>
                  <a:lnTo>
                    <a:pt x="745" y="142"/>
                  </a:lnTo>
                  <a:lnTo>
                    <a:pt x="747" y="142"/>
                  </a:lnTo>
                  <a:lnTo>
                    <a:pt x="747" y="142"/>
                  </a:lnTo>
                  <a:lnTo>
                    <a:pt x="747" y="140"/>
                  </a:lnTo>
                  <a:lnTo>
                    <a:pt x="750" y="140"/>
                  </a:lnTo>
                  <a:lnTo>
                    <a:pt x="750" y="140"/>
                  </a:lnTo>
                  <a:lnTo>
                    <a:pt x="754" y="138"/>
                  </a:lnTo>
                  <a:lnTo>
                    <a:pt x="756" y="136"/>
                  </a:lnTo>
                  <a:lnTo>
                    <a:pt x="758" y="134"/>
                  </a:lnTo>
                  <a:lnTo>
                    <a:pt x="760" y="134"/>
                  </a:lnTo>
                  <a:lnTo>
                    <a:pt x="762" y="134"/>
                  </a:lnTo>
                  <a:lnTo>
                    <a:pt x="762" y="132"/>
                  </a:lnTo>
                  <a:lnTo>
                    <a:pt x="764" y="130"/>
                  </a:lnTo>
                  <a:lnTo>
                    <a:pt x="764" y="121"/>
                  </a:lnTo>
                  <a:lnTo>
                    <a:pt x="762" y="103"/>
                  </a:lnTo>
                  <a:close/>
                  <a:moveTo>
                    <a:pt x="737" y="66"/>
                  </a:moveTo>
                  <a:lnTo>
                    <a:pt x="735" y="64"/>
                  </a:lnTo>
                  <a:lnTo>
                    <a:pt x="735" y="64"/>
                  </a:lnTo>
                  <a:lnTo>
                    <a:pt x="733" y="62"/>
                  </a:lnTo>
                  <a:lnTo>
                    <a:pt x="733" y="62"/>
                  </a:lnTo>
                  <a:lnTo>
                    <a:pt x="733" y="62"/>
                  </a:lnTo>
                  <a:lnTo>
                    <a:pt x="731" y="62"/>
                  </a:lnTo>
                  <a:lnTo>
                    <a:pt x="731" y="62"/>
                  </a:lnTo>
                  <a:lnTo>
                    <a:pt x="729" y="62"/>
                  </a:lnTo>
                  <a:lnTo>
                    <a:pt x="729" y="62"/>
                  </a:lnTo>
                  <a:lnTo>
                    <a:pt x="729" y="64"/>
                  </a:lnTo>
                  <a:lnTo>
                    <a:pt x="729" y="64"/>
                  </a:lnTo>
                  <a:lnTo>
                    <a:pt x="729" y="64"/>
                  </a:lnTo>
                  <a:lnTo>
                    <a:pt x="731" y="64"/>
                  </a:lnTo>
                  <a:lnTo>
                    <a:pt x="731" y="66"/>
                  </a:lnTo>
                  <a:lnTo>
                    <a:pt x="733" y="68"/>
                  </a:lnTo>
                  <a:lnTo>
                    <a:pt x="735" y="68"/>
                  </a:lnTo>
                  <a:lnTo>
                    <a:pt x="735" y="70"/>
                  </a:lnTo>
                  <a:lnTo>
                    <a:pt x="737" y="72"/>
                  </a:lnTo>
                  <a:lnTo>
                    <a:pt x="739" y="72"/>
                  </a:lnTo>
                  <a:lnTo>
                    <a:pt x="739" y="72"/>
                  </a:lnTo>
                  <a:lnTo>
                    <a:pt x="739" y="72"/>
                  </a:lnTo>
                  <a:lnTo>
                    <a:pt x="739" y="70"/>
                  </a:lnTo>
                  <a:lnTo>
                    <a:pt x="741" y="68"/>
                  </a:lnTo>
                  <a:lnTo>
                    <a:pt x="737" y="66"/>
                  </a:lnTo>
                  <a:close/>
                  <a:moveTo>
                    <a:pt x="745" y="72"/>
                  </a:moveTo>
                  <a:lnTo>
                    <a:pt x="745" y="74"/>
                  </a:lnTo>
                  <a:lnTo>
                    <a:pt x="747" y="74"/>
                  </a:lnTo>
                  <a:lnTo>
                    <a:pt x="750" y="74"/>
                  </a:lnTo>
                  <a:lnTo>
                    <a:pt x="750" y="74"/>
                  </a:lnTo>
                  <a:lnTo>
                    <a:pt x="745" y="68"/>
                  </a:lnTo>
                  <a:lnTo>
                    <a:pt x="743" y="64"/>
                  </a:lnTo>
                  <a:lnTo>
                    <a:pt x="725" y="43"/>
                  </a:lnTo>
                  <a:lnTo>
                    <a:pt x="719" y="33"/>
                  </a:lnTo>
                  <a:lnTo>
                    <a:pt x="715" y="27"/>
                  </a:lnTo>
                  <a:lnTo>
                    <a:pt x="715" y="27"/>
                  </a:lnTo>
                  <a:lnTo>
                    <a:pt x="715" y="23"/>
                  </a:lnTo>
                  <a:lnTo>
                    <a:pt x="713" y="21"/>
                  </a:lnTo>
                  <a:lnTo>
                    <a:pt x="711" y="19"/>
                  </a:lnTo>
                  <a:lnTo>
                    <a:pt x="704" y="0"/>
                  </a:lnTo>
                  <a:lnTo>
                    <a:pt x="704" y="0"/>
                  </a:lnTo>
                  <a:lnTo>
                    <a:pt x="702" y="2"/>
                  </a:lnTo>
                  <a:lnTo>
                    <a:pt x="702" y="2"/>
                  </a:lnTo>
                  <a:lnTo>
                    <a:pt x="702" y="2"/>
                  </a:lnTo>
                  <a:lnTo>
                    <a:pt x="702" y="2"/>
                  </a:lnTo>
                  <a:lnTo>
                    <a:pt x="704" y="7"/>
                  </a:lnTo>
                  <a:lnTo>
                    <a:pt x="704" y="9"/>
                  </a:lnTo>
                  <a:lnTo>
                    <a:pt x="707" y="11"/>
                  </a:lnTo>
                  <a:lnTo>
                    <a:pt x="707" y="13"/>
                  </a:lnTo>
                  <a:lnTo>
                    <a:pt x="709" y="15"/>
                  </a:lnTo>
                  <a:lnTo>
                    <a:pt x="711" y="17"/>
                  </a:lnTo>
                  <a:lnTo>
                    <a:pt x="713" y="23"/>
                  </a:lnTo>
                  <a:lnTo>
                    <a:pt x="713" y="27"/>
                  </a:lnTo>
                  <a:lnTo>
                    <a:pt x="713" y="27"/>
                  </a:lnTo>
                  <a:lnTo>
                    <a:pt x="713" y="27"/>
                  </a:lnTo>
                  <a:lnTo>
                    <a:pt x="713" y="27"/>
                  </a:lnTo>
                  <a:lnTo>
                    <a:pt x="713" y="27"/>
                  </a:lnTo>
                  <a:lnTo>
                    <a:pt x="715" y="29"/>
                  </a:lnTo>
                  <a:lnTo>
                    <a:pt x="719" y="33"/>
                  </a:lnTo>
                  <a:lnTo>
                    <a:pt x="719" y="35"/>
                  </a:lnTo>
                  <a:lnTo>
                    <a:pt x="721" y="39"/>
                  </a:lnTo>
                  <a:lnTo>
                    <a:pt x="723" y="41"/>
                  </a:lnTo>
                  <a:lnTo>
                    <a:pt x="723" y="46"/>
                  </a:lnTo>
                  <a:lnTo>
                    <a:pt x="723" y="46"/>
                  </a:lnTo>
                  <a:lnTo>
                    <a:pt x="725" y="48"/>
                  </a:lnTo>
                  <a:lnTo>
                    <a:pt x="725" y="50"/>
                  </a:lnTo>
                  <a:lnTo>
                    <a:pt x="727" y="50"/>
                  </a:lnTo>
                  <a:lnTo>
                    <a:pt x="727" y="52"/>
                  </a:lnTo>
                  <a:lnTo>
                    <a:pt x="729" y="50"/>
                  </a:lnTo>
                  <a:lnTo>
                    <a:pt x="729" y="50"/>
                  </a:lnTo>
                  <a:lnTo>
                    <a:pt x="731" y="52"/>
                  </a:lnTo>
                  <a:lnTo>
                    <a:pt x="731" y="54"/>
                  </a:lnTo>
                  <a:lnTo>
                    <a:pt x="729" y="54"/>
                  </a:lnTo>
                  <a:lnTo>
                    <a:pt x="729" y="54"/>
                  </a:lnTo>
                  <a:lnTo>
                    <a:pt x="727" y="54"/>
                  </a:lnTo>
                  <a:lnTo>
                    <a:pt x="727" y="56"/>
                  </a:lnTo>
                  <a:lnTo>
                    <a:pt x="729" y="56"/>
                  </a:lnTo>
                  <a:lnTo>
                    <a:pt x="731" y="56"/>
                  </a:lnTo>
                  <a:lnTo>
                    <a:pt x="731" y="56"/>
                  </a:lnTo>
                  <a:lnTo>
                    <a:pt x="731" y="56"/>
                  </a:lnTo>
                  <a:lnTo>
                    <a:pt x="739" y="62"/>
                  </a:lnTo>
                  <a:lnTo>
                    <a:pt x="741" y="64"/>
                  </a:lnTo>
                  <a:lnTo>
                    <a:pt x="743" y="68"/>
                  </a:lnTo>
                  <a:lnTo>
                    <a:pt x="743" y="70"/>
                  </a:lnTo>
                  <a:lnTo>
                    <a:pt x="745" y="70"/>
                  </a:lnTo>
                  <a:lnTo>
                    <a:pt x="745" y="72"/>
                  </a:lnTo>
                  <a:lnTo>
                    <a:pt x="745" y="72"/>
                  </a:lnTo>
                  <a:close/>
                  <a:moveTo>
                    <a:pt x="694" y="7"/>
                  </a:moveTo>
                  <a:lnTo>
                    <a:pt x="694" y="7"/>
                  </a:lnTo>
                  <a:lnTo>
                    <a:pt x="694" y="9"/>
                  </a:lnTo>
                  <a:lnTo>
                    <a:pt x="696" y="9"/>
                  </a:lnTo>
                  <a:lnTo>
                    <a:pt x="700" y="9"/>
                  </a:lnTo>
                  <a:lnTo>
                    <a:pt x="700" y="9"/>
                  </a:lnTo>
                  <a:lnTo>
                    <a:pt x="700" y="7"/>
                  </a:lnTo>
                  <a:lnTo>
                    <a:pt x="700" y="7"/>
                  </a:lnTo>
                  <a:lnTo>
                    <a:pt x="700" y="5"/>
                  </a:lnTo>
                  <a:lnTo>
                    <a:pt x="698" y="2"/>
                  </a:lnTo>
                  <a:lnTo>
                    <a:pt x="698" y="2"/>
                  </a:lnTo>
                  <a:lnTo>
                    <a:pt x="698" y="2"/>
                  </a:lnTo>
                  <a:lnTo>
                    <a:pt x="696" y="2"/>
                  </a:lnTo>
                  <a:lnTo>
                    <a:pt x="696" y="5"/>
                  </a:lnTo>
                  <a:lnTo>
                    <a:pt x="694" y="5"/>
                  </a:lnTo>
                  <a:lnTo>
                    <a:pt x="694" y="2"/>
                  </a:lnTo>
                  <a:lnTo>
                    <a:pt x="690" y="5"/>
                  </a:lnTo>
                  <a:lnTo>
                    <a:pt x="690" y="5"/>
                  </a:lnTo>
                  <a:lnTo>
                    <a:pt x="694" y="7"/>
                  </a:lnTo>
                  <a:close/>
                  <a:moveTo>
                    <a:pt x="723" y="101"/>
                  </a:moveTo>
                  <a:lnTo>
                    <a:pt x="725" y="101"/>
                  </a:lnTo>
                  <a:lnTo>
                    <a:pt x="727" y="103"/>
                  </a:lnTo>
                  <a:lnTo>
                    <a:pt x="729" y="101"/>
                  </a:lnTo>
                  <a:lnTo>
                    <a:pt x="729" y="101"/>
                  </a:lnTo>
                  <a:lnTo>
                    <a:pt x="729" y="101"/>
                  </a:lnTo>
                  <a:lnTo>
                    <a:pt x="729" y="101"/>
                  </a:lnTo>
                  <a:lnTo>
                    <a:pt x="729" y="103"/>
                  </a:lnTo>
                  <a:lnTo>
                    <a:pt x="729" y="103"/>
                  </a:lnTo>
                  <a:lnTo>
                    <a:pt x="727" y="103"/>
                  </a:lnTo>
                  <a:lnTo>
                    <a:pt x="727" y="105"/>
                  </a:lnTo>
                  <a:lnTo>
                    <a:pt x="731" y="103"/>
                  </a:lnTo>
                  <a:lnTo>
                    <a:pt x="731" y="103"/>
                  </a:lnTo>
                  <a:lnTo>
                    <a:pt x="733" y="103"/>
                  </a:lnTo>
                  <a:lnTo>
                    <a:pt x="733" y="101"/>
                  </a:lnTo>
                  <a:lnTo>
                    <a:pt x="731" y="101"/>
                  </a:lnTo>
                  <a:lnTo>
                    <a:pt x="731" y="99"/>
                  </a:lnTo>
                  <a:lnTo>
                    <a:pt x="733" y="99"/>
                  </a:lnTo>
                  <a:lnTo>
                    <a:pt x="733" y="99"/>
                  </a:lnTo>
                  <a:lnTo>
                    <a:pt x="733" y="99"/>
                  </a:lnTo>
                  <a:lnTo>
                    <a:pt x="733" y="99"/>
                  </a:lnTo>
                  <a:lnTo>
                    <a:pt x="735" y="95"/>
                  </a:lnTo>
                  <a:lnTo>
                    <a:pt x="735" y="95"/>
                  </a:lnTo>
                  <a:lnTo>
                    <a:pt x="731" y="93"/>
                  </a:lnTo>
                  <a:lnTo>
                    <a:pt x="731" y="91"/>
                  </a:lnTo>
                  <a:lnTo>
                    <a:pt x="731" y="89"/>
                  </a:lnTo>
                  <a:lnTo>
                    <a:pt x="733" y="89"/>
                  </a:lnTo>
                  <a:lnTo>
                    <a:pt x="735" y="89"/>
                  </a:lnTo>
                  <a:lnTo>
                    <a:pt x="735" y="87"/>
                  </a:lnTo>
                  <a:lnTo>
                    <a:pt x="735" y="84"/>
                  </a:lnTo>
                  <a:lnTo>
                    <a:pt x="733" y="84"/>
                  </a:lnTo>
                  <a:lnTo>
                    <a:pt x="731" y="82"/>
                  </a:lnTo>
                  <a:lnTo>
                    <a:pt x="731" y="80"/>
                  </a:lnTo>
                  <a:lnTo>
                    <a:pt x="731" y="80"/>
                  </a:lnTo>
                  <a:lnTo>
                    <a:pt x="731" y="78"/>
                  </a:lnTo>
                  <a:lnTo>
                    <a:pt x="733" y="76"/>
                  </a:lnTo>
                  <a:lnTo>
                    <a:pt x="731" y="74"/>
                  </a:lnTo>
                  <a:lnTo>
                    <a:pt x="731" y="74"/>
                  </a:lnTo>
                  <a:lnTo>
                    <a:pt x="729" y="72"/>
                  </a:lnTo>
                  <a:lnTo>
                    <a:pt x="729" y="70"/>
                  </a:lnTo>
                  <a:lnTo>
                    <a:pt x="723" y="64"/>
                  </a:lnTo>
                  <a:lnTo>
                    <a:pt x="721" y="62"/>
                  </a:lnTo>
                  <a:lnTo>
                    <a:pt x="717" y="62"/>
                  </a:lnTo>
                  <a:lnTo>
                    <a:pt x="717" y="62"/>
                  </a:lnTo>
                  <a:lnTo>
                    <a:pt x="717" y="64"/>
                  </a:lnTo>
                  <a:lnTo>
                    <a:pt x="717" y="64"/>
                  </a:lnTo>
                  <a:lnTo>
                    <a:pt x="717" y="66"/>
                  </a:lnTo>
                  <a:lnTo>
                    <a:pt x="717" y="64"/>
                  </a:lnTo>
                  <a:lnTo>
                    <a:pt x="719" y="64"/>
                  </a:lnTo>
                  <a:lnTo>
                    <a:pt x="719" y="66"/>
                  </a:lnTo>
                  <a:lnTo>
                    <a:pt x="721" y="66"/>
                  </a:lnTo>
                  <a:lnTo>
                    <a:pt x="719" y="66"/>
                  </a:lnTo>
                  <a:lnTo>
                    <a:pt x="717" y="66"/>
                  </a:lnTo>
                  <a:lnTo>
                    <a:pt x="715" y="66"/>
                  </a:lnTo>
                  <a:lnTo>
                    <a:pt x="713" y="66"/>
                  </a:lnTo>
                  <a:lnTo>
                    <a:pt x="715" y="68"/>
                  </a:lnTo>
                  <a:lnTo>
                    <a:pt x="715" y="68"/>
                  </a:lnTo>
                  <a:lnTo>
                    <a:pt x="717" y="70"/>
                  </a:lnTo>
                  <a:lnTo>
                    <a:pt x="719" y="70"/>
                  </a:lnTo>
                  <a:lnTo>
                    <a:pt x="719" y="70"/>
                  </a:lnTo>
                  <a:lnTo>
                    <a:pt x="719" y="72"/>
                  </a:lnTo>
                  <a:lnTo>
                    <a:pt x="719" y="72"/>
                  </a:lnTo>
                  <a:lnTo>
                    <a:pt x="717" y="72"/>
                  </a:lnTo>
                  <a:lnTo>
                    <a:pt x="715" y="72"/>
                  </a:lnTo>
                  <a:lnTo>
                    <a:pt x="713" y="70"/>
                  </a:lnTo>
                  <a:lnTo>
                    <a:pt x="711" y="68"/>
                  </a:lnTo>
                  <a:lnTo>
                    <a:pt x="711" y="68"/>
                  </a:lnTo>
                  <a:lnTo>
                    <a:pt x="711" y="70"/>
                  </a:lnTo>
                  <a:lnTo>
                    <a:pt x="709" y="72"/>
                  </a:lnTo>
                  <a:lnTo>
                    <a:pt x="707" y="74"/>
                  </a:lnTo>
                  <a:lnTo>
                    <a:pt x="711" y="87"/>
                  </a:lnTo>
                  <a:lnTo>
                    <a:pt x="711" y="91"/>
                  </a:lnTo>
                  <a:lnTo>
                    <a:pt x="709" y="99"/>
                  </a:lnTo>
                  <a:lnTo>
                    <a:pt x="709" y="99"/>
                  </a:lnTo>
                  <a:lnTo>
                    <a:pt x="709" y="99"/>
                  </a:lnTo>
                  <a:lnTo>
                    <a:pt x="709" y="99"/>
                  </a:lnTo>
                  <a:lnTo>
                    <a:pt x="709" y="97"/>
                  </a:lnTo>
                  <a:lnTo>
                    <a:pt x="709" y="97"/>
                  </a:lnTo>
                  <a:lnTo>
                    <a:pt x="704" y="99"/>
                  </a:lnTo>
                  <a:lnTo>
                    <a:pt x="702" y="99"/>
                  </a:lnTo>
                  <a:lnTo>
                    <a:pt x="700" y="99"/>
                  </a:lnTo>
                  <a:lnTo>
                    <a:pt x="698" y="97"/>
                  </a:lnTo>
                  <a:lnTo>
                    <a:pt x="700" y="95"/>
                  </a:lnTo>
                  <a:lnTo>
                    <a:pt x="704" y="97"/>
                  </a:lnTo>
                  <a:lnTo>
                    <a:pt x="707" y="97"/>
                  </a:lnTo>
                  <a:lnTo>
                    <a:pt x="709" y="95"/>
                  </a:lnTo>
                  <a:lnTo>
                    <a:pt x="707" y="95"/>
                  </a:lnTo>
                  <a:lnTo>
                    <a:pt x="707" y="93"/>
                  </a:lnTo>
                  <a:lnTo>
                    <a:pt x="704" y="93"/>
                  </a:lnTo>
                  <a:lnTo>
                    <a:pt x="707" y="91"/>
                  </a:lnTo>
                  <a:lnTo>
                    <a:pt x="707" y="91"/>
                  </a:lnTo>
                  <a:lnTo>
                    <a:pt x="707" y="89"/>
                  </a:lnTo>
                  <a:lnTo>
                    <a:pt x="704" y="89"/>
                  </a:lnTo>
                  <a:lnTo>
                    <a:pt x="704" y="87"/>
                  </a:lnTo>
                  <a:lnTo>
                    <a:pt x="704" y="87"/>
                  </a:lnTo>
                  <a:lnTo>
                    <a:pt x="702" y="87"/>
                  </a:lnTo>
                  <a:lnTo>
                    <a:pt x="702" y="87"/>
                  </a:lnTo>
                  <a:lnTo>
                    <a:pt x="700" y="87"/>
                  </a:lnTo>
                  <a:lnTo>
                    <a:pt x="698" y="87"/>
                  </a:lnTo>
                  <a:lnTo>
                    <a:pt x="698" y="87"/>
                  </a:lnTo>
                  <a:lnTo>
                    <a:pt x="698" y="84"/>
                  </a:lnTo>
                  <a:lnTo>
                    <a:pt x="702" y="87"/>
                  </a:lnTo>
                  <a:lnTo>
                    <a:pt x="704" y="84"/>
                  </a:lnTo>
                  <a:lnTo>
                    <a:pt x="704" y="82"/>
                  </a:lnTo>
                  <a:lnTo>
                    <a:pt x="702" y="78"/>
                  </a:lnTo>
                  <a:lnTo>
                    <a:pt x="700" y="78"/>
                  </a:lnTo>
                  <a:lnTo>
                    <a:pt x="700" y="76"/>
                  </a:lnTo>
                  <a:lnTo>
                    <a:pt x="702" y="76"/>
                  </a:lnTo>
                  <a:lnTo>
                    <a:pt x="702" y="74"/>
                  </a:lnTo>
                  <a:lnTo>
                    <a:pt x="702" y="72"/>
                  </a:lnTo>
                  <a:lnTo>
                    <a:pt x="704" y="70"/>
                  </a:lnTo>
                  <a:lnTo>
                    <a:pt x="702" y="70"/>
                  </a:lnTo>
                  <a:lnTo>
                    <a:pt x="700" y="72"/>
                  </a:lnTo>
                  <a:lnTo>
                    <a:pt x="700" y="68"/>
                  </a:lnTo>
                  <a:lnTo>
                    <a:pt x="700" y="66"/>
                  </a:lnTo>
                  <a:lnTo>
                    <a:pt x="702" y="68"/>
                  </a:lnTo>
                  <a:lnTo>
                    <a:pt x="702" y="66"/>
                  </a:lnTo>
                  <a:lnTo>
                    <a:pt x="700" y="64"/>
                  </a:lnTo>
                  <a:lnTo>
                    <a:pt x="698" y="64"/>
                  </a:lnTo>
                  <a:lnTo>
                    <a:pt x="696" y="64"/>
                  </a:lnTo>
                  <a:lnTo>
                    <a:pt x="688" y="66"/>
                  </a:lnTo>
                  <a:lnTo>
                    <a:pt x="680" y="70"/>
                  </a:lnTo>
                  <a:lnTo>
                    <a:pt x="678" y="72"/>
                  </a:lnTo>
                  <a:lnTo>
                    <a:pt x="680" y="72"/>
                  </a:lnTo>
                  <a:lnTo>
                    <a:pt x="682" y="74"/>
                  </a:lnTo>
                  <a:lnTo>
                    <a:pt x="684" y="74"/>
                  </a:lnTo>
                  <a:lnTo>
                    <a:pt x="680" y="74"/>
                  </a:lnTo>
                  <a:lnTo>
                    <a:pt x="678" y="74"/>
                  </a:lnTo>
                  <a:lnTo>
                    <a:pt x="676" y="74"/>
                  </a:lnTo>
                  <a:lnTo>
                    <a:pt x="674" y="74"/>
                  </a:lnTo>
                  <a:lnTo>
                    <a:pt x="674" y="76"/>
                  </a:lnTo>
                  <a:lnTo>
                    <a:pt x="674" y="76"/>
                  </a:lnTo>
                  <a:lnTo>
                    <a:pt x="672" y="76"/>
                  </a:lnTo>
                  <a:lnTo>
                    <a:pt x="672" y="74"/>
                  </a:lnTo>
                  <a:lnTo>
                    <a:pt x="672" y="74"/>
                  </a:lnTo>
                  <a:lnTo>
                    <a:pt x="672" y="72"/>
                  </a:lnTo>
                  <a:lnTo>
                    <a:pt x="672" y="72"/>
                  </a:lnTo>
                  <a:lnTo>
                    <a:pt x="668" y="72"/>
                  </a:lnTo>
                  <a:lnTo>
                    <a:pt x="663" y="74"/>
                  </a:lnTo>
                  <a:lnTo>
                    <a:pt x="659" y="76"/>
                  </a:lnTo>
                  <a:lnTo>
                    <a:pt x="657" y="78"/>
                  </a:lnTo>
                  <a:lnTo>
                    <a:pt x="657" y="78"/>
                  </a:lnTo>
                  <a:lnTo>
                    <a:pt x="655" y="78"/>
                  </a:lnTo>
                  <a:lnTo>
                    <a:pt x="643" y="80"/>
                  </a:lnTo>
                  <a:lnTo>
                    <a:pt x="643" y="80"/>
                  </a:lnTo>
                  <a:lnTo>
                    <a:pt x="645" y="76"/>
                  </a:lnTo>
                  <a:lnTo>
                    <a:pt x="645" y="74"/>
                  </a:lnTo>
                  <a:lnTo>
                    <a:pt x="643" y="74"/>
                  </a:lnTo>
                  <a:lnTo>
                    <a:pt x="643" y="72"/>
                  </a:lnTo>
                  <a:lnTo>
                    <a:pt x="643" y="72"/>
                  </a:lnTo>
                  <a:lnTo>
                    <a:pt x="643" y="70"/>
                  </a:lnTo>
                  <a:lnTo>
                    <a:pt x="641" y="70"/>
                  </a:lnTo>
                  <a:lnTo>
                    <a:pt x="641" y="70"/>
                  </a:lnTo>
                  <a:lnTo>
                    <a:pt x="639" y="68"/>
                  </a:lnTo>
                  <a:lnTo>
                    <a:pt x="639" y="66"/>
                  </a:lnTo>
                  <a:lnTo>
                    <a:pt x="637" y="64"/>
                  </a:lnTo>
                  <a:lnTo>
                    <a:pt x="637" y="62"/>
                  </a:lnTo>
                  <a:lnTo>
                    <a:pt x="635" y="56"/>
                  </a:lnTo>
                  <a:lnTo>
                    <a:pt x="635" y="54"/>
                  </a:lnTo>
                  <a:lnTo>
                    <a:pt x="635" y="52"/>
                  </a:lnTo>
                  <a:lnTo>
                    <a:pt x="637" y="50"/>
                  </a:lnTo>
                  <a:lnTo>
                    <a:pt x="637" y="48"/>
                  </a:lnTo>
                  <a:lnTo>
                    <a:pt x="637" y="46"/>
                  </a:lnTo>
                  <a:lnTo>
                    <a:pt x="637" y="46"/>
                  </a:lnTo>
                  <a:lnTo>
                    <a:pt x="637" y="43"/>
                  </a:lnTo>
                  <a:lnTo>
                    <a:pt x="635" y="43"/>
                  </a:lnTo>
                  <a:lnTo>
                    <a:pt x="635" y="41"/>
                  </a:lnTo>
                  <a:lnTo>
                    <a:pt x="637" y="41"/>
                  </a:lnTo>
                  <a:lnTo>
                    <a:pt x="639" y="41"/>
                  </a:lnTo>
                  <a:lnTo>
                    <a:pt x="639" y="43"/>
                  </a:lnTo>
                  <a:lnTo>
                    <a:pt x="639" y="48"/>
                  </a:lnTo>
                  <a:lnTo>
                    <a:pt x="639" y="48"/>
                  </a:lnTo>
                  <a:lnTo>
                    <a:pt x="637" y="50"/>
                  </a:lnTo>
                  <a:lnTo>
                    <a:pt x="637" y="52"/>
                  </a:lnTo>
                  <a:lnTo>
                    <a:pt x="637" y="56"/>
                  </a:lnTo>
                  <a:lnTo>
                    <a:pt x="639" y="60"/>
                  </a:lnTo>
                  <a:lnTo>
                    <a:pt x="641" y="64"/>
                  </a:lnTo>
                  <a:lnTo>
                    <a:pt x="643" y="68"/>
                  </a:lnTo>
                  <a:lnTo>
                    <a:pt x="645" y="70"/>
                  </a:lnTo>
                  <a:lnTo>
                    <a:pt x="647" y="70"/>
                  </a:lnTo>
                  <a:lnTo>
                    <a:pt x="649" y="66"/>
                  </a:lnTo>
                  <a:lnTo>
                    <a:pt x="649" y="68"/>
                  </a:lnTo>
                  <a:lnTo>
                    <a:pt x="653" y="70"/>
                  </a:lnTo>
                  <a:lnTo>
                    <a:pt x="653" y="72"/>
                  </a:lnTo>
                  <a:lnTo>
                    <a:pt x="655" y="70"/>
                  </a:lnTo>
                  <a:lnTo>
                    <a:pt x="659" y="70"/>
                  </a:lnTo>
                  <a:lnTo>
                    <a:pt x="661" y="70"/>
                  </a:lnTo>
                  <a:lnTo>
                    <a:pt x="663" y="68"/>
                  </a:lnTo>
                  <a:lnTo>
                    <a:pt x="666" y="64"/>
                  </a:lnTo>
                  <a:lnTo>
                    <a:pt x="668" y="62"/>
                  </a:lnTo>
                  <a:lnTo>
                    <a:pt x="666" y="62"/>
                  </a:lnTo>
                  <a:lnTo>
                    <a:pt x="666" y="62"/>
                  </a:lnTo>
                  <a:lnTo>
                    <a:pt x="666" y="62"/>
                  </a:lnTo>
                  <a:lnTo>
                    <a:pt x="668" y="60"/>
                  </a:lnTo>
                  <a:lnTo>
                    <a:pt x="676" y="58"/>
                  </a:lnTo>
                  <a:lnTo>
                    <a:pt x="676" y="56"/>
                  </a:lnTo>
                  <a:lnTo>
                    <a:pt x="674" y="56"/>
                  </a:lnTo>
                  <a:lnTo>
                    <a:pt x="670" y="56"/>
                  </a:lnTo>
                  <a:lnTo>
                    <a:pt x="668" y="56"/>
                  </a:lnTo>
                  <a:lnTo>
                    <a:pt x="668" y="54"/>
                  </a:lnTo>
                  <a:lnTo>
                    <a:pt x="666" y="54"/>
                  </a:lnTo>
                  <a:lnTo>
                    <a:pt x="663" y="52"/>
                  </a:lnTo>
                  <a:lnTo>
                    <a:pt x="661" y="52"/>
                  </a:lnTo>
                  <a:lnTo>
                    <a:pt x="661" y="52"/>
                  </a:lnTo>
                  <a:lnTo>
                    <a:pt x="659" y="50"/>
                  </a:lnTo>
                  <a:lnTo>
                    <a:pt x="661" y="50"/>
                  </a:lnTo>
                  <a:lnTo>
                    <a:pt x="663" y="50"/>
                  </a:lnTo>
                  <a:lnTo>
                    <a:pt x="666" y="52"/>
                  </a:lnTo>
                  <a:lnTo>
                    <a:pt x="666" y="50"/>
                  </a:lnTo>
                  <a:lnTo>
                    <a:pt x="668" y="52"/>
                  </a:lnTo>
                  <a:lnTo>
                    <a:pt x="672" y="54"/>
                  </a:lnTo>
                  <a:lnTo>
                    <a:pt x="680" y="56"/>
                  </a:lnTo>
                  <a:lnTo>
                    <a:pt x="682" y="56"/>
                  </a:lnTo>
                  <a:lnTo>
                    <a:pt x="684" y="54"/>
                  </a:lnTo>
                  <a:lnTo>
                    <a:pt x="684" y="54"/>
                  </a:lnTo>
                  <a:lnTo>
                    <a:pt x="682" y="54"/>
                  </a:lnTo>
                  <a:lnTo>
                    <a:pt x="680" y="50"/>
                  </a:lnTo>
                  <a:lnTo>
                    <a:pt x="678" y="48"/>
                  </a:lnTo>
                  <a:lnTo>
                    <a:pt x="678" y="48"/>
                  </a:lnTo>
                  <a:lnTo>
                    <a:pt x="676" y="48"/>
                  </a:lnTo>
                  <a:lnTo>
                    <a:pt x="676" y="48"/>
                  </a:lnTo>
                  <a:lnTo>
                    <a:pt x="674" y="46"/>
                  </a:lnTo>
                  <a:lnTo>
                    <a:pt x="674" y="46"/>
                  </a:lnTo>
                  <a:lnTo>
                    <a:pt x="674" y="46"/>
                  </a:lnTo>
                  <a:lnTo>
                    <a:pt x="676" y="46"/>
                  </a:lnTo>
                  <a:lnTo>
                    <a:pt x="680" y="48"/>
                  </a:lnTo>
                  <a:lnTo>
                    <a:pt x="680" y="48"/>
                  </a:lnTo>
                  <a:lnTo>
                    <a:pt x="680" y="48"/>
                  </a:lnTo>
                  <a:lnTo>
                    <a:pt x="682" y="50"/>
                  </a:lnTo>
                  <a:lnTo>
                    <a:pt x="686" y="52"/>
                  </a:lnTo>
                  <a:lnTo>
                    <a:pt x="686" y="52"/>
                  </a:lnTo>
                  <a:lnTo>
                    <a:pt x="688" y="52"/>
                  </a:lnTo>
                  <a:lnTo>
                    <a:pt x="690" y="50"/>
                  </a:lnTo>
                  <a:lnTo>
                    <a:pt x="690" y="50"/>
                  </a:lnTo>
                  <a:lnTo>
                    <a:pt x="690" y="50"/>
                  </a:lnTo>
                  <a:lnTo>
                    <a:pt x="690" y="50"/>
                  </a:lnTo>
                  <a:lnTo>
                    <a:pt x="692" y="48"/>
                  </a:lnTo>
                  <a:lnTo>
                    <a:pt x="692" y="48"/>
                  </a:lnTo>
                  <a:lnTo>
                    <a:pt x="694" y="46"/>
                  </a:lnTo>
                  <a:lnTo>
                    <a:pt x="694" y="46"/>
                  </a:lnTo>
                  <a:lnTo>
                    <a:pt x="694" y="46"/>
                  </a:lnTo>
                  <a:lnTo>
                    <a:pt x="692" y="46"/>
                  </a:lnTo>
                  <a:lnTo>
                    <a:pt x="692" y="41"/>
                  </a:lnTo>
                  <a:lnTo>
                    <a:pt x="690" y="41"/>
                  </a:lnTo>
                  <a:lnTo>
                    <a:pt x="688" y="41"/>
                  </a:lnTo>
                  <a:lnTo>
                    <a:pt x="686" y="39"/>
                  </a:lnTo>
                  <a:lnTo>
                    <a:pt x="684" y="37"/>
                  </a:lnTo>
                  <a:lnTo>
                    <a:pt x="682" y="37"/>
                  </a:lnTo>
                  <a:lnTo>
                    <a:pt x="680" y="35"/>
                  </a:lnTo>
                  <a:lnTo>
                    <a:pt x="678" y="35"/>
                  </a:lnTo>
                  <a:lnTo>
                    <a:pt x="678" y="35"/>
                  </a:lnTo>
                  <a:lnTo>
                    <a:pt x="678" y="33"/>
                  </a:lnTo>
                  <a:lnTo>
                    <a:pt x="678" y="33"/>
                  </a:lnTo>
                  <a:lnTo>
                    <a:pt x="680" y="31"/>
                  </a:lnTo>
                  <a:lnTo>
                    <a:pt x="680" y="31"/>
                  </a:lnTo>
                  <a:lnTo>
                    <a:pt x="680" y="33"/>
                  </a:lnTo>
                  <a:lnTo>
                    <a:pt x="680" y="33"/>
                  </a:lnTo>
                  <a:lnTo>
                    <a:pt x="680" y="33"/>
                  </a:lnTo>
                  <a:lnTo>
                    <a:pt x="684" y="33"/>
                  </a:lnTo>
                  <a:lnTo>
                    <a:pt x="686" y="35"/>
                  </a:lnTo>
                  <a:lnTo>
                    <a:pt x="688" y="35"/>
                  </a:lnTo>
                  <a:lnTo>
                    <a:pt x="690" y="37"/>
                  </a:lnTo>
                  <a:lnTo>
                    <a:pt x="690" y="37"/>
                  </a:lnTo>
                  <a:lnTo>
                    <a:pt x="692" y="37"/>
                  </a:lnTo>
                  <a:lnTo>
                    <a:pt x="694" y="37"/>
                  </a:lnTo>
                  <a:lnTo>
                    <a:pt x="696" y="41"/>
                  </a:lnTo>
                  <a:lnTo>
                    <a:pt x="698" y="41"/>
                  </a:lnTo>
                  <a:lnTo>
                    <a:pt x="700" y="41"/>
                  </a:lnTo>
                  <a:lnTo>
                    <a:pt x="702" y="41"/>
                  </a:lnTo>
                  <a:lnTo>
                    <a:pt x="709" y="43"/>
                  </a:lnTo>
                  <a:lnTo>
                    <a:pt x="709" y="41"/>
                  </a:lnTo>
                  <a:lnTo>
                    <a:pt x="707" y="41"/>
                  </a:lnTo>
                  <a:lnTo>
                    <a:pt x="704" y="41"/>
                  </a:lnTo>
                  <a:lnTo>
                    <a:pt x="702" y="39"/>
                  </a:lnTo>
                  <a:lnTo>
                    <a:pt x="702" y="39"/>
                  </a:lnTo>
                  <a:lnTo>
                    <a:pt x="702" y="37"/>
                  </a:lnTo>
                  <a:lnTo>
                    <a:pt x="702" y="35"/>
                  </a:lnTo>
                  <a:lnTo>
                    <a:pt x="700" y="31"/>
                  </a:lnTo>
                  <a:lnTo>
                    <a:pt x="698" y="31"/>
                  </a:lnTo>
                  <a:lnTo>
                    <a:pt x="698" y="29"/>
                  </a:lnTo>
                  <a:lnTo>
                    <a:pt x="696" y="29"/>
                  </a:lnTo>
                  <a:lnTo>
                    <a:pt x="698" y="29"/>
                  </a:lnTo>
                  <a:lnTo>
                    <a:pt x="700" y="29"/>
                  </a:lnTo>
                  <a:lnTo>
                    <a:pt x="702" y="31"/>
                  </a:lnTo>
                  <a:lnTo>
                    <a:pt x="702" y="33"/>
                  </a:lnTo>
                  <a:lnTo>
                    <a:pt x="702" y="33"/>
                  </a:lnTo>
                  <a:lnTo>
                    <a:pt x="704" y="33"/>
                  </a:lnTo>
                  <a:lnTo>
                    <a:pt x="707" y="33"/>
                  </a:lnTo>
                  <a:lnTo>
                    <a:pt x="707" y="35"/>
                  </a:lnTo>
                  <a:lnTo>
                    <a:pt x="707" y="37"/>
                  </a:lnTo>
                  <a:lnTo>
                    <a:pt x="707" y="37"/>
                  </a:lnTo>
                  <a:lnTo>
                    <a:pt x="707" y="37"/>
                  </a:lnTo>
                  <a:lnTo>
                    <a:pt x="711" y="39"/>
                  </a:lnTo>
                  <a:lnTo>
                    <a:pt x="711" y="39"/>
                  </a:lnTo>
                  <a:lnTo>
                    <a:pt x="713" y="41"/>
                  </a:lnTo>
                  <a:lnTo>
                    <a:pt x="713" y="41"/>
                  </a:lnTo>
                  <a:lnTo>
                    <a:pt x="713" y="43"/>
                  </a:lnTo>
                  <a:lnTo>
                    <a:pt x="713" y="43"/>
                  </a:lnTo>
                  <a:lnTo>
                    <a:pt x="713" y="46"/>
                  </a:lnTo>
                  <a:lnTo>
                    <a:pt x="713" y="46"/>
                  </a:lnTo>
                  <a:lnTo>
                    <a:pt x="715" y="48"/>
                  </a:lnTo>
                  <a:lnTo>
                    <a:pt x="717" y="50"/>
                  </a:lnTo>
                  <a:lnTo>
                    <a:pt x="719" y="50"/>
                  </a:lnTo>
                  <a:lnTo>
                    <a:pt x="721" y="50"/>
                  </a:lnTo>
                  <a:lnTo>
                    <a:pt x="719" y="48"/>
                  </a:lnTo>
                  <a:lnTo>
                    <a:pt x="719" y="46"/>
                  </a:lnTo>
                  <a:lnTo>
                    <a:pt x="717" y="43"/>
                  </a:lnTo>
                  <a:lnTo>
                    <a:pt x="717" y="41"/>
                  </a:lnTo>
                  <a:lnTo>
                    <a:pt x="709" y="31"/>
                  </a:lnTo>
                  <a:lnTo>
                    <a:pt x="709" y="29"/>
                  </a:lnTo>
                  <a:lnTo>
                    <a:pt x="707" y="27"/>
                  </a:lnTo>
                  <a:lnTo>
                    <a:pt x="704" y="25"/>
                  </a:lnTo>
                  <a:lnTo>
                    <a:pt x="702" y="23"/>
                  </a:lnTo>
                  <a:lnTo>
                    <a:pt x="702" y="19"/>
                  </a:lnTo>
                  <a:lnTo>
                    <a:pt x="700" y="15"/>
                  </a:lnTo>
                  <a:lnTo>
                    <a:pt x="700" y="15"/>
                  </a:lnTo>
                  <a:lnTo>
                    <a:pt x="700" y="17"/>
                  </a:lnTo>
                  <a:lnTo>
                    <a:pt x="700" y="19"/>
                  </a:lnTo>
                  <a:lnTo>
                    <a:pt x="698" y="19"/>
                  </a:lnTo>
                  <a:lnTo>
                    <a:pt x="700" y="21"/>
                  </a:lnTo>
                  <a:lnTo>
                    <a:pt x="700" y="21"/>
                  </a:lnTo>
                  <a:lnTo>
                    <a:pt x="700" y="21"/>
                  </a:lnTo>
                  <a:lnTo>
                    <a:pt x="702" y="23"/>
                  </a:lnTo>
                  <a:lnTo>
                    <a:pt x="700" y="21"/>
                  </a:lnTo>
                  <a:lnTo>
                    <a:pt x="696" y="19"/>
                  </a:lnTo>
                  <a:lnTo>
                    <a:pt x="696" y="17"/>
                  </a:lnTo>
                  <a:lnTo>
                    <a:pt x="696" y="15"/>
                  </a:lnTo>
                  <a:lnTo>
                    <a:pt x="694" y="15"/>
                  </a:lnTo>
                  <a:lnTo>
                    <a:pt x="692" y="13"/>
                  </a:lnTo>
                  <a:lnTo>
                    <a:pt x="690" y="13"/>
                  </a:lnTo>
                  <a:lnTo>
                    <a:pt x="690" y="11"/>
                  </a:lnTo>
                  <a:lnTo>
                    <a:pt x="688" y="9"/>
                  </a:lnTo>
                  <a:lnTo>
                    <a:pt x="688" y="7"/>
                  </a:lnTo>
                  <a:lnTo>
                    <a:pt x="688" y="5"/>
                  </a:lnTo>
                  <a:lnTo>
                    <a:pt x="688" y="5"/>
                  </a:lnTo>
                  <a:lnTo>
                    <a:pt x="686" y="5"/>
                  </a:lnTo>
                  <a:lnTo>
                    <a:pt x="674" y="9"/>
                  </a:lnTo>
                  <a:lnTo>
                    <a:pt x="659" y="11"/>
                  </a:lnTo>
                  <a:lnTo>
                    <a:pt x="643" y="15"/>
                  </a:lnTo>
                  <a:lnTo>
                    <a:pt x="629" y="17"/>
                  </a:lnTo>
                  <a:lnTo>
                    <a:pt x="614" y="19"/>
                  </a:lnTo>
                  <a:lnTo>
                    <a:pt x="600" y="23"/>
                  </a:lnTo>
                  <a:lnTo>
                    <a:pt x="584" y="25"/>
                  </a:lnTo>
                  <a:lnTo>
                    <a:pt x="569" y="29"/>
                  </a:lnTo>
                  <a:lnTo>
                    <a:pt x="555" y="31"/>
                  </a:lnTo>
                  <a:lnTo>
                    <a:pt x="539" y="35"/>
                  </a:lnTo>
                  <a:lnTo>
                    <a:pt x="524" y="37"/>
                  </a:lnTo>
                  <a:lnTo>
                    <a:pt x="510" y="41"/>
                  </a:lnTo>
                  <a:lnTo>
                    <a:pt x="494" y="43"/>
                  </a:lnTo>
                  <a:lnTo>
                    <a:pt x="479" y="46"/>
                  </a:lnTo>
                  <a:lnTo>
                    <a:pt x="465" y="50"/>
                  </a:lnTo>
                  <a:lnTo>
                    <a:pt x="450" y="52"/>
                  </a:lnTo>
                  <a:lnTo>
                    <a:pt x="434" y="54"/>
                  </a:lnTo>
                  <a:lnTo>
                    <a:pt x="420" y="58"/>
                  </a:lnTo>
                  <a:lnTo>
                    <a:pt x="405" y="60"/>
                  </a:lnTo>
                  <a:lnTo>
                    <a:pt x="389" y="62"/>
                  </a:lnTo>
                  <a:lnTo>
                    <a:pt x="375" y="66"/>
                  </a:lnTo>
                  <a:lnTo>
                    <a:pt x="360" y="68"/>
                  </a:lnTo>
                  <a:lnTo>
                    <a:pt x="344" y="70"/>
                  </a:lnTo>
                  <a:lnTo>
                    <a:pt x="330" y="72"/>
                  </a:lnTo>
                  <a:lnTo>
                    <a:pt x="315" y="76"/>
                  </a:lnTo>
                  <a:lnTo>
                    <a:pt x="299" y="78"/>
                  </a:lnTo>
                  <a:lnTo>
                    <a:pt x="285" y="80"/>
                  </a:lnTo>
                  <a:lnTo>
                    <a:pt x="270" y="82"/>
                  </a:lnTo>
                  <a:lnTo>
                    <a:pt x="254" y="84"/>
                  </a:lnTo>
                  <a:lnTo>
                    <a:pt x="240" y="89"/>
                  </a:lnTo>
                  <a:lnTo>
                    <a:pt x="225" y="91"/>
                  </a:lnTo>
                  <a:lnTo>
                    <a:pt x="209" y="93"/>
                  </a:lnTo>
                  <a:lnTo>
                    <a:pt x="209" y="93"/>
                  </a:lnTo>
                  <a:lnTo>
                    <a:pt x="207" y="93"/>
                  </a:lnTo>
                  <a:lnTo>
                    <a:pt x="207" y="93"/>
                  </a:lnTo>
                  <a:lnTo>
                    <a:pt x="207" y="91"/>
                  </a:lnTo>
                  <a:lnTo>
                    <a:pt x="203" y="99"/>
                  </a:lnTo>
                  <a:lnTo>
                    <a:pt x="203" y="101"/>
                  </a:lnTo>
                  <a:lnTo>
                    <a:pt x="203" y="101"/>
                  </a:lnTo>
                  <a:lnTo>
                    <a:pt x="205" y="103"/>
                  </a:lnTo>
                  <a:lnTo>
                    <a:pt x="205" y="105"/>
                  </a:lnTo>
                  <a:lnTo>
                    <a:pt x="205" y="109"/>
                  </a:lnTo>
                  <a:lnTo>
                    <a:pt x="203" y="113"/>
                  </a:lnTo>
                  <a:lnTo>
                    <a:pt x="203" y="115"/>
                  </a:lnTo>
                  <a:lnTo>
                    <a:pt x="203" y="115"/>
                  </a:lnTo>
                  <a:lnTo>
                    <a:pt x="203" y="115"/>
                  </a:lnTo>
                  <a:lnTo>
                    <a:pt x="205" y="117"/>
                  </a:lnTo>
                  <a:lnTo>
                    <a:pt x="205" y="119"/>
                  </a:lnTo>
                  <a:lnTo>
                    <a:pt x="205" y="119"/>
                  </a:lnTo>
                  <a:lnTo>
                    <a:pt x="207" y="119"/>
                  </a:lnTo>
                  <a:lnTo>
                    <a:pt x="207" y="121"/>
                  </a:lnTo>
                  <a:lnTo>
                    <a:pt x="205" y="121"/>
                  </a:lnTo>
                  <a:lnTo>
                    <a:pt x="203" y="121"/>
                  </a:lnTo>
                  <a:lnTo>
                    <a:pt x="199" y="119"/>
                  </a:lnTo>
                  <a:lnTo>
                    <a:pt x="197" y="119"/>
                  </a:lnTo>
                  <a:lnTo>
                    <a:pt x="197" y="119"/>
                  </a:lnTo>
                  <a:lnTo>
                    <a:pt x="190" y="125"/>
                  </a:lnTo>
                  <a:lnTo>
                    <a:pt x="188" y="128"/>
                  </a:lnTo>
                  <a:lnTo>
                    <a:pt x="188" y="130"/>
                  </a:lnTo>
                  <a:lnTo>
                    <a:pt x="182" y="146"/>
                  </a:lnTo>
                  <a:lnTo>
                    <a:pt x="182" y="148"/>
                  </a:lnTo>
                  <a:lnTo>
                    <a:pt x="182" y="148"/>
                  </a:lnTo>
                  <a:lnTo>
                    <a:pt x="180" y="148"/>
                  </a:lnTo>
                  <a:lnTo>
                    <a:pt x="180" y="150"/>
                  </a:lnTo>
                  <a:lnTo>
                    <a:pt x="178" y="152"/>
                  </a:lnTo>
                  <a:lnTo>
                    <a:pt x="178" y="152"/>
                  </a:lnTo>
                  <a:lnTo>
                    <a:pt x="178" y="152"/>
                  </a:lnTo>
                  <a:lnTo>
                    <a:pt x="176" y="152"/>
                  </a:lnTo>
                  <a:lnTo>
                    <a:pt x="176" y="152"/>
                  </a:lnTo>
                  <a:lnTo>
                    <a:pt x="174" y="152"/>
                  </a:lnTo>
                  <a:lnTo>
                    <a:pt x="174" y="152"/>
                  </a:lnTo>
                  <a:lnTo>
                    <a:pt x="174" y="150"/>
                  </a:lnTo>
                  <a:lnTo>
                    <a:pt x="174" y="150"/>
                  </a:lnTo>
                  <a:lnTo>
                    <a:pt x="174" y="150"/>
                  </a:lnTo>
                  <a:lnTo>
                    <a:pt x="174" y="150"/>
                  </a:lnTo>
                  <a:lnTo>
                    <a:pt x="172" y="150"/>
                  </a:lnTo>
                  <a:lnTo>
                    <a:pt x="172" y="148"/>
                  </a:lnTo>
                  <a:lnTo>
                    <a:pt x="172" y="148"/>
                  </a:lnTo>
                  <a:lnTo>
                    <a:pt x="172" y="148"/>
                  </a:lnTo>
                  <a:lnTo>
                    <a:pt x="172" y="148"/>
                  </a:lnTo>
                  <a:lnTo>
                    <a:pt x="172" y="148"/>
                  </a:lnTo>
                  <a:lnTo>
                    <a:pt x="170" y="148"/>
                  </a:lnTo>
                  <a:lnTo>
                    <a:pt x="170" y="148"/>
                  </a:lnTo>
                  <a:lnTo>
                    <a:pt x="168" y="148"/>
                  </a:lnTo>
                  <a:lnTo>
                    <a:pt x="168" y="148"/>
                  </a:lnTo>
                  <a:lnTo>
                    <a:pt x="168" y="148"/>
                  </a:lnTo>
                  <a:lnTo>
                    <a:pt x="168" y="146"/>
                  </a:lnTo>
                  <a:lnTo>
                    <a:pt x="166" y="148"/>
                  </a:lnTo>
                  <a:lnTo>
                    <a:pt x="166" y="148"/>
                  </a:lnTo>
                  <a:lnTo>
                    <a:pt x="166" y="148"/>
                  </a:lnTo>
                  <a:lnTo>
                    <a:pt x="164" y="150"/>
                  </a:lnTo>
                  <a:lnTo>
                    <a:pt x="162" y="150"/>
                  </a:lnTo>
                  <a:lnTo>
                    <a:pt x="160" y="150"/>
                  </a:lnTo>
                  <a:lnTo>
                    <a:pt x="160" y="150"/>
                  </a:lnTo>
                  <a:lnTo>
                    <a:pt x="158" y="152"/>
                  </a:lnTo>
                  <a:lnTo>
                    <a:pt x="156" y="154"/>
                  </a:lnTo>
                  <a:lnTo>
                    <a:pt x="154" y="154"/>
                  </a:lnTo>
                  <a:lnTo>
                    <a:pt x="154" y="154"/>
                  </a:lnTo>
                  <a:lnTo>
                    <a:pt x="151" y="156"/>
                  </a:lnTo>
                  <a:lnTo>
                    <a:pt x="149" y="160"/>
                  </a:lnTo>
                  <a:lnTo>
                    <a:pt x="147" y="162"/>
                  </a:lnTo>
                  <a:lnTo>
                    <a:pt x="147" y="164"/>
                  </a:lnTo>
                  <a:lnTo>
                    <a:pt x="147" y="164"/>
                  </a:lnTo>
                  <a:lnTo>
                    <a:pt x="145" y="166"/>
                  </a:lnTo>
                  <a:lnTo>
                    <a:pt x="145" y="168"/>
                  </a:lnTo>
                  <a:lnTo>
                    <a:pt x="145" y="168"/>
                  </a:lnTo>
                  <a:lnTo>
                    <a:pt x="145" y="168"/>
                  </a:lnTo>
                  <a:lnTo>
                    <a:pt x="145" y="168"/>
                  </a:lnTo>
                  <a:lnTo>
                    <a:pt x="141" y="173"/>
                  </a:lnTo>
                  <a:lnTo>
                    <a:pt x="139" y="173"/>
                  </a:lnTo>
                  <a:lnTo>
                    <a:pt x="139" y="173"/>
                  </a:lnTo>
                  <a:lnTo>
                    <a:pt x="139" y="173"/>
                  </a:lnTo>
                  <a:lnTo>
                    <a:pt x="139" y="173"/>
                  </a:lnTo>
                  <a:lnTo>
                    <a:pt x="137" y="173"/>
                  </a:lnTo>
                  <a:lnTo>
                    <a:pt x="137" y="173"/>
                  </a:lnTo>
                  <a:lnTo>
                    <a:pt x="137" y="173"/>
                  </a:lnTo>
                  <a:lnTo>
                    <a:pt x="137" y="173"/>
                  </a:lnTo>
                  <a:lnTo>
                    <a:pt x="137" y="171"/>
                  </a:lnTo>
                  <a:lnTo>
                    <a:pt x="135" y="171"/>
                  </a:lnTo>
                  <a:lnTo>
                    <a:pt x="135" y="171"/>
                  </a:lnTo>
                  <a:lnTo>
                    <a:pt x="135" y="168"/>
                  </a:lnTo>
                  <a:lnTo>
                    <a:pt x="135" y="168"/>
                  </a:lnTo>
                  <a:lnTo>
                    <a:pt x="135" y="166"/>
                  </a:lnTo>
                  <a:lnTo>
                    <a:pt x="135" y="166"/>
                  </a:lnTo>
                  <a:lnTo>
                    <a:pt x="135" y="166"/>
                  </a:lnTo>
                  <a:lnTo>
                    <a:pt x="135" y="166"/>
                  </a:lnTo>
                  <a:lnTo>
                    <a:pt x="133" y="164"/>
                  </a:lnTo>
                  <a:lnTo>
                    <a:pt x="133" y="164"/>
                  </a:lnTo>
                  <a:lnTo>
                    <a:pt x="133" y="164"/>
                  </a:lnTo>
                  <a:lnTo>
                    <a:pt x="131" y="164"/>
                  </a:lnTo>
                  <a:lnTo>
                    <a:pt x="129" y="166"/>
                  </a:lnTo>
                  <a:lnTo>
                    <a:pt x="127" y="168"/>
                  </a:lnTo>
                  <a:lnTo>
                    <a:pt x="121" y="173"/>
                  </a:lnTo>
                  <a:lnTo>
                    <a:pt x="121" y="173"/>
                  </a:lnTo>
                  <a:lnTo>
                    <a:pt x="121" y="173"/>
                  </a:lnTo>
                  <a:lnTo>
                    <a:pt x="121" y="173"/>
                  </a:lnTo>
                  <a:lnTo>
                    <a:pt x="121" y="175"/>
                  </a:lnTo>
                  <a:lnTo>
                    <a:pt x="121" y="175"/>
                  </a:lnTo>
                  <a:lnTo>
                    <a:pt x="121" y="175"/>
                  </a:lnTo>
                  <a:lnTo>
                    <a:pt x="119" y="177"/>
                  </a:lnTo>
                  <a:lnTo>
                    <a:pt x="119" y="177"/>
                  </a:lnTo>
                  <a:lnTo>
                    <a:pt x="119" y="179"/>
                  </a:lnTo>
                  <a:lnTo>
                    <a:pt x="119" y="179"/>
                  </a:lnTo>
                  <a:lnTo>
                    <a:pt x="119" y="179"/>
                  </a:lnTo>
                  <a:lnTo>
                    <a:pt x="119" y="179"/>
                  </a:lnTo>
                  <a:lnTo>
                    <a:pt x="117" y="179"/>
                  </a:lnTo>
                  <a:lnTo>
                    <a:pt x="117" y="179"/>
                  </a:lnTo>
                  <a:lnTo>
                    <a:pt x="115" y="179"/>
                  </a:lnTo>
                  <a:lnTo>
                    <a:pt x="115" y="179"/>
                  </a:lnTo>
                  <a:lnTo>
                    <a:pt x="113" y="179"/>
                  </a:lnTo>
                  <a:lnTo>
                    <a:pt x="113" y="179"/>
                  </a:lnTo>
                  <a:lnTo>
                    <a:pt x="111" y="179"/>
                  </a:lnTo>
                  <a:lnTo>
                    <a:pt x="111" y="179"/>
                  </a:lnTo>
                  <a:lnTo>
                    <a:pt x="111" y="179"/>
                  </a:lnTo>
                  <a:lnTo>
                    <a:pt x="108" y="181"/>
                  </a:lnTo>
                  <a:lnTo>
                    <a:pt x="108" y="181"/>
                  </a:lnTo>
                  <a:lnTo>
                    <a:pt x="108" y="181"/>
                  </a:lnTo>
                  <a:lnTo>
                    <a:pt x="108" y="181"/>
                  </a:lnTo>
                  <a:lnTo>
                    <a:pt x="108" y="183"/>
                  </a:lnTo>
                  <a:lnTo>
                    <a:pt x="108" y="183"/>
                  </a:lnTo>
                  <a:lnTo>
                    <a:pt x="111" y="183"/>
                  </a:lnTo>
                  <a:lnTo>
                    <a:pt x="111" y="185"/>
                  </a:lnTo>
                  <a:lnTo>
                    <a:pt x="111" y="185"/>
                  </a:lnTo>
                  <a:lnTo>
                    <a:pt x="111" y="187"/>
                  </a:lnTo>
                  <a:lnTo>
                    <a:pt x="111" y="187"/>
                  </a:lnTo>
                  <a:lnTo>
                    <a:pt x="111" y="189"/>
                  </a:lnTo>
                  <a:lnTo>
                    <a:pt x="111" y="189"/>
                  </a:lnTo>
                  <a:lnTo>
                    <a:pt x="111" y="189"/>
                  </a:lnTo>
                  <a:lnTo>
                    <a:pt x="108" y="191"/>
                  </a:lnTo>
                  <a:lnTo>
                    <a:pt x="108" y="195"/>
                  </a:lnTo>
                  <a:lnTo>
                    <a:pt x="106" y="197"/>
                  </a:lnTo>
                  <a:lnTo>
                    <a:pt x="104" y="197"/>
                  </a:lnTo>
                  <a:lnTo>
                    <a:pt x="104" y="197"/>
                  </a:lnTo>
                  <a:lnTo>
                    <a:pt x="102" y="197"/>
                  </a:lnTo>
                  <a:lnTo>
                    <a:pt x="100" y="197"/>
                  </a:lnTo>
                  <a:lnTo>
                    <a:pt x="98" y="197"/>
                  </a:lnTo>
                  <a:lnTo>
                    <a:pt x="98" y="197"/>
                  </a:lnTo>
                  <a:lnTo>
                    <a:pt x="98" y="199"/>
                  </a:lnTo>
                  <a:lnTo>
                    <a:pt x="94" y="201"/>
                  </a:lnTo>
                  <a:lnTo>
                    <a:pt x="90" y="203"/>
                  </a:lnTo>
                  <a:lnTo>
                    <a:pt x="90" y="203"/>
                  </a:lnTo>
                  <a:lnTo>
                    <a:pt x="90" y="203"/>
                  </a:lnTo>
                  <a:lnTo>
                    <a:pt x="88" y="205"/>
                  </a:lnTo>
                  <a:lnTo>
                    <a:pt x="86" y="207"/>
                  </a:lnTo>
                  <a:lnTo>
                    <a:pt x="84" y="207"/>
                  </a:lnTo>
                  <a:lnTo>
                    <a:pt x="84" y="207"/>
                  </a:lnTo>
                  <a:lnTo>
                    <a:pt x="84" y="209"/>
                  </a:lnTo>
                  <a:lnTo>
                    <a:pt x="84" y="209"/>
                  </a:lnTo>
                  <a:lnTo>
                    <a:pt x="82" y="212"/>
                  </a:lnTo>
                  <a:lnTo>
                    <a:pt x="80" y="214"/>
                  </a:lnTo>
                  <a:lnTo>
                    <a:pt x="80" y="214"/>
                  </a:lnTo>
                  <a:lnTo>
                    <a:pt x="80" y="214"/>
                  </a:lnTo>
                  <a:lnTo>
                    <a:pt x="78" y="214"/>
                  </a:lnTo>
                  <a:lnTo>
                    <a:pt x="78" y="214"/>
                  </a:lnTo>
                  <a:lnTo>
                    <a:pt x="78" y="216"/>
                  </a:lnTo>
                  <a:lnTo>
                    <a:pt x="76" y="216"/>
                  </a:lnTo>
                  <a:lnTo>
                    <a:pt x="76" y="218"/>
                  </a:lnTo>
                  <a:lnTo>
                    <a:pt x="74" y="218"/>
                  </a:lnTo>
                  <a:lnTo>
                    <a:pt x="74" y="220"/>
                  </a:lnTo>
                  <a:lnTo>
                    <a:pt x="70" y="222"/>
                  </a:lnTo>
                  <a:lnTo>
                    <a:pt x="68" y="222"/>
                  </a:lnTo>
                  <a:lnTo>
                    <a:pt x="68" y="224"/>
                  </a:lnTo>
                  <a:lnTo>
                    <a:pt x="68" y="224"/>
                  </a:lnTo>
                  <a:lnTo>
                    <a:pt x="65" y="226"/>
                  </a:lnTo>
                  <a:lnTo>
                    <a:pt x="65" y="228"/>
                  </a:lnTo>
                  <a:lnTo>
                    <a:pt x="63" y="228"/>
                  </a:lnTo>
                  <a:lnTo>
                    <a:pt x="59" y="230"/>
                  </a:lnTo>
                  <a:lnTo>
                    <a:pt x="57" y="230"/>
                  </a:lnTo>
                  <a:lnTo>
                    <a:pt x="57" y="230"/>
                  </a:lnTo>
                  <a:lnTo>
                    <a:pt x="57" y="230"/>
                  </a:lnTo>
                  <a:lnTo>
                    <a:pt x="57" y="228"/>
                  </a:lnTo>
                  <a:lnTo>
                    <a:pt x="55" y="228"/>
                  </a:lnTo>
                  <a:lnTo>
                    <a:pt x="55" y="228"/>
                  </a:lnTo>
                  <a:lnTo>
                    <a:pt x="55" y="228"/>
                  </a:lnTo>
                  <a:lnTo>
                    <a:pt x="53" y="230"/>
                  </a:lnTo>
                  <a:lnTo>
                    <a:pt x="51" y="230"/>
                  </a:lnTo>
                  <a:lnTo>
                    <a:pt x="51" y="230"/>
                  </a:lnTo>
                  <a:lnTo>
                    <a:pt x="51" y="230"/>
                  </a:lnTo>
                  <a:lnTo>
                    <a:pt x="51" y="230"/>
                  </a:lnTo>
                  <a:lnTo>
                    <a:pt x="49" y="230"/>
                  </a:lnTo>
                  <a:lnTo>
                    <a:pt x="49" y="230"/>
                  </a:lnTo>
                  <a:lnTo>
                    <a:pt x="49" y="230"/>
                  </a:lnTo>
                  <a:lnTo>
                    <a:pt x="47" y="230"/>
                  </a:lnTo>
                  <a:lnTo>
                    <a:pt x="47" y="230"/>
                  </a:lnTo>
                  <a:lnTo>
                    <a:pt x="45" y="230"/>
                  </a:lnTo>
                  <a:lnTo>
                    <a:pt x="43" y="230"/>
                  </a:lnTo>
                  <a:lnTo>
                    <a:pt x="43" y="232"/>
                  </a:lnTo>
                  <a:lnTo>
                    <a:pt x="41" y="232"/>
                  </a:lnTo>
                  <a:lnTo>
                    <a:pt x="39" y="234"/>
                  </a:lnTo>
                  <a:lnTo>
                    <a:pt x="37" y="236"/>
                  </a:lnTo>
                  <a:lnTo>
                    <a:pt x="37" y="236"/>
                  </a:lnTo>
                  <a:lnTo>
                    <a:pt x="37" y="236"/>
                  </a:lnTo>
                  <a:lnTo>
                    <a:pt x="33" y="238"/>
                  </a:lnTo>
                  <a:lnTo>
                    <a:pt x="33" y="238"/>
                  </a:lnTo>
                  <a:lnTo>
                    <a:pt x="31" y="238"/>
                  </a:lnTo>
                  <a:lnTo>
                    <a:pt x="31" y="238"/>
                  </a:lnTo>
                  <a:lnTo>
                    <a:pt x="31" y="242"/>
                  </a:lnTo>
                  <a:lnTo>
                    <a:pt x="29" y="242"/>
                  </a:lnTo>
                  <a:lnTo>
                    <a:pt x="29" y="244"/>
                  </a:lnTo>
                  <a:lnTo>
                    <a:pt x="29" y="244"/>
                  </a:lnTo>
                  <a:lnTo>
                    <a:pt x="25" y="246"/>
                  </a:lnTo>
                  <a:lnTo>
                    <a:pt x="25" y="246"/>
                  </a:lnTo>
                  <a:lnTo>
                    <a:pt x="25" y="246"/>
                  </a:lnTo>
                  <a:lnTo>
                    <a:pt x="22" y="248"/>
                  </a:lnTo>
                  <a:lnTo>
                    <a:pt x="22" y="250"/>
                  </a:lnTo>
                  <a:lnTo>
                    <a:pt x="22" y="250"/>
                  </a:lnTo>
                  <a:lnTo>
                    <a:pt x="22" y="250"/>
                  </a:lnTo>
                  <a:lnTo>
                    <a:pt x="22" y="250"/>
                  </a:lnTo>
                  <a:lnTo>
                    <a:pt x="22" y="253"/>
                  </a:lnTo>
                  <a:lnTo>
                    <a:pt x="22" y="253"/>
                  </a:lnTo>
                  <a:lnTo>
                    <a:pt x="22" y="255"/>
                  </a:lnTo>
                  <a:lnTo>
                    <a:pt x="22" y="255"/>
                  </a:lnTo>
                  <a:lnTo>
                    <a:pt x="22" y="255"/>
                  </a:lnTo>
                  <a:lnTo>
                    <a:pt x="20" y="257"/>
                  </a:lnTo>
                  <a:lnTo>
                    <a:pt x="20" y="259"/>
                  </a:lnTo>
                  <a:lnTo>
                    <a:pt x="20" y="259"/>
                  </a:lnTo>
                  <a:lnTo>
                    <a:pt x="20" y="259"/>
                  </a:lnTo>
                  <a:lnTo>
                    <a:pt x="20" y="263"/>
                  </a:lnTo>
                  <a:lnTo>
                    <a:pt x="20" y="265"/>
                  </a:lnTo>
                  <a:lnTo>
                    <a:pt x="20" y="265"/>
                  </a:lnTo>
                  <a:lnTo>
                    <a:pt x="18" y="267"/>
                  </a:lnTo>
                  <a:lnTo>
                    <a:pt x="18" y="267"/>
                  </a:lnTo>
                  <a:lnTo>
                    <a:pt x="16" y="269"/>
                  </a:lnTo>
                  <a:lnTo>
                    <a:pt x="16" y="269"/>
                  </a:lnTo>
                  <a:lnTo>
                    <a:pt x="14" y="269"/>
                  </a:lnTo>
                  <a:lnTo>
                    <a:pt x="10" y="269"/>
                  </a:lnTo>
                  <a:lnTo>
                    <a:pt x="8" y="271"/>
                  </a:lnTo>
                  <a:lnTo>
                    <a:pt x="8" y="271"/>
                  </a:lnTo>
                  <a:lnTo>
                    <a:pt x="8" y="269"/>
                  </a:lnTo>
                  <a:lnTo>
                    <a:pt x="8" y="269"/>
                  </a:lnTo>
                  <a:lnTo>
                    <a:pt x="6" y="269"/>
                  </a:lnTo>
                  <a:lnTo>
                    <a:pt x="6" y="269"/>
                  </a:lnTo>
                  <a:lnTo>
                    <a:pt x="6" y="269"/>
                  </a:lnTo>
                  <a:lnTo>
                    <a:pt x="4" y="269"/>
                  </a:lnTo>
                  <a:lnTo>
                    <a:pt x="4" y="271"/>
                  </a:lnTo>
                  <a:lnTo>
                    <a:pt x="2" y="271"/>
                  </a:lnTo>
                  <a:lnTo>
                    <a:pt x="2" y="273"/>
                  </a:lnTo>
                  <a:lnTo>
                    <a:pt x="0" y="273"/>
                  </a:lnTo>
                  <a:lnTo>
                    <a:pt x="0" y="275"/>
                  </a:lnTo>
                  <a:lnTo>
                    <a:pt x="0" y="275"/>
                  </a:lnTo>
                  <a:lnTo>
                    <a:pt x="0" y="277"/>
                  </a:lnTo>
                  <a:lnTo>
                    <a:pt x="0" y="279"/>
                  </a:lnTo>
                  <a:lnTo>
                    <a:pt x="0" y="283"/>
                  </a:lnTo>
                  <a:lnTo>
                    <a:pt x="0" y="289"/>
                  </a:lnTo>
                  <a:lnTo>
                    <a:pt x="0" y="296"/>
                  </a:lnTo>
                  <a:lnTo>
                    <a:pt x="2" y="300"/>
                  </a:lnTo>
                  <a:lnTo>
                    <a:pt x="8" y="300"/>
                  </a:lnTo>
                  <a:lnTo>
                    <a:pt x="14" y="298"/>
                  </a:lnTo>
                  <a:lnTo>
                    <a:pt x="20" y="298"/>
                  </a:lnTo>
                  <a:lnTo>
                    <a:pt x="29" y="296"/>
                  </a:lnTo>
                  <a:lnTo>
                    <a:pt x="35" y="296"/>
                  </a:lnTo>
                  <a:lnTo>
                    <a:pt x="47" y="293"/>
                  </a:lnTo>
                  <a:lnTo>
                    <a:pt x="55" y="291"/>
                  </a:lnTo>
                  <a:lnTo>
                    <a:pt x="61" y="291"/>
                  </a:lnTo>
                  <a:lnTo>
                    <a:pt x="68" y="289"/>
                  </a:lnTo>
                  <a:lnTo>
                    <a:pt x="74" y="287"/>
                  </a:lnTo>
                  <a:lnTo>
                    <a:pt x="80" y="287"/>
                  </a:lnTo>
                  <a:lnTo>
                    <a:pt x="88" y="285"/>
                  </a:lnTo>
                  <a:lnTo>
                    <a:pt x="94" y="285"/>
                  </a:lnTo>
                  <a:lnTo>
                    <a:pt x="100" y="283"/>
                  </a:lnTo>
                  <a:lnTo>
                    <a:pt x="106" y="283"/>
                  </a:lnTo>
                  <a:lnTo>
                    <a:pt x="108" y="283"/>
                  </a:lnTo>
                  <a:lnTo>
                    <a:pt x="133" y="271"/>
                  </a:lnTo>
                  <a:lnTo>
                    <a:pt x="135" y="269"/>
                  </a:lnTo>
                  <a:lnTo>
                    <a:pt x="137" y="269"/>
                  </a:lnTo>
                  <a:lnTo>
                    <a:pt x="137" y="271"/>
                  </a:lnTo>
                  <a:lnTo>
                    <a:pt x="137" y="271"/>
                  </a:lnTo>
                  <a:lnTo>
                    <a:pt x="137" y="271"/>
                  </a:lnTo>
                  <a:lnTo>
                    <a:pt x="139" y="269"/>
                  </a:lnTo>
                  <a:lnTo>
                    <a:pt x="139" y="269"/>
                  </a:lnTo>
                  <a:lnTo>
                    <a:pt x="141" y="267"/>
                  </a:lnTo>
                  <a:lnTo>
                    <a:pt x="141" y="267"/>
                  </a:lnTo>
                  <a:lnTo>
                    <a:pt x="143" y="265"/>
                  </a:lnTo>
                  <a:lnTo>
                    <a:pt x="143" y="265"/>
                  </a:lnTo>
                  <a:lnTo>
                    <a:pt x="143" y="265"/>
                  </a:lnTo>
                  <a:lnTo>
                    <a:pt x="143" y="263"/>
                  </a:lnTo>
                  <a:lnTo>
                    <a:pt x="143" y="263"/>
                  </a:lnTo>
                  <a:lnTo>
                    <a:pt x="145" y="263"/>
                  </a:lnTo>
                  <a:lnTo>
                    <a:pt x="145" y="263"/>
                  </a:lnTo>
                  <a:lnTo>
                    <a:pt x="147" y="263"/>
                  </a:lnTo>
                  <a:lnTo>
                    <a:pt x="149" y="261"/>
                  </a:lnTo>
                  <a:lnTo>
                    <a:pt x="154" y="259"/>
                  </a:lnTo>
                  <a:lnTo>
                    <a:pt x="154" y="259"/>
                  </a:lnTo>
                  <a:lnTo>
                    <a:pt x="158" y="257"/>
                  </a:lnTo>
                  <a:lnTo>
                    <a:pt x="158" y="257"/>
                  </a:lnTo>
                  <a:lnTo>
                    <a:pt x="158" y="257"/>
                  </a:lnTo>
                  <a:lnTo>
                    <a:pt x="160" y="257"/>
                  </a:lnTo>
                  <a:lnTo>
                    <a:pt x="160" y="257"/>
                  </a:lnTo>
                  <a:lnTo>
                    <a:pt x="160" y="255"/>
                  </a:lnTo>
                  <a:lnTo>
                    <a:pt x="164" y="255"/>
                  </a:lnTo>
                  <a:lnTo>
                    <a:pt x="164" y="255"/>
                  </a:lnTo>
                  <a:lnTo>
                    <a:pt x="164" y="255"/>
                  </a:lnTo>
                  <a:lnTo>
                    <a:pt x="164" y="253"/>
                  </a:lnTo>
                  <a:lnTo>
                    <a:pt x="164" y="253"/>
                  </a:lnTo>
                  <a:lnTo>
                    <a:pt x="166" y="250"/>
                  </a:lnTo>
                  <a:lnTo>
                    <a:pt x="166" y="250"/>
                  </a:lnTo>
                  <a:lnTo>
                    <a:pt x="168" y="250"/>
                  </a:lnTo>
                  <a:lnTo>
                    <a:pt x="168" y="250"/>
                  </a:lnTo>
                  <a:lnTo>
                    <a:pt x="168" y="250"/>
                  </a:lnTo>
                  <a:lnTo>
                    <a:pt x="168" y="250"/>
                  </a:lnTo>
                  <a:lnTo>
                    <a:pt x="168" y="250"/>
                  </a:lnTo>
                  <a:lnTo>
                    <a:pt x="168" y="250"/>
                  </a:lnTo>
                  <a:lnTo>
                    <a:pt x="170" y="250"/>
                  </a:lnTo>
                  <a:lnTo>
                    <a:pt x="170" y="250"/>
                  </a:lnTo>
                  <a:lnTo>
                    <a:pt x="176" y="250"/>
                  </a:lnTo>
                  <a:lnTo>
                    <a:pt x="182" y="248"/>
                  </a:lnTo>
                  <a:lnTo>
                    <a:pt x="182" y="248"/>
                  </a:lnTo>
                  <a:lnTo>
                    <a:pt x="186" y="248"/>
                  </a:lnTo>
                  <a:lnTo>
                    <a:pt x="190" y="248"/>
                  </a:lnTo>
                  <a:lnTo>
                    <a:pt x="194" y="248"/>
                  </a:lnTo>
                  <a:lnTo>
                    <a:pt x="201" y="246"/>
                  </a:lnTo>
                  <a:lnTo>
                    <a:pt x="207" y="246"/>
                  </a:lnTo>
                  <a:lnTo>
                    <a:pt x="215" y="244"/>
                  </a:lnTo>
                  <a:lnTo>
                    <a:pt x="223" y="244"/>
                  </a:lnTo>
                  <a:lnTo>
                    <a:pt x="229" y="244"/>
                  </a:lnTo>
                  <a:lnTo>
                    <a:pt x="237" y="242"/>
                  </a:lnTo>
                  <a:lnTo>
                    <a:pt x="246" y="242"/>
                  </a:lnTo>
                  <a:lnTo>
                    <a:pt x="254" y="240"/>
                  </a:lnTo>
                  <a:lnTo>
                    <a:pt x="260" y="240"/>
                  </a:lnTo>
                  <a:lnTo>
                    <a:pt x="268" y="240"/>
                  </a:lnTo>
                  <a:lnTo>
                    <a:pt x="272" y="238"/>
                  </a:lnTo>
                  <a:lnTo>
                    <a:pt x="278" y="238"/>
                  </a:lnTo>
                  <a:lnTo>
                    <a:pt x="283" y="238"/>
                  </a:lnTo>
                  <a:lnTo>
                    <a:pt x="285" y="238"/>
                  </a:lnTo>
                  <a:lnTo>
                    <a:pt x="285" y="238"/>
                  </a:lnTo>
                  <a:lnTo>
                    <a:pt x="285" y="238"/>
                  </a:lnTo>
                  <a:lnTo>
                    <a:pt x="287" y="238"/>
                  </a:lnTo>
                  <a:lnTo>
                    <a:pt x="287" y="238"/>
                  </a:lnTo>
                  <a:lnTo>
                    <a:pt x="287" y="238"/>
                  </a:lnTo>
                  <a:lnTo>
                    <a:pt x="287" y="240"/>
                  </a:lnTo>
                  <a:lnTo>
                    <a:pt x="287" y="240"/>
                  </a:lnTo>
                  <a:lnTo>
                    <a:pt x="287" y="240"/>
                  </a:lnTo>
                  <a:lnTo>
                    <a:pt x="287" y="240"/>
                  </a:lnTo>
                  <a:lnTo>
                    <a:pt x="287" y="244"/>
                  </a:lnTo>
                  <a:lnTo>
                    <a:pt x="287" y="244"/>
                  </a:lnTo>
                  <a:lnTo>
                    <a:pt x="287" y="244"/>
                  </a:lnTo>
                  <a:lnTo>
                    <a:pt x="287" y="244"/>
                  </a:lnTo>
                  <a:lnTo>
                    <a:pt x="287" y="244"/>
                  </a:lnTo>
                  <a:lnTo>
                    <a:pt x="287" y="246"/>
                  </a:lnTo>
                  <a:lnTo>
                    <a:pt x="287" y="246"/>
                  </a:lnTo>
                  <a:lnTo>
                    <a:pt x="287" y="246"/>
                  </a:lnTo>
                  <a:lnTo>
                    <a:pt x="289" y="246"/>
                  </a:lnTo>
                  <a:lnTo>
                    <a:pt x="289" y="246"/>
                  </a:lnTo>
                  <a:lnTo>
                    <a:pt x="289" y="246"/>
                  </a:lnTo>
                  <a:lnTo>
                    <a:pt x="295" y="240"/>
                  </a:lnTo>
                  <a:lnTo>
                    <a:pt x="295" y="240"/>
                  </a:lnTo>
                  <a:lnTo>
                    <a:pt x="297" y="240"/>
                  </a:lnTo>
                  <a:lnTo>
                    <a:pt x="297" y="240"/>
                  </a:lnTo>
                  <a:lnTo>
                    <a:pt x="297" y="240"/>
                  </a:lnTo>
                  <a:lnTo>
                    <a:pt x="301" y="244"/>
                  </a:lnTo>
                  <a:lnTo>
                    <a:pt x="307" y="248"/>
                  </a:lnTo>
                  <a:lnTo>
                    <a:pt x="311" y="255"/>
                  </a:lnTo>
                  <a:lnTo>
                    <a:pt x="311" y="255"/>
                  </a:lnTo>
                  <a:lnTo>
                    <a:pt x="311" y="255"/>
                  </a:lnTo>
                  <a:lnTo>
                    <a:pt x="313" y="267"/>
                  </a:lnTo>
                  <a:lnTo>
                    <a:pt x="313" y="267"/>
                  </a:lnTo>
                  <a:lnTo>
                    <a:pt x="313" y="267"/>
                  </a:lnTo>
                  <a:lnTo>
                    <a:pt x="313" y="267"/>
                  </a:lnTo>
                  <a:lnTo>
                    <a:pt x="315" y="267"/>
                  </a:lnTo>
                  <a:lnTo>
                    <a:pt x="319" y="267"/>
                  </a:lnTo>
                  <a:lnTo>
                    <a:pt x="319" y="267"/>
                  </a:lnTo>
                  <a:lnTo>
                    <a:pt x="321" y="267"/>
                  </a:lnTo>
                  <a:lnTo>
                    <a:pt x="326" y="267"/>
                  </a:lnTo>
                  <a:lnTo>
                    <a:pt x="332" y="265"/>
                  </a:lnTo>
                  <a:lnTo>
                    <a:pt x="338" y="265"/>
                  </a:lnTo>
                  <a:lnTo>
                    <a:pt x="346" y="263"/>
                  </a:lnTo>
                  <a:lnTo>
                    <a:pt x="354" y="261"/>
                  </a:lnTo>
                  <a:lnTo>
                    <a:pt x="362" y="261"/>
                  </a:lnTo>
                  <a:lnTo>
                    <a:pt x="371" y="259"/>
                  </a:lnTo>
                  <a:lnTo>
                    <a:pt x="379" y="259"/>
                  </a:lnTo>
                  <a:lnTo>
                    <a:pt x="385" y="257"/>
                  </a:lnTo>
                  <a:lnTo>
                    <a:pt x="393" y="257"/>
                  </a:lnTo>
                  <a:lnTo>
                    <a:pt x="397" y="255"/>
                  </a:lnTo>
                  <a:lnTo>
                    <a:pt x="401" y="255"/>
                  </a:lnTo>
                  <a:lnTo>
                    <a:pt x="405" y="255"/>
                  </a:lnTo>
                  <a:lnTo>
                    <a:pt x="405" y="253"/>
                  </a:lnTo>
                  <a:lnTo>
                    <a:pt x="410" y="253"/>
                  </a:lnTo>
                  <a:lnTo>
                    <a:pt x="412" y="253"/>
                  </a:lnTo>
                  <a:lnTo>
                    <a:pt x="414" y="253"/>
                  </a:lnTo>
                  <a:lnTo>
                    <a:pt x="418" y="255"/>
                  </a:lnTo>
                  <a:lnTo>
                    <a:pt x="424" y="261"/>
                  </a:lnTo>
                  <a:lnTo>
                    <a:pt x="430" y="265"/>
                  </a:lnTo>
                  <a:lnTo>
                    <a:pt x="438" y="269"/>
                  </a:lnTo>
                  <a:lnTo>
                    <a:pt x="450" y="279"/>
                  </a:lnTo>
                  <a:lnTo>
                    <a:pt x="465" y="289"/>
                  </a:lnTo>
                  <a:lnTo>
                    <a:pt x="471" y="293"/>
                  </a:lnTo>
                  <a:lnTo>
                    <a:pt x="479" y="298"/>
                  </a:lnTo>
                  <a:lnTo>
                    <a:pt x="485" y="304"/>
                  </a:lnTo>
                  <a:lnTo>
                    <a:pt x="491" y="308"/>
                  </a:lnTo>
                  <a:lnTo>
                    <a:pt x="500" y="312"/>
                  </a:lnTo>
                  <a:lnTo>
                    <a:pt x="506" y="318"/>
                  </a:lnTo>
                  <a:lnTo>
                    <a:pt x="514" y="322"/>
                  </a:lnTo>
                  <a:lnTo>
                    <a:pt x="520" y="326"/>
                  </a:lnTo>
                  <a:lnTo>
                    <a:pt x="526" y="332"/>
                  </a:lnTo>
                  <a:lnTo>
                    <a:pt x="528" y="330"/>
                  </a:lnTo>
                  <a:lnTo>
                    <a:pt x="530" y="330"/>
                  </a:lnTo>
                  <a:lnTo>
                    <a:pt x="528" y="332"/>
                  </a:lnTo>
                  <a:lnTo>
                    <a:pt x="528" y="332"/>
                  </a:lnTo>
                  <a:lnTo>
                    <a:pt x="537" y="328"/>
                  </a:lnTo>
                  <a:lnTo>
                    <a:pt x="541" y="326"/>
                  </a:lnTo>
                  <a:lnTo>
                    <a:pt x="543" y="324"/>
                  </a:lnTo>
                  <a:lnTo>
                    <a:pt x="543" y="320"/>
                  </a:lnTo>
                  <a:lnTo>
                    <a:pt x="545" y="320"/>
                  </a:lnTo>
                  <a:lnTo>
                    <a:pt x="545" y="322"/>
                  </a:lnTo>
                  <a:lnTo>
                    <a:pt x="545" y="324"/>
                  </a:lnTo>
                  <a:lnTo>
                    <a:pt x="545" y="324"/>
                  </a:lnTo>
                  <a:lnTo>
                    <a:pt x="547" y="324"/>
                  </a:lnTo>
                  <a:lnTo>
                    <a:pt x="555" y="322"/>
                  </a:lnTo>
                  <a:lnTo>
                    <a:pt x="557" y="322"/>
                  </a:lnTo>
                  <a:lnTo>
                    <a:pt x="557" y="322"/>
                  </a:lnTo>
                  <a:lnTo>
                    <a:pt x="563" y="320"/>
                  </a:lnTo>
                  <a:lnTo>
                    <a:pt x="565" y="320"/>
                  </a:lnTo>
                  <a:lnTo>
                    <a:pt x="573" y="322"/>
                  </a:lnTo>
                  <a:lnTo>
                    <a:pt x="573" y="322"/>
                  </a:lnTo>
                  <a:lnTo>
                    <a:pt x="575" y="320"/>
                  </a:lnTo>
                  <a:lnTo>
                    <a:pt x="575" y="320"/>
                  </a:lnTo>
                  <a:lnTo>
                    <a:pt x="577" y="314"/>
                  </a:lnTo>
                  <a:lnTo>
                    <a:pt x="580" y="310"/>
                  </a:lnTo>
                  <a:lnTo>
                    <a:pt x="580" y="308"/>
                  </a:lnTo>
                  <a:lnTo>
                    <a:pt x="577" y="304"/>
                  </a:lnTo>
                  <a:lnTo>
                    <a:pt x="577" y="304"/>
                  </a:lnTo>
                  <a:lnTo>
                    <a:pt x="580" y="302"/>
                  </a:lnTo>
                  <a:lnTo>
                    <a:pt x="577" y="300"/>
                  </a:lnTo>
                  <a:lnTo>
                    <a:pt x="575" y="291"/>
                  </a:lnTo>
                  <a:lnTo>
                    <a:pt x="573" y="289"/>
                  </a:lnTo>
                  <a:lnTo>
                    <a:pt x="575" y="287"/>
                  </a:lnTo>
                  <a:lnTo>
                    <a:pt x="577" y="293"/>
                  </a:lnTo>
                  <a:lnTo>
                    <a:pt x="580" y="296"/>
                  </a:lnTo>
                  <a:lnTo>
                    <a:pt x="580" y="300"/>
                  </a:lnTo>
                  <a:lnTo>
                    <a:pt x="582" y="308"/>
                  </a:lnTo>
                  <a:lnTo>
                    <a:pt x="582" y="312"/>
                  </a:lnTo>
                  <a:lnTo>
                    <a:pt x="582" y="312"/>
                  </a:lnTo>
                  <a:lnTo>
                    <a:pt x="582" y="312"/>
                  </a:lnTo>
                  <a:lnTo>
                    <a:pt x="582" y="314"/>
                  </a:lnTo>
                  <a:lnTo>
                    <a:pt x="582" y="316"/>
                  </a:lnTo>
                  <a:lnTo>
                    <a:pt x="584" y="312"/>
                  </a:lnTo>
                  <a:lnTo>
                    <a:pt x="584" y="306"/>
                  </a:lnTo>
                  <a:lnTo>
                    <a:pt x="584" y="293"/>
                  </a:lnTo>
                  <a:lnTo>
                    <a:pt x="584" y="291"/>
                  </a:lnTo>
                  <a:lnTo>
                    <a:pt x="586" y="287"/>
                  </a:lnTo>
                  <a:lnTo>
                    <a:pt x="586" y="285"/>
                  </a:lnTo>
                  <a:lnTo>
                    <a:pt x="586" y="283"/>
                  </a:lnTo>
                  <a:lnTo>
                    <a:pt x="588" y="279"/>
                  </a:lnTo>
                  <a:lnTo>
                    <a:pt x="592" y="271"/>
                  </a:lnTo>
                  <a:lnTo>
                    <a:pt x="596" y="263"/>
                  </a:lnTo>
                  <a:lnTo>
                    <a:pt x="606" y="253"/>
                  </a:lnTo>
                  <a:lnTo>
                    <a:pt x="612" y="246"/>
                  </a:lnTo>
                  <a:lnTo>
                    <a:pt x="616" y="244"/>
                  </a:lnTo>
                  <a:lnTo>
                    <a:pt x="616" y="242"/>
                  </a:lnTo>
                  <a:lnTo>
                    <a:pt x="618" y="242"/>
                  </a:lnTo>
                  <a:lnTo>
                    <a:pt x="618" y="242"/>
                  </a:lnTo>
                  <a:lnTo>
                    <a:pt x="616" y="242"/>
                  </a:lnTo>
                  <a:lnTo>
                    <a:pt x="616" y="240"/>
                  </a:lnTo>
                  <a:lnTo>
                    <a:pt x="618" y="240"/>
                  </a:lnTo>
                  <a:lnTo>
                    <a:pt x="616" y="238"/>
                  </a:lnTo>
                  <a:lnTo>
                    <a:pt x="614" y="238"/>
                  </a:lnTo>
                  <a:lnTo>
                    <a:pt x="614" y="238"/>
                  </a:lnTo>
                  <a:lnTo>
                    <a:pt x="612" y="238"/>
                  </a:lnTo>
                  <a:lnTo>
                    <a:pt x="612" y="236"/>
                  </a:lnTo>
                  <a:lnTo>
                    <a:pt x="610" y="236"/>
                  </a:lnTo>
                  <a:lnTo>
                    <a:pt x="610" y="236"/>
                  </a:lnTo>
                  <a:lnTo>
                    <a:pt x="610" y="234"/>
                  </a:lnTo>
                  <a:lnTo>
                    <a:pt x="610" y="234"/>
                  </a:lnTo>
                  <a:lnTo>
                    <a:pt x="612" y="234"/>
                  </a:lnTo>
                  <a:lnTo>
                    <a:pt x="612" y="234"/>
                  </a:lnTo>
                  <a:lnTo>
                    <a:pt x="612" y="234"/>
                  </a:lnTo>
                  <a:lnTo>
                    <a:pt x="614" y="232"/>
                  </a:lnTo>
                  <a:lnTo>
                    <a:pt x="614" y="232"/>
                  </a:lnTo>
                  <a:lnTo>
                    <a:pt x="614" y="228"/>
                  </a:lnTo>
                  <a:lnTo>
                    <a:pt x="614" y="228"/>
                  </a:lnTo>
                  <a:lnTo>
                    <a:pt x="612" y="226"/>
                  </a:lnTo>
                  <a:lnTo>
                    <a:pt x="612" y="226"/>
                  </a:lnTo>
                  <a:lnTo>
                    <a:pt x="610" y="226"/>
                  </a:lnTo>
                  <a:lnTo>
                    <a:pt x="610" y="226"/>
                  </a:lnTo>
                  <a:lnTo>
                    <a:pt x="608" y="220"/>
                  </a:lnTo>
                  <a:lnTo>
                    <a:pt x="610" y="222"/>
                  </a:lnTo>
                  <a:lnTo>
                    <a:pt x="610" y="222"/>
                  </a:lnTo>
                  <a:lnTo>
                    <a:pt x="610" y="220"/>
                  </a:lnTo>
                  <a:lnTo>
                    <a:pt x="612" y="220"/>
                  </a:lnTo>
                  <a:lnTo>
                    <a:pt x="612" y="222"/>
                  </a:lnTo>
                  <a:lnTo>
                    <a:pt x="614" y="222"/>
                  </a:lnTo>
                  <a:lnTo>
                    <a:pt x="614" y="222"/>
                  </a:lnTo>
                  <a:lnTo>
                    <a:pt x="612" y="222"/>
                  </a:lnTo>
                  <a:lnTo>
                    <a:pt x="612" y="224"/>
                  </a:lnTo>
                  <a:lnTo>
                    <a:pt x="614" y="224"/>
                  </a:lnTo>
                  <a:lnTo>
                    <a:pt x="618" y="228"/>
                  </a:lnTo>
                  <a:lnTo>
                    <a:pt x="618" y="228"/>
                  </a:lnTo>
                  <a:lnTo>
                    <a:pt x="618" y="230"/>
                  </a:lnTo>
                  <a:lnTo>
                    <a:pt x="616" y="234"/>
                  </a:lnTo>
                  <a:lnTo>
                    <a:pt x="614" y="236"/>
                  </a:lnTo>
                  <a:lnTo>
                    <a:pt x="618" y="236"/>
                  </a:lnTo>
                  <a:lnTo>
                    <a:pt x="618" y="236"/>
                  </a:lnTo>
                  <a:lnTo>
                    <a:pt x="618" y="236"/>
                  </a:lnTo>
                  <a:lnTo>
                    <a:pt x="620" y="238"/>
                  </a:lnTo>
                  <a:lnTo>
                    <a:pt x="623" y="238"/>
                  </a:lnTo>
                  <a:lnTo>
                    <a:pt x="625" y="236"/>
                  </a:lnTo>
                  <a:lnTo>
                    <a:pt x="625" y="234"/>
                  </a:lnTo>
                  <a:lnTo>
                    <a:pt x="627" y="234"/>
                  </a:lnTo>
                  <a:lnTo>
                    <a:pt x="631" y="226"/>
                  </a:lnTo>
                  <a:lnTo>
                    <a:pt x="633" y="224"/>
                  </a:lnTo>
                  <a:lnTo>
                    <a:pt x="633" y="224"/>
                  </a:lnTo>
                  <a:lnTo>
                    <a:pt x="633" y="222"/>
                  </a:lnTo>
                  <a:lnTo>
                    <a:pt x="633" y="222"/>
                  </a:lnTo>
                  <a:lnTo>
                    <a:pt x="633" y="222"/>
                  </a:lnTo>
                  <a:lnTo>
                    <a:pt x="633" y="222"/>
                  </a:lnTo>
                  <a:lnTo>
                    <a:pt x="635" y="222"/>
                  </a:lnTo>
                  <a:lnTo>
                    <a:pt x="635" y="222"/>
                  </a:lnTo>
                  <a:lnTo>
                    <a:pt x="635" y="222"/>
                  </a:lnTo>
                  <a:lnTo>
                    <a:pt x="637" y="220"/>
                  </a:lnTo>
                  <a:lnTo>
                    <a:pt x="637" y="218"/>
                  </a:lnTo>
                  <a:lnTo>
                    <a:pt x="637" y="218"/>
                  </a:lnTo>
                  <a:lnTo>
                    <a:pt x="635" y="216"/>
                  </a:lnTo>
                  <a:lnTo>
                    <a:pt x="635" y="216"/>
                  </a:lnTo>
                  <a:lnTo>
                    <a:pt x="635" y="214"/>
                  </a:lnTo>
                  <a:lnTo>
                    <a:pt x="637" y="214"/>
                  </a:lnTo>
                  <a:lnTo>
                    <a:pt x="637" y="214"/>
                  </a:lnTo>
                  <a:lnTo>
                    <a:pt x="637" y="216"/>
                  </a:lnTo>
                  <a:lnTo>
                    <a:pt x="639" y="218"/>
                  </a:lnTo>
                  <a:lnTo>
                    <a:pt x="639" y="220"/>
                  </a:lnTo>
                  <a:lnTo>
                    <a:pt x="639" y="222"/>
                  </a:lnTo>
                  <a:lnTo>
                    <a:pt x="639" y="222"/>
                  </a:lnTo>
                  <a:lnTo>
                    <a:pt x="641" y="222"/>
                  </a:lnTo>
                  <a:lnTo>
                    <a:pt x="641" y="220"/>
                  </a:lnTo>
                  <a:lnTo>
                    <a:pt x="653" y="214"/>
                  </a:lnTo>
                  <a:lnTo>
                    <a:pt x="655" y="212"/>
                  </a:lnTo>
                  <a:lnTo>
                    <a:pt x="672" y="209"/>
                  </a:lnTo>
                  <a:lnTo>
                    <a:pt x="672" y="207"/>
                  </a:lnTo>
                  <a:lnTo>
                    <a:pt x="670" y="205"/>
                  </a:lnTo>
                  <a:lnTo>
                    <a:pt x="670" y="205"/>
                  </a:lnTo>
                  <a:lnTo>
                    <a:pt x="668" y="207"/>
                  </a:lnTo>
                  <a:lnTo>
                    <a:pt x="668" y="207"/>
                  </a:lnTo>
                  <a:lnTo>
                    <a:pt x="666" y="207"/>
                  </a:lnTo>
                  <a:lnTo>
                    <a:pt x="668" y="205"/>
                  </a:lnTo>
                  <a:lnTo>
                    <a:pt x="668" y="203"/>
                  </a:lnTo>
                  <a:lnTo>
                    <a:pt x="670" y="201"/>
                  </a:lnTo>
                  <a:lnTo>
                    <a:pt x="672" y="201"/>
                  </a:lnTo>
                  <a:lnTo>
                    <a:pt x="674" y="201"/>
                  </a:lnTo>
                  <a:lnTo>
                    <a:pt x="674" y="203"/>
                  </a:lnTo>
                  <a:lnTo>
                    <a:pt x="676" y="207"/>
                  </a:lnTo>
                  <a:lnTo>
                    <a:pt x="676" y="209"/>
                  </a:lnTo>
                  <a:lnTo>
                    <a:pt x="680" y="209"/>
                  </a:lnTo>
                  <a:lnTo>
                    <a:pt x="680" y="207"/>
                  </a:lnTo>
                  <a:lnTo>
                    <a:pt x="678" y="197"/>
                  </a:lnTo>
                  <a:lnTo>
                    <a:pt x="678" y="197"/>
                  </a:lnTo>
                  <a:lnTo>
                    <a:pt x="680" y="199"/>
                  </a:lnTo>
                  <a:lnTo>
                    <a:pt x="682" y="201"/>
                  </a:lnTo>
                  <a:lnTo>
                    <a:pt x="682" y="203"/>
                  </a:lnTo>
                  <a:lnTo>
                    <a:pt x="682" y="203"/>
                  </a:lnTo>
                  <a:lnTo>
                    <a:pt x="684" y="205"/>
                  </a:lnTo>
                  <a:lnTo>
                    <a:pt x="686" y="205"/>
                  </a:lnTo>
                  <a:lnTo>
                    <a:pt x="688" y="205"/>
                  </a:lnTo>
                  <a:lnTo>
                    <a:pt x="688" y="205"/>
                  </a:lnTo>
                  <a:lnTo>
                    <a:pt x="690" y="203"/>
                  </a:lnTo>
                  <a:lnTo>
                    <a:pt x="690" y="203"/>
                  </a:lnTo>
                  <a:lnTo>
                    <a:pt x="690" y="201"/>
                  </a:lnTo>
                  <a:lnTo>
                    <a:pt x="688" y="201"/>
                  </a:lnTo>
                  <a:lnTo>
                    <a:pt x="688" y="201"/>
                  </a:lnTo>
                  <a:lnTo>
                    <a:pt x="690" y="199"/>
                  </a:lnTo>
                  <a:lnTo>
                    <a:pt x="690" y="199"/>
                  </a:lnTo>
                  <a:lnTo>
                    <a:pt x="690" y="199"/>
                  </a:lnTo>
                  <a:lnTo>
                    <a:pt x="690" y="199"/>
                  </a:lnTo>
                  <a:lnTo>
                    <a:pt x="692" y="195"/>
                  </a:lnTo>
                  <a:lnTo>
                    <a:pt x="694" y="193"/>
                  </a:lnTo>
                  <a:lnTo>
                    <a:pt x="694" y="191"/>
                  </a:lnTo>
                  <a:lnTo>
                    <a:pt x="694" y="191"/>
                  </a:lnTo>
                  <a:lnTo>
                    <a:pt x="694" y="189"/>
                  </a:lnTo>
                  <a:lnTo>
                    <a:pt x="694" y="187"/>
                  </a:lnTo>
                  <a:lnTo>
                    <a:pt x="694" y="187"/>
                  </a:lnTo>
                  <a:lnTo>
                    <a:pt x="694" y="187"/>
                  </a:lnTo>
                  <a:lnTo>
                    <a:pt x="696" y="187"/>
                  </a:lnTo>
                  <a:lnTo>
                    <a:pt x="696" y="189"/>
                  </a:lnTo>
                  <a:lnTo>
                    <a:pt x="696" y="189"/>
                  </a:lnTo>
                  <a:lnTo>
                    <a:pt x="698" y="187"/>
                  </a:lnTo>
                  <a:lnTo>
                    <a:pt x="700" y="185"/>
                  </a:lnTo>
                  <a:lnTo>
                    <a:pt x="700" y="185"/>
                  </a:lnTo>
                  <a:lnTo>
                    <a:pt x="700" y="183"/>
                  </a:lnTo>
                  <a:lnTo>
                    <a:pt x="698" y="183"/>
                  </a:lnTo>
                  <a:lnTo>
                    <a:pt x="698" y="181"/>
                  </a:lnTo>
                  <a:lnTo>
                    <a:pt x="698" y="181"/>
                  </a:lnTo>
                  <a:lnTo>
                    <a:pt x="700" y="179"/>
                  </a:lnTo>
                  <a:lnTo>
                    <a:pt x="700" y="179"/>
                  </a:lnTo>
                  <a:lnTo>
                    <a:pt x="702" y="179"/>
                  </a:lnTo>
                  <a:lnTo>
                    <a:pt x="702" y="179"/>
                  </a:lnTo>
                  <a:lnTo>
                    <a:pt x="704" y="177"/>
                  </a:lnTo>
                  <a:lnTo>
                    <a:pt x="704" y="177"/>
                  </a:lnTo>
                  <a:lnTo>
                    <a:pt x="704" y="175"/>
                  </a:lnTo>
                  <a:lnTo>
                    <a:pt x="702" y="175"/>
                  </a:lnTo>
                  <a:lnTo>
                    <a:pt x="700" y="173"/>
                  </a:lnTo>
                  <a:lnTo>
                    <a:pt x="698" y="171"/>
                  </a:lnTo>
                  <a:lnTo>
                    <a:pt x="696" y="171"/>
                  </a:lnTo>
                  <a:lnTo>
                    <a:pt x="696" y="173"/>
                  </a:lnTo>
                  <a:lnTo>
                    <a:pt x="698" y="175"/>
                  </a:lnTo>
                  <a:lnTo>
                    <a:pt x="700" y="177"/>
                  </a:lnTo>
                  <a:lnTo>
                    <a:pt x="698" y="177"/>
                  </a:lnTo>
                  <a:lnTo>
                    <a:pt x="696" y="177"/>
                  </a:lnTo>
                  <a:lnTo>
                    <a:pt x="696" y="179"/>
                  </a:lnTo>
                  <a:lnTo>
                    <a:pt x="694" y="181"/>
                  </a:lnTo>
                  <a:lnTo>
                    <a:pt x="694" y="181"/>
                  </a:lnTo>
                  <a:lnTo>
                    <a:pt x="690" y="181"/>
                  </a:lnTo>
                  <a:lnTo>
                    <a:pt x="688" y="183"/>
                  </a:lnTo>
                  <a:lnTo>
                    <a:pt x="688" y="183"/>
                  </a:lnTo>
                  <a:lnTo>
                    <a:pt x="688" y="181"/>
                  </a:lnTo>
                  <a:lnTo>
                    <a:pt x="688" y="181"/>
                  </a:lnTo>
                  <a:lnTo>
                    <a:pt x="688" y="181"/>
                  </a:lnTo>
                  <a:lnTo>
                    <a:pt x="688" y="179"/>
                  </a:lnTo>
                  <a:lnTo>
                    <a:pt x="688" y="179"/>
                  </a:lnTo>
                  <a:lnTo>
                    <a:pt x="688" y="179"/>
                  </a:lnTo>
                  <a:lnTo>
                    <a:pt x="690" y="177"/>
                  </a:lnTo>
                  <a:lnTo>
                    <a:pt x="692" y="177"/>
                  </a:lnTo>
                  <a:lnTo>
                    <a:pt x="690" y="175"/>
                  </a:lnTo>
                  <a:lnTo>
                    <a:pt x="688" y="173"/>
                  </a:lnTo>
                  <a:lnTo>
                    <a:pt x="688" y="173"/>
                  </a:lnTo>
                  <a:lnTo>
                    <a:pt x="688" y="171"/>
                  </a:lnTo>
                  <a:lnTo>
                    <a:pt x="688" y="171"/>
                  </a:lnTo>
                  <a:lnTo>
                    <a:pt x="688" y="171"/>
                  </a:lnTo>
                  <a:lnTo>
                    <a:pt x="686" y="168"/>
                  </a:lnTo>
                  <a:lnTo>
                    <a:pt x="686" y="168"/>
                  </a:lnTo>
                  <a:lnTo>
                    <a:pt x="686" y="168"/>
                  </a:lnTo>
                  <a:lnTo>
                    <a:pt x="686" y="171"/>
                  </a:lnTo>
                  <a:lnTo>
                    <a:pt x="684" y="173"/>
                  </a:lnTo>
                  <a:lnTo>
                    <a:pt x="684" y="173"/>
                  </a:lnTo>
                  <a:lnTo>
                    <a:pt x="684" y="175"/>
                  </a:lnTo>
                  <a:lnTo>
                    <a:pt x="686" y="177"/>
                  </a:lnTo>
                  <a:lnTo>
                    <a:pt x="686" y="177"/>
                  </a:lnTo>
                  <a:lnTo>
                    <a:pt x="686" y="179"/>
                  </a:lnTo>
                  <a:lnTo>
                    <a:pt x="684" y="177"/>
                  </a:lnTo>
                  <a:lnTo>
                    <a:pt x="682" y="177"/>
                  </a:lnTo>
                  <a:lnTo>
                    <a:pt x="680" y="177"/>
                  </a:lnTo>
                  <a:lnTo>
                    <a:pt x="680" y="177"/>
                  </a:lnTo>
                  <a:lnTo>
                    <a:pt x="678" y="179"/>
                  </a:lnTo>
                  <a:lnTo>
                    <a:pt x="678" y="181"/>
                  </a:lnTo>
                  <a:lnTo>
                    <a:pt x="682" y="183"/>
                  </a:lnTo>
                  <a:lnTo>
                    <a:pt x="682" y="185"/>
                  </a:lnTo>
                  <a:lnTo>
                    <a:pt x="680" y="185"/>
                  </a:lnTo>
                  <a:lnTo>
                    <a:pt x="678" y="183"/>
                  </a:lnTo>
                  <a:lnTo>
                    <a:pt x="676" y="183"/>
                  </a:lnTo>
                  <a:lnTo>
                    <a:pt x="676" y="183"/>
                  </a:lnTo>
                  <a:lnTo>
                    <a:pt x="676" y="181"/>
                  </a:lnTo>
                  <a:lnTo>
                    <a:pt x="674" y="181"/>
                  </a:lnTo>
                  <a:lnTo>
                    <a:pt x="674" y="181"/>
                  </a:lnTo>
                  <a:lnTo>
                    <a:pt x="674" y="181"/>
                  </a:lnTo>
                  <a:lnTo>
                    <a:pt x="672" y="181"/>
                  </a:lnTo>
                  <a:lnTo>
                    <a:pt x="670" y="183"/>
                  </a:lnTo>
                  <a:lnTo>
                    <a:pt x="670" y="185"/>
                  </a:lnTo>
                  <a:lnTo>
                    <a:pt x="668" y="187"/>
                  </a:lnTo>
                  <a:lnTo>
                    <a:pt x="668" y="187"/>
                  </a:lnTo>
                  <a:lnTo>
                    <a:pt x="666" y="189"/>
                  </a:lnTo>
                  <a:lnTo>
                    <a:pt x="663" y="191"/>
                  </a:lnTo>
                  <a:lnTo>
                    <a:pt x="663" y="191"/>
                  </a:lnTo>
                  <a:lnTo>
                    <a:pt x="663" y="191"/>
                  </a:lnTo>
                  <a:lnTo>
                    <a:pt x="663" y="191"/>
                  </a:lnTo>
                  <a:lnTo>
                    <a:pt x="661" y="189"/>
                  </a:lnTo>
                  <a:lnTo>
                    <a:pt x="659" y="189"/>
                  </a:lnTo>
                  <a:lnTo>
                    <a:pt x="653" y="187"/>
                  </a:lnTo>
                  <a:lnTo>
                    <a:pt x="649" y="187"/>
                  </a:lnTo>
                  <a:lnTo>
                    <a:pt x="647" y="187"/>
                  </a:lnTo>
                  <a:lnTo>
                    <a:pt x="643" y="183"/>
                  </a:lnTo>
                  <a:lnTo>
                    <a:pt x="639" y="179"/>
                  </a:lnTo>
                  <a:lnTo>
                    <a:pt x="637" y="177"/>
                  </a:lnTo>
                  <a:lnTo>
                    <a:pt x="635" y="177"/>
                  </a:lnTo>
                  <a:lnTo>
                    <a:pt x="635" y="177"/>
                  </a:lnTo>
                  <a:lnTo>
                    <a:pt x="631" y="171"/>
                  </a:lnTo>
                  <a:lnTo>
                    <a:pt x="633" y="171"/>
                  </a:lnTo>
                  <a:lnTo>
                    <a:pt x="639" y="177"/>
                  </a:lnTo>
                  <a:lnTo>
                    <a:pt x="643" y="177"/>
                  </a:lnTo>
                  <a:lnTo>
                    <a:pt x="643" y="177"/>
                  </a:lnTo>
                  <a:lnTo>
                    <a:pt x="649" y="181"/>
                  </a:lnTo>
                  <a:lnTo>
                    <a:pt x="651" y="183"/>
                  </a:lnTo>
                  <a:lnTo>
                    <a:pt x="655" y="183"/>
                  </a:lnTo>
                  <a:lnTo>
                    <a:pt x="657" y="183"/>
                  </a:lnTo>
                  <a:lnTo>
                    <a:pt x="661" y="183"/>
                  </a:lnTo>
                  <a:lnTo>
                    <a:pt x="663" y="181"/>
                  </a:lnTo>
                  <a:lnTo>
                    <a:pt x="666" y="179"/>
                  </a:lnTo>
                  <a:lnTo>
                    <a:pt x="668" y="177"/>
                  </a:lnTo>
                  <a:lnTo>
                    <a:pt x="670" y="173"/>
                  </a:lnTo>
                  <a:lnTo>
                    <a:pt x="672" y="171"/>
                  </a:lnTo>
                  <a:lnTo>
                    <a:pt x="672" y="168"/>
                  </a:lnTo>
                  <a:lnTo>
                    <a:pt x="674" y="166"/>
                  </a:lnTo>
                  <a:lnTo>
                    <a:pt x="676" y="164"/>
                  </a:lnTo>
                  <a:lnTo>
                    <a:pt x="676" y="162"/>
                  </a:lnTo>
                  <a:lnTo>
                    <a:pt x="674" y="158"/>
                  </a:lnTo>
                  <a:lnTo>
                    <a:pt x="672" y="160"/>
                  </a:lnTo>
                  <a:lnTo>
                    <a:pt x="672" y="160"/>
                  </a:lnTo>
                  <a:lnTo>
                    <a:pt x="674" y="160"/>
                  </a:lnTo>
                  <a:lnTo>
                    <a:pt x="674" y="160"/>
                  </a:lnTo>
                  <a:lnTo>
                    <a:pt x="674" y="160"/>
                  </a:lnTo>
                  <a:lnTo>
                    <a:pt x="674" y="162"/>
                  </a:lnTo>
                  <a:lnTo>
                    <a:pt x="672" y="162"/>
                  </a:lnTo>
                  <a:lnTo>
                    <a:pt x="672" y="162"/>
                  </a:lnTo>
                  <a:lnTo>
                    <a:pt x="670" y="162"/>
                  </a:lnTo>
                  <a:lnTo>
                    <a:pt x="666" y="162"/>
                  </a:lnTo>
                  <a:lnTo>
                    <a:pt x="666" y="162"/>
                  </a:lnTo>
                  <a:lnTo>
                    <a:pt x="666" y="160"/>
                  </a:lnTo>
                  <a:lnTo>
                    <a:pt x="668" y="160"/>
                  </a:lnTo>
                  <a:lnTo>
                    <a:pt x="668" y="158"/>
                  </a:lnTo>
                  <a:lnTo>
                    <a:pt x="670" y="158"/>
                  </a:lnTo>
                  <a:lnTo>
                    <a:pt x="670" y="158"/>
                  </a:lnTo>
                  <a:lnTo>
                    <a:pt x="670" y="156"/>
                  </a:lnTo>
                  <a:lnTo>
                    <a:pt x="672" y="156"/>
                  </a:lnTo>
                  <a:lnTo>
                    <a:pt x="674" y="156"/>
                  </a:lnTo>
                  <a:lnTo>
                    <a:pt x="676" y="156"/>
                  </a:lnTo>
                  <a:lnTo>
                    <a:pt x="676" y="156"/>
                  </a:lnTo>
                  <a:lnTo>
                    <a:pt x="678" y="154"/>
                  </a:lnTo>
                  <a:lnTo>
                    <a:pt x="676" y="154"/>
                  </a:lnTo>
                  <a:lnTo>
                    <a:pt x="676" y="154"/>
                  </a:lnTo>
                  <a:lnTo>
                    <a:pt x="674" y="152"/>
                  </a:lnTo>
                  <a:lnTo>
                    <a:pt x="674" y="152"/>
                  </a:lnTo>
                  <a:lnTo>
                    <a:pt x="678" y="152"/>
                  </a:lnTo>
                  <a:lnTo>
                    <a:pt x="680" y="152"/>
                  </a:lnTo>
                  <a:lnTo>
                    <a:pt x="680" y="150"/>
                  </a:lnTo>
                  <a:lnTo>
                    <a:pt x="680" y="150"/>
                  </a:lnTo>
                  <a:lnTo>
                    <a:pt x="680" y="148"/>
                  </a:lnTo>
                  <a:lnTo>
                    <a:pt x="680" y="146"/>
                  </a:lnTo>
                  <a:lnTo>
                    <a:pt x="678" y="146"/>
                  </a:lnTo>
                  <a:lnTo>
                    <a:pt x="678" y="144"/>
                  </a:lnTo>
                  <a:lnTo>
                    <a:pt x="678" y="144"/>
                  </a:lnTo>
                  <a:lnTo>
                    <a:pt x="676" y="144"/>
                  </a:lnTo>
                  <a:lnTo>
                    <a:pt x="666" y="144"/>
                  </a:lnTo>
                  <a:lnTo>
                    <a:pt x="659" y="142"/>
                  </a:lnTo>
                  <a:lnTo>
                    <a:pt x="653" y="140"/>
                  </a:lnTo>
                  <a:lnTo>
                    <a:pt x="647" y="140"/>
                  </a:lnTo>
                  <a:lnTo>
                    <a:pt x="645" y="140"/>
                  </a:lnTo>
                  <a:lnTo>
                    <a:pt x="643" y="138"/>
                  </a:lnTo>
                  <a:lnTo>
                    <a:pt x="639" y="138"/>
                  </a:lnTo>
                  <a:lnTo>
                    <a:pt x="635" y="138"/>
                  </a:lnTo>
                  <a:lnTo>
                    <a:pt x="633" y="140"/>
                  </a:lnTo>
                  <a:lnTo>
                    <a:pt x="631" y="136"/>
                  </a:lnTo>
                  <a:lnTo>
                    <a:pt x="631" y="136"/>
                  </a:lnTo>
                  <a:lnTo>
                    <a:pt x="629" y="134"/>
                  </a:lnTo>
                  <a:lnTo>
                    <a:pt x="627" y="134"/>
                  </a:lnTo>
                  <a:lnTo>
                    <a:pt x="627" y="134"/>
                  </a:lnTo>
                  <a:lnTo>
                    <a:pt x="625" y="130"/>
                  </a:lnTo>
                  <a:lnTo>
                    <a:pt x="629" y="132"/>
                  </a:lnTo>
                  <a:lnTo>
                    <a:pt x="631" y="134"/>
                  </a:lnTo>
                  <a:lnTo>
                    <a:pt x="635" y="134"/>
                  </a:lnTo>
                  <a:lnTo>
                    <a:pt x="639" y="136"/>
                  </a:lnTo>
                  <a:lnTo>
                    <a:pt x="641" y="136"/>
                  </a:lnTo>
                  <a:lnTo>
                    <a:pt x="645" y="134"/>
                  </a:lnTo>
                  <a:lnTo>
                    <a:pt x="647" y="136"/>
                  </a:lnTo>
                  <a:lnTo>
                    <a:pt x="649" y="136"/>
                  </a:lnTo>
                  <a:lnTo>
                    <a:pt x="651" y="138"/>
                  </a:lnTo>
                  <a:lnTo>
                    <a:pt x="657" y="136"/>
                  </a:lnTo>
                  <a:lnTo>
                    <a:pt x="659" y="136"/>
                  </a:lnTo>
                  <a:lnTo>
                    <a:pt x="659" y="134"/>
                  </a:lnTo>
                  <a:lnTo>
                    <a:pt x="659" y="134"/>
                  </a:lnTo>
                  <a:lnTo>
                    <a:pt x="659" y="134"/>
                  </a:lnTo>
                  <a:lnTo>
                    <a:pt x="661" y="134"/>
                  </a:lnTo>
                  <a:lnTo>
                    <a:pt x="661" y="136"/>
                  </a:lnTo>
                  <a:lnTo>
                    <a:pt x="663" y="136"/>
                  </a:lnTo>
                  <a:lnTo>
                    <a:pt x="666" y="136"/>
                  </a:lnTo>
                  <a:lnTo>
                    <a:pt x="668" y="136"/>
                  </a:lnTo>
                  <a:lnTo>
                    <a:pt x="668" y="134"/>
                  </a:lnTo>
                  <a:lnTo>
                    <a:pt x="668" y="134"/>
                  </a:lnTo>
                  <a:lnTo>
                    <a:pt x="666" y="134"/>
                  </a:lnTo>
                  <a:lnTo>
                    <a:pt x="666" y="134"/>
                  </a:lnTo>
                  <a:lnTo>
                    <a:pt x="666" y="134"/>
                  </a:lnTo>
                  <a:lnTo>
                    <a:pt x="666" y="134"/>
                  </a:lnTo>
                  <a:lnTo>
                    <a:pt x="666" y="132"/>
                  </a:lnTo>
                  <a:lnTo>
                    <a:pt x="666" y="132"/>
                  </a:lnTo>
                  <a:lnTo>
                    <a:pt x="666" y="132"/>
                  </a:lnTo>
                  <a:lnTo>
                    <a:pt x="666" y="132"/>
                  </a:lnTo>
                  <a:lnTo>
                    <a:pt x="663" y="132"/>
                  </a:lnTo>
                  <a:lnTo>
                    <a:pt x="663" y="130"/>
                  </a:lnTo>
                  <a:lnTo>
                    <a:pt x="663" y="130"/>
                  </a:lnTo>
                  <a:lnTo>
                    <a:pt x="663" y="128"/>
                  </a:lnTo>
                  <a:lnTo>
                    <a:pt x="663" y="125"/>
                  </a:lnTo>
                  <a:lnTo>
                    <a:pt x="661" y="125"/>
                  </a:lnTo>
                  <a:lnTo>
                    <a:pt x="661" y="123"/>
                  </a:lnTo>
                  <a:lnTo>
                    <a:pt x="659" y="123"/>
                  </a:lnTo>
                  <a:lnTo>
                    <a:pt x="661" y="121"/>
                  </a:lnTo>
                  <a:lnTo>
                    <a:pt x="663" y="119"/>
                  </a:lnTo>
                  <a:lnTo>
                    <a:pt x="666" y="119"/>
                  </a:lnTo>
                  <a:lnTo>
                    <a:pt x="670" y="119"/>
                  </a:lnTo>
                  <a:lnTo>
                    <a:pt x="672" y="119"/>
                  </a:lnTo>
                  <a:lnTo>
                    <a:pt x="674" y="119"/>
                  </a:lnTo>
                  <a:lnTo>
                    <a:pt x="674" y="121"/>
                  </a:lnTo>
                  <a:lnTo>
                    <a:pt x="674" y="123"/>
                  </a:lnTo>
                  <a:lnTo>
                    <a:pt x="668" y="123"/>
                  </a:lnTo>
                  <a:lnTo>
                    <a:pt x="666" y="123"/>
                  </a:lnTo>
                  <a:lnTo>
                    <a:pt x="666" y="125"/>
                  </a:lnTo>
                  <a:lnTo>
                    <a:pt x="668" y="128"/>
                  </a:lnTo>
                  <a:lnTo>
                    <a:pt x="670" y="128"/>
                  </a:lnTo>
                  <a:lnTo>
                    <a:pt x="670" y="128"/>
                  </a:lnTo>
                  <a:lnTo>
                    <a:pt x="668" y="130"/>
                  </a:lnTo>
                  <a:lnTo>
                    <a:pt x="670" y="130"/>
                  </a:lnTo>
                  <a:lnTo>
                    <a:pt x="674" y="132"/>
                  </a:lnTo>
                  <a:lnTo>
                    <a:pt x="674" y="132"/>
                  </a:lnTo>
                  <a:lnTo>
                    <a:pt x="674" y="132"/>
                  </a:lnTo>
                  <a:lnTo>
                    <a:pt x="674" y="132"/>
                  </a:lnTo>
                  <a:lnTo>
                    <a:pt x="672" y="134"/>
                  </a:lnTo>
                  <a:lnTo>
                    <a:pt x="674" y="134"/>
                  </a:lnTo>
                  <a:lnTo>
                    <a:pt x="676" y="136"/>
                  </a:lnTo>
                  <a:lnTo>
                    <a:pt x="678" y="136"/>
                  </a:lnTo>
                  <a:lnTo>
                    <a:pt x="678" y="136"/>
                  </a:lnTo>
                  <a:lnTo>
                    <a:pt x="678" y="136"/>
                  </a:lnTo>
                  <a:lnTo>
                    <a:pt x="678" y="134"/>
                  </a:lnTo>
                  <a:lnTo>
                    <a:pt x="676" y="134"/>
                  </a:lnTo>
                  <a:lnTo>
                    <a:pt x="676" y="134"/>
                  </a:lnTo>
                  <a:lnTo>
                    <a:pt x="678" y="132"/>
                  </a:lnTo>
                  <a:lnTo>
                    <a:pt x="678" y="132"/>
                  </a:lnTo>
                  <a:lnTo>
                    <a:pt x="680" y="134"/>
                  </a:lnTo>
                  <a:lnTo>
                    <a:pt x="680" y="130"/>
                  </a:lnTo>
                  <a:lnTo>
                    <a:pt x="680" y="128"/>
                  </a:lnTo>
                  <a:lnTo>
                    <a:pt x="680" y="125"/>
                  </a:lnTo>
                  <a:lnTo>
                    <a:pt x="682" y="125"/>
                  </a:lnTo>
                  <a:lnTo>
                    <a:pt x="684" y="128"/>
                  </a:lnTo>
                  <a:lnTo>
                    <a:pt x="684" y="132"/>
                  </a:lnTo>
                  <a:lnTo>
                    <a:pt x="684" y="134"/>
                  </a:lnTo>
                  <a:lnTo>
                    <a:pt x="686" y="134"/>
                  </a:lnTo>
                  <a:lnTo>
                    <a:pt x="686" y="134"/>
                  </a:lnTo>
                  <a:lnTo>
                    <a:pt x="682" y="136"/>
                  </a:lnTo>
                  <a:lnTo>
                    <a:pt x="682" y="136"/>
                  </a:lnTo>
                  <a:lnTo>
                    <a:pt x="684" y="136"/>
                  </a:lnTo>
                  <a:lnTo>
                    <a:pt x="684" y="136"/>
                  </a:lnTo>
                  <a:lnTo>
                    <a:pt x="684" y="136"/>
                  </a:lnTo>
                  <a:lnTo>
                    <a:pt x="686" y="138"/>
                  </a:lnTo>
                  <a:lnTo>
                    <a:pt x="686" y="138"/>
                  </a:lnTo>
                  <a:lnTo>
                    <a:pt x="688" y="138"/>
                  </a:lnTo>
                  <a:lnTo>
                    <a:pt x="688" y="136"/>
                  </a:lnTo>
                  <a:lnTo>
                    <a:pt x="688" y="134"/>
                  </a:lnTo>
                  <a:lnTo>
                    <a:pt x="686" y="134"/>
                  </a:lnTo>
                  <a:lnTo>
                    <a:pt x="686" y="134"/>
                  </a:lnTo>
                  <a:lnTo>
                    <a:pt x="686" y="132"/>
                  </a:lnTo>
                  <a:lnTo>
                    <a:pt x="686" y="130"/>
                  </a:lnTo>
                  <a:lnTo>
                    <a:pt x="688" y="132"/>
                  </a:lnTo>
                  <a:lnTo>
                    <a:pt x="690" y="132"/>
                  </a:lnTo>
                  <a:lnTo>
                    <a:pt x="692" y="134"/>
                  </a:lnTo>
                  <a:lnTo>
                    <a:pt x="694" y="136"/>
                  </a:lnTo>
                  <a:lnTo>
                    <a:pt x="696" y="136"/>
                  </a:lnTo>
                  <a:lnTo>
                    <a:pt x="696" y="134"/>
                  </a:lnTo>
                  <a:lnTo>
                    <a:pt x="696" y="134"/>
                  </a:lnTo>
                  <a:lnTo>
                    <a:pt x="696" y="132"/>
                  </a:lnTo>
                  <a:lnTo>
                    <a:pt x="696" y="132"/>
                  </a:lnTo>
                  <a:lnTo>
                    <a:pt x="698" y="134"/>
                  </a:lnTo>
                  <a:lnTo>
                    <a:pt x="700" y="134"/>
                  </a:lnTo>
                  <a:lnTo>
                    <a:pt x="707" y="134"/>
                  </a:lnTo>
                  <a:lnTo>
                    <a:pt x="707" y="134"/>
                  </a:lnTo>
                  <a:lnTo>
                    <a:pt x="707" y="132"/>
                  </a:lnTo>
                  <a:lnTo>
                    <a:pt x="709" y="130"/>
                  </a:lnTo>
                  <a:lnTo>
                    <a:pt x="711" y="128"/>
                  </a:lnTo>
                  <a:lnTo>
                    <a:pt x="713" y="128"/>
                  </a:lnTo>
                  <a:lnTo>
                    <a:pt x="713" y="128"/>
                  </a:lnTo>
                  <a:lnTo>
                    <a:pt x="711" y="125"/>
                  </a:lnTo>
                  <a:lnTo>
                    <a:pt x="711" y="123"/>
                  </a:lnTo>
                  <a:lnTo>
                    <a:pt x="713" y="121"/>
                  </a:lnTo>
                  <a:lnTo>
                    <a:pt x="715" y="121"/>
                  </a:lnTo>
                  <a:lnTo>
                    <a:pt x="713" y="123"/>
                  </a:lnTo>
                  <a:lnTo>
                    <a:pt x="715" y="123"/>
                  </a:lnTo>
                  <a:lnTo>
                    <a:pt x="715" y="123"/>
                  </a:lnTo>
                  <a:lnTo>
                    <a:pt x="715" y="123"/>
                  </a:lnTo>
                  <a:lnTo>
                    <a:pt x="715" y="121"/>
                  </a:lnTo>
                  <a:lnTo>
                    <a:pt x="715" y="119"/>
                  </a:lnTo>
                  <a:lnTo>
                    <a:pt x="717" y="119"/>
                  </a:lnTo>
                  <a:lnTo>
                    <a:pt x="717" y="117"/>
                  </a:lnTo>
                  <a:lnTo>
                    <a:pt x="715" y="117"/>
                  </a:lnTo>
                  <a:lnTo>
                    <a:pt x="717" y="115"/>
                  </a:lnTo>
                  <a:lnTo>
                    <a:pt x="717" y="115"/>
                  </a:lnTo>
                  <a:lnTo>
                    <a:pt x="719" y="115"/>
                  </a:lnTo>
                  <a:lnTo>
                    <a:pt x="719" y="113"/>
                  </a:lnTo>
                  <a:lnTo>
                    <a:pt x="717" y="113"/>
                  </a:lnTo>
                  <a:lnTo>
                    <a:pt x="717" y="113"/>
                  </a:lnTo>
                  <a:lnTo>
                    <a:pt x="717" y="111"/>
                  </a:lnTo>
                  <a:lnTo>
                    <a:pt x="717" y="111"/>
                  </a:lnTo>
                  <a:lnTo>
                    <a:pt x="719" y="111"/>
                  </a:lnTo>
                  <a:lnTo>
                    <a:pt x="719" y="111"/>
                  </a:lnTo>
                  <a:lnTo>
                    <a:pt x="723" y="105"/>
                  </a:lnTo>
                  <a:lnTo>
                    <a:pt x="723" y="103"/>
                  </a:lnTo>
                  <a:lnTo>
                    <a:pt x="723" y="101"/>
                  </a:lnTo>
                  <a:lnTo>
                    <a:pt x="721" y="99"/>
                  </a:lnTo>
                  <a:lnTo>
                    <a:pt x="723" y="97"/>
                  </a:lnTo>
                  <a:lnTo>
                    <a:pt x="723" y="101"/>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C</a:t>
              </a:r>
            </a:p>
          </p:txBody>
        </p:sp>
        <p:sp>
          <p:nvSpPr>
            <p:cNvPr id="318" name="Freeform 29">
              <a:extLst>
                <a:ext uri="{FF2B5EF4-FFF2-40B4-BE49-F238E27FC236}">
                  <a16:creationId xmlns:a16="http://schemas.microsoft.com/office/drawing/2014/main" id="{17FFE93B-0524-459B-0448-479CB09B79FA}"/>
                </a:ext>
              </a:extLst>
            </p:cNvPr>
            <p:cNvSpPr>
              <a:spLocks/>
            </p:cNvSpPr>
            <p:nvPr/>
          </p:nvSpPr>
          <p:spPr bwMode="auto">
            <a:xfrm>
              <a:off x="1507" y="92"/>
              <a:ext cx="915" cy="511"/>
            </a:xfrm>
            <a:custGeom>
              <a:avLst/>
              <a:gdLst>
                <a:gd name="T0" fmla="*/ 874 w 915"/>
                <a:gd name="T1" fmla="*/ 494 h 511"/>
                <a:gd name="T2" fmla="*/ 745 w 915"/>
                <a:gd name="T3" fmla="*/ 488 h 511"/>
                <a:gd name="T4" fmla="*/ 616 w 915"/>
                <a:gd name="T5" fmla="*/ 480 h 511"/>
                <a:gd name="T6" fmla="*/ 487 w 915"/>
                <a:gd name="T7" fmla="*/ 470 h 511"/>
                <a:gd name="T8" fmla="*/ 360 w 915"/>
                <a:gd name="T9" fmla="*/ 459 h 511"/>
                <a:gd name="T10" fmla="*/ 342 w 915"/>
                <a:gd name="T11" fmla="*/ 496 h 511"/>
                <a:gd name="T12" fmla="*/ 330 w 915"/>
                <a:gd name="T13" fmla="*/ 498 h 511"/>
                <a:gd name="T14" fmla="*/ 319 w 915"/>
                <a:gd name="T15" fmla="*/ 480 h 511"/>
                <a:gd name="T16" fmla="*/ 311 w 915"/>
                <a:gd name="T17" fmla="*/ 486 h 511"/>
                <a:gd name="T18" fmla="*/ 307 w 915"/>
                <a:gd name="T19" fmla="*/ 496 h 511"/>
                <a:gd name="T20" fmla="*/ 307 w 915"/>
                <a:gd name="T21" fmla="*/ 500 h 511"/>
                <a:gd name="T22" fmla="*/ 280 w 915"/>
                <a:gd name="T23" fmla="*/ 500 h 511"/>
                <a:gd name="T24" fmla="*/ 260 w 915"/>
                <a:gd name="T25" fmla="*/ 496 h 511"/>
                <a:gd name="T26" fmla="*/ 244 w 915"/>
                <a:gd name="T27" fmla="*/ 494 h 511"/>
                <a:gd name="T28" fmla="*/ 233 w 915"/>
                <a:gd name="T29" fmla="*/ 500 h 511"/>
                <a:gd name="T30" fmla="*/ 207 w 915"/>
                <a:gd name="T31" fmla="*/ 496 h 511"/>
                <a:gd name="T32" fmla="*/ 196 w 915"/>
                <a:gd name="T33" fmla="*/ 504 h 511"/>
                <a:gd name="T34" fmla="*/ 186 w 915"/>
                <a:gd name="T35" fmla="*/ 492 h 511"/>
                <a:gd name="T36" fmla="*/ 184 w 915"/>
                <a:gd name="T37" fmla="*/ 480 h 511"/>
                <a:gd name="T38" fmla="*/ 184 w 915"/>
                <a:gd name="T39" fmla="*/ 472 h 511"/>
                <a:gd name="T40" fmla="*/ 176 w 915"/>
                <a:gd name="T41" fmla="*/ 457 h 511"/>
                <a:gd name="T42" fmla="*/ 164 w 915"/>
                <a:gd name="T43" fmla="*/ 455 h 511"/>
                <a:gd name="T44" fmla="*/ 158 w 915"/>
                <a:gd name="T45" fmla="*/ 441 h 511"/>
                <a:gd name="T46" fmla="*/ 155 w 915"/>
                <a:gd name="T47" fmla="*/ 422 h 511"/>
                <a:gd name="T48" fmla="*/ 149 w 915"/>
                <a:gd name="T49" fmla="*/ 412 h 511"/>
                <a:gd name="T50" fmla="*/ 141 w 915"/>
                <a:gd name="T51" fmla="*/ 400 h 511"/>
                <a:gd name="T52" fmla="*/ 141 w 915"/>
                <a:gd name="T53" fmla="*/ 386 h 511"/>
                <a:gd name="T54" fmla="*/ 139 w 915"/>
                <a:gd name="T55" fmla="*/ 373 h 511"/>
                <a:gd name="T56" fmla="*/ 127 w 915"/>
                <a:gd name="T57" fmla="*/ 359 h 511"/>
                <a:gd name="T58" fmla="*/ 121 w 915"/>
                <a:gd name="T59" fmla="*/ 363 h 511"/>
                <a:gd name="T60" fmla="*/ 115 w 915"/>
                <a:gd name="T61" fmla="*/ 371 h 511"/>
                <a:gd name="T62" fmla="*/ 102 w 915"/>
                <a:gd name="T63" fmla="*/ 377 h 511"/>
                <a:gd name="T64" fmla="*/ 90 w 915"/>
                <a:gd name="T65" fmla="*/ 371 h 511"/>
                <a:gd name="T66" fmla="*/ 82 w 915"/>
                <a:gd name="T67" fmla="*/ 361 h 511"/>
                <a:gd name="T68" fmla="*/ 84 w 915"/>
                <a:gd name="T69" fmla="*/ 349 h 511"/>
                <a:gd name="T70" fmla="*/ 88 w 915"/>
                <a:gd name="T71" fmla="*/ 338 h 511"/>
                <a:gd name="T72" fmla="*/ 96 w 915"/>
                <a:gd name="T73" fmla="*/ 330 h 511"/>
                <a:gd name="T74" fmla="*/ 92 w 915"/>
                <a:gd name="T75" fmla="*/ 320 h 511"/>
                <a:gd name="T76" fmla="*/ 92 w 915"/>
                <a:gd name="T77" fmla="*/ 306 h 511"/>
                <a:gd name="T78" fmla="*/ 98 w 915"/>
                <a:gd name="T79" fmla="*/ 299 h 511"/>
                <a:gd name="T80" fmla="*/ 102 w 915"/>
                <a:gd name="T81" fmla="*/ 287 h 511"/>
                <a:gd name="T82" fmla="*/ 106 w 915"/>
                <a:gd name="T83" fmla="*/ 275 h 511"/>
                <a:gd name="T84" fmla="*/ 108 w 915"/>
                <a:gd name="T85" fmla="*/ 269 h 511"/>
                <a:gd name="T86" fmla="*/ 112 w 915"/>
                <a:gd name="T87" fmla="*/ 256 h 511"/>
                <a:gd name="T88" fmla="*/ 98 w 915"/>
                <a:gd name="T89" fmla="*/ 254 h 511"/>
                <a:gd name="T90" fmla="*/ 90 w 915"/>
                <a:gd name="T91" fmla="*/ 248 h 511"/>
                <a:gd name="T92" fmla="*/ 80 w 915"/>
                <a:gd name="T93" fmla="*/ 246 h 511"/>
                <a:gd name="T94" fmla="*/ 72 w 915"/>
                <a:gd name="T95" fmla="*/ 234 h 511"/>
                <a:gd name="T96" fmla="*/ 67 w 915"/>
                <a:gd name="T97" fmla="*/ 220 h 511"/>
                <a:gd name="T98" fmla="*/ 51 w 915"/>
                <a:gd name="T99" fmla="*/ 197 h 511"/>
                <a:gd name="T100" fmla="*/ 43 w 915"/>
                <a:gd name="T101" fmla="*/ 185 h 511"/>
                <a:gd name="T102" fmla="*/ 16 w 915"/>
                <a:gd name="T103" fmla="*/ 162 h 511"/>
                <a:gd name="T104" fmla="*/ 22 w 915"/>
                <a:gd name="T105" fmla="*/ 158 h 511"/>
                <a:gd name="T106" fmla="*/ 20 w 915"/>
                <a:gd name="T107" fmla="*/ 148 h 511"/>
                <a:gd name="T108" fmla="*/ 16 w 915"/>
                <a:gd name="T109" fmla="*/ 129 h 511"/>
                <a:gd name="T110" fmla="*/ 6 w 915"/>
                <a:gd name="T111" fmla="*/ 113 h 511"/>
                <a:gd name="T112" fmla="*/ 10 w 915"/>
                <a:gd name="T113" fmla="*/ 25 h 511"/>
                <a:gd name="T114" fmla="*/ 211 w 915"/>
                <a:gd name="T115" fmla="*/ 27 h 511"/>
                <a:gd name="T116" fmla="*/ 457 w 915"/>
                <a:gd name="T117" fmla="*/ 54 h 511"/>
                <a:gd name="T118" fmla="*/ 688 w 915"/>
                <a:gd name="T119" fmla="*/ 72 h 511"/>
                <a:gd name="T120" fmla="*/ 915 w 915"/>
                <a:gd name="T121" fmla="*/ 103 h 511"/>
                <a:gd name="T122" fmla="*/ 905 w 915"/>
                <a:gd name="T123" fmla="*/ 39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5" h="511">
                  <a:moveTo>
                    <a:pt x="905" y="398"/>
                  </a:moveTo>
                  <a:lnTo>
                    <a:pt x="905" y="408"/>
                  </a:lnTo>
                  <a:lnTo>
                    <a:pt x="905" y="420"/>
                  </a:lnTo>
                  <a:lnTo>
                    <a:pt x="905" y="431"/>
                  </a:lnTo>
                  <a:lnTo>
                    <a:pt x="905" y="443"/>
                  </a:lnTo>
                  <a:lnTo>
                    <a:pt x="903" y="453"/>
                  </a:lnTo>
                  <a:lnTo>
                    <a:pt x="903" y="465"/>
                  </a:lnTo>
                  <a:lnTo>
                    <a:pt x="903" y="476"/>
                  </a:lnTo>
                  <a:lnTo>
                    <a:pt x="903" y="488"/>
                  </a:lnTo>
                  <a:lnTo>
                    <a:pt x="903" y="494"/>
                  </a:lnTo>
                  <a:lnTo>
                    <a:pt x="903" y="496"/>
                  </a:lnTo>
                  <a:lnTo>
                    <a:pt x="899" y="494"/>
                  </a:lnTo>
                  <a:lnTo>
                    <a:pt x="891" y="494"/>
                  </a:lnTo>
                  <a:lnTo>
                    <a:pt x="883" y="494"/>
                  </a:lnTo>
                  <a:lnTo>
                    <a:pt x="874" y="494"/>
                  </a:lnTo>
                  <a:lnTo>
                    <a:pt x="866" y="494"/>
                  </a:lnTo>
                  <a:lnTo>
                    <a:pt x="856" y="494"/>
                  </a:lnTo>
                  <a:lnTo>
                    <a:pt x="848" y="492"/>
                  </a:lnTo>
                  <a:lnTo>
                    <a:pt x="840" y="492"/>
                  </a:lnTo>
                  <a:lnTo>
                    <a:pt x="831" y="492"/>
                  </a:lnTo>
                  <a:lnTo>
                    <a:pt x="823" y="492"/>
                  </a:lnTo>
                  <a:lnTo>
                    <a:pt x="815" y="492"/>
                  </a:lnTo>
                  <a:lnTo>
                    <a:pt x="805" y="492"/>
                  </a:lnTo>
                  <a:lnTo>
                    <a:pt x="797" y="490"/>
                  </a:lnTo>
                  <a:lnTo>
                    <a:pt x="788" y="490"/>
                  </a:lnTo>
                  <a:lnTo>
                    <a:pt x="780" y="490"/>
                  </a:lnTo>
                  <a:lnTo>
                    <a:pt x="772" y="490"/>
                  </a:lnTo>
                  <a:lnTo>
                    <a:pt x="762" y="490"/>
                  </a:lnTo>
                  <a:lnTo>
                    <a:pt x="754" y="488"/>
                  </a:lnTo>
                  <a:lnTo>
                    <a:pt x="745" y="488"/>
                  </a:lnTo>
                  <a:lnTo>
                    <a:pt x="737" y="488"/>
                  </a:lnTo>
                  <a:lnTo>
                    <a:pt x="729" y="488"/>
                  </a:lnTo>
                  <a:lnTo>
                    <a:pt x="719" y="486"/>
                  </a:lnTo>
                  <a:lnTo>
                    <a:pt x="711" y="486"/>
                  </a:lnTo>
                  <a:lnTo>
                    <a:pt x="702" y="486"/>
                  </a:lnTo>
                  <a:lnTo>
                    <a:pt x="694" y="486"/>
                  </a:lnTo>
                  <a:lnTo>
                    <a:pt x="686" y="484"/>
                  </a:lnTo>
                  <a:lnTo>
                    <a:pt x="676" y="484"/>
                  </a:lnTo>
                  <a:lnTo>
                    <a:pt x="668" y="484"/>
                  </a:lnTo>
                  <a:lnTo>
                    <a:pt x="659" y="484"/>
                  </a:lnTo>
                  <a:lnTo>
                    <a:pt x="651" y="482"/>
                  </a:lnTo>
                  <a:lnTo>
                    <a:pt x="643" y="482"/>
                  </a:lnTo>
                  <a:lnTo>
                    <a:pt x="633" y="482"/>
                  </a:lnTo>
                  <a:lnTo>
                    <a:pt x="624" y="480"/>
                  </a:lnTo>
                  <a:lnTo>
                    <a:pt x="616" y="480"/>
                  </a:lnTo>
                  <a:lnTo>
                    <a:pt x="608" y="480"/>
                  </a:lnTo>
                  <a:lnTo>
                    <a:pt x="600" y="480"/>
                  </a:lnTo>
                  <a:lnTo>
                    <a:pt x="592" y="478"/>
                  </a:lnTo>
                  <a:lnTo>
                    <a:pt x="581" y="478"/>
                  </a:lnTo>
                  <a:lnTo>
                    <a:pt x="573" y="478"/>
                  </a:lnTo>
                  <a:lnTo>
                    <a:pt x="565" y="476"/>
                  </a:lnTo>
                  <a:lnTo>
                    <a:pt x="557" y="476"/>
                  </a:lnTo>
                  <a:lnTo>
                    <a:pt x="549" y="476"/>
                  </a:lnTo>
                  <a:lnTo>
                    <a:pt x="538" y="474"/>
                  </a:lnTo>
                  <a:lnTo>
                    <a:pt x="530" y="474"/>
                  </a:lnTo>
                  <a:lnTo>
                    <a:pt x="522" y="474"/>
                  </a:lnTo>
                  <a:lnTo>
                    <a:pt x="514" y="472"/>
                  </a:lnTo>
                  <a:lnTo>
                    <a:pt x="506" y="472"/>
                  </a:lnTo>
                  <a:lnTo>
                    <a:pt x="495" y="472"/>
                  </a:lnTo>
                  <a:lnTo>
                    <a:pt x="487" y="470"/>
                  </a:lnTo>
                  <a:lnTo>
                    <a:pt x="479" y="470"/>
                  </a:lnTo>
                  <a:lnTo>
                    <a:pt x="471" y="470"/>
                  </a:lnTo>
                  <a:lnTo>
                    <a:pt x="463" y="468"/>
                  </a:lnTo>
                  <a:lnTo>
                    <a:pt x="455" y="468"/>
                  </a:lnTo>
                  <a:lnTo>
                    <a:pt x="444" y="468"/>
                  </a:lnTo>
                  <a:lnTo>
                    <a:pt x="436" y="465"/>
                  </a:lnTo>
                  <a:lnTo>
                    <a:pt x="428" y="465"/>
                  </a:lnTo>
                  <a:lnTo>
                    <a:pt x="420" y="463"/>
                  </a:lnTo>
                  <a:lnTo>
                    <a:pt x="411" y="463"/>
                  </a:lnTo>
                  <a:lnTo>
                    <a:pt x="401" y="463"/>
                  </a:lnTo>
                  <a:lnTo>
                    <a:pt x="393" y="461"/>
                  </a:lnTo>
                  <a:lnTo>
                    <a:pt x="385" y="461"/>
                  </a:lnTo>
                  <a:lnTo>
                    <a:pt x="377" y="459"/>
                  </a:lnTo>
                  <a:lnTo>
                    <a:pt x="368" y="459"/>
                  </a:lnTo>
                  <a:lnTo>
                    <a:pt x="360" y="459"/>
                  </a:lnTo>
                  <a:lnTo>
                    <a:pt x="350" y="457"/>
                  </a:lnTo>
                  <a:lnTo>
                    <a:pt x="346" y="457"/>
                  </a:lnTo>
                  <a:lnTo>
                    <a:pt x="346" y="459"/>
                  </a:lnTo>
                  <a:lnTo>
                    <a:pt x="346" y="461"/>
                  </a:lnTo>
                  <a:lnTo>
                    <a:pt x="346" y="465"/>
                  </a:lnTo>
                  <a:lnTo>
                    <a:pt x="346" y="470"/>
                  </a:lnTo>
                  <a:lnTo>
                    <a:pt x="346" y="472"/>
                  </a:lnTo>
                  <a:lnTo>
                    <a:pt x="346" y="476"/>
                  </a:lnTo>
                  <a:lnTo>
                    <a:pt x="344" y="478"/>
                  </a:lnTo>
                  <a:lnTo>
                    <a:pt x="344" y="482"/>
                  </a:lnTo>
                  <a:lnTo>
                    <a:pt x="344" y="484"/>
                  </a:lnTo>
                  <a:lnTo>
                    <a:pt x="344" y="488"/>
                  </a:lnTo>
                  <a:lnTo>
                    <a:pt x="344" y="490"/>
                  </a:lnTo>
                  <a:lnTo>
                    <a:pt x="344" y="494"/>
                  </a:lnTo>
                  <a:lnTo>
                    <a:pt x="342" y="496"/>
                  </a:lnTo>
                  <a:lnTo>
                    <a:pt x="342" y="500"/>
                  </a:lnTo>
                  <a:lnTo>
                    <a:pt x="342" y="504"/>
                  </a:lnTo>
                  <a:lnTo>
                    <a:pt x="342" y="506"/>
                  </a:lnTo>
                  <a:lnTo>
                    <a:pt x="342" y="511"/>
                  </a:lnTo>
                  <a:lnTo>
                    <a:pt x="338" y="509"/>
                  </a:lnTo>
                  <a:lnTo>
                    <a:pt x="338" y="506"/>
                  </a:lnTo>
                  <a:lnTo>
                    <a:pt x="336" y="504"/>
                  </a:lnTo>
                  <a:lnTo>
                    <a:pt x="334" y="502"/>
                  </a:lnTo>
                  <a:lnTo>
                    <a:pt x="334" y="500"/>
                  </a:lnTo>
                  <a:lnTo>
                    <a:pt x="332" y="500"/>
                  </a:lnTo>
                  <a:lnTo>
                    <a:pt x="332" y="500"/>
                  </a:lnTo>
                  <a:lnTo>
                    <a:pt x="330" y="498"/>
                  </a:lnTo>
                  <a:lnTo>
                    <a:pt x="330" y="498"/>
                  </a:lnTo>
                  <a:lnTo>
                    <a:pt x="330" y="498"/>
                  </a:lnTo>
                  <a:lnTo>
                    <a:pt x="330" y="498"/>
                  </a:lnTo>
                  <a:lnTo>
                    <a:pt x="330" y="496"/>
                  </a:lnTo>
                  <a:lnTo>
                    <a:pt x="330" y="496"/>
                  </a:lnTo>
                  <a:lnTo>
                    <a:pt x="330" y="494"/>
                  </a:lnTo>
                  <a:lnTo>
                    <a:pt x="330" y="494"/>
                  </a:lnTo>
                  <a:lnTo>
                    <a:pt x="330" y="494"/>
                  </a:lnTo>
                  <a:lnTo>
                    <a:pt x="330" y="492"/>
                  </a:lnTo>
                  <a:lnTo>
                    <a:pt x="330" y="492"/>
                  </a:lnTo>
                  <a:lnTo>
                    <a:pt x="328" y="492"/>
                  </a:lnTo>
                  <a:lnTo>
                    <a:pt x="328" y="492"/>
                  </a:lnTo>
                  <a:lnTo>
                    <a:pt x="328" y="490"/>
                  </a:lnTo>
                  <a:lnTo>
                    <a:pt x="323" y="486"/>
                  </a:lnTo>
                  <a:lnTo>
                    <a:pt x="323" y="484"/>
                  </a:lnTo>
                  <a:lnTo>
                    <a:pt x="323" y="482"/>
                  </a:lnTo>
                  <a:lnTo>
                    <a:pt x="321" y="480"/>
                  </a:lnTo>
                  <a:lnTo>
                    <a:pt x="319" y="480"/>
                  </a:lnTo>
                  <a:lnTo>
                    <a:pt x="319" y="480"/>
                  </a:lnTo>
                  <a:lnTo>
                    <a:pt x="319" y="480"/>
                  </a:lnTo>
                  <a:lnTo>
                    <a:pt x="317" y="482"/>
                  </a:lnTo>
                  <a:lnTo>
                    <a:pt x="317" y="482"/>
                  </a:lnTo>
                  <a:lnTo>
                    <a:pt x="315" y="482"/>
                  </a:lnTo>
                  <a:lnTo>
                    <a:pt x="313" y="482"/>
                  </a:lnTo>
                  <a:lnTo>
                    <a:pt x="313" y="482"/>
                  </a:lnTo>
                  <a:lnTo>
                    <a:pt x="313" y="484"/>
                  </a:lnTo>
                  <a:lnTo>
                    <a:pt x="311" y="484"/>
                  </a:lnTo>
                  <a:lnTo>
                    <a:pt x="311" y="484"/>
                  </a:lnTo>
                  <a:lnTo>
                    <a:pt x="311" y="484"/>
                  </a:lnTo>
                  <a:lnTo>
                    <a:pt x="311" y="486"/>
                  </a:lnTo>
                  <a:lnTo>
                    <a:pt x="311" y="486"/>
                  </a:lnTo>
                  <a:lnTo>
                    <a:pt x="311" y="486"/>
                  </a:lnTo>
                  <a:lnTo>
                    <a:pt x="311" y="486"/>
                  </a:lnTo>
                  <a:lnTo>
                    <a:pt x="311" y="488"/>
                  </a:lnTo>
                  <a:lnTo>
                    <a:pt x="311" y="488"/>
                  </a:lnTo>
                  <a:lnTo>
                    <a:pt x="311" y="488"/>
                  </a:lnTo>
                  <a:lnTo>
                    <a:pt x="311" y="488"/>
                  </a:lnTo>
                  <a:lnTo>
                    <a:pt x="311" y="490"/>
                  </a:lnTo>
                  <a:lnTo>
                    <a:pt x="311" y="490"/>
                  </a:lnTo>
                  <a:lnTo>
                    <a:pt x="309" y="490"/>
                  </a:lnTo>
                  <a:lnTo>
                    <a:pt x="309" y="490"/>
                  </a:lnTo>
                  <a:lnTo>
                    <a:pt x="309" y="490"/>
                  </a:lnTo>
                  <a:lnTo>
                    <a:pt x="307" y="492"/>
                  </a:lnTo>
                  <a:lnTo>
                    <a:pt x="307" y="492"/>
                  </a:lnTo>
                  <a:lnTo>
                    <a:pt x="307" y="494"/>
                  </a:lnTo>
                  <a:lnTo>
                    <a:pt x="307" y="494"/>
                  </a:lnTo>
                  <a:lnTo>
                    <a:pt x="307" y="494"/>
                  </a:lnTo>
                  <a:lnTo>
                    <a:pt x="307" y="496"/>
                  </a:lnTo>
                  <a:lnTo>
                    <a:pt x="307" y="496"/>
                  </a:lnTo>
                  <a:lnTo>
                    <a:pt x="307" y="496"/>
                  </a:lnTo>
                  <a:lnTo>
                    <a:pt x="307" y="498"/>
                  </a:lnTo>
                  <a:lnTo>
                    <a:pt x="307" y="498"/>
                  </a:lnTo>
                  <a:lnTo>
                    <a:pt x="307" y="498"/>
                  </a:lnTo>
                  <a:lnTo>
                    <a:pt x="307" y="498"/>
                  </a:lnTo>
                  <a:lnTo>
                    <a:pt x="307" y="498"/>
                  </a:lnTo>
                  <a:lnTo>
                    <a:pt x="309" y="500"/>
                  </a:lnTo>
                  <a:lnTo>
                    <a:pt x="311" y="500"/>
                  </a:lnTo>
                  <a:lnTo>
                    <a:pt x="311" y="500"/>
                  </a:lnTo>
                  <a:lnTo>
                    <a:pt x="311" y="500"/>
                  </a:lnTo>
                  <a:lnTo>
                    <a:pt x="309" y="500"/>
                  </a:lnTo>
                  <a:lnTo>
                    <a:pt x="309" y="500"/>
                  </a:lnTo>
                  <a:lnTo>
                    <a:pt x="307" y="500"/>
                  </a:lnTo>
                  <a:lnTo>
                    <a:pt x="307" y="500"/>
                  </a:lnTo>
                  <a:lnTo>
                    <a:pt x="307" y="500"/>
                  </a:lnTo>
                  <a:lnTo>
                    <a:pt x="305" y="500"/>
                  </a:lnTo>
                  <a:lnTo>
                    <a:pt x="303" y="498"/>
                  </a:lnTo>
                  <a:lnTo>
                    <a:pt x="303" y="498"/>
                  </a:lnTo>
                  <a:lnTo>
                    <a:pt x="293" y="498"/>
                  </a:lnTo>
                  <a:lnTo>
                    <a:pt x="293" y="498"/>
                  </a:lnTo>
                  <a:lnTo>
                    <a:pt x="289" y="500"/>
                  </a:lnTo>
                  <a:lnTo>
                    <a:pt x="289" y="500"/>
                  </a:lnTo>
                  <a:lnTo>
                    <a:pt x="287" y="500"/>
                  </a:lnTo>
                  <a:lnTo>
                    <a:pt x="285" y="500"/>
                  </a:lnTo>
                  <a:lnTo>
                    <a:pt x="285" y="500"/>
                  </a:lnTo>
                  <a:lnTo>
                    <a:pt x="282" y="500"/>
                  </a:lnTo>
                  <a:lnTo>
                    <a:pt x="282" y="500"/>
                  </a:lnTo>
                  <a:lnTo>
                    <a:pt x="282" y="500"/>
                  </a:lnTo>
                  <a:lnTo>
                    <a:pt x="280" y="500"/>
                  </a:lnTo>
                  <a:lnTo>
                    <a:pt x="280" y="500"/>
                  </a:lnTo>
                  <a:lnTo>
                    <a:pt x="280" y="498"/>
                  </a:lnTo>
                  <a:lnTo>
                    <a:pt x="280" y="498"/>
                  </a:lnTo>
                  <a:lnTo>
                    <a:pt x="280" y="498"/>
                  </a:lnTo>
                  <a:lnTo>
                    <a:pt x="278" y="496"/>
                  </a:lnTo>
                  <a:lnTo>
                    <a:pt x="278" y="496"/>
                  </a:lnTo>
                  <a:lnTo>
                    <a:pt x="274" y="496"/>
                  </a:lnTo>
                  <a:lnTo>
                    <a:pt x="274" y="496"/>
                  </a:lnTo>
                  <a:lnTo>
                    <a:pt x="272" y="496"/>
                  </a:lnTo>
                  <a:lnTo>
                    <a:pt x="272" y="496"/>
                  </a:lnTo>
                  <a:lnTo>
                    <a:pt x="272" y="496"/>
                  </a:lnTo>
                  <a:lnTo>
                    <a:pt x="270" y="496"/>
                  </a:lnTo>
                  <a:lnTo>
                    <a:pt x="270" y="496"/>
                  </a:lnTo>
                  <a:lnTo>
                    <a:pt x="268" y="496"/>
                  </a:lnTo>
                  <a:lnTo>
                    <a:pt x="260" y="496"/>
                  </a:lnTo>
                  <a:lnTo>
                    <a:pt x="260" y="496"/>
                  </a:lnTo>
                  <a:lnTo>
                    <a:pt x="258" y="496"/>
                  </a:lnTo>
                  <a:lnTo>
                    <a:pt x="256" y="494"/>
                  </a:lnTo>
                  <a:lnTo>
                    <a:pt x="254" y="494"/>
                  </a:lnTo>
                  <a:lnTo>
                    <a:pt x="252" y="494"/>
                  </a:lnTo>
                  <a:lnTo>
                    <a:pt x="252" y="494"/>
                  </a:lnTo>
                  <a:lnTo>
                    <a:pt x="252" y="494"/>
                  </a:lnTo>
                  <a:lnTo>
                    <a:pt x="250" y="492"/>
                  </a:lnTo>
                  <a:lnTo>
                    <a:pt x="250" y="492"/>
                  </a:lnTo>
                  <a:lnTo>
                    <a:pt x="248" y="492"/>
                  </a:lnTo>
                  <a:lnTo>
                    <a:pt x="248" y="492"/>
                  </a:lnTo>
                  <a:lnTo>
                    <a:pt x="248" y="494"/>
                  </a:lnTo>
                  <a:lnTo>
                    <a:pt x="246" y="494"/>
                  </a:lnTo>
                  <a:lnTo>
                    <a:pt x="246" y="494"/>
                  </a:lnTo>
                  <a:lnTo>
                    <a:pt x="244" y="494"/>
                  </a:lnTo>
                  <a:lnTo>
                    <a:pt x="244" y="494"/>
                  </a:lnTo>
                  <a:lnTo>
                    <a:pt x="242" y="494"/>
                  </a:lnTo>
                  <a:lnTo>
                    <a:pt x="242" y="494"/>
                  </a:lnTo>
                  <a:lnTo>
                    <a:pt x="242" y="496"/>
                  </a:lnTo>
                  <a:lnTo>
                    <a:pt x="239" y="496"/>
                  </a:lnTo>
                  <a:lnTo>
                    <a:pt x="239" y="498"/>
                  </a:lnTo>
                  <a:lnTo>
                    <a:pt x="237" y="502"/>
                  </a:lnTo>
                  <a:lnTo>
                    <a:pt x="237" y="502"/>
                  </a:lnTo>
                  <a:lnTo>
                    <a:pt x="237" y="502"/>
                  </a:lnTo>
                  <a:lnTo>
                    <a:pt x="235" y="502"/>
                  </a:lnTo>
                  <a:lnTo>
                    <a:pt x="235" y="502"/>
                  </a:lnTo>
                  <a:lnTo>
                    <a:pt x="233" y="502"/>
                  </a:lnTo>
                  <a:lnTo>
                    <a:pt x="233" y="502"/>
                  </a:lnTo>
                  <a:lnTo>
                    <a:pt x="233" y="502"/>
                  </a:lnTo>
                  <a:lnTo>
                    <a:pt x="233" y="500"/>
                  </a:lnTo>
                  <a:lnTo>
                    <a:pt x="231" y="500"/>
                  </a:lnTo>
                  <a:lnTo>
                    <a:pt x="231" y="500"/>
                  </a:lnTo>
                  <a:lnTo>
                    <a:pt x="229" y="500"/>
                  </a:lnTo>
                  <a:lnTo>
                    <a:pt x="227" y="500"/>
                  </a:lnTo>
                  <a:lnTo>
                    <a:pt x="227" y="500"/>
                  </a:lnTo>
                  <a:lnTo>
                    <a:pt x="225" y="498"/>
                  </a:lnTo>
                  <a:lnTo>
                    <a:pt x="225" y="498"/>
                  </a:lnTo>
                  <a:lnTo>
                    <a:pt x="225" y="498"/>
                  </a:lnTo>
                  <a:lnTo>
                    <a:pt x="215" y="496"/>
                  </a:lnTo>
                  <a:lnTo>
                    <a:pt x="213" y="494"/>
                  </a:lnTo>
                  <a:lnTo>
                    <a:pt x="213" y="494"/>
                  </a:lnTo>
                  <a:lnTo>
                    <a:pt x="211" y="494"/>
                  </a:lnTo>
                  <a:lnTo>
                    <a:pt x="211" y="496"/>
                  </a:lnTo>
                  <a:lnTo>
                    <a:pt x="209" y="496"/>
                  </a:lnTo>
                  <a:lnTo>
                    <a:pt x="207" y="496"/>
                  </a:lnTo>
                  <a:lnTo>
                    <a:pt x="207" y="496"/>
                  </a:lnTo>
                  <a:lnTo>
                    <a:pt x="203" y="500"/>
                  </a:lnTo>
                  <a:lnTo>
                    <a:pt x="201" y="500"/>
                  </a:lnTo>
                  <a:lnTo>
                    <a:pt x="201" y="500"/>
                  </a:lnTo>
                  <a:lnTo>
                    <a:pt x="201" y="502"/>
                  </a:lnTo>
                  <a:lnTo>
                    <a:pt x="201" y="502"/>
                  </a:lnTo>
                  <a:lnTo>
                    <a:pt x="201" y="502"/>
                  </a:lnTo>
                  <a:lnTo>
                    <a:pt x="201" y="502"/>
                  </a:lnTo>
                  <a:lnTo>
                    <a:pt x="201" y="506"/>
                  </a:lnTo>
                  <a:lnTo>
                    <a:pt x="201" y="506"/>
                  </a:lnTo>
                  <a:lnTo>
                    <a:pt x="201" y="506"/>
                  </a:lnTo>
                  <a:lnTo>
                    <a:pt x="201" y="506"/>
                  </a:lnTo>
                  <a:lnTo>
                    <a:pt x="199" y="506"/>
                  </a:lnTo>
                  <a:lnTo>
                    <a:pt x="199" y="506"/>
                  </a:lnTo>
                  <a:lnTo>
                    <a:pt x="196" y="504"/>
                  </a:lnTo>
                  <a:lnTo>
                    <a:pt x="196" y="504"/>
                  </a:lnTo>
                  <a:lnTo>
                    <a:pt x="196" y="502"/>
                  </a:lnTo>
                  <a:lnTo>
                    <a:pt x="192" y="502"/>
                  </a:lnTo>
                  <a:lnTo>
                    <a:pt x="192" y="500"/>
                  </a:lnTo>
                  <a:lnTo>
                    <a:pt x="192" y="500"/>
                  </a:lnTo>
                  <a:lnTo>
                    <a:pt x="190" y="498"/>
                  </a:lnTo>
                  <a:lnTo>
                    <a:pt x="190" y="498"/>
                  </a:lnTo>
                  <a:lnTo>
                    <a:pt x="190" y="498"/>
                  </a:lnTo>
                  <a:lnTo>
                    <a:pt x="188" y="498"/>
                  </a:lnTo>
                  <a:lnTo>
                    <a:pt x="188" y="496"/>
                  </a:lnTo>
                  <a:lnTo>
                    <a:pt x="188" y="496"/>
                  </a:lnTo>
                  <a:lnTo>
                    <a:pt x="188" y="494"/>
                  </a:lnTo>
                  <a:lnTo>
                    <a:pt x="188" y="494"/>
                  </a:lnTo>
                  <a:lnTo>
                    <a:pt x="186" y="494"/>
                  </a:lnTo>
                  <a:lnTo>
                    <a:pt x="186" y="492"/>
                  </a:lnTo>
                  <a:lnTo>
                    <a:pt x="186" y="492"/>
                  </a:lnTo>
                  <a:lnTo>
                    <a:pt x="188" y="492"/>
                  </a:lnTo>
                  <a:lnTo>
                    <a:pt x="188" y="490"/>
                  </a:lnTo>
                  <a:lnTo>
                    <a:pt x="188" y="490"/>
                  </a:lnTo>
                  <a:lnTo>
                    <a:pt x="188" y="488"/>
                  </a:lnTo>
                  <a:lnTo>
                    <a:pt x="188" y="488"/>
                  </a:lnTo>
                  <a:lnTo>
                    <a:pt x="186" y="488"/>
                  </a:lnTo>
                  <a:lnTo>
                    <a:pt x="186" y="486"/>
                  </a:lnTo>
                  <a:lnTo>
                    <a:pt x="186" y="486"/>
                  </a:lnTo>
                  <a:lnTo>
                    <a:pt x="186" y="486"/>
                  </a:lnTo>
                  <a:lnTo>
                    <a:pt x="186" y="484"/>
                  </a:lnTo>
                  <a:lnTo>
                    <a:pt x="186" y="484"/>
                  </a:lnTo>
                  <a:lnTo>
                    <a:pt x="184" y="482"/>
                  </a:lnTo>
                  <a:lnTo>
                    <a:pt x="184" y="482"/>
                  </a:lnTo>
                  <a:lnTo>
                    <a:pt x="184" y="480"/>
                  </a:lnTo>
                  <a:lnTo>
                    <a:pt x="184" y="480"/>
                  </a:lnTo>
                  <a:lnTo>
                    <a:pt x="184" y="480"/>
                  </a:lnTo>
                  <a:lnTo>
                    <a:pt x="184" y="480"/>
                  </a:lnTo>
                  <a:lnTo>
                    <a:pt x="186" y="480"/>
                  </a:lnTo>
                  <a:lnTo>
                    <a:pt x="186" y="478"/>
                  </a:lnTo>
                  <a:lnTo>
                    <a:pt x="186" y="478"/>
                  </a:lnTo>
                  <a:lnTo>
                    <a:pt x="186" y="478"/>
                  </a:lnTo>
                  <a:lnTo>
                    <a:pt x="186" y="478"/>
                  </a:lnTo>
                  <a:lnTo>
                    <a:pt x="186" y="476"/>
                  </a:lnTo>
                  <a:lnTo>
                    <a:pt x="186" y="476"/>
                  </a:lnTo>
                  <a:lnTo>
                    <a:pt x="184" y="474"/>
                  </a:lnTo>
                  <a:lnTo>
                    <a:pt x="184" y="474"/>
                  </a:lnTo>
                  <a:lnTo>
                    <a:pt x="184" y="472"/>
                  </a:lnTo>
                  <a:lnTo>
                    <a:pt x="184" y="472"/>
                  </a:lnTo>
                  <a:lnTo>
                    <a:pt x="184" y="472"/>
                  </a:lnTo>
                  <a:lnTo>
                    <a:pt x="184" y="470"/>
                  </a:lnTo>
                  <a:lnTo>
                    <a:pt x="182" y="470"/>
                  </a:lnTo>
                  <a:lnTo>
                    <a:pt x="182" y="470"/>
                  </a:lnTo>
                  <a:lnTo>
                    <a:pt x="182" y="470"/>
                  </a:lnTo>
                  <a:lnTo>
                    <a:pt x="182" y="468"/>
                  </a:lnTo>
                  <a:lnTo>
                    <a:pt x="182" y="468"/>
                  </a:lnTo>
                  <a:lnTo>
                    <a:pt x="182" y="468"/>
                  </a:lnTo>
                  <a:lnTo>
                    <a:pt x="182" y="468"/>
                  </a:lnTo>
                  <a:lnTo>
                    <a:pt x="182" y="465"/>
                  </a:lnTo>
                  <a:lnTo>
                    <a:pt x="180" y="465"/>
                  </a:lnTo>
                  <a:lnTo>
                    <a:pt x="180" y="463"/>
                  </a:lnTo>
                  <a:lnTo>
                    <a:pt x="180" y="463"/>
                  </a:lnTo>
                  <a:lnTo>
                    <a:pt x="178" y="461"/>
                  </a:lnTo>
                  <a:lnTo>
                    <a:pt x="176" y="459"/>
                  </a:lnTo>
                  <a:lnTo>
                    <a:pt x="176" y="457"/>
                  </a:lnTo>
                  <a:lnTo>
                    <a:pt x="174" y="457"/>
                  </a:lnTo>
                  <a:lnTo>
                    <a:pt x="172" y="457"/>
                  </a:lnTo>
                  <a:lnTo>
                    <a:pt x="172" y="457"/>
                  </a:lnTo>
                  <a:lnTo>
                    <a:pt x="170" y="457"/>
                  </a:lnTo>
                  <a:lnTo>
                    <a:pt x="170" y="457"/>
                  </a:lnTo>
                  <a:lnTo>
                    <a:pt x="168" y="459"/>
                  </a:lnTo>
                  <a:lnTo>
                    <a:pt x="168" y="459"/>
                  </a:lnTo>
                  <a:lnTo>
                    <a:pt x="168" y="459"/>
                  </a:lnTo>
                  <a:lnTo>
                    <a:pt x="166" y="459"/>
                  </a:lnTo>
                  <a:lnTo>
                    <a:pt x="166" y="459"/>
                  </a:lnTo>
                  <a:lnTo>
                    <a:pt x="164" y="459"/>
                  </a:lnTo>
                  <a:lnTo>
                    <a:pt x="164" y="457"/>
                  </a:lnTo>
                  <a:lnTo>
                    <a:pt x="164" y="455"/>
                  </a:lnTo>
                  <a:lnTo>
                    <a:pt x="164" y="455"/>
                  </a:lnTo>
                  <a:lnTo>
                    <a:pt x="164" y="455"/>
                  </a:lnTo>
                  <a:lnTo>
                    <a:pt x="160" y="453"/>
                  </a:lnTo>
                  <a:lnTo>
                    <a:pt x="158" y="451"/>
                  </a:lnTo>
                  <a:lnTo>
                    <a:pt x="158" y="451"/>
                  </a:lnTo>
                  <a:lnTo>
                    <a:pt x="158" y="449"/>
                  </a:lnTo>
                  <a:lnTo>
                    <a:pt x="158" y="447"/>
                  </a:lnTo>
                  <a:lnTo>
                    <a:pt x="158" y="445"/>
                  </a:lnTo>
                  <a:lnTo>
                    <a:pt x="155" y="445"/>
                  </a:lnTo>
                  <a:lnTo>
                    <a:pt x="155" y="445"/>
                  </a:lnTo>
                  <a:lnTo>
                    <a:pt x="155" y="443"/>
                  </a:lnTo>
                  <a:lnTo>
                    <a:pt x="155" y="443"/>
                  </a:lnTo>
                  <a:lnTo>
                    <a:pt x="155" y="443"/>
                  </a:lnTo>
                  <a:lnTo>
                    <a:pt x="155" y="443"/>
                  </a:lnTo>
                  <a:lnTo>
                    <a:pt x="155" y="443"/>
                  </a:lnTo>
                  <a:lnTo>
                    <a:pt x="158" y="441"/>
                  </a:lnTo>
                  <a:lnTo>
                    <a:pt x="158" y="441"/>
                  </a:lnTo>
                  <a:lnTo>
                    <a:pt x="158" y="441"/>
                  </a:lnTo>
                  <a:lnTo>
                    <a:pt x="160" y="441"/>
                  </a:lnTo>
                  <a:lnTo>
                    <a:pt x="160" y="439"/>
                  </a:lnTo>
                  <a:lnTo>
                    <a:pt x="160" y="437"/>
                  </a:lnTo>
                  <a:lnTo>
                    <a:pt x="160" y="437"/>
                  </a:lnTo>
                  <a:lnTo>
                    <a:pt x="160" y="437"/>
                  </a:lnTo>
                  <a:lnTo>
                    <a:pt x="160" y="435"/>
                  </a:lnTo>
                  <a:lnTo>
                    <a:pt x="160" y="435"/>
                  </a:lnTo>
                  <a:lnTo>
                    <a:pt x="160" y="431"/>
                  </a:lnTo>
                  <a:lnTo>
                    <a:pt x="158" y="431"/>
                  </a:lnTo>
                  <a:lnTo>
                    <a:pt x="155" y="427"/>
                  </a:lnTo>
                  <a:lnTo>
                    <a:pt x="155" y="427"/>
                  </a:lnTo>
                  <a:lnTo>
                    <a:pt x="155" y="425"/>
                  </a:lnTo>
                  <a:lnTo>
                    <a:pt x="155" y="422"/>
                  </a:lnTo>
                  <a:lnTo>
                    <a:pt x="155" y="422"/>
                  </a:lnTo>
                  <a:lnTo>
                    <a:pt x="153" y="422"/>
                  </a:lnTo>
                  <a:lnTo>
                    <a:pt x="151" y="422"/>
                  </a:lnTo>
                  <a:lnTo>
                    <a:pt x="151" y="422"/>
                  </a:lnTo>
                  <a:lnTo>
                    <a:pt x="151" y="420"/>
                  </a:lnTo>
                  <a:lnTo>
                    <a:pt x="151" y="420"/>
                  </a:lnTo>
                  <a:lnTo>
                    <a:pt x="151" y="420"/>
                  </a:lnTo>
                  <a:lnTo>
                    <a:pt x="151" y="418"/>
                  </a:lnTo>
                  <a:lnTo>
                    <a:pt x="151" y="418"/>
                  </a:lnTo>
                  <a:lnTo>
                    <a:pt x="151" y="418"/>
                  </a:lnTo>
                  <a:lnTo>
                    <a:pt x="151" y="416"/>
                  </a:lnTo>
                  <a:lnTo>
                    <a:pt x="151" y="416"/>
                  </a:lnTo>
                  <a:lnTo>
                    <a:pt x="149" y="416"/>
                  </a:lnTo>
                  <a:lnTo>
                    <a:pt x="149" y="414"/>
                  </a:lnTo>
                  <a:lnTo>
                    <a:pt x="149" y="414"/>
                  </a:lnTo>
                  <a:lnTo>
                    <a:pt x="149" y="412"/>
                  </a:lnTo>
                  <a:lnTo>
                    <a:pt x="147" y="412"/>
                  </a:lnTo>
                  <a:lnTo>
                    <a:pt x="147" y="410"/>
                  </a:lnTo>
                  <a:lnTo>
                    <a:pt x="145" y="408"/>
                  </a:lnTo>
                  <a:lnTo>
                    <a:pt x="145" y="408"/>
                  </a:lnTo>
                  <a:lnTo>
                    <a:pt x="145" y="408"/>
                  </a:lnTo>
                  <a:lnTo>
                    <a:pt x="145" y="406"/>
                  </a:lnTo>
                  <a:lnTo>
                    <a:pt x="145" y="406"/>
                  </a:lnTo>
                  <a:lnTo>
                    <a:pt x="145" y="404"/>
                  </a:lnTo>
                  <a:lnTo>
                    <a:pt x="143" y="404"/>
                  </a:lnTo>
                  <a:lnTo>
                    <a:pt x="143" y="402"/>
                  </a:lnTo>
                  <a:lnTo>
                    <a:pt x="141" y="402"/>
                  </a:lnTo>
                  <a:lnTo>
                    <a:pt x="141" y="402"/>
                  </a:lnTo>
                  <a:lnTo>
                    <a:pt x="141" y="402"/>
                  </a:lnTo>
                  <a:lnTo>
                    <a:pt x="141" y="400"/>
                  </a:lnTo>
                  <a:lnTo>
                    <a:pt x="141" y="400"/>
                  </a:lnTo>
                  <a:lnTo>
                    <a:pt x="141" y="398"/>
                  </a:lnTo>
                  <a:lnTo>
                    <a:pt x="143" y="396"/>
                  </a:lnTo>
                  <a:lnTo>
                    <a:pt x="143" y="394"/>
                  </a:lnTo>
                  <a:lnTo>
                    <a:pt x="143" y="394"/>
                  </a:lnTo>
                  <a:lnTo>
                    <a:pt x="141" y="394"/>
                  </a:lnTo>
                  <a:lnTo>
                    <a:pt x="139" y="392"/>
                  </a:lnTo>
                  <a:lnTo>
                    <a:pt x="139" y="390"/>
                  </a:lnTo>
                  <a:lnTo>
                    <a:pt x="139" y="390"/>
                  </a:lnTo>
                  <a:lnTo>
                    <a:pt x="139" y="388"/>
                  </a:lnTo>
                  <a:lnTo>
                    <a:pt x="139" y="388"/>
                  </a:lnTo>
                  <a:lnTo>
                    <a:pt x="139" y="388"/>
                  </a:lnTo>
                  <a:lnTo>
                    <a:pt x="139" y="388"/>
                  </a:lnTo>
                  <a:lnTo>
                    <a:pt x="139" y="386"/>
                  </a:lnTo>
                  <a:lnTo>
                    <a:pt x="141" y="386"/>
                  </a:lnTo>
                  <a:lnTo>
                    <a:pt x="141" y="386"/>
                  </a:lnTo>
                  <a:lnTo>
                    <a:pt x="141" y="384"/>
                  </a:lnTo>
                  <a:lnTo>
                    <a:pt x="141" y="381"/>
                  </a:lnTo>
                  <a:lnTo>
                    <a:pt x="141" y="381"/>
                  </a:lnTo>
                  <a:lnTo>
                    <a:pt x="141" y="381"/>
                  </a:lnTo>
                  <a:lnTo>
                    <a:pt x="141" y="381"/>
                  </a:lnTo>
                  <a:lnTo>
                    <a:pt x="141" y="379"/>
                  </a:lnTo>
                  <a:lnTo>
                    <a:pt x="137" y="379"/>
                  </a:lnTo>
                  <a:lnTo>
                    <a:pt x="137" y="377"/>
                  </a:lnTo>
                  <a:lnTo>
                    <a:pt x="137" y="377"/>
                  </a:lnTo>
                  <a:lnTo>
                    <a:pt x="137" y="377"/>
                  </a:lnTo>
                  <a:lnTo>
                    <a:pt x="137" y="375"/>
                  </a:lnTo>
                  <a:lnTo>
                    <a:pt x="139" y="375"/>
                  </a:lnTo>
                  <a:lnTo>
                    <a:pt x="139" y="373"/>
                  </a:lnTo>
                  <a:lnTo>
                    <a:pt x="139" y="373"/>
                  </a:lnTo>
                  <a:lnTo>
                    <a:pt x="139" y="373"/>
                  </a:lnTo>
                  <a:lnTo>
                    <a:pt x="139" y="371"/>
                  </a:lnTo>
                  <a:lnTo>
                    <a:pt x="139" y="371"/>
                  </a:lnTo>
                  <a:lnTo>
                    <a:pt x="139" y="371"/>
                  </a:lnTo>
                  <a:lnTo>
                    <a:pt x="139" y="369"/>
                  </a:lnTo>
                  <a:lnTo>
                    <a:pt x="139" y="369"/>
                  </a:lnTo>
                  <a:lnTo>
                    <a:pt x="137" y="369"/>
                  </a:lnTo>
                  <a:lnTo>
                    <a:pt x="133" y="367"/>
                  </a:lnTo>
                  <a:lnTo>
                    <a:pt x="133" y="367"/>
                  </a:lnTo>
                  <a:lnTo>
                    <a:pt x="133" y="365"/>
                  </a:lnTo>
                  <a:lnTo>
                    <a:pt x="133" y="365"/>
                  </a:lnTo>
                  <a:lnTo>
                    <a:pt x="133" y="365"/>
                  </a:lnTo>
                  <a:lnTo>
                    <a:pt x="133" y="363"/>
                  </a:lnTo>
                  <a:lnTo>
                    <a:pt x="131" y="361"/>
                  </a:lnTo>
                  <a:lnTo>
                    <a:pt x="127" y="359"/>
                  </a:lnTo>
                  <a:lnTo>
                    <a:pt x="127" y="359"/>
                  </a:lnTo>
                  <a:lnTo>
                    <a:pt x="125" y="359"/>
                  </a:lnTo>
                  <a:lnTo>
                    <a:pt x="125" y="359"/>
                  </a:lnTo>
                  <a:lnTo>
                    <a:pt x="125" y="359"/>
                  </a:lnTo>
                  <a:lnTo>
                    <a:pt x="125" y="359"/>
                  </a:lnTo>
                  <a:lnTo>
                    <a:pt x="125" y="359"/>
                  </a:lnTo>
                  <a:lnTo>
                    <a:pt x="125" y="361"/>
                  </a:lnTo>
                  <a:lnTo>
                    <a:pt x="125" y="361"/>
                  </a:lnTo>
                  <a:lnTo>
                    <a:pt x="125" y="361"/>
                  </a:lnTo>
                  <a:lnTo>
                    <a:pt x="125" y="361"/>
                  </a:lnTo>
                  <a:lnTo>
                    <a:pt x="125" y="363"/>
                  </a:lnTo>
                  <a:lnTo>
                    <a:pt x="125" y="363"/>
                  </a:lnTo>
                  <a:lnTo>
                    <a:pt x="125" y="363"/>
                  </a:lnTo>
                  <a:lnTo>
                    <a:pt x="125" y="363"/>
                  </a:lnTo>
                  <a:lnTo>
                    <a:pt x="123" y="363"/>
                  </a:lnTo>
                  <a:lnTo>
                    <a:pt x="121" y="363"/>
                  </a:lnTo>
                  <a:lnTo>
                    <a:pt x="121" y="365"/>
                  </a:lnTo>
                  <a:lnTo>
                    <a:pt x="121" y="365"/>
                  </a:lnTo>
                  <a:lnTo>
                    <a:pt x="121" y="365"/>
                  </a:lnTo>
                  <a:lnTo>
                    <a:pt x="119" y="365"/>
                  </a:lnTo>
                  <a:lnTo>
                    <a:pt x="119" y="365"/>
                  </a:lnTo>
                  <a:lnTo>
                    <a:pt x="119" y="367"/>
                  </a:lnTo>
                  <a:lnTo>
                    <a:pt x="119" y="367"/>
                  </a:lnTo>
                  <a:lnTo>
                    <a:pt x="119" y="367"/>
                  </a:lnTo>
                  <a:lnTo>
                    <a:pt x="117" y="367"/>
                  </a:lnTo>
                  <a:lnTo>
                    <a:pt x="117" y="369"/>
                  </a:lnTo>
                  <a:lnTo>
                    <a:pt x="117" y="369"/>
                  </a:lnTo>
                  <a:lnTo>
                    <a:pt x="115" y="369"/>
                  </a:lnTo>
                  <a:lnTo>
                    <a:pt x="115" y="369"/>
                  </a:lnTo>
                  <a:lnTo>
                    <a:pt x="115" y="371"/>
                  </a:lnTo>
                  <a:lnTo>
                    <a:pt x="115" y="371"/>
                  </a:lnTo>
                  <a:lnTo>
                    <a:pt x="115" y="371"/>
                  </a:lnTo>
                  <a:lnTo>
                    <a:pt x="110" y="371"/>
                  </a:lnTo>
                  <a:lnTo>
                    <a:pt x="108" y="373"/>
                  </a:lnTo>
                  <a:lnTo>
                    <a:pt x="108" y="373"/>
                  </a:lnTo>
                  <a:lnTo>
                    <a:pt x="108" y="373"/>
                  </a:lnTo>
                  <a:lnTo>
                    <a:pt x="106" y="373"/>
                  </a:lnTo>
                  <a:lnTo>
                    <a:pt x="106" y="373"/>
                  </a:lnTo>
                  <a:lnTo>
                    <a:pt x="104" y="373"/>
                  </a:lnTo>
                  <a:lnTo>
                    <a:pt x="104" y="373"/>
                  </a:lnTo>
                  <a:lnTo>
                    <a:pt x="104" y="373"/>
                  </a:lnTo>
                  <a:lnTo>
                    <a:pt x="104" y="373"/>
                  </a:lnTo>
                  <a:lnTo>
                    <a:pt x="104" y="373"/>
                  </a:lnTo>
                  <a:lnTo>
                    <a:pt x="102" y="375"/>
                  </a:lnTo>
                  <a:lnTo>
                    <a:pt x="102" y="377"/>
                  </a:lnTo>
                  <a:lnTo>
                    <a:pt x="102" y="377"/>
                  </a:lnTo>
                  <a:lnTo>
                    <a:pt x="102" y="377"/>
                  </a:lnTo>
                  <a:lnTo>
                    <a:pt x="100" y="377"/>
                  </a:lnTo>
                  <a:lnTo>
                    <a:pt x="98" y="377"/>
                  </a:lnTo>
                  <a:lnTo>
                    <a:pt x="98" y="377"/>
                  </a:lnTo>
                  <a:lnTo>
                    <a:pt x="98" y="377"/>
                  </a:lnTo>
                  <a:lnTo>
                    <a:pt x="96" y="377"/>
                  </a:lnTo>
                  <a:lnTo>
                    <a:pt x="96" y="377"/>
                  </a:lnTo>
                  <a:lnTo>
                    <a:pt x="94" y="377"/>
                  </a:lnTo>
                  <a:lnTo>
                    <a:pt x="94" y="377"/>
                  </a:lnTo>
                  <a:lnTo>
                    <a:pt x="94" y="375"/>
                  </a:lnTo>
                  <a:lnTo>
                    <a:pt x="92" y="373"/>
                  </a:lnTo>
                  <a:lnTo>
                    <a:pt x="90" y="373"/>
                  </a:lnTo>
                  <a:lnTo>
                    <a:pt x="90" y="373"/>
                  </a:lnTo>
                  <a:lnTo>
                    <a:pt x="90" y="371"/>
                  </a:lnTo>
                  <a:lnTo>
                    <a:pt x="90" y="371"/>
                  </a:lnTo>
                  <a:lnTo>
                    <a:pt x="90" y="371"/>
                  </a:lnTo>
                  <a:lnTo>
                    <a:pt x="88" y="369"/>
                  </a:lnTo>
                  <a:lnTo>
                    <a:pt x="86" y="369"/>
                  </a:lnTo>
                  <a:lnTo>
                    <a:pt x="84" y="367"/>
                  </a:lnTo>
                  <a:lnTo>
                    <a:pt x="82" y="367"/>
                  </a:lnTo>
                  <a:lnTo>
                    <a:pt x="80" y="367"/>
                  </a:lnTo>
                  <a:lnTo>
                    <a:pt x="80" y="367"/>
                  </a:lnTo>
                  <a:lnTo>
                    <a:pt x="80" y="365"/>
                  </a:lnTo>
                  <a:lnTo>
                    <a:pt x="82" y="365"/>
                  </a:lnTo>
                  <a:lnTo>
                    <a:pt x="82" y="365"/>
                  </a:lnTo>
                  <a:lnTo>
                    <a:pt x="82" y="363"/>
                  </a:lnTo>
                  <a:lnTo>
                    <a:pt x="82" y="363"/>
                  </a:lnTo>
                  <a:lnTo>
                    <a:pt x="82" y="363"/>
                  </a:lnTo>
                  <a:lnTo>
                    <a:pt x="82" y="361"/>
                  </a:lnTo>
                  <a:lnTo>
                    <a:pt x="82" y="361"/>
                  </a:lnTo>
                  <a:lnTo>
                    <a:pt x="82" y="361"/>
                  </a:lnTo>
                  <a:lnTo>
                    <a:pt x="82" y="359"/>
                  </a:lnTo>
                  <a:lnTo>
                    <a:pt x="84" y="359"/>
                  </a:lnTo>
                  <a:lnTo>
                    <a:pt x="86" y="357"/>
                  </a:lnTo>
                  <a:lnTo>
                    <a:pt x="86" y="357"/>
                  </a:lnTo>
                  <a:lnTo>
                    <a:pt x="86" y="357"/>
                  </a:lnTo>
                  <a:lnTo>
                    <a:pt x="86" y="357"/>
                  </a:lnTo>
                  <a:lnTo>
                    <a:pt x="86" y="357"/>
                  </a:lnTo>
                  <a:lnTo>
                    <a:pt x="86" y="355"/>
                  </a:lnTo>
                  <a:lnTo>
                    <a:pt x="86" y="355"/>
                  </a:lnTo>
                  <a:lnTo>
                    <a:pt x="86" y="355"/>
                  </a:lnTo>
                  <a:lnTo>
                    <a:pt x="86" y="353"/>
                  </a:lnTo>
                  <a:lnTo>
                    <a:pt x="86" y="353"/>
                  </a:lnTo>
                  <a:lnTo>
                    <a:pt x="86" y="351"/>
                  </a:lnTo>
                  <a:lnTo>
                    <a:pt x="84" y="349"/>
                  </a:lnTo>
                  <a:lnTo>
                    <a:pt x="84" y="349"/>
                  </a:lnTo>
                  <a:lnTo>
                    <a:pt x="84" y="349"/>
                  </a:lnTo>
                  <a:lnTo>
                    <a:pt x="84" y="347"/>
                  </a:lnTo>
                  <a:lnTo>
                    <a:pt x="84" y="347"/>
                  </a:lnTo>
                  <a:lnTo>
                    <a:pt x="82" y="345"/>
                  </a:lnTo>
                  <a:lnTo>
                    <a:pt x="84" y="345"/>
                  </a:lnTo>
                  <a:lnTo>
                    <a:pt x="84" y="345"/>
                  </a:lnTo>
                  <a:lnTo>
                    <a:pt x="84" y="343"/>
                  </a:lnTo>
                  <a:lnTo>
                    <a:pt x="84" y="343"/>
                  </a:lnTo>
                  <a:lnTo>
                    <a:pt x="86" y="343"/>
                  </a:lnTo>
                  <a:lnTo>
                    <a:pt x="86" y="343"/>
                  </a:lnTo>
                  <a:lnTo>
                    <a:pt x="86" y="340"/>
                  </a:lnTo>
                  <a:lnTo>
                    <a:pt x="88" y="340"/>
                  </a:lnTo>
                  <a:lnTo>
                    <a:pt x="88" y="338"/>
                  </a:lnTo>
                  <a:lnTo>
                    <a:pt x="88" y="338"/>
                  </a:lnTo>
                  <a:lnTo>
                    <a:pt x="88" y="338"/>
                  </a:lnTo>
                  <a:lnTo>
                    <a:pt x="88" y="338"/>
                  </a:lnTo>
                  <a:lnTo>
                    <a:pt x="90" y="338"/>
                  </a:lnTo>
                  <a:lnTo>
                    <a:pt x="90" y="338"/>
                  </a:lnTo>
                  <a:lnTo>
                    <a:pt x="92" y="338"/>
                  </a:lnTo>
                  <a:lnTo>
                    <a:pt x="94" y="338"/>
                  </a:lnTo>
                  <a:lnTo>
                    <a:pt x="94" y="338"/>
                  </a:lnTo>
                  <a:lnTo>
                    <a:pt x="94" y="338"/>
                  </a:lnTo>
                  <a:lnTo>
                    <a:pt x="96" y="336"/>
                  </a:lnTo>
                  <a:lnTo>
                    <a:pt x="96" y="336"/>
                  </a:lnTo>
                  <a:lnTo>
                    <a:pt x="96" y="334"/>
                  </a:lnTo>
                  <a:lnTo>
                    <a:pt x="96" y="334"/>
                  </a:lnTo>
                  <a:lnTo>
                    <a:pt x="96" y="332"/>
                  </a:lnTo>
                  <a:lnTo>
                    <a:pt x="96" y="330"/>
                  </a:lnTo>
                  <a:lnTo>
                    <a:pt x="96" y="330"/>
                  </a:lnTo>
                  <a:lnTo>
                    <a:pt x="96" y="330"/>
                  </a:lnTo>
                  <a:lnTo>
                    <a:pt x="96" y="330"/>
                  </a:lnTo>
                  <a:lnTo>
                    <a:pt x="96" y="328"/>
                  </a:lnTo>
                  <a:lnTo>
                    <a:pt x="96" y="328"/>
                  </a:lnTo>
                  <a:lnTo>
                    <a:pt x="96" y="326"/>
                  </a:lnTo>
                  <a:lnTo>
                    <a:pt x="98" y="326"/>
                  </a:lnTo>
                  <a:lnTo>
                    <a:pt x="98" y="326"/>
                  </a:lnTo>
                  <a:lnTo>
                    <a:pt x="96" y="324"/>
                  </a:lnTo>
                  <a:lnTo>
                    <a:pt x="96" y="324"/>
                  </a:lnTo>
                  <a:lnTo>
                    <a:pt x="94" y="324"/>
                  </a:lnTo>
                  <a:lnTo>
                    <a:pt x="92" y="322"/>
                  </a:lnTo>
                  <a:lnTo>
                    <a:pt x="92" y="322"/>
                  </a:lnTo>
                  <a:lnTo>
                    <a:pt x="92" y="322"/>
                  </a:lnTo>
                  <a:lnTo>
                    <a:pt x="92" y="320"/>
                  </a:lnTo>
                  <a:lnTo>
                    <a:pt x="92" y="320"/>
                  </a:lnTo>
                  <a:lnTo>
                    <a:pt x="92" y="320"/>
                  </a:lnTo>
                  <a:lnTo>
                    <a:pt x="92" y="318"/>
                  </a:lnTo>
                  <a:lnTo>
                    <a:pt x="92" y="318"/>
                  </a:lnTo>
                  <a:lnTo>
                    <a:pt x="92" y="318"/>
                  </a:lnTo>
                  <a:lnTo>
                    <a:pt x="92" y="316"/>
                  </a:lnTo>
                  <a:lnTo>
                    <a:pt x="92" y="316"/>
                  </a:lnTo>
                  <a:lnTo>
                    <a:pt x="94" y="314"/>
                  </a:lnTo>
                  <a:lnTo>
                    <a:pt x="94" y="314"/>
                  </a:lnTo>
                  <a:lnTo>
                    <a:pt x="94" y="314"/>
                  </a:lnTo>
                  <a:lnTo>
                    <a:pt x="94" y="312"/>
                  </a:lnTo>
                  <a:lnTo>
                    <a:pt x="94" y="312"/>
                  </a:lnTo>
                  <a:lnTo>
                    <a:pt x="94" y="312"/>
                  </a:lnTo>
                  <a:lnTo>
                    <a:pt x="94" y="310"/>
                  </a:lnTo>
                  <a:lnTo>
                    <a:pt x="92" y="308"/>
                  </a:lnTo>
                  <a:lnTo>
                    <a:pt x="92" y="306"/>
                  </a:lnTo>
                  <a:lnTo>
                    <a:pt x="92" y="306"/>
                  </a:lnTo>
                  <a:lnTo>
                    <a:pt x="92" y="306"/>
                  </a:lnTo>
                  <a:lnTo>
                    <a:pt x="92" y="306"/>
                  </a:lnTo>
                  <a:lnTo>
                    <a:pt x="92" y="306"/>
                  </a:lnTo>
                  <a:lnTo>
                    <a:pt x="92" y="304"/>
                  </a:lnTo>
                  <a:lnTo>
                    <a:pt x="94" y="304"/>
                  </a:lnTo>
                  <a:lnTo>
                    <a:pt x="96" y="304"/>
                  </a:lnTo>
                  <a:lnTo>
                    <a:pt x="96" y="304"/>
                  </a:lnTo>
                  <a:lnTo>
                    <a:pt x="96" y="304"/>
                  </a:lnTo>
                  <a:lnTo>
                    <a:pt x="98" y="304"/>
                  </a:lnTo>
                  <a:lnTo>
                    <a:pt x="98" y="304"/>
                  </a:lnTo>
                  <a:lnTo>
                    <a:pt x="98" y="304"/>
                  </a:lnTo>
                  <a:lnTo>
                    <a:pt x="98" y="302"/>
                  </a:lnTo>
                  <a:lnTo>
                    <a:pt x="98" y="302"/>
                  </a:lnTo>
                  <a:lnTo>
                    <a:pt x="98" y="299"/>
                  </a:lnTo>
                  <a:lnTo>
                    <a:pt x="98" y="299"/>
                  </a:lnTo>
                  <a:lnTo>
                    <a:pt x="98" y="297"/>
                  </a:lnTo>
                  <a:lnTo>
                    <a:pt x="98" y="297"/>
                  </a:lnTo>
                  <a:lnTo>
                    <a:pt x="96" y="295"/>
                  </a:lnTo>
                  <a:lnTo>
                    <a:pt x="96" y="295"/>
                  </a:lnTo>
                  <a:lnTo>
                    <a:pt x="96" y="295"/>
                  </a:lnTo>
                  <a:lnTo>
                    <a:pt x="98" y="295"/>
                  </a:lnTo>
                  <a:lnTo>
                    <a:pt x="98" y="293"/>
                  </a:lnTo>
                  <a:lnTo>
                    <a:pt x="98" y="293"/>
                  </a:lnTo>
                  <a:lnTo>
                    <a:pt x="98" y="293"/>
                  </a:lnTo>
                  <a:lnTo>
                    <a:pt x="98" y="293"/>
                  </a:lnTo>
                  <a:lnTo>
                    <a:pt x="98" y="291"/>
                  </a:lnTo>
                  <a:lnTo>
                    <a:pt x="98" y="291"/>
                  </a:lnTo>
                  <a:lnTo>
                    <a:pt x="100" y="289"/>
                  </a:lnTo>
                  <a:lnTo>
                    <a:pt x="102" y="287"/>
                  </a:lnTo>
                  <a:lnTo>
                    <a:pt x="102" y="287"/>
                  </a:lnTo>
                  <a:lnTo>
                    <a:pt x="102" y="287"/>
                  </a:lnTo>
                  <a:lnTo>
                    <a:pt x="102" y="287"/>
                  </a:lnTo>
                  <a:lnTo>
                    <a:pt x="102" y="285"/>
                  </a:lnTo>
                  <a:lnTo>
                    <a:pt x="102" y="283"/>
                  </a:lnTo>
                  <a:lnTo>
                    <a:pt x="102" y="283"/>
                  </a:lnTo>
                  <a:lnTo>
                    <a:pt x="102" y="281"/>
                  </a:lnTo>
                  <a:lnTo>
                    <a:pt x="106" y="279"/>
                  </a:lnTo>
                  <a:lnTo>
                    <a:pt x="106" y="277"/>
                  </a:lnTo>
                  <a:lnTo>
                    <a:pt x="106" y="277"/>
                  </a:lnTo>
                  <a:lnTo>
                    <a:pt x="106" y="277"/>
                  </a:lnTo>
                  <a:lnTo>
                    <a:pt x="106" y="275"/>
                  </a:lnTo>
                  <a:lnTo>
                    <a:pt x="106" y="275"/>
                  </a:lnTo>
                  <a:lnTo>
                    <a:pt x="106" y="275"/>
                  </a:lnTo>
                  <a:lnTo>
                    <a:pt x="106" y="275"/>
                  </a:lnTo>
                  <a:lnTo>
                    <a:pt x="104" y="273"/>
                  </a:lnTo>
                  <a:lnTo>
                    <a:pt x="104" y="273"/>
                  </a:lnTo>
                  <a:lnTo>
                    <a:pt x="104" y="273"/>
                  </a:lnTo>
                  <a:lnTo>
                    <a:pt x="104" y="273"/>
                  </a:lnTo>
                  <a:lnTo>
                    <a:pt x="104" y="271"/>
                  </a:lnTo>
                  <a:lnTo>
                    <a:pt x="104" y="271"/>
                  </a:lnTo>
                  <a:lnTo>
                    <a:pt x="104" y="271"/>
                  </a:lnTo>
                  <a:lnTo>
                    <a:pt x="108" y="271"/>
                  </a:lnTo>
                  <a:lnTo>
                    <a:pt x="108" y="271"/>
                  </a:lnTo>
                  <a:lnTo>
                    <a:pt x="108" y="271"/>
                  </a:lnTo>
                  <a:lnTo>
                    <a:pt x="108" y="271"/>
                  </a:lnTo>
                  <a:lnTo>
                    <a:pt x="108" y="269"/>
                  </a:lnTo>
                  <a:lnTo>
                    <a:pt x="110" y="269"/>
                  </a:lnTo>
                  <a:lnTo>
                    <a:pt x="108" y="269"/>
                  </a:lnTo>
                  <a:lnTo>
                    <a:pt x="108" y="269"/>
                  </a:lnTo>
                  <a:lnTo>
                    <a:pt x="108" y="267"/>
                  </a:lnTo>
                  <a:lnTo>
                    <a:pt x="108" y="267"/>
                  </a:lnTo>
                  <a:lnTo>
                    <a:pt x="108" y="267"/>
                  </a:lnTo>
                  <a:lnTo>
                    <a:pt x="108" y="267"/>
                  </a:lnTo>
                  <a:lnTo>
                    <a:pt x="110" y="265"/>
                  </a:lnTo>
                  <a:lnTo>
                    <a:pt x="110" y="265"/>
                  </a:lnTo>
                  <a:lnTo>
                    <a:pt x="110" y="265"/>
                  </a:lnTo>
                  <a:lnTo>
                    <a:pt x="110" y="263"/>
                  </a:lnTo>
                  <a:lnTo>
                    <a:pt x="110" y="263"/>
                  </a:lnTo>
                  <a:lnTo>
                    <a:pt x="110" y="263"/>
                  </a:lnTo>
                  <a:lnTo>
                    <a:pt x="110" y="263"/>
                  </a:lnTo>
                  <a:lnTo>
                    <a:pt x="110" y="261"/>
                  </a:lnTo>
                  <a:lnTo>
                    <a:pt x="112" y="261"/>
                  </a:lnTo>
                  <a:lnTo>
                    <a:pt x="112" y="259"/>
                  </a:lnTo>
                  <a:lnTo>
                    <a:pt x="112" y="256"/>
                  </a:lnTo>
                  <a:lnTo>
                    <a:pt x="112" y="256"/>
                  </a:lnTo>
                  <a:lnTo>
                    <a:pt x="112" y="256"/>
                  </a:lnTo>
                  <a:lnTo>
                    <a:pt x="112" y="254"/>
                  </a:lnTo>
                  <a:lnTo>
                    <a:pt x="112" y="254"/>
                  </a:lnTo>
                  <a:lnTo>
                    <a:pt x="110" y="254"/>
                  </a:lnTo>
                  <a:lnTo>
                    <a:pt x="110" y="254"/>
                  </a:lnTo>
                  <a:lnTo>
                    <a:pt x="110" y="254"/>
                  </a:lnTo>
                  <a:lnTo>
                    <a:pt x="104" y="254"/>
                  </a:lnTo>
                  <a:lnTo>
                    <a:pt x="104" y="254"/>
                  </a:lnTo>
                  <a:lnTo>
                    <a:pt x="102" y="256"/>
                  </a:lnTo>
                  <a:lnTo>
                    <a:pt x="102" y="256"/>
                  </a:lnTo>
                  <a:lnTo>
                    <a:pt x="100" y="256"/>
                  </a:lnTo>
                  <a:lnTo>
                    <a:pt x="100" y="256"/>
                  </a:lnTo>
                  <a:lnTo>
                    <a:pt x="100" y="256"/>
                  </a:lnTo>
                  <a:lnTo>
                    <a:pt x="98" y="254"/>
                  </a:lnTo>
                  <a:lnTo>
                    <a:pt x="98" y="254"/>
                  </a:lnTo>
                  <a:lnTo>
                    <a:pt x="98" y="254"/>
                  </a:lnTo>
                  <a:lnTo>
                    <a:pt x="96" y="256"/>
                  </a:lnTo>
                  <a:lnTo>
                    <a:pt x="94" y="256"/>
                  </a:lnTo>
                  <a:lnTo>
                    <a:pt x="94" y="256"/>
                  </a:lnTo>
                  <a:lnTo>
                    <a:pt x="92" y="254"/>
                  </a:lnTo>
                  <a:lnTo>
                    <a:pt x="92" y="254"/>
                  </a:lnTo>
                  <a:lnTo>
                    <a:pt x="90" y="252"/>
                  </a:lnTo>
                  <a:lnTo>
                    <a:pt x="88" y="252"/>
                  </a:lnTo>
                  <a:lnTo>
                    <a:pt x="88" y="252"/>
                  </a:lnTo>
                  <a:lnTo>
                    <a:pt x="88" y="250"/>
                  </a:lnTo>
                  <a:lnTo>
                    <a:pt x="88" y="250"/>
                  </a:lnTo>
                  <a:lnTo>
                    <a:pt x="88" y="250"/>
                  </a:lnTo>
                  <a:lnTo>
                    <a:pt x="88" y="250"/>
                  </a:lnTo>
                  <a:lnTo>
                    <a:pt x="90" y="248"/>
                  </a:lnTo>
                  <a:lnTo>
                    <a:pt x="90" y="248"/>
                  </a:lnTo>
                  <a:lnTo>
                    <a:pt x="90" y="246"/>
                  </a:lnTo>
                  <a:lnTo>
                    <a:pt x="90" y="246"/>
                  </a:lnTo>
                  <a:lnTo>
                    <a:pt x="90" y="246"/>
                  </a:lnTo>
                  <a:lnTo>
                    <a:pt x="88" y="244"/>
                  </a:lnTo>
                  <a:lnTo>
                    <a:pt x="86" y="244"/>
                  </a:lnTo>
                  <a:lnTo>
                    <a:pt x="86" y="244"/>
                  </a:lnTo>
                  <a:lnTo>
                    <a:pt x="86" y="244"/>
                  </a:lnTo>
                  <a:lnTo>
                    <a:pt x="86" y="244"/>
                  </a:lnTo>
                  <a:lnTo>
                    <a:pt x="84" y="244"/>
                  </a:lnTo>
                  <a:lnTo>
                    <a:pt x="84" y="244"/>
                  </a:lnTo>
                  <a:lnTo>
                    <a:pt x="82" y="246"/>
                  </a:lnTo>
                  <a:lnTo>
                    <a:pt x="80" y="246"/>
                  </a:lnTo>
                  <a:lnTo>
                    <a:pt x="80" y="246"/>
                  </a:lnTo>
                  <a:lnTo>
                    <a:pt x="80" y="246"/>
                  </a:lnTo>
                  <a:lnTo>
                    <a:pt x="80" y="246"/>
                  </a:lnTo>
                  <a:lnTo>
                    <a:pt x="80" y="244"/>
                  </a:lnTo>
                  <a:lnTo>
                    <a:pt x="80" y="244"/>
                  </a:lnTo>
                  <a:lnTo>
                    <a:pt x="80" y="242"/>
                  </a:lnTo>
                  <a:lnTo>
                    <a:pt x="80" y="242"/>
                  </a:lnTo>
                  <a:lnTo>
                    <a:pt x="80" y="240"/>
                  </a:lnTo>
                  <a:lnTo>
                    <a:pt x="80" y="240"/>
                  </a:lnTo>
                  <a:lnTo>
                    <a:pt x="80" y="240"/>
                  </a:lnTo>
                  <a:lnTo>
                    <a:pt x="80" y="240"/>
                  </a:lnTo>
                  <a:lnTo>
                    <a:pt x="78" y="238"/>
                  </a:lnTo>
                  <a:lnTo>
                    <a:pt x="76" y="238"/>
                  </a:lnTo>
                  <a:lnTo>
                    <a:pt x="76" y="236"/>
                  </a:lnTo>
                  <a:lnTo>
                    <a:pt x="74" y="236"/>
                  </a:lnTo>
                  <a:lnTo>
                    <a:pt x="74" y="234"/>
                  </a:lnTo>
                  <a:lnTo>
                    <a:pt x="72" y="234"/>
                  </a:lnTo>
                  <a:lnTo>
                    <a:pt x="69" y="232"/>
                  </a:lnTo>
                  <a:lnTo>
                    <a:pt x="69" y="232"/>
                  </a:lnTo>
                  <a:lnTo>
                    <a:pt x="69" y="230"/>
                  </a:lnTo>
                  <a:lnTo>
                    <a:pt x="69" y="230"/>
                  </a:lnTo>
                  <a:lnTo>
                    <a:pt x="69" y="228"/>
                  </a:lnTo>
                  <a:lnTo>
                    <a:pt x="69" y="226"/>
                  </a:lnTo>
                  <a:lnTo>
                    <a:pt x="69" y="226"/>
                  </a:lnTo>
                  <a:lnTo>
                    <a:pt x="69" y="226"/>
                  </a:lnTo>
                  <a:lnTo>
                    <a:pt x="69" y="224"/>
                  </a:lnTo>
                  <a:lnTo>
                    <a:pt x="69" y="224"/>
                  </a:lnTo>
                  <a:lnTo>
                    <a:pt x="69" y="224"/>
                  </a:lnTo>
                  <a:lnTo>
                    <a:pt x="69" y="224"/>
                  </a:lnTo>
                  <a:lnTo>
                    <a:pt x="67" y="222"/>
                  </a:lnTo>
                  <a:lnTo>
                    <a:pt x="67" y="222"/>
                  </a:lnTo>
                  <a:lnTo>
                    <a:pt x="67" y="220"/>
                  </a:lnTo>
                  <a:lnTo>
                    <a:pt x="65" y="218"/>
                  </a:lnTo>
                  <a:lnTo>
                    <a:pt x="65" y="218"/>
                  </a:lnTo>
                  <a:lnTo>
                    <a:pt x="65" y="215"/>
                  </a:lnTo>
                  <a:lnTo>
                    <a:pt x="63" y="215"/>
                  </a:lnTo>
                  <a:lnTo>
                    <a:pt x="61" y="215"/>
                  </a:lnTo>
                  <a:lnTo>
                    <a:pt x="61" y="215"/>
                  </a:lnTo>
                  <a:lnTo>
                    <a:pt x="61" y="213"/>
                  </a:lnTo>
                  <a:lnTo>
                    <a:pt x="61" y="213"/>
                  </a:lnTo>
                  <a:lnTo>
                    <a:pt x="61" y="213"/>
                  </a:lnTo>
                  <a:lnTo>
                    <a:pt x="61" y="211"/>
                  </a:lnTo>
                  <a:lnTo>
                    <a:pt x="61" y="211"/>
                  </a:lnTo>
                  <a:lnTo>
                    <a:pt x="55" y="203"/>
                  </a:lnTo>
                  <a:lnTo>
                    <a:pt x="53" y="201"/>
                  </a:lnTo>
                  <a:lnTo>
                    <a:pt x="53" y="197"/>
                  </a:lnTo>
                  <a:lnTo>
                    <a:pt x="51" y="197"/>
                  </a:lnTo>
                  <a:lnTo>
                    <a:pt x="49" y="195"/>
                  </a:lnTo>
                  <a:lnTo>
                    <a:pt x="49" y="195"/>
                  </a:lnTo>
                  <a:lnTo>
                    <a:pt x="49" y="193"/>
                  </a:lnTo>
                  <a:lnTo>
                    <a:pt x="49" y="193"/>
                  </a:lnTo>
                  <a:lnTo>
                    <a:pt x="47" y="193"/>
                  </a:lnTo>
                  <a:lnTo>
                    <a:pt x="47" y="193"/>
                  </a:lnTo>
                  <a:lnTo>
                    <a:pt x="47" y="191"/>
                  </a:lnTo>
                  <a:lnTo>
                    <a:pt x="47" y="191"/>
                  </a:lnTo>
                  <a:lnTo>
                    <a:pt x="47" y="189"/>
                  </a:lnTo>
                  <a:lnTo>
                    <a:pt x="47" y="189"/>
                  </a:lnTo>
                  <a:lnTo>
                    <a:pt x="45" y="189"/>
                  </a:lnTo>
                  <a:lnTo>
                    <a:pt x="45" y="189"/>
                  </a:lnTo>
                  <a:lnTo>
                    <a:pt x="45" y="187"/>
                  </a:lnTo>
                  <a:lnTo>
                    <a:pt x="45" y="187"/>
                  </a:lnTo>
                  <a:lnTo>
                    <a:pt x="43" y="185"/>
                  </a:lnTo>
                  <a:lnTo>
                    <a:pt x="43" y="185"/>
                  </a:lnTo>
                  <a:lnTo>
                    <a:pt x="43" y="183"/>
                  </a:lnTo>
                  <a:lnTo>
                    <a:pt x="37" y="181"/>
                  </a:lnTo>
                  <a:lnTo>
                    <a:pt x="33" y="179"/>
                  </a:lnTo>
                  <a:lnTo>
                    <a:pt x="31" y="179"/>
                  </a:lnTo>
                  <a:lnTo>
                    <a:pt x="31" y="179"/>
                  </a:lnTo>
                  <a:lnTo>
                    <a:pt x="31" y="177"/>
                  </a:lnTo>
                  <a:lnTo>
                    <a:pt x="31" y="177"/>
                  </a:lnTo>
                  <a:lnTo>
                    <a:pt x="29" y="174"/>
                  </a:lnTo>
                  <a:lnTo>
                    <a:pt x="29" y="172"/>
                  </a:lnTo>
                  <a:lnTo>
                    <a:pt x="26" y="168"/>
                  </a:lnTo>
                  <a:lnTo>
                    <a:pt x="26" y="168"/>
                  </a:lnTo>
                  <a:lnTo>
                    <a:pt x="20" y="164"/>
                  </a:lnTo>
                  <a:lnTo>
                    <a:pt x="18" y="162"/>
                  </a:lnTo>
                  <a:lnTo>
                    <a:pt x="16" y="162"/>
                  </a:lnTo>
                  <a:lnTo>
                    <a:pt x="16" y="162"/>
                  </a:lnTo>
                  <a:lnTo>
                    <a:pt x="16" y="160"/>
                  </a:lnTo>
                  <a:lnTo>
                    <a:pt x="16" y="160"/>
                  </a:lnTo>
                  <a:lnTo>
                    <a:pt x="16" y="160"/>
                  </a:lnTo>
                  <a:lnTo>
                    <a:pt x="16" y="160"/>
                  </a:lnTo>
                  <a:lnTo>
                    <a:pt x="16" y="160"/>
                  </a:lnTo>
                  <a:lnTo>
                    <a:pt x="18" y="160"/>
                  </a:lnTo>
                  <a:lnTo>
                    <a:pt x="20" y="160"/>
                  </a:lnTo>
                  <a:lnTo>
                    <a:pt x="22" y="160"/>
                  </a:lnTo>
                  <a:lnTo>
                    <a:pt x="22" y="160"/>
                  </a:lnTo>
                  <a:lnTo>
                    <a:pt x="22" y="160"/>
                  </a:lnTo>
                  <a:lnTo>
                    <a:pt x="22" y="160"/>
                  </a:lnTo>
                  <a:lnTo>
                    <a:pt x="22" y="158"/>
                  </a:lnTo>
                  <a:lnTo>
                    <a:pt x="22" y="158"/>
                  </a:lnTo>
                  <a:lnTo>
                    <a:pt x="22" y="158"/>
                  </a:lnTo>
                  <a:lnTo>
                    <a:pt x="20" y="156"/>
                  </a:lnTo>
                  <a:lnTo>
                    <a:pt x="20" y="156"/>
                  </a:lnTo>
                  <a:lnTo>
                    <a:pt x="20" y="156"/>
                  </a:lnTo>
                  <a:lnTo>
                    <a:pt x="20" y="154"/>
                  </a:lnTo>
                  <a:lnTo>
                    <a:pt x="20" y="152"/>
                  </a:lnTo>
                  <a:lnTo>
                    <a:pt x="20" y="152"/>
                  </a:lnTo>
                  <a:lnTo>
                    <a:pt x="18" y="150"/>
                  </a:lnTo>
                  <a:lnTo>
                    <a:pt x="16" y="150"/>
                  </a:lnTo>
                  <a:lnTo>
                    <a:pt x="16" y="150"/>
                  </a:lnTo>
                  <a:lnTo>
                    <a:pt x="18" y="150"/>
                  </a:lnTo>
                  <a:lnTo>
                    <a:pt x="18" y="148"/>
                  </a:lnTo>
                  <a:lnTo>
                    <a:pt x="20" y="148"/>
                  </a:lnTo>
                  <a:lnTo>
                    <a:pt x="20" y="148"/>
                  </a:lnTo>
                  <a:lnTo>
                    <a:pt x="20" y="148"/>
                  </a:lnTo>
                  <a:lnTo>
                    <a:pt x="20" y="148"/>
                  </a:lnTo>
                  <a:lnTo>
                    <a:pt x="22" y="146"/>
                  </a:lnTo>
                  <a:lnTo>
                    <a:pt x="22" y="146"/>
                  </a:lnTo>
                  <a:lnTo>
                    <a:pt x="22" y="144"/>
                  </a:lnTo>
                  <a:lnTo>
                    <a:pt x="22" y="144"/>
                  </a:lnTo>
                  <a:lnTo>
                    <a:pt x="20" y="140"/>
                  </a:lnTo>
                  <a:lnTo>
                    <a:pt x="20" y="140"/>
                  </a:lnTo>
                  <a:lnTo>
                    <a:pt x="20" y="138"/>
                  </a:lnTo>
                  <a:lnTo>
                    <a:pt x="20" y="136"/>
                  </a:lnTo>
                  <a:lnTo>
                    <a:pt x="20" y="136"/>
                  </a:lnTo>
                  <a:lnTo>
                    <a:pt x="20" y="133"/>
                  </a:lnTo>
                  <a:lnTo>
                    <a:pt x="20" y="133"/>
                  </a:lnTo>
                  <a:lnTo>
                    <a:pt x="18" y="131"/>
                  </a:lnTo>
                  <a:lnTo>
                    <a:pt x="16" y="131"/>
                  </a:lnTo>
                  <a:lnTo>
                    <a:pt x="16" y="131"/>
                  </a:lnTo>
                  <a:lnTo>
                    <a:pt x="16" y="129"/>
                  </a:lnTo>
                  <a:lnTo>
                    <a:pt x="16" y="129"/>
                  </a:lnTo>
                  <a:lnTo>
                    <a:pt x="16" y="129"/>
                  </a:lnTo>
                  <a:lnTo>
                    <a:pt x="14" y="127"/>
                  </a:lnTo>
                  <a:lnTo>
                    <a:pt x="14" y="127"/>
                  </a:lnTo>
                  <a:lnTo>
                    <a:pt x="14" y="125"/>
                  </a:lnTo>
                  <a:lnTo>
                    <a:pt x="12" y="121"/>
                  </a:lnTo>
                  <a:lnTo>
                    <a:pt x="12" y="119"/>
                  </a:lnTo>
                  <a:lnTo>
                    <a:pt x="12" y="119"/>
                  </a:lnTo>
                  <a:lnTo>
                    <a:pt x="12" y="119"/>
                  </a:lnTo>
                  <a:lnTo>
                    <a:pt x="10" y="117"/>
                  </a:lnTo>
                  <a:lnTo>
                    <a:pt x="10" y="117"/>
                  </a:lnTo>
                  <a:lnTo>
                    <a:pt x="8" y="115"/>
                  </a:lnTo>
                  <a:lnTo>
                    <a:pt x="8" y="115"/>
                  </a:lnTo>
                  <a:lnTo>
                    <a:pt x="8" y="113"/>
                  </a:lnTo>
                  <a:lnTo>
                    <a:pt x="6" y="113"/>
                  </a:lnTo>
                  <a:lnTo>
                    <a:pt x="6" y="113"/>
                  </a:lnTo>
                  <a:lnTo>
                    <a:pt x="6" y="111"/>
                  </a:lnTo>
                  <a:lnTo>
                    <a:pt x="4" y="109"/>
                  </a:lnTo>
                  <a:lnTo>
                    <a:pt x="4" y="107"/>
                  </a:lnTo>
                  <a:lnTo>
                    <a:pt x="2" y="105"/>
                  </a:lnTo>
                  <a:lnTo>
                    <a:pt x="0" y="103"/>
                  </a:lnTo>
                  <a:lnTo>
                    <a:pt x="0" y="101"/>
                  </a:lnTo>
                  <a:lnTo>
                    <a:pt x="0" y="101"/>
                  </a:lnTo>
                  <a:lnTo>
                    <a:pt x="0" y="97"/>
                  </a:lnTo>
                  <a:lnTo>
                    <a:pt x="2" y="84"/>
                  </a:lnTo>
                  <a:lnTo>
                    <a:pt x="4" y="72"/>
                  </a:lnTo>
                  <a:lnTo>
                    <a:pt x="6" y="60"/>
                  </a:lnTo>
                  <a:lnTo>
                    <a:pt x="8" y="47"/>
                  </a:lnTo>
                  <a:lnTo>
                    <a:pt x="10" y="37"/>
                  </a:lnTo>
                  <a:lnTo>
                    <a:pt x="10" y="25"/>
                  </a:lnTo>
                  <a:lnTo>
                    <a:pt x="12" y="13"/>
                  </a:lnTo>
                  <a:lnTo>
                    <a:pt x="14" y="0"/>
                  </a:lnTo>
                  <a:lnTo>
                    <a:pt x="31" y="2"/>
                  </a:lnTo>
                  <a:lnTo>
                    <a:pt x="47" y="4"/>
                  </a:lnTo>
                  <a:lnTo>
                    <a:pt x="63" y="8"/>
                  </a:lnTo>
                  <a:lnTo>
                    <a:pt x="80" y="11"/>
                  </a:lnTo>
                  <a:lnTo>
                    <a:pt x="96" y="13"/>
                  </a:lnTo>
                  <a:lnTo>
                    <a:pt x="112" y="15"/>
                  </a:lnTo>
                  <a:lnTo>
                    <a:pt x="129" y="17"/>
                  </a:lnTo>
                  <a:lnTo>
                    <a:pt x="145" y="19"/>
                  </a:lnTo>
                  <a:lnTo>
                    <a:pt x="162" y="21"/>
                  </a:lnTo>
                  <a:lnTo>
                    <a:pt x="162" y="21"/>
                  </a:lnTo>
                  <a:lnTo>
                    <a:pt x="178" y="23"/>
                  </a:lnTo>
                  <a:lnTo>
                    <a:pt x="194" y="25"/>
                  </a:lnTo>
                  <a:lnTo>
                    <a:pt x="211" y="27"/>
                  </a:lnTo>
                  <a:lnTo>
                    <a:pt x="227" y="29"/>
                  </a:lnTo>
                  <a:lnTo>
                    <a:pt x="244" y="31"/>
                  </a:lnTo>
                  <a:lnTo>
                    <a:pt x="260" y="33"/>
                  </a:lnTo>
                  <a:lnTo>
                    <a:pt x="276" y="35"/>
                  </a:lnTo>
                  <a:lnTo>
                    <a:pt x="293" y="37"/>
                  </a:lnTo>
                  <a:lnTo>
                    <a:pt x="309" y="39"/>
                  </a:lnTo>
                  <a:lnTo>
                    <a:pt x="325" y="39"/>
                  </a:lnTo>
                  <a:lnTo>
                    <a:pt x="342" y="41"/>
                  </a:lnTo>
                  <a:lnTo>
                    <a:pt x="358" y="43"/>
                  </a:lnTo>
                  <a:lnTo>
                    <a:pt x="375" y="45"/>
                  </a:lnTo>
                  <a:lnTo>
                    <a:pt x="391" y="47"/>
                  </a:lnTo>
                  <a:lnTo>
                    <a:pt x="407" y="49"/>
                  </a:lnTo>
                  <a:lnTo>
                    <a:pt x="424" y="49"/>
                  </a:lnTo>
                  <a:lnTo>
                    <a:pt x="440" y="52"/>
                  </a:lnTo>
                  <a:lnTo>
                    <a:pt x="457" y="54"/>
                  </a:lnTo>
                  <a:lnTo>
                    <a:pt x="467" y="54"/>
                  </a:lnTo>
                  <a:lnTo>
                    <a:pt x="473" y="56"/>
                  </a:lnTo>
                  <a:lnTo>
                    <a:pt x="491" y="56"/>
                  </a:lnTo>
                  <a:lnTo>
                    <a:pt x="508" y="58"/>
                  </a:lnTo>
                  <a:lnTo>
                    <a:pt x="524" y="60"/>
                  </a:lnTo>
                  <a:lnTo>
                    <a:pt x="541" y="60"/>
                  </a:lnTo>
                  <a:lnTo>
                    <a:pt x="557" y="62"/>
                  </a:lnTo>
                  <a:lnTo>
                    <a:pt x="573" y="64"/>
                  </a:lnTo>
                  <a:lnTo>
                    <a:pt x="590" y="64"/>
                  </a:lnTo>
                  <a:lnTo>
                    <a:pt x="606" y="66"/>
                  </a:lnTo>
                  <a:lnTo>
                    <a:pt x="622" y="66"/>
                  </a:lnTo>
                  <a:lnTo>
                    <a:pt x="639" y="68"/>
                  </a:lnTo>
                  <a:lnTo>
                    <a:pt x="655" y="70"/>
                  </a:lnTo>
                  <a:lnTo>
                    <a:pt x="672" y="70"/>
                  </a:lnTo>
                  <a:lnTo>
                    <a:pt x="688" y="72"/>
                  </a:lnTo>
                  <a:lnTo>
                    <a:pt x="704" y="72"/>
                  </a:lnTo>
                  <a:lnTo>
                    <a:pt x="721" y="74"/>
                  </a:lnTo>
                  <a:lnTo>
                    <a:pt x="737" y="74"/>
                  </a:lnTo>
                  <a:lnTo>
                    <a:pt x="756" y="76"/>
                  </a:lnTo>
                  <a:lnTo>
                    <a:pt x="772" y="76"/>
                  </a:lnTo>
                  <a:lnTo>
                    <a:pt x="788" y="76"/>
                  </a:lnTo>
                  <a:lnTo>
                    <a:pt x="805" y="78"/>
                  </a:lnTo>
                  <a:lnTo>
                    <a:pt x="821" y="78"/>
                  </a:lnTo>
                  <a:lnTo>
                    <a:pt x="837" y="80"/>
                  </a:lnTo>
                  <a:lnTo>
                    <a:pt x="854" y="80"/>
                  </a:lnTo>
                  <a:lnTo>
                    <a:pt x="870" y="80"/>
                  </a:lnTo>
                  <a:lnTo>
                    <a:pt x="887" y="82"/>
                  </a:lnTo>
                  <a:lnTo>
                    <a:pt x="903" y="82"/>
                  </a:lnTo>
                  <a:lnTo>
                    <a:pt x="915" y="82"/>
                  </a:lnTo>
                  <a:lnTo>
                    <a:pt x="915" y="103"/>
                  </a:lnTo>
                  <a:lnTo>
                    <a:pt x="913" y="121"/>
                  </a:lnTo>
                  <a:lnTo>
                    <a:pt x="913" y="142"/>
                  </a:lnTo>
                  <a:lnTo>
                    <a:pt x="913" y="160"/>
                  </a:lnTo>
                  <a:lnTo>
                    <a:pt x="911" y="181"/>
                  </a:lnTo>
                  <a:lnTo>
                    <a:pt x="911" y="199"/>
                  </a:lnTo>
                  <a:lnTo>
                    <a:pt x="911" y="220"/>
                  </a:lnTo>
                  <a:lnTo>
                    <a:pt x="911" y="238"/>
                  </a:lnTo>
                  <a:lnTo>
                    <a:pt x="909" y="259"/>
                  </a:lnTo>
                  <a:lnTo>
                    <a:pt x="909" y="279"/>
                  </a:lnTo>
                  <a:lnTo>
                    <a:pt x="909" y="297"/>
                  </a:lnTo>
                  <a:lnTo>
                    <a:pt x="907" y="318"/>
                  </a:lnTo>
                  <a:lnTo>
                    <a:pt x="907" y="338"/>
                  </a:lnTo>
                  <a:lnTo>
                    <a:pt x="907" y="357"/>
                  </a:lnTo>
                  <a:lnTo>
                    <a:pt x="905" y="377"/>
                  </a:lnTo>
                  <a:lnTo>
                    <a:pt x="905" y="398"/>
                  </a:lnTo>
                  <a:lnTo>
                    <a:pt x="905" y="39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T</a:t>
              </a:r>
            </a:p>
          </p:txBody>
        </p:sp>
        <p:sp>
          <p:nvSpPr>
            <p:cNvPr id="319" name="Freeform 30">
              <a:extLst>
                <a:ext uri="{FF2B5EF4-FFF2-40B4-BE49-F238E27FC236}">
                  <a16:creationId xmlns:a16="http://schemas.microsoft.com/office/drawing/2014/main" id="{326014E8-5375-660B-0762-7C5A4A717935}"/>
                </a:ext>
              </a:extLst>
            </p:cNvPr>
            <p:cNvSpPr>
              <a:spLocks noEditPoints="1"/>
            </p:cNvSpPr>
            <p:nvPr/>
          </p:nvSpPr>
          <p:spPr bwMode="auto">
            <a:xfrm>
              <a:off x="3502" y="1603"/>
              <a:ext cx="309" cy="535"/>
            </a:xfrm>
            <a:custGeom>
              <a:avLst/>
              <a:gdLst>
                <a:gd name="T0" fmla="*/ 245 w 309"/>
                <a:gd name="T1" fmla="*/ 522 h 535"/>
                <a:gd name="T2" fmla="*/ 247 w 309"/>
                <a:gd name="T3" fmla="*/ 524 h 535"/>
                <a:gd name="T4" fmla="*/ 247 w 309"/>
                <a:gd name="T5" fmla="*/ 518 h 535"/>
                <a:gd name="T6" fmla="*/ 258 w 309"/>
                <a:gd name="T7" fmla="*/ 522 h 535"/>
                <a:gd name="T8" fmla="*/ 309 w 309"/>
                <a:gd name="T9" fmla="*/ 516 h 535"/>
                <a:gd name="T10" fmla="*/ 299 w 309"/>
                <a:gd name="T11" fmla="*/ 436 h 535"/>
                <a:gd name="T12" fmla="*/ 286 w 309"/>
                <a:gd name="T13" fmla="*/ 346 h 535"/>
                <a:gd name="T14" fmla="*/ 284 w 309"/>
                <a:gd name="T15" fmla="*/ 297 h 535"/>
                <a:gd name="T16" fmla="*/ 284 w 309"/>
                <a:gd name="T17" fmla="*/ 190 h 535"/>
                <a:gd name="T18" fmla="*/ 284 w 309"/>
                <a:gd name="T19" fmla="*/ 65 h 535"/>
                <a:gd name="T20" fmla="*/ 284 w 309"/>
                <a:gd name="T21" fmla="*/ 10 h 535"/>
                <a:gd name="T22" fmla="*/ 249 w 309"/>
                <a:gd name="T23" fmla="*/ 4 h 535"/>
                <a:gd name="T24" fmla="*/ 157 w 309"/>
                <a:gd name="T25" fmla="*/ 12 h 535"/>
                <a:gd name="T26" fmla="*/ 92 w 309"/>
                <a:gd name="T27" fmla="*/ 22 h 535"/>
                <a:gd name="T28" fmla="*/ 77 w 309"/>
                <a:gd name="T29" fmla="*/ 45 h 535"/>
                <a:gd name="T30" fmla="*/ 67 w 309"/>
                <a:gd name="T31" fmla="*/ 55 h 535"/>
                <a:gd name="T32" fmla="*/ 61 w 309"/>
                <a:gd name="T33" fmla="*/ 88 h 535"/>
                <a:gd name="T34" fmla="*/ 55 w 309"/>
                <a:gd name="T35" fmla="*/ 94 h 535"/>
                <a:gd name="T36" fmla="*/ 49 w 309"/>
                <a:gd name="T37" fmla="*/ 98 h 535"/>
                <a:gd name="T38" fmla="*/ 38 w 309"/>
                <a:gd name="T39" fmla="*/ 116 h 535"/>
                <a:gd name="T40" fmla="*/ 32 w 309"/>
                <a:gd name="T41" fmla="*/ 131 h 535"/>
                <a:gd name="T42" fmla="*/ 32 w 309"/>
                <a:gd name="T43" fmla="*/ 141 h 535"/>
                <a:gd name="T44" fmla="*/ 28 w 309"/>
                <a:gd name="T45" fmla="*/ 155 h 535"/>
                <a:gd name="T46" fmla="*/ 18 w 309"/>
                <a:gd name="T47" fmla="*/ 168 h 535"/>
                <a:gd name="T48" fmla="*/ 20 w 309"/>
                <a:gd name="T49" fmla="*/ 178 h 535"/>
                <a:gd name="T50" fmla="*/ 28 w 309"/>
                <a:gd name="T51" fmla="*/ 190 h 535"/>
                <a:gd name="T52" fmla="*/ 30 w 309"/>
                <a:gd name="T53" fmla="*/ 209 h 535"/>
                <a:gd name="T54" fmla="*/ 30 w 309"/>
                <a:gd name="T55" fmla="*/ 225 h 535"/>
                <a:gd name="T56" fmla="*/ 34 w 309"/>
                <a:gd name="T57" fmla="*/ 244 h 535"/>
                <a:gd name="T58" fmla="*/ 34 w 309"/>
                <a:gd name="T59" fmla="*/ 256 h 535"/>
                <a:gd name="T60" fmla="*/ 38 w 309"/>
                <a:gd name="T61" fmla="*/ 272 h 535"/>
                <a:gd name="T62" fmla="*/ 34 w 309"/>
                <a:gd name="T63" fmla="*/ 282 h 535"/>
                <a:gd name="T64" fmla="*/ 38 w 309"/>
                <a:gd name="T65" fmla="*/ 295 h 535"/>
                <a:gd name="T66" fmla="*/ 53 w 309"/>
                <a:gd name="T67" fmla="*/ 309 h 535"/>
                <a:gd name="T68" fmla="*/ 51 w 309"/>
                <a:gd name="T69" fmla="*/ 325 h 535"/>
                <a:gd name="T70" fmla="*/ 47 w 309"/>
                <a:gd name="T71" fmla="*/ 342 h 535"/>
                <a:gd name="T72" fmla="*/ 32 w 309"/>
                <a:gd name="T73" fmla="*/ 360 h 535"/>
                <a:gd name="T74" fmla="*/ 18 w 309"/>
                <a:gd name="T75" fmla="*/ 377 h 535"/>
                <a:gd name="T76" fmla="*/ 10 w 309"/>
                <a:gd name="T77" fmla="*/ 403 h 535"/>
                <a:gd name="T78" fmla="*/ 12 w 309"/>
                <a:gd name="T79" fmla="*/ 418 h 535"/>
                <a:gd name="T80" fmla="*/ 0 w 309"/>
                <a:gd name="T81" fmla="*/ 432 h 535"/>
                <a:gd name="T82" fmla="*/ 4 w 309"/>
                <a:gd name="T83" fmla="*/ 440 h 535"/>
                <a:gd name="T84" fmla="*/ 6 w 309"/>
                <a:gd name="T85" fmla="*/ 459 h 535"/>
                <a:gd name="T86" fmla="*/ 90 w 309"/>
                <a:gd name="T87" fmla="*/ 453 h 535"/>
                <a:gd name="T88" fmla="*/ 172 w 309"/>
                <a:gd name="T89" fmla="*/ 444 h 535"/>
                <a:gd name="T90" fmla="*/ 174 w 309"/>
                <a:gd name="T91" fmla="*/ 467 h 535"/>
                <a:gd name="T92" fmla="*/ 176 w 309"/>
                <a:gd name="T93" fmla="*/ 483 h 535"/>
                <a:gd name="T94" fmla="*/ 190 w 309"/>
                <a:gd name="T95" fmla="*/ 502 h 535"/>
                <a:gd name="T96" fmla="*/ 194 w 309"/>
                <a:gd name="T97" fmla="*/ 518 h 535"/>
                <a:gd name="T98" fmla="*/ 206 w 309"/>
                <a:gd name="T99" fmla="*/ 528 h 535"/>
                <a:gd name="T100" fmla="*/ 213 w 309"/>
                <a:gd name="T101" fmla="*/ 528 h 535"/>
                <a:gd name="T102" fmla="*/ 215 w 309"/>
                <a:gd name="T103" fmla="*/ 520 h 535"/>
                <a:gd name="T104" fmla="*/ 221 w 309"/>
                <a:gd name="T105" fmla="*/ 510 h 535"/>
                <a:gd name="T106" fmla="*/ 229 w 309"/>
                <a:gd name="T107" fmla="*/ 512 h 535"/>
                <a:gd name="T108" fmla="*/ 251 w 309"/>
                <a:gd name="T109" fmla="*/ 504 h 535"/>
                <a:gd name="T110" fmla="*/ 256 w 309"/>
                <a:gd name="T111" fmla="*/ 498 h 535"/>
                <a:gd name="T112" fmla="*/ 290 w 309"/>
                <a:gd name="T113" fmla="*/ 498 h 535"/>
                <a:gd name="T114" fmla="*/ 299 w 309"/>
                <a:gd name="T115" fmla="*/ 504 h 535"/>
                <a:gd name="T116" fmla="*/ 309 w 309"/>
                <a:gd name="T117" fmla="*/ 500 h 535"/>
                <a:gd name="T118" fmla="*/ 282 w 309"/>
                <a:gd name="T119" fmla="*/ 514 h 535"/>
                <a:gd name="T120" fmla="*/ 290 w 309"/>
                <a:gd name="T121" fmla="*/ 51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9" h="535">
                  <a:moveTo>
                    <a:pt x="247" y="518"/>
                  </a:moveTo>
                  <a:lnTo>
                    <a:pt x="247" y="520"/>
                  </a:lnTo>
                  <a:lnTo>
                    <a:pt x="245" y="520"/>
                  </a:lnTo>
                  <a:lnTo>
                    <a:pt x="241" y="520"/>
                  </a:lnTo>
                  <a:lnTo>
                    <a:pt x="241" y="522"/>
                  </a:lnTo>
                  <a:lnTo>
                    <a:pt x="243" y="520"/>
                  </a:lnTo>
                  <a:lnTo>
                    <a:pt x="245" y="520"/>
                  </a:lnTo>
                  <a:lnTo>
                    <a:pt x="245" y="522"/>
                  </a:lnTo>
                  <a:lnTo>
                    <a:pt x="245" y="522"/>
                  </a:lnTo>
                  <a:lnTo>
                    <a:pt x="247" y="522"/>
                  </a:lnTo>
                  <a:lnTo>
                    <a:pt x="247" y="522"/>
                  </a:lnTo>
                  <a:lnTo>
                    <a:pt x="245" y="524"/>
                  </a:lnTo>
                  <a:lnTo>
                    <a:pt x="245" y="524"/>
                  </a:lnTo>
                  <a:lnTo>
                    <a:pt x="245" y="524"/>
                  </a:lnTo>
                  <a:lnTo>
                    <a:pt x="247" y="524"/>
                  </a:lnTo>
                  <a:lnTo>
                    <a:pt x="247" y="524"/>
                  </a:lnTo>
                  <a:lnTo>
                    <a:pt x="247" y="524"/>
                  </a:lnTo>
                  <a:lnTo>
                    <a:pt x="249" y="520"/>
                  </a:lnTo>
                  <a:lnTo>
                    <a:pt x="249" y="520"/>
                  </a:lnTo>
                  <a:lnTo>
                    <a:pt x="249" y="518"/>
                  </a:lnTo>
                  <a:lnTo>
                    <a:pt x="249" y="518"/>
                  </a:lnTo>
                  <a:lnTo>
                    <a:pt x="249" y="518"/>
                  </a:lnTo>
                  <a:lnTo>
                    <a:pt x="249" y="518"/>
                  </a:lnTo>
                  <a:lnTo>
                    <a:pt x="247" y="518"/>
                  </a:lnTo>
                  <a:close/>
                  <a:moveTo>
                    <a:pt x="215" y="532"/>
                  </a:moveTo>
                  <a:lnTo>
                    <a:pt x="215" y="535"/>
                  </a:lnTo>
                  <a:lnTo>
                    <a:pt x="217" y="535"/>
                  </a:lnTo>
                  <a:lnTo>
                    <a:pt x="217" y="532"/>
                  </a:lnTo>
                  <a:lnTo>
                    <a:pt x="217" y="532"/>
                  </a:lnTo>
                  <a:lnTo>
                    <a:pt x="215" y="532"/>
                  </a:lnTo>
                  <a:close/>
                  <a:moveTo>
                    <a:pt x="258" y="522"/>
                  </a:moveTo>
                  <a:lnTo>
                    <a:pt x="258" y="522"/>
                  </a:lnTo>
                  <a:lnTo>
                    <a:pt x="260" y="520"/>
                  </a:lnTo>
                  <a:lnTo>
                    <a:pt x="262" y="520"/>
                  </a:lnTo>
                  <a:lnTo>
                    <a:pt x="260" y="520"/>
                  </a:lnTo>
                  <a:lnTo>
                    <a:pt x="258" y="522"/>
                  </a:lnTo>
                  <a:close/>
                  <a:moveTo>
                    <a:pt x="301" y="516"/>
                  </a:moveTo>
                  <a:lnTo>
                    <a:pt x="305" y="516"/>
                  </a:lnTo>
                  <a:lnTo>
                    <a:pt x="307" y="516"/>
                  </a:lnTo>
                  <a:lnTo>
                    <a:pt x="309" y="516"/>
                  </a:lnTo>
                  <a:lnTo>
                    <a:pt x="301" y="516"/>
                  </a:lnTo>
                  <a:lnTo>
                    <a:pt x="301" y="516"/>
                  </a:lnTo>
                  <a:close/>
                  <a:moveTo>
                    <a:pt x="309" y="498"/>
                  </a:moveTo>
                  <a:lnTo>
                    <a:pt x="305" y="477"/>
                  </a:lnTo>
                  <a:lnTo>
                    <a:pt x="305" y="467"/>
                  </a:lnTo>
                  <a:lnTo>
                    <a:pt x="303" y="457"/>
                  </a:lnTo>
                  <a:lnTo>
                    <a:pt x="301" y="446"/>
                  </a:lnTo>
                  <a:lnTo>
                    <a:pt x="299" y="436"/>
                  </a:lnTo>
                  <a:lnTo>
                    <a:pt x="296" y="428"/>
                  </a:lnTo>
                  <a:lnTo>
                    <a:pt x="296" y="418"/>
                  </a:lnTo>
                  <a:lnTo>
                    <a:pt x="292" y="397"/>
                  </a:lnTo>
                  <a:lnTo>
                    <a:pt x="292" y="387"/>
                  </a:lnTo>
                  <a:lnTo>
                    <a:pt x="290" y="377"/>
                  </a:lnTo>
                  <a:lnTo>
                    <a:pt x="288" y="366"/>
                  </a:lnTo>
                  <a:lnTo>
                    <a:pt x="286" y="356"/>
                  </a:lnTo>
                  <a:lnTo>
                    <a:pt x="286" y="346"/>
                  </a:lnTo>
                  <a:lnTo>
                    <a:pt x="284" y="338"/>
                  </a:lnTo>
                  <a:lnTo>
                    <a:pt x="284" y="336"/>
                  </a:lnTo>
                  <a:lnTo>
                    <a:pt x="284" y="334"/>
                  </a:lnTo>
                  <a:lnTo>
                    <a:pt x="284" y="330"/>
                  </a:lnTo>
                  <a:lnTo>
                    <a:pt x="284" y="323"/>
                  </a:lnTo>
                  <a:lnTo>
                    <a:pt x="284" y="315"/>
                  </a:lnTo>
                  <a:lnTo>
                    <a:pt x="284" y="307"/>
                  </a:lnTo>
                  <a:lnTo>
                    <a:pt x="284" y="297"/>
                  </a:lnTo>
                  <a:lnTo>
                    <a:pt x="284" y="287"/>
                  </a:lnTo>
                  <a:lnTo>
                    <a:pt x="284" y="274"/>
                  </a:lnTo>
                  <a:lnTo>
                    <a:pt x="284" y="262"/>
                  </a:lnTo>
                  <a:lnTo>
                    <a:pt x="284" y="250"/>
                  </a:lnTo>
                  <a:lnTo>
                    <a:pt x="284" y="235"/>
                  </a:lnTo>
                  <a:lnTo>
                    <a:pt x="284" y="221"/>
                  </a:lnTo>
                  <a:lnTo>
                    <a:pt x="284" y="207"/>
                  </a:lnTo>
                  <a:lnTo>
                    <a:pt x="284" y="190"/>
                  </a:lnTo>
                  <a:lnTo>
                    <a:pt x="284" y="162"/>
                  </a:lnTo>
                  <a:lnTo>
                    <a:pt x="284" y="145"/>
                  </a:lnTo>
                  <a:lnTo>
                    <a:pt x="284" y="131"/>
                  </a:lnTo>
                  <a:lnTo>
                    <a:pt x="284" y="116"/>
                  </a:lnTo>
                  <a:lnTo>
                    <a:pt x="284" y="102"/>
                  </a:lnTo>
                  <a:lnTo>
                    <a:pt x="284" y="90"/>
                  </a:lnTo>
                  <a:lnTo>
                    <a:pt x="284" y="78"/>
                  </a:lnTo>
                  <a:lnTo>
                    <a:pt x="284" y="65"/>
                  </a:lnTo>
                  <a:lnTo>
                    <a:pt x="284" y="55"/>
                  </a:lnTo>
                  <a:lnTo>
                    <a:pt x="284" y="45"/>
                  </a:lnTo>
                  <a:lnTo>
                    <a:pt x="284" y="37"/>
                  </a:lnTo>
                  <a:lnTo>
                    <a:pt x="284" y="28"/>
                  </a:lnTo>
                  <a:lnTo>
                    <a:pt x="284" y="18"/>
                  </a:lnTo>
                  <a:lnTo>
                    <a:pt x="284" y="16"/>
                  </a:lnTo>
                  <a:lnTo>
                    <a:pt x="284" y="10"/>
                  </a:lnTo>
                  <a:lnTo>
                    <a:pt x="284" y="10"/>
                  </a:lnTo>
                  <a:lnTo>
                    <a:pt x="284" y="10"/>
                  </a:lnTo>
                  <a:lnTo>
                    <a:pt x="280" y="8"/>
                  </a:lnTo>
                  <a:lnTo>
                    <a:pt x="278" y="4"/>
                  </a:lnTo>
                  <a:lnTo>
                    <a:pt x="276" y="0"/>
                  </a:lnTo>
                  <a:lnTo>
                    <a:pt x="276" y="0"/>
                  </a:lnTo>
                  <a:lnTo>
                    <a:pt x="272" y="0"/>
                  </a:lnTo>
                  <a:lnTo>
                    <a:pt x="260" y="2"/>
                  </a:lnTo>
                  <a:lnTo>
                    <a:pt x="249" y="4"/>
                  </a:lnTo>
                  <a:lnTo>
                    <a:pt x="237" y="4"/>
                  </a:lnTo>
                  <a:lnTo>
                    <a:pt x="227" y="6"/>
                  </a:lnTo>
                  <a:lnTo>
                    <a:pt x="215" y="6"/>
                  </a:lnTo>
                  <a:lnTo>
                    <a:pt x="202" y="8"/>
                  </a:lnTo>
                  <a:lnTo>
                    <a:pt x="192" y="8"/>
                  </a:lnTo>
                  <a:lnTo>
                    <a:pt x="180" y="10"/>
                  </a:lnTo>
                  <a:lnTo>
                    <a:pt x="169" y="12"/>
                  </a:lnTo>
                  <a:lnTo>
                    <a:pt x="157" y="12"/>
                  </a:lnTo>
                  <a:lnTo>
                    <a:pt x="145" y="14"/>
                  </a:lnTo>
                  <a:lnTo>
                    <a:pt x="135" y="14"/>
                  </a:lnTo>
                  <a:lnTo>
                    <a:pt x="122" y="16"/>
                  </a:lnTo>
                  <a:lnTo>
                    <a:pt x="112" y="16"/>
                  </a:lnTo>
                  <a:lnTo>
                    <a:pt x="100" y="18"/>
                  </a:lnTo>
                  <a:lnTo>
                    <a:pt x="88" y="18"/>
                  </a:lnTo>
                  <a:lnTo>
                    <a:pt x="90" y="18"/>
                  </a:lnTo>
                  <a:lnTo>
                    <a:pt x="92" y="22"/>
                  </a:lnTo>
                  <a:lnTo>
                    <a:pt x="92" y="26"/>
                  </a:lnTo>
                  <a:lnTo>
                    <a:pt x="90" y="30"/>
                  </a:lnTo>
                  <a:lnTo>
                    <a:pt x="86" y="32"/>
                  </a:lnTo>
                  <a:lnTo>
                    <a:pt x="75" y="39"/>
                  </a:lnTo>
                  <a:lnTo>
                    <a:pt x="75" y="39"/>
                  </a:lnTo>
                  <a:lnTo>
                    <a:pt x="75" y="41"/>
                  </a:lnTo>
                  <a:lnTo>
                    <a:pt x="77" y="43"/>
                  </a:lnTo>
                  <a:lnTo>
                    <a:pt x="77" y="45"/>
                  </a:lnTo>
                  <a:lnTo>
                    <a:pt x="75" y="47"/>
                  </a:lnTo>
                  <a:lnTo>
                    <a:pt x="75" y="49"/>
                  </a:lnTo>
                  <a:lnTo>
                    <a:pt x="73" y="49"/>
                  </a:lnTo>
                  <a:lnTo>
                    <a:pt x="71" y="49"/>
                  </a:lnTo>
                  <a:lnTo>
                    <a:pt x="69" y="47"/>
                  </a:lnTo>
                  <a:lnTo>
                    <a:pt x="69" y="49"/>
                  </a:lnTo>
                  <a:lnTo>
                    <a:pt x="67" y="51"/>
                  </a:lnTo>
                  <a:lnTo>
                    <a:pt x="67" y="55"/>
                  </a:lnTo>
                  <a:lnTo>
                    <a:pt x="67" y="59"/>
                  </a:lnTo>
                  <a:lnTo>
                    <a:pt x="69" y="65"/>
                  </a:lnTo>
                  <a:lnTo>
                    <a:pt x="69" y="75"/>
                  </a:lnTo>
                  <a:lnTo>
                    <a:pt x="69" y="80"/>
                  </a:lnTo>
                  <a:lnTo>
                    <a:pt x="69" y="82"/>
                  </a:lnTo>
                  <a:lnTo>
                    <a:pt x="65" y="86"/>
                  </a:lnTo>
                  <a:lnTo>
                    <a:pt x="63" y="88"/>
                  </a:lnTo>
                  <a:lnTo>
                    <a:pt x="61" y="88"/>
                  </a:lnTo>
                  <a:lnTo>
                    <a:pt x="57" y="90"/>
                  </a:lnTo>
                  <a:lnTo>
                    <a:pt x="55" y="90"/>
                  </a:lnTo>
                  <a:lnTo>
                    <a:pt x="55" y="90"/>
                  </a:lnTo>
                  <a:lnTo>
                    <a:pt x="53" y="88"/>
                  </a:lnTo>
                  <a:lnTo>
                    <a:pt x="53" y="90"/>
                  </a:lnTo>
                  <a:lnTo>
                    <a:pt x="53" y="90"/>
                  </a:lnTo>
                  <a:lnTo>
                    <a:pt x="55" y="92"/>
                  </a:lnTo>
                  <a:lnTo>
                    <a:pt x="55" y="94"/>
                  </a:lnTo>
                  <a:lnTo>
                    <a:pt x="55" y="94"/>
                  </a:lnTo>
                  <a:lnTo>
                    <a:pt x="55" y="96"/>
                  </a:lnTo>
                  <a:lnTo>
                    <a:pt x="55" y="98"/>
                  </a:lnTo>
                  <a:lnTo>
                    <a:pt x="53" y="98"/>
                  </a:lnTo>
                  <a:lnTo>
                    <a:pt x="53" y="100"/>
                  </a:lnTo>
                  <a:lnTo>
                    <a:pt x="53" y="100"/>
                  </a:lnTo>
                  <a:lnTo>
                    <a:pt x="51" y="98"/>
                  </a:lnTo>
                  <a:lnTo>
                    <a:pt x="49" y="98"/>
                  </a:lnTo>
                  <a:lnTo>
                    <a:pt x="49" y="98"/>
                  </a:lnTo>
                  <a:lnTo>
                    <a:pt x="49" y="100"/>
                  </a:lnTo>
                  <a:lnTo>
                    <a:pt x="47" y="108"/>
                  </a:lnTo>
                  <a:lnTo>
                    <a:pt x="45" y="108"/>
                  </a:lnTo>
                  <a:lnTo>
                    <a:pt x="45" y="110"/>
                  </a:lnTo>
                  <a:lnTo>
                    <a:pt x="38" y="112"/>
                  </a:lnTo>
                  <a:lnTo>
                    <a:pt x="38" y="114"/>
                  </a:lnTo>
                  <a:lnTo>
                    <a:pt x="38" y="116"/>
                  </a:lnTo>
                  <a:lnTo>
                    <a:pt x="45" y="118"/>
                  </a:lnTo>
                  <a:lnTo>
                    <a:pt x="47" y="123"/>
                  </a:lnTo>
                  <a:lnTo>
                    <a:pt x="45" y="125"/>
                  </a:lnTo>
                  <a:lnTo>
                    <a:pt x="43" y="127"/>
                  </a:lnTo>
                  <a:lnTo>
                    <a:pt x="43" y="127"/>
                  </a:lnTo>
                  <a:lnTo>
                    <a:pt x="40" y="127"/>
                  </a:lnTo>
                  <a:lnTo>
                    <a:pt x="38" y="127"/>
                  </a:lnTo>
                  <a:lnTo>
                    <a:pt x="32" y="131"/>
                  </a:lnTo>
                  <a:lnTo>
                    <a:pt x="28" y="133"/>
                  </a:lnTo>
                  <a:lnTo>
                    <a:pt x="28" y="133"/>
                  </a:lnTo>
                  <a:lnTo>
                    <a:pt x="28" y="135"/>
                  </a:lnTo>
                  <a:lnTo>
                    <a:pt x="28" y="135"/>
                  </a:lnTo>
                  <a:lnTo>
                    <a:pt x="30" y="135"/>
                  </a:lnTo>
                  <a:lnTo>
                    <a:pt x="32" y="137"/>
                  </a:lnTo>
                  <a:lnTo>
                    <a:pt x="32" y="139"/>
                  </a:lnTo>
                  <a:lnTo>
                    <a:pt x="32" y="141"/>
                  </a:lnTo>
                  <a:lnTo>
                    <a:pt x="30" y="143"/>
                  </a:lnTo>
                  <a:lnTo>
                    <a:pt x="32" y="147"/>
                  </a:lnTo>
                  <a:lnTo>
                    <a:pt x="32" y="149"/>
                  </a:lnTo>
                  <a:lnTo>
                    <a:pt x="32" y="151"/>
                  </a:lnTo>
                  <a:lnTo>
                    <a:pt x="32" y="153"/>
                  </a:lnTo>
                  <a:lnTo>
                    <a:pt x="32" y="153"/>
                  </a:lnTo>
                  <a:lnTo>
                    <a:pt x="28" y="155"/>
                  </a:lnTo>
                  <a:lnTo>
                    <a:pt x="28" y="155"/>
                  </a:lnTo>
                  <a:lnTo>
                    <a:pt x="28" y="155"/>
                  </a:lnTo>
                  <a:lnTo>
                    <a:pt x="26" y="157"/>
                  </a:lnTo>
                  <a:lnTo>
                    <a:pt x="24" y="157"/>
                  </a:lnTo>
                  <a:lnTo>
                    <a:pt x="24" y="159"/>
                  </a:lnTo>
                  <a:lnTo>
                    <a:pt x="22" y="164"/>
                  </a:lnTo>
                  <a:lnTo>
                    <a:pt x="20" y="166"/>
                  </a:lnTo>
                  <a:lnTo>
                    <a:pt x="18" y="166"/>
                  </a:lnTo>
                  <a:lnTo>
                    <a:pt x="18" y="168"/>
                  </a:lnTo>
                  <a:lnTo>
                    <a:pt x="20" y="170"/>
                  </a:lnTo>
                  <a:lnTo>
                    <a:pt x="24" y="170"/>
                  </a:lnTo>
                  <a:lnTo>
                    <a:pt x="26" y="172"/>
                  </a:lnTo>
                  <a:lnTo>
                    <a:pt x="26" y="174"/>
                  </a:lnTo>
                  <a:lnTo>
                    <a:pt x="26" y="176"/>
                  </a:lnTo>
                  <a:lnTo>
                    <a:pt x="24" y="178"/>
                  </a:lnTo>
                  <a:lnTo>
                    <a:pt x="22" y="178"/>
                  </a:lnTo>
                  <a:lnTo>
                    <a:pt x="20" y="178"/>
                  </a:lnTo>
                  <a:lnTo>
                    <a:pt x="18" y="180"/>
                  </a:lnTo>
                  <a:lnTo>
                    <a:pt x="18" y="182"/>
                  </a:lnTo>
                  <a:lnTo>
                    <a:pt x="20" y="182"/>
                  </a:lnTo>
                  <a:lnTo>
                    <a:pt x="22" y="184"/>
                  </a:lnTo>
                  <a:lnTo>
                    <a:pt x="24" y="184"/>
                  </a:lnTo>
                  <a:lnTo>
                    <a:pt x="26" y="186"/>
                  </a:lnTo>
                  <a:lnTo>
                    <a:pt x="28" y="188"/>
                  </a:lnTo>
                  <a:lnTo>
                    <a:pt x="28" y="190"/>
                  </a:lnTo>
                  <a:lnTo>
                    <a:pt x="30" y="192"/>
                  </a:lnTo>
                  <a:lnTo>
                    <a:pt x="30" y="196"/>
                  </a:lnTo>
                  <a:lnTo>
                    <a:pt x="28" y="198"/>
                  </a:lnTo>
                  <a:lnTo>
                    <a:pt x="26" y="203"/>
                  </a:lnTo>
                  <a:lnTo>
                    <a:pt x="26" y="205"/>
                  </a:lnTo>
                  <a:lnTo>
                    <a:pt x="26" y="207"/>
                  </a:lnTo>
                  <a:lnTo>
                    <a:pt x="28" y="207"/>
                  </a:lnTo>
                  <a:lnTo>
                    <a:pt x="30" y="209"/>
                  </a:lnTo>
                  <a:lnTo>
                    <a:pt x="32" y="209"/>
                  </a:lnTo>
                  <a:lnTo>
                    <a:pt x="32" y="211"/>
                  </a:lnTo>
                  <a:lnTo>
                    <a:pt x="32" y="217"/>
                  </a:lnTo>
                  <a:lnTo>
                    <a:pt x="34" y="219"/>
                  </a:lnTo>
                  <a:lnTo>
                    <a:pt x="34" y="221"/>
                  </a:lnTo>
                  <a:lnTo>
                    <a:pt x="34" y="223"/>
                  </a:lnTo>
                  <a:lnTo>
                    <a:pt x="32" y="225"/>
                  </a:lnTo>
                  <a:lnTo>
                    <a:pt x="30" y="225"/>
                  </a:lnTo>
                  <a:lnTo>
                    <a:pt x="30" y="225"/>
                  </a:lnTo>
                  <a:lnTo>
                    <a:pt x="28" y="227"/>
                  </a:lnTo>
                  <a:lnTo>
                    <a:pt x="30" y="237"/>
                  </a:lnTo>
                  <a:lnTo>
                    <a:pt x="30" y="241"/>
                  </a:lnTo>
                  <a:lnTo>
                    <a:pt x="30" y="244"/>
                  </a:lnTo>
                  <a:lnTo>
                    <a:pt x="32" y="244"/>
                  </a:lnTo>
                  <a:lnTo>
                    <a:pt x="32" y="244"/>
                  </a:lnTo>
                  <a:lnTo>
                    <a:pt x="34" y="244"/>
                  </a:lnTo>
                  <a:lnTo>
                    <a:pt x="36" y="244"/>
                  </a:lnTo>
                  <a:lnTo>
                    <a:pt x="36" y="246"/>
                  </a:lnTo>
                  <a:lnTo>
                    <a:pt x="38" y="248"/>
                  </a:lnTo>
                  <a:lnTo>
                    <a:pt x="38" y="250"/>
                  </a:lnTo>
                  <a:lnTo>
                    <a:pt x="36" y="252"/>
                  </a:lnTo>
                  <a:lnTo>
                    <a:pt x="36" y="254"/>
                  </a:lnTo>
                  <a:lnTo>
                    <a:pt x="34" y="254"/>
                  </a:lnTo>
                  <a:lnTo>
                    <a:pt x="34" y="256"/>
                  </a:lnTo>
                  <a:lnTo>
                    <a:pt x="32" y="260"/>
                  </a:lnTo>
                  <a:lnTo>
                    <a:pt x="32" y="264"/>
                  </a:lnTo>
                  <a:lnTo>
                    <a:pt x="32" y="266"/>
                  </a:lnTo>
                  <a:lnTo>
                    <a:pt x="34" y="266"/>
                  </a:lnTo>
                  <a:lnTo>
                    <a:pt x="38" y="268"/>
                  </a:lnTo>
                  <a:lnTo>
                    <a:pt x="40" y="268"/>
                  </a:lnTo>
                  <a:lnTo>
                    <a:pt x="40" y="270"/>
                  </a:lnTo>
                  <a:lnTo>
                    <a:pt x="38" y="272"/>
                  </a:lnTo>
                  <a:lnTo>
                    <a:pt x="38" y="272"/>
                  </a:lnTo>
                  <a:lnTo>
                    <a:pt x="34" y="274"/>
                  </a:lnTo>
                  <a:lnTo>
                    <a:pt x="32" y="274"/>
                  </a:lnTo>
                  <a:lnTo>
                    <a:pt x="32" y="276"/>
                  </a:lnTo>
                  <a:lnTo>
                    <a:pt x="32" y="278"/>
                  </a:lnTo>
                  <a:lnTo>
                    <a:pt x="32" y="280"/>
                  </a:lnTo>
                  <a:lnTo>
                    <a:pt x="34" y="282"/>
                  </a:lnTo>
                  <a:lnTo>
                    <a:pt x="34" y="282"/>
                  </a:lnTo>
                  <a:lnTo>
                    <a:pt x="36" y="284"/>
                  </a:lnTo>
                  <a:lnTo>
                    <a:pt x="38" y="284"/>
                  </a:lnTo>
                  <a:lnTo>
                    <a:pt x="38" y="287"/>
                  </a:lnTo>
                  <a:lnTo>
                    <a:pt x="40" y="287"/>
                  </a:lnTo>
                  <a:lnTo>
                    <a:pt x="38" y="289"/>
                  </a:lnTo>
                  <a:lnTo>
                    <a:pt x="38" y="291"/>
                  </a:lnTo>
                  <a:lnTo>
                    <a:pt x="38" y="291"/>
                  </a:lnTo>
                  <a:lnTo>
                    <a:pt x="38" y="295"/>
                  </a:lnTo>
                  <a:lnTo>
                    <a:pt x="40" y="297"/>
                  </a:lnTo>
                  <a:lnTo>
                    <a:pt x="40" y="299"/>
                  </a:lnTo>
                  <a:lnTo>
                    <a:pt x="45" y="301"/>
                  </a:lnTo>
                  <a:lnTo>
                    <a:pt x="47" y="301"/>
                  </a:lnTo>
                  <a:lnTo>
                    <a:pt x="49" y="303"/>
                  </a:lnTo>
                  <a:lnTo>
                    <a:pt x="51" y="307"/>
                  </a:lnTo>
                  <a:lnTo>
                    <a:pt x="51" y="307"/>
                  </a:lnTo>
                  <a:lnTo>
                    <a:pt x="53" y="309"/>
                  </a:lnTo>
                  <a:lnTo>
                    <a:pt x="55" y="309"/>
                  </a:lnTo>
                  <a:lnTo>
                    <a:pt x="57" y="309"/>
                  </a:lnTo>
                  <a:lnTo>
                    <a:pt x="59" y="311"/>
                  </a:lnTo>
                  <a:lnTo>
                    <a:pt x="59" y="313"/>
                  </a:lnTo>
                  <a:lnTo>
                    <a:pt x="57" y="313"/>
                  </a:lnTo>
                  <a:lnTo>
                    <a:pt x="57" y="313"/>
                  </a:lnTo>
                  <a:lnTo>
                    <a:pt x="55" y="317"/>
                  </a:lnTo>
                  <a:lnTo>
                    <a:pt x="51" y="325"/>
                  </a:lnTo>
                  <a:lnTo>
                    <a:pt x="49" y="332"/>
                  </a:lnTo>
                  <a:lnTo>
                    <a:pt x="45" y="332"/>
                  </a:lnTo>
                  <a:lnTo>
                    <a:pt x="43" y="332"/>
                  </a:lnTo>
                  <a:lnTo>
                    <a:pt x="43" y="334"/>
                  </a:lnTo>
                  <a:lnTo>
                    <a:pt x="43" y="334"/>
                  </a:lnTo>
                  <a:lnTo>
                    <a:pt x="43" y="334"/>
                  </a:lnTo>
                  <a:lnTo>
                    <a:pt x="47" y="338"/>
                  </a:lnTo>
                  <a:lnTo>
                    <a:pt x="47" y="342"/>
                  </a:lnTo>
                  <a:lnTo>
                    <a:pt x="45" y="346"/>
                  </a:lnTo>
                  <a:lnTo>
                    <a:pt x="43" y="348"/>
                  </a:lnTo>
                  <a:lnTo>
                    <a:pt x="38" y="350"/>
                  </a:lnTo>
                  <a:lnTo>
                    <a:pt x="38" y="350"/>
                  </a:lnTo>
                  <a:lnTo>
                    <a:pt x="38" y="350"/>
                  </a:lnTo>
                  <a:lnTo>
                    <a:pt x="36" y="354"/>
                  </a:lnTo>
                  <a:lnTo>
                    <a:pt x="36" y="354"/>
                  </a:lnTo>
                  <a:lnTo>
                    <a:pt x="32" y="360"/>
                  </a:lnTo>
                  <a:lnTo>
                    <a:pt x="30" y="360"/>
                  </a:lnTo>
                  <a:lnTo>
                    <a:pt x="28" y="362"/>
                  </a:lnTo>
                  <a:lnTo>
                    <a:pt x="26" y="362"/>
                  </a:lnTo>
                  <a:lnTo>
                    <a:pt x="24" y="364"/>
                  </a:lnTo>
                  <a:lnTo>
                    <a:pt x="22" y="366"/>
                  </a:lnTo>
                  <a:lnTo>
                    <a:pt x="22" y="369"/>
                  </a:lnTo>
                  <a:lnTo>
                    <a:pt x="20" y="373"/>
                  </a:lnTo>
                  <a:lnTo>
                    <a:pt x="18" y="377"/>
                  </a:lnTo>
                  <a:lnTo>
                    <a:pt x="18" y="379"/>
                  </a:lnTo>
                  <a:lnTo>
                    <a:pt x="18" y="381"/>
                  </a:lnTo>
                  <a:lnTo>
                    <a:pt x="18" y="391"/>
                  </a:lnTo>
                  <a:lnTo>
                    <a:pt x="18" y="393"/>
                  </a:lnTo>
                  <a:lnTo>
                    <a:pt x="18" y="395"/>
                  </a:lnTo>
                  <a:lnTo>
                    <a:pt x="18" y="395"/>
                  </a:lnTo>
                  <a:lnTo>
                    <a:pt x="12" y="401"/>
                  </a:lnTo>
                  <a:lnTo>
                    <a:pt x="10" y="403"/>
                  </a:lnTo>
                  <a:lnTo>
                    <a:pt x="10" y="409"/>
                  </a:lnTo>
                  <a:lnTo>
                    <a:pt x="10" y="409"/>
                  </a:lnTo>
                  <a:lnTo>
                    <a:pt x="12" y="409"/>
                  </a:lnTo>
                  <a:lnTo>
                    <a:pt x="12" y="414"/>
                  </a:lnTo>
                  <a:lnTo>
                    <a:pt x="14" y="414"/>
                  </a:lnTo>
                  <a:lnTo>
                    <a:pt x="14" y="416"/>
                  </a:lnTo>
                  <a:lnTo>
                    <a:pt x="12" y="416"/>
                  </a:lnTo>
                  <a:lnTo>
                    <a:pt x="12" y="418"/>
                  </a:lnTo>
                  <a:lnTo>
                    <a:pt x="12" y="424"/>
                  </a:lnTo>
                  <a:lnTo>
                    <a:pt x="12" y="426"/>
                  </a:lnTo>
                  <a:lnTo>
                    <a:pt x="10" y="428"/>
                  </a:lnTo>
                  <a:lnTo>
                    <a:pt x="8" y="428"/>
                  </a:lnTo>
                  <a:lnTo>
                    <a:pt x="4" y="428"/>
                  </a:lnTo>
                  <a:lnTo>
                    <a:pt x="2" y="428"/>
                  </a:lnTo>
                  <a:lnTo>
                    <a:pt x="0" y="430"/>
                  </a:lnTo>
                  <a:lnTo>
                    <a:pt x="0" y="432"/>
                  </a:lnTo>
                  <a:lnTo>
                    <a:pt x="2" y="434"/>
                  </a:lnTo>
                  <a:lnTo>
                    <a:pt x="4" y="434"/>
                  </a:lnTo>
                  <a:lnTo>
                    <a:pt x="4" y="436"/>
                  </a:lnTo>
                  <a:lnTo>
                    <a:pt x="4" y="436"/>
                  </a:lnTo>
                  <a:lnTo>
                    <a:pt x="4" y="438"/>
                  </a:lnTo>
                  <a:lnTo>
                    <a:pt x="4" y="438"/>
                  </a:lnTo>
                  <a:lnTo>
                    <a:pt x="4" y="438"/>
                  </a:lnTo>
                  <a:lnTo>
                    <a:pt x="4" y="440"/>
                  </a:lnTo>
                  <a:lnTo>
                    <a:pt x="4" y="442"/>
                  </a:lnTo>
                  <a:lnTo>
                    <a:pt x="4" y="442"/>
                  </a:lnTo>
                  <a:lnTo>
                    <a:pt x="4" y="446"/>
                  </a:lnTo>
                  <a:lnTo>
                    <a:pt x="8" y="448"/>
                  </a:lnTo>
                  <a:lnTo>
                    <a:pt x="8" y="453"/>
                  </a:lnTo>
                  <a:lnTo>
                    <a:pt x="2" y="459"/>
                  </a:lnTo>
                  <a:lnTo>
                    <a:pt x="2" y="459"/>
                  </a:lnTo>
                  <a:lnTo>
                    <a:pt x="6" y="459"/>
                  </a:lnTo>
                  <a:lnTo>
                    <a:pt x="8" y="459"/>
                  </a:lnTo>
                  <a:lnTo>
                    <a:pt x="14" y="459"/>
                  </a:lnTo>
                  <a:lnTo>
                    <a:pt x="22" y="457"/>
                  </a:lnTo>
                  <a:lnTo>
                    <a:pt x="32" y="457"/>
                  </a:lnTo>
                  <a:lnTo>
                    <a:pt x="45" y="455"/>
                  </a:lnTo>
                  <a:lnTo>
                    <a:pt x="59" y="455"/>
                  </a:lnTo>
                  <a:lnTo>
                    <a:pt x="73" y="453"/>
                  </a:lnTo>
                  <a:lnTo>
                    <a:pt x="90" y="453"/>
                  </a:lnTo>
                  <a:lnTo>
                    <a:pt x="104" y="450"/>
                  </a:lnTo>
                  <a:lnTo>
                    <a:pt x="118" y="448"/>
                  </a:lnTo>
                  <a:lnTo>
                    <a:pt x="133" y="448"/>
                  </a:lnTo>
                  <a:lnTo>
                    <a:pt x="145" y="446"/>
                  </a:lnTo>
                  <a:lnTo>
                    <a:pt x="155" y="446"/>
                  </a:lnTo>
                  <a:lnTo>
                    <a:pt x="163" y="444"/>
                  </a:lnTo>
                  <a:lnTo>
                    <a:pt x="169" y="444"/>
                  </a:lnTo>
                  <a:lnTo>
                    <a:pt x="172" y="444"/>
                  </a:lnTo>
                  <a:lnTo>
                    <a:pt x="176" y="444"/>
                  </a:lnTo>
                  <a:lnTo>
                    <a:pt x="178" y="444"/>
                  </a:lnTo>
                  <a:lnTo>
                    <a:pt x="180" y="444"/>
                  </a:lnTo>
                  <a:lnTo>
                    <a:pt x="180" y="448"/>
                  </a:lnTo>
                  <a:lnTo>
                    <a:pt x="178" y="453"/>
                  </a:lnTo>
                  <a:lnTo>
                    <a:pt x="176" y="457"/>
                  </a:lnTo>
                  <a:lnTo>
                    <a:pt x="176" y="463"/>
                  </a:lnTo>
                  <a:lnTo>
                    <a:pt x="174" y="467"/>
                  </a:lnTo>
                  <a:lnTo>
                    <a:pt x="174" y="469"/>
                  </a:lnTo>
                  <a:lnTo>
                    <a:pt x="174" y="471"/>
                  </a:lnTo>
                  <a:lnTo>
                    <a:pt x="172" y="475"/>
                  </a:lnTo>
                  <a:lnTo>
                    <a:pt x="172" y="477"/>
                  </a:lnTo>
                  <a:lnTo>
                    <a:pt x="172" y="479"/>
                  </a:lnTo>
                  <a:lnTo>
                    <a:pt x="174" y="481"/>
                  </a:lnTo>
                  <a:lnTo>
                    <a:pt x="174" y="481"/>
                  </a:lnTo>
                  <a:lnTo>
                    <a:pt x="176" y="483"/>
                  </a:lnTo>
                  <a:lnTo>
                    <a:pt x="174" y="485"/>
                  </a:lnTo>
                  <a:lnTo>
                    <a:pt x="178" y="491"/>
                  </a:lnTo>
                  <a:lnTo>
                    <a:pt x="178" y="491"/>
                  </a:lnTo>
                  <a:lnTo>
                    <a:pt x="182" y="494"/>
                  </a:lnTo>
                  <a:lnTo>
                    <a:pt x="184" y="494"/>
                  </a:lnTo>
                  <a:lnTo>
                    <a:pt x="184" y="498"/>
                  </a:lnTo>
                  <a:lnTo>
                    <a:pt x="188" y="500"/>
                  </a:lnTo>
                  <a:lnTo>
                    <a:pt x="190" y="502"/>
                  </a:lnTo>
                  <a:lnTo>
                    <a:pt x="190" y="502"/>
                  </a:lnTo>
                  <a:lnTo>
                    <a:pt x="190" y="504"/>
                  </a:lnTo>
                  <a:lnTo>
                    <a:pt x="190" y="506"/>
                  </a:lnTo>
                  <a:lnTo>
                    <a:pt x="190" y="506"/>
                  </a:lnTo>
                  <a:lnTo>
                    <a:pt x="190" y="508"/>
                  </a:lnTo>
                  <a:lnTo>
                    <a:pt x="194" y="512"/>
                  </a:lnTo>
                  <a:lnTo>
                    <a:pt x="194" y="514"/>
                  </a:lnTo>
                  <a:lnTo>
                    <a:pt x="194" y="518"/>
                  </a:lnTo>
                  <a:lnTo>
                    <a:pt x="196" y="520"/>
                  </a:lnTo>
                  <a:lnTo>
                    <a:pt x="200" y="526"/>
                  </a:lnTo>
                  <a:lnTo>
                    <a:pt x="202" y="528"/>
                  </a:lnTo>
                  <a:lnTo>
                    <a:pt x="202" y="528"/>
                  </a:lnTo>
                  <a:lnTo>
                    <a:pt x="204" y="528"/>
                  </a:lnTo>
                  <a:lnTo>
                    <a:pt x="206" y="528"/>
                  </a:lnTo>
                  <a:lnTo>
                    <a:pt x="206" y="528"/>
                  </a:lnTo>
                  <a:lnTo>
                    <a:pt x="206" y="528"/>
                  </a:lnTo>
                  <a:lnTo>
                    <a:pt x="206" y="528"/>
                  </a:lnTo>
                  <a:lnTo>
                    <a:pt x="208" y="528"/>
                  </a:lnTo>
                  <a:lnTo>
                    <a:pt x="208" y="528"/>
                  </a:lnTo>
                  <a:lnTo>
                    <a:pt x="210" y="528"/>
                  </a:lnTo>
                  <a:lnTo>
                    <a:pt x="210" y="526"/>
                  </a:lnTo>
                  <a:lnTo>
                    <a:pt x="213" y="528"/>
                  </a:lnTo>
                  <a:lnTo>
                    <a:pt x="213" y="528"/>
                  </a:lnTo>
                  <a:lnTo>
                    <a:pt x="213" y="528"/>
                  </a:lnTo>
                  <a:lnTo>
                    <a:pt x="213" y="528"/>
                  </a:lnTo>
                  <a:lnTo>
                    <a:pt x="215" y="528"/>
                  </a:lnTo>
                  <a:lnTo>
                    <a:pt x="215" y="528"/>
                  </a:lnTo>
                  <a:lnTo>
                    <a:pt x="215" y="526"/>
                  </a:lnTo>
                  <a:lnTo>
                    <a:pt x="215" y="524"/>
                  </a:lnTo>
                  <a:lnTo>
                    <a:pt x="217" y="522"/>
                  </a:lnTo>
                  <a:lnTo>
                    <a:pt x="217" y="522"/>
                  </a:lnTo>
                  <a:lnTo>
                    <a:pt x="215" y="520"/>
                  </a:lnTo>
                  <a:lnTo>
                    <a:pt x="223" y="514"/>
                  </a:lnTo>
                  <a:lnTo>
                    <a:pt x="225" y="514"/>
                  </a:lnTo>
                  <a:lnTo>
                    <a:pt x="225" y="512"/>
                  </a:lnTo>
                  <a:lnTo>
                    <a:pt x="225" y="510"/>
                  </a:lnTo>
                  <a:lnTo>
                    <a:pt x="223" y="510"/>
                  </a:lnTo>
                  <a:lnTo>
                    <a:pt x="221" y="510"/>
                  </a:lnTo>
                  <a:lnTo>
                    <a:pt x="221" y="510"/>
                  </a:lnTo>
                  <a:lnTo>
                    <a:pt x="221" y="510"/>
                  </a:lnTo>
                  <a:lnTo>
                    <a:pt x="221" y="508"/>
                  </a:lnTo>
                  <a:lnTo>
                    <a:pt x="223" y="508"/>
                  </a:lnTo>
                  <a:lnTo>
                    <a:pt x="223" y="506"/>
                  </a:lnTo>
                  <a:lnTo>
                    <a:pt x="225" y="506"/>
                  </a:lnTo>
                  <a:lnTo>
                    <a:pt x="229" y="508"/>
                  </a:lnTo>
                  <a:lnTo>
                    <a:pt x="231" y="510"/>
                  </a:lnTo>
                  <a:lnTo>
                    <a:pt x="229" y="510"/>
                  </a:lnTo>
                  <a:lnTo>
                    <a:pt x="229" y="512"/>
                  </a:lnTo>
                  <a:lnTo>
                    <a:pt x="229" y="512"/>
                  </a:lnTo>
                  <a:lnTo>
                    <a:pt x="231" y="512"/>
                  </a:lnTo>
                  <a:lnTo>
                    <a:pt x="231" y="512"/>
                  </a:lnTo>
                  <a:lnTo>
                    <a:pt x="237" y="510"/>
                  </a:lnTo>
                  <a:lnTo>
                    <a:pt x="243" y="508"/>
                  </a:lnTo>
                  <a:lnTo>
                    <a:pt x="249" y="506"/>
                  </a:lnTo>
                  <a:lnTo>
                    <a:pt x="251" y="504"/>
                  </a:lnTo>
                  <a:lnTo>
                    <a:pt x="251" y="504"/>
                  </a:lnTo>
                  <a:lnTo>
                    <a:pt x="256" y="502"/>
                  </a:lnTo>
                  <a:lnTo>
                    <a:pt x="256" y="502"/>
                  </a:lnTo>
                  <a:lnTo>
                    <a:pt x="262" y="502"/>
                  </a:lnTo>
                  <a:lnTo>
                    <a:pt x="264" y="502"/>
                  </a:lnTo>
                  <a:lnTo>
                    <a:pt x="266" y="500"/>
                  </a:lnTo>
                  <a:lnTo>
                    <a:pt x="253" y="500"/>
                  </a:lnTo>
                  <a:lnTo>
                    <a:pt x="253" y="498"/>
                  </a:lnTo>
                  <a:lnTo>
                    <a:pt x="256" y="498"/>
                  </a:lnTo>
                  <a:lnTo>
                    <a:pt x="258" y="498"/>
                  </a:lnTo>
                  <a:lnTo>
                    <a:pt x="260" y="496"/>
                  </a:lnTo>
                  <a:lnTo>
                    <a:pt x="268" y="498"/>
                  </a:lnTo>
                  <a:lnTo>
                    <a:pt x="278" y="504"/>
                  </a:lnTo>
                  <a:lnTo>
                    <a:pt x="280" y="504"/>
                  </a:lnTo>
                  <a:lnTo>
                    <a:pt x="284" y="504"/>
                  </a:lnTo>
                  <a:lnTo>
                    <a:pt x="288" y="502"/>
                  </a:lnTo>
                  <a:lnTo>
                    <a:pt x="290" y="498"/>
                  </a:lnTo>
                  <a:lnTo>
                    <a:pt x="290" y="498"/>
                  </a:lnTo>
                  <a:lnTo>
                    <a:pt x="290" y="500"/>
                  </a:lnTo>
                  <a:lnTo>
                    <a:pt x="292" y="500"/>
                  </a:lnTo>
                  <a:lnTo>
                    <a:pt x="294" y="502"/>
                  </a:lnTo>
                  <a:lnTo>
                    <a:pt x="294" y="504"/>
                  </a:lnTo>
                  <a:lnTo>
                    <a:pt x="296" y="504"/>
                  </a:lnTo>
                  <a:lnTo>
                    <a:pt x="296" y="504"/>
                  </a:lnTo>
                  <a:lnTo>
                    <a:pt x="299" y="504"/>
                  </a:lnTo>
                  <a:lnTo>
                    <a:pt x="301" y="504"/>
                  </a:lnTo>
                  <a:lnTo>
                    <a:pt x="303" y="504"/>
                  </a:lnTo>
                  <a:lnTo>
                    <a:pt x="305" y="504"/>
                  </a:lnTo>
                  <a:lnTo>
                    <a:pt x="305" y="504"/>
                  </a:lnTo>
                  <a:lnTo>
                    <a:pt x="305" y="502"/>
                  </a:lnTo>
                  <a:lnTo>
                    <a:pt x="307" y="502"/>
                  </a:lnTo>
                  <a:lnTo>
                    <a:pt x="307" y="502"/>
                  </a:lnTo>
                  <a:lnTo>
                    <a:pt x="309" y="500"/>
                  </a:lnTo>
                  <a:lnTo>
                    <a:pt x="309" y="500"/>
                  </a:lnTo>
                  <a:lnTo>
                    <a:pt x="309" y="498"/>
                  </a:lnTo>
                  <a:lnTo>
                    <a:pt x="309" y="498"/>
                  </a:lnTo>
                  <a:lnTo>
                    <a:pt x="309" y="498"/>
                  </a:lnTo>
                  <a:close/>
                  <a:moveTo>
                    <a:pt x="290" y="516"/>
                  </a:moveTo>
                  <a:lnTo>
                    <a:pt x="288" y="516"/>
                  </a:lnTo>
                  <a:lnTo>
                    <a:pt x="286" y="514"/>
                  </a:lnTo>
                  <a:lnTo>
                    <a:pt x="282" y="514"/>
                  </a:lnTo>
                  <a:lnTo>
                    <a:pt x="280" y="514"/>
                  </a:lnTo>
                  <a:lnTo>
                    <a:pt x="278" y="516"/>
                  </a:lnTo>
                  <a:lnTo>
                    <a:pt x="278" y="516"/>
                  </a:lnTo>
                  <a:lnTo>
                    <a:pt x="296" y="516"/>
                  </a:lnTo>
                  <a:lnTo>
                    <a:pt x="296" y="516"/>
                  </a:lnTo>
                  <a:lnTo>
                    <a:pt x="299" y="516"/>
                  </a:lnTo>
                  <a:lnTo>
                    <a:pt x="296" y="516"/>
                  </a:lnTo>
                  <a:lnTo>
                    <a:pt x="290" y="516"/>
                  </a:lnTo>
                  <a:close/>
                  <a:moveTo>
                    <a:pt x="266" y="518"/>
                  </a:moveTo>
                  <a:lnTo>
                    <a:pt x="264" y="518"/>
                  </a:lnTo>
                  <a:lnTo>
                    <a:pt x="264" y="520"/>
                  </a:lnTo>
                  <a:lnTo>
                    <a:pt x="264" y="518"/>
                  </a:lnTo>
                  <a:lnTo>
                    <a:pt x="266" y="518"/>
                  </a:lnTo>
                  <a:lnTo>
                    <a:pt x="266" y="518"/>
                  </a:lnTo>
                  <a:lnTo>
                    <a:pt x="266" y="51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S</a:t>
              </a:r>
            </a:p>
          </p:txBody>
        </p:sp>
        <p:sp>
          <p:nvSpPr>
            <p:cNvPr id="320" name="Freeform 31">
              <a:extLst>
                <a:ext uri="{FF2B5EF4-FFF2-40B4-BE49-F238E27FC236}">
                  <a16:creationId xmlns:a16="http://schemas.microsoft.com/office/drawing/2014/main" id="{6B03C368-02FB-8DD2-141D-7E42F3CACF57}"/>
                </a:ext>
              </a:extLst>
            </p:cNvPr>
            <p:cNvSpPr>
              <a:spLocks/>
            </p:cNvSpPr>
            <p:nvPr/>
          </p:nvSpPr>
          <p:spPr bwMode="auto">
            <a:xfrm>
              <a:off x="3081" y="1029"/>
              <a:ext cx="592" cy="488"/>
            </a:xfrm>
            <a:custGeom>
              <a:avLst/>
              <a:gdLst>
                <a:gd name="T0" fmla="*/ 360 w 592"/>
                <a:gd name="T1" fmla="*/ 65 h 488"/>
                <a:gd name="T2" fmla="*/ 364 w 592"/>
                <a:gd name="T3" fmla="*/ 80 h 488"/>
                <a:gd name="T4" fmla="*/ 374 w 592"/>
                <a:gd name="T5" fmla="*/ 96 h 488"/>
                <a:gd name="T6" fmla="*/ 426 w 592"/>
                <a:gd name="T7" fmla="*/ 137 h 488"/>
                <a:gd name="T8" fmla="*/ 434 w 592"/>
                <a:gd name="T9" fmla="*/ 156 h 488"/>
                <a:gd name="T10" fmla="*/ 440 w 592"/>
                <a:gd name="T11" fmla="*/ 174 h 488"/>
                <a:gd name="T12" fmla="*/ 467 w 592"/>
                <a:gd name="T13" fmla="*/ 170 h 488"/>
                <a:gd name="T14" fmla="*/ 481 w 592"/>
                <a:gd name="T15" fmla="*/ 190 h 488"/>
                <a:gd name="T16" fmla="*/ 469 w 592"/>
                <a:gd name="T17" fmla="*/ 240 h 488"/>
                <a:gd name="T18" fmla="*/ 481 w 592"/>
                <a:gd name="T19" fmla="*/ 256 h 488"/>
                <a:gd name="T20" fmla="*/ 504 w 592"/>
                <a:gd name="T21" fmla="*/ 272 h 488"/>
                <a:gd name="T22" fmla="*/ 532 w 592"/>
                <a:gd name="T23" fmla="*/ 287 h 488"/>
                <a:gd name="T24" fmla="*/ 549 w 592"/>
                <a:gd name="T25" fmla="*/ 307 h 488"/>
                <a:gd name="T26" fmla="*/ 555 w 592"/>
                <a:gd name="T27" fmla="*/ 336 h 488"/>
                <a:gd name="T28" fmla="*/ 559 w 592"/>
                <a:gd name="T29" fmla="*/ 350 h 488"/>
                <a:gd name="T30" fmla="*/ 577 w 592"/>
                <a:gd name="T31" fmla="*/ 369 h 488"/>
                <a:gd name="T32" fmla="*/ 577 w 592"/>
                <a:gd name="T33" fmla="*/ 361 h 488"/>
                <a:gd name="T34" fmla="*/ 583 w 592"/>
                <a:gd name="T35" fmla="*/ 371 h 488"/>
                <a:gd name="T36" fmla="*/ 592 w 592"/>
                <a:gd name="T37" fmla="*/ 381 h 488"/>
                <a:gd name="T38" fmla="*/ 587 w 592"/>
                <a:gd name="T39" fmla="*/ 406 h 488"/>
                <a:gd name="T40" fmla="*/ 571 w 592"/>
                <a:gd name="T41" fmla="*/ 410 h 488"/>
                <a:gd name="T42" fmla="*/ 565 w 592"/>
                <a:gd name="T43" fmla="*/ 430 h 488"/>
                <a:gd name="T44" fmla="*/ 555 w 592"/>
                <a:gd name="T45" fmla="*/ 424 h 488"/>
                <a:gd name="T46" fmla="*/ 561 w 592"/>
                <a:gd name="T47" fmla="*/ 440 h 488"/>
                <a:gd name="T48" fmla="*/ 559 w 592"/>
                <a:gd name="T49" fmla="*/ 449 h 488"/>
                <a:gd name="T50" fmla="*/ 555 w 592"/>
                <a:gd name="T51" fmla="*/ 467 h 488"/>
                <a:gd name="T52" fmla="*/ 547 w 592"/>
                <a:gd name="T53" fmla="*/ 481 h 488"/>
                <a:gd name="T54" fmla="*/ 491 w 592"/>
                <a:gd name="T55" fmla="*/ 486 h 488"/>
                <a:gd name="T56" fmla="*/ 497 w 592"/>
                <a:gd name="T57" fmla="*/ 471 h 488"/>
                <a:gd name="T58" fmla="*/ 501 w 592"/>
                <a:gd name="T59" fmla="*/ 467 h 488"/>
                <a:gd name="T60" fmla="*/ 510 w 592"/>
                <a:gd name="T61" fmla="*/ 461 h 488"/>
                <a:gd name="T62" fmla="*/ 514 w 592"/>
                <a:gd name="T63" fmla="*/ 455 h 488"/>
                <a:gd name="T64" fmla="*/ 514 w 592"/>
                <a:gd name="T65" fmla="*/ 449 h 488"/>
                <a:gd name="T66" fmla="*/ 514 w 592"/>
                <a:gd name="T67" fmla="*/ 440 h 488"/>
                <a:gd name="T68" fmla="*/ 508 w 592"/>
                <a:gd name="T69" fmla="*/ 434 h 488"/>
                <a:gd name="T70" fmla="*/ 499 w 592"/>
                <a:gd name="T71" fmla="*/ 430 h 488"/>
                <a:gd name="T72" fmla="*/ 284 w 592"/>
                <a:gd name="T73" fmla="*/ 447 h 488"/>
                <a:gd name="T74" fmla="*/ 116 w 592"/>
                <a:gd name="T75" fmla="*/ 430 h 488"/>
                <a:gd name="T76" fmla="*/ 110 w 592"/>
                <a:gd name="T77" fmla="*/ 307 h 488"/>
                <a:gd name="T78" fmla="*/ 104 w 592"/>
                <a:gd name="T79" fmla="*/ 184 h 488"/>
                <a:gd name="T80" fmla="*/ 102 w 592"/>
                <a:gd name="T81" fmla="*/ 172 h 488"/>
                <a:gd name="T82" fmla="*/ 92 w 592"/>
                <a:gd name="T83" fmla="*/ 170 h 488"/>
                <a:gd name="T84" fmla="*/ 78 w 592"/>
                <a:gd name="T85" fmla="*/ 151 h 488"/>
                <a:gd name="T86" fmla="*/ 67 w 592"/>
                <a:gd name="T87" fmla="*/ 141 h 488"/>
                <a:gd name="T88" fmla="*/ 63 w 592"/>
                <a:gd name="T89" fmla="*/ 129 h 488"/>
                <a:gd name="T90" fmla="*/ 69 w 592"/>
                <a:gd name="T91" fmla="*/ 117 h 488"/>
                <a:gd name="T92" fmla="*/ 78 w 592"/>
                <a:gd name="T93" fmla="*/ 108 h 488"/>
                <a:gd name="T94" fmla="*/ 71 w 592"/>
                <a:gd name="T95" fmla="*/ 96 h 488"/>
                <a:gd name="T96" fmla="*/ 59 w 592"/>
                <a:gd name="T97" fmla="*/ 98 h 488"/>
                <a:gd name="T98" fmla="*/ 49 w 592"/>
                <a:gd name="T99" fmla="*/ 92 h 488"/>
                <a:gd name="T100" fmla="*/ 32 w 592"/>
                <a:gd name="T101" fmla="*/ 82 h 488"/>
                <a:gd name="T102" fmla="*/ 28 w 592"/>
                <a:gd name="T103" fmla="*/ 67 h 488"/>
                <a:gd name="T104" fmla="*/ 18 w 592"/>
                <a:gd name="T105" fmla="*/ 55 h 488"/>
                <a:gd name="T106" fmla="*/ 12 w 592"/>
                <a:gd name="T107" fmla="*/ 49 h 488"/>
                <a:gd name="T108" fmla="*/ 8 w 592"/>
                <a:gd name="T109" fmla="*/ 37 h 488"/>
                <a:gd name="T110" fmla="*/ 0 w 592"/>
                <a:gd name="T111" fmla="*/ 24 h 488"/>
                <a:gd name="T112" fmla="*/ 0 w 592"/>
                <a:gd name="T113" fmla="*/ 22 h 488"/>
                <a:gd name="T114" fmla="*/ 20 w 592"/>
                <a:gd name="T115" fmla="*/ 20 h 488"/>
                <a:gd name="T116" fmla="*/ 202 w 592"/>
                <a:gd name="T117" fmla="*/ 10 h 488"/>
                <a:gd name="T118" fmla="*/ 336 w 592"/>
                <a:gd name="T119" fmla="*/ 2 h 488"/>
                <a:gd name="T120" fmla="*/ 342 w 592"/>
                <a:gd name="T121" fmla="*/ 8 h 488"/>
                <a:gd name="T122" fmla="*/ 348 w 592"/>
                <a:gd name="T123" fmla="*/ 14 h 488"/>
                <a:gd name="T124" fmla="*/ 352 w 592"/>
                <a:gd name="T125" fmla="*/ 1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2" h="488">
                  <a:moveTo>
                    <a:pt x="362" y="24"/>
                  </a:moveTo>
                  <a:lnTo>
                    <a:pt x="362" y="24"/>
                  </a:lnTo>
                  <a:lnTo>
                    <a:pt x="358" y="26"/>
                  </a:lnTo>
                  <a:lnTo>
                    <a:pt x="358" y="33"/>
                  </a:lnTo>
                  <a:lnTo>
                    <a:pt x="356" y="39"/>
                  </a:lnTo>
                  <a:lnTo>
                    <a:pt x="356" y="43"/>
                  </a:lnTo>
                  <a:lnTo>
                    <a:pt x="356" y="47"/>
                  </a:lnTo>
                  <a:lnTo>
                    <a:pt x="360" y="65"/>
                  </a:lnTo>
                  <a:lnTo>
                    <a:pt x="360" y="65"/>
                  </a:lnTo>
                  <a:lnTo>
                    <a:pt x="362" y="67"/>
                  </a:lnTo>
                  <a:lnTo>
                    <a:pt x="364" y="70"/>
                  </a:lnTo>
                  <a:lnTo>
                    <a:pt x="364" y="70"/>
                  </a:lnTo>
                  <a:lnTo>
                    <a:pt x="364" y="72"/>
                  </a:lnTo>
                  <a:lnTo>
                    <a:pt x="364" y="72"/>
                  </a:lnTo>
                  <a:lnTo>
                    <a:pt x="364" y="74"/>
                  </a:lnTo>
                  <a:lnTo>
                    <a:pt x="364" y="76"/>
                  </a:lnTo>
                  <a:lnTo>
                    <a:pt x="364" y="78"/>
                  </a:lnTo>
                  <a:lnTo>
                    <a:pt x="364" y="80"/>
                  </a:lnTo>
                  <a:lnTo>
                    <a:pt x="366" y="80"/>
                  </a:lnTo>
                  <a:lnTo>
                    <a:pt x="366" y="82"/>
                  </a:lnTo>
                  <a:lnTo>
                    <a:pt x="366" y="84"/>
                  </a:lnTo>
                  <a:lnTo>
                    <a:pt x="370" y="84"/>
                  </a:lnTo>
                  <a:lnTo>
                    <a:pt x="370" y="86"/>
                  </a:lnTo>
                  <a:lnTo>
                    <a:pt x="370" y="88"/>
                  </a:lnTo>
                  <a:lnTo>
                    <a:pt x="370" y="90"/>
                  </a:lnTo>
                  <a:lnTo>
                    <a:pt x="372" y="92"/>
                  </a:lnTo>
                  <a:lnTo>
                    <a:pt x="374" y="96"/>
                  </a:lnTo>
                  <a:lnTo>
                    <a:pt x="397" y="113"/>
                  </a:lnTo>
                  <a:lnTo>
                    <a:pt x="399" y="115"/>
                  </a:lnTo>
                  <a:lnTo>
                    <a:pt x="399" y="117"/>
                  </a:lnTo>
                  <a:lnTo>
                    <a:pt x="399" y="119"/>
                  </a:lnTo>
                  <a:lnTo>
                    <a:pt x="401" y="121"/>
                  </a:lnTo>
                  <a:lnTo>
                    <a:pt x="401" y="121"/>
                  </a:lnTo>
                  <a:lnTo>
                    <a:pt x="422" y="133"/>
                  </a:lnTo>
                  <a:lnTo>
                    <a:pt x="424" y="135"/>
                  </a:lnTo>
                  <a:lnTo>
                    <a:pt x="426" y="137"/>
                  </a:lnTo>
                  <a:lnTo>
                    <a:pt x="430" y="141"/>
                  </a:lnTo>
                  <a:lnTo>
                    <a:pt x="430" y="143"/>
                  </a:lnTo>
                  <a:lnTo>
                    <a:pt x="432" y="145"/>
                  </a:lnTo>
                  <a:lnTo>
                    <a:pt x="432" y="147"/>
                  </a:lnTo>
                  <a:lnTo>
                    <a:pt x="432" y="149"/>
                  </a:lnTo>
                  <a:lnTo>
                    <a:pt x="432" y="151"/>
                  </a:lnTo>
                  <a:lnTo>
                    <a:pt x="432" y="154"/>
                  </a:lnTo>
                  <a:lnTo>
                    <a:pt x="434" y="156"/>
                  </a:lnTo>
                  <a:lnTo>
                    <a:pt x="434" y="156"/>
                  </a:lnTo>
                  <a:lnTo>
                    <a:pt x="434" y="158"/>
                  </a:lnTo>
                  <a:lnTo>
                    <a:pt x="434" y="158"/>
                  </a:lnTo>
                  <a:lnTo>
                    <a:pt x="434" y="160"/>
                  </a:lnTo>
                  <a:lnTo>
                    <a:pt x="434" y="162"/>
                  </a:lnTo>
                  <a:lnTo>
                    <a:pt x="434" y="162"/>
                  </a:lnTo>
                  <a:lnTo>
                    <a:pt x="436" y="164"/>
                  </a:lnTo>
                  <a:lnTo>
                    <a:pt x="436" y="166"/>
                  </a:lnTo>
                  <a:lnTo>
                    <a:pt x="436" y="168"/>
                  </a:lnTo>
                  <a:lnTo>
                    <a:pt x="440" y="174"/>
                  </a:lnTo>
                  <a:lnTo>
                    <a:pt x="442" y="178"/>
                  </a:lnTo>
                  <a:lnTo>
                    <a:pt x="446" y="178"/>
                  </a:lnTo>
                  <a:lnTo>
                    <a:pt x="450" y="176"/>
                  </a:lnTo>
                  <a:lnTo>
                    <a:pt x="454" y="170"/>
                  </a:lnTo>
                  <a:lnTo>
                    <a:pt x="458" y="168"/>
                  </a:lnTo>
                  <a:lnTo>
                    <a:pt x="461" y="168"/>
                  </a:lnTo>
                  <a:lnTo>
                    <a:pt x="463" y="170"/>
                  </a:lnTo>
                  <a:lnTo>
                    <a:pt x="465" y="170"/>
                  </a:lnTo>
                  <a:lnTo>
                    <a:pt x="467" y="170"/>
                  </a:lnTo>
                  <a:lnTo>
                    <a:pt x="471" y="172"/>
                  </a:lnTo>
                  <a:lnTo>
                    <a:pt x="481" y="176"/>
                  </a:lnTo>
                  <a:lnTo>
                    <a:pt x="483" y="178"/>
                  </a:lnTo>
                  <a:lnTo>
                    <a:pt x="485" y="180"/>
                  </a:lnTo>
                  <a:lnTo>
                    <a:pt x="485" y="182"/>
                  </a:lnTo>
                  <a:lnTo>
                    <a:pt x="483" y="186"/>
                  </a:lnTo>
                  <a:lnTo>
                    <a:pt x="483" y="188"/>
                  </a:lnTo>
                  <a:lnTo>
                    <a:pt x="481" y="188"/>
                  </a:lnTo>
                  <a:lnTo>
                    <a:pt x="481" y="190"/>
                  </a:lnTo>
                  <a:lnTo>
                    <a:pt x="481" y="192"/>
                  </a:lnTo>
                  <a:lnTo>
                    <a:pt x="481" y="197"/>
                  </a:lnTo>
                  <a:lnTo>
                    <a:pt x="481" y="203"/>
                  </a:lnTo>
                  <a:lnTo>
                    <a:pt x="481" y="205"/>
                  </a:lnTo>
                  <a:lnTo>
                    <a:pt x="477" y="213"/>
                  </a:lnTo>
                  <a:lnTo>
                    <a:pt x="473" y="225"/>
                  </a:lnTo>
                  <a:lnTo>
                    <a:pt x="471" y="231"/>
                  </a:lnTo>
                  <a:lnTo>
                    <a:pt x="469" y="235"/>
                  </a:lnTo>
                  <a:lnTo>
                    <a:pt x="469" y="240"/>
                  </a:lnTo>
                  <a:lnTo>
                    <a:pt x="471" y="244"/>
                  </a:lnTo>
                  <a:lnTo>
                    <a:pt x="471" y="246"/>
                  </a:lnTo>
                  <a:lnTo>
                    <a:pt x="471" y="248"/>
                  </a:lnTo>
                  <a:lnTo>
                    <a:pt x="473" y="248"/>
                  </a:lnTo>
                  <a:lnTo>
                    <a:pt x="473" y="250"/>
                  </a:lnTo>
                  <a:lnTo>
                    <a:pt x="477" y="252"/>
                  </a:lnTo>
                  <a:lnTo>
                    <a:pt x="479" y="254"/>
                  </a:lnTo>
                  <a:lnTo>
                    <a:pt x="481" y="256"/>
                  </a:lnTo>
                  <a:lnTo>
                    <a:pt x="481" y="256"/>
                  </a:lnTo>
                  <a:lnTo>
                    <a:pt x="483" y="258"/>
                  </a:lnTo>
                  <a:lnTo>
                    <a:pt x="483" y="260"/>
                  </a:lnTo>
                  <a:lnTo>
                    <a:pt x="487" y="260"/>
                  </a:lnTo>
                  <a:lnTo>
                    <a:pt x="489" y="262"/>
                  </a:lnTo>
                  <a:lnTo>
                    <a:pt x="491" y="266"/>
                  </a:lnTo>
                  <a:lnTo>
                    <a:pt x="495" y="268"/>
                  </a:lnTo>
                  <a:lnTo>
                    <a:pt x="497" y="268"/>
                  </a:lnTo>
                  <a:lnTo>
                    <a:pt x="504" y="272"/>
                  </a:lnTo>
                  <a:lnTo>
                    <a:pt x="504" y="272"/>
                  </a:lnTo>
                  <a:lnTo>
                    <a:pt x="508" y="272"/>
                  </a:lnTo>
                  <a:lnTo>
                    <a:pt x="508" y="272"/>
                  </a:lnTo>
                  <a:lnTo>
                    <a:pt x="512" y="272"/>
                  </a:lnTo>
                  <a:lnTo>
                    <a:pt x="514" y="274"/>
                  </a:lnTo>
                  <a:lnTo>
                    <a:pt x="520" y="279"/>
                  </a:lnTo>
                  <a:lnTo>
                    <a:pt x="522" y="281"/>
                  </a:lnTo>
                  <a:lnTo>
                    <a:pt x="528" y="283"/>
                  </a:lnTo>
                  <a:lnTo>
                    <a:pt x="530" y="285"/>
                  </a:lnTo>
                  <a:lnTo>
                    <a:pt x="532" y="287"/>
                  </a:lnTo>
                  <a:lnTo>
                    <a:pt x="534" y="293"/>
                  </a:lnTo>
                  <a:lnTo>
                    <a:pt x="536" y="295"/>
                  </a:lnTo>
                  <a:lnTo>
                    <a:pt x="547" y="297"/>
                  </a:lnTo>
                  <a:lnTo>
                    <a:pt x="549" y="299"/>
                  </a:lnTo>
                  <a:lnTo>
                    <a:pt x="549" y="301"/>
                  </a:lnTo>
                  <a:lnTo>
                    <a:pt x="549" y="301"/>
                  </a:lnTo>
                  <a:lnTo>
                    <a:pt x="549" y="303"/>
                  </a:lnTo>
                  <a:lnTo>
                    <a:pt x="549" y="305"/>
                  </a:lnTo>
                  <a:lnTo>
                    <a:pt x="549" y="307"/>
                  </a:lnTo>
                  <a:lnTo>
                    <a:pt x="549" y="309"/>
                  </a:lnTo>
                  <a:lnTo>
                    <a:pt x="549" y="311"/>
                  </a:lnTo>
                  <a:lnTo>
                    <a:pt x="549" y="313"/>
                  </a:lnTo>
                  <a:lnTo>
                    <a:pt x="553" y="317"/>
                  </a:lnTo>
                  <a:lnTo>
                    <a:pt x="555" y="320"/>
                  </a:lnTo>
                  <a:lnTo>
                    <a:pt x="557" y="324"/>
                  </a:lnTo>
                  <a:lnTo>
                    <a:pt x="559" y="328"/>
                  </a:lnTo>
                  <a:lnTo>
                    <a:pt x="557" y="332"/>
                  </a:lnTo>
                  <a:lnTo>
                    <a:pt x="555" y="336"/>
                  </a:lnTo>
                  <a:lnTo>
                    <a:pt x="553" y="338"/>
                  </a:lnTo>
                  <a:lnTo>
                    <a:pt x="553" y="342"/>
                  </a:lnTo>
                  <a:lnTo>
                    <a:pt x="553" y="344"/>
                  </a:lnTo>
                  <a:lnTo>
                    <a:pt x="555" y="344"/>
                  </a:lnTo>
                  <a:lnTo>
                    <a:pt x="555" y="344"/>
                  </a:lnTo>
                  <a:lnTo>
                    <a:pt x="557" y="344"/>
                  </a:lnTo>
                  <a:lnTo>
                    <a:pt x="557" y="346"/>
                  </a:lnTo>
                  <a:lnTo>
                    <a:pt x="557" y="348"/>
                  </a:lnTo>
                  <a:lnTo>
                    <a:pt x="559" y="350"/>
                  </a:lnTo>
                  <a:lnTo>
                    <a:pt x="561" y="352"/>
                  </a:lnTo>
                  <a:lnTo>
                    <a:pt x="565" y="358"/>
                  </a:lnTo>
                  <a:lnTo>
                    <a:pt x="565" y="361"/>
                  </a:lnTo>
                  <a:lnTo>
                    <a:pt x="565" y="365"/>
                  </a:lnTo>
                  <a:lnTo>
                    <a:pt x="567" y="365"/>
                  </a:lnTo>
                  <a:lnTo>
                    <a:pt x="571" y="369"/>
                  </a:lnTo>
                  <a:lnTo>
                    <a:pt x="575" y="369"/>
                  </a:lnTo>
                  <a:lnTo>
                    <a:pt x="577" y="369"/>
                  </a:lnTo>
                  <a:lnTo>
                    <a:pt x="577" y="369"/>
                  </a:lnTo>
                  <a:lnTo>
                    <a:pt x="577" y="367"/>
                  </a:lnTo>
                  <a:lnTo>
                    <a:pt x="575" y="367"/>
                  </a:lnTo>
                  <a:lnTo>
                    <a:pt x="575" y="365"/>
                  </a:lnTo>
                  <a:lnTo>
                    <a:pt x="573" y="365"/>
                  </a:lnTo>
                  <a:lnTo>
                    <a:pt x="573" y="363"/>
                  </a:lnTo>
                  <a:lnTo>
                    <a:pt x="573" y="361"/>
                  </a:lnTo>
                  <a:lnTo>
                    <a:pt x="575" y="361"/>
                  </a:lnTo>
                  <a:lnTo>
                    <a:pt x="577" y="361"/>
                  </a:lnTo>
                  <a:lnTo>
                    <a:pt x="577" y="361"/>
                  </a:lnTo>
                  <a:lnTo>
                    <a:pt x="577" y="363"/>
                  </a:lnTo>
                  <a:lnTo>
                    <a:pt x="579" y="365"/>
                  </a:lnTo>
                  <a:lnTo>
                    <a:pt x="579" y="365"/>
                  </a:lnTo>
                  <a:lnTo>
                    <a:pt x="581" y="367"/>
                  </a:lnTo>
                  <a:lnTo>
                    <a:pt x="581" y="367"/>
                  </a:lnTo>
                  <a:lnTo>
                    <a:pt x="583" y="369"/>
                  </a:lnTo>
                  <a:lnTo>
                    <a:pt x="583" y="369"/>
                  </a:lnTo>
                  <a:lnTo>
                    <a:pt x="583" y="371"/>
                  </a:lnTo>
                  <a:lnTo>
                    <a:pt x="583" y="371"/>
                  </a:lnTo>
                  <a:lnTo>
                    <a:pt x="585" y="371"/>
                  </a:lnTo>
                  <a:lnTo>
                    <a:pt x="585" y="371"/>
                  </a:lnTo>
                  <a:lnTo>
                    <a:pt x="587" y="371"/>
                  </a:lnTo>
                  <a:lnTo>
                    <a:pt x="587" y="371"/>
                  </a:lnTo>
                  <a:lnTo>
                    <a:pt x="590" y="371"/>
                  </a:lnTo>
                  <a:lnTo>
                    <a:pt x="590" y="373"/>
                  </a:lnTo>
                  <a:lnTo>
                    <a:pt x="590" y="377"/>
                  </a:lnTo>
                  <a:lnTo>
                    <a:pt x="592" y="381"/>
                  </a:lnTo>
                  <a:lnTo>
                    <a:pt x="592" y="381"/>
                  </a:lnTo>
                  <a:lnTo>
                    <a:pt x="590" y="383"/>
                  </a:lnTo>
                  <a:lnTo>
                    <a:pt x="590" y="383"/>
                  </a:lnTo>
                  <a:lnTo>
                    <a:pt x="590" y="385"/>
                  </a:lnTo>
                  <a:lnTo>
                    <a:pt x="590" y="385"/>
                  </a:lnTo>
                  <a:lnTo>
                    <a:pt x="590" y="387"/>
                  </a:lnTo>
                  <a:lnTo>
                    <a:pt x="592" y="391"/>
                  </a:lnTo>
                  <a:lnTo>
                    <a:pt x="592" y="393"/>
                  </a:lnTo>
                  <a:lnTo>
                    <a:pt x="592" y="397"/>
                  </a:lnTo>
                  <a:lnTo>
                    <a:pt x="587" y="406"/>
                  </a:lnTo>
                  <a:lnTo>
                    <a:pt x="587" y="412"/>
                  </a:lnTo>
                  <a:lnTo>
                    <a:pt x="585" y="414"/>
                  </a:lnTo>
                  <a:lnTo>
                    <a:pt x="583" y="416"/>
                  </a:lnTo>
                  <a:lnTo>
                    <a:pt x="579" y="414"/>
                  </a:lnTo>
                  <a:lnTo>
                    <a:pt x="577" y="414"/>
                  </a:lnTo>
                  <a:lnTo>
                    <a:pt x="575" y="410"/>
                  </a:lnTo>
                  <a:lnTo>
                    <a:pt x="573" y="410"/>
                  </a:lnTo>
                  <a:lnTo>
                    <a:pt x="571" y="410"/>
                  </a:lnTo>
                  <a:lnTo>
                    <a:pt x="571" y="410"/>
                  </a:lnTo>
                  <a:lnTo>
                    <a:pt x="571" y="412"/>
                  </a:lnTo>
                  <a:lnTo>
                    <a:pt x="569" y="416"/>
                  </a:lnTo>
                  <a:lnTo>
                    <a:pt x="569" y="418"/>
                  </a:lnTo>
                  <a:lnTo>
                    <a:pt x="569" y="424"/>
                  </a:lnTo>
                  <a:lnTo>
                    <a:pt x="569" y="424"/>
                  </a:lnTo>
                  <a:lnTo>
                    <a:pt x="569" y="426"/>
                  </a:lnTo>
                  <a:lnTo>
                    <a:pt x="567" y="428"/>
                  </a:lnTo>
                  <a:lnTo>
                    <a:pt x="565" y="428"/>
                  </a:lnTo>
                  <a:lnTo>
                    <a:pt x="565" y="430"/>
                  </a:lnTo>
                  <a:lnTo>
                    <a:pt x="563" y="430"/>
                  </a:lnTo>
                  <a:lnTo>
                    <a:pt x="561" y="428"/>
                  </a:lnTo>
                  <a:lnTo>
                    <a:pt x="563" y="426"/>
                  </a:lnTo>
                  <a:lnTo>
                    <a:pt x="563" y="424"/>
                  </a:lnTo>
                  <a:lnTo>
                    <a:pt x="563" y="424"/>
                  </a:lnTo>
                  <a:lnTo>
                    <a:pt x="561" y="420"/>
                  </a:lnTo>
                  <a:lnTo>
                    <a:pt x="559" y="418"/>
                  </a:lnTo>
                  <a:lnTo>
                    <a:pt x="555" y="420"/>
                  </a:lnTo>
                  <a:lnTo>
                    <a:pt x="555" y="424"/>
                  </a:lnTo>
                  <a:lnTo>
                    <a:pt x="557" y="424"/>
                  </a:lnTo>
                  <a:lnTo>
                    <a:pt x="557" y="426"/>
                  </a:lnTo>
                  <a:lnTo>
                    <a:pt x="557" y="426"/>
                  </a:lnTo>
                  <a:lnTo>
                    <a:pt x="559" y="428"/>
                  </a:lnTo>
                  <a:lnTo>
                    <a:pt x="557" y="430"/>
                  </a:lnTo>
                  <a:lnTo>
                    <a:pt x="559" y="430"/>
                  </a:lnTo>
                  <a:lnTo>
                    <a:pt x="561" y="436"/>
                  </a:lnTo>
                  <a:lnTo>
                    <a:pt x="561" y="438"/>
                  </a:lnTo>
                  <a:lnTo>
                    <a:pt x="561" y="440"/>
                  </a:lnTo>
                  <a:lnTo>
                    <a:pt x="559" y="440"/>
                  </a:lnTo>
                  <a:lnTo>
                    <a:pt x="557" y="442"/>
                  </a:lnTo>
                  <a:lnTo>
                    <a:pt x="555" y="442"/>
                  </a:lnTo>
                  <a:lnTo>
                    <a:pt x="553" y="442"/>
                  </a:lnTo>
                  <a:lnTo>
                    <a:pt x="553" y="445"/>
                  </a:lnTo>
                  <a:lnTo>
                    <a:pt x="555" y="447"/>
                  </a:lnTo>
                  <a:lnTo>
                    <a:pt x="557" y="449"/>
                  </a:lnTo>
                  <a:lnTo>
                    <a:pt x="559" y="449"/>
                  </a:lnTo>
                  <a:lnTo>
                    <a:pt x="559" y="449"/>
                  </a:lnTo>
                  <a:lnTo>
                    <a:pt x="559" y="451"/>
                  </a:lnTo>
                  <a:lnTo>
                    <a:pt x="559" y="451"/>
                  </a:lnTo>
                  <a:lnTo>
                    <a:pt x="557" y="453"/>
                  </a:lnTo>
                  <a:lnTo>
                    <a:pt x="549" y="453"/>
                  </a:lnTo>
                  <a:lnTo>
                    <a:pt x="549" y="453"/>
                  </a:lnTo>
                  <a:lnTo>
                    <a:pt x="553" y="461"/>
                  </a:lnTo>
                  <a:lnTo>
                    <a:pt x="557" y="465"/>
                  </a:lnTo>
                  <a:lnTo>
                    <a:pt x="555" y="467"/>
                  </a:lnTo>
                  <a:lnTo>
                    <a:pt x="555" y="467"/>
                  </a:lnTo>
                  <a:lnTo>
                    <a:pt x="553" y="467"/>
                  </a:lnTo>
                  <a:lnTo>
                    <a:pt x="551" y="469"/>
                  </a:lnTo>
                  <a:lnTo>
                    <a:pt x="551" y="469"/>
                  </a:lnTo>
                  <a:lnTo>
                    <a:pt x="551" y="471"/>
                  </a:lnTo>
                  <a:lnTo>
                    <a:pt x="549" y="477"/>
                  </a:lnTo>
                  <a:lnTo>
                    <a:pt x="549" y="479"/>
                  </a:lnTo>
                  <a:lnTo>
                    <a:pt x="547" y="479"/>
                  </a:lnTo>
                  <a:lnTo>
                    <a:pt x="547" y="479"/>
                  </a:lnTo>
                  <a:lnTo>
                    <a:pt x="547" y="481"/>
                  </a:lnTo>
                  <a:lnTo>
                    <a:pt x="547" y="481"/>
                  </a:lnTo>
                  <a:lnTo>
                    <a:pt x="534" y="481"/>
                  </a:lnTo>
                  <a:lnTo>
                    <a:pt x="522" y="483"/>
                  </a:lnTo>
                  <a:lnTo>
                    <a:pt x="510" y="486"/>
                  </a:lnTo>
                  <a:lnTo>
                    <a:pt x="497" y="486"/>
                  </a:lnTo>
                  <a:lnTo>
                    <a:pt x="491" y="488"/>
                  </a:lnTo>
                  <a:lnTo>
                    <a:pt x="491" y="488"/>
                  </a:lnTo>
                  <a:lnTo>
                    <a:pt x="491" y="486"/>
                  </a:lnTo>
                  <a:lnTo>
                    <a:pt x="491" y="486"/>
                  </a:lnTo>
                  <a:lnTo>
                    <a:pt x="491" y="486"/>
                  </a:lnTo>
                  <a:lnTo>
                    <a:pt x="493" y="479"/>
                  </a:lnTo>
                  <a:lnTo>
                    <a:pt x="493" y="477"/>
                  </a:lnTo>
                  <a:lnTo>
                    <a:pt x="495" y="475"/>
                  </a:lnTo>
                  <a:lnTo>
                    <a:pt x="495" y="473"/>
                  </a:lnTo>
                  <a:lnTo>
                    <a:pt x="497" y="473"/>
                  </a:lnTo>
                  <a:lnTo>
                    <a:pt x="497" y="473"/>
                  </a:lnTo>
                  <a:lnTo>
                    <a:pt x="497" y="471"/>
                  </a:lnTo>
                  <a:lnTo>
                    <a:pt x="497" y="471"/>
                  </a:lnTo>
                  <a:lnTo>
                    <a:pt x="499" y="471"/>
                  </a:lnTo>
                  <a:lnTo>
                    <a:pt x="499" y="471"/>
                  </a:lnTo>
                  <a:lnTo>
                    <a:pt x="499" y="471"/>
                  </a:lnTo>
                  <a:lnTo>
                    <a:pt x="501" y="471"/>
                  </a:lnTo>
                  <a:lnTo>
                    <a:pt x="501" y="469"/>
                  </a:lnTo>
                  <a:lnTo>
                    <a:pt x="501" y="469"/>
                  </a:lnTo>
                  <a:lnTo>
                    <a:pt x="501" y="469"/>
                  </a:lnTo>
                  <a:lnTo>
                    <a:pt x="501" y="469"/>
                  </a:lnTo>
                  <a:lnTo>
                    <a:pt x="501" y="467"/>
                  </a:lnTo>
                  <a:lnTo>
                    <a:pt x="501" y="467"/>
                  </a:lnTo>
                  <a:lnTo>
                    <a:pt x="501" y="465"/>
                  </a:lnTo>
                  <a:lnTo>
                    <a:pt x="501" y="465"/>
                  </a:lnTo>
                  <a:lnTo>
                    <a:pt x="501" y="465"/>
                  </a:lnTo>
                  <a:lnTo>
                    <a:pt x="504" y="465"/>
                  </a:lnTo>
                  <a:lnTo>
                    <a:pt x="504" y="465"/>
                  </a:lnTo>
                  <a:lnTo>
                    <a:pt x="506" y="463"/>
                  </a:lnTo>
                  <a:lnTo>
                    <a:pt x="506" y="463"/>
                  </a:lnTo>
                  <a:lnTo>
                    <a:pt x="510" y="461"/>
                  </a:lnTo>
                  <a:lnTo>
                    <a:pt x="510" y="461"/>
                  </a:lnTo>
                  <a:lnTo>
                    <a:pt x="510" y="461"/>
                  </a:lnTo>
                  <a:lnTo>
                    <a:pt x="510" y="459"/>
                  </a:lnTo>
                  <a:lnTo>
                    <a:pt x="510" y="459"/>
                  </a:lnTo>
                  <a:lnTo>
                    <a:pt x="510" y="457"/>
                  </a:lnTo>
                  <a:lnTo>
                    <a:pt x="510" y="457"/>
                  </a:lnTo>
                  <a:lnTo>
                    <a:pt x="510" y="457"/>
                  </a:lnTo>
                  <a:lnTo>
                    <a:pt x="512" y="455"/>
                  </a:lnTo>
                  <a:lnTo>
                    <a:pt x="514" y="455"/>
                  </a:lnTo>
                  <a:lnTo>
                    <a:pt x="514" y="455"/>
                  </a:lnTo>
                  <a:lnTo>
                    <a:pt x="514" y="455"/>
                  </a:lnTo>
                  <a:lnTo>
                    <a:pt x="514" y="455"/>
                  </a:lnTo>
                  <a:lnTo>
                    <a:pt x="514" y="453"/>
                  </a:lnTo>
                  <a:lnTo>
                    <a:pt x="514" y="453"/>
                  </a:lnTo>
                  <a:lnTo>
                    <a:pt x="516" y="453"/>
                  </a:lnTo>
                  <a:lnTo>
                    <a:pt x="516" y="453"/>
                  </a:lnTo>
                  <a:lnTo>
                    <a:pt x="516" y="451"/>
                  </a:lnTo>
                  <a:lnTo>
                    <a:pt x="514" y="449"/>
                  </a:lnTo>
                  <a:lnTo>
                    <a:pt x="514" y="447"/>
                  </a:lnTo>
                  <a:lnTo>
                    <a:pt x="514" y="445"/>
                  </a:lnTo>
                  <a:lnTo>
                    <a:pt x="514" y="445"/>
                  </a:lnTo>
                  <a:lnTo>
                    <a:pt x="514" y="445"/>
                  </a:lnTo>
                  <a:lnTo>
                    <a:pt x="514" y="442"/>
                  </a:lnTo>
                  <a:lnTo>
                    <a:pt x="514" y="442"/>
                  </a:lnTo>
                  <a:lnTo>
                    <a:pt x="514" y="442"/>
                  </a:lnTo>
                  <a:lnTo>
                    <a:pt x="514" y="442"/>
                  </a:lnTo>
                  <a:lnTo>
                    <a:pt x="514" y="440"/>
                  </a:lnTo>
                  <a:lnTo>
                    <a:pt x="512" y="440"/>
                  </a:lnTo>
                  <a:lnTo>
                    <a:pt x="510" y="440"/>
                  </a:lnTo>
                  <a:lnTo>
                    <a:pt x="510" y="438"/>
                  </a:lnTo>
                  <a:lnTo>
                    <a:pt x="510" y="438"/>
                  </a:lnTo>
                  <a:lnTo>
                    <a:pt x="510" y="438"/>
                  </a:lnTo>
                  <a:lnTo>
                    <a:pt x="508" y="438"/>
                  </a:lnTo>
                  <a:lnTo>
                    <a:pt x="508" y="436"/>
                  </a:lnTo>
                  <a:lnTo>
                    <a:pt x="508" y="436"/>
                  </a:lnTo>
                  <a:lnTo>
                    <a:pt x="508" y="434"/>
                  </a:lnTo>
                  <a:lnTo>
                    <a:pt x="508" y="434"/>
                  </a:lnTo>
                  <a:lnTo>
                    <a:pt x="508" y="434"/>
                  </a:lnTo>
                  <a:lnTo>
                    <a:pt x="508" y="434"/>
                  </a:lnTo>
                  <a:lnTo>
                    <a:pt x="506" y="434"/>
                  </a:lnTo>
                  <a:lnTo>
                    <a:pt x="506" y="432"/>
                  </a:lnTo>
                  <a:lnTo>
                    <a:pt x="506" y="430"/>
                  </a:lnTo>
                  <a:lnTo>
                    <a:pt x="506" y="430"/>
                  </a:lnTo>
                  <a:lnTo>
                    <a:pt x="506" y="430"/>
                  </a:lnTo>
                  <a:lnTo>
                    <a:pt x="499" y="430"/>
                  </a:lnTo>
                  <a:lnTo>
                    <a:pt x="475" y="432"/>
                  </a:lnTo>
                  <a:lnTo>
                    <a:pt x="450" y="434"/>
                  </a:lnTo>
                  <a:lnTo>
                    <a:pt x="428" y="436"/>
                  </a:lnTo>
                  <a:lnTo>
                    <a:pt x="403" y="438"/>
                  </a:lnTo>
                  <a:lnTo>
                    <a:pt x="379" y="440"/>
                  </a:lnTo>
                  <a:lnTo>
                    <a:pt x="356" y="442"/>
                  </a:lnTo>
                  <a:lnTo>
                    <a:pt x="331" y="445"/>
                  </a:lnTo>
                  <a:lnTo>
                    <a:pt x="309" y="447"/>
                  </a:lnTo>
                  <a:lnTo>
                    <a:pt x="284" y="447"/>
                  </a:lnTo>
                  <a:lnTo>
                    <a:pt x="260" y="449"/>
                  </a:lnTo>
                  <a:lnTo>
                    <a:pt x="237" y="451"/>
                  </a:lnTo>
                  <a:lnTo>
                    <a:pt x="213" y="453"/>
                  </a:lnTo>
                  <a:lnTo>
                    <a:pt x="188" y="453"/>
                  </a:lnTo>
                  <a:lnTo>
                    <a:pt x="166" y="455"/>
                  </a:lnTo>
                  <a:lnTo>
                    <a:pt x="141" y="455"/>
                  </a:lnTo>
                  <a:lnTo>
                    <a:pt x="116" y="457"/>
                  </a:lnTo>
                  <a:lnTo>
                    <a:pt x="116" y="445"/>
                  </a:lnTo>
                  <a:lnTo>
                    <a:pt x="116" y="430"/>
                  </a:lnTo>
                  <a:lnTo>
                    <a:pt x="114" y="416"/>
                  </a:lnTo>
                  <a:lnTo>
                    <a:pt x="114" y="404"/>
                  </a:lnTo>
                  <a:lnTo>
                    <a:pt x="114" y="389"/>
                  </a:lnTo>
                  <a:lnTo>
                    <a:pt x="112" y="375"/>
                  </a:lnTo>
                  <a:lnTo>
                    <a:pt x="112" y="363"/>
                  </a:lnTo>
                  <a:lnTo>
                    <a:pt x="112" y="348"/>
                  </a:lnTo>
                  <a:lnTo>
                    <a:pt x="110" y="334"/>
                  </a:lnTo>
                  <a:lnTo>
                    <a:pt x="110" y="322"/>
                  </a:lnTo>
                  <a:lnTo>
                    <a:pt x="110" y="307"/>
                  </a:lnTo>
                  <a:lnTo>
                    <a:pt x="108" y="293"/>
                  </a:lnTo>
                  <a:lnTo>
                    <a:pt x="108" y="281"/>
                  </a:lnTo>
                  <a:lnTo>
                    <a:pt x="108" y="266"/>
                  </a:lnTo>
                  <a:lnTo>
                    <a:pt x="106" y="252"/>
                  </a:lnTo>
                  <a:lnTo>
                    <a:pt x="106" y="240"/>
                  </a:lnTo>
                  <a:lnTo>
                    <a:pt x="106" y="225"/>
                  </a:lnTo>
                  <a:lnTo>
                    <a:pt x="104" y="211"/>
                  </a:lnTo>
                  <a:lnTo>
                    <a:pt x="104" y="199"/>
                  </a:lnTo>
                  <a:lnTo>
                    <a:pt x="104" y="184"/>
                  </a:lnTo>
                  <a:lnTo>
                    <a:pt x="104" y="176"/>
                  </a:lnTo>
                  <a:lnTo>
                    <a:pt x="104" y="176"/>
                  </a:lnTo>
                  <a:lnTo>
                    <a:pt x="102" y="176"/>
                  </a:lnTo>
                  <a:lnTo>
                    <a:pt x="102" y="176"/>
                  </a:lnTo>
                  <a:lnTo>
                    <a:pt x="102" y="174"/>
                  </a:lnTo>
                  <a:lnTo>
                    <a:pt x="102" y="174"/>
                  </a:lnTo>
                  <a:lnTo>
                    <a:pt x="104" y="174"/>
                  </a:lnTo>
                  <a:lnTo>
                    <a:pt x="104" y="172"/>
                  </a:lnTo>
                  <a:lnTo>
                    <a:pt x="102" y="172"/>
                  </a:lnTo>
                  <a:lnTo>
                    <a:pt x="100" y="172"/>
                  </a:lnTo>
                  <a:lnTo>
                    <a:pt x="100" y="172"/>
                  </a:lnTo>
                  <a:lnTo>
                    <a:pt x="100" y="170"/>
                  </a:lnTo>
                  <a:lnTo>
                    <a:pt x="100" y="170"/>
                  </a:lnTo>
                  <a:lnTo>
                    <a:pt x="98" y="170"/>
                  </a:lnTo>
                  <a:lnTo>
                    <a:pt x="98" y="170"/>
                  </a:lnTo>
                  <a:lnTo>
                    <a:pt x="96" y="170"/>
                  </a:lnTo>
                  <a:lnTo>
                    <a:pt x="94" y="170"/>
                  </a:lnTo>
                  <a:lnTo>
                    <a:pt x="92" y="170"/>
                  </a:lnTo>
                  <a:lnTo>
                    <a:pt x="88" y="168"/>
                  </a:lnTo>
                  <a:lnTo>
                    <a:pt x="86" y="168"/>
                  </a:lnTo>
                  <a:lnTo>
                    <a:pt x="86" y="166"/>
                  </a:lnTo>
                  <a:lnTo>
                    <a:pt x="84" y="164"/>
                  </a:lnTo>
                  <a:lnTo>
                    <a:pt x="84" y="162"/>
                  </a:lnTo>
                  <a:lnTo>
                    <a:pt x="84" y="162"/>
                  </a:lnTo>
                  <a:lnTo>
                    <a:pt x="80" y="160"/>
                  </a:lnTo>
                  <a:lnTo>
                    <a:pt x="78" y="156"/>
                  </a:lnTo>
                  <a:lnTo>
                    <a:pt x="78" y="151"/>
                  </a:lnTo>
                  <a:lnTo>
                    <a:pt x="78" y="149"/>
                  </a:lnTo>
                  <a:lnTo>
                    <a:pt x="75" y="147"/>
                  </a:lnTo>
                  <a:lnTo>
                    <a:pt x="73" y="147"/>
                  </a:lnTo>
                  <a:lnTo>
                    <a:pt x="73" y="145"/>
                  </a:lnTo>
                  <a:lnTo>
                    <a:pt x="73" y="145"/>
                  </a:lnTo>
                  <a:lnTo>
                    <a:pt x="69" y="143"/>
                  </a:lnTo>
                  <a:lnTo>
                    <a:pt x="67" y="143"/>
                  </a:lnTo>
                  <a:lnTo>
                    <a:pt x="67" y="141"/>
                  </a:lnTo>
                  <a:lnTo>
                    <a:pt x="67" y="141"/>
                  </a:lnTo>
                  <a:lnTo>
                    <a:pt x="65" y="137"/>
                  </a:lnTo>
                  <a:lnTo>
                    <a:pt x="63" y="137"/>
                  </a:lnTo>
                  <a:lnTo>
                    <a:pt x="63" y="135"/>
                  </a:lnTo>
                  <a:lnTo>
                    <a:pt x="61" y="135"/>
                  </a:lnTo>
                  <a:lnTo>
                    <a:pt x="59" y="133"/>
                  </a:lnTo>
                  <a:lnTo>
                    <a:pt x="59" y="129"/>
                  </a:lnTo>
                  <a:lnTo>
                    <a:pt x="61" y="129"/>
                  </a:lnTo>
                  <a:lnTo>
                    <a:pt x="63" y="129"/>
                  </a:lnTo>
                  <a:lnTo>
                    <a:pt x="63" y="129"/>
                  </a:lnTo>
                  <a:lnTo>
                    <a:pt x="63" y="127"/>
                  </a:lnTo>
                  <a:lnTo>
                    <a:pt x="63" y="127"/>
                  </a:lnTo>
                  <a:lnTo>
                    <a:pt x="63" y="125"/>
                  </a:lnTo>
                  <a:lnTo>
                    <a:pt x="63" y="123"/>
                  </a:lnTo>
                  <a:lnTo>
                    <a:pt x="65" y="121"/>
                  </a:lnTo>
                  <a:lnTo>
                    <a:pt x="67" y="119"/>
                  </a:lnTo>
                  <a:lnTo>
                    <a:pt x="69" y="117"/>
                  </a:lnTo>
                  <a:lnTo>
                    <a:pt x="69" y="117"/>
                  </a:lnTo>
                  <a:lnTo>
                    <a:pt x="69" y="117"/>
                  </a:lnTo>
                  <a:lnTo>
                    <a:pt x="69" y="113"/>
                  </a:lnTo>
                  <a:lnTo>
                    <a:pt x="69" y="113"/>
                  </a:lnTo>
                  <a:lnTo>
                    <a:pt x="71" y="110"/>
                  </a:lnTo>
                  <a:lnTo>
                    <a:pt x="71" y="110"/>
                  </a:lnTo>
                  <a:lnTo>
                    <a:pt x="75" y="113"/>
                  </a:lnTo>
                  <a:lnTo>
                    <a:pt x="78" y="113"/>
                  </a:lnTo>
                  <a:lnTo>
                    <a:pt x="80" y="110"/>
                  </a:lnTo>
                  <a:lnTo>
                    <a:pt x="80" y="108"/>
                  </a:lnTo>
                  <a:lnTo>
                    <a:pt x="78" y="108"/>
                  </a:lnTo>
                  <a:lnTo>
                    <a:pt x="78" y="108"/>
                  </a:lnTo>
                  <a:lnTo>
                    <a:pt x="78" y="106"/>
                  </a:lnTo>
                  <a:lnTo>
                    <a:pt x="78" y="106"/>
                  </a:lnTo>
                  <a:lnTo>
                    <a:pt x="78" y="102"/>
                  </a:lnTo>
                  <a:lnTo>
                    <a:pt x="78" y="102"/>
                  </a:lnTo>
                  <a:lnTo>
                    <a:pt x="78" y="100"/>
                  </a:lnTo>
                  <a:lnTo>
                    <a:pt x="73" y="98"/>
                  </a:lnTo>
                  <a:lnTo>
                    <a:pt x="71" y="98"/>
                  </a:lnTo>
                  <a:lnTo>
                    <a:pt x="71" y="96"/>
                  </a:lnTo>
                  <a:lnTo>
                    <a:pt x="71" y="96"/>
                  </a:lnTo>
                  <a:lnTo>
                    <a:pt x="71" y="94"/>
                  </a:lnTo>
                  <a:lnTo>
                    <a:pt x="71" y="94"/>
                  </a:lnTo>
                  <a:lnTo>
                    <a:pt x="69" y="94"/>
                  </a:lnTo>
                  <a:lnTo>
                    <a:pt x="67" y="94"/>
                  </a:lnTo>
                  <a:lnTo>
                    <a:pt x="65" y="94"/>
                  </a:lnTo>
                  <a:lnTo>
                    <a:pt x="63" y="96"/>
                  </a:lnTo>
                  <a:lnTo>
                    <a:pt x="61" y="98"/>
                  </a:lnTo>
                  <a:lnTo>
                    <a:pt x="59" y="98"/>
                  </a:lnTo>
                  <a:lnTo>
                    <a:pt x="57" y="98"/>
                  </a:lnTo>
                  <a:lnTo>
                    <a:pt x="55" y="96"/>
                  </a:lnTo>
                  <a:lnTo>
                    <a:pt x="55" y="94"/>
                  </a:lnTo>
                  <a:lnTo>
                    <a:pt x="53" y="94"/>
                  </a:lnTo>
                  <a:lnTo>
                    <a:pt x="53" y="94"/>
                  </a:lnTo>
                  <a:lnTo>
                    <a:pt x="51" y="94"/>
                  </a:lnTo>
                  <a:lnTo>
                    <a:pt x="51" y="94"/>
                  </a:lnTo>
                  <a:lnTo>
                    <a:pt x="51" y="92"/>
                  </a:lnTo>
                  <a:lnTo>
                    <a:pt x="49" y="92"/>
                  </a:lnTo>
                  <a:lnTo>
                    <a:pt x="49" y="92"/>
                  </a:lnTo>
                  <a:lnTo>
                    <a:pt x="49" y="90"/>
                  </a:lnTo>
                  <a:lnTo>
                    <a:pt x="47" y="90"/>
                  </a:lnTo>
                  <a:lnTo>
                    <a:pt x="47" y="90"/>
                  </a:lnTo>
                  <a:lnTo>
                    <a:pt x="45" y="88"/>
                  </a:lnTo>
                  <a:lnTo>
                    <a:pt x="41" y="84"/>
                  </a:lnTo>
                  <a:lnTo>
                    <a:pt x="39" y="82"/>
                  </a:lnTo>
                  <a:lnTo>
                    <a:pt x="37" y="82"/>
                  </a:lnTo>
                  <a:lnTo>
                    <a:pt x="32" y="82"/>
                  </a:lnTo>
                  <a:lnTo>
                    <a:pt x="32" y="80"/>
                  </a:lnTo>
                  <a:lnTo>
                    <a:pt x="30" y="78"/>
                  </a:lnTo>
                  <a:lnTo>
                    <a:pt x="32" y="76"/>
                  </a:lnTo>
                  <a:lnTo>
                    <a:pt x="32" y="74"/>
                  </a:lnTo>
                  <a:lnTo>
                    <a:pt x="32" y="74"/>
                  </a:lnTo>
                  <a:lnTo>
                    <a:pt x="32" y="72"/>
                  </a:lnTo>
                  <a:lnTo>
                    <a:pt x="30" y="70"/>
                  </a:lnTo>
                  <a:lnTo>
                    <a:pt x="28" y="67"/>
                  </a:lnTo>
                  <a:lnTo>
                    <a:pt x="28" y="67"/>
                  </a:lnTo>
                  <a:lnTo>
                    <a:pt x="26" y="63"/>
                  </a:lnTo>
                  <a:lnTo>
                    <a:pt x="26" y="61"/>
                  </a:lnTo>
                  <a:lnTo>
                    <a:pt x="26" y="59"/>
                  </a:lnTo>
                  <a:lnTo>
                    <a:pt x="26" y="59"/>
                  </a:lnTo>
                  <a:lnTo>
                    <a:pt x="24" y="59"/>
                  </a:lnTo>
                  <a:lnTo>
                    <a:pt x="20" y="57"/>
                  </a:lnTo>
                  <a:lnTo>
                    <a:pt x="20" y="57"/>
                  </a:lnTo>
                  <a:lnTo>
                    <a:pt x="18" y="57"/>
                  </a:lnTo>
                  <a:lnTo>
                    <a:pt x="18" y="55"/>
                  </a:lnTo>
                  <a:lnTo>
                    <a:pt x="18" y="53"/>
                  </a:lnTo>
                  <a:lnTo>
                    <a:pt x="16" y="53"/>
                  </a:lnTo>
                  <a:lnTo>
                    <a:pt x="14" y="53"/>
                  </a:lnTo>
                  <a:lnTo>
                    <a:pt x="12" y="53"/>
                  </a:lnTo>
                  <a:lnTo>
                    <a:pt x="12" y="53"/>
                  </a:lnTo>
                  <a:lnTo>
                    <a:pt x="10" y="51"/>
                  </a:lnTo>
                  <a:lnTo>
                    <a:pt x="12" y="51"/>
                  </a:lnTo>
                  <a:lnTo>
                    <a:pt x="12" y="49"/>
                  </a:lnTo>
                  <a:lnTo>
                    <a:pt x="12" y="49"/>
                  </a:lnTo>
                  <a:lnTo>
                    <a:pt x="12" y="49"/>
                  </a:lnTo>
                  <a:lnTo>
                    <a:pt x="12" y="45"/>
                  </a:lnTo>
                  <a:lnTo>
                    <a:pt x="10" y="43"/>
                  </a:lnTo>
                  <a:lnTo>
                    <a:pt x="10" y="43"/>
                  </a:lnTo>
                  <a:lnTo>
                    <a:pt x="10" y="43"/>
                  </a:lnTo>
                  <a:lnTo>
                    <a:pt x="10" y="41"/>
                  </a:lnTo>
                  <a:lnTo>
                    <a:pt x="10" y="39"/>
                  </a:lnTo>
                  <a:lnTo>
                    <a:pt x="8" y="39"/>
                  </a:lnTo>
                  <a:lnTo>
                    <a:pt x="8" y="37"/>
                  </a:lnTo>
                  <a:lnTo>
                    <a:pt x="6" y="35"/>
                  </a:lnTo>
                  <a:lnTo>
                    <a:pt x="6" y="33"/>
                  </a:lnTo>
                  <a:lnTo>
                    <a:pt x="6" y="33"/>
                  </a:lnTo>
                  <a:lnTo>
                    <a:pt x="6" y="31"/>
                  </a:lnTo>
                  <a:lnTo>
                    <a:pt x="6" y="31"/>
                  </a:lnTo>
                  <a:lnTo>
                    <a:pt x="4" y="29"/>
                  </a:lnTo>
                  <a:lnTo>
                    <a:pt x="2" y="29"/>
                  </a:lnTo>
                  <a:lnTo>
                    <a:pt x="0" y="29"/>
                  </a:lnTo>
                  <a:lnTo>
                    <a:pt x="0" y="24"/>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20" y="20"/>
                  </a:lnTo>
                  <a:lnTo>
                    <a:pt x="41" y="20"/>
                  </a:lnTo>
                  <a:lnTo>
                    <a:pt x="61" y="18"/>
                  </a:lnTo>
                  <a:lnTo>
                    <a:pt x="82" y="18"/>
                  </a:lnTo>
                  <a:lnTo>
                    <a:pt x="102" y="16"/>
                  </a:lnTo>
                  <a:lnTo>
                    <a:pt x="123" y="16"/>
                  </a:lnTo>
                  <a:lnTo>
                    <a:pt x="143" y="14"/>
                  </a:lnTo>
                  <a:lnTo>
                    <a:pt x="161" y="14"/>
                  </a:lnTo>
                  <a:lnTo>
                    <a:pt x="182" y="12"/>
                  </a:lnTo>
                  <a:lnTo>
                    <a:pt x="202" y="10"/>
                  </a:lnTo>
                  <a:lnTo>
                    <a:pt x="223" y="10"/>
                  </a:lnTo>
                  <a:lnTo>
                    <a:pt x="243" y="8"/>
                  </a:lnTo>
                  <a:lnTo>
                    <a:pt x="264" y="6"/>
                  </a:lnTo>
                  <a:lnTo>
                    <a:pt x="284" y="4"/>
                  </a:lnTo>
                  <a:lnTo>
                    <a:pt x="303" y="4"/>
                  </a:lnTo>
                  <a:lnTo>
                    <a:pt x="323" y="2"/>
                  </a:lnTo>
                  <a:lnTo>
                    <a:pt x="331" y="2"/>
                  </a:lnTo>
                  <a:lnTo>
                    <a:pt x="336" y="0"/>
                  </a:lnTo>
                  <a:lnTo>
                    <a:pt x="336" y="2"/>
                  </a:lnTo>
                  <a:lnTo>
                    <a:pt x="336" y="2"/>
                  </a:lnTo>
                  <a:lnTo>
                    <a:pt x="338" y="4"/>
                  </a:lnTo>
                  <a:lnTo>
                    <a:pt x="338" y="4"/>
                  </a:lnTo>
                  <a:lnTo>
                    <a:pt x="338" y="6"/>
                  </a:lnTo>
                  <a:lnTo>
                    <a:pt x="340" y="6"/>
                  </a:lnTo>
                  <a:lnTo>
                    <a:pt x="340" y="8"/>
                  </a:lnTo>
                  <a:lnTo>
                    <a:pt x="340" y="8"/>
                  </a:lnTo>
                  <a:lnTo>
                    <a:pt x="342" y="8"/>
                  </a:lnTo>
                  <a:lnTo>
                    <a:pt x="342" y="8"/>
                  </a:lnTo>
                  <a:lnTo>
                    <a:pt x="344" y="10"/>
                  </a:lnTo>
                  <a:lnTo>
                    <a:pt x="346" y="10"/>
                  </a:lnTo>
                  <a:lnTo>
                    <a:pt x="346" y="12"/>
                  </a:lnTo>
                  <a:lnTo>
                    <a:pt x="346" y="12"/>
                  </a:lnTo>
                  <a:lnTo>
                    <a:pt x="346" y="12"/>
                  </a:lnTo>
                  <a:lnTo>
                    <a:pt x="346" y="12"/>
                  </a:lnTo>
                  <a:lnTo>
                    <a:pt x="348" y="12"/>
                  </a:lnTo>
                  <a:lnTo>
                    <a:pt x="348" y="12"/>
                  </a:lnTo>
                  <a:lnTo>
                    <a:pt x="348" y="14"/>
                  </a:lnTo>
                  <a:lnTo>
                    <a:pt x="348" y="14"/>
                  </a:lnTo>
                  <a:lnTo>
                    <a:pt x="348" y="14"/>
                  </a:lnTo>
                  <a:lnTo>
                    <a:pt x="350" y="14"/>
                  </a:lnTo>
                  <a:lnTo>
                    <a:pt x="352" y="16"/>
                  </a:lnTo>
                  <a:lnTo>
                    <a:pt x="352" y="16"/>
                  </a:lnTo>
                  <a:lnTo>
                    <a:pt x="352" y="16"/>
                  </a:lnTo>
                  <a:lnTo>
                    <a:pt x="352" y="18"/>
                  </a:lnTo>
                  <a:lnTo>
                    <a:pt x="352" y="18"/>
                  </a:lnTo>
                  <a:lnTo>
                    <a:pt x="352" y="18"/>
                  </a:lnTo>
                  <a:lnTo>
                    <a:pt x="354" y="20"/>
                  </a:lnTo>
                  <a:lnTo>
                    <a:pt x="356" y="22"/>
                  </a:lnTo>
                  <a:lnTo>
                    <a:pt x="358" y="24"/>
                  </a:lnTo>
                  <a:lnTo>
                    <a:pt x="360" y="24"/>
                  </a:lnTo>
                  <a:lnTo>
                    <a:pt x="362" y="24"/>
                  </a:lnTo>
                  <a:lnTo>
                    <a:pt x="362" y="24"/>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O</a:t>
              </a:r>
            </a:p>
          </p:txBody>
        </p:sp>
        <p:sp>
          <p:nvSpPr>
            <p:cNvPr id="321" name="Freeform 32">
              <a:extLst>
                <a:ext uri="{FF2B5EF4-FFF2-40B4-BE49-F238E27FC236}">
                  <a16:creationId xmlns:a16="http://schemas.microsoft.com/office/drawing/2014/main" id="{868A9EA1-D85E-5F03-AFDC-5F291AED54D3}"/>
                </a:ext>
              </a:extLst>
            </p:cNvPr>
            <p:cNvSpPr>
              <a:spLocks/>
            </p:cNvSpPr>
            <p:nvPr/>
          </p:nvSpPr>
          <p:spPr bwMode="auto">
            <a:xfrm>
              <a:off x="2934" y="133"/>
              <a:ext cx="584" cy="613"/>
            </a:xfrm>
            <a:custGeom>
              <a:avLst/>
              <a:gdLst>
                <a:gd name="T0" fmla="*/ 562 w 584"/>
                <a:gd name="T1" fmla="*/ 115 h 613"/>
                <a:gd name="T2" fmla="*/ 516 w 584"/>
                <a:gd name="T3" fmla="*/ 109 h 613"/>
                <a:gd name="T4" fmla="*/ 500 w 584"/>
                <a:gd name="T5" fmla="*/ 111 h 613"/>
                <a:gd name="T6" fmla="*/ 488 w 584"/>
                <a:gd name="T7" fmla="*/ 99 h 613"/>
                <a:gd name="T8" fmla="*/ 455 w 584"/>
                <a:gd name="T9" fmla="*/ 115 h 613"/>
                <a:gd name="T10" fmla="*/ 432 w 584"/>
                <a:gd name="T11" fmla="*/ 115 h 613"/>
                <a:gd name="T12" fmla="*/ 410 w 584"/>
                <a:gd name="T13" fmla="*/ 107 h 613"/>
                <a:gd name="T14" fmla="*/ 379 w 584"/>
                <a:gd name="T15" fmla="*/ 92 h 613"/>
                <a:gd name="T16" fmla="*/ 371 w 584"/>
                <a:gd name="T17" fmla="*/ 105 h 613"/>
                <a:gd name="T18" fmla="*/ 349 w 584"/>
                <a:gd name="T19" fmla="*/ 86 h 613"/>
                <a:gd name="T20" fmla="*/ 342 w 584"/>
                <a:gd name="T21" fmla="*/ 74 h 613"/>
                <a:gd name="T22" fmla="*/ 287 w 584"/>
                <a:gd name="T23" fmla="*/ 76 h 613"/>
                <a:gd name="T24" fmla="*/ 254 w 584"/>
                <a:gd name="T25" fmla="*/ 70 h 613"/>
                <a:gd name="T26" fmla="*/ 224 w 584"/>
                <a:gd name="T27" fmla="*/ 64 h 613"/>
                <a:gd name="T28" fmla="*/ 191 w 584"/>
                <a:gd name="T29" fmla="*/ 52 h 613"/>
                <a:gd name="T30" fmla="*/ 181 w 584"/>
                <a:gd name="T31" fmla="*/ 8 h 613"/>
                <a:gd name="T32" fmla="*/ 156 w 584"/>
                <a:gd name="T33" fmla="*/ 37 h 613"/>
                <a:gd name="T34" fmla="*/ 39 w 584"/>
                <a:gd name="T35" fmla="*/ 43 h 613"/>
                <a:gd name="T36" fmla="*/ 2 w 584"/>
                <a:gd name="T37" fmla="*/ 54 h 613"/>
                <a:gd name="T38" fmla="*/ 9 w 584"/>
                <a:gd name="T39" fmla="*/ 86 h 613"/>
                <a:gd name="T40" fmla="*/ 11 w 584"/>
                <a:gd name="T41" fmla="*/ 115 h 613"/>
                <a:gd name="T42" fmla="*/ 19 w 584"/>
                <a:gd name="T43" fmla="*/ 156 h 613"/>
                <a:gd name="T44" fmla="*/ 23 w 584"/>
                <a:gd name="T45" fmla="*/ 166 h 613"/>
                <a:gd name="T46" fmla="*/ 33 w 584"/>
                <a:gd name="T47" fmla="*/ 187 h 613"/>
                <a:gd name="T48" fmla="*/ 33 w 584"/>
                <a:gd name="T49" fmla="*/ 203 h 613"/>
                <a:gd name="T50" fmla="*/ 35 w 584"/>
                <a:gd name="T51" fmla="*/ 232 h 613"/>
                <a:gd name="T52" fmla="*/ 39 w 584"/>
                <a:gd name="T53" fmla="*/ 252 h 613"/>
                <a:gd name="T54" fmla="*/ 41 w 584"/>
                <a:gd name="T55" fmla="*/ 256 h 613"/>
                <a:gd name="T56" fmla="*/ 41 w 584"/>
                <a:gd name="T57" fmla="*/ 275 h 613"/>
                <a:gd name="T58" fmla="*/ 45 w 584"/>
                <a:gd name="T59" fmla="*/ 299 h 613"/>
                <a:gd name="T60" fmla="*/ 56 w 584"/>
                <a:gd name="T61" fmla="*/ 318 h 613"/>
                <a:gd name="T62" fmla="*/ 60 w 584"/>
                <a:gd name="T63" fmla="*/ 336 h 613"/>
                <a:gd name="T64" fmla="*/ 60 w 584"/>
                <a:gd name="T65" fmla="*/ 361 h 613"/>
                <a:gd name="T66" fmla="*/ 45 w 584"/>
                <a:gd name="T67" fmla="*/ 384 h 613"/>
                <a:gd name="T68" fmla="*/ 49 w 584"/>
                <a:gd name="T69" fmla="*/ 408 h 613"/>
                <a:gd name="T70" fmla="*/ 70 w 584"/>
                <a:gd name="T71" fmla="*/ 424 h 613"/>
                <a:gd name="T72" fmla="*/ 76 w 584"/>
                <a:gd name="T73" fmla="*/ 590 h 613"/>
                <a:gd name="T74" fmla="*/ 312 w 584"/>
                <a:gd name="T75" fmla="*/ 603 h 613"/>
                <a:gd name="T76" fmla="*/ 496 w 584"/>
                <a:gd name="T77" fmla="*/ 584 h 613"/>
                <a:gd name="T78" fmla="*/ 494 w 584"/>
                <a:gd name="T79" fmla="*/ 562 h 613"/>
                <a:gd name="T80" fmla="*/ 488 w 584"/>
                <a:gd name="T81" fmla="*/ 547 h 613"/>
                <a:gd name="T82" fmla="*/ 478 w 584"/>
                <a:gd name="T83" fmla="*/ 537 h 613"/>
                <a:gd name="T84" fmla="*/ 457 w 584"/>
                <a:gd name="T85" fmla="*/ 533 h 613"/>
                <a:gd name="T86" fmla="*/ 404 w 584"/>
                <a:gd name="T87" fmla="*/ 494 h 613"/>
                <a:gd name="T88" fmla="*/ 375 w 584"/>
                <a:gd name="T89" fmla="*/ 478 h 613"/>
                <a:gd name="T90" fmla="*/ 365 w 584"/>
                <a:gd name="T91" fmla="*/ 449 h 613"/>
                <a:gd name="T92" fmla="*/ 363 w 584"/>
                <a:gd name="T93" fmla="*/ 427 h 613"/>
                <a:gd name="T94" fmla="*/ 365 w 584"/>
                <a:gd name="T95" fmla="*/ 406 h 613"/>
                <a:gd name="T96" fmla="*/ 361 w 584"/>
                <a:gd name="T97" fmla="*/ 384 h 613"/>
                <a:gd name="T98" fmla="*/ 357 w 584"/>
                <a:gd name="T99" fmla="*/ 357 h 613"/>
                <a:gd name="T100" fmla="*/ 373 w 584"/>
                <a:gd name="T101" fmla="*/ 338 h 613"/>
                <a:gd name="T102" fmla="*/ 383 w 584"/>
                <a:gd name="T103" fmla="*/ 332 h 613"/>
                <a:gd name="T104" fmla="*/ 392 w 584"/>
                <a:gd name="T105" fmla="*/ 322 h 613"/>
                <a:gd name="T106" fmla="*/ 389 w 584"/>
                <a:gd name="T107" fmla="*/ 267 h 613"/>
                <a:gd name="T108" fmla="*/ 396 w 584"/>
                <a:gd name="T109" fmla="*/ 263 h 613"/>
                <a:gd name="T110" fmla="*/ 400 w 584"/>
                <a:gd name="T111" fmla="*/ 256 h 613"/>
                <a:gd name="T112" fmla="*/ 428 w 584"/>
                <a:gd name="T113" fmla="*/ 230 h 613"/>
                <a:gd name="T114" fmla="*/ 441 w 584"/>
                <a:gd name="T115" fmla="*/ 218 h 613"/>
                <a:gd name="T116" fmla="*/ 549 w 584"/>
                <a:gd name="T117" fmla="*/ 133 h 613"/>
                <a:gd name="T118" fmla="*/ 584 w 584"/>
                <a:gd name="T119" fmla="*/ 11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4" h="613">
                  <a:moveTo>
                    <a:pt x="584" y="111"/>
                  </a:moveTo>
                  <a:lnTo>
                    <a:pt x="580" y="111"/>
                  </a:lnTo>
                  <a:lnTo>
                    <a:pt x="578" y="111"/>
                  </a:lnTo>
                  <a:lnTo>
                    <a:pt x="574" y="111"/>
                  </a:lnTo>
                  <a:lnTo>
                    <a:pt x="574" y="111"/>
                  </a:lnTo>
                  <a:lnTo>
                    <a:pt x="572" y="111"/>
                  </a:lnTo>
                  <a:lnTo>
                    <a:pt x="572" y="111"/>
                  </a:lnTo>
                  <a:lnTo>
                    <a:pt x="570" y="111"/>
                  </a:lnTo>
                  <a:lnTo>
                    <a:pt x="568" y="111"/>
                  </a:lnTo>
                  <a:lnTo>
                    <a:pt x="562" y="115"/>
                  </a:lnTo>
                  <a:lnTo>
                    <a:pt x="559" y="115"/>
                  </a:lnTo>
                  <a:lnTo>
                    <a:pt x="555" y="113"/>
                  </a:lnTo>
                  <a:lnTo>
                    <a:pt x="553" y="113"/>
                  </a:lnTo>
                  <a:lnTo>
                    <a:pt x="551" y="111"/>
                  </a:lnTo>
                  <a:lnTo>
                    <a:pt x="547" y="105"/>
                  </a:lnTo>
                  <a:lnTo>
                    <a:pt x="547" y="105"/>
                  </a:lnTo>
                  <a:lnTo>
                    <a:pt x="543" y="103"/>
                  </a:lnTo>
                  <a:lnTo>
                    <a:pt x="539" y="103"/>
                  </a:lnTo>
                  <a:lnTo>
                    <a:pt x="516" y="109"/>
                  </a:lnTo>
                  <a:lnTo>
                    <a:pt x="516" y="109"/>
                  </a:lnTo>
                  <a:lnTo>
                    <a:pt x="516" y="109"/>
                  </a:lnTo>
                  <a:lnTo>
                    <a:pt x="514" y="107"/>
                  </a:lnTo>
                  <a:lnTo>
                    <a:pt x="514" y="109"/>
                  </a:lnTo>
                  <a:lnTo>
                    <a:pt x="512" y="109"/>
                  </a:lnTo>
                  <a:lnTo>
                    <a:pt x="510" y="109"/>
                  </a:lnTo>
                  <a:lnTo>
                    <a:pt x="510" y="109"/>
                  </a:lnTo>
                  <a:lnTo>
                    <a:pt x="508" y="109"/>
                  </a:lnTo>
                  <a:lnTo>
                    <a:pt x="508" y="107"/>
                  </a:lnTo>
                  <a:lnTo>
                    <a:pt x="506" y="107"/>
                  </a:lnTo>
                  <a:lnTo>
                    <a:pt x="500" y="111"/>
                  </a:lnTo>
                  <a:lnTo>
                    <a:pt x="496" y="111"/>
                  </a:lnTo>
                  <a:lnTo>
                    <a:pt x="492" y="109"/>
                  </a:lnTo>
                  <a:lnTo>
                    <a:pt x="492" y="107"/>
                  </a:lnTo>
                  <a:lnTo>
                    <a:pt x="490" y="105"/>
                  </a:lnTo>
                  <a:lnTo>
                    <a:pt x="490" y="103"/>
                  </a:lnTo>
                  <a:lnTo>
                    <a:pt x="490" y="103"/>
                  </a:lnTo>
                  <a:lnTo>
                    <a:pt x="488" y="103"/>
                  </a:lnTo>
                  <a:lnTo>
                    <a:pt x="488" y="103"/>
                  </a:lnTo>
                  <a:lnTo>
                    <a:pt x="488" y="101"/>
                  </a:lnTo>
                  <a:lnTo>
                    <a:pt x="488" y="99"/>
                  </a:lnTo>
                  <a:lnTo>
                    <a:pt x="488" y="99"/>
                  </a:lnTo>
                  <a:lnTo>
                    <a:pt x="488" y="97"/>
                  </a:lnTo>
                  <a:lnTo>
                    <a:pt x="486" y="97"/>
                  </a:lnTo>
                  <a:lnTo>
                    <a:pt x="482" y="97"/>
                  </a:lnTo>
                  <a:lnTo>
                    <a:pt x="475" y="101"/>
                  </a:lnTo>
                  <a:lnTo>
                    <a:pt x="473" y="103"/>
                  </a:lnTo>
                  <a:lnTo>
                    <a:pt x="469" y="105"/>
                  </a:lnTo>
                  <a:lnTo>
                    <a:pt x="461" y="111"/>
                  </a:lnTo>
                  <a:lnTo>
                    <a:pt x="459" y="113"/>
                  </a:lnTo>
                  <a:lnTo>
                    <a:pt x="455" y="115"/>
                  </a:lnTo>
                  <a:lnTo>
                    <a:pt x="449" y="117"/>
                  </a:lnTo>
                  <a:lnTo>
                    <a:pt x="445" y="119"/>
                  </a:lnTo>
                  <a:lnTo>
                    <a:pt x="443" y="119"/>
                  </a:lnTo>
                  <a:lnTo>
                    <a:pt x="441" y="119"/>
                  </a:lnTo>
                  <a:lnTo>
                    <a:pt x="441" y="119"/>
                  </a:lnTo>
                  <a:lnTo>
                    <a:pt x="432" y="119"/>
                  </a:lnTo>
                  <a:lnTo>
                    <a:pt x="432" y="119"/>
                  </a:lnTo>
                  <a:lnTo>
                    <a:pt x="432" y="119"/>
                  </a:lnTo>
                  <a:lnTo>
                    <a:pt x="432" y="117"/>
                  </a:lnTo>
                  <a:lnTo>
                    <a:pt x="432" y="115"/>
                  </a:lnTo>
                  <a:lnTo>
                    <a:pt x="432" y="115"/>
                  </a:lnTo>
                  <a:lnTo>
                    <a:pt x="430" y="115"/>
                  </a:lnTo>
                  <a:lnTo>
                    <a:pt x="430" y="115"/>
                  </a:lnTo>
                  <a:lnTo>
                    <a:pt x="424" y="115"/>
                  </a:lnTo>
                  <a:lnTo>
                    <a:pt x="422" y="113"/>
                  </a:lnTo>
                  <a:lnTo>
                    <a:pt x="422" y="111"/>
                  </a:lnTo>
                  <a:lnTo>
                    <a:pt x="420" y="109"/>
                  </a:lnTo>
                  <a:lnTo>
                    <a:pt x="420" y="107"/>
                  </a:lnTo>
                  <a:lnTo>
                    <a:pt x="418" y="107"/>
                  </a:lnTo>
                  <a:lnTo>
                    <a:pt x="410" y="107"/>
                  </a:lnTo>
                  <a:lnTo>
                    <a:pt x="402" y="103"/>
                  </a:lnTo>
                  <a:lnTo>
                    <a:pt x="402" y="103"/>
                  </a:lnTo>
                  <a:lnTo>
                    <a:pt x="400" y="101"/>
                  </a:lnTo>
                  <a:lnTo>
                    <a:pt x="398" y="101"/>
                  </a:lnTo>
                  <a:lnTo>
                    <a:pt x="398" y="97"/>
                  </a:lnTo>
                  <a:lnTo>
                    <a:pt x="396" y="95"/>
                  </a:lnTo>
                  <a:lnTo>
                    <a:pt x="396" y="92"/>
                  </a:lnTo>
                  <a:lnTo>
                    <a:pt x="394" y="92"/>
                  </a:lnTo>
                  <a:lnTo>
                    <a:pt x="387" y="92"/>
                  </a:lnTo>
                  <a:lnTo>
                    <a:pt x="379" y="92"/>
                  </a:lnTo>
                  <a:lnTo>
                    <a:pt x="377" y="95"/>
                  </a:lnTo>
                  <a:lnTo>
                    <a:pt x="375" y="97"/>
                  </a:lnTo>
                  <a:lnTo>
                    <a:pt x="375" y="99"/>
                  </a:lnTo>
                  <a:lnTo>
                    <a:pt x="377" y="101"/>
                  </a:lnTo>
                  <a:lnTo>
                    <a:pt x="377" y="103"/>
                  </a:lnTo>
                  <a:lnTo>
                    <a:pt x="377" y="105"/>
                  </a:lnTo>
                  <a:lnTo>
                    <a:pt x="375" y="105"/>
                  </a:lnTo>
                  <a:lnTo>
                    <a:pt x="373" y="105"/>
                  </a:lnTo>
                  <a:lnTo>
                    <a:pt x="371" y="107"/>
                  </a:lnTo>
                  <a:lnTo>
                    <a:pt x="371" y="105"/>
                  </a:lnTo>
                  <a:lnTo>
                    <a:pt x="367" y="101"/>
                  </a:lnTo>
                  <a:lnTo>
                    <a:pt x="365" y="97"/>
                  </a:lnTo>
                  <a:lnTo>
                    <a:pt x="363" y="95"/>
                  </a:lnTo>
                  <a:lnTo>
                    <a:pt x="363" y="92"/>
                  </a:lnTo>
                  <a:lnTo>
                    <a:pt x="363" y="88"/>
                  </a:lnTo>
                  <a:lnTo>
                    <a:pt x="363" y="86"/>
                  </a:lnTo>
                  <a:lnTo>
                    <a:pt x="361" y="84"/>
                  </a:lnTo>
                  <a:lnTo>
                    <a:pt x="359" y="84"/>
                  </a:lnTo>
                  <a:lnTo>
                    <a:pt x="355" y="84"/>
                  </a:lnTo>
                  <a:lnTo>
                    <a:pt x="349" y="86"/>
                  </a:lnTo>
                  <a:lnTo>
                    <a:pt x="346" y="84"/>
                  </a:lnTo>
                  <a:lnTo>
                    <a:pt x="344" y="84"/>
                  </a:lnTo>
                  <a:lnTo>
                    <a:pt x="342" y="84"/>
                  </a:lnTo>
                  <a:lnTo>
                    <a:pt x="344" y="80"/>
                  </a:lnTo>
                  <a:lnTo>
                    <a:pt x="344" y="80"/>
                  </a:lnTo>
                  <a:lnTo>
                    <a:pt x="349" y="80"/>
                  </a:lnTo>
                  <a:lnTo>
                    <a:pt x="351" y="78"/>
                  </a:lnTo>
                  <a:lnTo>
                    <a:pt x="351" y="76"/>
                  </a:lnTo>
                  <a:lnTo>
                    <a:pt x="349" y="76"/>
                  </a:lnTo>
                  <a:lnTo>
                    <a:pt x="342" y="74"/>
                  </a:lnTo>
                  <a:lnTo>
                    <a:pt x="330" y="72"/>
                  </a:lnTo>
                  <a:lnTo>
                    <a:pt x="324" y="70"/>
                  </a:lnTo>
                  <a:lnTo>
                    <a:pt x="322" y="68"/>
                  </a:lnTo>
                  <a:lnTo>
                    <a:pt x="312" y="68"/>
                  </a:lnTo>
                  <a:lnTo>
                    <a:pt x="301" y="68"/>
                  </a:lnTo>
                  <a:lnTo>
                    <a:pt x="291" y="70"/>
                  </a:lnTo>
                  <a:lnTo>
                    <a:pt x="289" y="72"/>
                  </a:lnTo>
                  <a:lnTo>
                    <a:pt x="287" y="72"/>
                  </a:lnTo>
                  <a:lnTo>
                    <a:pt x="287" y="74"/>
                  </a:lnTo>
                  <a:lnTo>
                    <a:pt x="287" y="76"/>
                  </a:lnTo>
                  <a:lnTo>
                    <a:pt x="287" y="76"/>
                  </a:lnTo>
                  <a:lnTo>
                    <a:pt x="285" y="78"/>
                  </a:lnTo>
                  <a:lnTo>
                    <a:pt x="279" y="80"/>
                  </a:lnTo>
                  <a:lnTo>
                    <a:pt x="277" y="80"/>
                  </a:lnTo>
                  <a:lnTo>
                    <a:pt x="275" y="80"/>
                  </a:lnTo>
                  <a:lnTo>
                    <a:pt x="265" y="82"/>
                  </a:lnTo>
                  <a:lnTo>
                    <a:pt x="262" y="82"/>
                  </a:lnTo>
                  <a:lnTo>
                    <a:pt x="260" y="80"/>
                  </a:lnTo>
                  <a:lnTo>
                    <a:pt x="258" y="72"/>
                  </a:lnTo>
                  <a:lnTo>
                    <a:pt x="254" y="70"/>
                  </a:lnTo>
                  <a:lnTo>
                    <a:pt x="242" y="70"/>
                  </a:lnTo>
                  <a:lnTo>
                    <a:pt x="228" y="70"/>
                  </a:lnTo>
                  <a:lnTo>
                    <a:pt x="226" y="70"/>
                  </a:lnTo>
                  <a:lnTo>
                    <a:pt x="226" y="70"/>
                  </a:lnTo>
                  <a:lnTo>
                    <a:pt x="226" y="68"/>
                  </a:lnTo>
                  <a:lnTo>
                    <a:pt x="226" y="66"/>
                  </a:lnTo>
                  <a:lnTo>
                    <a:pt x="226" y="66"/>
                  </a:lnTo>
                  <a:lnTo>
                    <a:pt x="224" y="66"/>
                  </a:lnTo>
                  <a:lnTo>
                    <a:pt x="224" y="66"/>
                  </a:lnTo>
                  <a:lnTo>
                    <a:pt x="224" y="64"/>
                  </a:lnTo>
                  <a:lnTo>
                    <a:pt x="222" y="64"/>
                  </a:lnTo>
                  <a:lnTo>
                    <a:pt x="209" y="66"/>
                  </a:lnTo>
                  <a:lnTo>
                    <a:pt x="205" y="66"/>
                  </a:lnTo>
                  <a:lnTo>
                    <a:pt x="201" y="64"/>
                  </a:lnTo>
                  <a:lnTo>
                    <a:pt x="193" y="60"/>
                  </a:lnTo>
                  <a:lnTo>
                    <a:pt x="191" y="58"/>
                  </a:lnTo>
                  <a:lnTo>
                    <a:pt x="191" y="56"/>
                  </a:lnTo>
                  <a:lnTo>
                    <a:pt x="191" y="56"/>
                  </a:lnTo>
                  <a:lnTo>
                    <a:pt x="191" y="54"/>
                  </a:lnTo>
                  <a:lnTo>
                    <a:pt x="191" y="52"/>
                  </a:lnTo>
                  <a:lnTo>
                    <a:pt x="191" y="52"/>
                  </a:lnTo>
                  <a:lnTo>
                    <a:pt x="191" y="45"/>
                  </a:lnTo>
                  <a:lnTo>
                    <a:pt x="187" y="35"/>
                  </a:lnTo>
                  <a:lnTo>
                    <a:pt x="183" y="25"/>
                  </a:lnTo>
                  <a:lnTo>
                    <a:pt x="183" y="23"/>
                  </a:lnTo>
                  <a:lnTo>
                    <a:pt x="183" y="21"/>
                  </a:lnTo>
                  <a:lnTo>
                    <a:pt x="183" y="17"/>
                  </a:lnTo>
                  <a:lnTo>
                    <a:pt x="181" y="15"/>
                  </a:lnTo>
                  <a:lnTo>
                    <a:pt x="181" y="13"/>
                  </a:lnTo>
                  <a:lnTo>
                    <a:pt x="181" y="8"/>
                  </a:lnTo>
                  <a:lnTo>
                    <a:pt x="179" y="6"/>
                  </a:lnTo>
                  <a:lnTo>
                    <a:pt x="179" y="4"/>
                  </a:lnTo>
                  <a:lnTo>
                    <a:pt x="172" y="2"/>
                  </a:lnTo>
                  <a:lnTo>
                    <a:pt x="168" y="2"/>
                  </a:lnTo>
                  <a:lnTo>
                    <a:pt x="158" y="2"/>
                  </a:lnTo>
                  <a:lnTo>
                    <a:pt x="154" y="0"/>
                  </a:lnTo>
                  <a:lnTo>
                    <a:pt x="154" y="6"/>
                  </a:lnTo>
                  <a:lnTo>
                    <a:pt x="156" y="15"/>
                  </a:lnTo>
                  <a:lnTo>
                    <a:pt x="156" y="27"/>
                  </a:lnTo>
                  <a:lnTo>
                    <a:pt x="156" y="37"/>
                  </a:lnTo>
                  <a:lnTo>
                    <a:pt x="156" y="39"/>
                  </a:lnTo>
                  <a:lnTo>
                    <a:pt x="156" y="39"/>
                  </a:lnTo>
                  <a:lnTo>
                    <a:pt x="154" y="39"/>
                  </a:lnTo>
                  <a:lnTo>
                    <a:pt x="138" y="39"/>
                  </a:lnTo>
                  <a:lnTo>
                    <a:pt x="121" y="41"/>
                  </a:lnTo>
                  <a:lnTo>
                    <a:pt x="105" y="41"/>
                  </a:lnTo>
                  <a:lnTo>
                    <a:pt x="88" y="41"/>
                  </a:lnTo>
                  <a:lnTo>
                    <a:pt x="72" y="43"/>
                  </a:lnTo>
                  <a:lnTo>
                    <a:pt x="56" y="43"/>
                  </a:lnTo>
                  <a:lnTo>
                    <a:pt x="39" y="43"/>
                  </a:lnTo>
                  <a:lnTo>
                    <a:pt x="23" y="43"/>
                  </a:lnTo>
                  <a:lnTo>
                    <a:pt x="6" y="45"/>
                  </a:lnTo>
                  <a:lnTo>
                    <a:pt x="0" y="45"/>
                  </a:lnTo>
                  <a:lnTo>
                    <a:pt x="0" y="45"/>
                  </a:lnTo>
                  <a:lnTo>
                    <a:pt x="0" y="47"/>
                  </a:lnTo>
                  <a:lnTo>
                    <a:pt x="0" y="49"/>
                  </a:lnTo>
                  <a:lnTo>
                    <a:pt x="2" y="49"/>
                  </a:lnTo>
                  <a:lnTo>
                    <a:pt x="2" y="52"/>
                  </a:lnTo>
                  <a:lnTo>
                    <a:pt x="2" y="54"/>
                  </a:lnTo>
                  <a:lnTo>
                    <a:pt x="2" y="54"/>
                  </a:lnTo>
                  <a:lnTo>
                    <a:pt x="4" y="56"/>
                  </a:lnTo>
                  <a:lnTo>
                    <a:pt x="4" y="56"/>
                  </a:lnTo>
                  <a:lnTo>
                    <a:pt x="4" y="60"/>
                  </a:lnTo>
                  <a:lnTo>
                    <a:pt x="6" y="66"/>
                  </a:lnTo>
                  <a:lnTo>
                    <a:pt x="9" y="70"/>
                  </a:lnTo>
                  <a:lnTo>
                    <a:pt x="9" y="70"/>
                  </a:lnTo>
                  <a:lnTo>
                    <a:pt x="11" y="74"/>
                  </a:lnTo>
                  <a:lnTo>
                    <a:pt x="11" y="80"/>
                  </a:lnTo>
                  <a:lnTo>
                    <a:pt x="11" y="82"/>
                  </a:lnTo>
                  <a:lnTo>
                    <a:pt x="9" y="86"/>
                  </a:lnTo>
                  <a:lnTo>
                    <a:pt x="6" y="90"/>
                  </a:lnTo>
                  <a:lnTo>
                    <a:pt x="9" y="97"/>
                  </a:lnTo>
                  <a:lnTo>
                    <a:pt x="9" y="101"/>
                  </a:lnTo>
                  <a:lnTo>
                    <a:pt x="11" y="103"/>
                  </a:lnTo>
                  <a:lnTo>
                    <a:pt x="11" y="103"/>
                  </a:lnTo>
                  <a:lnTo>
                    <a:pt x="11" y="105"/>
                  </a:lnTo>
                  <a:lnTo>
                    <a:pt x="9" y="107"/>
                  </a:lnTo>
                  <a:lnTo>
                    <a:pt x="9" y="107"/>
                  </a:lnTo>
                  <a:lnTo>
                    <a:pt x="11" y="115"/>
                  </a:lnTo>
                  <a:lnTo>
                    <a:pt x="11" y="115"/>
                  </a:lnTo>
                  <a:lnTo>
                    <a:pt x="11" y="117"/>
                  </a:lnTo>
                  <a:lnTo>
                    <a:pt x="11" y="123"/>
                  </a:lnTo>
                  <a:lnTo>
                    <a:pt x="11" y="129"/>
                  </a:lnTo>
                  <a:lnTo>
                    <a:pt x="11" y="131"/>
                  </a:lnTo>
                  <a:lnTo>
                    <a:pt x="13" y="136"/>
                  </a:lnTo>
                  <a:lnTo>
                    <a:pt x="17" y="144"/>
                  </a:lnTo>
                  <a:lnTo>
                    <a:pt x="17" y="148"/>
                  </a:lnTo>
                  <a:lnTo>
                    <a:pt x="19" y="150"/>
                  </a:lnTo>
                  <a:lnTo>
                    <a:pt x="21" y="154"/>
                  </a:lnTo>
                  <a:lnTo>
                    <a:pt x="19" y="156"/>
                  </a:lnTo>
                  <a:lnTo>
                    <a:pt x="21" y="158"/>
                  </a:lnTo>
                  <a:lnTo>
                    <a:pt x="23" y="164"/>
                  </a:lnTo>
                  <a:lnTo>
                    <a:pt x="23" y="164"/>
                  </a:lnTo>
                  <a:lnTo>
                    <a:pt x="21" y="164"/>
                  </a:lnTo>
                  <a:lnTo>
                    <a:pt x="21" y="164"/>
                  </a:lnTo>
                  <a:lnTo>
                    <a:pt x="23" y="166"/>
                  </a:lnTo>
                  <a:lnTo>
                    <a:pt x="23" y="166"/>
                  </a:lnTo>
                  <a:lnTo>
                    <a:pt x="23" y="166"/>
                  </a:lnTo>
                  <a:lnTo>
                    <a:pt x="23" y="166"/>
                  </a:lnTo>
                  <a:lnTo>
                    <a:pt x="23" y="166"/>
                  </a:lnTo>
                  <a:lnTo>
                    <a:pt x="25" y="168"/>
                  </a:lnTo>
                  <a:lnTo>
                    <a:pt x="25" y="170"/>
                  </a:lnTo>
                  <a:lnTo>
                    <a:pt x="27" y="172"/>
                  </a:lnTo>
                  <a:lnTo>
                    <a:pt x="27" y="174"/>
                  </a:lnTo>
                  <a:lnTo>
                    <a:pt x="29" y="177"/>
                  </a:lnTo>
                  <a:lnTo>
                    <a:pt x="29" y="179"/>
                  </a:lnTo>
                  <a:lnTo>
                    <a:pt x="31" y="183"/>
                  </a:lnTo>
                  <a:lnTo>
                    <a:pt x="31" y="185"/>
                  </a:lnTo>
                  <a:lnTo>
                    <a:pt x="33" y="187"/>
                  </a:lnTo>
                  <a:lnTo>
                    <a:pt x="33" y="187"/>
                  </a:lnTo>
                  <a:lnTo>
                    <a:pt x="33" y="187"/>
                  </a:lnTo>
                  <a:lnTo>
                    <a:pt x="33" y="187"/>
                  </a:lnTo>
                  <a:lnTo>
                    <a:pt x="33" y="189"/>
                  </a:lnTo>
                  <a:lnTo>
                    <a:pt x="33" y="189"/>
                  </a:lnTo>
                  <a:lnTo>
                    <a:pt x="33" y="191"/>
                  </a:lnTo>
                  <a:lnTo>
                    <a:pt x="33" y="193"/>
                  </a:lnTo>
                  <a:lnTo>
                    <a:pt x="33" y="195"/>
                  </a:lnTo>
                  <a:lnTo>
                    <a:pt x="33" y="197"/>
                  </a:lnTo>
                  <a:lnTo>
                    <a:pt x="33" y="197"/>
                  </a:lnTo>
                  <a:lnTo>
                    <a:pt x="33" y="203"/>
                  </a:lnTo>
                  <a:lnTo>
                    <a:pt x="33" y="205"/>
                  </a:lnTo>
                  <a:lnTo>
                    <a:pt x="33" y="205"/>
                  </a:lnTo>
                  <a:lnTo>
                    <a:pt x="33" y="207"/>
                  </a:lnTo>
                  <a:lnTo>
                    <a:pt x="33" y="207"/>
                  </a:lnTo>
                  <a:lnTo>
                    <a:pt x="35" y="209"/>
                  </a:lnTo>
                  <a:lnTo>
                    <a:pt x="35" y="222"/>
                  </a:lnTo>
                  <a:lnTo>
                    <a:pt x="35" y="224"/>
                  </a:lnTo>
                  <a:lnTo>
                    <a:pt x="35" y="230"/>
                  </a:lnTo>
                  <a:lnTo>
                    <a:pt x="35" y="232"/>
                  </a:lnTo>
                  <a:lnTo>
                    <a:pt x="35" y="232"/>
                  </a:lnTo>
                  <a:lnTo>
                    <a:pt x="35" y="232"/>
                  </a:lnTo>
                  <a:lnTo>
                    <a:pt x="35" y="234"/>
                  </a:lnTo>
                  <a:lnTo>
                    <a:pt x="35" y="236"/>
                  </a:lnTo>
                  <a:lnTo>
                    <a:pt x="37" y="240"/>
                  </a:lnTo>
                  <a:lnTo>
                    <a:pt x="37" y="242"/>
                  </a:lnTo>
                  <a:lnTo>
                    <a:pt x="37" y="248"/>
                  </a:lnTo>
                  <a:lnTo>
                    <a:pt x="37" y="250"/>
                  </a:lnTo>
                  <a:lnTo>
                    <a:pt x="37" y="250"/>
                  </a:lnTo>
                  <a:lnTo>
                    <a:pt x="39" y="252"/>
                  </a:lnTo>
                  <a:lnTo>
                    <a:pt x="39" y="252"/>
                  </a:lnTo>
                  <a:lnTo>
                    <a:pt x="39" y="254"/>
                  </a:lnTo>
                  <a:lnTo>
                    <a:pt x="39" y="254"/>
                  </a:lnTo>
                  <a:lnTo>
                    <a:pt x="39" y="254"/>
                  </a:lnTo>
                  <a:lnTo>
                    <a:pt x="39" y="254"/>
                  </a:lnTo>
                  <a:lnTo>
                    <a:pt x="41" y="254"/>
                  </a:lnTo>
                  <a:lnTo>
                    <a:pt x="41" y="254"/>
                  </a:lnTo>
                  <a:lnTo>
                    <a:pt x="41" y="256"/>
                  </a:lnTo>
                  <a:lnTo>
                    <a:pt x="41" y="256"/>
                  </a:lnTo>
                  <a:lnTo>
                    <a:pt x="41" y="256"/>
                  </a:lnTo>
                  <a:lnTo>
                    <a:pt x="41" y="256"/>
                  </a:lnTo>
                  <a:lnTo>
                    <a:pt x="41" y="258"/>
                  </a:lnTo>
                  <a:lnTo>
                    <a:pt x="41" y="261"/>
                  </a:lnTo>
                  <a:lnTo>
                    <a:pt x="39" y="261"/>
                  </a:lnTo>
                  <a:lnTo>
                    <a:pt x="41" y="265"/>
                  </a:lnTo>
                  <a:lnTo>
                    <a:pt x="39" y="267"/>
                  </a:lnTo>
                  <a:lnTo>
                    <a:pt x="39" y="267"/>
                  </a:lnTo>
                  <a:lnTo>
                    <a:pt x="39" y="269"/>
                  </a:lnTo>
                  <a:lnTo>
                    <a:pt x="39" y="269"/>
                  </a:lnTo>
                  <a:lnTo>
                    <a:pt x="39" y="271"/>
                  </a:lnTo>
                  <a:lnTo>
                    <a:pt x="41" y="275"/>
                  </a:lnTo>
                  <a:lnTo>
                    <a:pt x="41" y="277"/>
                  </a:lnTo>
                  <a:lnTo>
                    <a:pt x="41" y="279"/>
                  </a:lnTo>
                  <a:lnTo>
                    <a:pt x="39" y="283"/>
                  </a:lnTo>
                  <a:lnTo>
                    <a:pt x="39" y="285"/>
                  </a:lnTo>
                  <a:lnTo>
                    <a:pt x="41" y="287"/>
                  </a:lnTo>
                  <a:lnTo>
                    <a:pt x="43" y="289"/>
                  </a:lnTo>
                  <a:lnTo>
                    <a:pt x="43" y="291"/>
                  </a:lnTo>
                  <a:lnTo>
                    <a:pt x="45" y="295"/>
                  </a:lnTo>
                  <a:lnTo>
                    <a:pt x="45" y="297"/>
                  </a:lnTo>
                  <a:lnTo>
                    <a:pt x="45" y="299"/>
                  </a:lnTo>
                  <a:lnTo>
                    <a:pt x="45" y="302"/>
                  </a:lnTo>
                  <a:lnTo>
                    <a:pt x="45" y="302"/>
                  </a:lnTo>
                  <a:lnTo>
                    <a:pt x="47" y="304"/>
                  </a:lnTo>
                  <a:lnTo>
                    <a:pt x="47" y="304"/>
                  </a:lnTo>
                  <a:lnTo>
                    <a:pt x="47" y="304"/>
                  </a:lnTo>
                  <a:lnTo>
                    <a:pt x="47" y="306"/>
                  </a:lnTo>
                  <a:lnTo>
                    <a:pt x="47" y="308"/>
                  </a:lnTo>
                  <a:lnTo>
                    <a:pt x="52" y="314"/>
                  </a:lnTo>
                  <a:lnTo>
                    <a:pt x="56" y="316"/>
                  </a:lnTo>
                  <a:lnTo>
                    <a:pt x="56" y="318"/>
                  </a:lnTo>
                  <a:lnTo>
                    <a:pt x="58" y="320"/>
                  </a:lnTo>
                  <a:lnTo>
                    <a:pt x="58" y="326"/>
                  </a:lnTo>
                  <a:lnTo>
                    <a:pt x="58" y="328"/>
                  </a:lnTo>
                  <a:lnTo>
                    <a:pt x="58" y="330"/>
                  </a:lnTo>
                  <a:lnTo>
                    <a:pt x="58" y="330"/>
                  </a:lnTo>
                  <a:lnTo>
                    <a:pt x="60" y="334"/>
                  </a:lnTo>
                  <a:lnTo>
                    <a:pt x="60" y="334"/>
                  </a:lnTo>
                  <a:lnTo>
                    <a:pt x="60" y="334"/>
                  </a:lnTo>
                  <a:lnTo>
                    <a:pt x="60" y="336"/>
                  </a:lnTo>
                  <a:lnTo>
                    <a:pt x="60" y="336"/>
                  </a:lnTo>
                  <a:lnTo>
                    <a:pt x="60" y="340"/>
                  </a:lnTo>
                  <a:lnTo>
                    <a:pt x="60" y="343"/>
                  </a:lnTo>
                  <a:lnTo>
                    <a:pt x="60" y="345"/>
                  </a:lnTo>
                  <a:lnTo>
                    <a:pt x="60" y="347"/>
                  </a:lnTo>
                  <a:lnTo>
                    <a:pt x="60" y="351"/>
                  </a:lnTo>
                  <a:lnTo>
                    <a:pt x="62" y="357"/>
                  </a:lnTo>
                  <a:lnTo>
                    <a:pt x="60" y="359"/>
                  </a:lnTo>
                  <a:lnTo>
                    <a:pt x="60" y="359"/>
                  </a:lnTo>
                  <a:lnTo>
                    <a:pt x="60" y="359"/>
                  </a:lnTo>
                  <a:lnTo>
                    <a:pt x="60" y="361"/>
                  </a:lnTo>
                  <a:lnTo>
                    <a:pt x="60" y="367"/>
                  </a:lnTo>
                  <a:lnTo>
                    <a:pt x="60" y="369"/>
                  </a:lnTo>
                  <a:lnTo>
                    <a:pt x="58" y="371"/>
                  </a:lnTo>
                  <a:lnTo>
                    <a:pt x="56" y="375"/>
                  </a:lnTo>
                  <a:lnTo>
                    <a:pt x="56" y="377"/>
                  </a:lnTo>
                  <a:lnTo>
                    <a:pt x="54" y="377"/>
                  </a:lnTo>
                  <a:lnTo>
                    <a:pt x="54" y="377"/>
                  </a:lnTo>
                  <a:lnTo>
                    <a:pt x="52" y="379"/>
                  </a:lnTo>
                  <a:lnTo>
                    <a:pt x="45" y="384"/>
                  </a:lnTo>
                  <a:lnTo>
                    <a:pt x="45" y="384"/>
                  </a:lnTo>
                  <a:lnTo>
                    <a:pt x="43" y="386"/>
                  </a:lnTo>
                  <a:lnTo>
                    <a:pt x="41" y="388"/>
                  </a:lnTo>
                  <a:lnTo>
                    <a:pt x="39" y="390"/>
                  </a:lnTo>
                  <a:lnTo>
                    <a:pt x="39" y="390"/>
                  </a:lnTo>
                  <a:lnTo>
                    <a:pt x="39" y="392"/>
                  </a:lnTo>
                  <a:lnTo>
                    <a:pt x="37" y="394"/>
                  </a:lnTo>
                  <a:lnTo>
                    <a:pt x="39" y="396"/>
                  </a:lnTo>
                  <a:lnTo>
                    <a:pt x="43" y="400"/>
                  </a:lnTo>
                  <a:lnTo>
                    <a:pt x="45" y="402"/>
                  </a:lnTo>
                  <a:lnTo>
                    <a:pt x="49" y="408"/>
                  </a:lnTo>
                  <a:lnTo>
                    <a:pt x="52" y="412"/>
                  </a:lnTo>
                  <a:lnTo>
                    <a:pt x="52" y="414"/>
                  </a:lnTo>
                  <a:lnTo>
                    <a:pt x="58" y="414"/>
                  </a:lnTo>
                  <a:lnTo>
                    <a:pt x="62" y="414"/>
                  </a:lnTo>
                  <a:lnTo>
                    <a:pt x="64" y="416"/>
                  </a:lnTo>
                  <a:lnTo>
                    <a:pt x="66" y="416"/>
                  </a:lnTo>
                  <a:lnTo>
                    <a:pt x="68" y="418"/>
                  </a:lnTo>
                  <a:lnTo>
                    <a:pt x="68" y="418"/>
                  </a:lnTo>
                  <a:lnTo>
                    <a:pt x="70" y="422"/>
                  </a:lnTo>
                  <a:lnTo>
                    <a:pt x="70" y="424"/>
                  </a:lnTo>
                  <a:lnTo>
                    <a:pt x="72" y="424"/>
                  </a:lnTo>
                  <a:lnTo>
                    <a:pt x="72" y="424"/>
                  </a:lnTo>
                  <a:lnTo>
                    <a:pt x="72" y="429"/>
                  </a:lnTo>
                  <a:lnTo>
                    <a:pt x="72" y="451"/>
                  </a:lnTo>
                  <a:lnTo>
                    <a:pt x="72" y="474"/>
                  </a:lnTo>
                  <a:lnTo>
                    <a:pt x="74" y="498"/>
                  </a:lnTo>
                  <a:lnTo>
                    <a:pt x="74" y="521"/>
                  </a:lnTo>
                  <a:lnTo>
                    <a:pt x="74" y="543"/>
                  </a:lnTo>
                  <a:lnTo>
                    <a:pt x="76" y="566"/>
                  </a:lnTo>
                  <a:lnTo>
                    <a:pt x="76" y="590"/>
                  </a:lnTo>
                  <a:lnTo>
                    <a:pt x="78" y="613"/>
                  </a:lnTo>
                  <a:lnTo>
                    <a:pt x="103" y="613"/>
                  </a:lnTo>
                  <a:lnTo>
                    <a:pt x="129" y="611"/>
                  </a:lnTo>
                  <a:lnTo>
                    <a:pt x="156" y="611"/>
                  </a:lnTo>
                  <a:lnTo>
                    <a:pt x="183" y="609"/>
                  </a:lnTo>
                  <a:lnTo>
                    <a:pt x="207" y="607"/>
                  </a:lnTo>
                  <a:lnTo>
                    <a:pt x="234" y="607"/>
                  </a:lnTo>
                  <a:lnTo>
                    <a:pt x="260" y="605"/>
                  </a:lnTo>
                  <a:lnTo>
                    <a:pt x="287" y="603"/>
                  </a:lnTo>
                  <a:lnTo>
                    <a:pt x="312" y="603"/>
                  </a:lnTo>
                  <a:lnTo>
                    <a:pt x="338" y="601"/>
                  </a:lnTo>
                  <a:lnTo>
                    <a:pt x="365" y="599"/>
                  </a:lnTo>
                  <a:lnTo>
                    <a:pt x="392" y="597"/>
                  </a:lnTo>
                  <a:lnTo>
                    <a:pt x="416" y="595"/>
                  </a:lnTo>
                  <a:lnTo>
                    <a:pt x="443" y="595"/>
                  </a:lnTo>
                  <a:lnTo>
                    <a:pt x="469" y="593"/>
                  </a:lnTo>
                  <a:lnTo>
                    <a:pt x="496" y="590"/>
                  </a:lnTo>
                  <a:lnTo>
                    <a:pt x="496" y="586"/>
                  </a:lnTo>
                  <a:lnTo>
                    <a:pt x="496" y="586"/>
                  </a:lnTo>
                  <a:lnTo>
                    <a:pt x="496" y="584"/>
                  </a:lnTo>
                  <a:lnTo>
                    <a:pt x="494" y="582"/>
                  </a:lnTo>
                  <a:lnTo>
                    <a:pt x="494" y="580"/>
                  </a:lnTo>
                  <a:lnTo>
                    <a:pt x="494" y="576"/>
                  </a:lnTo>
                  <a:lnTo>
                    <a:pt x="494" y="576"/>
                  </a:lnTo>
                  <a:lnTo>
                    <a:pt x="494" y="574"/>
                  </a:lnTo>
                  <a:lnTo>
                    <a:pt x="494" y="572"/>
                  </a:lnTo>
                  <a:lnTo>
                    <a:pt x="494" y="566"/>
                  </a:lnTo>
                  <a:lnTo>
                    <a:pt x="494" y="564"/>
                  </a:lnTo>
                  <a:lnTo>
                    <a:pt x="494" y="562"/>
                  </a:lnTo>
                  <a:lnTo>
                    <a:pt x="494" y="562"/>
                  </a:lnTo>
                  <a:lnTo>
                    <a:pt x="492" y="560"/>
                  </a:lnTo>
                  <a:lnTo>
                    <a:pt x="492" y="560"/>
                  </a:lnTo>
                  <a:lnTo>
                    <a:pt x="490" y="560"/>
                  </a:lnTo>
                  <a:lnTo>
                    <a:pt x="490" y="558"/>
                  </a:lnTo>
                  <a:lnTo>
                    <a:pt x="490" y="558"/>
                  </a:lnTo>
                  <a:lnTo>
                    <a:pt x="490" y="556"/>
                  </a:lnTo>
                  <a:lnTo>
                    <a:pt x="490" y="554"/>
                  </a:lnTo>
                  <a:lnTo>
                    <a:pt x="490" y="552"/>
                  </a:lnTo>
                  <a:lnTo>
                    <a:pt x="490" y="547"/>
                  </a:lnTo>
                  <a:lnTo>
                    <a:pt x="488" y="547"/>
                  </a:lnTo>
                  <a:lnTo>
                    <a:pt x="488" y="545"/>
                  </a:lnTo>
                  <a:lnTo>
                    <a:pt x="488" y="545"/>
                  </a:lnTo>
                  <a:lnTo>
                    <a:pt x="486" y="545"/>
                  </a:lnTo>
                  <a:lnTo>
                    <a:pt x="482" y="543"/>
                  </a:lnTo>
                  <a:lnTo>
                    <a:pt x="482" y="543"/>
                  </a:lnTo>
                  <a:lnTo>
                    <a:pt x="480" y="541"/>
                  </a:lnTo>
                  <a:lnTo>
                    <a:pt x="480" y="539"/>
                  </a:lnTo>
                  <a:lnTo>
                    <a:pt x="480" y="537"/>
                  </a:lnTo>
                  <a:lnTo>
                    <a:pt x="480" y="537"/>
                  </a:lnTo>
                  <a:lnTo>
                    <a:pt x="478" y="537"/>
                  </a:lnTo>
                  <a:lnTo>
                    <a:pt x="478" y="537"/>
                  </a:lnTo>
                  <a:lnTo>
                    <a:pt x="478" y="535"/>
                  </a:lnTo>
                  <a:lnTo>
                    <a:pt x="473" y="535"/>
                  </a:lnTo>
                  <a:lnTo>
                    <a:pt x="473" y="535"/>
                  </a:lnTo>
                  <a:lnTo>
                    <a:pt x="473" y="535"/>
                  </a:lnTo>
                  <a:lnTo>
                    <a:pt x="467" y="533"/>
                  </a:lnTo>
                  <a:lnTo>
                    <a:pt x="467" y="533"/>
                  </a:lnTo>
                  <a:lnTo>
                    <a:pt x="459" y="533"/>
                  </a:lnTo>
                  <a:lnTo>
                    <a:pt x="459" y="533"/>
                  </a:lnTo>
                  <a:lnTo>
                    <a:pt x="457" y="533"/>
                  </a:lnTo>
                  <a:lnTo>
                    <a:pt x="447" y="525"/>
                  </a:lnTo>
                  <a:lnTo>
                    <a:pt x="445" y="523"/>
                  </a:lnTo>
                  <a:lnTo>
                    <a:pt x="443" y="521"/>
                  </a:lnTo>
                  <a:lnTo>
                    <a:pt x="437" y="511"/>
                  </a:lnTo>
                  <a:lnTo>
                    <a:pt x="432" y="506"/>
                  </a:lnTo>
                  <a:lnTo>
                    <a:pt x="420" y="496"/>
                  </a:lnTo>
                  <a:lnTo>
                    <a:pt x="416" y="496"/>
                  </a:lnTo>
                  <a:lnTo>
                    <a:pt x="406" y="494"/>
                  </a:lnTo>
                  <a:lnTo>
                    <a:pt x="406" y="494"/>
                  </a:lnTo>
                  <a:lnTo>
                    <a:pt x="404" y="494"/>
                  </a:lnTo>
                  <a:lnTo>
                    <a:pt x="404" y="492"/>
                  </a:lnTo>
                  <a:lnTo>
                    <a:pt x="402" y="488"/>
                  </a:lnTo>
                  <a:lnTo>
                    <a:pt x="398" y="486"/>
                  </a:lnTo>
                  <a:lnTo>
                    <a:pt x="396" y="484"/>
                  </a:lnTo>
                  <a:lnTo>
                    <a:pt x="394" y="482"/>
                  </a:lnTo>
                  <a:lnTo>
                    <a:pt x="381" y="482"/>
                  </a:lnTo>
                  <a:lnTo>
                    <a:pt x="377" y="480"/>
                  </a:lnTo>
                  <a:lnTo>
                    <a:pt x="377" y="480"/>
                  </a:lnTo>
                  <a:lnTo>
                    <a:pt x="375" y="478"/>
                  </a:lnTo>
                  <a:lnTo>
                    <a:pt x="375" y="478"/>
                  </a:lnTo>
                  <a:lnTo>
                    <a:pt x="373" y="476"/>
                  </a:lnTo>
                  <a:lnTo>
                    <a:pt x="367" y="472"/>
                  </a:lnTo>
                  <a:lnTo>
                    <a:pt x="363" y="470"/>
                  </a:lnTo>
                  <a:lnTo>
                    <a:pt x="361" y="468"/>
                  </a:lnTo>
                  <a:lnTo>
                    <a:pt x="363" y="459"/>
                  </a:lnTo>
                  <a:lnTo>
                    <a:pt x="363" y="457"/>
                  </a:lnTo>
                  <a:lnTo>
                    <a:pt x="363" y="455"/>
                  </a:lnTo>
                  <a:lnTo>
                    <a:pt x="363" y="453"/>
                  </a:lnTo>
                  <a:lnTo>
                    <a:pt x="363" y="451"/>
                  </a:lnTo>
                  <a:lnTo>
                    <a:pt x="365" y="449"/>
                  </a:lnTo>
                  <a:lnTo>
                    <a:pt x="365" y="449"/>
                  </a:lnTo>
                  <a:lnTo>
                    <a:pt x="363" y="445"/>
                  </a:lnTo>
                  <a:lnTo>
                    <a:pt x="363" y="441"/>
                  </a:lnTo>
                  <a:lnTo>
                    <a:pt x="361" y="435"/>
                  </a:lnTo>
                  <a:lnTo>
                    <a:pt x="361" y="433"/>
                  </a:lnTo>
                  <a:lnTo>
                    <a:pt x="361" y="433"/>
                  </a:lnTo>
                  <a:lnTo>
                    <a:pt x="363" y="431"/>
                  </a:lnTo>
                  <a:lnTo>
                    <a:pt x="363" y="431"/>
                  </a:lnTo>
                  <a:lnTo>
                    <a:pt x="363" y="429"/>
                  </a:lnTo>
                  <a:lnTo>
                    <a:pt x="363" y="427"/>
                  </a:lnTo>
                  <a:lnTo>
                    <a:pt x="361" y="422"/>
                  </a:lnTo>
                  <a:lnTo>
                    <a:pt x="361" y="422"/>
                  </a:lnTo>
                  <a:lnTo>
                    <a:pt x="361" y="420"/>
                  </a:lnTo>
                  <a:lnTo>
                    <a:pt x="363" y="418"/>
                  </a:lnTo>
                  <a:lnTo>
                    <a:pt x="361" y="414"/>
                  </a:lnTo>
                  <a:lnTo>
                    <a:pt x="361" y="412"/>
                  </a:lnTo>
                  <a:lnTo>
                    <a:pt x="363" y="410"/>
                  </a:lnTo>
                  <a:lnTo>
                    <a:pt x="363" y="408"/>
                  </a:lnTo>
                  <a:lnTo>
                    <a:pt x="365" y="408"/>
                  </a:lnTo>
                  <a:lnTo>
                    <a:pt x="365" y="406"/>
                  </a:lnTo>
                  <a:lnTo>
                    <a:pt x="365" y="404"/>
                  </a:lnTo>
                  <a:lnTo>
                    <a:pt x="367" y="402"/>
                  </a:lnTo>
                  <a:lnTo>
                    <a:pt x="369" y="398"/>
                  </a:lnTo>
                  <a:lnTo>
                    <a:pt x="369" y="396"/>
                  </a:lnTo>
                  <a:lnTo>
                    <a:pt x="367" y="394"/>
                  </a:lnTo>
                  <a:lnTo>
                    <a:pt x="367" y="394"/>
                  </a:lnTo>
                  <a:lnTo>
                    <a:pt x="365" y="392"/>
                  </a:lnTo>
                  <a:lnTo>
                    <a:pt x="363" y="390"/>
                  </a:lnTo>
                  <a:lnTo>
                    <a:pt x="363" y="388"/>
                  </a:lnTo>
                  <a:lnTo>
                    <a:pt x="361" y="384"/>
                  </a:lnTo>
                  <a:lnTo>
                    <a:pt x="361" y="384"/>
                  </a:lnTo>
                  <a:lnTo>
                    <a:pt x="357" y="381"/>
                  </a:lnTo>
                  <a:lnTo>
                    <a:pt x="353" y="381"/>
                  </a:lnTo>
                  <a:lnTo>
                    <a:pt x="351" y="381"/>
                  </a:lnTo>
                  <a:lnTo>
                    <a:pt x="349" y="377"/>
                  </a:lnTo>
                  <a:lnTo>
                    <a:pt x="349" y="371"/>
                  </a:lnTo>
                  <a:lnTo>
                    <a:pt x="349" y="369"/>
                  </a:lnTo>
                  <a:lnTo>
                    <a:pt x="349" y="367"/>
                  </a:lnTo>
                  <a:lnTo>
                    <a:pt x="355" y="361"/>
                  </a:lnTo>
                  <a:lnTo>
                    <a:pt x="357" y="357"/>
                  </a:lnTo>
                  <a:lnTo>
                    <a:pt x="357" y="355"/>
                  </a:lnTo>
                  <a:lnTo>
                    <a:pt x="361" y="349"/>
                  </a:lnTo>
                  <a:lnTo>
                    <a:pt x="363" y="347"/>
                  </a:lnTo>
                  <a:lnTo>
                    <a:pt x="365" y="345"/>
                  </a:lnTo>
                  <a:lnTo>
                    <a:pt x="365" y="345"/>
                  </a:lnTo>
                  <a:lnTo>
                    <a:pt x="369" y="340"/>
                  </a:lnTo>
                  <a:lnTo>
                    <a:pt x="371" y="340"/>
                  </a:lnTo>
                  <a:lnTo>
                    <a:pt x="373" y="340"/>
                  </a:lnTo>
                  <a:lnTo>
                    <a:pt x="373" y="340"/>
                  </a:lnTo>
                  <a:lnTo>
                    <a:pt x="373" y="338"/>
                  </a:lnTo>
                  <a:lnTo>
                    <a:pt x="373" y="338"/>
                  </a:lnTo>
                  <a:lnTo>
                    <a:pt x="373" y="338"/>
                  </a:lnTo>
                  <a:lnTo>
                    <a:pt x="375" y="338"/>
                  </a:lnTo>
                  <a:lnTo>
                    <a:pt x="375" y="336"/>
                  </a:lnTo>
                  <a:lnTo>
                    <a:pt x="375" y="336"/>
                  </a:lnTo>
                  <a:lnTo>
                    <a:pt x="379" y="336"/>
                  </a:lnTo>
                  <a:lnTo>
                    <a:pt x="379" y="336"/>
                  </a:lnTo>
                  <a:lnTo>
                    <a:pt x="381" y="332"/>
                  </a:lnTo>
                  <a:lnTo>
                    <a:pt x="383" y="332"/>
                  </a:lnTo>
                  <a:lnTo>
                    <a:pt x="383" y="332"/>
                  </a:lnTo>
                  <a:lnTo>
                    <a:pt x="385" y="332"/>
                  </a:lnTo>
                  <a:lnTo>
                    <a:pt x="387" y="332"/>
                  </a:lnTo>
                  <a:lnTo>
                    <a:pt x="387" y="332"/>
                  </a:lnTo>
                  <a:lnTo>
                    <a:pt x="389" y="330"/>
                  </a:lnTo>
                  <a:lnTo>
                    <a:pt x="389" y="328"/>
                  </a:lnTo>
                  <a:lnTo>
                    <a:pt x="389" y="328"/>
                  </a:lnTo>
                  <a:lnTo>
                    <a:pt x="392" y="326"/>
                  </a:lnTo>
                  <a:lnTo>
                    <a:pt x="394" y="326"/>
                  </a:lnTo>
                  <a:lnTo>
                    <a:pt x="392" y="322"/>
                  </a:lnTo>
                  <a:lnTo>
                    <a:pt x="392" y="322"/>
                  </a:lnTo>
                  <a:lnTo>
                    <a:pt x="392" y="314"/>
                  </a:lnTo>
                  <a:lnTo>
                    <a:pt x="392" y="308"/>
                  </a:lnTo>
                  <a:lnTo>
                    <a:pt x="392" y="302"/>
                  </a:lnTo>
                  <a:lnTo>
                    <a:pt x="392" y="295"/>
                  </a:lnTo>
                  <a:lnTo>
                    <a:pt x="389" y="289"/>
                  </a:lnTo>
                  <a:lnTo>
                    <a:pt x="389" y="281"/>
                  </a:lnTo>
                  <a:lnTo>
                    <a:pt x="389" y="275"/>
                  </a:lnTo>
                  <a:lnTo>
                    <a:pt x="389" y="269"/>
                  </a:lnTo>
                  <a:lnTo>
                    <a:pt x="389" y="267"/>
                  </a:lnTo>
                  <a:lnTo>
                    <a:pt x="389" y="267"/>
                  </a:lnTo>
                  <a:lnTo>
                    <a:pt x="389" y="267"/>
                  </a:lnTo>
                  <a:lnTo>
                    <a:pt x="389" y="267"/>
                  </a:lnTo>
                  <a:lnTo>
                    <a:pt x="392" y="267"/>
                  </a:lnTo>
                  <a:lnTo>
                    <a:pt x="394" y="267"/>
                  </a:lnTo>
                  <a:lnTo>
                    <a:pt x="394" y="267"/>
                  </a:lnTo>
                  <a:lnTo>
                    <a:pt x="394" y="265"/>
                  </a:lnTo>
                  <a:lnTo>
                    <a:pt x="396" y="265"/>
                  </a:lnTo>
                  <a:lnTo>
                    <a:pt x="396" y="265"/>
                  </a:lnTo>
                  <a:lnTo>
                    <a:pt x="396" y="265"/>
                  </a:lnTo>
                  <a:lnTo>
                    <a:pt x="396" y="263"/>
                  </a:lnTo>
                  <a:lnTo>
                    <a:pt x="396" y="261"/>
                  </a:lnTo>
                  <a:lnTo>
                    <a:pt x="396" y="261"/>
                  </a:lnTo>
                  <a:lnTo>
                    <a:pt x="396" y="261"/>
                  </a:lnTo>
                  <a:lnTo>
                    <a:pt x="396" y="261"/>
                  </a:lnTo>
                  <a:lnTo>
                    <a:pt x="398" y="258"/>
                  </a:lnTo>
                  <a:lnTo>
                    <a:pt x="398" y="258"/>
                  </a:lnTo>
                  <a:lnTo>
                    <a:pt x="398" y="258"/>
                  </a:lnTo>
                  <a:lnTo>
                    <a:pt x="398" y="258"/>
                  </a:lnTo>
                  <a:lnTo>
                    <a:pt x="400" y="256"/>
                  </a:lnTo>
                  <a:lnTo>
                    <a:pt x="400" y="256"/>
                  </a:lnTo>
                  <a:lnTo>
                    <a:pt x="402" y="254"/>
                  </a:lnTo>
                  <a:lnTo>
                    <a:pt x="402" y="254"/>
                  </a:lnTo>
                  <a:lnTo>
                    <a:pt x="402" y="254"/>
                  </a:lnTo>
                  <a:lnTo>
                    <a:pt x="402" y="250"/>
                  </a:lnTo>
                  <a:lnTo>
                    <a:pt x="406" y="246"/>
                  </a:lnTo>
                  <a:lnTo>
                    <a:pt x="412" y="242"/>
                  </a:lnTo>
                  <a:lnTo>
                    <a:pt x="418" y="238"/>
                  </a:lnTo>
                  <a:lnTo>
                    <a:pt x="420" y="238"/>
                  </a:lnTo>
                  <a:lnTo>
                    <a:pt x="424" y="234"/>
                  </a:lnTo>
                  <a:lnTo>
                    <a:pt x="428" y="230"/>
                  </a:lnTo>
                  <a:lnTo>
                    <a:pt x="430" y="228"/>
                  </a:lnTo>
                  <a:lnTo>
                    <a:pt x="435" y="224"/>
                  </a:lnTo>
                  <a:lnTo>
                    <a:pt x="435" y="224"/>
                  </a:lnTo>
                  <a:lnTo>
                    <a:pt x="437" y="222"/>
                  </a:lnTo>
                  <a:lnTo>
                    <a:pt x="437" y="222"/>
                  </a:lnTo>
                  <a:lnTo>
                    <a:pt x="437" y="222"/>
                  </a:lnTo>
                  <a:lnTo>
                    <a:pt x="439" y="220"/>
                  </a:lnTo>
                  <a:lnTo>
                    <a:pt x="439" y="220"/>
                  </a:lnTo>
                  <a:lnTo>
                    <a:pt x="439" y="220"/>
                  </a:lnTo>
                  <a:lnTo>
                    <a:pt x="441" y="218"/>
                  </a:lnTo>
                  <a:lnTo>
                    <a:pt x="445" y="213"/>
                  </a:lnTo>
                  <a:lnTo>
                    <a:pt x="480" y="172"/>
                  </a:lnTo>
                  <a:lnTo>
                    <a:pt x="486" y="170"/>
                  </a:lnTo>
                  <a:lnTo>
                    <a:pt x="496" y="158"/>
                  </a:lnTo>
                  <a:lnTo>
                    <a:pt x="514" y="148"/>
                  </a:lnTo>
                  <a:lnTo>
                    <a:pt x="525" y="144"/>
                  </a:lnTo>
                  <a:lnTo>
                    <a:pt x="529" y="142"/>
                  </a:lnTo>
                  <a:lnTo>
                    <a:pt x="531" y="142"/>
                  </a:lnTo>
                  <a:lnTo>
                    <a:pt x="533" y="140"/>
                  </a:lnTo>
                  <a:lnTo>
                    <a:pt x="549" y="133"/>
                  </a:lnTo>
                  <a:lnTo>
                    <a:pt x="574" y="119"/>
                  </a:lnTo>
                  <a:lnTo>
                    <a:pt x="574" y="119"/>
                  </a:lnTo>
                  <a:lnTo>
                    <a:pt x="576" y="115"/>
                  </a:lnTo>
                  <a:lnTo>
                    <a:pt x="578" y="115"/>
                  </a:lnTo>
                  <a:lnTo>
                    <a:pt x="580" y="113"/>
                  </a:lnTo>
                  <a:lnTo>
                    <a:pt x="580" y="111"/>
                  </a:lnTo>
                  <a:lnTo>
                    <a:pt x="584" y="113"/>
                  </a:lnTo>
                  <a:lnTo>
                    <a:pt x="584" y="113"/>
                  </a:lnTo>
                  <a:lnTo>
                    <a:pt x="584" y="111"/>
                  </a:lnTo>
                  <a:lnTo>
                    <a:pt x="584" y="111"/>
                  </a:lnTo>
                  <a:close/>
                </a:path>
              </a:pathLst>
            </a:custGeom>
            <a:solidFill>
              <a:schemeClr val="tx1"/>
            </a:solidFill>
            <a:ln w="3175" cap="rnd">
              <a:solidFill>
                <a:schemeClr val="bg1"/>
              </a:solidFill>
              <a:prstDash val="solid"/>
              <a:round/>
              <a:headEnd/>
              <a:tailEnd/>
            </a:ln>
          </p:spPr>
          <p:txBody>
            <a:bodyPr vert="horz" wrap="square" lIns="0" tIns="0" rIns="240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N</a:t>
              </a:r>
            </a:p>
          </p:txBody>
        </p:sp>
        <p:sp>
          <p:nvSpPr>
            <p:cNvPr id="322" name="Freeform 33">
              <a:extLst>
                <a:ext uri="{FF2B5EF4-FFF2-40B4-BE49-F238E27FC236}">
                  <a16:creationId xmlns:a16="http://schemas.microsoft.com/office/drawing/2014/main" id="{9ACA4347-6821-140F-E598-0FBE87A735FF}"/>
                </a:ext>
              </a:extLst>
            </p:cNvPr>
            <p:cNvSpPr>
              <a:spLocks noEditPoints="1"/>
            </p:cNvSpPr>
            <p:nvPr/>
          </p:nvSpPr>
          <p:spPr bwMode="auto">
            <a:xfrm>
              <a:off x="3472" y="217"/>
              <a:ext cx="674" cy="654"/>
            </a:xfrm>
            <a:custGeom>
              <a:avLst/>
              <a:gdLst>
                <a:gd name="T0" fmla="*/ 541 w 674"/>
                <a:gd name="T1" fmla="*/ 179 h 654"/>
                <a:gd name="T2" fmla="*/ 516 w 674"/>
                <a:gd name="T3" fmla="*/ 179 h 654"/>
                <a:gd name="T4" fmla="*/ 477 w 674"/>
                <a:gd name="T5" fmla="*/ 138 h 654"/>
                <a:gd name="T6" fmla="*/ 485 w 674"/>
                <a:gd name="T7" fmla="*/ 129 h 654"/>
                <a:gd name="T8" fmla="*/ 395 w 674"/>
                <a:gd name="T9" fmla="*/ 187 h 654"/>
                <a:gd name="T10" fmla="*/ 446 w 674"/>
                <a:gd name="T11" fmla="*/ 195 h 654"/>
                <a:gd name="T12" fmla="*/ 475 w 674"/>
                <a:gd name="T13" fmla="*/ 185 h 654"/>
                <a:gd name="T14" fmla="*/ 496 w 674"/>
                <a:gd name="T15" fmla="*/ 170 h 654"/>
                <a:gd name="T16" fmla="*/ 479 w 674"/>
                <a:gd name="T17" fmla="*/ 144 h 654"/>
                <a:gd name="T18" fmla="*/ 420 w 674"/>
                <a:gd name="T19" fmla="*/ 140 h 654"/>
                <a:gd name="T20" fmla="*/ 332 w 674"/>
                <a:gd name="T21" fmla="*/ 134 h 654"/>
                <a:gd name="T22" fmla="*/ 270 w 674"/>
                <a:gd name="T23" fmla="*/ 160 h 654"/>
                <a:gd name="T24" fmla="*/ 225 w 674"/>
                <a:gd name="T25" fmla="*/ 150 h 654"/>
                <a:gd name="T26" fmla="*/ 172 w 674"/>
                <a:gd name="T27" fmla="*/ 125 h 654"/>
                <a:gd name="T28" fmla="*/ 147 w 674"/>
                <a:gd name="T29" fmla="*/ 144 h 654"/>
                <a:gd name="T30" fmla="*/ 141 w 674"/>
                <a:gd name="T31" fmla="*/ 111 h 654"/>
                <a:gd name="T32" fmla="*/ 76 w 674"/>
                <a:gd name="T33" fmla="*/ 142 h 654"/>
                <a:gd name="T34" fmla="*/ 10 w 674"/>
                <a:gd name="T35" fmla="*/ 185 h 654"/>
                <a:gd name="T36" fmla="*/ 98 w 674"/>
                <a:gd name="T37" fmla="*/ 213 h 654"/>
                <a:gd name="T38" fmla="*/ 145 w 674"/>
                <a:gd name="T39" fmla="*/ 224 h 654"/>
                <a:gd name="T40" fmla="*/ 172 w 674"/>
                <a:gd name="T41" fmla="*/ 226 h 654"/>
                <a:gd name="T42" fmla="*/ 190 w 674"/>
                <a:gd name="T43" fmla="*/ 244 h 654"/>
                <a:gd name="T44" fmla="*/ 211 w 674"/>
                <a:gd name="T45" fmla="*/ 254 h 654"/>
                <a:gd name="T46" fmla="*/ 209 w 674"/>
                <a:gd name="T47" fmla="*/ 281 h 654"/>
                <a:gd name="T48" fmla="*/ 223 w 674"/>
                <a:gd name="T49" fmla="*/ 293 h 654"/>
                <a:gd name="T50" fmla="*/ 262 w 674"/>
                <a:gd name="T51" fmla="*/ 246 h 654"/>
                <a:gd name="T52" fmla="*/ 276 w 674"/>
                <a:gd name="T53" fmla="*/ 242 h 654"/>
                <a:gd name="T54" fmla="*/ 307 w 674"/>
                <a:gd name="T55" fmla="*/ 222 h 654"/>
                <a:gd name="T56" fmla="*/ 303 w 674"/>
                <a:gd name="T57" fmla="*/ 248 h 654"/>
                <a:gd name="T58" fmla="*/ 321 w 674"/>
                <a:gd name="T59" fmla="*/ 226 h 654"/>
                <a:gd name="T60" fmla="*/ 293 w 674"/>
                <a:gd name="T61" fmla="*/ 156 h 654"/>
                <a:gd name="T62" fmla="*/ 145 w 674"/>
                <a:gd name="T63" fmla="*/ 105 h 654"/>
                <a:gd name="T64" fmla="*/ 162 w 674"/>
                <a:gd name="T65" fmla="*/ 99 h 654"/>
                <a:gd name="T66" fmla="*/ 199 w 674"/>
                <a:gd name="T67" fmla="*/ 72 h 654"/>
                <a:gd name="T68" fmla="*/ 80 w 674"/>
                <a:gd name="T69" fmla="*/ 35 h 654"/>
                <a:gd name="T70" fmla="*/ 133 w 674"/>
                <a:gd name="T71" fmla="*/ 0 h 654"/>
                <a:gd name="T72" fmla="*/ 352 w 674"/>
                <a:gd name="T73" fmla="*/ 302 h 654"/>
                <a:gd name="T74" fmla="*/ 471 w 674"/>
                <a:gd name="T75" fmla="*/ 185 h 654"/>
                <a:gd name="T76" fmla="*/ 674 w 674"/>
                <a:gd name="T77" fmla="*/ 478 h 654"/>
                <a:gd name="T78" fmla="*/ 600 w 674"/>
                <a:gd name="T79" fmla="*/ 379 h 654"/>
                <a:gd name="T80" fmla="*/ 563 w 674"/>
                <a:gd name="T81" fmla="*/ 427 h 654"/>
                <a:gd name="T82" fmla="*/ 555 w 674"/>
                <a:gd name="T83" fmla="*/ 386 h 654"/>
                <a:gd name="T84" fmla="*/ 577 w 674"/>
                <a:gd name="T85" fmla="*/ 347 h 654"/>
                <a:gd name="T86" fmla="*/ 561 w 674"/>
                <a:gd name="T87" fmla="*/ 279 h 654"/>
                <a:gd name="T88" fmla="*/ 569 w 674"/>
                <a:gd name="T89" fmla="*/ 263 h 654"/>
                <a:gd name="T90" fmla="*/ 522 w 674"/>
                <a:gd name="T91" fmla="*/ 238 h 654"/>
                <a:gd name="T92" fmla="*/ 428 w 674"/>
                <a:gd name="T93" fmla="*/ 215 h 654"/>
                <a:gd name="T94" fmla="*/ 407 w 674"/>
                <a:gd name="T95" fmla="*/ 300 h 654"/>
                <a:gd name="T96" fmla="*/ 397 w 674"/>
                <a:gd name="T97" fmla="*/ 308 h 654"/>
                <a:gd name="T98" fmla="*/ 393 w 674"/>
                <a:gd name="T99" fmla="*/ 295 h 654"/>
                <a:gd name="T100" fmla="*/ 366 w 674"/>
                <a:gd name="T101" fmla="*/ 308 h 654"/>
                <a:gd name="T102" fmla="*/ 344 w 674"/>
                <a:gd name="T103" fmla="*/ 338 h 654"/>
                <a:gd name="T104" fmla="*/ 342 w 674"/>
                <a:gd name="T105" fmla="*/ 433 h 654"/>
                <a:gd name="T106" fmla="*/ 369 w 674"/>
                <a:gd name="T107" fmla="*/ 517 h 654"/>
                <a:gd name="T108" fmla="*/ 420 w 674"/>
                <a:gd name="T109" fmla="*/ 644 h 654"/>
                <a:gd name="T110" fmla="*/ 596 w 674"/>
                <a:gd name="T111" fmla="*/ 621 h 654"/>
                <a:gd name="T112" fmla="*/ 629 w 674"/>
                <a:gd name="T113" fmla="*/ 586 h 654"/>
                <a:gd name="T114" fmla="*/ 647 w 674"/>
                <a:gd name="T115" fmla="*/ 535 h 654"/>
                <a:gd name="T116" fmla="*/ 663 w 674"/>
                <a:gd name="T117" fmla="*/ 517 h 654"/>
                <a:gd name="T118" fmla="*/ 391 w 674"/>
                <a:gd name="T119" fmla="*/ 215 h 654"/>
                <a:gd name="T120" fmla="*/ 475 w 674"/>
                <a:gd name="T121" fmla="*/ 207 h 654"/>
                <a:gd name="T122" fmla="*/ 391 w 674"/>
                <a:gd name="T123" fmla="*/ 226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4" h="654">
                  <a:moveTo>
                    <a:pt x="512" y="183"/>
                  </a:moveTo>
                  <a:lnTo>
                    <a:pt x="512" y="183"/>
                  </a:lnTo>
                  <a:lnTo>
                    <a:pt x="512" y="183"/>
                  </a:lnTo>
                  <a:lnTo>
                    <a:pt x="512" y="181"/>
                  </a:lnTo>
                  <a:lnTo>
                    <a:pt x="514" y="181"/>
                  </a:lnTo>
                  <a:lnTo>
                    <a:pt x="514" y="181"/>
                  </a:lnTo>
                  <a:lnTo>
                    <a:pt x="514" y="183"/>
                  </a:lnTo>
                  <a:lnTo>
                    <a:pt x="516" y="183"/>
                  </a:lnTo>
                  <a:lnTo>
                    <a:pt x="518" y="183"/>
                  </a:lnTo>
                  <a:lnTo>
                    <a:pt x="518" y="185"/>
                  </a:lnTo>
                  <a:lnTo>
                    <a:pt x="518" y="185"/>
                  </a:lnTo>
                  <a:lnTo>
                    <a:pt x="518" y="185"/>
                  </a:lnTo>
                  <a:lnTo>
                    <a:pt x="520" y="185"/>
                  </a:lnTo>
                  <a:lnTo>
                    <a:pt x="520" y="185"/>
                  </a:lnTo>
                  <a:lnTo>
                    <a:pt x="522" y="183"/>
                  </a:lnTo>
                  <a:lnTo>
                    <a:pt x="524" y="185"/>
                  </a:lnTo>
                  <a:lnTo>
                    <a:pt x="524" y="185"/>
                  </a:lnTo>
                  <a:lnTo>
                    <a:pt x="526" y="185"/>
                  </a:lnTo>
                  <a:lnTo>
                    <a:pt x="526" y="185"/>
                  </a:lnTo>
                  <a:lnTo>
                    <a:pt x="528" y="183"/>
                  </a:lnTo>
                  <a:lnTo>
                    <a:pt x="528" y="183"/>
                  </a:lnTo>
                  <a:lnTo>
                    <a:pt x="532" y="183"/>
                  </a:lnTo>
                  <a:lnTo>
                    <a:pt x="534" y="185"/>
                  </a:lnTo>
                  <a:lnTo>
                    <a:pt x="536" y="185"/>
                  </a:lnTo>
                  <a:lnTo>
                    <a:pt x="539" y="183"/>
                  </a:lnTo>
                  <a:lnTo>
                    <a:pt x="541" y="183"/>
                  </a:lnTo>
                  <a:lnTo>
                    <a:pt x="541" y="179"/>
                  </a:lnTo>
                  <a:lnTo>
                    <a:pt x="541" y="179"/>
                  </a:lnTo>
                  <a:lnTo>
                    <a:pt x="543" y="177"/>
                  </a:lnTo>
                  <a:lnTo>
                    <a:pt x="543" y="174"/>
                  </a:lnTo>
                  <a:lnTo>
                    <a:pt x="541" y="174"/>
                  </a:lnTo>
                  <a:lnTo>
                    <a:pt x="539" y="174"/>
                  </a:lnTo>
                  <a:lnTo>
                    <a:pt x="536" y="172"/>
                  </a:lnTo>
                  <a:lnTo>
                    <a:pt x="536" y="170"/>
                  </a:lnTo>
                  <a:lnTo>
                    <a:pt x="534" y="168"/>
                  </a:lnTo>
                  <a:lnTo>
                    <a:pt x="532" y="168"/>
                  </a:lnTo>
                  <a:lnTo>
                    <a:pt x="530" y="166"/>
                  </a:lnTo>
                  <a:lnTo>
                    <a:pt x="524" y="166"/>
                  </a:lnTo>
                  <a:lnTo>
                    <a:pt x="522" y="166"/>
                  </a:lnTo>
                  <a:lnTo>
                    <a:pt x="522" y="168"/>
                  </a:lnTo>
                  <a:lnTo>
                    <a:pt x="524" y="168"/>
                  </a:lnTo>
                  <a:lnTo>
                    <a:pt x="524" y="170"/>
                  </a:lnTo>
                  <a:lnTo>
                    <a:pt x="526" y="170"/>
                  </a:lnTo>
                  <a:lnTo>
                    <a:pt x="526" y="170"/>
                  </a:lnTo>
                  <a:lnTo>
                    <a:pt x="526" y="170"/>
                  </a:lnTo>
                  <a:lnTo>
                    <a:pt x="526" y="172"/>
                  </a:lnTo>
                  <a:lnTo>
                    <a:pt x="526" y="172"/>
                  </a:lnTo>
                  <a:lnTo>
                    <a:pt x="524" y="172"/>
                  </a:lnTo>
                  <a:lnTo>
                    <a:pt x="524" y="174"/>
                  </a:lnTo>
                  <a:lnTo>
                    <a:pt x="522" y="174"/>
                  </a:lnTo>
                  <a:lnTo>
                    <a:pt x="520" y="177"/>
                  </a:lnTo>
                  <a:lnTo>
                    <a:pt x="520" y="177"/>
                  </a:lnTo>
                  <a:lnTo>
                    <a:pt x="518" y="177"/>
                  </a:lnTo>
                  <a:lnTo>
                    <a:pt x="518" y="179"/>
                  </a:lnTo>
                  <a:lnTo>
                    <a:pt x="518" y="179"/>
                  </a:lnTo>
                  <a:lnTo>
                    <a:pt x="516" y="179"/>
                  </a:lnTo>
                  <a:lnTo>
                    <a:pt x="514" y="177"/>
                  </a:lnTo>
                  <a:lnTo>
                    <a:pt x="512" y="177"/>
                  </a:lnTo>
                  <a:lnTo>
                    <a:pt x="512" y="179"/>
                  </a:lnTo>
                  <a:lnTo>
                    <a:pt x="512" y="181"/>
                  </a:lnTo>
                  <a:lnTo>
                    <a:pt x="512" y="183"/>
                  </a:lnTo>
                  <a:close/>
                  <a:moveTo>
                    <a:pt x="485" y="150"/>
                  </a:moveTo>
                  <a:lnTo>
                    <a:pt x="483" y="150"/>
                  </a:lnTo>
                  <a:lnTo>
                    <a:pt x="483" y="150"/>
                  </a:lnTo>
                  <a:lnTo>
                    <a:pt x="483" y="152"/>
                  </a:lnTo>
                  <a:lnTo>
                    <a:pt x="483" y="154"/>
                  </a:lnTo>
                  <a:lnTo>
                    <a:pt x="483" y="156"/>
                  </a:lnTo>
                  <a:lnTo>
                    <a:pt x="485" y="158"/>
                  </a:lnTo>
                  <a:lnTo>
                    <a:pt x="487" y="158"/>
                  </a:lnTo>
                  <a:lnTo>
                    <a:pt x="489" y="156"/>
                  </a:lnTo>
                  <a:lnTo>
                    <a:pt x="489" y="154"/>
                  </a:lnTo>
                  <a:lnTo>
                    <a:pt x="487" y="152"/>
                  </a:lnTo>
                  <a:lnTo>
                    <a:pt x="487" y="150"/>
                  </a:lnTo>
                  <a:lnTo>
                    <a:pt x="485" y="150"/>
                  </a:lnTo>
                  <a:close/>
                  <a:moveTo>
                    <a:pt x="629" y="566"/>
                  </a:moveTo>
                  <a:lnTo>
                    <a:pt x="629" y="568"/>
                  </a:lnTo>
                  <a:lnTo>
                    <a:pt x="629" y="574"/>
                  </a:lnTo>
                  <a:lnTo>
                    <a:pt x="629" y="576"/>
                  </a:lnTo>
                  <a:lnTo>
                    <a:pt x="629" y="578"/>
                  </a:lnTo>
                  <a:lnTo>
                    <a:pt x="631" y="576"/>
                  </a:lnTo>
                  <a:lnTo>
                    <a:pt x="631" y="572"/>
                  </a:lnTo>
                  <a:lnTo>
                    <a:pt x="629" y="566"/>
                  </a:lnTo>
                  <a:close/>
                  <a:moveTo>
                    <a:pt x="475" y="136"/>
                  </a:moveTo>
                  <a:lnTo>
                    <a:pt x="477" y="138"/>
                  </a:lnTo>
                  <a:lnTo>
                    <a:pt x="477" y="138"/>
                  </a:lnTo>
                  <a:lnTo>
                    <a:pt x="479" y="142"/>
                  </a:lnTo>
                  <a:lnTo>
                    <a:pt x="479" y="144"/>
                  </a:lnTo>
                  <a:lnTo>
                    <a:pt x="481" y="144"/>
                  </a:lnTo>
                  <a:lnTo>
                    <a:pt x="483" y="144"/>
                  </a:lnTo>
                  <a:lnTo>
                    <a:pt x="483" y="146"/>
                  </a:lnTo>
                  <a:lnTo>
                    <a:pt x="483" y="148"/>
                  </a:lnTo>
                  <a:lnTo>
                    <a:pt x="483" y="148"/>
                  </a:lnTo>
                  <a:lnTo>
                    <a:pt x="483" y="148"/>
                  </a:lnTo>
                  <a:lnTo>
                    <a:pt x="485" y="148"/>
                  </a:lnTo>
                  <a:lnTo>
                    <a:pt x="485" y="148"/>
                  </a:lnTo>
                  <a:lnTo>
                    <a:pt x="487" y="148"/>
                  </a:lnTo>
                  <a:lnTo>
                    <a:pt x="487" y="148"/>
                  </a:lnTo>
                  <a:lnTo>
                    <a:pt x="487" y="148"/>
                  </a:lnTo>
                  <a:lnTo>
                    <a:pt x="487" y="148"/>
                  </a:lnTo>
                  <a:lnTo>
                    <a:pt x="487" y="148"/>
                  </a:lnTo>
                  <a:lnTo>
                    <a:pt x="487" y="146"/>
                  </a:lnTo>
                  <a:lnTo>
                    <a:pt x="487" y="146"/>
                  </a:lnTo>
                  <a:lnTo>
                    <a:pt x="483" y="142"/>
                  </a:lnTo>
                  <a:lnTo>
                    <a:pt x="481" y="140"/>
                  </a:lnTo>
                  <a:lnTo>
                    <a:pt x="481" y="140"/>
                  </a:lnTo>
                  <a:lnTo>
                    <a:pt x="481" y="138"/>
                  </a:lnTo>
                  <a:lnTo>
                    <a:pt x="481" y="136"/>
                  </a:lnTo>
                  <a:lnTo>
                    <a:pt x="483" y="131"/>
                  </a:lnTo>
                  <a:lnTo>
                    <a:pt x="483" y="129"/>
                  </a:lnTo>
                  <a:lnTo>
                    <a:pt x="483" y="129"/>
                  </a:lnTo>
                  <a:lnTo>
                    <a:pt x="485" y="129"/>
                  </a:lnTo>
                  <a:lnTo>
                    <a:pt x="485" y="129"/>
                  </a:lnTo>
                  <a:lnTo>
                    <a:pt x="483" y="127"/>
                  </a:lnTo>
                  <a:lnTo>
                    <a:pt x="479" y="127"/>
                  </a:lnTo>
                  <a:lnTo>
                    <a:pt x="479" y="127"/>
                  </a:lnTo>
                  <a:lnTo>
                    <a:pt x="479" y="127"/>
                  </a:lnTo>
                  <a:lnTo>
                    <a:pt x="475" y="131"/>
                  </a:lnTo>
                  <a:lnTo>
                    <a:pt x="475" y="134"/>
                  </a:lnTo>
                  <a:lnTo>
                    <a:pt x="473" y="136"/>
                  </a:lnTo>
                  <a:lnTo>
                    <a:pt x="475" y="136"/>
                  </a:lnTo>
                  <a:lnTo>
                    <a:pt x="475" y="136"/>
                  </a:lnTo>
                  <a:close/>
                  <a:moveTo>
                    <a:pt x="344" y="205"/>
                  </a:moveTo>
                  <a:lnTo>
                    <a:pt x="350" y="207"/>
                  </a:lnTo>
                  <a:lnTo>
                    <a:pt x="354" y="209"/>
                  </a:lnTo>
                  <a:lnTo>
                    <a:pt x="354" y="207"/>
                  </a:lnTo>
                  <a:lnTo>
                    <a:pt x="354" y="205"/>
                  </a:lnTo>
                  <a:lnTo>
                    <a:pt x="356" y="203"/>
                  </a:lnTo>
                  <a:lnTo>
                    <a:pt x="364" y="201"/>
                  </a:lnTo>
                  <a:lnTo>
                    <a:pt x="375" y="201"/>
                  </a:lnTo>
                  <a:lnTo>
                    <a:pt x="375" y="199"/>
                  </a:lnTo>
                  <a:lnTo>
                    <a:pt x="377" y="199"/>
                  </a:lnTo>
                  <a:lnTo>
                    <a:pt x="377" y="195"/>
                  </a:lnTo>
                  <a:lnTo>
                    <a:pt x="381" y="189"/>
                  </a:lnTo>
                  <a:lnTo>
                    <a:pt x="383" y="187"/>
                  </a:lnTo>
                  <a:lnTo>
                    <a:pt x="389" y="187"/>
                  </a:lnTo>
                  <a:lnTo>
                    <a:pt x="391" y="185"/>
                  </a:lnTo>
                  <a:lnTo>
                    <a:pt x="391" y="185"/>
                  </a:lnTo>
                  <a:lnTo>
                    <a:pt x="393" y="185"/>
                  </a:lnTo>
                  <a:lnTo>
                    <a:pt x="393" y="187"/>
                  </a:lnTo>
                  <a:lnTo>
                    <a:pt x="395" y="187"/>
                  </a:lnTo>
                  <a:lnTo>
                    <a:pt x="395" y="187"/>
                  </a:lnTo>
                  <a:lnTo>
                    <a:pt x="397" y="185"/>
                  </a:lnTo>
                  <a:lnTo>
                    <a:pt x="399" y="185"/>
                  </a:lnTo>
                  <a:lnTo>
                    <a:pt x="401" y="187"/>
                  </a:lnTo>
                  <a:lnTo>
                    <a:pt x="403" y="187"/>
                  </a:lnTo>
                  <a:lnTo>
                    <a:pt x="409" y="187"/>
                  </a:lnTo>
                  <a:lnTo>
                    <a:pt x="412" y="187"/>
                  </a:lnTo>
                  <a:lnTo>
                    <a:pt x="416" y="189"/>
                  </a:lnTo>
                  <a:lnTo>
                    <a:pt x="422" y="191"/>
                  </a:lnTo>
                  <a:lnTo>
                    <a:pt x="424" y="191"/>
                  </a:lnTo>
                  <a:lnTo>
                    <a:pt x="428" y="193"/>
                  </a:lnTo>
                  <a:lnTo>
                    <a:pt x="428" y="195"/>
                  </a:lnTo>
                  <a:lnTo>
                    <a:pt x="430" y="195"/>
                  </a:lnTo>
                  <a:lnTo>
                    <a:pt x="432" y="197"/>
                  </a:lnTo>
                  <a:lnTo>
                    <a:pt x="432" y="197"/>
                  </a:lnTo>
                  <a:lnTo>
                    <a:pt x="434" y="197"/>
                  </a:lnTo>
                  <a:lnTo>
                    <a:pt x="436" y="199"/>
                  </a:lnTo>
                  <a:lnTo>
                    <a:pt x="438" y="199"/>
                  </a:lnTo>
                  <a:lnTo>
                    <a:pt x="438" y="201"/>
                  </a:lnTo>
                  <a:lnTo>
                    <a:pt x="440" y="203"/>
                  </a:lnTo>
                  <a:lnTo>
                    <a:pt x="444" y="203"/>
                  </a:lnTo>
                  <a:lnTo>
                    <a:pt x="446" y="205"/>
                  </a:lnTo>
                  <a:lnTo>
                    <a:pt x="448" y="201"/>
                  </a:lnTo>
                  <a:lnTo>
                    <a:pt x="448" y="201"/>
                  </a:lnTo>
                  <a:lnTo>
                    <a:pt x="446" y="199"/>
                  </a:lnTo>
                  <a:lnTo>
                    <a:pt x="446" y="197"/>
                  </a:lnTo>
                  <a:lnTo>
                    <a:pt x="448" y="195"/>
                  </a:lnTo>
                  <a:lnTo>
                    <a:pt x="446" y="195"/>
                  </a:lnTo>
                  <a:lnTo>
                    <a:pt x="446" y="195"/>
                  </a:lnTo>
                  <a:lnTo>
                    <a:pt x="446" y="193"/>
                  </a:lnTo>
                  <a:lnTo>
                    <a:pt x="446" y="191"/>
                  </a:lnTo>
                  <a:lnTo>
                    <a:pt x="448" y="191"/>
                  </a:lnTo>
                  <a:lnTo>
                    <a:pt x="448" y="191"/>
                  </a:lnTo>
                  <a:lnTo>
                    <a:pt x="448" y="191"/>
                  </a:lnTo>
                  <a:lnTo>
                    <a:pt x="448" y="185"/>
                  </a:lnTo>
                  <a:lnTo>
                    <a:pt x="450" y="183"/>
                  </a:lnTo>
                  <a:lnTo>
                    <a:pt x="453" y="183"/>
                  </a:lnTo>
                  <a:lnTo>
                    <a:pt x="455" y="185"/>
                  </a:lnTo>
                  <a:lnTo>
                    <a:pt x="457" y="183"/>
                  </a:lnTo>
                  <a:lnTo>
                    <a:pt x="459" y="183"/>
                  </a:lnTo>
                  <a:lnTo>
                    <a:pt x="461" y="185"/>
                  </a:lnTo>
                  <a:lnTo>
                    <a:pt x="461" y="187"/>
                  </a:lnTo>
                  <a:lnTo>
                    <a:pt x="461" y="187"/>
                  </a:lnTo>
                  <a:lnTo>
                    <a:pt x="461" y="189"/>
                  </a:lnTo>
                  <a:lnTo>
                    <a:pt x="463" y="189"/>
                  </a:lnTo>
                  <a:lnTo>
                    <a:pt x="463" y="187"/>
                  </a:lnTo>
                  <a:lnTo>
                    <a:pt x="463" y="187"/>
                  </a:lnTo>
                  <a:lnTo>
                    <a:pt x="465" y="187"/>
                  </a:lnTo>
                  <a:lnTo>
                    <a:pt x="467" y="189"/>
                  </a:lnTo>
                  <a:lnTo>
                    <a:pt x="467" y="187"/>
                  </a:lnTo>
                  <a:lnTo>
                    <a:pt x="467" y="185"/>
                  </a:lnTo>
                  <a:lnTo>
                    <a:pt x="471" y="185"/>
                  </a:lnTo>
                  <a:lnTo>
                    <a:pt x="473" y="187"/>
                  </a:lnTo>
                  <a:lnTo>
                    <a:pt x="475" y="187"/>
                  </a:lnTo>
                  <a:lnTo>
                    <a:pt x="475" y="187"/>
                  </a:lnTo>
                  <a:lnTo>
                    <a:pt x="475" y="185"/>
                  </a:lnTo>
                  <a:lnTo>
                    <a:pt x="475" y="185"/>
                  </a:lnTo>
                  <a:lnTo>
                    <a:pt x="477" y="185"/>
                  </a:lnTo>
                  <a:lnTo>
                    <a:pt x="477" y="185"/>
                  </a:lnTo>
                  <a:lnTo>
                    <a:pt x="479" y="185"/>
                  </a:lnTo>
                  <a:lnTo>
                    <a:pt x="479" y="185"/>
                  </a:lnTo>
                  <a:lnTo>
                    <a:pt x="485" y="185"/>
                  </a:lnTo>
                  <a:lnTo>
                    <a:pt x="502" y="185"/>
                  </a:lnTo>
                  <a:lnTo>
                    <a:pt x="502" y="185"/>
                  </a:lnTo>
                  <a:lnTo>
                    <a:pt x="502" y="185"/>
                  </a:lnTo>
                  <a:lnTo>
                    <a:pt x="504" y="185"/>
                  </a:lnTo>
                  <a:lnTo>
                    <a:pt x="504" y="185"/>
                  </a:lnTo>
                  <a:lnTo>
                    <a:pt x="504" y="185"/>
                  </a:lnTo>
                  <a:lnTo>
                    <a:pt x="508" y="183"/>
                  </a:lnTo>
                  <a:lnTo>
                    <a:pt x="510" y="183"/>
                  </a:lnTo>
                  <a:lnTo>
                    <a:pt x="510" y="183"/>
                  </a:lnTo>
                  <a:lnTo>
                    <a:pt x="510" y="181"/>
                  </a:lnTo>
                  <a:lnTo>
                    <a:pt x="510" y="179"/>
                  </a:lnTo>
                  <a:lnTo>
                    <a:pt x="510" y="179"/>
                  </a:lnTo>
                  <a:lnTo>
                    <a:pt x="508" y="179"/>
                  </a:lnTo>
                  <a:lnTo>
                    <a:pt x="506" y="177"/>
                  </a:lnTo>
                  <a:lnTo>
                    <a:pt x="506" y="177"/>
                  </a:lnTo>
                  <a:lnTo>
                    <a:pt x="504" y="177"/>
                  </a:lnTo>
                  <a:lnTo>
                    <a:pt x="504" y="177"/>
                  </a:lnTo>
                  <a:lnTo>
                    <a:pt x="502" y="177"/>
                  </a:lnTo>
                  <a:lnTo>
                    <a:pt x="500" y="174"/>
                  </a:lnTo>
                  <a:lnTo>
                    <a:pt x="498" y="172"/>
                  </a:lnTo>
                  <a:lnTo>
                    <a:pt x="496" y="172"/>
                  </a:lnTo>
                  <a:lnTo>
                    <a:pt x="496" y="170"/>
                  </a:lnTo>
                  <a:lnTo>
                    <a:pt x="496" y="168"/>
                  </a:lnTo>
                  <a:lnTo>
                    <a:pt x="498" y="168"/>
                  </a:lnTo>
                  <a:lnTo>
                    <a:pt x="498" y="166"/>
                  </a:lnTo>
                  <a:lnTo>
                    <a:pt x="498" y="166"/>
                  </a:lnTo>
                  <a:lnTo>
                    <a:pt x="496" y="166"/>
                  </a:lnTo>
                  <a:lnTo>
                    <a:pt x="493" y="166"/>
                  </a:lnTo>
                  <a:lnTo>
                    <a:pt x="493" y="166"/>
                  </a:lnTo>
                  <a:lnTo>
                    <a:pt x="491" y="166"/>
                  </a:lnTo>
                  <a:lnTo>
                    <a:pt x="491" y="166"/>
                  </a:lnTo>
                  <a:lnTo>
                    <a:pt x="491" y="166"/>
                  </a:lnTo>
                  <a:lnTo>
                    <a:pt x="489" y="164"/>
                  </a:lnTo>
                  <a:lnTo>
                    <a:pt x="489" y="164"/>
                  </a:lnTo>
                  <a:lnTo>
                    <a:pt x="487" y="164"/>
                  </a:lnTo>
                  <a:lnTo>
                    <a:pt x="485" y="164"/>
                  </a:lnTo>
                  <a:lnTo>
                    <a:pt x="483" y="164"/>
                  </a:lnTo>
                  <a:lnTo>
                    <a:pt x="483" y="166"/>
                  </a:lnTo>
                  <a:lnTo>
                    <a:pt x="481" y="164"/>
                  </a:lnTo>
                  <a:lnTo>
                    <a:pt x="479" y="162"/>
                  </a:lnTo>
                  <a:lnTo>
                    <a:pt x="479" y="162"/>
                  </a:lnTo>
                  <a:lnTo>
                    <a:pt x="481" y="160"/>
                  </a:lnTo>
                  <a:lnTo>
                    <a:pt x="483" y="158"/>
                  </a:lnTo>
                  <a:lnTo>
                    <a:pt x="485" y="158"/>
                  </a:lnTo>
                  <a:lnTo>
                    <a:pt x="483" y="156"/>
                  </a:lnTo>
                  <a:lnTo>
                    <a:pt x="481" y="154"/>
                  </a:lnTo>
                  <a:lnTo>
                    <a:pt x="481" y="152"/>
                  </a:lnTo>
                  <a:lnTo>
                    <a:pt x="479" y="148"/>
                  </a:lnTo>
                  <a:lnTo>
                    <a:pt x="479" y="146"/>
                  </a:lnTo>
                  <a:lnTo>
                    <a:pt x="479" y="144"/>
                  </a:lnTo>
                  <a:lnTo>
                    <a:pt x="475" y="140"/>
                  </a:lnTo>
                  <a:lnTo>
                    <a:pt x="473" y="138"/>
                  </a:lnTo>
                  <a:lnTo>
                    <a:pt x="471" y="134"/>
                  </a:lnTo>
                  <a:lnTo>
                    <a:pt x="469" y="134"/>
                  </a:lnTo>
                  <a:lnTo>
                    <a:pt x="467" y="134"/>
                  </a:lnTo>
                  <a:lnTo>
                    <a:pt x="465" y="134"/>
                  </a:lnTo>
                  <a:lnTo>
                    <a:pt x="463" y="134"/>
                  </a:lnTo>
                  <a:lnTo>
                    <a:pt x="463" y="134"/>
                  </a:lnTo>
                  <a:lnTo>
                    <a:pt x="461" y="140"/>
                  </a:lnTo>
                  <a:lnTo>
                    <a:pt x="459" y="142"/>
                  </a:lnTo>
                  <a:lnTo>
                    <a:pt x="455" y="144"/>
                  </a:lnTo>
                  <a:lnTo>
                    <a:pt x="453" y="144"/>
                  </a:lnTo>
                  <a:lnTo>
                    <a:pt x="448" y="144"/>
                  </a:lnTo>
                  <a:lnTo>
                    <a:pt x="450" y="142"/>
                  </a:lnTo>
                  <a:lnTo>
                    <a:pt x="446" y="138"/>
                  </a:lnTo>
                  <a:lnTo>
                    <a:pt x="444" y="138"/>
                  </a:lnTo>
                  <a:lnTo>
                    <a:pt x="442" y="138"/>
                  </a:lnTo>
                  <a:lnTo>
                    <a:pt x="440" y="140"/>
                  </a:lnTo>
                  <a:lnTo>
                    <a:pt x="438" y="142"/>
                  </a:lnTo>
                  <a:lnTo>
                    <a:pt x="434" y="142"/>
                  </a:lnTo>
                  <a:lnTo>
                    <a:pt x="432" y="144"/>
                  </a:lnTo>
                  <a:lnTo>
                    <a:pt x="430" y="144"/>
                  </a:lnTo>
                  <a:lnTo>
                    <a:pt x="428" y="142"/>
                  </a:lnTo>
                  <a:lnTo>
                    <a:pt x="424" y="142"/>
                  </a:lnTo>
                  <a:lnTo>
                    <a:pt x="424" y="142"/>
                  </a:lnTo>
                  <a:lnTo>
                    <a:pt x="422" y="140"/>
                  </a:lnTo>
                  <a:lnTo>
                    <a:pt x="422" y="140"/>
                  </a:lnTo>
                  <a:lnTo>
                    <a:pt x="420" y="140"/>
                  </a:lnTo>
                  <a:lnTo>
                    <a:pt x="418" y="142"/>
                  </a:lnTo>
                  <a:lnTo>
                    <a:pt x="418" y="142"/>
                  </a:lnTo>
                  <a:lnTo>
                    <a:pt x="416" y="142"/>
                  </a:lnTo>
                  <a:lnTo>
                    <a:pt x="414" y="142"/>
                  </a:lnTo>
                  <a:lnTo>
                    <a:pt x="414" y="140"/>
                  </a:lnTo>
                  <a:lnTo>
                    <a:pt x="414" y="138"/>
                  </a:lnTo>
                  <a:lnTo>
                    <a:pt x="416" y="136"/>
                  </a:lnTo>
                  <a:lnTo>
                    <a:pt x="416" y="134"/>
                  </a:lnTo>
                  <a:lnTo>
                    <a:pt x="414" y="129"/>
                  </a:lnTo>
                  <a:lnTo>
                    <a:pt x="414" y="117"/>
                  </a:lnTo>
                  <a:lnTo>
                    <a:pt x="414" y="117"/>
                  </a:lnTo>
                  <a:lnTo>
                    <a:pt x="416" y="115"/>
                  </a:lnTo>
                  <a:lnTo>
                    <a:pt x="416" y="113"/>
                  </a:lnTo>
                  <a:lnTo>
                    <a:pt x="418" y="113"/>
                  </a:lnTo>
                  <a:lnTo>
                    <a:pt x="418" y="111"/>
                  </a:lnTo>
                  <a:lnTo>
                    <a:pt x="416" y="111"/>
                  </a:lnTo>
                  <a:lnTo>
                    <a:pt x="412" y="113"/>
                  </a:lnTo>
                  <a:lnTo>
                    <a:pt x="412" y="113"/>
                  </a:lnTo>
                  <a:lnTo>
                    <a:pt x="403" y="113"/>
                  </a:lnTo>
                  <a:lnTo>
                    <a:pt x="399" y="115"/>
                  </a:lnTo>
                  <a:lnTo>
                    <a:pt x="391" y="117"/>
                  </a:lnTo>
                  <a:lnTo>
                    <a:pt x="379" y="125"/>
                  </a:lnTo>
                  <a:lnTo>
                    <a:pt x="375" y="127"/>
                  </a:lnTo>
                  <a:lnTo>
                    <a:pt x="348" y="127"/>
                  </a:lnTo>
                  <a:lnTo>
                    <a:pt x="346" y="129"/>
                  </a:lnTo>
                  <a:lnTo>
                    <a:pt x="346" y="127"/>
                  </a:lnTo>
                  <a:lnTo>
                    <a:pt x="344" y="129"/>
                  </a:lnTo>
                  <a:lnTo>
                    <a:pt x="332" y="134"/>
                  </a:lnTo>
                  <a:lnTo>
                    <a:pt x="330" y="134"/>
                  </a:lnTo>
                  <a:lnTo>
                    <a:pt x="328" y="134"/>
                  </a:lnTo>
                  <a:lnTo>
                    <a:pt x="317" y="142"/>
                  </a:lnTo>
                  <a:lnTo>
                    <a:pt x="309" y="146"/>
                  </a:lnTo>
                  <a:lnTo>
                    <a:pt x="307" y="148"/>
                  </a:lnTo>
                  <a:lnTo>
                    <a:pt x="303" y="150"/>
                  </a:lnTo>
                  <a:lnTo>
                    <a:pt x="303" y="150"/>
                  </a:lnTo>
                  <a:lnTo>
                    <a:pt x="299" y="154"/>
                  </a:lnTo>
                  <a:lnTo>
                    <a:pt x="299" y="154"/>
                  </a:lnTo>
                  <a:lnTo>
                    <a:pt x="295" y="160"/>
                  </a:lnTo>
                  <a:lnTo>
                    <a:pt x="293" y="162"/>
                  </a:lnTo>
                  <a:lnTo>
                    <a:pt x="291" y="164"/>
                  </a:lnTo>
                  <a:lnTo>
                    <a:pt x="291" y="164"/>
                  </a:lnTo>
                  <a:lnTo>
                    <a:pt x="291" y="162"/>
                  </a:lnTo>
                  <a:lnTo>
                    <a:pt x="291" y="162"/>
                  </a:lnTo>
                  <a:lnTo>
                    <a:pt x="289" y="162"/>
                  </a:lnTo>
                  <a:lnTo>
                    <a:pt x="287" y="162"/>
                  </a:lnTo>
                  <a:lnTo>
                    <a:pt x="287" y="160"/>
                  </a:lnTo>
                  <a:lnTo>
                    <a:pt x="285" y="160"/>
                  </a:lnTo>
                  <a:lnTo>
                    <a:pt x="283" y="158"/>
                  </a:lnTo>
                  <a:lnTo>
                    <a:pt x="280" y="158"/>
                  </a:lnTo>
                  <a:lnTo>
                    <a:pt x="278" y="162"/>
                  </a:lnTo>
                  <a:lnTo>
                    <a:pt x="276" y="162"/>
                  </a:lnTo>
                  <a:lnTo>
                    <a:pt x="274" y="164"/>
                  </a:lnTo>
                  <a:lnTo>
                    <a:pt x="272" y="164"/>
                  </a:lnTo>
                  <a:lnTo>
                    <a:pt x="272" y="162"/>
                  </a:lnTo>
                  <a:lnTo>
                    <a:pt x="272" y="162"/>
                  </a:lnTo>
                  <a:lnTo>
                    <a:pt x="270" y="160"/>
                  </a:lnTo>
                  <a:lnTo>
                    <a:pt x="270" y="162"/>
                  </a:lnTo>
                  <a:lnTo>
                    <a:pt x="268" y="160"/>
                  </a:lnTo>
                  <a:lnTo>
                    <a:pt x="266" y="158"/>
                  </a:lnTo>
                  <a:lnTo>
                    <a:pt x="266" y="158"/>
                  </a:lnTo>
                  <a:lnTo>
                    <a:pt x="266" y="156"/>
                  </a:lnTo>
                  <a:lnTo>
                    <a:pt x="266" y="156"/>
                  </a:lnTo>
                  <a:lnTo>
                    <a:pt x="264" y="156"/>
                  </a:lnTo>
                  <a:lnTo>
                    <a:pt x="264" y="156"/>
                  </a:lnTo>
                  <a:lnTo>
                    <a:pt x="262" y="154"/>
                  </a:lnTo>
                  <a:lnTo>
                    <a:pt x="262" y="156"/>
                  </a:lnTo>
                  <a:lnTo>
                    <a:pt x="260" y="156"/>
                  </a:lnTo>
                  <a:lnTo>
                    <a:pt x="260" y="156"/>
                  </a:lnTo>
                  <a:lnTo>
                    <a:pt x="260" y="156"/>
                  </a:lnTo>
                  <a:lnTo>
                    <a:pt x="258" y="156"/>
                  </a:lnTo>
                  <a:lnTo>
                    <a:pt x="256" y="158"/>
                  </a:lnTo>
                  <a:lnTo>
                    <a:pt x="256" y="160"/>
                  </a:lnTo>
                  <a:lnTo>
                    <a:pt x="256" y="160"/>
                  </a:lnTo>
                  <a:lnTo>
                    <a:pt x="254" y="160"/>
                  </a:lnTo>
                  <a:lnTo>
                    <a:pt x="250" y="160"/>
                  </a:lnTo>
                  <a:lnTo>
                    <a:pt x="246" y="162"/>
                  </a:lnTo>
                  <a:lnTo>
                    <a:pt x="237" y="162"/>
                  </a:lnTo>
                  <a:lnTo>
                    <a:pt x="235" y="160"/>
                  </a:lnTo>
                  <a:lnTo>
                    <a:pt x="233" y="158"/>
                  </a:lnTo>
                  <a:lnTo>
                    <a:pt x="231" y="154"/>
                  </a:lnTo>
                  <a:lnTo>
                    <a:pt x="231" y="154"/>
                  </a:lnTo>
                  <a:lnTo>
                    <a:pt x="231" y="152"/>
                  </a:lnTo>
                  <a:lnTo>
                    <a:pt x="227" y="152"/>
                  </a:lnTo>
                  <a:lnTo>
                    <a:pt x="225" y="150"/>
                  </a:lnTo>
                  <a:lnTo>
                    <a:pt x="225" y="150"/>
                  </a:lnTo>
                  <a:lnTo>
                    <a:pt x="225" y="148"/>
                  </a:lnTo>
                  <a:lnTo>
                    <a:pt x="223" y="148"/>
                  </a:lnTo>
                  <a:lnTo>
                    <a:pt x="221" y="146"/>
                  </a:lnTo>
                  <a:lnTo>
                    <a:pt x="221" y="144"/>
                  </a:lnTo>
                  <a:lnTo>
                    <a:pt x="219" y="144"/>
                  </a:lnTo>
                  <a:lnTo>
                    <a:pt x="215" y="140"/>
                  </a:lnTo>
                  <a:lnTo>
                    <a:pt x="215" y="138"/>
                  </a:lnTo>
                  <a:lnTo>
                    <a:pt x="213" y="134"/>
                  </a:lnTo>
                  <a:lnTo>
                    <a:pt x="211" y="131"/>
                  </a:lnTo>
                  <a:lnTo>
                    <a:pt x="209" y="134"/>
                  </a:lnTo>
                  <a:lnTo>
                    <a:pt x="209" y="134"/>
                  </a:lnTo>
                  <a:lnTo>
                    <a:pt x="209" y="131"/>
                  </a:lnTo>
                  <a:lnTo>
                    <a:pt x="207" y="129"/>
                  </a:lnTo>
                  <a:lnTo>
                    <a:pt x="207" y="129"/>
                  </a:lnTo>
                  <a:lnTo>
                    <a:pt x="205" y="131"/>
                  </a:lnTo>
                  <a:lnTo>
                    <a:pt x="205" y="131"/>
                  </a:lnTo>
                  <a:lnTo>
                    <a:pt x="203" y="129"/>
                  </a:lnTo>
                  <a:lnTo>
                    <a:pt x="203" y="129"/>
                  </a:lnTo>
                  <a:lnTo>
                    <a:pt x="201" y="127"/>
                  </a:lnTo>
                  <a:lnTo>
                    <a:pt x="201" y="127"/>
                  </a:lnTo>
                  <a:lnTo>
                    <a:pt x="201" y="127"/>
                  </a:lnTo>
                  <a:lnTo>
                    <a:pt x="199" y="127"/>
                  </a:lnTo>
                  <a:lnTo>
                    <a:pt x="199" y="127"/>
                  </a:lnTo>
                  <a:lnTo>
                    <a:pt x="199" y="125"/>
                  </a:lnTo>
                  <a:lnTo>
                    <a:pt x="188" y="125"/>
                  </a:lnTo>
                  <a:lnTo>
                    <a:pt x="176" y="125"/>
                  </a:lnTo>
                  <a:lnTo>
                    <a:pt x="172" y="125"/>
                  </a:lnTo>
                  <a:lnTo>
                    <a:pt x="166" y="129"/>
                  </a:lnTo>
                  <a:lnTo>
                    <a:pt x="166" y="129"/>
                  </a:lnTo>
                  <a:lnTo>
                    <a:pt x="166" y="131"/>
                  </a:lnTo>
                  <a:lnTo>
                    <a:pt x="164" y="134"/>
                  </a:lnTo>
                  <a:lnTo>
                    <a:pt x="162" y="136"/>
                  </a:lnTo>
                  <a:lnTo>
                    <a:pt x="160" y="138"/>
                  </a:lnTo>
                  <a:lnTo>
                    <a:pt x="160" y="136"/>
                  </a:lnTo>
                  <a:lnTo>
                    <a:pt x="162" y="134"/>
                  </a:lnTo>
                  <a:lnTo>
                    <a:pt x="162" y="131"/>
                  </a:lnTo>
                  <a:lnTo>
                    <a:pt x="164" y="129"/>
                  </a:lnTo>
                  <a:lnTo>
                    <a:pt x="168" y="125"/>
                  </a:lnTo>
                  <a:lnTo>
                    <a:pt x="170" y="123"/>
                  </a:lnTo>
                  <a:lnTo>
                    <a:pt x="170" y="121"/>
                  </a:lnTo>
                  <a:lnTo>
                    <a:pt x="168" y="121"/>
                  </a:lnTo>
                  <a:lnTo>
                    <a:pt x="168" y="123"/>
                  </a:lnTo>
                  <a:lnTo>
                    <a:pt x="164" y="125"/>
                  </a:lnTo>
                  <a:lnTo>
                    <a:pt x="160" y="129"/>
                  </a:lnTo>
                  <a:lnTo>
                    <a:pt x="158" y="129"/>
                  </a:lnTo>
                  <a:lnTo>
                    <a:pt x="156" y="134"/>
                  </a:lnTo>
                  <a:lnTo>
                    <a:pt x="156" y="134"/>
                  </a:lnTo>
                  <a:lnTo>
                    <a:pt x="153" y="134"/>
                  </a:lnTo>
                  <a:lnTo>
                    <a:pt x="151" y="136"/>
                  </a:lnTo>
                  <a:lnTo>
                    <a:pt x="153" y="136"/>
                  </a:lnTo>
                  <a:lnTo>
                    <a:pt x="149" y="142"/>
                  </a:lnTo>
                  <a:lnTo>
                    <a:pt x="147" y="146"/>
                  </a:lnTo>
                  <a:lnTo>
                    <a:pt x="145" y="144"/>
                  </a:lnTo>
                  <a:lnTo>
                    <a:pt x="145" y="144"/>
                  </a:lnTo>
                  <a:lnTo>
                    <a:pt x="147" y="144"/>
                  </a:lnTo>
                  <a:lnTo>
                    <a:pt x="147" y="144"/>
                  </a:lnTo>
                  <a:lnTo>
                    <a:pt x="147" y="142"/>
                  </a:lnTo>
                  <a:lnTo>
                    <a:pt x="147" y="142"/>
                  </a:lnTo>
                  <a:lnTo>
                    <a:pt x="147" y="142"/>
                  </a:lnTo>
                  <a:lnTo>
                    <a:pt x="145" y="138"/>
                  </a:lnTo>
                  <a:lnTo>
                    <a:pt x="145" y="138"/>
                  </a:lnTo>
                  <a:lnTo>
                    <a:pt x="145" y="136"/>
                  </a:lnTo>
                  <a:lnTo>
                    <a:pt x="145" y="136"/>
                  </a:lnTo>
                  <a:lnTo>
                    <a:pt x="145" y="134"/>
                  </a:lnTo>
                  <a:lnTo>
                    <a:pt x="145" y="134"/>
                  </a:lnTo>
                  <a:lnTo>
                    <a:pt x="145" y="131"/>
                  </a:lnTo>
                  <a:lnTo>
                    <a:pt x="147" y="131"/>
                  </a:lnTo>
                  <a:lnTo>
                    <a:pt x="147" y="127"/>
                  </a:lnTo>
                  <a:lnTo>
                    <a:pt x="147" y="125"/>
                  </a:lnTo>
                  <a:lnTo>
                    <a:pt x="147" y="123"/>
                  </a:lnTo>
                  <a:lnTo>
                    <a:pt x="147" y="121"/>
                  </a:lnTo>
                  <a:lnTo>
                    <a:pt x="145" y="119"/>
                  </a:lnTo>
                  <a:lnTo>
                    <a:pt x="143" y="117"/>
                  </a:lnTo>
                  <a:lnTo>
                    <a:pt x="143" y="117"/>
                  </a:lnTo>
                  <a:lnTo>
                    <a:pt x="141" y="117"/>
                  </a:lnTo>
                  <a:lnTo>
                    <a:pt x="141" y="117"/>
                  </a:lnTo>
                  <a:lnTo>
                    <a:pt x="141" y="117"/>
                  </a:lnTo>
                  <a:lnTo>
                    <a:pt x="141" y="117"/>
                  </a:lnTo>
                  <a:lnTo>
                    <a:pt x="141" y="117"/>
                  </a:lnTo>
                  <a:lnTo>
                    <a:pt x="141" y="115"/>
                  </a:lnTo>
                  <a:lnTo>
                    <a:pt x="141" y="113"/>
                  </a:lnTo>
                  <a:lnTo>
                    <a:pt x="141" y="111"/>
                  </a:lnTo>
                  <a:lnTo>
                    <a:pt x="141" y="111"/>
                  </a:lnTo>
                  <a:lnTo>
                    <a:pt x="139" y="109"/>
                  </a:lnTo>
                  <a:lnTo>
                    <a:pt x="135" y="109"/>
                  </a:lnTo>
                  <a:lnTo>
                    <a:pt x="133" y="109"/>
                  </a:lnTo>
                  <a:lnTo>
                    <a:pt x="131" y="107"/>
                  </a:lnTo>
                  <a:lnTo>
                    <a:pt x="131" y="105"/>
                  </a:lnTo>
                  <a:lnTo>
                    <a:pt x="131" y="103"/>
                  </a:lnTo>
                  <a:lnTo>
                    <a:pt x="131" y="101"/>
                  </a:lnTo>
                  <a:lnTo>
                    <a:pt x="129" y="99"/>
                  </a:lnTo>
                  <a:lnTo>
                    <a:pt x="129" y="99"/>
                  </a:lnTo>
                  <a:lnTo>
                    <a:pt x="127" y="101"/>
                  </a:lnTo>
                  <a:lnTo>
                    <a:pt x="115" y="111"/>
                  </a:lnTo>
                  <a:lnTo>
                    <a:pt x="113" y="113"/>
                  </a:lnTo>
                  <a:lnTo>
                    <a:pt x="113" y="113"/>
                  </a:lnTo>
                  <a:lnTo>
                    <a:pt x="110" y="117"/>
                  </a:lnTo>
                  <a:lnTo>
                    <a:pt x="110" y="117"/>
                  </a:lnTo>
                  <a:lnTo>
                    <a:pt x="110" y="117"/>
                  </a:lnTo>
                  <a:lnTo>
                    <a:pt x="108" y="121"/>
                  </a:lnTo>
                  <a:lnTo>
                    <a:pt x="106" y="123"/>
                  </a:lnTo>
                  <a:lnTo>
                    <a:pt x="106" y="123"/>
                  </a:lnTo>
                  <a:lnTo>
                    <a:pt x="102" y="125"/>
                  </a:lnTo>
                  <a:lnTo>
                    <a:pt x="100" y="125"/>
                  </a:lnTo>
                  <a:lnTo>
                    <a:pt x="100" y="125"/>
                  </a:lnTo>
                  <a:lnTo>
                    <a:pt x="96" y="125"/>
                  </a:lnTo>
                  <a:lnTo>
                    <a:pt x="94" y="125"/>
                  </a:lnTo>
                  <a:lnTo>
                    <a:pt x="92" y="127"/>
                  </a:lnTo>
                  <a:lnTo>
                    <a:pt x="88" y="134"/>
                  </a:lnTo>
                  <a:lnTo>
                    <a:pt x="82" y="140"/>
                  </a:lnTo>
                  <a:lnTo>
                    <a:pt x="76" y="142"/>
                  </a:lnTo>
                  <a:lnTo>
                    <a:pt x="45" y="150"/>
                  </a:lnTo>
                  <a:lnTo>
                    <a:pt x="41" y="150"/>
                  </a:lnTo>
                  <a:lnTo>
                    <a:pt x="29" y="164"/>
                  </a:lnTo>
                  <a:lnTo>
                    <a:pt x="27" y="166"/>
                  </a:lnTo>
                  <a:lnTo>
                    <a:pt x="12" y="172"/>
                  </a:lnTo>
                  <a:lnTo>
                    <a:pt x="8" y="174"/>
                  </a:lnTo>
                  <a:lnTo>
                    <a:pt x="8" y="174"/>
                  </a:lnTo>
                  <a:lnTo>
                    <a:pt x="6" y="174"/>
                  </a:lnTo>
                  <a:lnTo>
                    <a:pt x="4" y="177"/>
                  </a:lnTo>
                  <a:lnTo>
                    <a:pt x="2" y="177"/>
                  </a:lnTo>
                  <a:lnTo>
                    <a:pt x="0" y="179"/>
                  </a:lnTo>
                  <a:lnTo>
                    <a:pt x="0" y="179"/>
                  </a:lnTo>
                  <a:lnTo>
                    <a:pt x="0" y="181"/>
                  </a:lnTo>
                  <a:lnTo>
                    <a:pt x="0" y="183"/>
                  </a:lnTo>
                  <a:lnTo>
                    <a:pt x="0" y="183"/>
                  </a:lnTo>
                  <a:lnTo>
                    <a:pt x="2" y="183"/>
                  </a:lnTo>
                  <a:lnTo>
                    <a:pt x="2" y="183"/>
                  </a:lnTo>
                  <a:lnTo>
                    <a:pt x="2" y="183"/>
                  </a:lnTo>
                  <a:lnTo>
                    <a:pt x="4" y="183"/>
                  </a:lnTo>
                  <a:lnTo>
                    <a:pt x="4" y="181"/>
                  </a:lnTo>
                  <a:lnTo>
                    <a:pt x="6" y="181"/>
                  </a:lnTo>
                  <a:lnTo>
                    <a:pt x="6" y="181"/>
                  </a:lnTo>
                  <a:lnTo>
                    <a:pt x="6" y="183"/>
                  </a:lnTo>
                  <a:lnTo>
                    <a:pt x="8" y="183"/>
                  </a:lnTo>
                  <a:lnTo>
                    <a:pt x="8" y="183"/>
                  </a:lnTo>
                  <a:lnTo>
                    <a:pt x="10" y="183"/>
                  </a:lnTo>
                  <a:lnTo>
                    <a:pt x="10" y="185"/>
                  </a:lnTo>
                  <a:lnTo>
                    <a:pt x="10" y="185"/>
                  </a:lnTo>
                  <a:lnTo>
                    <a:pt x="12" y="185"/>
                  </a:lnTo>
                  <a:lnTo>
                    <a:pt x="12" y="185"/>
                  </a:lnTo>
                  <a:lnTo>
                    <a:pt x="14" y="185"/>
                  </a:lnTo>
                  <a:lnTo>
                    <a:pt x="14" y="185"/>
                  </a:lnTo>
                  <a:lnTo>
                    <a:pt x="16" y="187"/>
                  </a:lnTo>
                  <a:lnTo>
                    <a:pt x="16" y="187"/>
                  </a:lnTo>
                  <a:lnTo>
                    <a:pt x="18" y="189"/>
                  </a:lnTo>
                  <a:lnTo>
                    <a:pt x="18" y="193"/>
                  </a:lnTo>
                  <a:lnTo>
                    <a:pt x="20" y="197"/>
                  </a:lnTo>
                  <a:lnTo>
                    <a:pt x="22" y="199"/>
                  </a:lnTo>
                  <a:lnTo>
                    <a:pt x="24" y="201"/>
                  </a:lnTo>
                  <a:lnTo>
                    <a:pt x="24" y="201"/>
                  </a:lnTo>
                  <a:lnTo>
                    <a:pt x="24" y="201"/>
                  </a:lnTo>
                  <a:lnTo>
                    <a:pt x="27" y="203"/>
                  </a:lnTo>
                  <a:lnTo>
                    <a:pt x="27" y="203"/>
                  </a:lnTo>
                  <a:lnTo>
                    <a:pt x="31" y="203"/>
                  </a:lnTo>
                  <a:lnTo>
                    <a:pt x="33" y="203"/>
                  </a:lnTo>
                  <a:lnTo>
                    <a:pt x="39" y="203"/>
                  </a:lnTo>
                  <a:lnTo>
                    <a:pt x="43" y="205"/>
                  </a:lnTo>
                  <a:lnTo>
                    <a:pt x="51" y="205"/>
                  </a:lnTo>
                  <a:lnTo>
                    <a:pt x="57" y="207"/>
                  </a:lnTo>
                  <a:lnTo>
                    <a:pt x="63" y="209"/>
                  </a:lnTo>
                  <a:lnTo>
                    <a:pt x="72" y="209"/>
                  </a:lnTo>
                  <a:lnTo>
                    <a:pt x="78" y="211"/>
                  </a:lnTo>
                  <a:lnTo>
                    <a:pt x="84" y="211"/>
                  </a:lnTo>
                  <a:lnTo>
                    <a:pt x="90" y="211"/>
                  </a:lnTo>
                  <a:lnTo>
                    <a:pt x="94" y="213"/>
                  </a:lnTo>
                  <a:lnTo>
                    <a:pt x="98" y="213"/>
                  </a:lnTo>
                  <a:lnTo>
                    <a:pt x="100" y="213"/>
                  </a:lnTo>
                  <a:lnTo>
                    <a:pt x="100" y="213"/>
                  </a:lnTo>
                  <a:lnTo>
                    <a:pt x="104" y="215"/>
                  </a:lnTo>
                  <a:lnTo>
                    <a:pt x="106" y="215"/>
                  </a:lnTo>
                  <a:lnTo>
                    <a:pt x="110" y="218"/>
                  </a:lnTo>
                  <a:lnTo>
                    <a:pt x="115" y="220"/>
                  </a:lnTo>
                  <a:lnTo>
                    <a:pt x="121" y="222"/>
                  </a:lnTo>
                  <a:lnTo>
                    <a:pt x="125" y="224"/>
                  </a:lnTo>
                  <a:lnTo>
                    <a:pt x="127" y="224"/>
                  </a:lnTo>
                  <a:lnTo>
                    <a:pt x="127" y="224"/>
                  </a:lnTo>
                  <a:lnTo>
                    <a:pt x="129" y="224"/>
                  </a:lnTo>
                  <a:lnTo>
                    <a:pt x="129" y="224"/>
                  </a:lnTo>
                  <a:lnTo>
                    <a:pt x="131" y="224"/>
                  </a:lnTo>
                  <a:lnTo>
                    <a:pt x="131" y="224"/>
                  </a:lnTo>
                  <a:lnTo>
                    <a:pt x="131" y="224"/>
                  </a:lnTo>
                  <a:lnTo>
                    <a:pt x="133" y="224"/>
                  </a:lnTo>
                  <a:lnTo>
                    <a:pt x="133" y="224"/>
                  </a:lnTo>
                  <a:lnTo>
                    <a:pt x="135" y="224"/>
                  </a:lnTo>
                  <a:lnTo>
                    <a:pt x="135" y="224"/>
                  </a:lnTo>
                  <a:lnTo>
                    <a:pt x="135" y="224"/>
                  </a:lnTo>
                  <a:lnTo>
                    <a:pt x="137" y="224"/>
                  </a:lnTo>
                  <a:lnTo>
                    <a:pt x="137" y="224"/>
                  </a:lnTo>
                  <a:lnTo>
                    <a:pt x="139" y="224"/>
                  </a:lnTo>
                  <a:lnTo>
                    <a:pt x="143" y="226"/>
                  </a:lnTo>
                  <a:lnTo>
                    <a:pt x="143" y="226"/>
                  </a:lnTo>
                  <a:lnTo>
                    <a:pt x="143" y="226"/>
                  </a:lnTo>
                  <a:lnTo>
                    <a:pt x="145" y="224"/>
                  </a:lnTo>
                  <a:lnTo>
                    <a:pt x="145" y="224"/>
                  </a:lnTo>
                  <a:lnTo>
                    <a:pt x="147" y="224"/>
                  </a:lnTo>
                  <a:lnTo>
                    <a:pt x="147" y="224"/>
                  </a:lnTo>
                  <a:lnTo>
                    <a:pt x="147" y="224"/>
                  </a:lnTo>
                  <a:lnTo>
                    <a:pt x="147" y="224"/>
                  </a:lnTo>
                  <a:lnTo>
                    <a:pt x="149" y="224"/>
                  </a:lnTo>
                  <a:lnTo>
                    <a:pt x="149" y="224"/>
                  </a:lnTo>
                  <a:lnTo>
                    <a:pt x="149" y="222"/>
                  </a:lnTo>
                  <a:lnTo>
                    <a:pt x="151" y="222"/>
                  </a:lnTo>
                  <a:lnTo>
                    <a:pt x="151" y="224"/>
                  </a:lnTo>
                  <a:lnTo>
                    <a:pt x="153" y="224"/>
                  </a:lnTo>
                  <a:lnTo>
                    <a:pt x="153" y="224"/>
                  </a:lnTo>
                  <a:lnTo>
                    <a:pt x="156" y="224"/>
                  </a:lnTo>
                  <a:lnTo>
                    <a:pt x="156" y="224"/>
                  </a:lnTo>
                  <a:lnTo>
                    <a:pt x="156" y="224"/>
                  </a:lnTo>
                  <a:lnTo>
                    <a:pt x="156" y="224"/>
                  </a:lnTo>
                  <a:lnTo>
                    <a:pt x="158" y="224"/>
                  </a:lnTo>
                  <a:lnTo>
                    <a:pt x="160" y="226"/>
                  </a:lnTo>
                  <a:lnTo>
                    <a:pt x="160" y="226"/>
                  </a:lnTo>
                  <a:lnTo>
                    <a:pt x="162" y="226"/>
                  </a:lnTo>
                  <a:lnTo>
                    <a:pt x="164" y="224"/>
                  </a:lnTo>
                  <a:lnTo>
                    <a:pt x="164" y="224"/>
                  </a:lnTo>
                  <a:lnTo>
                    <a:pt x="164" y="224"/>
                  </a:lnTo>
                  <a:lnTo>
                    <a:pt x="166" y="226"/>
                  </a:lnTo>
                  <a:lnTo>
                    <a:pt x="168" y="226"/>
                  </a:lnTo>
                  <a:lnTo>
                    <a:pt x="168" y="226"/>
                  </a:lnTo>
                  <a:lnTo>
                    <a:pt x="170" y="226"/>
                  </a:lnTo>
                  <a:lnTo>
                    <a:pt x="172" y="226"/>
                  </a:lnTo>
                  <a:lnTo>
                    <a:pt x="172" y="226"/>
                  </a:lnTo>
                  <a:lnTo>
                    <a:pt x="174" y="228"/>
                  </a:lnTo>
                  <a:lnTo>
                    <a:pt x="176" y="228"/>
                  </a:lnTo>
                  <a:lnTo>
                    <a:pt x="176" y="228"/>
                  </a:lnTo>
                  <a:lnTo>
                    <a:pt x="176" y="228"/>
                  </a:lnTo>
                  <a:lnTo>
                    <a:pt x="178" y="226"/>
                  </a:lnTo>
                  <a:lnTo>
                    <a:pt x="178" y="226"/>
                  </a:lnTo>
                  <a:lnTo>
                    <a:pt x="178" y="228"/>
                  </a:lnTo>
                  <a:lnTo>
                    <a:pt x="180" y="228"/>
                  </a:lnTo>
                  <a:lnTo>
                    <a:pt x="182" y="228"/>
                  </a:lnTo>
                  <a:lnTo>
                    <a:pt x="182" y="228"/>
                  </a:lnTo>
                  <a:lnTo>
                    <a:pt x="184" y="230"/>
                  </a:lnTo>
                  <a:lnTo>
                    <a:pt x="184" y="230"/>
                  </a:lnTo>
                  <a:lnTo>
                    <a:pt x="186" y="234"/>
                  </a:lnTo>
                  <a:lnTo>
                    <a:pt x="186" y="234"/>
                  </a:lnTo>
                  <a:lnTo>
                    <a:pt x="186" y="236"/>
                  </a:lnTo>
                  <a:lnTo>
                    <a:pt x="186" y="236"/>
                  </a:lnTo>
                  <a:lnTo>
                    <a:pt x="186" y="236"/>
                  </a:lnTo>
                  <a:lnTo>
                    <a:pt x="184" y="238"/>
                  </a:lnTo>
                  <a:lnTo>
                    <a:pt x="184" y="240"/>
                  </a:lnTo>
                  <a:lnTo>
                    <a:pt x="184" y="240"/>
                  </a:lnTo>
                  <a:lnTo>
                    <a:pt x="184" y="240"/>
                  </a:lnTo>
                  <a:lnTo>
                    <a:pt x="184" y="242"/>
                  </a:lnTo>
                  <a:lnTo>
                    <a:pt x="186" y="242"/>
                  </a:lnTo>
                  <a:lnTo>
                    <a:pt x="186" y="242"/>
                  </a:lnTo>
                  <a:lnTo>
                    <a:pt x="188" y="242"/>
                  </a:lnTo>
                  <a:lnTo>
                    <a:pt x="188" y="244"/>
                  </a:lnTo>
                  <a:lnTo>
                    <a:pt x="190" y="244"/>
                  </a:lnTo>
                  <a:lnTo>
                    <a:pt x="190" y="244"/>
                  </a:lnTo>
                  <a:lnTo>
                    <a:pt x="192" y="244"/>
                  </a:lnTo>
                  <a:lnTo>
                    <a:pt x="194" y="242"/>
                  </a:lnTo>
                  <a:lnTo>
                    <a:pt x="194" y="242"/>
                  </a:lnTo>
                  <a:lnTo>
                    <a:pt x="194" y="242"/>
                  </a:lnTo>
                  <a:lnTo>
                    <a:pt x="194" y="242"/>
                  </a:lnTo>
                  <a:lnTo>
                    <a:pt x="196" y="244"/>
                  </a:lnTo>
                  <a:lnTo>
                    <a:pt x="196" y="244"/>
                  </a:lnTo>
                  <a:lnTo>
                    <a:pt x="196" y="244"/>
                  </a:lnTo>
                  <a:lnTo>
                    <a:pt x="196" y="244"/>
                  </a:lnTo>
                  <a:lnTo>
                    <a:pt x="199" y="244"/>
                  </a:lnTo>
                  <a:lnTo>
                    <a:pt x="203" y="244"/>
                  </a:lnTo>
                  <a:lnTo>
                    <a:pt x="203" y="244"/>
                  </a:lnTo>
                  <a:lnTo>
                    <a:pt x="203" y="246"/>
                  </a:lnTo>
                  <a:lnTo>
                    <a:pt x="203" y="246"/>
                  </a:lnTo>
                  <a:lnTo>
                    <a:pt x="205" y="246"/>
                  </a:lnTo>
                  <a:lnTo>
                    <a:pt x="205" y="246"/>
                  </a:lnTo>
                  <a:lnTo>
                    <a:pt x="205" y="248"/>
                  </a:lnTo>
                  <a:lnTo>
                    <a:pt x="207" y="248"/>
                  </a:lnTo>
                  <a:lnTo>
                    <a:pt x="209" y="248"/>
                  </a:lnTo>
                  <a:lnTo>
                    <a:pt x="209" y="250"/>
                  </a:lnTo>
                  <a:lnTo>
                    <a:pt x="211" y="250"/>
                  </a:lnTo>
                  <a:lnTo>
                    <a:pt x="211" y="252"/>
                  </a:lnTo>
                  <a:lnTo>
                    <a:pt x="211" y="252"/>
                  </a:lnTo>
                  <a:lnTo>
                    <a:pt x="211" y="252"/>
                  </a:lnTo>
                  <a:lnTo>
                    <a:pt x="211" y="252"/>
                  </a:lnTo>
                  <a:lnTo>
                    <a:pt x="211" y="252"/>
                  </a:lnTo>
                  <a:lnTo>
                    <a:pt x="211" y="254"/>
                  </a:lnTo>
                  <a:lnTo>
                    <a:pt x="211" y="254"/>
                  </a:lnTo>
                  <a:lnTo>
                    <a:pt x="211" y="254"/>
                  </a:lnTo>
                  <a:lnTo>
                    <a:pt x="211" y="256"/>
                  </a:lnTo>
                  <a:lnTo>
                    <a:pt x="213" y="259"/>
                  </a:lnTo>
                  <a:lnTo>
                    <a:pt x="213" y="259"/>
                  </a:lnTo>
                  <a:lnTo>
                    <a:pt x="213" y="261"/>
                  </a:lnTo>
                  <a:lnTo>
                    <a:pt x="213" y="261"/>
                  </a:lnTo>
                  <a:lnTo>
                    <a:pt x="213" y="263"/>
                  </a:lnTo>
                  <a:lnTo>
                    <a:pt x="213" y="263"/>
                  </a:lnTo>
                  <a:lnTo>
                    <a:pt x="213" y="263"/>
                  </a:lnTo>
                  <a:lnTo>
                    <a:pt x="213" y="263"/>
                  </a:lnTo>
                  <a:lnTo>
                    <a:pt x="211" y="263"/>
                  </a:lnTo>
                  <a:lnTo>
                    <a:pt x="211" y="265"/>
                  </a:lnTo>
                  <a:lnTo>
                    <a:pt x="211" y="265"/>
                  </a:lnTo>
                  <a:lnTo>
                    <a:pt x="213" y="267"/>
                  </a:lnTo>
                  <a:lnTo>
                    <a:pt x="213" y="271"/>
                  </a:lnTo>
                  <a:lnTo>
                    <a:pt x="213" y="271"/>
                  </a:lnTo>
                  <a:lnTo>
                    <a:pt x="213" y="271"/>
                  </a:lnTo>
                  <a:lnTo>
                    <a:pt x="213" y="271"/>
                  </a:lnTo>
                  <a:lnTo>
                    <a:pt x="213" y="273"/>
                  </a:lnTo>
                  <a:lnTo>
                    <a:pt x="213" y="273"/>
                  </a:lnTo>
                  <a:lnTo>
                    <a:pt x="213" y="275"/>
                  </a:lnTo>
                  <a:lnTo>
                    <a:pt x="211" y="275"/>
                  </a:lnTo>
                  <a:lnTo>
                    <a:pt x="209" y="277"/>
                  </a:lnTo>
                  <a:lnTo>
                    <a:pt x="209" y="277"/>
                  </a:lnTo>
                  <a:lnTo>
                    <a:pt x="209" y="277"/>
                  </a:lnTo>
                  <a:lnTo>
                    <a:pt x="209" y="279"/>
                  </a:lnTo>
                  <a:lnTo>
                    <a:pt x="209" y="279"/>
                  </a:lnTo>
                  <a:lnTo>
                    <a:pt x="209" y="281"/>
                  </a:lnTo>
                  <a:lnTo>
                    <a:pt x="209" y="281"/>
                  </a:lnTo>
                  <a:lnTo>
                    <a:pt x="209" y="283"/>
                  </a:lnTo>
                  <a:lnTo>
                    <a:pt x="209" y="285"/>
                  </a:lnTo>
                  <a:lnTo>
                    <a:pt x="209" y="285"/>
                  </a:lnTo>
                  <a:lnTo>
                    <a:pt x="209" y="285"/>
                  </a:lnTo>
                  <a:lnTo>
                    <a:pt x="211" y="287"/>
                  </a:lnTo>
                  <a:lnTo>
                    <a:pt x="211" y="287"/>
                  </a:lnTo>
                  <a:lnTo>
                    <a:pt x="213" y="285"/>
                  </a:lnTo>
                  <a:lnTo>
                    <a:pt x="213" y="285"/>
                  </a:lnTo>
                  <a:lnTo>
                    <a:pt x="213" y="285"/>
                  </a:lnTo>
                  <a:lnTo>
                    <a:pt x="213" y="285"/>
                  </a:lnTo>
                  <a:lnTo>
                    <a:pt x="215" y="285"/>
                  </a:lnTo>
                  <a:lnTo>
                    <a:pt x="217" y="285"/>
                  </a:lnTo>
                  <a:lnTo>
                    <a:pt x="217" y="285"/>
                  </a:lnTo>
                  <a:lnTo>
                    <a:pt x="217" y="285"/>
                  </a:lnTo>
                  <a:lnTo>
                    <a:pt x="223" y="281"/>
                  </a:lnTo>
                  <a:lnTo>
                    <a:pt x="223" y="281"/>
                  </a:lnTo>
                  <a:lnTo>
                    <a:pt x="223" y="281"/>
                  </a:lnTo>
                  <a:lnTo>
                    <a:pt x="225" y="281"/>
                  </a:lnTo>
                  <a:lnTo>
                    <a:pt x="225" y="283"/>
                  </a:lnTo>
                  <a:lnTo>
                    <a:pt x="225" y="283"/>
                  </a:lnTo>
                  <a:lnTo>
                    <a:pt x="227" y="283"/>
                  </a:lnTo>
                  <a:lnTo>
                    <a:pt x="227" y="285"/>
                  </a:lnTo>
                  <a:lnTo>
                    <a:pt x="227" y="285"/>
                  </a:lnTo>
                  <a:lnTo>
                    <a:pt x="227" y="285"/>
                  </a:lnTo>
                  <a:lnTo>
                    <a:pt x="225" y="287"/>
                  </a:lnTo>
                  <a:lnTo>
                    <a:pt x="225" y="287"/>
                  </a:lnTo>
                  <a:lnTo>
                    <a:pt x="223" y="293"/>
                  </a:lnTo>
                  <a:lnTo>
                    <a:pt x="223" y="297"/>
                  </a:lnTo>
                  <a:lnTo>
                    <a:pt x="221" y="297"/>
                  </a:lnTo>
                  <a:lnTo>
                    <a:pt x="221" y="302"/>
                  </a:lnTo>
                  <a:lnTo>
                    <a:pt x="223" y="302"/>
                  </a:lnTo>
                  <a:lnTo>
                    <a:pt x="223" y="304"/>
                  </a:lnTo>
                  <a:lnTo>
                    <a:pt x="225" y="304"/>
                  </a:lnTo>
                  <a:lnTo>
                    <a:pt x="225" y="306"/>
                  </a:lnTo>
                  <a:lnTo>
                    <a:pt x="227" y="308"/>
                  </a:lnTo>
                  <a:lnTo>
                    <a:pt x="227" y="308"/>
                  </a:lnTo>
                  <a:lnTo>
                    <a:pt x="227" y="308"/>
                  </a:lnTo>
                  <a:lnTo>
                    <a:pt x="229" y="310"/>
                  </a:lnTo>
                  <a:lnTo>
                    <a:pt x="233" y="310"/>
                  </a:lnTo>
                  <a:lnTo>
                    <a:pt x="233" y="310"/>
                  </a:lnTo>
                  <a:lnTo>
                    <a:pt x="233" y="306"/>
                  </a:lnTo>
                  <a:lnTo>
                    <a:pt x="233" y="304"/>
                  </a:lnTo>
                  <a:lnTo>
                    <a:pt x="235" y="302"/>
                  </a:lnTo>
                  <a:lnTo>
                    <a:pt x="250" y="275"/>
                  </a:lnTo>
                  <a:lnTo>
                    <a:pt x="250" y="273"/>
                  </a:lnTo>
                  <a:lnTo>
                    <a:pt x="250" y="271"/>
                  </a:lnTo>
                  <a:lnTo>
                    <a:pt x="250" y="271"/>
                  </a:lnTo>
                  <a:lnTo>
                    <a:pt x="252" y="269"/>
                  </a:lnTo>
                  <a:lnTo>
                    <a:pt x="252" y="267"/>
                  </a:lnTo>
                  <a:lnTo>
                    <a:pt x="254" y="263"/>
                  </a:lnTo>
                  <a:lnTo>
                    <a:pt x="254" y="261"/>
                  </a:lnTo>
                  <a:lnTo>
                    <a:pt x="256" y="256"/>
                  </a:lnTo>
                  <a:lnTo>
                    <a:pt x="258" y="254"/>
                  </a:lnTo>
                  <a:lnTo>
                    <a:pt x="260" y="248"/>
                  </a:lnTo>
                  <a:lnTo>
                    <a:pt x="262" y="246"/>
                  </a:lnTo>
                  <a:lnTo>
                    <a:pt x="264" y="244"/>
                  </a:lnTo>
                  <a:lnTo>
                    <a:pt x="266" y="244"/>
                  </a:lnTo>
                  <a:lnTo>
                    <a:pt x="266" y="240"/>
                  </a:lnTo>
                  <a:lnTo>
                    <a:pt x="266" y="240"/>
                  </a:lnTo>
                  <a:lnTo>
                    <a:pt x="266" y="236"/>
                  </a:lnTo>
                  <a:lnTo>
                    <a:pt x="268" y="232"/>
                  </a:lnTo>
                  <a:lnTo>
                    <a:pt x="268" y="230"/>
                  </a:lnTo>
                  <a:lnTo>
                    <a:pt x="270" y="228"/>
                  </a:lnTo>
                  <a:lnTo>
                    <a:pt x="270" y="228"/>
                  </a:lnTo>
                  <a:lnTo>
                    <a:pt x="270" y="222"/>
                  </a:lnTo>
                  <a:lnTo>
                    <a:pt x="272" y="220"/>
                  </a:lnTo>
                  <a:lnTo>
                    <a:pt x="272" y="220"/>
                  </a:lnTo>
                  <a:lnTo>
                    <a:pt x="274" y="222"/>
                  </a:lnTo>
                  <a:lnTo>
                    <a:pt x="274" y="222"/>
                  </a:lnTo>
                  <a:lnTo>
                    <a:pt x="274" y="224"/>
                  </a:lnTo>
                  <a:lnTo>
                    <a:pt x="272" y="226"/>
                  </a:lnTo>
                  <a:lnTo>
                    <a:pt x="272" y="228"/>
                  </a:lnTo>
                  <a:lnTo>
                    <a:pt x="272" y="228"/>
                  </a:lnTo>
                  <a:lnTo>
                    <a:pt x="272" y="230"/>
                  </a:lnTo>
                  <a:lnTo>
                    <a:pt x="272" y="232"/>
                  </a:lnTo>
                  <a:lnTo>
                    <a:pt x="272" y="234"/>
                  </a:lnTo>
                  <a:lnTo>
                    <a:pt x="274" y="234"/>
                  </a:lnTo>
                  <a:lnTo>
                    <a:pt x="274" y="236"/>
                  </a:lnTo>
                  <a:lnTo>
                    <a:pt x="274" y="240"/>
                  </a:lnTo>
                  <a:lnTo>
                    <a:pt x="274" y="242"/>
                  </a:lnTo>
                  <a:lnTo>
                    <a:pt x="276" y="244"/>
                  </a:lnTo>
                  <a:lnTo>
                    <a:pt x="276" y="244"/>
                  </a:lnTo>
                  <a:lnTo>
                    <a:pt x="276" y="242"/>
                  </a:lnTo>
                  <a:lnTo>
                    <a:pt x="276" y="242"/>
                  </a:lnTo>
                  <a:lnTo>
                    <a:pt x="280" y="240"/>
                  </a:lnTo>
                  <a:lnTo>
                    <a:pt x="283" y="240"/>
                  </a:lnTo>
                  <a:lnTo>
                    <a:pt x="283" y="240"/>
                  </a:lnTo>
                  <a:lnTo>
                    <a:pt x="285" y="238"/>
                  </a:lnTo>
                  <a:lnTo>
                    <a:pt x="285" y="238"/>
                  </a:lnTo>
                  <a:lnTo>
                    <a:pt x="285" y="236"/>
                  </a:lnTo>
                  <a:lnTo>
                    <a:pt x="287" y="232"/>
                  </a:lnTo>
                  <a:lnTo>
                    <a:pt x="287" y="232"/>
                  </a:lnTo>
                  <a:lnTo>
                    <a:pt x="287" y="230"/>
                  </a:lnTo>
                  <a:lnTo>
                    <a:pt x="289" y="230"/>
                  </a:lnTo>
                  <a:lnTo>
                    <a:pt x="289" y="228"/>
                  </a:lnTo>
                  <a:lnTo>
                    <a:pt x="289" y="228"/>
                  </a:lnTo>
                  <a:lnTo>
                    <a:pt x="289" y="226"/>
                  </a:lnTo>
                  <a:lnTo>
                    <a:pt x="289" y="224"/>
                  </a:lnTo>
                  <a:lnTo>
                    <a:pt x="291" y="224"/>
                  </a:lnTo>
                  <a:lnTo>
                    <a:pt x="291" y="224"/>
                  </a:lnTo>
                  <a:lnTo>
                    <a:pt x="295" y="226"/>
                  </a:lnTo>
                  <a:lnTo>
                    <a:pt x="297" y="226"/>
                  </a:lnTo>
                  <a:lnTo>
                    <a:pt x="299" y="224"/>
                  </a:lnTo>
                  <a:lnTo>
                    <a:pt x="299" y="224"/>
                  </a:lnTo>
                  <a:lnTo>
                    <a:pt x="301" y="222"/>
                  </a:lnTo>
                  <a:lnTo>
                    <a:pt x="301" y="220"/>
                  </a:lnTo>
                  <a:lnTo>
                    <a:pt x="303" y="220"/>
                  </a:lnTo>
                  <a:lnTo>
                    <a:pt x="305" y="220"/>
                  </a:lnTo>
                  <a:lnTo>
                    <a:pt x="305" y="220"/>
                  </a:lnTo>
                  <a:lnTo>
                    <a:pt x="307" y="220"/>
                  </a:lnTo>
                  <a:lnTo>
                    <a:pt x="307" y="222"/>
                  </a:lnTo>
                  <a:lnTo>
                    <a:pt x="305" y="228"/>
                  </a:lnTo>
                  <a:lnTo>
                    <a:pt x="305" y="230"/>
                  </a:lnTo>
                  <a:lnTo>
                    <a:pt x="307" y="230"/>
                  </a:lnTo>
                  <a:lnTo>
                    <a:pt x="307" y="230"/>
                  </a:lnTo>
                  <a:lnTo>
                    <a:pt x="307" y="230"/>
                  </a:lnTo>
                  <a:lnTo>
                    <a:pt x="307" y="232"/>
                  </a:lnTo>
                  <a:lnTo>
                    <a:pt x="305" y="232"/>
                  </a:lnTo>
                  <a:lnTo>
                    <a:pt x="305" y="230"/>
                  </a:lnTo>
                  <a:lnTo>
                    <a:pt x="303" y="230"/>
                  </a:lnTo>
                  <a:lnTo>
                    <a:pt x="303" y="230"/>
                  </a:lnTo>
                  <a:lnTo>
                    <a:pt x="301" y="232"/>
                  </a:lnTo>
                  <a:lnTo>
                    <a:pt x="301" y="232"/>
                  </a:lnTo>
                  <a:lnTo>
                    <a:pt x="301" y="232"/>
                  </a:lnTo>
                  <a:lnTo>
                    <a:pt x="301" y="232"/>
                  </a:lnTo>
                  <a:lnTo>
                    <a:pt x="301" y="234"/>
                  </a:lnTo>
                  <a:lnTo>
                    <a:pt x="301" y="234"/>
                  </a:lnTo>
                  <a:lnTo>
                    <a:pt x="301" y="234"/>
                  </a:lnTo>
                  <a:lnTo>
                    <a:pt x="301" y="234"/>
                  </a:lnTo>
                  <a:lnTo>
                    <a:pt x="299" y="234"/>
                  </a:lnTo>
                  <a:lnTo>
                    <a:pt x="299" y="236"/>
                  </a:lnTo>
                  <a:lnTo>
                    <a:pt x="299" y="238"/>
                  </a:lnTo>
                  <a:lnTo>
                    <a:pt x="299" y="240"/>
                  </a:lnTo>
                  <a:lnTo>
                    <a:pt x="297" y="242"/>
                  </a:lnTo>
                  <a:lnTo>
                    <a:pt x="297" y="242"/>
                  </a:lnTo>
                  <a:lnTo>
                    <a:pt x="297" y="244"/>
                  </a:lnTo>
                  <a:lnTo>
                    <a:pt x="299" y="246"/>
                  </a:lnTo>
                  <a:lnTo>
                    <a:pt x="301" y="248"/>
                  </a:lnTo>
                  <a:lnTo>
                    <a:pt x="303" y="248"/>
                  </a:lnTo>
                  <a:lnTo>
                    <a:pt x="303" y="248"/>
                  </a:lnTo>
                  <a:lnTo>
                    <a:pt x="305" y="248"/>
                  </a:lnTo>
                  <a:lnTo>
                    <a:pt x="305" y="248"/>
                  </a:lnTo>
                  <a:lnTo>
                    <a:pt x="305" y="248"/>
                  </a:lnTo>
                  <a:lnTo>
                    <a:pt x="305" y="246"/>
                  </a:lnTo>
                  <a:lnTo>
                    <a:pt x="303" y="246"/>
                  </a:lnTo>
                  <a:lnTo>
                    <a:pt x="303" y="246"/>
                  </a:lnTo>
                  <a:lnTo>
                    <a:pt x="303" y="244"/>
                  </a:lnTo>
                  <a:lnTo>
                    <a:pt x="303" y="244"/>
                  </a:lnTo>
                  <a:lnTo>
                    <a:pt x="303" y="242"/>
                  </a:lnTo>
                  <a:lnTo>
                    <a:pt x="303" y="242"/>
                  </a:lnTo>
                  <a:lnTo>
                    <a:pt x="305" y="242"/>
                  </a:lnTo>
                  <a:lnTo>
                    <a:pt x="305" y="242"/>
                  </a:lnTo>
                  <a:lnTo>
                    <a:pt x="305" y="238"/>
                  </a:lnTo>
                  <a:lnTo>
                    <a:pt x="307" y="238"/>
                  </a:lnTo>
                  <a:lnTo>
                    <a:pt x="309" y="236"/>
                  </a:lnTo>
                  <a:lnTo>
                    <a:pt x="309" y="236"/>
                  </a:lnTo>
                  <a:lnTo>
                    <a:pt x="309" y="234"/>
                  </a:lnTo>
                  <a:lnTo>
                    <a:pt x="309" y="234"/>
                  </a:lnTo>
                  <a:lnTo>
                    <a:pt x="309" y="232"/>
                  </a:lnTo>
                  <a:lnTo>
                    <a:pt x="311" y="232"/>
                  </a:lnTo>
                  <a:lnTo>
                    <a:pt x="313" y="232"/>
                  </a:lnTo>
                  <a:lnTo>
                    <a:pt x="315" y="230"/>
                  </a:lnTo>
                  <a:lnTo>
                    <a:pt x="315" y="230"/>
                  </a:lnTo>
                  <a:lnTo>
                    <a:pt x="317" y="228"/>
                  </a:lnTo>
                  <a:lnTo>
                    <a:pt x="317" y="228"/>
                  </a:lnTo>
                  <a:lnTo>
                    <a:pt x="317" y="228"/>
                  </a:lnTo>
                  <a:lnTo>
                    <a:pt x="321" y="226"/>
                  </a:lnTo>
                  <a:lnTo>
                    <a:pt x="321" y="226"/>
                  </a:lnTo>
                  <a:lnTo>
                    <a:pt x="321" y="224"/>
                  </a:lnTo>
                  <a:lnTo>
                    <a:pt x="321" y="224"/>
                  </a:lnTo>
                  <a:lnTo>
                    <a:pt x="323" y="218"/>
                  </a:lnTo>
                  <a:lnTo>
                    <a:pt x="326" y="213"/>
                  </a:lnTo>
                  <a:lnTo>
                    <a:pt x="328" y="209"/>
                  </a:lnTo>
                  <a:lnTo>
                    <a:pt x="342" y="205"/>
                  </a:lnTo>
                  <a:lnTo>
                    <a:pt x="344" y="205"/>
                  </a:lnTo>
                  <a:close/>
                  <a:moveTo>
                    <a:pt x="287" y="156"/>
                  </a:moveTo>
                  <a:lnTo>
                    <a:pt x="287" y="156"/>
                  </a:lnTo>
                  <a:lnTo>
                    <a:pt x="289" y="156"/>
                  </a:lnTo>
                  <a:lnTo>
                    <a:pt x="289" y="158"/>
                  </a:lnTo>
                  <a:lnTo>
                    <a:pt x="289" y="158"/>
                  </a:lnTo>
                  <a:lnTo>
                    <a:pt x="289" y="160"/>
                  </a:lnTo>
                  <a:lnTo>
                    <a:pt x="289" y="160"/>
                  </a:lnTo>
                  <a:lnTo>
                    <a:pt x="291" y="160"/>
                  </a:lnTo>
                  <a:lnTo>
                    <a:pt x="291" y="160"/>
                  </a:lnTo>
                  <a:lnTo>
                    <a:pt x="291" y="160"/>
                  </a:lnTo>
                  <a:lnTo>
                    <a:pt x="291" y="158"/>
                  </a:lnTo>
                  <a:lnTo>
                    <a:pt x="291" y="158"/>
                  </a:lnTo>
                  <a:lnTo>
                    <a:pt x="291" y="160"/>
                  </a:lnTo>
                  <a:lnTo>
                    <a:pt x="293" y="160"/>
                  </a:lnTo>
                  <a:lnTo>
                    <a:pt x="293" y="160"/>
                  </a:lnTo>
                  <a:lnTo>
                    <a:pt x="293" y="160"/>
                  </a:lnTo>
                  <a:lnTo>
                    <a:pt x="295" y="160"/>
                  </a:lnTo>
                  <a:lnTo>
                    <a:pt x="295" y="158"/>
                  </a:lnTo>
                  <a:lnTo>
                    <a:pt x="295" y="158"/>
                  </a:lnTo>
                  <a:lnTo>
                    <a:pt x="293" y="156"/>
                  </a:lnTo>
                  <a:lnTo>
                    <a:pt x="293" y="158"/>
                  </a:lnTo>
                  <a:lnTo>
                    <a:pt x="291" y="158"/>
                  </a:lnTo>
                  <a:lnTo>
                    <a:pt x="291" y="156"/>
                  </a:lnTo>
                  <a:lnTo>
                    <a:pt x="291" y="156"/>
                  </a:lnTo>
                  <a:lnTo>
                    <a:pt x="293" y="154"/>
                  </a:lnTo>
                  <a:lnTo>
                    <a:pt x="291" y="152"/>
                  </a:lnTo>
                  <a:lnTo>
                    <a:pt x="291" y="150"/>
                  </a:lnTo>
                  <a:lnTo>
                    <a:pt x="291" y="150"/>
                  </a:lnTo>
                  <a:lnTo>
                    <a:pt x="289" y="150"/>
                  </a:lnTo>
                  <a:lnTo>
                    <a:pt x="287" y="150"/>
                  </a:lnTo>
                  <a:lnTo>
                    <a:pt x="287" y="152"/>
                  </a:lnTo>
                  <a:lnTo>
                    <a:pt x="287" y="154"/>
                  </a:lnTo>
                  <a:lnTo>
                    <a:pt x="287" y="156"/>
                  </a:lnTo>
                  <a:close/>
                  <a:moveTo>
                    <a:pt x="133" y="99"/>
                  </a:moveTo>
                  <a:lnTo>
                    <a:pt x="131" y="101"/>
                  </a:lnTo>
                  <a:lnTo>
                    <a:pt x="131" y="103"/>
                  </a:lnTo>
                  <a:lnTo>
                    <a:pt x="131" y="107"/>
                  </a:lnTo>
                  <a:lnTo>
                    <a:pt x="133" y="109"/>
                  </a:lnTo>
                  <a:lnTo>
                    <a:pt x="139" y="109"/>
                  </a:lnTo>
                  <a:lnTo>
                    <a:pt x="141" y="109"/>
                  </a:lnTo>
                  <a:lnTo>
                    <a:pt x="143" y="111"/>
                  </a:lnTo>
                  <a:lnTo>
                    <a:pt x="143" y="111"/>
                  </a:lnTo>
                  <a:lnTo>
                    <a:pt x="145" y="109"/>
                  </a:lnTo>
                  <a:lnTo>
                    <a:pt x="147" y="109"/>
                  </a:lnTo>
                  <a:lnTo>
                    <a:pt x="147" y="107"/>
                  </a:lnTo>
                  <a:lnTo>
                    <a:pt x="145" y="105"/>
                  </a:lnTo>
                  <a:lnTo>
                    <a:pt x="143" y="107"/>
                  </a:lnTo>
                  <a:lnTo>
                    <a:pt x="145" y="105"/>
                  </a:lnTo>
                  <a:lnTo>
                    <a:pt x="145" y="103"/>
                  </a:lnTo>
                  <a:lnTo>
                    <a:pt x="147" y="101"/>
                  </a:lnTo>
                  <a:lnTo>
                    <a:pt x="147" y="101"/>
                  </a:lnTo>
                  <a:lnTo>
                    <a:pt x="147" y="103"/>
                  </a:lnTo>
                  <a:lnTo>
                    <a:pt x="147" y="107"/>
                  </a:lnTo>
                  <a:lnTo>
                    <a:pt x="147" y="107"/>
                  </a:lnTo>
                  <a:lnTo>
                    <a:pt x="147" y="109"/>
                  </a:lnTo>
                  <a:lnTo>
                    <a:pt x="147" y="111"/>
                  </a:lnTo>
                  <a:lnTo>
                    <a:pt x="145" y="113"/>
                  </a:lnTo>
                  <a:lnTo>
                    <a:pt x="143" y="113"/>
                  </a:lnTo>
                  <a:lnTo>
                    <a:pt x="143" y="115"/>
                  </a:lnTo>
                  <a:lnTo>
                    <a:pt x="143" y="115"/>
                  </a:lnTo>
                  <a:lnTo>
                    <a:pt x="149" y="121"/>
                  </a:lnTo>
                  <a:lnTo>
                    <a:pt x="149" y="121"/>
                  </a:lnTo>
                  <a:lnTo>
                    <a:pt x="151" y="119"/>
                  </a:lnTo>
                  <a:lnTo>
                    <a:pt x="151" y="117"/>
                  </a:lnTo>
                  <a:lnTo>
                    <a:pt x="153" y="111"/>
                  </a:lnTo>
                  <a:lnTo>
                    <a:pt x="153" y="111"/>
                  </a:lnTo>
                  <a:lnTo>
                    <a:pt x="158" y="109"/>
                  </a:lnTo>
                  <a:lnTo>
                    <a:pt x="158" y="107"/>
                  </a:lnTo>
                  <a:lnTo>
                    <a:pt x="158" y="105"/>
                  </a:lnTo>
                  <a:lnTo>
                    <a:pt x="158" y="105"/>
                  </a:lnTo>
                  <a:lnTo>
                    <a:pt x="160" y="105"/>
                  </a:lnTo>
                  <a:lnTo>
                    <a:pt x="162" y="105"/>
                  </a:lnTo>
                  <a:lnTo>
                    <a:pt x="162" y="103"/>
                  </a:lnTo>
                  <a:lnTo>
                    <a:pt x="160" y="103"/>
                  </a:lnTo>
                  <a:lnTo>
                    <a:pt x="160" y="101"/>
                  </a:lnTo>
                  <a:lnTo>
                    <a:pt x="162" y="99"/>
                  </a:lnTo>
                  <a:lnTo>
                    <a:pt x="162" y="97"/>
                  </a:lnTo>
                  <a:lnTo>
                    <a:pt x="164" y="97"/>
                  </a:lnTo>
                  <a:lnTo>
                    <a:pt x="164" y="97"/>
                  </a:lnTo>
                  <a:lnTo>
                    <a:pt x="166" y="97"/>
                  </a:lnTo>
                  <a:lnTo>
                    <a:pt x="166" y="95"/>
                  </a:lnTo>
                  <a:lnTo>
                    <a:pt x="168" y="93"/>
                  </a:lnTo>
                  <a:lnTo>
                    <a:pt x="170" y="90"/>
                  </a:lnTo>
                  <a:lnTo>
                    <a:pt x="172" y="90"/>
                  </a:lnTo>
                  <a:lnTo>
                    <a:pt x="172" y="90"/>
                  </a:lnTo>
                  <a:lnTo>
                    <a:pt x="172" y="86"/>
                  </a:lnTo>
                  <a:lnTo>
                    <a:pt x="174" y="86"/>
                  </a:lnTo>
                  <a:lnTo>
                    <a:pt x="176" y="86"/>
                  </a:lnTo>
                  <a:lnTo>
                    <a:pt x="176" y="84"/>
                  </a:lnTo>
                  <a:lnTo>
                    <a:pt x="180" y="80"/>
                  </a:lnTo>
                  <a:lnTo>
                    <a:pt x="180" y="80"/>
                  </a:lnTo>
                  <a:lnTo>
                    <a:pt x="176" y="78"/>
                  </a:lnTo>
                  <a:lnTo>
                    <a:pt x="174" y="78"/>
                  </a:lnTo>
                  <a:lnTo>
                    <a:pt x="176" y="78"/>
                  </a:lnTo>
                  <a:lnTo>
                    <a:pt x="176" y="76"/>
                  </a:lnTo>
                  <a:lnTo>
                    <a:pt x="180" y="76"/>
                  </a:lnTo>
                  <a:lnTo>
                    <a:pt x="184" y="74"/>
                  </a:lnTo>
                  <a:lnTo>
                    <a:pt x="186" y="74"/>
                  </a:lnTo>
                  <a:lnTo>
                    <a:pt x="188" y="74"/>
                  </a:lnTo>
                  <a:lnTo>
                    <a:pt x="190" y="76"/>
                  </a:lnTo>
                  <a:lnTo>
                    <a:pt x="192" y="76"/>
                  </a:lnTo>
                  <a:lnTo>
                    <a:pt x="194" y="74"/>
                  </a:lnTo>
                  <a:lnTo>
                    <a:pt x="196" y="72"/>
                  </a:lnTo>
                  <a:lnTo>
                    <a:pt x="199" y="72"/>
                  </a:lnTo>
                  <a:lnTo>
                    <a:pt x="199" y="72"/>
                  </a:lnTo>
                  <a:lnTo>
                    <a:pt x="196" y="72"/>
                  </a:lnTo>
                  <a:lnTo>
                    <a:pt x="194" y="68"/>
                  </a:lnTo>
                  <a:lnTo>
                    <a:pt x="194" y="68"/>
                  </a:lnTo>
                  <a:lnTo>
                    <a:pt x="190" y="66"/>
                  </a:lnTo>
                  <a:lnTo>
                    <a:pt x="188" y="66"/>
                  </a:lnTo>
                  <a:lnTo>
                    <a:pt x="172" y="68"/>
                  </a:lnTo>
                  <a:lnTo>
                    <a:pt x="166" y="70"/>
                  </a:lnTo>
                  <a:lnTo>
                    <a:pt x="160" y="72"/>
                  </a:lnTo>
                  <a:lnTo>
                    <a:pt x="160" y="74"/>
                  </a:lnTo>
                  <a:lnTo>
                    <a:pt x="158" y="76"/>
                  </a:lnTo>
                  <a:lnTo>
                    <a:pt x="158" y="76"/>
                  </a:lnTo>
                  <a:lnTo>
                    <a:pt x="156" y="76"/>
                  </a:lnTo>
                  <a:lnTo>
                    <a:pt x="156" y="76"/>
                  </a:lnTo>
                  <a:lnTo>
                    <a:pt x="153" y="76"/>
                  </a:lnTo>
                  <a:lnTo>
                    <a:pt x="153" y="76"/>
                  </a:lnTo>
                  <a:lnTo>
                    <a:pt x="151" y="78"/>
                  </a:lnTo>
                  <a:lnTo>
                    <a:pt x="145" y="80"/>
                  </a:lnTo>
                  <a:lnTo>
                    <a:pt x="143" y="82"/>
                  </a:lnTo>
                  <a:lnTo>
                    <a:pt x="137" y="93"/>
                  </a:lnTo>
                  <a:lnTo>
                    <a:pt x="137" y="95"/>
                  </a:lnTo>
                  <a:lnTo>
                    <a:pt x="133" y="97"/>
                  </a:lnTo>
                  <a:lnTo>
                    <a:pt x="133" y="99"/>
                  </a:lnTo>
                  <a:close/>
                  <a:moveTo>
                    <a:pt x="80" y="35"/>
                  </a:moveTo>
                  <a:lnTo>
                    <a:pt x="84" y="33"/>
                  </a:lnTo>
                  <a:lnTo>
                    <a:pt x="84" y="33"/>
                  </a:lnTo>
                  <a:lnTo>
                    <a:pt x="80" y="35"/>
                  </a:lnTo>
                  <a:lnTo>
                    <a:pt x="80" y="35"/>
                  </a:lnTo>
                  <a:lnTo>
                    <a:pt x="80" y="39"/>
                  </a:lnTo>
                  <a:lnTo>
                    <a:pt x="80" y="39"/>
                  </a:lnTo>
                  <a:lnTo>
                    <a:pt x="80" y="39"/>
                  </a:lnTo>
                  <a:lnTo>
                    <a:pt x="80" y="39"/>
                  </a:lnTo>
                  <a:lnTo>
                    <a:pt x="80" y="39"/>
                  </a:lnTo>
                  <a:lnTo>
                    <a:pt x="82" y="41"/>
                  </a:lnTo>
                  <a:lnTo>
                    <a:pt x="84" y="41"/>
                  </a:lnTo>
                  <a:lnTo>
                    <a:pt x="86" y="41"/>
                  </a:lnTo>
                  <a:lnTo>
                    <a:pt x="98" y="33"/>
                  </a:lnTo>
                  <a:lnTo>
                    <a:pt x="102" y="33"/>
                  </a:lnTo>
                  <a:lnTo>
                    <a:pt x="102" y="33"/>
                  </a:lnTo>
                  <a:lnTo>
                    <a:pt x="94" y="33"/>
                  </a:lnTo>
                  <a:lnTo>
                    <a:pt x="96" y="31"/>
                  </a:lnTo>
                  <a:lnTo>
                    <a:pt x="98" y="29"/>
                  </a:lnTo>
                  <a:lnTo>
                    <a:pt x="98" y="29"/>
                  </a:lnTo>
                  <a:lnTo>
                    <a:pt x="117" y="19"/>
                  </a:lnTo>
                  <a:lnTo>
                    <a:pt x="121" y="17"/>
                  </a:lnTo>
                  <a:lnTo>
                    <a:pt x="125" y="15"/>
                  </a:lnTo>
                  <a:lnTo>
                    <a:pt x="125" y="13"/>
                  </a:lnTo>
                  <a:lnTo>
                    <a:pt x="125" y="13"/>
                  </a:lnTo>
                  <a:lnTo>
                    <a:pt x="123" y="11"/>
                  </a:lnTo>
                  <a:lnTo>
                    <a:pt x="123" y="11"/>
                  </a:lnTo>
                  <a:lnTo>
                    <a:pt x="125" y="8"/>
                  </a:lnTo>
                  <a:lnTo>
                    <a:pt x="131" y="4"/>
                  </a:lnTo>
                  <a:lnTo>
                    <a:pt x="133" y="2"/>
                  </a:lnTo>
                  <a:lnTo>
                    <a:pt x="133" y="0"/>
                  </a:lnTo>
                  <a:lnTo>
                    <a:pt x="133" y="0"/>
                  </a:lnTo>
                  <a:lnTo>
                    <a:pt x="133" y="0"/>
                  </a:lnTo>
                  <a:lnTo>
                    <a:pt x="133" y="0"/>
                  </a:lnTo>
                  <a:lnTo>
                    <a:pt x="131" y="2"/>
                  </a:lnTo>
                  <a:lnTo>
                    <a:pt x="129" y="2"/>
                  </a:lnTo>
                  <a:lnTo>
                    <a:pt x="129" y="2"/>
                  </a:lnTo>
                  <a:lnTo>
                    <a:pt x="131" y="0"/>
                  </a:lnTo>
                  <a:lnTo>
                    <a:pt x="131" y="0"/>
                  </a:lnTo>
                  <a:lnTo>
                    <a:pt x="127" y="2"/>
                  </a:lnTo>
                  <a:lnTo>
                    <a:pt x="125" y="4"/>
                  </a:lnTo>
                  <a:lnTo>
                    <a:pt x="123" y="4"/>
                  </a:lnTo>
                  <a:lnTo>
                    <a:pt x="121" y="6"/>
                  </a:lnTo>
                  <a:lnTo>
                    <a:pt x="121" y="4"/>
                  </a:lnTo>
                  <a:lnTo>
                    <a:pt x="115" y="11"/>
                  </a:lnTo>
                  <a:lnTo>
                    <a:pt x="115" y="8"/>
                  </a:lnTo>
                  <a:lnTo>
                    <a:pt x="113" y="11"/>
                  </a:lnTo>
                  <a:lnTo>
                    <a:pt x="108" y="13"/>
                  </a:lnTo>
                  <a:lnTo>
                    <a:pt x="106" y="15"/>
                  </a:lnTo>
                  <a:lnTo>
                    <a:pt x="104" y="17"/>
                  </a:lnTo>
                  <a:lnTo>
                    <a:pt x="102" y="17"/>
                  </a:lnTo>
                  <a:lnTo>
                    <a:pt x="100" y="19"/>
                  </a:lnTo>
                  <a:lnTo>
                    <a:pt x="98" y="19"/>
                  </a:lnTo>
                  <a:lnTo>
                    <a:pt x="98" y="19"/>
                  </a:lnTo>
                  <a:lnTo>
                    <a:pt x="96" y="21"/>
                  </a:lnTo>
                  <a:lnTo>
                    <a:pt x="86" y="27"/>
                  </a:lnTo>
                  <a:lnTo>
                    <a:pt x="78" y="33"/>
                  </a:lnTo>
                  <a:lnTo>
                    <a:pt x="80" y="35"/>
                  </a:lnTo>
                  <a:lnTo>
                    <a:pt x="80" y="35"/>
                  </a:lnTo>
                  <a:close/>
                  <a:moveTo>
                    <a:pt x="352" y="302"/>
                  </a:moveTo>
                  <a:lnTo>
                    <a:pt x="352" y="302"/>
                  </a:lnTo>
                  <a:lnTo>
                    <a:pt x="350" y="302"/>
                  </a:lnTo>
                  <a:lnTo>
                    <a:pt x="350" y="302"/>
                  </a:lnTo>
                  <a:lnTo>
                    <a:pt x="348" y="304"/>
                  </a:lnTo>
                  <a:lnTo>
                    <a:pt x="348" y="306"/>
                  </a:lnTo>
                  <a:lnTo>
                    <a:pt x="348" y="306"/>
                  </a:lnTo>
                  <a:lnTo>
                    <a:pt x="350" y="308"/>
                  </a:lnTo>
                  <a:lnTo>
                    <a:pt x="352" y="306"/>
                  </a:lnTo>
                  <a:lnTo>
                    <a:pt x="352" y="304"/>
                  </a:lnTo>
                  <a:lnTo>
                    <a:pt x="354" y="302"/>
                  </a:lnTo>
                  <a:lnTo>
                    <a:pt x="352" y="302"/>
                  </a:lnTo>
                  <a:lnTo>
                    <a:pt x="352" y="302"/>
                  </a:lnTo>
                  <a:close/>
                  <a:moveTo>
                    <a:pt x="358" y="297"/>
                  </a:moveTo>
                  <a:lnTo>
                    <a:pt x="360" y="297"/>
                  </a:lnTo>
                  <a:lnTo>
                    <a:pt x="360" y="295"/>
                  </a:lnTo>
                  <a:lnTo>
                    <a:pt x="360" y="295"/>
                  </a:lnTo>
                  <a:lnTo>
                    <a:pt x="360" y="293"/>
                  </a:lnTo>
                  <a:lnTo>
                    <a:pt x="360" y="291"/>
                  </a:lnTo>
                  <a:lnTo>
                    <a:pt x="360" y="291"/>
                  </a:lnTo>
                  <a:lnTo>
                    <a:pt x="358" y="289"/>
                  </a:lnTo>
                  <a:lnTo>
                    <a:pt x="358" y="289"/>
                  </a:lnTo>
                  <a:lnTo>
                    <a:pt x="356" y="289"/>
                  </a:lnTo>
                  <a:lnTo>
                    <a:pt x="356" y="289"/>
                  </a:lnTo>
                  <a:lnTo>
                    <a:pt x="354" y="289"/>
                  </a:lnTo>
                  <a:lnTo>
                    <a:pt x="354" y="291"/>
                  </a:lnTo>
                  <a:lnTo>
                    <a:pt x="356" y="297"/>
                  </a:lnTo>
                  <a:lnTo>
                    <a:pt x="358" y="297"/>
                  </a:lnTo>
                  <a:close/>
                  <a:moveTo>
                    <a:pt x="473" y="187"/>
                  </a:moveTo>
                  <a:lnTo>
                    <a:pt x="471" y="185"/>
                  </a:lnTo>
                  <a:lnTo>
                    <a:pt x="469" y="187"/>
                  </a:lnTo>
                  <a:lnTo>
                    <a:pt x="469" y="187"/>
                  </a:lnTo>
                  <a:lnTo>
                    <a:pt x="469" y="187"/>
                  </a:lnTo>
                  <a:lnTo>
                    <a:pt x="469" y="187"/>
                  </a:lnTo>
                  <a:lnTo>
                    <a:pt x="469" y="189"/>
                  </a:lnTo>
                  <a:lnTo>
                    <a:pt x="471" y="189"/>
                  </a:lnTo>
                  <a:lnTo>
                    <a:pt x="471" y="189"/>
                  </a:lnTo>
                  <a:lnTo>
                    <a:pt x="469" y="189"/>
                  </a:lnTo>
                  <a:lnTo>
                    <a:pt x="471" y="189"/>
                  </a:lnTo>
                  <a:lnTo>
                    <a:pt x="473" y="191"/>
                  </a:lnTo>
                  <a:lnTo>
                    <a:pt x="477" y="189"/>
                  </a:lnTo>
                  <a:lnTo>
                    <a:pt x="475" y="189"/>
                  </a:lnTo>
                  <a:lnTo>
                    <a:pt x="475" y="189"/>
                  </a:lnTo>
                  <a:lnTo>
                    <a:pt x="473" y="187"/>
                  </a:lnTo>
                  <a:lnTo>
                    <a:pt x="473" y="189"/>
                  </a:lnTo>
                  <a:lnTo>
                    <a:pt x="473" y="187"/>
                  </a:lnTo>
                  <a:lnTo>
                    <a:pt x="473" y="187"/>
                  </a:lnTo>
                  <a:close/>
                  <a:moveTo>
                    <a:pt x="364" y="256"/>
                  </a:moveTo>
                  <a:lnTo>
                    <a:pt x="364" y="256"/>
                  </a:lnTo>
                  <a:lnTo>
                    <a:pt x="364" y="256"/>
                  </a:lnTo>
                  <a:lnTo>
                    <a:pt x="362" y="256"/>
                  </a:lnTo>
                  <a:lnTo>
                    <a:pt x="366" y="263"/>
                  </a:lnTo>
                  <a:lnTo>
                    <a:pt x="369" y="263"/>
                  </a:lnTo>
                  <a:lnTo>
                    <a:pt x="369" y="261"/>
                  </a:lnTo>
                  <a:lnTo>
                    <a:pt x="369" y="261"/>
                  </a:lnTo>
                  <a:lnTo>
                    <a:pt x="366" y="259"/>
                  </a:lnTo>
                  <a:lnTo>
                    <a:pt x="364" y="256"/>
                  </a:lnTo>
                  <a:close/>
                  <a:moveTo>
                    <a:pt x="674" y="478"/>
                  </a:moveTo>
                  <a:lnTo>
                    <a:pt x="674" y="476"/>
                  </a:lnTo>
                  <a:lnTo>
                    <a:pt x="674" y="472"/>
                  </a:lnTo>
                  <a:lnTo>
                    <a:pt x="674" y="472"/>
                  </a:lnTo>
                  <a:lnTo>
                    <a:pt x="672" y="470"/>
                  </a:lnTo>
                  <a:lnTo>
                    <a:pt x="670" y="465"/>
                  </a:lnTo>
                  <a:lnTo>
                    <a:pt x="668" y="463"/>
                  </a:lnTo>
                  <a:lnTo>
                    <a:pt x="668" y="463"/>
                  </a:lnTo>
                  <a:lnTo>
                    <a:pt x="661" y="445"/>
                  </a:lnTo>
                  <a:lnTo>
                    <a:pt x="655" y="429"/>
                  </a:lnTo>
                  <a:lnTo>
                    <a:pt x="653" y="420"/>
                  </a:lnTo>
                  <a:lnTo>
                    <a:pt x="643" y="392"/>
                  </a:lnTo>
                  <a:lnTo>
                    <a:pt x="639" y="386"/>
                  </a:lnTo>
                  <a:lnTo>
                    <a:pt x="639" y="386"/>
                  </a:lnTo>
                  <a:lnTo>
                    <a:pt x="639" y="384"/>
                  </a:lnTo>
                  <a:lnTo>
                    <a:pt x="637" y="381"/>
                  </a:lnTo>
                  <a:lnTo>
                    <a:pt x="633" y="375"/>
                  </a:lnTo>
                  <a:lnTo>
                    <a:pt x="629" y="373"/>
                  </a:lnTo>
                  <a:lnTo>
                    <a:pt x="627" y="371"/>
                  </a:lnTo>
                  <a:lnTo>
                    <a:pt x="616" y="369"/>
                  </a:lnTo>
                  <a:lnTo>
                    <a:pt x="614" y="369"/>
                  </a:lnTo>
                  <a:lnTo>
                    <a:pt x="612" y="369"/>
                  </a:lnTo>
                  <a:lnTo>
                    <a:pt x="608" y="371"/>
                  </a:lnTo>
                  <a:lnTo>
                    <a:pt x="608" y="371"/>
                  </a:lnTo>
                  <a:lnTo>
                    <a:pt x="606" y="375"/>
                  </a:lnTo>
                  <a:lnTo>
                    <a:pt x="604" y="375"/>
                  </a:lnTo>
                  <a:lnTo>
                    <a:pt x="602" y="377"/>
                  </a:lnTo>
                  <a:lnTo>
                    <a:pt x="600" y="377"/>
                  </a:lnTo>
                  <a:lnTo>
                    <a:pt x="600" y="379"/>
                  </a:lnTo>
                  <a:lnTo>
                    <a:pt x="598" y="379"/>
                  </a:lnTo>
                  <a:lnTo>
                    <a:pt x="592" y="381"/>
                  </a:lnTo>
                  <a:lnTo>
                    <a:pt x="592" y="381"/>
                  </a:lnTo>
                  <a:lnTo>
                    <a:pt x="592" y="381"/>
                  </a:lnTo>
                  <a:lnTo>
                    <a:pt x="590" y="381"/>
                  </a:lnTo>
                  <a:lnTo>
                    <a:pt x="588" y="386"/>
                  </a:lnTo>
                  <a:lnTo>
                    <a:pt x="588" y="388"/>
                  </a:lnTo>
                  <a:lnTo>
                    <a:pt x="588" y="388"/>
                  </a:lnTo>
                  <a:lnTo>
                    <a:pt x="579" y="390"/>
                  </a:lnTo>
                  <a:lnTo>
                    <a:pt x="582" y="390"/>
                  </a:lnTo>
                  <a:lnTo>
                    <a:pt x="584" y="390"/>
                  </a:lnTo>
                  <a:lnTo>
                    <a:pt x="586" y="390"/>
                  </a:lnTo>
                  <a:lnTo>
                    <a:pt x="586" y="392"/>
                  </a:lnTo>
                  <a:lnTo>
                    <a:pt x="584" y="394"/>
                  </a:lnTo>
                  <a:lnTo>
                    <a:pt x="584" y="396"/>
                  </a:lnTo>
                  <a:lnTo>
                    <a:pt x="582" y="398"/>
                  </a:lnTo>
                  <a:lnTo>
                    <a:pt x="582" y="400"/>
                  </a:lnTo>
                  <a:lnTo>
                    <a:pt x="579" y="406"/>
                  </a:lnTo>
                  <a:lnTo>
                    <a:pt x="577" y="412"/>
                  </a:lnTo>
                  <a:lnTo>
                    <a:pt x="577" y="414"/>
                  </a:lnTo>
                  <a:lnTo>
                    <a:pt x="575" y="414"/>
                  </a:lnTo>
                  <a:lnTo>
                    <a:pt x="575" y="412"/>
                  </a:lnTo>
                  <a:lnTo>
                    <a:pt x="575" y="412"/>
                  </a:lnTo>
                  <a:lnTo>
                    <a:pt x="573" y="410"/>
                  </a:lnTo>
                  <a:lnTo>
                    <a:pt x="573" y="412"/>
                  </a:lnTo>
                  <a:lnTo>
                    <a:pt x="569" y="420"/>
                  </a:lnTo>
                  <a:lnTo>
                    <a:pt x="567" y="422"/>
                  </a:lnTo>
                  <a:lnTo>
                    <a:pt x="563" y="427"/>
                  </a:lnTo>
                  <a:lnTo>
                    <a:pt x="561" y="425"/>
                  </a:lnTo>
                  <a:lnTo>
                    <a:pt x="557" y="425"/>
                  </a:lnTo>
                  <a:lnTo>
                    <a:pt x="553" y="422"/>
                  </a:lnTo>
                  <a:lnTo>
                    <a:pt x="551" y="422"/>
                  </a:lnTo>
                  <a:lnTo>
                    <a:pt x="547" y="420"/>
                  </a:lnTo>
                  <a:lnTo>
                    <a:pt x="545" y="420"/>
                  </a:lnTo>
                  <a:lnTo>
                    <a:pt x="543" y="418"/>
                  </a:lnTo>
                  <a:lnTo>
                    <a:pt x="541" y="416"/>
                  </a:lnTo>
                  <a:lnTo>
                    <a:pt x="541" y="414"/>
                  </a:lnTo>
                  <a:lnTo>
                    <a:pt x="541" y="410"/>
                  </a:lnTo>
                  <a:lnTo>
                    <a:pt x="541" y="410"/>
                  </a:lnTo>
                  <a:lnTo>
                    <a:pt x="541" y="406"/>
                  </a:lnTo>
                  <a:lnTo>
                    <a:pt x="541" y="404"/>
                  </a:lnTo>
                  <a:lnTo>
                    <a:pt x="541" y="404"/>
                  </a:lnTo>
                  <a:lnTo>
                    <a:pt x="541" y="402"/>
                  </a:lnTo>
                  <a:lnTo>
                    <a:pt x="541" y="402"/>
                  </a:lnTo>
                  <a:lnTo>
                    <a:pt x="541" y="400"/>
                  </a:lnTo>
                  <a:lnTo>
                    <a:pt x="541" y="392"/>
                  </a:lnTo>
                  <a:lnTo>
                    <a:pt x="543" y="388"/>
                  </a:lnTo>
                  <a:lnTo>
                    <a:pt x="547" y="386"/>
                  </a:lnTo>
                  <a:lnTo>
                    <a:pt x="547" y="386"/>
                  </a:lnTo>
                  <a:lnTo>
                    <a:pt x="549" y="386"/>
                  </a:lnTo>
                  <a:lnTo>
                    <a:pt x="551" y="386"/>
                  </a:lnTo>
                  <a:lnTo>
                    <a:pt x="551" y="386"/>
                  </a:lnTo>
                  <a:lnTo>
                    <a:pt x="553" y="386"/>
                  </a:lnTo>
                  <a:lnTo>
                    <a:pt x="553" y="384"/>
                  </a:lnTo>
                  <a:lnTo>
                    <a:pt x="553" y="384"/>
                  </a:lnTo>
                  <a:lnTo>
                    <a:pt x="555" y="386"/>
                  </a:lnTo>
                  <a:lnTo>
                    <a:pt x="557" y="384"/>
                  </a:lnTo>
                  <a:lnTo>
                    <a:pt x="557" y="384"/>
                  </a:lnTo>
                  <a:lnTo>
                    <a:pt x="557" y="381"/>
                  </a:lnTo>
                  <a:lnTo>
                    <a:pt x="557" y="379"/>
                  </a:lnTo>
                  <a:lnTo>
                    <a:pt x="559" y="379"/>
                  </a:lnTo>
                  <a:lnTo>
                    <a:pt x="563" y="377"/>
                  </a:lnTo>
                  <a:lnTo>
                    <a:pt x="563" y="377"/>
                  </a:lnTo>
                  <a:lnTo>
                    <a:pt x="563" y="375"/>
                  </a:lnTo>
                  <a:lnTo>
                    <a:pt x="563" y="375"/>
                  </a:lnTo>
                  <a:lnTo>
                    <a:pt x="563" y="373"/>
                  </a:lnTo>
                  <a:lnTo>
                    <a:pt x="563" y="373"/>
                  </a:lnTo>
                  <a:lnTo>
                    <a:pt x="565" y="373"/>
                  </a:lnTo>
                  <a:lnTo>
                    <a:pt x="565" y="371"/>
                  </a:lnTo>
                  <a:lnTo>
                    <a:pt x="563" y="363"/>
                  </a:lnTo>
                  <a:lnTo>
                    <a:pt x="563" y="359"/>
                  </a:lnTo>
                  <a:lnTo>
                    <a:pt x="565" y="355"/>
                  </a:lnTo>
                  <a:lnTo>
                    <a:pt x="567" y="353"/>
                  </a:lnTo>
                  <a:lnTo>
                    <a:pt x="569" y="353"/>
                  </a:lnTo>
                  <a:lnTo>
                    <a:pt x="571" y="353"/>
                  </a:lnTo>
                  <a:lnTo>
                    <a:pt x="571" y="353"/>
                  </a:lnTo>
                  <a:lnTo>
                    <a:pt x="571" y="355"/>
                  </a:lnTo>
                  <a:lnTo>
                    <a:pt x="571" y="355"/>
                  </a:lnTo>
                  <a:lnTo>
                    <a:pt x="571" y="355"/>
                  </a:lnTo>
                  <a:lnTo>
                    <a:pt x="573" y="349"/>
                  </a:lnTo>
                  <a:lnTo>
                    <a:pt x="575" y="349"/>
                  </a:lnTo>
                  <a:lnTo>
                    <a:pt x="575" y="347"/>
                  </a:lnTo>
                  <a:lnTo>
                    <a:pt x="577" y="347"/>
                  </a:lnTo>
                  <a:lnTo>
                    <a:pt x="577" y="347"/>
                  </a:lnTo>
                  <a:lnTo>
                    <a:pt x="579" y="345"/>
                  </a:lnTo>
                  <a:lnTo>
                    <a:pt x="579" y="345"/>
                  </a:lnTo>
                  <a:lnTo>
                    <a:pt x="579" y="343"/>
                  </a:lnTo>
                  <a:lnTo>
                    <a:pt x="579" y="338"/>
                  </a:lnTo>
                  <a:lnTo>
                    <a:pt x="577" y="316"/>
                  </a:lnTo>
                  <a:lnTo>
                    <a:pt x="577" y="314"/>
                  </a:lnTo>
                  <a:lnTo>
                    <a:pt x="577" y="310"/>
                  </a:lnTo>
                  <a:lnTo>
                    <a:pt x="577" y="308"/>
                  </a:lnTo>
                  <a:lnTo>
                    <a:pt x="577" y="306"/>
                  </a:lnTo>
                  <a:lnTo>
                    <a:pt x="575" y="302"/>
                  </a:lnTo>
                  <a:lnTo>
                    <a:pt x="575" y="295"/>
                  </a:lnTo>
                  <a:lnTo>
                    <a:pt x="573" y="293"/>
                  </a:lnTo>
                  <a:lnTo>
                    <a:pt x="573" y="291"/>
                  </a:lnTo>
                  <a:lnTo>
                    <a:pt x="571" y="291"/>
                  </a:lnTo>
                  <a:lnTo>
                    <a:pt x="571" y="289"/>
                  </a:lnTo>
                  <a:lnTo>
                    <a:pt x="571" y="289"/>
                  </a:lnTo>
                  <a:lnTo>
                    <a:pt x="571" y="289"/>
                  </a:lnTo>
                  <a:lnTo>
                    <a:pt x="569" y="287"/>
                  </a:lnTo>
                  <a:lnTo>
                    <a:pt x="569" y="287"/>
                  </a:lnTo>
                  <a:lnTo>
                    <a:pt x="567" y="287"/>
                  </a:lnTo>
                  <a:lnTo>
                    <a:pt x="565" y="285"/>
                  </a:lnTo>
                  <a:lnTo>
                    <a:pt x="563" y="285"/>
                  </a:lnTo>
                  <a:lnTo>
                    <a:pt x="563" y="283"/>
                  </a:lnTo>
                  <a:lnTo>
                    <a:pt x="561" y="283"/>
                  </a:lnTo>
                  <a:lnTo>
                    <a:pt x="561" y="281"/>
                  </a:lnTo>
                  <a:lnTo>
                    <a:pt x="561" y="281"/>
                  </a:lnTo>
                  <a:lnTo>
                    <a:pt x="561" y="279"/>
                  </a:lnTo>
                  <a:lnTo>
                    <a:pt x="561" y="279"/>
                  </a:lnTo>
                  <a:lnTo>
                    <a:pt x="559" y="279"/>
                  </a:lnTo>
                  <a:lnTo>
                    <a:pt x="559" y="279"/>
                  </a:lnTo>
                  <a:lnTo>
                    <a:pt x="559" y="277"/>
                  </a:lnTo>
                  <a:lnTo>
                    <a:pt x="559" y="277"/>
                  </a:lnTo>
                  <a:lnTo>
                    <a:pt x="559" y="277"/>
                  </a:lnTo>
                  <a:lnTo>
                    <a:pt x="561" y="277"/>
                  </a:lnTo>
                  <a:lnTo>
                    <a:pt x="559" y="273"/>
                  </a:lnTo>
                  <a:lnTo>
                    <a:pt x="561" y="271"/>
                  </a:lnTo>
                  <a:lnTo>
                    <a:pt x="561" y="271"/>
                  </a:lnTo>
                  <a:lnTo>
                    <a:pt x="565" y="269"/>
                  </a:lnTo>
                  <a:lnTo>
                    <a:pt x="565" y="269"/>
                  </a:lnTo>
                  <a:lnTo>
                    <a:pt x="567" y="271"/>
                  </a:lnTo>
                  <a:lnTo>
                    <a:pt x="569" y="273"/>
                  </a:lnTo>
                  <a:lnTo>
                    <a:pt x="569" y="273"/>
                  </a:lnTo>
                  <a:lnTo>
                    <a:pt x="571" y="273"/>
                  </a:lnTo>
                  <a:lnTo>
                    <a:pt x="573" y="273"/>
                  </a:lnTo>
                  <a:lnTo>
                    <a:pt x="573" y="271"/>
                  </a:lnTo>
                  <a:lnTo>
                    <a:pt x="569" y="269"/>
                  </a:lnTo>
                  <a:lnTo>
                    <a:pt x="569" y="267"/>
                  </a:lnTo>
                  <a:lnTo>
                    <a:pt x="569" y="267"/>
                  </a:lnTo>
                  <a:lnTo>
                    <a:pt x="569" y="267"/>
                  </a:lnTo>
                  <a:lnTo>
                    <a:pt x="569" y="267"/>
                  </a:lnTo>
                  <a:lnTo>
                    <a:pt x="569" y="267"/>
                  </a:lnTo>
                  <a:lnTo>
                    <a:pt x="569" y="265"/>
                  </a:lnTo>
                  <a:lnTo>
                    <a:pt x="569" y="265"/>
                  </a:lnTo>
                  <a:lnTo>
                    <a:pt x="569" y="265"/>
                  </a:lnTo>
                  <a:lnTo>
                    <a:pt x="569" y="265"/>
                  </a:lnTo>
                  <a:lnTo>
                    <a:pt x="569" y="263"/>
                  </a:lnTo>
                  <a:lnTo>
                    <a:pt x="567" y="261"/>
                  </a:lnTo>
                  <a:lnTo>
                    <a:pt x="567" y="261"/>
                  </a:lnTo>
                  <a:lnTo>
                    <a:pt x="567" y="261"/>
                  </a:lnTo>
                  <a:lnTo>
                    <a:pt x="565" y="261"/>
                  </a:lnTo>
                  <a:lnTo>
                    <a:pt x="565" y="259"/>
                  </a:lnTo>
                  <a:lnTo>
                    <a:pt x="563" y="259"/>
                  </a:lnTo>
                  <a:lnTo>
                    <a:pt x="561" y="256"/>
                  </a:lnTo>
                  <a:lnTo>
                    <a:pt x="559" y="252"/>
                  </a:lnTo>
                  <a:lnTo>
                    <a:pt x="559" y="252"/>
                  </a:lnTo>
                  <a:lnTo>
                    <a:pt x="559" y="250"/>
                  </a:lnTo>
                  <a:lnTo>
                    <a:pt x="559" y="250"/>
                  </a:lnTo>
                  <a:lnTo>
                    <a:pt x="561" y="248"/>
                  </a:lnTo>
                  <a:lnTo>
                    <a:pt x="557" y="246"/>
                  </a:lnTo>
                  <a:lnTo>
                    <a:pt x="553" y="244"/>
                  </a:lnTo>
                  <a:lnTo>
                    <a:pt x="549" y="242"/>
                  </a:lnTo>
                  <a:lnTo>
                    <a:pt x="547" y="242"/>
                  </a:lnTo>
                  <a:lnTo>
                    <a:pt x="543" y="242"/>
                  </a:lnTo>
                  <a:lnTo>
                    <a:pt x="543" y="242"/>
                  </a:lnTo>
                  <a:lnTo>
                    <a:pt x="539" y="242"/>
                  </a:lnTo>
                  <a:lnTo>
                    <a:pt x="539" y="242"/>
                  </a:lnTo>
                  <a:lnTo>
                    <a:pt x="536" y="240"/>
                  </a:lnTo>
                  <a:lnTo>
                    <a:pt x="534" y="238"/>
                  </a:lnTo>
                  <a:lnTo>
                    <a:pt x="532" y="238"/>
                  </a:lnTo>
                  <a:lnTo>
                    <a:pt x="532" y="238"/>
                  </a:lnTo>
                  <a:lnTo>
                    <a:pt x="528" y="238"/>
                  </a:lnTo>
                  <a:lnTo>
                    <a:pt x="528" y="238"/>
                  </a:lnTo>
                  <a:lnTo>
                    <a:pt x="526" y="238"/>
                  </a:lnTo>
                  <a:lnTo>
                    <a:pt x="522" y="238"/>
                  </a:lnTo>
                  <a:lnTo>
                    <a:pt x="520" y="236"/>
                  </a:lnTo>
                  <a:lnTo>
                    <a:pt x="518" y="234"/>
                  </a:lnTo>
                  <a:lnTo>
                    <a:pt x="514" y="232"/>
                  </a:lnTo>
                  <a:lnTo>
                    <a:pt x="502" y="234"/>
                  </a:lnTo>
                  <a:lnTo>
                    <a:pt x="500" y="234"/>
                  </a:lnTo>
                  <a:lnTo>
                    <a:pt x="500" y="232"/>
                  </a:lnTo>
                  <a:lnTo>
                    <a:pt x="498" y="230"/>
                  </a:lnTo>
                  <a:lnTo>
                    <a:pt x="498" y="228"/>
                  </a:lnTo>
                  <a:lnTo>
                    <a:pt x="498" y="226"/>
                  </a:lnTo>
                  <a:lnTo>
                    <a:pt x="496" y="226"/>
                  </a:lnTo>
                  <a:lnTo>
                    <a:pt x="493" y="222"/>
                  </a:lnTo>
                  <a:lnTo>
                    <a:pt x="489" y="222"/>
                  </a:lnTo>
                  <a:lnTo>
                    <a:pt x="485" y="220"/>
                  </a:lnTo>
                  <a:lnTo>
                    <a:pt x="483" y="220"/>
                  </a:lnTo>
                  <a:lnTo>
                    <a:pt x="479" y="220"/>
                  </a:lnTo>
                  <a:lnTo>
                    <a:pt x="471" y="220"/>
                  </a:lnTo>
                  <a:lnTo>
                    <a:pt x="469" y="220"/>
                  </a:lnTo>
                  <a:lnTo>
                    <a:pt x="461" y="215"/>
                  </a:lnTo>
                  <a:lnTo>
                    <a:pt x="450" y="211"/>
                  </a:lnTo>
                  <a:lnTo>
                    <a:pt x="448" y="209"/>
                  </a:lnTo>
                  <a:lnTo>
                    <a:pt x="446" y="209"/>
                  </a:lnTo>
                  <a:lnTo>
                    <a:pt x="444" y="211"/>
                  </a:lnTo>
                  <a:lnTo>
                    <a:pt x="444" y="211"/>
                  </a:lnTo>
                  <a:lnTo>
                    <a:pt x="444" y="213"/>
                  </a:lnTo>
                  <a:lnTo>
                    <a:pt x="442" y="213"/>
                  </a:lnTo>
                  <a:lnTo>
                    <a:pt x="442" y="215"/>
                  </a:lnTo>
                  <a:lnTo>
                    <a:pt x="432" y="215"/>
                  </a:lnTo>
                  <a:lnTo>
                    <a:pt x="428" y="215"/>
                  </a:lnTo>
                  <a:lnTo>
                    <a:pt x="428" y="215"/>
                  </a:lnTo>
                  <a:lnTo>
                    <a:pt x="430" y="215"/>
                  </a:lnTo>
                  <a:lnTo>
                    <a:pt x="432" y="220"/>
                  </a:lnTo>
                  <a:lnTo>
                    <a:pt x="432" y="220"/>
                  </a:lnTo>
                  <a:lnTo>
                    <a:pt x="432" y="220"/>
                  </a:lnTo>
                  <a:lnTo>
                    <a:pt x="430" y="226"/>
                  </a:lnTo>
                  <a:lnTo>
                    <a:pt x="426" y="230"/>
                  </a:lnTo>
                  <a:lnTo>
                    <a:pt x="424" y="232"/>
                  </a:lnTo>
                  <a:lnTo>
                    <a:pt x="422" y="234"/>
                  </a:lnTo>
                  <a:lnTo>
                    <a:pt x="422" y="238"/>
                  </a:lnTo>
                  <a:lnTo>
                    <a:pt x="424" y="242"/>
                  </a:lnTo>
                  <a:lnTo>
                    <a:pt x="426" y="246"/>
                  </a:lnTo>
                  <a:lnTo>
                    <a:pt x="426" y="248"/>
                  </a:lnTo>
                  <a:lnTo>
                    <a:pt x="430" y="250"/>
                  </a:lnTo>
                  <a:lnTo>
                    <a:pt x="430" y="250"/>
                  </a:lnTo>
                  <a:lnTo>
                    <a:pt x="438" y="250"/>
                  </a:lnTo>
                  <a:lnTo>
                    <a:pt x="440" y="250"/>
                  </a:lnTo>
                  <a:lnTo>
                    <a:pt x="438" y="254"/>
                  </a:lnTo>
                  <a:lnTo>
                    <a:pt x="434" y="256"/>
                  </a:lnTo>
                  <a:lnTo>
                    <a:pt x="430" y="256"/>
                  </a:lnTo>
                  <a:lnTo>
                    <a:pt x="424" y="256"/>
                  </a:lnTo>
                  <a:lnTo>
                    <a:pt x="420" y="259"/>
                  </a:lnTo>
                  <a:lnTo>
                    <a:pt x="407" y="267"/>
                  </a:lnTo>
                  <a:lnTo>
                    <a:pt x="405" y="269"/>
                  </a:lnTo>
                  <a:lnTo>
                    <a:pt x="405" y="273"/>
                  </a:lnTo>
                  <a:lnTo>
                    <a:pt x="405" y="277"/>
                  </a:lnTo>
                  <a:lnTo>
                    <a:pt x="407" y="289"/>
                  </a:lnTo>
                  <a:lnTo>
                    <a:pt x="407" y="300"/>
                  </a:lnTo>
                  <a:lnTo>
                    <a:pt x="407" y="308"/>
                  </a:lnTo>
                  <a:lnTo>
                    <a:pt x="403" y="316"/>
                  </a:lnTo>
                  <a:lnTo>
                    <a:pt x="399" y="324"/>
                  </a:lnTo>
                  <a:lnTo>
                    <a:pt x="399" y="326"/>
                  </a:lnTo>
                  <a:lnTo>
                    <a:pt x="399" y="326"/>
                  </a:lnTo>
                  <a:lnTo>
                    <a:pt x="397" y="326"/>
                  </a:lnTo>
                  <a:lnTo>
                    <a:pt x="397" y="324"/>
                  </a:lnTo>
                  <a:lnTo>
                    <a:pt x="397" y="324"/>
                  </a:lnTo>
                  <a:lnTo>
                    <a:pt x="397" y="322"/>
                  </a:lnTo>
                  <a:lnTo>
                    <a:pt x="397" y="320"/>
                  </a:lnTo>
                  <a:lnTo>
                    <a:pt x="397" y="318"/>
                  </a:lnTo>
                  <a:lnTo>
                    <a:pt x="397" y="318"/>
                  </a:lnTo>
                  <a:lnTo>
                    <a:pt x="399" y="316"/>
                  </a:lnTo>
                  <a:lnTo>
                    <a:pt x="401" y="314"/>
                  </a:lnTo>
                  <a:lnTo>
                    <a:pt x="401" y="312"/>
                  </a:lnTo>
                  <a:lnTo>
                    <a:pt x="401" y="310"/>
                  </a:lnTo>
                  <a:lnTo>
                    <a:pt x="401" y="306"/>
                  </a:lnTo>
                  <a:lnTo>
                    <a:pt x="401" y="306"/>
                  </a:lnTo>
                  <a:lnTo>
                    <a:pt x="401" y="304"/>
                  </a:lnTo>
                  <a:lnTo>
                    <a:pt x="401" y="304"/>
                  </a:lnTo>
                  <a:lnTo>
                    <a:pt x="401" y="302"/>
                  </a:lnTo>
                  <a:lnTo>
                    <a:pt x="399" y="302"/>
                  </a:lnTo>
                  <a:lnTo>
                    <a:pt x="399" y="302"/>
                  </a:lnTo>
                  <a:lnTo>
                    <a:pt x="397" y="302"/>
                  </a:lnTo>
                  <a:lnTo>
                    <a:pt x="397" y="302"/>
                  </a:lnTo>
                  <a:lnTo>
                    <a:pt x="397" y="304"/>
                  </a:lnTo>
                  <a:lnTo>
                    <a:pt x="397" y="308"/>
                  </a:lnTo>
                  <a:lnTo>
                    <a:pt x="397" y="308"/>
                  </a:lnTo>
                  <a:lnTo>
                    <a:pt x="397" y="310"/>
                  </a:lnTo>
                  <a:lnTo>
                    <a:pt x="395" y="312"/>
                  </a:lnTo>
                  <a:lnTo>
                    <a:pt x="395" y="312"/>
                  </a:lnTo>
                  <a:lnTo>
                    <a:pt x="397" y="312"/>
                  </a:lnTo>
                  <a:lnTo>
                    <a:pt x="397" y="312"/>
                  </a:lnTo>
                  <a:lnTo>
                    <a:pt x="395" y="314"/>
                  </a:lnTo>
                  <a:lnTo>
                    <a:pt x="395" y="316"/>
                  </a:lnTo>
                  <a:lnTo>
                    <a:pt x="395" y="318"/>
                  </a:lnTo>
                  <a:lnTo>
                    <a:pt x="395" y="320"/>
                  </a:lnTo>
                  <a:lnTo>
                    <a:pt x="395" y="322"/>
                  </a:lnTo>
                  <a:lnTo>
                    <a:pt x="395" y="324"/>
                  </a:lnTo>
                  <a:lnTo>
                    <a:pt x="393" y="324"/>
                  </a:lnTo>
                  <a:lnTo>
                    <a:pt x="393" y="324"/>
                  </a:lnTo>
                  <a:lnTo>
                    <a:pt x="391" y="322"/>
                  </a:lnTo>
                  <a:lnTo>
                    <a:pt x="389" y="320"/>
                  </a:lnTo>
                  <a:lnTo>
                    <a:pt x="389" y="318"/>
                  </a:lnTo>
                  <a:lnTo>
                    <a:pt x="389" y="314"/>
                  </a:lnTo>
                  <a:lnTo>
                    <a:pt x="391" y="308"/>
                  </a:lnTo>
                  <a:lnTo>
                    <a:pt x="391" y="306"/>
                  </a:lnTo>
                  <a:lnTo>
                    <a:pt x="391" y="304"/>
                  </a:lnTo>
                  <a:lnTo>
                    <a:pt x="391" y="304"/>
                  </a:lnTo>
                  <a:lnTo>
                    <a:pt x="391" y="304"/>
                  </a:lnTo>
                  <a:lnTo>
                    <a:pt x="389" y="304"/>
                  </a:lnTo>
                  <a:lnTo>
                    <a:pt x="389" y="302"/>
                  </a:lnTo>
                  <a:lnTo>
                    <a:pt x="389" y="300"/>
                  </a:lnTo>
                  <a:lnTo>
                    <a:pt x="391" y="297"/>
                  </a:lnTo>
                  <a:lnTo>
                    <a:pt x="393" y="295"/>
                  </a:lnTo>
                  <a:lnTo>
                    <a:pt x="393" y="295"/>
                  </a:lnTo>
                  <a:lnTo>
                    <a:pt x="391" y="293"/>
                  </a:lnTo>
                  <a:lnTo>
                    <a:pt x="389" y="289"/>
                  </a:lnTo>
                  <a:lnTo>
                    <a:pt x="389" y="287"/>
                  </a:lnTo>
                  <a:lnTo>
                    <a:pt x="391" y="285"/>
                  </a:lnTo>
                  <a:lnTo>
                    <a:pt x="391" y="285"/>
                  </a:lnTo>
                  <a:lnTo>
                    <a:pt x="393" y="285"/>
                  </a:lnTo>
                  <a:lnTo>
                    <a:pt x="393" y="283"/>
                  </a:lnTo>
                  <a:lnTo>
                    <a:pt x="393" y="281"/>
                  </a:lnTo>
                  <a:lnTo>
                    <a:pt x="393" y="279"/>
                  </a:lnTo>
                  <a:lnTo>
                    <a:pt x="391" y="279"/>
                  </a:lnTo>
                  <a:lnTo>
                    <a:pt x="389" y="281"/>
                  </a:lnTo>
                  <a:lnTo>
                    <a:pt x="389" y="281"/>
                  </a:lnTo>
                  <a:lnTo>
                    <a:pt x="387" y="281"/>
                  </a:lnTo>
                  <a:lnTo>
                    <a:pt x="387" y="283"/>
                  </a:lnTo>
                  <a:lnTo>
                    <a:pt x="387" y="283"/>
                  </a:lnTo>
                  <a:lnTo>
                    <a:pt x="383" y="291"/>
                  </a:lnTo>
                  <a:lnTo>
                    <a:pt x="383" y="293"/>
                  </a:lnTo>
                  <a:lnTo>
                    <a:pt x="379" y="295"/>
                  </a:lnTo>
                  <a:lnTo>
                    <a:pt x="379" y="297"/>
                  </a:lnTo>
                  <a:lnTo>
                    <a:pt x="379" y="300"/>
                  </a:lnTo>
                  <a:lnTo>
                    <a:pt x="375" y="308"/>
                  </a:lnTo>
                  <a:lnTo>
                    <a:pt x="375" y="310"/>
                  </a:lnTo>
                  <a:lnTo>
                    <a:pt x="373" y="310"/>
                  </a:lnTo>
                  <a:lnTo>
                    <a:pt x="373" y="310"/>
                  </a:lnTo>
                  <a:lnTo>
                    <a:pt x="369" y="308"/>
                  </a:lnTo>
                  <a:lnTo>
                    <a:pt x="369" y="308"/>
                  </a:lnTo>
                  <a:lnTo>
                    <a:pt x="366" y="308"/>
                  </a:lnTo>
                  <a:lnTo>
                    <a:pt x="366" y="308"/>
                  </a:lnTo>
                  <a:lnTo>
                    <a:pt x="366" y="308"/>
                  </a:lnTo>
                  <a:lnTo>
                    <a:pt x="364" y="308"/>
                  </a:lnTo>
                  <a:lnTo>
                    <a:pt x="364" y="308"/>
                  </a:lnTo>
                  <a:lnTo>
                    <a:pt x="364" y="308"/>
                  </a:lnTo>
                  <a:lnTo>
                    <a:pt x="364" y="310"/>
                  </a:lnTo>
                  <a:lnTo>
                    <a:pt x="362" y="314"/>
                  </a:lnTo>
                  <a:lnTo>
                    <a:pt x="362" y="316"/>
                  </a:lnTo>
                  <a:lnTo>
                    <a:pt x="360" y="316"/>
                  </a:lnTo>
                  <a:lnTo>
                    <a:pt x="360" y="314"/>
                  </a:lnTo>
                  <a:lnTo>
                    <a:pt x="360" y="314"/>
                  </a:lnTo>
                  <a:lnTo>
                    <a:pt x="358" y="314"/>
                  </a:lnTo>
                  <a:lnTo>
                    <a:pt x="356" y="314"/>
                  </a:lnTo>
                  <a:lnTo>
                    <a:pt x="356" y="316"/>
                  </a:lnTo>
                  <a:lnTo>
                    <a:pt x="356" y="316"/>
                  </a:lnTo>
                  <a:lnTo>
                    <a:pt x="356" y="320"/>
                  </a:lnTo>
                  <a:lnTo>
                    <a:pt x="356" y="330"/>
                  </a:lnTo>
                  <a:lnTo>
                    <a:pt x="356" y="330"/>
                  </a:lnTo>
                  <a:lnTo>
                    <a:pt x="356" y="332"/>
                  </a:lnTo>
                  <a:lnTo>
                    <a:pt x="356" y="334"/>
                  </a:lnTo>
                  <a:lnTo>
                    <a:pt x="354" y="334"/>
                  </a:lnTo>
                  <a:lnTo>
                    <a:pt x="354" y="334"/>
                  </a:lnTo>
                  <a:lnTo>
                    <a:pt x="352" y="334"/>
                  </a:lnTo>
                  <a:lnTo>
                    <a:pt x="352" y="334"/>
                  </a:lnTo>
                  <a:lnTo>
                    <a:pt x="350" y="334"/>
                  </a:lnTo>
                  <a:lnTo>
                    <a:pt x="350" y="334"/>
                  </a:lnTo>
                  <a:lnTo>
                    <a:pt x="348" y="334"/>
                  </a:lnTo>
                  <a:lnTo>
                    <a:pt x="346" y="336"/>
                  </a:lnTo>
                  <a:lnTo>
                    <a:pt x="344" y="338"/>
                  </a:lnTo>
                  <a:lnTo>
                    <a:pt x="344" y="340"/>
                  </a:lnTo>
                  <a:lnTo>
                    <a:pt x="344" y="345"/>
                  </a:lnTo>
                  <a:lnTo>
                    <a:pt x="346" y="347"/>
                  </a:lnTo>
                  <a:lnTo>
                    <a:pt x="348" y="349"/>
                  </a:lnTo>
                  <a:lnTo>
                    <a:pt x="348" y="351"/>
                  </a:lnTo>
                  <a:lnTo>
                    <a:pt x="346" y="359"/>
                  </a:lnTo>
                  <a:lnTo>
                    <a:pt x="346" y="359"/>
                  </a:lnTo>
                  <a:lnTo>
                    <a:pt x="346" y="361"/>
                  </a:lnTo>
                  <a:lnTo>
                    <a:pt x="346" y="365"/>
                  </a:lnTo>
                  <a:lnTo>
                    <a:pt x="346" y="365"/>
                  </a:lnTo>
                  <a:lnTo>
                    <a:pt x="348" y="369"/>
                  </a:lnTo>
                  <a:lnTo>
                    <a:pt x="348" y="373"/>
                  </a:lnTo>
                  <a:lnTo>
                    <a:pt x="346" y="377"/>
                  </a:lnTo>
                  <a:lnTo>
                    <a:pt x="344" y="386"/>
                  </a:lnTo>
                  <a:lnTo>
                    <a:pt x="340" y="394"/>
                  </a:lnTo>
                  <a:lnTo>
                    <a:pt x="340" y="398"/>
                  </a:lnTo>
                  <a:lnTo>
                    <a:pt x="334" y="404"/>
                  </a:lnTo>
                  <a:lnTo>
                    <a:pt x="332" y="406"/>
                  </a:lnTo>
                  <a:lnTo>
                    <a:pt x="332" y="410"/>
                  </a:lnTo>
                  <a:lnTo>
                    <a:pt x="334" y="412"/>
                  </a:lnTo>
                  <a:lnTo>
                    <a:pt x="336" y="414"/>
                  </a:lnTo>
                  <a:lnTo>
                    <a:pt x="336" y="416"/>
                  </a:lnTo>
                  <a:lnTo>
                    <a:pt x="338" y="418"/>
                  </a:lnTo>
                  <a:lnTo>
                    <a:pt x="338" y="418"/>
                  </a:lnTo>
                  <a:lnTo>
                    <a:pt x="338" y="422"/>
                  </a:lnTo>
                  <a:lnTo>
                    <a:pt x="338" y="422"/>
                  </a:lnTo>
                  <a:lnTo>
                    <a:pt x="340" y="425"/>
                  </a:lnTo>
                  <a:lnTo>
                    <a:pt x="342" y="433"/>
                  </a:lnTo>
                  <a:lnTo>
                    <a:pt x="342" y="437"/>
                  </a:lnTo>
                  <a:lnTo>
                    <a:pt x="340" y="441"/>
                  </a:lnTo>
                  <a:lnTo>
                    <a:pt x="336" y="447"/>
                  </a:lnTo>
                  <a:lnTo>
                    <a:pt x="336" y="451"/>
                  </a:lnTo>
                  <a:lnTo>
                    <a:pt x="336" y="455"/>
                  </a:lnTo>
                  <a:lnTo>
                    <a:pt x="336" y="457"/>
                  </a:lnTo>
                  <a:lnTo>
                    <a:pt x="338" y="459"/>
                  </a:lnTo>
                  <a:lnTo>
                    <a:pt x="340" y="463"/>
                  </a:lnTo>
                  <a:lnTo>
                    <a:pt x="354" y="492"/>
                  </a:lnTo>
                  <a:lnTo>
                    <a:pt x="356" y="492"/>
                  </a:lnTo>
                  <a:lnTo>
                    <a:pt x="358" y="492"/>
                  </a:lnTo>
                  <a:lnTo>
                    <a:pt x="362" y="488"/>
                  </a:lnTo>
                  <a:lnTo>
                    <a:pt x="362" y="490"/>
                  </a:lnTo>
                  <a:lnTo>
                    <a:pt x="362" y="492"/>
                  </a:lnTo>
                  <a:lnTo>
                    <a:pt x="360" y="494"/>
                  </a:lnTo>
                  <a:lnTo>
                    <a:pt x="358" y="494"/>
                  </a:lnTo>
                  <a:lnTo>
                    <a:pt x="358" y="494"/>
                  </a:lnTo>
                  <a:lnTo>
                    <a:pt x="358" y="496"/>
                  </a:lnTo>
                  <a:lnTo>
                    <a:pt x="364" y="506"/>
                  </a:lnTo>
                  <a:lnTo>
                    <a:pt x="364" y="511"/>
                  </a:lnTo>
                  <a:lnTo>
                    <a:pt x="366" y="513"/>
                  </a:lnTo>
                  <a:lnTo>
                    <a:pt x="369" y="515"/>
                  </a:lnTo>
                  <a:lnTo>
                    <a:pt x="369" y="517"/>
                  </a:lnTo>
                  <a:lnTo>
                    <a:pt x="369" y="517"/>
                  </a:lnTo>
                  <a:lnTo>
                    <a:pt x="369" y="517"/>
                  </a:lnTo>
                  <a:lnTo>
                    <a:pt x="369" y="517"/>
                  </a:lnTo>
                  <a:lnTo>
                    <a:pt x="369" y="517"/>
                  </a:lnTo>
                  <a:lnTo>
                    <a:pt x="369" y="517"/>
                  </a:lnTo>
                  <a:lnTo>
                    <a:pt x="369" y="517"/>
                  </a:lnTo>
                  <a:lnTo>
                    <a:pt x="369" y="517"/>
                  </a:lnTo>
                  <a:lnTo>
                    <a:pt x="369" y="519"/>
                  </a:lnTo>
                  <a:lnTo>
                    <a:pt x="371" y="521"/>
                  </a:lnTo>
                  <a:lnTo>
                    <a:pt x="373" y="547"/>
                  </a:lnTo>
                  <a:lnTo>
                    <a:pt x="373" y="572"/>
                  </a:lnTo>
                  <a:lnTo>
                    <a:pt x="371" y="580"/>
                  </a:lnTo>
                  <a:lnTo>
                    <a:pt x="366" y="597"/>
                  </a:lnTo>
                  <a:lnTo>
                    <a:pt x="358" y="611"/>
                  </a:lnTo>
                  <a:lnTo>
                    <a:pt x="352" y="631"/>
                  </a:lnTo>
                  <a:lnTo>
                    <a:pt x="348" y="640"/>
                  </a:lnTo>
                  <a:lnTo>
                    <a:pt x="344" y="646"/>
                  </a:lnTo>
                  <a:lnTo>
                    <a:pt x="340" y="648"/>
                  </a:lnTo>
                  <a:lnTo>
                    <a:pt x="338" y="650"/>
                  </a:lnTo>
                  <a:lnTo>
                    <a:pt x="338" y="652"/>
                  </a:lnTo>
                  <a:lnTo>
                    <a:pt x="336" y="654"/>
                  </a:lnTo>
                  <a:lnTo>
                    <a:pt x="338" y="654"/>
                  </a:lnTo>
                  <a:lnTo>
                    <a:pt x="344" y="652"/>
                  </a:lnTo>
                  <a:lnTo>
                    <a:pt x="350" y="652"/>
                  </a:lnTo>
                  <a:lnTo>
                    <a:pt x="356" y="650"/>
                  </a:lnTo>
                  <a:lnTo>
                    <a:pt x="362" y="650"/>
                  </a:lnTo>
                  <a:lnTo>
                    <a:pt x="369" y="650"/>
                  </a:lnTo>
                  <a:lnTo>
                    <a:pt x="381" y="648"/>
                  </a:lnTo>
                  <a:lnTo>
                    <a:pt x="387" y="648"/>
                  </a:lnTo>
                  <a:lnTo>
                    <a:pt x="395" y="646"/>
                  </a:lnTo>
                  <a:lnTo>
                    <a:pt x="401" y="646"/>
                  </a:lnTo>
                  <a:lnTo>
                    <a:pt x="407" y="644"/>
                  </a:lnTo>
                  <a:lnTo>
                    <a:pt x="420" y="644"/>
                  </a:lnTo>
                  <a:lnTo>
                    <a:pt x="426" y="642"/>
                  </a:lnTo>
                  <a:lnTo>
                    <a:pt x="432" y="642"/>
                  </a:lnTo>
                  <a:lnTo>
                    <a:pt x="438" y="640"/>
                  </a:lnTo>
                  <a:lnTo>
                    <a:pt x="444" y="640"/>
                  </a:lnTo>
                  <a:lnTo>
                    <a:pt x="450" y="640"/>
                  </a:lnTo>
                  <a:lnTo>
                    <a:pt x="457" y="638"/>
                  </a:lnTo>
                  <a:lnTo>
                    <a:pt x="463" y="638"/>
                  </a:lnTo>
                  <a:lnTo>
                    <a:pt x="471" y="636"/>
                  </a:lnTo>
                  <a:lnTo>
                    <a:pt x="477" y="636"/>
                  </a:lnTo>
                  <a:lnTo>
                    <a:pt x="483" y="636"/>
                  </a:lnTo>
                  <a:lnTo>
                    <a:pt x="489" y="634"/>
                  </a:lnTo>
                  <a:lnTo>
                    <a:pt x="496" y="634"/>
                  </a:lnTo>
                  <a:lnTo>
                    <a:pt x="502" y="631"/>
                  </a:lnTo>
                  <a:lnTo>
                    <a:pt x="502" y="638"/>
                  </a:lnTo>
                  <a:lnTo>
                    <a:pt x="510" y="638"/>
                  </a:lnTo>
                  <a:lnTo>
                    <a:pt x="516" y="636"/>
                  </a:lnTo>
                  <a:lnTo>
                    <a:pt x="522" y="636"/>
                  </a:lnTo>
                  <a:lnTo>
                    <a:pt x="530" y="634"/>
                  </a:lnTo>
                  <a:lnTo>
                    <a:pt x="536" y="631"/>
                  </a:lnTo>
                  <a:lnTo>
                    <a:pt x="543" y="631"/>
                  </a:lnTo>
                  <a:lnTo>
                    <a:pt x="549" y="629"/>
                  </a:lnTo>
                  <a:lnTo>
                    <a:pt x="557" y="629"/>
                  </a:lnTo>
                  <a:lnTo>
                    <a:pt x="563" y="627"/>
                  </a:lnTo>
                  <a:lnTo>
                    <a:pt x="569" y="625"/>
                  </a:lnTo>
                  <a:lnTo>
                    <a:pt x="577" y="625"/>
                  </a:lnTo>
                  <a:lnTo>
                    <a:pt x="584" y="623"/>
                  </a:lnTo>
                  <a:lnTo>
                    <a:pt x="590" y="623"/>
                  </a:lnTo>
                  <a:lnTo>
                    <a:pt x="596" y="621"/>
                  </a:lnTo>
                  <a:lnTo>
                    <a:pt x="604" y="619"/>
                  </a:lnTo>
                  <a:lnTo>
                    <a:pt x="610" y="619"/>
                  </a:lnTo>
                  <a:lnTo>
                    <a:pt x="610" y="617"/>
                  </a:lnTo>
                  <a:lnTo>
                    <a:pt x="610" y="617"/>
                  </a:lnTo>
                  <a:lnTo>
                    <a:pt x="610" y="615"/>
                  </a:lnTo>
                  <a:lnTo>
                    <a:pt x="612" y="615"/>
                  </a:lnTo>
                  <a:lnTo>
                    <a:pt x="612" y="615"/>
                  </a:lnTo>
                  <a:lnTo>
                    <a:pt x="612" y="615"/>
                  </a:lnTo>
                  <a:lnTo>
                    <a:pt x="612" y="613"/>
                  </a:lnTo>
                  <a:lnTo>
                    <a:pt x="612" y="611"/>
                  </a:lnTo>
                  <a:lnTo>
                    <a:pt x="612" y="609"/>
                  </a:lnTo>
                  <a:lnTo>
                    <a:pt x="616" y="603"/>
                  </a:lnTo>
                  <a:lnTo>
                    <a:pt x="616" y="601"/>
                  </a:lnTo>
                  <a:lnTo>
                    <a:pt x="618" y="601"/>
                  </a:lnTo>
                  <a:lnTo>
                    <a:pt x="618" y="599"/>
                  </a:lnTo>
                  <a:lnTo>
                    <a:pt x="620" y="597"/>
                  </a:lnTo>
                  <a:lnTo>
                    <a:pt x="620" y="595"/>
                  </a:lnTo>
                  <a:lnTo>
                    <a:pt x="625" y="595"/>
                  </a:lnTo>
                  <a:lnTo>
                    <a:pt x="625" y="595"/>
                  </a:lnTo>
                  <a:lnTo>
                    <a:pt x="625" y="593"/>
                  </a:lnTo>
                  <a:lnTo>
                    <a:pt x="622" y="591"/>
                  </a:lnTo>
                  <a:lnTo>
                    <a:pt x="622" y="591"/>
                  </a:lnTo>
                  <a:lnTo>
                    <a:pt x="625" y="591"/>
                  </a:lnTo>
                  <a:lnTo>
                    <a:pt x="627" y="588"/>
                  </a:lnTo>
                  <a:lnTo>
                    <a:pt x="627" y="584"/>
                  </a:lnTo>
                  <a:lnTo>
                    <a:pt x="627" y="584"/>
                  </a:lnTo>
                  <a:lnTo>
                    <a:pt x="629" y="584"/>
                  </a:lnTo>
                  <a:lnTo>
                    <a:pt x="629" y="586"/>
                  </a:lnTo>
                  <a:lnTo>
                    <a:pt x="629" y="584"/>
                  </a:lnTo>
                  <a:lnTo>
                    <a:pt x="629" y="584"/>
                  </a:lnTo>
                  <a:lnTo>
                    <a:pt x="629" y="582"/>
                  </a:lnTo>
                  <a:lnTo>
                    <a:pt x="627" y="582"/>
                  </a:lnTo>
                  <a:lnTo>
                    <a:pt x="627" y="582"/>
                  </a:lnTo>
                  <a:lnTo>
                    <a:pt x="627" y="580"/>
                  </a:lnTo>
                  <a:lnTo>
                    <a:pt x="627" y="580"/>
                  </a:lnTo>
                  <a:lnTo>
                    <a:pt x="627" y="578"/>
                  </a:lnTo>
                  <a:lnTo>
                    <a:pt x="627" y="578"/>
                  </a:lnTo>
                  <a:lnTo>
                    <a:pt x="627" y="576"/>
                  </a:lnTo>
                  <a:lnTo>
                    <a:pt x="627" y="576"/>
                  </a:lnTo>
                  <a:lnTo>
                    <a:pt x="627" y="574"/>
                  </a:lnTo>
                  <a:lnTo>
                    <a:pt x="629" y="562"/>
                  </a:lnTo>
                  <a:lnTo>
                    <a:pt x="629" y="560"/>
                  </a:lnTo>
                  <a:lnTo>
                    <a:pt x="633" y="554"/>
                  </a:lnTo>
                  <a:lnTo>
                    <a:pt x="633" y="552"/>
                  </a:lnTo>
                  <a:lnTo>
                    <a:pt x="635" y="550"/>
                  </a:lnTo>
                  <a:lnTo>
                    <a:pt x="639" y="547"/>
                  </a:lnTo>
                  <a:lnTo>
                    <a:pt x="641" y="547"/>
                  </a:lnTo>
                  <a:lnTo>
                    <a:pt x="643" y="545"/>
                  </a:lnTo>
                  <a:lnTo>
                    <a:pt x="643" y="545"/>
                  </a:lnTo>
                  <a:lnTo>
                    <a:pt x="645" y="543"/>
                  </a:lnTo>
                  <a:lnTo>
                    <a:pt x="645" y="541"/>
                  </a:lnTo>
                  <a:lnTo>
                    <a:pt x="647" y="539"/>
                  </a:lnTo>
                  <a:lnTo>
                    <a:pt x="647" y="539"/>
                  </a:lnTo>
                  <a:lnTo>
                    <a:pt x="647" y="537"/>
                  </a:lnTo>
                  <a:lnTo>
                    <a:pt x="647" y="535"/>
                  </a:lnTo>
                  <a:lnTo>
                    <a:pt x="647" y="535"/>
                  </a:lnTo>
                  <a:lnTo>
                    <a:pt x="645" y="533"/>
                  </a:lnTo>
                  <a:lnTo>
                    <a:pt x="645" y="531"/>
                  </a:lnTo>
                  <a:lnTo>
                    <a:pt x="645" y="529"/>
                  </a:lnTo>
                  <a:lnTo>
                    <a:pt x="645" y="527"/>
                  </a:lnTo>
                  <a:lnTo>
                    <a:pt x="645" y="525"/>
                  </a:lnTo>
                  <a:lnTo>
                    <a:pt x="647" y="525"/>
                  </a:lnTo>
                  <a:lnTo>
                    <a:pt x="649" y="523"/>
                  </a:lnTo>
                  <a:lnTo>
                    <a:pt x="651" y="523"/>
                  </a:lnTo>
                  <a:lnTo>
                    <a:pt x="651" y="521"/>
                  </a:lnTo>
                  <a:lnTo>
                    <a:pt x="651" y="521"/>
                  </a:lnTo>
                  <a:lnTo>
                    <a:pt x="651" y="519"/>
                  </a:lnTo>
                  <a:lnTo>
                    <a:pt x="649" y="519"/>
                  </a:lnTo>
                  <a:lnTo>
                    <a:pt x="649" y="517"/>
                  </a:lnTo>
                  <a:lnTo>
                    <a:pt x="647" y="515"/>
                  </a:lnTo>
                  <a:lnTo>
                    <a:pt x="649" y="513"/>
                  </a:lnTo>
                  <a:lnTo>
                    <a:pt x="651" y="513"/>
                  </a:lnTo>
                  <a:lnTo>
                    <a:pt x="653" y="511"/>
                  </a:lnTo>
                  <a:lnTo>
                    <a:pt x="653" y="511"/>
                  </a:lnTo>
                  <a:lnTo>
                    <a:pt x="655" y="509"/>
                  </a:lnTo>
                  <a:lnTo>
                    <a:pt x="657" y="509"/>
                  </a:lnTo>
                  <a:lnTo>
                    <a:pt x="661" y="511"/>
                  </a:lnTo>
                  <a:lnTo>
                    <a:pt x="661" y="509"/>
                  </a:lnTo>
                  <a:lnTo>
                    <a:pt x="661" y="511"/>
                  </a:lnTo>
                  <a:lnTo>
                    <a:pt x="661" y="513"/>
                  </a:lnTo>
                  <a:lnTo>
                    <a:pt x="661" y="515"/>
                  </a:lnTo>
                  <a:lnTo>
                    <a:pt x="661" y="515"/>
                  </a:lnTo>
                  <a:lnTo>
                    <a:pt x="663" y="515"/>
                  </a:lnTo>
                  <a:lnTo>
                    <a:pt x="663" y="517"/>
                  </a:lnTo>
                  <a:lnTo>
                    <a:pt x="663" y="519"/>
                  </a:lnTo>
                  <a:lnTo>
                    <a:pt x="666" y="519"/>
                  </a:lnTo>
                  <a:lnTo>
                    <a:pt x="666" y="519"/>
                  </a:lnTo>
                  <a:lnTo>
                    <a:pt x="663" y="521"/>
                  </a:lnTo>
                  <a:lnTo>
                    <a:pt x="663" y="523"/>
                  </a:lnTo>
                  <a:lnTo>
                    <a:pt x="663" y="523"/>
                  </a:lnTo>
                  <a:lnTo>
                    <a:pt x="666" y="521"/>
                  </a:lnTo>
                  <a:lnTo>
                    <a:pt x="668" y="521"/>
                  </a:lnTo>
                  <a:lnTo>
                    <a:pt x="670" y="519"/>
                  </a:lnTo>
                  <a:lnTo>
                    <a:pt x="672" y="515"/>
                  </a:lnTo>
                  <a:lnTo>
                    <a:pt x="672" y="511"/>
                  </a:lnTo>
                  <a:lnTo>
                    <a:pt x="674" y="504"/>
                  </a:lnTo>
                  <a:lnTo>
                    <a:pt x="674" y="498"/>
                  </a:lnTo>
                  <a:lnTo>
                    <a:pt x="674" y="496"/>
                  </a:lnTo>
                  <a:lnTo>
                    <a:pt x="674" y="496"/>
                  </a:lnTo>
                  <a:lnTo>
                    <a:pt x="674" y="494"/>
                  </a:lnTo>
                  <a:lnTo>
                    <a:pt x="672" y="494"/>
                  </a:lnTo>
                  <a:lnTo>
                    <a:pt x="672" y="492"/>
                  </a:lnTo>
                  <a:lnTo>
                    <a:pt x="672" y="488"/>
                  </a:lnTo>
                  <a:lnTo>
                    <a:pt x="672" y="486"/>
                  </a:lnTo>
                  <a:lnTo>
                    <a:pt x="672" y="482"/>
                  </a:lnTo>
                  <a:lnTo>
                    <a:pt x="674" y="478"/>
                  </a:lnTo>
                  <a:close/>
                  <a:moveTo>
                    <a:pt x="393" y="218"/>
                  </a:moveTo>
                  <a:lnTo>
                    <a:pt x="393" y="218"/>
                  </a:lnTo>
                  <a:lnTo>
                    <a:pt x="393" y="218"/>
                  </a:lnTo>
                  <a:lnTo>
                    <a:pt x="393" y="215"/>
                  </a:lnTo>
                  <a:lnTo>
                    <a:pt x="393" y="215"/>
                  </a:lnTo>
                  <a:lnTo>
                    <a:pt x="391" y="215"/>
                  </a:lnTo>
                  <a:lnTo>
                    <a:pt x="391" y="215"/>
                  </a:lnTo>
                  <a:lnTo>
                    <a:pt x="389" y="215"/>
                  </a:lnTo>
                  <a:lnTo>
                    <a:pt x="389" y="215"/>
                  </a:lnTo>
                  <a:lnTo>
                    <a:pt x="387" y="215"/>
                  </a:lnTo>
                  <a:lnTo>
                    <a:pt x="387" y="215"/>
                  </a:lnTo>
                  <a:lnTo>
                    <a:pt x="387" y="215"/>
                  </a:lnTo>
                  <a:lnTo>
                    <a:pt x="387" y="213"/>
                  </a:lnTo>
                  <a:lnTo>
                    <a:pt x="387" y="215"/>
                  </a:lnTo>
                  <a:lnTo>
                    <a:pt x="389" y="218"/>
                  </a:lnTo>
                  <a:lnTo>
                    <a:pt x="389" y="218"/>
                  </a:lnTo>
                  <a:lnTo>
                    <a:pt x="391" y="220"/>
                  </a:lnTo>
                  <a:lnTo>
                    <a:pt x="391" y="218"/>
                  </a:lnTo>
                  <a:lnTo>
                    <a:pt x="393" y="218"/>
                  </a:lnTo>
                  <a:close/>
                  <a:moveTo>
                    <a:pt x="463" y="205"/>
                  </a:moveTo>
                  <a:lnTo>
                    <a:pt x="461" y="205"/>
                  </a:lnTo>
                  <a:lnTo>
                    <a:pt x="461" y="207"/>
                  </a:lnTo>
                  <a:lnTo>
                    <a:pt x="461" y="207"/>
                  </a:lnTo>
                  <a:lnTo>
                    <a:pt x="465" y="211"/>
                  </a:lnTo>
                  <a:lnTo>
                    <a:pt x="469" y="213"/>
                  </a:lnTo>
                  <a:lnTo>
                    <a:pt x="469" y="213"/>
                  </a:lnTo>
                  <a:lnTo>
                    <a:pt x="471" y="213"/>
                  </a:lnTo>
                  <a:lnTo>
                    <a:pt x="473" y="213"/>
                  </a:lnTo>
                  <a:lnTo>
                    <a:pt x="473" y="213"/>
                  </a:lnTo>
                  <a:lnTo>
                    <a:pt x="475" y="213"/>
                  </a:lnTo>
                  <a:lnTo>
                    <a:pt x="475" y="211"/>
                  </a:lnTo>
                  <a:lnTo>
                    <a:pt x="477" y="209"/>
                  </a:lnTo>
                  <a:lnTo>
                    <a:pt x="477" y="207"/>
                  </a:lnTo>
                  <a:lnTo>
                    <a:pt x="475" y="207"/>
                  </a:lnTo>
                  <a:lnTo>
                    <a:pt x="473" y="207"/>
                  </a:lnTo>
                  <a:lnTo>
                    <a:pt x="473" y="205"/>
                  </a:lnTo>
                  <a:lnTo>
                    <a:pt x="473" y="203"/>
                  </a:lnTo>
                  <a:lnTo>
                    <a:pt x="471" y="205"/>
                  </a:lnTo>
                  <a:lnTo>
                    <a:pt x="471" y="205"/>
                  </a:lnTo>
                  <a:lnTo>
                    <a:pt x="471" y="207"/>
                  </a:lnTo>
                  <a:lnTo>
                    <a:pt x="471" y="207"/>
                  </a:lnTo>
                  <a:lnTo>
                    <a:pt x="469" y="205"/>
                  </a:lnTo>
                  <a:lnTo>
                    <a:pt x="463" y="205"/>
                  </a:lnTo>
                  <a:close/>
                  <a:moveTo>
                    <a:pt x="385" y="226"/>
                  </a:moveTo>
                  <a:lnTo>
                    <a:pt x="385" y="226"/>
                  </a:lnTo>
                  <a:lnTo>
                    <a:pt x="383" y="228"/>
                  </a:lnTo>
                  <a:lnTo>
                    <a:pt x="383" y="230"/>
                  </a:lnTo>
                  <a:lnTo>
                    <a:pt x="383" y="230"/>
                  </a:lnTo>
                  <a:lnTo>
                    <a:pt x="383" y="234"/>
                  </a:lnTo>
                  <a:lnTo>
                    <a:pt x="381" y="236"/>
                  </a:lnTo>
                  <a:lnTo>
                    <a:pt x="381" y="238"/>
                  </a:lnTo>
                  <a:lnTo>
                    <a:pt x="383" y="240"/>
                  </a:lnTo>
                  <a:lnTo>
                    <a:pt x="385" y="240"/>
                  </a:lnTo>
                  <a:lnTo>
                    <a:pt x="389" y="240"/>
                  </a:lnTo>
                  <a:lnTo>
                    <a:pt x="391" y="238"/>
                  </a:lnTo>
                  <a:lnTo>
                    <a:pt x="391" y="236"/>
                  </a:lnTo>
                  <a:lnTo>
                    <a:pt x="391" y="234"/>
                  </a:lnTo>
                  <a:lnTo>
                    <a:pt x="391" y="230"/>
                  </a:lnTo>
                  <a:lnTo>
                    <a:pt x="391" y="230"/>
                  </a:lnTo>
                  <a:lnTo>
                    <a:pt x="391" y="228"/>
                  </a:lnTo>
                  <a:lnTo>
                    <a:pt x="391" y="228"/>
                  </a:lnTo>
                  <a:lnTo>
                    <a:pt x="391" y="226"/>
                  </a:lnTo>
                  <a:lnTo>
                    <a:pt x="389" y="224"/>
                  </a:lnTo>
                  <a:lnTo>
                    <a:pt x="389" y="224"/>
                  </a:lnTo>
                  <a:lnTo>
                    <a:pt x="389" y="224"/>
                  </a:lnTo>
                  <a:lnTo>
                    <a:pt x="389" y="222"/>
                  </a:lnTo>
                  <a:lnTo>
                    <a:pt x="391" y="222"/>
                  </a:lnTo>
                  <a:lnTo>
                    <a:pt x="389" y="222"/>
                  </a:lnTo>
                  <a:lnTo>
                    <a:pt x="387" y="222"/>
                  </a:lnTo>
                  <a:lnTo>
                    <a:pt x="385" y="222"/>
                  </a:lnTo>
                  <a:lnTo>
                    <a:pt x="385" y="224"/>
                  </a:lnTo>
                  <a:lnTo>
                    <a:pt x="385" y="224"/>
                  </a:lnTo>
                  <a:lnTo>
                    <a:pt x="385" y="226"/>
                  </a:lnTo>
                  <a:close/>
                </a:path>
              </a:pathLst>
            </a:custGeom>
            <a:solidFill>
              <a:schemeClr val="tx1"/>
            </a:solidFill>
            <a:ln w="3175" cap="rnd">
              <a:solidFill>
                <a:schemeClr val="bg1"/>
              </a:solidFill>
              <a:prstDash val="solid"/>
              <a:round/>
              <a:headEnd/>
              <a:tailEnd/>
            </a:ln>
          </p:spPr>
          <p:txBody>
            <a:bodyPr vert="horz" wrap="square" lIns="0" tIns="0" rIns="192000" bIns="144000" numCol="1" anchor="b"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I</a:t>
              </a:r>
            </a:p>
          </p:txBody>
        </p:sp>
        <p:sp>
          <p:nvSpPr>
            <p:cNvPr id="323" name="Freeform 34">
              <a:extLst>
                <a:ext uri="{FF2B5EF4-FFF2-40B4-BE49-F238E27FC236}">
                  <a16:creationId xmlns:a16="http://schemas.microsoft.com/office/drawing/2014/main" id="{507C997E-6101-C022-A9E2-D6E93FE0BA14}"/>
                </a:ext>
              </a:extLst>
            </p:cNvPr>
            <p:cNvSpPr>
              <a:spLocks noEditPoints="1"/>
            </p:cNvSpPr>
            <p:nvPr/>
          </p:nvSpPr>
          <p:spPr bwMode="auto">
            <a:xfrm>
              <a:off x="4981" y="0"/>
              <a:ext cx="328" cy="484"/>
            </a:xfrm>
            <a:custGeom>
              <a:avLst/>
              <a:gdLst>
                <a:gd name="T0" fmla="*/ 211 w 328"/>
                <a:gd name="T1" fmla="*/ 338 h 484"/>
                <a:gd name="T2" fmla="*/ 213 w 328"/>
                <a:gd name="T3" fmla="*/ 322 h 484"/>
                <a:gd name="T4" fmla="*/ 234 w 328"/>
                <a:gd name="T5" fmla="*/ 295 h 484"/>
                <a:gd name="T6" fmla="*/ 240 w 328"/>
                <a:gd name="T7" fmla="*/ 314 h 484"/>
                <a:gd name="T8" fmla="*/ 326 w 328"/>
                <a:gd name="T9" fmla="*/ 223 h 484"/>
                <a:gd name="T10" fmla="*/ 316 w 328"/>
                <a:gd name="T11" fmla="*/ 219 h 484"/>
                <a:gd name="T12" fmla="*/ 312 w 328"/>
                <a:gd name="T13" fmla="*/ 219 h 484"/>
                <a:gd name="T14" fmla="*/ 310 w 328"/>
                <a:gd name="T15" fmla="*/ 203 h 484"/>
                <a:gd name="T16" fmla="*/ 293 w 328"/>
                <a:gd name="T17" fmla="*/ 193 h 484"/>
                <a:gd name="T18" fmla="*/ 269 w 328"/>
                <a:gd name="T19" fmla="*/ 166 h 484"/>
                <a:gd name="T20" fmla="*/ 242 w 328"/>
                <a:gd name="T21" fmla="*/ 156 h 484"/>
                <a:gd name="T22" fmla="*/ 232 w 328"/>
                <a:gd name="T23" fmla="*/ 131 h 484"/>
                <a:gd name="T24" fmla="*/ 183 w 328"/>
                <a:gd name="T25" fmla="*/ 10 h 484"/>
                <a:gd name="T26" fmla="*/ 146 w 328"/>
                <a:gd name="T27" fmla="*/ 10 h 484"/>
                <a:gd name="T28" fmla="*/ 97 w 328"/>
                <a:gd name="T29" fmla="*/ 25 h 484"/>
                <a:gd name="T30" fmla="*/ 43 w 328"/>
                <a:gd name="T31" fmla="*/ 107 h 484"/>
                <a:gd name="T32" fmla="*/ 41 w 328"/>
                <a:gd name="T33" fmla="*/ 164 h 484"/>
                <a:gd name="T34" fmla="*/ 45 w 328"/>
                <a:gd name="T35" fmla="*/ 182 h 484"/>
                <a:gd name="T36" fmla="*/ 35 w 328"/>
                <a:gd name="T37" fmla="*/ 213 h 484"/>
                <a:gd name="T38" fmla="*/ 19 w 328"/>
                <a:gd name="T39" fmla="*/ 246 h 484"/>
                <a:gd name="T40" fmla="*/ 4 w 328"/>
                <a:gd name="T41" fmla="*/ 260 h 484"/>
                <a:gd name="T42" fmla="*/ 25 w 328"/>
                <a:gd name="T43" fmla="*/ 340 h 484"/>
                <a:gd name="T44" fmla="*/ 58 w 328"/>
                <a:gd name="T45" fmla="*/ 437 h 484"/>
                <a:gd name="T46" fmla="*/ 66 w 328"/>
                <a:gd name="T47" fmla="*/ 461 h 484"/>
                <a:gd name="T48" fmla="*/ 88 w 328"/>
                <a:gd name="T49" fmla="*/ 480 h 484"/>
                <a:gd name="T50" fmla="*/ 99 w 328"/>
                <a:gd name="T51" fmla="*/ 451 h 484"/>
                <a:gd name="T52" fmla="*/ 107 w 328"/>
                <a:gd name="T53" fmla="*/ 437 h 484"/>
                <a:gd name="T54" fmla="*/ 117 w 328"/>
                <a:gd name="T55" fmla="*/ 418 h 484"/>
                <a:gd name="T56" fmla="*/ 119 w 328"/>
                <a:gd name="T57" fmla="*/ 394 h 484"/>
                <a:gd name="T58" fmla="*/ 127 w 328"/>
                <a:gd name="T59" fmla="*/ 400 h 484"/>
                <a:gd name="T60" fmla="*/ 133 w 328"/>
                <a:gd name="T61" fmla="*/ 391 h 484"/>
                <a:gd name="T62" fmla="*/ 137 w 328"/>
                <a:gd name="T63" fmla="*/ 387 h 484"/>
                <a:gd name="T64" fmla="*/ 142 w 328"/>
                <a:gd name="T65" fmla="*/ 389 h 484"/>
                <a:gd name="T66" fmla="*/ 135 w 328"/>
                <a:gd name="T67" fmla="*/ 363 h 484"/>
                <a:gd name="T68" fmla="*/ 144 w 328"/>
                <a:gd name="T69" fmla="*/ 387 h 484"/>
                <a:gd name="T70" fmla="*/ 142 w 328"/>
                <a:gd name="T71" fmla="*/ 379 h 484"/>
                <a:gd name="T72" fmla="*/ 150 w 328"/>
                <a:gd name="T73" fmla="*/ 373 h 484"/>
                <a:gd name="T74" fmla="*/ 154 w 328"/>
                <a:gd name="T75" fmla="*/ 375 h 484"/>
                <a:gd name="T76" fmla="*/ 156 w 328"/>
                <a:gd name="T77" fmla="*/ 371 h 484"/>
                <a:gd name="T78" fmla="*/ 162 w 328"/>
                <a:gd name="T79" fmla="*/ 379 h 484"/>
                <a:gd name="T80" fmla="*/ 168 w 328"/>
                <a:gd name="T81" fmla="*/ 357 h 484"/>
                <a:gd name="T82" fmla="*/ 180 w 328"/>
                <a:gd name="T83" fmla="*/ 363 h 484"/>
                <a:gd name="T84" fmla="*/ 191 w 328"/>
                <a:gd name="T85" fmla="*/ 342 h 484"/>
                <a:gd name="T86" fmla="*/ 187 w 328"/>
                <a:gd name="T87" fmla="*/ 310 h 484"/>
                <a:gd name="T88" fmla="*/ 197 w 328"/>
                <a:gd name="T89" fmla="*/ 289 h 484"/>
                <a:gd name="T90" fmla="*/ 203 w 328"/>
                <a:gd name="T91" fmla="*/ 301 h 484"/>
                <a:gd name="T92" fmla="*/ 201 w 328"/>
                <a:gd name="T93" fmla="*/ 312 h 484"/>
                <a:gd name="T94" fmla="*/ 226 w 328"/>
                <a:gd name="T95" fmla="*/ 310 h 484"/>
                <a:gd name="T96" fmla="*/ 226 w 328"/>
                <a:gd name="T97" fmla="*/ 301 h 484"/>
                <a:gd name="T98" fmla="*/ 230 w 328"/>
                <a:gd name="T99" fmla="*/ 297 h 484"/>
                <a:gd name="T100" fmla="*/ 238 w 328"/>
                <a:gd name="T101" fmla="*/ 283 h 484"/>
                <a:gd name="T102" fmla="*/ 246 w 328"/>
                <a:gd name="T103" fmla="*/ 283 h 484"/>
                <a:gd name="T104" fmla="*/ 258 w 328"/>
                <a:gd name="T105" fmla="*/ 295 h 484"/>
                <a:gd name="T106" fmla="*/ 262 w 328"/>
                <a:gd name="T107" fmla="*/ 283 h 484"/>
                <a:gd name="T108" fmla="*/ 267 w 328"/>
                <a:gd name="T109" fmla="*/ 285 h 484"/>
                <a:gd name="T110" fmla="*/ 269 w 328"/>
                <a:gd name="T111" fmla="*/ 273 h 484"/>
                <a:gd name="T112" fmla="*/ 275 w 328"/>
                <a:gd name="T113" fmla="*/ 269 h 484"/>
                <a:gd name="T114" fmla="*/ 285 w 328"/>
                <a:gd name="T115" fmla="*/ 266 h 484"/>
                <a:gd name="T116" fmla="*/ 289 w 328"/>
                <a:gd name="T117" fmla="*/ 254 h 484"/>
                <a:gd name="T118" fmla="*/ 299 w 328"/>
                <a:gd name="T119" fmla="*/ 254 h 484"/>
                <a:gd name="T120" fmla="*/ 303 w 328"/>
                <a:gd name="T121" fmla="*/ 242 h 484"/>
                <a:gd name="T122" fmla="*/ 314 w 328"/>
                <a:gd name="T123" fmla="*/ 24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484">
                  <a:moveTo>
                    <a:pt x="211" y="338"/>
                  </a:moveTo>
                  <a:lnTo>
                    <a:pt x="207" y="338"/>
                  </a:lnTo>
                  <a:lnTo>
                    <a:pt x="205" y="338"/>
                  </a:lnTo>
                  <a:lnTo>
                    <a:pt x="203" y="336"/>
                  </a:lnTo>
                  <a:lnTo>
                    <a:pt x="201" y="336"/>
                  </a:lnTo>
                  <a:lnTo>
                    <a:pt x="201" y="338"/>
                  </a:lnTo>
                  <a:lnTo>
                    <a:pt x="203" y="338"/>
                  </a:lnTo>
                  <a:lnTo>
                    <a:pt x="205" y="340"/>
                  </a:lnTo>
                  <a:lnTo>
                    <a:pt x="205" y="340"/>
                  </a:lnTo>
                  <a:lnTo>
                    <a:pt x="205" y="342"/>
                  </a:lnTo>
                  <a:lnTo>
                    <a:pt x="209" y="344"/>
                  </a:lnTo>
                  <a:lnTo>
                    <a:pt x="211" y="344"/>
                  </a:lnTo>
                  <a:lnTo>
                    <a:pt x="211" y="342"/>
                  </a:lnTo>
                  <a:lnTo>
                    <a:pt x="211" y="342"/>
                  </a:lnTo>
                  <a:lnTo>
                    <a:pt x="211" y="340"/>
                  </a:lnTo>
                  <a:lnTo>
                    <a:pt x="213" y="340"/>
                  </a:lnTo>
                  <a:lnTo>
                    <a:pt x="211" y="338"/>
                  </a:lnTo>
                  <a:lnTo>
                    <a:pt x="211" y="338"/>
                  </a:lnTo>
                  <a:close/>
                  <a:moveTo>
                    <a:pt x="219" y="324"/>
                  </a:moveTo>
                  <a:lnTo>
                    <a:pt x="217" y="324"/>
                  </a:lnTo>
                  <a:lnTo>
                    <a:pt x="217" y="324"/>
                  </a:lnTo>
                  <a:lnTo>
                    <a:pt x="217" y="322"/>
                  </a:lnTo>
                  <a:lnTo>
                    <a:pt x="219" y="322"/>
                  </a:lnTo>
                  <a:lnTo>
                    <a:pt x="221" y="320"/>
                  </a:lnTo>
                  <a:lnTo>
                    <a:pt x="219" y="320"/>
                  </a:lnTo>
                  <a:lnTo>
                    <a:pt x="219" y="318"/>
                  </a:lnTo>
                  <a:lnTo>
                    <a:pt x="219" y="318"/>
                  </a:lnTo>
                  <a:lnTo>
                    <a:pt x="217" y="316"/>
                  </a:lnTo>
                  <a:lnTo>
                    <a:pt x="215" y="316"/>
                  </a:lnTo>
                  <a:lnTo>
                    <a:pt x="213" y="316"/>
                  </a:lnTo>
                  <a:lnTo>
                    <a:pt x="213" y="318"/>
                  </a:lnTo>
                  <a:lnTo>
                    <a:pt x="213" y="318"/>
                  </a:lnTo>
                  <a:lnTo>
                    <a:pt x="213" y="320"/>
                  </a:lnTo>
                  <a:lnTo>
                    <a:pt x="213" y="322"/>
                  </a:lnTo>
                  <a:lnTo>
                    <a:pt x="215" y="322"/>
                  </a:lnTo>
                  <a:lnTo>
                    <a:pt x="213" y="322"/>
                  </a:lnTo>
                  <a:lnTo>
                    <a:pt x="213" y="322"/>
                  </a:lnTo>
                  <a:lnTo>
                    <a:pt x="211" y="322"/>
                  </a:lnTo>
                  <a:lnTo>
                    <a:pt x="213" y="324"/>
                  </a:lnTo>
                  <a:lnTo>
                    <a:pt x="213" y="326"/>
                  </a:lnTo>
                  <a:lnTo>
                    <a:pt x="213" y="326"/>
                  </a:lnTo>
                  <a:lnTo>
                    <a:pt x="213" y="328"/>
                  </a:lnTo>
                  <a:lnTo>
                    <a:pt x="213" y="328"/>
                  </a:lnTo>
                  <a:lnTo>
                    <a:pt x="217" y="328"/>
                  </a:lnTo>
                  <a:lnTo>
                    <a:pt x="219" y="328"/>
                  </a:lnTo>
                  <a:lnTo>
                    <a:pt x="221" y="326"/>
                  </a:lnTo>
                  <a:lnTo>
                    <a:pt x="221" y="324"/>
                  </a:lnTo>
                  <a:lnTo>
                    <a:pt x="219" y="324"/>
                  </a:lnTo>
                  <a:close/>
                  <a:moveTo>
                    <a:pt x="244" y="293"/>
                  </a:moveTo>
                  <a:lnTo>
                    <a:pt x="242" y="291"/>
                  </a:lnTo>
                  <a:lnTo>
                    <a:pt x="240" y="291"/>
                  </a:lnTo>
                  <a:lnTo>
                    <a:pt x="236" y="291"/>
                  </a:lnTo>
                  <a:lnTo>
                    <a:pt x="234" y="293"/>
                  </a:lnTo>
                  <a:lnTo>
                    <a:pt x="234" y="295"/>
                  </a:lnTo>
                  <a:lnTo>
                    <a:pt x="234" y="297"/>
                  </a:lnTo>
                  <a:lnTo>
                    <a:pt x="234" y="297"/>
                  </a:lnTo>
                  <a:lnTo>
                    <a:pt x="234" y="299"/>
                  </a:lnTo>
                  <a:lnTo>
                    <a:pt x="232" y="299"/>
                  </a:lnTo>
                  <a:lnTo>
                    <a:pt x="232" y="299"/>
                  </a:lnTo>
                  <a:lnTo>
                    <a:pt x="232" y="301"/>
                  </a:lnTo>
                  <a:lnTo>
                    <a:pt x="232" y="305"/>
                  </a:lnTo>
                  <a:lnTo>
                    <a:pt x="232" y="307"/>
                  </a:lnTo>
                  <a:lnTo>
                    <a:pt x="232" y="307"/>
                  </a:lnTo>
                  <a:lnTo>
                    <a:pt x="232" y="307"/>
                  </a:lnTo>
                  <a:lnTo>
                    <a:pt x="234" y="307"/>
                  </a:lnTo>
                  <a:lnTo>
                    <a:pt x="234" y="310"/>
                  </a:lnTo>
                  <a:lnTo>
                    <a:pt x="234" y="310"/>
                  </a:lnTo>
                  <a:lnTo>
                    <a:pt x="234" y="310"/>
                  </a:lnTo>
                  <a:lnTo>
                    <a:pt x="234" y="312"/>
                  </a:lnTo>
                  <a:lnTo>
                    <a:pt x="238" y="312"/>
                  </a:lnTo>
                  <a:lnTo>
                    <a:pt x="238" y="314"/>
                  </a:lnTo>
                  <a:lnTo>
                    <a:pt x="240" y="314"/>
                  </a:lnTo>
                  <a:lnTo>
                    <a:pt x="240" y="312"/>
                  </a:lnTo>
                  <a:lnTo>
                    <a:pt x="240" y="312"/>
                  </a:lnTo>
                  <a:lnTo>
                    <a:pt x="242" y="314"/>
                  </a:lnTo>
                  <a:lnTo>
                    <a:pt x="242" y="314"/>
                  </a:lnTo>
                  <a:lnTo>
                    <a:pt x="244" y="312"/>
                  </a:lnTo>
                  <a:lnTo>
                    <a:pt x="244" y="310"/>
                  </a:lnTo>
                  <a:lnTo>
                    <a:pt x="244" y="310"/>
                  </a:lnTo>
                  <a:lnTo>
                    <a:pt x="242" y="307"/>
                  </a:lnTo>
                  <a:lnTo>
                    <a:pt x="240" y="307"/>
                  </a:lnTo>
                  <a:lnTo>
                    <a:pt x="240" y="303"/>
                  </a:lnTo>
                  <a:lnTo>
                    <a:pt x="242" y="303"/>
                  </a:lnTo>
                  <a:lnTo>
                    <a:pt x="244" y="305"/>
                  </a:lnTo>
                  <a:lnTo>
                    <a:pt x="246" y="303"/>
                  </a:lnTo>
                  <a:lnTo>
                    <a:pt x="250" y="301"/>
                  </a:lnTo>
                  <a:lnTo>
                    <a:pt x="250" y="299"/>
                  </a:lnTo>
                  <a:lnTo>
                    <a:pt x="248" y="297"/>
                  </a:lnTo>
                  <a:lnTo>
                    <a:pt x="244" y="293"/>
                  </a:lnTo>
                  <a:close/>
                  <a:moveTo>
                    <a:pt x="326" y="223"/>
                  </a:moveTo>
                  <a:lnTo>
                    <a:pt x="326" y="219"/>
                  </a:lnTo>
                  <a:lnTo>
                    <a:pt x="324" y="219"/>
                  </a:lnTo>
                  <a:lnTo>
                    <a:pt x="324" y="219"/>
                  </a:lnTo>
                  <a:lnTo>
                    <a:pt x="324" y="219"/>
                  </a:lnTo>
                  <a:lnTo>
                    <a:pt x="324" y="219"/>
                  </a:lnTo>
                  <a:lnTo>
                    <a:pt x="324" y="219"/>
                  </a:lnTo>
                  <a:lnTo>
                    <a:pt x="324" y="219"/>
                  </a:lnTo>
                  <a:lnTo>
                    <a:pt x="320" y="217"/>
                  </a:lnTo>
                  <a:lnTo>
                    <a:pt x="320" y="217"/>
                  </a:lnTo>
                  <a:lnTo>
                    <a:pt x="318" y="217"/>
                  </a:lnTo>
                  <a:lnTo>
                    <a:pt x="322" y="221"/>
                  </a:lnTo>
                  <a:lnTo>
                    <a:pt x="322" y="223"/>
                  </a:lnTo>
                  <a:lnTo>
                    <a:pt x="320" y="223"/>
                  </a:lnTo>
                  <a:lnTo>
                    <a:pt x="320" y="221"/>
                  </a:lnTo>
                  <a:lnTo>
                    <a:pt x="318" y="219"/>
                  </a:lnTo>
                  <a:lnTo>
                    <a:pt x="316" y="217"/>
                  </a:lnTo>
                  <a:lnTo>
                    <a:pt x="316" y="219"/>
                  </a:lnTo>
                  <a:lnTo>
                    <a:pt x="316" y="219"/>
                  </a:lnTo>
                  <a:lnTo>
                    <a:pt x="316" y="219"/>
                  </a:lnTo>
                  <a:lnTo>
                    <a:pt x="316" y="221"/>
                  </a:lnTo>
                  <a:lnTo>
                    <a:pt x="316" y="221"/>
                  </a:lnTo>
                  <a:lnTo>
                    <a:pt x="316" y="221"/>
                  </a:lnTo>
                  <a:lnTo>
                    <a:pt x="316" y="223"/>
                  </a:lnTo>
                  <a:lnTo>
                    <a:pt x="314" y="221"/>
                  </a:lnTo>
                  <a:lnTo>
                    <a:pt x="314" y="221"/>
                  </a:lnTo>
                  <a:lnTo>
                    <a:pt x="314" y="223"/>
                  </a:lnTo>
                  <a:lnTo>
                    <a:pt x="314" y="225"/>
                  </a:lnTo>
                  <a:lnTo>
                    <a:pt x="314" y="228"/>
                  </a:lnTo>
                  <a:lnTo>
                    <a:pt x="312" y="221"/>
                  </a:lnTo>
                  <a:lnTo>
                    <a:pt x="310" y="221"/>
                  </a:lnTo>
                  <a:lnTo>
                    <a:pt x="307" y="219"/>
                  </a:lnTo>
                  <a:lnTo>
                    <a:pt x="307" y="219"/>
                  </a:lnTo>
                  <a:lnTo>
                    <a:pt x="307" y="217"/>
                  </a:lnTo>
                  <a:lnTo>
                    <a:pt x="307" y="217"/>
                  </a:lnTo>
                  <a:lnTo>
                    <a:pt x="312" y="219"/>
                  </a:lnTo>
                  <a:lnTo>
                    <a:pt x="312" y="219"/>
                  </a:lnTo>
                  <a:lnTo>
                    <a:pt x="314" y="217"/>
                  </a:lnTo>
                  <a:lnTo>
                    <a:pt x="314" y="217"/>
                  </a:lnTo>
                  <a:lnTo>
                    <a:pt x="314" y="215"/>
                  </a:lnTo>
                  <a:lnTo>
                    <a:pt x="312" y="215"/>
                  </a:lnTo>
                  <a:lnTo>
                    <a:pt x="312" y="213"/>
                  </a:lnTo>
                  <a:lnTo>
                    <a:pt x="314" y="213"/>
                  </a:lnTo>
                  <a:lnTo>
                    <a:pt x="314" y="213"/>
                  </a:lnTo>
                  <a:lnTo>
                    <a:pt x="316" y="215"/>
                  </a:lnTo>
                  <a:lnTo>
                    <a:pt x="318" y="213"/>
                  </a:lnTo>
                  <a:lnTo>
                    <a:pt x="318" y="211"/>
                  </a:lnTo>
                  <a:lnTo>
                    <a:pt x="318" y="209"/>
                  </a:lnTo>
                  <a:lnTo>
                    <a:pt x="318" y="209"/>
                  </a:lnTo>
                  <a:lnTo>
                    <a:pt x="316" y="207"/>
                  </a:lnTo>
                  <a:lnTo>
                    <a:pt x="314" y="205"/>
                  </a:lnTo>
                  <a:lnTo>
                    <a:pt x="314" y="205"/>
                  </a:lnTo>
                  <a:lnTo>
                    <a:pt x="312" y="205"/>
                  </a:lnTo>
                  <a:lnTo>
                    <a:pt x="310" y="203"/>
                  </a:lnTo>
                  <a:lnTo>
                    <a:pt x="310" y="203"/>
                  </a:lnTo>
                  <a:lnTo>
                    <a:pt x="310" y="201"/>
                  </a:lnTo>
                  <a:lnTo>
                    <a:pt x="307" y="199"/>
                  </a:lnTo>
                  <a:lnTo>
                    <a:pt x="307" y="197"/>
                  </a:lnTo>
                  <a:lnTo>
                    <a:pt x="305" y="197"/>
                  </a:lnTo>
                  <a:lnTo>
                    <a:pt x="305" y="197"/>
                  </a:lnTo>
                  <a:lnTo>
                    <a:pt x="305" y="197"/>
                  </a:lnTo>
                  <a:lnTo>
                    <a:pt x="303" y="197"/>
                  </a:lnTo>
                  <a:lnTo>
                    <a:pt x="303" y="195"/>
                  </a:lnTo>
                  <a:lnTo>
                    <a:pt x="303" y="195"/>
                  </a:lnTo>
                  <a:lnTo>
                    <a:pt x="301" y="195"/>
                  </a:lnTo>
                  <a:lnTo>
                    <a:pt x="301" y="193"/>
                  </a:lnTo>
                  <a:lnTo>
                    <a:pt x="301" y="193"/>
                  </a:lnTo>
                  <a:lnTo>
                    <a:pt x="299" y="195"/>
                  </a:lnTo>
                  <a:lnTo>
                    <a:pt x="299" y="195"/>
                  </a:lnTo>
                  <a:lnTo>
                    <a:pt x="299" y="193"/>
                  </a:lnTo>
                  <a:lnTo>
                    <a:pt x="297" y="193"/>
                  </a:lnTo>
                  <a:lnTo>
                    <a:pt x="295" y="193"/>
                  </a:lnTo>
                  <a:lnTo>
                    <a:pt x="293" y="193"/>
                  </a:lnTo>
                  <a:lnTo>
                    <a:pt x="293" y="193"/>
                  </a:lnTo>
                  <a:lnTo>
                    <a:pt x="293" y="193"/>
                  </a:lnTo>
                  <a:lnTo>
                    <a:pt x="293" y="195"/>
                  </a:lnTo>
                  <a:lnTo>
                    <a:pt x="293" y="195"/>
                  </a:lnTo>
                  <a:lnTo>
                    <a:pt x="293" y="197"/>
                  </a:lnTo>
                  <a:lnTo>
                    <a:pt x="291" y="199"/>
                  </a:lnTo>
                  <a:lnTo>
                    <a:pt x="287" y="199"/>
                  </a:lnTo>
                  <a:lnTo>
                    <a:pt x="285" y="197"/>
                  </a:lnTo>
                  <a:lnTo>
                    <a:pt x="281" y="193"/>
                  </a:lnTo>
                  <a:lnTo>
                    <a:pt x="277" y="191"/>
                  </a:lnTo>
                  <a:lnTo>
                    <a:pt x="275" y="189"/>
                  </a:lnTo>
                  <a:lnTo>
                    <a:pt x="275" y="187"/>
                  </a:lnTo>
                  <a:lnTo>
                    <a:pt x="275" y="185"/>
                  </a:lnTo>
                  <a:lnTo>
                    <a:pt x="277" y="182"/>
                  </a:lnTo>
                  <a:lnTo>
                    <a:pt x="275" y="178"/>
                  </a:lnTo>
                  <a:lnTo>
                    <a:pt x="269" y="172"/>
                  </a:lnTo>
                  <a:lnTo>
                    <a:pt x="267" y="168"/>
                  </a:lnTo>
                  <a:lnTo>
                    <a:pt x="269" y="166"/>
                  </a:lnTo>
                  <a:lnTo>
                    <a:pt x="271" y="164"/>
                  </a:lnTo>
                  <a:lnTo>
                    <a:pt x="271" y="164"/>
                  </a:lnTo>
                  <a:lnTo>
                    <a:pt x="271" y="160"/>
                  </a:lnTo>
                  <a:lnTo>
                    <a:pt x="269" y="158"/>
                  </a:lnTo>
                  <a:lnTo>
                    <a:pt x="267" y="156"/>
                  </a:lnTo>
                  <a:lnTo>
                    <a:pt x="264" y="156"/>
                  </a:lnTo>
                  <a:lnTo>
                    <a:pt x="262" y="158"/>
                  </a:lnTo>
                  <a:lnTo>
                    <a:pt x="260" y="158"/>
                  </a:lnTo>
                  <a:lnTo>
                    <a:pt x="254" y="158"/>
                  </a:lnTo>
                  <a:lnTo>
                    <a:pt x="250" y="158"/>
                  </a:lnTo>
                  <a:lnTo>
                    <a:pt x="248" y="158"/>
                  </a:lnTo>
                  <a:lnTo>
                    <a:pt x="246" y="156"/>
                  </a:lnTo>
                  <a:lnTo>
                    <a:pt x="246" y="156"/>
                  </a:lnTo>
                  <a:lnTo>
                    <a:pt x="244" y="154"/>
                  </a:lnTo>
                  <a:lnTo>
                    <a:pt x="244" y="154"/>
                  </a:lnTo>
                  <a:lnTo>
                    <a:pt x="244" y="154"/>
                  </a:lnTo>
                  <a:lnTo>
                    <a:pt x="244" y="156"/>
                  </a:lnTo>
                  <a:lnTo>
                    <a:pt x="242" y="156"/>
                  </a:lnTo>
                  <a:lnTo>
                    <a:pt x="242" y="156"/>
                  </a:lnTo>
                  <a:lnTo>
                    <a:pt x="240" y="156"/>
                  </a:lnTo>
                  <a:lnTo>
                    <a:pt x="238" y="156"/>
                  </a:lnTo>
                  <a:lnTo>
                    <a:pt x="238" y="154"/>
                  </a:lnTo>
                  <a:lnTo>
                    <a:pt x="236" y="150"/>
                  </a:lnTo>
                  <a:lnTo>
                    <a:pt x="236" y="148"/>
                  </a:lnTo>
                  <a:lnTo>
                    <a:pt x="236" y="146"/>
                  </a:lnTo>
                  <a:lnTo>
                    <a:pt x="236" y="144"/>
                  </a:lnTo>
                  <a:lnTo>
                    <a:pt x="236" y="141"/>
                  </a:lnTo>
                  <a:lnTo>
                    <a:pt x="236" y="141"/>
                  </a:lnTo>
                  <a:lnTo>
                    <a:pt x="234" y="139"/>
                  </a:lnTo>
                  <a:lnTo>
                    <a:pt x="234" y="137"/>
                  </a:lnTo>
                  <a:lnTo>
                    <a:pt x="234" y="135"/>
                  </a:lnTo>
                  <a:lnTo>
                    <a:pt x="234" y="133"/>
                  </a:lnTo>
                  <a:lnTo>
                    <a:pt x="234" y="133"/>
                  </a:lnTo>
                  <a:lnTo>
                    <a:pt x="234" y="131"/>
                  </a:lnTo>
                  <a:lnTo>
                    <a:pt x="234" y="131"/>
                  </a:lnTo>
                  <a:lnTo>
                    <a:pt x="232" y="131"/>
                  </a:lnTo>
                  <a:lnTo>
                    <a:pt x="232" y="129"/>
                  </a:lnTo>
                  <a:lnTo>
                    <a:pt x="232" y="129"/>
                  </a:lnTo>
                  <a:lnTo>
                    <a:pt x="228" y="115"/>
                  </a:lnTo>
                  <a:lnTo>
                    <a:pt x="223" y="103"/>
                  </a:lnTo>
                  <a:lnTo>
                    <a:pt x="219" y="88"/>
                  </a:lnTo>
                  <a:lnTo>
                    <a:pt x="215" y="76"/>
                  </a:lnTo>
                  <a:lnTo>
                    <a:pt x="211" y="62"/>
                  </a:lnTo>
                  <a:lnTo>
                    <a:pt x="207" y="49"/>
                  </a:lnTo>
                  <a:lnTo>
                    <a:pt x="203" y="35"/>
                  </a:lnTo>
                  <a:lnTo>
                    <a:pt x="199" y="23"/>
                  </a:lnTo>
                  <a:lnTo>
                    <a:pt x="197" y="19"/>
                  </a:lnTo>
                  <a:lnTo>
                    <a:pt x="197" y="19"/>
                  </a:lnTo>
                  <a:lnTo>
                    <a:pt x="193" y="16"/>
                  </a:lnTo>
                  <a:lnTo>
                    <a:pt x="191" y="16"/>
                  </a:lnTo>
                  <a:lnTo>
                    <a:pt x="189" y="14"/>
                  </a:lnTo>
                  <a:lnTo>
                    <a:pt x="185" y="12"/>
                  </a:lnTo>
                  <a:lnTo>
                    <a:pt x="183" y="12"/>
                  </a:lnTo>
                  <a:lnTo>
                    <a:pt x="183" y="10"/>
                  </a:lnTo>
                  <a:lnTo>
                    <a:pt x="183" y="10"/>
                  </a:lnTo>
                  <a:lnTo>
                    <a:pt x="178" y="8"/>
                  </a:lnTo>
                  <a:lnTo>
                    <a:pt x="174" y="6"/>
                  </a:lnTo>
                  <a:lnTo>
                    <a:pt x="168" y="4"/>
                  </a:lnTo>
                  <a:lnTo>
                    <a:pt x="168" y="4"/>
                  </a:lnTo>
                  <a:lnTo>
                    <a:pt x="164" y="4"/>
                  </a:lnTo>
                  <a:lnTo>
                    <a:pt x="164" y="4"/>
                  </a:lnTo>
                  <a:lnTo>
                    <a:pt x="162" y="2"/>
                  </a:lnTo>
                  <a:lnTo>
                    <a:pt x="160" y="0"/>
                  </a:lnTo>
                  <a:lnTo>
                    <a:pt x="156" y="0"/>
                  </a:lnTo>
                  <a:lnTo>
                    <a:pt x="152" y="0"/>
                  </a:lnTo>
                  <a:lnTo>
                    <a:pt x="148" y="2"/>
                  </a:lnTo>
                  <a:lnTo>
                    <a:pt x="148" y="6"/>
                  </a:lnTo>
                  <a:lnTo>
                    <a:pt x="148" y="8"/>
                  </a:lnTo>
                  <a:lnTo>
                    <a:pt x="148" y="8"/>
                  </a:lnTo>
                  <a:lnTo>
                    <a:pt x="148" y="8"/>
                  </a:lnTo>
                  <a:lnTo>
                    <a:pt x="146" y="10"/>
                  </a:lnTo>
                  <a:lnTo>
                    <a:pt x="146" y="10"/>
                  </a:lnTo>
                  <a:lnTo>
                    <a:pt x="144" y="10"/>
                  </a:lnTo>
                  <a:lnTo>
                    <a:pt x="142" y="10"/>
                  </a:lnTo>
                  <a:lnTo>
                    <a:pt x="140" y="10"/>
                  </a:lnTo>
                  <a:lnTo>
                    <a:pt x="137" y="10"/>
                  </a:lnTo>
                  <a:lnTo>
                    <a:pt x="135" y="12"/>
                  </a:lnTo>
                  <a:lnTo>
                    <a:pt x="133" y="14"/>
                  </a:lnTo>
                  <a:lnTo>
                    <a:pt x="131" y="16"/>
                  </a:lnTo>
                  <a:lnTo>
                    <a:pt x="131" y="19"/>
                  </a:lnTo>
                  <a:lnTo>
                    <a:pt x="129" y="21"/>
                  </a:lnTo>
                  <a:lnTo>
                    <a:pt x="127" y="21"/>
                  </a:lnTo>
                  <a:lnTo>
                    <a:pt x="125" y="21"/>
                  </a:lnTo>
                  <a:lnTo>
                    <a:pt x="121" y="23"/>
                  </a:lnTo>
                  <a:lnTo>
                    <a:pt x="113" y="31"/>
                  </a:lnTo>
                  <a:lnTo>
                    <a:pt x="113" y="31"/>
                  </a:lnTo>
                  <a:lnTo>
                    <a:pt x="101" y="29"/>
                  </a:lnTo>
                  <a:lnTo>
                    <a:pt x="99" y="27"/>
                  </a:lnTo>
                  <a:lnTo>
                    <a:pt x="99" y="25"/>
                  </a:lnTo>
                  <a:lnTo>
                    <a:pt x="97" y="25"/>
                  </a:lnTo>
                  <a:lnTo>
                    <a:pt x="97" y="21"/>
                  </a:lnTo>
                  <a:lnTo>
                    <a:pt x="94" y="14"/>
                  </a:lnTo>
                  <a:lnTo>
                    <a:pt x="94" y="12"/>
                  </a:lnTo>
                  <a:lnTo>
                    <a:pt x="92" y="10"/>
                  </a:lnTo>
                  <a:lnTo>
                    <a:pt x="80" y="10"/>
                  </a:lnTo>
                  <a:lnTo>
                    <a:pt x="80" y="12"/>
                  </a:lnTo>
                  <a:lnTo>
                    <a:pt x="80" y="12"/>
                  </a:lnTo>
                  <a:lnTo>
                    <a:pt x="78" y="14"/>
                  </a:lnTo>
                  <a:lnTo>
                    <a:pt x="74" y="25"/>
                  </a:lnTo>
                  <a:lnTo>
                    <a:pt x="70" y="35"/>
                  </a:lnTo>
                  <a:lnTo>
                    <a:pt x="66" y="47"/>
                  </a:lnTo>
                  <a:lnTo>
                    <a:pt x="62" y="57"/>
                  </a:lnTo>
                  <a:lnTo>
                    <a:pt x="58" y="68"/>
                  </a:lnTo>
                  <a:lnTo>
                    <a:pt x="54" y="78"/>
                  </a:lnTo>
                  <a:lnTo>
                    <a:pt x="49" y="90"/>
                  </a:lnTo>
                  <a:lnTo>
                    <a:pt x="45" y="100"/>
                  </a:lnTo>
                  <a:lnTo>
                    <a:pt x="43" y="103"/>
                  </a:lnTo>
                  <a:lnTo>
                    <a:pt x="43" y="107"/>
                  </a:lnTo>
                  <a:lnTo>
                    <a:pt x="45" y="113"/>
                  </a:lnTo>
                  <a:lnTo>
                    <a:pt x="45" y="123"/>
                  </a:lnTo>
                  <a:lnTo>
                    <a:pt x="47" y="129"/>
                  </a:lnTo>
                  <a:lnTo>
                    <a:pt x="47" y="133"/>
                  </a:lnTo>
                  <a:lnTo>
                    <a:pt x="43" y="139"/>
                  </a:lnTo>
                  <a:lnTo>
                    <a:pt x="41" y="139"/>
                  </a:lnTo>
                  <a:lnTo>
                    <a:pt x="39" y="141"/>
                  </a:lnTo>
                  <a:lnTo>
                    <a:pt x="39" y="144"/>
                  </a:lnTo>
                  <a:lnTo>
                    <a:pt x="41" y="146"/>
                  </a:lnTo>
                  <a:lnTo>
                    <a:pt x="41" y="146"/>
                  </a:lnTo>
                  <a:lnTo>
                    <a:pt x="39" y="148"/>
                  </a:lnTo>
                  <a:lnTo>
                    <a:pt x="39" y="150"/>
                  </a:lnTo>
                  <a:lnTo>
                    <a:pt x="37" y="154"/>
                  </a:lnTo>
                  <a:lnTo>
                    <a:pt x="37" y="158"/>
                  </a:lnTo>
                  <a:lnTo>
                    <a:pt x="37" y="160"/>
                  </a:lnTo>
                  <a:lnTo>
                    <a:pt x="39" y="160"/>
                  </a:lnTo>
                  <a:lnTo>
                    <a:pt x="41" y="162"/>
                  </a:lnTo>
                  <a:lnTo>
                    <a:pt x="41" y="164"/>
                  </a:lnTo>
                  <a:lnTo>
                    <a:pt x="41" y="166"/>
                  </a:lnTo>
                  <a:lnTo>
                    <a:pt x="41" y="168"/>
                  </a:lnTo>
                  <a:lnTo>
                    <a:pt x="39" y="170"/>
                  </a:lnTo>
                  <a:lnTo>
                    <a:pt x="39" y="172"/>
                  </a:lnTo>
                  <a:lnTo>
                    <a:pt x="39" y="172"/>
                  </a:lnTo>
                  <a:lnTo>
                    <a:pt x="39" y="172"/>
                  </a:lnTo>
                  <a:lnTo>
                    <a:pt x="39" y="172"/>
                  </a:lnTo>
                  <a:lnTo>
                    <a:pt x="39" y="172"/>
                  </a:lnTo>
                  <a:lnTo>
                    <a:pt x="41" y="174"/>
                  </a:lnTo>
                  <a:lnTo>
                    <a:pt x="41" y="174"/>
                  </a:lnTo>
                  <a:lnTo>
                    <a:pt x="41" y="174"/>
                  </a:lnTo>
                  <a:lnTo>
                    <a:pt x="39" y="174"/>
                  </a:lnTo>
                  <a:lnTo>
                    <a:pt x="39" y="176"/>
                  </a:lnTo>
                  <a:lnTo>
                    <a:pt x="41" y="180"/>
                  </a:lnTo>
                  <a:lnTo>
                    <a:pt x="41" y="180"/>
                  </a:lnTo>
                  <a:lnTo>
                    <a:pt x="41" y="182"/>
                  </a:lnTo>
                  <a:lnTo>
                    <a:pt x="43" y="182"/>
                  </a:lnTo>
                  <a:lnTo>
                    <a:pt x="45" y="182"/>
                  </a:lnTo>
                  <a:lnTo>
                    <a:pt x="45" y="182"/>
                  </a:lnTo>
                  <a:lnTo>
                    <a:pt x="47" y="187"/>
                  </a:lnTo>
                  <a:lnTo>
                    <a:pt x="45" y="191"/>
                  </a:lnTo>
                  <a:lnTo>
                    <a:pt x="43" y="193"/>
                  </a:lnTo>
                  <a:lnTo>
                    <a:pt x="39" y="199"/>
                  </a:lnTo>
                  <a:lnTo>
                    <a:pt x="39" y="201"/>
                  </a:lnTo>
                  <a:lnTo>
                    <a:pt x="39" y="201"/>
                  </a:lnTo>
                  <a:lnTo>
                    <a:pt x="39" y="203"/>
                  </a:lnTo>
                  <a:lnTo>
                    <a:pt x="39" y="203"/>
                  </a:lnTo>
                  <a:lnTo>
                    <a:pt x="39" y="203"/>
                  </a:lnTo>
                  <a:lnTo>
                    <a:pt x="39" y="205"/>
                  </a:lnTo>
                  <a:lnTo>
                    <a:pt x="41" y="207"/>
                  </a:lnTo>
                  <a:lnTo>
                    <a:pt x="41" y="209"/>
                  </a:lnTo>
                  <a:lnTo>
                    <a:pt x="41" y="209"/>
                  </a:lnTo>
                  <a:lnTo>
                    <a:pt x="39" y="211"/>
                  </a:lnTo>
                  <a:lnTo>
                    <a:pt x="39" y="211"/>
                  </a:lnTo>
                  <a:lnTo>
                    <a:pt x="37" y="213"/>
                  </a:lnTo>
                  <a:lnTo>
                    <a:pt x="35" y="213"/>
                  </a:lnTo>
                  <a:lnTo>
                    <a:pt x="33" y="215"/>
                  </a:lnTo>
                  <a:lnTo>
                    <a:pt x="31" y="219"/>
                  </a:lnTo>
                  <a:lnTo>
                    <a:pt x="29" y="219"/>
                  </a:lnTo>
                  <a:lnTo>
                    <a:pt x="25" y="230"/>
                  </a:lnTo>
                  <a:lnTo>
                    <a:pt x="23" y="238"/>
                  </a:lnTo>
                  <a:lnTo>
                    <a:pt x="23" y="240"/>
                  </a:lnTo>
                  <a:lnTo>
                    <a:pt x="25" y="242"/>
                  </a:lnTo>
                  <a:lnTo>
                    <a:pt x="25" y="242"/>
                  </a:lnTo>
                  <a:lnTo>
                    <a:pt x="29" y="244"/>
                  </a:lnTo>
                  <a:lnTo>
                    <a:pt x="31" y="244"/>
                  </a:lnTo>
                  <a:lnTo>
                    <a:pt x="31" y="246"/>
                  </a:lnTo>
                  <a:lnTo>
                    <a:pt x="31" y="248"/>
                  </a:lnTo>
                  <a:lnTo>
                    <a:pt x="29" y="248"/>
                  </a:lnTo>
                  <a:lnTo>
                    <a:pt x="29" y="248"/>
                  </a:lnTo>
                  <a:lnTo>
                    <a:pt x="27" y="248"/>
                  </a:lnTo>
                  <a:lnTo>
                    <a:pt x="23" y="246"/>
                  </a:lnTo>
                  <a:lnTo>
                    <a:pt x="21" y="246"/>
                  </a:lnTo>
                  <a:lnTo>
                    <a:pt x="19" y="246"/>
                  </a:lnTo>
                  <a:lnTo>
                    <a:pt x="19" y="248"/>
                  </a:lnTo>
                  <a:lnTo>
                    <a:pt x="19" y="250"/>
                  </a:lnTo>
                  <a:lnTo>
                    <a:pt x="19" y="252"/>
                  </a:lnTo>
                  <a:lnTo>
                    <a:pt x="19" y="254"/>
                  </a:lnTo>
                  <a:lnTo>
                    <a:pt x="19" y="258"/>
                  </a:lnTo>
                  <a:lnTo>
                    <a:pt x="21" y="260"/>
                  </a:lnTo>
                  <a:lnTo>
                    <a:pt x="19" y="260"/>
                  </a:lnTo>
                  <a:lnTo>
                    <a:pt x="19" y="262"/>
                  </a:lnTo>
                  <a:lnTo>
                    <a:pt x="19" y="262"/>
                  </a:lnTo>
                  <a:lnTo>
                    <a:pt x="19" y="264"/>
                  </a:lnTo>
                  <a:lnTo>
                    <a:pt x="19" y="266"/>
                  </a:lnTo>
                  <a:lnTo>
                    <a:pt x="19" y="266"/>
                  </a:lnTo>
                  <a:lnTo>
                    <a:pt x="17" y="269"/>
                  </a:lnTo>
                  <a:lnTo>
                    <a:pt x="17" y="266"/>
                  </a:lnTo>
                  <a:lnTo>
                    <a:pt x="10" y="260"/>
                  </a:lnTo>
                  <a:lnTo>
                    <a:pt x="8" y="258"/>
                  </a:lnTo>
                  <a:lnTo>
                    <a:pt x="6" y="258"/>
                  </a:lnTo>
                  <a:lnTo>
                    <a:pt x="4" y="260"/>
                  </a:lnTo>
                  <a:lnTo>
                    <a:pt x="4" y="260"/>
                  </a:lnTo>
                  <a:lnTo>
                    <a:pt x="4" y="262"/>
                  </a:lnTo>
                  <a:lnTo>
                    <a:pt x="2" y="264"/>
                  </a:lnTo>
                  <a:lnTo>
                    <a:pt x="2" y="264"/>
                  </a:lnTo>
                  <a:lnTo>
                    <a:pt x="0" y="264"/>
                  </a:lnTo>
                  <a:lnTo>
                    <a:pt x="2" y="271"/>
                  </a:lnTo>
                  <a:lnTo>
                    <a:pt x="4" y="277"/>
                  </a:lnTo>
                  <a:lnTo>
                    <a:pt x="6" y="281"/>
                  </a:lnTo>
                  <a:lnTo>
                    <a:pt x="8" y="287"/>
                  </a:lnTo>
                  <a:lnTo>
                    <a:pt x="10" y="291"/>
                  </a:lnTo>
                  <a:lnTo>
                    <a:pt x="13" y="303"/>
                  </a:lnTo>
                  <a:lnTo>
                    <a:pt x="15" y="307"/>
                  </a:lnTo>
                  <a:lnTo>
                    <a:pt x="17" y="314"/>
                  </a:lnTo>
                  <a:lnTo>
                    <a:pt x="19" y="318"/>
                  </a:lnTo>
                  <a:lnTo>
                    <a:pt x="21" y="324"/>
                  </a:lnTo>
                  <a:lnTo>
                    <a:pt x="23" y="330"/>
                  </a:lnTo>
                  <a:lnTo>
                    <a:pt x="23" y="334"/>
                  </a:lnTo>
                  <a:lnTo>
                    <a:pt x="25" y="340"/>
                  </a:lnTo>
                  <a:lnTo>
                    <a:pt x="27" y="344"/>
                  </a:lnTo>
                  <a:lnTo>
                    <a:pt x="29" y="351"/>
                  </a:lnTo>
                  <a:lnTo>
                    <a:pt x="31" y="357"/>
                  </a:lnTo>
                  <a:lnTo>
                    <a:pt x="33" y="361"/>
                  </a:lnTo>
                  <a:lnTo>
                    <a:pt x="35" y="367"/>
                  </a:lnTo>
                  <a:lnTo>
                    <a:pt x="35" y="371"/>
                  </a:lnTo>
                  <a:lnTo>
                    <a:pt x="37" y="377"/>
                  </a:lnTo>
                  <a:lnTo>
                    <a:pt x="39" y="383"/>
                  </a:lnTo>
                  <a:lnTo>
                    <a:pt x="41" y="387"/>
                  </a:lnTo>
                  <a:lnTo>
                    <a:pt x="43" y="394"/>
                  </a:lnTo>
                  <a:lnTo>
                    <a:pt x="45" y="400"/>
                  </a:lnTo>
                  <a:lnTo>
                    <a:pt x="47" y="404"/>
                  </a:lnTo>
                  <a:lnTo>
                    <a:pt x="47" y="410"/>
                  </a:lnTo>
                  <a:lnTo>
                    <a:pt x="49" y="414"/>
                  </a:lnTo>
                  <a:lnTo>
                    <a:pt x="51" y="420"/>
                  </a:lnTo>
                  <a:lnTo>
                    <a:pt x="54" y="426"/>
                  </a:lnTo>
                  <a:lnTo>
                    <a:pt x="56" y="430"/>
                  </a:lnTo>
                  <a:lnTo>
                    <a:pt x="58" y="437"/>
                  </a:lnTo>
                  <a:lnTo>
                    <a:pt x="58" y="439"/>
                  </a:lnTo>
                  <a:lnTo>
                    <a:pt x="60" y="443"/>
                  </a:lnTo>
                  <a:lnTo>
                    <a:pt x="60" y="445"/>
                  </a:lnTo>
                  <a:lnTo>
                    <a:pt x="60" y="445"/>
                  </a:lnTo>
                  <a:lnTo>
                    <a:pt x="60" y="447"/>
                  </a:lnTo>
                  <a:lnTo>
                    <a:pt x="60" y="447"/>
                  </a:lnTo>
                  <a:lnTo>
                    <a:pt x="60" y="447"/>
                  </a:lnTo>
                  <a:lnTo>
                    <a:pt x="60" y="449"/>
                  </a:lnTo>
                  <a:lnTo>
                    <a:pt x="62" y="451"/>
                  </a:lnTo>
                  <a:lnTo>
                    <a:pt x="62" y="451"/>
                  </a:lnTo>
                  <a:lnTo>
                    <a:pt x="62" y="455"/>
                  </a:lnTo>
                  <a:lnTo>
                    <a:pt x="62" y="455"/>
                  </a:lnTo>
                  <a:lnTo>
                    <a:pt x="62" y="455"/>
                  </a:lnTo>
                  <a:lnTo>
                    <a:pt x="62" y="457"/>
                  </a:lnTo>
                  <a:lnTo>
                    <a:pt x="62" y="457"/>
                  </a:lnTo>
                  <a:lnTo>
                    <a:pt x="62" y="459"/>
                  </a:lnTo>
                  <a:lnTo>
                    <a:pt x="64" y="459"/>
                  </a:lnTo>
                  <a:lnTo>
                    <a:pt x="66" y="461"/>
                  </a:lnTo>
                  <a:lnTo>
                    <a:pt x="70" y="463"/>
                  </a:lnTo>
                  <a:lnTo>
                    <a:pt x="74" y="467"/>
                  </a:lnTo>
                  <a:lnTo>
                    <a:pt x="76" y="467"/>
                  </a:lnTo>
                  <a:lnTo>
                    <a:pt x="78" y="469"/>
                  </a:lnTo>
                  <a:lnTo>
                    <a:pt x="78" y="469"/>
                  </a:lnTo>
                  <a:lnTo>
                    <a:pt x="78" y="471"/>
                  </a:lnTo>
                  <a:lnTo>
                    <a:pt x="78" y="471"/>
                  </a:lnTo>
                  <a:lnTo>
                    <a:pt x="78" y="471"/>
                  </a:lnTo>
                  <a:lnTo>
                    <a:pt x="78" y="476"/>
                  </a:lnTo>
                  <a:lnTo>
                    <a:pt x="80" y="478"/>
                  </a:lnTo>
                  <a:lnTo>
                    <a:pt x="80" y="478"/>
                  </a:lnTo>
                  <a:lnTo>
                    <a:pt x="82" y="480"/>
                  </a:lnTo>
                  <a:lnTo>
                    <a:pt x="84" y="482"/>
                  </a:lnTo>
                  <a:lnTo>
                    <a:pt x="88" y="484"/>
                  </a:lnTo>
                  <a:lnTo>
                    <a:pt x="88" y="484"/>
                  </a:lnTo>
                  <a:lnTo>
                    <a:pt x="88" y="480"/>
                  </a:lnTo>
                  <a:lnTo>
                    <a:pt x="88" y="480"/>
                  </a:lnTo>
                  <a:lnTo>
                    <a:pt x="88" y="480"/>
                  </a:lnTo>
                  <a:lnTo>
                    <a:pt x="90" y="480"/>
                  </a:lnTo>
                  <a:lnTo>
                    <a:pt x="92" y="482"/>
                  </a:lnTo>
                  <a:lnTo>
                    <a:pt x="94" y="482"/>
                  </a:lnTo>
                  <a:lnTo>
                    <a:pt x="94" y="480"/>
                  </a:lnTo>
                  <a:lnTo>
                    <a:pt x="94" y="476"/>
                  </a:lnTo>
                  <a:lnTo>
                    <a:pt x="97" y="471"/>
                  </a:lnTo>
                  <a:lnTo>
                    <a:pt x="97" y="469"/>
                  </a:lnTo>
                  <a:lnTo>
                    <a:pt x="99" y="469"/>
                  </a:lnTo>
                  <a:lnTo>
                    <a:pt x="97" y="469"/>
                  </a:lnTo>
                  <a:lnTo>
                    <a:pt x="97" y="467"/>
                  </a:lnTo>
                  <a:lnTo>
                    <a:pt x="99" y="465"/>
                  </a:lnTo>
                  <a:lnTo>
                    <a:pt x="97" y="463"/>
                  </a:lnTo>
                  <a:lnTo>
                    <a:pt x="94" y="461"/>
                  </a:lnTo>
                  <a:lnTo>
                    <a:pt x="97" y="457"/>
                  </a:lnTo>
                  <a:lnTo>
                    <a:pt x="97" y="455"/>
                  </a:lnTo>
                  <a:lnTo>
                    <a:pt x="99" y="451"/>
                  </a:lnTo>
                  <a:lnTo>
                    <a:pt x="99" y="451"/>
                  </a:lnTo>
                  <a:lnTo>
                    <a:pt x="99" y="451"/>
                  </a:lnTo>
                  <a:lnTo>
                    <a:pt x="101" y="449"/>
                  </a:lnTo>
                  <a:lnTo>
                    <a:pt x="103" y="449"/>
                  </a:lnTo>
                  <a:lnTo>
                    <a:pt x="105" y="447"/>
                  </a:lnTo>
                  <a:lnTo>
                    <a:pt x="105" y="445"/>
                  </a:lnTo>
                  <a:lnTo>
                    <a:pt x="107" y="443"/>
                  </a:lnTo>
                  <a:lnTo>
                    <a:pt x="107" y="443"/>
                  </a:lnTo>
                  <a:lnTo>
                    <a:pt x="107" y="443"/>
                  </a:lnTo>
                  <a:lnTo>
                    <a:pt x="109" y="443"/>
                  </a:lnTo>
                  <a:lnTo>
                    <a:pt x="109" y="441"/>
                  </a:lnTo>
                  <a:lnTo>
                    <a:pt x="109" y="441"/>
                  </a:lnTo>
                  <a:lnTo>
                    <a:pt x="109" y="439"/>
                  </a:lnTo>
                  <a:lnTo>
                    <a:pt x="109" y="437"/>
                  </a:lnTo>
                  <a:lnTo>
                    <a:pt x="109" y="437"/>
                  </a:lnTo>
                  <a:lnTo>
                    <a:pt x="111" y="435"/>
                  </a:lnTo>
                  <a:lnTo>
                    <a:pt x="111" y="435"/>
                  </a:lnTo>
                  <a:lnTo>
                    <a:pt x="109" y="435"/>
                  </a:lnTo>
                  <a:lnTo>
                    <a:pt x="109" y="435"/>
                  </a:lnTo>
                  <a:lnTo>
                    <a:pt x="107" y="437"/>
                  </a:lnTo>
                  <a:lnTo>
                    <a:pt x="107" y="435"/>
                  </a:lnTo>
                  <a:lnTo>
                    <a:pt x="107" y="432"/>
                  </a:lnTo>
                  <a:lnTo>
                    <a:pt x="105" y="430"/>
                  </a:lnTo>
                  <a:lnTo>
                    <a:pt x="107" y="428"/>
                  </a:lnTo>
                  <a:lnTo>
                    <a:pt x="107" y="426"/>
                  </a:lnTo>
                  <a:lnTo>
                    <a:pt x="107" y="424"/>
                  </a:lnTo>
                  <a:lnTo>
                    <a:pt x="109" y="424"/>
                  </a:lnTo>
                  <a:lnTo>
                    <a:pt x="109" y="426"/>
                  </a:lnTo>
                  <a:lnTo>
                    <a:pt x="111" y="426"/>
                  </a:lnTo>
                  <a:lnTo>
                    <a:pt x="111" y="424"/>
                  </a:lnTo>
                  <a:lnTo>
                    <a:pt x="113" y="422"/>
                  </a:lnTo>
                  <a:lnTo>
                    <a:pt x="113" y="422"/>
                  </a:lnTo>
                  <a:lnTo>
                    <a:pt x="113" y="424"/>
                  </a:lnTo>
                  <a:lnTo>
                    <a:pt x="113" y="424"/>
                  </a:lnTo>
                  <a:lnTo>
                    <a:pt x="115" y="422"/>
                  </a:lnTo>
                  <a:lnTo>
                    <a:pt x="117" y="422"/>
                  </a:lnTo>
                  <a:lnTo>
                    <a:pt x="117" y="420"/>
                  </a:lnTo>
                  <a:lnTo>
                    <a:pt x="117" y="418"/>
                  </a:lnTo>
                  <a:lnTo>
                    <a:pt x="115" y="416"/>
                  </a:lnTo>
                  <a:lnTo>
                    <a:pt x="115" y="414"/>
                  </a:lnTo>
                  <a:lnTo>
                    <a:pt x="113" y="414"/>
                  </a:lnTo>
                  <a:lnTo>
                    <a:pt x="111" y="414"/>
                  </a:lnTo>
                  <a:lnTo>
                    <a:pt x="109" y="414"/>
                  </a:lnTo>
                  <a:lnTo>
                    <a:pt x="107" y="414"/>
                  </a:lnTo>
                  <a:lnTo>
                    <a:pt x="111" y="414"/>
                  </a:lnTo>
                  <a:lnTo>
                    <a:pt x="111" y="412"/>
                  </a:lnTo>
                  <a:lnTo>
                    <a:pt x="111" y="412"/>
                  </a:lnTo>
                  <a:lnTo>
                    <a:pt x="111" y="410"/>
                  </a:lnTo>
                  <a:lnTo>
                    <a:pt x="111" y="410"/>
                  </a:lnTo>
                  <a:lnTo>
                    <a:pt x="111" y="408"/>
                  </a:lnTo>
                  <a:lnTo>
                    <a:pt x="113" y="406"/>
                  </a:lnTo>
                  <a:lnTo>
                    <a:pt x="113" y="402"/>
                  </a:lnTo>
                  <a:lnTo>
                    <a:pt x="115" y="400"/>
                  </a:lnTo>
                  <a:lnTo>
                    <a:pt x="117" y="394"/>
                  </a:lnTo>
                  <a:lnTo>
                    <a:pt x="117" y="394"/>
                  </a:lnTo>
                  <a:lnTo>
                    <a:pt x="119" y="394"/>
                  </a:lnTo>
                  <a:lnTo>
                    <a:pt x="119" y="394"/>
                  </a:lnTo>
                  <a:lnTo>
                    <a:pt x="121" y="391"/>
                  </a:lnTo>
                  <a:lnTo>
                    <a:pt x="121" y="391"/>
                  </a:lnTo>
                  <a:lnTo>
                    <a:pt x="123" y="389"/>
                  </a:lnTo>
                  <a:lnTo>
                    <a:pt x="123" y="387"/>
                  </a:lnTo>
                  <a:lnTo>
                    <a:pt x="123" y="387"/>
                  </a:lnTo>
                  <a:lnTo>
                    <a:pt x="125" y="385"/>
                  </a:lnTo>
                  <a:lnTo>
                    <a:pt x="125" y="387"/>
                  </a:lnTo>
                  <a:lnTo>
                    <a:pt x="125" y="389"/>
                  </a:lnTo>
                  <a:lnTo>
                    <a:pt x="123" y="389"/>
                  </a:lnTo>
                  <a:lnTo>
                    <a:pt x="123" y="389"/>
                  </a:lnTo>
                  <a:lnTo>
                    <a:pt x="125" y="389"/>
                  </a:lnTo>
                  <a:lnTo>
                    <a:pt x="127" y="387"/>
                  </a:lnTo>
                  <a:lnTo>
                    <a:pt x="127" y="387"/>
                  </a:lnTo>
                  <a:lnTo>
                    <a:pt x="127" y="389"/>
                  </a:lnTo>
                  <a:lnTo>
                    <a:pt x="125" y="396"/>
                  </a:lnTo>
                  <a:lnTo>
                    <a:pt x="125" y="400"/>
                  </a:lnTo>
                  <a:lnTo>
                    <a:pt x="127" y="400"/>
                  </a:lnTo>
                  <a:lnTo>
                    <a:pt x="127" y="398"/>
                  </a:lnTo>
                  <a:lnTo>
                    <a:pt x="127" y="396"/>
                  </a:lnTo>
                  <a:lnTo>
                    <a:pt x="127" y="394"/>
                  </a:lnTo>
                  <a:lnTo>
                    <a:pt x="127" y="391"/>
                  </a:lnTo>
                  <a:lnTo>
                    <a:pt x="129" y="389"/>
                  </a:lnTo>
                  <a:lnTo>
                    <a:pt x="129" y="387"/>
                  </a:lnTo>
                  <a:lnTo>
                    <a:pt x="129" y="385"/>
                  </a:lnTo>
                  <a:lnTo>
                    <a:pt x="131" y="387"/>
                  </a:lnTo>
                  <a:lnTo>
                    <a:pt x="129" y="400"/>
                  </a:lnTo>
                  <a:lnTo>
                    <a:pt x="129" y="400"/>
                  </a:lnTo>
                  <a:lnTo>
                    <a:pt x="129" y="400"/>
                  </a:lnTo>
                  <a:lnTo>
                    <a:pt x="129" y="400"/>
                  </a:lnTo>
                  <a:lnTo>
                    <a:pt x="129" y="398"/>
                  </a:lnTo>
                  <a:lnTo>
                    <a:pt x="129" y="398"/>
                  </a:lnTo>
                  <a:lnTo>
                    <a:pt x="129" y="396"/>
                  </a:lnTo>
                  <a:lnTo>
                    <a:pt x="131" y="396"/>
                  </a:lnTo>
                  <a:lnTo>
                    <a:pt x="133" y="391"/>
                  </a:lnTo>
                  <a:lnTo>
                    <a:pt x="133" y="391"/>
                  </a:lnTo>
                  <a:lnTo>
                    <a:pt x="133" y="391"/>
                  </a:lnTo>
                  <a:lnTo>
                    <a:pt x="135" y="389"/>
                  </a:lnTo>
                  <a:lnTo>
                    <a:pt x="135" y="389"/>
                  </a:lnTo>
                  <a:lnTo>
                    <a:pt x="135" y="387"/>
                  </a:lnTo>
                  <a:lnTo>
                    <a:pt x="133" y="385"/>
                  </a:lnTo>
                  <a:lnTo>
                    <a:pt x="133" y="385"/>
                  </a:lnTo>
                  <a:lnTo>
                    <a:pt x="131" y="385"/>
                  </a:lnTo>
                  <a:lnTo>
                    <a:pt x="131" y="383"/>
                  </a:lnTo>
                  <a:lnTo>
                    <a:pt x="133" y="383"/>
                  </a:lnTo>
                  <a:lnTo>
                    <a:pt x="133" y="383"/>
                  </a:lnTo>
                  <a:lnTo>
                    <a:pt x="133" y="383"/>
                  </a:lnTo>
                  <a:lnTo>
                    <a:pt x="135" y="383"/>
                  </a:lnTo>
                  <a:lnTo>
                    <a:pt x="135" y="383"/>
                  </a:lnTo>
                  <a:lnTo>
                    <a:pt x="135" y="383"/>
                  </a:lnTo>
                  <a:lnTo>
                    <a:pt x="135" y="385"/>
                  </a:lnTo>
                  <a:lnTo>
                    <a:pt x="135" y="385"/>
                  </a:lnTo>
                  <a:lnTo>
                    <a:pt x="137" y="387"/>
                  </a:lnTo>
                  <a:lnTo>
                    <a:pt x="137" y="387"/>
                  </a:lnTo>
                  <a:lnTo>
                    <a:pt x="137" y="389"/>
                  </a:lnTo>
                  <a:lnTo>
                    <a:pt x="137" y="389"/>
                  </a:lnTo>
                  <a:lnTo>
                    <a:pt x="137" y="389"/>
                  </a:lnTo>
                  <a:lnTo>
                    <a:pt x="137" y="389"/>
                  </a:lnTo>
                  <a:lnTo>
                    <a:pt x="137" y="394"/>
                  </a:lnTo>
                  <a:lnTo>
                    <a:pt x="137" y="394"/>
                  </a:lnTo>
                  <a:lnTo>
                    <a:pt x="140" y="396"/>
                  </a:lnTo>
                  <a:lnTo>
                    <a:pt x="140" y="396"/>
                  </a:lnTo>
                  <a:lnTo>
                    <a:pt x="142" y="398"/>
                  </a:lnTo>
                  <a:lnTo>
                    <a:pt x="142" y="400"/>
                  </a:lnTo>
                  <a:lnTo>
                    <a:pt x="142" y="398"/>
                  </a:lnTo>
                  <a:lnTo>
                    <a:pt x="142" y="398"/>
                  </a:lnTo>
                  <a:lnTo>
                    <a:pt x="144" y="396"/>
                  </a:lnTo>
                  <a:lnTo>
                    <a:pt x="144" y="396"/>
                  </a:lnTo>
                  <a:lnTo>
                    <a:pt x="144" y="394"/>
                  </a:lnTo>
                  <a:lnTo>
                    <a:pt x="144" y="391"/>
                  </a:lnTo>
                  <a:lnTo>
                    <a:pt x="144" y="391"/>
                  </a:lnTo>
                  <a:lnTo>
                    <a:pt x="142" y="389"/>
                  </a:lnTo>
                  <a:lnTo>
                    <a:pt x="140" y="385"/>
                  </a:lnTo>
                  <a:lnTo>
                    <a:pt x="140" y="383"/>
                  </a:lnTo>
                  <a:lnTo>
                    <a:pt x="135" y="375"/>
                  </a:lnTo>
                  <a:lnTo>
                    <a:pt x="133" y="371"/>
                  </a:lnTo>
                  <a:lnTo>
                    <a:pt x="133" y="373"/>
                  </a:lnTo>
                  <a:lnTo>
                    <a:pt x="133" y="373"/>
                  </a:lnTo>
                  <a:lnTo>
                    <a:pt x="131" y="375"/>
                  </a:lnTo>
                  <a:lnTo>
                    <a:pt x="131" y="375"/>
                  </a:lnTo>
                  <a:lnTo>
                    <a:pt x="129" y="373"/>
                  </a:lnTo>
                  <a:lnTo>
                    <a:pt x="129" y="373"/>
                  </a:lnTo>
                  <a:lnTo>
                    <a:pt x="129" y="371"/>
                  </a:lnTo>
                  <a:lnTo>
                    <a:pt x="133" y="365"/>
                  </a:lnTo>
                  <a:lnTo>
                    <a:pt x="133" y="365"/>
                  </a:lnTo>
                  <a:lnTo>
                    <a:pt x="135" y="363"/>
                  </a:lnTo>
                  <a:lnTo>
                    <a:pt x="135" y="363"/>
                  </a:lnTo>
                  <a:lnTo>
                    <a:pt x="135" y="361"/>
                  </a:lnTo>
                  <a:lnTo>
                    <a:pt x="137" y="363"/>
                  </a:lnTo>
                  <a:lnTo>
                    <a:pt x="135" y="363"/>
                  </a:lnTo>
                  <a:lnTo>
                    <a:pt x="135" y="365"/>
                  </a:lnTo>
                  <a:lnTo>
                    <a:pt x="135" y="367"/>
                  </a:lnTo>
                  <a:lnTo>
                    <a:pt x="135" y="371"/>
                  </a:lnTo>
                  <a:lnTo>
                    <a:pt x="135" y="371"/>
                  </a:lnTo>
                  <a:lnTo>
                    <a:pt x="137" y="373"/>
                  </a:lnTo>
                  <a:lnTo>
                    <a:pt x="137" y="375"/>
                  </a:lnTo>
                  <a:lnTo>
                    <a:pt x="137" y="375"/>
                  </a:lnTo>
                  <a:lnTo>
                    <a:pt x="137" y="377"/>
                  </a:lnTo>
                  <a:lnTo>
                    <a:pt x="140" y="379"/>
                  </a:lnTo>
                  <a:lnTo>
                    <a:pt x="140" y="379"/>
                  </a:lnTo>
                  <a:lnTo>
                    <a:pt x="140" y="381"/>
                  </a:lnTo>
                  <a:lnTo>
                    <a:pt x="142" y="381"/>
                  </a:lnTo>
                  <a:lnTo>
                    <a:pt x="144" y="387"/>
                  </a:lnTo>
                  <a:lnTo>
                    <a:pt x="144" y="387"/>
                  </a:lnTo>
                  <a:lnTo>
                    <a:pt x="144" y="387"/>
                  </a:lnTo>
                  <a:lnTo>
                    <a:pt x="144" y="387"/>
                  </a:lnTo>
                  <a:lnTo>
                    <a:pt x="144" y="387"/>
                  </a:lnTo>
                  <a:lnTo>
                    <a:pt x="144" y="387"/>
                  </a:lnTo>
                  <a:lnTo>
                    <a:pt x="144" y="387"/>
                  </a:lnTo>
                  <a:lnTo>
                    <a:pt x="144" y="387"/>
                  </a:lnTo>
                  <a:lnTo>
                    <a:pt x="144" y="389"/>
                  </a:lnTo>
                  <a:lnTo>
                    <a:pt x="146" y="391"/>
                  </a:lnTo>
                  <a:lnTo>
                    <a:pt x="146" y="391"/>
                  </a:lnTo>
                  <a:lnTo>
                    <a:pt x="148" y="389"/>
                  </a:lnTo>
                  <a:lnTo>
                    <a:pt x="148" y="383"/>
                  </a:lnTo>
                  <a:lnTo>
                    <a:pt x="148" y="381"/>
                  </a:lnTo>
                  <a:lnTo>
                    <a:pt x="146" y="381"/>
                  </a:lnTo>
                  <a:lnTo>
                    <a:pt x="146" y="383"/>
                  </a:lnTo>
                  <a:lnTo>
                    <a:pt x="146" y="385"/>
                  </a:lnTo>
                  <a:lnTo>
                    <a:pt x="146" y="385"/>
                  </a:lnTo>
                  <a:lnTo>
                    <a:pt x="146" y="383"/>
                  </a:lnTo>
                  <a:lnTo>
                    <a:pt x="146" y="381"/>
                  </a:lnTo>
                  <a:lnTo>
                    <a:pt x="144" y="379"/>
                  </a:lnTo>
                  <a:lnTo>
                    <a:pt x="144" y="379"/>
                  </a:lnTo>
                  <a:lnTo>
                    <a:pt x="142" y="379"/>
                  </a:lnTo>
                  <a:lnTo>
                    <a:pt x="142" y="379"/>
                  </a:lnTo>
                  <a:lnTo>
                    <a:pt x="142" y="377"/>
                  </a:lnTo>
                  <a:lnTo>
                    <a:pt x="146" y="365"/>
                  </a:lnTo>
                  <a:lnTo>
                    <a:pt x="148" y="363"/>
                  </a:lnTo>
                  <a:lnTo>
                    <a:pt x="148" y="363"/>
                  </a:lnTo>
                  <a:lnTo>
                    <a:pt x="150" y="361"/>
                  </a:lnTo>
                  <a:lnTo>
                    <a:pt x="150" y="363"/>
                  </a:lnTo>
                  <a:lnTo>
                    <a:pt x="148" y="363"/>
                  </a:lnTo>
                  <a:lnTo>
                    <a:pt x="148" y="365"/>
                  </a:lnTo>
                  <a:lnTo>
                    <a:pt x="148" y="369"/>
                  </a:lnTo>
                  <a:lnTo>
                    <a:pt x="148" y="369"/>
                  </a:lnTo>
                  <a:lnTo>
                    <a:pt x="148" y="371"/>
                  </a:lnTo>
                  <a:lnTo>
                    <a:pt x="150" y="371"/>
                  </a:lnTo>
                  <a:lnTo>
                    <a:pt x="150" y="371"/>
                  </a:lnTo>
                  <a:lnTo>
                    <a:pt x="152" y="373"/>
                  </a:lnTo>
                  <a:lnTo>
                    <a:pt x="152" y="373"/>
                  </a:lnTo>
                  <a:lnTo>
                    <a:pt x="150" y="373"/>
                  </a:lnTo>
                  <a:lnTo>
                    <a:pt x="150" y="373"/>
                  </a:lnTo>
                  <a:lnTo>
                    <a:pt x="150" y="373"/>
                  </a:lnTo>
                  <a:lnTo>
                    <a:pt x="150" y="375"/>
                  </a:lnTo>
                  <a:lnTo>
                    <a:pt x="150" y="375"/>
                  </a:lnTo>
                  <a:lnTo>
                    <a:pt x="150" y="375"/>
                  </a:lnTo>
                  <a:lnTo>
                    <a:pt x="150" y="379"/>
                  </a:lnTo>
                  <a:lnTo>
                    <a:pt x="150" y="379"/>
                  </a:lnTo>
                  <a:lnTo>
                    <a:pt x="150" y="379"/>
                  </a:lnTo>
                  <a:lnTo>
                    <a:pt x="152" y="381"/>
                  </a:lnTo>
                  <a:lnTo>
                    <a:pt x="154" y="381"/>
                  </a:lnTo>
                  <a:lnTo>
                    <a:pt x="154" y="381"/>
                  </a:lnTo>
                  <a:lnTo>
                    <a:pt x="156" y="379"/>
                  </a:lnTo>
                  <a:lnTo>
                    <a:pt x="156" y="383"/>
                  </a:lnTo>
                  <a:lnTo>
                    <a:pt x="158" y="383"/>
                  </a:lnTo>
                  <a:lnTo>
                    <a:pt x="158" y="381"/>
                  </a:lnTo>
                  <a:lnTo>
                    <a:pt x="158" y="379"/>
                  </a:lnTo>
                  <a:lnTo>
                    <a:pt x="156" y="377"/>
                  </a:lnTo>
                  <a:lnTo>
                    <a:pt x="156" y="377"/>
                  </a:lnTo>
                  <a:lnTo>
                    <a:pt x="154" y="375"/>
                  </a:lnTo>
                  <a:lnTo>
                    <a:pt x="154" y="375"/>
                  </a:lnTo>
                  <a:lnTo>
                    <a:pt x="154" y="373"/>
                  </a:lnTo>
                  <a:lnTo>
                    <a:pt x="154" y="373"/>
                  </a:lnTo>
                  <a:lnTo>
                    <a:pt x="154" y="373"/>
                  </a:lnTo>
                  <a:lnTo>
                    <a:pt x="154" y="373"/>
                  </a:lnTo>
                  <a:lnTo>
                    <a:pt x="154" y="371"/>
                  </a:lnTo>
                  <a:lnTo>
                    <a:pt x="154" y="371"/>
                  </a:lnTo>
                  <a:lnTo>
                    <a:pt x="154" y="369"/>
                  </a:lnTo>
                  <a:lnTo>
                    <a:pt x="154" y="369"/>
                  </a:lnTo>
                  <a:lnTo>
                    <a:pt x="154" y="367"/>
                  </a:lnTo>
                  <a:lnTo>
                    <a:pt x="154" y="367"/>
                  </a:lnTo>
                  <a:lnTo>
                    <a:pt x="154" y="363"/>
                  </a:lnTo>
                  <a:lnTo>
                    <a:pt x="154" y="361"/>
                  </a:lnTo>
                  <a:lnTo>
                    <a:pt x="156" y="361"/>
                  </a:lnTo>
                  <a:lnTo>
                    <a:pt x="156" y="363"/>
                  </a:lnTo>
                  <a:lnTo>
                    <a:pt x="156" y="367"/>
                  </a:lnTo>
                  <a:lnTo>
                    <a:pt x="156" y="369"/>
                  </a:lnTo>
                  <a:lnTo>
                    <a:pt x="156" y="369"/>
                  </a:lnTo>
                  <a:lnTo>
                    <a:pt x="156" y="371"/>
                  </a:lnTo>
                  <a:lnTo>
                    <a:pt x="156" y="371"/>
                  </a:lnTo>
                  <a:lnTo>
                    <a:pt x="156" y="371"/>
                  </a:lnTo>
                  <a:lnTo>
                    <a:pt x="156" y="373"/>
                  </a:lnTo>
                  <a:lnTo>
                    <a:pt x="156" y="373"/>
                  </a:lnTo>
                  <a:lnTo>
                    <a:pt x="156" y="375"/>
                  </a:lnTo>
                  <a:lnTo>
                    <a:pt x="156" y="375"/>
                  </a:lnTo>
                  <a:lnTo>
                    <a:pt x="158" y="377"/>
                  </a:lnTo>
                  <a:lnTo>
                    <a:pt x="158" y="377"/>
                  </a:lnTo>
                  <a:lnTo>
                    <a:pt x="158" y="379"/>
                  </a:lnTo>
                  <a:lnTo>
                    <a:pt x="160" y="379"/>
                  </a:lnTo>
                  <a:lnTo>
                    <a:pt x="158" y="377"/>
                  </a:lnTo>
                  <a:lnTo>
                    <a:pt x="158" y="375"/>
                  </a:lnTo>
                  <a:lnTo>
                    <a:pt x="158" y="373"/>
                  </a:lnTo>
                  <a:lnTo>
                    <a:pt x="158" y="373"/>
                  </a:lnTo>
                  <a:lnTo>
                    <a:pt x="160" y="375"/>
                  </a:lnTo>
                  <a:lnTo>
                    <a:pt x="160" y="375"/>
                  </a:lnTo>
                  <a:lnTo>
                    <a:pt x="162" y="377"/>
                  </a:lnTo>
                  <a:lnTo>
                    <a:pt x="162" y="379"/>
                  </a:lnTo>
                  <a:lnTo>
                    <a:pt x="164" y="377"/>
                  </a:lnTo>
                  <a:lnTo>
                    <a:pt x="164" y="373"/>
                  </a:lnTo>
                  <a:lnTo>
                    <a:pt x="164" y="365"/>
                  </a:lnTo>
                  <a:lnTo>
                    <a:pt x="164" y="363"/>
                  </a:lnTo>
                  <a:lnTo>
                    <a:pt x="164" y="361"/>
                  </a:lnTo>
                  <a:lnTo>
                    <a:pt x="164" y="361"/>
                  </a:lnTo>
                  <a:lnTo>
                    <a:pt x="166" y="361"/>
                  </a:lnTo>
                  <a:lnTo>
                    <a:pt x="166" y="359"/>
                  </a:lnTo>
                  <a:lnTo>
                    <a:pt x="166" y="357"/>
                  </a:lnTo>
                  <a:lnTo>
                    <a:pt x="166" y="357"/>
                  </a:lnTo>
                  <a:lnTo>
                    <a:pt x="166" y="355"/>
                  </a:lnTo>
                  <a:lnTo>
                    <a:pt x="168" y="355"/>
                  </a:lnTo>
                  <a:lnTo>
                    <a:pt x="168" y="353"/>
                  </a:lnTo>
                  <a:lnTo>
                    <a:pt x="168" y="353"/>
                  </a:lnTo>
                  <a:lnTo>
                    <a:pt x="168" y="353"/>
                  </a:lnTo>
                  <a:lnTo>
                    <a:pt x="168" y="355"/>
                  </a:lnTo>
                  <a:lnTo>
                    <a:pt x="168" y="357"/>
                  </a:lnTo>
                  <a:lnTo>
                    <a:pt x="168" y="357"/>
                  </a:lnTo>
                  <a:lnTo>
                    <a:pt x="170" y="357"/>
                  </a:lnTo>
                  <a:lnTo>
                    <a:pt x="170" y="357"/>
                  </a:lnTo>
                  <a:lnTo>
                    <a:pt x="170" y="359"/>
                  </a:lnTo>
                  <a:lnTo>
                    <a:pt x="170" y="361"/>
                  </a:lnTo>
                  <a:lnTo>
                    <a:pt x="170" y="361"/>
                  </a:lnTo>
                  <a:lnTo>
                    <a:pt x="172" y="359"/>
                  </a:lnTo>
                  <a:lnTo>
                    <a:pt x="172" y="359"/>
                  </a:lnTo>
                  <a:lnTo>
                    <a:pt x="174" y="359"/>
                  </a:lnTo>
                  <a:lnTo>
                    <a:pt x="174" y="363"/>
                  </a:lnTo>
                  <a:lnTo>
                    <a:pt x="174" y="363"/>
                  </a:lnTo>
                  <a:lnTo>
                    <a:pt x="176" y="363"/>
                  </a:lnTo>
                  <a:lnTo>
                    <a:pt x="178" y="355"/>
                  </a:lnTo>
                  <a:lnTo>
                    <a:pt x="180" y="355"/>
                  </a:lnTo>
                  <a:lnTo>
                    <a:pt x="180" y="357"/>
                  </a:lnTo>
                  <a:lnTo>
                    <a:pt x="178" y="361"/>
                  </a:lnTo>
                  <a:lnTo>
                    <a:pt x="178" y="363"/>
                  </a:lnTo>
                  <a:lnTo>
                    <a:pt x="178" y="363"/>
                  </a:lnTo>
                  <a:lnTo>
                    <a:pt x="180" y="363"/>
                  </a:lnTo>
                  <a:lnTo>
                    <a:pt x="180" y="363"/>
                  </a:lnTo>
                  <a:lnTo>
                    <a:pt x="185" y="361"/>
                  </a:lnTo>
                  <a:lnTo>
                    <a:pt x="183" y="359"/>
                  </a:lnTo>
                  <a:lnTo>
                    <a:pt x="183" y="359"/>
                  </a:lnTo>
                  <a:lnTo>
                    <a:pt x="183" y="357"/>
                  </a:lnTo>
                  <a:lnTo>
                    <a:pt x="183" y="357"/>
                  </a:lnTo>
                  <a:lnTo>
                    <a:pt x="183" y="357"/>
                  </a:lnTo>
                  <a:lnTo>
                    <a:pt x="185" y="355"/>
                  </a:lnTo>
                  <a:lnTo>
                    <a:pt x="185" y="355"/>
                  </a:lnTo>
                  <a:lnTo>
                    <a:pt x="185" y="355"/>
                  </a:lnTo>
                  <a:lnTo>
                    <a:pt x="187" y="355"/>
                  </a:lnTo>
                  <a:lnTo>
                    <a:pt x="187" y="353"/>
                  </a:lnTo>
                  <a:lnTo>
                    <a:pt x="187" y="351"/>
                  </a:lnTo>
                  <a:lnTo>
                    <a:pt x="187" y="348"/>
                  </a:lnTo>
                  <a:lnTo>
                    <a:pt x="189" y="348"/>
                  </a:lnTo>
                  <a:lnTo>
                    <a:pt x="191" y="346"/>
                  </a:lnTo>
                  <a:lnTo>
                    <a:pt x="191" y="344"/>
                  </a:lnTo>
                  <a:lnTo>
                    <a:pt x="191" y="342"/>
                  </a:lnTo>
                  <a:lnTo>
                    <a:pt x="189" y="344"/>
                  </a:lnTo>
                  <a:lnTo>
                    <a:pt x="187" y="342"/>
                  </a:lnTo>
                  <a:lnTo>
                    <a:pt x="187" y="340"/>
                  </a:lnTo>
                  <a:lnTo>
                    <a:pt x="187" y="340"/>
                  </a:lnTo>
                  <a:lnTo>
                    <a:pt x="187" y="338"/>
                  </a:lnTo>
                  <a:lnTo>
                    <a:pt x="187" y="338"/>
                  </a:lnTo>
                  <a:lnTo>
                    <a:pt x="187" y="336"/>
                  </a:lnTo>
                  <a:lnTo>
                    <a:pt x="187" y="334"/>
                  </a:lnTo>
                  <a:lnTo>
                    <a:pt x="187" y="328"/>
                  </a:lnTo>
                  <a:lnTo>
                    <a:pt x="189" y="326"/>
                  </a:lnTo>
                  <a:lnTo>
                    <a:pt x="189" y="322"/>
                  </a:lnTo>
                  <a:lnTo>
                    <a:pt x="189" y="320"/>
                  </a:lnTo>
                  <a:lnTo>
                    <a:pt x="191" y="320"/>
                  </a:lnTo>
                  <a:lnTo>
                    <a:pt x="193" y="318"/>
                  </a:lnTo>
                  <a:lnTo>
                    <a:pt x="193" y="316"/>
                  </a:lnTo>
                  <a:lnTo>
                    <a:pt x="191" y="314"/>
                  </a:lnTo>
                  <a:lnTo>
                    <a:pt x="189" y="312"/>
                  </a:lnTo>
                  <a:lnTo>
                    <a:pt x="187" y="310"/>
                  </a:lnTo>
                  <a:lnTo>
                    <a:pt x="187" y="310"/>
                  </a:lnTo>
                  <a:lnTo>
                    <a:pt x="187" y="310"/>
                  </a:lnTo>
                  <a:lnTo>
                    <a:pt x="187" y="307"/>
                  </a:lnTo>
                  <a:lnTo>
                    <a:pt x="187" y="305"/>
                  </a:lnTo>
                  <a:lnTo>
                    <a:pt x="191" y="303"/>
                  </a:lnTo>
                  <a:lnTo>
                    <a:pt x="191" y="303"/>
                  </a:lnTo>
                  <a:lnTo>
                    <a:pt x="193" y="301"/>
                  </a:lnTo>
                  <a:lnTo>
                    <a:pt x="193" y="299"/>
                  </a:lnTo>
                  <a:lnTo>
                    <a:pt x="195" y="299"/>
                  </a:lnTo>
                  <a:lnTo>
                    <a:pt x="195" y="301"/>
                  </a:lnTo>
                  <a:lnTo>
                    <a:pt x="195" y="301"/>
                  </a:lnTo>
                  <a:lnTo>
                    <a:pt x="197" y="301"/>
                  </a:lnTo>
                  <a:lnTo>
                    <a:pt x="199" y="299"/>
                  </a:lnTo>
                  <a:lnTo>
                    <a:pt x="197" y="299"/>
                  </a:lnTo>
                  <a:lnTo>
                    <a:pt x="197" y="299"/>
                  </a:lnTo>
                  <a:lnTo>
                    <a:pt x="197" y="293"/>
                  </a:lnTo>
                  <a:lnTo>
                    <a:pt x="197" y="289"/>
                  </a:lnTo>
                  <a:lnTo>
                    <a:pt x="197" y="289"/>
                  </a:lnTo>
                  <a:lnTo>
                    <a:pt x="197" y="289"/>
                  </a:lnTo>
                  <a:lnTo>
                    <a:pt x="201" y="289"/>
                  </a:lnTo>
                  <a:lnTo>
                    <a:pt x="201" y="291"/>
                  </a:lnTo>
                  <a:lnTo>
                    <a:pt x="201" y="297"/>
                  </a:lnTo>
                  <a:lnTo>
                    <a:pt x="201" y="297"/>
                  </a:lnTo>
                  <a:lnTo>
                    <a:pt x="201" y="299"/>
                  </a:lnTo>
                  <a:lnTo>
                    <a:pt x="201" y="299"/>
                  </a:lnTo>
                  <a:lnTo>
                    <a:pt x="201" y="299"/>
                  </a:lnTo>
                  <a:lnTo>
                    <a:pt x="199" y="301"/>
                  </a:lnTo>
                  <a:lnTo>
                    <a:pt x="199" y="301"/>
                  </a:lnTo>
                  <a:lnTo>
                    <a:pt x="199" y="303"/>
                  </a:lnTo>
                  <a:lnTo>
                    <a:pt x="199" y="305"/>
                  </a:lnTo>
                  <a:lnTo>
                    <a:pt x="199" y="305"/>
                  </a:lnTo>
                  <a:lnTo>
                    <a:pt x="201" y="307"/>
                  </a:lnTo>
                  <a:lnTo>
                    <a:pt x="201" y="307"/>
                  </a:lnTo>
                  <a:lnTo>
                    <a:pt x="201" y="305"/>
                  </a:lnTo>
                  <a:lnTo>
                    <a:pt x="203" y="303"/>
                  </a:lnTo>
                  <a:lnTo>
                    <a:pt x="203" y="301"/>
                  </a:lnTo>
                  <a:lnTo>
                    <a:pt x="205" y="299"/>
                  </a:lnTo>
                  <a:lnTo>
                    <a:pt x="207" y="301"/>
                  </a:lnTo>
                  <a:lnTo>
                    <a:pt x="209" y="303"/>
                  </a:lnTo>
                  <a:lnTo>
                    <a:pt x="207" y="303"/>
                  </a:lnTo>
                  <a:lnTo>
                    <a:pt x="207" y="303"/>
                  </a:lnTo>
                  <a:lnTo>
                    <a:pt x="205" y="303"/>
                  </a:lnTo>
                  <a:lnTo>
                    <a:pt x="205" y="303"/>
                  </a:lnTo>
                  <a:lnTo>
                    <a:pt x="205" y="303"/>
                  </a:lnTo>
                  <a:lnTo>
                    <a:pt x="203" y="305"/>
                  </a:lnTo>
                  <a:lnTo>
                    <a:pt x="205" y="305"/>
                  </a:lnTo>
                  <a:lnTo>
                    <a:pt x="205" y="307"/>
                  </a:lnTo>
                  <a:lnTo>
                    <a:pt x="205" y="307"/>
                  </a:lnTo>
                  <a:lnTo>
                    <a:pt x="205" y="310"/>
                  </a:lnTo>
                  <a:lnTo>
                    <a:pt x="203" y="310"/>
                  </a:lnTo>
                  <a:lnTo>
                    <a:pt x="203" y="307"/>
                  </a:lnTo>
                  <a:lnTo>
                    <a:pt x="203" y="307"/>
                  </a:lnTo>
                  <a:lnTo>
                    <a:pt x="201" y="310"/>
                  </a:lnTo>
                  <a:lnTo>
                    <a:pt x="201" y="312"/>
                  </a:lnTo>
                  <a:lnTo>
                    <a:pt x="201" y="316"/>
                  </a:lnTo>
                  <a:lnTo>
                    <a:pt x="203" y="314"/>
                  </a:lnTo>
                  <a:lnTo>
                    <a:pt x="205" y="312"/>
                  </a:lnTo>
                  <a:lnTo>
                    <a:pt x="207" y="312"/>
                  </a:lnTo>
                  <a:lnTo>
                    <a:pt x="211" y="314"/>
                  </a:lnTo>
                  <a:lnTo>
                    <a:pt x="213" y="314"/>
                  </a:lnTo>
                  <a:lnTo>
                    <a:pt x="213" y="314"/>
                  </a:lnTo>
                  <a:lnTo>
                    <a:pt x="217" y="314"/>
                  </a:lnTo>
                  <a:lnTo>
                    <a:pt x="226" y="316"/>
                  </a:lnTo>
                  <a:lnTo>
                    <a:pt x="228" y="316"/>
                  </a:lnTo>
                  <a:lnTo>
                    <a:pt x="226" y="316"/>
                  </a:lnTo>
                  <a:lnTo>
                    <a:pt x="226" y="314"/>
                  </a:lnTo>
                  <a:lnTo>
                    <a:pt x="226" y="314"/>
                  </a:lnTo>
                  <a:lnTo>
                    <a:pt x="223" y="314"/>
                  </a:lnTo>
                  <a:lnTo>
                    <a:pt x="226" y="314"/>
                  </a:lnTo>
                  <a:lnTo>
                    <a:pt x="226" y="314"/>
                  </a:lnTo>
                  <a:lnTo>
                    <a:pt x="226" y="312"/>
                  </a:lnTo>
                  <a:lnTo>
                    <a:pt x="226" y="310"/>
                  </a:lnTo>
                  <a:lnTo>
                    <a:pt x="223" y="310"/>
                  </a:lnTo>
                  <a:lnTo>
                    <a:pt x="223" y="310"/>
                  </a:lnTo>
                  <a:lnTo>
                    <a:pt x="221" y="310"/>
                  </a:lnTo>
                  <a:lnTo>
                    <a:pt x="221" y="310"/>
                  </a:lnTo>
                  <a:lnTo>
                    <a:pt x="221" y="307"/>
                  </a:lnTo>
                  <a:lnTo>
                    <a:pt x="221" y="305"/>
                  </a:lnTo>
                  <a:lnTo>
                    <a:pt x="221" y="303"/>
                  </a:lnTo>
                  <a:lnTo>
                    <a:pt x="219" y="303"/>
                  </a:lnTo>
                  <a:lnTo>
                    <a:pt x="219" y="301"/>
                  </a:lnTo>
                  <a:lnTo>
                    <a:pt x="217" y="299"/>
                  </a:lnTo>
                  <a:lnTo>
                    <a:pt x="219" y="299"/>
                  </a:lnTo>
                  <a:lnTo>
                    <a:pt x="221" y="299"/>
                  </a:lnTo>
                  <a:lnTo>
                    <a:pt x="223" y="297"/>
                  </a:lnTo>
                  <a:lnTo>
                    <a:pt x="223" y="295"/>
                  </a:lnTo>
                  <a:lnTo>
                    <a:pt x="226" y="297"/>
                  </a:lnTo>
                  <a:lnTo>
                    <a:pt x="226" y="297"/>
                  </a:lnTo>
                  <a:lnTo>
                    <a:pt x="226" y="299"/>
                  </a:lnTo>
                  <a:lnTo>
                    <a:pt x="226" y="301"/>
                  </a:lnTo>
                  <a:lnTo>
                    <a:pt x="228" y="299"/>
                  </a:lnTo>
                  <a:lnTo>
                    <a:pt x="228" y="297"/>
                  </a:lnTo>
                  <a:lnTo>
                    <a:pt x="228" y="297"/>
                  </a:lnTo>
                  <a:lnTo>
                    <a:pt x="228" y="297"/>
                  </a:lnTo>
                  <a:lnTo>
                    <a:pt x="228" y="295"/>
                  </a:lnTo>
                  <a:lnTo>
                    <a:pt x="226" y="295"/>
                  </a:lnTo>
                  <a:lnTo>
                    <a:pt x="226" y="295"/>
                  </a:lnTo>
                  <a:lnTo>
                    <a:pt x="226" y="295"/>
                  </a:lnTo>
                  <a:lnTo>
                    <a:pt x="226" y="295"/>
                  </a:lnTo>
                  <a:lnTo>
                    <a:pt x="226" y="293"/>
                  </a:lnTo>
                  <a:lnTo>
                    <a:pt x="226" y="293"/>
                  </a:lnTo>
                  <a:lnTo>
                    <a:pt x="226" y="293"/>
                  </a:lnTo>
                  <a:lnTo>
                    <a:pt x="223" y="289"/>
                  </a:lnTo>
                  <a:lnTo>
                    <a:pt x="226" y="289"/>
                  </a:lnTo>
                  <a:lnTo>
                    <a:pt x="226" y="289"/>
                  </a:lnTo>
                  <a:lnTo>
                    <a:pt x="228" y="291"/>
                  </a:lnTo>
                  <a:lnTo>
                    <a:pt x="230" y="295"/>
                  </a:lnTo>
                  <a:lnTo>
                    <a:pt x="230" y="297"/>
                  </a:lnTo>
                  <a:lnTo>
                    <a:pt x="230" y="297"/>
                  </a:lnTo>
                  <a:lnTo>
                    <a:pt x="232" y="295"/>
                  </a:lnTo>
                  <a:lnTo>
                    <a:pt x="232" y="295"/>
                  </a:lnTo>
                  <a:lnTo>
                    <a:pt x="234" y="291"/>
                  </a:lnTo>
                  <a:lnTo>
                    <a:pt x="234" y="289"/>
                  </a:lnTo>
                  <a:lnTo>
                    <a:pt x="234" y="291"/>
                  </a:lnTo>
                  <a:lnTo>
                    <a:pt x="236" y="289"/>
                  </a:lnTo>
                  <a:lnTo>
                    <a:pt x="240" y="289"/>
                  </a:lnTo>
                  <a:lnTo>
                    <a:pt x="240" y="289"/>
                  </a:lnTo>
                  <a:lnTo>
                    <a:pt x="240" y="289"/>
                  </a:lnTo>
                  <a:lnTo>
                    <a:pt x="238" y="289"/>
                  </a:lnTo>
                  <a:lnTo>
                    <a:pt x="238" y="287"/>
                  </a:lnTo>
                  <a:lnTo>
                    <a:pt x="238" y="285"/>
                  </a:lnTo>
                  <a:lnTo>
                    <a:pt x="238" y="285"/>
                  </a:lnTo>
                  <a:lnTo>
                    <a:pt x="234" y="285"/>
                  </a:lnTo>
                  <a:lnTo>
                    <a:pt x="234" y="283"/>
                  </a:lnTo>
                  <a:lnTo>
                    <a:pt x="236" y="281"/>
                  </a:lnTo>
                  <a:lnTo>
                    <a:pt x="238" y="283"/>
                  </a:lnTo>
                  <a:lnTo>
                    <a:pt x="238" y="281"/>
                  </a:lnTo>
                  <a:lnTo>
                    <a:pt x="240" y="283"/>
                  </a:lnTo>
                  <a:lnTo>
                    <a:pt x="240" y="285"/>
                  </a:lnTo>
                  <a:lnTo>
                    <a:pt x="242" y="287"/>
                  </a:lnTo>
                  <a:lnTo>
                    <a:pt x="244" y="285"/>
                  </a:lnTo>
                  <a:lnTo>
                    <a:pt x="242" y="285"/>
                  </a:lnTo>
                  <a:lnTo>
                    <a:pt x="242" y="283"/>
                  </a:lnTo>
                  <a:lnTo>
                    <a:pt x="242" y="281"/>
                  </a:lnTo>
                  <a:lnTo>
                    <a:pt x="244" y="281"/>
                  </a:lnTo>
                  <a:lnTo>
                    <a:pt x="244" y="283"/>
                  </a:lnTo>
                  <a:lnTo>
                    <a:pt x="246" y="285"/>
                  </a:lnTo>
                  <a:lnTo>
                    <a:pt x="246" y="285"/>
                  </a:lnTo>
                  <a:lnTo>
                    <a:pt x="246" y="287"/>
                  </a:lnTo>
                  <a:lnTo>
                    <a:pt x="248" y="285"/>
                  </a:lnTo>
                  <a:lnTo>
                    <a:pt x="248" y="285"/>
                  </a:lnTo>
                  <a:lnTo>
                    <a:pt x="248" y="285"/>
                  </a:lnTo>
                  <a:lnTo>
                    <a:pt x="248" y="285"/>
                  </a:lnTo>
                  <a:lnTo>
                    <a:pt x="246" y="283"/>
                  </a:lnTo>
                  <a:lnTo>
                    <a:pt x="246" y="283"/>
                  </a:lnTo>
                  <a:lnTo>
                    <a:pt x="246" y="283"/>
                  </a:lnTo>
                  <a:lnTo>
                    <a:pt x="246" y="281"/>
                  </a:lnTo>
                  <a:lnTo>
                    <a:pt x="248" y="281"/>
                  </a:lnTo>
                  <a:lnTo>
                    <a:pt x="248" y="281"/>
                  </a:lnTo>
                  <a:lnTo>
                    <a:pt x="248" y="281"/>
                  </a:lnTo>
                  <a:lnTo>
                    <a:pt x="248" y="283"/>
                  </a:lnTo>
                  <a:lnTo>
                    <a:pt x="248" y="283"/>
                  </a:lnTo>
                  <a:lnTo>
                    <a:pt x="250" y="283"/>
                  </a:lnTo>
                  <a:lnTo>
                    <a:pt x="252" y="285"/>
                  </a:lnTo>
                  <a:lnTo>
                    <a:pt x="252" y="287"/>
                  </a:lnTo>
                  <a:lnTo>
                    <a:pt x="252" y="289"/>
                  </a:lnTo>
                  <a:lnTo>
                    <a:pt x="254" y="291"/>
                  </a:lnTo>
                  <a:lnTo>
                    <a:pt x="256" y="293"/>
                  </a:lnTo>
                  <a:lnTo>
                    <a:pt x="256" y="293"/>
                  </a:lnTo>
                  <a:lnTo>
                    <a:pt x="258" y="291"/>
                  </a:lnTo>
                  <a:lnTo>
                    <a:pt x="258" y="293"/>
                  </a:lnTo>
                  <a:lnTo>
                    <a:pt x="258" y="295"/>
                  </a:lnTo>
                  <a:lnTo>
                    <a:pt x="258" y="295"/>
                  </a:lnTo>
                  <a:lnTo>
                    <a:pt x="260" y="297"/>
                  </a:lnTo>
                  <a:lnTo>
                    <a:pt x="260" y="295"/>
                  </a:lnTo>
                  <a:lnTo>
                    <a:pt x="260" y="291"/>
                  </a:lnTo>
                  <a:lnTo>
                    <a:pt x="260" y="289"/>
                  </a:lnTo>
                  <a:lnTo>
                    <a:pt x="260" y="289"/>
                  </a:lnTo>
                  <a:lnTo>
                    <a:pt x="260" y="289"/>
                  </a:lnTo>
                  <a:lnTo>
                    <a:pt x="262" y="289"/>
                  </a:lnTo>
                  <a:lnTo>
                    <a:pt x="262" y="289"/>
                  </a:lnTo>
                  <a:lnTo>
                    <a:pt x="262" y="289"/>
                  </a:lnTo>
                  <a:lnTo>
                    <a:pt x="262" y="289"/>
                  </a:lnTo>
                  <a:lnTo>
                    <a:pt x="264" y="289"/>
                  </a:lnTo>
                  <a:lnTo>
                    <a:pt x="264" y="289"/>
                  </a:lnTo>
                  <a:lnTo>
                    <a:pt x="264" y="287"/>
                  </a:lnTo>
                  <a:lnTo>
                    <a:pt x="264" y="287"/>
                  </a:lnTo>
                  <a:lnTo>
                    <a:pt x="264" y="287"/>
                  </a:lnTo>
                  <a:lnTo>
                    <a:pt x="262" y="287"/>
                  </a:lnTo>
                  <a:lnTo>
                    <a:pt x="262" y="283"/>
                  </a:lnTo>
                  <a:lnTo>
                    <a:pt x="262" y="283"/>
                  </a:lnTo>
                  <a:lnTo>
                    <a:pt x="258" y="283"/>
                  </a:lnTo>
                  <a:lnTo>
                    <a:pt x="258" y="281"/>
                  </a:lnTo>
                  <a:lnTo>
                    <a:pt x="258" y="281"/>
                  </a:lnTo>
                  <a:lnTo>
                    <a:pt x="260" y="281"/>
                  </a:lnTo>
                  <a:lnTo>
                    <a:pt x="260" y="281"/>
                  </a:lnTo>
                  <a:lnTo>
                    <a:pt x="260" y="281"/>
                  </a:lnTo>
                  <a:lnTo>
                    <a:pt x="260" y="279"/>
                  </a:lnTo>
                  <a:lnTo>
                    <a:pt x="260" y="279"/>
                  </a:lnTo>
                  <a:lnTo>
                    <a:pt x="260" y="277"/>
                  </a:lnTo>
                  <a:lnTo>
                    <a:pt x="260" y="277"/>
                  </a:lnTo>
                  <a:lnTo>
                    <a:pt x="264" y="283"/>
                  </a:lnTo>
                  <a:lnTo>
                    <a:pt x="264" y="285"/>
                  </a:lnTo>
                  <a:lnTo>
                    <a:pt x="264" y="285"/>
                  </a:lnTo>
                  <a:lnTo>
                    <a:pt x="264" y="285"/>
                  </a:lnTo>
                  <a:lnTo>
                    <a:pt x="264" y="285"/>
                  </a:lnTo>
                  <a:lnTo>
                    <a:pt x="267" y="285"/>
                  </a:lnTo>
                  <a:lnTo>
                    <a:pt x="267" y="285"/>
                  </a:lnTo>
                  <a:lnTo>
                    <a:pt x="267" y="283"/>
                  </a:lnTo>
                  <a:lnTo>
                    <a:pt x="264" y="281"/>
                  </a:lnTo>
                  <a:lnTo>
                    <a:pt x="264" y="279"/>
                  </a:lnTo>
                  <a:lnTo>
                    <a:pt x="267" y="279"/>
                  </a:lnTo>
                  <a:lnTo>
                    <a:pt x="267" y="277"/>
                  </a:lnTo>
                  <a:lnTo>
                    <a:pt x="267" y="279"/>
                  </a:lnTo>
                  <a:lnTo>
                    <a:pt x="267" y="283"/>
                  </a:lnTo>
                  <a:lnTo>
                    <a:pt x="267" y="285"/>
                  </a:lnTo>
                  <a:lnTo>
                    <a:pt x="269" y="287"/>
                  </a:lnTo>
                  <a:lnTo>
                    <a:pt x="269" y="283"/>
                  </a:lnTo>
                  <a:lnTo>
                    <a:pt x="269" y="279"/>
                  </a:lnTo>
                  <a:lnTo>
                    <a:pt x="269" y="277"/>
                  </a:lnTo>
                  <a:lnTo>
                    <a:pt x="269" y="277"/>
                  </a:lnTo>
                  <a:lnTo>
                    <a:pt x="271" y="277"/>
                  </a:lnTo>
                  <a:lnTo>
                    <a:pt x="271" y="277"/>
                  </a:lnTo>
                  <a:lnTo>
                    <a:pt x="271" y="275"/>
                  </a:lnTo>
                  <a:lnTo>
                    <a:pt x="271" y="275"/>
                  </a:lnTo>
                  <a:lnTo>
                    <a:pt x="269" y="273"/>
                  </a:lnTo>
                  <a:lnTo>
                    <a:pt x="267" y="271"/>
                  </a:lnTo>
                  <a:lnTo>
                    <a:pt x="267" y="271"/>
                  </a:lnTo>
                  <a:lnTo>
                    <a:pt x="269" y="271"/>
                  </a:lnTo>
                  <a:lnTo>
                    <a:pt x="269" y="269"/>
                  </a:lnTo>
                  <a:lnTo>
                    <a:pt x="269" y="266"/>
                  </a:lnTo>
                  <a:lnTo>
                    <a:pt x="269" y="266"/>
                  </a:lnTo>
                  <a:lnTo>
                    <a:pt x="271" y="264"/>
                  </a:lnTo>
                  <a:lnTo>
                    <a:pt x="271" y="266"/>
                  </a:lnTo>
                  <a:lnTo>
                    <a:pt x="271" y="264"/>
                  </a:lnTo>
                  <a:lnTo>
                    <a:pt x="273" y="262"/>
                  </a:lnTo>
                  <a:lnTo>
                    <a:pt x="273" y="262"/>
                  </a:lnTo>
                  <a:lnTo>
                    <a:pt x="273" y="264"/>
                  </a:lnTo>
                  <a:lnTo>
                    <a:pt x="273" y="266"/>
                  </a:lnTo>
                  <a:lnTo>
                    <a:pt x="273" y="269"/>
                  </a:lnTo>
                  <a:lnTo>
                    <a:pt x="273" y="269"/>
                  </a:lnTo>
                  <a:lnTo>
                    <a:pt x="275" y="271"/>
                  </a:lnTo>
                  <a:lnTo>
                    <a:pt x="275" y="271"/>
                  </a:lnTo>
                  <a:lnTo>
                    <a:pt x="275" y="269"/>
                  </a:lnTo>
                  <a:lnTo>
                    <a:pt x="275" y="269"/>
                  </a:lnTo>
                  <a:lnTo>
                    <a:pt x="275" y="262"/>
                  </a:lnTo>
                  <a:lnTo>
                    <a:pt x="275" y="262"/>
                  </a:lnTo>
                  <a:lnTo>
                    <a:pt x="277" y="262"/>
                  </a:lnTo>
                  <a:lnTo>
                    <a:pt x="277" y="269"/>
                  </a:lnTo>
                  <a:lnTo>
                    <a:pt x="277" y="271"/>
                  </a:lnTo>
                  <a:lnTo>
                    <a:pt x="279" y="271"/>
                  </a:lnTo>
                  <a:lnTo>
                    <a:pt x="279" y="271"/>
                  </a:lnTo>
                  <a:lnTo>
                    <a:pt x="281" y="271"/>
                  </a:lnTo>
                  <a:lnTo>
                    <a:pt x="281" y="266"/>
                  </a:lnTo>
                  <a:lnTo>
                    <a:pt x="283" y="264"/>
                  </a:lnTo>
                  <a:lnTo>
                    <a:pt x="283" y="264"/>
                  </a:lnTo>
                  <a:lnTo>
                    <a:pt x="283" y="262"/>
                  </a:lnTo>
                  <a:lnTo>
                    <a:pt x="285" y="262"/>
                  </a:lnTo>
                  <a:lnTo>
                    <a:pt x="285" y="264"/>
                  </a:lnTo>
                  <a:lnTo>
                    <a:pt x="285" y="264"/>
                  </a:lnTo>
                  <a:lnTo>
                    <a:pt x="285" y="266"/>
                  </a:lnTo>
                  <a:lnTo>
                    <a:pt x="285" y="266"/>
                  </a:lnTo>
                  <a:lnTo>
                    <a:pt x="285" y="266"/>
                  </a:lnTo>
                  <a:lnTo>
                    <a:pt x="287" y="266"/>
                  </a:lnTo>
                  <a:lnTo>
                    <a:pt x="287" y="266"/>
                  </a:lnTo>
                  <a:lnTo>
                    <a:pt x="287" y="266"/>
                  </a:lnTo>
                  <a:lnTo>
                    <a:pt x="289" y="266"/>
                  </a:lnTo>
                  <a:lnTo>
                    <a:pt x="289" y="266"/>
                  </a:lnTo>
                  <a:lnTo>
                    <a:pt x="289" y="264"/>
                  </a:lnTo>
                  <a:lnTo>
                    <a:pt x="289" y="264"/>
                  </a:lnTo>
                  <a:lnTo>
                    <a:pt x="291" y="264"/>
                  </a:lnTo>
                  <a:lnTo>
                    <a:pt x="291" y="264"/>
                  </a:lnTo>
                  <a:lnTo>
                    <a:pt x="289" y="262"/>
                  </a:lnTo>
                  <a:lnTo>
                    <a:pt x="289" y="262"/>
                  </a:lnTo>
                  <a:lnTo>
                    <a:pt x="289" y="260"/>
                  </a:lnTo>
                  <a:lnTo>
                    <a:pt x="289" y="260"/>
                  </a:lnTo>
                  <a:lnTo>
                    <a:pt x="289" y="256"/>
                  </a:lnTo>
                  <a:lnTo>
                    <a:pt x="287" y="256"/>
                  </a:lnTo>
                  <a:lnTo>
                    <a:pt x="287" y="256"/>
                  </a:lnTo>
                  <a:lnTo>
                    <a:pt x="289" y="254"/>
                  </a:lnTo>
                  <a:lnTo>
                    <a:pt x="289" y="252"/>
                  </a:lnTo>
                  <a:lnTo>
                    <a:pt x="291" y="254"/>
                  </a:lnTo>
                  <a:lnTo>
                    <a:pt x="291" y="254"/>
                  </a:lnTo>
                  <a:lnTo>
                    <a:pt x="291" y="254"/>
                  </a:lnTo>
                  <a:lnTo>
                    <a:pt x="293" y="254"/>
                  </a:lnTo>
                  <a:lnTo>
                    <a:pt x="293" y="254"/>
                  </a:lnTo>
                  <a:lnTo>
                    <a:pt x="293" y="256"/>
                  </a:lnTo>
                  <a:lnTo>
                    <a:pt x="295" y="256"/>
                  </a:lnTo>
                  <a:lnTo>
                    <a:pt x="295" y="256"/>
                  </a:lnTo>
                  <a:lnTo>
                    <a:pt x="297" y="254"/>
                  </a:lnTo>
                  <a:lnTo>
                    <a:pt x="299" y="254"/>
                  </a:lnTo>
                  <a:lnTo>
                    <a:pt x="297" y="254"/>
                  </a:lnTo>
                  <a:lnTo>
                    <a:pt x="297" y="252"/>
                  </a:lnTo>
                  <a:lnTo>
                    <a:pt x="295" y="250"/>
                  </a:lnTo>
                  <a:lnTo>
                    <a:pt x="295" y="248"/>
                  </a:lnTo>
                  <a:lnTo>
                    <a:pt x="297" y="248"/>
                  </a:lnTo>
                  <a:lnTo>
                    <a:pt x="299" y="250"/>
                  </a:lnTo>
                  <a:lnTo>
                    <a:pt x="299" y="254"/>
                  </a:lnTo>
                  <a:lnTo>
                    <a:pt x="301" y="254"/>
                  </a:lnTo>
                  <a:lnTo>
                    <a:pt x="301" y="254"/>
                  </a:lnTo>
                  <a:lnTo>
                    <a:pt x="301" y="252"/>
                  </a:lnTo>
                  <a:lnTo>
                    <a:pt x="301" y="252"/>
                  </a:lnTo>
                  <a:lnTo>
                    <a:pt x="303" y="252"/>
                  </a:lnTo>
                  <a:lnTo>
                    <a:pt x="303" y="252"/>
                  </a:lnTo>
                  <a:lnTo>
                    <a:pt x="303" y="250"/>
                  </a:lnTo>
                  <a:lnTo>
                    <a:pt x="301" y="250"/>
                  </a:lnTo>
                  <a:lnTo>
                    <a:pt x="301" y="248"/>
                  </a:lnTo>
                  <a:lnTo>
                    <a:pt x="301" y="246"/>
                  </a:lnTo>
                  <a:lnTo>
                    <a:pt x="299" y="246"/>
                  </a:lnTo>
                  <a:lnTo>
                    <a:pt x="299" y="244"/>
                  </a:lnTo>
                  <a:lnTo>
                    <a:pt x="299" y="244"/>
                  </a:lnTo>
                  <a:lnTo>
                    <a:pt x="301" y="244"/>
                  </a:lnTo>
                  <a:lnTo>
                    <a:pt x="301" y="244"/>
                  </a:lnTo>
                  <a:lnTo>
                    <a:pt x="303" y="244"/>
                  </a:lnTo>
                  <a:lnTo>
                    <a:pt x="301" y="244"/>
                  </a:lnTo>
                  <a:lnTo>
                    <a:pt x="303" y="242"/>
                  </a:lnTo>
                  <a:lnTo>
                    <a:pt x="305" y="242"/>
                  </a:lnTo>
                  <a:lnTo>
                    <a:pt x="305" y="244"/>
                  </a:lnTo>
                  <a:lnTo>
                    <a:pt x="305" y="246"/>
                  </a:lnTo>
                  <a:lnTo>
                    <a:pt x="305" y="246"/>
                  </a:lnTo>
                  <a:lnTo>
                    <a:pt x="307" y="248"/>
                  </a:lnTo>
                  <a:lnTo>
                    <a:pt x="307" y="248"/>
                  </a:lnTo>
                  <a:lnTo>
                    <a:pt x="310" y="248"/>
                  </a:lnTo>
                  <a:lnTo>
                    <a:pt x="312" y="248"/>
                  </a:lnTo>
                  <a:lnTo>
                    <a:pt x="310" y="246"/>
                  </a:lnTo>
                  <a:lnTo>
                    <a:pt x="310" y="246"/>
                  </a:lnTo>
                  <a:lnTo>
                    <a:pt x="310" y="246"/>
                  </a:lnTo>
                  <a:lnTo>
                    <a:pt x="312" y="244"/>
                  </a:lnTo>
                  <a:lnTo>
                    <a:pt x="312" y="246"/>
                  </a:lnTo>
                  <a:lnTo>
                    <a:pt x="314" y="246"/>
                  </a:lnTo>
                  <a:lnTo>
                    <a:pt x="314" y="246"/>
                  </a:lnTo>
                  <a:lnTo>
                    <a:pt x="316" y="246"/>
                  </a:lnTo>
                  <a:lnTo>
                    <a:pt x="316" y="244"/>
                  </a:lnTo>
                  <a:lnTo>
                    <a:pt x="314" y="244"/>
                  </a:lnTo>
                  <a:lnTo>
                    <a:pt x="316" y="244"/>
                  </a:lnTo>
                  <a:lnTo>
                    <a:pt x="316" y="242"/>
                  </a:lnTo>
                  <a:lnTo>
                    <a:pt x="318" y="242"/>
                  </a:lnTo>
                  <a:lnTo>
                    <a:pt x="320" y="236"/>
                  </a:lnTo>
                  <a:lnTo>
                    <a:pt x="320" y="234"/>
                  </a:lnTo>
                  <a:lnTo>
                    <a:pt x="320" y="232"/>
                  </a:lnTo>
                  <a:lnTo>
                    <a:pt x="322" y="234"/>
                  </a:lnTo>
                  <a:lnTo>
                    <a:pt x="322" y="232"/>
                  </a:lnTo>
                  <a:lnTo>
                    <a:pt x="322" y="230"/>
                  </a:lnTo>
                  <a:lnTo>
                    <a:pt x="322" y="230"/>
                  </a:lnTo>
                  <a:lnTo>
                    <a:pt x="322" y="230"/>
                  </a:lnTo>
                  <a:lnTo>
                    <a:pt x="324" y="230"/>
                  </a:lnTo>
                  <a:lnTo>
                    <a:pt x="324" y="230"/>
                  </a:lnTo>
                  <a:lnTo>
                    <a:pt x="326" y="228"/>
                  </a:lnTo>
                  <a:lnTo>
                    <a:pt x="326" y="223"/>
                  </a:lnTo>
                  <a:lnTo>
                    <a:pt x="328" y="223"/>
                  </a:lnTo>
                  <a:lnTo>
                    <a:pt x="326" y="223"/>
                  </a:lnTo>
                  <a:close/>
                </a:path>
              </a:pathLst>
            </a:custGeom>
            <a:solidFill>
              <a:schemeClr val="tx1"/>
            </a:solidFill>
            <a:ln w="3175" cap="rnd">
              <a:solidFill>
                <a:schemeClr val="bg1"/>
              </a:solidFill>
              <a:prstDash val="solid"/>
              <a:round/>
              <a:headEnd/>
              <a:tailEnd/>
            </a:ln>
          </p:spPr>
          <p:txBody>
            <a:bodyPr vert="horz" wrap="square" lIns="0" tIns="0" rIns="48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E</a:t>
              </a:r>
            </a:p>
          </p:txBody>
        </p:sp>
        <p:sp>
          <p:nvSpPr>
            <p:cNvPr id="324" name="Freeform 35">
              <a:extLst>
                <a:ext uri="{FF2B5EF4-FFF2-40B4-BE49-F238E27FC236}">
                  <a16:creationId xmlns:a16="http://schemas.microsoft.com/office/drawing/2014/main" id="{647BDF50-A9D2-99EC-0B7B-A9D2E9F36F2E}"/>
                </a:ext>
              </a:extLst>
            </p:cNvPr>
            <p:cNvSpPr>
              <a:spLocks noEditPoints="1"/>
            </p:cNvSpPr>
            <p:nvPr/>
          </p:nvSpPr>
          <p:spPr bwMode="auto">
            <a:xfrm>
              <a:off x="4447" y="930"/>
              <a:ext cx="395" cy="189"/>
            </a:xfrm>
            <a:custGeom>
              <a:avLst/>
              <a:gdLst>
                <a:gd name="T0" fmla="*/ 323 w 395"/>
                <a:gd name="T1" fmla="*/ 181 h 189"/>
                <a:gd name="T2" fmla="*/ 389 w 395"/>
                <a:gd name="T3" fmla="*/ 162 h 189"/>
                <a:gd name="T4" fmla="*/ 395 w 395"/>
                <a:gd name="T5" fmla="*/ 128 h 189"/>
                <a:gd name="T6" fmla="*/ 389 w 395"/>
                <a:gd name="T7" fmla="*/ 128 h 189"/>
                <a:gd name="T8" fmla="*/ 385 w 395"/>
                <a:gd name="T9" fmla="*/ 121 h 189"/>
                <a:gd name="T10" fmla="*/ 317 w 395"/>
                <a:gd name="T11" fmla="*/ 46 h 189"/>
                <a:gd name="T12" fmla="*/ 190 w 395"/>
                <a:gd name="T13" fmla="*/ 25 h 189"/>
                <a:gd name="T14" fmla="*/ 18 w 395"/>
                <a:gd name="T15" fmla="*/ 58 h 189"/>
                <a:gd name="T16" fmla="*/ 30 w 395"/>
                <a:gd name="T17" fmla="*/ 93 h 189"/>
                <a:gd name="T18" fmla="*/ 45 w 395"/>
                <a:gd name="T19" fmla="*/ 82 h 189"/>
                <a:gd name="T20" fmla="*/ 57 w 395"/>
                <a:gd name="T21" fmla="*/ 68 h 189"/>
                <a:gd name="T22" fmla="*/ 63 w 395"/>
                <a:gd name="T23" fmla="*/ 62 h 189"/>
                <a:gd name="T24" fmla="*/ 78 w 395"/>
                <a:gd name="T25" fmla="*/ 68 h 189"/>
                <a:gd name="T26" fmla="*/ 96 w 395"/>
                <a:gd name="T27" fmla="*/ 52 h 189"/>
                <a:gd name="T28" fmla="*/ 133 w 395"/>
                <a:gd name="T29" fmla="*/ 50 h 189"/>
                <a:gd name="T30" fmla="*/ 141 w 395"/>
                <a:gd name="T31" fmla="*/ 56 h 189"/>
                <a:gd name="T32" fmla="*/ 149 w 395"/>
                <a:gd name="T33" fmla="*/ 72 h 189"/>
                <a:gd name="T34" fmla="*/ 174 w 395"/>
                <a:gd name="T35" fmla="*/ 91 h 189"/>
                <a:gd name="T36" fmla="*/ 217 w 395"/>
                <a:gd name="T37" fmla="*/ 97 h 189"/>
                <a:gd name="T38" fmla="*/ 219 w 395"/>
                <a:gd name="T39" fmla="*/ 138 h 189"/>
                <a:gd name="T40" fmla="*/ 211 w 395"/>
                <a:gd name="T41" fmla="*/ 152 h 189"/>
                <a:gd name="T42" fmla="*/ 223 w 395"/>
                <a:gd name="T43" fmla="*/ 154 h 189"/>
                <a:gd name="T44" fmla="*/ 231 w 395"/>
                <a:gd name="T45" fmla="*/ 156 h 189"/>
                <a:gd name="T46" fmla="*/ 258 w 395"/>
                <a:gd name="T47" fmla="*/ 173 h 189"/>
                <a:gd name="T48" fmla="*/ 284 w 395"/>
                <a:gd name="T49" fmla="*/ 175 h 189"/>
                <a:gd name="T50" fmla="*/ 295 w 395"/>
                <a:gd name="T51" fmla="*/ 173 h 189"/>
                <a:gd name="T52" fmla="*/ 264 w 395"/>
                <a:gd name="T53" fmla="*/ 150 h 189"/>
                <a:gd name="T54" fmla="*/ 270 w 395"/>
                <a:gd name="T55" fmla="*/ 150 h 189"/>
                <a:gd name="T56" fmla="*/ 270 w 395"/>
                <a:gd name="T57" fmla="*/ 134 h 189"/>
                <a:gd name="T58" fmla="*/ 262 w 395"/>
                <a:gd name="T59" fmla="*/ 101 h 189"/>
                <a:gd name="T60" fmla="*/ 262 w 395"/>
                <a:gd name="T61" fmla="*/ 89 h 189"/>
                <a:gd name="T62" fmla="*/ 270 w 395"/>
                <a:gd name="T63" fmla="*/ 84 h 189"/>
                <a:gd name="T64" fmla="*/ 264 w 395"/>
                <a:gd name="T65" fmla="*/ 72 h 189"/>
                <a:gd name="T66" fmla="*/ 248 w 395"/>
                <a:gd name="T67" fmla="*/ 62 h 189"/>
                <a:gd name="T68" fmla="*/ 258 w 395"/>
                <a:gd name="T69" fmla="*/ 58 h 189"/>
                <a:gd name="T70" fmla="*/ 268 w 395"/>
                <a:gd name="T71" fmla="*/ 48 h 189"/>
                <a:gd name="T72" fmla="*/ 272 w 395"/>
                <a:gd name="T73" fmla="*/ 33 h 189"/>
                <a:gd name="T74" fmla="*/ 284 w 395"/>
                <a:gd name="T75" fmla="*/ 21 h 189"/>
                <a:gd name="T76" fmla="*/ 303 w 395"/>
                <a:gd name="T77" fmla="*/ 15 h 189"/>
                <a:gd name="T78" fmla="*/ 307 w 395"/>
                <a:gd name="T79" fmla="*/ 35 h 189"/>
                <a:gd name="T80" fmla="*/ 278 w 395"/>
                <a:gd name="T81" fmla="*/ 66 h 189"/>
                <a:gd name="T82" fmla="*/ 293 w 395"/>
                <a:gd name="T83" fmla="*/ 66 h 189"/>
                <a:gd name="T84" fmla="*/ 278 w 395"/>
                <a:gd name="T85" fmla="*/ 82 h 189"/>
                <a:gd name="T86" fmla="*/ 278 w 395"/>
                <a:gd name="T87" fmla="*/ 93 h 189"/>
                <a:gd name="T88" fmla="*/ 293 w 395"/>
                <a:gd name="T89" fmla="*/ 91 h 189"/>
                <a:gd name="T90" fmla="*/ 293 w 395"/>
                <a:gd name="T91" fmla="*/ 105 h 189"/>
                <a:gd name="T92" fmla="*/ 282 w 395"/>
                <a:gd name="T93" fmla="*/ 117 h 189"/>
                <a:gd name="T94" fmla="*/ 293 w 395"/>
                <a:gd name="T95" fmla="*/ 115 h 189"/>
                <a:gd name="T96" fmla="*/ 299 w 395"/>
                <a:gd name="T97" fmla="*/ 119 h 189"/>
                <a:gd name="T98" fmla="*/ 311 w 395"/>
                <a:gd name="T99" fmla="*/ 123 h 189"/>
                <a:gd name="T100" fmla="*/ 288 w 395"/>
                <a:gd name="T101" fmla="*/ 130 h 189"/>
                <a:gd name="T102" fmla="*/ 293 w 395"/>
                <a:gd name="T103" fmla="*/ 134 h 189"/>
                <a:gd name="T104" fmla="*/ 299 w 395"/>
                <a:gd name="T105" fmla="*/ 152 h 189"/>
                <a:gd name="T106" fmla="*/ 317 w 395"/>
                <a:gd name="T107" fmla="*/ 152 h 189"/>
                <a:gd name="T108" fmla="*/ 323 w 395"/>
                <a:gd name="T109" fmla="*/ 150 h 189"/>
                <a:gd name="T110" fmla="*/ 336 w 395"/>
                <a:gd name="T111" fmla="*/ 156 h 189"/>
                <a:gd name="T112" fmla="*/ 342 w 395"/>
                <a:gd name="T113" fmla="*/ 164 h 189"/>
                <a:gd name="T114" fmla="*/ 342 w 395"/>
                <a:gd name="T115" fmla="*/ 169 h 189"/>
                <a:gd name="T116" fmla="*/ 338 w 395"/>
                <a:gd name="T117" fmla="*/ 183 h 189"/>
                <a:gd name="T118" fmla="*/ 356 w 395"/>
                <a:gd name="T119" fmla="*/ 181 h 189"/>
                <a:gd name="T120" fmla="*/ 383 w 395"/>
                <a:gd name="T121" fmla="*/ 15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5" h="189">
                  <a:moveTo>
                    <a:pt x="323" y="181"/>
                  </a:moveTo>
                  <a:lnTo>
                    <a:pt x="323" y="179"/>
                  </a:lnTo>
                  <a:lnTo>
                    <a:pt x="321" y="179"/>
                  </a:lnTo>
                  <a:lnTo>
                    <a:pt x="321" y="179"/>
                  </a:lnTo>
                  <a:lnTo>
                    <a:pt x="321" y="181"/>
                  </a:lnTo>
                  <a:lnTo>
                    <a:pt x="321" y="183"/>
                  </a:lnTo>
                  <a:lnTo>
                    <a:pt x="325" y="183"/>
                  </a:lnTo>
                  <a:lnTo>
                    <a:pt x="325" y="183"/>
                  </a:lnTo>
                  <a:lnTo>
                    <a:pt x="325" y="185"/>
                  </a:lnTo>
                  <a:lnTo>
                    <a:pt x="321" y="185"/>
                  </a:lnTo>
                  <a:lnTo>
                    <a:pt x="321" y="185"/>
                  </a:lnTo>
                  <a:lnTo>
                    <a:pt x="323" y="187"/>
                  </a:lnTo>
                  <a:lnTo>
                    <a:pt x="325" y="187"/>
                  </a:lnTo>
                  <a:lnTo>
                    <a:pt x="325" y="187"/>
                  </a:lnTo>
                  <a:lnTo>
                    <a:pt x="325" y="185"/>
                  </a:lnTo>
                  <a:lnTo>
                    <a:pt x="327" y="183"/>
                  </a:lnTo>
                  <a:lnTo>
                    <a:pt x="325" y="181"/>
                  </a:lnTo>
                  <a:lnTo>
                    <a:pt x="323" y="181"/>
                  </a:lnTo>
                  <a:close/>
                  <a:moveTo>
                    <a:pt x="319" y="164"/>
                  </a:moveTo>
                  <a:lnTo>
                    <a:pt x="319" y="162"/>
                  </a:lnTo>
                  <a:lnTo>
                    <a:pt x="317" y="162"/>
                  </a:lnTo>
                  <a:lnTo>
                    <a:pt x="315" y="162"/>
                  </a:lnTo>
                  <a:lnTo>
                    <a:pt x="315" y="164"/>
                  </a:lnTo>
                  <a:lnTo>
                    <a:pt x="315" y="166"/>
                  </a:lnTo>
                  <a:lnTo>
                    <a:pt x="317" y="166"/>
                  </a:lnTo>
                  <a:lnTo>
                    <a:pt x="319" y="166"/>
                  </a:lnTo>
                  <a:lnTo>
                    <a:pt x="321" y="166"/>
                  </a:lnTo>
                  <a:lnTo>
                    <a:pt x="321" y="164"/>
                  </a:lnTo>
                  <a:lnTo>
                    <a:pt x="319" y="164"/>
                  </a:lnTo>
                  <a:close/>
                  <a:moveTo>
                    <a:pt x="393" y="138"/>
                  </a:moveTo>
                  <a:lnTo>
                    <a:pt x="391" y="146"/>
                  </a:lnTo>
                  <a:lnTo>
                    <a:pt x="391" y="150"/>
                  </a:lnTo>
                  <a:lnTo>
                    <a:pt x="391" y="154"/>
                  </a:lnTo>
                  <a:lnTo>
                    <a:pt x="391" y="156"/>
                  </a:lnTo>
                  <a:lnTo>
                    <a:pt x="391" y="158"/>
                  </a:lnTo>
                  <a:lnTo>
                    <a:pt x="389" y="162"/>
                  </a:lnTo>
                  <a:lnTo>
                    <a:pt x="387" y="166"/>
                  </a:lnTo>
                  <a:lnTo>
                    <a:pt x="389" y="166"/>
                  </a:lnTo>
                  <a:lnTo>
                    <a:pt x="389" y="164"/>
                  </a:lnTo>
                  <a:lnTo>
                    <a:pt x="389" y="164"/>
                  </a:lnTo>
                  <a:lnTo>
                    <a:pt x="391" y="160"/>
                  </a:lnTo>
                  <a:lnTo>
                    <a:pt x="393" y="150"/>
                  </a:lnTo>
                  <a:lnTo>
                    <a:pt x="393" y="144"/>
                  </a:lnTo>
                  <a:lnTo>
                    <a:pt x="395" y="138"/>
                  </a:lnTo>
                  <a:lnTo>
                    <a:pt x="395" y="136"/>
                  </a:lnTo>
                  <a:lnTo>
                    <a:pt x="393" y="136"/>
                  </a:lnTo>
                  <a:lnTo>
                    <a:pt x="393" y="138"/>
                  </a:lnTo>
                  <a:close/>
                  <a:moveTo>
                    <a:pt x="395" y="121"/>
                  </a:moveTo>
                  <a:lnTo>
                    <a:pt x="395" y="119"/>
                  </a:lnTo>
                  <a:lnTo>
                    <a:pt x="395" y="119"/>
                  </a:lnTo>
                  <a:lnTo>
                    <a:pt x="393" y="119"/>
                  </a:lnTo>
                  <a:lnTo>
                    <a:pt x="393" y="119"/>
                  </a:lnTo>
                  <a:lnTo>
                    <a:pt x="395" y="121"/>
                  </a:lnTo>
                  <a:lnTo>
                    <a:pt x="395" y="128"/>
                  </a:lnTo>
                  <a:lnTo>
                    <a:pt x="395" y="132"/>
                  </a:lnTo>
                  <a:lnTo>
                    <a:pt x="395" y="130"/>
                  </a:lnTo>
                  <a:lnTo>
                    <a:pt x="395" y="125"/>
                  </a:lnTo>
                  <a:lnTo>
                    <a:pt x="395" y="121"/>
                  </a:lnTo>
                  <a:close/>
                  <a:moveTo>
                    <a:pt x="391" y="142"/>
                  </a:moveTo>
                  <a:lnTo>
                    <a:pt x="391" y="138"/>
                  </a:lnTo>
                  <a:lnTo>
                    <a:pt x="393" y="136"/>
                  </a:lnTo>
                  <a:lnTo>
                    <a:pt x="393" y="134"/>
                  </a:lnTo>
                  <a:lnTo>
                    <a:pt x="393" y="132"/>
                  </a:lnTo>
                  <a:lnTo>
                    <a:pt x="393" y="130"/>
                  </a:lnTo>
                  <a:lnTo>
                    <a:pt x="393" y="130"/>
                  </a:lnTo>
                  <a:lnTo>
                    <a:pt x="391" y="130"/>
                  </a:lnTo>
                  <a:lnTo>
                    <a:pt x="391" y="130"/>
                  </a:lnTo>
                  <a:lnTo>
                    <a:pt x="389" y="130"/>
                  </a:lnTo>
                  <a:lnTo>
                    <a:pt x="389" y="130"/>
                  </a:lnTo>
                  <a:lnTo>
                    <a:pt x="389" y="130"/>
                  </a:lnTo>
                  <a:lnTo>
                    <a:pt x="391" y="128"/>
                  </a:lnTo>
                  <a:lnTo>
                    <a:pt x="389" y="128"/>
                  </a:lnTo>
                  <a:lnTo>
                    <a:pt x="389" y="128"/>
                  </a:lnTo>
                  <a:lnTo>
                    <a:pt x="389" y="128"/>
                  </a:lnTo>
                  <a:lnTo>
                    <a:pt x="389" y="125"/>
                  </a:lnTo>
                  <a:lnTo>
                    <a:pt x="389" y="125"/>
                  </a:lnTo>
                  <a:lnTo>
                    <a:pt x="385" y="125"/>
                  </a:lnTo>
                  <a:lnTo>
                    <a:pt x="385" y="123"/>
                  </a:lnTo>
                  <a:lnTo>
                    <a:pt x="387" y="123"/>
                  </a:lnTo>
                  <a:lnTo>
                    <a:pt x="389" y="123"/>
                  </a:lnTo>
                  <a:lnTo>
                    <a:pt x="391" y="123"/>
                  </a:lnTo>
                  <a:lnTo>
                    <a:pt x="391" y="123"/>
                  </a:lnTo>
                  <a:lnTo>
                    <a:pt x="391" y="123"/>
                  </a:lnTo>
                  <a:lnTo>
                    <a:pt x="389" y="121"/>
                  </a:lnTo>
                  <a:lnTo>
                    <a:pt x="391" y="121"/>
                  </a:lnTo>
                  <a:lnTo>
                    <a:pt x="391" y="121"/>
                  </a:lnTo>
                  <a:lnTo>
                    <a:pt x="391" y="119"/>
                  </a:lnTo>
                  <a:lnTo>
                    <a:pt x="391" y="119"/>
                  </a:lnTo>
                  <a:lnTo>
                    <a:pt x="389" y="119"/>
                  </a:lnTo>
                  <a:lnTo>
                    <a:pt x="385" y="121"/>
                  </a:lnTo>
                  <a:lnTo>
                    <a:pt x="379" y="121"/>
                  </a:lnTo>
                  <a:lnTo>
                    <a:pt x="372" y="123"/>
                  </a:lnTo>
                  <a:lnTo>
                    <a:pt x="366" y="125"/>
                  </a:lnTo>
                  <a:lnTo>
                    <a:pt x="360" y="125"/>
                  </a:lnTo>
                  <a:lnTo>
                    <a:pt x="352" y="128"/>
                  </a:lnTo>
                  <a:lnTo>
                    <a:pt x="346" y="130"/>
                  </a:lnTo>
                  <a:lnTo>
                    <a:pt x="340" y="132"/>
                  </a:lnTo>
                  <a:lnTo>
                    <a:pt x="338" y="125"/>
                  </a:lnTo>
                  <a:lnTo>
                    <a:pt x="338" y="121"/>
                  </a:lnTo>
                  <a:lnTo>
                    <a:pt x="336" y="113"/>
                  </a:lnTo>
                  <a:lnTo>
                    <a:pt x="334" y="105"/>
                  </a:lnTo>
                  <a:lnTo>
                    <a:pt x="331" y="99"/>
                  </a:lnTo>
                  <a:lnTo>
                    <a:pt x="329" y="91"/>
                  </a:lnTo>
                  <a:lnTo>
                    <a:pt x="327" y="82"/>
                  </a:lnTo>
                  <a:lnTo>
                    <a:pt x="325" y="76"/>
                  </a:lnTo>
                  <a:lnTo>
                    <a:pt x="321" y="60"/>
                  </a:lnTo>
                  <a:lnTo>
                    <a:pt x="319" y="54"/>
                  </a:lnTo>
                  <a:lnTo>
                    <a:pt x="317" y="46"/>
                  </a:lnTo>
                  <a:lnTo>
                    <a:pt x="315" y="37"/>
                  </a:lnTo>
                  <a:lnTo>
                    <a:pt x="311" y="29"/>
                  </a:lnTo>
                  <a:lnTo>
                    <a:pt x="309" y="23"/>
                  </a:lnTo>
                  <a:lnTo>
                    <a:pt x="307" y="15"/>
                  </a:lnTo>
                  <a:lnTo>
                    <a:pt x="305" y="7"/>
                  </a:lnTo>
                  <a:lnTo>
                    <a:pt x="303" y="0"/>
                  </a:lnTo>
                  <a:lnTo>
                    <a:pt x="295" y="3"/>
                  </a:lnTo>
                  <a:lnTo>
                    <a:pt x="284" y="5"/>
                  </a:lnTo>
                  <a:lnTo>
                    <a:pt x="276" y="7"/>
                  </a:lnTo>
                  <a:lnTo>
                    <a:pt x="266" y="9"/>
                  </a:lnTo>
                  <a:lnTo>
                    <a:pt x="256" y="11"/>
                  </a:lnTo>
                  <a:lnTo>
                    <a:pt x="248" y="13"/>
                  </a:lnTo>
                  <a:lnTo>
                    <a:pt x="237" y="15"/>
                  </a:lnTo>
                  <a:lnTo>
                    <a:pt x="227" y="17"/>
                  </a:lnTo>
                  <a:lnTo>
                    <a:pt x="219" y="19"/>
                  </a:lnTo>
                  <a:lnTo>
                    <a:pt x="209" y="21"/>
                  </a:lnTo>
                  <a:lnTo>
                    <a:pt x="200" y="23"/>
                  </a:lnTo>
                  <a:lnTo>
                    <a:pt x="190" y="25"/>
                  </a:lnTo>
                  <a:lnTo>
                    <a:pt x="180" y="27"/>
                  </a:lnTo>
                  <a:lnTo>
                    <a:pt x="172" y="29"/>
                  </a:lnTo>
                  <a:lnTo>
                    <a:pt x="162" y="31"/>
                  </a:lnTo>
                  <a:lnTo>
                    <a:pt x="151" y="33"/>
                  </a:lnTo>
                  <a:lnTo>
                    <a:pt x="143" y="33"/>
                  </a:lnTo>
                  <a:lnTo>
                    <a:pt x="133" y="35"/>
                  </a:lnTo>
                  <a:lnTo>
                    <a:pt x="123" y="37"/>
                  </a:lnTo>
                  <a:lnTo>
                    <a:pt x="114" y="39"/>
                  </a:lnTo>
                  <a:lnTo>
                    <a:pt x="104" y="41"/>
                  </a:lnTo>
                  <a:lnTo>
                    <a:pt x="94" y="43"/>
                  </a:lnTo>
                  <a:lnTo>
                    <a:pt x="86" y="46"/>
                  </a:lnTo>
                  <a:lnTo>
                    <a:pt x="75" y="48"/>
                  </a:lnTo>
                  <a:lnTo>
                    <a:pt x="67" y="50"/>
                  </a:lnTo>
                  <a:lnTo>
                    <a:pt x="57" y="52"/>
                  </a:lnTo>
                  <a:lnTo>
                    <a:pt x="47" y="54"/>
                  </a:lnTo>
                  <a:lnTo>
                    <a:pt x="39" y="56"/>
                  </a:lnTo>
                  <a:lnTo>
                    <a:pt x="28" y="56"/>
                  </a:lnTo>
                  <a:lnTo>
                    <a:pt x="18" y="58"/>
                  </a:lnTo>
                  <a:lnTo>
                    <a:pt x="10" y="60"/>
                  </a:lnTo>
                  <a:lnTo>
                    <a:pt x="0" y="62"/>
                  </a:lnTo>
                  <a:lnTo>
                    <a:pt x="8" y="115"/>
                  </a:lnTo>
                  <a:lnTo>
                    <a:pt x="10" y="117"/>
                  </a:lnTo>
                  <a:lnTo>
                    <a:pt x="10" y="117"/>
                  </a:lnTo>
                  <a:lnTo>
                    <a:pt x="10" y="115"/>
                  </a:lnTo>
                  <a:lnTo>
                    <a:pt x="12" y="115"/>
                  </a:lnTo>
                  <a:lnTo>
                    <a:pt x="18" y="105"/>
                  </a:lnTo>
                  <a:lnTo>
                    <a:pt x="20" y="105"/>
                  </a:lnTo>
                  <a:lnTo>
                    <a:pt x="22" y="103"/>
                  </a:lnTo>
                  <a:lnTo>
                    <a:pt x="24" y="103"/>
                  </a:lnTo>
                  <a:lnTo>
                    <a:pt x="24" y="103"/>
                  </a:lnTo>
                  <a:lnTo>
                    <a:pt x="24" y="101"/>
                  </a:lnTo>
                  <a:lnTo>
                    <a:pt x="24" y="99"/>
                  </a:lnTo>
                  <a:lnTo>
                    <a:pt x="26" y="97"/>
                  </a:lnTo>
                  <a:lnTo>
                    <a:pt x="28" y="95"/>
                  </a:lnTo>
                  <a:lnTo>
                    <a:pt x="30" y="93"/>
                  </a:lnTo>
                  <a:lnTo>
                    <a:pt x="30" y="93"/>
                  </a:lnTo>
                  <a:lnTo>
                    <a:pt x="32" y="93"/>
                  </a:lnTo>
                  <a:lnTo>
                    <a:pt x="32" y="91"/>
                  </a:lnTo>
                  <a:lnTo>
                    <a:pt x="35" y="89"/>
                  </a:lnTo>
                  <a:lnTo>
                    <a:pt x="35" y="89"/>
                  </a:lnTo>
                  <a:lnTo>
                    <a:pt x="35" y="89"/>
                  </a:lnTo>
                  <a:lnTo>
                    <a:pt x="35" y="89"/>
                  </a:lnTo>
                  <a:lnTo>
                    <a:pt x="35" y="87"/>
                  </a:lnTo>
                  <a:lnTo>
                    <a:pt x="35" y="84"/>
                  </a:lnTo>
                  <a:lnTo>
                    <a:pt x="35" y="84"/>
                  </a:lnTo>
                  <a:lnTo>
                    <a:pt x="35" y="82"/>
                  </a:lnTo>
                  <a:lnTo>
                    <a:pt x="37" y="82"/>
                  </a:lnTo>
                  <a:lnTo>
                    <a:pt x="39" y="80"/>
                  </a:lnTo>
                  <a:lnTo>
                    <a:pt x="39" y="80"/>
                  </a:lnTo>
                  <a:lnTo>
                    <a:pt x="41" y="80"/>
                  </a:lnTo>
                  <a:lnTo>
                    <a:pt x="41" y="80"/>
                  </a:lnTo>
                  <a:lnTo>
                    <a:pt x="43" y="80"/>
                  </a:lnTo>
                  <a:lnTo>
                    <a:pt x="45" y="82"/>
                  </a:lnTo>
                  <a:lnTo>
                    <a:pt x="45" y="82"/>
                  </a:lnTo>
                  <a:lnTo>
                    <a:pt x="47" y="82"/>
                  </a:lnTo>
                  <a:lnTo>
                    <a:pt x="47" y="82"/>
                  </a:lnTo>
                  <a:lnTo>
                    <a:pt x="49" y="82"/>
                  </a:lnTo>
                  <a:lnTo>
                    <a:pt x="49" y="82"/>
                  </a:lnTo>
                  <a:lnTo>
                    <a:pt x="49" y="80"/>
                  </a:lnTo>
                  <a:lnTo>
                    <a:pt x="49" y="80"/>
                  </a:lnTo>
                  <a:lnTo>
                    <a:pt x="53" y="74"/>
                  </a:lnTo>
                  <a:lnTo>
                    <a:pt x="53" y="72"/>
                  </a:lnTo>
                  <a:lnTo>
                    <a:pt x="55" y="70"/>
                  </a:lnTo>
                  <a:lnTo>
                    <a:pt x="55" y="70"/>
                  </a:lnTo>
                  <a:lnTo>
                    <a:pt x="55" y="70"/>
                  </a:lnTo>
                  <a:lnTo>
                    <a:pt x="55" y="70"/>
                  </a:lnTo>
                  <a:lnTo>
                    <a:pt x="55" y="68"/>
                  </a:lnTo>
                  <a:lnTo>
                    <a:pt x="55" y="68"/>
                  </a:lnTo>
                  <a:lnTo>
                    <a:pt x="57" y="68"/>
                  </a:lnTo>
                  <a:lnTo>
                    <a:pt x="57" y="68"/>
                  </a:lnTo>
                  <a:lnTo>
                    <a:pt x="57" y="68"/>
                  </a:lnTo>
                  <a:lnTo>
                    <a:pt x="57" y="68"/>
                  </a:lnTo>
                  <a:lnTo>
                    <a:pt x="57" y="66"/>
                  </a:lnTo>
                  <a:lnTo>
                    <a:pt x="57" y="66"/>
                  </a:lnTo>
                  <a:lnTo>
                    <a:pt x="57" y="66"/>
                  </a:lnTo>
                  <a:lnTo>
                    <a:pt x="57" y="66"/>
                  </a:lnTo>
                  <a:lnTo>
                    <a:pt x="57" y="64"/>
                  </a:lnTo>
                  <a:lnTo>
                    <a:pt x="59" y="62"/>
                  </a:lnTo>
                  <a:lnTo>
                    <a:pt x="59" y="62"/>
                  </a:lnTo>
                  <a:lnTo>
                    <a:pt x="59" y="60"/>
                  </a:lnTo>
                  <a:lnTo>
                    <a:pt x="59" y="60"/>
                  </a:lnTo>
                  <a:lnTo>
                    <a:pt x="59" y="60"/>
                  </a:lnTo>
                  <a:lnTo>
                    <a:pt x="59" y="60"/>
                  </a:lnTo>
                  <a:lnTo>
                    <a:pt x="59" y="60"/>
                  </a:lnTo>
                  <a:lnTo>
                    <a:pt x="61" y="60"/>
                  </a:lnTo>
                  <a:lnTo>
                    <a:pt x="61" y="60"/>
                  </a:lnTo>
                  <a:lnTo>
                    <a:pt x="61" y="62"/>
                  </a:lnTo>
                  <a:lnTo>
                    <a:pt x="63" y="62"/>
                  </a:lnTo>
                  <a:lnTo>
                    <a:pt x="63" y="62"/>
                  </a:lnTo>
                  <a:lnTo>
                    <a:pt x="63" y="62"/>
                  </a:lnTo>
                  <a:lnTo>
                    <a:pt x="63" y="62"/>
                  </a:lnTo>
                  <a:lnTo>
                    <a:pt x="61" y="64"/>
                  </a:lnTo>
                  <a:lnTo>
                    <a:pt x="61" y="64"/>
                  </a:lnTo>
                  <a:lnTo>
                    <a:pt x="61" y="64"/>
                  </a:lnTo>
                  <a:lnTo>
                    <a:pt x="61" y="64"/>
                  </a:lnTo>
                  <a:lnTo>
                    <a:pt x="61" y="64"/>
                  </a:lnTo>
                  <a:lnTo>
                    <a:pt x="61" y="64"/>
                  </a:lnTo>
                  <a:lnTo>
                    <a:pt x="61" y="66"/>
                  </a:lnTo>
                  <a:lnTo>
                    <a:pt x="61" y="66"/>
                  </a:lnTo>
                  <a:lnTo>
                    <a:pt x="63" y="66"/>
                  </a:lnTo>
                  <a:lnTo>
                    <a:pt x="63" y="66"/>
                  </a:lnTo>
                  <a:lnTo>
                    <a:pt x="63" y="66"/>
                  </a:lnTo>
                  <a:lnTo>
                    <a:pt x="67" y="66"/>
                  </a:lnTo>
                  <a:lnTo>
                    <a:pt x="67" y="68"/>
                  </a:lnTo>
                  <a:lnTo>
                    <a:pt x="67" y="68"/>
                  </a:lnTo>
                  <a:lnTo>
                    <a:pt x="69" y="68"/>
                  </a:lnTo>
                  <a:lnTo>
                    <a:pt x="71" y="68"/>
                  </a:lnTo>
                  <a:lnTo>
                    <a:pt x="78" y="68"/>
                  </a:lnTo>
                  <a:lnTo>
                    <a:pt x="78" y="68"/>
                  </a:lnTo>
                  <a:lnTo>
                    <a:pt x="82" y="66"/>
                  </a:lnTo>
                  <a:lnTo>
                    <a:pt x="86" y="66"/>
                  </a:lnTo>
                  <a:lnTo>
                    <a:pt x="90" y="64"/>
                  </a:lnTo>
                  <a:lnTo>
                    <a:pt x="90" y="62"/>
                  </a:lnTo>
                  <a:lnTo>
                    <a:pt x="88" y="62"/>
                  </a:lnTo>
                  <a:lnTo>
                    <a:pt x="88" y="62"/>
                  </a:lnTo>
                  <a:lnTo>
                    <a:pt x="88" y="60"/>
                  </a:lnTo>
                  <a:lnTo>
                    <a:pt x="88" y="60"/>
                  </a:lnTo>
                  <a:lnTo>
                    <a:pt x="90" y="60"/>
                  </a:lnTo>
                  <a:lnTo>
                    <a:pt x="90" y="58"/>
                  </a:lnTo>
                  <a:lnTo>
                    <a:pt x="88" y="56"/>
                  </a:lnTo>
                  <a:lnTo>
                    <a:pt x="88" y="56"/>
                  </a:lnTo>
                  <a:lnTo>
                    <a:pt x="90" y="56"/>
                  </a:lnTo>
                  <a:lnTo>
                    <a:pt x="92" y="56"/>
                  </a:lnTo>
                  <a:lnTo>
                    <a:pt x="92" y="54"/>
                  </a:lnTo>
                  <a:lnTo>
                    <a:pt x="94" y="54"/>
                  </a:lnTo>
                  <a:lnTo>
                    <a:pt x="96" y="52"/>
                  </a:lnTo>
                  <a:lnTo>
                    <a:pt x="98" y="52"/>
                  </a:lnTo>
                  <a:lnTo>
                    <a:pt x="100" y="52"/>
                  </a:lnTo>
                  <a:lnTo>
                    <a:pt x="100" y="52"/>
                  </a:lnTo>
                  <a:lnTo>
                    <a:pt x="102" y="50"/>
                  </a:lnTo>
                  <a:lnTo>
                    <a:pt x="102" y="48"/>
                  </a:lnTo>
                  <a:lnTo>
                    <a:pt x="104" y="46"/>
                  </a:lnTo>
                  <a:lnTo>
                    <a:pt x="104" y="43"/>
                  </a:lnTo>
                  <a:lnTo>
                    <a:pt x="106" y="43"/>
                  </a:lnTo>
                  <a:lnTo>
                    <a:pt x="106" y="43"/>
                  </a:lnTo>
                  <a:lnTo>
                    <a:pt x="110" y="43"/>
                  </a:lnTo>
                  <a:lnTo>
                    <a:pt x="114" y="43"/>
                  </a:lnTo>
                  <a:lnTo>
                    <a:pt x="123" y="50"/>
                  </a:lnTo>
                  <a:lnTo>
                    <a:pt x="125" y="50"/>
                  </a:lnTo>
                  <a:lnTo>
                    <a:pt x="127" y="50"/>
                  </a:lnTo>
                  <a:lnTo>
                    <a:pt x="129" y="50"/>
                  </a:lnTo>
                  <a:lnTo>
                    <a:pt x="129" y="50"/>
                  </a:lnTo>
                  <a:lnTo>
                    <a:pt x="131" y="50"/>
                  </a:lnTo>
                  <a:lnTo>
                    <a:pt x="133" y="50"/>
                  </a:lnTo>
                  <a:lnTo>
                    <a:pt x="133" y="48"/>
                  </a:lnTo>
                  <a:lnTo>
                    <a:pt x="133" y="48"/>
                  </a:lnTo>
                  <a:lnTo>
                    <a:pt x="135" y="48"/>
                  </a:lnTo>
                  <a:lnTo>
                    <a:pt x="135" y="48"/>
                  </a:lnTo>
                  <a:lnTo>
                    <a:pt x="137" y="48"/>
                  </a:lnTo>
                  <a:lnTo>
                    <a:pt x="139" y="50"/>
                  </a:lnTo>
                  <a:lnTo>
                    <a:pt x="139" y="50"/>
                  </a:lnTo>
                  <a:lnTo>
                    <a:pt x="137" y="52"/>
                  </a:lnTo>
                  <a:lnTo>
                    <a:pt x="135" y="54"/>
                  </a:lnTo>
                  <a:lnTo>
                    <a:pt x="135" y="54"/>
                  </a:lnTo>
                  <a:lnTo>
                    <a:pt x="137" y="58"/>
                  </a:lnTo>
                  <a:lnTo>
                    <a:pt x="139" y="58"/>
                  </a:lnTo>
                  <a:lnTo>
                    <a:pt x="139" y="56"/>
                  </a:lnTo>
                  <a:lnTo>
                    <a:pt x="139" y="56"/>
                  </a:lnTo>
                  <a:lnTo>
                    <a:pt x="139" y="54"/>
                  </a:lnTo>
                  <a:lnTo>
                    <a:pt x="139" y="54"/>
                  </a:lnTo>
                  <a:lnTo>
                    <a:pt x="141" y="56"/>
                  </a:lnTo>
                  <a:lnTo>
                    <a:pt x="141" y="56"/>
                  </a:lnTo>
                  <a:lnTo>
                    <a:pt x="139" y="58"/>
                  </a:lnTo>
                  <a:lnTo>
                    <a:pt x="139" y="58"/>
                  </a:lnTo>
                  <a:lnTo>
                    <a:pt x="141" y="60"/>
                  </a:lnTo>
                  <a:lnTo>
                    <a:pt x="143" y="58"/>
                  </a:lnTo>
                  <a:lnTo>
                    <a:pt x="143" y="58"/>
                  </a:lnTo>
                  <a:lnTo>
                    <a:pt x="145" y="58"/>
                  </a:lnTo>
                  <a:lnTo>
                    <a:pt x="145" y="58"/>
                  </a:lnTo>
                  <a:lnTo>
                    <a:pt x="145" y="58"/>
                  </a:lnTo>
                  <a:lnTo>
                    <a:pt x="143" y="60"/>
                  </a:lnTo>
                  <a:lnTo>
                    <a:pt x="143" y="62"/>
                  </a:lnTo>
                  <a:lnTo>
                    <a:pt x="145" y="62"/>
                  </a:lnTo>
                  <a:lnTo>
                    <a:pt x="143" y="64"/>
                  </a:lnTo>
                  <a:lnTo>
                    <a:pt x="145" y="64"/>
                  </a:lnTo>
                  <a:lnTo>
                    <a:pt x="149" y="66"/>
                  </a:lnTo>
                  <a:lnTo>
                    <a:pt x="149" y="68"/>
                  </a:lnTo>
                  <a:lnTo>
                    <a:pt x="149" y="68"/>
                  </a:lnTo>
                  <a:lnTo>
                    <a:pt x="149" y="72"/>
                  </a:lnTo>
                  <a:lnTo>
                    <a:pt x="149" y="72"/>
                  </a:lnTo>
                  <a:lnTo>
                    <a:pt x="151" y="74"/>
                  </a:lnTo>
                  <a:lnTo>
                    <a:pt x="151" y="74"/>
                  </a:lnTo>
                  <a:lnTo>
                    <a:pt x="153" y="76"/>
                  </a:lnTo>
                  <a:lnTo>
                    <a:pt x="157" y="74"/>
                  </a:lnTo>
                  <a:lnTo>
                    <a:pt x="159" y="74"/>
                  </a:lnTo>
                  <a:lnTo>
                    <a:pt x="164" y="74"/>
                  </a:lnTo>
                  <a:lnTo>
                    <a:pt x="168" y="76"/>
                  </a:lnTo>
                  <a:lnTo>
                    <a:pt x="168" y="76"/>
                  </a:lnTo>
                  <a:lnTo>
                    <a:pt x="170" y="78"/>
                  </a:lnTo>
                  <a:lnTo>
                    <a:pt x="172" y="78"/>
                  </a:lnTo>
                  <a:lnTo>
                    <a:pt x="174" y="78"/>
                  </a:lnTo>
                  <a:lnTo>
                    <a:pt x="176" y="80"/>
                  </a:lnTo>
                  <a:lnTo>
                    <a:pt x="178" y="80"/>
                  </a:lnTo>
                  <a:lnTo>
                    <a:pt x="178" y="82"/>
                  </a:lnTo>
                  <a:lnTo>
                    <a:pt x="176" y="84"/>
                  </a:lnTo>
                  <a:lnTo>
                    <a:pt x="174" y="89"/>
                  </a:lnTo>
                  <a:lnTo>
                    <a:pt x="174" y="91"/>
                  </a:lnTo>
                  <a:lnTo>
                    <a:pt x="174" y="91"/>
                  </a:lnTo>
                  <a:lnTo>
                    <a:pt x="176" y="93"/>
                  </a:lnTo>
                  <a:lnTo>
                    <a:pt x="178" y="93"/>
                  </a:lnTo>
                  <a:lnTo>
                    <a:pt x="182" y="97"/>
                  </a:lnTo>
                  <a:lnTo>
                    <a:pt x="184" y="97"/>
                  </a:lnTo>
                  <a:lnTo>
                    <a:pt x="190" y="95"/>
                  </a:lnTo>
                  <a:lnTo>
                    <a:pt x="194" y="97"/>
                  </a:lnTo>
                  <a:lnTo>
                    <a:pt x="196" y="97"/>
                  </a:lnTo>
                  <a:lnTo>
                    <a:pt x="198" y="99"/>
                  </a:lnTo>
                  <a:lnTo>
                    <a:pt x="198" y="99"/>
                  </a:lnTo>
                  <a:lnTo>
                    <a:pt x="200" y="101"/>
                  </a:lnTo>
                  <a:lnTo>
                    <a:pt x="200" y="103"/>
                  </a:lnTo>
                  <a:lnTo>
                    <a:pt x="202" y="103"/>
                  </a:lnTo>
                  <a:lnTo>
                    <a:pt x="202" y="103"/>
                  </a:lnTo>
                  <a:lnTo>
                    <a:pt x="207" y="103"/>
                  </a:lnTo>
                  <a:lnTo>
                    <a:pt x="209" y="103"/>
                  </a:lnTo>
                  <a:lnTo>
                    <a:pt x="211" y="103"/>
                  </a:lnTo>
                  <a:lnTo>
                    <a:pt x="211" y="105"/>
                  </a:lnTo>
                  <a:lnTo>
                    <a:pt x="217" y="97"/>
                  </a:lnTo>
                  <a:lnTo>
                    <a:pt x="227" y="107"/>
                  </a:lnTo>
                  <a:lnTo>
                    <a:pt x="223" y="117"/>
                  </a:lnTo>
                  <a:lnTo>
                    <a:pt x="223" y="119"/>
                  </a:lnTo>
                  <a:lnTo>
                    <a:pt x="225" y="121"/>
                  </a:lnTo>
                  <a:lnTo>
                    <a:pt x="225" y="123"/>
                  </a:lnTo>
                  <a:lnTo>
                    <a:pt x="225" y="123"/>
                  </a:lnTo>
                  <a:lnTo>
                    <a:pt x="223" y="123"/>
                  </a:lnTo>
                  <a:lnTo>
                    <a:pt x="223" y="125"/>
                  </a:lnTo>
                  <a:lnTo>
                    <a:pt x="225" y="125"/>
                  </a:lnTo>
                  <a:lnTo>
                    <a:pt x="225" y="128"/>
                  </a:lnTo>
                  <a:lnTo>
                    <a:pt x="221" y="130"/>
                  </a:lnTo>
                  <a:lnTo>
                    <a:pt x="219" y="130"/>
                  </a:lnTo>
                  <a:lnTo>
                    <a:pt x="219" y="132"/>
                  </a:lnTo>
                  <a:lnTo>
                    <a:pt x="219" y="132"/>
                  </a:lnTo>
                  <a:lnTo>
                    <a:pt x="219" y="134"/>
                  </a:lnTo>
                  <a:lnTo>
                    <a:pt x="219" y="136"/>
                  </a:lnTo>
                  <a:lnTo>
                    <a:pt x="219" y="136"/>
                  </a:lnTo>
                  <a:lnTo>
                    <a:pt x="219" y="138"/>
                  </a:lnTo>
                  <a:lnTo>
                    <a:pt x="217" y="140"/>
                  </a:lnTo>
                  <a:lnTo>
                    <a:pt x="217" y="140"/>
                  </a:lnTo>
                  <a:lnTo>
                    <a:pt x="215" y="140"/>
                  </a:lnTo>
                  <a:lnTo>
                    <a:pt x="215" y="140"/>
                  </a:lnTo>
                  <a:lnTo>
                    <a:pt x="215" y="142"/>
                  </a:lnTo>
                  <a:lnTo>
                    <a:pt x="213" y="142"/>
                  </a:lnTo>
                  <a:lnTo>
                    <a:pt x="213" y="142"/>
                  </a:lnTo>
                  <a:lnTo>
                    <a:pt x="213" y="142"/>
                  </a:lnTo>
                  <a:lnTo>
                    <a:pt x="213" y="144"/>
                  </a:lnTo>
                  <a:lnTo>
                    <a:pt x="213" y="144"/>
                  </a:lnTo>
                  <a:lnTo>
                    <a:pt x="213" y="144"/>
                  </a:lnTo>
                  <a:lnTo>
                    <a:pt x="215" y="144"/>
                  </a:lnTo>
                  <a:lnTo>
                    <a:pt x="215" y="144"/>
                  </a:lnTo>
                  <a:lnTo>
                    <a:pt x="213" y="146"/>
                  </a:lnTo>
                  <a:lnTo>
                    <a:pt x="213" y="146"/>
                  </a:lnTo>
                  <a:lnTo>
                    <a:pt x="211" y="148"/>
                  </a:lnTo>
                  <a:lnTo>
                    <a:pt x="211" y="150"/>
                  </a:lnTo>
                  <a:lnTo>
                    <a:pt x="211" y="152"/>
                  </a:lnTo>
                  <a:lnTo>
                    <a:pt x="209" y="152"/>
                  </a:lnTo>
                  <a:lnTo>
                    <a:pt x="209" y="154"/>
                  </a:lnTo>
                  <a:lnTo>
                    <a:pt x="211" y="158"/>
                  </a:lnTo>
                  <a:lnTo>
                    <a:pt x="211" y="160"/>
                  </a:lnTo>
                  <a:lnTo>
                    <a:pt x="213" y="162"/>
                  </a:lnTo>
                  <a:lnTo>
                    <a:pt x="213" y="164"/>
                  </a:lnTo>
                  <a:lnTo>
                    <a:pt x="215" y="166"/>
                  </a:lnTo>
                  <a:lnTo>
                    <a:pt x="217" y="166"/>
                  </a:lnTo>
                  <a:lnTo>
                    <a:pt x="219" y="166"/>
                  </a:lnTo>
                  <a:lnTo>
                    <a:pt x="219" y="164"/>
                  </a:lnTo>
                  <a:lnTo>
                    <a:pt x="221" y="164"/>
                  </a:lnTo>
                  <a:lnTo>
                    <a:pt x="223" y="162"/>
                  </a:lnTo>
                  <a:lnTo>
                    <a:pt x="223" y="158"/>
                  </a:lnTo>
                  <a:lnTo>
                    <a:pt x="221" y="158"/>
                  </a:lnTo>
                  <a:lnTo>
                    <a:pt x="221" y="156"/>
                  </a:lnTo>
                  <a:lnTo>
                    <a:pt x="221" y="156"/>
                  </a:lnTo>
                  <a:lnTo>
                    <a:pt x="221" y="156"/>
                  </a:lnTo>
                  <a:lnTo>
                    <a:pt x="223" y="154"/>
                  </a:lnTo>
                  <a:lnTo>
                    <a:pt x="223" y="154"/>
                  </a:lnTo>
                  <a:lnTo>
                    <a:pt x="223" y="154"/>
                  </a:lnTo>
                  <a:lnTo>
                    <a:pt x="223" y="154"/>
                  </a:lnTo>
                  <a:lnTo>
                    <a:pt x="223" y="156"/>
                  </a:lnTo>
                  <a:lnTo>
                    <a:pt x="223" y="156"/>
                  </a:lnTo>
                  <a:lnTo>
                    <a:pt x="223" y="156"/>
                  </a:lnTo>
                  <a:lnTo>
                    <a:pt x="223" y="158"/>
                  </a:lnTo>
                  <a:lnTo>
                    <a:pt x="225" y="158"/>
                  </a:lnTo>
                  <a:lnTo>
                    <a:pt x="225" y="160"/>
                  </a:lnTo>
                  <a:lnTo>
                    <a:pt x="227" y="158"/>
                  </a:lnTo>
                  <a:lnTo>
                    <a:pt x="227" y="158"/>
                  </a:lnTo>
                  <a:lnTo>
                    <a:pt x="229" y="156"/>
                  </a:lnTo>
                  <a:lnTo>
                    <a:pt x="229" y="154"/>
                  </a:lnTo>
                  <a:lnTo>
                    <a:pt x="229" y="154"/>
                  </a:lnTo>
                  <a:lnTo>
                    <a:pt x="229" y="152"/>
                  </a:lnTo>
                  <a:lnTo>
                    <a:pt x="229" y="152"/>
                  </a:lnTo>
                  <a:lnTo>
                    <a:pt x="231" y="154"/>
                  </a:lnTo>
                  <a:lnTo>
                    <a:pt x="231" y="156"/>
                  </a:lnTo>
                  <a:lnTo>
                    <a:pt x="235" y="162"/>
                  </a:lnTo>
                  <a:lnTo>
                    <a:pt x="237" y="164"/>
                  </a:lnTo>
                  <a:lnTo>
                    <a:pt x="245" y="169"/>
                  </a:lnTo>
                  <a:lnTo>
                    <a:pt x="248" y="171"/>
                  </a:lnTo>
                  <a:lnTo>
                    <a:pt x="250" y="171"/>
                  </a:lnTo>
                  <a:lnTo>
                    <a:pt x="250" y="166"/>
                  </a:lnTo>
                  <a:lnTo>
                    <a:pt x="248" y="164"/>
                  </a:lnTo>
                  <a:lnTo>
                    <a:pt x="245" y="162"/>
                  </a:lnTo>
                  <a:lnTo>
                    <a:pt x="243" y="158"/>
                  </a:lnTo>
                  <a:lnTo>
                    <a:pt x="245" y="158"/>
                  </a:lnTo>
                  <a:lnTo>
                    <a:pt x="248" y="160"/>
                  </a:lnTo>
                  <a:lnTo>
                    <a:pt x="250" y="162"/>
                  </a:lnTo>
                  <a:lnTo>
                    <a:pt x="252" y="166"/>
                  </a:lnTo>
                  <a:lnTo>
                    <a:pt x="252" y="169"/>
                  </a:lnTo>
                  <a:lnTo>
                    <a:pt x="252" y="169"/>
                  </a:lnTo>
                  <a:lnTo>
                    <a:pt x="254" y="171"/>
                  </a:lnTo>
                  <a:lnTo>
                    <a:pt x="256" y="173"/>
                  </a:lnTo>
                  <a:lnTo>
                    <a:pt x="258" y="173"/>
                  </a:lnTo>
                  <a:lnTo>
                    <a:pt x="264" y="171"/>
                  </a:lnTo>
                  <a:lnTo>
                    <a:pt x="268" y="169"/>
                  </a:lnTo>
                  <a:lnTo>
                    <a:pt x="270" y="171"/>
                  </a:lnTo>
                  <a:lnTo>
                    <a:pt x="272" y="171"/>
                  </a:lnTo>
                  <a:lnTo>
                    <a:pt x="274" y="173"/>
                  </a:lnTo>
                  <a:lnTo>
                    <a:pt x="274" y="173"/>
                  </a:lnTo>
                  <a:lnTo>
                    <a:pt x="276" y="175"/>
                  </a:lnTo>
                  <a:lnTo>
                    <a:pt x="276" y="175"/>
                  </a:lnTo>
                  <a:lnTo>
                    <a:pt x="278" y="179"/>
                  </a:lnTo>
                  <a:lnTo>
                    <a:pt x="278" y="179"/>
                  </a:lnTo>
                  <a:lnTo>
                    <a:pt x="280" y="179"/>
                  </a:lnTo>
                  <a:lnTo>
                    <a:pt x="280" y="179"/>
                  </a:lnTo>
                  <a:lnTo>
                    <a:pt x="280" y="175"/>
                  </a:lnTo>
                  <a:lnTo>
                    <a:pt x="282" y="177"/>
                  </a:lnTo>
                  <a:lnTo>
                    <a:pt x="282" y="179"/>
                  </a:lnTo>
                  <a:lnTo>
                    <a:pt x="284" y="177"/>
                  </a:lnTo>
                  <a:lnTo>
                    <a:pt x="284" y="175"/>
                  </a:lnTo>
                  <a:lnTo>
                    <a:pt x="284" y="175"/>
                  </a:lnTo>
                  <a:lnTo>
                    <a:pt x="284" y="173"/>
                  </a:lnTo>
                  <a:lnTo>
                    <a:pt x="284" y="173"/>
                  </a:lnTo>
                  <a:lnTo>
                    <a:pt x="282" y="171"/>
                  </a:lnTo>
                  <a:lnTo>
                    <a:pt x="282" y="171"/>
                  </a:lnTo>
                  <a:lnTo>
                    <a:pt x="284" y="173"/>
                  </a:lnTo>
                  <a:lnTo>
                    <a:pt x="286" y="175"/>
                  </a:lnTo>
                  <a:lnTo>
                    <a:pt x="288" y="179"/>
                  </a:lnTo>
                  <a:lnTo>
                    <a:pt x="288" y="179"/>
                  </a:lnTo>
                  <a:lnTo>
                    <a:pt x="291" y="181"/>
                  </a:lnTo>
                  <a:lnTo>
                    <a:pt x="299" y="185"/>
                  </a:lnTo>
                  <a:lnTo>
                    <a:pt x="299" y="183"/>
                  </a:lnTo>
                  <a:lnTo>
                    <a:pt x="297" y="183"/>
                  </a:lnTo>
                  <a:lnTo>
                    <a:pt x="297" y="181"/>
                  </a:lnTo>
                  <a:lnTo>
                    <a:pt x="297" y="181"/>
                  </a:lnTo>
                  <a:lnTo>
                    <a:pt x="297" y="179"/>
                  </a:lnTo>
                  <a:lnTo>
                    <a:pt x="297" y="177"/>
                  </a:lnTo>
                  <a:lnTo>
                    <a:pt x="297" y="175"/>
                  </a:lnTo>
                  <a:lnTo>
                    <a:pt x="295" y="173"/>
                  </a:lnTo>
                  <a:lnTo>
                    <a:pt x="293" y="169"/>
                  </a:lnTo>
                  <a:lnTo>
                    <a:pt x="288" y="169"/>
                  </a:lnTo>
                  <a:lnTo>
                    <a:pt x="288" y="166"/>
                  </a:lnTo>
                  <a:lnTo>
                    <a:pt x="286" y="164"/>
                  </a:lnTo>
                  <a:lnTo>
                    <a:pt x="286" y="164"/>
                  </a:lnTo>
                  <a:lnTo>
                    <a:pt x="288" y="162"/>
                  </a:lnTo>
                  <a:lnTo>
                    <a:pt x="288" y="160"/>
                  </a:lnTo>
                  <a:lnTo>
                    <a:pt x="286" y="158"/>
                  </a:lnTo>
                  <a:lnTo>
                    <a:pt x="284" y="158"/>
                  </a:lnTo>
                  <a:lnTo>
                    <a:pt x="282" y="160"/>
                  </a:lnTo>
                  <a:lnTo>
                    <a:pt x="280" y="160"/>
                  </a:lnTo>
                  <a:lnTo>
                    <a:pt x="278" y="160"/>
                  </a:lnTo>
                  <a:lnTo>
                    <a:pt x="276" y="158"/>
                  </a:lnTo>
                  <a:lnTo>
                    <a:pt x="276" y="156"/>
                  </a:lnTo>
                  <a:lnTo>
                    <a:pt x="274" y="154"/>
                  </a:lnTo>
                  <a:lnTo>
                    <a:pt x="274" y="154"/>
                  </a:lnTo>
                  <a:lnTo>
                    <a:pt x="268" y="152"/>
                  </a:lnTo>
                  <a:lnTo>
                    <a:pt x="264" y="150"/>
                  </a:lnTo>
                  <a:lnTo>
                    <a:pt x="262" y="148"/>
                  </a:lnTo>
                  <a:lnTo>
                    <a:pt x="260" y="146"/>
                  </a:lnTo>
                  <a:lnTo>
                    <a:pt x="258" y="142"/>
                  </a:lnTo>
                  <a:lnTo>
                    <a:pt x="258" y="140"/>
                  </a:lnTo>
                  <a:lnTo>
                    <a:pt x="258" y="140"/>
                  </a:lnTo>
                  <a:lnTo>
                    <a:pt x="258" y="140"/>
                  </a:lnTo>
                  <a:lnTo>
                    <a:pt x="256" y="138"/>
                  </a:lnTo>
                  <a:lnTo>
                    <a:pt x="256" y="136"/>
                  </a:lnTo>
                  <a:lnTo>
                    <a:pt x="254" y="128"/>
                  </a:lnTo>
                  <a:lnTo>
                    <a:pt x="254" y="128"/>
                  </a:lnTo>
                  <a:lnTo>
                    <a:pt x="254" y="125"/>
                  </a:lnTo>
                  <a:lnTo>
                    <a:pt x="254" y="125"/>
                  </a:lnTo>
                  <a:lnTo>
                    <a:pt x="256" y="128"/>
                  </a:lnTo>
                  <a:lnTo>
                    <a:pt x="260" y="142"/>
                  </a:lnTo>
                  <a:lnTo>
                    <a:pt x="262" y="144"/>
                  </a:lnTo>
                  <a:lnTo>
                    <a:pt x="262" y="144"/>
                  </a:lnTo>
                  <a:lnTo>
                    <a:pt x="270" y="150"/>
                  </a:lnTo>
                  <a:lnTo>
                    <a:pt x="270" y="150"/>
                  </a:lnTo>
                  <a:lnTo>
                    <a:pt x="274" y="150"/>
                  </a:lnTo>
                  <a:lnTo>
                    <a:pt x="274" y="150"/>
                  </a:lnTo>
                  <a:lnTo>
                    <a:pt x="276" y="152"/>
                  </a:lnTo>
                  <a:lnTo>
                    <a:pt x="276" y="152"/>
                  </a:lnTo>
                  <a:lnTo>
                    <a:pt x="278" y="152"/>
                  </a:lnTo>
                  <a:lnTo>
                    <a:pt x="278" y="154"/>
                  </a:lnTo>
                  <a:lnTo>
                    <a:pt x="278" y="154"/>
                  </a:lnTo>
                  <a:lnTo>
                    <a:pt x="280" y="156"/>
                  </a:lnTo>
                  <a:lnTo>
                    <a:pt x="280" y="156"/>
                  </a:lnTo>
                  <a:lnTo>
                    <a:pt x="284" y="154"/>
                  </a:lnTo>
                  <a:lnTo>
                    <a:pt x="286" y="154"/>
                  </a:lnTo>
                  <a:lnTo>
                    <a:pt x="286" y="152"/>
                  </a:lnTo>
                  <a:lnTo>
                    <a:pt x="284" y="150"/>
                  </a:lnTo>
                  <a:lnTo>
                    <a:pt x="282" y="148"/>
                  </a:lnTo>
                  <a:lnTo>
                    <a:pt x="280" y="144"/>
                  </a:lnTo>
                  <a:lnTo>
                    <a:pt x="272" y="140"/>
                  </a:lnTo>
                  <a:lnTo>
                    <a:pt x="270" y="136"/>
                  </a:lnTo>
                  <a:lnTo>
                    <a:pt x="270" y="134"/>
                  </a:lnTo>
                  <a:lnTo>
                    <a:pt x="270" y="125"/>
                  </a:lnTo>
                  <a:lnTo>
                    <a:pt x="268" y="125"/>
                  </a:lnTo>
                  <a:lnTo>
                    <a:pt x="268" y="123"/>
                  </a:lnTo>
                  <a:lnTo>
                    <a:pt x="266" y="121"/>
                  </a:lnTo>
                  <a:lnTo>
                    <a:pt x="266" y="117"/>
                  </a:lnTo>
                  <a:lnTo>
                    <a:pt x="264" y="117"/>
                  </a:lnTo>
                  <a:lnTo>
                    <a:pt x="262" y="115"/>
                  </a:lnTo>
                  <a:lnTo>
                    <a:pt x="262" y="113"/>
                  </a:lnTo>
                  <a:lnTo>
                    <a:pt x="262" y="111"/>
                  </a:lnTo>
                  <a:lnTo>
                    <a:pt x="266" y="109"/>
                  </a:lnTo>
                  <a:lnTo>
                    <a:pt x="266" y="107"/>
                  </a:lnTo>
                  <a:lnTo>
                    <a:pt x="266" y="105"/>
                  </a:lnTo>
                  <a:lnTo>
                    <a:pt x="266" y="105"/>
                  </a:lnTo>
                  <a:lnTo>
                    <a:pt x="264" y="107"/>
                  </a:lnTo>
                  <a:lnTo>
                    <a:pt x="262" y="105"/>
                  </a:lnTo>
                  <a:lnTo>
                    <a:pt x="262" y="103"/>
                  </a:lnTo>
                  <a:lnTo>
                    <a:pt x="262" y="101"/>
                  </a:lnTo>
                  <a:lnTo>
                    <a:pt x="262" y="101"/>
                  </a:lnTo>
                  <a:lnTo>
                    <a:pt x="260" y="101"/>
                  </a:lnTo>
                  <a:lnTo>
                    <a:pt x="260" y="101"/>
                  </a:lnTo>
                  <a:lnTo>
                    <a:pt x="262" y="99"/>
                  </a:lnTo>
                  <a:lnTo>
                    <a:pt x="264" y="99"/>
                  </a:lnTo>
                  <a:lnTo>
                    <a:pt x="264" y="101"/>
                  </a:lnTo>
                  <a:lnTo>
                    <a:pt x="266" y="99"/>
                  </a:lnTo>
                  <a:lnTo>
                    <a:pt x="264" y="97"/>
                  </a:lnTo>
                  <a:lnTo>
                    <a:pt x="262" y="97"/>
                  </a:lnTo>
                  <a:lnTo>
                    <a:pt x="260" y="95"/>
                  </a:lnTo>
                  <a:lnTo>
                    <a:pt x="260" y="95"/>
                  </a:lnTo>
                  <a:lnTo>
                    <a:pt x="258" y="93"/>
                  </a:lnTo>
                  <a:lnTo>
                    <a:pt x="260" y="93"/>
                  </a:lnTo>
                  <a:lnTo>
                    <a:pt x="262" y="93"/>
                  </a:lnTo>
                  <a:lnTo>
                    <a:pt x="266" y="95"/>
                  </a:lnTo>
                  <a:lnTo>
                    <a:pt x="268" y="95"/>
                  </a:lnTo>
                  <a:lnTo>
                    <a:pt x="268" y="95"/>
                  </a:lnTo>
                  <a:lnTo>
                    <a:pt x="266" y="93"/>
                  </a:lnTo>
                  <a:lnTo>
                    <a:pt x="262" y="89"/>
                  </a:lnTo>
                  <a:lnTo>
                    <a:pt x="260" y="87"/>
                  </a:lnTo>
                  <a:lnTo>
                    <a:pt x="258" y="84"/>
                  </a:lnTo>
                  <a:lnTo>
                    <a:pt x="256" y="84"/>
                  </a:lnTo>
                  <a:lnTo>
                    <a:pt x="256" y="84"/>
                  </a:lnTo>
                  <a:lnTo>
                    <a:pt x="254" y="84"/>
                  </a:lnTo>
                  <a:lnTo>
                    <a:pt x="254" y="82"/>
                  </a:lnTo>
                  <a:lnTo>
                    <a:pt x="254" y="82"/>
                  </a:lnTo>
                  <a:lnTo>
                    <a:pt x="256" y="80"/>
                  </a:lnTo>
                  <a:lnTo>
                    <a:pt x="256" y="80"/>
                  </a:lnTo>
                  <a:lnTo>
                    <a:pt x="258" y="82"/>
                  </a:lnTo>
                  <a:lnTo>
                    <a:pt x="260" y="84"/>
                  </a:lnTo>
                  <a:lnTo>
                    <a:pt x="264" y="89"/>
                  </a:lnTo>
                  <a:lnTo>
                    <a:pt x="266" y="87"/>
                  </a:lnTo>
                  <a:lnTo>
                    <a:pt x="266" y="87"/>
                  </a:lnTo>
                  <a:lnTo>
                    <a:pt x="266" y="87"/>
                  </a:lnTo>
                  <a:lnTo>
                    <a:pt x="268" y="87"/>
                  </a:lnTo>
                  <a:lnTo>
                    <a:pt x="270" y="84"/>
                  </a:lnTo>
                  <a:lnTo>
                    <a:pt x="270" y="84"/>
                  </a:lnTo>
                  <a:lnTo>
                    <a:pt x="268" y="82"/>
                  </a:lnTo>
                  <a:lnTo>
                    <a:pt x="266" y="80"/>
                  </a:lnTo>
                  <a:lnTo>
                    <a:pt x="262" y="80"/>
                  </a:lnTo>
                  <a:lnTo>
                    <a:pt x="260" y="80"/>
                  </a:lnTo>
                  <a:lnTo>
                    <a:pt x="260" y="80"/>
                  </a:lnTo>
                  <a:lnTo>
                    <a:pt x="258" y="78"/>
                  </a:lnTo>
                  <a:lnTo>
                    <a:pt x="258" y="78"/>
                  </a:lnTo>
                  <a:lnTo>
                    <a:pt x="258" y="78"/>
                  </a:lnTo>
                  <a:lnTo>
                    <a:pt x="258" y="78"/>
                  </a:lnTo>
                  <a:lnTo>
                    <a:pt x="262" y="78"/>
                  </a:lnTo>
                  <a:lnTo>
                    <a:pt x="262" y="78"/>
                  </a:lnTo>
                  <a:lnTo>
                    <a:pt x="264" y="78"/>
                  </a:lnTo>
                  <a:lnTo>
                    <a:pt x="266" y="78"/>
                  </a:lnTo>
                  <a:lnTo>
                    <a:pt x="266" y="80"/>
                  </a:lnTo>
                  <a:lnTo>
                    <a:pt x="266" y="80"/>
                  </a:lnTo>
                  <a:lnTo>
                    <a:pt x="266" y="76"/>
                  </a:lnTo>
                  <a:lnTo>
                    <a:pt x="264" y="74"/>
                  </a:lnTo>
                  <a:lnTo>
                    <a:pt x="264" y="72"/>
                  </a:lnTo>
                  <a:lnTo>
                    <a:pt x="262" y="70"/>
                  </a:lnTo>
                  <a:lnTo>
                    <a:pt x="260" y="70"/>
                  </a:lnTo>
                  <a:lnTo>
                    <a:pt x="258" y="72"/>
                  </a:lnTo>
                  <a:lnTo>
                    <a:pt x="258" y="70"/>
                  </a:lnTo>
                  <a:lnTo>
                    <a:pt x="256" y="70"/>
                  </a:lnTo>
                  <a:lnTo>
                    <a:pt x="256" y="68"/>
                  </a:lnTo>
                  <a:lnTo>
                    <a:pt x="256" y="68"/>
                  </a:lnTo>
                  <a:lnTo>
                    <a:pt x="254" y="68"/>
                  </a:lnTo>
                  <a:lnTo>
                    <a:pt x="254" y="66"/>
                  </a:lnTo>
                  <a:lnTo>
                    <a:pt x="252" y="66"/>
                  </a:lnTo>
                  <a:lnTo>
                    <a:pt x="250" y="66"/>
                  </a:lnTo>
                  <a:lnTo>
                    <a:pt x="250" y="64"/>
                  </a:lnTo>
                  <a:lnTo>
                    <a:pt x="250" y="64"/>
                  </a:lnTo>
                  <a:lnTo>
                    <a:pt x="248" y="64"/>
                  </a:lnTo>
                  <a:lnTo>
                    <a:pt x="245" y="64"/>
                  </a:lnTo>
                  <a:lnTo>
                    <a:pt x="245" y="64"/>
                  </a:lnTo>
                  <a:lnTo>
                    <a:pt x="245" y="62"/>
                  </a:lnTo>
                  <a:lnTo>
                    <a:pt x="248" y="62"/>
                  </a:lnTo>
                  <a:lnTo>
                    <a:pt x="250" y="62"/>
                  </a:lnTo>
                  <a:lnTo>
                    <a:pt x="250" y="60"/>
                  </a:lnTo>
                  <a:lnTo>
                    <a:pt x="250" y="62"/>
                  </a:lnTo>
                  <a:lnTo>
                    <a:pt x="256" y="62"/>
                  </a:lnTo>
                  <a:lnTo>
                    <a:pt x="256" y="64"/>
                  </a:lnTo>
                  <a:lnTo>
                    <a:pt x="258" y="64"/>
                  </a:lnTo>
                  <a:lnTo>
                    <a:pt x="258" y="64"/>
                  </a:lnTo>
                  <a:lnTo>
                    <a:pt x="260" y="64"/>
                  </a:lnTo>
                  <a:lnTo>
                    <a:pt x="260" y="66"/>
                  </a:lnTo>
                  <a:lnTo>
                    <a:pt x="260" y="64"/>
                  </a:lnTo>
                  <a:lnTo>
                    <a:pt x="260" y="64"/>
                  </a:lnTo>
                  <a:lnTo>
                    <a:pt x="262" y="64"/>
                  </a:lnTo>
                  <a:lnTo>
                    <a:pt x="262" y="66"/>
                  </a:lnTo>
                  <a:lnTo>
                    <a:pt x="266" y="62"/>
                  </a:lnTo>
                  <a:lnTo>
                    <a:pt x="266" y="62"/>
                  </a:lnTo>
                  <a:lnTo>
                    <a:pt x="262" y="62"/>
                  </a:lnTo>
                  <a:lnTo>
                    <a:pt x="260" y="60"/>
                  </a:lnTo>
                  <a:lnTo>
                    <a:pt x="258" y="58"/>
                  </a:lnTo>
                  <a:lnTo>
                    <a:pt x="256" y="56"/>
                  </a:lnTo>
                  <a:lnTo>
                    <a:pt x="258" y="56"/>
                  </a:lnTo>
                  <a:lnTo>
                    <a:pt x="260" y="56"/>
                  </a:lnTo>
                  <a:lnTo>
                    <a:pt x="262" y="58"/>
                  </a:lnTo>
                  <a:lnTo>
                    <a:pt x="262" y="60"/>
                  </a:lnTo>
                  <a:lnTo>
                    <a:pt x="264" y="60"/>
                  </a:lnTo>
                  <a:lnTo>
                    <a:pt x="264" y="58"/>
                  </a:lnTo>
                  <a:lnTo>
                    <a:pt x="264" y="58"/>
                  </a:lnTo>
                  <a:lnTo>
                    <a:pt x="260" y="54"/>
                  </a:lnTo>
                  <a:lnTo>
                    <a:pt x="260" y="54"/>
                  </a:lnTo>
                  <a:lnTo>
                    <a:pt x="260" y="54"/>
                  </a:lnTo>
                  <a:lnTo>
                    <a:pt x="266" y="54"/>
                  </a:lnTo>
                  <a:lnTo>
                    <a:pt x="266" y="52"/>
                  </a:lnTo>
                  <a:lnTo>
                    <a:pt x="264" y="52"/>
                  </a:lnTo>
                  <a:lnTo>
                    <a:pt x="266" y="50"/>
                  </a:lnTo>
                  <a:lnTo>
                    <a:pt x="266" y="50"/>
                  </a:lnTo>
                  <a:lnTo>
                    <a:pt x="266" y="50"/>
                  </a:lnTo>
                  <a:lnTo>
                    <a:pt x="268" y="48"/>
                  </a:lnTo>
                  <a:lnTo>
                    <a:pt x="266" y="48"/>
                  </a:lnTo>
                  <a:lnTo>
                    <a:pt x="266" y="48"/>
                  </a:lnTo>
                  <a:lnTo>
                    <a:pt x="264" y="46"/>
                  </a:lnTo>
                  <a:lnTo>
                    <a:pt x="262" y="46"/>
                  </a:lnTo>
                  <a:lnTo>
                    <a:pt x="260" y="46"/>
                  </a:lnTo>
                  <a:lnTo>
                    <a:pt x="266" y="41"/>
                  </a:lnTo>
                  <a:lnTo>
                    <a:pt x="268" y="43"/>
                  </a:lnTo>
                  <a:lnTo>
                    <a:pt x="270" y="48"/>
                  </a:lnTo>
                  <a:lnTo>
                    <a:pt x="272" y="52"/>
                  </a:lnTo>
                  <a:lnTo>
                    <a:pt x="274" y="48"/>
                  </a:lnTo>
                  <a:lnTo>
                    <a:pt x="274" y="48"/>
                  </a:lnTo>
                  <a:lnTo>
                    <a:pt x="274" y="48"/>
                  </a:lnTo>
                  <a:lnTo>
                    <a:pt x="274" y="46"/>
                  </a:lnTo>
                  <a:lnTo>
                    <a:pt x="272" y="43"/>
                  </a:lnTo>
                  <a:lnTo>
                    <a:pt x="272" y="35"/>
                  </a:lnTo>
                  <a:lnTo>
                    <a:pt x="272" y="35"/>
                  </a:lnTo>
                  <a:lnTo>
                    <a:pt x="272" y="35"/>
                  </a:lnTo>
                  <a:lnTo>
                    <a:pt x="272" y="33"/>
                  </a:lnTo>
                  <a:lnTo>
                    <a:pt x="274" y="33"/>
                  </a:lnTo>
                  <a:lnTo>
                    <a:pt x="274" y="33"/>
                  </a:lnTo>
                  <a:lnTo>
                    <a:pt x="274" y="35"/>
                  </a:lnTo>
                  <a:lnTo>
                    <a:pt x="274" y="37"/>
                  </a:lnTo>
                  <a:lnTo>
                    <a:pt x="274" y="41"/>
                  </a:lnTo>
                  <a:lnTo>
                    <a:pt x="276" y="43"/>
                  </a:lnTo>
                  <a:lnTo>
                    <a:pt x="276" y="46"/>
                  </a:lnTo>
                  <a:lnTo>
                    <a:pt x="278" y="41"/>
                  </a:lnTo>
                  <a:lnTo>
                    <a:pt x="282" y="37"/>
                  </a:lnTo>
                  <a:lnTo>
                    <a:pt x="286" y="33"/>
                  </a:lnTo>
                  <a:lnTo>
                    <a:pt x="286" y="33"/>
                  </a:lnTo>
                  <a:lnTo>
                    <a:pt x="286" y="31"/>
                  </a:lnTo>
                  <a:lnTo>
                    <a:pt x="286" y="31"/>
                  </a:lnTo>
                  <a:lnTo>
                    <a:pt x="282" y="31"/>
                  </a:lnTo>
                  <a:lnTo>
                    <a:pt x="282" y="29"/>
                  </a:lnTo>
                  <a:lnTo>
                    <a:pt x="282" y="23"/>
                  </a:lnTo>
                  <a:lnTo>
                    <a:pt x="282" y="23"/>
                  </a:lnTo>
                  <a:lnTo>
                    <a:pt x="284" y="21"/>
                  </a:lnTo>
                  <a:lnTo>
                    <a:pt x="284" y="21"/>
                  </a:lnTo>
                  <a:lnTo>
                    <a:pt x="291" y="21"/>
                  </a:lnTo>
                  <a:lnTo>
                    <a:pt x="291" y="19"/>
                  </a:lnTo>
                  <a:lnTo>
                    <a:pt x="293" y="17"/>
                  </a:lnTo>
                  <a:lnTo>
                    <a:pt x="293" y="15"/>
                  </a:lnTo>
                  <a:lnTo>
                    <a:pt x="295" y="15"/>
                  </a:lnTo>
                  <a:lnTo>
                    <a:pt x="295" y="19"/>
                  </a:lnTo>
                  <a:lnTo>
                    <a:pt x="295" y="21"/>
                  </a:lnTo>
                  <a:lnTo>
                    <a:pt x="293" y="23"/>
                  </a:lnTo>
                  <a:lnTo>
                    <a:pt x="293" y="27"/>
                  </a:lnTo>
                  <a:lnTo>
                    <a:pt x="291" y="29"/>
                  </a:lnTo>
                  <a:lnTo>
                    <a:pt x="293" y="31"/>
                  </a:lnTo>
                  <a:lnTo>
                    <a:pt x="293" y="29"/>
                  </a:lnTo>
                  <a:lnTo>
                    <a:pt x="299" y="23"/>
                  </a:lnTo>
                  <a:lnTo>
                    <a:pt x="299" y="21"/>
                  </a:lnTo>
                  <a:lnTo>
                    <a:pt x="301" y="19"/>
                  </a:lnTo>
                  <a:lnTo>
                    <a:pt x="301" y="17"/>
                  </a:lnTo>
                  <a:lnTo>
                    <a:pt x="303" y="15"/>
                  </a:lnTo>
                  <a:lnTo>
                    <a:pt x="303" y="17"/>
                  </a:lnTo>
                  <a:lnTo>
                    <a:pt x="303" y="21"/>
                  </a:lnTo>
                  <a:lnTo>
                    <a:pt x="301" y="23"/>
                  </a:lnTo>
                  <a:lnTo>
                    <a:pt x="299" y="25"/>
                  </a:lnTo>
                  <a:lnTo>
                    <a:pt x="301" y="25"/>
                  </a:lnTo>
                  <a:lnTo>
                    <a:pt x="303" y="27"/>
                  </a:lnTo>
                  <a:lnTo>
                    <a:pt x="305" y="27"/>
                  </a:lnTo>
                  <a:lnTo>
                    <a:pt x="305" y="27"/>
                  </a:lnTo>
                  <a:lnTo>
                    <a:pt x="303" y="29"/>
                  </a:lnTo>
                  <a:lnTo>
                    <a:pt x="299" y="27"/>
                  </a:lnTo>
                  <a:lnTo>
                    <a:pt x="297" y="29"/>
                  </a:lnTo>
                  <a:lnTo>
                    <a:pt x="297" y="29"/>
                  </a:lnTo>
                  <a:lnTo>
                    <a:pt x="295" y="31"/>
                  </a:lnTo>
                  <a:lnTo>
                    <a:pt x="293" y="35"/>
                  </a:lnTo>
                  <a:lnTo>
                    <a:pt x="293" y="37"/>
                  </a:lnTo>
                  <a:lnTo>
                    <a:pt x="295" y="37"/>
                  </a:lnTo>
                  <a:lnTo>
                    <a:pt x="303" y="35"/>
                  </a:lnTo>
                  <a:lnTo>
                    <a:pt x="307" y="35"/>
                  </a:lnTo>
                  <a:lnTo>
                    <a:pt x="307" y="37"/>
                  </a:lnTo>
                  <a:lnTo>
                    <a:pt x="305" y="37"/>
                  </a:lnTo>
                  <a:lnTo>
                    <a:pt x="305" y="37"/>
                  </a:lnTo>
                  <a:lnTo>
                    <a:pt x="301" y="39"/>
                  </a:lnTo>
                  <a:lnTo>
                    <a:pt x="293" y="41"/>
                  </a:lnTo>
                  <a:lnTo>
                    <a:pt x="284" y="43"/>
                  </a:lnTo>
                  <a:lnTo>
                    <a:pt x="284" y="43"/>
                  </a:lnTo>
                  <a:lnTo>
                    <a:pt x="284" y="46"/>
                  </a:lnTo>
                  <a:lnTo>
                    <a:pt x="284" y="48"/>
                  </a:lnTo>
                  <a:lnTo>
                    <a:pt x="282" y="48"/>
                  </a:lnTo>
                  <a:lnTo>
                    <a:pt x="282" y="48"/>
                  </a:lnTo>
                  <a:lnTo>
                    <a:pt x="280" y="50"/>
                  </a:lnTo>
                  <a:lnTo>
                    <a:pt x="280" y="50"/>
                  </a:lnTo>
                  <a:lnTo>
                    <a:pt x="280" y="52"/>
                  </a:lnTo>
                  <a:lnTo>
                    <a:pt x="280" y="54"/>
                  </a:lnTo>
                  <a:lnTo>
                    <a:pt x="278" y="62"/>
                  </a:lnTo>
                  <a:lnTo>
                    <a:pt x="278" y="66"/>
                  </a:lnTo>
                  <a:lnTo>
                    <a:pt x="278" y="66"/>
                  </a:lnTo>
                  <a:lnTo>
                    <a:pt x="278" y="68"/>
                  </a:lnTo>
                  <a:lnTo>
                    <a:pt x="278" y="68"/>
                  </a:lnTo>
                  <a:lnTo>
                    <a:pt x="280" y="70"/>
                  </a:lnTo>
                  <a:lnTo>
                    <a:pt x="280" y="70"/>
                  </a:lnTo>
                  <a:lnTo>
                    <a:pt x="282" y="70"/>
                  </a:lnTo>
                  <a:lnTo>
                    <a:pt x="282" y="72"/>
                  </a:lnTo>
                  <a:lnTo>
                    <a:pt x="282" y="76"/>
                  </a:lnTo>
                  <a:lnTo>
                    <a:pt x="282" y="78"/>
                  </a:lnTo>
                  <a:lnTo>
                    <a:pt x="284" y="78"/>
                  </a:lnTo>
                  <a:lnTo>
                    <a:pt x="284" y="78"/>
                  </a:lnTo>
                  <a:lnTo>
                    <a:pt x="284" y="74"/>
                  </a:lnTo>
                  <a:lnTo>
                    <a:pt x="284" y="70"/>
                  </a:lnTo>
                  <a:lnTo>
                    <a:pt x="288" y="68"/>
                  </a:lnTo>
                  <a:lnTo>
                    <a:pt x="288" y="68"/>
                  </a:lnTo>
                  <a:lnTo>
                    <a:pt x="286" y="68"/>
                  </a:lnTo>
                  <a:lnTo>
                    <a:pt x="288" y="68"/>
                  </a:lnTo>
                  <a:lnTo>
                    <a:pt x="291" y="68"/>
                  </a:lnTo>
                  <a:lnTo>
                    <a:pt x="293" y="66"/>
                  </a:lnTo>
                  <a:lnTo>
                    <a:pt x="295" y="66"/>
                  </a:lnTo>
                  <a:lnTo>
                    <a:pt x="293" y="68"/>
                  </a:lnTo>
                  <a:lnTo>
                    <a:pt x="291" y="72"/>
                  </a:lnTo>
                  <a:lnTo>
                    <a:pt x="288" y="74"/>
                  </a:lnTo>
                  <a:lnTo>
                    <a:pt x="291" y="74"/>
                  </a:lnTo>
                  <a:lnTo>
                    <a:pt x="288" y="76"/>
                  </a:lnTo>
                  <a:lnTo>
                    <a:pt x="286" y="76"/>
                  </a:lnTo>
                  <a:lnTo>
                    <a:pt x="288" y="76"/>
                  </a:lnTo>
                  <a:lnTo>
                    <a:pt x="288" y="78"/>
                  </a:lnTo>
                  <a:lnTo>
                    <a:pt x="288" y="78"/>
                  </a:lnTo>
                  <a:lnTo>
                    <a:pt x="291" y="78"/>
                  </a:lnTo>
                  <a:lnTo>
                    <a:pt x="291" y="80"/>
                  </a:lnTo>
                  <a:lnTo>
                    <a:pt x="288" y="82"/>
                  </a:lnTo>
                  <a:lnTo>
                    <a:pt x="286" y="84"/>
                  </a:lnTo>
                  <a:lnTo>
                    <a:pt x="284" y="84"/>
                  </a:lnTo>
                  <a:lnTo>
                    <a:pt x="282" y="84"/>
                  </a:lnTo>
                  <a:lnTo>
                    <a:pt x="282" y="84"/>
                  </a:lnTo>
                  <a:lnTo>
                    <a:pt x="278" y="82"/>
                  </a:lnTo>
                  <a:lnTo>
                    <a:pt x="278" y="82"/>
                  </a:lnTo>
                  <a:lnTo>
                    <a:pt x="276" y="80"/>
                  </a:lnTo>
                  <a:lnTo>
                    <a:pt x="276" y="82"/>
                  </a:lnTo>
                  <a:lnTo>
                    <a:pt x="276" y="84"/>
                  </a:lnTo>
                  <a:lnTo>
                    <a:pt x="276" y="87"/>
                  </a:lnTo>
                  <a:lnTo>
                    <a:pt x="274" y="89"/>
                  </a:lnTo>
                  <a:lnTo>
                    <a:pt x="276" y="91"/>
                  </a:lnTo>
                  <a:lnTo>
                    <a:pt x="276" y="99"/>
                  </a:lnTo>
                  <a:lnTo>
                    <a:pt x="276" y="101"/>
                  </a:lnTo>
                  <a:lnTo>
                    <a:pt x="278" y="99"/>
                  </a:lnTo>
                  <a:lnTo>
                    <a:pt x="278" y="99"/>
                  </a:lnTo>
                  <a:lnTo>
                    <a:pt x="280" y="97"/>
                  </a:lnTo>
                  <a:lnTo>
                    <a:pt x="278" y="97"/>
                  </a:lnTo>
                  <a:lnTo>
                    <a:pt x="278" y="97"/>
                  </a:lnTo>
                  <a:lnTo>
                    <a:pt x="278" y="95"/>
                  </a:lnTo>
                  <a:lnTo>
                    <a:pt x="278" y="95"/>
                  </a:lnTo>
                  <a:lnTo>
                    <a:pt x="278" y="93"/>
                  </a:lnTo>
                  <a:lnTo>
                    <a:pt x="278" y="93"/>
                  </a:lnTo>
                  <a:lnTo>
                    <a:pt x="280" y="93"/>
                  </a:lnTo>
                  <a:lnTo>
                    <a:pt x="282" y="91"/>
                  </a:lnTo>
                  <a:lnTo>
                    <a:pt x="282" y="91"/>
                  </a:lnTo>
                  <a:lnTo>
                    <a:pt x="282" y="91"/>
                  </a:lnTo>
                  <a:lnTo>
                    <a:pt x="282" y="89"/>
                  </a:lnTo>
                  <a:lnTo>
                    <a:pt x="282" y="89"/>
                  </a:lnTo>
                  <a:lnTo>
                    <a:pt x="284" y="89"/>
                  </a:lnTo>
                  <a:lnTo>
                    <a:pt x="284" y="87"/>
                  </a:lnTo>
                  <a:lnTo>
                    <a:pt x="284" y="87"/>
                  </a:lnTo>
                  <a:lnTo>
                    <a:pt x="288" y="89"/>
                  </a:lnTo>
                  <a:lnTo>
                    <a:pt x="288" y="91"/>
                  </a:lnTo>
                  <a:lnTo>
                    <a:pt x="288" y="93"/>
                  </a:lnTo>
                  <a:lnTo>
                    <a:pt x="288" y="93"/>
                  </a:lnTo>
                  <a:lnTo>
                    <a:pt x="291" y="93"/>
                  </a:lnTo>
                  <a:lnTo>
                    <a:pt x="291" y="93"/>
                  </a:lnTo>
                  <a:lnTo>
                    <a:pt x="291" y="91"/>
                  </a:lnTo>
                  <a:lnTo>
                    <a:pt x="291" y="91"/>
                  </a:lnTo>
                  <a:lnTo>
                    <a:pt x="293" y="91"/>
                  </a:lnTo>
                  <a:lnTo>
                    <a:pt x="293" y="91"/>
                  </a:lnTo>
                  <a:lnTo>
                    <a:pt x="293" y="93"/>
                  </a:lnTo>
                  <a:lnTo>
                    <a:pt x="293" y="93"/>
                  </a:lnTo>
                  <a:lnTo>
                    <a:pt x="297" y="95"/>
                  </a:lnTo>
                  <a:lnTo>
                    <a:pt x="295" y="95"/>
                  </a:lnTo>
                  <a:lnTo>
                    <a:pt x="293" y="97"/>
                  </a:lnTo>
                  <a:lnTo>
                    <a:pt x="291" y="99"/>
                  </a:lnTo>
                  <a:lnTo>
                    <a:pt x="293" y="101"/>
                  </a:lnTo>
                  <a:lnTo>
                    <a:pt x="293" y="103"/>
                  </a:lnTo>
                  <a:lnTo>
                    <a:pt x="295" y="103"/>
                  </a:lnTo>
                  <a:lnTo>
                    <a:pt x="297" y="103"/>
                  </a:lnTo>
                  <a:lnTo>
                    <a:pt x="297" y="101"/>
                  </a:lnTo>
                  <a:lnTo>
                    <a:pt x="299" y="103"/>
                  </a:lnTo>
                  <a:lnTo>
                    <a:pt x="299" y="103"/>
                  </a:lnTo>
                  <a:lnTo>
                    <a:pt x="297" y="105"/>
                  </a:lnTo>
                  <a:lnTo>
                    <a:pt x="297" y="105"/>
                  </a:lnTo>
                  <a:lnTo>
                    <a:pt x="295" y="107"/>
                  </a:lnTo>
                  <a:lnTo>
                    <a:pt x="293" y="105"/>
                  </a:lnTo>
                  <a:lnTo>
                    <a:pt x="291" y="105"/>
                  </a:lnTo>
                  <a:lnTo>
                    <a:pt x="291" y="105"/>
                  </a:lnTo>
                  <a:lnTo>
                    <a:pt x="288" y="103"/>
                  </a:lnTo>
                  <a:lnTo>
                    <a:pt x="288" y="101"/>
                  </a:lnTo>
                  <a:lnTo>
                    <a:pt x="288" y="101"/>
                  </a:lnTo>
                  <a:lnTo>
                    <a:pt x="286" y="101"/>
                  </a:lnTo>
                  <a:lnTo>
                    <a:pt x="286" y="101"/>
                  </a:lnTo>
                  <a:lnTo>
                    <a:pt x="284" y="99"/>
                  </a:lnTo>
                  <a:lnTo>
                    <a:pt x="282" y="101"/>
                  </a:lnTo>
                  <a:lnTo>
                    <a:pt x="282" y="103"/>
                  </a:lnTo>
                  <a:lnTo>
                    <a:pt x="282" y="105"/>
                  </a:lnTo>
                  <a:lnTo>
                    <a:pt x="282" y="105"/>
                  </a:lnTo>
                  <a:lnTo>
                    <a:pt x="280" y="111"/>
                  </a:lnTo>
                  <a:lnTo>
                    <a:pt x="280" y="113"/>
                  </a:lnTo>
                  <a:lnTo>
                    <a:pt x="280" y="115"/>
                  </a:lnTo>
                  <a:lnTo>
                    <a:pt x="280" y="117"/>
                  </a:lnTo>
                  <a:lnTo>
                    <a:pt x="282" y="117"/>
                  </a:lnTo>
                  <a:lnTo>
                    <a:pt x="282" y="117"/>
                  </a:lnTo>
                  <a:lnTo>
                    <a:pt x="284" y="117"/>
                  </a:lnTo>
                  <a:lnTo>
                    <a:pt x="284" y="115"/>
                  </a:lnTo>
                  <a:lnTo>
                    <a:pt x="284" y="115"/>
                  </a:lnTo>
                  <a:lnTo>
                    <a:pt x="282" y="113"/>
                  </a:lnTo>
                  <a:lnTo>
                    <a:pt x="282" y="109"/>
                  </a:lnTo>
                  <a:lnTo>
                    <a:pt x="284" y="107"/>
                  </a:lnTo>
                  <a:lnTo>
                    <a:pt x="284" y="107"/>
                  </a:lnTo>
                  <a:lnTo>
                    <a:pt x="284" y="107"/>
                  </a:lnTo>
                  <a:lnTo>
                    <a:pt x="284" y="111"/>
                  </a:lnTo>
                  <a:lnTo>
                    <a:pt x="286" y="113"/>
                  </a:lnTo>
                  <a:lnTo>
                    <a:pt x="286" y="111"/>
                  </a:lnTo>
                  <a:lnTo>
                    <a:pt x="288" y="107"/>
                  </a:lnTo>
                  <a:lnTo>
                    <a:pt x="291" y="107"/>
                  </a:lnTo>
                  <a:lnTo>
                    <a:pt x="291" y="109"/>
                  </a:lnTo>
                  <a:lnTo>
                    <a:pt x="291" y="113"/>
                  </a:lnTo>
                  <a:lnTo>
                    <a:pt x="291" y="113"/>
                  </a:lnTo>
                  <a:lnTo>
                    <a:pt x="293" y="115"/>
                  </a:lnTo>
                  <a:lnTo>
                    <a:pt x="293" y="115"/>
                  </a:lnTo>
                  <a:lnTo>
                    <a:pt x="295" y="115"/>
                  </a:lnTo>
                  <a:lnTo>
                    <a:pt x="295" y="113"/>
                  </a:lnTo>
                  <a:lnTo>
                    <a:pt x="295" y="111"/>
                  </a:lnTo>
                  <a:lnTo>
                    <a:pt x="295" y="111"/>
                  </a:lnTo>
                  <a:lnTo>
                    <a:pt x="295" y="111"/>
                  </a:lnTo>
                  <a:lnTo>
                    <a:pt x="297" y="113"/>
                  </a:lnTo>
                  <a:lnTo>
                    <a:pt x="295" y="113"/>
                  </a:lnTo>
                  <a:lnTo>
                    <a:pt x="295" y="115"/>
                  </a:lnTo>
                  <a:lnTo>
                    <a:pt x="297" y="115"/>
                  </a:lnTo>
                  <a:lnTo>
                    <a:pt x="297" y="115"/>
                  </a:lnTo>
                  <a:lnTo>
                    <a:pt x="299" y="115"/>
                  </a:lnTo>
                  <a:lnTo>
                    <a:pt x="301" y="113"/>
                  </a:lnTo>
                  <a:lnTo>
                    <a:pt x="301" y="115"/>
                  </a:lnTo>
                  <a:lnTo>
                    <a:pt x="301" y="115"/>
                  </a:lnTo>
                  <a:lnTo>
                    <a:pt x="299" y="117"/>
                  </a:lnTo>
                  <a:lnTo>
                    <a:pt x="297" y="117"/>
                  </a:lnTo>
                  <a:lnTo>
                    <a:pt x="299" y="117"/>
                  </a:lnTo>
                  <a:lnTo>
                    <a:pt x="299" y="119"/>
                  </a:lnTo>
                  <a:lnTo>
                    <a:pt x="301" y="117"/>
                  </a:lnTo>
                  <a:lnTo>
                    <a:pt x="301" y="117"/>
                  </a:lnTo>
                  <a:lnTo>
                    <a:pt x="303" y="117"/>
                  </a:lnTo>
                  <a:lnTo>
                    <a:pt x="303" y="119"/>
                  </a:lnTo>
                  <a:lnTo>
                    <a:pt x="305" y="119"/>
                  </a:lnTo>
                  <a:lnTo>
                    <a:pt x="307" y="121"/>
                  </a:lnTo>
                  <a:lnTo>
                    <a:pt x="309" y="121"/>
                  </a:lnTo>
                  <a:lnTo>
                    <a:pt x="311" y="119"/>
                  </a:lnTo>
                  <a:lnTo>
                    <a:pt x="313" y="117"/>
                  </a:lnTo>
                  <a:lnTo>
                    <a:pt x="313" y="113"/>
                  </a:lnTo>
                  <a:lnTo>
                    <a:pt x="313" y="113"/>
                  </a:lnTo>
                  <a:lnTo>
                    <a:pt x="313" y="115"/>
                  </a:lnTo>
                  <a:lnTo>
                    <a:pt x="315" y="115"/>
                  </a:lnTo>
                  <a:lnTo>
                    <a:pt x="313" y="117"/>
                  </a:lnTo>
                  <a:lnTo>
                    <a:pt x="315" y="119"/>
                  </a:lnTo>
                  <a:lnTo>
                    <a:pt x="313" y="121"/>
                  </a:lnTo>
                  <a:lnTo>
                    <a:pt x="313" y="123"/>
                  </a:lnTo>
                  <a:lnTo>
                    <a:pt x="311" y="123"/>
                  </a:lnTo>
                  <a:lnTo>
                    <a:pt x="309" y="123"/>
                  </a:lnTo>
                  <a:lnTo>
                    <a:pt x="301" y="123"/>
                  </a:lnTo>
                  <a:lnTo>
                    <a:pt x="299" y="123"/>
                  </a:lnTo>
                  <a:lnTo>
                    <a:pt x="297" y="123"/>
                  </a:lnTo>
                  <a:lnTo>
                    <a:pt x="297" y="121"/>
                  </a:lnTo>
                  <a:lnTo>
                    <a:pt x="297" y="121"/>
                  </a:lnTo>
                  <a:lnTo>
                    <a:pt x="299" y="121"/>
                  </a:lnTo>
                  <a:lnTo>
                    <a:pt x="297" y="121"/>
                  </a:lnTo>
                  <a:lnTo>
                    <a:pt x="295" y="123"/>
                  </a:lnTo>
                  <a:lnTo>
                    <a:pt x="293" y="123"/>
                  </a:lnTo>
                  <a:lnTo>
                    <a:pt x="293" y="123"/>
                  </a:lnTo>
                  <a:lnTo>
                    <a:pt x="288" y="123"/>
                  </a:lnTo>
                  <a:lnTo>
                    <a:pt x="288" y="125"/>
                  </a:lnTo>
                  <a:lnTo>
                    <a:pt x="291" y="125"/>
                  </a:lnTo>
                  <a:lnTo>
                    <a:pt x="291" y="125"/>
                  </a:lnTo>
                  <a:lnTo>
                    <a:pt x="291" y="125"/>
                  </a:lnTo>
                  <a:lnTo>
                    <a:pt x="288" y="128"/>
                  </a:lnTo>
                  <a:lnTo>
                    <a:pt x="288" y="130"/>
                  </a:lnTo>
                  <a:lnTo>
                    <a:pt x="291" y="130"/>
                  </a:lnTo>
                  <a:lnTo>
                    <a:pt x="293" y="130"/>
                  </a:lnTo>
                  <a:lnTo>
                    <a:pt x="295" y="130"/>
                  </a:lnTo>
                  <a:lnTo>
                    <a:pt x="295" y="128"/>
                  </a:lnTo>
                  <a:lnTo>
                    <a:pt x="295" y="128"/>
                  </a:lnTo>
                  <a:lnTo>
                    <a:pt x="295" y="128"/>
                  </a:lnTo>
                  <a:lnTo>
                    <a:pt x="295" y="128"/>
                  </a:lnTo>
                  <a:lnTo>
                    <a:pt x="297" y="125"/>
                  </a:lnTo>
                  <a:lnTo>
                    <a:pt x="297" y="125"/>
                  </a:lnTo>
                  <a:lnTo>
                    <a:pt x="297" y="125"/>
                  </a:lnTo>
                  <a:lnTo>
                    <a:pt x="297" y="125"/>
                  </a:lnTo>
                  <a:lnTo>
                    <a:pt x="299" y="128"/>
                  </a:lnTo>
                  <a:lnTo>
                    <a:pt x="299" y="128"/>
                  </a:lnTo>
                  <a:lnTo>
                    <a:pt x="297" y="130"/>
                  </a:lnTo>
                  <a:lnTo>
                    <a:pt x="299" y="130"/>
                  </a:lnTo>
                  <a:lnTo>
                    <a:pt x="297" y="132"/>
                  </a:lnTo>
                  <a:lnTo>
                    <a:pt x="295" y="132"/>
                  </a:lnTo>
                  <a:lnTo>
                    <a:pt x="293" y="134"/>
                  </a:lnTo>
                  <a:lnTo>
                    <a:pt x="293" y="136"/>
                  </a:lnTo>
                  <a:lnTo>
                    <a:pt x="293" y="138"/>
                  </a:lnTo>
                  <a:lnTo>
                    <a:pt x="293" y="140"/>
                  </a:lnTo>
                  <a:lnTo>
                    <a:pt x="293" y="140"/>
                  </a:lnTo>
                  <a:lnTo>
                    <a:pt x="291" y="138"/>
                  </a:lnTo>
                  <a:lnTo>
                    <a:pt x="291" y="136"/>
                  </a:lnTo>
                  <a:lnTo>
                    <a:pt x="288" y="136"/>
                  </a:lnTo>
                  <a:lnTo>
                    <a:pt x="288" y="138"/>
                  </a:lnTo>
                  <a:lnTo>
                    <a:pt x="288" y="140"/>
                  </a:lnTo>
                  <a:lnTo>
                    <a:pt x="288" y="140"/>
                  </a:lnTo>
                  <a:lnTo>
                    <a:pt x="291" y="140"/>
                  </a:lnTo>
                  <a:lnTo>
                    <a:pt x="291" y="142"/>
                  </a:lnTo>
                  <a:lnTo>
                    <a:pt x="293" y="144"/>
                  </a:lnTo>
                  <a:lnTo>
                    <a:pt x="293" y="144"/>
                  </a:lnTo>
                  <a:lnTo>
                    <a:pt x="293" y="146"/>
                  </a:lnTo>
                  <a:lnTo>
                    <a:pt x="295" y="146"/>
                  </a:lnTo>
                  <a:lnTo>
                    <a:pt x="297" y="150"/>
                  </a:lnTo>
                  <a:lnTo>
                    <a:pt x="299" y="152"/>
                  </a:lnTo>
                  <a:lnTo>
                    <a:pt x="301" y="154"/>
                  </a:lnTo>
                  <a:lnTo>
                    <a:pt x="301" y="154"/>
                  </a:lnTo>
                  <a:lnTo>
                    <a:pt x="301" y="152"/>
                  </a:lnTo>
                  <a:lnTo>
                    <a:pt x="299" y="148"/>
                  </a:lnTo>
                  <a:lnTo>
                    <a:pt x="299" y="146"/>
                  </a:lnTo>
                  <a:lnTo>
                    <a:pt x="301" y="148"/>
                  </a:lnTo>
                  <a:lnTo>
                    <a:pt x="307" y="152"/>
                  </a:lnTo>
                  <a:lnTo>
                    <a:pt x="309" y="154"/>
                  </a:lnTo>
                  <a:lnTo>
                    <a:pt x="309" y="154"/>
                  </a:lnTo>
                  <a:lnTo>
                    <a:pt x="311" y="154"/>
                  </a:lnTo>
                  <a:lnTo>
                    <a:pt x="313" y="156"/>
                  </a:lnTo>
                  <a:lnTo>
                    <a:pt x="315" y="160"/>
                  </a:lnTo>
                  <a:lnTo>
                    <a:pt x="317" y="160"/>
                  </a:lnTo>
                  <a:lnTo>
                    <a:pt x="317" y="158"/>
                  </a:lnTo>
                  <a:lnTo>
                    <a:pt x="317" y="156"/>
                  </a:lnTo>
                  <a:lnTo>
                    <a:pt x="317" y="154"/>
                  </a:lnTo>
                  <a:lnTo>
                    <a:pt x="317" y="154"/>
                  </a:lnTo>
                  <a:lnTo>
                    <a:pt x="317" y="152"/>
                  </a:lnTo>
                  <a:lnTo>
                    <a:pt x="315" y="152"/>
                  </a:lnTo>
                  <a:lnTo>
                    <a:pt x="317" y="150"/>
                  </a:lnTo>
                  <a:lnTo>
                    <a:pt x="319" y="146"/>
                  </a:lnTo>
                  <a:lnTo>
                    <a:pt x="319" y="144"/>
                  </a:lnTo>
                  <a:lnTo>
                    <a:pt x="321" y="146"/>
                  </a:lnTo>
                  <a:lnTo>
                    <a:pt x="321" y="148"/>
                  </a:lnTo>
                  <a:lnTo>
                    <a:pt x="319" y="150"/>
                  </a:lnTo>
                  <a:lnTo>
                    <a:pt x="319" y="150"/>
                  </a:lnTo>
                  <a:lnTo>
                    <a:pt x="319" y="152"/>
                  </a:lnTo>
                  <a:lnTo>
                    <a:pt x="321" y="152"/>
                  </a:lnTo>
                  <a:lnTo>
                    <a:pt x="321" y="152"/>
                  </a:lnTo>
                  <a:lnTo>
                    <a:pt x="321" y="154"/>
                  </a:lnTo>
                  <a:lnTo>
                    <a:pt x="321" y="154"/>
                  </a:lnTo>
                  <a:lnTo>
                    <a:pt x="323" y="156"/>
                  </a:lnTo>
                  <a:lnTo>
                    <a:pt x="323" y="156"/>
                  </a:lnTo>
                  <a:lnTo>
                    <a:pt x="323" y="156"/>
                  </a:lnTo>
                  <a:lnTo>
                    <a:pt x="323" y="156"/>
                  </a:lnTo>
                  <a:lnTo>
                    <a:pt x="323" y="150"/>
                  </a:lnTo>
                  <a:lnTo>
                    <a:pt x="325" y="148"/>
                  </a:lnTo>
                  <a:lnTo>
                    <a:pt x="327" y="142"/>
                  </a:lnTo>
                  <a:lnTo>
                    <a:pt x="327" y="142"/>
                  </a:lnTo>
                  <a:lnTo>
                    <a:pt x="327" y="140"/>
                  </a:lnTo>
                  <a:lnTo>
                    <a:pt x="327" y="140"/>
                  </a:lnTo>
                  <a:lnTo>
                    <a:pt x="327" y="138"/>
                  </a:lnTo>
                  <a:lnTo>
                    <a:pt x="329" y="138"/>
                  </a:lnTo>
                  <a:lnTo>
                    <a:pt x="329" y="140"/>
                  </a:lnTo>
                  <a:lnTo>
                    <a:pt x="329" y="140"/>
                  </a:lnTo>
                  <a:lnTo>
                    <a:pt x="329" y="142"/>
                  </a:lnTo>
                  <a:lnTo>
                    <a:pt x="329" y="144"/>
                  </a:lnTo>
                  <a:lnTo>
                    <a:pt x="327" y="148"/>
                  </a:lnTo>
                  <a:lnTo>
                    <a:pt x="327" y="152"/>
                  </a:lnTo>
                  <a:lnTo>
                    <a:pt x="327" y="154"/>
                  </a:lnTo>
                  <a:lnTo>
                    <a:pt x="329" y="156"/>
                  </a:lnTo>
                  <a:lnTo>
                    <a:pt x="329" y="156"/>
                  </a:lnTo>
                  <a:lnTo>
                    <a:pt x="334" y="156"/>
                  </a:lnTo>
                  <a:lnTo>
                    <a:pt x="336" y="156"/>
                  </a:lnTo>
                  <a:lnTo>
                    <a:pt x="334" y="158"/>
                  </a:lnTo>
                  <a:lnTo>
                    <a:pt x="329" y="160"/>
                  </a:lnTo>
                  <a:lnTo>
                    <a:pt x="327" y="162"/>
                  </a:lnTo>
                  <a:lnTo>
                    <a:pt x="327" y="166"/>
                  </a:lnTo>
                  <a:lnTo>
                    <a:pt x="327" y="169"/>
                  </a:lnTo>
                  <a:lnTo>
                    <a:pt x="327" y="169"/>
                  </a:lnTo>
                  <a:lnTo>
                    <a:pt x="329" y="169"/>
                  </a:lnTo>
                  <a:lnTo>
                    <a:pt x="329" y="169"/>
                  </a:lnTo>
                  <a:lnTo>
                    <a:pt x="329" y="169"/>
                  </a:lnTo>
                  <a:lnTo>
                    <a:pt x="329" y="166"/>
                  </a:lnTo>
                  <a:lnTo>
                    <a:pt x="329" y="166"/>
                  </a:lnTo>
                  <a:lnTo>
                    <a:pt x="331" y="164"/>
                  </a:lnTo>
                  <a:lnTo>
                    <a:pt x="336" y="164"/>
                  </a:lnTo>
                  <a:lnTo>
                    <a:pt x="338" y="164"/>
                  </a:lnTo>
                  <a:lnTo>
                    <a:pt x="338" y="164"/>
                  </a:lnTo>
                  <a:lnTo>
                    <a:pt x="340" y="162"/>
                  </a:lnTo>
                  <a:lnTo>
                    <a:pt x="340" y="164"/>
                  </a:lnTo>
                  <a:lnTo>
                    <a:pt x="342" y="164"/>
                  </a:lnTo>
                  <a:lnTo>
                    <a:pt x="340" y="164"/>
                  </a:lnTo>
                  <a:lnTo>
                    <a:pt x="338" y="166"/>
                  </a:lnTo>
                  <a:lnTo>
                    <a:pt x="338" y="166"/>
                  </a:lnTo>
                  <a:lnTo>
                    <a:pt x="338" y="166"/>
                  </a:lnTo>
                  <a:lnTo>
                    <a:pt x="338" y="169"/>
                  </a:lnTo>
                  <a:lnTo>
                    <a:pt x="338" y="169"/>
                  </a:lnTo>
                  <a:lnTo>
                    <a:pt x="336" y="171"/>
                  </a:lnTo>
                  <a:lnTo>
                    <a:pt x="336" y="171"/>
                  </a:lnTo>
                  <a:lnTo>
                    <a:pt x="336" y="173"/>
                  </a:lnTo>
                  <a:lnTo>
                    <a:pt x="336" y="173"/>
                  </a:lnTo>
                  <a:lnTo>
                    <a:pt x="336" y="173"/>
                  </a:lnTo>
                  <a:lnTo>
                    <a:pt x="336" y="173"/>
                  </a:lnTo>
                  <a:lnTo>
                    <a:pt x="338" y="173"/>
                  </a:lnTo>
                  <a:lnTo>
                    <a:pt x="338" y="171"/>
                  </a:lnTo>
                  <a:lnTo>
                    <a:pt x="340" y="171"/>
                  </a:lnTo>
                  <a:lnTo>
                    <a:pt x="342" y="171"/>
                  </a:lnTo>
                  <a:lnTo>
                    <a:pt x="342" y="171"/>
                  </a:lnTo>
                  <a:lnTo>
                    <a:pt x="342" y="169"/>
                  </a:lnTo>
                  <a:lnTo>
                    <a:pt x="344" y="166"/>
                  </a:lnTo>
                  <a:lnTo>
                    <a:pt x="344" y="166"/>
                  </a:lnTo>
                  <a:lnTo>
                    <a:pt x="344" y="171"/>
                  </a:lnTo>
                  <a:lnTo>
                    <a:pt x="342" y="175"/>
                  </a:lnTo>
                  <a:lnTo>
                    <a:pt x="340" y="175"/>
                  </a:lnTo>
                  <a:lnTo>
                    <a:pt x="340" y="177"/>
                  </a:lnTo>
                  <a:lnTo>
                    <a:pt x="338" y="177"/>
                  </a:lnTo>
                  <a:lnTo>
                    <a:pt x="338" y="177"/>
                  </a:lnTo>
                  <a:lnTo>
                    <a:pt x="338" y="179"/>
                  </a:lnTo>
                  <a:lnTo>
                    <a:pt x="336" y="183"/>
                  </a:lnTo>
                  <a:lnTo>
                    <a:pt x="336" y="183"/>
                  </a:lnTo>
                  <a:lnTo>
                    <a:pt x="336" y="183"/>
                  </a:lnTo>
                  <a:lnTo>
                    <a:pt x="336" y="183"/>
                  </a:lnTo>
                  <a:lnTo>
                    <a:pt x="336" y="183"/>
                  </a:lnTo>
                  <a:lnTo>
                    <a:pt x="336" y="183"/>
                  </a:lnTo>
                  <a:lnTo>
                    <a:pt x="338" y="183"/>
                  </a:lnTo>
                  <a:lnTo>
                    <a:pt x="338" y="183"/>
                  </a:lnTo>
                  <a:lnTo>
                    <a:pt x="338" y="183"/>
                  </a:lnTo>
                  <a:lnTo>
                    <a:pt x="338" y="181"/>
                  </a:lnTo>
                  <a:lnTo>
                    <a:pt x="340" y="181"/>
                  </a:lnTo>
                  <a:lnTo>
                    <a:pt x="340" y="183"/>
                  </a:lnTo>
                  <a:lnTo>
                    <a:pt x="338" y="185"/>
                  </a:lnTo>
                  <a:lnTo>
                    <a:pt x="338" y="185"/>
                  </a:lnTo>
                  <a:lnTo>
                    <a:pt x="338" y="185"/>
                  </a:lnTo>
                  <a:lnTo>
                    <a:pt x="338" y="187"/>
                  </a:lnTo>
                  <a:lnTo>
                    <a:pt x="338" y="187"/>
                  </a:lnTo>
                  <a:lnTo>
                    <a:pt x="338" y="187"/>
                  </a:lnTo>
                  <a:lnTo>
                    <a:pt x="338" y="189"/>
                  </a:lnTo>
                  <a:lnTo>
                    <a:pt x="340" y="189"/>
                  </a:lnTo>
                  <a:lnTo>
                    <a:pt x="340" y="187"/>
                  </a:lnTo>
                  <a:lnTo>
                    <a:pt x="342" y="185"/>
                  </a:lnTo>
                  <a:lnTo>
                    <a:pt x="344" y="183"/>
                  </a:lnTo>
                  <a:lnTo>
                    <a:pt x="346" y="181"/>
                  </a:lnTo>
                  <a:lnTo>
                    <a:pt x="354" y="181"/>
                  </a:lnTo>
                  <a:lnTo>
                    <a:pt x="356" y="181"/>
                  </a:lnTo>
                  <a:lnTo>
                    <a:pt x="356" y="181"/>
                  </a:lnTo>
                  <a:lnTo>
                    <a:pt x="356" y="179"/>
                  </a:lnTo>
                  <a:lnTo>
                    <a:pt x="358" y="177"/>
                  </a:lnTo>
                  <a:lnTo>
                    <a:pt x="358" y="177"/>
                  </a:lnTo>
                  <a:lnTo>
                    <a:pt x="360" y="177"/>
                  </a:lnTo>
                  <a:lnTo>
                    <a:pt x="362" y="175"/>
                  </a:lnTo>
                  <a:lnTo>
                    <a:pt x="366" y="175"/>
                  </a:lnTo>
                  <a:lnTo>
                    <a:pt x="370" y="173"/>
                  </a:lnTo>
                  <a:lnTo>
                    <a:pt x="375" y="171"/>
                  </a:lnTo>
                  <a:lnTo>
                    <a:pt x="377" y="171"/>
                  </a:lnTo>
                  <a:lnTo>
                    <a:pt x="377" y="171"/>
                  </a:lnTo>
                  <a:lnTo>
                    <a:pt x="377" y="169"/>
                  </a:lnTo>
                  <a:lnTo>
                    <a:pt x="379" y="162"/>
                  </a:lnTo>
                  <a:lnTo>
                    <a:pt x="377" y="162"/>
                  </a:lnTo>
                  <a:lnTo>
                    <a:pt x="379" y="162"/>
                  </a:lnTo>
                  <a:lnTo>
                    <a:pt x="379" y="160"/>
                  </a:lnTo>
                  <a:lnTo>
                    <a:pt x="379" y="158"/>
                  </a:lnTo>
                  <a:lnTo>
                    <a:pt x="381" y="158"/>
                  </a:lnTo>
                  <a:lnTo>
                    <a:pt x="383" y="158"/>
                  </a:lnTo>
                  <a:lnTo>
                    <a:pt x="383" y="158"/>
                  </a:lnTo>
                  <a:lnTo>
                    <a:pt x="383" y="158"/>
                  </a:lnTo>
                  <a:lnTo>
                    <a:pt x="383" y="154"/>
                  </a:lnTo>
                  <a:lnTo>
                    <a:pt x="383" y="154"/>
                  </a:lnTo>
                  <a:lnTo>
                    <a:pt x="385" y="152"/>
                  </a:lnTo>
                  <a:lnTo>
                    <a:pt x="383" y="146"/>
                  </a:lnTo>
                  <a:lnTo>
                    <a:pt x="385" y="144"/>
                  </a:lnTo>
                  <a:lnTo>
                    <a:pt x="385" y="144"/>
                  </a:lnTo>
                  <a:lnTo>
                    <a:pt x="387" y="142"/>
                  </a:lnTo>
                  <a:lnTo>
                    <a:pt x="387" y="144"/>
                  </a:lnTo>
                  <a:lnTo>
                    <a:pt x="387" y="144"/>
                  </a:lnTo>
                  <a:lnTo>
                    <a:pt x="391" y="144"/>
                  </a:lnTo>
                  <a:lnTo>
                    <a:pt x="391" y="142"/>
                  </a:lnTo>
                  <a:close/>
                </a:path>
              </a:pathLst>
            </a:custGeom>
            <a:solidFill>
              <a:schemeClr val="tx1"/>
            </a:solidFill>
            <a:ln w="3175" cap="rnd">
              <a:solidFill>
                <a:schemeClr val="bg1"/>
              </a:solidFill>
              <a:prstDash val="solid"/>
              <a:round/>
              <a:headEnd/>
              <a:tailEnd/>
            </a:ln>
          </p:spPr>
          <p:txBody>
            <a:bodyPr vert="horz" wrap="square" lIns="48000" tIns="48000" rIns="0" bIns="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MD</a:t>
              </a:r>
            </a:p>
          </p:txBody>
        </p:sp>
        <p:sp>
          <p:nvSpPr>
            <p:cNvPr id="325" name="Freeform 36">
              <a:extLst>
                <a:ext uri="{FF2B5EF4-FFF2-40B4-BE49-F238E27FC236}">
                  <a16:creationId xmlns:a16="http://schemas.microsoft.com/office/drawing/2014/main" id="{9CE31938-49A9-ED6D-ADA3-1CDD7B639996}"/>
                </a:ext>
              </a:extLst>
            </p:cNvPr>
            <p:cNvSpPr>
              <a:spLocks noEditPoints="1"/>
            </p:cNvSpPr>
            <p:nvPr/>
          </p:nvSpPr>
          <p:spPr bwMode="auto">
            <a:xfrm>
              <a:off x="4877" y="506"/>
              <a:ext cx="305" cy="158"/>
            </a:xfrm>
            <a:custGeom>
              <a:avLst/>
              <a:gdLst>
                <a:gd name="T0" fmla="*/ 295 w 305"/>
                <a:gd name="T1" fmla="*/ 144 h 158"/>
                <a:gd name="T2" fmla="*/ 293 w 305"/>
                <a:gd name="T3" fmla="*/ 148 h 158"/>
                <a:gd name="T4" fmla="*/ 303 w 305"/>
                <a:gd name="T5" fmla="*/ 144 h 158"/>
                <a:gd name="T6" fmla="*/ 264 w 305"/>
                <a:gd name="T7" fmla="*/ 146 h 158"/>
                <a:gd name="T8" fmla="*/ 250 w 305"/>
                <a:gd name="T9" fmla="*/ 138 h 158"/>
                <a:gd name="T10" fmla="*/ 239 w 305"/>
                <a:gd name="T11" fmla="*/ 152 h 158"/>
                <a:gd name="T12" fmla="*/ 239 w 305"/>
                <a:gd name="T13" fmla="*/ 156 h 158"/>
                <a:gd name="T14" fmla="*/ 295 w 305"/>
                <a:gd name="T15" fmla="*/ 109 h 158"/>
                <a:gd name="T16" fmla="*/ 293 w 305"/>
                <a:gd name="T17" fmla="*/ 92 h 158"/>
                <a:gd name="T18" fmla="*/ 291 w 305"/>
                <a:gd name="T19" fmla="*/ 88 h 158"/>
                <a:gd name="T20" fmla="*/ 266 w 305"/>
                <a:gd name="T21" fmla="*/ 66 h 158"/>
                <a:gd name="T22" fmla="*/ 262 w 305"/>
                <a:gd name="T23" fmla="*/ 72 h 158"/>
                <a:gd name="T24" fmla="*/ 274 w 305"/>
                <a:gd name="T25" fmla="*/ 72 h 158"/>
                <a:gd name="T26" fmla="*/ 282 w 305"/>
                <a:gd name="T27" fmla="*/ 80 h 158"/>
                <a:gd name="T28" fmla="*/ 284 w 305"/>
                <a:gd name="T29" fmla="*/ 95 h 158"/>
                <a:gd name="T30" fmla="*/ 266 w 305"/>
                <a:gd name="T31" fmla="*/ 107 h 158"/>
                <a:gd name="T32" fmla="*/ 237 w 305"/>
                <a:gd name="T33" fmla="*/ 88 h 158"/>
                <a:gd name="T34" fmla="*/ 227 w 305"/>
                <a:gd name="T35" fmla="*/ 80 h 158"/>
                <a:gd name="T36" fmla="*/ 233 w 305"/>
                <a:gd name="T37" fmla="*/ 84 h 158"/>
                <a:gd name="T38" fmla="*/ 219 w 305"/>
                <a:gd name="T39" fmla="*/ 70 h 158"/>
                <a:gd name="T40" fmla="*/ 201 w 305"/>
                <a:gd name="T41" fmla="*/ 60 h 158"/>
                <a:gd name="T42" fmla="*/ 201 w 305"/>
                <a:gd name="T43" fmla="*/ 66 h 158"/>
                <a:gd name="T44" fmla="*/ 196 w 305"/>
                <a:gd name="T45" fmla="*/ 64 h 158"/>
                <a:gd name="T46" fmla="*/ 190 w 305"/>
                <a:gd name="T47" fmla="*/ 60 h 158"/>
                <a:gd name="T48" fmla="*/ 190 w 305"/>
                <a:gd name="T49" fmla="*/ 56 h 158"/>
                <a:gd name="T50" fmla="*/ 192 w 305"/>
                <a:gd name="T51" fmla="*/ 49 h 158"/>
                <a:gd name="T52" fmla="*/ 196 w 305"/>
                <a:gd name="T53" fmla="*/ 43 h 158"/>
                <a:gd name="T54" fmla="*/ 198 w 305"/>
                <a:gd name="T55" fmla="*/ 37 h 158"/>
                <a:gd name="T56" fmla="*/ 201 w 305"/>
                <a:gd name="T57" fmla="*/ 31 h 158"/>
                <a:gd name="T58" fmla="*/ 215 w 305"/>
                <a:gd name="T59" fmla="*/ 23 h 158"/>
                <a:gd name="T60" fmla="*/ 215 w 305"/>
                <a:gd name="T61" fmla="*/ 17 h 158"/>
                <a:gd name="T62" fmla="*/ 209 w 305"/>
                <a:gd name="T63" fmla="*/ 21 h 158"/>
                <a:gd name="T64" fmla="*/ 196 w 305"/>
                <a:gd name="T65" fmla="*/ 13 h 158"/>
                <a:gd name="T66" fmla="*/ 192 w 305"/>
                <a:gd name="T67" fmla="*/ 6 h 158"/>
                <a:gd name="T68" fmla="*/ 184 w 305"/>
                <a:gd name="T69" fmla="*/ 0 h 158"/>
                <a:gd name="T70" fmla="*/ 172 w 305"/>
                <a:gd name="T71" fmla="*/ 13 h 158"/>
                <a:gd name="T72" fmla="*/ 166 w 305"/>
                <a:gd name="T73" fmla="*/ 19 h 158"/>
                <a:gd name="T74" fmla="*/ 160 w 305"/>
                <a:gd name="T75" fmla="*/ 29 h 158"/>
                <a:gd name="T76" fmla="*/ 112 w 305"/>
                <a:gd name="T77" fmla="*/ 39 h 158"/>
                <a:gd name="T78" fmla="*/ 67 w 305"/>
                <a:gd name="T79" fmla="*/ 49 h 158"/>
                <a:gd name="T80" fmla="*/ 67 w 305"/>
                <a:gd name="T81" fmla="*/ 49 h 158"/>
                <a:gd name="T82" fmla="*/ 26 w 305"/>
                <a:gd name="T83" fmla="*/ 58 h 158"/>
                <a:gd name="T84" fmla="*/ 2 w 305"/>
                <a:gd name="T85" fmla="*/ 99 h 158"/>
                <a:gd name="T86" fmla="*/ 43 w 305"/>
                <a:gd name="T87" fmla="*/ 129 h 158"/>
                <a:gd name="T88" fmla="*/ 76 w 305"/>
                <a:gd name="T89" fmla="*/ 123 h 158"/>
                <a:gd name="T90" fmla="*/ 151 w 305"/>
                <a:gd name="T91" fmla="*/ 105 h 158"/>
                <a:gd name="T92" fmla="*/ 176 w 305"/>
                <a:gd name="T93" fmla="*/ 111 h 158"/>
                <a:gd name="T94" fmla="*/ 180 w 305"/>
                <a:gd name="T95" fmla="*/ 121 h 158"/>
                <a:gd name="T96" fmla="*/ 190 w 305"/>
                <a:gd name="T97" fmla="*/ 127 h 158"/>
                <a:gd name="T98" fmla="*/ 194 w 305"/>
                <a:gd name="T99" fmla="*/ 129 h 158"/>
                <a:gd name="T100" fmla="*/ 205 w 305"/>
                <a:gd name="T101" fmla="*/ 146 h 158"/>
                <a:gd name="T102" fmla="*/ 209 w 305"/>
                <a:gd name="T103" fmla="*/ 144 h 158"/>
                <a:gd name="T104" fmla="*/ 219 w 305"/>
                <a:gd name="T105" fmla="*/ 133 h 158"/>
                <a:gd name="T106" fmla="*/ 223 w 305"/>
                <a:gd name="T107" fmla="*/ 129 h 158"/>
                <a:gd name="T108" fmla="*/ 231 w 305"/>
                <a:gd name="T109" fmla="*/ 121 h 158"/>
                <a:gd name="T110" fmla="*/ 237 w 305"/>
                <a:gd name="T111" fmla="*/ 113 h 158"/>
                <a:gd name="T112" fmla="*/ 237 w 305"/>
                <a:gd name="T113" fmla="*/ 119 h 158"/>
                <a:gd name="T114" fmla="*/ 254 w 305"/>
                <a:gd name="T115" fmla="*/ 125 h 158"/>
                <a:gd name="T116" fmla="*/ 266 w 305"/>
                <a:gd name="T117" fmla="*/ 115 h 158"/>
                <a:gd name="T118" fmla="*/ 276 w 305"/>
                <a:gd name="T119" fmla="*/ 1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5" h="158">
                  <a:moveTo>
                    <a:pt x="303" y="144"/>
                  </a:moveTo>
                  <a:lnTo>
                    <a:pt x="299" y="140"/>
                  </a:lnTo>
                  <a:lnTo>
                    <a:pt x="297" y="136"/>
                  </a:lnTo>
                  <a:lnTo>
                    <a:pt x="297" y="136"/>
                  </a:lnTo>
                  <a:lnTo>
                    <a:pt x="295" y="133"/>
                  </a:lnTo>
                  <a:lnTo>
                    <a:pt x="295" y="133"/>
                  </a:lnTo>
                  <a:lnTo>
                    <a:pt x="295" y="133"/>
                  </a:lnTo>
                  <a:lnTo>
                    <a:pt x="295" y="138"/>
                  </a:lnTo>
                  <a:lnTo>
                    <a:pt x="295" y="140"/>
                  </a:lnTo>
                  <a:lnTo>
                    <a:pt x="295" y="144"/>
                  </a:lnTo>
                  <a:lnTo>
                    <a:pt x="295" y="144"/>
                  </a:lnTo>
                  <a:lnTo>
                    <a:pt x="297" y="140"/>
                  </a:lnTo>
                  <a:lnTo>
                    <a:pt x="299" y="140"/>
                  </a:lnTo>
                  <a:lnTo>
                    <a:pt x="299" y="142"/>
                  </a:lnTo>
                  <a:lnTo>
                    <a:pt x="297" y="142"/>
                  </a:lnTo>
                  <a:lnTo>
                    <a:pt x="297" y="144"/>
                  </a:lnTo>
                  <a:lnTo>
                    <a:pt x="295" y="146"/>
                  </a:lnTo>
                  <a:lnTo>
                    <a:pt x="295" y="146"/>
                  </a:lnTo>
                  <a:lnTo>
                    <a:pt x="295" y="146"/>
                  </a:lnTo>
                  <a:lnTo>
                    <a:pt x="293" y="148"/>
                  </a:lnTo>
                  <a:lnTo>
                    <a:pt x="293" y="146"/>
                  </a:lnTo>
                  <a:lnTo>
                    <a:pt x="291" y="146"/>
                  </a:lnTo>
                  <a:lnTo>
                    <a:pt x="289" y="148"/>
                  </a:lnTo>
                  <a:lnTo>
                    <a:pt x="282" y="150"/>
                  </a:lnTo>
                  <a:lnTo>
                    <a:pt x="282" y="150"/>
                  </a:lnTo>
                  <a:lnTo>
                    <a:pt x="293" y="152"/>
                  </a:lnTo>
                  <a:lnTo>
                    <a:pt x="297" y="150"/>
                  </a:lnTo>
                  <a:lnTo>
                    <a:pt x="301" y="150"/>
                  </a:lnTo>
                  <a:lnTo>
                    <a:pt x="305" y="146"/>
                  </a:lnTo>
                  <a:lnTo>
                    <a:pt x="303" y="144"/>
                  </a:lnTo>
                  <a:close/>
                  <a:moveTo>
                    <a:pt x="262" y="142"/>
                  </a:moveTo>
                  <a:lnTo>
                    <a:pt x="260" y="140"/>
                  </a:lnTo>
                  <a:lnTo>
                    <a:pt x="260" y="142"/>
                  </a:lnTo>
                  <a:lnTo>
                    <a:pt x="260" y="144"/>
                  </a:lnTo>
                  <a:lnTo>
                    <a:pt x="258" y="146"/>
                  </a:lnTo>
                  <a:lnTo>
                    <a:pt x="258" y="146"/>
                  </a:lnTo>
                  <a:lnTo>
                    <a:pt x="260" y="148"/>
                  </a:lnTo>
                  <a:lnTo>
                    <a:pt x="262" y="148"/>
                  </a:lnTo>
                  <a:lnTo>
                    <a:pt x="262" y="148"/>
                  </a:lnTo>
                  <a:lnTo>
                    <a:pt x="264" y="146"/>
                  </a:lnTo>
                  <a:lnTo>
                    <a:pt x="262" y="146"/>
                  </a:lnTo>
                  <a:lnTo>
                    <a:pt x="262" y="142"/>
                  </a:lnTo>
                  <a:close/>
                  <a:moveTo>
                    <a:pt x="254" y="144"/>
                  </a:moveTo>
                  <a:lnTo>
                    <a:pt x="252" y="144"/>
                  </a:lnTo>
                  <a:lnTo>
                    <a:pt x="252" y="144"/>
                  </a:lnTo>
                  <a:lnTo>
                    <a:pt x="252" y="142"/>
                  </a:lnTo>
                  <a:lnTo>
                    <a:pt x="254" y="142"/>
                  </a:lnTo>
                  <a:lnTo>
                    <a:pt x="254" y="140"/>
                  </a:lnTo>
                  <a:lnTo>
                    <a:pt x="252" y="138"/>
                  </a:lnTo>
                  <a:lnTo>
                    <a:pt x="250" y="138"/>
                  </a:lnTo>
                  <a:lnTo>
                    <a:pt x="250" y="140"/>
                  </a:lnTo>
                  <a:lnTo>
                    <a:pt x="250" y="142"/>
                  </a:lnTo>
                  <a:lnTo>
                    <a:pt x="248" y="142"/>
                  </a:lnTo>
                  <a:lnTo>
                    <a:pt x="248" y="140"/>
                  </a:lnTo>
                  <a:lnTo>
                    <a:pt x="248" y="140"/>
                  </a:lnTo>
                  <a:lnTo>
                    <a:pt x="244" y="142"/>
                  </a:lnTo>
                  <a:lnTo>
                    <a:pt x="241" y="146"/>
                  </a:lnTo>
                  <a:lnTo>
                    <a:pt x="241" y="146"/>
                  </a:lnTo>
                  <a:lnTo>
                    <a:pt x="239" y="148"/>
                  </a:lnTo>
                  <a:lnTo>
                    <a:pt x="239" y="152"/>
                  </a:lnTo>
                  <a:lnTo>
                    <a:pt x="239" y="152"/>
                  </a:lnTo>
                  <a:lnTo>
                    <a:pt x="237" y="154"/>
                  </a:lnTo>
                  <a:lnTo>
                    <a:pt x="231" y="156"/>
                  </a:lnTo>
                  <a:lnTo>
                    <a:pt x="233" y="156"/>
                  </a:lnTo>
                  <a:lnTo>
                    <a:pt x="233" y="156"/>
                  </a:lnTo>
                  <a:lnTo>
                    <a:pt x="235" y="158"/>
                  </a:lnTo>
                  <a:lnTo>
                    <a:pt x="237" y="158"/>
                  </a:lnTo>
                  <a:lnTo>
                    <a:pt x="237" y="158"/>
                  </a:lnTo>
                  <a:lnTo>
                    <a:pt x="239" y="158"/>
                  </a:lnTo>
                  <a:lnTo>
                    <a:pt x="239" y="156"/>
                  </a:lnTo>
                  <a:lnTo>
                    <a:pt x="241" y="156"/>
                  </a:lnTo>
                  <a:lnTo>
                    <a:pt x="244" y="154"/>
                  </a:lnTo>
                  <a:lnTo>
                    <a:pt x="246" y="152"/>
                  </a:lnTo>
                  <a:lnTo>
                    <a:pt x="258" y="150"/>
                  </a:lnTo>
                  <a:lnTo>
                    <a:pt x="258" y="148"/>
                  </a:lnTo>
                  <a:lnTo>
                    <a:pt x="256" y="144"/>
                  </a:lnTo>
                  <a:lnTo>
                    <a:pt x="254" y="144"/>
                  </a:lnTo>
                  <a:close/>
                  <a:moveTo>
                    <a:pt x="293" y="117"/>
                  </a:moveTo>
                  <a:lnTo>
                    <a:pt x="293" y="111"/>
                  </a:lnTo>
                  <a:lnTo>
                    <a:pt x="295" y="109"/>
                  </a:lnTo>
                  <a:lnTo>
                    <a:pt x="295" y="109"/>
                  </a:lnTo>
                  <a:lnTo>
                    <a:pt x="295" y="107"/>
                  </a:lnTo>
                  <a:lnTo>
                    <a:pt x="293" y="107"/>
                  </a:lnTo>
                  <a:lnTo>
                    <a:pt x="293" y="107"/>
                  </a:lnTo>
                  <a:lnTo>
                    <a:pt x="293" y="109"/>
                  </a:lnTo>
                  <a:lnTo>
                    <a:pt x="293" y="119"/>
                  </a:lnTo>
                  <a:lnTo>
                    <a:pt x="293" y="117"/>
                  </a:lnTo>
                  <a:close/>
                  <a:moveTo>
                    <a:pt x="295" y="105"/>
                  </a:moveTo>
                  <a:lnTo>
                    <a:pt x="293" y="97"/>
                  </a:lnTo>
                  <a:lnTo>
                    <a:pt x="293" y="92"/>
                  </a:lnTo>
                  <a:lnTo>
                    <a:pt x="291" y="90"/>
                  </a:lnTo>
                  <a:lnTo>
                    <a:pt x="289" y="90"/>
                  </a:lnTo>
                  <a:lnTo>
                    <a:pt x="289" y="92"/>
                  </a:lnTo>
                  <a:lnTo>
                    <a:pt x="289" y="90"/>
                  </a:lnTo>
                  <a:lnTo>
                    <a:pt x="287" y="88"/>
                  </a:lnTo>
                  <a:lnTo>
                    <a:pt x="287" y="86"/>
                  </a:lnTo>
                  <a:lnTo>
                    <a:pt x="289" y="86"/>
                  </a:lnTo>
                  <a:lnTo>
                    <a:pt x="291" y="88"/>
                  </a:lnTo>
                  <a:lnTo>
                    <a:pt x="291" y="88"/>
                  </a:lnTo>
                  <a:lnTo>
                    <a:pt x="291" y="88"/>
                  </a:lnTo>
                  <a:lnTo>
                    <a:pt x="291" y="86"/>
                  </a:lnTo>
                  <a:lnTo>
                    <a:pt x="291" y="86"/>
                  </a:lnTo>
                  <a:lnTo>
                    <a:pt x="289" y="84"/>
                  </a:lnTo>
                  <a:lnTo>
                    <a:pt x="282" y="74"/>
                  </a:lnTo>
                  <a:lnTo>
                    <a:pt x="280" y="72"/>
                  </a:lnTo>
                  <a:lnTo>
                    <a:pt x="274" y="68"/>
                  </a:lnTo>
                  <a:lnTo>
                    <a:pt x="272" y="68"/>
                  </a:lnTo>
                  <a:lnTo>
                    <a:pt x="268" y="66"/>
                  </a:lnTo>
                  <a:lnTo>
                    <a:pt x="266" y="66"/>
                  </a:lnTo>
                  <a:lnTo>
                    <a:pt x="266" y="66"/>
                  </a:lnTo>
                  <a:lnTo>
                    <a:pt x="262" y="68"/>
                  </a:lnTo>
                  <a:lnTo>
                    <a:pt x="260" y="68"/>
                  </a:lnTo>
                  <a:lnTo>
                    <a:pt x="260" y="68"/>
                  </a:lnTo>
                  <a:lnTo>
                    <a:pt x="260" y="68"/>
                  </a:lnTo>
                  <a:lnTo>
                    <a:pt x="260" y="70"/>
                  </a:lnTo>
                  <a:lnTo>
                    <a:pt x="260" y="70"/>
                  </a:lnTo>
                  <a:lnTo>
                    <a:pt x="260" y="70"/>
                  </a:lnTo>
                  <a:lnTo>
                    <a:pt x="260" y="70"/>
                  </a:lnTo>
                  <a:lnTo>
                    <a:pt x="260" y="70"/>
                  </a:lnTo>
                  <a:lnTo>
                    <a:pt x="262" y="72"/>
                  </a:lnTo>
                  <a:lnTo>
                    <a:pt x="264" y="74"/>
                  </a:lnTo>
                  <a:lnTo>
                    <a:pt x="264" y="74"/>
                  </a:lnTo>
                  <a:lnTo>
                    <a:pt x="266" y="72"/>
                  </a:lnTo>
                  <a:lnTo>
                    <a:pt x="266" y="72"/>
                  </a:lnTo>
                  <a:lnTo>
                    <a:pt x="266" y="72"/>
                  </a:lnTo>
                  <a:lnTo>
                    <a:pt x="264" y="72"/>
                  </a:lnTo>
                  <a:lnTo>
                    <a:pt x="266" y="70"/>
                  </a:lnTo>
                  <a:lnTo>
                    <a:pt x="268" y="68"/>
                  </a:lnTo>
                  <a:lnTo>
                    <a:pt x="272" y="70"/>
                  </a:lnTo>
                  <a:lnTo>
                    <a:pt x="274" y="72"/>
                  </a:lnTo>
                  <a:lnTo>
                    <a:pt x="274" y="74"/>
                  </a:lnTo>
                  <a:lnTo>
                    <a:pt x="276" y="78"/>
                  </a:lnTo>
                  <a:lnTo>
                    <a:pt x="276" y="80"/>
                  </a:lnTo>
                  <a:lnTo>
                    <a:pt x="278" y="84"/>
                  </a:lnTo>
                  <a:lnTo>
                    <a:pt x="278" y="82"/>
                  </a:lnTo>
                  <a:lnTo>
                    <a:pt x="278" y="80"/>
                  </a:lnTo>
                  <a:lnTo>
                    <a:pt x="278" y="78"/>
                  </a:lnTo>
                  <a:lnTo>
                    <a:pt x="280" y="78"/>
                  </a:lnTo>
                  <a:lnTo>
                    <a:pt x="280" y="80"/>
                  </a:lnTo>
                  <a:lnTo>
                    <a:pt x="282" y="80"/>
                  </a:lnTo>
                  <a:lnTo>
                    <a:pt x="284" y="80"/>
                  </a:lnTo>
                  <a:lnTo>
                    <a:pt x="284" y="80"/>
                  </a:lnTo>
                  <a:lnTo>
                    <a:pt x="282" y="82"/>
                  </a:lnTo>
                  <a:lnTo>
                    <a:pt x="282" y="82"/>
                  </a:lnTo>
                  <a:lnTo>
                    <a:pt x="282" y="82"/>
                  </a:lnTo>
                  <a:lnTo>
                    <a:pt x="284" y="84"/>
                  </a:lnTo>
                  <a:lnTo>
                    <a:pt x="284" y="86"/>
                  </a:lnTo>
                  <a:lnTo>
                    <a:pt x="287" y="90"/>
                  </a:lnTo>
                  <a:lnTo>
                    <a:pt x="284" y="95"/>
                  </a:lnTo>
                  <a:lnTo>
                    <a:pt x="284" y="95"/>
                  </a:lnTo>
                  <a:lnTo>
                    <a:pt x="280" y="97"/>
                  </a:lnTo>
                  <a:lnTo>
                    <a:pt x="278" y="99"/>
                  </a:lnTo>
                  <a:lnTo>
                    <a:pt x="272" y="103"/>
                  </a:lnTo>
                  <a:lnTo>
                    <a:pt x="270" y="105"/>
                  </a:lnTo>
                  <a:lnTo>
                    <a:pt x="266" y="107"/>
                  </a:lnTo>
                  <a:lnTo>
                    <a:pt x="264" y="109"/>
                  </a:lnTo>
                  <a:lnTo>
                    <a:pt x="262" y="109"/>
                  </a:lnTo>
                  <a:lnTo>
                    <a:pt x="262" y="107"/>
                  </a:lnTo>
                  <a:lnTo>
                    <a:pt x="262" y="107"/>
                  </a:lnTo>
                  <a:lnTo>
                    <a:pt x="266" y="107"/>
                  </a:lnTo>
                  <a:lnTo>
                    <a:pt x="266" y="105"/>
                  </a:lnTo>
                  <a:lnTo>
                    <a:pt x="256" y="107"/>
                  </a:lnTo>
                  <a:lnTo>
                    <a:pt x="254" y="107"/>
                  </a:lnTo>
                  <a:lnTo>
                    <a:pt x="248" y="105"/>
                  </a:lnTo>
                  <a:lnTo>
                    <a:pt x="244" y="103"/>
                  </a:lnTo>
                  <a:lnTo>
                    <a:pt x="244" y="101"/>
                  </a:lnTo>
                  <a:lnTo>
                    <a:pt x="244" y="97"/>
                  </a:lnTo>
                  <a:lnTo>
                    <a:pt x="241" y="92"/>
                  </a:lnTo>
                  <a:lnTo>
                    <a:pt x="239" y="90"/>
                  </a:lnTo>
                  <a:lnTo>
                    <a:pt x="237" y="88"/>
                  </a:lnTo>
                  <a:lnTo>
                    <a:pt x="233" y="90"/>
                  </a:lnTo>
                  <a:lnTo>
                    <a:pt x="233" y="90"/>
                  </a:lnTo>
                  <a:lnTo>
                    <a:pt x="231" y="90"/>
                  </a:lnTo>
                  <a:lnTo>
                    <a:pt x="225" y="86"/>
                  </a:lnTo>
                  <a:lnTo>
                    <a:pt x="225" y="86"/>
                  </a:lnTo>
                  <a:lnTo>
                    <a:pt x="227" y="84"/>
                  </a:lnTo>
                  <a:lnTo>
                    <a:pt x="227" y="84"/>
                  </a:lnTo>
                  <a:lnTo>
                    <a:pt x="227" y="86"/>
                  </a:lnTo>
                  <a:lnTo>
                    <a:pt x="227" y="80"/>
                  </a:lnTo>
                  <a:lnTo>
                    <a:pt x="227" y="80"/>
                  </a:lnTo>
                  <a:lnTo>
                    <a:pt x="229" y="80"/>
                  </a:lnTo>
                  <a:lnTo>
                    <a:pt x="229" y="80"/>
                  </a:lnTo>
                  <a:lnTo>
                    <a:pt x="231" y="84"/>
                  </a:lnTo>
                  <a:lnTo>
                    <a:pt x="231" y="84"/>
                  </a:lnTo>
                  <a:lnTo>
                    <a:pt x="231" y="84"/>
                  </a:lnTo>
                  <a:lnTo>
                    <a:pt x="229" y="84"/>
                  </a:lnTo>
                  <a:lnTo>
                    <a:pt x="231" y="84"/>
                  </a:lnTo>
                  <a:lnTo>
                    <a:pt x="231" y="84"/>
                  </a:lnTo>
                  <a:lnTo>
                    <a:pt x="233" y="84"/>
                  </a:lnTo>
                  <a:lnTo>
                    <a:pt x="233" y="84"/>
                  </a:lnTo>
                  <a:lnTo>
                    <a:pt x="233" y="82"/>
                  </a:lnTo>
                  <a:lnTo>
                    <a:pt x="233" y="82"/>
                  </a:lnTo>
                  <a:lnTo>
                    <a:pt x="233" y="82"/>
                  </a:lnTo>
                  <a:lnTo>
                    <a:pt x="229" y="80"/>
                  </a:lnTo>
                  <a:lnTo>
                    <a:pt x="229" y="78"/>
                  </a:lnTo>
                  <a:lnTo>
                    <a:pt x="229" y="76"/>
                  </a:lnTo>
                  <a:lnTo>
                    <a:pt x="225" y="76"/>
                  </a:lnTo>
                  <a:lnTo>
                    <a:pt x="223" y="72"/>
                  </a:lnTo>
                  <a:lnTo>
                    <a:pt x="221" y="70"/>
                  </a:lnTo>
                  <a:lnTo>
                    <a:pt x="219" y="70"/>
                  </a:lnTo>
                  <a:lnTo>
                    <a:pt x="219" y="70"/>
                  </a:lnTo>
                  <a:lnTo>
                    <a:pt x="219" y="70"/>
                  </a:lnTo>
                  <a:lnTo>
                    <a:pt x="219" y="66"/>
                  </a:lnTo>
                  <a:lnTo>
                    <a:pt x="219" y="66"/>
                  </a:lnTo>
                  <a:lnTo>
                    <a:pt x="215" y="64"/>
                  </a:lnTo>
                  <a:lnTo>
                    <a:pt x="213" y="64"/>
                  </a:lnTo>
                  <a:lnTo>
                    <a:pt x="211" y="62"/>
                  </a:lnTo>
                  <a:lnTo>
                    <a:pt x="207" y="62"/>
                  </a:lnTo>
                  <a:lnTo>
                    <a:pt x="205" y="62"/>
                  </a:lnTo>
                  <a:lnTo>
                    <a:pt x="201" y="60"/>
                  </a:lnTo>
                  <a:lnTo>
                    <a:pt x="201" y="60"/>
                  </a:lnTo>
                  <a:lnTo>
                    <a:pt x="203" y="62"/>
                  </a:lnTo>
                  <a:lnTo>
                    <a:pt x="203" y="62"/>
                  </a:lnTo>
                  <a:lnTo>
                    <a:pt x="205" y="64"/>
                  </a:lnTo>
                  <a:lnTo>
                    <a:pt x="205" y="64"/>
                  </a:lnTo>
                  <a:lnTo>
                    <a:pt x="205" y="66"/>
                  </a:lnTo>
                  <a:lnTo>
                    <a:pt x="205" y="66"/>
                  </a:lnTo>
                  <a:lnTo>
                    <a:pt x="203" y="64"/>
                  </a:lnTo>
                  <a:lnTo>
                    <a:pt x="203" y="66"/>
                  </a:lnTo>
                  <a:lnTo>
                    <a:pt x="201" y="66"/>
                  </a:lnTo>
                  <a:lnTo>
                    <a:pt x="201" y="68"/>
                  </a:lnTo>
                  <a:lnTo>
                    <a:pt x="198" y="68"/>
                  </a:lnTo>
                  <a:lnTo>
                    <a:pt x="198" y="68"/>
                  </a:lnTo>
                  <a:lnTo>
                    <a:pt x="198" y="68"/>
                  </a:lnTo>
                  <a:lnTo>
                    <a:pt x="198" y="68"/>
                  </a:lnTo>
                  <a:lnTo>
                    <a:pt x="198" y="68"/>
                  </a:lnTo>
                  <a:lnTo>
                    <a:pt x="196" y="68"/>
                  </a:lnTo>
                  <a:lnTo>
                    <a:pt x="198" y="66"/>
                  </a:lnTo>
                  <a:lnTo>
                    <a:pt x="198" y="66"/>
                  </a:lnTo>
                  <a:lnTo>
                    <a:pt x="196" y="64"/>
                  </a:lnTo>
                  <a:lnTo>
                    <a:pt x="194" y="64"/>
                  </a:lnTo>
                  <a:lnTo>
                    <a:pt x="194" y="64"/>
                  </a:lnTo>
                  <a:lnTo>
                    <a:pt x="194" y="62"/>
                  </a:lnTo>
                  <a:lnTo>
                    <a:pt x="192" y="64"/>
                  </a:lnTo>
                  <a:lnTo>
                    <a:pt x="192" y="64"/>
                  </a:lnTo>
                  <a:lnTo>
                    <a:pt x="190" y="64"/>
                  </a:lnTo>
                  <a:lnTo>
                    <a:pt x="188" y="62"/>
                  </a:lnTo>
                  <a:lnTo>
                    <a:pt x="188" y="60"/>
                  </a:lnTo>
                  <a:lnTo>
                    <a:pt x="190" y="60"/>
                  </a:lnTo>
                  <a:lnTo>
                    <a:pt x="190" y="60"/>
                  </a:lnTo>
                  <a:lnTo>
                    <a:pt x="190" y="58"/>
                  </a:lnTo>
                  <a:lnTo>
                    <a:pt x="190" y="58"/>
                  </a:lnTo>
                  <a:lnTo>
                    <a:pt x="188" y="58"/>
                  </a:lnTo>
                  <a:lnTo>
                    <a:pt x="188" y="58"/>
                  </a:lnTo>
                  <a:lnTo>
                    <a:pt x="188" y="56"/>
                  </a:lnTo>
                  <a:lnTo>
                    <a:pt x="190" y="56"/>
                  </a:lnTo>
                  <a:lnTo>
                    <a:pt x="192" y="58"/>
                  </a:lnTo>
                  <a:lnTo>
                    <a:pt x="192" y="56"/>
                  </a:lnTo>
                  <a:lnTo>
                    <a:pt x="192" y="56"/>
                  </a:lnTo>
                  <a:lnTo>
                    <a:pt x="190" y="56"/>
                  </a:lnTo>
                  <a:lnTo>
                    <a:pt x="190" y="56"/>
                  </a:lnTo>
                  <a:lnTo>
                    <a:pt x="192" y="56"/>
                  </a:lnTo>
                  <a:lnTo>
                    <a:pt x="192" y="56"/>
                  </a:lnTo>
                  <a:lnTo>
                    <a:pt x="194" y="56"/>
                  </a:lnTo>
                  <a:lnTo>
                    <a:pt x="196" y="56"/>
                  </a:lnTo>
                  <a:lnTo>
                    <a:pt x="194" y="56"/>
                  </a:lnTo>
                  <a:lnTo>
                    <a:pt x="194" y="54"/>
                  </a:lnTo>
                  <a:lnTo>
                    <a:pt x="192" y="51"/>
                  </a:lnTo>
                  <a:lnTo>
                    <a:pt x="192" y="49"/>
                  </a:lnTo>
                  <a:lnTo>
                    <a:pt x="192" y="49"/>
                  </a:lnTo>
                  <a:lnTo>
                    <a:pt x="192" y="47"/>
                  </a:lnTo>
                  <a:lnTo>
                    <a:pt x="194" y="47"/>
                  </a:lnTo>
                  <a:lnTo>
                    <a:pt x="196" y="49"/>
                  </a:lnTo>
                  <a:lnTo>
                    <a:pt x="198" y="47"/>
                  </a:lnTo>
                  <a:lnTo>
                    <a:pt x="196" y="47"/>
                  </a:lnTo>
                  <a:lnTo>
                    <a:pt x="196" y="47"/>
                  </a:lnTo>
                  <a:lnTo>
                    <a:pt x="194" y="45"/>
                  </a:lnTo>
                  <a:lnTo>
                    <a:pt x="194" y="45"/>
                  </a:lnTo>
                  <a:lnTo>
                    <a:pt x="196" y="43"/>
                  </a:lnTo>
                  <a:lnTo>
                    <a:pt x="196" y="43"/>
                  </a:lnTo>
                  <a:lnTo>
                    <a:pt x="196" y="43"/>
                  </a:lnTo>
                  <a:lnTo>
                    <a:pt x="198" y="43"/>
                  </a:lnTo>
                  <a:lnTo>
                    <a:pt x="198" y="41"/>
                  </a:lnTo>
                  <a:lnTo>
                    <a:pt x="198" y="41"/>
                  </a:lnTo>
                  <a:lnTo>
                    <a:pt x="201" y="39"/>
                  </a:lnTo>
                  <a:lnTo>
                    <a:pt x="201" y="39"/>
                  </a:lnTo>
                  <a:lnTo>
                    <a:pt x="201" y="39"/>
                  </a:lnTo>
                  <a:lnTo>
                    <a:pt x="201" y="39"/>
                  </a:lnTo>
                  <a:lnTo>
                    <a:pt x="198" y="37"/>
                  </a:lnTo>
                  <a:lnTo>
                    <a:pt x="198" y="37"/>
                  </a:lnTo>
                  <a:lnTo>
                    <a:pt x="198" y="37"/>
                  </a:lnTo>
                  <a:lnTo>
                    <a:pt x="196" y="39"/>
                  </a:lnTo>
                  <a:lnTo>
                    <a:pt x="196" y="39"/>
                  </a:lnTo>
                  <a:lnTo>
                    <a:pt x="196" y="39"/>
                  </a:lnTo>
                  <a:lnTo>
                    <a:pt x="196" y="37"/>
                  </a:lnTo>
                  <a:lnTo>
                    <a:pt x="196" y="37"/>
                  </a:lnTo>
                  <a:lnTo>
                    <a:pt x="196" y="37"/>
                  </a:lnTo>
                  <a:lnTo>
                    <a:pt x="196" y="35"/>
                  </a:lnTo>
                  <a:lnTo>
                    <a:pt x="198" y="35"/>
                  </a:lnTo>
                  <a:lnTo>
                    <a:pt x="201" y="31"/>
                  </a:lnTo>
                  <a:lnTo>
                    <a:pt x="209" y="27"/>
                  </a:lnTo>
                  <a:lnTo>
                    <a:pt x="211" y="27"/>
                  </a:lnTo>
                  <a:lnTo>
                    <a:pt x="211" y="25"/>
                  </a:lnTo>
                  <a:lnTo>
                    <a:pt x="211" y="25"/>
                  </a:lnTo>
                  <a:lnTo>
                    <a:pt x="211" y="23"/>
                  </a:lnTo>
                  <a:lnTo>
                    <a:pt x="213" y="23"/>
                  </a:lnTo>
                  <a:lnTo>
                    <a:pt x="213" y="25"/>
                  </a:lnTo>
                  <a:lnTo>
                    <a:pt x="213" y="25"/>
                  </a:lnTo>
                  <a:lnTo>
                    <a:pt x="215" y="25"/>
                  </a:lnTo>
                  <a:lnTo>
                    <a:pt x="215" y="23"/>
                  </a:lnTo>
                  <a:lnTo>
                    <a:pt x="215" y="23"/>
                  </a:lnTo>
                  <a:lnTo>
                    <a:pt x="215" y="23"/>
                  </a:lnTo>
                  <a:lnTo>
                    <a:pt x="215" y="21"/>
                  </a:lnTo>
                  <a:lnTo>
                    <a:pt x="217" y="21"/>
                  </a:lnTo>
                  <a:lnTo>
                    <a:pt x="217" y="21"/>
                  </a:lnTo>
                  <a:lnTo>
                    <a:pt x="217" y="19"/>
                  </a:lnTo>
                  <a:lnTo>
                    <a:pt x="217" y="19"/>
                  </a:lnTo>
                  <a:lnTo>
                    <a:pt x="217" y="17"/>
                  </a:lnTo>
                  <a:lnTo>
                    <a:pt x="217" y="17"/>
                  </a:lnTo>
                  <a:lnTo>
                    <a:pt x="215" y="17"/>
                  </a:lnTo>
                  <a:lnTo>
                    <a:pt x="215" y="17"/>
                  </a:lnTo>
                  <a:lnTo>
                    <a:pt x="213" y="17"/>
                  </a:lnTo>
                  <a:lnTo>
                    <a:pt x="213" y="17"/>
                  </a:lnTo>
                  <a:lnTo>
                    <a:pt x="213" y="15"/>
                  </a:lnTo>
                  <a:lnTo>
                    <a:pt x="211" y="17"/>
                  </a:lnTo>
                  <a:lnTo>
                    <a:pt x="211" y="17"/>
                  </a:lnTo>
                  <a:lnTo>
                    <a:pt x="209" y="19"/>
                  </a:lnTo>
                  <a:lnTo>
                    <a:pt x="211" y="21"/>
                  </a:lnTo>
                  <a:lnTo>
                    <a:pt x="211" y="23"/>
                  </a:lnTo>
                  <a:lnTo>
                    <a:pt x="209" y="21"/>
                  </a:lnTo>
                  <a:lnTo>
                    <a:pt x="209" y="21"/>
                  </a:lnTo>
                  <a:lnTo>
                    <a:pt x="205" y="21"/>
                  </a:lnTo>
                  <a:lnTo>
                    <a:pt x="203" y="19"/>
                  </a:lnTo>
                  <a:lnTo>
                    <a:pt x="203" y="19"/>
                  </a:lnTo>
                  <a:lnTo>
                    <a:pt x="203" y="19"/>
                  </a:lnTo>
                  <a:lnTo>
                    <a:pt x="205" y="19"/>
                  </a:lnTo>
                  <a:lnTo>
                    <a:pt x="198" y="17"/>
                  </a:lnTo>
                  <a:lnTo>
                    <a:pt x="196" y="17"/>
                  </a:lnTo>
                  <a:lnTo>
                    <a:pt x="196" y="13"/>
                  </a:lnTo>
                  <a:lnTo>
                    <a:pt x="196" y="13"/>
                  </a:lnTo>
                  <a:lnTo>
                    <a:pt x="201" y="17"/>
                  </a:lnTo>
                  <a:lnTo>
                    <a:pt x="201" y="15"/>
                  </a:lnTo>
                  <a:lnTo>
                    <a:pt x="196" y="8"/>
                  </a:lnTo>
                  <a:lnTo>
                    <a:pt x="196" y="8"/>
                  </a:lnTo>
                  <a:lnTo>
                    <a:pt x="194" y="8"/>
                  </a:lnTo>
                  <a:lnTo>
                    <a:pt x="194" y="6"/>
                  </a:lnTo>
                  <a:lnTo>
                    <a:pt x="194" y="6"/>
                  </a:lnTo>
                  <a:lnTo>
                    <a:pt x="194" y="8"/>
                  </a:lnTo>
                  <a:lnTo>
                    <a:pt x="194" y="8"/>
                  </a:lnTo>
                  <a:lnTo>
                    <a:pt x="192" y="6"/>
                  </a:lnTo>
                  <a:lnTo>
                    <a:pt x="190" y="6"/>
                  </a:lnTo>
                  <a:lnTo>
                    <a:pt x="190" y="6"/>
                  </a:lnTo>
                  <a:lnTo>
                    <a:pt x="192" y="6"/>
                  </a:lnTo>
                  <a:lnTo>
                    <a:pt x="194" y="4"/>
                  </a:lnTo>
                  <a:lnTo>
                    <a:pt x="194" y="4"/>
                  </a:lnTo>
                  <a:lnTo>
                    <a:pt x="192" y="0"/>
                  </a:lnTo>
                  <a:lnTo>
                    <a:pt x="192" y="0"/>
                  </a:lnTo>
                  <a:lnTo>
                    <a:pt x="190" y="2"/>
                  </a:lnTo>
                  <a:lnTo>
                    <a:pt x="188" y="2"/>
                  </a:lnTo>
                  <a:lnTo>
                    <a:pt x="184" y="0"/>
                  </a:lnTo>
                  <a:lnTo>
                    <a:pt x="184" y="0"/>
                  </a:lnTo>
                  <a:lnTo>
                    <a:pt x="184" y="2"/>
                  </a:lnTo>
                  <a:lnTo>
                    <a:pt x="176" y="6"/>
                  </a:lnTo>
                  <a:lnTo>
                    <a:pt x="176" y="8"/>
                  </a:lnTo>
                  <a:lnTo>
                    <a:pt x="176" y="8"/>
                  </a:lnTo>
                  <a:lnTo>
                    <a:pt x="174" y="11"/>
                  </a:lnTo>
                  <a:lnTo>
                    <a:pt x="174" y="11"/>
                  </a:lnTo>
                  <a:lnTo>
                    <a:pt x="174" y="11"/>
                  </a:lnTo>
                  <a:lnTo>
                    <a:pt x="172" y="13"/>
                  </a:lnTo>
                  <a:lnTo>
                    <a:pt x="172" y="13"/>
                  </a:lnTo>
                  <a:lnTo>
                    <a:pt x="172" y="13"/>
                  </a:lnTo>
                  <a:lnTo>
                    <a:pt x="170" y="13"/>
                  </a:lnTo>
                  <a:lnTo>
                    <a:pt x="170" y="13"/>
                  </a:lnTo>
                  <a:lnTo>
                    <a:pt x="168" y="13"/>
                  </a:lnTo>
                  <a:lnTo>
                    <a:pt x="168" y="13"/>
                  </a:lnTo>
                  <a:lnTo>
                    <a:pt x="168" y="15"/>
                  </a:lnTo>
                  <a:lnTo>
                    <a:pt x="168" y="15"/>
                  </a:lnTo>
                  <a:lnTo>
                    <a:pt x="168" y="15"/>
                  </a:lnTo>
                  <a:lnTo>
                    <a:pt x="166" y="17"/>
                  </a:lnTo>
                  <a:lnTo>
                    <a:pt x="166" y="19"/>
                  </a:lnTo>
                  <a:lnTo>
                    <a:pt x="166" y="19"/>
                  </a:lnTo>
                  <a:lnTo>
                    <a:pt x="166" y="21"/>
                  </a:lnTo>
                  <a:lnTo>
                    <a:pt x="166" y="21"/>
                  </a:lnTo>
                  <a:lnTo>
                    <a:pt x="164" y="23"/>
                  </a:lnTo>
                  <a:lnTo>
                    <a:pt x="164" y="23"/>
                  </a:lnTo>
                  <a:lnTo>
                    <a:pt x="162" y="23"/>
                  </a:lnTo>
                  <a:lnTo>
                    <a:pt x="162" y="25"/>
                  </a:lnTo>
                  <a:lnTo>
                    <a:pt x="162" y="27"/>
                  </a:lnTo>
                  <a:lnTo>
                    <a:pt x="160" y="27"/>
                  </a:lnTo>
                  <a:lnTo>
                    <a:pt x="160" y="29"/>
                  </a:lnTo>
                  <a:lnTo>
                    <a:pt x="158" y="29"/>
                  </a:lnTo>
                  <a:lnTo>
                    <a:pt x="158" y="29"/>
                  </a:lnTo>
                  <a:lnTo>
                    <a:pt x="151" y="31"/>
                  </a:lnTo>
                  <a:lnTo>
                    <a:pt x="145" y="31"/>
                  </a:lnTo>
                  <a:lnTo>
                    <a:pt x="139" y="33"/>
                  </a:lnTo>
                  <a:lnTo>
                    <a:pt x="135" y="33"/>
                  </a:lnTo>
                  <a:lnTo>
                    <a:pt x="129" y="35"/>
                  </a:lnTo>
                  <a:lnTo>
                    <a:pt x="123" y="37"/>
                  </a:lnTo>
                  <a:lnTo>
                    <a:pt x="117" y="37"/>
                  </a:lnTo>
                  <a:lnTo>
                    <a:pt x="112" y="39"/>
                  </a:lnTo>
                  <a:lnTo>
                    <a:pt x="106" y="41"/>
                  </a:lnTo>
                  <a:lnTo>
                    <a:pt x="94" y="43"/>
                  </a:lnTo>
                  <a:lnTo>
                    <a:pt x="90" y="43"/>
                  </a:lnTo>
                  <a:lnTo>
                    <a:pt x="84" y="45"/>
                  </a:lnTo>
                  <a:lnTo>
                    <a:pt x="78" y="47"/>
                  </a:lnTo>
                  <a:lnTo>
                    <a:pt x="71" y="47"/>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3" y="49"/>
                  </a:lnTo>
                  <a:lnTo>
                    <a:pt x="59" y="51"/>
                  </a:lnTo>
                  <a:lnTo>
                    <a:pt x="55" y="51"/>
                  </a:lnTo>
                  <a:lnTo>
                    <a:pt x="51" y="54"/>
                  </a:lnTo>
                  <a:lnTo>
                    <a:pt x="47" y="54"/>
                  </a:lnTo>
                  <a:lnTo>
                    <a:pt x="43" y="54"/>
                  </a:lnTo>
                  <a:lnTo>
                    <a:pt x="39" y="56"/>
                  </a:lnTo>
                  <a:lnTo>
                    <a:pt x="35" y="56"/>
                  </a:lnTo>
                  <a:lnTo>
                    <a:pt x="31" y="56"/>
                  </a:lnTo>
                  <a:lnTo>
                    <a:pt x="26" y="58"/>
                  </a:lnTo>
                  <a:lnTo>
                    <a:pt x="24" y="58"/>
                  </a:lnTo>
                  <a:lnTo>
                    <a:pt x="20" y="60"/>
                  </a:lnTo>
                  <a:lnTo>
                    <a:pt x="16" y="60"/>
                  </a:lnTo>
                  <a:lnTo>
                    <a:pt x="4" y="62"/>
                  </a:lnTo>
                  <a:lnTo>
                    <a:pt x="4" y="64"/>
                  </a:lnTo>
                  <a:lnTo>
                    <a:pt x="4" y="68"/>
                  </a:lnTo>
                  <a:lnTo>
                    <a:pt x="2" y="74"/>
                  </a:lnTo>
                  <a:lnTo>
                    <a:pt x="2" y="82"/>
                  </a:lnTo>
                  <a:lnTo>
                    <a:pt x="2" y="90"/>
                  </a:lnTo>
                  <a:lnTo>
                    <a:pt x="2" y="99"/>
                  </a:lnTo>
                  <a:lnTo>
                    <a:pt x="2" y="107"/>
                  </a:lnTo>
                  <a:lnTo>
                    <a:pt x="2" y="123"/>
                  </a:lnTo>
                  <a:lnTo>
                    <a:pt x="2" y="131"/>
                  </a:lnTo>
                  <a:lnTo>
                    <a:pt x="0" y="133"/>
                  </a:lnTo>
                  <a:lnTo>
                    <a:pt x="0" y="136"/>
                  </a:lnTo>
                  <a:lnTo>
                    <a:pt x="4" y="138"/>
                  </a:lnTo>
                  <a:lnTo>
                    <a:pt x="14" y="136"/>
                  </a:lnTo>
                  <a:lnTo>
                    <a:pt x="22" y="133"/>
                  </a:lnTo>
                  <a:lnTo>
                    <a:pt x="33" y="131"/>
                  </a:lnTo>
                  <a:lnTo>
                    <a:pt x="43" y="129"/>
                  </a:lnTo>
                  <a:lnTo>
                    <a:pt x="49" y="129"/>
                  </a:lnTo>
                  <a:lnTo>
                    <a:pt x="53" y="127"/>
                  </a:lnTo>
                  <a:lnTo>
                    <a:pt x="57" y="127"/>
                  </a:lnTo>
                  <a:lnTo>
                    <a:pt x="59" y="129"/>
                  </a:lnTo>
                  <a:lnTo>
                    <a:pt x="61" y="129"/>
                  </a:lnTo>
                  <a:lnTo>
                    <a:pt x="61" y="127"/>
                  </a:lnTo>
                  <a:lnTo>
                    <a:pt x="71" y="123"/>
                  </a:lnTo>
                  <a:lnTo>
                    <a:pt x="74" y="123"/>
                  </a:lnTo>
                  <a:lnTo>
                    <a:pt x="76" y="123"/>
                  </a:lnTo>
                  <a:lnTo>
                    <a:pt x="76" y="123"/>
                  </a:lnTo>
                  <a:lnTo>
                    <a:pt x="78" y="123"/>
                  </a:lnTo>
                  <a:lnTo>
                    <a:pt x="82" y="121"/>
                  </a:lnTo>
                  <a:lnTo>
                    <a:pt x="94" y="119"/>
                  </a:lnTo>
                  <a:lnTo>
                    <a:pt x="104" y="115"/>
                  </a:lnTo>
                  <a:lnTo>
                    <a:pt x="117" y="113"/>
                  </a:lnTo>
                  <a:lnTo>
                    <a:pt x="129" y="111"/>
                  </a:lnTo>
                  <a:lnTo>
                    <a:pt x="137" y="109"/>
                  </a:lnTo>
                  <a:lnTo>
                    <a:pt x="137" y="109"/>
                  </a:lnTo>
                  <a:lnTo>
                    <a:pt x="145" y="107"/>
                  </a:lnTo>
                  <a:lnTo>
                    <a:pt x="151" y="105"/>
                  </a:lnTo>
                  <a:lnTo>
                    <a:pt x="160" y="103"/>
                  </a:lnTo>
                  <a:lnTo>
                    <a:pt x="166" y="101"/>
                  </a:lnTo>
                  <a:lnTo>
                    <a:pt x="170" y="101"/>
                  </a:lnTo>
                  <a:lnTo>
                    <a:pt x="172" y="101"/>
                  </a:lnTo>
                  <a:lnTo>
                    <a:pt x="172" y="105"/>
                  </a:lnTo>
                  <a:lnTo>
                    <a:pt x="174" y="111"/>
                  </a:lnTo>
                  <a:lnTo>
                    <a:pt x="174" y="111"/>
                  </a:lnTo>
                  <a:lnTo>
                    <a:pt x="174" y="113"/>
                  </a:lnTo>
                  <a:lnTo>
                    <a:pt x="176" y="113"/>
                  </a:lnTo>
                  <a:lnTo>
                    <a:pt x="176" y="111"/>
                  </a:lnTo>
                  <a:lnTo>
                    <a:pt x="178" y="111"/>
                  </a:lnTo>
                  <a:lnTo>
                    <a:pt x="178" y="113"/>
                  </a:lnTo>
                  <a:lnTo>
                    <a:pt x="178" y="113"/>
                  </a:lnTo>
                  <a:lnTo>
                    <a:pt x="178" y="113"/>
                  </a:lnTo>
                  <a:lnTo>
                    <a:pt x="178" y="115"/>
                  </a:lnTo>
                  <a:lnTo>
                    <a:pt x="178" y="115"/>
                  </a:lnTo>
                  <a:lnTo>
                    <a:pt x="178" y="115"/>
                  </a:lnTo>
                  <a:lnTo>
                    <a:pt x="180" y="117"/>
                  </a:lnTo>
                  <a:lnTo>
                    <a:pt x="180" y="121"/>
                  </a:lnTo>
                  <a:lnTo>
                    <a:pt x="180" y="121"/>
                  </a:lnTo>
                  <a:lnTo>
                    <a:pt x="180" y="121"/>
                  </a:lnTo>
                  <a:lnTo>
                    <a:pt x="180" y="123"/>
                  </a:lnTo>
                  <a:lnTo>
                    <a:pt x="182" y="123"/>
                  </a:lnTo>
                  <a:lnTo>
                    <a:pt x="184" y="123"/>
                  </a:lnTo>
                  <a:lnTo>
                    <a:pt x="184" y="123"/>
                  </a:lnTo>
                  <a:lnTo>
                    <a:pt x="186" y="123"/>
                  </a:lnTo>
                  <a:lnTo>
                    <a:pt x="188" y="125"/>
                  </a:lnTo>
                  <a:lnTo>
                    <a:pt x="190" y="129"/>
                  </a:lnTo>
                  <a:lnTo>
                    <a:pt x="190" y="127"/>
                  </a:lnTo>
                  <a:lnTo>
                    <a:pt x="190" y="127"/>
                  </a:lnTo>
                  <a:lnTo>
                    <a:pt x="192" y="125"/>
                  </a:lnTo>
                  <a:lnTo>
                    <a:pt x="192" y="125"/>
                  </a:lnTo>
                  <a:lnTo>
                    <a:pt x="194" y="125"/>
                  </a:lnTo>
                  <a:lnTo>
                    <a:pt x="194" y="125"/>
                  </a:lnTo>
                  <a:lnTo>
                    <a:pt x="196" y="125"/>
                  </a:lnTo>
                  <a:lnTo>
                    <a:pt x="196" y="119"/>
                  </a:lnTo>
                  <a:lnTo>
                    <a:pt x="196" y="117"/>
                  </a:lnTo>
                  <a:lnTo>
                    <a:pt x="198" y="117"/>
                  </a:lnTo>
                  <a:lnTo>
                    <a:pt x="198" y="121"/>
                  </a:lnTo>
                  <a:lnTo>
                    <a:pt x="194" y="129"/>
                  </a:lnTo>
                  <a:lnTo>
                    <a:pt x="194" y="133"/>
                  </a:lnTo>
                  <a:lnTo>
                    <a:pt x="194" y="136"/>
                  </a:lnTo>
                  <a:lnTo>
                    <a:pt x="196" y="140"/>
                  </a:lnTo>
                  <a:lnTo>
                    <a:pt x="196" y="144"/>
                  </a:lnTo>
                  <a:lnTo>
                    <a:pt x="198" y="148"/>
                  </a:lnTo>
                  <a:lnTo>
                    <a:pt x="198" y="148"/>
                  </a:lnTo>
                  <a:lnTo>
                    <a:pt x="198" y="150"/>
                  </a:lnTo>
                  <a:lnTo>
                    <a:pt x="201" y="150"/>
                  </a:lnTo>
                  <a:lnTo>
                    <a:pt x="201" y="152"/>
                  </a:lnTo>
                  <a:lnTo>
                    <a:pt x="205" y="146"/>
                  </a:lnTo>
                  <a:lnTo>
                    <a:pt x="207" y="144"/>
                  </a:lnTo>
                  <a:lnTo>
                    <a:pt x="207" y="144"/>
                  </a:lnTo>
                  <a:lnTo>
                    <a:pt x="205" y="144"/>
                  </a:lnTo>
                  <a:lnTo>
                    <a:pt x="209" y="142"/>
                  </a:lnTo>
                  <a:lnTo>
                    <a:pt x="209" y="142"/>
                  </a:lnTo>
                  <a:lnTo>
                    <a:pt x="209" y="140"/>
                  </a:lnTo>
                  <a:lnTo>
                    <a:pt x="211" y="140"/>
                  </a:lnTo>
                  <a:lnTo>
                    <a:pt x="211" y="142"/>
                  </a:lnTo>
                  <a:lnTo>
                    <a:pt x="211" y="144"/>
                  </a:lnTo>
                  <a:lnTo>
                    <a:pt x="209" y="144"/>
                  </a:lnTo>
                  <a:lnTo>
                    <a:pt x="213" y="146"/>
                  </a:lnTo>
                  <a:lnTo>
                    <a:pt x="215" y="144"/>
                  </a:lnTo>
                  <a:lnTo>
                    <a:pt x="217" y="140"/>
                  </a:lnTo>
                  <a:lnTo>
                    <a:pt x="217" y="142"/>
                  </a:lnTo>
                  <a:lnTo>
                    <a:pt x="217" y="142"/>
                  </a:lnTo>
                  <a:lnTo>
                    <a:pt x="217" y="142"/>
                  </a:lnTo>
                  <a:lnTo>
                    <a:pt x="219" y="140"/>
                  </a:lnTo>
                  <a:lnTo>
                    <a:pt x="219" y="138"/>
                  </a:lnTo>
                  <a:lnTo>
                    <a:pt x="219" y="136"/>
                  </a:lnTo>
                  <a:lnTo>
                    <a:pt x="219" y="133"/>
                  </a:lnTo>
                  <a:lnTo>
                    <a:pt x="219" y="131"/>
                  </a:lnTo>
                  <a:lnTo>
                    <a:pt x="219" y="129"/>
                  </a:lnTo>
                  <a:lnTo>
                    <a:pt x="221" y="129"/>
                  </a:lnTo>
                  <a:lnTo>
                    <a:pt x="221" y="129"/>
                  </a:lnTo>
                  <a:lnTo>
                    <a:pt x="223" y="129"/>
                  </a:lnTo>
                  <a:lnTo>
                    <a:pt x="223" y="131"/>
                  </a:lnTo>
                  <a:lnTo>
                    <a:pt x="225" y="131"/>
                  </a:lnTo>
                  <a:lnTo>
                    <a:pt x="225" y="131"/>
                  </a:lnTo>
                  <a:lnTo>
                    <a:pt x="225" y="131"/>
                  </a:lnTo>
                  <a:lnTo>
                    <a:pt x="223" y="129"/>
                  </a:lnTo>
                  <a:lnTo>
                    <a:pt x="225" y="127"/>
                  </a:lnTo>
                  <a:lnTo>
                    <a:pt x="225" y="127"/>
                  </a:lnTo>
                  <a:lnTo>
                    <a:pt x="227" y="125"/>
                  </a:lnTo>
                  <a:lnTo>
                    <a:pt x="227" y="125"/>
                  </a:lnTo>
                  <a:lnTo>
                    <a:pt x="227" y="125"/>
                  </a:lnTo>
                  <a:lnTo>
                    <a:pt x="227" y="125"/>
                  </a:lnTo>
                  <a:lnTo>
                    <a:pt x="227" y="123"/>
                  </a:lnTo>
                  <a:lnTo>
                    <a:pt x="229" y="125"/>
                  </a:lnTo>
                  <a:lnTo>
                    <a:pt x="231" y="123"/>
                  </a:lnTo>
                  <a:lnTo>
                    <a:pt x="231" y="121"/>
                  </a:lnTo>
                  <a:lnTo>
                    <a:pt x="231" y="119"/>
                  </a:lnTo>
                  <a:lnTo>
                    <a:pt x="233" y="119"/>
                  </a:lnTo>
                  <a:lnTo>
                    <a:pt x="231" y="119"/>
                  </a:lnTo>
                  <a:lnTo>
                    <a:pt x="231" y="117"/>
                  </a:lnTo>
                  <a:lnTo>
                    <a:pt x="231" y="113"/>
                  </a:lnTo>
                  <a:lnTo>
                    <a:pt x="231" y="113"/>
                  </a:lnTo>
                  <a:lnTo>
                    <a:pt x="233" y="113"/>
                  </a:lnTo>
                  <a:lnTo>
                    <a:pt x="237" y="115"/>
                  </a:lnTo>
                  <a:lnTo>
                    <a:pt x="237" y="115"/>
                  </a:lnTo>
                  <a:lnTo>
                    <a:pt x="237" y="113"/>
                  </a:lnTo>
                  <a:lnTo>
                    <a:pt x="237" y="113"/>
                  </a:lnTo>
                  <a:lnTo>
                    <a:pt x="237" y="113"/>
                  </a:lnTo>
                  <a:lnTo>
                    <a:pt x="239" y="113"/>
                  </a:lnTo>
                  <a:lnTo>
                    <a:pt x="239" y="113"/>
                  </a:lnTo>
                  <a:lnTo>
                    <a:pt x="237" y="115"/>
                  </a:lnTo>
                  <a:lnTo>
                    <a:pt x="239" y="115"/>
                  </a:lnTo>
                  <a:lnTo>
                    <a:pt x="239" y="117"/>
                  </a:lnTo>
                  <a:lnTo>
                    <a:pt x="237" y="117"/>
                  </a:lnTo>
                  <a:lnTo>
                    <a:pt x="237" y="119"/>
                  </a:lnTo>
                  <a:lnTo>
                    <a:pt x="237" y="119"/>
                  </a:lnTo>
                  <a:lnTo>
                    <a:pt x="239" y="121"/>
                  </a:lnTo>
                  <a:lnTo>
                    <a:pt x="241" y="129"/>
                  </a:lnTo>
                  <a:lnTo>
                    <a:pt x="241" y="133"/>
                  </a:lnTo>
                  <a:lnTo>
                    <a:pt x="239" y="136"/>
                  </a:lnTo>
                  <a:lnTo>
                    <a:pt x="241" y="133"/>
                  </a:lnTo>
                  <a:lnTo>
                    <a:pt x="246" y="131"/>
                  </a:lnTo>
                  <a:lnTo>
                    <a:pt x="248" y="129"/>
                  </a:lnTo>
                  <a:lnTo>
                    <a:pt x="252" y="129"/>
                  </a:lnTo>
                  <a:lnTo>
                    <a:pt x="254" y="127"/>
                  </a:lnTo>
                  <a:lnTo>
                    <a:pt x="254" y="125"/>
                  </a:lnTo>
                  <a:lnTo>
                    <a:pt x="256" y="123"/>
                  </a:lnTo>
                  <a:lnTo>
                    <a:pt x="258" y="119"/>
                  </a:lnTo>
                  <a:lnTo>
                    <a:pt x="258" y="117"/>
                  </a:lnTo>
                  <a:lnTo>
                    <a:pt x="258" y="117"/>
                  </a:lnTo>
                  <a:lnTo>
                    <a:pt x="260" y="119"/>
                  </a:lnTo>
                  <a:lnTo>
                    <a:pt x="262" y="119"/>
                  </a:lnTo>
                  <a:lnTo>
                    <a:pt x="262" y="117"/>
                  </a:lnTo>
                  <a:lnTo>
                    <a:pt x="264" y="117"/>
                  </a:lnTo>
                  <a:lnTo>
                    <a:pt x="266" y="117"/>
                  </a:lnTo>
                  <a:lnTo>
                    <a:pt x="266" y="115"/>
                  </a:lnTo>
                  <a:lnTo>
                    <a:pt x="268" y="115"/>
                  </a:lnTo>
                  <a:lnTo>
                    <a:pt x="270" y="113"/>
                  </a:lnTo>
                  <a:lnTo>
                    <a:pt x="270" y="117"/>
                  </a:lnTo>
                  <a:lnTo>
                    <a:pt x="270" y="117"/>
                  </a:lnTo>
                  <a:lnTo>
                    <a:pt x="270" y="117"/>
                  </a:lnTo>
                  <a:lnTo>
                    <a:pt x="272" y="115"/>
                  </a:lnTo>
                  <a:lnTo>
                    <a:pt x="272" y="113"/>
                  </a:lnTo>
                  <a:lnTo>
                    <a:pt x="272" y="113"/>
                  </a:lnTo>
                  <a:lnTo>
                    <a:pt x="274" y="113"/>
                  </a:lnTo>
                  <a:lnTo>
                    <a:pt x="276" y="111"/>
                  </a:lnTo>
                  <a:lnTo>
                    <a:pt x="280" y="109"/>
                  </a:lnTo>
                  <a:lnTo>
                    <a:pt x="291" y="105"/>
                  </a:lnTo>
                  <a:lnTo>
                    <a:pt x="295" y="105"/>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A</a:t>
              </a:r>
            </a:p>
          </p:txBody>
        </p:sp>
        <p:sp>
          <p:nvSpPr>
            <p:cNvPr id="326" name="Freeform 37">
              <a:extLst>
                <a:ext uri="{FF2B5EF4-FFF2-40B4-BE49-F238E27FC236}">
                  <a16:creationId xmlns:a16="http://schemas.microsoft.com/office/drawing/2014/main" id="{290E5716-36B7-26F4-B737-0FED0878ED51}"/>
                </a:ext>
              </a:extLst>
            </p:cNvPr>
            <p:cNvSpPr>
              <a:spLocks noEditPoints="1"/>
            </p:cNvSpPr>
            <p:nvPr/>
          </p:nvSpPr>
          <p:spPr bwMode="auto">
            <a:xfrm>
              <a:off x="3272" y="1840"/>
              <a:ext cx="506" cy="427"/>
            </a:xfrm>
            <a:custGeom>
              <a:avLst/>
              <a:gdLst>
                <a:gd name="T0" fmla="*/ 232 w 506"/>
                <a:gd name="T1" fmla="*/ 382 h 427"/>
                <a:gd name="T2" fmla="*/ 338 w 506"/>
                <a:gd name="T3" fmla="*/ 423 h 427"/>
                <a:gd name="T4" fmla="*/ 494 w 506"/>
                <a:gd name="T5" fmla="*/ 347 h 427"/>
                <a:gd name="T6" fmla="*/ 475 w 506"/>
                <a:gd name="T7" fmla="*/ 365 h 427"/>
                <a:gd name="T8" fmla="*/ 461 w 506"/>
                <a:gd name="T9" fmla="*/ 304 h 427"/>
                <a:gd name="T10" fmla="*/ 469 w 506"/>
                <a:gd name="T11" fmla="*/ 291 h 427"/>
                <a:gd name="T12" fmla="*/ 459 w 506"/>
                <a:gd name="T13" fmla="*/ 320 h 427"/>
                <a:gd name="T14" fmla="*/ 494 w 506"/>
                <a:gd name="T15" fmla="*/ 394 h 427"/>
                <a:gd name="T16" fmla="*/ 477 w 506"/>
                <a:gd name="T17" fmla="*/ 382 h 427"/>
                <a:gd name="T18" fmla="*/ 459 w 506"/>
                <a:gd name="T19" fmla="*/ 377 h 427"/>
                <a:gd name="T20" fmla="*/ 445 w 506"/>
                <a:gd name="T21" fmla="*/ 369 h 427"/>
                <a:gd name="T22" fmla="*/ 430 w 506"/>
                <a:gd name="T23" fmla="*/ 351 h 427"/>
                <a:gd name="T24" fmla="*/ 434 w 506"/>
                <a:gd name="T25" fmla="*/ 345 h 427"/>
                <a:gd name="T26" fmla="*/ 457 w 506"/>
                <a:gd name="T27" fmla="*/ 332 h 427"/>
                <a:gd name="T28" fmla="*/ 451 w 506"/>
                <a:gd name="T29" fmla="*/ 322 h 427"/>
                <a:gd name="T30" fmla="*/ 453 w 506"/>
                <a:gd name="T31" fmla="*/ 306 h 427"/>
                <a:gd name="T32" fmla="*/ 436 w 506"/>
                <a:gd name="T33" fmla="*/ 312 h 427"/>
                <a:gd name="T34" fmla="*/ 412 w 506"/>
                <a:gd name="T35" fmla="*/ 310 h 427"/>
                <a:gd name="T36" fmla="*/ 420 w 506"/>
                <a:gd name="T37" fmla="*/ 300 h 427"/>
                <a:gd name="T38" fmla="*/ 404 w 506"/>
                <a:gd name="T39" fmla="*/ 300 h 427"/>
                <a:gd name="T40" fmla="*/ 391 w 506"/>
                <a:gd name="T41" fmla="*/ 283 h 427"/>
                <a:gd name="T42" fmla="*/ 430 w 506"/>
                <a:gd name="T43" fmla="*/ 295 h 427"/>
                <a:gd name="T44" fmla="*/ 406 w 506"/>
                <a:gd name="T45" fmla="*/ 246 h 427"/>
                <a:gd name="T46" fmla="*/ 262 w 506"/>
                <a:gd name="T47" fmla="*/ 220 h 427"/>
                <a:gd name="T48" fmla="*/ 242 w 506"/>
                <a:gd name="T49" fmla="*/ 181 h 427"/>
                <a:gd name="T50" fmla="*/ 268 w 506"/>
                <a:gd name="T51" fmla="*/ 113 h 427"/>
                <a:gd name="T52" fmla="*/ 268 w 506"/>
                <a:gd name="T53" fmla="*/ 58 h 427"/>
                <a:gd name="T54" fmla="*/ 268 w 506"/>
                <a:gd name="T55" fmla="*/ 13 h 427"/>
                <a:gd name="T56" fmla="*/ 2 w 506"/>
                <a:gd name="T57" fmla="*/ 58 h 427"/>
                <a:gd name="T58" fmla="*/ 27 w 506"/>
                <a:gd name="T59" fmla="*/ 154 h 427"/>
                <a:gd name="T60" fmla="*/ 37 w 506"/>
                <a:gd name="T61" fmla="*/ 179 h 427"/>
                <a:gd name="T62" fmla="*/ 43 w 506"/>
                <a:gd name="T63" fmla="*/ 195 h 427"/>
                <a:gd name="T64" fmla="*/ 55 w 506"/>
                <a:gd name="T65" fmla="*/ 220 h 427"/>
                <a:gd name="T66" fmla="*/ 51 w 506"/>
                <a:gd name="T67" fmla="*/ 265 h 427"/>
                <a:gd name="T68" fmla="*/ 45 w 506"/>
                <a:gd name="T69" fmla="*/ 316 h 427"/>
                <a:gd name="T70" fmla="*/ 41 w 506"/>
                <a:gd name="T71" fmla="*/ 371 h 427"/>
                <a:gd name="T72" fmla="*/ 166 w 506"/>
                <a:gd name="T73" fmla="*/ 382 h 427"/>
                <a:gd name="T74" fmla="*/ 193 w 506"/>
                <a:gd name="T75" fmla="*/ 365 h 427"/>
                <a:gd name="T76" fmla="*/ 223 w 506"/>
                <a:gd name="T77" fmla="*/ 349 h 427"/>
                <a:gd name="T78" fmla="*/ 250 w 506"/>
                <a:gd name="T79" fmla="*/ 367 h 427"/>
                <a:gd name="T80" fmla="*/ 279 w 506"/>
                <a:gd name="T81" fmla="*/ 377 h 427"/>
                <a:gd name="T82" fmla="*/ 295 w 506"/>
                <a:gd name="T83" fmla="*/ 402 h 427"/>
                <a:gd name="T84" fmla="*/ 281 w 506"/>
                <a:gd name="T85" fmla="*/ 406 h 427"/>
                <a:gd name="T86" fmla="*/ 322 w 506"/>
                <a:gd name="T87" fmla="*/ 410 h 427"/>
                <a:gd name="T88" fmla="*/ 342 w 506"/>
                <a:gd name="T89" fmla="*/ 408 h 427"/>
                <a:gd name="T90" fmla="*/ 352 w 506"/>
                <a:gd name="T91" fmla="*/ 396 h 427"/>
                <a:gd name="T92" fmla="*/ 375 w 506"/>
                <a:gd name="T93" fmla="*/ 398 h 427"/>
                <a:gd name="T94" fmla="*/ 393 w 506"/>
                <a:gd name="T95" fmla="*/ 400 h 427"/>
                <a:gd name="T96" fmla="*/ 393 w 506"/>
                <a:gd name="T97" fmla="*/ 375 h 427"/>
                <a:gd name="T98" fmla="*/ 391 w 506"/>
                <a:gd name="T99" fmla="*/ 367 h 427"/>
                <a:gd name="T100" fmla="*/ 420 w 506"/>
                <a:gd name="T101" fmla="*/ 379 h 427"/>
                <a:gd name="T102" fmla="*/ 447 w 506"/>
                <a:gd name="T103" fmla="*/ 392 h 427"/>
                <a:gd name="T104" fmla="*/ 469 w 506"/>
                <a:gd name="T105" fmla="*/ 402 h 427"/>
                <a:gd name="T106" fmla="*/ 473 w 506"/>
                <a:gd name="T107" fmla="*/ 410 h 427"/>
                <a:gd name="T108" fmla="*/ 490 w 506"/>
                <a:gd name="T109" fmla="*/ 404 h 427"/>
                <a:gd name="T110" fmla="*/ 451 w 506"/>
                <a:gd name="T111" fmla="*/ 338 h 427"/>
                <a:gd name="T112" fmla="*/ 500 w 506"/>
                <a:gd name="T113" fmla="*/ 302 h 427"/>
                <a:gd name="T114" fmla="*/ 367 w 506"/>
                <a:gd name="T115" fmla="*/ 414 h 427"/>
                <a:gd name="T116" fmla="*/ 375 w 506"/>
                <a:gd name="T117" fmla="*/ 416 h 427"/>
                <a:gd name="T118" fmla="*/ 397 w 506"/>
                <a:gd name="T119" fmla="*/ 375 h 427"/>
                <a:gd name="T120" fmla="*/ 500 w 506"/>
                <a:gd name="T121" fmla="*/ 322 h 427"/>
                <a:gd name="T122" fmla="*/ 443 w 506"/>
                <a:gd name="T123" fmla="*/ 345 h 427"/>
                <a:gd name="T124" fmla="*/ 465 w 506"/>
                <a:gd name="T125" fmla="*/ 314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 h="427">
                  <a:moveTo>
                    <a:pt x="236" y="375"/>
                  </a:moveTo>
                  <a:lnTo>
                    <a:pt x="234" y="375"/>
                  </a:lnTo>
                  <a:lnTo>
                    <a:pt x="230" y="373"/>
                  </a:lnTo>
                  <a:lnTo>
                    <a:pt x="230" y="373"/>
                  </a:lnTo>
                  <a:lnTo>
                    <a:pt x="227" y="373"/>
                  </a:lnTo>
                  <a:lnTo>
                    <a:pt x="225" y="371"/>
                  </a:lnTo>
                  <a:lnTo>
                    <a:pt x="223" y="369"/>
                  </a:lnTo>
                  <a:lnTo>
                    <a:pt x="217" y="369"/>
                  </a:lnTo>
                  <a:lnTo>
                    <a:pt x="217" y="369"/>
                  </a:lnTo>
                  <a:lnTo>
                    <a:pt x="217" y="369"/>
                  </a:lnTo>
                  <a:lnTo>
                    <a:pt x="215" y="371"/>
                  </a:lnTo>
                  <a:lnTo>
                    <a:pt x="215" y="371"/>
                  </a:lnTo>
                  <a:lnTo>
                    <a:pt x="213" y="373"/>
                  </a:lnTo>
                  <a:lnTo>
                    <a:pt x="211" y="373"/>
                  </a:lnTo>
                  <a:lnTo>
                    <a:pt x="209" y="373"/>
                  </a:lnTo>
                  <a:lnTo>
                    <a:pt x="207" y="375"/>
                  </a:lnTo>
                  <a:lnTo>
                    <a:pt x="207" y="377"/>
                  </a:lnTo>
                  <a:lnTo>
                    <a:pt x="209" y="377"/>
                  </a:lnTo>
                  <a:lnTo>
                    <a:pt x="219" y="382"/>
                  </a:lnTo>
                  <a:lnTo>
                    <a:pt x="219" y="384"/>
                  </a:lnTo>
                  <a:lnTo>
                    <a:pt x="221" y="384"/>
                  </a:lnTo>
                  <a:lnTo>
                    <a:pt x="227" y="386"/>
                  </a:lnTo>
                  <a:lnTo>
                    <a:pt x="230" y="386"/>
                  </a:lnTo>
                  <a:lnTo>
                    <a:pt x="232" y="386"/>
                  </a:lnTo>
                  <a:lnTo>
                    <a:pt x="232" y="386"/>
                  </a:lnTo>
                  <a:lnTo>
                    <a:pt x="232" y="384"/>
                  </a:lnTo>
                  <a:lnTo>
                    <a:pt x="232" y="382"/>
                  </a:lnTo>
                  <a:lnTo>
                    <a:pt x="232" y="382"/>
                  </a:lnTo>
                  <a:lnTo>
                    <a:pt x="234" y="379"/>
                  </a:lnTo>
                  <a:lnTo>
                    <a:pt x="238" y="377"/>
                  </a:lnTo>
                  <a:lnTo>
                    <a:pt x="238" y="375"/>
                  </a:lnTo>
                  <a:lnTo>
                    <a:pt x="238" y="375"/>
                  </a:lnTo>
                  <a:lnTo>
                    <a:pt x="236" y="375"/>
                  </a:lnTo>
                  <a:close/>
                  <a:moveTo>
                    <a:pt x="313" y="425"/>
                  </a:moveTo>
                  <a:lnTo>
                    <a:pt x="313" y="425"/>
                  </a:lnTo>
                  <a:lnTo>
                    <a:pt x="313" y="425"/>
                  </a:lnTo>
                  <a:lnTo>
                    <a:pt x="313" y="425"/>
                  </a:lnTo>
                  <a:close/>
                  <a:moveTo>
                    <a:pt x="313" y="425"/>
                  </a:moveTo>
                  <a:lnTo>
                    <a:pt x="318" y="427"/>
                  </a:lnTo>
                  <a:lnTo>
                    <a:pt x="320" y="425"/>
                  </a:lnTo>
                  <a:lnTo>
                    <a:pt x="318" y="425"/>
                  </a:lnTo>
                  <a:lnTo>
                    <a:pt x="313" y="425"/>
                  </a:lnTo>
                  <a:close/>
                  <a:moveTo>
                    <a:pt x="326" y="425"/>
                  </a:moveTo>
                  <a:lnTo>
                    <a:pt x="324" y="425"/>
                  </a:lnTo>
                  <a:lnTo>
                    <a:pt x="324" y="425"/>
                  </a:lnTo>
                  <a:lnTo>
                    <a:pt x="324" y="427"/>
                  </a:lnTo>
                  <a:lnTo>
                    <a:pt x="324" y="427"/>
                  </a:lnTo>
                  <a:lnTo>
                    <a:pt x="326" y="427"/>
                  </a:lnTo>
                  <a:lnTo>
                    <a:pt x="326" y="427"/>
                  </a:lnTo>
                  <a:lnTo>
                    <a:pt x="326" y="427"/>
                  </a:lnTo>
                  <a:lnTo>
                    <a:pt x="326" y="425"/>
                  </a:lnTo>
                  <a:close/>
                  <a:moveTo>
                    <a:pt x="342" y="423"/>
                  </a:moveTo>
                  <a:lnTo>
                    <a:pt x="342" y="423"/>
                  </a:lnTo>
                  <a:lnTo>
                    <a:pt x="340" y="423"/>
                  </a:lnTo>
                  <a:lnTo>
                    <a:pt x="340" y="423"/>
                  </a:lnTo>
                  <a:lnTo>
                    <a:pt x="338" y="423"/>
                  </a:lnTo>
                  <a:lnTo>
                    <a:pt x="338" y="423"/>
                  </a:lnTo>
                  <a:lnTo>
                    <a:pt x="336" y="423"/>
                  </a:lnTo>
                  <a:lnTo>
                    <a:pt x="336" y="423"/>
                  </a:lnTo>
                  <a:lnTo>
                    <a:pt x="336" y="423"/>
                  </a:lnTo>
                  <a:lnTo>
                    <a:pt x="334" y="425"/>
                  </a:lnTo>
                  <a:lnTo>
                    <a:pt x="334" y="425"/>
                  </a:lnTo>
                  <a:lnTo>
                    <a:pt x="332" y="425"/>
                  </a:lnTo>
                  <a:lnTo>
                    <a:pt x="332" y="427"/>
                  </a:lnTo>
                  <a:lnTo>
                    <a:pt x="332" y="427"/>
                  </a:lnTo>
                  <a:lnTo>
                    <a:pt x="340" y="423"/>
                  </a:lnTo>
                  <a:lnTo>
                    <a:pt x="342" y="423"/>
                  </a:lnTo>
                  <a:lnTo>
                    <a:pt x="342" y="423"/>
                  </a:lnTo>
                  <a:lnTo>
                    <a:pt x="342" y="420"/>
                  </a:lnTo>
                  <a:lnTo>
                    <a:pt x="342" y="423"/>
                  </a:lnTo>
                  <a:lnTo>
                    <a:pt x="342" y="423"/>
                  </a:lnTo>
                  <a:close/>
                  <a:moveTo>
                    <a:pt x="365" y="420"/>
                  </a:moveTo>
                  <a:lnTo>
                    <a:pt x="363" y="420"/>
                  </a:lnTo>
                  <a:lnTo>
                    <a:pt x="361" y="420"/>
                  </a:lnTo>
                  <a:lnTo>
                    <a:pt x="354" y="420"/>
                  </a:lnTo>
                  <a:lnTo>
                    <a:pt x="354" y="420"/>
                  </a:lnTo>
                  <a:lnTo>
                    <a:pt x="359" y="423"/>
                  </a:lnTo>
                  <a:lnTo>
                    <a:pt x="365" y="423"/>
                  </a:lnTo>
                  <a:lnTo>
                    <a:pt x="365" y="423"/>
                  </a:lnTo>
                  <a:lnTo>
                    <a:pt x="365" y="423"/>
                  </a:lnTo>
                  <a:lnTo>
                    <a:pt x="365" y="420"/>
                  </a:lnTo>
                  <a:close/>
                  <a:moveTo>
                    <a:pt x="494" y="347"/>
                  </a:moveTo>
                  <a:lnTo>
                    <a:pt x="494" y="345"/>
                  </a:lnTo>
                  <a:lnTo>
                    <a:pt x="494" y="347"/>
                  </a:lnTo>
                  <a:lnTo>
                    <a:pt x="494" y="347"/>
                  </a:lnTo>
                  <a:lnTo>
                    <a:pt x="494" y="347"/>
                  </a:lnTo>
                  <a:lnTo>
                    <a:pt x="494" y="347"/>
                  </a:lnTo>
                  <a:close/>
                  <a:moveTo>
                    <a:pt x="465" y="318"/>
                  </a:moveTo>
                  <a:lnTo>
                    <a:pt x="465" y="318"/>
                  </a:lnTo>
                  <a:lnTo>
                    <a:pt x="465" y="316"/>
                  </a:lnTo>
                  <a:lnTo>
                    <a:pt x="465" y="316"/>
                  </a:lnTo>
                  <a:lnTo>
                    <a:pt x="465" y="316"/>
                  </a:lnTo>
                  <a:lnTo>
                    <a:pt x="463" y="316"/>
                  </a:lnTo>
                  <a:lnTo>
                    <a:pt x="461" y="316"/>
                  </a:lnTo>
                  <a:lnTo>
                    <a:pt x="461" y="318"/>
                  </a:lnTo>
                  <a:lnTo>
                    <a:pt x="461" y="318"/>
                  </a:lnTo>
                  <a:lnTo>
                    <a:pt x="461" y="318"/>
                  </a:lnTo>
                  <a:lnTo>
                    <a:pt x="463" y="318"/>
                  </a:lnTo>
                  <a:lnTo>
                    <a:pt x="465" y="318"/>
                  </a:lnTo>
                  <a:lnTo>
                    <a:pt x="465" y="318"/>
                  </a:lnTo>
                  <a:close/>
                  <a:moveTo>
                    <a:pt x="475" y="365"/>
                  </a:moveTo>
                  <a:lnTo>
                    <a:pt x="477" y="365"/>
                  </a:lnTo>
                  <a:lnTo>
                    <a:pt x="477" y="363"/>
                  </a:lnTo>
                  <a:lnTo>
                    <a:pt x="477" y="363"/>
                  </a:lnTo>
                  <a:lnTo>
                    <a:pt x="477" y="363"/>
                  </a:lnTo>
                  <a:lnTo>
                    <a:pt x="477" y="363"/>
                  </a:lnTo>
                  <a:lnTo>
                    <a:pt x="477" y="363"/>
                  </a:lnTo>
                  <a:lnTo>
                    <a:pt x="477" y="363"/>
                  </a:lnTo>
                  <a:lnTo>
                    <a:pt x="475" y="365"/>
                  </a:lnTo>
                  <a:lnTo>
                    <a:pt x="471" y="367"/>
                  </a:lnTo>
                  <a:lnTo>
                    <a:pt x="473" y="367"/>
                  </a:lnTo>
                  <a:lnTo>
                    <a:pt x="475" y="365"/>
                  </a:lnTo>
                  <a:close/>
                  <a:moveTo>
                    <a:pt x="359" y="402"/>
                  </a:moveTo>
                  <a:lnTo>
                    <a:pt x="361" y="400"/>
                  </a:lnTo>
                  <a:lnTo>
                    <a:pt x="361" y="400"/>
                  </a:lnTo>
                  <a:lnTo>
                    <a:pt x="361" y="400"/>
                  </a:lnTo>
                  <a:lnTo>
                    <a:pt x="359" y="400"/>
                  </a:lnTo>
                  <a:lnTo>
                    <a:pt x="359" y="402"/>
                  </a:lnTo>
                  <a:lnTo>
                    <a:pt x="359" y="404"/>
                  </a:lnTo>
                  <a:lnTo>
                    <a:pt x="359" y="402"/>
                  </a:lnTo>
                  <a:lnTo>
                    <a:pt x="359" y="402"/>
                  </a:lnTo>
                  <a:close/>
                  <a:moveTo>
                    <a:pt x="483" y="359"/>
                  </a:moveTo>
                  <a:lnTo>
                    <a:pt x="488" y="355"/>
                  </a:lnTo>
                  <a:lnTo>
                    <a:pt x="488" y="355"/>
                  </a:lnTo>
                  <a:lnTo>
                    <a:pt x="488" y="355"/>
                  </a:lnTo>
                  <a:lnTo>
                    <a:pt x="486" y="355"/>
                  </a:lnTo>
                  <a:lnTo>
                    <a:pt x="483" y="359"/>
                  </a:lnTo>
                  <a:lnTo>
                    <a:pt x="483" y="359"/>
                  </a:lnTo>
                  <a:lnTo>
                    <a:pt x="483" y="359"/>
                  </a:lnTo>
                  <a:close/>
                  <a:moveTo>
                    <a:pt x="455" y="306"/>
                  </a:moveTo>
                  <a:lnTo>
                    <a:pt x="457" y="306"/>
                  </a:lnTo>
                  <a:lnTo>
                    <a:pt x="457" y="304"/>
                  </a:lnTo>
                  <a:lnTo>
                    <a:pt x="457" y="304"/>
                  </a:lnTo>
                  <a:lnTo>
                    <a:pt x="459" y="304"/>
                  </a:lnTo>
                  <a:lnTo>
                    <a:pt x="459" y="304"/>
                  </a:lnTo>
                  <a:lnTo>
                    <a:pt x="459" y="304"/>
                  </a:lnTo>
                  <a:lnTo>
                    <a:pt x="459" y="304"/>
                  </a:lnTo>
                  <a:lnTo>
                    <a:pt x="461" y="304"/>
                  </a:lnTo>
                  <a:lnTo>
                    <a:pt x="461" y="304"/>
                  </a:lnTo>
                  <a:lnTo>
                    <a:pt x="461" y="304"/>
                  </a:lnTo>
                  <a:lnTo>
                    <a:pt x="461" y="304"/>
                  </a:lnTo>
                  <a:lnTo>
                    <a:pt x="461" y="302"/>
                  </a:lnTo>
                  <a:lnTo>
                    <a:pt x="463" y="302"/>
                  </a:lnTo>
                  <a:lnTo>
                    <a:pt x="463" y="302"/>
                  </a:lnTo>
                  <a:lnTo>
                    <a:pt x="463" y="304"/>
                  </a:lnTo>
                  <a:lnTo>
                    <a:pt x="463" y="304"/>
                  </a:lnTo>
                  <a:lnTo>
                    <a:pt x="463" y="304"/>
                  </a:lnTo>
                  <a:lnTo>
                    <a:pt x="465" y="306"/>
                  </a:lnTo>
                  <a:lnTo>
                    <a:pt x="465" y="306"/>
                  </a:lnTo>
                  <a:lnTo>
                    <a:pt x="467" y="306"/>
                  </a:lnTo>
                  <a:lnTo>
                    <a:pt x="467" y="306"/>
                  </a:lnTo>
                  <a:lnTo>
                    <a:pt x="469" y="304"/>
                  </a:lnTo>
                  <a:lnTo>
                    <a:pt x="469" y="302"/>
                  </a:lnTo>
                  <a:lnTo>
                    <a:pt x="469" y="302"/>
                  </a:lnTo>
                  <a:lnTo>
                    <a:pt x="467" y="302"/>
                  </a:lnTo>
                  <a:lnTo>
                    <a:pt x="467" y="302"/>
                  </a:lnTo>
                  <a:lnTo>
                    <a:pt x="467" y="302"/>
                  </a:lnTo>
                  <a:lnTo>
                    <a:pt x="467" y="304"/>
                  </a:lnTo>
                  <a:lnTo>
                    <a:pt x="467" y="304"/>
                  </a:lnTo>
                  <a:lnTo>
                    <a:pt x="467" y="304"/>
                  </a:lnTo>
                  <a:lnTo>
                    <a:pt x="465" y="302"/>
                  </a:lnTo>
                  <a:lnTo>
                    <a:pt x="465" y="300"/>
                  </a:lnTo>
                  <a:lnTo>
                    <a:pt x="465" y="300"/>
                  </a:lnTo>
                  <a:lnTo>
                    <a:pt x="463" y="300"/>
                  </a:lnTo>
                  <a:lnTo>
                    <a:pt x="463" y="298"/>
                  </a:lnTo>
                  <a:lnTo>
                    <a:pt x="467" y="293"/>
                  </a:lnTo>
                  <a:lnTo>
                    <a:pt x="467" y="293"/>
                  </a:lnTo>
                  <a:lnTo>
                    <a:pt x="469" y="291"/>
                  </a:lnTo>
                  <a:lnTo>
                    <a:pt x="469" y="291"/>
                  </a:lnTo>
                  <a:lnTo>
                    <a:pt x="467" y="291"/>
                  </a:lnTo>
                  <a:lnTo>
                    <a:pt x="465" y="293"/>
                  </a:lnTo>
                  <a:lnTo>
                    <a:pt x="465" y="295"/>
                  </a:lnTo>
                  <a:lnTo>
                    <a:pt x="463" y="298"/>
                  </a:lnTo>
                  <a:lnTo>
                    <a:pt x="461" y="298"/>
                  </a:lnTo>
                  <a:lnTo>
                    <a:pt x="459" y="300"/>
                  </a:lnTo>
                  <a:lnTo>
                    <a:pt x="461" y="300"/>
                  </a:lnTo>
                  <a:lnTo>
                    <a:pt x="459" y="302"/>
                  </a:lnTo>
                  <a:lnTo>
                    <a:pt x="459" y="302"/>
                  </a:lnTo>
                  <a:lnTo>
                    <a:pt x="457" y="302"/>
                  </a:lnTo>
                  <a:lnTo>
                    <a:pt x="457" y="302"/>
                  </a:lnTo>
                  <a:lnTo>
                    <a:pt x="457" y="304"/>
                  </a:lnTo>
                  <a:lnTo>
                    <a:pt x="455" y="304"/>
                  </a:lnTo>
                  <a:lnTo>
                    <a:pt x="455" y="304"/>
                  </a:lnTo>
                  <a:lnTo>
                    <a:pt x="455" y="306"/>
                  </a:lnTo>
                  <a:lnTo>
                    <a:pt x="455" y="306"/>
                  </a:lnTo>
                  <a:close/>
                  <a:moveTo>
                    <a:pt x="459" y="318"/>
                  </a:moveTo>
                  <a:lnTo>
                    <a:pt x="461" y="316"/>
                  </a:lnTo>
                  <a:lnTo>
                    <a:pt x="461" y="314"/>
                  </a:lnTo>
                  <a:lnTo>
                    <a:pt x="461" y="312"/>
                  </a:lnTo>
                  <a:lnTo>
                    <a:pt x="461" y="312"/>
                  </a:lnTo>
                  <a:lnTo>
                    <a:pt x="461" y="314"/>
                  </a:lnTo>
                  <a:lnTo>
                    <a:pt x="459" y="316"/>
                  </a:lnTo>
                  <a:lnTo>
                    <a:pt x="459" y="318"/>
                  </a:lnTo>
                  <a:lnTo>
                    <a:pt x="459" y="318"/>
                  </a:lnTo>
                  <a:lnTo>
                    <a:pt x="457" y="320"/>
                  </a:lnTo>
                  <a:lnTo>
                    <a:pt x="459" y="320"/>
                  </a:lnTo>
                  <a:lnTo>
                    <a:pt x="459" y="318"/>
                  </a:lnTo>
                  <a:close/>
                  <a:moveTo>
                    <a:pt x="463" y="330"/>
                  </a:moveTo>
                  <a:lnTo>
                    <a:pt x="463" y="330"/>
                  </a:lnTo>
                  <a:lnTo>
                    <a:pt x="461" y="330"/>
                  </a:lnTo>
                  <a:lnTo>
                    <a:pt x="461" y="330"/>
                  </a:lnTo>
                  <a:lnTo>
                    <a:pt x="457" y="330"/>
                  </a:lnTo>
                  <a:lnTo>
                    <a:pt x="457" y="332"/>
                  </a:lnTo>
                  <a:lnTo>
                    <a:pt x="463" y="334"/>
                  </a:lnTo>
                  <a:lnTo>
                    <a:pt x="463" y="330"/>
                  </a:lnTo>
                  <a:close/>
                  <a:moveTo>
                    <a:pt x="328" y="425"/>
                  </a:moveTo>
                  <a:lnTo>
                    <a:pt x="328" y="425"/>
                  </a:lnTo>
                  <a:lnTo>
                    <a:pt x="328" y="427"/>
                  </a:lnTo>
                  <a:lnTo>
                    <a:pt x="328" y="427"/>
                  </a:lnTo>
                  <a:lnTo>
                    <a:pt x="328" y="427"/>
                  </a:lnTo>
                  <a:lnTo>
                    <a:pt x="330" y="425"/>
                  </a:lnTo>
                  <a:lnTo>
                    <a:pt x="330" y="425"/>
                  </a:lnTo>
                  <a:lnTo>
                    <a:pt x="330" y="425"/>
                  </a:lnTo>
                  <a:lnTo>
                    <a:pt x="328" y="425"/>
                  </a:lnTo>
                  <a:close/>
                  <a:moveTo>
                    <a:pt x="492" y="396"/>
                  </a:moveTo>
                  <a:lnTo>
                    <a:pt x="492" y="398"/>
                  </a:lnTo>
                  <a:lnTo>
                    <a:pt x="492" y="398"/>
                  </a:lnTo>
                  <a:lnTo>
                    <a:pt x="492" y="396"/>
                  </a:lnTo>
                  <a:lnTo>
                    <a:pt x="494" y="396"/>
                  </a:lnTo>
                  <a:lnTo>
                    <a:pt x="496" y="396"/>
                  </a:lnTo>
                  <a:lnTo>
                    <a:pt x="494" y="396"/>
                  </a:lnTo>
                  <a:lnTo>
                    <a:pt x="494" y="396"/>
                  </a:lnTo>
                  <a:lnTo>
                    <a:pt x="494" y="396"/>
                  </a:lnTo>
                  <a:lnTo>
                    <a:pt x="494" y="394"/>
                  </a:lnTo>
                  <a:lnTo>
                    <a:pt x="494" y="394"/>
                  </a:lnTo>
                  <a:lnTo>
                    <a:pt x="494" y="392"/>
                  </a:lnTo>
                  <a:lnTo>
                    <a:pt x="492" y="392"/>
                  </a:lnTo>
                  <a:lnTo>
                    <a:pt x="492" y="392"/>
                  </a:lnTo>
                  <a:lnTo>
                    <a:pt x="490" y="392"/>
                  </a:lnTo>
                  <a:lnTo>
                    <a:pt x="490" y="394"/>
                  </a:lnTo>
                  <a:lnTo>
                    <a:pt x="490" y="394"/>
                  </a:lnTo>
                  <a:lnTo>
                    <a:pt x="490" y="394"/>
                  </a:lnTo>
                  <a:lnTo>
                    <a:pt x="488" y="394"/>
                  </a:lnTo>
                  <a:lnTo>
                    <a:pt x="486" y="394"/>
                  </a:lnTo>
                  <a:lnTo>
                    <a:pt x="486" y="392"/>
                  </a:lnTo>
                  <a:lnTo>
                    <a:pt x="481" y="392"/>
                  </a:lnTo>
                  <a:lnTo>
                    <a:pt x="481" y="390"/>
                  </a:lnTo>
                  <a:lnTo>
                    <a:pt x="481" y="390"/>
                  </a:lnTo>
                  <a:lnTo>
                    <a:pt x="483" y="390"/>
                  </a:lnTo>
                  <a:lnTo>
                    <a:pt x="483" y="388"/>
                  </a:lnTo>
                  <a:lnTo>
                    <a:pt x="483" y="388"/>
                  </a:lnTo>
                  <a:lnTo>
                    <a:pt x="483" y="388"/>
                  </a:lnTo>
                  <a:lnTo>
                    <a:pt x="483" y="386"/>
                  </a:lnTo>
                  <a:lnTo>
                    <a:pt x="483" y="386"/>
                  </a:lnTo>
                  <a:lnTo>
                    <a:pt x="481" y="384"/>
                  </a:lnTo>
                  <a:lnTo>
                    <a:pt x="481" y="384"/>
                  </a:lnTo>
                  <a:lnTo>
                    <a:pt x="479" y="386"/>
                  </a:lnTo>
                  <a:lnTo>
                    <a:pt x="479" y="384"/>
                  </a:lnTo>
                  <a:lnTo>
                    <a:pt x="479" y="384"/>
                  </a:lnTo>
                  <a:lnTo>
                    <a:pt x="479" y="384"/>
                  </a:lnTo>
                  <a:lnTo>
                    <a:pt x="477" y="382"/>
                  </a:lnTo>
                  <a:lnTo>
                    <a:pt x="477" y="382"/>
                  </a:lnTo>
                  <a:lnTo>
                    <a:pt x="477" y="382"/>
                  </a:lnTo>
                  <a:lnTo>
                    <a:pt x="477" y="382"/>
                  </a:lnTo>
                  <a:lnTo>
                    <a:pt x="477" y="379"/>
                  </a:lnTo>
                  <a:lnTo>
                    <a:pt x="475" y="379"/>
                  </a:lnTo>
                  <a:lnTo>
                    <a:pt x="475" y="379"/>
                  </a:lnTo>
                  <a:lnTo>
                    <a:pt x="475" y="379"/>
                  </a:lnTo>
                  <a:lnTo>
                    <a:pt x="475" y="379"/>
                  </a:lnTo>
                  <a:lnTo>
                    <a:pt x="475" y="379"/>
                  </a:lnTo>
                  <a:lnTo>
                    <a:pt x="475" y="379"/>
                  </a:lnTo>
                  <a:lnTo>
                    <a:pt x="475" y="382"/>
                  </a:lnTo>
                  <a:lnTo>
                    <a:pt x="473" y="382"/>
                  </a:lnTo>
                  <a:lnTo>
                    <a:pt x="471" y="384"/>
                  </a:lnTo>
                  <a:lnTo>
                    <a:pt x="471" y="384"/>
                  </a:lnTo>
                  <a:lnTo>
                    <a:pt x="469" y="382"/>
                  </a:lnTo>
                  <a:lnTo>
                    <a:pt x="469" y="379"/>
                  </a:lnTo>
                  <a:lnTo>
                    <a:pt x="469" y="379"/>
                  </a:lnTo>
                  <a:lnTo>
                    <a:pt x="467" y="379"/>
                  </a:lnTo>
                  <a:lnTo>
                    <a:pt x="467" y="379"/>
                  </a:lnTo>
                  <a:lnTo>
                    <a:pt x="465" y="379"/>
                  </a:lnTo>
                  <a:lnTo>
                    <a:pt x="465" y="379"/>
                  </a:lnTo>
                  <a:lnTo>
                    <a:pt x="463" y="382"/>
                  </a:lnTo>
                  <a:lnTo>
                    <a:pt x="463" y="382"/>
                  </a:lnTo>
                  <a:lnTo>
                    <a:pt x="461" y="382"/>
                  </a:lnTo>
                  <a:lnTo>
                    <a:pt x="459" y="379"/>
                  </a:lnTo>
                  <a:lnTo>
                    <a:pt x="459" y="379"/>
                  </a:lnTo>
                  <a:lnTo>
                    <a:pt x="459" y="379"/>
                  </a:lnTo>
                  <a:lnTo>
                    <a:pt x="459" y="379"/>
                  </a:lnTo>
                  <a:lnTo>
                    <a:pt x="459" y="377"/>
                  </a:lnTo>
                  <a:lnTo>
                    <a:pt x="459" y="377"/>
                  </a:lnTo>
                  <a:lnTo>
                    <a:pt x="461" y="377"/>
                  </a:lnTo>
                  <a:lnTo>
                    <a:pt x="461" y="377"/>
                  </a:lnTo>
                  <a:lnTo>
                    <a:pt x="463" y="377"/>
                  </a:lnTo>
                  <a:lnTo>
                    <a:pt x="463" y="375"/>
                  </a:lnTo>
                  <a:lnTo>
                    <a:pt x="461" y="375"/>
                  </a:lnTo>
                  <a:lnTo>
                    <a:pt x="459" y="375"/>
                  </a:lnTo>
                  <a:lnTo>
                    <a:pt x="459" y="375"/>
                  </a:lnTo>
                  <a:lnTo>
                    <a:pt x="459" y="377"/>
                  </a:lnTo>
                  <a:lnTo>
                    <a:pt x="457" y="377"/>
                  </a:lnTo>
                  <a:lnTo>
                    <a:pt x="457" y="377"/>
                  </a:lnTo>
                  <a:lnTo>
                    <a:pt x="457" y="377"/>
                  </a:lnTo>
                  <a:lnTo>
                    <a:pt x="455" y="377"/>
                  </a:lnTo>
                  <a:lnTo>
                    <a:pt x="455" y="377"/>
                  </a:lnTo>
                  <a:lnTo>
                    <a:pt x="453" y="375"/>
                  </a:lnTo>
                  <a:lnTo>
                    <a:pt x="451" y="375"/>
                  </a:lnTo>
                  <a:lnTo>
                    <a:pt x="445" y="377"/>
                  </a:lnTo>
                  <a:lnTo>
                    <a:pt x="445" y="377"/>
                  </a:lnTo>
                  <a:lnTo>
                    <a:pt x="443" y="377"/>
                  </a:lnTo>
                  <a:lnTo>
                    <a:pt x="443" y="375"/>
                  </a:lnTo>
                  <a:lnTo>
                    <a:pt x="443" y="375"/>
                  </a:lnTo>
                  <a:lnTo>
                    <a:pt x="445" y="375"/>
                  </a:lnTo>
                  <a:lnTo>
                    <a:pt x="445" y="375"/>
                  </a:lnTo>
                  <a:lnTo>
                    <a:pt x="445" y="373"/>
                  </a:lnTo>
                  <a:lnTo>
                    <a:pt x="443" y="373"/>
                  </a:lnTo>
                  <a:lnTo>
                    <a:pt x="443" y="373"/>
                  </a:lnTo>
                  <a:lnTo>
                    <a:pt x="443" y="371"/>
                  </a:lnTo>
                  <a:lnTo>
                    <a:pt x="445" y="369"/>
                  </a:lnTo>
                  <a:lnTo>
                    <a:pt x="445" y="369"/>
                  </a:lnTo>
                  <a:lnTo>
                    <a:pt x="443" y="369"/>
                  </a:lnTo>
                  <a:lnTo>
                    <a:pt x="438" y="367"/>
                  </a:lnTo>
                  <a:lnTo>
                    <a:pt x="438" y="367"/>
                  </a:lnTo>
                  <a:lnTo>
                    <a:pt x="438" y="367"/>
                  </a:lnTo>
                  <a:lnTo>
                    <a:pt x="438" y="367"/>
                  </a:lnTo>
                  <a:lnTo>
                    <a:pt x="438" y="367"/>
                  </a:lnTo>
                  <a:lnTo>
                    <a:pt x="436" y="367"/>
                  </a:lnTo>
                  <a:lnTo>
                    <a:pt x="434" y="367"/>
                  </a:lnTo>
                  <a:lnTo>
                    <a:pt x="432" y="365"/>
                  </a:lnTo>
                  <a:lnTo>
                    <a:pt x="430" y="365"/>
                  </a:lnTo>
                  <a:lnTo>
                    <a:pt x="428" y="365"/>
                  </a:lnTo>
                  <a:lnTo>
                    <a:pt x="428" y="363"/>
                  </a:lnTo>
                  <a:lnTo>
                    <a:pt x="428" y="361"/>
                  </a:lnTo>
                  <a:lnTo>
                    <a:pt x="426" y="359"/>
                  </a:lnTo>
                  <a:lnTo>
                    <a:pt x="424" y="357"/>
                  </a:lnTo>
                  <a:lnTo>
                    <a:pt x="424" y="355"/>
                  </a:lnTo>
                  <a:lnTo>
                    <a:pt x="424" y="355"/>
                  </a:lnTo>
                  <a:lnTo>
                    <a:pt x="424" y="355"/>
                  </a:lnTo>
                  <a:lnTo>
                    <a:pt x="424" y="355"/>
                  </a:lnTo>
                  <a:lnTo>
                    <a:pt x="422" y="355"/>
                  </a:lnTo>
                  <a:lnTo>
                    <a:pt x="420" y="353"/>
                  </a:lnTo>
                  <a:lnTo>
                    <a:pt x="424" y="353"/>
                  </a:lnTo>
                  <a:lnTo>
                    <a:pt x="432" y="355"/>
                  </a:lnTo>
                  <a:lnTo>
                    <a:pt x="432" y="353"/>
                  </a:lnTo>
                  <a:lnTo>
                    <a:pt x="430" y="351"/>
                  </a:lnTo>
                  <a:lnTo>
                    <a:pt x="430" y="351"/>
                  </a:lnTo>
                  <a:lnTo>
                    <a:pt x="430" y="351"/>
                  </a:lnTo>
                  <a:lnTo>
                    <a:pt x="430" y="351"/>
                  </a:lnTo>
                  <a:lnTo>
                    <a:pt x="428" y="349"/>
                  </a:lnTo>
                  <a:lnTo>
                    <a:pt x="428" y="349"/>
                  </a:lnTo>
                  <a:lnTo>
                    <a:pt x="430" y="349"/>
                  </a:lnTo>
                  <a:lnTo>
                    <a:pt x="428" y="347"/>
                  </a:lnTo>
                  <a:lnTo>
                    <a:pt x="426" y="347"/>
                  </a:lnTo>
                  <a:lnTo>
                    <a:pt x="424" y="345"/>
                  </a:lnTo>
                  <a:lnTo>
                    <a:pt x="428" y="347"/>
                  </a:lnTo>
                  <a:lnTo>
                    <a:pt x="432" y="349"/>
                  </a:lnTo>
                  <a:lnTo>
                    <a:pt x="434" y="349"/>
                  </a:lnTo>
                  <a:lnTo>
                    <a:pt x="438" y="349"/>
                  </a:lnTo>
                  <a:lnTo>
                    <a:pt x="440" y="349"/>
                  </a:lnTo>
                  <a:lnTo>
                    <a:pt x="443" y="349"/>
                  </a:lnTo>
                  <a:lnTo>
                    <a:pt x="443" y="351"/>
                  </a:lnTo>
                  <a:lnTo>
                    <a:pt x="445" y="351"/>
                  </a:lnTo>
                  <a:lnTo>
                    <a:pt x="447" y="351"/>
                  </a:lnTo>
                  <a:lnTo>
                    <a:pt x="447" y="351"/>
                  </a:lnTo>
                  <a:lnTo>
                    <a:pt x="443" y="349"/>
                  </a:lnTo>
                  <a:lnTo>
                    <a:pt x="440" y="347"/>
                  </a:lnTo>
                  <a:lnTo>
                    <a:pt x="440" y="347"/>
                  </a:lnTo>
                  <a:lnTo>
                    <a:pt x="443" y="347"/>
                  </a:lnTo>
                  <a:lnTo>
                    <a:pt x="443" y="347"/>
                  </a:lnTo>
                  <a:lnTo>
                    <a:pt x="443" y="347"/>
                  </a:lnTo>
                  <a:lnTo>
                    <a:pt x="443" y="347"/>
                  </a:lnTo>
                  <a:lnTo>
                    <a:pt x="440" y="347"/>
                  </a:lnTo>
                  <a:lnTo>
                    <a:pt x="438" y="347"/>
                  </a:lnTo>
                  <a:lnTo>
                    <a:pt x="436" y="347"/>
                  </a:lnTo>
                  <a:lnTo>
                    <a:pt x="434" y="345"/>
                  </a:lnTo>
                  <a:lnTo>
                    <a:pt x="434" y="343"/>
                  </a:lnTo>
                  <a:lnTo>
                    <a:pt x="434" y="341"/>
                  </a:lnTo>
                  <a:lnTo>
                    <a:pt x="434" y="341"/>
                  </a:lnTo>
                  <a:lnTo>
                    <a:pt x="436" y="338"/>
                  </a:lnTo>
                  <a:lnTo>
                    <a:pt x="438" y="338"/>
                  </a:lnTo>
                  <a:lnTo>
                    <a:pt x="438" y="338"/>
                  </a:lnTo>
                  <a:lnTo>
                    <a:pt x="440" y="338"/>
                  </a:lnTo>
                  <a:lnTo>
                    <a:pt x="440" y="338"/>
                  </a:lnTo>
                  <a:lnTo>
                    <a:pt x="440" y="336"/>
                  </a:lnTo>
                  <a:lnTo>
                    <a:pt x="443" y="334"/>
                  </a:lnTo>
                  <a:lnTo>
                    <a:pt x="445" y="332"/>
                  </a:lnTo>
                  <a:lnTo>
                    <a:pt x="445" y="332"/>
                  </a:lnTo>
                  <a:lnTo>
                    <a:pt x="445" y="330"/>
                  </a:lnTo>
                  <a:lnTo>
                    <a:pt x="445" y="330"/>
                  </a:lnTo>
                  <a:lnTo>
                    <a:pt x="447" y="330"/>
                  </a:lnTo>
                  <a:lnTo>
                    <a:pt x="447" y="330"/>
                  </a:lnTo>
                  <a:lnTo>
                    <a:pt x="449" y="332"/>
                  </a:lnTo>
                  <a:lnTo>
                    <a:pt x="449" y="332"/>
                  </a:lnTo>
                  <a:lnTo>
                    <a:pt x="451" y="334"/>
                  </a:lnTo>
                  <a:lnTo>
                    <a:pt x="451" y="334"/>
                  </a:lnTo>
                  <a:lnTo>
                    <a:pt x="451" y="334"/>
                  </a:lnTo>
                  <a:lnTo>
                    <a:pt x="451" y="336"/>
                  </a:lnTo>
                  <a:lnTo>
                    <a:pt x="451" y="336"/>
                  </a:lnTo>
                  <a:lnTo>
                    <a:pt x="453" y="336"/>
                  </a:lnTo>
                  <a:lnTo>
                    <a:pt x="453" y="334"/>
                  </a:lnTo>
                  <a:lnTo>
                    <a:pt x="453" y="332"/>
                  </a:lnTo>
                  <a:lnTo>
                    <a:pt x="455" y="332"/>
                  </a:lnTo>
                  <a:lnTo>
                    <a:pt x="457" y="332"/>
                  </a:lnTo>
                  <a:lnTo>
                    <a:pt x="457" y="332"/>
                  </a:lnTo>
                  <a:lnTo>
                    <a:pt x="455" y="332"/>
                  </a:lnTo>
                  <a:lnTo>
                    <a:pt x="455" y="332"/>
                  </a:lnTo>
                  <a:lnTo>
                    <a:pt x="455" y="330"/>
                  </a:lnTo>
                  <a:lnTo>
                    <a:pt x="453" y="328"/>
                  </a:lnTo>
                  <a:lnTo>
                    <a:pt x="455" y="328"/>
                  </a:lnTo>
                  <a:lnTo>
                    <a:pt x="455" y="328"/>
                  </a:lnTo>
                  <a:lnTo>
                    <a:pt x="455" y="326"/>
                  </a:lnTo>
                  <a:lnTo>
                    <a:pt x="457" y="326"/>
                  </a:lnTo>
                  <a:lnTo>
                    <a:pt x="457" y="326"/>
                  </a:lnTo>
                  <a:lnTo>
                    <a:pt x="457" y="326"/>
                  </a:lnTo>
                  <a:lnTo>
                    <a:pt x="455" y="326"/>
                  </a:lnTo>
                  <a:lnTo>
                    <a:pt x="455" y="324"/>
                  </a:lnTo>
                  <a:lnTo>
                    <a:pt x="455" y="324"/>
                  </a:lnTo>
                  <a:lnTo>
                    <a:pt x="457" y="324"/>
                  </a:lnTo>
                  <a:lnTo>
                    <a:pt x="455" y="322"/>
                  </a:lnTo>
                  <a:lnTo>
                    <a:pt x="455" y="322"/>
                  </a:lnTo>
                  <a:lnTo>
                    <a:pt x="453" y="322"/>
                  </a:lnTo>
                  <a:lnTo>
                    <a:pt x="453" y="324"/>
                  </a:lnTo>
                  <a:lnTo>
                    <a:pt x="451" y="324"/>
                  </a:lnTo>
                  <a:lnTo>
                    <a:pt x="451" y="324"/>
                  </a:lnTo>
                  <a:lnTo>
                    <a:pt x="453" y="322"/>
                  </a:lnTo>
                  <a:lnTo>
                    <a:pt x="455" y="320"/>
                  </a:lnTo>
                  <a:lnTo>
                    <a:pt x="453" y="320"/>
                  </a:lnTo>
                  <a:lnTo>
                    <a:pt x="453" y="320"/>
                  </a:lnTo>
                  <a:lnTo>
                    <a:pt x="451" y="320"/>
                  </a:lnTo>
                  <a:lnTo>
                    <a:pt x="451" y="320"/>
                  </a:lnTo>
                  <a:lnTo>
                    <a:pt x="451" y="322"/>
                  </a:lnTo>
                  <a:lnTo>
                    <a:pt x="449" y="322"/>
                  </a:lnTo>
                  <a:lnTo>
                    <a:pt x="449" y="322"/>
                  </a:lnTo>
                  <a:lnTo>
                    <a:pt x="449" y="322"/>
                  </a:lnTo>
                  <a:lnTo>
                    <a:pt x="449" y="322"/>
                  </a:lnTo>
                  <a:lnTo>
                    <a:pt x="449" y="320"/>
                  </a:lnTo>
                  <a:lnTo>
                    <a:pt x="447" y="320"/>
                  </a:lnTo>
                  <a:lnTo>
                    <a:pt x="447" y="318"/>
                  </a:lnTo>
                  <a:lnTo>
                    <a:pt x="449" y="316"/>
                  </a:lnTo>
                  <a:lnTo>
                    <a:pt x="451" y="318"/>
                  </a:lnTo>
                  <a:lnTo>
                    <a:pt x="453" y="318"/>
                  </a:lnTo>
                  <a:lnTo>
                    <a:pt x="453" y="316"/>
                  </a:lnTo>
                  <a:lnTo>
                    <a:pt x="451" y="314"/>
                  </a:lnTo>
                  <a:lnTo>
                    <a:pt x="451" y="314"/>
                  </a:lnTo>
                  <a:lnTo>
                    <a:pt x="447" y="314"/>
                  </a:lnTo>
                  <a:lnTo>
                    <a:pt x="447" y="314"/>
                  </a:lnTo>
                  <a:lnTo>
                    <a:pt x="445" y="314"/>
                  </a:lnTo>
                  <a:lnTo>
                    <a:pt x="445" y="314"/>
                  </a:lnTo>
                  <a:lnTo>
                    <a:pt x="447" y="314"/>
                  </a:lnTo>
                  <a:lnTo>
                    <a:pt x="447" y="312"/>
                  </a:lnTo>
                  <a:lnTo>
                    <a:pt x="447" y="312"/>
                  </a:lnTo>
                  <a:lnTo>
                    <a:pt x="447" y="312"/>
                  </a:lnTo>
                  <a:lnTo>
                    <a:pt x="447" y="310"/>
                  </a:lnTo>
                  <a:lnTo>
                    <a:pt x="447" y="310"/>
                  </a:lnTo>
                  <a:lnTo>
                    <a:pt x="447" y="308"/>
                  </a:lnTo>
                  <a:lnTo>
                    <a:pt x="451" y="308"/>
                  </a:lnTo>
                  <a:lnTo>
                    <a:pt x="451" y="308"/>
                  </a:lnTo>
                  <a:lnTo>
                    <a:pt x="453" y="306"/>
                  </a:lnTo>
                  <a:lnTo>
                    <a:pt x="453" y="306"/>
                  </a:lnTo>
                  <a:lnTo>
                    <a:pt x="453" y="306"/>
                  </a:lnTo>
                  <a:lnTo>
                    <a:pt x="451" y="306"/>
                  </a:lnTo>
                  <a:lnTo>
                    <a:pt x="451" y="306"/>
                  </a:lnTo>
                  <a:lnTo>
                    <a:pt x="449" y="306"/>
                  </a:lnTo>
                  <a:lnTo>
                    <a:pt x="447" y="308"/>
                  </a:lnTo>
                  <a:lnTo>
                    <a:pt x="447" y="308"/>
                  </a:lnTo>
                  <a:lnTo>
                    <a:pt x="447" y="308"/>
                  </a:lnTo>
                  <a:lnTo>
                    <a:pt x="447" y="308"/>
                  </a:lnTo>
                  <a:lnTo>
                    <a:pt x="447" y="308"/>
                  </a:lnTo>
                  <a:lnTo>
                    <a:pt x="447" y="306"/>
                  </a:lnTo>
                  <a:lnTo>
                    <a:pt x="447" y="306"/>
                  </a:lnTo>
                  <a:lnTo>
                    <a:pt x="447" y="306"/>
                  </a:lnTo>
                  <a:lnTo>
                    <a:pt x="447" y="306"/>
                  </a:lnTo>
                  <a:lnTo>
                    <a:pt x="447" y="306"/>
                  </a:lnTo>
                  <a:lnTo>
                    <a:pt x="445" y="304"/>
                  </a:lnTo>
                  <a:lnTo>
                    <a:pt x="443" y="304"/>
                  </a:lnTo>
                  <a:lnTo>
                    <a:pt x="443" y="304"/>
                  </a:lnTo>
                  <a:lnTo>
                    <a:pt x="443" y="304"/>
                  </a:lnTo>
                  <a:lnTo>
                    <a:pt x="440" y="304"/>
                  </a:lnTo>
                  <a:lnTo>
                    <a:pt x="440" y="304"/>
                  </a:lnTo>
                  <a:lnTo>
                    <a:pt x="440" y="306"/>
                  </a:lnTo>
                  <a:lnTo>
                    <a:pt x="440" y="306"/>
                  </a:lnTo>
                  <a:lnTo>
                    <a:pt x="440" y="308"/>
                  </a:lnTo>
                  <a:lnTo>
                    <a:pt x="440" y="308"/>
                  </a:lnTo>
                  <a:lnTo>
                    <a:pt x="440" y="310"/>
                  </a:lnTo>
                  <a:lnTo>
                    <a:pt x="438" y="310"/>
                  </a:lnTo>
                  <a:lnTo>
                    <a:pt x="438" y="310"/>
                  </a:lnTo>
                  <a:lnTo>
                    <a:pt x="436" y="312"/>
                  </a:lnTo>
                  <a:lnTo>
                    <a:pt x="436" y="312"/>
                  </a:lnTo>
                  <a:lnTo>
                    <a:pt x="434" y="312"/>
                  </a:lnTo>
                  <a:lnTo>
                    <a:pt x="434" y="314"/>
                  </a:lnTo>
                  <a:lnTo>
                    <a:pt x="434" y="318"/>
                  </a:lnTo>
                  <a:lnTo>
                    <a:pt x="434" y="320"/>
                  </a:lnTo>
                  <a:lnTo>
                    <a:pt x="434" y="322"/>
                  </a:lnTo>
                  <a:lnTo>
                    <a:pt x="432" y="324"/>
                  </a:lnTo>
                  <a:lnTo>
                    <a:pt x="430" y="326"/>
                  </a:lnTo>
                  <a:lnTo>
                    <a:pt x="428" y="326"/>
                  </a:lnTo>
                  <a:lnTo>
                    <a:pt x="426" y="326"/>
                  </a:lnTo>
                  <a:lnTo>
                    <a:pt x="424" y="326"/>
                  </a:lnTo>
                  <a:lnTo>
                    <a:pt x="422" y="324"/>
                  </a:lnTo>
                  <a:lnTo>
                    <a:pt x="420" y="322"/>
                  </a:lnTo>
                  <a:lnTo>
                    <a:pt x="420" y="322"/>
                  </a:lnTo>
                  <a:lnTo>
                    <a:pt x="422" y="320"/>
                  </a:lnTo>
                  <a:lnTo>
                    <a:pt x="422" y="318"/>
                  </a:lnTo>
                  <a:lnTo>
                    <a:pt x="420" y="318"/>
                  </a:lnTo>
                  <a:lnTo>
                    <a:pt x="418" y="320"/>
                  </a:lnTo>
                  <a:lnTo>
                    <a:pt x="416" y="320"/>
                  </a:lnTo>
                  <a:lnTo>
                    <a:pt x="414" y="320"/>
                  </a:lnTo>
                  <a:lnTo>
                    <a:pt x="412" y="320"/>
                  </a:lnTo>
                  <a:lnTo>
                    <a:pt x="412" y="320"/>
                  </a:lnTo>
                  <a:lnTo>
                    <a:pt x="410" y="318"/>
                  </a:lnTo>
                  <a:lnTo>
                    <a:pt x="410" y="316"/>
                  </a:lnTo>
                  <a:lnTo>
                    <a:pt x="410" y="314"/>
                  </a:lnTo>
                  <a:lnTo>
                    <a:pt x="410" y="312"/>
                  </a:lnTo>
                  <a:lnTo>
                    <a:pt x="410" y="310"/>
                  </a:lnTo>
                  <a:lnTo>
                    <a:pt x="412" y="310"/>
                  </a:lnTo>
                  <a:lnTo>
                    <a:pt x="414" y="310"/>
                  </a:lnTo>
                  <a:lnTo>
                    <a:pt x="418" y="310"/>
                  </a:lnTo>
                  <a:lnTo>
                    <a:pt x="420" y="312"/>
                  </a:lnTo>
                  <a:lnTo>
                    <a:pt x="420" y="310"/>
                  </a:lnTo>
                  <a:lnTo>
                    <a:pt x="420" y="310"/>
                  </a:lnTo>
                  <a:lnTo>
                    <a:pt x="420" y="308"/>
                  </a:lnTo>
                  <a:lnTo>
                    <a:pt x="420" y="308"/>
                  </a:lnTo>
                  <a:lnTo>
                    <a:pt x="420" y="306"/>
                  </a:lnTo>
                  <a:lnTo>
                    <a:pt x="422" y="306"/>
                  </a:lnTo>
                  <a:lnTo>
                    <a:pt x="424" y="304"/>
                  </a:lnTo>
                  <a:lnTo>
                    <a:pt x="424" y="302"/>
                  </a:lnTo>
                  <a:lnTo>
                    <a:pt x="424" y="300"/>
                  </a:lnTo>
                  <a:lnTo>
                    <a:pt x="426" y="298"/>
                  </a:lnTo>
                  <a:lnTo>
                    <a:pt x="424" y="298"/>
                  </a:lnTo>
                  <a:lnTo>
                    <a:pt x="424" y="295"/>
                  </a:lnTo>
                  <a:lnTo>
                    <a:pt x="422" y="295"/>
                  </a:lnTo>
                  <a:lnTo>
                    <a:pt x="420" y="298"/>
                  </a:lnTo>
                  <a:lnTo>
                    <a:pt x="420" y="298"/>
                  </a:lnTo>
                  <a:lnTo>
                    <a:pt x="420" y="298"/>
                  </a:lnTo>
                  <a:lnTo>
                    <a:pt x="420" y="298"/>
                  </a:lnTo>
                  <a:lnTo>
                    <a:pt x="420" y="298"/>
                  </a:lnTo>
                  <a:lnTo>
                    <a:pt x="420" y="298"/>
                  </a:lnTo>
                  <a:lnTo>
                    <a:pt x="422" y="298"/>
                  </a:lnTo>
                  <a:lnTo>
                    <a:pt x="422" y="298"/>
                  </a:lnTo>
                  <a:lnTo>
                    <a:pt x="422" y="298"/>
                  </a:lnTo>
                  <a:lnTo>
                    <a:pt x="422" y="300"/>
                  </a:lnTo>
                  <a:lnTo>
                    <a:pt x="422" y="300"/>
                  </a:lnTo>
                  <a:lnTo>
                    <a:pt x="420" y="300"/>
                  </a:lnTo>
                  <a:lnTo>
                    <a:pt x="420" y="300"/>
                  </a:lnTo>
                  <a:lnTo>
                    <a:pt x="418" y="300"/>
                  </a:lnTo>
                  <a:lnTo>
                    <a:pt x="418" y="300"/>
                  </a:lnTo>
                  <a:lnTo>
                    <a:pt x="418" y="302"/>
                  </a:lnTo>
                  <a:lnTo>
                    <a:pt x="416" y="304"/>
                  </a:lnTo>
                  <a:lnTo>
                    <a:pt x="416" y="304"/>
                  </a:lnTo>
                  <a:lnTo>
                    <a:pt x="416" y="302"/>
                  </a:lnTo>
                  <a:lnTo>
                    <a:pt x="416" y="302"/>
                  </a:lnTo>
                  <a:lnTo>
                    <a:pt x="416" y="302"/>
                  </a:lnTo>
                  <a:lnTo>
                    <a:pt x="416" y="302"/>
                  </a:lnTo>
                  <a:lnTo>
                    <a:pt x="416" y="298"/>
                  </a:lnTo>
                  <a:lnTo>
                    <a:pt x="418" y="298"/>
                  </a:lnTo>
                  <a:lnTo>
                    <a:pt x="416" y="295"/>
                  </a:lnTo>
                  <a:lnTo>
                    <a:pt x="416" y="295"/>
                  </a:lnTo>
                  <a:lnTo>
                    <a:pt x="416" y="298"/>
                  </a:lnTo>
                  <a:lnTo>
                    <a:pt x="416" y="298"/>
                  </a:lnTo>
                  <a:lnTo>
                    <a:pt x="414" y="300"/>
                  </a:lnTo>
                  <a:lnTo>
                    <a:pt x="414" y="302"/>
                  </a:lnTo>
                  <a:lnTo>
                    <a:pt x="412" y="304"/>
                  </a:lnTo>
                  <a:lnTo>
                    <a:pt x="412" y="304"/>
                  </a:lnTo>
                  <a:lnTo>
                    <a:pt x="412" y="304"/>
                  </a:lnTo>
                  <a:lnTo>
                    <a:pt x="410" y="304"/>
                  </a:lnTo>
                  <a:lnTo>
                    <a:pt x="410" y="304"/>
                  </a:lnTo>
                  <a:lnTo>
                    <a:pt x="408" y="302"/>
                  </a:lnTo>
                  <a:lnTo>
                    <a:pt x="408" y="302"/>
                  </a:lnTo>
                  <a:lnTo>
                    <a:pt x="406" y="300"/>
                  </a:lnTo>
                  <a:lnTo>
                    <a:pt x="406" y="300"/>
                  </a:lnTo>
                  <a:lnTo>
                    <a:pt x="404" y="300"/>
                  </a:lnTo>
                  <a:lnTo>
                    <a:pt x="402" y="302"/>
                  </a:lnTo>
                  <a:lnTo>
                    <a:pt x="399" y="306"/>
                  </a:lnTo>
                  <a:lnTo>
                    <a:pt x="393" y="310"/>
                  </a:lnTo>
                  <a:lnTo>
                    <a:pt x="391" y="312"/>
                  </a:lnTo>
                  <a:lnTo>
                    <a:pt x="389" y="312"/>
                  </a:lnTo>
                  <a:lnTo>
                    <a:pt x="383" y="314"/>
                  </a:lnTo>
                  <a:lnTo>
                    <a:pt x="381" y="316"/>
                  </a:lnTo>
                  <a:lnTo>
                    <a:pt x="379" y="316"/>
                  </a:lnTo>
                  <a:lnTo>
                    <a:pt x="373" y="314"/>
                  </a:lnTo>
                  <a:lnTo>
                    <a:pt x="369" y="312"/>
                  </a:lnTo>
                  <a:lnTo>
                    <a:pt x="363" y="312"/>
                  </a:lnTo>
                  <a:lnTo>
                    <a:pt x="359" y="312"/>
                  </a:lnTo>
                  <a:lnTo>
                    <a:pt x="354" y="308"/>
                  </a:lnTo>
                  <a:lnTo>
                    <a:pt x="352" y="304"/>
                  </a:lnTo>
                  <a:lnTo>
                    <a:pt x="352" y="300"/>
                  </a:lnTo>
                  <a:lnTo>
                    <a:pt x="354" y="295"/>
                  </a:lnTo>
                  <a:lnTo>
                    <a:pt x="361" y="289"/>
                  </a:lnTo>
                  <a:lnTo>
                    <a:pt x="363" y="285"/>
                  </a:lnTo>
                  <a:lnTo>
                    <a:pt x="365" y="281"/>
                  </a:lnTo>
                  <a:lnTo>
                    <a:pt x="367" y="279"/>
                  </a:lnTo>
                  <a:lnTo>
                    <a:pt x="369" y="277"/>
                  </a:lnTo>
                  <a:lnTo>
                    <a:pt x="373" y="275"/>
                  </a:lnTo>
                  <a:lnTo>
                    <a:pt x="377" y="277"/>
                  </a:lnTo>
                  <a:lnTo>
                    <a:pt x="381" y="277"/>
                  </a:lnTo>
                  <a:lnTo>
                    <a:pt x="385" y="279"/>
                  </a:lnTo>
                  <a:lnTo>
                    <a:pt x="389" y="281"/>
                  </a:lnTo>
                  <a:lnTo>
                    <a:pt x="391" y="281"/>
                  </a:lnTo>
                  <a:lnTo>
                    <a:pt x="391" y="283"/>
                  </a:lnTo>
                  <a:lnTo>
                    <a:pt x="393" y="287"/>
                  </a:lnTo>
                  <a:lnTo>
                    <a:pt x="393" y="287"/>
                  </a:lnTo>
                  <a:lnTo>
                    <a:pt x="397" y="287"/>
                  </a:lnTo>
                  <a:lnTo>
                    <a:pt x="399" y="287"/>
                  </a:lnTo>
                  <a:lnTo>
                    <a:pt x="402" y="287"/>
                  </a:lnTo>
                  <a:lnTo>
                    <a:pt x="402" y="287"/>
                  </a:lnTo>
                  <a:lnTo>
                    <a:pt x="404" y="287"/>
                  </a:lnTo>
                  <a:lnTo>
                    <a:pt x="408" y="289"/>
                  </a:lnTo>
                  <a:lnTo>
                    <a:pt x="410" y="289"/>
                  </a:lnTo>
                  <a:lnTo>
                    <a:pt x="414" y="289"/>
                  </a:lnTo>
                  <a:lnTo>
                    <a:pt x="414" y="289"/>
                  </a:lnTo>
                  <a:lnTo>
                    <a:pt x="416" y="291"/>
                  </a:lnTo>
                  <a:lnTo>
                    <a:pt x="416" y="291"/>
                  </a:lnTo>
                  <a:lnTo>
                    <a:pt x="416" y="291"/>
                  </a:lnTo>
                  <a:lnTo>
                    <a:pt x="416" y="293"/>
                  </a:lnTo>
                  <a:lnTo>
                    <a:pt x="416" y="293"/>
                  </a:lnTo>
                  <a:lnTo>
                    <a:pt x="416" y="293"/>
                  </a:lnTo>
                  <a:lnTo>
                    <a:pt x="418" y="295"/>
                  </a:lnTo>
                  <a:lnTo>
                    <a:pt x="420" y="295"/>
                  </a:lnTo>
                  <a:lnTo>
                    <a:pt x="420" y="293"/>
                  </a:lnTo>
                  <a:lnTo>
                    <a:pt x="422" y="293"/>
                  </a:lnTo>
                  <a:lnTo>
                    <a:pt x="426" y="295"/>
                  </a:lnTo>
                  <a:lnTo>
                    <a:pt x="426" y="293"/>
                  </a:lnTo>
                  <a:lnTo>
                    <a:pt x="428" y="293"/>
                  </a:lnTo>
                  <a:lnTo>
                    <a:pt x="430" y="293"/>
                  </a:lnTo>
                  <a:lnTo>
                    <a:pt x="430" y="293"/>
                  </a:lnTo>
                  <a:lnTo>
                    <a:pt x="430" y="295"/>
                  </a:lnTo>
                  <a:lnTo>
                    <a:pt x="430" y="295"/>
                  </a:lnTo>
                  <a:lnTo>
                    <a:pt x="428" y="295"/>
                  </a:lnTo>
                  <a:lnTo>
                    <a:pt x="430" y="295"/>
                  </a:lnTo>
                  <a:lnTo>
                    <a:pt x="432" y="295"/>
                  </a:lnTo>
                  <a:lnTo>
                    <a:pt x="434" y="293"/>
                  </a:lnTo>
                  <a:lnTo>
                    <a:pt x="436" y="291"/>
                  </a:lnTo>
                  <a:lnTo>
                    <a:pt x="436" y="291"/>
                  </a:lnTo>
                  <a:lnTo>
                    <a:pt x="434" y="291"/>
                  </a:lnTo>
                  <a:lnTo>
                    <a:pt x="432" y="291"/>
                  </a:lnTo>
                  <a:lnTo>
                    <a:pt x="432" y="291"/>
                  </a:lnTo>
                  <a:lnTo>
                    <a:pt x="430" y="289"/>
                  </a:lnTo>
                  <a:lnTo>
                    <a:pt x="426" y="283"/>
                  </a:lnTo>
                  <a:lnTo>
                    <a:pt x="424" y="281"/>
                  </a:lnTo>
                  <a:lnTo>
                    <a:pt x="424" y="277"/>
                  </a:lnTo>
                  <a:lnTo>
                    <a:pt x="424" y="275"/>
                  </a:lnTo>
                  <a:lnTo>
                    <a:pt x="420" y="271"/>
                  </a:lnTo>
                  <a:lnTo>
                    <a:pt x="420" y="269"/>
                  </a:lnTo>
                  <a:lnTo>
                    <a:pt x="420" y="269"/>
                  </a:lnTo>
                  <a:lnTo>
                    <a:pt x="420" y="267"/>
                  </a:lnTo>
                  <a:lnTo>
                    <a:pt x="420" y="265"/>
                  </a:lnTo>
                  <a:lnTo>
                    <a:pt x="420" y="265"/>
                  </a:lnTo>
                  <a:lnTo>
                    <a:pt x="418" y="263"/>
                  </a:lnTo>
                  <a:lnTo>
                    <a:pt x="414" y="261"/>
                  </a:lnTo>
                  <a:lnTo>
                    <a:pt x="414" y="257"/>
                  </a:lnTo>
                  <a:lnTo>
                    <a:pt x="412" y="257"/>
                  </a:lnTo>
                  <a:lnTo>
                    <a:pt x="408" y="254"/>
                  </a:lnTo>
                  <a:lnTo>
                    <a:pt x="408" y="254"/>
                  </a:lnTo>
                  <a:lnTo>
                    <a:pt x="404" y="248"/>
                  </a:lnTo>
                  <a:lnTo>
                    <a:pt x="406" y="246"/>
                  </a:lnTo>
                  <a:lnTo>
                    <a:pt x="404" y="244"/>
                  </a:lnTo>
                  <a:lnTo>
                    <a:pt x="404" y="244"/>
                  </a:lnTo>
                  <a:lnTo>
                    <a:pt x="402" y="242"/>
                  </a:lnTo>
                  <a:lnTo>
                    <a:pt x="402" y="240"/>
                  </a:lnTo>
                  <a:lnTo>
                    <a:pt x="402" y="238"/>
                  </a:lnTo>
                  <a:lnTo>
                    <a:pt x="404" y="234"/>
                  </a:lnTo>
                  <a:lnTo>
                    <a:pt x="404" y="232"/>
                  </a:lnTo>
                  <a:lnTo>
                    <a:pt x="404" y="230"/>
                  </a:lnTo>
                  <a:lnTo>
                    <a:pt x="406" y="226"/>
                  </a:lnTo>
                  <a:lnTo>
                    <a:pt x="406" y="220"/>
                  </a:lnTo>
                  <a:lnTo>
                    <a:pt x="408" y="216"/>
                  </a:lnTo>
                  <a:lnTo>
                    <a:pt x="410" y="211"/>
                  </a:lnTo>
                  <a:lnTo>
                    <a:pt x="410" y="207"/>
                  </a:lnTo>
                  <a:lnTo>
                    <a:pt x="408" y="207"/>
                  </a:lnTo>
                  <a:lnTo>
                    <a:pt x="406" y="207"/>
                  </a:lnTo>
                  <a:lnTo>
                    <a:pt x="402" y="207"/>
                  </a:lnTo>
                  <a:lnTo>
                    <a:pt x="399" y="207"/>
                  </a:lnTo>
                  <a:lnTo>
                    <a:pt x="393" y="207"/>
                  </a:lnTo>
                  <a:lnTo>
                    <a:pt x="385" y="209"/>
                  </a:lnTo>
                  <a:lnTo>
                    <a:pt x="375" y="209"/>
                  </a:lnTo>
                  <a:lnTo>
                    <a:pt x="363" y="211"/>
                  </a:lnTo>
                  <a:lnTo>
                    <a:pt x="348" y="211"/>
                  </a:lnTo>
                  <a:lnTo>
                    <a:pt x="334" y="213"/>
                  </a:lnTo>
                  <a:lnTo>
                    <a:pt x="320" y="216"/>
                  </a:lnTo>
                  <a:lnTo>
                    <a:pt x="303" y="216"/>
                  </a:lnTo>
                  <a:lnTo>
                    <a:pt x="289" y="218"/>
                  </a:lnTo>
                  <a:lnTo>
                    <a:pt x="275" y="218"/>
                  </a:lnTo>
                  <a:lnTo>
                    <a:pt x="262" y="220"/>
                  </a:lnTo>
                  <a:lnTo>
                    <a:pt x="252" y="220"/>
                  </a:lnTo>
                  <a:lnTo>
                    <a:pt x="244" y="222"/>
                  </a:lnTo>
                  <a:lnTo>
                    <a:pt x="238" y="222"/>
                  </a:lnTo>
                  <a:lnTo>
                    <a:pt x="236" y="222"/>
                  </a:lnTo>
                  <a:lnTo>
                    <a:pt x="232" y="222"/>
                  </a:lnTo>
                  <a:lnTo>
                    <a:pt x="232" y="222"/>
                  </a:lnTo>
                  <a:lnTo>
                    <a:pt x="238" y="216"/>
                  </a:lnTo>
                  <a:lnTo>
                    <a:pt x="238" y="211"/>
                  </a:lnTo>
                  <a:lnTo>
                    <a:pt x="234" y="209"/>
                  </a:lnTo>
                  <a:lnTo>
                    <a:pt x="234" y="205"/>
                  </a:lnTo>
                  <a:lnTo>
                    <a:pt x="234" y="205"/>
                  </a:lnTo>
                  <a:lnTo>
                    <a:pt x="234" y="203"/>
                  </a:lnTo>
                  <a:lnTo>
                    <a:pt x="234" y="201"/>
                  </a:lnTo>
                  <a:lnTo>
                    <a:pt x="234" y="201"/>
                  </a:lnTo>
                  <a:lnTo>
                    <a:pt x="234" y="201"/>
                  </a:lnTo>
                  <a:lnTo>
                    <a:pt x="234" y="199"/>
                  </a:lnTo>
                  <a:lnTo>
                    <a:pt x="234" y="199"/>
                  </a:lnTo>
                  <a:lnTo>
                    <a:pt x="234" y="197"/>
                  </a:lnTo>
                  <a:lnTo>
                    <a:pt x="232" y="197"/>
                  </a:lnTo>
                  <a:lnTo>
                    <a:pt x="230" y="195"/>
                  </a:lnTo>
                  <a:lnTo>
                    <a:pt x="230" y="193"/>
                  </a:lnTo>
                  <a:lnTo>
                    <a:pt x="232" y="191"/>
                  </a:lnTo>
                  <a:lnTo>
                    <a:pt x="234" y="191"/>
                  </a:lnTo>
                  <a:lnTo>
                    <a:pt x="238" y="191"/>
                  </a:lnTo>
                  <a:lnTo>
                    <a:pt x="240" y="191"/>
                  </a:lnTo>
                  <a:lnTo>
                    <a:pt x="242" y="189"/>
                  </a:lnTo>
                  <a:lnTo>
                    <a:pt x="242" y="187"/>
                  </a:lnTo>
                  <a:lnTo>
                    <a:pt x="242" y="181"/>
                  </a:lnTo>
                  <a:lnTo>
                    <a:pt x="242" y="179"/>
                  </a:lnTo>
                  <a:lnTo>
                    <a:pt x="244" y="179"/>
                  </a:lnTo>
                  <a:lnTo>
                    <a:pt x="244" y="177"/>
                  </a:lnTo>
                  <a:lnTo>
                    <a:pt x="242" y="177"/>
                  </a:lnTo>
                  <a:lnTo>
                    <a:pt x="242" y="172"/>
                  </a:lnTo>
                  <a:lnTo>
                    <a:pt x="240" y="172"/>
                  </a:lnTo>
                  <a:lnTo>
                    <a:pt x="240" y="172"/>
                  </a:lnTo>
                  <a:lnTo>
                    <a:pt x="240" y="166"/>
                  </a:lnTo>
                  <a:lnTo>
                    <a:pt x="242" y="164"/>
                  </a:lnTo>
                  <a:lnTo>
                    <a:pt x="248" y="158"/>
                  </a:lnTo>
                  <a:lnTo>
                    <a:pt x="248" y="158"/>
                  </a:lnTo>
                  <a:lnTo>
                    <a:pt x="248" y="156"/>
                  </a:lnTo>
                  <a:lnTo>
                    <a:pt x="248" y="154"/>
                  </a:lnTo>
                  <a:lnTo>
                    <a:pt x="248" y="144"/>
                  </a:lnTo>
                  <a:lnTo>
                    <a:pt x="248" y="142"/>
                  </a:lnTo>
                  <a:lnTo>
                    <a:pt x="248" y="140"/>
                  </a:lnTo>
                  <a:lnTo>
                    <a:pt x="250" y="136"/>
                  </a:lnTo>
                  <a:lnTo>
                    <a:pt x="252" y="132"/>
                  </a:lnTo>
                  <a:lnTo>
                    <a:pt x="252" y="129"/>
                  </a:lnTo>
                  <a:lnTo>
                    <a:pt x="254" y="127"/>
                  </a:lnTo>
                  <a:lnTo>
                    <a:pt x="256" y="125"/>
                  </a:lnTo>
                  <a:lnTo>
                    <a:pt x="258" y="125"/>
                  </a:lnTo>
                  <a:lnTo>
                    <a:pt x="260" y="123"/>
                  </a:lnTo>
                  <a:lnTo>
                    <a:pt x="262" y="123"/>
                  </a:lnTo>
                  <a:lnTo>
                    <a:pt x="266" y="117"/>
                  </a:lnTo>
                  <a:lnTo>
                    <a:pt x="266" y="117"/>
                  </a:lnTo>
                  <a:lnTo>
                    <a:pt x="268" y="113"/>
                  </a:lnTo>
                  <a:lnTo>
                    <a:pt x="268" y="113"/>
                  </a:lnTo>
                  <a:lnTo>
                    <a:pt x="268" y="113"/>
                  </a:lnTo>
                  <a:lnTo>
                    <a:pt x="273" y="111"/>
                  </a:lnTo>
                  <a:lnTo>
                    <a:pt x="275" y="109"/>
                  </a:lnTo>
                  <a:lnTo>
                    <a:pt x="277" y="105"/>
                  </a:lnTo>
                  <a:lnTo>
                    <a:pt x="277" y="101"/>
                  </a:lnTo>
                  <a:lnTo>
                    <a:pt x="273" y="97"/>
                  </a:lnTo>
                  <a:lnTo>
                    <a:pt x="273" y="97"/>
                  </a:lnTo>
                  <a:lnTo>
                    <a:pt x="273" y="97"/>
                  </a:lnTo>
                  <a:lnTo>
                    <a:pt x="273" y="95"/>
                  </a:lnTo>
                  <a:lnTo>
                    <a:pt x="275" y="95"/>
                  </a:lnTo>
                  <a:lnTo>
                    <a:pt x="279" y="95"/>
                  </a:lnTo>
                  <a:lnTo>
                    <a:pt x="281" y="88"/>
                  </a:lnTo>
                  <a:lnTo>
                    <a:pt x="285" y="80"/>
                  </a:lnTo>
                  <a:lnTo>
                    <a:pt x="287" y="76"/>
                  </a:lnTo>
                  <a:lnTo>
                    <a:pt x="287" y="76"/>
                  </a:lnTo>
                  <a:lnTo>
                    <a:pt x="289" y="76"/>
                  </a:lnTo>
                  <a:lnTo>
                    <a:pt x="289" y="74"/>
                  </a:lnTo>
                  <a:lnTo>
                    <a:pt x="287" y="72"/>
                  </a:lnTo>
                  <a:lnTo>
                    <a:pt x="285" y="72"/>
                  </a:lnTo>
                  <a:lnTo>
                    <a:pt x="283" y="72"/>
                  </a:lnTo>
                  <a:lnTo>
                    <a:pt x="281" y="70"/>
                  </a:lnTo>
                  <a:lnTo>
                    <a:pt x="281" y="70"/>
                  </a:lnTo>
                  <a:lnTo>
                    <a:pt x="279" y="66"/>
                  </a:lnTo>
                  <a:lnTo>
                    <a:pt x="277" y="64"/>
                  </a:lnTo>
                  <a:lnTo>
                    <a:pt x="275" y="64"/>
                  </a:lnTo>
                  <a:lnTo>
                    <a:pt x="270" y="62"/>
                  </a:lnTo>
                  <a:lnTo>
                    <a:pt x="270" y="60"/>
                  </a:lnTo>
                  <a:lnTo>
                    <a:pt x="268" y="58"/>
                  </a:lnTo>
                  <a:lnTo>
                    <a:pt x="268" y="54"/>
                  </a:lnTo>
                  <a:lnTo>
                    <a:pt x="268" y="54"/>
                  </a:lnTo>
                  <a:lnTo>
                    <a:pt x="268" y="52"/>
                  </a:lnTo>
                  <a:lnTo>
                    <a:pt x="270" y="50"/>
                  </a:lnTo>
                  <a:lnTo>
                    <a:pt x="268" y="50"/>
                  </a:lnTo>
                  <a:lnTo>
                    <a:pt x="268" y="47"/>
                  </a:lnTo>
                  <a:lnTo>
                    <a:pt x="266" y="47"/>
                  </a:lnTo>
                  <a:lnTo>
                    <a:pt x="264" y="45"/>
                  </a:lnTo>
                  <a:lnTo>
                    <a:pt x="264" y="45"/>
                  </a:lnTo>
                  <a:lnTo>
                    <a:pt x="262" y="43"/>
                  </a:lnTo>
                  <a:lnTo>
                    <a:pt x="262" y="41"/>
                  </a:lnTo>
                  <a:lnTo>
                    <a:pt x="262" y="39"/>
                  </a:lnTo>
                  <a:lnTo>
                    <a:pt x="262" y="37"/>
                  </a:lnTo>
                  <a:lnTo>
                    <a:pt x="264" y="37"/>
                  </a:lnTo>
                  <a:lnTo>
                    <a:pt x="268" y="35"/>
                  </a:lnTo>
                  <a:lnTo>
                    <a:pt x="268" y="35"/>
                  </a:lnTo>
                  <a:lnTo>
                    <a:pt x="270" y="33"/>
                  </a:lnTo>
                  <a:lnTo>
                    <a:pt x="270" y="31"/>
                  </a:lnTo>
                  <a:lnTo>
                    <a:pt x="268" y="31"/>
                  </a:lnTo>
                  <a:lnTo>
                    <a:pt x="264" y="29"/>
                  </a:lnTo>
                  <a:lnTo>
                    <a:pt x="262" y="29"/>
                  </a:lnTo>
                  <a:lnTo>
                    <a:pt x="262" y="27"/>
                  </a:lnTo>
                  <a:lnTo>
                    <a:pt x="262" y="23"/>
                  </a:lnTo>
                  <a:lnTo>
                    <a:pt x="264" y="19"/>
                  </a:lnTo>
                  <a:lnTo>
                    <a:pt x="264" y="17"/>
                  </a:lnTo>
                  <a:lnTo>
                    <a:pt x="266" y="17"/>
                  </a:lnTo>
                  <a:lnTo>
                    <a:pt x="266" y="15"/>
                  </a:lnTo>
                  <a:lnTo>
                    <a:pt x="268" y="13"/>
                  </a:lnTo>
                  <a:lnTo>
                    <a:pt x="268" y="11"/>
                  </a:lnTo>
                  <a:lnTo>
                    <a:pt x="266" y="9"/>
                  </a:lnTo>
                  <a:lnTo>
                    <a:pt x="266" y="7"/>
                  </a:lnTo>
                  <a:lnTo>
                    <a:pt x="264" y="7"/>
                  </a:lnTo>
                  <a:lnTo>
                    <a:pt x="262" y="7"/>
                  </a:lnTo>
                  <a:lnTo>
                    <a:pt x="262" y="7"/>
                  </a:lnTo>
                  <a:lnTo>
                    <a:pt x="260" y="7"/>
                  </a:lnTo>
                  <a:lnTo>
                    <a:pt x="260" y="4"/>
                  </a:lnTo>
                  <a:lnTo>
                    <a:pt x="260" y="0"/>
                  </a:lnTo>
                  <a:lnTo>
                    <a:pt x="258" y="2"/>
                  </a:lnTo>
                  <a:lnTo>
                    <a:pt x="242" y="2"/>
                  </a:lnTo>
                  <a:lnTo>
                    <a:pt x="225" y="4"/>
                  </a:lnTo>
                  <a:lnTo>
                    <a:pt x="209" y="4"/>
                  </a:lnTo>
                  <a:lnTo>
                    <a:pt x="193" y="7"/>
                  </a:lnTo>
                  <a:lnTo>
                    <a:pt x="178" y="9"/>
                  </a:lnTo>
                  <a:lnTo>
                    <a:pt x="162" y="9"/>
                  </a:lnTo>
                  <a:lnTo>
                    <a:pt x="146" y="11"/>
                  </a:lnTo>
                  <a:lnTo>
                    <a:pt x="129" y="11"/>
                  </a:lnTo>
                  <a:lnTo>
                    <a:pt x="113" y="13"/>
                  </a:lnTo>
                  <a:lnTo>
                    <a:pt x="96" y="13"/>
                  </a:lnTo>
                  <a:lnTo>
                    <a:pt x="80" y="15"/>
                  </a:lnTo>
                  <a:lnTo>
                    <a:pt x="64" y="15"/>
                  </a:lnTo>
                  <a:lnTo>
                    <a:pt x="47" y="17"/>
                  </a:lnTo>
                  <a:lnTo>
                    <a:pt x="31" y="17"/>
                  </a:lnTo>
                  <a:lnTo>
                    <a:pt x="17" y="19"/>
                  </a:lnTo>
                  <a:lnTo>
                    <a:pt x="0" y="19"/>
                  </a:lnTo>
                  <a:lnTo>
                    <a:pt x="0" y="31"/>
                  </a:lnTo>
                  <a:lnTo>
                    <a:pt x="2" y="58"/>
                  </a:lnTo>
                  <a:lnTo>
                    <a:pt x="2" y="70"/>
                  </a:lnTo>
                  <a:lnTo>
                    <a:pt x="2" y="82"/>
                  </a:lnTo>
                  <a:lnTo>
                    <a:pt x="4" y="95"/>
                  </a:lnTo>
                  <a:lnTo>
                    <a:pt x="4" y="107"/>
                  </a:lnTo>
                  <a:lnTo>
                    <a:pt x="4" y="121"/>
                  </a:lnTo>
                  <a:lnTo>
                    <a:pt x="4" y="127"/>
                  </a:lnTo>
                  <a:lnTo>
                    <a:pt x="6" y="129"/>
                  </a:lnTo>
                  <a:lnTo>
                    <a:pt x="6" y="129"/>
                  </a:lnTo>
                  <a:lnTo>
                    <a:pt x="6" y="129"/>
                  </a:lnTo>
                  <a:lnTo>
                    <a:pt x="6" y="129"/>
                  </a:lnTo>
                  <a:lnTo>
                    <a:pt x="8" y="132"/>
                  </a:lnTo>
                  <a:lnTo>
                    <a:pt x="8" y="132"/>
                  </a:lnTo>
                  <a:lnTo>
                    <a:pt x="10" y="132"/>
                  </a:lnTo>
                  <a:lnTo>
                    <a:pt x="12" y="136"/>
                  </a:lnTo>
                  <a:lnTo>
                    <a:pt x="12" y="136"/>
                  </a:lnTo>
                  <a:lnTo>
                    <a:pt x="12" y="136"/>
                  </a:lnTo>
                  <a:lnTo>
                    <a:pt x="12" y="136"/>
                  </a:lnTo>
                  <a:lnTo>
                    <a:pt x="17" y="138"/>
                  </a:lnTo>
                  <a:lnTo>
                    <a:pt x="17" y="138"/>
                  </a:lnTo>
                  <a:lnTo>
                    <a:pt x="19" y="140"/>
                  </a:lnTo>
                  <a:lnTo>
                    <a:pt x="21" y="142"/>
                  </a:lnTo>
                  <a:lnTo>
                    <a:pt x="21" y="144"/>
                  </a:lnTo>
                  <a:lnTo>
                    <a:pt x="21" y="144"/>
                  </a:lnTo>
                  <a:lnTo>
                    <a:pt x="23" y="146"/>
                  </a:lnTo>
                  <a:lnTo>
                    <a:pt x="23" y="146"/>
                  </a:lnTo>
                  <a:lnTo>
                    <a:pt x="25" y="150"/>
                  </a:lnTo>
                  <a:lnTo>
                    <a:pt x="25" y="150"/>
                  </a:lnTo>
                  <a:lnTo>
                    <a:pt x="27" y="154"/>
                  </a:lnTo>
                  <a:lnTo>
                    <a:pt x="27" y="156"/>
                  </a:lnTo>
                  <a:lnTo>
                    <a:pt x="27" y="156"/>
                  </a:lnTo>
                  <a:lnTo>
                    <a:pt x="27" y="156"/>
                  </a:lnTo>
                  <a:lnTo>
                    <a:pt x="27" y="158"/>
                  </a:lnTo>
                  <a:lnTo>
                    <a:pt x="29" y="158"/>
                  </a:lnTo>
                  <a:lnTo>
                    <a:pt x="29" y="158"/>
                  </a:lnTo>
                  <a:lnTo>
                    <a:pt x="29" y="158"/>
                  </a:lnTo>
                  <a:lnTo>
                    <a:pt x="27" y="160"/>
                  </a:lnTo>
                  <a:lnTo>
                    <a:pt x="27" y="162"/>
                  </a:lnTo>
                  <a:lnTo>
                    <a:pt x="27" y="164"/>
                  </a:lnTo>
                  <a:lnTo>
                    <a:pt x="27" y="166"/>
                  </a:lnTo>
                  <a:lnTo>
                    <a:pt x="27" y="166"/>
                  </a:lnTo>
                  <a:lnTo>
                    <a:pt x="27" y="166"/>
                  </a:lnTo>
                  <a:lnTo>
                    <a:pt x="27" y="168"/>
                  </a:lnTo>
                  <a:lnTo>
                    <a:pt x="27" y="168"/>
                  </a:lnTo>
                  <a:lnTo>
                    <a:pt x="27" y="170"/>
                  </a:lnTo>
                  <a:lnTo>
                    <a:pt x="27" y="170"/>
                  </a:lnTo>
                  <a:lnTo>
                    <a:pt x="27" y="170"/>
                  </a:lnTo>
                  <a:lnTo>
                    <a:pt x="29" y="172"/>
                  </a:lnTo>
                  <a:lnTo>
                    <a:pt x="29" y="175"/>
                  </a:lnTo>
                  <a:lnTo>
                    <a:pt x="31" y="177"/>
                  </a:lnTo>
                  <a:lnTo>
                    <a:pt x="33" y="177"/>
                  </a:lnTo>
                  <a:lnTo>
                    <a:pt x="33" y="177"/>
                  </a:lnTo>
                  <a:lnTo>
                    <a:pt x="33" y="177"/>
                  </a:lnTo>
                  <a:lnTo>
                    <a:pt x="35" y="179"/>
                  </a:lnTo>
                  <a:lnTo>
                    <a:pt x="37" y="179"/>
                  </a:lnTo>
                  <a:lnTo>
                    <a:pt x="37" y="179"/>
                  </a:lnTo>
                  <a:lnTo>
                    <a:pt x="37" y="179"/>
                  </a:lnTo>
                  <a:lnTo>
                    <a:pt x="37" y="179"/>
                  </a:lnTo>
                  <a:lnTo>
                    <a:pt x="37" y="181"/>
                  </a:lnTo>
                  <a:lnTo>
                    <a:pt x="37" y="181"/>
                  </a:lnTo>
                  <a:lnTo>
                    <a:pt x="37" y="181"/>
                  </a:lnTo>
                  <a:lnTo>
                    <a:pt x="37" y="181"/>
                  </a:lnTo>
                  <a:lnTo>
                    <a:pt x="35" y="181"/>
                  </a:lnTo>
                  <a:lnTo>
                    <a:pt x="35" y="181"/>
                  </a:lnTo>
                  <a:lnTo>
                    <a:pt x="35" y="183"/>
                  </a:lnTo>
                  <a:lnTo>
                    <a:pt x="35" y="183"/>
                  </a:lnTo>
                  <a:lnTo>
                    <a:pt x="35" y="183"/>
                  </a:lnTo>
                  <a:lnTo>
                    <a:pt x="37" y="185"/>
                  </a:lnTo>
                  <a:lnTo>
                    <a:pt x="37" y="185"/>
                  </a:lnTo>
                  <a:lnTo>
                    <a:pt x="37" y="185"/>
                  </a:lnTo>
                  <a:lnTo>
                    <a:pt x="39" y="185"/>
                  </a:lnTo>
                  <a:lnTo>
                    <a:pt x="39" y="185"/>
                  </a:lnTo>
                  <a:lnTo>
                    <a:pt x="39" y="185"/>
                  </a:lnTo>
                  <a:lnTo>
                    <a:pt x="39" y="185"/>
                  </a:lnTo>
                  <a:lnTo>
                    <a:pt x="39" y="187"/>
                  </a:lnTo>
                  <a:lnTo>
                    <a:pt x="39" y="189"/>
                  </a:lnTo>
                  <a:lnTo>
                    <a:pt x="41" y="189"/>
                  </a:lnTo>
                  <a:lnTo>
                    <a:pt x="41" y="189"/>
                  </a:lnTo>
                  <a:lnTo>
                    <a:pt x="41" y="191"/>
                  </a:lnTo>
                  <a:lnTo>
                    <a:pt x="43" y="193"/>
                  </a:lnTo>
                  <a:lnTo>
                    <a:pt x="45" y="193"/>
                  </a:lnTo>
                  <a:lnTo>
                    <a:pt x="45" y="193"/>
                  </a:lnTo>
                  <a:lnTo>
                    <a:pt x="45" y="193"/>
                  </a:lnTo>
                  <a:lnTo>
                    <a:pt x="43" y="195"/>
                  </a:lnTo>
                  <a:lnTo>
                    <a:pt x="43" y="195"/>
                  </a:lnTo>
                  <a:lnTo>
                    <a:pt x="43" y="197"/>
                  </a:lnTo>
                  <a:lnTo>
                    <a:pt x="43" y="197"/>
                  </a:lnTo>
                  <a:lnTo>
                    <a:pt x="43" y="199"/>
                  </a:lnTo>
                  <a:lnTo>
                    <a:pt x="43" y="199"/>
                  </a:lnTo>
                  <a:lnTo>
                    <a:pt x="43" y="199"/>
                  </a:lnTo>
                  <a:lnTo>
                    <a:pt x="43" y="201"/>
                  </a:lnTo>
                  <a:lnTo>
                    <a:pt x="47" y="203"/>
                  </a:lnTo>
                  <a:lnTo>
                    <a:pt x="47" y="203"/>
                  </a:lnTo>
                  <a:lnTo>
                    <a:pt x="47" y="203"/>
                  </a:lnTo>
                  <a:lnTo>
                    <a:pt x="47" y="205"/>
                  </a:lnTo>
                  <a:lnTo>
                    <a:pt x="47" y="205"/>
                  </a:lnTo>
                  <a:lnTo>
                    <a:pt x="49" y="205"/>
                  </a:lnTo>
                  <a:lnTo>
                    <a:pt x="49" y="207"/>
                  </a:lnTo>
                  <a:lnTo>
                    <a:pt x="49" y="207"/>
                  </a:lnTo>
                  <a:lnTo>
                    <a:pt x="49" y="207"/>
                  </a:lnTo>
                  <a:lnTo>
                    <a:pt x="49" y="209"/>
                  </a:lnTo>
                  <a:lnTo>
                    <a:pt x="49" y="211"/>
                  </a:lnTo>
                  <a:lnTo>
                    <a:pt x="51" y="211"/>
                  </a:lnTo>
                  <a:lnTo>
                    <a:pt x="51" y="211"/>
                  </a:lnTo>
                  <a:lnTo>
                    <a:pt x="51" y="213"/>
                  </a:lnTo>
                  <a:lnTo>
                    <a:pt x="51" y="213"/>
                  </a:lnTo>
                  <a:lnTo>
                    <a:pt x="51" y="213"/>
                  </a:lnTo>
                  <a:lnTo>
                    <a:pt x="51" y="213"/>
                  </a:lnTo>
                  <a:lnTo>
                    <a:pt x="51" y="213"/>
                  </a:lnTo>
                  <a:lnTo>
                    <a:pt x="53" y="211"/>
                  </a:lnTo>
                  <a:lnTo>
                    <a:pt x="55" y="213"/>
                  </a:lnTo>
                  <a:lnTo>
                    <a:pt x="55" y="213"/>
                  </a:lnTo>
                  <a:lnTo>
                    <a:pt x="55" y="220"/>
                  </a:lnTo>
                  <a:lnTo>
                    <a:pt x="55" y="220"/>
                  </a:lnTo>
                  <a:lnTo>
                    <a:pt x="55" y="222"/>
                  </a:lnTo>
                  <a:lnTo>
                    <a:pt x="55" y="224"/>
                  </a:lnTo>
                  <a:lnTo>
                    <a:pt x="57" y="226"/>
                  </a:lnTo>
                  <a:lnTo>
                    <a:pt x="60" y="228"/>
                  </a:lnTo>
                  <a:lnTo>
                    <a:pt x="60" y="228"/>
                  </a:lnTo>
                  <a:lnTo>
                    <a:pt x="60" y="230"/>
                  </a:lnTo>
                  <a:lnTo>
                    <a:pt x="60" y="230"/>
                  </a:lnTo>
                  <a:lnTo>
                    <a:pt x="55" y="232"/>
                  </a:lnTo>
                  <a:lnTo>
                    <a:pt x="55" y="232"/>
                  </a:lnTo>
                  <a:lnTo>
                    <a:pt x="53" y="232"/>
                  </a:lnTo>
                  <a:lnTo>
                    <a:pt x="55" y="236"/>
                  </a:lnTo>
                  <a:lnTo>
                    <a:pt x="57" y="238"/>
                  </a:lnTo>
                  <a:lnTo>
                    <a:pt x="57" y="238"/>
                  </a:lnTo>
                  <a:lnTo>
                    <a:pt x="57" y="240"/>
                  </a:lnTo>
                  <a:lnTo>
                    <a:pt x="57" y="240"/>
                  </a:lnTo>
                  <a:lnTo>
                    <a:pt x="57" y="240"/>
                  </a:lnTo>
                  <a:lnTo>
                    <a:pt x="55" y="242"/>
                  </a:lnTo>
                  <a:lnTo>
                    <a:pt x="55" y="244"/>
                  </a:lnTo>
                  <a:lnTo>
                    <a:pt x="55" y="244"/>
                  </a:lnTo>
                  <a:lnTo>
                    <a:pt x="55" y="246"/>
                  </a:lnTo>
                  <a:lnTo>
                    <a:pt x="55" y="248"/>
                  </a:lnTo>
                  <a:lnTo>
                    <a:pt x="55" y="248"/>
                  </a:lnTo>
                  <a:lnTo>
                    <a:pt x="55" y="250"/>
                  </a:lnTo>
                  <a:lnTo>
                    <a:pt x="55" y="250"/>
                  </a:lnTo>
                  <a:lnTo>
                    <a:pt x="55" y="252"/>
                  </a:lnTo>
                  <a:lnTo>
                    <a:pt x="53" y="259"/>
                  </a:lnTo>
                  <a:lnTo>
                    <a:pt x="51" y="265"/>
                  </a:lnTo>
                  <a:lnTo>
                    <a:pt x="51" y="267"/>
                  </a:lnTo>
                  <a:lnTo>
                    <a:pt x="47" y="269"/>
                  </a:lnTo>
                  <a:lnTo>
                    <a:pt x="47" y="271"/>
                  </a:lnTo>
                  <a:lnTo>
                    <a:pt x="47" y="275"/>
                  </a:lnTo>
                  <a:lnTo>
                    <a:pt x="47" y="277"/>
                  </a:lnTo>
                  <a:lnTo>
                    <a:pt x="45" y="277"/>
                  </a:lnTo>
                  <a:lnTo>
                    <a:pt x="43" y="279"/>
                  </a:lnTo>
                  <a:lnTo>
                    <a:pt x="43" y="281"/>
                  </a:lnTo>
                  <a:lnTo>
                    <a:pt x="43" y="283"/>
                  </a:lnTo>
                  <a:lnTo>
                    <a:pt x="43" y="283"/>
                  </a:lnTo>
                  <a:lnTo>
                    <a:pt x="43" y="283"/>
                  </a:lnTo>
                  <a:lnTo>
                    <a:pt x="43" y="285"/>
                  </a:lnTo>
                  <a:lnTo>
                    <a:pt x="43" y="287"/>
                  </a:lnTo>
                  <a:lnTo>
                    <a:pt x="43" y="287"/>
                  </a:lnTo>
                  <a:lnTo>
                    <a:pt x="45" y="289"/>
                  </a:lnTo>
                  <a:lnTo>
                    <a:pt x="45" y="291"/>
                  </a:lnTo>
                  <a:lnTo>
                    <a:pt x="45" y="293"/>
                  </a:lnTo>
                  <a:lnTo>
                    <a:pt x="45" y="295"/>
                  </a:lnTo>
                  <a:lnTo>
                    <a:pt x="43" y="298"/>
                  </a:lnTo>
                  <a:lnTo>
                    <a:pt x="41" y="300"/>
                  </a:lnTo>
                  <a:lnTo>
                    <a:pt x="41" y="302"/>
                  </a:lnTo>
                  <a:lnTo>
                    <a:pt x="41" y="306"/>
                  </a:lnTo>
                  <a:lnTo>
                    <a:pt x="43" y="308"/>
                  </a:lnTo>
                  <a:lnTo>
                    <a:pt x="45" y="310"/>
                  </a:lnTo>
                  <a:lnTo>
                    <a:pt x="45" y="312"/>
                  </a:lnTo>
                  <a:lnTo>
                    <a:pt x="47" y="314"/>
                  </a:lnTo>
                  <a:lnTo>
                    <a:pt x="45" y="314"/>
                  </a:lnTo>
                  <a:lnTo>
                    <a:pt x="45" y="316"/>
                  </a:lnTo>
                  <a:lnTo>
                    <a:pt x="45" y="318"/>
                  </a:lnTo>
                  <a:lnTo>
                    <a:pt x="45" y="318"/>
                  </a:lnTo>
                  <a:lnTo>
                    <a:pt x="47" y="320"/>
                  </a:lnTo>
                  <a:lnTo>
                    <a:pt x="47" y="322"/>
                  </a:lnTo>
                  <a:lnTo>
                    <a:pt x="47" y="324"/>
                  </a:lnTo>
                  <a:lnTo>
                    <a:pt x="47" y="324"/>
                  </a:lnTo>
                  <a:lnTo>
                    <a:pt x="47" y="326"/>
                  </a:lnTo>
                  <a:lnTo>
                    <a:pt x="47" y="328"/>
                  </a:lnTo>
                  <a:lnTo>
                    <a:pt x="45" y="330"/>
                  </a:lnTo>
                  <a:lnTo>
                    <a:pt x="45" y="332"/>
                  </a:lnTo>
                  <a:lnTo>
                    <a:pt x="47" y="334"/>
                  </a:lnTo>
                  <a:lnTo>
                    <a:pt x="41" y="341"/>
                  </a:lnTo>
                  <a:lnTo>
                    <a:pt x="39" y="343"/>
                  </a:lnTo>
                  <a:lnTo>
                    <a:pt x="39" y="343"/>
                  </a:lnTo>
                  <a:lnTo>
                    <a:pt x="41" y="343"/>
                  </a:lnTo>
                  <a:lnTo>
                    <a:pt x="43" y="345"/>
                  </a:lnTo>
                  <a:lnTo>
                    <a:pt x="43" y="345"/>
                  </a:lnTo>
                  <a:lnTo>
                    <a:pt x="43" y="353"/>
                  </a:lnTo>
                  <a:lnTo>
                    <a:pt x="39" y="361"/>
                  </a:lnTo>
                  <a:lnTo>
                    <a:pt x="37" y="361"/>
                  </a:lnTo>
                  <a:lnTo>
                    <a:pt x="33" y="361"/>
                  </a:lnTo>
                  <a:lnTo>
                    <a:pt x="31" y="363"/>
                  </a:lnTo>
                  <a:lnTo>
                    <a:pt x="31" y="365"/>
                  </a:lnTo>
                  <a:lnTo>
                    <a:pt x="33" y="369"/>
                  </a:lnTo>
                  <a:lnTo>
                    <a:pt x="35" y="373"/>
                  </a:lnTo>
                  <a:lnTo>
                    <a:pt x="37" y="373"/>
                  </a:lnTo>
                  <a:lnTo>
                    <a:pt x="39" y="373"/>
                  </a:lnTo>
                  <a:lnTo>
                    <a:pt x="41" y="371"/>
                  </a:lnTo>
                  <a:lnTo>
                    <a:pt x="43" y="371"/>
                  </a:lnTo>
                  <a:lnTo>
                    <a:pt x="45" y="369"/>
                  </a:lnTo>
                  <a:lnTo>
                    <a:pt x="47" y="367"/>
                  </a:lnTo>
                  <a:lnTo>
                    <a:pt x="51" y="367"/>
                  </a:lnTo>
                  <a:lnTo>
                    <a:pt x="60" y="365"/>
                  </a:lnTo>
                  <a:lnTo>
                    <a:pt x="60" y="365"/>
                  </a:lnTo>
                  <a:lnTo>
                    <a:pt x="60" y="365"/>
                  </a:lnTo>
                  <a:lnTo>
                    <a:pt x="60" y="365"/>
                  </a:lnTo>
                  <a:lnTo>
                    <a:pt x="70" y="365"/>
                  </a:lnTo>
                  <a:lnTo>
                    <a:pt x="72" y="365"/>
                  </a:lnTo>
                  <a:lnTo>
                    <a:pt x="74" y="365"/>
                  </a:lnTo>
                  <a:lnTo>
                    <a:pt x="78" y="365"/>
                  </a:lnTo>
                  <a:lnTo>
                    <a:pt x="80" y="365"/>
                  </a:lnTo>
                  <a:lnTo>
                    <a:pt x="82" y="363"/>
                  </a:lnTo>
                  <a:lnTo>
                    <a:pt x="86" y="363"/>
                  </a:lnTo>
                  <a:lnTo>
                    <a:pt x="92" y="361"/>
                  </a:lnTo>
                  <a:lnTo>
                    <a:pt x="96" y="363"/>
                  </a:lnTo>
                  <a:lnTo>
                    <a:pt x="107" y="365"/>
                  </a:lnTo>
                  <a:lnTo>
                    <a:pt x="113" y="367"/>
                  </a:lnTo>
                  <a:lnTo>
                    <a:pt x="125" y="369"/>
                  </a:lnTo>
                  <a:lnTo>
                    <a:pt x="131" y="373"/>
                  </a:lnTo>
                  <a:lnTo>
                    <a:pt x="133" y="375"/>
                  </a:lnTo>
                  <a:lnTo>
                    <a:pt x="143" y="379"/>
                  </a:lnTo>
                  <a:lnTo>
                    <a:pt x="160" y="382"/>
                  </a:lnTo>
                  <a:lnTo>
                    <a:pt x="162" y="379"/>
                  </a:lnTo>
                  <a:lnTo>
                    <a:pt x="164" y="382"/>
                  </a:lnTo>
                  <a:lnTo>
                    <a:pt x="164" y="379"/>
                  </a:lnTo>
                  <a:lnTo>
                    <a:pt x="166" y="382"/>
                  </a:lnTo>
                  <a:lnTo>
                    <a:pt x="182" y="384"/>
                  </a:lnTo>
                  <a:lnTo>
                    <a:pt x="184" y="382"/>
                  </a:lnTo>
                  <a:lnTo>
                    <a:pt x="186" y="382"/>
                  </a:lnTo>
                  <a:lnTo>
                    <a:pt x="193" y="377"/>
                  </a:lnTo>
                  <a:lnTo>
                    <a:pt x="197" y="377"/>
                  </a:lnTo>
                  <a:lnTo>
                    <a:pt x="203" y="377"/>
                  </a:lnTo>
                  <a:lnTo>
                    <a:pt x="205" y="377"/>
                  </a:lnTo>
                  <a:lnTo>
                    <a:pt x="205" y="375"/>
                  </a:lnTo>
                  <a:lnTo>
                    <a:pt x="203" y="375"/>
                  </a:lnTo>
                  <a:lnTo>
                    <a:pt x="205" y="373"/>
                  </a:lnTo>
                  <a:lnTo>
                    <a:pt x="205" y="373"/>
                  </a:lnTo>
                  <a:lnTo>
                    <a:pt x="209" y="371"/>
                  </a:lnTo>
                  <a:lnTo>
                    <a:pt x="207" y="371"/>
                  </a:lnTo>
                  <a:lnTo>
                    <a:pt x="205" y="371"/>
                  </a:lnTo>
                  <a:lnTo>
                    <a:pt x="203" y="371"/>
                  </a:lnTo>
                  <a:lnTo>
                    <a:pt x="201" y="373"/>
                  </a:lnTo>
                  <a:lnTo>
                    <a:pt x="201" y="373"/>
                  </a:lnTo>
                  <a:lnTo>
                    <a:pt x="199" y="371"/>
                  </a:lnTo>
                  <a:lnTo>
                    <a:pt x="197" y="365"/>
                  </a:lnTo>
                  <a:lnTo>
                    <a:pt x="199" y="365"/>
                  </a:lnTo>
                  <a:lnTo>
                    <a:pt x="201" y="363"/>
                  </a:lnTo>
                  <a:lnTo>
                    <a:pt x="199" y="363"/>
                  </a:lnTo>
                  <a:lnTo>
                    <a:pt x="199" y="363"/>
                  </a:lnTo>
                  <a:lnTo>
                    <a:pt x="199" y="363"/>
                  </a:lnTo>
                  <a:lnTo>
                    <a:pt x="197" y="365"/>
                  </a:lnTo>
                  <a:lnTo>
                    <a:pt x="195" y="365"/>
                  </a:lnTo>
                  <a:lnTo>
                    <a:pt x="195" y="365"/>
                  </a:lnTo>
                  <a:lnTo>
                    <a:pt x="193" y="365"/>
                  </a:lnTo>
                  <a:lnTo>
                    <a:pt x="193" y="363"/>
                  </a:lnTo>
                  <a:lnTo>
                    <a:pt x="191" y="361"/>
                  </a:lnTo>
                  <a:lnTo>
                    <a:pt x="191" y="359"/>
                  </a:lnTo>
                  <a:lnTo>
                    <a:pt x="193" y="359"/>
                  </a:lnTo>
                  <a:lnTo>
                    <a:pt x="193" y="359"/>
                  </a:lnTo>
                  <a:lnTo>
                    <a:pt x="193" y="359"/>
                  </a:lnTo>
                  <a:lnTo>
                    <a:pt x="195" y="357"/>
                  </a:lnTo>
                  <a:lnTo>
                    <a:pt x="195" y="357"/>
                  </a:lnTo>
                  <a:lnTo>
                    <a:pt x="197" y="357"/>
                  </a:lnTo>
                  <a:lnTo>
                    <a:pt x="197" y="359"/>
                  </a:lnTo>
                  <a:lnTo>
                    <a:pt x="197" y="359"/>
                  </a:lnTo>
                  <a:lnTo>
                    <a:pt x="195" y="361"/>
                  </a:lnTo>
                  <a:lnTo>
                    <a:pt x="197" y="361"/>
                  </a:lnTo>
                  <a:lnTo>
                    <a:pt x="199" y="361"/>
                  </a:lnTo>
                  <a:lnTo>
                    <a:pt x="201" y="357"/>
                  </a:lnTo>
                  <a:lnTo>
                    <a:pt x="201" y="357"/>
                  </a:lnTo>
                  <a:lnTo>
                    <a:pt x="209" y="353"/>
                  </a:lnTo>
                  <a:lnTo>
                    <a:pt x="209" y="353"/>
                  </a:lnTo>
                  <a:lnTo>
                    <a:pt x="211" y="351"/>
                  </a:lnTo>
                  <a:lnTo>
                    <a:pt x="211" y="351"/>
                  </a:lnTo>
                  <a:lnTo>
                    <a:pt x="211" y="349"/>
                  </a:lnTo>
                  <a:lnTo>
                    <a:pt x="211" y="349"/>
                  </a:lnTo>
                  <a:lnTo>
                    <a:pt x="213" y="349"/>
                  </a:lnTo>
                  <a:lnTo>
                    <a:pt x="213" y="351"/>
                  </a:lnTo>
                  <a:lnTo>
                    <a:pt x="215" y="351"/>
                  </a:lnTo>
                  <a:lnTo>
                    <a:pt x="217" y="349"/>
                  </a:lnTo>
                  <a:lnTo>
                    <a:pt x="219" y="349"/>
                  </a:lnTo>
                  <a:lnTo>
                    <a:pt x="223" y="349"/>
                  </a:lnTo>
                  <a:lnTo>
                    <a:pt x="223" y="349"/>
                  </a:lnTo>
                  <a:lnTo>
                    <a:pt x="225" y="351"/>
                  </a:lnTo>
                  <a:lnTo>
                    <a:pt x="225" y="351"/>
                  </a:lnTo>
                  <a:lnTo>
                    <a:pt x="225" y="353"/>
                  </a:lnTo>
                  <a:lnTo>
                    <a:pt x="223" y="353"/>
                  </a:lnTo>
                  <a:lnTo>
                    <a:pt x="223" y="353"/>
                  </a:lnTo>
                  <a:lnTo>
                    <a:pt x="223" y="351"/>
                  </a:lnTo>
                  <a:lnTo>
                    <a:pt x="221" y="353"/>
                  </a:lnTo>
                  <a:lnTo>
                    <a:pt x="221" y="355"/>
                  </a:lnTo>
                  <a:lnTo>
                    <a:pt x="221" y="357"/>
                  </a:lnTo>
                  <a:lnTo>
                    <a:pt x="221" y="357"/>
                  </a:lnTo>
                  <a:lnTo>
                    <a:pt x="221" y="359"/>
                  </a:lnTo>
                  <a:lnTo>
                    <a:pt x="221" y="359"/>
                  </a:lnTo>
                  <a:lnTo>
                    <a:pt x="223" y="361"/>
                  </a:lnTo>
                  <a:lnTo>
                    <a:pt x="225" y="361"/>
                  </a:lnTo>
                  <a:lnTo>
                    <a:pt x="230" y="357"/>
                  </a:lnTo>
                  <a:lnTo>
                    <a:pt x="230" y="357"/>
                  </a:lnTo>
                  <a:lnTo>
                    <a:pt x="240" y="357"/>
                  </a:lnTo>
                  <a:lnTo>
                    <a:pt x="242" y="357"/>
                  </a:lnTo>
                  <a:lnTo>
                    <a:pt x="244" y="357"/>
                  </a:lnTo>
                  <a:lnTo>
                    <a:pt x="244" y="359"/>
                  </a:lnTo>
                  <a:lnTo>
                    <a:pt x="244" y="363"/>
                  </a:lnTo>
                  <a:lnTo>
                    <a:pt x="244" y="365"/>
                  </a:lnTo>
                  <a:lnTo>
                    <a:pt x="244" y="367"/>
                  </a:lnTo>
                  <a:lnTo>
                    <a:pt x="244" y="369"/>
                  </a:lnTo>
                  <a:lnTo>
                    <a:pt x="246" y="369"/>
                  </a:lnTo>
                  <a:lnTo>
                    <a:pt x="248" y="367"/>
                  </a:lnTo>
                  <a:lnTo>
                    <a:pt x="250" y="367"/>
                  </a:lnTo>
                  <a:lnTo>
                    <a:pt x="250" y="367"/>
                  </a:lnTo>
                  <a:lnTo>
                    <a:pt x="252" y="367"/>
                  </a:lnTo>
                  <a:lnTo>
                    <a:pt x="252" y="369"/>
                  </a:lnTo>
                  <a:lnTo>
                    <a:pt x="252" y="369"/>
                  </a:lnTo>
                  <a:lnTo>
                    <a:pt x="252" y="371"/>
                  </a:lnTo>
                  <a:lnTo>
                    <a:pt x="254" y="373"/>
                  </a:lnTo>
                  <a:lnTo>
                    <a:pt x="254" y="375"/>
                  </a:lnTo>
                  <a:lnTo>
                    <a:pt x="254" y="377"/>
                  </a:lnTo>
                  <a:lnTo>
                    <a:pt x="252" y="377"/>
                  </a:lnTo>
                  <a:lnTo>
                    <a:pt x="254" y="379"/>
                  </a:lnTo>
                  <a:lnTo>
                    <a:pt x="258" y="377"/>
                  </a:lnTo>
                  <a:lnTo>
                    <a:pt x="262" y="375"/>
                  </a:lnTo>
                  <a:lnTo>
                    <a:pt x="264" y="375"/>
                  </a:lnTo>
                  <a:lnTo>
                    <a:pt x="266" y="375"/>
                  </a:lnTo>
                  <a:lnTo>
                    <a:pt x="266" y="375"/>
                  </a:lnTo>
                  <a:lnTo>
                    <a:pt x="264" y="377"/>
                  </a:lnTo>
                  <a:lnTo>
                    <a:pt x="264" y="377"/>
                  </a:lnTo>
                  <a:lnTo>
                    <a:pt x="264" y="379"/>
                  </a:lnTo>
                  <a:lnTo>
                    <a:pt x="266" y="379"/>
                  </a:lnTo>
                  <a:lnTo>
                    <a:pt x="268" y="379"/>
                  </a:lnTo>
                  <a:lnTo>
                    <a:pt x="270" y="379"/>
                  </a:lnTo>
                  <a:lnTo>
                    <a:pt x="275" y="382"/>
                  </a:lnTo>
                  <a:lnTo>
                    <a:pt x="277" y="382"/>
                  </a:lnTo>
                  <a:lnTo>
                    <a:pt x="277" y="382"/>
                  </a:lnTo>
                  <a:lnTo>
                    <a:pt x="279" y="379"/>
                  </a:lnTo>
                  <a:lnTo>
                    <a:pt x="279" y="377"/>
                  </a:lnTo>
                  <a:lnTo>
                    <a:pt x="279" y="377"/>
                  </a:lnTo>
                  <a:lnTo>
                    <a:pt x="279" y="377"/>
                  </a:lnTo>
                  <a:lnTo>
                    <a:pt x="279" y="375"/>
                  </a:lnTo>
                  <a:lnTo>
                    <a:pt x="279" y="375"/>
                  </a:lnTo>
                  <a:lnTo>
                    <a:pt x="281" y="371"/>
                  </a:lnTo>
                  <a:lnTo>
                    <a:pt x="281" y="371"/>
                  </a:lnTo>
                  <a:lnTo>
                    <a:pt x="281" y="367"/>
                  </a:lnTo>
                  <a:lnTo>
                    <a:pt x="281" y="367"/>
                  </a:lnTo>
                  <a:lnTo>
                    <a:pt x="283" y="369"/>
                  </a:lnTo>
                  <a:lnTo>
                    <a:pt x="283" y="369"/>
                  </a:lnTo>
                  <a:lnTo>
                    <a:pt x="285" y="371"/>
                  </a:lnTo>
                  <a:lnTo>
                    <a:pt x="285" y="373"/>
                  </a:lnTo>
                  <a:lnTo>
                    <a:pt x="283" y="373"/>
                  </a:lnTo>
                  <a:lnTo>
                    <a:pt x="283" y="373"/>
                  </a:lnTo>
                  <a:lnTo>
                    <a:pt x="281" y="375"/>
                  </a:lnTo>
                  <a:lnTo>
                    <a:pt x="281" y="377"/>
                  </a:lnTo>
                  <a:lnTo>
                    <a:pt x="281" y="382"/>
                  </a:lnTo>
                  <a:lnTo>
                    <a:pt x="281" y="384"/>
                  </a:lnTo>
                  <a:lnTo>
                    <a:pt x="283" y="386"/>
                  </a:lnTo>
                  <a:lnTo>
                    <a:pt x="283" y="386"/>
                  </a:lnTo>
                  <a:lnTo>
                    <a:pt x="285" y="386"/>
                  </a:lnTo>
                  <a:lnTo>
                    <a:pt x="285" y="388"/>
                  </a:lnTo>
                  <a:lnTo>
                    <a:pt x="285" y="388"/>
                  </a:lnTo>
                  <a:lnTo>
                    <a:pt x="285" y="390"/>
                  </a:lnTo>
                  <a:lnTo>
                    <a:pt x="285" y="390"/>
                  </a:lnTo>
                  <a:lnTo>
                    <a:pt x="287" y="392"/>
                  </a:lnTo>
                  <a:lnTo>
                    <a:pt x="289" y="392"/>
                  </a:lnTo>
                  <a:lnTo>
                    <a:pt x="295" y="396"/>
                  </a:lnTo>
                  <a:lnTo>
                    <a:pt x="297" y="398"/>
                  </a:lnTo>
                  <a:lnTo>
                    <a:pt x="295" y="402"/>
                  </a:lnTo>
                  <a:lnTo>
                    <a:pt x="295" y="402"/>
                  </a:lnTo>
                  <a:lnTo>
                    <a:pt x="295" y="402"/>
                  </a:lnTo>
                  <a:lnTo>
                    <a:pt x="295" y="404"/>
                  </a:lnTo>
                  <a:lnTo>
                    <a:pt x="297" y="404"/>
                  </a:lnTo>
                  <a:lnTo>
                    <a:pt x="295" y="404"/>
                  </a:lnTo>
                  <a:lnTo>
                    <a:pt x="295" y="406"/>
                  </a:lnTo>
                  <a:lnTo>
                    <a:pt x="293" y="406"/>
                  </a:lnTo>
                  <a:lnTo>
                    <a:pt x="293" y="404"/>
                  </a:lnTo>
                  <a:lnTo>
                    <a:pt x="293" y="404"/>
                  </a:lnTo>
                  <a:lnTo>
                    <a:pt x="291" y="404"/>
                  </a:lnTo>
                  <a:lnTo>
                    <a:pt x="291" y="404"/>
                  </a:lnTo>
                  <a:lnTo>
                    <a:pt x="291" y="402"/>
                  </a:lnTo>
                  <a:lnTo>
                    <a:pt x="291" y="400"/>
                  </a:lnTo>
                  <a:lnTo>
                    <a:pt x="291" y="396"/>
                  </a:lnTo>
                  <a:lnTo>
                    <a:pt x="289" y="398"/>
                  </a:lnTo>
                  <a:lnTo>
                    <a:pt x="287" y="396"/>
                  </a:lnTo>
                  <a:lnTo>
                    <a:pt x="285" y="394"/>
                  </a:lnTo>
                  <a:lnTo>
                    <a:pt x="285" y="394"/>
                  </a:lnTo>
                  <a:lnTo>
                    <a:pt x="283" y="394"/>
                  </a:lnTo>
                  <a:lnTo>
                    <a:pt x="283" y="394"/>
                  </a:lnTo>
                  <a:lnTo>
                    <a:pt x="281" y="396"/>
                  </a:lnTo>
                  <a:lnTo>
                    <a:pt x="281" y="398"/>
                  </a:lnTo>
                  <a:lnTo>
                    <a:pt x="279" y="400"/>
                  </a:lnTo>
                  <a:lnTo>
                    <a:pt x="277" y="400"/>
                  </a:lnTo>
                  <a:lnTo>
                    <a:pt x="277" y="400"/>
                  </a:lnTo>
                  <a:lnTo>
                    <a:pt x="275" y="398"/>
                  </a:lnTo>
                  <a:lnTo>
                    <a:pt x="277" y="402"/>
                  </a:lnTo>
                  <a:lnTo>
                    <a:pt x="281" y="406"/>
                  </a:lnTo>
                  <a:lnTo>
                    <a:pt x="287" y="408"/>
                  </a:lnTo>
                  <a:lnTo>
                    <a:pt x="295" y="408"/>
                  </a:lnTo>
                  <a:lnTo>
                    <a:pt x="297" y="410"/>
                  </a:lnTo>
                  <a:lnTo>
                    <a:pt x="299" y="410"/>
                  </a:lnTo>
                  <a:lnTo>
                    <a:pt x="301" y="412"/>
                  </a:lnTo>
                  <a:lnTo>
                    <a:pt x="301" y="412"/>
                  </a:lnTo>
                  <a:lnTo>
                    <a:pt x="303" y="410"/>
                  </a:lnTo>
                  <a:lnTo>
                    <a:pt x="303" y="410"/>
                  </a:lnTo>
                  <a:lnTo>
                    <a:pt x="303" y="408"/>
                  </a:lnTo>
                  <a:lnTo>
                    <a:pt x="305" y="408"/>
                  </a:lnTo>
                  <a:lnTo>
                    <a:pt x="305" y="408"/>
                  </a:lnTo>
                  <a:lnTo>
                    <a:pt x="307" y="408"/>
                  </a:lnTo>
                  <a:lnTo>
                    <a:pt x="309" y="410"/>
                  </a:lnTo>
                  <a:lnTo>
                    <a:pt x="307" y="410"/>
                  </a:lnTo>
                  <a:lnTo>
                    <a:pt x="307" y="410"/>
                  </a:lnTo>
                  <a:lnTo>
                    <a:pt x="307" y="412"/>
                  </a:lnTo>
                  <a:lnTo>
                    <a:pt x="307" y="412"/>
                  </a:lnTo>
                  <a:lnTo>
                    <a:pt x="309" y="412"/>
                  </a:lnTo>
                  <a:lnTo>
                    <a:pt x="311" y="412"/>
                  </a:lnTo>
                  <a:lnTo>
                    <a:pt x="316" y="412"/>
                  </a:lnTo>
                  <a:lnTo>
                    <a:pt x="320" y="416"/>
                  </a:lnTo>
                  <a:lnTo>
                    <a:pt x="320" y="416"/>
                  </a:lnTo>
                  <a:lnTo>
                    <a:pt x="320" y="416"/>
                  </a:lnTo>
                  <a:lnTo>
                    <a:pt x="320" y="416"/>
                  </a:lnTo>
                  <a:lnTo>
                    <a:pt x="322" y="414"/>
                  </a:lnTo>
                  <a:lnTo>
                    <a:pt x="324" y="414"/>
                  </a:lnTo>
                  <a:lnTo>
                    <a:pt x="324" y="412"/>
                  </a:lnTo>
                  <a:lnTo>
                    <a:pt x="322" y="410"/>
                  </a:lnTo>
                  <a:lnTo>
                    <a:pt x="324" y="412"/>
                  </a:lnTo>
                  <a:lnTo>
                    <a:pt x="326" y="412"/>
                  </a:lnTo>
                  <a:lnTo>
                    <a:pt x="328" y="412"/>
                  </a:lnTo>
                  <a:lnTo>
                    <a:pt x="330" y="412"/>
                  </a:lnTo>
                  <a:lnTo>
                    <a:pt x="330" y="414"/>
                  </a:lnTo>
                  <a:lnTo>
                    <a:pt x="330" y="414"/>
                  </a:lnTo>
                  <a:lnTo>
                    <a:pt x="328" y="416"/>
                  </a:lnTo>
                  <a:lnTo>
                    <a:pt x="326" y="416"/>
                  </a:lnTo>
                  <a:lnTo>
                    <a:pt x="328" y="416"/>
                  </a:lnTo>
                  <a:lnTo>
                    <a:pt x="332" y="418"/>
                  </a:lnTo>
                  <a:lnTo>
                    <a:pt x="332" y="418"/>
                  </a:lnTo>
                  <a:lnTo>
                    <a:pt x="332" y="416"/>
                  </a:lnTo>
                  <a:lnTo>
                    <a:pt x="334" y="416"/>
                  </a:lnTo>
                  <a:lnTo>
                    <a:pt x="336" y="416"/>
                  </a:lnTo>
                  <a:lnTo>
                    <a:pt x="336" y="416"/>
                  </a:lnTo>
                  <a:lnTo>
                    <a:pt x="336" y="416"/>
                  </a:lnTo>
                  <a:lnTo>
                    <a:pt x="338" y="416"/>
                  </a:lnTo>
                  <a:lnTo>
                    <a:pt x="338" y="416"/>
                  </a:lnTo>
                  <a:lnTo>
                    <a:pt x="338" y="414"/>
                  </a:lnTo>
                  <a:lnTo>
                    <a:pt x="338" y="414"/>
                  </a:lnTo>
                  <a:lnTo>
                    <a:pt x="338" y="412"/>
                  </a:lnTo>
                  <a:lnTo>
                    <a:pt x="338" y="412"/>
                  </a:lnTo>
                  <a:lnTo>
                    <a:pt x="340" y="412"/>
                  </a:lnTo>
                  <a:lnTo>
                    <a:pt x="340" y="412"/>
                  </a:lnTo>
                  <a:lnTo>
                    <a:pt x="342" y="412"/>
                  </a:lnTo>
                  <a:lnTo>
                    <a:pt x="342" y="414"/>
                  </a:lnTo>
                  <a:lnTo>
                    <a:pt x="342" y="412"/>
                  </a:lnTo>
                  <a:lnTo>
                    <a:pt x="342" y="408"/>
                  </a:lnTo>
                  <a:lnTo>
                    <a:pt x="342" y="408"/>
                  </a:lnTo>
                  <a:lnTo>
                    <a:pt x="342" y="408"/>
                  </a:lnTo>
                  <a:lnTo>
                    <a:pt x="342" y="404"/>
                  </a:lnTo>
                  <a:lnTo>
                    <a:pt x="342" y="404"/>
                  </a:lnTo>
                  <a:lnTo>
                    <a:pt x="342" y="402"/>
                  </a:lnTo>
                  <a:lnTo>
                    <a:pt x="344" y="404"/>
                  </a:lnTo>
                  <a:lnTo>
                    <a:pt x="344" y="404"/>
                  </a:lnTo>
                  <a:lnTo>
                    <a:pt x="346" y="406"/>
                  </a:lnTo>
                  <a:lnTo>
                    <a:pt x="346" y="404"/>
                  </a:lnTo>
                  <a:lnTo>
                    <a:pt x="344" y="402"/>
                  </a:lnTo>
                  <a:lnTo>
                    <a:pt x="346" y="402"/>
                  </a:lnTo>
                  <a:lnTo>
                    <a:pt x="346" y="400"/>
                  </a:lnTo>
                  <a:lnTo>
                    <a:pt x="346" y="398"/>
                  </a:lnTo>
                  <a:lnTo>
                    <a:pt x="344" y="398"/>
                  </a:lnTo>
                  <a:lnTo>
                    <a:pt x="344" y="398"/>
                  </a:lnTo>
                  <a:lnTo>
                    <a:pt x="344" y="396"/>
                  </a:lnTo>
                  <a:lnTo>
                    <a:pt x="344" y="396"/>
                  </a:lnTo>
                  <a:lnTo>
                    <a:pt x="344" y="396"/>
                  </a:lnTo>
                  <a:lnTo>
                    <a:pt x="346" y="396"/>
                  </a:lnTo>
                  <a:lnTo>
                    <a:pt x="346" y="396"/>
                  </a:lnTo>
                  <a:lnTo>
                    <a:pt x="346" y="394"/>
                  </a:lnTo>
                  <a:lnTo>
                    <a:pt x="346" y="394"/>
                  </a:lnTo>
                  <a:lnTo>
                    <a:pt x="348" y="394"/>
                  </a:lnTo>
                  <a:lnTo>
                    <a:pt x="348" y="396"/>
                  </a:lnTo>
                  <a:lnTo>
                    <a:pt x="346" y="396"/>
                  </a:lnTo>
                  <a:lnTo>
                    <a:pt x="348" y="396"/>
                  </a:lnTo>
                  <a:lnTo>
                    <a:pt x="350" y="398"/>
                  </a:lnTo>
                  <a:lnTo>
                    <a:pt x="352" y="396"/>
                  </a:lnTo>
                  <a:lnTo>
                    <a:pt x="352" y="396"/>
                  </a:lnTo>
                  <a:lnTo>
                    <a:pt x="354" y="396"/>
                  </a:lnTo>
                  <a:lnTo>
                    <a:pt x="356" y="396"/>
                  </a:lnTo>
                  <a:lnTo>
                    <a:pt x="356" y="394"/>
                  </a:lnTo>
                  <a:lnTo>
                    <a:pt x="359" y="392"/>
                  </a:lnTo>
                  <a:lnTo>
                    <a:pt x="359" y="392"/>
                  </a:lnTo>
                  <a:lnTo>
                    <a:pt x="359" y="390"/>
                  </a:lnTo>
                  <a:lnTo>
                    <a:pt x="359" y="390"/>
                  </a:lnTo>
                  <a:lnTo>
                    <a:pt x="361" y="390"/>
                  </a:lnTo>
                  <a:lnTo>
                    <a:pt x="361" y="390"/>
                  </a:lnTo>
                  <a:lnTo>
                    <a:pt x="361" y="392"/>
                  </a:lnTo>
                  <a:lnTo>
                    <a:pt x="363" y="394"/>
                  </a:lnTo>
                  <a:lnTo>
                    <a:pt x="365" y="396"/>
                  </a:lnTo>
                  <a:lnTo>
                    <a:pt x="365" y="402"/>
                  </a:lnTo>
                  <a:lnTo>
                    <a:pt x="367" y="398"/>
                  </a:lnTo>
                  <a:lnTo>
                    <a:pt x="367" y="396"/>
                  </a:lnTo>
                  <a:lnTo>
                    <a:pt x="367" y="396"/>
                  </a:lnTo>
                  <a:lnTo>
                    <a:pt x="367" y="394"/>
                  </a:lnTo>
                  <a:lnTo>
                    <a:pt x="369" y="394"/>
                  </a:lnTo>
                  <a:lnTo>
                    <a:pt x="369" y="394"/>
                  </a:lnTo>
                  <a:lnTo>
                    <a:pt x="369" y="394"/>
                  </a:lnTo>
                  <a:lnTo>
                    <a:pt x="369" y="396"/>
                  </a:lnTo>
                  <a:lnTo>
                    <a:pt x="373" y="398"/>
                  </a:lnTo>
                  <a:lnTo>
                    <a:pt x="375" y="400"/>
                  </a:lnTo>
                  <a:lnTo>
                    <a:pt x="375" y="402"/>
                  </a:lnTo>
                  <a:lnTo>
                    <a:pt x="375" y="400"/>
                  </a:lnTo>
                  <a:lnTo>
                    <a:pt x="375" y="398"/>
                  </a:lnTo>
                  <a:lnTo>
                    <a:pt x="375" y="398"/>
                  </a:lnTo>
                  <a:lnTo>
                    <a:pt x="377" y="398"/>
                  </a:lnTo>
                  <a:lnTo>
                    <a:pt x="377" y="398"/>
                  </a:lnTo>
                  <a:lnTo>
                    <a:pt x="377" y="400"/>
                  </a:lnTo>
                  <a:lnTo>
                    <a:pt x="377" y="400"/>
                  </a:lnTo>
                  <a:lnTo>
                    <a:pt x="377" y="402"/>
                  </a:lnTo>
                  <a:lnTo>
                    <a:pt x="377" y="404"/>
                  </a:lnTo>
                  <a:lnTo>
                    <a:pt x="377" y="404"/>
                  </a:lnTo>
                  <a:lnTo>
                    <a:pt x="377" y="406"/>
                  </a:lnTo>
                  <a:lnTo>
                    <a:pt x="377" y="406"/>
                  </a:lnTo>
                  <a:lnTo>
                    <a:pt x="377" y="408"/>
                  </a:lnTo>
                  <a:lnTo>
                    <a:pt x="377" y="408"/>
                  </a:lnTo>
                  <a:lnTo>
                    <a:pt x="379" y="410"/>
                  </a:lnTo>
                  <a:lnTo>
                    <a:pt x="379" y="412"/>
                  </a:lnTo>
                  <a:lnTo>
                    <a:pt x="381" y="412"/>
                  </a:lnTo>
                  <a:lnTo>
                    <a:pt x="381" y="414"/>
                  </a:lnTo>
                  <a:lnTo>
                    <a:pt x="381" y="416"/>
                  </a:lnTo>
                  <a:lnTo>
                    <a:pt x="379" y="416"/>
                  </a:lnTo>
                  <a:lnTo>
                    <a:pt x="381" y="416"/>
                  </a:lnTo>
                  <a:lnTo>
                    <a:pt x="383" y="414"/>
                  </a:lnTo>
                  <a:lnTo>
                    <a:pt x="389" y="412"/>
                  </a:lnTo>
                  <a:lnTo>
                    <a:pt x="389" y="410"/>
                  </a:lnTo>
                  <a:lnTo>
                    <a:pt x="391" y="410"/>
                  </a:lnTo>
                  <a:lnTo>
                    <a:pt x="393" y="408"/>
                  </a:lnTo>
                  <a:lnTo>
                    <a:pt x="393" y="406"/>
                  </a:lnTo>
                  <a:lnTo>
                    <a:pt x="395" y="406"/>
                  </a:lnTo>
                  <a:lnTo>
                    <a:pt x="395" y="402"/>
                  </a:lnTo>
                  <a:lnTo>
                    <a:pt x="397" y="400"/>
                  </a:lnTo>
                  <a:lnTo>
                    <a:pt x="393" y="400"/>
                  </a:lnTo>
                  <a:lnTo>
                    <a:pt x="391" y="398"/>
                  </a:lnTo>
                  <a:lnTo>
                    <a:pt x="391" y="394"/>
                  </a:lnTo>
                  <a:lnTo>
                    <a:pt x="395" y="394"/>
                  </a:lnTo>
                  <a:lnTo>
                    <a:pt x="393" y="392"/>
                  </a:lnTo>
                  <a:lnTo>
                    <a:pt x="393" y="392"/>
                  </a:lnTo>
                  <a:lnTo>
                    <a:pt x="395" y="392"/>
                  </a:lnTo>
                  <a:lnTo>
                    <a:pt x="397" y="394"/>
                  </a:lnTo>
                  <a:lnTo>
                    <a:pt x="399" y="392"/>
                  </a:lnTo>
                  <a:lnTo>
                    <a:pt x="399" y="392"/>
                  </a:lnTo>
                  <a:lnTo>
                    <a:pt x="397" y="390"/>
                  </a:lnTo>
                  <a:lnTo>
                    <a:pt x="395" y="390"/>
                  </a:lnTo>
                  <a:lnTo>
                    <a:pt x="395" y="388"/>
                  </a:lnTo>
                  <a:lnTo>
                    <a:pt x="395" y="386"/>
                  </a:lnTo>
                  <a:lnTo>
                    <a:pt x="395" y="386"/>
                  </a:lnTo>
                  <a:lnTo>
                    <a:pt x="395" y="386"/>
                  </a:lnTo>
                  <a:lnTo>
                    <a:pt x="397" y="388"/>
                  </a:lnTo>
                  <a:lnTo>
                    <a:pt x="397" y="388"/>
                  </a:lnTo>
                  <a:lnTo>
                    <a:pt x="397" y="386"/>
                  </a:lnTo>
                  <a:lnTo>
                    <a:pt x="397" y="384"/>
                  </a:lnTo>
                  <a:lnTo>
                    <a:pt x="395" y="384"/>
                  </a:lnTo>
                  <a:lnTo>
                    <a:pt x="395" y="384"/>
                  </a:lnTo>
                  <a:lnTo>
                    <a:pt x="395" y="382"/>
                  </a:lnTo>
                  <a:lnTo>
                    <a:pt x="395" y="382"/>
                  </a:lnTo>
                  <a:lnTo>
                    <a:pt x="395" y="379"/>
                  </a:lnTo>
                  <a:lnTo>
                    <a:pt x="395" y="379"/>
                  </a:lnTo>
                  <a:lnTo>
                    <a:pt x="397" y="377"/>
                  </a:lnTo>
                  <a:lnTo>
                    <a:pt x="395" y="375"/>
                  </a:lnTo>
                  <a:lnTo>
                    <a:pt x="393" y="375"/>
                  </a:lnTo>
                  <a:lnTo>
                    <a:pt x="391" y="375"/>
                  </a:lnTo>
                  <a:lnTo>
                    <a:pt x="387" y="375"/>
                  </a:lnTo>
                  <a:lnTo>
                    <a:pt x="387" y="375"/>
                  </a:lnTo>
                  <a:lnTo>
                    <a:pt x="385" y="373"/>
                  </a:lnTo>
                  <a:lnTo>
                    <a:pt x="381" y="371"/>
                  </a:lnTo>
                  <a:lnTo>
                    <a:pt x="381" y="369"/>
                  </a:lnTo>
                  <a:lnTo>
                    <a:pt x="379" y="371"/>
                  </a:lnTo>
                  <a:lnTo>
                    <a:pt x="379" y="371"/>
                  </a:lnTo>
                  <a:lnTo>
                    <a:pt x="379" y="371"/>
                  </a:lnTo>
                  <a:lnTo>
                    <a:pt x="379" y="369"/>
                  </a:lnTo>
                  <a:lnTo>
                    <a:pt x="379" y="369"/>
                  </a:lnTo>
                  <a:lnTo>
                    <a:pt x="381" y="369"/>
                  </a:lnTo>
                  <a:lnTo>
                    <a:pt x="381" y="369"/>
                  </a:lnTo>
                  <a:lnTo>
                    <a:pt x="381" y="367"/>
                  </a:lnTo>
                  <a:lnTo>
                    <a:pt x="381" y="367"/>
                  </a:lnTo>
                  <a:lnTo>
                    <a:pt x="379" y="367"/>
                  </a:lnTo>
                  <a:lnTo>
                    <a:pt x="379" y="367"/>
                  </a:lnTo>
                  <a:lnTo>
                    <a:pt x="381" y="365"/>
                  </a:lnTo>
                  <a:lnTo>
                    <a:pt x="381" y="363"/>
                  </a:lnTo>
                  <a:lnTo>
                    <a:pt x="383" y="365"/>
                  </a:lnTo>
                  <a:lnTo>
                    <a:pt x="385" y="367"/>
                  </a:lnTo>
                  <a:lnTo>
                    <a:pt x="387" y="369"/>
                  </a:lnTo>
                  <a:lnTo>
                    <a:pt x="387" y="367"/>
                  </a:lnTo>
                  <a:lnTo>
                    <a:pt x="385" y="367"/>
                  </a:lnTo>
                  <a:lnTo>
                    <a:pt x="387" y="367"/>
                  </a:lnTo>
                  <a:lnTo>
                    <a:pt x="387" y="365"/>
                  </a:lnTo>
                  <a:lnTo>
                    <a:pt x="389" y="367"/>
                  </a:lnTo>
                  <a:lnTo>
                    <a:pt x="391" y="367"/>
                  </a:lnTo>
                  <a:lnTo>
                    <a:pt x="402" y="373"/>
                  </a:lnTo>
                  <a:lnTo>
                    <a:pt x="406" y="373"/>
                  </a:lnTo>
                  <a:lnTo>
                    <a:pt x="408" y="371"/>
                  </a:lnTo>
                  <a:lnTo>
                    <a:pt x="412" y="375"/>
                  </a:lnTo>
                  <a:lnTo>
                    <a:pt x="412" y="375"/>
                  </a:lnTo>
                  <a:lnTo>
                    <a:pt x="414" y="373"/>
                  </a:lnTo>
                  <a:lnTo>
                    <a:pt x="414" y="371"/>
                  </a:lnTo>
                  <a:lnTo>
                    <a:pt x="414" y="371"/>
                  </a:lnTo>
                  <a:lnTo>
                    <a:pt x="414" y="371"/>
                  </a:lnTo>
                  <a:lnTo>
                    <a:pt x="416" y="371"/>
                  </a:lnTo>
                  <a:lnTo>
                    <a:pt x="416" y="371"/>
                  </a:lnTo>
                  <a:lnTo>
                    <a:pt x="416" y="373"/>
                  </a:lnTo>
                  <a:lnTo>
                    <a:pt x="416" y="373"/>
                  </a:lnTo>
                  <a:lnTo>
                    <a:pt x="416" y="373"/>
                  </a:lnTo>
                  <a:lnTo>
                    <a:pt x="416" y="375"/>
                  </a:lnTo>
                  <a:lnTo>
                    <a:pt x="416" y="375"/>
                  </a:lnTo>
                  <a:lnTo>
                    <a:pt x="416" y="375"/>
                  </a:lnTo>
                  <a:lnTo>
                    <a:pt x="416" y="375"/>
                  </a:lnTo>
                  <a:lnTo>
                    <a:pt x="416" y="375"/>
                  </a:lnTo>
                  <a:lnTo>
                    <a:pt x="416" y="375"/>
                  </a:lnTo>
                  <a:lnTo>
                    <a:pt x="416" y="377"/>
                  </a:lnTo>
                  <a:lnTo>
                    <a:pt x="416" y="377"/>
                  </a:lnTo>
                  <a:lnTo>
                    <a:pt x="418" y="377"/>
                  </a:lnTo>
                  <a:lnTo>
                    <a:pt x="418" y="377"/>
                  </a:lnTo>
                  <a:lnTo>
                    <a:pt x="420" y="377"/>
                  </a:lnTo>
                  <a:lnTo>
                    <a:pt x="420" y="377"/>
                  </a:lnTo>
                  <a:lnTo>
                    <a:pt x="422" y="377"/>
                  </a:lnTo>
                  <a:lnTo>
                    <a:pt x="420" y="379"/>
                  </a:lnTo>
                  <a:lnTo>
                    <a:pt x="420" y="379"/>
                  </a:lnTo>
                  <a:lnTo>
                    <a:pt x="420" y="379"/>
                  </a:lnTo>
                  <a:lnTo>
                    <a:pt x="420" y="382"/>
                  </a:lnTo>
                  <a:lnTo>
                    <a:pt x="422" y="382"/>
                  </a:lnTo>
                  <a:lnTo>
                    <a:pt x="422" y="379"/>
                  </a:lnTo>
                  <a:lnTo>
                    <a:pt x="422" y="379"/>
                  </a:lnTo>
                  <a:lnTo>
                    <a:pt x="422" y="379"/>
                  </a:lnTo>
                  <a:lnTo>
                    <a:pt x="422" y="382"/>
                  </a:lnTo>
                  <a:lnTo>
                    <a:pt x="424" y="382"/>
                  </a:lnTo>
                  <a:lnTo>
                    <a:pt x="424" y="384"/>
                  </a:lnTo>
                  <a:lnTo>
                    <a:pt x="422" y="386"/>
                  </a:lnTo>
                  <a:lnTo>
                    <a:pt x="422" y="386"/>
                  </a:lnTo>
                  <a:lnTo>
                    <a:pt x="420" y="388"/>
                  </a:lnTo>
                  <a:lnTo>
                    <a:pt x="418" y="388"/>
                  </a:lnTo>
                  <a:lnTo>
                    <a:pt x="430" y="388"/>
                  </a:lnTo>
                  <a:lnTo>
                    <a:pt x="430" y="388"/>
                  </a:lnTo>
                  <a:lnTo>
                    <a:pt x="434" y="386"/>
                  </a:lnTo>
                  <a:lnTo>
                    <a:pt x="434" y="384"/>
                  </a:lnTo>
                  <a:lnTo>
                    <a:pt x="436" y="386"/>
                  </a:lnTo>
                  <a:lnTo>
                    <a:pt x="436" y="386"/>
                  </a:lnTo>
                  <a:lnTo>
                    <a:pt x="434" y="390"/>
                  </a:lnTo>
                  <a:lnTo>
                    <a:pt x="436" y="390"/>
                  </a:lnTo>
                  <a:lnTo>
                    <a:pt x="436" y="392"/>
                  </a:lnTo>
                  <a:lnTo>
                    <a:pt x="438" y="394"/>
                  </a:lnTo>
                  <a:lnTo>
                    <a:pt x="440" y="394"/>
                  </a:lnTo>
                  <a:lnTo>
                    <a:pt x="443" y="394"/>
                  </a:lnTo>
                  <a:lnTo>
                    <a:pt x="449" y="394"/>
                  </a:lnTo>
                  <a:lnTo>
                    <a:pt x="447" y="392"/>
                  </a:lnTo>
                  <a:lnTo>
                    <a:pt x="449" y="392"/>
                  </a:lnTo>
                  <a:lnTo>
                    <a:pt x="451" y="392"/>
                  </a:lnTo>
                  <a:lnTo>
                    <a:pt x="453" y="392"/>
                  </a:lnTo>
                  <a:lnTo>
                    <a:pt x="451" y="394"/>
                  </a:lnTo>
                  <a:lnTo>
                    <a:pt x="451" y="394"/>
                  </a:lnTo>
                  <a:lnTo>
                    <a:pt x="457" y="402"/>
                  </a:lnTo>
                  <a:lnTo>
                    <a:pt x="459" y="402"/>
                  </a:lnTo>
                  <a:lnTo>
                    <a:pt x="459" y="404"/>
                  </a:lnTo>
                  <a:lnTo>
                    <a:pt x="459" y="404"/>
                  </a:lnTo>
                  <a:lnTo>
                    <a:pt x="459" y="406"/>
                  </a:lnTo>
                  <a:lnTo>
                    <a:pt x="459" y="408"/>
                  </a:lnTo>
                  <a:lnTo>
                    <a:pt x="461" y="408"/>
                  </a:lnTo>
                  <a:lnTo>
                    <a:pt x="463" y="408"/>
                  </a:lnTo>
                  <a:lnTo>
                    <a:pt x="465" y="406"/>
                  </a:lnTo>
                  <a:lnTo>
                    <a:pt x="465" y="406"/>
                  </a:lnTo>
                  <a:lnTo>
                    <a:pt x="465" y="404"/>
                  </a:lnTo>
                  <a:lnTo>
                    <a:pt x="465" y="402"/>
                  </a:lnTo>
                  <a:lnTo>
                    <a:pt x="465" y="400"/>
                  </a:lnTo>
                  <a:lnTo>
                    <a:pt x="465" y="400"/>
                  </a:lnTo>
                  <a:lnTo>
                    <a:pt x="465" y="398"/>
                  </a:lnTo>
                  <a:lnTo>
                    <a:pt x="467" y="398"/>
                  </a:lnTo>
                  <a:lnTo>
                    <a:pt x="467" y="400"/>
                  </a:lnTo>
                  <a:lnTo>
                    <a:pt x="467" y="402"/>
                  </a:lnTo>
                  <a:lnTo>
                    <a:pt x="467" y="404"/>
                  </a:lnTo>
                  <a:lnTo>
                    <a:pt x="467" y="404"/>
                  </a:lnTo>
                  <a:lnTo>
                    <a:pt x="469" y="404"/>
                  </a:lnTo>
                  <a:lnTo>
                    <a:pt x="469" y="402"/>
                  </a:lnTo>
                  <a:lnTo>
                    <a:pt x="469" y="402"/>
                  </a:lnTo>
                  <a:lnTo>
                    <a:pt x="469" y="400"/>
                  </a:lnTo>
                  <a:lnTo>
                    <a:pt x="471" y="400"/>
                  </a:lnTo>
                  <a:lnTo>
                    <a:pt x="471" y="402"/>
                  </a:lnTo>
                  <a:lnTo>
                    <a:pt x="469" y="404"/>
                  </a:lnTo>
                  <a:lnTo>
                    <a:pt x="469" y="406"/>
                  </a:lnTo>
                  <a:lnTo>
                    <a:pt x="467" y="410"/>
                  </a:lnTo>
                  <a:lnTo>
                    <a:pt x="467" y="410"/>
                  </a:lnTo>
                  <a:lnTo>
                    <a:pt x="465" y="410"/>
                  </a:lnTo>
                  <a:lnTo>
                    <a:pt x="465" y="412"/>
                  </a:lnTo>
                  <a:lnTo>
                    <a:pt x="465" y="412"/>
                  </a:lnTo>
                  <a:lnTo>
                    <a:pt x="465" y="414"/>
                  </a:lnTo>
                  <a:lnTo>
                    <a:pt x="465" y="414"/>
                  </a:lnTo>
                  <a:lnTo>
                    <a:pt x="465" y="416"/>
                  </a:lnTo>
                  <a:lnTo>
                    <a:pt x="463" y="418"/>
                  </a:lnTo>
                  <a:lnTo>
                    <a:pt x="461" y="420"/>
                  </a:lnTo>
                  <a:lnTo>
                    <a:pt x="461" y="420"/>
                  </a:lnTo>
                  <a:lnTo>
                    <a:pt x="459" y="423"/>
                  </a:lnTo>
                  <a:lnTo>
                    <a:pt x="459" y="423"/>
                  </a:lnTo>
                  <a:lnTo>
                    <a:pt x="459" y="427"/>
                  </a:lnTo>
                  <a:lnTo>
                    <a:pt x="461" y="427"/>
                  </a:lnTo>
                  <a:lnTo>
                    <a:pt x="463" y="425"/>
                  </a:lnTo>
                  <a:lnTo>
                    <a:pt x="467" y="416"/>
                  </a:lnTo>
                  <a:lnTo>
                    <a:pt x="467" y="416"/>
                  </a:lnTo>
                  <a:lnTo>
                    <a:pt x="467" y="414"/>
                  </a:lnTo>
                  <a:lnTo>
                    <a:pt x="467" y="412"/>
                  </a:lnTo>
                  <a:lnTo>
                    <a:pt x="469" y="412"/>
                  </a:lnTo>
                  <a:lnTo>
                    <a:pt x="471" y="410"/>
                  </a:lnTo>
                  <a:lnTo>
                    <a:pt x="473" y="410"/>
                  </a:lnTo>
                  <a:lnTo>
                    <a:pt x="473" y="410"/>
                  </a:lnTo>
                  <a:lnTo>
                    <a:pt x="473" y="408"/>
                  </a:lnTo>
                  <a:lnTo>
                    <a:pt x="473" y="408"/>
                  </a:lnTo>
                  <a:lnTo>
                    <a:pt x="473" y="406"/>
                  </a:lnTo>
                  <a:lnTo>
                    <a:pt x="473" y="406"/>
                  </a:lnTo>
                  <a:lnTo>
                    <a:pt x="473" y="406"/>
                  </a:lnTo>
                  <a:lnTo>
                    <a:pt x="475" y="406"/>
                  </a:lnTo>
                  <a:lnTo>
                    <a:pt x="475" y="408"/>
                  </a:lnTo>
                  <a:lnTo>
                    <a:pt x="479" y="410"/>
                  </a:lnTo>
                  <a:lnTo>
                    <a:pt x="479" y="412"/>
                  </a:lnTo>
                  <a:lnTo>
                    <a:pt x="479" y="414"/>
                  </a:lnTo>
                  <a:lnTo>
                    <a:pt x="483" y="416"/>
                  </a:lnTo>
                  <a:lnTo>
                    <a:pt x="483" y="416"/>
                  </a:lnTo>
                  <a:lnTo>
                    <a:pt x="486" y="416"/>
                  </a:lnTo>
                  <a:lnTo>
                    <a:pt x="483" y="412"/>
                  </a:lnTo>
                  <a:lnTo>
                    <a:pt x="483" y="410"/>
                  </a:lnTo>
                  <a:lnTo>
                    <a:pt x="486" y="408"/>
                  </a:lnTo>
                  <a:lnTo>
                    <a:pt x="486" y="406"/>
                  </a:lnTo>
                  <a:lnTo>
                    <a:pt x="488" y="406"/>
                  </a:lnTo>
                  <a:lnTo>
                    <a:pt x="488" y="406"/>
                  </a:lnTo>
                  <a:lnTo>
                    <a:pt x="488" y="406"/>
                  </a:lnTo>
                  <a:lnTo>
                    <a:pt x="490" y="408"/>
                  </a:lnTo>
                  <a:lnTo>
                    <a:pt x="490" y="406"/>
                  </a:lnTo>
                  <a:lnTo>
                    <a:pt x="488" y="404"/>
                  </a:lnTo>
                  <a:lnTo>
                    <a:pt x="488" y="404"/>
                  </a:lnTo>
                  <a:lnTo>
                    <a:pt x="488" y="402"/>
                  </a:lnTo>
                  <a:lnTo>
                    <a:pt x="490" y="402"/>
                  </a:lnTo>
                  <a:lnTo>
                    <a:pt x="490" y="404"/>
                  </a:lnTo>
                  <a:lnTo>
                    <a:pt x="490" y="404"/>
                  </a:lnTo>
                  <a:lnTo>
                    <a:pt x="492" y="406"/>
                  </a:lnTo>
                  <a:lnTo>
                    <a:pt x="492" y="404"/>
                  </a:lnTo>
                  <a:lnTo>
                    <a:pt x="494" y="400"/>
                  </a:lnTo>
                  <a:lnTo>
                    <a:pt x="488" y="400"/>
                  </a:lnTo>
                  <a:lnTo>
                    <a:pt x="488" y="400"/>
                  </a:lnTo>
                  <a:lnTo>
                    <a:pt x="488" y="398"/>
                  </a:lnTo>
                  <a:lnTo>
                    <a:pt x="488" y="398"/>
                  </a:lnTo>
                  <a:lnTo>
                    <a:pt x="490" y="396"/>
                  </a:lnTo>
                  <a:lnTo>
                    <a:pt x="492" y="396"/>
                  </a:lnTo>
                  <a:lnTo>
                    <a:pt x="492" y="396"/>
                  </a:lnTo>
                  <a:lnTo>
                    <a:pt x="492" y="396"/>
                  </a:lnTo>
                  <a:close/>
                  <a:moveTo>
                    <a:pt x="449" y="336"/>
                  </a:moveTo>
                  <a:lnTo>
                    <a:pt x="449" y="334"/>
                  </a:lnTo>
                  <a:lnTo>
                    <a:pt x="447" y="334"/>
                  </a:lnTo>
                  <a:lnTo>
                    <a:pt x="447" y="334"/>
                  </a:lnTo>
                  <a:lnTo>
                    <a:pt x="447" y="334"/>
                  </a:lnTo>
                  <a:lnTo>
                    <a:pt x="445" y="332"/>
                  </a:lnTo>
                  <a:lnTo>
                    <a:pt x="443" y="334"/>
                  </a:lnTo>
                  <a:lnTo>
                    <a:pt x="443" y="336"/>
                  </a:lnTo>
                  <a:lnTo>
                    <a:pt x="445" y="341"/>
                  </a:lnTo>
                  <a:lnTo>
                    <a:pt x="445" y="338"/>
                  </a:lnTo>
                  <a:lnTo>
                    <a:pt x="447" y="336"/>
                  </a:lnTo>
                  <a:lnTo>
                    <a:pt x="447" y="336"/>
                  </a:lnTo>
                  <a:lnTo>
                    <a:pt x="447" y="336"/>
                  </a:lnTo>
                  <a:lnTo>
                    <a:pt x="449" y="338"/>
                  </a:lnTo>
                  <a:lnTo>
                    <a:pt x="449" y="338"/>
                  </a:lnTo>
                  <a:lnTo>
                    <a:pt x="451" y="338"/>
                  </a:lnTo>
                  <a:lnTo>
                    <a:pt x="449" y="338"/>
                  </a:lnTo>
                  <a:lnTo>
                    <a:pt x="449" y="336"/>
                  </a:lnTo>
                  <a:close/>
                  <a:moveTo>
                    <a:pt x="498" y="341"/>
                  </a:moveTo>
                  <a:lnTo>
                    <a:pt x="500" y="336"/>
                  </a:lnTo>
                  <a:lnTo>
                    <a:pt x="502" y="334"/>
                  </a:lnTo>
                  <a:lnTo>
                    <a:pt x="496" y="343"/>
                  </a:lnTo>
                  <a:lnTo>
                    <a:pt x="498" y="341"/>
                  </a:lnTo>
                  <a:close/>
                  <a:moveTo>
                    <a:pt x="412" y="388"/>
                  </a:moveTo>
                  <a:lnTo>
                    <a:pt x="412" y="388"/>
                  </a:lnTo>
                  <a:lnTo>
                    <a:pt x="412" y="388"/>
                  </a:lnTo>
                  <a:lnTo>
                    <a:pt x="412" y="388"/>
                  </a:lnTo>
                  <a:lnTo>
                    <a:pt x="410" y="388"/>
                  </a:lnTo>
                  <a:lnTo>
                    <a:pt x="410" y="388"/>
                  </a:lnTo>
                  <a:lnTo>
                    <a:pt x="410" y="388"/>
                  </a:lnTo>
                  <a:lnTo>
                    <a:pt x="410" y="390"/>
                  </a:lnTo>
                  <a:lnTo>
                    <a:pt x="412" y="390"/>
                  </a:lnTo>
                  <a:lnTo>
                    <a:pt x="412" y="390"/>
                  </a:lnTo>
                  <a:lnTo>
                    <a:pt x="412" y="390"/>
                  </a:lnTo>
                  <a:lnTo>
                    <a:pt x="412" y="390"/>
                  </a:lnTo>
                  <a:lnTo>
                    <a:pt x="412" y="390"/>
                  </a:lnTo>
                  <a:lnTo>
                    <a:pt x="414" y="388"/>
                  </a:lnTo>
                  <a:lnTo>
                    <a:pt x="414" y="388"/>
                  </a:lnTo>
                  <a:lnTo>
                    <a:pt x="412" y="388"/>
                  </a:lnTo>
                  <a:lnTo>
                    <a:pt x="412" y="388"/>
                  </a:lnTo>
                  <a:close/>
                  <a:moveTo>
                    <a:pt x="504" y="308"/>
                  </a:moveTo>
                  <a:lnTo>
                    <a:pt x="502" y="306"/>
                  </a:lnTo>
                  <a:lnTo>
                    <a:pt x="502" y="304"/>
                  </a:lnTo>
                  <a:lnTo>
                    <a:pt x="500" y="302"/>
                  </a:lnTo>
                  <a:lnTo>
                    <a:pt x="498" y="300"/>
                  </a:lnTo>
                  <a:lnTo>
                    <a:pt x="500" y="302"/>
                  </a:lnTo>
                  <a:lnTo>
                    <a:pt x="502" y="302"/>
                  </a:lnTo>
                  <a:lnTo>
                    <a:pt x="502" y="306"/>
                  </a:lnTo>
                  <a:lnTo>
                    <a:pt x="502" y="308"/>
                  </a:lnTo>
                  <a:lnTo>
                    <a:pt x="502" y="308"/>
                  </a:lnTo>
                  <a:lnTo>
                    <a:pt x="504" y="310"/>
                  </a:lnTo>
                  <a:lnTo>
                    <a:pt x="504" y="312"/>
                  </a:lnTo>
                  <a:lnTo>
                    <a:pt x="504" y="314"/>
                  </a:lnTo>
                  <a:lnTo>
                    <a:pt x="504" y="316"/>
                  </a:lnTo>
                  <a:lnTo>
                    <a:pt x="506" y="320"/>
                  </a:lnTo>
                  <a:lnTo>
                    <a:pt x="504" y="322"/>
                  </a:lnTo>
                  <a:lnTo>
                    <a:pt x="502" y="328"/>
                  </a:lnTo>
                  <a:lnTo>
                    <a:pt x="502" y="328"/>
                  </a:lnTo>
                  <a:lnTo>
                    <a:pt x="504" y="330"/>
                  </a:lnTo>
                  <a:lnTo>
                    <a:pt x="504" y="330"/>
                  </a:lnTo>
                  <a:lnTo>
                    <a:pt x="504" y="330"/>
                  </a:lnTo>
                  <a:lnTo>
                    <a:pt x="506" y="326"/>
                  </a:lnTo>
                  <a:lnTo>
                    <a:pt x="506" y="324"/>
                  </a:lnTo>
                  <a:lnTo>
                    <a:pt x="506" y="314"/>
                  </a:lnTo>
                  <a:lnTo>
                    <a:pt x="504" y="308"/>
                  </a:lnTo>
                  <a:close/>
                  <a:moveTo>
                    <a:pt x="371" y="412"/>
                  </a:moveTo>
                  <a:lnTo>
                    <a:pt x="369" y="412"/>
                  </a:lnTo>
                  <a:lnTo>
                    <a:pt x="369" y="412"/>
                  </a:lnTo>
                  <a:lnTo>
                    <a:pt x="369" y="412"/>
                  </a:lnTo>
                  <a:lnTo>
                    <a:pt x="369" y="414"/>
                  </a:lnTo>
                  <a:lnTo>
                    <a:pt x="369" y="414"/>
                  </a:lnTo>
                  <a:lnTo>
                    <a:pt x="367" y="414"/>
                  </a:lnTo>
                  <a:lnTo>
                    <a:pt x="365" y="416"/>
                  </a:lnTo>
                  <a:lnTo>
                    <a:pt x="365" y="416"/>
                  </a:lnTo>
                  <a:lnTo>
                    <a:pt x="365" y="416"/>
                  </a:lnTo>
                  <a:lnTo>
                    <a:pt x="371" y="414"/>
                  </a:lnTo>
                  <a:lnTo>
                    <a:pt x="371" y="414"/>
                  </a:lnTo>
                  <a:lnTo>
                    <a:pt x="371" y="412"/>
                  </a:lnTo>
                  <a:close/>
                  <a:moveTo>
                    <a:pt x="406" y="394"/>
                  </a:moveTo>
                  <a:lnTo>
                    <a:pt x="404" y="394"/>
                  </a:lnTo>
                  <a:lnTo>
                    <a:pt x="404" y="396"/>
                  </a:lnTo>
                  <a:lnTo>
                    <a:pt x="402" y="398"/>
                  </a:lnTo>
                  <a:lnTo>
                    <a:pt x="399" y="398"/>
                  </a:lnTo>
                  <a:lnTo>
                    <a:pt x="399" y="400"/>
                  </a:lnTo>
                  <a:lnTo>
                    <a:pt x="399" y="400"/>
                  </a:lnTo>
                  <a:lnTo>
                    <a:pt x="399" y="400"/>
                  </a:lnTo>
                  <a:lnTo>
                    <a:pt x="404" y="398"/>
                  </a:lnTo>
                  <a:lnTo>
                    <a:pt x="406" y="396"/>
                  </a:lnTo>
                  <a:lnTo>
                    <a:pt x="406" y="396"/>
                  </a:lnTo>
                  <a:lnTo>
                    <a:pt x="406" y="394"/>
                  </a:lnTo>
                  <a:close/>
                  <a:moveTo>
                    <a:pt x="408" y="392"/>
                  </a:moveTo>
                  <a:lnTo>
                    <a:pt x="408" y="392"/>
                  </a:lnTo>
                  <a:lnTo>
                    <a:pt x="408" y="394"/>
                  </a:lnTo>
                  <a:lnTo>
                    <a:pt x="408" y="394"/>
                  </a:lnTo>
                  <a:lnTo>
                    <a:pt x="410" y="392"/>
                  </a:lnTo>
                  <a:lnTo>
                    <a:pt x="410" y="392"/>
                  </a:lnTo>
                  <a:lnTo>
                    <a:pt x="408" y="392"/>
                  </a:lnTo>
                  <a:lnTo>
                    <a:pt x="408" y="392"/>
                  </a:lnTo>
                  <a:close/>
                  <a:moveTo>
                    <a:pt x="375" y="416"/>
                  </a:moveTo>
                  <a:lnTo>
                    <a:pt x="375" y="416"/>
                  </a:lnTo>
                  <a:lnTo>
                    <a:pt x="373" y="418"/>
                  </a:lnTo>
                  <a:lnTo>
                    <a:pt x="373" y="418"/>
                  </a:lnTo>
                  <a:lnTo>
                    <a:pt x="371" y="420"/>
                  </a:lnTo>
                  <a:lnTo>
                    <a:pt x="377" y="418"/>
                  </a:lnTo>
                  <a:lnTo>
                    <a:pt x="377" y="416"/>
                  </a:lnTo>
                  <a:lnTo>
                    <a:pt x="375" y="416"/>
                  </a:lnTo>
                  <a:close/>
                  <a:moveTo>
                    <a:pt x="393" y="373"/>
                  </a:moveTo>
                  <a:lnTo>
                    <a:pt x="393" y="373"/>
                  </a:lnTo>
                  <a:lnTo>
                    <a:pt x="393" y="375"/>
                  </a:lnTo>
                  <a:lnTo>
                    <a:pt x="395" y="375"/>
                  </a:lnTo>
                  <a:lnTo>
                    <a:pt x="395" y="375"/>
                  </a:lnTo>
                  <a:lnTo>
                    <a:pt x="395" y="373"/>
                  </a:lnTo>
                  <a:lnTo>
                    <a:pt x="395" y="375"/>
                  </a:lnTo>
                  <a:lnTo>
                    <a:pt x="397" y="375"/>
                  </a:lnTo>
                  <a:lnTo>
                    <a:pt x="397" y="375"/>
                  </a:lnTo>
                  <a:lnTo>
                    <a:pt x="397" y="375"/>
                  </a:lnTo>
                  <a:lnTo>
                    <a:pt x="399" y="375"/>
                  </a:lnTo>
                  <a:lnTo>
                    <a:pt x="399" y="375"/>
                  </a:lnTo>
                  <a:lnTo>
                    <a:pt x="399" y="375"/>
                  </a:lnTo>
                  <a:lnTo>
                    <a:pt x="399" y="375"/>
                  </a:lnTo>
                  <a:lnTo>
                    <a:pt x="399" y="375"/>
                  </a:lnTo>
                  <a:lnTo>
                    <a:pt x="399" y="375"/>
                  </a:lnTo>
                  <a:lnTo>
                    <a:pt x="399" y="375"/>
                  </a:lnTo>
                  <a:lnTo>
                    <a:pt x="399" y="373"/>
                  </a:lnTo>
                  <a:lnTo>
                    <a:pt x="399" y="373"/>
                  </a:lnTo>
                  <a:lnTo>
                    <a:pt x="399" y="373"/>
                  </a:lnTo>
                  <a:lnTo>
                    <a:pt x="399" y="375"/>
                  </a:lnTo>
                  <a:lnTo>
                    <a:pt x="397" y="375"/>
                  </a:lnTo>
                  <a:lnTo>
                    <a:pt x="397" y="375"/>
                  </a:lnTo>
                  <a:lnTo>
                    <a:pt x="397" y="373"/>
                  </a:lnTo>
                  <a:lnTo>
                    <a:pt x="395" y="373"/>
                  </a:lnTo>
                  <a:lnTo>
                    <a:pt x="397" y="373"/>
                  </a:lnTo>
                  <a:lnTo>
                    <a:pt x="397" y="373"/>
                  </a:lnTo>
                  <a:lnTo>
                    <a:pt x="397" y="371"/>
                  </a:lnTo>
                  <a:lnTo>
                    <a:pt x="395" y="371"/>
                  </a:lnTo>
                  <a:lnTo>
                    <a:pt x="395" y="371"/>
                  </a:lnTo>
                  <a:lnTo>
                    <a:pt x="393" y="371"/>
                  </a:lnTo>
                  <a:lnTo>
                    <a:pt x="393" y="371"/>
                  </a:lnTo>
                  <a:lnTo>
                    <a:pt x="393" y="369"/>
                  </a:lnTo>
                  <a:lnTo>
                    <a:pt x="391" y="369"/>
                  </a:lnTo>
                  <a:lnTo>
                    <a:pt x="389" y="369"/>
                  </a:lnTo>
                  <a:lnTo>
                    <a:pt x="389" y="369"/>
                  </a:lnTo>
                  <a:lnTo>
                    <a:pt x="387" y="369"/>
                  </a:lnTo>
                  <a:lnTo>
                    <a:pt x="387" y="371"/>
                  </a:lnTo>
                  <a:lnTo>
                    <a:pt x="387" y="371"/>
                  </a:lnTo>
                  <a:lnTo>
                    <a:pt x="389" y="373"/>
                  </a:lnTo>
                  <a:lnTo>
                    <a:pt x="391" y="373"/>
                  </a:lnTo>
                  <a:lnTo>
                    <a:pt x="391" y="373"/>
                  </a:lnTo>
                  <a:lnTo>
                    <a:pt x="393" y="373"/>
                  </a:lnTo>
                  <a:lnTo>
                    <a:pt x="393" y="373"/>
                  </a:lnTo>
                  <a:lnTo>
                    <a:pt x="393" y="373"/>
                  </a:lnTo>
                  <a:lnTo>
                    <a:pt x="393" y="373"/>
                  </a:lnTo>
                  <a:close/>
                  <a:moveTo>
                    <a:pt x="500" y="322"/>
                  </a:moveTo>
                  <a:lnTo>
                    <a:pt x="502" y="322"/>
                  </a:lnTo>
                  <a:lnTo>
                    <a:pt x="502" y="322"/>
                  </a:lnTo>
                  <a:lnTo>
                    <a:pt x="500" y="322"/>
                  </a:lnTo>
                  <a:close/>
                  <a:moveTo>
                    <a:pt x="498" y="320"/>
                  </a:moveTo>
                  <a:lnTo>
                    <a:pt x="498" y="320"/>
                  </a:lnTo>
                  <a:lnTo>
                    <a:pt x="496" y="320"/>
                  </a:lnTo>
                  <a:lnTo>
                    <a:pt x="496" y="322"/>
                  </a:lnTo>
                  <a:lnTo>
                    <a:pt x="496" y="322"/>
                  </a:lnTo>
                  <a:lnTo>
                    <a:pt x="498" y="320"/>
                  </a:lnTo>
                  <a:lnTo>
                    <a:pt x="498" y="320"/>
                  </a:lnTo>
                  <a:close/>
                  <a:moveTo>
                    <a:pt x="498" y="318"/>
                  </a:moveTo>
                  <a:lnTo>
                    <a:pt x="500" y="318"/>
                  </a:lnTo>
                  <a:lnTo>
                    <a:pt x="500" y="318"/>
                  </a:lnTo>
                  <a:lnTo>
                    <a:pt x="498" y="318"/>
                  </a:lnTo>
                  <a:lnTo>
                    <a:pt x="498" y="320"/>
                  </a:lnTo>
                  <a:lnTo>
                    <a:pt x="498" y="320"/>
                  </a:lnTo>
                  <a:lnTo>
                    <a:pt x="498" y="320"/>
                  </a:lnTo>
                  <a:lnTo>
                    <a:pt x="498" y="318"/>
                  </a:lnTo>
                  <a:close/>
                  <a:moveTo>
                    <a:pt x="500" y="318"/>
                  </a:moveTo>
                  <a:lnTo>
                    <a:pt x="500" y="318"/>
                  </a:lnTo>
                  <a:lnTo>
                    <a:pt x="500" y="320"/>
                  </a:lnTo>
                  <a:lnTo>
                    <a:pt x="500" y="320"/>
                  </a:lnTo>
                  <a:lnTo>
                    <a:pt x="500" y="318"/>
                  </a:lnTo>
                  <a:close/>
                  <a:moveTo>
                    <a:pt x="440" y="345"/>
                  </a:moveTo>
                  <a:lnTo>
                    <a:pt x="443" y="345"/>
                  </a:lnTo>
                  <a:lnTo>
                    <a:pt x="443" y="345"/>
                  </a:lnTo>
                  <a:lnTo>
                    <a:pt x="443" y="345"/>
                  </a:lnTo>
                  <a:lnTo>
                    <a:pt x="443" y="345"/>
                  </a:lnTo>
                  <a:lnTo>
                    <a:pt x="443" y="345"/>
                  </a:lnTo>
                  <a:lnTo>
                    <a:pt x="443" y="345"/>
                  </a:lnTo>
                  <a:lnTo>
                    <a:pt x="443" y="345"/>
                  </a:lnTo>
                  <a:lnTo>
                    <a:pt x="440" y="343"/>
                  </a:lnTo>
                  <a:lnTo>
                    <a:pt x="440" y="343"/>
                  </a:lnTo>
                  <a:lnTo>
                    <a:pt x="440" y="343"/>
                  </a:lnTo>
                  <a:lnTo>
                    <a:pt x="440" y="343"/>
                  </a:lnTo>
                  <a:lnTo>
                    <a:pt x="440" y="345"/>
                  </a:lnTo>
                  <a:lnTo>
                    <a:pt x="440" y="345"/>
                  </a:lnTo>
                  <a:lnTo>
                    <a:pt x="440" y="345"/>
                  </a:lnTo>
                  <a:lnTo>
                    <a:pt x="440" y="345"/>
                  </a:lnTo>
                  <a:lnTo>
                    <a:pt x="440" y="345"/>
                  </a:lnTo>
                  <a:lnTo>
                    <a:pt x="440" y="345"/>
                  </a:lnTo>
                  <a:lnTo>
                    <a:pt x="440" y="345"/>
                  </a:lnTo>
                  <a:close/>
                  <a:moveTo>
                    <a:pt x="492" y="328"/>
                  </a:moveTo>
                  <a:lnTo>
                    <a:pt x="492" y="328"/>
                  </a:lnTo>
                  <a:lnTo>
                    <a:pt x="492" y="326"/>
                  </a:lnTo>
                  <a:lnTo>
                    <a:pt x="492" y="326"/>
                  </a:lnTo>
                  <a:lnTo>
                    <a:pt x="492" y="328"/>
                  </a:lnTo>
                  <a:lnTo>
                    <a:pt x="492" y="330"/>
                  </a:lnTo>
                  <a:lnTo>
                    <a:pt x="492" y="330"/>
                  </a:lnTo>
                  <a:lnTo>
                    <a:pt x="492" y="328"/>
                  </a:lnTo>
                  <a:close/>
                  <a:moveTo>
                    <a:pt x="467" y="314"/>
                  </a:moveTo>
                  <a:lnTo>
                    <a:pt x="467" y="312"/>
                  </a:lnTo>
                  <a:lnTo>
                    <a:pt x="465" y="312"/>
                  </a:lnTo>
                  <a:lnTo>
                    <a:pt x="465" y="314"/>
                  </a:lnTo>
                  <a:lnTo>
                    <a:pt x="463" y="316"/>
                  </a:lnTo>
                  <a:lnTo>
                    <a:pt x="463" y="316"/>
                  </a:lnTo>
                  <a:lnTo>
                    <a:pt x="463" y="316"/>
                  </a:lnTo>
                  <a:lnTo>
                    <a:pt x="465" y="316"/>
                  </a:lnTo>
                  <a:lnTo>
                    <a:pt x="465" y="314"/>
                  </a:lnTo>
                  <a:lnTo>
                    <a:pt x="465" y="314"/>
                  </a:lnTo>
                  <a:lnTo>
                    <a:pt x="467" y="314"/>
                  </a:lnTo>
                  <a:close/>
                </a:path>
              </a:pathLst>
            </a:custGeom>
            <a:solidFill>
              <a:schemeClr val="tx1"/>
            </a:solidFill>
            <a:ln w="3175" cap="rnd">
              <a:solidFill>
                <a:schemeClr val="bg1"/>
              </a:solidFill>
              <a:prstDash val="solid"/>
              <a:round/>
              <a:headEnd/>
              <a:tailEnd/>
            </a:ln>
          </p:spPr>
          <p:txBody>
            <a:bodyPr vert="horz" wrap="square" lIns="144000" tIns="0" rIns="0" bIns="240000" numCol="1" anchor="ctr"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LA</a:t>
              </a:r>
            </a:p>
          </p:txBody>
        </p:sp>
        <p:sp>
          <p:nvSpPr>
            <p:cNvPr id="327" name="Freeform 38">
              <a:extLst>
                <a:ext uri="{FF2B5EF4-FFF2-40B4-BE49-F238E27FC236}">
                  <a16:creationId xmlns:a16="http://schemas.microsoft.com/office/drawing/2014/main" id="{9F3190D0-A734-ED51-D50E-65E292D059E9}"/>
                </a:ext>
              </a:extLst>
            </p:cNvPr>
            <p:cNvSpPr>
              <a:spLocks noEditPoints="1"/>
            </p:cNvSpPr>
            <p:nvPr/>
          </p:nvSpPr>
          <p:spPr bwMode="auto">
            <a:xfrm>
              <a:off x="3639" y="1125"/>
              <a:ext cx="641" cy="330"/>
            </a:xfrm>
            <a:custGeom>
              <a:avLst/>
              <a:gdLst>
                <a:gd name="T0" fmla="*/ 624 w 641"/>
                <a:gd name="T1" fmla="*/ 131 h 330"/>
                <a:gd name="T2" fmla="*/ 616 w 641"/>
                <a:gd name="T3" fmla="*/ 125 h 330"/>
                <a:gd name="T4" fmla="*/ 606 w 641"/>
                <a:gd name="T5" fmla="*/ 117 h 330"/>
                <a:gd name="T6" fmla="*/ 596 w 641"/>
                <a:gd name="T7" fmla="*/ 103 h 330"/>
                <a:gd name="T8" fmla="*/ 590 w 641"/>
                <a:gd name="T9" fmla="*/ 94 h 330"/>
                <a:gd name="T10" fmla="*/ 573 w 641"/>
                <a:gd name="T11" fmla="*/ 76 h 330"/>
                <a:gd name="T12" fmla="*/ 575 w 641"/>
                <a:gd name="T13" fmla="*/ 70 h 330"/>
                <a:gd name="T14" fmla="*/ 577 w 641"/>
                <a:gd name="T15" fmla="*/ 66 h 330"/>
                <a:gd name="T16" fmla="*/ 573 w 641"/>
                <a:gd name="T17" fmla="*/ 51 h 330"/>
                <a:gd name="T18" fmla="*/ 547 w 641"/>
                <a:gd name="T19" fmla="*/ 31 h 330"/>
                <a:gd name="T20" fmla="*/ 530 w 641"/>
                <a:gd name="T21" fmla="*/ 25 h 330"/>
                <a:gd name="T22" fmla="*/ 516 w 641"/>
                <a:gd name="T23" fmla="*/ 35 h 330"/>
                <a:gd name="T24" fmla="*/ 499 w 641"/>
                <a:gd name="T25" fmla="*/ 33 h 330"/>
                <a:gd name="T26" fmla="*/ 481 w 641"/>
                <a:gd name="T27" fmla="*/ 37 h 330"/>
                <a:gd name="T28" fmla="*/ 456 w 641"/>
                <a:gd name="T29" fmla="*/ 29 h 330"/>
                <a:gd name="T30" fmla="*/ 426 w 641"/>
                <a:gd name="T31" fmla="*/ 19 h 330"/>
                <a:gd name="T32" fmla="*/ 413 w 641"/>
                <a:gd name="T33" fmla="*/ 6 h 330"/>
                <a:gd name="T34" fmla="*/ 385 w 641"/>
                <a:gd name="T35" fmla="*/ 2 h 330"/>
                <a:gd name="T36" fmla="*/ 370 w 641"/>
                <a:gd name="T37" fmla="*/ 10 h 330"/>
                <a:gd name="T38" fmla="*/ 379 w 641"/>
                <a:gd name="T39" fmla="*/ 27 h 330"/>
                <a:gd name="T40" fmla="*/ 364 w 641"/>
                <a:gd name="T41" fmla="*/ 41 h 330"/>
                <a:gd name="T42" fmla="*/ 327 w 641"/>
                <a:gd name="T43" fmla="*/ 55 h 330"/>
                <a:gd name="T44" fmla="*/ 321 w 641"/>
                <a:gd name="T45" fmla="*/ 82 h 330"/>
                <a:gd name="T46" fmla="*/ 305 w 641"/>
                <a:gd name="T47" fmla="*/ 103 h 330"/>
                <a:gd name="T48" fmla="*/ 297 w 641"/>
                <a:gd name="T49" fmla="*/ 117 h 330"/>
                <a:gd name="T50" fmla="*/ 286 w 641"/>
                <a:gd name="T51" fmla="*/ 139 h 330"/>
                <a:gd name="T52" fmla="*/ 264 w 641"/>
                <a:gd name="T53" fmla="*/ 127 h 330"/>
                <a:gd name="T54" fmla="*/ 260 w 641"/>
                <a:gd name="T55" fmla="*/ 123 h 330"/>
                <a:gd name="T56" fmla="*/ 250 w 641"/>
                <a:gd name="T57" fmla="*/ 127 h 330"/>
                <a:gd name="T58" fmla="*/ 245 w 641"/>
                <a:gd name="T59" fmla="*/ 148 h 330"/>
                <a:gd name="T60" fmla="*/ 237 w 641"/>
                <a:gd name="T61" fmla="*/ 152 h 330"/>
                <a:gd name="T62" fmla="*/ 213 w 641"/>
                <a:gd name="T63" fmla="*/ 152 h 330"/>
                <a:gd name="T64" fmla="*/ 196 w 641"/>
                <a:gd name="T65" fmla="*/ 168 h 330"/>
                <a:gd name="T66" fmla="*/ 184 w 641"/>
                <a:gd name="T67" fmla="*/ 162 h 330"/>
                <a:gd name="T68" fmla="*/ 155 w 641"/>
                <a:gd name="T69" fmla="*/ 158 h 330"/>
                <a:gd name="T70" fmla="*/ 155 w 641"/>
                <a:gd name="T71" fmla="*/ 164 h 330"/>
                <a:gd name="T72" fmla="*/ 145 w 641"/>
                <a:gd name="T73" fmla="*/ 164 h 330"/>
                <a:gd name="T74" fmla="*/ 129 w 641"/>
                <a:gd name="T75" fmla="*/ 162 h 330"/>
                <a:gd name="T76" fmla="*/ 119 w 641"/>
                <a:gd name="T77" fmla="*/ 176 h 330"/>
                <a:gd name="T78" fmla="*/ 112 w 641"/>
                <a:gd name="T79" fmla="*/ 201 h 330"/>
                <a:gd name="T80" fmla="*/ 88 w 641"/>
                <a:gd name="T81" fmla="*/ 221 h 330"/>
                <a:gd name="T82" fmla="*/ 92 w 641"/>
                <a:gd name="T83" fmla="*/ 252 h 330"/>
                <a:gd name="T84" fmla="*/ 37 w 641"/>
                <a:gd name="T85" fmla="*/ 252 h 330"/>
                <a:gd name="T86" fmla="*/ 37 w 641"/>
                <a:gd name="T87" fmla="*/ 285 h 330"/>
                <a:gd name="T88" fmla="*/ 32 w 641"/>
                <a:gd name="T89" fmla="*/ 310 h 330"/>
                <a:gd name="T90" fmla="*/ 16 w 641"/>
                <a:gd name="T91" fmla="*/ 316 h 330"/>
                <a:gd name="T92" fmla="*/ 104 w 641"/>
                <a:gd name="T93" fmla="*/ 320 h 330"/>
                <a:gd name="T94" fmla="*/ 129 w 641"/>
                <a:gd name="T95" fmla="*/ 295 h 330"/>
                <a:gd name="T96" fmla="*/ 149 w 641"/>
                <a:gd name="T97" fmla="*/ 299 h 330"/>
                <a:gd name="T98" fmla="*/ 215 w 641"/>
                <a:gd name="T99" fmla="*/ 291 h 330"/>
                <a:gd name="T100" fmla="*/ 264 w 641"/>
                <a:gd name="T101" fmla="*/ 283 h 330"/>
                <a:gd name="T102" fmla="*/ 407 w 641"/>
                <a:gd name="T103" fmla="*/ 271 h 330"/>
                <a:gd name="T104" fmla="*/ 510 w 641"/>
                <a:gd name="T105" fmla="*/ 256 h 330"/>
                <a:gd name="T106" fmla="*/ 545 w 641"/>
                <a:gd name="T107" fmla="*/ 236 h 330"/>
                <a:gd name="T108" fmla="*/ 557 w 641"/>
                <a:gd name="T109" fmla="*/ 228 h 330"/>
                <a:gd name="T110" fmla="*/ 575 w 641"/>
                <a:gd name="T111" fmla="*/ 213 h 330"/>
                <a:gd name="T112" fmla="*/ 577 w 641"/>
                <a:gd name="T113" fmla="*/ 203 h 330"/>
                <a:gd name="T114" fmla="*/ 583 w 641"/>
                <a:gd name="T115" fmla="*/ 189 h 330"/>
                <a:gd name="T116" fmla="*/ 631 w 641"/>
                <a:gd name="T117" fmla="*/ 146 h 330"/>
                <a:gd name="T118" fmla="*/ 8 w 641"/>
                <a:gd name="T119" fmla="*/ 32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1" h="330">
                  <a:moveTo>
                    <a:pt x="639" y="133"/>
                  </a:moveTo>
                  <a:lnTo>
                    <a:pt x="639" y="133"/>
                  </a:lnTo>
                  <a:lnTo>
                    <a:pt x="635" y="135"/>
                  </a:lnTo>
                  <a:lnTo>
                    <a:pt x="635" y="135"/>
                  </a:lnTo>
                  <a:lnTo>
                    <a:pt x="626" y="133"/>
                  </a:lnTo>
                  <a:lnTo>
                    <a:pt x="626" y="133"/>
                  </a:lnTo>
                  <a:lnTo>
                    <a:pt x="624" y="133"/>
                  </a:lnTo>
                  <a:lnTo>
                    <a:pt x="624" y="131"/>
                  </a:lnTo>
                  <a:lnTo>
                    <a:pt x="624" y="131"/>
                  </a:lnTo>
                  <a:lnTo>
                    <a:pt x="624" y="131"/>
                  </a:lnTo>
                  <a:lnTo>
                    <a:pt x="624" y="131"/>
                  </a:lnTo>
                  <a:lnTo>
                    <a:pt x="624" y="129"/>
                  </a:lnTo>
                  <a:lnTo>
                    <a:pt x="624" y="129"/>
                  </a:lnTo>
                  <a:lnTo>
                    <a:pt x="620" y="127"/>
                  </a:lnTo>
                  <a:lnTo>
                    <a:pt x="620" y="127"/>
                  </a:lnTo>
                  <a:lnTo>
                    <a:pt x="620" y="127"/>
                  </a:lnTo>
                  <a:lnTo>
                    <a:pt x="618" y="127"/>
                  </a:lnTo>
                  <a:lnTo>
                    <a:pt x="618" y="127"/>
                  </a:lnTo>
                  <a:lnTo>
                    <a:pt x="616" y="125"/>
                  </a:lnTo>
                  <a:lnTo>
                    <a:pt x="616" y="125"/>
                  </a:lnTo>
                  <a:lnTo>
                    <a:pt x="616" y="125"/>
                  </a:lnTo>
                  <a:lnTo>
                    <a:pt x="614" y="125"/>
                  </a:lnTo>
                  <a:lnTo>
                    <a:pt x="610" y="123"/>
                  </a:lnTo>
                  <a:lnTo>
                    <a:pt x="610" y="123"/>
                  </a:lnTo>
                  <a:lnTo>
                    <a:pt x="610" y="123"/>
                  </a:lnTo>
                  <a:lnTo>
                    <a:pt x="610" y="121"/>
                  </a:lnTo>
                  <a:lnTo>
                    <a:pt x="608" y="119"/>
                  </a:lnTo>
                  <a:lnTo>
                    <a:pt x="608" y="117"/>
                  </a:lnTo>
                  <a:lnTo>
                    <a:pt x="608" y="117"/>
                  </a:lnTo>
                  <a:lnTo>
                    <a:pt x="606" y="117"/>
                  </a:lnTo>
                  <a:lnTo>
                    <a:pt x="606" y="115"/>
                  </a:lnTo>
                  <a:lnTo>
                    <a:pt x="598" y="111"/>
                  </a:lnTo>
                  <a:lnTo>
                    <a:pt x="598" y="109"/>
                  </a:lnTo>
                  <a:lnTo>
                    <a:pt x="598" y="109"/>
                  </a:lnTo>
                  <a:lnTo>
                    <a:pt x="598" y="109"/>
                  </a:lnTo>
                  <a:lnTo>
                    <a:pt x="598" y="105"/>
                  </a:lnTo>
                  <a:lnTo>
                    <a:pt x="596" y="105"/>
                  </a:lnTo>
                  <a:lnTo>
                    <a:pt x="596" y="103"/>
                  </a:lnTo>
                  <a:lnTo>
                    <a:pt x="596" y="103"/>
                  </a:lnTo>
                  <a:lnTo>
                    <a:pt x="596" y="103"/>
                  </a:lnTo>
                  <a:lnTo>
                    <a:pt x="594" y="103"/>
                  </a:lnTo>
                  <a:lnTo>
                    <a:pt x="590" y="101"/>
                  </a:lnTo>
                  <a:lnTo>
                    <a:pt x="590" y="99"/>
                  </a:lnTo>
                  <a:lnTo>
                    <a:pt x="590" y="99"/>
                  </a:lnTo>
                  <a:lnTo>
                    <a:pt x="590" y="99"/>
                  </a:lnTo>
                  <a:lnTo>
                    <a:pt x="590" y="96"/>
                  </a:lnTo>
                  <a:lnTo>
                    <a:pt x="592" y="96"/>
                  </a:lnTo>
                  <a:lnTo>
                    <a:pt x="592" y="96"/>
                  </a:lnTo>
                  <a:lnTo>
                    <a:pt x="590" y="94"/>
                  </a:lnTo>
                  <a:lnTo>
                    <a:pt x="590" y="94"/>
                  </a:lnTo>
                  <a:lnTo>
                    <a:pt x="590" y="94"/>
                  </a:lnTo>
                  <a:lnTo>
                    <a:pt x="590" y="94"/>
                  </a:lnTo>
                  <a:lnTo>
                    <a:pt x="583" y="90"/>
                  </a:lnTo>
                  <a:lnTo>
                    <a:pt x="583" y="90"/>
                  </a:lnTo>
                  <a:lnTo>
                    <a:pt x="583" y="88"/>
                  </a:lnTo>
                  <a:lnTo>
                    <a:pt x="581" y="86"/>
                  </a:lnTo>
                  <a:lnTo>
                    <a:pt x="581" y="86"/>
                  </a:lnTo>
                  <a:lnTo>
                    <a:pt x="573" y="78"/>
                  </a:lnTo>
                  <a:lnTo>
                    <a:pt x="573" y="78"/>
                  </a:lnTo>
                  <a:lnTo>
                    <a:pt x="573" y="76"/>
                  </a:lnTo>
                  <a:lnTo>
                    <a:pt x="573" y="76"/>
                  </a:lnTo>
                  <a:lnTo>
                    <a:pt x="573" y="76"/>
                  </a:lnTo>
                  <a:lnTo>
                    <a:pt x="573" y="76"/>
                  </a:lnTo>
                  <a:lnTo>
                    <a:pt x="573" y="76"/>
                  </a:lnTo>
                  <a:lnTo>
                    <a:pt x="575" y="74"/>
                  </a:lnTo>
                  <a:lnTo>
                    <a:pt x="575" y="74"/>
                  </a:lnTo>
                  <a:lnTo>
                    <a:pt x="575" y="72"/>
                  </a:lnTo>
                  <a:lnTo>
                    <a:pt x="575" y="72"/>
                  </a:lnTo>
                  <a:lnTo>
                    <a:pt x="575" y="72"/>
                  </a:lnTo>
                  <a:lnTo>
                    <a:pt x="575" y="70"/>
                  </a:lnTo>
                  <a:lnTo>
                    <a:pt x="575" y="70"/>
                  </a:lnTo>
                  <a:lnTo>
                    <a:pt x="575" y="70"/>
                  </a:lnTo>
                  <a:lnTo>
                    <a:pt x="575" y="68"/>
                  </a:lnTo>
                  <a:lnTo>
                    <a:pt x="575" y="68"/>
                  </a:lnTo>
                  <a:lnTo>
                    <a:pt x="577" y="68"/>
                  </a:lnTo>
                  <a:lnTo>
                    <a:pt x="577" y="68"/>
                  </a:lnTo>
                  <a:lnTo>
                    <a:pt x="577" y="68"/>
                  </a:lnTo>
                  <a:lnTo>
                    <a:pt x="577" y="68"/>
                  </a:lnTo>
                  <a:lnTo>
                    <a:pt x="577" y="66"/>
                  </a:lnTo>
                  <a:lnTo>
                    <a:pt x="577" y="66"/>
                  </a:lnTo>
                  <a:lnTo>
                    <a:pt x="577" y="64"/>
                  </a:lnTo>
                  <a:lnTo>
                    <a:pt x="577" y="62"/>
                  </a:lnTo>
                  <a:lnTo>
                    <a:pt x="577" y="62"/>
                  </a:lnTo>
                  <a:lnTo>
                    <a:pt x="575" y="60"/>
                  </a:lnTo>
                  <a:lnTo>
                    <a:pt x="575" y="60"/>
                  </a:lnTo>
                  <a:lnTo>
                    <a:pt x="573" y="55"/>
                  </a:lnTo>
                  <a:lnTo>
                    <a:pt x="573" y="55"/>
                  </a:lnTo>
                  <a:lnTo>
                    <a:pt x="573" y="55"/>
                  </a:lnTo>
                  <a:lnTo>
                    <a:pt x="573" y="53"/>
                  </a:lnTo>
                  <a:lnTo>
                    <a:pt x="573" y="51"/>
                  </a:lnTo>
                  <a:lnTo>
                    <a:pt x="573" y="49"/>
                  </a:lnTo>
                  <a:lnTo>
                    <a:pt x="573" y="49"/>
                  </a:lnTo>
                  <a:lnTo>
                    <a:pt x="571" y="49"/>
                  </a:lnTo>
                  <a:lnTo>
                    <a:pt x="569" y="45"/>
                  </a:lnTo>
                  <a:lnTo>
                    <a:pt x="569" y="43"/>
                  </a:lnTo>
                  <a:lnTo>
                    <a:pt x="561" y="39"/>
                  </a:lnTo>
                  <a:lnTo>
                    <a:pt x="559" y="37"/>
                  </a:lnTo>
                  <a:lnTo>
                    <a:pt x="555" y="37"/>
                  </a:lnTo>
                  <a:lnTo>
                    <a:pt x="551" y="35"/>
                  </a:lnTo>
                  <a:lnTo>
                    <a:pt x="547" y="31"/>
                  </a:lnTo>
                  <a:lnTo>
                    <a:pt x="545" y="25"/>
                  </a:lnTo>
                  <a:lnTo>
                    <a:pt x="542" y="23"/>
                  </a:lnTo>
                  <a:lnTo>
                    <a:pt x="542" y="21"/>
                  </a:lnTo>
                  <a:lnTo>
                    <a:pt x="542" y="19"/>
                  </a:lnTo>
                  <a:lnTo>
                    <a:pt x="540" y="19"/>
                  </a:lnTo>
                  <a:lnTo>
                    <a:pt x="538" y="19"/>
                  </a:lnTo>
                  <a:lnTo>
                    <a:pt x="534" y="23"/>
                  </a:lnTo>
                  <a:lnTo>
                    <a:pt x="532" y="23"/>
                  </a:lnTo>
                  <a:lnTo>
                    <a:pt x="530" y="25"/>
                  </a:lnTo>
                  <a:lnTo>
                    <a:pt x="530" y="25"/>
                  </a:lnTo>
                  <a:lnTo>
                    <a:pt x="528" y="27"/>
                  </a:lnTo>
                  <a:lnTo>
                    <a:pt x="528" y="29"/>
                  </a:lnTo>
                  <a:lnTo>
                    <a:pt x="526" y="29"/>
                  </a:lnTo>
                  <a:lnTo>
                    <a:pt x="524" y="31"/>
                  </a:lnTo>
                  <a:lnTo>
                    <a:pt x="524" y="31"/>
                  </a:lnTo>
                  <a:lnTo>
                    <a:pt x="524" y="33"/>
                  </a:lnTo>
                  <a:lnTo>
                    <a:pt x="524" y="35"/>
                  </a:lnTo>
                  <a:lnTo>
                    <a:pt x="522" y="35"/>
                  </a:lnTo>
                  <a:lnTo>
                    <a:pt x="520" y="37"/>
                  </a:lnTo>
                  <a:lnTo>
                    <a:pt x="516" y="35"/>
                  </a:lnTo>
                  <a:lnTo>
                    <a:pt x="514" y="37"/>
                  </a:lnTo>
                  <a:lnTo>
                    <a:pt x="514" y="37"/>
                  </a:lnTo>
                  <a:lnTo>
                    <a:pt x="512" y="39"/>
                  </a:lnTo>
                  <a:lnTo>
                    <a:pt x="510" y="39"/>
                  </a:lnTo>
                  <a:lnTo>
                    <a:pt x="508" y="39"/>
                  </a:lnTo>
                  <a:lnTo>
                    <a:pt x="508" y="39"/>
                  </a:lnTo>
                  <a:lnTo>
                    <a:pt x="506" y="35"/>
                  </a:lnTo>
                  <a:lnTo>
                    <a:pt x="504" y="35"/>
                  </a:lnTo>
                  <a:lnTo>
                    <a:pt x="504" y="35"/>
                  </a:lnTo>
                  <a:lnTo>
                    <a:pt x="499" y="33"/>
                  </a:lnTo>
                  <a:lnTo>
                    <a:pt x="499" y="33"/>
                  </a:lnTo>
                  <a:lnTo>
                    <a:pt x="495" y="33"/>
                  </a:lnTo>
                  <a:lnTo>
                    <a:pt x="495" y="33"/>
                  </a:lnTo>
                  <a:lnTo>
                    <a:pt x="493" y="33"/>
                  </a:lnTo>
                  <a:lnTo>
                    <a:pt x="491" y="31"/>
                  </a:lnTo>
                  <a:lnTo>
                    <a:pt x="489" y="31"/>
                  </a:lnTo>
                  <a:lnTo>
                    <a:pt x="489" y="31"/>
                  </a:lnTo>
                  <a:lnTo>
                    <a:pt x="483" y="35"/>
                  </a:lnTo>
                  <a:lnTo>
                    <a:pt x="481" y="35"/>
                  </a:lnTo>
                  <a:lnTo>
                    <a:pt x="481" y="37"/>
                  </a:lnTo>
                  <a:lnTo>
                    <a:pt x="481" y="39"/>
                  </a:lnTo>
                  <a:lnTo>
                    <a:pt x="479" y="41"/>
                  </a:lnTo>
                  <a:lnTo>
                    <a:pt x="479" y="41"/>
                  </a:lnTo>
                  <a:lnTo>
                    <a:pt x="475" y="41"/>
                  </a:lnTo>
                  <a:lnTo>
                    <a:pt x="471" y="39"/>
                  </a:lnTo>
                  <a:lnTo>
                    <a:pt x="465" y="35"/>
                  </a:lnTo>
                  <a:lnTo>
                    <a:pt x="463" y="33"/>
                  </a:lnTo>
                  <a:lnTo>
                    <a:pt x="461" y="31"/>
                  </a:lnTo>
                  <a:lnTo>
                    <a:pt x="461" y="29"/>
                  </a:lnTo>
                  <a:lnTo>
                    <a:pt x="456" y="29"/>
                  </a:lnTo>
                  <a:lnTo>
                    <a:pt x="452" y="29"/>
                  </a:lnTo>
                  <a:lnTo>
                    <a:pt x="450" y="29"/>
                  </a:lnTo>
                  <a:lnTo>
                    <a:pt x="442" y="31"/>
                  </a:lnTo>
                  <a:lnTo>
                    <a:pt x="440" y="31"/>
                  </a:lnTo>
                  <a:lnTo>
                    <a:pt x="432" y="29"/>
                  </a:lnTo>
                  <a:lnTo>
                    <a:pt x="430" y="27"/>
                  </a:lnTo>
                  <a:lnTo>
                    <a:pt x="428" y="25"/>
                  </a:lnTo>
                  <a:lnTo>
                    <a:pt x="428" y="23"/>
                  </a:lnTo>
                  <a:lnTo>
                    <a:pt x="428" y="21"/>
                  </a:lnTo>
                  <a:lnTo>
                    <a:pt x="426" y="19"/>
                  </a:lnTo>
                  <a:lnTo>
                    <a:pt x="426" y="19"/>
                  </a:lnTo>
                  <a:lnTo>
                    <a:pt x="424" y="17"/>
                  </a:lnTo>
                  <a:lnTo>
                    <a:pt x="424" y="17"/>
                  </a:lnTo>
                  <a:lnTo>
                    <a:pt x="422" y="14"/>
                  </a:lnTo>
                  <a:lnTo>
                    <a:pt x="422" y="12"/>
                  </a:lnTo>
                  <a:lnTo>
                    <a:pt x="420" y="12"/>
                  </a:lnTo>
                  <a:lnTo>
                    <a:pt x="420" y="10"/>
                  </a:lnTo>
                  <a:lnTo>
                    <a:pt x="420" y="8"/>
                  </a:lnTo>
                  <a:lnTo>
                    <a:pt x="418" y="6"/>
                  </a:lnTo>
                  <a:lnTo>
                    <a:pt x="413" y="6"/>
                  </a:lnTo>
                  <a:lnTo>
                    <a:pt x="411" y="4"/>
                  </a:lnTo>
                  <a:lnTo>
                    <a:pt x="409" y="4"/>
                  </a:lnTo>
                  <a:lnTo>
                    <a:pt x="409" y="4"/>
                  </a:lnTo>
                  <a:lnTo>
                    <a:pt x="407" y="2"/>
                  </a:lnTo>
                  <a:lnTo>
                    <a:pt x="405" y="0"/>
                  </a:lnTo>
                  <a:lnTo>
                    <a:pt x="403" y="0"/>
                  </a:lnTo>
                  <a:lnTo>
                    <a:pt x="401" y="0"/>
                  </a:lnTo>
                  <a:lnTo>
                    <a:pt x="393" y="6"/>
                  </a:lnTo>
                  <a:lnTo>
                    <a:pt x="391" y="6"/>
                  </a:lnTo>
                  <a:lnTo>
                    <a:pt x="385" y="2"/>
                  </a:lnTo>
                  <a:lnTo>
                    <a:pt x="385" y="2"/>
                  </a:lnTo>
                  <a:lnTo>
                    <a:pt x="383" y="0"/>
                  </a:lnTo>
                  <a:lnTo>
                    <a:pt x="383" y="0"/>
                  </a:lnTo>
                  <a:lnTo>
                    <a:pt x="381" y="0"/>
                  </a:lnTo>
                  <a:lnTo>
                    <a:pt x="381" y="0"/>
                  </a:lnTo>
                  <a:lnTo>
                    <a:pt x="379" y="0"/>
                  </a:lnTo>
                  <a:lnTo>
                    <a:pt x="379" y="2"/>
                  </a:lnTo>
                  <a:lnTo>
                    <a:pt x="375" y="6"/>
                  </a:lnTo>
                  <a:lnTo>
                    <a:pt x="372" y="6"/>
                  </a:lnTo>
                  <a:lnTo>
                    <a:pt x="370" y="10"/>
                  </a:lnTo>
                  <a:lnTo>
                    <a:pt x="370" y="12"/>
                  </a:lnTo>
                  <a:lnTo>
                    <a:pt x="375" y="14"/>
                  </a:lnTo>
                  <a:lnTo>
                    <a:pt x="375" y="17"/>
                  </a:lnTo>
                  <a:lnTo>
                    <a:pt x="377" y="19"/>
                  </a:lnTo>
                  <a:lnTo>
                    <a:pt x="375" y="21"/>
                  </a:lnTo>
                  <a:lnTo>
                    <a:pt x="372" y="25"/>
                  </a:lnTo>
                  <a:lnTo>
                    <a:pt x="372" y="25"/>
                  </a:lnTo>
                  <a:lnTo>
                    <a:pt x="372" y="27"/>
                  </a:lnTo>
                  <a:lnTo>
                    <a:pt x="375" y="27"/>
                  </a:lnTo>
                  <a:lnTo>
                    <a:pt x="379" y="27"/>
                  </a:lnTo>
                  <a:lnTo>
                    <a:pt x="381" y="27"/>
                  </a:lnTo>
                  <a:lnTo>
                    <a:pt x="381" y="29"/>
                  </a:lnTo>
                  <a:lnTo>
                    <a:pt x="379" y="31"/>
                  </a:lnTo>
                  <a:lnTo>
                    <a:pt x="379" y="31"/>
                  </a:lnTo>
                  <a:lnTo>
                    <a:pt x="379" y="35"/>
                  </a:lnTo>
                  <a:lnTo>
                    <a:pt x="381" y="37"/>
                  </a:lnTo>
                  <a:lnTo>
                    <a:pt x="379" y="39"/>
                  </a:lnTo>
                  <a:lnTo>
                    <a:pt x="372" y="39"/>
                  </a:lnTo>
                  <a:lnTo>
                    <a:pt x="368" y="39"/>
                  </a:lnTo>
                  <a:lnTo>
                    <a:pt x="364" y="41"/>
                  </a:lnTo>
                  <a:lnTo>
                    <a:pt x="352" y="51"/>
                  </a:lnTo>
                  <a:lnTo>
                    <a:pt x="350" y="53"/>
                  </a:lnTo>
                  <a:lnTo>
                    <a:pt x="348" y="51"/>
                  </a:lnTo>
                  <a:lnTo>
                    <a:pt x="344" y="49"/>
                  </a:lnTo>
                  <a:lnTo>
                    <a:pt x="342" y="47"/>
                  </a:lnTo>
                  <a:lnTo>
                    <a:pt x="338" y="49"/>
                  </a:lnTo>
                  <a:lnTo>
                    <a:pt x="327" y="51"/>
                  </a:lnTo>
                  <a:lnTo>
                    <a:pt x="325" y="51"/>
                  </a:lnTo>
                  <a:lnTo>
                    <a:pt x="327" y="53"/>
                  </a:lnTo>
                  <a:lnTo>
                    <a:pt x="327" y="55"/>
                  </a:lnTo>
                  <a:lnTo>
                    <a:pt x="327" y="58"/>
                  </a:lnTo>
                  <a:lnTo>
                    <a:pt x="329" y="64"/>
                  </a:lnTo>
                  <a:lnTo>
                    <a:pt x="332" y="68"/>
                  </a:lnTo>
                  <a:lnTo>
                    <a:pt x="332" y="70"/>
                  </a:lnTo>
                  <a:lnTo>
                    <a:pt x="332" y="72"/>
                  </a:lnTo>
                  <a:lnTo>
                    <a:pt x="327" y="76"/>
                  </a:lnTo>
                  <a:lnTo>
                    <a:pt x="325" y="78"/>
                  </a:lnTo>
                  <a:lnTo>
                    <a:pt x="325" y="80"/>
                  </a:lnTo>
                  <a:lnTo>
                    <a:pt x="323" y="80"/>
                  </a:lnTo>
                  <a:lnTo>
                    <a:pt x="321" y="82"/>
                  </a:lnTo>
                  <a:lnTo>
                    <a:pt x="319" y="82"/>
                  </a:lnTo>
                  <a:lnTo>
                    <a:pt x="317" y="84"/>
                  </a:lnTo>
                  <a:lnTo>
                    <a:pt x="315" y="94"/>
                  </a:lnTo>
                  <a:lnTo>
                    <a:pt x="315" y="99"/>
                  </a:lnTo>
                  <a:lnTo>
                    <a:pt x="311" y="101"/>
                  </a:lnTo>
                  <a:lnTo>
                    <a:pt x="311" y="103"/>
                  </a:lnTo>
                  <a:lnTo>
                    <a:pt x="307" y="105"/>
                  </a:lnTo>
                  <a:lnTo>
                    <a:pt x="307" y="105"/>
                  </a:lnTo>
                  <a:lnTo>
                    <a:pt x="305" y="103"/>
                  </a:lnTo>
                  <a:lnTo>
                    <a:pt x="305" y="103"/>
                  </a:lnTo>
                  <a:lnTo>
                    <a:pt x="305" y="103"/>
                  </a:lnTo>
                  <a:lnTo>
                    <a:pt x="303" y="103"/>
                  </a:lnTo>
                  <a:lnTo>
                    <a:pt x="301" y="103"/>
                  </a:lnTo>
                  <a:lnTo>
                    <a:pt x="301" y="105"/>
                  </a:lnTo>
                  <a:lnTo>
                    <a:pt x="299" y="109"/>
                  </a:lnTo>
                  <a:lnTo>
                    <a:pt x="299" y="109"/>
                  </a:lnTo>
                  <a:lnTo>
                    <a:pt x="297" y="111"/>
                  </a:lnTo>
                  <a:lnTo>
                    <a:pt x="297" y="113"/>
                  </a:lnTo>
                  <a:lnTo>
                    <a:pt x="297" y="115"/>
                  </a:lnTo>
                  <a:lnTo>
                    <a:pt x="297" y="117"/>
                  </a:lnTo>
                  <a:lnTo>
                    <a:pt x="297" y="127"/>
                  </a:lnTo>
                  <a:lnTo>
                    <a:pt x="297" y="131"/>
                  </a:lnTo>
                  <a:lnTo>
                    <a:pt x="295" y="131"/>
                  </a:lnTo>
                  <a:lnTo>
                    <a:pt x="295" y="133"/>
                  </a:lnTo>
                  <a:lnTo>
                    <a:pt x="295" y="133"/>
                  </a:lnTo>
                  <a:lnTo>
                    <a:pt x="293" y="133"/>
                  </a:lnTo>
                  <a:lnTo>
                    <a:pt x="289" y="135"/>
                  </a:lnTo>
                  <a:lnTo>
                    <a:pt x="289" y="135"/>
                  </a:lnTo>
                  <a:lnTo>
                    <a:pt x="286" y="137"/>
                  </a:lnTo>
                  <a:lnTo>
                    <a:pt x="286" y="139"/>
                  </a:lnTo>
                  <a:lnTo>
                    <a:pt x="284" y="137"/>
                  </a:lnTo>
                  <a:lnTo>
                    <a:pt x="280" y="135"/>
                  </a:lnTo>
                  <a:lnTo>
                    <a:pt x="278" y="135"/>
                  </a:lnTo>
                  <a:lnTo>
                    <a:pt x="274" y="135"/>
                  </a:lnTo>
                  <a:lnTo>
                    <a:pt x="272" y="133"/>
                  </a:lnTo>
                  <a:lnTo>
                    <a:pt x="270" y="133"/>
                  </a:lnTo>
                  <a:lnTo>
                    <a:pt x="268" y="131"/>
                  </a:lnTo>
                  <a:lnTo>
                    <a:pt x="266" y="131"/>
                  </a:lnTo>
                  <a:lnTo>
                    <a:pt x="264" y="129"/>
                  </a:lnTo>
                  <a:lnTo>
                    <a:pt x="264" y="127"/>
                  </a:lnTo>
                  <a:lnTo>
                    <a:pt x="264" y="123"/>
                  </a:lnTo>
                  <a:lnTo>
                    <a:pt x="264" y="121"/>
                  </a:lnTo>
                  <a:lnTo>
                    <a:pt x="258" y="119"/>
                  </a:lnTo>
                  <a:lnTo>
                    <a:pt x="258" y="119"/>
                  </a:lnTo>
                  <a:lnTo>
                    <a:pt x="256" y="119"/>
                  </a:lnTo>
                  <a:lnTo>
                    <a:pt x="254" y="119"/>
                  </a:lnTo>
                  <a:lnTo>
                    <a:pt x="256" y="121"/>
                  </a:lnTo>
                  <a:lnTo>
                    <a:pt x="258" y="123"/>
                  </a:lnTo>
                  <a:lnTo>
                    <a:pt x="260" y="123"/>
                  </a:lnTo>
                  <a:lnTo>
                    <a:pt x="260" y="123"/>
                  </a:lnTo>
                  <a:lnTo>
                    <a:pt x="258" y="125"/>
                  </a:lnTo>
                  <a:lnTo>
                    <a:pt x="256" y="127"/>
                  </a:lnTo>
                  <a:lnTo>
                    <a:pt x="254" y="127"/>
                  </a:lnTo>
                  <a:lnTo>
                    <a:pt x="252" y="127"/>
                  </a:lnTo>
                  <a:lnTo>
                    <a:pt x="252" y="127"/>
                  </a:lnTo>
                  <a:lnTo>
                    <a:pt x="252" y="125"/>
                  </a:lnTo>
                  <a:lnTo>
                    <a:pt x="250" y="125"/>
                  </a:lnTo>
                  <a:lnTo>
                    <a:pt x="250" y="125"/>
                  </a:lnTo>
                  <a:lnTo>
                    <a:pt x="250" y="127"/>
                  </a:lnTo>
                  <a:lnTo>
                    <a:pt x="250" y="127"/>
                  </a:lnTo>
                  <a:lnTo>
                    <a:pt x="252" y="129"/>
                  </a:lnTo>
                  <a:lnTo>
                    <a:pt x="252" y="131"/>
                  </a:lnTo>
                  <a:lnTo>
                    <a:pt x="252" y="133"/>
                  </a:lnTo>
                  <a:lnTo>
                    <a:pt x="250" y="133"/>
                  </a:lnTo>
                  <a:lnTo>
                    <a:pt x="248" y="135"/>
                  </a:lnTo>
                  <a:lnTo>
                    <a:pt x="245" y="135"/>
                  </a:lnTo>
                  <a:lnTo>
                    <a:pt x="245" y="137"/>
                  </a:lnTo>
                  <a:lnTo>
                    <a:pt x="245" y="139"/>
                  </a:lnTo>
                  <a:lnTo>
                    <a:pt x="245" y="146"/>
                  </a:lnTo>
                  <a:lnTo>
                    <a:pt x="245" y="148"/>
                  </a:lnTo>
                  <a:lnTo>
                    <a:pt x="245" y="148"/>
                  </a:lnTo>
                  <a:lnTo>
                    <a:pt x="241" y="150"/>
                  </a:lnTo>
                  <a:lnTo>
                    <a:pt x="241" y="152"/>
                  </a:lnTo>
                  <a:lnTo>
                    <a:pt x="241" y="154"/>
                  </a:lnTo>
                  <a:lnTo>
                    <a:pt x="241" y="156"/>
                  </a:lnTo>
                  <a:lnTo>
                    <a:pt x="239" y="158"/>
                  </a:lnTo>
                  <a:lnTo>
                    <a:pt x="237" y="158"/>
                  </a:lnTo>
                  <a:lnTo>
                    <a:pt x="235" y="156"/>
                  </a:lnTo>
                  <a:lnTo>
                    <a:pt x="235" y="156"/>
                  </a:lnTo>
                  <a:lnTo>
                    <a:pt x="237" y="152"/>
                  </a:lnTo>
                  <a:lnTo>
                    <a:pt x="235" y="152"/>
                  </a:lnTo>
                  <a:lnTo>
                    <a:pt x="231" y="154"/>
                  </a:lnTo>
                  <a:lnTo>
                    <a:pt x="229" y="154"/>
                  </a:lnTo>
                  <a:lnTo>
                    <a:pt x="225" y="152"/>
                  </a:lnTo>
                  <a:lnTo>
                    <a:pt x="223" y="150"/>
                  </a:lnTo>
                  <a:lnTo>
                    <a:pt x="223" y="146"/>
                  </a:lnTo>
                  <a:lnTo>
                    <a:pt x="221" y="144"/>
                  </a:lnTo>
                  <a:lnTo>
                    <a:pt x="217" y="146"/>
                  </a:lnTo>
                  <a:lnTo>
                    <a:pt x="215" y="150"/>
                  </a:lnTo>
                  <a:lnTo>
                    <a:pt x="213" y="152"/>
                  </a:lnTo>
                  <a:lnTo>
                    <a:pt x="213" y="152"/>
                  </a:lnTo>
                  <a:lnTo>
                    <a:pt x="207" y="152"/>
                  </a:lnTo>
                  <a:lnTo>
                    <a:pt x="205" y="154"/>
                  </a:lnTo>
                  <a:lnTo>
                    <a:pt x="205" y="154"/>
                  </a:lnTo>
                  <a:lnTo>
                    <a:pt x="205" y="156"/>
                  </a:lnTo>
                  <a:lnTo>
                    <a:pt x="202" y="158"/>
                  </a:lnTo>
                  <a:lnTo>
                    <a:pt x="200" y="164"/>
                  </a:lnTo>
                  <a:lnTo>
                    <a:pt x="200" y="168"/>
                  </a:lnTo>
                  <a:lnTo>
                    <a:pt x="198" y="170"/>
                  </a:lnTo>
                  <a:lnTo>
                    <a:pt x="196" y="168"/>
                  </a:lnTo>
                  <a:lnTo>
                    <a:pt x="196" y="168"/>
                  </a:lnTo>
                  <a:lnTo>
                    <a:pt x="194" y="166"/>
                  </a:lnTo>
                  <a:lnTo>
                    <a:pt x="194" y="166"/>
                  </a:lnTo>
                  <a:lnTo>
                    <a:pt x="194" y="164"/>
                  </a:lnTo>
                  <a:lnTo>
                    <a:pt x="192" y="164"/>
                  </a:lnTo>
                  <a:lnTo>
                    <a:pt x="192" y="164"/>
                  </a:lnTo>
                  <a:lnTo>
                    <a:pt x="190" y="164"/>
                  </a:lnTo>
                  <a:lnTo>
                    <a:pt x="188" y="164"/>
                  </a:lnTo>
                  <a:lnTo>
                    <a:pt x="188" y="162"/>
                  </a:lnTo>
                  <a:lnTo>
                    <a:pt x="184" y="162"/>
                  </a:lnTo>
                  <a:lnTo>
                    <a:pt x="178" y="160"/>
                  </a:lnTo>
                  <a:lnTo>
                    <a:pt x="178" y="158"/>
                  </a:lnTo>
                  <a:lnTo>
                    <a:pt x="176" y="158"/>
                  </a:lnTo>
                  <a:lnTo>
                    <a:pt x="174" y="156"/>
                  </a:lnTo>
                  <a:lnTo>
                    <a:pt x="172" y="156"/>
                  </a:lnTo>
                  <a:lnTo>
                    <a:pt x="170" y="156"/>
                  </a:lnTo>
                  <a:lnTo>
                    <a:pt x="166" y="158"/>
                  </a:lnTo>
                  <a:lnTo>
                    <a:pt x="164" y="160"/>
                  </a:lnTo>
                  <a:lnTo>
                    <a:pt x="159" y="160"/>
                  </a:lnTo>
                  <a:lnTo>
                    <a:pt x="155" y="158"/>
                  </a:lnTo>
                  <a:lnTo>
                    <a:pt x="155" y="156"/>
                  </a:lnTo>
                  <a:lnTo>
                    <a:pt x="155" y="156"/>
                  </a:lnTo>
                  <a:lnTo>
                    <a:pt x="155" y="154"/>
                  </a:lnTo>
                  <a:lnTo>
                    <a:pt x="153" y="154"/>
                  </a:lnTo>
                  <a:lnTo>
                    <a:pt x="153" y="154"/>
                  </a:lnTo>
                  <a:lnTo>
                    <a:pt x="153" y="156"/>
                  </a:lnTo>
                  <a:lnTo>
                    <a:pt x="153" y="156"/>
                  </a:lnTo>
                  <a:lnTo>
                    <a:pt x="153" y="158"/>
                  </a:lnTo>
                  <a:lnTo>
                    <a:pt x="155" y="162"/>
                  </a:lnTo>
                  <a:lnTo>
                    <a:pt x="155" y="164"/>
                  </a:lnTo>
                  <a:lnTo>
                    <a:pt x="155" y="166"/>
                  </a:lnTo>
                  <a:lnTo>
                    <a:pt x="153" y="170"/>
                  </a:lnTo>
                  <a:lnTo>
                    <a:pt x="151" y="170"/>
                  </a:lnTo>
                  <a:lnTo>
                    <a:pt x="149" y="170"/>
                  </a:lnTo>
                  <a:lnTo>
                    <a:pt x="149" y="168"/>
                  </a:lnTo>
                  <a:lnTo>
                    <a:pt x="149" y="164"/>
                  </a:lnTo>
                  <a:lnTo>
                    <a:pt x="149" y="164"/>
                  </a:lnTo>
                  <a:lnTo>
                    <a:pt x="147" y="162"/>
                  </a:lnTo>
                  <a:lnTo>
                    <a:pt x="147" y="162"/>
                  </a:lnTo>
                  <a:lnTo>
                    <a:pt x="145" y="164"/>
                  </a:lnTo>
                  <a:lnTo>
                    <a:pt x="145" y="164"/>
                  </a:lnTo>
                  <a:lnTo>
                    <a:pt x="143" y="164"/>
                  </a:lnTo>
                  <a:lnTo>
                    <a:pt x="141" y="166"/>
                  </a:lnTo>
                  <a:lnTo>
                    <a:pt x="139" y="166"/>
                  </a:lnTo>
                  <a:lnTo>
                    <a:pt x="137" y="166"/>
                  </a:lnTo>
                  <a:lnTo>
                    <a:pt x="135" y="166"/>
                  </a:lnTo>
                  <a:lnTo>
                    <a:pt x="133" y="164"/>
                  </a:lnTo>
                  <a:lnTo>
                    <a:pt x="133" y="164"/>
                  </a:lnTo>
                  <a:lnTo>
                    <a:pt x="131" y="162"/>
                  </a:lnTo>
                  <a:lnTo>
                    <a:pt x="129" y="162"/>
                  </a:lnTo>
                  <a:lnTo>
                    <a:pt x="127" y="162"/>
                  </a:lnTo>
                  <a:lnTo>
                    <a:pt x="127" y="166"/>
                  </a:lnTo>
                  <a:lnTo>
                    <a:pt x="127" y="166"/>
                  </a:lnTo>
                  <a:lnTo>
                    <a:pt x="131" y="172"/>
                  </a:lnTo>
                  <a:lnTo>
                    <a:pt x="127" y="178"/>
                  </a:lnTo>
                  <a:lnTo>
                    <a:pt x="127" y="178"/>
                  </a:lnTo>
                  <a:lnTo>
                    <a:pt x="125" y="178"/>
                  </a:lnTo>
                  <a:lnTo>
                    <a:pt x="123" y="176"/>
                  </a:lnTo>
                  <a:lnTo>
                    <a:pt x="121" y="176"/>
                  </a:lnTo>
                  <a:lnTo>
                    <a:pt x="119" y="176"/>
                  </a:lnTo>
                  <a:lnTo>
                    <a:pt x="119" y="178"/>
                  </a:lnTo>
                  <a:lnTo>
                    <a:pt x="119" y="180"/>
                  </a:lnTo>
                  <a:lnTo>
                    <a:pt x="119" y="183"/>
                  </a:lnTo>
                  <a:lnTo>
                    <a:pt x="116" y="185"/>
                  </a:lnTo>
                  <a:lnTo>
                    <a:pt x="112" y="189"/>
                  </a:lnTo>
                  <a:lnTo>
                    <a:pt x="110" y="191"/>
                  </a:lnTo>
                  <a:lnTo>
                    <a:pt x="110" y="193"/>
                  </a:lnTo>
                  <a:lnTo>
                    <a:pt x="110" y="195"/>
                  </a:lnTo>
                  <a:lnTo>
                    <a:pt x="110" y="197"/>
                  </a:lnTo>
                  <a:lnTo>
                    <a:pt x="112" y="201"/>
                  </a:lnTo>
                  <a:lnTo>
                    <a:pt x="112" y="201"/>
                  </a:lnTo>
                  <a:lnTo>
                    <a:pt x="116" y="203"/>
                  </a:lnTo>
                  <a:lnTo>
                    <a:pt x="119" y="207"/>
                  </a:lnTo>
                  <a:lnTo>
                    <a:pt x="119" y="211"/>
                  </a:lnTo>
                  <a:lnTo>
                    <a:pt x="114" y="213"/>
                  </a:lnTo>
                  <a:lnTo>
                    <a:pt x="100" y="217"/>
                  </a:lnTo>
                  <a:lnTo>
                    <a:pt x="96" y="221"/>
                  </a:lnTo>
                  <a:lnTo>
                    <a:pt x="94" y="221"/>
                  </a:lnTo>
                  <a:lnTo>
                    <a:pt x="90" y="221"/>
                  </a:lnTo>
                  <a:lnTo>
                    <a:pt x="88" y="221"/>
                  </a:lnTo>
                  <a:lnTo>
                    <a:pt x="86" y="224"/>
                  </a:lnTo>
                  <a:lnTo>
                    <a:pt x="86" y="224"/>
                  </a:lnTo>
                  <a:lnTo>
                    <a:pt x="86" y="226"/>
                  </a:lnTo>
                  <a:lnTo>
                    <a:pt x="84" y="230"/>
                  </a:lnTo>
                  <a:lnTo>
                    <a:pt x="84" y="234"/>
                  </a:lnTo>
                  <a:lnTo>
                    <a:pt x="86" y="238"/>
                  </a:lnTo>
                  <a:lnTo>
                    <a:pt x="88" y="242"/>
                  </a:lnTo>
                  <a:lnTo>
                    <a:pt x="90" y="246"/>
                  </a:lnTo>
                  <a:lnTo>
                    <a:pt x="92" y="248"/>
                  </a:lnTo>
                  <a:lnTo>
                    <a:pt x="92" y="252"/>
                  </a:lnTo>
                  <a:lnTo>
                    <a:pt x="92" y="256"/>
                  </a:lnTo>
                  <a:lnTo>
                    <a:pt x="90" y="258"/>
                  </a:lnTo>
                  <a:lnTo>
                    <a:pt x="86" y="260"/>
                  </a:lnTo>
                  <a:lnTo>
                    <a:pt x="82" y="258"/>
                  </a:lnTo>
                  <a:lnTo>
                    <a:pt x="76" y="256"/>
                  </a:lnTo>
                  <a:lnTo>
                    <a:pt x="51" y="246"/>
                  </a:lnTo>
                  <a:lnTo>
                    <a:pt x="47" y="246"/>
                  </a:lnTo>
                  <a:lnTo>
                    <a:pt x="43" y="248"/>
                  </a:lnTo>
                  <a:lnTo>
                    <a:pt x="39" y="250"/>
                  </a:lnTo>
                  <a:lnTo>
                    <a:pt x="37" y="252"/>
                  </a:lnTo>
                  <a:lnTo>
                    <a:pt x="37" y="254"/>
                  </a:lnTo>
                  <a:lnTo>
                    <a:pt x="32" y="258"/>
                  </a:lnTo>
                  <a:lnTo>
                    <a:pt x="30" y="262"/>
                  </a:lnTo>
                  <a:lnTo>
                    <a:pt x="28" y="267"/>
                  </a:lnTo>
                  <a:lnTo>
                    <a:pt x="30" y="269"/>
                  </a:lnTo>
                  <a:lnTo>
                    <a:pt x="30" y="271"/>
                  </a:lnTo>
                  <a:lnTo>
                    <a:pt x="35" y="275"/>
                  </a:lnTo>
                  <a:lnTo>
                    <a:pt x="35" y="277"/>
                  </a:lnTo>
                  <a:lnTo>
                    <a:pt x="35" y="281"/>
                  </a:lnTo>
                  <a:lnTo>
                    <a:pt x="37" y="285"/>
                  </a:lnTo>
                  <a:lnTo>
                    <a:pt x="37" y="285"/>
                  </a:lnTo>
                  <a:lnTo>
                    <a:pt x="35" y="287"/>
                  </a:lnTo>
                  <a:lnTo>
                    <a:pt x="35" y="287"/>
                  </a:lnTo>
                  <a:lnTo>
                    <a:pt x="35" y="289"/>
                  </a:lnTo>
                  <a:lnTo>
                    <a:pt x="35" y="289"/>
                  </a:lnTo>
                  <a:lnTo>
                    <a:pt x="35" y="291"/>
                  </a:lnTo>
                  <a:lnTo>
                    <a:pt x="37" y="295"/>
                  </a:lnTo>
                  <a:lnTo>
                    <a:pt x="37" y="297"/>
                  </a:lnTo>
                  <a:lnTo>
                    <a:pt x="37" y="301"/>
                  </a:lnTo>
                  <a:lnTo>
                    <a:pt x="32" y="310"/>
                  </a:lnTo>
                  <a:lnTo>
                    <a:pt x="32" y="316"/>
                  </a:lnTo>
                  <a:lnTo>
                    <a:pt x="30" y="318"/>
                  </a:lnTo>
                  <a:lnTo>
                    <a:pt x="28" y="320"/>
                  </a:lnTo>
                  <a:lnTo>
                    <a:pt x="24" y="318"/>
                  </a:lnTo>
                  <a:lnTo>
                    <a:pt x="22" y="318"/>
                  </a:lnTo>
                  <a:lnTo>
                    <a:pt x="20" y="314"/>
                  </a:lnTo>
                  <a:lnTo>
                    <a:pt x="18" y="314"/>
                  </a:lnTo>
                  <a:lnTo>
                    <a:pt x="16" y="314"/>
                  </a:lnTo>
                  <a:lnTo>
                    <a:pt x="16" y="314"/>
                  </a:lnTo>
                  <a:lnTo>
                    <a:pt x="16" y="316"/>
                  </a:lnTo>
                  <a:lnTo>
                    <a:pt x="14" y="320"/>
                  </a:lnTo>
                  <a:lnTo>
                    <a:pt x="14" y="322"/>
                  </a:lnTo>
                  <a:lnTo>
                    <a:pt x="14" y="328"/>
                  </a:lnTo>
                  <a:lnTo>
                    <a:pt x="14" y="328"/>
                  </a:lnTo>
                  <a:lnTo>
                    <a:pt x="28" y="326"/>
                  </a:lnTo>
                  <a:lnTo>
                    <a:pt x="43" y="326"/>
                  </a:lnTo>
                  <a:lnTo>
                    <a:pt x="59" y="324"/>
                  </a:lnTo>
                  <a:lnTo>
                    <a:pt x="73" y="322"/>
                  </a:lnTo>
                  <a:lnTo>
                    <a:pt x="88" y="322"/>
                  </a:lnTo>
                  <a:lnTo>
                    <a:pt x="104" y="320"/>
                  </a:lnTo>
                  <a:lnTo>
                    <a:pt x="119" y="318"/>
                  </a:lnTo>
                  <a:lnTo>
                    <a:pt x="133" y="316"/>
                  </a:lnTo>
                  <a:lnTo>
                    <a:pt x="133" y="314"/>
                  </a:lnTo>
                  <a:lnTo>
                    <a:pt x="133" y="310"/>
                  </a:lnTo>
                  <a:lnTo>
                    <a:pt x="133" y="308"/>
                  </a:lnTo>
                  <a:lnTo>
                    <a:pt x="131" y="303"/>
                  </a:lnTo>
                  <a:lnTo>
                    <a:pt x="129" y="297"/>
                  </a:lnTo>
                  <a:lnTo>
                    <a:pt x="129" y="297"/>
                  </a:lnTo>
                  <a:lnTo>
                    <a:pt x="129" y="295"/>
                  </a:lnTo>
                  <a:lnTo>
                    <a:pt x="129" y="295"/>
                  </a:lnTo>
                  <a:lnTo>
                    <a:pt x="129" y="295"/>
                  </a:lnTo>
                  <a:lnTo>
                    <a:pt x="135" y="295"/>
                  </a:lnTo>
                  <a:lnTo>
                    <a:pt x="141" y="295"/>
                  </a:lnTo>
                  <a:lnTo>
                    <a:pt x="147" y="295"/>
                  </a:lnTo>
                  <a:lnTo>
                    <a:pt x="147" y="295"/>
                  </a:lnTo>
                  <a:lnTo>
                    <a:pt x="147" y="297"/>
                  </a:lnTo>
                  <a:lnTo>
                    <a:pt x="149" y="297"/>
                  </a:lnTo>
                  <a:lnTo>
                    <a:pt x="149" y="299"/>
                  </a:lnTo>
                  <a:lnTo>
                    <a:pt x="149" y="299"/>
                  </a:lnTo>
                  <a:lnTo>
                    <a:pt x="149" y="299"/>
                  </a:lnTo>
                  <a:lnTo>
                    <a:pt x="153" y="297"/>
                  </a:lnTo>
                  <a:lnTo>
                    <a:pt x="155" y="297"/>
                  </a:lnTo>
                  <a:lnTo>
                    <a:pt x="157" y="297"/>
                  </a:lnTo>
                  <a:lnTo>
                    <a:pt x="164" y="297"/>
                  </a:lnTo>
                  <a:lnTo>
                    <a:pt x="170" y="295"/>
                  </a:lnTo>
                  <a:lnTo>
                    <a:pt x="178" y="295"/>
                  </a:lnTo>
                  <a:lnTo>
                    <a:pt x="186" y="293"/>
                  </a:lnTo>
                  <a:lnTo>
                    <a:pt x="196" y="293"/>
                  </a:lnTo>
                  <a:lnTo>
                    <a:pt x="205" y="291"/>
                  </a:lnTo>
                  <a:lnTo>
                    <a:pt x="215" y="291"/>
                  </a:lnTo>
                  <a:lnTo>
                    <a:pt x="225" y="289"/>
                  </a:lnTo>
                  <a:lnTo>
                    <a:pt x="233" y="289"/>
                  </a:lnTo>
                  <a:lnTo>
                    <a:pt x="241" y="287"/>
                  </a:lnTo>
                  <a:lnTo>
                    <a:pt x="248" y="287"/>
                  </a:lnTo>
                  <a:lnTo>
                    <a:pt x="252" y="285"/>
                  </a:lnTo>
                  <a:lnTo>
                    <a:pt x="256" y="285"/>
                  </a:lnTo>
                  <a:lnTo>
                    <a:pt x="258" y="285"/>
                  </a:lnTo>
                  <a:lnTo>
                    <a:pt x="260" y="285"/>
                  </a:lnTo>
                  <a:lnTo>
                    <a:pt x="264" y="283"/>
                  </a:lnTo>
                  <a:lnTo>
                    <a:pt x="264" y="283"/>
                  </a:lnTo>
                  <a:lnTo>
                    <a:pt x="268" y="283"/>
                  </a:lnTo>
                  <a:lnTo>
                    <a:pt x="270" y="283"/>
                  </a:lnTo>
                  <a:lnTo>
                    <a:pt x="278" y="283"/>
                  </a:lnTo>
                  <a:lnTo>
                    <a:pt x="291" y="281"/>
                  </a:lnTo>
                  <a:lnTo>
                    <a:pt x="305" y="279"/>
                  </a:lnTo>
                  <a:lnTo>
                    <a:pt x="321" y="279"/>
                  </a:lnTo>
                  <a:lnTo>
                    <a:pt x="342" y="277"/>
                  </a:lnTo>
                  <a:lnTo>
                    <a:pt x="362" y="275"/>
                  </a:lnTo>
                  <a:lnTo>
                    <a:pt x="385" y="273"/>
                  </a:lnTo>
                  <a:lnTo>
                    <a:pt x="407" y="271"/>
                  </a:lnTo>
                  <a:lnTo>
                    <a:pt x="428" y="267"/>
                  </a:lnTo>
                  <a:lnTo>
                    <a:pt x="446" y="265"/>
                  </a:lnTo>
                  <a:lnTo>
                    <a:pt x="465" y="265"/>
                  </a:lnTo>
                  <a:lnTo>
                    <a:pt x="479" y="262"/>
                  </a:lnTo>
                  <a:lnTo>
                    <a:pt x="491" y="260"/>
                  </a:lnTo>
                  <a:lnTo>
                    <a:pt x="497" y="260"/>
                  </a:lnTo>
                  <a:lnTo>
                    <a:pt x="502" y="260"/>
                  </a:lnTo>
                  <a:lnTo>
                    <a:pt x="506" y="258"/>
                  </a:lnTo>
                  <a:lnTo>
                    <a:pt x="508" y="258"/>
                  </a:lnTo>
                  <a:lnTo>
                    <a:pt x="510" y="256"/>
                  </a:lnTo>
                  <a:lnTo>
                    <a:pt x="514" y="252"/>
                  </a:lnTo>
                  <a:lnTo>
                    <a:pt x="516" y="252"/>
                  </a:lnTo>
                  <a:lnTo>
                    <a:pt x="516" y="252"/>
                  </a:lnTo>
                  <a:lnTo>
                    <a:pt x="522" y="248"/>
                  </a:lnTo>
                  <a:lnTo>
                    <a:pt x="530" y="246"/>
                  </a:lnTo>
                  <a:lnTo>
                    <a:pt x="532" y="244"/>
                  </a:lnTo>
                  <a:lnTo>
                    <a:pt x="532" y="244"/>
                  </a:lnTo>
                  <a:lnTo>
                    <a:pt x="534" y="244"/>
                  </a:lnTo>
                  <a:lnTo>
                    <a:pt x="536" y="240"/>
                  </a:lnTo>
                  <a:lnTo>
                    <a:pt x="545" y="236"/>
                  </a:lnTo>
                  <a:lnTo>
                    <a:pt x="553" y="234"/>
                  </a:lnTo>
                  <a:lnTo>
                    <a:pt x="555" y="234"/>
                  </a:lnTo>
                  <a:lnTo>
                    <a:pt x="555" y="234"/>
                  </a:lnTo>
                  <a:lnTo>
                    <a:pt x="555" y="232"/>
                  </a:lnTo>
                  <a:lnTo>
                    <a:pt x="555" y="232"/>
                  </a:lnTo>
                  <a:lnTo>
                    <a:pt x="555" y="232"/>
                  </a:lnTo>
                  <a:lnTo>
                    <a:pt x="555" y="230"/>
                  </a:lnTo>
                  <a:lnTo>
                    <a:pt x="555" y="230"/>
                  </a:lnTo>
                  <a:lnTo>
                    <a:pt x="555" y="230"/>
                  </a:lnTo>
                  <a:lnTo>
                    <a:pt x="557" y="228"/>
                  </a:lnTo>
                  <a:lnTo>
                    <a:pt x="557" y="224"/>
                  </a:lnTo>
                  <a:lnTo>
                    <a:pt x="559" y="221"/>
                  </a:lnTo>
                  <a:lnTo>
                    <a:pt x="559" y="221"/>
                  </a:lnTo>
                  <a:lnTo>
                    <a:pt x="559" y="221"/>
                  </a:lnTo>
                  <a:lnTo>
                    <a:pt x="563" y="221"/>
                  </a:lnTo>
                  <a:lnTo>
                    <a:pt x="567" y="217"/>
                  </a:lnTo>
                  <a:lnTo>
                    <a:pt x="573" y="215"/>
                  </a:lnTo>
                  <a:lnTo>
                    <a:pt x="573" y="215"/>
                  </a:lnTo>
                  <a:lnTo>
                    <a:pt x="575" y="213"/>
                  </a:lnTo>
                  <a:lnTo>
                    <a:pt x="575" y="213"/>
                  </a:lnTo>
                  <a:lnTo>
                    <a:pt x="575" y="213"/>
                  </a:lnTo>
                  <a:lnTo>
                    <a:pt x="575" y="211"/>
                  </a:lnTo>
                  <a:lnTo>
                    <a:pt x="575" y="211"/>
                  </a:lnTo>
                  <a:lnTo>
                    <a:pt x="575" y="209"/>
                  </a:lnTo>
                  <a:lnTo>
                    <a:pt x="575" y="209"/>
                  </a:lnTo>
                  <a:lnTo>
                    <a:pt x="575" y="209"/>
                  </a:lnTo>
                  <a:lnTo>
                    <a:pt x="573" y="207"/>
                  </a:lnTo>
                  <a:lnTo>
                    <a:pt x="575" y="205"/>
                  </a:lnTo>
                  <a:lnTo>
                    <a:pt x="575" y="205"/>
                  </a:lnTo>
                  <a:lnTo>
                    <a:pt x="577" y="203"/>
                  </a:lnTo>
                  <a:lnTo>
                    <a:pt x="583" y="197"/>
                  </a:lnTo>
                  <a:lnTo>
                    <a:pt x="585" y="197"/>
                  </a:lnTo>
                  <a:lnTo>
                    <a:pt x="585" y="197"/>
                  </a:lnTo>
                  <a:lnTo>
                    <a:pt x="585" y="197"/>
                  </a:lnTo>
                  <a:lnTo>
                    <a:pt x="585" y="195"/>
                  </a:lnTo>
                  <a:lnTo>
                    <a:pt x="585" y="195"/>
                  </a:lnTo>
                  <a:lnTo>
                    <a:pt x="585" y="195"/>
                  </a:lnTo>
                  <a:lnTo>
                    <a:pt x="585" y="193"/>
                  </a:lnTo>
                  <a:lnTo>
                    <a:pt x="585" y="191"/>
                  </a:lnTo>
                  <a:lnTo>
                    <a:pt x="583" y="189"/>
                  </a:lnTo>
                  <a:lnTo>
                    <a:pt x="585" y="189"/>
                  </a:lnTo>
                  <a:lnTo>
                    <a:pt x="585" y="187"/>
                  </a:lnTo>
                  <a:lnTo>
                    <a:pt x="590" y="183"/>
                  </a:lnTo>
                  <a:lnTo>
                    <a:pt x="598" y="176"/>
                  </a:lnTo>
                  <a:lnTo>
                    <a:pt x="604" y="172"/>
                  </a:lnTo>
                  <a:lnTo>
                    <a:pt x="610" y="168"/>
                  </a:lnTo>
                  <a:lnTo>
                    <a:pt x="612" y="168"/>
                  </a:lnTo>
                  <a:lnTo>
                    <a:pt x="618" y="160"/>
                  </a:lnTo>
                  <a:lnTo>
                    <a:pt x="626" y="152"/>
                  </a:lnTo>
                  <a:lnTo>
                    <a:pt x="631" y="146"/>
                  </a:lnTo>
                  <a:lnTo>
                    <a:pt x="637" y="139"/>
                  </a:lnTo>
                  <a:lnTo>
                    <a:pt x="641" y="133"/>
                  </a:lnTo>
                  <a:lnTo>
                    <a:pt x="639" y="133"/>
                  </a:lnTo>
                  <a:close/>
                  <a:moveTo>
                    <a:pt x="4" y="322"/>
                  </a:moveTo>
                  <a:lnTo>
                    <a:pt x="0" y="324"/>
                  </a:lnTo>
                  <a:lnTo>
                    <a:pt x="0" y="328"/>
                  </a:lnTo>
                  <a:lnTo>
                    <a:pt x="2" y="328"/>
                  </a:lnTo>
                  <a:lnTo>
                    <a:pt x="2" y="330"/>
                  </a:lnTo>
                  <a:lnTo>
                    <a:pt x="8" y="328"/>
                  </a:lnTo>
                  <a:lnTo>
                    <a:pt x="8" y="328"/>
                  </a:lnTo>
                  <a:lnTo>
                    <a:pt x="6" y="324"/>
                  </a:lnTo>
                  <a:lnTo>
                    <a:pt x="4" y="322"/>
                  </a:lnTo>
                  <a:close/>
                </a:path>
              </a:pathLst>
            </a:custGeom>
            <a:solidFill>
              <a:schemeClr val="tx1"/>
            </a:solidFill>
            <a:ln w="3175" cap="rnd">
              <a:solidFill>
                <a:schemeClr val="bg1"/>
              </a:solidFill>
              <a:prstDash val="solid"/>
              <a:round/>
              <a:headEnd/>
              <a:tailEnd/>
            </a:ln>
          </p:spPr>
          <p:txBody>
            <a:bodyPr vert="horz" wrap="square" lIns="144000" tIns="9600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KY</a:t>
              </a:r>
            </a:p>
          </p:txBody>
        </p:sp>
        <p:sp>
          <p:nvSpPr>
            <p:cNvPr id="328" name="Freeform 39">
              <a:extLst>
                <a:ext uri="{FF2B5EF4-FFF2-40B4-BE49-F238E27FC236}">
                  <a16:creationId xmlns:a16="http://schemas.microsoft.com/office/drawing/2014/main" id="{8364D696-FF60-85B0-1438-C7F4D3DDBDD5}"/>
                </a:ext>
              </a:extLst>
            </p:cNvPr>
            <p:cNvSpPr>
              <a:spLocks/>
            </p:cNvSpPr>
            <p:nvPr/>
          </p:nvSpPr>
          <p:spPr bwMode="auto">
            <a:xfrm>
              <a:off x="2551" y="1113"/>
              <a:ext cx="641" cy="330"/>
            </a:xfrm>
            <a:custGeom>
              <a:avLst/>
              <a:gdLst>
                <a:gd name="T0" fmla="*/ 582 w 641"/>
                <a:gd name="T1" fmla="*/ 322 h 330"/>
                <a:gd name="T2" fmla="*/ 502 w 641"/>
                <a:gd name="T3" fmla="*/ 326 h 330"/>
                <a:gd name="T4" fmla="*/ 420 w 641"/>
                <a:gd name="T5" fmla="*/ 328 h 330"/>
                <a:gd name="T6" fmla="*/ 340 w 641"/>
                <a:gd name="T7" fmla="*/ 330 h 330"/>
                <a:gd name="T8" fmla="*/ 260 w 641"/>
                <a:gd name="T9" fmla="*/ 330 h 330"/>
                <a:gd name="T10" fmla="*/ 181 w 641"/>
                <a:gd name="T11" fmla="*/ 330 h 330"/>
                <a:gd name="T12" fmla="*/ 101 w 641"/>
                <a:gd name="T13" fmla="*/ 330 h 330"/>
                <a:gd name="T14" fmla="*/ 21 w 641"/>
                <a:gd name="T15" fmla="*/ 330 h 330"/>
                <a:gd name="T16" fmla="*/ 0 w 641"/>
                <a:gd name="T17" fmla="*/ 299 h 330"/>
                <a:gd name="T18" fmla="*/ 2 w 641"/>
                <a:gd name="T19" fmla="*/ 258 h 330"/>
                <a:gd name="T20" fmla="*/ 2 w 641"/>
                <a:gd name="T21" fmla="*/ 219 h 330"/>
                <a:gd name="T22" fmla="*/ 2 w 641"/>
                <a:gd name="T23" fmla="*/ 178 h 330"/>
                <a:gd name="T24" fmla="*/ 2 w 641"/>
                <a:gd name="T25" fmla="*/ 137 h 330"/>
                <a:gd name="T26" fmla="*/ 4 w 641"/>
                <a:gd name="T27" fmla="*/ 98 h 330"/>
                <a:gd name="T28" fmla="*/ 4 w 641"/>
                <a:gd name="T29" fmla="*/ 57 h 330"/>
                <a:gd name="T30" fmla="*/ 4 w 641"/>
                <a:gd name="T31" fmla="*/ 18 h 330"/>
                <a:gd name="T32" fmla="*/ 58 w 641"/>
                <a:gd name="T33" fmla="*/ 8 h 330"/>
                <a:gd name="T34" fmla="*/ 127 w 641"/>
                <a:gd name="T35" fmla="*/ 8 h 330"/>
                <a:gd name="T36" fmla="*/ 199 w 641"/>
                <a:gd name="T37" fmla="*/ 8 h 330"/>
                <a:gd name="T38" fmla="*/ 269 w 641"/>
                <a:gd name="T39" fmla="*/ 8 h 330"/>
                <a:gd name="T40" fmla="*/ 338 w 641"/>
                <a:gd name="T41" fmla="*/ 8 h 330"/>
                <a:gd name="T42" fmla="*/ 410 w 641"/>
                <a:gd name="T43" fmla="*/ 6 h 330"/>
                <a:gd name="T44" fmla="*/ 480 w 641"/>
                <a:gd name="T45" fmla="*/ 4 h 330"/>
                <a:gd name="T46" fmla="*/ 549 w 641"/>
                <a:gd name="T47" fmla="*/ 2 h 330"/>
                <a:gd name="T48" fmla="*/ 574 w 641"/>
                <a:gd name="T49" fmla="*/ 6 h 330"/>
                <a:gd name="T50" fmla="*/ 578 w 641"/>
                <a:gd name="T51" fmla="*/ 8 h 330"/>
                <a:gd name="T52" fmla="*/ 580 w 641"/>
                <a:gd name="T53" fmla="*/ 10 h 330"/>
                <a:gd name="T54" fmla="*/ 586 w 641"/>
                <a:gd name="T55" fmla="*/ 14 h 330"/>
                <a:gd name="T56" fmla="*/ 594 w 641"/>
                <a:gd name="T57" fmla="*/ 10 h 330"/>
                <a:gd name="T58" fmla="*/ 598 w 641"/>
                <a:gd name="T59" fmla="*/ 12 h 330"/>
                <a:gd name="T60" fmla="*/ 605 w 641"/>
                <a:gd name="T61" fmla="*/ 16 h 330"/>
                <a:gd name="T62" fmla="*/ 605 w 641"/>
                <a:gd name="T63" fmla="*/ 22 h 330"/>
                <a:gd name="T64" fmla="*/ 607 w 641"/>
                <a:gd name="T65" fmla="*/ 26 h 330"/>
                <a:gd name="T66" fmla="*/ 598 w 641"/>
                <a:gd name="T67" fmla="*/ 26 h 330"/>
                <a:gd name="T68" fmla="*/ 596 w 641"/>
                <a:gd name="T69" fmla="*/ 33 h 330"/>
                <a:gd name="T70" fmla="*/ 590 w 641"/>
                <a:gd name="T71" fmla="*/ 39 h 330"/>
                <a:gd name="T72" fmla="*/ 590 w 641"/>
                <a:gd name="T73" fmla="*/ 45 h 330"/>
                <a:gd name="T74" fmla="*/ 586 w 641"/>
                <a:gd name="T75" fmla="*/ 49 h 330"/>
                <a:gd name="T76" fmla="*/ 592 w 641"/>
                <a:gd name="T77" fmla="*/ 53 h 330"/>
                <a:gd name="T78" fmla="*/ 596 w 641"/>
                <a:gd name="T79" fmla="*/ 59 h 330"/>
                <a:gd name="T80" fmla="*/ 602 w 641"/>
                <a:gd name="T81" fmla="*/ 63 h 330"/>
                <a:gd name="T82" fmla="*/ 607 w 641"/>
                <a:gd name="T83" fmla="*/ 76 h 330"/>
                <a:gd name="T84" fmla="*/ 613 w 641"/>
                <a:gd name="T85" fmla="*/ 82 h 330"/>
                <a:gd name="T86" fmla="*/ 621 w 641"/>
                <a:gd name="T87" fmla="*/ 86 h 330"/>
                <a:gd name="T88" fmla="*/ 627 w 641"/>
                <a:gd name="T89" fmla="*/ 86 h 330"/>
                <a:gd name="T90" fmla="*/ 629 w 641"/>
                <a:gd name="T91" fmla="*/ 88 h 330"/>
                <a:gd name="T92" fmla="*/ 629 w 641"/>
                <a:gd name="T93" fmla="*/ 90 h 330"/>
                <a:gd name="T94" fmla="*/ 631 w 641"/>
                <a:gd name="T95" fmla="*/ 92 h 330"/>
                <a:gd name="T96" fmla="*/ 633 w 641"/>
                <a:gd name="T97" fmla="*/ 141 h 330"/>
                <a:gd name="T98" fmla="*/ 635 w 641"/>
                <a:gd name="T99" fmla="*/ 197 h 330"/>
                <a:gd name="T100" fmla="*/ 637 w 641"/>
                <a:gd name="T101" fmla="*/ 250 h 330"/>
                <a:gd name="T102" fmla="*/ 641 w 641"/>
                <a:gd name="T103" fmla="*/ 30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1" h="330">
                  <a:moveTo>
                    <a:pt x="641" y="320"/>
                  </a:moveTo>
                  <a:lnTo>
                    <a:pt x="621" y="320"/>
                  </a:lnTo>
                  <a:lnTo>
                    <a:pt x="600" y="322"/>
                  </a:lnTo>
                  <a:lnTo>
                    <a:pt x="582" y="322"/>
                  </a:lnTo>
                  <a:lnTo>
                    <a:pt x="562" y="324"/>
                  </a:lnTo>
                  <a:lnTo>
                    <a:pt x="541" y="324"/>
                  </a:lnTo>
                  <a:lnTo>
                    <a:pt x="521" y="324"/>
                  </a:lnTo>
                  <a:lnTo>
                    <a:pt x="502" y="326"/>
                  </a:lnTo>
                  <a:lnTo>
                    <a:pt x="482" y="326"/>
                  </a:lnTo>
                  <a:lnTo>
                    <a:pt x="461" y="326"/>
                  </a:lnTo>
                  <a:lnTo>
                    <a:pt x="441" y="328"/>
                  </a:lnTo>
                  <a:lnTo>
                    <a:pt x="420" y="328"/>
                  </a:lnTo>
                  <a:lnTo>
                    <a:pt x="402" y="328"/>
                  </a:lnTo>
                  <a:lnTo>
                    <a:pt x="381" y="328"/>
                  </a:lnTo>
                  <a:lnTo>
                    <a:pt x="361" y="330"/>
                  </a:lnTo>
                  <a:lnTo>
                    <a:pt x="340" y="330"/>
                  </a:lnTo>
                  <a:lnTo>
                    <a:pt x="322" y="330"/>
                  </a:lnTo>
                  <a:lnTo>
                    <a:pt x="301" y="330"/>
                  </a:lnTo>
                  <a:lnTo>
                    <a:pt x="281" y="330"/>
                  </a:lnTo>
                  <a:lnTo>
                    <a:pt x="260" y="330"/>
                  </a:lnTo>
                  <a:lnTo>
                    <a:pt x="240" y="330"/>
                  </a:lnTo>
                  <a:lnTo>
                    <a:pt x="222" y="330"/>
                  </a:lnTo>
                  <a:lnTo>
                    <a:pt x="201" y="330"/>
                  </a:lnTo>
                  <a:lnTo>
                    <a:pt x="181" y="330"/>
                  </a:lnTo>
                  <a:lnTo>
                    <a:pt x="160" y="330"/>
                  </a:lnTo>
                  <a:lnTo>
                    <a:pt x="140" y="330"/>
                  </a:lnTo>
                  <a:lnTo>
                    <a:pt x="121" y="330"/>
                  </a:lnTo>
                  <a:lnTo>
                    <a:pt x="101" y="330"/>
                  </a:lnTo>
                  <a:lnTo>
                    <a:pt x="80" y="330"/>
                  </a:lnTo>
                  <a:lnTo>
                    <a:pt x="60" y="330"/>
                  </a:lnTo>
                  <a:lnTo>
                    <a:pt x="41" y="330"/>
                  </a:lnTo>
                  <a:lnTo>
                    <a:pt x="21" y="330"/>
                  </a:lnTo>
                  <a:lnTo>
                    <a:pt x="0" y="330"/>
                  </a:lnTo>
                  <a:lnTo>
                    <a:pt x="0" y="320"/>
                  </a:lnTo>
                  <a:lnTo>
                    <a:pt x="0" y="309"/>
                  </a:lnTo>
                  <a:lnTo>
                    <a:pt x="0" y="299"/>
                  </a:lnTo>
                  <a:lnTo>
                    <a:pt x="0" y="289"/>
                  </a:lnTo>
                  <a:lnTo>
                    <a:pt x="0" y="279"/>
                  </a:lnTo>
                  <a:lnTo>
                    <a:pt x="0" y="268"/>
                  </a:lnTo>
                  <a:lnTo>
                    <a:pt x="2" y="258"/>
                  </a:lnTo>
                  <a:lnTo>
                    <a:pt x="2" y="248"/>
                  </a:lnTo>
                  <a:lnTo>
                    <a:pt x="2" y="238"/>
                  </a:lnTo>
                  <a:lnTo>
                    <a:pt x="2" y="227"/>
                  </a:lnTo>
                  <a:lnTo>
                    <a:pt x="2" y="219"/>
                  </a:lnTo>
                  <a:lnTo>
                    <a:pt x="2" y="209"/>
                  </a:lnTo>
                  <a:lnTo>
                    <a:pt x="2" y="199"/>
                  </a:lnTo>
                  <a:lnTo>
                    <a:pt x="2" y="188"/>
                  </a:lnTo>
                  <a:lnTo>
                    <a:pt x="2" y="178"/>
                  </a:lnTo>
                  <a:lnTo>
                    <a:pt x="2" y="168"/>
                  </a:lnTo>
                  <a:lnTo>
                    <a:pt x="2" y="158"/>
                  </a:lnTo>
                  <a:lnTo>
                    <a:pt x="2" y="147"/>
                  </a:lnTo>
                  <a:lnTo>
                    <a:pt x="2" y="137"/>
                  </a:lnTo>
                  <a:lnTo>
                    <a:pt x="2" y="127"/>
                  </a:lnTo>
                  <a:lnTo>
                    <a:pt x="4" y="119"/>
                  </a:lnTo>
                  <a:lnTo>
                    <a:pt x="4" y="108"/>
                  </a:lnTo>
                  <a:lnTo>
                    <a:pt x="4" y="98"/>
                  </a:lnTo>
                  <a:lnTo>
                    <a:pt x="4" y="88"/>
                  </a:lnTo>
                  <a:lnTo>
                    <a:pt x="4" y="78"/>
                  </a:lnTo>
                  <a:lnTo>
                    <a:pt x="4" y="67"/>
                  </a:lnTo>
                  <a:lnTo>
                    <a:pt x="4" y="57"/>
                  </a:lnTo>
                  <a:lnTo>
                    <a:pt x="4" y="47"/>
                  </a:lnTo>
                  <a:lnTo>
                    <a:pt x="4" y="37"/>
                  </a:lnTo>
                  <a:lnTo>
                    <a:pt x="4" y="26"/>
                  </a:lnTo>
                  <a:lnTo>
                    <a:pt x="4" y="18"/>
                  </a:lnTo>
                  <a:lnTo>
                    <a:pt x="4" y="8"/>
                  </a:lnTo>
                  <a:lnTo>
                    <a:pt x="23" y="8"/>
                  </a:lnTo>
                  <a:lnTo>
                    <a:pt x="41" y="8"/>
                  </a:lnTo>
                  <a:lnTo>
                    <a:pt x="58" y="8"/>
                  </a:lnTo>
                  <a:lnTo>
                    <a:pt x="76" y="8"/>
                  </a:lnTo>
                  <a:lnTo>
                    <a:pt x="93" y="8"/>
                  </a:lnTo>
                  <a:lnTo>
                    <a:pt x="111" y="8"/>
                  </a:lnTo>
                  <a:lnTo>
                    <a:pt x="127" y="8"/>
                  </a:lnTo>
                  <a:lnTo>
                    <a:pt x="146" y="8"/>
                  </a:lnTo>
                  <a:lnTo>
                    <a:pt x="164" y="8"/>
                  </a:lnTo>
                  <a:lnTo>
                    <a:pt x="181" y="8"/>
                  </a:lnTo>
                  <a:lnTo>
                    <a:pt x="199" y="8"/>
                  </a:lnTo>
                  <a:lnTo>
                    <a:pt x="215" y="8"/>
                  </a:lnTo>
                  <a:lnTo>
                    <a:pt x="234" y="8"/>
                  </a:lnTo>
                  <a:lnTo>
                    <a:pt x="250" y="8"/>
                  </a:lnTo>
                  <a:lnTo>
                    <a:pt x="269" y="8"/>
                  </a:lnTo>
                  <a:lnTo>
                    <a:pt x="287" y="8"/>
                  </a:lnTo>
                  <a:lnTo>
                    <a:pt x="303" y="8"/>
                  </a:lnTo>
                  <a:lnTo>
                    <a:pt x="322" y="8"/>
                  </a:lnTo>
                  <a:lnTo>
                    <a:pt x="338" y="8"/>
                  </a:lnTo>
                  <a:lnTo>
                    <a:pt x="357" y="8"/>
                  </a:lnTo>
                  <a:lnTo>
                    <a:pt x="373" y="6"/>
                  </a:lnTo>
                  <a:lnTo>
                    <a:pt x="392" y="6"/>
                  </a:lnTo>
                  <a:lnTo>
                    <a:pt x="410" y="6"/>
                  </a:lnTo>
                  <a:lnTo>
                    <a:pt x="426" y="6"/>
                  </a:lnTo>
                  <a:lnTo>
                    <a:pt x="445" y="6"/>
                  </a:lnTo>
                  <a:lnTo>
                    <a:pt x="461" y="4"/>
                  </a:lnTo>
                  <a:lnTo>
                    <a:pt x="480" y="4"/>
                  </a:lnTo>
                  <a:lnTo>
                    <a:pt x="498" y="4"/>
                  </a:lnTo>
                  <a:lnTo>
                    <a:pt x="514" y="2"/>
                  </a:lnTo>
                  <a:lnTo>
                    <a:pt x="533" y="2"/>
                  </a:lnTo>
                  <a:lnTo>
                    <a:pt x="549" y="2"/>
                  </a:lnTo>
                  <a:lnTo>
                    <a:pt x="568" y="0"/>
                  </a:lnTo>
                  <a:lnTo>
                    <a:pt x="572" y="4"/>
                  </a:lnTo>
                  <a:lnTo>
                    <a:pt x="574" y="6"/>
                  </a:lnTo>
                  <a:lnTo>
                    <a:pt x="574" y="6"/>
                  </a:lnTo>
                  <a:lnTo>
                    <a:pt x="576" y="6"/>
                  </a:lnTo>
                  <a:lnTo>
                    <a:pt x="576" y="8"/>
                  </a:lnTo>
                  <a:lnTo>
                    <a:pt x="576" y="8"/>
                  </a:lnTo>
                  <a:lnTo>
                    <a:pt x="578" y="8"/>
                  </a:lnTo>
                  <a:lnTo>
                    <a:pt x="578" y="10"/>
                  </a:lnTo>
                  <a:lnTo>
                    <a:pt x="578" y="10"/>
                  </a:lnTo>
                  <a:lnTo>
                    <a:pt x="580" y="10"/>
                  </a:lnTo>
                  <a:lnTo>
                    <a:pt x="580" y="10"/>
                  </a:lnTo>
                  <a:lnTo>
                    <a:pt x="582" y="10"/>
                  </a:lnTo>
                  <a:lnTo>
                    <a:pt x="582" y="12"/>
                  </a:lnTo>
                  <a:lnTo>
                    <a:pt x="584" y="14"/>
                  </a:lnTo>
                  <a:lnTo>
                    <a:pt x="586" y="14"/>
                  </a:lnTo>
                  <a:lnTo>
                    <a:pt x="588" y="14"/>
                  </a:lnTo>
                  <a:lnTo>
                    <a:pt x="590" y="12"/>
                  </a:lnTo>
                  <a:lnTo>
                    <a:pt x="592" y="10"/>
                  </a:lnTo>
                  <a:lnTo>
                    <a:pt x="594" y="10"/>
                  </a:lnTo>
                  <a:lnTo>
                    <a:pt x="596" y="10"/>
                  </a:lnTo>
                  <a:lnTo>
                    <a:pt x="598" y="10"/>
                  </a:lnTo>
                  <a:lnTo>
                    <a:pt x="598" y="10"/>
                  </a:lnTo>
                  <a:lnTo>
                    <a:pt x="598" y="12"/>
                  </a:lnTo>
                  <a:lnTo>
                    <a:pt x="598" y="12"/>
                  </a:lnTo>
                  <a:lnTo>
                    <a:pt x="598" y="14"/>
                  </a:lnTo>
                  <a:lnTo>
                    <a:pt x="600" y="14"/>
                  </a:lnTo>
                  <a:lnTo>
                    <a:pt x="605" y="16"/>
                  </a:lnTo>
                  <a:lnTo>
                    <a:pt x="605" y="18"/>
                  </a:lnTo>
                  <a:lnTo>
                    <a:pt x="605" y="18"/>
                  </a:lnTo>
                  <a:lnTo>
                    <a:pt x="605" y="22"/>
                  </a:lnTo>
                  <a:lnTo>
                    <a:pt x="605" y="22"/>
                  </a:lnTo>
                  <a:lnTo>
                    <a:pt x="605" y="24"/>
                  </a:lnTo>
                  <a:lnTo>
                    <a:pt x="605" y="24"/>
                  </a:lnTo>
                  <a:lnTo>
                    <a:pt x="607" y="24"/>
                  </a:lnTo>
                  <a:lnTo>
                    <a:pt x="607" y="26"/>
                  </a:lnTo>
                  <a:lnTo>
                    <a:pt x="605" y="29"/>
                  </a:lnTo>
                  <a:lnTo>
                    <a:pt x="602" y="29"/>
                  </a:lnTo>
                  <a:lnTo>
                    <a:pt x="598" y="26"/>
                  </a:lnTo>
                  <a:lnTo>
                    <a:pt x="598" y="26"/>
                  </a:lnTo>
                  <a:lnTo>
                    <a:pt x="596" y="29"/>
                  </a:lnTo>
                  <a:lnTo>
                    <a:pt x="596" y="29"/>
                  </a:lnTo>
                  <a:lnTo>
                    <a:pt x="596" y="33"/>
                  </a:lnTo>
                  <a:lnTo>
                    <a:pt x="596" y="33"/>
                  </a:lnTo>
                  <a:lnTo>
                    <a:pt x="596" y="33"/>
                  </a:lnTo>
                  <a:lnTo>
                    <a:pt x="594" y="35"/>
                  </a:lnTo>
                  <a:lnTo>
                    <a:pt x="592" y="37"/>
                  </a:lnTo>
                  <a:lnTo>
                    <a:pt x="590" y="39"/>
                  </a:lnTo>
                  <a:lnTo>
                    <a:pt x="590" y="41"/>
                  </a:lnTo>
                  <a:lnTo>
                    <a:pt x="590" y="43"/>
                  </a:lnTo>
                  <a:lnTo>
                    <a:pt x="590" y="43"/>
                  </a:lnTo>
                  <a:lnTo>
                    <a:pt x="590" y="45"/>
                  </a:lnTo>
                  <a:lnTo>
                    <a:pt x="590" y="45"/>
                  </a:lnTo>
                  <a:lnTo>
                    <a:pt x="588" y="45"/>
                  </a:lnTo>
                  <a:lnTo>
                    <a:pt x="586" y="45"/>
                  </a:lnTo>
                  <a:lnTo>
                    <a:pt x="586" y="49"/>
                  </a:lnTo>
                  <a:lnTo>
                    <a:pt x="588" y="51"/>
                  </a:lnTo>
                  <a:lnTo>
                    <a:pt x="590" y="51"/>
                  </a:lnTo>
                  <a:lnTo>
                    <a:pt x="590" y="53"/>
                  </a:lnTo>
                  <a:lnTo>
                    <a:pt x="592" y="53"/>
                  </a:lnTo>
                  <a:lnTo>
                    <a:pt x="594" y="57"/>
                  </a:lnTo>
                  <a:lnTo>
                    <a:pt x="594" y="57"/>
                  </a:lnTo>
                  <a:lnTo>
                    <a:pt x="594" y="59"/>
                  </a:lnTo>
                  <a:lnTo>
                    <a:pt x="596" y="59"/>
                  </a:lnTo>
                  <a:lnTo>
                    <a:pt x="600" y="61"/>
                  </a:lnTo>
                  <a:lnTo>
                    <a:pt x="600" y="61"/>
                  </a:lnTo>
                  <a:lnTo>
                    <a:pt x="600" y="63"/>
                  </a:lnTo>
                  <a:lnTo>
                    <a:pt x="602" y="63"/>
                  </a:lnTo>
                  <a:lnTo>
                    <a:pt x="605" y="65"/>
                  </a:lnTo>
                  <a:lnTo>
                    <a:pt x="605" y="67"/>
                  </a:lnTo>
                  <a:lnTo>
                    <a:pt x="605" y="72"/>
                  </a:lnTo>
                  <a:lnTo>
                    <a:pt x="607" y="76"/>
                  </a:lnTo>
                  <a:lnTo>
                    <a:pt x="611" y="78"/>
                  </a:lnTo>
                  <a:lnTo>
                    <a:pt x="611" y="78"/>
                  </a:lnTo>
                  <a:lnTo>
                    <a:pt x="611" y="80"/>
                  </a:lnTo>
                  <a:lnTo>
                    <a:pt x="613" y="82"/>
                  </a:lnTo>
                  <a:lnTo>
                    <a:pt x="613" y="84"/>
                  </a:lnTo>
                  <a:lnTo>
                    <a:pt x="615" y="84"/>
                  </a:lnTo>
                  <a:lnTo>
                    <a:pt x="619" y="86"/>
                  </a:lnTo>
                  <a:lnTo>
                    <a:pt x="621" y="86"/>
                  </a:lnTo>
                  <a:lnTo>
                    <a:pt x="623" y="86"/>
                  </a:lnTo>
                  <a:lnTo>
                    <a:pt x="625" y="86"/>
                  </a:lnTo>
                  <a:lnTo>
                    <a:pt x="625" y="86"/>
                  </a:lnTo>
                  <a:lnTo>
                    <a:pt x="627" y="86"/>
                  </a:lnTo>
                  <a:lnTo>
                    <a:pt x="627" y="86"/>
                  </a:lnTo>
                  <a:lnTo>
                    <a:pt x="627" y="88"/>
                  </a:lnTo>
                  <a:lnTo>
                    <a:pt x="627" y="88"/>
                  </a:lnTo>
                  <a:lnTo>
                    <a:pt x="629" y="88"/>
                  </a:lnTo>
                  <a:lnTo>
                    <a:pt x="631" y="88"/>
                  </a:lnTo>
                  <a:lnTo>
                    <a:pt x="631" y="90"/>
                  </a:lnTo>
                  <a:lnTo>
                    <a:pt x="629" y="90"/>
                  </a:lnTo>
                  <a:lnTo>
                    <a:pt x="629" y="90"/>
                  </a:lnTo>
                  <a:lnTo>
                    <a:pt x="629" y="92"/>
                  </a:lnTo>
                  <a:lnTo>
                    <a:pt x="629" y="92"/>
                  </a:lnTo>
                  <a:lnTo>
                    <a:pt x="631" y="92"/>
                  </a:lnTo>
                  <a:lnTo>
                    <a:pt x="631" y="92"/>
                  </a:lnTo>
                  <a:lnTo>
                    <a:pt x="631" y="100"/>
                  </a:lnTo>
                  <a:lnTo>
                    <a:pt x="631" y="115"/>
                  </a:lnTo>
                  <a:lnTo>
                    <a:pt x="631" y="127"/>
                  </a:lnTo>
                  <a:lnTo>
                    <a:pt x="633" y="141"/>
                  </a:lnTo>
                  <a:lnTo>
                    <a:pt x="633" y="156"/>
                  </a:lnTo>
                  <a:lnTo>
                    <a:pt x="633" y="168"/>
                  </a:lnTo>
                  <a:lnTo>
                    <a:pt x="635" y="182"/>
                  </a:lnTo>
                  <a:lnTo>
                    <a:pt x="635" y="197"/>
                  </a:lnTo>
                  <a:lnTo>
                    <a:pt x="635" y="209"/>
                  </a:lnTo>
                  <a:lnTo>
                    <a:pt x="637" y="223"/>
                  </a:lnTo>
                  <a:lnTo>
                    <a:pt x="637" y="238"/>
                  </a:lnTo>
                  <a:lnTo>
                    <a:pt x="637" y="250"/>
                  </a:lnTo>
                  <a:lnTo>
                    <a:pt x="639" y="264"/>
                  </a:lnTo>
                  <a:lnTo>
                    <a:pt x="639" y="279"/>
                  </a:lnTo>
                  <a:lnTo>
                    <a:pt x="639" y="291"/>
                  </a:lnTo>
                  <a:lnTo>
                    <a:pt x="641" y="305"/>
                  </a:lnTo>
                  <a:lnTo>
                    <a:pt x="641" y="320"/>
                  </a:lnTo>
                  <a:lnTo>
                    <a:pt x="641" y="320"/>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KS</a:t>
              </a:r>
            </a:p>
          </p:txBody>
        </p:sp>
        <p:sp>
          <p:nvSpPr>
            <p:cNvPr id="329" name="Freeform 40">
              <a:extLst>
                <a:ext uri="{FF2B5EF4-FFF2-40B4-BE49-F238E27FC236}">
                  <a16:creationId xmlns:a16="http://schemas.microsoft.com/office/drawing/2014/main" id="{DFD147F2-E678-597D-67DA-2B350B22901B}"/>
                </a:ext>
              </a:extLst>
            </p:cNvPr>
            <p:cNvSpPr>
              <a:spLocks/>
            </p:cNvSpPr>
            <p:nvPr/>
          </p:nvSpPr>
          <p:spPr bwMode="auto">
            <a:xfrm>
              <a:off x="3748" y="848"/>
              <a:ext cx="269" cy="455"/>
            </a:xfrm>
            <a:custGeom>
              <a:avLst/>
              <a:gdLst>
                <a:gd name="T0" fmla="*/ 260 w 269"/>
                <a:gd name="T1" fmla="*/ 302 h 455"/>
                <a:gd name="T2" fmla="*/ 258 w 269"/>
                <a:gd name="T3" fmla="*/ 287 h 455"/>
                <a:gd name="T4" fmla="*/ 256 w 269"/>
                <a:gd name="T5" fmla="*/ 240 h 455"/>
                <a:gd name="T6" fmla="*/ 248 w 269"/>
                <a:gd name="T7" fmla="*/ 179 h 455"/>
                <a:gd name="T8" fmla="*/ 240 w 269"/>
                <a:gd name="T9" fmla="*/ 119 h 455"/>
                <a:gd name="T10" fmla="*/ 234 w 269"/>
                <a:gd name="T11" fmla="*/ 58 h 455"/>
                <a:gd name="T12" fmla="*/ 220 w 269"/>
                <a:gd name="T13" fmla="*/ 3 h 455"/>
                <a:gd name="T14" fmla="*/ 174 w 269"/>
                <a:gd name="T15" fmla="*/ 9 h 455"/>
                <a:gd name="T16" fmla="*/ 125 w 269"/>
                <a:gd name="T17" fmla="*/ 15 h 455"/>
                <a:gd name="T18" fmla="*/ 74 w 269"/>
                <a:gd name="T19" fmla="*/ 21 h 455"/>
                <a:gd name="T20" fmla="*/ 17 w 269"/>
                <a:gd name="T21" fmla="*/ 39 h 455"/>
                <a:gd name="T22" fmla="*/ 4 w 269"/>
                <a:gd name="T23" fmla="*/ 33 h 455"/>
                <a:gd name="T24" fmla="*/ 15 w 269"/>
                <a:gd name="T25" fmla="*/ 125 h 455"/>
                <a:gd name="T26" fmla="*/ 27 w 269"/>
                <a:gd name="T27" fmla="*/ 248 h 455"/>
                <a:gd name="T28" fmla="*/ 25 w 269"/>
                <a:gd name="T29" fmla="*/ 291 h 455"/>
                <a:gd name="T30" fmla="*/ 25 w 269"/>
                <a:gd name="T31" fmla="*/ 312 h 455"/>
                <a:gd name="T32" fmla="*/ 35 w 269"/>
                <a:gd name="T33" fmla="*/ 324 h 455"/>
                <a:gd name="T34" fmla="*/ 39 w 269"/>
                <a:gd name="T35" fmla="*/ 343 h 455"/>
                <a:gd name="T36" fmla="*/ 33 w 269"/>
                <a:gd name="T37" fmla="*/ 357 h 455"/>
                <a:gd name="T38" fmla="*/ 31 w 269"/>
                <a:gd name="T39" fmla="*/ 365 h 455"/>
                <a:gd name="T40" fmla="*/ 31 w 269"/>
                <a:gd name="T41" fmla="*/ 373 h 455"/>
                <a:gd name="T42" fmla="*/ 29 w 269"/>
                <a:gd name="T43" fmla="*/ 378 h 455"/>
                <a:gd name="T44" fmla="*/ 23 w 269"/>
                <a:gd name="T45" fmla="*/ 388 h 455"/>
                <a:gd name="T46" fmla="*/ 17 w 269"/>
                <a:gd name="T47" fmla="*/ 396 h 455"/>
                <a:gd name="T48" fmla="*/ 15 w 269"/>
                <a:gd name="T49" fmla="*/ 398 h 455"/>
                <a:gd name="T50" fmla="*/ 11 w 269"/>
                <a:gd name="T51" fmla="*/ 400 h 455"/>
                <a:gd name="T52" fmla="*/ 7 w 269"/>
                <a:gd name="T53" fmla="*/ 406 h 455"/>
                <a:gd name="T54" fmla="*/ 9 w 269"/>
                <a:gd name="T55" fmla="*/ 412 h 455"/>
                <a:gd name="T56" fmla="*/ 7 w 269"/>
                <a:gd name="T57" fmla="*/ 421 h 455"/>
                <a:gd name="T58" fmla="*/ 7 w 269"/>
                <a:gd name="T59" fmla="*/ 427 h 455"/>
                <a:gd name="T60" fmla="*/ 4 w 269"/>
                <a:gd name="T61" fmla="*/ 435 h 455"/>
                <a:gd name="T62" fmla="*/ 4 w 269"/>
                <a:gd name="T63" fmla="*/ 443 h 455"/>
                <a:gd name="T64" fmla="*/ 7 w 269"/>
                <a:gd name="T65" fmla="*/ 451 h 455"/>
                <a:gd name="T66" fmla="*/ 4 w 269"/>
                <a:gd name="T67" fmla="*/ 453 h 455"/>
                <a:gd name="T68" fmla="*/ 19 w 269"/>
                <a:gd name="T69" fmla="*/ 449 h 455"/>
                <a:gd name="T70" fmla="*/ 21 w 269"/>
                <a:gd name="T71" fmla="*/ 441 h 455"/>
                <a:gd name="T72" fmla="*/ 33 w 269"/>
                <a:gd name="T73" fmla="*/ 441 h 455"/>
                <a:gd name="T74" fmla="*/ 39 w 269"/>
                <a:gd name="T75" fmla="*/ 447 h 455"/>
                <a:gd name="T76" fmla="*/ 41 w 269"/>
                <a:gd name="T77" fmla="*/ 433 h 455"/>
                <a:gd name="T78" fmla="*/ 47 w 269"/>
                <a:gd name="T79" fmla="*/ 437 h 455"/>
                <a:gd name="T80" fmla="*/ 66 w 269"/>
                <a:gd name="T81" fmla="*/ 435 h 455"/>
                <a:gd name="T82" fmla="*/ 80 w 269"/>
                <a:gd name="T83" fmla="*/ 441 h 455"/>
                <a:gd name="T84" fmla="*/ 88 w 269"/>
                <a:gd name="T85" fmla="*/ 445 h 455"/>
                <a:gd name="T86" fmla="*/ 101 w 269"/>
                <a:gd name="T87" fmla="*/ 429 h 455"/>
                <a:gd name="T88" fmla="*/ 113 w 269"/>
                <a:gd name="T89" fmla="*/ 429 h 455"/>
                <a:gd name="T90" fmla="*/ 125 w 269"/>
                <a:gd name="T91" fmla="*/ 435 h 455"/>
                <a:gd name="T92" fmla="*/ 133 w 269"/>
                <a:gd name="T93" fmla="*/ 425 h 455"/>
                <a:gd name="T94" fmla="*/ 140 w 269"/>
                <a:gd name="T95" fmla="*/ 410 h 455"/>
                <a:gd name="T96" fmla="*/ 140 w 269"/>
                <a:gd name="T97" fmla="*/ 402 h 455"/>
                <a:gd name="T98" fmla="*/ 148 w 269"/>
                <a:gd name="T99" fmla="*/ 400 h 455"/>
                <a:gd name="T100" fmla="*/ 152 w 269"/>
                <a:gd name="T101" fmla="*/ 398 h 455"/>
                <a:gd name="T102" fmla="*/ 160 w 269"/>
                <a:gd name="T103" fmla="*/ 410 h 455"/>
                <a:gd name="T104" fmla="*/ 177 w 269"/>
                <a:gd name="T105" fmla="*/ 412 h 455"/>
                <a:gd name="T106" fmla="*/ 185 w 269"/>
                <a:gd name="T107" fmla="*/ 404 h 455"/>
                <a:gd name="T108" fmla="*/ 189 w 269"/>
                <a:gd name="T109" fmla="*/ 382 h 455"/>
                <a:gd name="T110" fmla="*/ 195 w 269"/>
                <a:gd name="T111" fmla="*/ 382 h 455"/>
                <a:gd name="T112" fmla="*/ 209 w 269"/>
                <a:gd name="T113" fmla="*/ 359 h 455"/>
                <a:gd name="T114" fmla="*/ 220 w 269"/>
                <a:gd name="T115" fmla="*/ 345 h 455"/>
                <a:gd name="T116" fmla="*/ 226 w 269"/>
                <a:gd name="T117" fmla="*/ 326 h 455"/>
                <a:gd name="T118" fmla="*/ 256 w 269"/>
                <a:gd name="T119" fmla="*/ 316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455">
                  <a:moveTo>
                    <a:pt x="267" y="308"/>
                  </a:moveTo>
                  <a:lnTo>
                    <a:pt x="269" y="306"/>
                  </a:lnTo>
                  <a:lnTo>
                    <a:pt x="269" y="304"/>
                  </a:lnTo>
                  <a:lnTo>
                    <a:pt x="267" y="304"/>
                  </a:lnTo>
                  <a:lnTo>
                    <a:pt x="263" y="304"/>
                  </a:lnTo>
                  <a:lnTo>
                    <a:pt x="260" y="304"/>
                  </a:lnTo>
                  <a:lnTo>
                    <a:pt x="260" y="302"/>
                  </a:lnTo>
                  <a:lnTo>
                    <a:pt x="260" y="302"/>
                  </a:lnTo>
                  <a:lnTo>
                    <a:pt x="263" y="298"/>
                  </a:lnTo>
                  <a:lnTo>
                    <a:pt x="265" y="296"/>
                  </a:lnTo>
                  <a:lnTo>
                    <a:pt x="263" y="294"/>
                  </a:lnTo>
                  <a:lnTo>
                    <a:pt x="263" y="291"/>
                  </a:lnTo>
                  <a:lnTo>
                    <a:pt x="258" y="289"/>
                  </a:lnTo>
                  <a:lnTo>
                    <a:pt x="258" y="287"/>
                  </a:lnTo>
                  <a:lnTo>
                    <a:pt x="260" y="283"/>
                  </a:lnTo>
                  <a:lnTo>
                    <a:pt x="263" y="283"/>
                  </a:lnTo>
                  <a:lnTo>
                    <a:pt x="260" y="273"/>
                  </a:lnTo>
                  <a:lnTo>
                    <a:pt x="260" y="265"/>
                  </a:lnTo>
                  <a:lnTo>
                    <a:pt x="258" y="257"/>
                  </a:lnTo>
                  <a:lnTo>
                    <a:pt x="258" y="248"/>
                  </a:lnTo>
                  <a:lnTo>
                    <a:pt x="256" y="240"/>
                  </a:lnTo>
                  <a:lnTo>
                    <a:pt x="254" y="230"/>
                  </a:lnTo>
                  <a:lnTo>
                    <a:pt x="254" y="222"/>
                  </a:lnTo>
                  <a:lnTo>
                    <a:pt x="252" y="214"/>
                  </a:lnTo>
                  <a:lnTo>
                    <a:pt x="252" y="205"/>
                  </a:lnTo>
                  <a:lnTo>
                    <a:pt x="250" y="197"/>
                  </a:lnTo>
                  <a:lnTo>
                    <a:pt x="250" y="187"/>
                  </a:lnTo>
                  <a:lnTo>
                    <a:pt x="248" y="179"/>
                  </a:lnTo>
                  <a:lnTo>
                    <a:pt x="248" y="171"/>
                  </a:lnTo>
                  <a:lnTo>
                    <a:pt x="246" y="162"/>
                  </a:lnTo>
                  <a:lnTo>
                    <a:pt x="246" y="154"/>
                  </a:lnTo>
                  <a:lnTo>
                    <a:pt x="244" y="144"/>
                  </a:lnTo>
                  <a:lnTo>
                    <a:pt x="244" y="136"/>
                  </a:lnTo>
                  <a:lnTo>
                    <a:pt x="242" y="128"/>
                  </a:lnTo>
                  <a:lnTo>
                    <a:pt x="240" y="119"/>
                  </a:lnTo>
                  <a:lnTo>
                    <a:pt x="240" y="111"/>
                  </a:lnTo>
                  <a:lnTo>
                    <a:pt x="238" y="101"/>
                  </a:lnTo>
                  <a:lnTo>
                    <a:pt x="238" y="93"/>
                  </a:lnTo>
                  <a:lnTo>
                    <a:pt x="236" y="85"/>
                  </a:lnTo>
                  <a:lnTo>
                    <a:pt x="236" y="76"/>
                  </a:lnTo>
                  <a:lnTo>
                    <a:pt x="234" y="68"/>
                  </a:lnTo>
                  <a:lnTo>
                    <a:pt x="234" y="58"/>
                  </a:lnTo>
                  <a:lnTo>
                    <a:pt x="232" y="50"/>
                  </a:lnTo>
                  <a:lnTo>
                    <a:pt x="232" y="41"/>
                  </a:lnTo>
                  <a:lnTo>
                    <a:pt x="228" y="25"/>
                  </a:lnTo>
                  <a:lnTo>
                    <a:pt x="228" y="15"/>
                  </a:lnTo>
                  <a:lnTo>
                    <a:pt x="226" y="7"/>
                  </a:lnTo>
                  <a:lnTo>
                    <a:pt x="226" y="0"/>
                  </a:lnTo>
                  <a:lnTo>
                    <a:pt x="220" y="3"/>
                  </a:lnTo>
                  <a:lnTo>
                    <a:pt x="213" y="3"/>
                  </a:lnTo>
                  <a:lnTo>
                    <a:pt x="207" y="5"/>
                  </a:lnTo>
                  <a:lnTo>
                    <a:pt x="201" y="5"/>
                  </a:lnTo>
                  <a:lnTo>
                    <a:pt x="195" y="5"/>
                  </a:lnTo>
                  <a:lnTo>
                    <a:pt x="187" y="7"/>
                  </a:lnTo>
                  <a:lnTo>
                    <a:pt x="181" y="7"/>
                  </a:lnTo>
                  <a:lnTo>
                    <a:pt x="174" y="9"/>
                  </a:lnTo>
                  <a:lnTo>
                    <a:pt x="168" y="9"/>
                  </a:lnTo>
                  <a:lnTo>
                    <a:pt x="162" y="9"/>
                  </a:lnTo>
                  <a:lnTo>
                    <a:pt x="156" y="11"/>
                  </a:lnTo>
                  <a:lnTo>
                    <a:pt x="150" y="11"/>
                  </a:lnTo>
                  <a:lnTo>
                    <a:pt x="144" y="13"/>
                  </a:lnTo>
                  <a:lnTo>
                    <a:pt x="131" y="13"/>
                  </a:lnTo>
                  <a:lnTo>
                    <a:pt x="125" y="15"/>
                  </a:lnTo>
                  <a:lnTo>
                    <a:pt x="119" y="15"/>
                  </a:lnTo>
                  <a:lnTo>
                    <a:pt x="111" y="17"/>
                  </a:lnTo>
                  <a:lnTo>
                    <a:pt x="105" y="17"/>
                  </a:lnTo>
                  <a:lnTo>
                    <a:pt x="93" y="19"/>
                  </a:lnTo>
                  <a:lnTo>
                    <a:pt x="86" y="19"/>
                  </a:lnTo>
                  <a:lnTo>
                    <a:pt x="80" y="19"/>
                  </a:lnTo>
                  <a:lnTo>
                    <a:pt x="74" y="21"/>
                  </a:lnTo>
                  <a:lnTo>
                    <a:pt x="68" y="21"/>
                  </a:lnTo>
                  <a:lnTo>
                    <a:pt x="62" y="23"/>
                  </a:lnTo>
                  <a:lnTo>
                    <a:pt x="60" y="23"/>
                  </a:lnTo>
                  <a:lnTo>
                    <a:pt x="45" y="33"/>
                  </a:lnTo>
                  <a:lnTo>
                    <a:pt x="31" y="39"/>
                  </a:lnTo>
                  <a:lnTo>
                    <a:pt x="23" y="41"/>
                  </a:lnTo>
                  <a:lnTo>
                    <a:pt x="17" y="39"/>
                  </a:lnTo>
                  <a:lnTo>
                    <a:pt x="15" y="39"/>
                  </a:lnTo>
                  <a:lnTo>
                    <a:pt x="13" y="39"/>
                  </a:lnTo>
                  <a:lnTo>
                    <a:pt x="13" y="37"/>
                  </a:lnTo>
                  <a:lnTo>
                    <a:pt x="13" y="35"/>
                  </a:lnTo>
                  <a:lnTo>
                    <a:pt x="9" y="37"/>
                  </a:lnTo>
                  <a:lnTo>
                    <a:pt x="7" y="35"/>
                  </a:lnTo>
                  <a:lnTo>
                    <a:pt x="4" y="33"/>
                  </a:lnTo>
                  <a:lnTo>
                    <a:pt x="4" y="33"/>
                  </a:lnTo>
                  <a:lnTo>
                    <a:pt x="7" y="50"/>
                  </a:lnTo>
                  <a:lnTo>
                    <a:pt x="7" y="64"/>
                  </a:lnTo>
                  <a:lnTo>
                    <a:pt x="9" y="78"/>
                  </a:lnTo>
                  <a:lnTo>
                    <a:pt x="11" y="95"/>
                  </a:lnTo>
                  <a:lnTo>
                    <a:pt x="13" y="109"/>
                  </a:lnTo>
                  <a:lnTo>
                    <a:pt x="15" y="125"/>
                  </a:lnTo>
                  <a:lnTo>
                    <a:pt x="15" y="140"/>
                  </a:lnTo>
                  <a:lnTo>
                    <a:pt x="17" y="156"/>
                  </a:lnTo>
                  <a:lnTo>
                    <a:pt x="19" y="171"/>
                  </a:lnTo>
                  <a:lnTo>
                    <a:pt x="21" y="187"/>
                  </a:lnTo>
                  <a:lnTo>
                    <a:pt x="23" y="201"/>
                  </a:lnTo>
                  <a:lnTo>
                    <a:pt x="25" y="232"/>
                  </a:lnTo>
                  <a:lnTo>
                    <a:pt x="27" y="248"/>
                  </a:lnTo>
                  <a:lnTo>
                    <a:pt x="29" y="263"/>
                  </a:lnTo>
                  <a:lnTo>
                    <a:pt x="31" y="279"/>
                  </a:lnTo>
                  <a:lnTo>
                    <a:pt x="31" y="283"/>
                  </a:lnTo>
                  <a:lnTo>
                    <a:pt x="31" y="283"/>
                  </a:lnTo>
                  <a:lnTo>
                    <a:pt x="27" y="287"/>
                  </a:lnTo>
                  <a:lnTo>
                    <a:pt x="25" y="287"/>
                  </a:lnTo>
                  <a:lnTo>
                    <a:pt x="25" y="291"/>
                  </a:lnTo>
                  <a:lnTo>
                    <a:pt x="25" y="291"/>
                  </a:lnTo>
                  <a:lnTo>
                    <a:pt x="27" y="296"/>
                  </a:lnTo>
                  <a:lnTo>
                    <a:pt x="27" y="300"/>
                  </a:lnTo>
                  <a:lnTo>
                    <a:pt x="23" y="306"/>
                  </a:lnTo>
                  <a:lnTo>
                    <a:pt x="23" y="310"/>
                  </a:lnTo>
                  <a:lnTo>
                    <a:pt x="23" y="312"/>
                  </a:lnTo>
                  <a:lnTo>
                    <a:pt x="25" y="312"/>
                  </a:lnTo>
                  <a:lnTo>
                    <a:pt x="25" y="312"/>
                  </a:lnTo>
                  <a:lnTo>
                    <a:pt x="29" y="314"/>
                  </a:lnTo>
                  <a:lnTo>
                    <a:pt x="29" y="316"/>
                  </a:lnTo>
                  <a:lnTo>
                    <a:pt x="31" y="320"/>
                  </a:lnTo>
                  <a:lnTo>
                    <a:pt x="31" y="322"/>
                  </a:lnTo>
                  <a:lnTo>
                    <a:pt x="33" y="322"/>
                  </a:lnTo>
                  <a:lnTo>
                    <a:pt x="35" y="324"/>
                  </a:lnTo>
                  <a:lnTo>
                    <a:pt x="35" y="326"/>
                  </a:lnTo>
                  <a:lnTo>
                    <a:pt x="37" y="330"/>
                  </a:lnTo>
                  <a:lnTo>
                    <a:pt x="35" y="332"/>
                  </a:lnTo>
                  <a:lnTo>
                    <a:pt x="35" y="332"/>
                  </a:lnTo>
                  <a:lnTo>
                    <a:pt x="35" y="335"/>
                  </a:lnTo>
                  <a:lnTo>
                    <a:pt x="37" y="339"/>
                  </a:lnTo>
                  <a:lnTo>
                    <a:pt x="39" y="343"/>
                  </a:lnTo>
                  <a:lnTo>
                    <a:pt x="39" y="347"/>
                  </a:lnTo>
                  <a:lnTo>
                    <a:pt x="39" y="355"/>
                  </a:lnTo>
                  <a:lnTo>
                    <a:pt x="37" y="355"/>
                  </a:lnTo>
                  <a:lnTo>
                    <a:pt x="37" y="355"/>
                  </a:lnTo>
                  <a:lnTo>
                    <a:pt x="35" y="355"/>
                  </a:lnTo>
                  <a:lnTo>
                    <a:pt x="35" y="357"/>
                  </a:lnTo>
                  <a:lnTo>
                    <a:pt x="33" y="357"/>
                  </a:lnTo>
                  <a:lnTo>
                    <a:pt x="33" y="359"/>
                  </a:lnTo>
                  <a:lnTo>
                    <a:pt x="33" y="361"/>
                  </a:lnTo>
                  <a:lnTo>
                    <a:pt x="33" y="363"/>
                  </a:lnTo>
                  <a:lnTo>
                    <a:pt x="33" y="363"/>
                  </a:lnTo>
                  <a:lnTo>
                    <a:pt x="33" y="365"/>
                  </a:lnTo>
                  <a:lnTo>
                    <a:pt x="33" y="365"/>
                  </a:lnTo>
                  <a:lnTo>
                    <a:pt x="31" y="365"/>
                  </a:lnTo>
                  <a:lnTo>
                    <a:pt x="33" y="365"/>
                  </a:lnTo>
                  <a:lnTo>
                    <a:pt x="31" y="365"/>
                  </a:lnTo>
                  <a:lnTo>
                    <a:pt x="31" y="367"/>
                  </a:lnTo>
                  <a:lnTo>
                    <a:pt x="29" y="367"/>
                  </a:lnTo>
                  <a:lnTo>
                    <a:pt x="29" y="369"/>
                  </a:lnTo>
                  <a:lnTo>
                    <a:pt x="29" y="371"/>
                  </a:lnTo>
                  <a:lnTo>
                    <a:pt x="31" y="373"/>
                  </a:lnTo>
                  <a:lnTo>
                    <a:pt x="31" y="376"/>
                  </a:lnTo>
                  <a:lnTo>
                    <a:pt x="31" y="376"/>
                  </a:lnTo>
                  <a:lnTo>
                    <a:pt x="31" y="376"/>
                  </a:lnTo>
                  <a:lnTo>
                    <a:pt x="31" y="376"/>
                  </a:lnTo>
                  <a:lnTo>
                    <a:pt x="29" y="376"/>
                  </a:lnTo>
                  <a:lnTo>
                    <a:pt x="29" y="376"/>
                  </a:lnTo>
                  <a:lnTo>
                    <a:pt x="29" y="378"/>
                  </a:lnTo>
                  <a:lnTo>
                    <a:pt x="27" y="378"/>
                  </a:lnTo>
                  <a:lnTo>
                    <a:pt x="25" y="380"/>
                  </a:lnTo>
                  <a:lnTo>
                    <a:pt x="23" y="382"/>
                  </a:lnTo>
                  <a:lnTo>
                    <a:pt x="23" y="382"/>
                  </a:lnTo>
                  <a:lnTo>
                    <a:pt x="25" y="384"/>
                  </a:lnTo>
                  <a:lnTo>
                    <a:pt x="25" y="386"/>
                  </a:lnTo>
                  <a:lnTo>
                    <a:pt x="23" y="388"/>
                  </a:lnTo>
                  <a:lnTo>
                    <a:pt x="21" y="390"/>
                  </a:lnTo>
                  <a:lnTo>
                    <a:pt x="21" y="390"/>
                  </a:lnTo>
                  <a:lnTo>
                    <a:pt x="19" y="390"/>
                  </a:lnTo>
                  <a:lnTo>
                    <a:pt x="19" y="392"/>
                  </a:lnTo>
                  <a:lnTo>
                    <a:pt x="19" y="392"/>
                  </a:lnTo>
                  <a:lnTo>
                    <a:pt x="19" y="394"/>
                  </a:lnTo>
                  <a:lnTo>
                    <a:pt x="17" y="396"/>
                  </a:lnTo>
                  <a:lnTo>
                    <a:pt x="17" y="398"/>
                  </a:lnTo>
                  <a:lnTo>
                    <a:pt x="17" y="398"/>
                  </a:lnTo>
                  <a:lnTo>
                    <a:pt x="17" y="400"/>
                  </a:lnTo>
                  <a:lnTo>
                    <a:pt x="17" y="400"/>
                  </a:lnTo>
                  <a:lnTo>
                    <a:pt x="17" y="400"/>
                  </a:lnTo>
                  <a:lnTo>
                    <a:pt x="15" y="398"/>
                  </a:lnTo>
                  <a:lnTo>
                    <a:pt x="15" y="398"/>
                  </a:lnTo>
                  <a:lnTo>
                    <a:pt x="15" y="398"/>
                  </a:lnTo>
                  <a:lnTo>
                    <a:pt x="15" y="398"/>
                  </a:lnTo>
                  <a:lnTo>
                    <a:pt x="13" y="398"/>
                  </a:lnTo>
                  <a:lnTo>
                    <a:pt x="13" y="400"/>
                  </a:lnTo>
                  <a:lnTo>
                    <a:pt x="13" y="402"/>
                  </a:lnTo>
                  <a:lnTo>
                    <a:pt x="13" y="402"/>
                  </a:lnTo>
                  <a:lnTo>
                    <a:pt x="11" y="400"/>
                  </a:lnTo>
                  <a:lnTo>
                    <a:pt x="11" y="400"/>
                  </a:lnTo>
                  <a:lnTo>
                    <a:pt x="9" y="400"/>
                  </a:lnTo>
                  <a:lnTo>
                    <a:pt x="9" y="402"/>
                  </a:lnTo>
                  <a:lnTo>
                    <a:pt x="9" y="404"/>
                  </a:lnTo>
                  <a:lnTo>
                    <a:pt x="9" y="404"/>
                  </a:lnTo>
                  <a:lnTo>
                    <a:pt x="7" y="406"/>
                  </a:lnTo>
                  <a:lnTo>
                    <a:pt x="7" y="406"/>
                  </a:lnTo>
                  <a:lnTo>
                    <a:pt x="7" y="408"/>
                  </a:lnTo>
                  <a:lnTo>
                    <a:pt x="7" y="408"/>
                  </a:lnTo>
                  <a:lnTo>
                    <a:pt x="7" y="410"/>
                  </a:lnTo>
                  <a:lnTo>
                    <a:pt x="7" y="410"/>
                  </a:lnTo>
                  <a:lnTo>
                    <a:pt x="7" y="410"/>
                  </a:lnTo>
                  <a:lnTo>
                    <a:pt x="9" y="412"/>
                  </a:lnTo>
                  <a:lnTo>
                    <a:pt x="9" y="412"/>
                  </a:lnTo>
                  <a:lnTo>
                    <a:pt x="11" y="414"/>
                  </a:lnTo>
                  <a:lnTo>
                    <a:pt x="11" y="414"/>
                  </a:lnTo>
                  <a:lnTo>
                    <a:pt x="11" y="416"/>
                  </a:lnTo>
                  <a:lnTo>
                    <a:pt x="11" y="416"/>
                  </a:lnTo>
                  <a:lnTo>
                    <a:pt x="9" y="419"/>
                  </a:lnTo>
                  <a:lnTo>
                    <a:pt x="9" y="419"/>
                  </a:lnTo>
                  <a:lnTo>
                    <a:pt x="7" y="421"/>
                  </a:lnTo>
                  <a:lnTo>
                    <a:pt x="4" y="423"/>
                  </a:lnTo>
                  <a:lnTo>
                    <a:pt x="7" y="423"/>
                  </a:lnTo>
                  <a:lnTo>
                    <a:pt x="9" y="423"/>
                  </a:lnTo>
                  <a:lnTo>
                    <a:pt x="11" y="423"/>
                  </a:lnTo>
                  <a:lnTo>
                    <a:pt x="9" y="425"/>
                  </a:lnTo>
                  <a:lnTo>
                    <a:pt x="7" y="425"/>
                  </a:lnTo>
                  <a:lnTo>
                    <a:pt x="7" y="427"/>
                  </a:lnTo>
                  <a:lnTo>
                    <a:pt x="4" y="427"/>
                  </a:lnTo>
                  <a:lnTo>
                    <a:pt x="2" y="427"/>
                  </a:lnTo>
                  <a:lnTo>
                    <a:pt x="4" y="429"/>
                  </a:lnTo>
                  <a:lnTo>
                    <a:pt x="4" y="431"/>
                  </a:lnTo>
                  <a:lnTo>
                    <a:pt x="4" y="433"/>
                  </a:lnTo>
                  <a:lnTo>
                    <a:pt x="4" y="433"/>
                  </a:lnTo>
                  <a:lnTo>
                    <a:pt x="4" y="435"/>
                  </a:lnTo>
                  <a:lnTo>
                    <a:pt x="4" y="437"/>
                  </a:lnTo>
                  <a:lnTo>
                    <a:pt x="4" y="437"/>
                  </a:lnTo>
                  <a:lnTo>
                    <a:pt x="4" y="439"/>
                  </a:lnTo>
                  <a:lnTo>
                    <a:pt x="4" y="441"/>
                  </a:lnTo>
                  <a:lnTo>
                    <a:pt x="4" y="441"/>
                  </a:lnTo>
                  <a:lnTo>
                    <a:pt x="7" y="443"/>
                  </a:lnTo>
                  <a:lnTo>
                    <a:pt x="4" y="443"/>
                  </a:lnTo>
                  <a:lnTo>
                    <a:pt x="4" y="445"/>
                  </a:lnTo>
                  <a:lnTo>
                    <a:pt x="2" y="445"/>
                  </a:lnTo>
                  <a:lnTo>
                    <a:pt x="0" y="445"/>
                  </a:lnTo>
                  <a:lnTo>
                    <a:pt x="0" y="445"/>
                  </a:lnTo>
                  <a:lnTo>
                    <a:pt x="7" y="449"/>
                  </a:lnTo>
                  <a:lnTo>
                    <a:pt x="7" y="451"/>
                  </a:lnTo>
                  <a:lnTo>
                    <a:pt x="7" y="451"/>
                  </a:lnTo>
                  <a:lnTo>
                    <a:pt x="4" y="451"/>
                  </a:lnTo>
                  <a:lnTo>
                    <a:pt x="2" y="451"/>
                  </a:lnTo>
                  <a:lnTo>
                    <a:pt x="2" y="451"/>
                  </a:lnTo>
                  <a:lnTo>
                    <a:pt x="2" y="451"/>
                  </a:lnTo>
                  <a:lnTo>
                    <a:pt x="2" y="453"/>
                  </a:lnTo>
                  <a:lnTo>
                    <a:pt x="2" y="453"/>
                  </a:lnTo>
                  <a:lnTo>
                    <a:pt x="4" y="453"/>
                  </a:lnTo>
                  <a:lnTo>
                    <a:pt x="7" y="453"/>
                  </a:lnTo>
                  <a:lnTo>
                    <a:pt x="9" y="453"/>
                  </a:lnTo>
                  <a:lnTo>
                    <a:pt x="11" y="453"/>
                  </a:lnTo>
                  <a:lnTo>
                    <a:pt x="13" y="455"/>
                  </a:lnTo>
                  <a:lnTo>
                    <a:pt x="15" y="455"/>
                  </a:lnTo>
                  <a:lnTo>
                    <a:pt x="15" y="455"/>
                  </a:lnTo>
                  <a:lnTo>
                    <a:pt x="19" y="449"/>
                  </a:lnTo>
                  <a:lnTo>
                    <a:pt x="15" y="443"/>
                  </a:lnTo>
                  <a:lnTo>
                    <a:pt x="15" y="443"/>
                  </a:lnTo>
                  <a:lnTo>
                    <a:pt x="15" y="439"/>
                  </a:lnTo>
                  <a:lnTo>
                    <a:pt x="17" y="439"/>
                  </a:lnTo>
                  <a:lnTo>
                    <a:pt x="19" y="439"/>
                  </a:lnTo>
                  <a:lnTo>
                    <a:pt x="21" y="441"/>
                  </a:lnTo>
                  <a:lnTo>
                    <a:pt x="21" y="441"/>
                  </a:lnTo>
                  <a:lnTo>
                    <a:pt x="23" y="443"/>
                  </a:lnTo>
                  <a:lnTo>
                    <a:pt x="25" y="443"/>
                  </a:lnTo>
                  <a:lnTo>
                    <a:pt x="27" y="443"/>
                  </a:lnTo>
                  <a:lnTo>
                    <a:pt x="29" y="443"/>
                  </a:lnTo>
                  <a:lnTo>
                    <a:pt x="31" y="441"/>
                  </a:lnTo>
                  <a:lnTo>
                    <a:pt x="33" y="441"/>
                  </a:lnTo>
                  <a:lnTo>
                    <a:pt x="33" y="441"/>
                  </a:lnTo>
                  <a:lnTo>
                    <a:pt x="35" y="439"/>
                  </a:lnTo>
                  <a:lnTo>
                    <a:pt x="35" y="439"/>
                  </a:lnTo>
                  <a:lnTo>
                    <a:pt x="37" y="441"/>
                  </a:lnTo>
                  <a:lnTo>
                    <a:pt x="37" y="441"/>
                  </a:lnTo>
                  <a:lnTo>
                    <a:pt x="37" y="445"/>
                  </a:lnTo>
                  <a:lnTo>
                    <a:pt x="37" y="447"/>
                  </a:lnTo>
                  <a:lnTo>
                    <a:pt x="39" y="447"/>
                  </a:lnTo>
                  <a:lnTo>
                    <a:pt x="41" y="447"/>
                  </a:lnTo>
                  <a:lnTo>
                    <a:pt x="43" y="443"/>
                  </a:lnTo>
                  <a:lnTo>
                    <a:pt x="43" y="441"/>
                  </a:lnTo>
                  <a:lnTo>
                    <a:pt x="43" y="439"/>
                  </a:lnTo>
                  <a:lnTo>
                    <a:pt x="41" y="435"/>
                  </a:lnTo>
                  <a:lnTo>
                    <a:pt x="41" y="433"/>
                  </a:lnTo>
                  <a:lnTo>
                    <a:pt x="41" y="433"/>
                  </a:lnTo>
                  <a:lnTo>
                    <a:pt x="41" y="431"/>
                  </a:lnTo>
                  <a:lnTo>
                    <a:pt x="41" y="431"/>
                  </a:lnTo>
                  <a:lnTo>
                    <a:pt x="43" y="431"/>
                  </a:lnTo>
                  <a:lnTo>
                    <a:pt x="43" y="433"/>
                  </a:lnTo>
                  <a:lnTo>
                    <a:pt x="43" y="433"/>
                  </a:lnTo>
                  <a:lnTo>
                    <a:pt x="43" y="435"/>
                  </a:lnTo>
                  <a:lnTo>
                    <a:pt x="47" y="437"/>
                  </a:lnTo>
                  <a:lnTo>
                    <a:pt x="52" y="437"/>
                  </a:lnTo>
                  <a:lnTo>
                    <a:pt x="54" y="435"/>
                  </a:lnTo>
                  <a:lnTo>
                    <a:pt x="58" y="433"/>
                  </a:lnTo>
                  <a:lnTo>
                    <a:pt x="60" y="433"/>
                  </a:lnTo>
                  <a:lnTo>
                    <a:pt x="62" y="433"/>
                  </a:lnTo>
                  <a:lnTo>
                    <a:pt x="64" y="435"/>
                  </a:lnTo>
                  <a:lnTo>
                    <a:pt x="66" y="435"/>
                  </a:lnTo>
                  <a:lnTo>
                    <a:pt x="66" y="437"/>
                  </a:lnTo>
                  <a:lnTo>
                    <a:pt x="72" y="439"/>
                  </a:lnTo>
                  <a:lnTo>
                    <a:pt x="76" y="439"/>
                  </a:lnTo>
                  <a:lnTo>
                    <a:pt x="76" y="441"/>
                  </a:lnTo>
                  <a:lnTo>
                    <a:pt x="78" y="441"/>
                  </a:lnTo>
                  <a:lnTo>
                    <a:pt x="80" y="441"/>
                  </a:lnTo>
                  <a:lnTo>
                    <a:pt x="80" y="441"/>
                  </a:lnTo>
                  <a:lnTo>
                    <a:pt x="82" y="441"/>
                  </a:lnTo>
                  <a:lnTo>
                    <a:pt x="82" y="443"/>
                  </a:lnTo>
                  <a:lnTo>
                    <a:pt x="82" y="443"/>
                  </a:lnTo>
                  <a:lnTo>
                    <a:pt x="84" y="445"/>
                  </a:lnTo>
                  <a:lnTo>
                    <a:pt x="84" y="445"/>
                  </a:lnTo>
                  <a:lnTo>
                    <a:pt x="86" y="447"/>
                  </a:lnTo>
                  <a:lnTo>
                    <a:pt x="88" y="445"/>
                  </a:lnTo>
                  <a:lnTo>
                    <a:pt x="88" y="441"/>
                  </a:lnTo>
                  <a:lnTo>
                    <a:pt x="90" y="435"/>
                  </a:lnTo>
                  <a:lnTo>
                    <a:pt x="93" y="433"/>
                  </a:lnTo>
                  <a:lnTo>
                    <a:pt x="93" y="431"/>
                  </a:lnTo>
                  <a:lnTo>
                    <a:pt x="93" y="431"/>
                  </a:lnTo>
                  <a:lnTo>
                    <a:pt x="95" y="429"/>
                  </a:lnTo>
                  <a:lnTo>
                    <a:pt x="101" y="429"/>
                  </a:lnTo>
                  <a:lnTo>
                    <a:pt x="101" y="429"/>
                  </a:lnTo>
                  <a:lnTo>
                    <a:pt x="103" y="427"/>
                  </a:lnTo>
                  <a:lnTo>
                    <a:pt x="105" y="423"/>
                  </a:lnTo>
                  <a:lnTo>
                    <a:pt x="109" y="421"/>
                  </a:lnTo>
                  <a:lnTo>
                    <a:pt x="111" y="423"/>
                  </a:lnTo>
                  <a:lnTo>
                    <a:pt x="111" y="427"/>
                  </a:lnTo>
                  <a:lnTo>
                    <a:pt x="113" y="429"/>
                  </a:lnTo>
                  <a:lnTo>
                    <a:pt x="117" y="431"/>
                  </a:lnTo>
                  <a:lnTo>
                    <a:pt x="119" y="431"/>
                  </a:lnTo>
                  <a:lnTo>
                    <a:pt x="123" y="429"/>
                  </a:lnTo>
                  <a:lnTo>
                    <a:pt x="125" y="429"/>
                  </a:lnTo>
                  <a:lnTo>
                    <a:pt x="123" y="433"/>
                  </a:lnTo>
                  <a:lnTo>
                    <a:pt x="123" y="433"/>
                  </a:lnTo>
                  <a:lnTo>
                    <a:pt x="125" y="435"/>
                  </a:lnTo>
                  <a:lnTo>
                    <a:pt x="127" y="435"/>
                  </a:lnTo>
                  <a:lnTo>
                    <a:pt x="129" y="433"/>
                  </a:lnTo>
                  <a:lnTo>
                    <a:pt x="129" y="431"/>
                  </a:lnTo>
                  <a:lnTo>
                    <a:pt x="129" y="429"/>
                  </a:lnTo>
                  <a:lnTo>
                    <a:pt x="129" y="427"/>
                  </a:lnTo>
                  <a:lnTo>
                    <a:pt x="133" y="425"/>
                  </a:lnTo>
                  <a:lnTo>
                    <a:pt x="133" y="425"/>
                  </a:lnTo>
                  <a:lnTo>
                    <a:pt x="133" y="423"/>
                  </a:lnTo>
                  <a:lnTo>
                    <a:pt x="133" y="416"/>
                  </a:lnTo>
                  <a:lnTo>
                    <a:pt x="133" y="414"/>
                  </a:lnTo>
                  <a:lnTo>
                    <a:pt x="133" y="412"/>
                  </a:lnTo>
                  <a:lnTo>
                    <a:pt x="136" y="412"/>
                  </a:lnTo>
                  <a:lnTo>
                    <a:pt x="138" y="410"/>
                  </a:lnTo>
                  <a:lnTo>
                    <a:pt x="140" y="410"/>
                  </a:lnTo>
                  <a:lnTo>
                    <a:pt x="140" y="408"/>
                  </a:lnTo>
                  <a:lnTo>
                    <a:pt x="140" y="406"/>
                  </a:lnTo>
                  <a:lnTo>
                    <a:pt x="138" y="404"/>
                  </a:lnTo>
                  <a:lnTo>
                    <a:pt x="138" y="404"/>
                  </a:lnTo>
                  <a:lnTo>
                    <a:pt x="138" y="402"/>
                  </a:lnTo>
                  <a:lnTo>
                    <a:pt x="138" y="402"/>
                  </a:lnTo>
                  <a:lnTo>
                    <a:pt x="140" y="402"/>
                  </a:lnTo>
                  <a:lnTo>
                    <a:pt x="140" y="404"/>
                  </a:lnTo>
                  <a:lnTo>
                    <a:pt x="140" y="404"/>
                  </a:lnTo>
                  <a:lnTo>
                    <a:pt x="142" y="404"/>
                  </a:lnTo>
                  <a:lnTo>
                    <a:pt x="144" y="404"/>
                  </a:lnTo>
                  <a:lnTo>
                    <a:pt x="146" y="402"/>
                  </a:lnTo>
                  <a:lnTo>
                    <a:pt x="148" y="400"/>
                  </a:lnTo>
                  <a:lnTo>
                    <a:pt x="148" y="400"/>
                  </a:lnTo>
                  <a:lnTo>
                    <a:pt x="146" y="400"/>
                  </a:lnTo>
                  <a:lnTo>
                    <a:pt x="144" y="398"/>
                  </a:lnTo>
                  <a:lnTo>
                    <a:pt x="142" y="396"/>
                  </a:lnTo>
                  <a:lnTo>
                    <a:pt x="144" y="396"/>
                  </a:lnTo>
                  <a:lnTo>
                    <a:pt x="146" y="396"/>
                  </a:lnTo>
                  <a:lnTo>
                    <a:pt x="146" y="396"/>
                  </a:lnTo>
                  <a:lnTo>
                    <a:pt x="152" y="398"/>
                  </a:lnTo>
                  <a:lnTo>
                    <a:pt x="152" y="400"/>
                  </a:lnTo>
                  <a:lnTo>
                    <a:pt x="152" y="404"/>
                  </a:lnTo>
                  <a:lnTo>
                    <a:pt x="152" y="406"/>
                  </a:lnTo>
                  <a:lnTo>
                    <a:pt x="154" y="408"/>
                  </a:lnTo>
                  <a:lnTo>
                    <a:pt x="156" y="408"/>
                  </a:lnTo>
                  <a:lnTo>
                    <a:pt x="158" y="410"/>
                  </a:lnTo>
                  <a:lnTo>
                    <a:pt x="160" y="410"/>
                  </a:lnTo>
                  <a:lnTo>
                    <a:pt x="162" y="412"/>
                  </a:lnTo>
                  <a:lnTo>
                    <a:pt x="166" y="412"/>
                  </a:lnTo>
                  <a:lnTo>
                    <a:pt x="168" y="412"/>
                  </a:lnTo>
                  <a:lnTo>
                    <a:pt x="172" y="414"/>
                  </a:lnTo>
                  <a:lnTo>
                    <a:pt x="174" y="416"/>
                  </a:lnTo>
                  <a:lnTo>
                    <a:pt x="174" y="414"/>
                  </a:lnTo>
                  <a:lnTo>
                    <a:pt x="177" y="412"/>
                  </a:lnTo>
                  <a:lnTo>
                    <a:pt x="177" y="412"/>
                  </a:lnTo>
                  <a:lnTo>
                    <a:pt x="181" y="410"/>
                  </a:lnTo>
                  <a:lnTo>
                    <a:pt x="183" y="410"/>
                  </a:lnTo>
                  <a:lnTo>
                    <a:pt x="183" y="410"/>
                  </a:lnTo>
                  <a:lnTo>
                    <a:pt x="183" y="408"/>
                  </a:lnTo>
                  <a:lnTo>
                    <a:pt x="185" y="408"/>
                  </a:lnTo>
                  <a:lnTo>
                    <a:pt x="185" y="404"/>
                  </a:lnTo>
                  <a:lnTo>
                    <a:pt x="185" y="394"/>
                  </a:lnTo>
                  <a:lnTo>
                    <a:pt x="185" y="392"/>
                  </a:lnTo>
                  <a:lnTo>
                    <a:pt x="185" y="390"/>
                  </a:lnTo>
                  <a:lnTo>
                    <a:pt x="185" y="388"/>
                  </a:lnTo>
                  <a:lnTo>
                    <a:pt x="187" y="386"/>
                  </a:lnTo>
                  <a:lnTo>
                    <a:pt x="187" y="386"/>
                  </a:lnTo>
                  <a:lnTo>
                    <a:pt x="189" y="382"/>
                  </a:lnTo>
                  <a:lnTo>
                    <a:pt x="189" y="380"/>
                  </a:lnTo>
                  <a:lnTo>
                    <a:pt x="191" y="380"/>
                  </a:lnTo>
                  <a:lnTo>
                    <a:pt x="193" y="380"/>
                  </a:lnTo>
                  <a:lnTo>
                    <a:pt x="193" y="380"/>
                  </a:lnTo>
                  <a:lnTo>
                    <a:pt x="193" y="380"/>
                  </a:lnTo>
                  <a:lnTo>
                    <a:pt x="195" y="382"/>
                  </a:lnTo>
                  <a:lnTo>
                    <a:pt x="195" y="382"/>
                  </a:lnTo>
                  <a:lnTo>
                    <a:pt x="199" y="380"/>
                  </a:lnTo>
                  <a:lnTo>
                    <a:pt x="199" y="378"/>
                  </a:lnTo>
                  <a:lnTo>
                    <a:pt x="203" y="376"/>
                  </a:lnTo>
                  <a:lnTo>
                    <a:pt x="203" y="371"/>
                  </a:lnTo>
                  <a:lnTo>
                    <a:pt x="205" y="361"/>
                  </a:lnTo>
                  <a:lnTo>
                    <a:pt x="207" y="359"/>
                  </a:lnTo>
                  <a:lnTo>
                    <a:pt x="209" y="359"/>
                  </a:lnTo>
                  <a:lnTo>
                    <a:pt x="211" y="357"/>
                  </a:lnTo>
                  <a:lnTo>
                    <a:pt x="213" y="357"/>
                  </a:lnTo>
                  <a:lnTo>
                    <a:pt x="213" y="355"/>
                  </a:lnTo>
                  <a:lnTo>
                    <a:pt x="215" y="353"/>
                  </a:lnTo>
                  <a:lnTo>
                    <a:pt x="220" y="349"/>
                  </a:lnTo>
                  <a:lnTo>
                    <a:pt x="220" y="347"/>
                  </a:lnTo>
                  <a:lnTo>
                    <a:pt x="220" y="345"/>
                  </a:lnTo>
                  <a:lnTo>
                    <a:pt x="217" y="341"/>
                  </a:lnTo>
                  <a:lnTo>
                    <a:pt x="215" y="335"/>
                  </a:lnTo>
                  <a:lnTo>
                    <a:pt x="215" y="332"/>
                  </a:lnTo>
                  <a:lnTo>
                    <a:pt x="215" y="330"/>
                  </a:lnTo>
                  <a:lnTo>
                    <a:pt x="213" y="328"/>
                  </a:lnTo>
                  <a:lnTo>
                    <a:pt x="215" y="328"/>
                  </a:lnTo>
                  <a:lnTo>
                    <a:pt x="226" y="326"/>
                  </a:lnTo>
                  <a:lnTo>
                    <a:pt x="230" y="324"/>
                  </a:lnTo>
                  <a:lnTo>
                    <a:pt x="232" y="326"/>
                  </a:lnTo>
                  <a:lnTo>
                    <a:pt x="236" y="328"/>
                  </a:lnTo>
                  <a:lnTo>
                    <a:pt x="238" y="330"/>
                  </a:lnTo>
                  <a:lnTo>
                    <a:pt x="240" y="328"/>
                  </a:lnTo>
                  <a:lnTo>
                    <a:pt x="252" y="318"/>
                  </a:lnTo>
                  <a:lnTo>
                    <a:pt x="256" y="316"/>
                  </a:lnTo>
                  <a:lnTo>
                    <a:pt x="260" y="316"/>
                  </a:lnTo>
                  <a:lnTo>
                    <a:pt x="267" y="316"/>
                  </a:lnTo>
                  <a:lnTo>
                    <a:pt x="269" y="314"/>
                  </a:lnTo>
                  <a:lnTo>
                    <a:pt x="267" y="312"/>
                  </a:lnTo>
                  <a:lnTo>
                    <a:pt x="267" y="308"/>
                  </a:lnTo>
                  <a:lnTo>
                    <a:pt x="267" y="30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N</a:t>
              </a:r>
            </a:p>
          </p:txBody>
        </p:sp>
        <p:sp>
          <p:nvSpPr>
            <p:cNvPr id="330" name="Freeform 41">
              <a:extLst>
                <a:ext uri="{FF2B5EF4-FFF2-40B4-BE49-F238E27FC236}">
                  <a16:creationId xmlns:a16="http://schemas.microsoft.com/office/drawing/2014/main" id="{64895881-A9F8-7EF6-3106-9DE4B1BE5FB8}"/>
                </a:ext>
              </a:extLst>
            </p:cNvPr>
            <p:cNvSpPr>
              <a:spLocks/>
            </p:cNvSpPr>
            <p:nvPr/>
          </p:nvSpPr>
          <p:spPr bwMode="auto">
            <a:xfrm>
              <a:off x="3437" y="803"/>
              <a:ext cx="350" cy="597"/>
            </a:xfrm>
            <a:custGeom>
              <a:avLst/>
              <a:gdLst>
                <a:gd name="T0" fmla="*/ 342 w 350"/>
                <a:gd name="T1" fmla="*/ 367 h 597"/>
                <a:gd name="T2" fmla="*/ 338 w 350"/>
                <a:gd name="T3" fmla="*/ 345 h 597"/>
                <a:gd name="T4" fmla="*/ 340 w 350"/>
                <a:gd name="T5" fmla="*/ 308 h 597"/>
                <a:gd name="T6" fmla="*/ 324 w 350"/>
                <a:gd name="T7" fmla="*/ 154 h 597"/>
                <a:gd name="T8" fmla="*/ 305 w 350"/>
                <a:gd name="T9" fmla="*/ 60 h 597"/>
                <a:gd name="T10" fmla="*/ 293 w 350"/>
                <a:gd name="T11" fmla="*/ 39 h 597"/>
                <a:gd name="T12" fmla="*/ 283 w 350"/>
                <a:gd name="T13" fmla="*/ 15 h 597"/>
                <a:gd name="T14" fmla="*/ 240 w 350"/>
                <a:gd name="T15" fmla="*/ 5 h 597"/>
                <a:gd name="T16" fmla="*/ 111 w 350"/>
                <a:gd name="T17" fmla="*/ 15 h 597"/>
                <a:gd name="T18" fmla="*/ 53 w 350"/>
                <a:gd name="T19" fmla="*/ 19 h 597"/>
                <a:gd name="T20" fmla="*/ 53 w 350"/>
                <a:gd name="T21" fmla="*/ 19 h 597"/>
                <a:gd name="T22" fmla="*/ 74 w 350"/>
                <a:gd name="T23" fmla="*/ 39 h 597"/>
                <a:gd name="T24" fmla="*/ 90 w 350"/>
                <a:gd name="T25" fmla="*/ 54 h 597"/>
                <a:gd name="T26" fmla="*/ 98 w 350"/>
                <a:gd name="T27" fmla="*/ 68 h 597"/>
                <a:gd name="T28" fmla="*/ 88 w 350"/>
                <a:gd name="T29" fmla="*/ 97 h 597"/>
                <a:gd name="T30" fmla="*/ 86 w 350"/>
                <a:gd name="T31" fmla="*/ 111 h 597"/>
                <a:gd name="T32" fmla="*/ 66 w 350"/>
                <a:gd name="T33" fmla="*/ 125 h 597"/>
                <a:gd name="T34" fmla="*/ 27 w 350"/>
                <a:gd name="T35" fmla="*/ 150 h 597"/>
                <a:gd name="T36" fmla="*/ 41 w 350"/>
                <a:gd name="T37" fmla="*/ 175 h 597"/>
                <a:gd name="T38" fmla="*/ 31 w 350"/>
                <a:gd name="T39" fmla="*/ 209 h 597"/>
                <a:gd name="T40" fmla="*/ 6 w 350"/>
                <a:gd name="T41" fmla="*/ 230 h 597"/>
                <a:gd name="T42" fmla="*/ 10 w 350"/>
                <a:gd name="T43" fmla="*/ 244 h 597"/>
                <a:gd name="T44" fmla="*/ 0 w 350"/>
                <a:gd name="T45" fmla="*/ 273 h 597"/>
                <a:gd name="T46" fmla="*/ 8 w 350"/>
                <a:gd name="T47" fmla="*/ 302 h 597"/>
                <a:gd name="T48" fmla="*/ 14 w 350"/>
                <a:gd name="T49" fmla="*/ 316 h 597"/>
                <a:gd name="T50" fmla="*/ 66 w 350"/>
                <a:gd name="T51" fmla="*/ 359 h 597"/>
                <a:gd name="T52" fmla="*/ 76 w 350"/>
                <a:gd name="T53" fmla="*/ 380 h 597"/>
                <a:gd name="T54" fmla="*/ 80 w 350"/>
                <a:gd name="T55" fmla="*/ 392 h 597"/>
                <a:gd name="T56" fmla="*/ 107 w 350"/>
                <a:gd name="T57" fmla="*/ 396 h 597"/>
                <a:gd name="T58" fmla="*/ 127 w 350"/>
                <a:gd name="T59" fmla="*/ 414 h 597"/>
                <a:gd name="T60" fmla="*/ 115 w 350"/>
                <a:gd name="T61" fmla="*/ 457 h 597"/>
                <a:gd name="T62" fmla="*/ 123 w 350"/>
                <a:gd name="T63" fmla="*/ 480 h 597"/>
                <a:gd name="T64" fmla="*/ 141 w 350"/>
                <a:gd name="T65" fmla="*/ 494 h 597"/>
                <a:gd name="T66" fmla="*/ 172 w 350"/>
                <a:gd name="T67" fmla="*/ 509 h 597"/>
                <a:gd name="T68" fmla="*/ 193 w 350"/>
                <a:gd name="T69" fmla="*/ 529 h 597"/>
                <a:gd name="T70" fmla="*/ 203 w 350"/>
                <a:gd name="T71" fmla="*/ 554 h 597"/>
                <a:gd name="T72" fmla="*/ 201 w 350"/>
                <a:gd name="T73" fmla="*/ 572 h 597"/>
                <a:gd name="T74" fmla="*/ 219 w 350"/>
                <a:gd name="T75" fmla="*/ 595 h 597"/>
                <a:gd name="T76" fmla="*/ 219 w 350"/>
                <a:gd name="T77" fmla="*/ 587 h 597"/>
                <a:gd name="T78" fmla="*/ 227 w 350"/>
                <a:gd name="T79" fmla="*/ 595 h 597"/>
                <a:gd name="T80" fmla="*/ 229 w 350"/>
                <a:gd name="T81" fmla="*/ 591 h 597"/>
                <a:gd name="T82" fmla="*/ 250 w 350"/>
                <a:gd name="T83" fmla="*/ 568 h 597"/>
                <a:gd name="T84" fmla="*/ 287 w 350"/>
                <a:gd name="T85" fmla="*/ 564 h 597"/>
                <a:gd name="T86" fmla="*/ 293 w 350"/>
                <a:gd name="T87" fmla="*/ 543 h 597"/>
                <a:gd name="T88" fmla="*/ 309 w 350"/>
                <a:gd name="T89" fmla="*/ 519 h 597"/>
                <a:gd name="T90" fmla="*/ 318 w 350"/>
                <a:gd name="T91" fmla="*/ 498 h 597"/>
                <a:gd name="T92" fmla="*/ 318 w 350"/>
                <a:gd name="T93" fmla="*/ 496 h 597"/>
                <a:gd name="T94" fmla="*/ 315 w 350"/>
                <a:gd name="T95" fmla="*/ 486 h 597"/>
                <a:gd name="T96" fmla="*/ 313 w 350"/>
                <a:gd name="T97" fmla="*/ 472 h 597"/>
                <a:gd name="T98" fmla="*/ 318 w 350"/>
                <a:gd name="T99" fmla="*/ 466 h 597"/>
                <a:gd name="T100" fmla="*/ 318 w 350"/>
                <a:gd name="T101" fmla="*/ 455 h 597"/>
                <a:gd name="T102" fmla="*/ 320 w 350"/>
                <a:gd name="T103" fmla="*/ 447 h 597"/>
                <a:gd name="T104" fmla="*/ 326 w 350"/>
                <a:gd name="T105" fmla="*/ 443 h 597"/>
                <a:gd name="T106" fmla="*/ 330 w 350"/>
                <a:gd name="T107" fmla="*/ 439 h 597"/>
                <a:gd name="T108" fmla="*/ 334 w 350"/>
                <a:gd name="T109" fmla="*/ 427 h 597"/>
                <a:gd name="T110" fmla="*/ 342 w 350"/>
                <a:gd name="T111" fmla="*/ 421 h 597"/>
                <a:gd name="T112" fmla="*/ 342 w 350"/>
                <a:gd name="T113" fmla="*/ 410 h 597"/>
                <a:gd name="T114" fmla="*/ 346 w 350"/>
                <a:gd name="T115" fmla="*/ 40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597">
                  <a:moveTo>
                    <a:pt x="348" y="384"/>
                  </a:moveTo>
                  <a:lnTo>
                    <a:pt x="346" y="380"/>
                  </a:lnTo>
                  <a:lnTo>
                    <a:pt x="346" y="377"/>
                  </a:lnTo>
                  <a:lnTo>
                    <a:pt x="346" y="377"/>
                  </a:lnTo>
                  <a:lnTo>
                    <a:pt x="348" y="375"/>
                  </a:lnTo>
                  <a:lnTo>
                    <a:pt x="346" y="371"/>
                  </a:lnTo>
                  <a:lnTo>
                    <a:pt x="346" y="369"/>
                  </a:lnTo>
                  <a:lnTo>
                    <a:pt x="344" y="367"/>
                  </a:lnTo>
                  <a:lnTo>
                    <a:pt x="342" y="367"/>
                  </a:lnTo>
                  <a:lnTo>
                    <a:pt x="342" y="365"/>
                  </a:lnTo>
                  <a:lnTo>
                    <a:pt x="340" y="361"/>
                  </a:lnTo>
                  <a:lnTo>
                    <a:pt x="340" y="359"/>
                  </a:lnTo>
                  <a:lnTo>
                    <a:pt x="336" y="357"/>
                  </a:lnTo>
                  <a:lnTo>
                    <a:pt x="336" y="357"/>
                  </a:lnTo>
                  <a:lnTo>
                    <a:pt x="334" y="357"/>
                  </a:lnTo>
                  <a:lnTo>
                    <a:pt x="334" y="355"/>
                  </a:lnTo>
                  <a:lnTo>
                    <a:pt x="334" y="351"/>
                  </a:lnTo>
                  <a:lnTo>
                    <a:pt x="338" y="345"/>
                  </a:lnTo>
                  <a:lnTo>
                    <a:pt x="338" y="341"/>
                  </a:lnTo>
                  <a:lnTo>
                    <a:pt x="336" y="336"/>
                  </a:lnTo>
                  <a:lnTo>
                    <a:pt x="336" y="336"/>
                  </a:lnTo>
                  <a:lnTo>
                    <a:pt x="336" y="332"/>
                  </a:lnTo>
                  <a:lnTo>
                    <a:pt x="338" y="332"/>
                  </a:lnTo>
                  <a:lnTo>
                    <a:pt x="342" y="328"/>
                  </a:lnTo>
                  <a:lnTo>
                    <a:pt x="342" y="328"/>
                  </a:lnTo>
                  <a:lnTo>
                    <a:pt x="342" y="324"/>
                  </a:lnTo>
                  <a:lnTo>
                    <a:pt x="340" y="308"/>
                  </a:lnTo>
                  <a:lnTo>
                    <a:pt x="338" y="293"/>
                  </a:lnTo>
                  <a:lnTo>
                    <a:pt x="336" y="277"/>
                  </a:lnTo>
                  <a:lnTo>
                    <a:pt x="334" y="246"/>
                  </a:lnTo>
                  <a:lnTo>
                    <a:pt x="332" y="232"/>
                  </a:lnTo>
                  <a:lnTo>
                    <a:pt x="330" y="216"/>
                  </a:lnTo>
                  <a:lnTo>
                    <a:pt x="328" y="201"/>
                  </a:lnTo>
                  <a:lnTo>
                    <a:pt x="326" y="185"/>
                  </a:lnTo>
                  <a:lnTo>
                    <a:pt x="326" y="170"/>
                  </a:lnTo>
                  <a:lnTo>
                    <a:pt x="324" y="154"/>
                  </a:lnTo>
                  <a:lnTo>
                    <a:pt x="322" y="140"/>
                  </a:lnTo>
                  <a:lnTo>
                    <a:pt x="320" y="123"/>
                  </a:lnTo>
                  <a:lnTo>
                    <a:pt x="318" y="109"/>
                  </a:lnTo>
                  <a:lnTo>
                    <a:pt x="318" y="95"/>
                  </a:lnTo>
                  <a:lnTo>
                    <a:pt x="315" y="78"/>
                  </a:lnTo>
                  <a:lnTo>
                    <a:pt x="315" y="78"/>
                  </a:lnTo>
                  <a:lnTo>
                    <a:pt x="309" y="72"/>
                  </a:lnTo>
                  <a:lnTo>
                    <a:pt x="307" y="68"/>
                  </a:lnTo>
                  <a:lnTo>
                    <a:pt x="305" y="60"/>
                  </a:lnTo>
                  <a:lnTo>
                    <a:pt x="301" y="56"/>
                  </a:lnTo>
                  <a:lnTo>
                    <a:pt x="299" y="45"/>
                  </a:lnTo>
                  <a:lnTo>
                    <a:pt x="299" y="45"/>
                  </a:lnTo>
                  <a:lnTo>
                    <a:pt x="299" y="43"/>
                  </a:lnTo>
                  <a:lnTo>
                    <a:pt x="297" y="41"/>
                  </a:lnTo>
                  <a:lnTo>
                    <a:pt x="297" y="41"/>
                  </a:lnTo>
                  <a:lnTo>
                    <a:pt x="295" y="39"/>
                  </a:lnTo>
                  <a:lnTo>
                    <a:pt x="293" y="39"/>
                  </a:lnTo>
                  <a:lnTo>
                    <a:pt x="293" y="39"/>
                  </a:lnTo>
                  <a:lnTo>
                    <a:pt x="293" y="39"/>
                  </a:lnTo>
                  <a:lnTo>
                    <a:pt x="291" y="37"/>
                  </a:lnTo>
                  <a:lnTo>
                    <a:pt x="291" y="37"/>
                  </a:lnTo>
                  <a:lnTo>
                    <a:pt x="291" y="35"/>
                  </a:lnTo>
                  <a:lnTo>
                    <a:pt x="291" y="35"/>
                  </a:lnTo>
                  <a:lnTo>
                    <a:pt x="287" y="29"/>
                  </a:lnTo>
                  <a:lnTo>
                    <a:pt x="285" y="25"/>
                  </a:lnTo>
                  <a:lnTo>
                    <a:pt x="285" y="23"/>
                  </a:lnTo>
                  <a:lnTo>
                    <a:pt x="283" y="15"/>
                  </a:lnTo>
                  <a:lnTo>
                    <a:pt x="283" y="13"/>
                  </a:lnTo>
                  <a:lnTo>
                    <a:pt x="283" y="13"/>
                  </a:lnTo>
                  <a:lnTo>
                    <a:pt x="283" y="11"/>
                  </a:lnTo>
                  <a:lnTo>
                    <a:pt x="283" y="11"/>
                  </a:lnTo>
                  <a:lnTo>
                    <a:pt x="283" y="0"/>
                  </a:lnTo>
                  <a:lnTo>
                    <a:pt x="283" y="0"/>
                  </a:lnTo>
                  <a:lnTo>
                    <a:pt x="268" y="0"/>
                  </a:lnTo>
                  <a:lnTo>
                    <a:pt x="254" y="2"/>
                  </a:lnTo>
                  <a:lnTo>
                    <a:pt x="240" y="5"/>
                  </a:lnTo>
                  <a:lnTo>
                    <a:pt x="225" y="5"/>
                  </a:lnTo>
                  <a:lnTo>
                    <a:pt x="211" y="7"/>
                  </a:lnTo>
                  <a:lnTo>
                    <a:pt x="197" y="9"/>
                  </a:lnTo>
                  <a:lnTo>
                    <a:pt x="182" y="9"/>
                  </a:lnTo>
                  <a:lnTo>
                    <a:pt x="168" y="11"/>
                  </a:lnTo>
                  <a:lnTo>
                    <a:pt x="154" y="11"/>
                  </a:lnTo>
                  <a:lnTo>
                    <a:pt x="139" y="13"/>
                  </a:lnTo>
                  <a:lnTo>
                    <a:pt x="125" y="15"/>
                  </a:lnTo>
                  <a:lnTo>
                    <a:pt x="111" y="15"/>
                  </a:lnTo>
                  <a:lnTo>
                    <a:pt x="96" y="17"/>
                  </a:lnTo>
                  <a:lnTo>
                    <a:pt x="82" y="17"/>
                  </a:lnTo>
                  <a:lnTo>
                    <a:pt x="68"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1" y="23"/>
                  </a:lnTo>
                  <a:lnTo>
                    <a:pt x="53" y="23"/>
                  </a:lnTo>
                  <a:lnTo>
                    <a:pt x="55" y="25"/>
                  </a:lnTo>
                  <a:lnTo>
                    <a:pt x="57" y="25"/>
                  </a:lnTo>
                  <a:lnTo>
                    <a:pt x="57" y="27"/>
                  </a:lnTo>
                  <a:lnTo>
                    <a:pt x="62" y="29"/>
                  </a:lnTo>
                  <a:lnTo>
                    <a:pt x="68" y="33"/>
                  </a:lnTo>
                  <a:lnTo>
                    <a:pt x="72" y="35"/>
                  </a:lnTo>
                  <a:lnTo>
                    <a:pt x="74" y="39"/>
                  </a:lnTo>
                  <a:lnTo>
                    <a:pt x="74" y="37"/>
                  </a:lnTo>
                  <a:lnTo>
                    <a:pt x="74" y="43"/>
                  </a:lnTo>
                  <a:lnTo>
                    <a:pt x="74" y="45"/>
                  </a:lnTo>
                  <a:lnTo>
                    <a:pt x="78" y="48"/>
                  </a:lnTo>
                  <a:lnTo>
                    <a:pt x="80" y="50"/>
                  </a:lnTo>
                  <a:lnTo>
                    <a:pt x="80" y="50"/>
                  </a:lnTo>
                  <a:lnTo>
                    <a:pt x="82" y="50"/>
                  </a:lnTo>
                  <a:lnTo>
                    <a:pt x="88" y="54"/>
                  </a:lnTo>
                  <a:lnTo>
                    <a:pt x="90" y="54"/>
                  </a:lnTo>
                  <a:lnTo>
                    <a:pt x="92" y="58"/>
                  </a:lnTo>
                  <a:lnTo>
                    <a:pt x="92" y="58"/>
                  </a:lnTo>
                  <a:lnTo>
                    <a:pt x="94" y="58"/>
                  </a:lnTo>
                  <a:lnTo>
                    <a:pt x="94" y="58"/>
                  </a:lnTo>
                  <a:lnTo>
                    <a:pt x="94" y="60"/>
                  </a:lnTo>
                  <a:lnTo>
                    <a:pt x="94" y="62"/>
                  </a:lnTo>
                  <a:lnTo>
                    <a:pt x="96" y="62"/>
                  </a:lnTo>
                  <a:lnTo>
                    <a:pt x="98" y="66"/>
                  </a:lnTo>
                  <a:lnTo>
                    <a:pt x="98" y="68"/>
                  </a:lnTo>
                  <a:lnTo>
                    <a:pt x="98" y="72"/>
                  </a:lnTo>
                  <a:lnTo>
                    <a:pt x="96" y="76"/>
                  </a:lnTo>
                  <a:lnTo>
                    <a:pt x="96" y="82"/>
                  </a:lnTo>
                  <a:lnTo>
                    <a:pt x="96" y="89"/>
                  </a:lnTo>
                  <a:lnTo>
                    <a:pt x="94" y="91"/>
                  </a:lnTo>
                  <a:lnTo>
                    <a:pt x="94" y="91"/>
                  </a:lnTo>
                  <a:lnTo>
                    <a:pt x="92" y="93"/>
                  </a:lnTo>
                  <a:lnTo>
                    <a:pt x="90" y="95"/>
                  </a:lnTo>
                  <a:lnTo>
                    <a:pt x="88" y="97"/>
                  </a:lnTo>
                  <a:lnTo>
                    <a:pt x="88" y="99"/>
                  </a:lnTo>
                  <a:lnTo>
                    <a:pt x="86" y="101"/>
                  </a:lnTo>
                  <a:lnTo>
                    <a:pt x="86" y="103"/>
                  </a:lnTo>
                  <a:lnTo>
                    <a:pt x="86" y="105"/>
                  </a:lnTo>
                  <a:lnTo>
                    <a:pt x="84" y="107"/>
                  </a:lnTo>
                  <a:lnTo>
                    <a:pt x="84" y="107"/>
                  </a:lnTo>
                  <a:lnTo>
                    <a:pt x="86" y="109"/>
                  </a:lnTo>
                  <a:lnTo>
                    <a:pt x="86" y="109"/>
                  </a:lnTo>
                  <a:lnTo>
                    <a:pt x="86" y="111"/>
                  </a:lnTo>
                  <a:lnTo>
                    <a:pt x="86" y="113"/>
                  </a:lnTo>
                  <a:lnTo>
                    <a:pt x="86" y="113"/>
                  </a:lnTo>
                  <a:lnTo>
                    <a:pt x="84" y="115"/>
                  </a:lnTo>
                  <a:lnTo>
                    <a:pt x="80" y="117"/>
                  </a:lnTo>
                  <a:lnTo>
                    <a:pt x="80" y="117"/>
                  </a:lnTo>
                  <a:lnTo>
                    <a:pt x="80" y="119"/>
                  </a:lnTo>
                  <a:lnTo>
                    <a:pt x="78" y="121"/>
                  </a:lnTo>
                  <a:lnTo>
                    <a:pt x="74" y="121"/>
                  </a:lnTo>
                  <a:lnTo>
                    <a:pt x="66" y="125"/>
                  </a:lnTo>
                  <a:lnTo>
                    <a:pt x="66" y="125"/>
                  </a:lnTo>
                  <a:lnTo>
                    <a:pt x="62" y="130"/>
                  </a:lnTo>
                  <a:lnTo>
                    <a:pt x="62" y="132"/>
                  </a:lnTo>
                  <a:lnTo>
                    <a:pt x="57" y="132"/>
                  </a:lnTo>
                  <a:lnTo>
                    <a:pt x="33" y="136"/>
                  </a:lnTo>
                  <a:lnTo>
                    <a:pt x="31" y="138"/>
                  </a:lnTo>
                  <a:lnTo>
                    <a:pt x="29" y="142"/>
                  </a:lnTo>
                  <a:lnTo>
                    <a:pt x="27" y="146"/>
                  </a:lnTo>
                  <a:lnTo>
                    <a:pt x="27" y="150"/>
                  </a:lnTo>
                  <a:lnTo>
                    <a:pt x="27" y="156"/>
                  </a:lnTo>
                  <a:lnTo>
                    <a:pt x="27" y="158"/>
                  </a:lnTo>
                  <a:lnTo>
                    <a:pt x="27" y="160"/>
                  </a:lnTo>
                  <a:lnTo>
                    <a:pt x="29" y="162"/>
                  </a:lnTo>
                  <a:lnTo>
                    <a:pt x="31" y="162"/>
                  </a:lnTo>
                  <a:lnTo>
                    <a:pt x="31" y="164"/>
                  </a:lnTo>
                  <a:lnTo>
                    <a:pt x="35" y="166"/>
                  </a:lnTo>
                  <a:lnTo>
                    <a:pt x="39" y="170"/>
                  </a:lnTo>
                  <a:lnTo>
                    <a:pt x="41" y="175"/>
                  </a:lnTo>
                  <a:lnTo>
                    <a:pt x="41" y="179"/>
                  </a:lnTo>
                  <a:lnTo>
                    <a:pt x="41" y="183"/>
                  </a:lnTo>
                  <a:lnTo>
                    <a:pt x="39" y="187"/>
                  </a:lnTo>
                  <a:lnTo>
                    <a:pt x="33" y="197"/>
                  </a:lnTo>
                  <a:lnTo>
                    <a:pt x="31" y="199"/>
                  </a:lnTo>
                  <a:lnTo>
                    <a:pt x="31" y="201"/>
                  </a:lnTo>
                  <a:lnTo>
                    <a:pt x="31" y="203"/>
                  </a:lnTo>
                  <a:lnTo>
                    <a:pt x="31" y="207"/>
                  </a:lnTo>
                  <a:lnTo>
                    <a:pt x="31" y="209"/>
                  </a:lnTo>
                  <a:lnTo>
                    <a:pt x="29" y="216"/>
                  </a:lnTo>
                  <a:lnTo>
                    <a:pt x="27" y="218"/>
                  </a:lnTo>
                  <a:lnTo>
                    <a:pt x="25" y="220"/>
                  </a:lnTo>
                  <a:lnTo>
                    <a:pt x="21" y="222"/>
                  </a:lnTo>
                  <a:lnTo>
                    <a:pt x="18" y="222"/>
                  </a:lnTo>
                  <a:lnTo>
                    <a:pt x="14" y="224"/>
                  </a:lnTo>
                  <a:lnTo>
                    <a:pt x="12" y="226"/>
                  </a:lnTo>
                  <a:lnTo>
                    <a:pt x="8" y="228"/>
                  </a:lnTo>
                  <a:lnTo>
                    <a:pt x="6" y="230"/>
                  </a:lnTo>
                  <a:lnTo>
                    <a:pt x="6" y="230"/>
                  </a:lnTo>
                  <a:lnTo>
                    <a:pt x="6" y="232"/>
                  </a:lnTo>
                  <a:lnTo>
                    <a:pt x="6" y="232"/>
                  </a:lnTo>
                  <a:lnTo>
                    <a:pt x="6" y="234"/>
                  </a:lnTo>
                  <a:lnTo>
                    <a:pt x="8" y="234"/>
                  </a:lnTo>
                  <a:lnTo>
                    <a:pt x="10" y="236"/>
                  </a:lnTo>
                  <a:lnTo>
                    <a:pt x="10" y="238"/>
                  </a:lnTo>
                  <a:lnTo>
                    <a:pt x="10" y="242"/>
                  </a:lnTo>
                  <a:lnTo>
                    <a:pt x="10" y="244"/>
                  </a:lnTo>
                  <a:lnTo>
                    <a:pt x="10" y="246"/>
                  </a:lnTo>
                  <a:lnTo>
                    <a:pt x="10" y="248"/>
                  </a:lnTo>
                  <a:lnTo>
                    <a:pt x="10" y="248"/>
                  </a:lnTo>
                  <a:lnTo>
                    <a:pt x="6" y="250"/>
                  </a:lnTo>
                  <a:lnTo>
                    <a:pt x="2" y="252"/>
                  </a:lnTo>
                  <a:lnTo>
                    <a:pt x="2" y="259"/>
                  </a:lnTo>
                  <a:lnTo>
                    <a:pt x="0" y="265"/>
                  </a:lnTo>
                  <a:lnTo>
                    <a:pt x="0" y="269"/>
                  </a:lnTo>
                  <a:lnTo>
                    <a:pt x="0" y="273"/>
                  </a:lnTo>
                  <a:lnTo>
                    <a:pt x="4" y="291"/>
                  </a:lnTo>
                  <a:lnTo>
                    <a:pt x="4" y="291"/>
                  </a:lnTo>
                  <a:lnTo>
                    <a:pt x="6" y="293"/>
                  </a:lnTo>
                  <a:lnTo>
                    <a:pt x="8" y="296"/>
                  </a:lnTo>
                  <a:lnTo>
                    <a:pt x="8" y="296"/>
                  </a:lnTo>
                  <a:lnTo>
                    <a:pt x="8" y="298"/>
                  </a:lnTo>
                  <a:lnTo>
                    <a:pt x="8" y="298"/>
                  </a:lnTo>
                  <a:lnTo>
                    <a:pt x="8" y="300"/>
                  </a:lnTo>
                  <a:lnTo>
                    <a:pt x="8" y="302"/>
                  </a:lnTo>
                  <a:lnTo>
                    <a:pt x="8" y="304"/>
                  </a:lnTo>
                  <a:lnTo>
                    <a:pt x="8" y="306"/>
                  </a:lnTo>
                  <a:lnTo>
                    <a:pt x="10" y="306"/>
                  </a:lnTo>
                  <a:lnTo>
                    <a:pt x="10" y="308"/>
                  </a:lnTo>
                  <a:lnTo>
                    <a:pt x="10" y="310"/>
                  </a:lnTo>
                  <a:lnTo>
                    <a:pt x="14" y="310"/>
                  </a:lnTo>
                  <a:lnTo>
                    <a:pt x="14" y="312"/>
                  </a:lnTo>
                  <a:lnTo>
                    <a:pt x="14" y="314"/>
                  </a:lnTo>
                  <a:lnTo>
                    <a:pt x="14" y="316"/>
                  </a:lnTo>
                  <a:lnTo>
                    <a:pt x="16" y="318"/>
                  </a:lnTo>
                  <a:lnTo>
                    <a:pt x="18" y="322"/>
                  </a:lnTo>
                  <a:lnTo>
                    <a:pt x="41" y="339"/>
                  </a:lnTo>
                  <a:lnTo>
                    <a:pt x="43" y="341"/>
                  </a:lnTo>
                  <a:lnTo>
                    <a:pt x="43" y="343"/>
                  </a:lnTo>
                  <a:lnTo>
                    <a:pt x="43" y="345"/>
                  </a:lnTo>
                  <a:lnTo>
                    <a:pt x="45" y="347"/>
                  </a:lnTo>
                  <a:lnTo>
                    <a:pt x="45" y="347"/>
                  </a:lnTo>
                  <a:lnTo>
                    <a:pt x="66" y="359"/>
                  </a:lnTo>
                  <a:lnTo>
                    <a:pt x="68" y="361"/>
                  </a:lnTo>
                  <a:lnTo>
                    <a:pt x="70" y="363"/>
                  </a:lnTo>
                  <a:lnTo>
                    <a:pt x="74" y="367"/>
                  </a:lnTo>
                  <a:lnTo>
                    <a:pt x="74" y="369"/>
                  </a:lnTo>
                  <a:lnTo>
                    <a:pt x="76" y="371"/>
                  </a:lnTo>
                  <a:lnTo>
                    <a:pt x="76" y="373"/>
                  </a:lnTo>
                  <a:lnTo>
                    <a:pt x="76" y="375"/>
                  </a:lnTo>
                  <a:lnTo>
                    <a:pt x="76" y="377"/>
                  </a:lnTo>
                  <a:lnTo>
                    <a:pt x="76" y="380"/>
                  </a:lnTo>
                  <a:lnTo>
                    <a:pt x="78" y="382"/>
                  </a:lnTo>
                  <a:lnTo>
                    <a:pt x="78" y="382"/>
                  </a:lnTo>
                  <a:lnTo>
                    <a:pt x="78" y="384"/>
                  </a:lnTo>
                  <a:lnTo>
                    <a:pt x="78" y="384"/>
                  </a:lnTo>
                  <a:lnTo>
                    <a:pt x="78" y="386"/>
                  </a:lnTo>
                  <a:lnTo>
                    <a:pt x="78" y="388"/>
                  </a:lnTo>
                  <a:lnTo>
                    <a:pt x="78" y="388"/>
                  </a:lnTo>
                  <a:lnTo>
                    <a:pt x="80" y="390"/>
                  </a:lnTo>
                  <a:lnTo>
                    <a:pt x="80" y="392"/>
                  </a:lnTo>
                  <a:lnTo>
                    <a:pt x="80" y="394"/>
                  </a:lnTo>
                  <a:lnTo>
                    <a:pt x="84" y="400"/>
                  </a:lnTo>
                  <a:lnTo>
                    <a:pt x="86" y="404"/>
                  </a:lnTo>
                  <a:lnTo>
                    <a:pt x="90" y="404"/>
                  </a:lnTo>
                  <a:lnTo>
                    <a:pt x="94" y="402"/>
                  </a:lnTo>
                  <a:lnTo>
                    <a:pt x="98" y="396"/>
                  </a:lnTo>
                  <a:lnTo>
                    <a:pt x="102" y="394"/>
                  </a:lnTo>
                  <a:lnTo>
                    <a:pt x="105" y="394"/>
                  </a:lnTo>
                  <a:lnTo>
                    <a:pt x="107" y="396"/>
                  </a:lnTo>
                  <a:lnTo>
                    <a:pt x="109" y="396"/>
                  </a:lnTo>
                  <a:lnTo>
                    <a:pt x="111" y="396"/>
                  </a:lnTo>
                  <a:lnTo>
                    <a:pt x="115" y="398"/>
                  </a:lnTo>
                  <a:lnTo>
                    <a:pt x="125" y="402"/>
                  </a:lnTo>
                  <a:lnTo>
                    <a:pt x="127" y="404"/>
                  </a:lnTo>
                  <a:lnTo>
                    <a:pt x="129" y="406"/>
                  </a:lnTo>
                  <a:lnTo>
                    <a:pt x="129" y="408"/>
                  </a:lnTo>
                  <a:lnTo>
                    <a:pt x="127" y="412"/>
                  </a:lnTo>
                  <a:lnTo>
                    <a:pt x="127" y="414"/>
                  </a:lnTo>
                  <a:lnTo>
                    <a:pt x="125" y="414"/>
                  </a:lnTo>
                  <a:lnTo>
                    <a:pt x="125" y="416"/>
                  </a:lnTo>
                  <a:lnTo>
                    <a:pt x="125" y="418"/>
                  </a:lnTo>
                  <a:lnTo>
                    <a:pt x="125" y="423"/>
                  </a:lnTo>
                  <a:lnTo>
                    <a:pt x="125" y="429"/>
                  </a:lnTo>
                  <a:lnTo>
                    <a:pt x="125" y="431"/>
                  </a:lnTo>
                  <a:lnTo>
                    <a:pt x="121" y="439"/>
                  </a:lnTo>
                  <a:lnTo>
                    <a:pt x="117" y="451"/>
                  </a:lnTo>
                  <a:lnTo>
                    <a:pt x="115" y="457"/>
                  </a:lnTo>
                  <a:lnTo>
                    <a:pt x="113" y="461"/>
                  </a:lnTo>
                  <a:lnTo>
                    <a:pt x="113" y="466"/>
                  </a:lnTo>
                  <a:lnTo>
                    <a:pt x="115" y="470"/>
                  </a:lnTo>
                  <a:lnTo>
                    <a:pt x="115" y="472"/>
                  </a:lnTo>
                  <a:lnTo>
                    <a:pt x="115" y="474"/>
                  </a:lnTo>
                  <a:lnTo>
                    <a:pt x="117" y="474"/>
                  </a:lnTo>
                  <a:lnTo>
                    <a:pt x="117" y="476"/>
                  </a:lnTo>
                  <a:lnTo>
                    <a:pt x="121" y="478"/>
                  </a:lnTo>
                  <a:lnTo>
                    <a:pt x="123" y="480"/>
                  </a:lnTo>
                  <a:lnTo>
                    <a:pt x="125" y="482"/>
                  </a:lnTo>
                  <a:lnTo>
                    <a:pt x="125" y="482"/>
                  </a:lnTo>
                  <a:lnTo>
                    <a:pt x="127" y="484"/>
                  </a:lnTo>
                  <a:lnTo>
                    <a:pt x="127" y="486"/>
                  </a:lnTo>
                  <a:lnTo>
                    <a:pt x="131" y="486"/>
                  </a:lnTo>
                  <a:lnTo>
                    <a:pt x="133" y="488"/>
                  </a:lnTo>
                  <a:lnTo>
                    <a:pt x="135" y="492"/>
                  </a:lnTo>
                  <a:lnTo>
                    <a:pt x="139" y="494"/>
                  </a:lnTo>
                  <a:lnTo>
                    <a:pt x="141" y="494"/>
                  </a:lnTo>
                  <a:lnTo>
                    <a:pt x="148" y="498"/>
                  </a:lnTo>
                  <a:lnTo>
                    <a:pt x="148" y="498"/>
                  </a:lnTo>
                  <a:lnTo>
                    <a:pt x="152" y="498"/>
                  </a:lnTo>
                  <a:lnTo>
                    <a:pt x="152" y="498"/>
                  </a:lnTo>
                  <a:lnTo>
                    <a:pt x="156" y="498"/>
                  </a:lnTo>
                  <a:lnTo>
                    <a:pt x="158" y="500"/>
                  </a:lnTo>
                  <a:lnTo>
                    <a:pt x="164" y="505"/>
                  </a:lnTo>
                  <a:lnTo>
                    <a:pt x="166" y="507"/>
                  </a:lnTo>
                  <a:lnTo>
                    <a:pt x="172" y="509"/>
                  </a:lnTo>
                  <a:lnTo>
                    <a:pt x="174" y="511"/>
                  </a:lnTo>
                  <a:lnTo>
                    <a:pt x="176" y="513"/>
                  </a:lnTo>
                  <a:lnTo>
                    <a:pt x="178" y="519"/>
                  </a:lnTo>
                  <a:lnTo>
                    <a:pt x="180" y="521"/>
                  </a:lnTo>
                  <a:lnTo>
                    <a:pt x="191" y="523"/>
                  </a:lnTo>
                  <a:lnTo>
                    <a:pt x="193" y="525"/>
                  </a:lnTo>
                  <a:lnTo>
                    <a:pt x="193" y="527"/>
                  </a:lnTo>
                  <a:lnTo>
                    <a:pt x="193" y="527"/>
                  </a:lnTo>
                  <a:lnTo>
                    <a:pt x="193" y="529"/>
                  </a:lnTo>
                  <a:lnTo>
                    <a:pt x="193" y="531"/>
                  </a:lnTo>
                  <a:lnTo>
                    <a:pt x="193" y="533"/>
                  </a:lnTo>
                  <a:lnTo>
                    <a:pt x="193" y="535"/>
                  </a:lnTo>
                  <a:lnTo>
                    <a:pt x="193" y="537"/>
                  </a:lnTo>
                  <a:lnTo>
                    <a:pt x="193" y="539"/>
                  </a:lnTo>
                  <a:lnTo>
                    <a:pt x="197" y="543"/>
                  </a:lnTo>
                  <a:lnTo>
                    <a:pt x="199" y="546"/>
                  </a:lnTo>
                  <a:lnTo>
                    <a:pt x="201" y="550"/>
                  </a:lnTo>
                  <a:lnTo>
                    <a:pt x="203" y="554"/>
                  </a:lnTo>
                  <a:lnTo>
                    <a:pt x="201" y="558"/>
                  </a:lnTo>
                  <a:lnTo>
                    <a:pt x="199" y="562"/>
                  </a:lnTo>
                  <a:lnTo>
                    <a:pt x="197" y="564"/>
                  </a:lnTo>
                  <a:lnTo>
                    <a:pt x="197" y="568"/>
                  </a:lnTo>
                  <a:lnTo>
                    <a:pt x="197" y="570"/>
                  </a:lnTo>
                  <a:lnTo>
                    <a:pt x="199" y="570"/>
                  </a:lnTo>
                  <a:lnTo>
                    <a:pt x="199" y="570"/>
                  </a:lnTo>
                  <a:lnTo>
                    <a:pt x="201" y="570"/>
                  </a:lnTo>
                  <a:lnTo>
                    <a:pt x="201" y="572"/>
                  </a:lnTo>
                  <a:lnTo>
                    <a:pt x="201" y="574"/>
                  </a:lnTo>
                  <a:lnTo>
                    <a:pt x="203" y="576"/>
                  </a:lnTo>
                  <a:lnTo>
                    <a:pt x="205" y="578"/>
                  </a:lnTo>
                  <a:lnTo>
                    <a:pt x="209" y="584"/>
                  </a:lnTo>
                  <a:lnTo>
                    <a:pt x="209" y="587"/>
                  </a:lnTo>
                  <a:lnTo>
                    <a:pt x="209" y="591"/>
                  </a:lnTo>
                  <a:lnTo>
                    <a:pt x="211" y="591"/>
                  </a:lnTo>
                  <a:lnTo>
                    <a:pt x="215" y="595"/>
                  </a:lnTo>
                  <a:lnTo>
                    <a:pt x="219" y="595"/>
                  </a:lnTo>
                  <a:lnTo>
                    <a:pt x="221" y="595"/>
                  </a:lnTo>
                  <a:lnTo>
                    <a:pt x="221" y="595"/>
                  </a:lnTo>
                  <a:lnTo>
                    <a:pt x="221" y="593"/>
                  </a:lnTo>
                  <a:lnTo>
                    <a:pt x="219" y="593"/>
                  </a:lnTo>
                  <a:lnTo>
                    <a:pt x="219" y="591"/>
                  </a:lnTo>
                  <a:lnTo>
                    <a:pt x="217" y="591"/>
                  </a:lnTo>
                  <a:lnTo>
                    <a:pt x="217" y="589"/>
                  </a:lnTo>
                  <a:lnTo>
                    <a:pt x="217" y="587"/>
                  </a:lnTo>
                  <a:lnTo>
                    <a:pt x="219" y="587"/>
                  </a:lnTo>
                  <a:lnTo>
                    <a:pt x="221" y="587"/>
                  </a:lnTo>
                  <a:lnTo>
                    <a:pt x="221" y="587"/>
                  </a:lnTo>
                  <a:lnTo>
                    <a:pt x="221" y="589"/>
                  </a:lnTo>
                  <a:lnTo>
                    <a:pt x="223" y="591"/>
                  </a:lnTo>
                  <a:lnTo>
                    <a:pt x="223" y="591"/>
                  </a:lnTo>
                  <a:lnTo>
                    <a:pt x="225" y="593"/>
                  </a:lnTo>
                  <a:lnTo>
                    <a:pt x="225" y="593"/>
                  </a:lnTo>
                  <a:lnTo>
                    <a:pt x="227" y="595"/>
                  </a:lnTo>
                  <a:lnTo>
                    <a:pt x="227" y="595"/>
                  </a:lnTo>
                  <a:lnTo>
                    <a:pt x="227" y="597"/>
                  </a:lnTo>
                  <a:lnTo>
                    <a:pt x="227" y="597"/>
                  </a:lnTo>
                  <a:lnTo>
                    <a:pt x="229" y="597"/>
                  </a:lnTo>
                  <a:lnTo>
                    <a:pt x="229" y="597"/>
                  </a:lnTo>
                  <a:lnTo>
                    <a:pt x="231" y="597"/>
                  </a:lnTo>
                  <a:lnTo>
                    <a:pt x="231" y="597"/>
                  </a:lnTo>
                  <a:lnTo>
                    <a:pt x="234" y="597"/>
                  </a:lnTo>
                  <a:lnTo>
                    <a:pt x="229" y="593"/>
                  </a:lnTo>
                  <a:lnTo>
                    <a:pt x="229" y="591"/>
                  </a:lnTo>
                  <a:lnTo>
                    <a:pt x="227" y="589"/>
                  </a:lnTo>
                  <a:lnTo>
                    <a:pt x="229" y="584"/>
                  </a:lnTo>
                  <a:lnTo>
                    <a:pt x="231" y="580"/>
                  </a:lnTo>
                  <a:lnTo>
                    <a:pt x="236" y="576"/>
                  </a:lnTo>
                  <a:lnTo>
                    <a:pt x="236" y="574"/>
                  </a:lnTo>
                  <a:lnTo>
                    <a:pt x="238" y="572"/>
                  </a:lnTo>
                  <a:lnTo>
                    <a:pt x="242" y="570"/>
                  </a:lnTo>
                  <a:lnTo>
                    <a:pt x="246" y="568"/>
                  </a:lnTo>
                  <a:lnTo>
                    <a:pt x="250" y="568"/>
                  </a:lnTo>
                  <a:lnTo>
                    <a:pt x="275" y="578"/>
                  </a:lnTo>
                  <a:lnTo>
                    <a:pt x="281" y="580"/>
                  </a:lnTo>
                  <a:lnTo>
                    <a:pt x="285" y="582"/>
                  </a:lnTo>
                  <a:lnTo>
                    <a:pt x="289" y="580"/>
                  </a:lnTo>
                  <a:lnTo>
                    <a:pt x="291" y="578"/>
                  </a:lnTo>
                  <a:lnTo>
                    <a:pt x="291" y="574"/>
                  </a:lnTo>
                  <a:lnTo>
                    <a:pt x="291" y="570"/>
                  </a:lnTo>
                  <a:lnTo>
                    <a:pt x="289" y="568"/>
                  </a:lnTo>
                  <a:lnTo>
                    <a:pt x="287" y="564"/>
                  </a:lnTo>
                  <a:lnTo>
                    <a:pt x="285" y="560"/>
                  </a:lnTo>
                  <a:lnTo>
                    <a:pt x="283" y="556"/>
                  </a:lnTo>
                  <a:lnTo>
                    <a:pt x="283" y="552"/>
                  </a:lnTo>
                  <a:lnTo>
                    <a:pt x="285" y="548"/>
                  </a:lnTo>
                  <a:lnTo>
                    <a:pt x="285" y="546"/>
                  </a:lnTo>
                  <a:lnTo>
                    <a:pt x="285" y="546"/>
                  </a:lnTo>
                  <a:lnTo>
                    <a:pt x="287" y="543"/>
                  </a:lnTo>
                  <a:lnTo>
                    <a:pt x="289" y="543"/>
                  </a:lnTo>
                  <a:lnTo>
                    <a:pt x="293" y="543"/>
                  </a:lnTo>
                  <a:lnTo>
                    <a:pt x="295" y="543"/>
                  </a:lnTo>
                  <a:lnTo>
                    <a:pt x="299" y="539"/>
                  </a:lnTo>
                  <a:lnTo>
                    <a:pt x="313" y="535"/>
                  </a:lnTo>
                  <a:lnTo>
                    <a:pt x="318" y="533"/>
                  </a:lnTo>
                  <a:lnTo>
                    <a:pt x="318" y="529"/>
                  </a:lnTo>
                  <a:lnTo>
                    <a:pt x="315" y="525"/>
                  </a:lnTo>
                  <a:lnTo>
                    <a:pt x="311" y="523"/>
                  </a:lnTo>
                  <a:lnTo>
                    <a:pt x="311" y="523"/>
                  </a:lnTo>
                  <a:lnTo>
                    <a:pt x="309" y="519"/>
                  </a:lnTo>
                  <a:lnTo>
                    <a:pt x="309" y="517"/>
                  </a:lnTo>
                  <a:lnTo>
                    <a:pt x="309" y="515"/>
                  </a:lnTo>
                  <a:lnTo>
                    <a:pt x="309" y="513"/>
                  </a:lnTo>
                  <a:lnTo>
                    <a:pt x="311" y="511"/>
                  </a:lnTo>
                  <a:lnTo>
                    <a:pt x="315" y="507"/>
                  </a:lnTo>
                  <a:lnTo>
                    <a:pt x="318" y="505"/>
                  </a:lnTo>
                  <a:lnTo>
                    <a:pt x="318" y="502"/>
                  </a:lnTo>
                  <a:lnTo>
                    <a:pt x="318" y="500"/>
                  </a:lnTo>
                  <a:lnTo>
                    <a:pt x="318" y="498"/>
                  </a:lnTo>
                  <a:lnTo>
                    <a:pt x="315" y="498"/>
                  </a:lnTo>
                  <a:lnTo>
                    <a:pt x="313" y="498"/>
                  </a:lnTo>
                  <a:lnTo>
                    <a:pt x="313" y="498"/>
                  </a:lnTo>
                  <a:lnTo>
                    <a:pt x="313" y="496"/>
                  </a:lnTo>
                  <a:lnTo>
                    <a:pt x="313" y="496"/>
                  </a:lnTo>
                  <a:lnTo>
                    <a:pt x="313" y="496"/>
                  </a:lnTo>
                  <a:lnTo>
                    <a:pt x="315" y="496"/>
                  </a:lnTo>
                  <a:lnTo>
                    <a:pt x="318" y="496"/>
                  </a:lnTo>
                  <a:lnTo>
                    <a:pt x="318" y="496"/>
                  </a:lnTo>
                  <a:lnTo>
                    <a:pt x="318" y="494"/>
                  </a:lnTo>
                  <a:lnTo>
                    <a:pt x="311" y="490"/>
                  </a:lnTo>
                  <a:lnTo>
                    <a:pt x="311" y="490"/>
                  </a:lnTo>
                  <a:lnTo>
                    <a:pt x="313" y="490"/>
                  </a:lnTo>
                  <a:lnTo>
                    <a:pt x="315" y="490"/>
                  </a:lnTo>
                  <a:lnTo>
                    <a:pt x="315" y="488"/>
                  </a:lnTo>
                  <a:lnTo>
                    <a:pt x="318" y="488"/>
                  </a:lnTo>
                  <a:lnTo>
                    <a:pt x="315" y="486"/>
                  </a:lnTo>
                  <a:lnTo>
                    <a:pt x="315" y="486"/>
                  </a:lnTo>
                  <a:lnTo>
                    <a:pt x="315" y="484"/>
                  </a:lnTo>
                  <a:lnTo>
                    <a:pt x="315" y="482"/>
                  </a:lnTo>
                  <a:lnTo>
                    <a:pt x="315" y="482"/>
                  </a:lnTo>
                  <a:lnTo>
                    <a:pt x="315" y="480"/>
                  </a:lnTo>
                  <a:lnTo>
                    <a:pt x="315" y="478"/>
                  </a:lnTo>
                  <a:lnTo>
                    <a:pt x="315" y="478"/>
                  </a:lnTo>
                  <a:lnTo>
                    <a:pt x="315" y="476"/>
                  </a:lnTo>
                  <a:lnTo>
                    <a:pt x="315" y="474"/>
                  </a:lnTo>
                  <a:lnTo>
                    <a:pt x="313" y="472"/>
                  </a:lnTo>
                  <a:lnTo>
                    <a:pt x="315" y="472"/>
                  </a:lnTo>
                  <a:lnTo>
                    <a:pt x="318" y="472"/>
                  </a:lnTo>
                  <a:lnTo>
                    <a:pt x="318" y="470"/>
                  </a:lnTo>
                  <a:lnTo>
                    <a:pt x="320" y="470"/>
                  </a:lnTo>
                  <a:lnTo>
                    <a:pt x="322" y="468"/>
                  </a:lnTo>
                  <a:lnTo>
                    <a:pt x="320" y="468"/>
                  </a:lnTo>
                  <a:lnTo>
                    <a:pt x="318" y="468"/>
                  </a:lnTo>
                  <a:lnTo>
                    <a:pt x="315" y="468"/>
                  </a:lnTo>
                  <a:lnTo>
                    <a:pt x="318" y="466"/>
                  </a:lnTo>
                  <a:lnTo>
                    <a:pt x="320" y="464"/>
                  </a:lnTo>
                  <a:lnTo>
                    <a:pt x="320" y="464"/>
                  </a:lnTo>
                  <a:lnTo>
                    <a:pt x="322" y="461"/>
                  </a:lnTo>
                  <a:lnTo>
                    <a:pt x="322" y="461"/>
                  </a:lnTo>
                  <a:lnTo>
                    <a:pt x="322" y="459"/>
                  </a:lnTo>
                  <a:lnTo>
                    <a:pt x="322" y="459"/>
                  </a:lnTo>
                  <a:lnTo>
                    <a:pt x="320" y="457"/>
                  </a:lnTo>
                  <a:lnTo>
                    <a:pt x="320" y="457"/>
                  </a:lnTo>
                  <a:lnTo>
                    <a:pt x="318" y="455"/>
                  </a:lnTo>
                  <a:lnTo>
                    <a:pt x="318" y="455"/>
                  </a:lnTo>
                  <a:lnTo>
                    <a:pt x="318" y="455"/>
                  </a:lnTo>
                  <a:lnTo>
                    <a:pt x="318" y="453"/>
                  </a:lnTo>
                  <a:lnTo>
                    <a:pt x="318" y="453"/>
                  </a:lnTo>
                  <a:lnTo>
                    <a:pt x="318" y="451"/>
                  </a:lnTo>
                  <a:lnTo>
                    <a:pt x="318" y="451"/>
                  </a:lnTo>
                  <a:lnTo>
                    <a:pt x="320" y="449"/>
                  </a:lnTo>
                  <a:lnTo>
                    <a:pt x="320" y="449"/>
                  </a:lnTo>
                  <a:lnTo>
                    <a:pt x="320" y="447"/>
                  </a:lnTo>
                  <a:lnTo>
                    <a:pt x="320" y="445"/>
                  </a:lnTo>
                  <a:lnTo>
                    <a:pt x="322" y="445"/>
                  </a:lnTo>
                  <a:lnTo>
                    <a:pt x="322" y="445"/>
                  </a:lnTo>
                  <a:lnTo>
                    <a:pt x="324" y="447"/>
                  </a:lnTo>
                  <a:lnTo>
                    <a:pt x="324" y="447"/>
                  </a:lnTo>
                  <a:lnTo>
                    <a:pt x="324" y="445"/>
                  </a:lnTo>
                  <a:lnTo>
                    <a:pt x="324" y="443"/>
                  </a:lnTo>
                  <a:lnTo>
                    <a:pt x="326" y="443"/>
                  </a:lnTo>
                  <a:lnTo>
                    <a:pt x="326" y="443"/>
                  </a:lnTo>
                  <a:lnTo>
                    <a:pt x="326" y="443"/>
                  </a:lnTo>
                  <a:lnTo>
                    <a:pt x="326" y="443"/>
                  </a:lnTo>
                  <a:lnTo>
                    <a:pt x="328" y="445"/>
                  </a:lnTo>
                  <a:lnTo>
                    <a:pt x="328" y="445"/>
                  </a:lnTo>
                  <a:lnTo>
                    <a:pt x="328" y="445"/>
                  </a:lnTo>
                  <a:lnTo>
                    <a:pt x="328" y="443"/>
                  </a:lnTo>
                  <a:lnTo>
                    <a:pt x="328" y="443"/>
                  </a:lnTo>
                  <a:lnTo>
                    <a:pt x="328" y="441"/>
                  </a:lnTo>
                  <a:lnTo>
                    <a:pt x="330" y="439"/>
                  </a:lnTo>
                  <a:lnTo>
                    <a:pt x="330" y="437"/>
                  </a:lnTo>
                  <a:lnTo>
                    <a:pt x="330" y="437"/>
                  </a:lnTo>
                  <a:lnTo>
                    <a:pt x="330" y="435"/>
                  </a:lnTo>
                  <a:lnTo>
                    <a:pt x="332" y="435"/>
                  </a:lnTo>
                  <a:lnTo>
                    <a:pt x="332" y="435"/>
                  </a:lnTo>
                  <a:lnTo>
                    <a:pt x="334" y="433"/>
                  </a:lnTo>
                  <a:lnTo>
                    <a:pt x="336" y="431"/>
                  </a:lnTo>
                  <a:lnTo>
                    <a:pt x="336" y="429"/>
                  </a:lnTo>
                  <a:lnTo>
                    <a:pt x="334" y="427"/>
                  </a:lnTo>
                  <a:lnTo>
                    <a:pt x="334" y="427"/>
                  </a:lnTo>
                  <a:lnTo>
                    <a:pt x="336" y="425"/>
                  </a:lnTo>
                  <a:lnTo>
                    <a:pt x="338" y="423"/>
                  </a:lnTo>
                  <a:lnTo>
                    <a:pt x="340" y="423"/>
                  </a:lnTo>
                  <a:lnTo>
                    <a:pt x="340" y="421"/>
                  </a:lnTo>
                  <a:lnTo>
                    <a:pt x="340" y="421"/>
                  </a:lnTo>
                  <a:lnTo>
                    <a:pt x="342" y="421"/>
                  </a:lnTo>
                  <a:lnTo>
                    <a:pt x="342" y="421"/>
                  </a:lnTo>
                  <a:lnTo>
                    <a:pt x="342" y="421"/>
                  </a:lnTo>
                  <a:lnTo>
                    <a:pt x="342" y="421"/>
                  </a:lnTo>
                  <a:lnTo>
                    <a:pt x="342" y="418"/>
                  </a:lnTo>
                  <a:lnTo>
                    <a:pt x="340" y="416"/>
                  </a:lnTo>
                  <a:lnTo>
                    <a:pt x="340" y="414"/>
                  </a:lnTo>
                  <a:lnTo>
                    <a:pt x="340" y="412"/>
                  </a:lnTo>
                  <a:lnTo>
                    <a:pt x="342" y="412"/>
                  </a:lnTo>
                  <a:lnTo>
                    <a:pt x="342" y="410"/>
                  </a:lnTo>
                  <a:lnTo>
                    <a:pt x="344" y="410"/>
                  </a:lnTo>
                  <a:lnTo>
                    <a:pt x="342" y="410"/>
                  </a:lnTo>
                  <a:lnTo>
                    <a:pt x="344" y="410"/>
                  </a:lnTo>
                  <a:lnTo>
                    <a:pt x="344" y="410"/>
                  </a:lnTo>
                  <a:lnTo>
                    <a:pt x="344" y="408"/>
                  </a:lnTo>
                  <a:lnTo>
                    <a:pt x="344" y="408"/>
                  </a:lnTo>
                  <a:lnTo>
                    <a:pt x="344" y="406"/>
                  </a:lnTo>
                  <a:lnTo>
                    <a:pt x="344" y="404"/>
                  </a:lnTo>
                  <a:lnTo>
                    <a:pt x="344" y="402"/>
                  </a:lnTo>
                  <a:lnTo>
                    <a:pt x="346" y="402"/>
                  </a:lnTo>
                  <a:lnTo>
                    <a:pt x="346" y="400"/>
                  </a:lnTo>
                  <a:lnTo>
                    <a:pt x="348" y="400"/>
                  </a:lnTo>
                  <a:lnTo>
                    <a:pt x="348" y="400"/>
                  </a:lnTo>
                  <a:lnTo>
                    <a:pt x="350" y="400"/>
                  </a:lnTo>
                  <a:lnTo>
                    <a:pt x="350" y="392"/>
                  </a:lnTo>
                  <a:lnTo>
                    <a:pt x="350" y="388"/>
                  </a:lnTo>
                  <a:lnTo>
                    <a:pt x="348" y="384"/>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L</a:t>
              </a:r>
            </a:p>
          </p:txBody>
        </p:sp>
        <p:sp>
          <p:nvSpPr>
            <p:cNvPr id="331" name="Freeform 42">
              <a:extLst>
                <a:ext uri="{FF2B5EF4-FFF2-40B4-BE49-F238E27FC236}">
                  <a16:creationId xmlns:a16="http://schemas.microsoft.com/office/drawing/2014/main" id="{657C6FBA-11EE-4A86-483B-ADB5FAA9108C}"/>
                </a:ext>
              </a:extLst>
            </p:cNvPr>
            <p:cNvSpPr>
              <a:spLocks/>
            </p:cNvSpPr>
            <p:nvPr/>
          </p:nvSpPr>
          <p:spPr bwMode="auto">
            <a:xfrm>
              <a:off x="1337" y="82"/>
              <a:ext cx="512" cy="783"/>
            </a:xfrm>
            <a:custGeom>
              <a:avLst/>
              <a:gdLst>
                <a:gd name="T0" fmla="*/ 487 w 512"/>
                <a:gd name="T1" fmla="*/ 766 h 783"/>
                <a:gd name="T2" fmla="*/ 258 w 512"/>
                <a:gd name="T3" fmla="*/ 756 h 783"/>
                <a:gd name="T4" fmla="*/ 16 w 512"/>
                <a:gd name="T5" fmla="*/ 723 h 783"/>
                <a:gd name="T6" fmla="*/ 26 w 512"/>
                <a:gd name="T7" fmla="*/ 557 h 783"/>
                <a:gd name="T8" fmla="*/ 39 w 512"/>
                <a:gd name="T9" fmla="*/ 512 h 783"/>
                <a:gd name="T10" fmla="*/ 45 w 512"/>
                <a:gd name="T11" fmla="*/ 494 h 783"/>
                <a:gd name="T12" fmla="*/ 33 w 512"/>
                <a:gd name="T13" fmla="*/ 482 h 783"/>
                <a:gd name="T14" fmla="*/ 24 w 512"/>
                <a:gd name="T15" fmla="*/ 465 h 783"/>
                <a:gd name="T16" fmla="*/ 41 w 512"/>
                <a:gd name="T17" fmla="*/ 441 h 783"/>
                <a:gd name="T18" fmla="*/ 63 w 512"/>
                <a:gd name="T19" fmla="*/ 408 h 783"/>
                <a:gd name="T20" fmla="*/ 98 w 512"/>
                <a:gd name="T21" fmla="*/ 359 h 783"/>
                <a:gd name="T22" fmla="*/ 82 w 512"/>
                <a:gd name="T23" fmla="*/ 324 h 783"/>
                <a:gd name="T24" fmla="*/ 72 w 512"/>
                <a:gd name="T25" fmla="*/ 273 h 783"/>
                <a:gd name="T26" fmla="*/ 98 w 512"/>
                <a:gd name="T27" fmla="*/ 80 h 783"/>
                <a:gd name="T28" fmla="*/ 176 w 512"/>
                <a:gd name="T29" fmla="*/ 70 h 783"/>
                <a:gd name="T30" fmla="*/ 180 w 512"/>
                <a:gd name="T31" fmla="*/ 127 h 783"/>
                <a:gd name="T32" fmla="*/ 190 w 512"/>
                <a:gd name="T33" fmla="*/ 143 h 783"/>
                <a:gd name="T34" fmla="*/ 186 w 512"/>
                <a:gd name="T35" fmla="*/ 160 h 783"/>
                <a:gd name="T36" fmla="*/ 190 w 512"/>
                <a:gd name="T37" fmla="*/ 170 h 783"/>
                <a:gd name="T38" fmla="*/ 201 w 512"/>
                <a:gd name="T39" fmla="*/ 187 h 783"/>
                <a:gd name="T40" fmla="*/ 217 w 512"/>
                <a:gd name="T41" fmla="*/ 203 h 783"/>
                <a:gd name="T42" fmla="*/ 231 w 512"/>
                <a:gd name="T43" fmla="*/ 225 h 783"/>
                <a:gd name="T44" fmla="*/ 239 w 512"/>
                <a:gd name="T45" fmla="*/ 240 h 783"/>
                <a:gd name="T46" fmla="*/ 250 w 512"/>
                <a:gd name="T47" fmla="*/ 254 h 783"/>
                <a:gd name="T48" fmla="*/ 260 w 512"/>
                <a:gd name="T49" fmla="*/ 256 h 783"/>
                <a:gd name="T50" fmla="*/ 268 w 512"/>
                <a:gd name="T51" fmla="*/ 264 h 783"/>
                <a:gd name="T52" fmla="*/ 282 w 512"/>
                <a:gd name="T53" fmla="*/ 266 h 783"/>
                <a:gd name="T54" fmla="*/ 278 w 512"/>
                <a:gd name="T55" fmla="*/ 279 h 783"/>
                <a:gd name="T56" fmla="*/ 276 w 512"/>
                <a:gd name="T57" fmla="*/ 285 h 783"/>
                <a:gd name="T58" fmla="*/ 268 w 512"/>
                <a:gd name="T59" fmla="*/ 301 h 783"/>
                <a:gd name="T60" fmla="*/ 268 w 512"/>
                <a:gd name="T61" fmla="*/ 314 h 783"/>
                <a:gd name="T62" fmla="*/ 264 w 512"/>
                <a:gd name="T63" fmla="*/ 322 h 783"/>
                <a:gd name="T64" fmla="*/ 266 w 512"/>
                <a:gd name="T65" fmla="*/ 334 h 783"/>
                <a:gd name="T66" fmla="*/ 264 w 512"/>
                <a:gd name="T67" fmla="*/ 348 h 783"/>
                <a:gd name="T68" fmla="*/ 254 w 512"/>
                <a:gd name="T69" fmla="*/ 355 h 783"/>
                <a:gd name="T70" fmla="*/ 256 w 512"/>
                <a:gd name="T71" fmla="*/ 367 h 783"/>
                <a:gd name="T72" fmla="*/ 252 w 512"/>
                <a:gd name="T73" fmla="*/ 377 h 783"/>
                <a:gd name="T74" fmla="*/ 268 w 512"/>
                <a:gd name="T75" fmla="*/ 387 h 783"/>
                <a:gd name="T76" fmla="*/ 278 w 512"/>
                <a:gd name="T77" fmla="*/ 383 h 783"/>
                <a:gd name="T78" fmla="*/ 291 w 512"/>
                <a:gd name="T79" fmla="*/ 375 h 783"/>
                <a:gd name="T80" fmla="*/ 295 w 512"/>
                <a:gd name="T81" fmla="*/ 369 h 783"/>
                <a:gd name="T82" fmla="*/ 309 w 512"/>
                <a:gd name="T83" fmla="*/ 383 h 783"/>
                <a:gd name="T84" fmla="*/ 311 w 512"/>
                <a:gd name="T85" fmla="*/ 396 h 783"/>
                <a:gd name="T86" fmla="*/ 311 w 512"/>
                <a:gd name="T87" fmla="*/ 412 h 783"/>
                <a:gd name="T88" fmla="*/ 319 w 512"/>
                <a:gd name="T89" fmla="*/ 426 h 783"/>
                <a:gd name="T90" fmla="*/ 325 w 512"/>
                <a:gd name="T91" fmla="*/ 437 h 783"/>
                <a:gd name="T92" fmla="*/ 325 w 512"/>
                <a:gd name="T93" fmla="*/ 453 h 783"/>
                <a:gd name="T94" fmla="*/ 336 w 512"/>
                <a:gd name="T95" fmla="*/ 469 h 783"/>
                <a:gd name="T96" fmla="*/ 352 w 512"/>
                <a:gd name="T97" fmla="*/ 478 h 783"/>
                <a:gd name="T98" fmla="*/ 356 w 512"/>
                <a:gd name="T99" fmla="*/ 488 h 783"/>
                <a:gd name="T100" fmla="*/ 358 w 512"/>
                <a:gd name="T101" fmla="*/ 498 h 783"/>
                <a:gd name="T102" fmla="*/ 362 w 512"/>
                <a:gd name="T103" fmla="*/ 510 h 783"/>
                <a:gd name="T104" fmla="*/ 371 w 512"/>
                <a:gd name="T105" fmla="*/ 510 h 783"/>
                <a:gd name="T106" fmla="*/ 399 w 512"/>
                <a:gd name="T107" fmla="*/ 510 h 783"/>
                <a:gd name="T108" fmla="*/ 412 w 512"/>
                <a:gd name="T109" fmla="*/ 504 h 783"/>
                <a:gd name="T110" fmla="*/ 430 w 512"/>
                <a:gd name="T111" fmla="*/ 506 h 783"/>
                <a:gd name="T112" fmla="*/ 450 w 512"/>
                <a:gd name="T113" fmla="*/ 510 h 783"/>
                <a:gd name="T114" fmla="*/ 477 w 512"/>
                <a:gd name="T115" fmla="*/ 510 h 783"/>
                <a:gd name="T116" fmla="*/ 477 w 512"/>
                <a:gd name="T117" fmla="*/ 504 h 783"/>
                <a:gd name="T118" fmla="*/ 481 w 512"/>
                <a:gd name="T119" fmla="*/ 496 h 783"/>
                <a:gd name="T120" fmla="*/ 493 w 512"/>
                <a:gd name="T121" fmla="*/ 496 h 783"/>
                <a:gd name="T122" fmla="*/ 502 w 512"/>
                <a:gd name="T123" fmla="*/ 51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783">
                  <a:moveTo>
                    <a:pt x="512" y="521"/>
                  </a:moveTo>
                  <a:lnTo>
                    <a:pt x="510" y="537"/>
                  </a:lnTo>
                  <a:lnTo>
                    <a:pt x="508" y="553"/>
                  </a:lnTo>
                  <a:lnTo>
                    <a:pt x="506" y="568"/>
                  </a:lnTo>
                  <a:lnTo>
                    <a:pt x="506" y="584"/>
                  </a:lnTo>
                  <a:lnTo>
                    <a:pt x="504" y="600"/>
                  </a:lnTo>
                  <a:lnTo>
                    <a:pt x="502" y="617"/>
                  </a:lnTo>
                  <a:lnTo>
                    <a:pt x="500" y="633"/>
                  </a:lnTo>
                  <a:lnTo>
                    <a:pt x="498" y="650"/>
                  </a:lnTo>
                  <a:lnTo>
                    <a:pt x="498" y="666"/>
                  </a:lnTo>
                  <a:lnTo>
                    <a:pt x="495" y="682"/>
                  </a:lnTo>
                  <a:lnTo>
                    <a:pt x="493" y="699"/>
                  </a:lnTo>
                  <a:lnTo>
                    <a:pt x="491" y="715"/>
                  </a:lnTo>
                  <a:lnTo>
                    <a:pt x="491" y="732"/>
                  </a:lnTo>
                  <a:lnTo>
                    <a:pt x="489" y="750"/>
                  </a:lnTo>
                  <a:lnTo>
                    <a:pt x="487" y="766"/>
                  </a:lnTo>
                  <a:lnTo>
                    <a:pt x="485" y="783"/>
                  </a:lnTo>
                  <a:lnTo>
                    <a:pt x="471" y="781"/>
                  </a:lnTo>
                  <a:lnTo>
                    <a:pt x="455" y="779"/>
                  </a:lnTo>
                  <a:lnTo>
                    <a:pt x="440" y="777"/>
                  </a:lnTo>
                  <a:lnTo>
                    <a:pt x="424" y="777"/>
                  </a:lnTo>
                  <a:lnTo>
                    <a:pt x="409" y="775"/>
                  </a:lnTo>
                  <a:lnTo>
                    <a:pt x="393" y="773"/>
                  </a:lnTo>
                  <a:lnTo>
                    <a:pt x="379" y="771"/>
                  </a:lnTo>
                  <a:lnTo>
                    <a:pt x="364" y="769"/>
                  </a:lnTo>
                  <a:lnTo>
                    <a:pt x="348" y="766"/>
                  </a:lnTo>
                  <a:lnTo>
                    <a:pt x="334" y="766"/>
                  </a:lnTo>
                  <a:lnTo>
                    <a:pt x="317" y="764"/>
                  </a:lnTo>
                  <a:lnTo>
                    <a:pt x="303" y="762"/>
                  </a:lnTo>
                  <a:lnTo>
                    <a:pt x="287" y="760"/>
                  </a:lnTo>
                  <a:lnTo>
                    <a:pt x="272" y="758"/>
                  </a:lnTo>
                  <a:lnTo>
                    <a:pt x="258" y="756"/>
                  </a:lnTo>
                  <a:lnTo>
                    <a:pt x="242" y="754"/>
                  </a:lnTo>
                  <a:lnTo>
                    <a:pt x="227" y="752"/>
                  </a:lnTo>
                  <a:lnTo>
                    <a:pt x="211" y="750"/>
                  </a:lnTo>
                  <a:lnTo>
                    <a:pt x="196" y="748"/>
                  </a:lnTo>
                  <a:lnTo>
                    <a:pt x="182" y="746"/>
                  </a:lnTo>
                  <a:lnTo>
                    <a:pt x="166" y="744"/>
                  </a:lnTo>
                  <a:lnTo>
                    <a:pt x="151" y="742"/>
                  </a:lnTo>
                  <a:lnTo>
                    <a:pt x="137" y="740"/>
                  </a:lnTo>
                  <a:lnTo>
                    <a:pt x="121" y="738"/>
                  </a:lnTo>
                  <a:lnTo>
                    <a:pt x="106" y="736"/>
                  </a:lnTo>
                  <a:lnTo>
                    <a:pt x="92" y="734"/>
                  </a:lnTo>
                  <a:lnTo>
                    <a:pt x="76" y="732"/>
                  </a:lnTo>
                  <a:lnTo>
                    <a:pt x="61" y="730"/>
                  </a:lnTo>
                  <a:lnTo>
                    <a:pt x="47" y="728"/>
                  </a:lnTo>
                  <a:lnTo>
                    <a:pt x="31" y="726"/>
                  </a:lnTo>
                  <a:lnTo>
                    <a:pt x="16" y="723"/>
                  </a:lnTo>
                  <a:lnTo>
                    <a:pt x="0" y="719"/>
                  </a:lnTo>
                  <a:lnTo>
                    <a:pt x="2" y="709"/>
                  </a:lnTo>
                  <a:lnTo>
                    <a:pt x="4" y="699"/>
                  </a:lnTo>
                  <a:lnTo>
                    <a:pt x="6" y="689"/>
                  </a:lnTo>
                  <a:lnTo>
                    <a:pt x="8" y="676"/>
                  </a:lnTo>
                  <a:lnTo>
                    <a:pt x="10" y="666"/>
                  </a:lnTo>
                  <a:lnTo>
                    <a:pt x="10" y="656"/>
                  </a:lnTo>
                  <a:lnTo>
                    <a:pt x="12" y="646"/>
                  </a:lnTo>
                  <a:lnTo>
                    <a:pt x="14" y="633"/>
                  </a:lnTo>
                  <a:lnTo>
                    <a:pt x="16" y="623"/>
                  </a:lnTo>
                  <a:lnTo>
                    <a:pt x="18" y="613"/>
                  </a:lnTo>
                  <a:lnTo>
                    <a:pt x="18" y="603"/>
                  </a:lnTo>
                  <a:lnTo>
                    <a:pt x="20" y="590"/>
                  </a:lnTo>
                  <a:lnTo>
                    <a:pt x="22" y="580"/>
                  </a:lnTo>
                  <a:lnTo>
                    <a:pt x="24" y="570"/>
                  </a:lnTo>
                  <a:lnTo>
                    <a:pt x="26" y="557"/>
                  </a:lnTo>
                  <a:lnTo>
                    <a:pt x="26" y="547"/>
                  </a:lnTo>
                  <a:lnTo>
                    <a:pt x="29" y="543"/>
                  </a:lnTo>
                  <a:lnTo>
                    <a:pt x="29" y="533"/>
                  </a:lnTo>
                  <a:lnTo>
                    <a:pt x="29" y="533"/>
                  </a:lnTo>
                  <a:lnTo>
                    <a:pt x="29" y="533"/>
                  </a:lnTo>
                  <a:lnTo>
                    <a:pt x="29" y="531"/>
                  </a:lnTo>
                  <a:lnTo>
                    <a:pt x="29" y="529"/>
                  </a:lnTo>
                  <a:lnTo>
                    <a:pt x="31" y="527"/>
                  </a:lnTo>
                  <a:lnTo>
                    <a:pt x="33" y="527"/>
                  </a:lnTo>
                  <a:lnTo>
                    <a:pt x="35" y="525"/>
                  </a:lnTo>
                  <a:lnTo>
                    <a:pt x="35" y="523"/>
                  </a:lnTo>
                  <a:lnTo>
                    <a:pt x="37" y="521"/>
                  </a:lnTo>
                  <a:lnTo>
                    <a:pt x="37" y="516"/>
                  </a:lnTo>
                  <a:lnTo>
                    <a:pt x="39" y="512"/>
                  </a:lnTo>
                  <a:lnTo>
                    <a:pt x="39" y="512"/>
                  </a:lnTo>
                  <a:lnTo>
                    <a:pt x="39" y="512"/>
                  </a:lnTo>
                  <a:lnTo>
                    <a:pt x="41" y="510"/>
                  </a:lnTo>
                  <a:lnTo>
                    <a:pt x="41" y="510"/>
                  </a:lnTo>
                  <a:lnTo>
                    <a:pt x="41" y="506"/>
                  </a:lnTo>
                  <a:lnTo>
                    <a:pt x="39" y="504"/>
                  </a:lnTo>
                  <a:lnTo>
                    <a:pt x="39" y="502"/>
                  </a:lnTo>
                  <a:lnTo>
                    <a:pt x="39" y="500"/>
                  </a:lnTo>
                  <a:lnTo>
                    <a:pt x="41" y="500"/>
                  </a:lnTo>
                  <a:lnTo>
                    <a:pt x="41" y="500"/>
                  </a:lnTo>
                  <a:lnTo>
                    <a:pt x="43" y="500"/>
                  </a:lnTo>
                  <a:lnTo>
                    <a:pt x="43" y="500"/>
                  </a:lnTo>
                  <a:lnTo>
                    <a:pt x="43" y="498"/>
                  </a:lnTo>
                  <a:lnTo>
                    <a:pt x="45" y="498"/>
                  </a:lnTo>
                  <a:lnTo>
                    <a:pt x="45" y="496"/>
                  </a:lnTo>
                  <a:lnTo>
                    <a:pt x="45" y="496"/>
                  </a:lnTo>
                  <a:lnTo>
                    <a:pt x="45" y="496"/>
                  </a:lnTo>
                  <a:lnTo>
                    <a:pt x="45" y="494"/>
                  </a:lnTo>
                  <a:lnTo>
                    <a:pt x="45" y="494"/>
                  </a:lnTo>
                  <a:lnTo>
                    <a:pt x="45" y="492"/>
                  </a:lnTo>
                  <a:lnTo>
                    <a:pt x="43" y="490"/>
                  </a:lnTo>
                  <a:lnTo>
                    <a:pt x="41" y="490"/>
                  </a:lnTo>
                  <a:lnTo>
                    <a:pt x="41" y="490"/>
                  </a:lnTo>
                  <a:lnTo>
                    <a:pt x="41" y="488"/>
                  </a:lnTo>
                  <a:lnTo>
                    <a:pt x="41" y="486"/>
                  </a:lnTo>
                  <a:lnTo>
                    <a:pt x="41" y="486"/>
                  </a:lnTo>
                  <a:lnTo>
                    <a:pt x="41" y="484"/>
                  </a:lnTo>
                  <a:lnTo>
                    <a:pt x="41" y="484"/>
                  </a:lnTo>
                  <a:lnTo>
                    <a:pt x="39" y="484"/>
                  </a:lnTo>
                  <a:lnTo>
                    <a:pt x="37" y="484"/>
                  </a:lnTo>
                  <a:lnTo>
                    <a:pt x="35" y="484"/>
                  </a:lnTo>
                  <a:lnTo>
                    <a:pt x="33" y="484"/>
                  </a:lnTo>
                  <a:lnTo>
                    <a:pt x="33" y="482"/>
                  </a:lnTo>
                  <a:lnTo>
                    <a:pt x="33" y="482"/>
                  </a:lnTo>
                  <a:lnTo>
                    <a:pt x="33" y="480"/>
                  </a:lnTo>
                  <a:lnTo>
                    <a:pt x="31" y="480"/>
                  </a:lnTo>
                  <a:lnTo>
                    <a:pt x="31" y="480"/>
                  </a:lnTo>
                  <a:lnTo>
                    <a:pt x="29" y="482"/>
                  </a:lnTo>
                  <a:lnTo>
                    <a:pt x="29" y="482"/>
                  </a:lnTo>
                  <a:lnTo>
                    <a:pt x="29" y="482"/>
                  </a:lnTo>
                  <a:lnTo>
                    <a:pt x="24" y="480"/>
                  </a:lnTo>
                  <a:lnTo>
                    <a:pt x="24" y="478"/>
                  </a:lnTo>
                  <a:lnTo>
                    <a:pt x="24" y="475"/>
                  </a:lnTo>
                  <a:lnTo>
                    <a:pt x="24" y="475"/>
                  </a:lnTo>
                  <a:lnTo>
                    <a:pt x="24" y="473"/>
                  </a:lnTo>
                  <a:lnTo>
                    <a:pt x="24" y="473"/>
                  </a:lnTo>
                  <a:lnTo>
                    <a:pt x="24" y="471"/>
                  </a:lnTo>
                  <a:lnTo>
                    <a:pt x="24" y="469"/>
                  </a:lnTo>
                  <a:lnTo>
                    <a:pt x="24" y="467"/>
                  </a:lnTo>
                  <a:lnTo>
                    <a:pt x="24" y="465"/>
                  </a:lnTo>
                  <a:lnTo>
                    <a:pt x="26" y="463"/>
                  </a:lnTo>
                  <a:lnTo>
                    <a:pt x="26" y="461"/>
                  </a:lnTo>
                  <a:lnTo>
                    <a:pt x="26" y="459"/>
                  </a:lnTo>
                  <a:lnTo>
                    <a:pt x="26" y="459"/>
                  </a:lnTo>
                  <a:lnTo>
                    <a:pt x="29" y="457"/>
                  </a:lnTo>
                  <a:lnTo>
                    <a:pt x="29" y="457"/>
                  </a:lnTo>
                  <a:lnTo>
                    <a:pt x="29" y="457"/>
                  </a:lnTo>
                  <a:lnTo>
                    <a:pt x="29" y="455"/>
                  </a:lnTo>
                  <a:lnTo>
                    <a:pt x="31" y="455"/>
                  </a:lnTo>
                  <a:lnTo>
                    <a:pt x="31" y="455"/>
                  </a:lnTo>
                  <a:lnTo>
                    <a:pt x="33" y="455"/>
                  </a:lnTo>
                  <a:lnTo>
                    <a:pt x="35" y="453"/>
                  </a:lnTo>
                  <a:lnTo>
                    <a:pt x="35" y="451"/>
                  </a:lnTo>
                  <a:lnTo>
                    <a:pt x="37" y="447"/>
                  </a:lnTo>
                  <a:lnTo>
                    <a:pt x="37" y="445"/>
                  </a:lnTo>
                  <a:lnTo>
                    <a:pt x="41" y="441"/>
                  </a:lnTo>
                  <a:lnTo>
                    <a:pt x="43" y="437"/>
                  </a:lnTo>
                  <a:lnTo>
                    <a:pt x="45" y="435"/>
                  </a:lnTo>
                  <a:lnTo>
                    <a:pt x="45" y="435"/>
                  </a:lnTo>
                  <a:lnTo>
                    <a:pt x="51" y="432"/>
                  </a:lnTo>
                  <a:lnTo>
                    <a:pt x="53" y="430"/>
                  </a:lnTo>
                  <a:lnTo>
                    <a:pt x="53" y="428"/>
                  </a:lnTo>
                  <a:lnTo>
                    <a:pt x="59" y="424"/>
                  </a:lnTo>
                  <a:lnTo>
                    <a:pt x="61" y="420"/>
                  </a:lnTo>
                  <a:lnTo>
                    <a:pt x="61" y="418"/>
                  </a:lnTo>
                  <a:lnTo>
                    <a:pt x="63" y="414"/>
                  </a:lnTo>
                  <a:lnTo>
                    <a:pt x="63" y="412"/>
                  </a:lnTo>
                  <a:lnTo>
                    <a:pt x="63" y="412"/>
                  </a:lnTo>
                  <a:lnTo>
                    <a:pt x="63" y="410"/>
                  </a:lnTo>
                  <a:lnTo>
                    <a:pt x="63" y="410"/>
                  </a:lnTo>
                  <a:lnTo>
                    <a:pt x="63" y="408"/>
                  </a:lnTo>
                  <a:lnTo>
                    <a:pt x="63" y="408"/>
                  </a:lnTo>
                  <a:lnTo>
                    <a:pt x="65" y="406"/>
                  </a:lnTo>
                  <a:lnTo>
                    <a:pt x="76" y="396"/>
                  </a:lnTo>
                  <a:lnTo>
                    <a:pt x="78" y="391"/>
                  </a:lnTo>
                  <a:lnTo>
                    <a:pt x="80" y="385"/>
                  </a:lnTo>
                  <a:lnTo>
                    <a:pt x="82" y="383"/>
                  </a:lnTo>
                  <a:lnTo>
                    <a:pt x="82" y="383"/>
                  </a:lnTo>
                  <a:lnTo>
                    <a:pt x="82" y="379"/>
                  </a:lnTo>
                  <a:lnTo>
                    <a:pt x="84" y="377"/>
                  </a:lnTo>
                  <a:lnTo>
                    <a:pt x="84" y="375"/>
                  </a:lnTo>
                  <a:lnTo>
                    <a:pt x="88" y="371"/>
                  </a:lnTo>
                  <a:lnTo>
                    <a:pt x="90" y="369"/>
                  </a:lnTo>
                  <a:lnTo>
                    <a:pt x="94" y="365"/>
                  </a:lnTo>
                  <a:lnTo>
                    <a:pt x="94" y="363"/>
                  </a:lnTo>
                  <a:lnTo>
                    <a:pt x="94" y="361"/>
                  </a:lnTo>
                  <a:lnTo>
                    <a:pt x="96" y="359"/>
                  </a:lnTo>
                  <a:lnTo>
                    <a:pt x="98" y="359"/>
                  </a:lnTo>
                  <a:lnTo>
                    <a:pt x="100" y="357"/>
                  </a:lnTo>
                  <a:lnTo>
                    <a:pt x="102" y="355"/>
                  </a:lnTo>
                  <a:lnTo>
                    <a:pt x="102" y="353"/>
                  </a:lnTo>
                  <a:lnTo>
                    <a:pt x="102" y="350"/>
                  </a:lnTo>
                  <a:lnTo>
                    <a:pt x="102" y="348"/>
                  </a:lnTo>
                  <a:lnTo>
                    <a:pt x="100" y="342"/>
                  </a:lnTo>
                  <a:lnTo>
                    <a:pt x="100" y="338"/>
                  </a:lnTo>
                  <a:lnTo>
                    <a:pt x="98" y="336"/>
                  </a:lnTo>
                  <a:lnTo>
                    <a:pt x="98" y="334"/>
                  </a:lnTo>
                  <a:lnTo>
                    <a:pt x="96" y="334"/>
                  </a:lnTo>
                  <a:lnTo>
                    <a:pt x="94" y="332"/>
                  </a:lnTo>
                  <a:lnTo>
                    <a:pt x="90" y="330"/>
                  </a:lnTo>
                  <a:lnTo>
                    <a:pt x="88" y="328"/>
                  </a:lnTo>
                  <a:lnTo>
                    <a:pt x="88" y="326"/>
                  </a:lnTo>
                  <a:lnTo>
                    <a:pt x="82" y="324"/>
                  </a:lnTo>
                  <a:lnTo>
                    <a:pt x="82" y="324"/>
                  </a:lnTo>
                  <a:lnTo>
                    <a:pt x="82" y="322"/>
                  </a:lnTo>
                  <a:lnTo>
                    <a:pt x="78" y="316"/>
                  </a:lnTo>
                  <a:lnTo>
                    <a:pt x="76" y="309"/>
                  </a:lnTo>
                  <a:lnTo>
                    <a:pt x="76" y="307"/>
                  </a:lnTo>
                  <a:lnTo>
                    <a:pt x="76" y="305"/>
                  </a:lnTo>
                  <a:lnTo>
                    <a:pt x="76" y="301"/>
                  </a:lnTo>
                  <a:lnTo>
                    <a:pt x="72" y="295"/>
                  </a:lnTo>
                  <a:lnTo>
                    <a:pt x="72" y="295"/>
                  </a:lnTo>
                  <a:lnTo>
                    <a:pt x="74" y="293"/>
                  </a:lnTo>
                  <a:lnTo>
                    <a:pt x="76" y="291"/>
                  </a:lnTo>
                  <a:lnTo>
                    <a:pt x="76" y="289"/>
                  </a:lnTo>
                  <a:lnTo>
                    <a:pt x="76" y="287"/>
                  </a:lnTo>
                  <a:lnTo>
                    <a:pt x="76" y="285"/>
                  </a:lnTo>
                  <a:lnTo>
                    <a:pt x="76" y="279"/>
                  </a:lnTo>
                  <a:lnTo>
                    <a:pt x="74" y="277"/>
                  </a:lnTo>
                  <a:lnTo>
                    <a:pt x="72" y="273"/>
                  </a:lnTo>
                  <a:lnTo>
                    <a:pt x="69" y="266"/>
                  </a:lnTo>
                  <a:lnTo>
                    <a:pt x="69" y="266"/>
                  </a:lnTo>
                  <a:lnTo>
                    <a:pt x="69" y="264"/>
                  </a:lnTo>
                  <a:lnTo>
                    <a:pt x="72" y="260"/>
                  </a:lnTo>
                  <a:lnTo>
                    <a:pt x="72" y="258"/>
                  </a:lnTo>
                  <a:lnTo>
                    <a:pt x="74" y="242"/>
                  </a:lnTo>
                  <a:lnTo>
                    <a:pt x="78" y="225"/>
                  </a:lnTo>
                  <a:lnTo>
                    <a:pt x="80" y="209"/>
                  </a:lnTo>
                  <a:lnTo>
                    <a:pt x="82" y="193"/>
                  </a:lnTo>
                  <a:lnTo>
                    <a:pt x="84" y="176"/>
                  </a:lnTo>
                  <a:lnTo>
                    <a:pt x="86" y="160"/>
                  </a:lnTo>
                  <a:lnTo>
                    <a:pt x="88" y="143"/>
                  </a:lnTo>
                  <a:lnTo>
                    <a:pt x="92" y="127"/>
                  </a:lnTo>
                  <a:lnTo>
                    <a:pt x="94" y="113"/>
                  </a:lnTo>
                  <a:lnTo>
                    <a:pt x="96" y="96"/>
                  </a:lnTo>
                  <a:lnTo>
                    <a:pt x="98" y="80"/>
                  </a:lnTo>
                  <a:lnTo>
                    <a:pt x="100" y="64"/>
                  </a:lnTo>
                  <a:lnTo>
                    <a:pt x="104" y="47"/>
                  </a:lnTo>
                  <a:lnTo>
                    <a:pt x="106" y="31"/>
                  </a:lnTo>
                  <a:lnTo>
                    <a:pt x="108" y="16"/>
                  </a:lnTo>
                  <a:lnTo>
                    <a:pt x="110" y="0"/>
                  </a:lnTo>
                  <a:lnTo>
                    <a:pt x="119" y="0"/>
                  </a:lnTo>
                  <a:lnTo>
                    <a:pt x="135" y="4"/>
                  </a:lnTo>
                  <a:lnTo>
                    <a:pt x="151" y="6"/>
                  </a:lnTo>
                  <a:lnTo>
                    <a:pt x="168" y="8"/>
                  </a:lnTo>
                  <a:lnTo>
                    <a:pt x="184" y="10"/>
                  </a:lnTo>
                  <a:lnTo>
                    <a:pt x="184" y="10"/>
                  </a:lnTo>
                  <a:lnTo>
                    <a:pt x="182" y="23"/>
                  </a:lnTo>
                  <a:lnTo>
                    <a:pt x="180" y="35"/>
                  </a:lnTo>
                  <a:lnTo>
                    <a:pt x="180" y="47"/>
                  </a:lnTo>
                  <a:lnTo>
                    <a:pt x="178" y="57"/>
                  </a:lnTo>
                  <a:lnTo>
                    <a:pt x="176" y="70"/>
                  </a:lnTo>
                  <a:lnTo>
                    <a:pt x="174" y="82"/>
                  </a:lnTo>
                  <a:lnTo>
                    <a:pt x="172" y="94"/>
                  </a:lnTo>
                  <a:lnTo>
                    <a:pt x="170" y="107"/>
                  </a:lnTo>
                  <a:lnTo>
                    <a:pt x="170" y="111"/>
                  </a:lnTo>
                  <a:lnTo>
                    <a:pt x="170" y="111"/>
                  </a:lnTo>
                  <a:lnTo>
                    <a:pt x="170" y="113"/>
                  </a:lnTo>
                  <a:lnTo>
                    <a:pt x="172" y="115"/>
                  </a:lnTo>
                  <a:lnTo>
                    <a:pt x="174" y="117"/>
                  </a:lnTo>
                  <a:lnTo>
                    <a:pt x="174" y="119"/>
                  </a:lnTo>
                  <a:lnTo>
                    <a:pt x="176" y="121"/>
                  </a:lnTo>
                  <a:lnTo>
                    <a:pt x="176" y="123"/>
                  </a:lnTo>
                  <a:lnTo>
                    <a:pt x="176" y="123"/>
                  </a:lnTo>
                  <a:lnTo>
                    <a:pt x="178" y="123"/>
                  </a:lnTo>
                  <a:lnTo>
                    <a:pt x="178" y="125"/>
                  </a:lnTo>
                  <a:lnTo>
                    <a:pt x="178" y="125"/>
                  </a:lnTo>
                  <a:lnTo>
                    <a:pt x="180" y="127"/>
                  </a:lnTo>
                  <a:lnTo>
                    <a:pt x="180" y="127"/>
                  </a:lnTo>
                  <a:lnTo>
                    <a:pt x="182" y="129"/>
                  </a:lnTo>
                  <a:lnTo>
                    <a:pt x="182" y="129"/>
                  </a:lnTo>
                  <a:lnTo>
                    <a:pt x="182" y="129"/>
                  </a:lnTo>
                  <a:lnTo>
                    <a:pt x="182" y="131"/>
                  </a:lnTo>
                  <a:lnTo>
                    <a:pt x="184" y="135"/>
                  </a:lnTo>
                  <a:lnTo>
                    <a:pt x="184" y="137"/>
                  </a:lnTo>
                  <a:lnTo>
                    <a:pt x="184" y="137"/>
                  </a:lnTo>
                  <a:lnTo>
                    <a:pt x="186" y="139"/>
                  </a:lnTo>
                  <a:lnTo>
                    <a:pt x="186" y="139"/>
                  </a:lnTo>
                  <a:lnTo>
                    <a:pt x="186" y="139"/>
                  </a:lnTo>
                  <a:lnTo>
                    <a:pt x="186" y="141"/>
                  </a:lnTo>
                  <a:lnTo>
                    <a:pt x="186" y="141"/>
                  </a:lnTo>
                  <a:lnTo>
                    <a:pt x="188" y="141"/>
                  </a:lnTo>
                  <a:lnTo>
                    <a:pt x="190" y="143"/>
                  </a:lnTo>
                  <a:lnTo>
                    <a:pt x="190" y="143"/>
                  </a:lnTo>
                  <a:lnTo>
                    <a:pt x="190" y="146"/>
                  </a:lnTo>
                  <a:lnTo>
                    <a:pt x="190" y="146"/>
                  </a:lnTo>
                  <a:lnTo>
                    <a:pt x="190" y="148"/>
                  </a:lnTo>
                  <a:lnTo>
                    <a:pt x="190" y="150"/>
                  </a:lnTo>
                  <a:lnTo>
                    <a:pt x="190" y="150"/>
                  </a:lnTo>
                  <a:lnTo>
                    <a:pt x="192" y="154"/>
                  </a:lnTo>
                  <a:lnTo>
                    <a:pt x="192" y="154"/>
                  </a:lnTo>
                  <a:lnTo>
                    <a:pt x="192" y="156"/>
                  </a:lnTo>
                  <a:lnTo>
                    <a:pt x="192" y="156"/>
                  </a:lnTo>
                  <a:lnTo>
                    <a:pt x="190" y="158"/>
                  </a:lnTo>
                  <a:lnTo>
                    <a:pt x="190" y="158"/>
                  </a:lnTo>
                  <a:lnTo>
                    <a:pt x="190" y="158"/>
                  </a:lnTo>
                  <a:lnTo>
                    <a:pt x="190" y="158"/>
                  </a:lnTo>
                  <a:lnTo>
                    <a:pt x="188" y="158"/>
                  </a:lnTo>
                  <a:lnTo>
                    <a:pt x="188" y="160"/>
                  </a:lnTo>
                  <a:lnTo>
                    <a:pt x="186" y="160"/>
                  </a:lnTo>
                  <a:lnTo>
                    <a:pt x="186" y="160"/>
                  </a:lnTo>
                  <a:lnTo>
                    <a:pt x="188" y="160"/>
                  </a:lnTo>
                  <a:lnTo>
                    <a:pt x="190" y="162"/>
                  </a:lnTo>
                  <a:lnTo>
                    <a:pt x="190" y="162"/>
                  </a:lnTo>
                  <a:lnTo>
                    <a:pt x="190" y="164"/>
                  </a:lnTo>
                  <a:lnTo>
                    <a:pt x="190" y="166"/>
                  </a:lnTo>
                  <a:lnTo>
                    <a:pt x="190" y="166"/>
                  </a:lnTo>
                  <a:lnTo>
                    <a:pt x="190" y="166"/>
                  </a:lnTo>
                  <a:lnTo>
                    <a:pt x="192" y="168"/>
                  </a:lnTo>
                  <a:lnTo>
                    <a:pt x="192" y="168"/>
                  </a:lnTo>
                  <a:lnTo>
                    <a:pt x="192" y="168"/>
                  </a:lnTo>
                  <a:lnTo>
                    <a:pt x="192" y="170"/>
                  </a:lnTo>
                  <a:lnTo>
                    <a:pt x="192" y="170"/>
                  </a:lnTo>
                  <a:lnTo>
                    <a:pt x="192" y="170"/>
                  </a:lnTo>
                  <a:lnTo>
                    <a:pt x="192" y="170"/>
                  </a:lnTo>
                  <a:lnTo>
                    <a:pt x="190" y="170"/>
                  </a:lnTo>
                  <a:lnTo>
                    <a:pt x="188" y="170"/>
                  </a:lnTo>
                  <a:lnTo>
                    <a:pt x="186" y="170"/>
                  </a:lnTo>
                  <a:lnTo>
                    <a:pt x="186" y="170"/>
                  </a:lnTo>
                  <a:lnTo>
                    <a:pt x="186" y="170"/>
                  </a:lnTo>
                  <a:lnTo>
                    <a:pt x="186" y="170"/>
                  </a:lnTo>
                  <a:lnTo>
                    <a:pt x="186" y="170"/>
                  </a:lnTo>
                  <a:lnTo>
                    <a:pt x="186" y="172"/>
                  </a:lnTo>
                  <a:lnTo>
                    <a:pt x="186" y="172"/>
                  </a:lnTo>
                  <a:lnTo>
                    <a:pt x="188" y="172"/>
                  </a:lnTo>
                  <a:lnTo>
                    <a:pt x="190" y="174"/>
                  </a:lnTo>
                  <a:lnTo>
                    <a:pt x="196" y="178"/>
                  </a:lnTo>
                  <a:lnTo>
                    <a:pt x="196" y="178"/>
                  </a:lnTo>
                  <a:lnTo>
                    <a:pt x="199" y="182"/>
                  </a:lnTo>
                  <a:lnTo>
                    <a:pt x="199" y="184"/>
                  </a:lnTo>
                  <a:lnTo>
                    <a:pt x="201" y="187"/>
                  </a:lnTo>
                  <a:lnTo>
                    <a:pt x="201" y="187"/>
                  </a:lnTo>
                  <a:lnTo>
                    <a:pt x="201" y="189"/>
                  </a:lnTo>
                  <a:lnTo>
                    <a:pt x="201" y="189"/>
                  </a:lnTo>
                  <a:lnTo>
                    <a:pt x="203" y="189"/>
                  </a:lnTo>
                  <a:lnTo>
                    <a:pt x="207" y="191"/>
                  </a:lnTo>
                  <a:lnTo>
                    <a:pt x="213" y="193"/>
                  </a:lnTo>
                  <a:lnTo>
                    <a:pt x="213" y="195"/>
                  </a:lnTo>
                  <a:lnTo>
                    <a:pt x="213" y="195"/>
                  </a:lnTo>
                  <a:lnTo>
                    <a:pt x="215" y="197"/>
                  </a:lnTo>
                  <a:lnTo>
                    <a:pt x="215" y="197"/>
                  </a:lnTo>
                  <a:lnTo>
                    <a:pt x="215" y="199"/>
                  </a:lnTo>
                  <a:lnTo>
                    <a:pt x="215" y="199"/>
                  </a:lnTo>
                  <a:lnTo>
                    <a:pt x="217" y="199"/>
                  </a:lnTo>
                  <a:lnTo>
                    <a:pt x="217" y="199"/>
                  </a:lnTo>
                  <a:lnTo>
                    <a:pt x="217" y="201"/>
                  </a:lnTo>
                  <a:lnTo>
                    <a:pt x="217" y="201"/>
                  </a:lnTo>
                  <a:lnTo>
                    <a:pt x="217" y="203"/>
                  </a:lnTo>
                  <a:lnTo>
                    <a:pt x="217" y="203"/>
                  </a:lnTo>
                  <a:lnTo>
                    <a:pt x="219" y="203"/>
                  </a:lnTo>
                  <a:lnTo>
                    <a:pt x="219" y="203"/>
                  </a:lnTo>
                  <a:lnTo>
                    <a:pt x="219" y="205"/>
                  </a:lnTo>
                  <a:lnTo>
                    <a:pt x="219" y="205"/>
                  </a:lnTo>
                  <a:lnTo>
                    <a:pt x="221" y="207"/>
                  </a:lnTo>
                  <a:lnTo>
                    <a:pt x="223" y="207"/>
                  </a:lnTo>
                  <a:lnTo>
                    <a:pt x="223" y="211"/>
                  </a:lnTo>
                  <a:lnTo>
                    <a:pt x="225" y="213"/>
                  </a:lnTo>
                  <a:lnTo>
                    <a:pt x="231" y="221"/>
                  </a:lnTo>
                  <a:lnTo>
                    <a:pt x="231" y="221"/>
                  </a:lnTo>
                  <a:lnTo>
                    <a:pt x="231" y="223"/>
                  </a:lnTo>
                  <a:lnTo>
                    <a:pt x="231" y="223"/>
                  </a:lnTo>
                  <a:lnTo>
                    <a:pt x="231" y="223"/>
                  </a:lnTo>
                  <a:lnTo>
                    <a:pt x="231" y="225"/>
                  </a:lnTo>
                  <a:lnTo>
                    <a:pt x="231" y="225"/>
                  </a:lnTo>
                  <a:lnTo>
                    <a:pt x="233" y="225"/>
                  </a:lnTo>
                  <a:lnTo>
                    <a:pt x="235" y="225"/>
                  </a:lnTo>
                  <a:lnTo>
                    <a:pt x="235" y="228"/>
                  </a:lnTo>
                  <a:lnTo>
                    <a:pt x="235" y="228"/>
                  </a:lnTo>
                  <a:lnTo>
                    <a:pt x="237" y="230"/>
                  </a:lnTo>
                  <a:lnTo>
                    <a:pt x="237" y="232"/>
                  </a:lnTo>
                  <a:lnTo>
                    <a:pt x="237" y="232"/>
                  </a:lnTo>
                  <a:lnTo>
                    <a:pt x="239" y="234"/>
                  </a:lnTo>
                  <a:lnTo>
                    <a:pt x="239" y="234"/>
                  </a:lnTo>
                  <a:lnTo>
                    <a:pt x="239" y="234"/>
                  </a:lnTo>
                  <a:lnTo>
                    <a:pt x="239" y="234"/>
                  </a:lnTo>
                  <a:lnTo>
                    <a:pt x="239" y="236"/>
                  </a:lnTo>
                  <a:lnTo>
                    <a:pt x="239" y="236"/>
                  </a:lnTo>
                  <a:lnTo>
                    <a:pt x="239" y="236"/>
                  </a:lnTo>
                  <a:lnTo>
                    <a:pt x="239" y="238"/>
                  </a:lnTo>
                  <a:lnTo>
                    <a:pt x="239" y="240"/>
                  </a:lnTo>
                  <a:lnTo>
                    <a:pt x="239" y="240"/>
                  </a:lnTo>
                  <a:lnTo>
                    <a:pt x="239" y="242"/>
                  </a:lnTo>
                  <a:lnTo>
                    <a:pt x="239" y="242"/>
                  </a:lnTo>
                  <a:lnTo>
                    <a:pt x="242" y="244"/>
                  </a:lnTo>
                  <a:lnTo>
                    <a:pt x="244" y="244"/>
                  </a:lnTo>
                  <a:lnTo>
                    <a:pt x="244" y="246"/>
                  </a:lnTo>
                  <a:lnTo>
                    <a:pt x="246" y="246"/>
                  </a:lnTo>
                  <a:lnTo>
                    <a:pt x="246" y="248"/>
                  </a:lnTo>
                  <a:lnTo>
                    <a:pt x="248" y="248"/>
                  </a:lnTo>
                  <a:lnTo>
                    <a:pt x="250" y="250"/>
                  </a:lnTo>
                  <a:lnTo>
                    <a:pt x="250" y="250"/>
                  </a:lnTo>
                  <a:lnTo>
                    <a:pt x="250" y="250"/>
                  </a:lnTo>
                  <a:lnTo>
                    <a:pt x="250" y="250"/>
                  </a:lnTo>
                  <a:lnTo>
                    <a:pt x="250" y="252"/>
                  </a:lnTo>
                  <a:lnTo>
                    <a:pt x="250" y="252"/>
                  </a:lnTo>
                  <a:lnTo>
                    <a:pt x="250" y="254"/>
                  </a:lnTo>
                  <a:lnTo>
                    <a:pt x="250" y="254"/>
                  </a:lnTo>
                  <a:lnTo>
                    <a:pt x="250" y="256"/>
                  </a:lnTo>
                  <a:lnTo>
                    <a:pt x="250" y="256"/>
                  </a:lnTo>
                  <a:lnTo>
                    <a:pt x="250" y="256"/>
                  </a:lnTo>
                  <a:lnTo>
                    <a:pt x="250" y="256"/>
                  </a:lnTo>
                  <a:lnTo>
                    <a:pt x="252" y="256"/>
                  </a:lnTo>
                  <a:lnTo>
                    <a:pt x="254" y="254"/>
                  </a:lnTo>
                  <a:lnTo>
                    <a:pt x="254" y="254"/>
                  </a:lnTo>
                  <a:lnTo>
                    <a:pt x="256" y="254"/>
                  </a:lnTo>
                  <a:lnTo>
                    <a:pt x="256" y="254"/>
                  </a:lnTo>
                  <a:lnTo>
                    <a:pt x="256" y="254"/>
                  </a:lnTo>
                  <a:lnTo>
                    <a:pt x="256" y="254"/>
                  </a:lnTo>
                  <a:lnTo>
                    <a:pt x="258" y="254"/>
                  </a:lnTo>
                  <a:lnTo>
                    <a:pt x="260" y="256"/>
                  </a:lnTo>
                  <a:lnTo>
                    <a:pt x="260" y="256"/>
                  </a:lnTo>
                  <a:lnTo>
                    <a:pt x="260" y="256"/>
                  </a:lnTo>
                  <a:lnTo>
                    <a:pt x="260" y="258"/>
                  </a:lnTo>
                  <a:lnTo>
                    <a:pt x="260" y="258"/>
                  </a:lnTo>
                  <a:lnTo>
                    <a:pt x="258" y="260"/>
                  </a:lnTo>
                  <a:lnTo>
                    <a:pt x="258" y="260"/>
                  </a:lnTo>
                  <a:lnTo>
                    <a:pt x="258" y="260"/>
                  </a:lnTo>
                  <a:lnTo>
                    <a:pt x="258" y="260"/>
                  </a:lnTo>
                  <a:lnTo>
                    <a:pt x="258" y="262"/>
                  </a:lnTo>
                  <a:lnTo>
                    <a:pt x="258" y="262"/>
                  </a:lnTo>
                  <a:lnTo>
                    <a:pt x="260" y="262"/>
                  </a:lnTo>
                  <a:lnTo>
                    <a:pt x="262" y="264"/>
                  </a:lnTo>
                  <a:lnTo>
                    <a:pt x="262" y="264"/>
                  </a:lnTo>
                  <a:lnTo>
                    <a:pt x="264" y="266"/>
                  </a:lnTo>
                  <a:lnTo>
                    <a:pt x="264" y="266"/>
                  </a:lnTo>
                  <a:lnTo>
                    <a:pt x="266" y="266"/>
                  </a:lnTo>
                  <a:lnTo>
                    <a:pt x="268" y="264"/>
                  </a:lnTo>
                  <a:lnTo>
                    <a:pt x="268" y="264"/>
                  </a:lnTo>
                  <a:lnTo>
                    <a:pt x="268" y="264"/>
                  </a:lnTo>
                  <a:lnTo>
                    <a:pt x="270" y="266"/>
                  </a:lnTo>
                  <a:lnTo>
                    <a:pt x="270" y="266"/>
                  </a:lnTo>
                  <a:lnTo>
                    <a:pt x="270" y="266"/>
                  </a:lnTo>
                  <a:lnTo>
                    <a:pt x="272" y="266"/>
                  </a:lnTo>
                  <a:lnTo>
                    <a:pt x="272" y="266"/>
                  </a:lnTo>
                  <a:lnTo>
                    <a:pt x="274" y="264"/>
                  </a:lnTo>
                  <a:lnTo>
                    <a:pt x="274" y="264"/>
                  </a:lnTo>
                  <a:lnTo>
                    <a:pt x="280" y="264"/>
                  </a:lnTo>
                  <a:lnTo>
                    <a:pt x="280" y="264"/>
                  </a:lnTo>
                  <a:lnTo>
                    <a:pt x="280" y="264"/>
                  </a:lnTo>
                  <a:lnTo>
                    <a:pt x="282" y="264"/>
                  </a:lnTo>
                  <a:lnTo>
                    <a:pt x="282" y="264"/>
                  </a:lnTo>
                  <a:lnTo>
                    <a:pt x="282" y="266"/>
                  </a:lnTo>
                  <a:lnTo>
                    <a:pt x="282" y="266"/>
                  </a:lnTo>
                  <a:lnTo>
                    <a:pt x="282" y="266"/>
                  </a:lnTo>
                  <a:lnTo>
                    <a:pt x="282" y="269"/>
                  </a:lnTo>
                  <a:lnTo>
                    <a:pt x="282" y="271"/>
                  </a:lnTo>
                  <a:lnTo>
                    <a:pt x="280" y="271"/>
                  </a:lnTo>
                  <a:lnTo>
                    <a:pt x="280" y="273"/>
                  </a:lnTo>
                  <a:lnTo>
                    <a:pt x="280" y="273"/>
                  </a:lnTo>
                  <a:lnTo>
                    <a:pt x="280" y="273"/>
                  </a:lnTo>
                  <a:lnTo>
                    <a:pt x="280" y="273"/>
                  </a:lnTo>
                  <a:lnTo>
                    <a:pt x="280" y="275"/>
                  </a:lnTo>
                  <a:lnTo>
                    <a:pt x="280" y="275"/>
                  </a:lnTo>
                  <a:lnTo>
                    <a:pt x="280" y="275"/>
                  </a:lnTo>
                  <a:lnTo>
                    <a:pt x="278" y="277"/>
                  </a:lnTo>
                  <a:lnTo>
                    <a:pt x="278" y="277"/>
                  </a:lnTo>
                  <a:lnTo>
                    <a:pt x="278" y="277"/>
                  </a:lnTo>
                  <a:lnTo>
                    <a:pt x="278" y="277"/>
                  </a:lnTo>
                  <a:lnTo>
                    <a:pt x="278" y="279"/>
                  </a:lnTo>
                  <a:lnTo>
                    <a:pt x="278" y="279"/>
                  </a:lnTo>
                  <a:lnTo>
                    <a:pt x="280" y="279"/>
                  </a:lnTo>
                  <a:lnTo>
                    <a:pt x="278" y="279"/>
                  </a:lnTo>
                  <a:lnTo>
                    <a:pt x="278" y="281"/>
                  </a:lnTo>
                  <a:lnTo>
                    <a:pt x="278" y="281"/>
                  </a:lnTo>
                  <a:lnTo>
                    <a:pt x="278" y="281"/>
                  </a:lnTo>
                  <a:lnTo>
                    <a:pt x="278" y="281"/>
                  </a:lnTo>
                  <a:lnTo>
                    <a:pt x="274" y="281"/>
                  </a:lnTo>
                  <a:lnTo>
                    <a:pt x="274" y="281"/>
                  </a:lnTo>
                  <a:lnTo>
                    <a:pt x="274" y="281"/>
                  </a:lnTo>
                  <a:lnTo>
                    <a:pt x="274" y="283"/>
                  </a:lnTo>
                  <a:lnTo>
                    <a:pt x="274" y="283"/>
                  </a:lnTo>
                  <a:lnTo>
                    <a:pt x="274" y="283"/>
                  </a:lnTo>
                  <a:lnTo>
                    <a:pt x="274" y="283"/>
                  </a:lnTo>
                  <a:lnTo>
                    <a:pt x="276" y="285"/>
                  </a:lnTo>
                  <a:lnTo>
                    <a:pt x="276" y="285"/>
                  </a:lnTo>
                  <a:lnTo>
                    <a:pt x="276" y="285"/>
                  </a:lnTo>
                  <a:lnTo>
                    <a:pt x="276" y="285"/>
                  </a:lnTo>
                  <a:lnTo>
                    <a:pt x="276" y="287"/>
                  </a:lnTo>
                  <a:lnTo>
                    <a:pt x="276" y="287"/>
                  </a:lnTo>
                  <a:lnTo>
                    <a:pt x="276" y="287"/>
                  </a:lnTo>
                  <a:lnTo>
                    <a:pt x="276" y="289"/>
                  </a:lnTo>
                  <a:lnTo>
                    <a:pt x="272" y="291"/>
                  </a:lnTo>
                  <a:lnTo>
                    <a:pt x="272" y="293"/>
                  </a:lnTo>
                  <a:lnTo>
                    <a:pt x="272" y="293"/>
                  </a:lnTo>
                  <a:lnTo>
                    <a:pt x="272" y="295"/>
                  </a:lnTo>
                  <a:lnTo>
                    <a:pt x="272" y="297"/>
                  </a:lnTo>
                  <a:lnTo>
                    <a:pt x="272" y="297"/>
                  </a:lnTo>
                  <a:lnTo>
                    <a:pt x="272" y="297"/>
                  </a:lnTo>
                  <a:lnTo>
                    <a:pt x="272" y="297"/>
                  </a:lnTo>
                  <a:lnTo>
                    <a:pt x="270" y="299"/>
                  </a:lnTo>
                  <a:lnTo>
                    <a:pt x="268" y="301"/>
                  </a:lnTo>
                  <a:lnTo>
                    <a:pt x="268" y="301"/>
                  </a:lnTo>
                  <a:lnTo>
                    <a:pt x="268" y="303"/>
                  </a:lnTo>
                  <a:lnTo>
                    <a:pt x="268" y="303"/>
                  </a:lnTo>
                  <a:lnTo>
                    <a:pt x="268" y="303"/>
                  </a:lnTo>
                  <a:lnTo>
                    <a:pt x="268" y="303"/>
                  </a:lnTo>
                  <a:lnTo>
                    <a:pt x="268" y="305"/>
                  </a:lnTo>
                  <a:lnTo>
                    <a:pt x="266" y="305"/>
                  </a:lnTo>
                  <a:lnTo>
                    <a:pt x="266" y="305"/>
                  </a:lnTo>
                  <a:lnTo>
                    <a:pt x="266" y="305"/>
                  </a:lnTo>
                  <a:lnTo>
                    <a:pt x="268" y="307"/>
                  </a:lnTo>
                  <a:lnTo>
                    <a:pt x="268" y="307"/>
                  </a:lnTo>
                  <a:lnTo>
                    <a:pt x="268" y="309"/>
                  </a:lnTo>
                  <a:lnTo>
                    <a:pt x="268" y="309"/>
                  </a:lnTo>
                  <a:lnTo>
                    <a:pt x="268" y="312"/>
                  </a:lnTo>
                  <a:lnTo>
                    <a:pt x="268" y="312"/>
                  </a:lnTo>
                  <a:lnTo>
                    <a:pt x="268" y="314"/>
                  </a:lnTo>
                  <a:lnTo>
                    <a:pt x="268" y="314"/>
                  </a:lnTo>
                  <a:lnTo>
                    <a:pt x="268" y="314"/>
                  </a:lnTo>
                  <a:lnTo>
                    <a:pt x="266" y="314"/>
                  </a:lnTo>
                  <a:lnTo>
                    <a:pt x="266" y="314"/>
                  </a:lnTo>
                  <a:lnTo>
                    <a:pt x="266" y="314"/>
                  </a:lnTo>
                  <a:lnTo>
                    <a:pt x="264" y="314"/>
                  </a:lnTo>
                  <a:lnTo>
                    <a:pt x="262" y="314"/>
                  </a:lnTo>
                  <a:lnTo>
                    <a:pt x="262" y="316"/>
                  </a:lnTo>
                  <a:lnTo>
                    <a:pt x="262" y="316"/>
                  </a:lnTo>
                  <a:lnTo>
                    <a:pt x="262" y="316"/>
                  </a:lnTo>
                  <a:lnTo>
                    <a:pt x="262" y="316"/>
                  </a:lnTo>
                  <a:lnTo>
                    <a:pt x="262" y="316"/>
                  </a:lnTo>
                  <a:lnTo>
                    <a:pt x="262" y="318"/>
                  </a:lnTo>
                  <a:lnTo>
                    <a:pt x="264" y="320"/>
                  </a:lnTo>
                  <a:lnTo>
                    <a:pt x="264" y="322"/>
                  </a:lnTo>
                  <a:lnTo>
                    <a:pt x="264" y="322"/>
                  </a:lnTo>
                  <a:lnTo>
                    <a:pt x="264" y="322"/>
                  </a:lnTo>
                  <a:lnTo>
                    <a:pt x="264" y="324"/>
                  </a:lnTo>
                  <a:lnTo>
                    <a:pt x="264" y="324"/>
                  </a:lnTo>
                  <a:lnTo>
                    <a:pt x="264" y="324"/>
                  </a:lnTo>
                  <a:lnTo>
                    <a:pt x="262" y="326"/>
                  </a:lnTo>
                  <a:lnTo>
                    <a:pt x="262" y="326"/>
                  </a:lnTo>
                  <a:lnTo>
                    <a:pt x="262" y="328"/>
                  </a:lnTo>
                  <a:lnTo>
                    <a:pt x="262" y="328"/>
                  </a:lnTo>
                  <a:lnTo>
                    <a:pt x="262" y="328"/>
                  </a:lnTo>
                  <a:lnTo>
                    <a:pt x="262" y="330"/>
                  </a:lnTo>
                  <a:lnTo>
                    <a:pt x="262" y="330"/>
                  </a:lnTo>
                  <a:lnTo>
                    <a:pt x="262" y="330"/>
                  </a:lnTo>
                  <a:lnTo>
                    <a:pt x="262" y="332"/>
                  </a:lnTo>
                  <a:lnTo>
                    <a:pt x="262" y="332"/>
                  </a:lnTo>
                  <a:lnTo>
                    <a:pt x="262" y="332"/>
                  </a:lnTo>
                  <a:lnTo>
                    <a:pt x="264" y="334"/>
                  </a:lnTo>
                  <a:lnTo>
                    <a:pt x="266" y="334"/>
                  </a:lnTo>
                  <a:lnTo>
                    <a:pt x="266" y="334"/>
                  </a:lnTo>
                  <a:lnTo>
                    <a:pt x="268" y="336"/>
                  </a:lnTo>
                  <a:lnTo>
                    <a:pt x="268" y="336"/>
                  </a:lnTo>
                  <a:lnTo>
                    <a:pt x="266" y="336"/>
                  </a:lnTo>
                  <a:lnTo>
                    <a:pt x="266" y="338"/>
                  </a:lnTo>
                  <a:lnTo>
                    <a:pt x="266" y="338"/>
                  </a:lnTo>
                  <a:lnTo>
                    <a:pt x="266" y="340"/>
                  </a:lnTo>
                  <a:lnTo>
                    <a:pt x="266" y="340"/>
                  </a:lnTo>
                  <a:lnTo>
                    <a:pt x="266" y="340"/>
                  </a:lnTo>
                  <a:lnTo>
                    <a:pt x="266" y="340"/>
                  </a:lnTo>
                  <a:lnTo>
                    <a:pt x="266" y="342"/>
                  </a:lnTo>
                  <a:lnTo>
                    <a:pt x="266" y="344"/>
                  </a:lnTo>
                  <a:lnTo>
                    <a:pt x="266" y="344"/>
                  </a:lnTo>
                  <a:lnTo>
                    <a:pt x="266" y="346"/>
                  </a:lnTo>
                  <a:lnTo>
                    <a:pt x="266" y="346"/>
                  </a:lnTo>
                  <a:lnTo>
                    <a:pt x="264" y="348"/>
                  </a:lnTo>
                  <a:lnTo>
                    <a:pt x="264" y="348"/>
                  </a:lnTo>
                  <a:lnTo>
                    <a:pt x="264" y="348"/>
                  </a:lnTo>
                  <a:lnTo>
                    <a:pt x="262" y="348"/>
                  </a:lnTo>
                  <a:lnTo>
                    <a:pt x="260" y="348"/>
                  </a:lnTo>
                  <a:lnTo>
                    <a:pt x="260" y="348"/>
                  </a:lnTo>
                  <a:lnTo>
                    <a:pt x="258" y="348"/>
                  </a:lnTo>
                  <a:lnTo>
                    <a:pt x="258" y="348"/>
                  </a:lnTo>
                  <a:lnTo>
                    <a:pt x="258" y="348"/>
                  </a:lnTo>
                  <a:lnTo>
                    <a:pt x="258" y="348"/>
                  </a:lnTo>
                  <a:lnTo>
                    <a:pt x="258" y="350"/>
                  </a:lnTo>
                  <a:lnTo>
                    <a:pt x="256" y="350"/>
                  </a:lnTo>
                  <a:lnTo>
                    <a:pt x="256" y="353"/>
                  </a:lnTo>
                  <a:lnTo>
                    <a:pt x="256" y="353"/>
                  </a:lnTo>
                  <a:lnTo>
                    <a:pt x="254" y="353"/>
                  </a:lnTo>
                  <a:lnTo>
                    <a:pt x="254" y="353"/>
                  </a:lnTo>
                  <a:lnTo>
                    <a:pt x="254" y="355"/>
                  </a:lnTo>
                  <a:lnTo>
                    <a:pt x="254" y="355"/>
                  </a:lnTo>
                  <a:lnTo>
                    <a:pt x="252" y="355"/>
                  </a:lnTo>
                  <a:lnTo>
                    <a:pt x="254" y="357"/>
                  </a:lnTo>
                  <a:lnTo>
                    <a:pt x="254" y="357"/>
                  </a:lnTo>
                  <a:lnTo>
                    <a:pt x="254" y="359"/>
                  </a:lnTo>
                  <a:lnTo>
                    <a:pt x="254" y="359"/>
                  </a:lnTo>
                  <a:lnTo>
                    <a:pt x="254" y="359"/>
                  </a:lnTo>
                  <a:lnTo>
                    <a:pt x="256" y="361"/>
                  </a:lnTo>
                  <a:lnTo>
                    <a:pt x="256" y="363"/>
                  </a:lnTo>
                  <a:lnTo>
                    <a:pt x="256" y="363"/>
                  </a:lnTo>
                  <a:lnTo>
                    <a:pt x="256" y="365"/>
                  </a:lnTo>
                  <a:lnTo>
                    <a:pt x="256" y="365"/>
                  </a:lnTo>
                  <a:lnTo>
                    <a:pt x="256" y="365"/>
                  </a:lnTo>
                  <a:lnTo>
                    <a:pt x="256" y="367"/>
                  </a:lnTo>
                  <a:lnTo>
                    <a:pt x="256" y="367"/>
                  </a:lnTo>
                  <a:lnTo>
                    <a:pt x="256" y="367"/>
                  </a:lnTo>
                  <a:lnTo>
                    <a:pt x="256" y="367"/>
                  </a:lnTo>
                  <a:lnTo>
                    <a:pt x="256" y="367"/>
                  </a:lnTo>
                  <a:lnTo>
                    <a:pt x="254" y="369"/>
                  </a:lnTo>
                  <a:lnTo>
                    <a:pt x="252" y="369"/>
                  </a:lnTo>
                  <a:lnTo>
                    <a:pt x="252" y="371"/>
                  </a:lnTo>
                  <a:lnTo>
                    <a:pt x="252" y="371"/>
                  </a:lnTo>
                  <a:lnTo>
                    <a:pt x="252" y="371"/>
                  </a:lnTo>
                  <a:lnTo>
                    <a:pt x="252" y="373"/>
                  </a:lnTo>
                  <a:lnTo>
                    <a:pt x="252" y="373"/>
                  </a:lnTo>
                  <a:lnTo>
                    <a:pt x="252" y="373"/>
                  </a:lnTo>
                  <a:lnTo>
                    <a:pt x="252" y="375"/>
                  </a:lnTo>
                  <a:lnTo>
                    <a:pt x="252" y="375"/>
                  </a:lnTo>
                  <a:lnTo>
                    <a:pt x="250" y="375"/>
                  </a:lnTo>
                  <a:lnTo>
                    <a:pt x="250" y="377"/>
                  </a:lnTo>
                  <a:lnTo>
                    <a:pt x="250" y="377"/>
                  </a:lnTo>
                  <a:lnTo>
                    <a:pt x="252" y="377"/>
                  </a:lnTo>
                  <a:lnTo>
                    <a:pt x="254" y="377"/>
                  </a:lnTo>
                  <a:lnTo>
                    <a:pt x="256" y="379"/>
                  </a:lnTo>
                  <a:lnTo>
                    <a:pt x="258" y="379"/>
                  </a:lnTo>
                  <a:lnTo>
                    <a:pt x="260" y="381"/>
                  </a:lnTo>
                  <a:lnTo>
                    <a:pt x="260" y="381"/>
                  </a:lnTo>
                  <a:lnTo>
                    <a:pt x="260" y="381"/>
                  </a:lnTo>
                  <a:lnTo>
                    <a:pt x="260" y="383"/>
                  </a:lnTo>
                  <a:lnTo>
                    <a:pt x="260" y="383"/>
                  </a:lnTo>
                  <a:lnTo>
                    <a:pt x="262" y="383"/>
                  </a:lnTo>
                  <a:lnTo>
                    <a:pt x="264" y="385"/>
                  </a:lnTo>
                  <a:lnTo>
                    <a:pt x="264" y="387"/>
                  </a:lnTo>
                  <a:lnTo>
                    <a:pt x="264" y="387"/>
                  </a:lnTo>
                  <a:lnTo>
                    <a:pt x="266" y="387"/>
                  </a:lnTo>
                  <a:lnTo>
                    <a:pt x="266" y="387"/>
                  </a:lnTo>
                  <a:lnTo>
                    <a:pt x="268" y="387"/>
                  </a:lnTo>
                  <a:lnTo>
                    <a:pt x="268" y="387"/>
                  </a:lnTo>
                  <a:lnTo>
                    <a:pt x="268" y="387"/>
                  </a:lnTo>
                  <a:lnTo>
                    <a:pt x="270" y="387"/>
                  </a:lnTo>
                  <a:lnTo>
                    <a:pt x="272" y="387"/>
                  </a:lnTo>
                  <a:lnTo>
                    <a:pt x="272" y="387"/>
                  </a:lnTo>
                  <a:lnTo>
                    <a:pt x="272" y="387"/>
                  </a:lnTo>
                  <a:lnTo>
                    <a:pt x="272" y="385"/>
                  </a:lnTo>
                  <a:lnTo>
                    <a:pt x="274" y="383"/>
                  </a:lnTo>
                  <a:lnTo>
                    <a:pt x="274" y="383"/>
                  </a:lnTo>
                  <a:lnTo>
                    <a:pt x="274" y="383"/>
                  </a:lnTo>
                  <a:lnTo>
                    <a:pt x="274" y="383"/>
                  </a:lnTo>
                  <a:lnTo>
                    <a:pt x="274" y="383"/>
                  </a:lnTo>
                  <a:lnTo>
                    <a:pt x="276" y="383"/>
                  </a:lnTo>
                  <a:lnTo>
                    <a:pt x="276" y="383"/>
                  </a:lnTo>
                  <a:lnTo>
                    <a:pt x="278" y="383"/>
                  </a:lnTo>
                  <a:lnTo>
                    <a:pt x="278" y="383"/>
                  </a:lnTo>
                  <a:lnTo>
                    <a:pt x="278" y="383"/>
                  </a:lnTo>
                  <a:lnTo>
                    <a:pt x="280" y="381"/>
                  </a:lnTo>
                  <a:lnTo>
                    <a:pt x="285" y="381"/>
                  </a:lnTo>
                  <a:lnTo>
                    <a:pt x="285" y="381"/>
                  </a:lnTo>
                  <a:lnTo>
                    <a:pt x="285" y="381"/>
                  </a:lnTo>
                  <a:lnTo>
                    <a:pt x="285" y="379"/>
                  </a:lnTo>
                  <a:lnTo>
                    <a:pt x="285" y="379"/>
                  </a:lnTo>
                  <a:lnTo>
                    <a:pt x="287" y="379"/>
                  </a:lnTo>
                  <a:lnTo>
                    <a:pt x="287" y="379"/>
                  </a:lnTo>
                  <a:lnTo>
                    <a:pt x="287" y="377"/>
                  </a:lnTo>
                  <a:lnTo>
                    <a:pt x="289" y="377"/>
                  </a:lnTo>
                  <a:lnTo>
                    <a:pt x="289" y="377"/>
                  </a:lnTo>
                  <a:lnTo>
                    <a:pt x="289" y="377"/>
                  </a:lnTo>
                  <a:lnTo>
                    <a:pt x="289" y="375"/>
                  </a:lnTo>
                  <a:lnTo>
                    <a:pt x="289" y="375"/>
                  </a:lnTo>
                  <a:lnTo>
                    <a:pt x="291" y="375"/>
                  </a:lnTo>
                  <a:lnTo>
                    <a:pt x="291" y="375"/>
                  </a:lnTo>
                  <a:lnTo>
                    <a:pt x="291" y="375"/>
                  </a:lnTo>
                  <a:lnTo>
                    <a:pt x="291" y="373"/>
                  </a:lnTo>
                  <a:lnTo>
                    <a:pt x="293" y="373"/>
                  </a:lnTo>
                  <a:lnTo>
                    <a:pt x="295" y="373"/>
                  </a:lnTo>
                  <a:lnTo>
                    <a:pt x="295" y="373"/>
                  </a:lnTo>
                  <a:lnTo>
                    <a:pt x="295" y="373"/>
                  </a:lnTo>
                  <a:lnTo>
                    <a:pt x="295" y="373"/>
                  </a:lnTo>
                  <a:lnTo>
                    <a:pt x="295" y="371"/>
                  </a:lnTo>
                  <a:lnTo>
                    <a:pt x="295" y="371"/>
                  </a:lnTo>
                  <a:lnTo>
                    <a:pt x="295" y="371"/>
                  </a:lnTo>
                  <a:lnTo>
                    <a:pt x="295" y="371"/>
                  </a:lnTo>
                  <a:lnTo>
                    <a:pt x="295" y="369"/>
                  </a:lnTo>
                  <a:lnTo>
                    <a:pt x="295" y="369"/>
                  </a:lnTo>
                  <a:lnTo>
                    <a:pt x="295" y="369"/>
                  </a:lnTo>
                  <a:lnTo>
                    <a:pt x="295" y="369"/>
                  </a:lnTo>
                  <a:lnTo>
                    <a:pt x="295" y="369"/>
                  </a:lnTo>
                  <a:lnTo>
                    <a:pt x="297" y="369"/>
                  </a:lnTo>
                  <a:lnTo>
                    <a:pt x="297" y="369"/>
                  </a:lnTo>
                  <a:lnTo>
                    <a:pt x="301" y="371"/>
                  </a:lnTo>
                  <a:lnTo>
                    <a:pt x="303" y="373"/>
                  </a:lnTo>
                  <a:lnTo>
                    <a:pt x="303" y="375"/>
                  </a:lnTo>
                  <a:lnTo>
                    <a:pt x="303" y="375"/>
                  </a:lnTo>
                  <a:lnTo>
                    <a:pt x="303" y="375"/>
                  </a:lnTo>
                  <a:lnTo>
                    <a:pt x="303" y="377"/>
                  </a:lnTo>
                  <a:lnTo>
                    <a:pt x="303" y="377"/>
                  </a:lnTo>
                  <a:lnTo>
                    <a:pt x="307" y="379"/>
                  </a:lnTo>
                  <a:lnTo>
                    <a:pt x="309" y="379"/>
                  </a:lnTo>
                  <a:lnTo>
                    <a:pt x="309" y="379"/>
                  </a:lnTo>
                  <a:lnTo>
                    <a:pt x="309" y="381"/>
                  </a:lnTo>
                  <a:lnTo>
                    <a:pt x="309" y="381"/>
                  </a:lnTo>
                  <a:lnTo>
                    <a:pt x="309" y="381"/>
                  </a:lnTo>
                  <a:lnTo>
                    <a:pt x="309" y="383"/>
                  </a:lnTo>
                  <a:lnTo>
                    <a:pt x="309" y="383"/>
                  </a:lnTo>
                  <a:lnTo>
                    <a:pt x="309" y="383"/>
                  </a:lnTo>
                  <a:lnTo>
                    <a:pt x="309" y="385"/>
                  </a:lnTo>
                  <a:lnTo>
                    <a:pt x="307" y="385"/>
                  </a:lnTo>
                  <a:lnTo>
                    <a:pt x="307" y="387"/>
                  </a:lnTo>
                  <a:lnTo>
                    <a:pt x="307" y="387"/>
                  </a:lnTo>
                  <a:lnTo>
                    <a:pt x="307" y="387"/>
                  </a:lnTo>
                  <a:lnTo>
                    <a:pt x="307" y="389"/>
                  </a:lnTo>
                  <a:lnTo>
                    <a:pt x="311" y="389"/>
                  </a:lnTo>
                  <a:lnTo>
                    <a:pt x="311" y="391"/>
                  </a:lnTo>
                  <a:lnTo>
                    <a:pt x="311" y="391"/>
                  </a:lnTo>
                  <a:lnTo>
                    <a:pt x="311" y="391"/>
                  </a:lnTo>
                  <a:lnTo>
                    <a:pt x="311" y="391"/>
                  </a:lnTo>
                  <a:lnTo>
                    <a:pt x="311" y="394"/>
                  </a:lnTo>
                  <a:lnTo>
                    <a:pt x="311" y="396"/>
                  </a:lnTo>
                  <a:lnTo>
                    <a:pt x="311" y="396"/>
                  </a:lnTo>
                  <a:lnTo>
                    <a:pt x="309" y="396"/>
                  </a:lnTo>
                  <a:lnTo>
                    <a:pt x="309" y="398"/>
                  </a:lnTo>
                  <a:lnTo>
                    <a:pt x="309" y="398"/>
                  </a:lnTo>
                  <a:lnTo>
                    <a:pt x="309" y="398"/>
                  </a:lnTo>
                  <a:lnTo>
                    <a:pt x="309" y="398"/>
                  </a:lnTo>
                  <a:lnTo>
                    <a:pt x="309" y="400"/>
                  </a:lnTo>
                  <a:lnTo>
                    <a:pt x="309" y="400"/>
                  </a:lnTo>
                  <a:lnTo>
                    <a:pt x="309" y="402"/>
                  </a:lnTo>
                  <a:lnTo>
                    <a:pt x="311" y="404"/>
                  </a:lnTo>
                  <a:lnTo>
                    <a:pt x="313" y="404"/>
                  </a:lnTo>
                  <a:lnTo>
                    <a:pt x="313" y="404"/>
                  </a:lnTo>
                  <a:lnTo>
                    <a:pt x="313" y="406"/>
                  </a:lnTo>
                  <a:lnTo>
                    <a:pt x="311" y="408"/>
                  </a:lnTo>
                  <a:lnTo>
                    <a:pt x="311" y="410"/>
                  </a:lnTo>
                  <a:lnTo>
                    <a:pt x="311" y="410"/>
                  </a:lnTo>
                  <a:lnTo>
                    <a:pt x="311" y="412"/>
                  </a:lnTo>
                  <a:lnTo>
                    <a:pt x="311" y="412"/>
                  </a:lnTo>
                  <a:lnTo>
                    <a:pt x="311" y="412"/>
                  </a:lnTo>
                  <a:lnTo>
                    <a:pt x="313" y="412"/>
                  </a:lnTo>
                  <a:lnTo>
                    <a:pt x="313" y="414"/>
                  </a:lnTo>
                  <a:lnTo>
                    <a:pt x="315" y="414"/>
                  </a:lnTo>
                  <a:lnTo>
                    <a:pt x="315" y="416"/>
                  </a:lnTo>
                  <a:lnTo>
                    <a:pt x="315" y="416"/>
                  </a:lnTo>
                  <a:lnTo>
                    <a:pt x="315" y="418"/>
                  </a:lnTo>
                  <a:lnTo>
                    <a:pt x="315" y="418"/>
                  </a:lnTo>
                  <a:lnTo>
                    <a:pt x="315" y="418"/>
                  </a:lnTo>
                  <a:lnTo>
                    <a:pt x="317" y="420"/>
                  </a:lnTo>
                  <a:lnTo>
                    <a:pt x="317" y="422"/>
                  </a:lnTo>
                  <a:lnTo>
                    <a:pt x="319" y="422"/>
                  </a:lnTo>
                  <a:lnTo>
                    <a:pt x="319" y="424"/>
                  </a:lnTo>
                  <a:lnTo>
                    <a:pt x="319" y="424"/>
                  </a:lnTo>
                  <a:lnTo>
                    <a:pt x="319" y="426"/>
                  </a:lnTo>
                  <a:lnTo>
                    <a:pt x="321" y="426"/>
                  </a:lnTo>
                  <a:lnTo>
                    <a:pt x="321" y="426"/>
                  </a:lnTo>
                  <a:lnTo>
                    <a:pt x="321" y="428"/>
                  </a:lnTo>
                  <a:lnTo>
                    <a:pt x="321" y="428"/>
                  </a:lnTo>
                  <a:lnTo>
                    <a:pt x="321" y="428"/>
                  </a:lnTo>
                  <a:lnTo>
                    <a:pt x="321" y="430"/>
                  </a:lnTo>
                  <a:lnTo>
                    <a:pt x="321" y="430"/>
                  </a:lnTo>
                  <a:lnTo>
                    <a:pt x="321" y="430"/>
                  </a:lnTo>
                  <a:lnTo>
                    <a:pt x="321" y="432"/>
                  </a:lnTo>
                  <a:lnTo>
                    <a:pt x="321" y="432"/>
                  </a:lnTo>
                  <a:lnTo>
                    <a:pt x="323" y="432"/>
                  </a:lnTo>
                  <a:lnTo>
                    <a:pt x="325" y="432"/>
                  </a:lnTo>
                  <a:lnTo>
                    <a:pt x="325" y="432"/>
                  </a:lnTo>
                  <a:lnTo>
                    <a:pt x="325" y="435"/>
                  </a:lnTo>
                  <a:lnTo>
                    <a:pt x="325" y="437"/>
                  </a:lnTo>
                  <a:lnTo>
                    <a:pt x="325" y="437"/>
                  </a:lnTo>
                  <a:lnTo>
                    <a:pt x="328" y="441"/>
                  </a:lnTo>
                  <a:lnTo>
                    <a:pt x="330" y="441"/>
                  </a:lnTo>
                  <a:lnTo>
                    <a:pt x="330" y="445"/>
                  </a:lnTo>
                  <a:lnTo>
                    <a:pt x="330" y="445"/>
                  </a:lnTo>
                  <a:lnTo>
                    <a:pt x="330" y="447"/>
                  </a:lnTo>
                  <a:lnTo>
                    <a:pt x="330" y="447"/>
                  </a:lnTo>
                  <a:lnTo>
                    <a:pt x="330" y="447"/>
                  </a:lnTo>
                  <a:lnTo>
                    <a:pt x="330" y="449"/>
                  </a:lnTo>
                  <a:lnTo>
                    <a:pt x="330" y="451"/>
                  </a:lnTo>
                  <a:lnTo>
                    <a:pt x="328" y="451"/>
                  </a:lnTo>
                  <a:lnTo>
                    <a:pt x="328" y="451"/>
                  </a:lnTo>
                  <a:lnTo>
                    <a:pt x="328" y="451"/>
                  </a:lnTo>
                  <a:lnTo>
                    <a:pt x="325" y="453"/>
                  </a:lnTo>
                  <a:lnTo>
                    <a:pt x="325" y="453"/>
                  </a:lnTo>
                  <a:lnTo>
                    <a:pt x="325" y="453"/>
                  </a:lnTo>
                  <a:lnTo>
                    <a:pt x="325" y="453"/>
                  </a:lnTo>
                  <a:lnTo>
                    <a:pt x="325" y="453"/>
                  </a:lnTo>
                  <a:lnTo>
                    <a:pt x="325" y="455"/>
                  </a:lnTo>
                  <a:lnTo>
                    <a:pt x="325" y="455"/>
                  </a:lnTo>
                  <a:lnTo>
                    <a:pt x="328" y="455"/>
                  </a:lnTo>
                  <a:lnTo>
                    <a:pt x="328" y="457"/>
                  </a:lnTo>
                  <a:lnTo>
                    <a:pt x="328" y="459"/>
                  </a:lnTo>
                  <a:lnTo>
                    <a:pt x="328" y="461"/>
                  </a:lnTo>
                  <a:lnTo>
                    <a:pt x="328" y="461"/>
                  </a:lnTo>
                  <a:lnTo>
                    <a:pt x="330" y="463"/>
                  </a:lnTo>
                  <a:lnTo>
                    <a:pt x="334" y="465"/>
                  </a:lnTo>
                  <a:lnTo>
                    <a:pt x="334" y="465"/>
                  </a:lnTo>
                  <a:lnTo>
                    <a:pt x="334" y="465"/>
                  </a:lnTo>
                  <a:lnTo>
                    <a:pt x="334" y="467"/>
                  </a:lnTo>
                  <a:lnTo>
                    <a:pt x="334" y="469"/>
                  </a:lnTo>
                  <a:lnTo>
                    <a:pt x="336" y="469"/>
                  </a:lnTo>
                  <a:lnTo>
                    <a:pt x="336" y="469"/>
                  </a:lnTo>
                  <a:lnTo>
                    <a:pt x="338" y="469"/>
                  </a:lnTo>
                  <a:lnTo>
                    <a:pt x="338" y="469"/>
                  </a:lnTo>
                  <a:lnTo>
                    <a:pt x="338" y="469"/>
                  </a:lnTo>
                  <a:lnTo>
                    <a:pt x="340" y="467"/>
                  </a:lnTo>
                  <a:lnTo>
                    <a:pt x="340" y="467"/>
                  </a:lnTo>
                  <a:lnTo>
                    <a:pt x="342" y="467"/>
                  </a:lnTo>
                  <a:lnTo>
                    <a:pt x="342" y="467"/>
                  </a:lnTo>
                  <a:lnTo>
                    <a:pt x="344" y="467"/>
                  </a:lnTo>
                  <a:lnTo>
                    <a:pt x="346" y="467"/>
                  </a:lnTo>
                  <a:lnTo>
                    <a:pt x="346" y="469"/>
                  </a:lnTo>
                  <a:lnTo>
                    <a:pt x="348" y="471"/>
                  </a:lnTo>
                  <a:lnTo>
                    <a:pt x="350" y="473"/>
                  </a:lnTo>
                  <a:lnTo>
                    <a:pt x="350" y="473"/>
                  </a:lnTo>
                  <a:lnTo>
                    <a:pt x="350" y="475"/>
                  </a:lnTo>
                  <a:lnTo>
                    <a:pt x="352" y="475"/>
                  </a:lnTo>
                  <a:lnTo>
                    <a:pt x="352" y="478"/>
                  </a:lnTo>
                  <a:lnTo>
                    <a:pt x="352" y="478"/>
                  </a:lnTo>
                  <a:lnTo>
                    <a:pt x="352" y="478"/>
                  </a:lnTo>
                  <a:lnTo>
                    <a:pt x="352" y="478"/>
                  </a:lnTo>
                  <a:lnTo>
                    <a:pt x="352" y="480"/>
                  </a:lnTo>
                  <a:lnTo>
                    <a:pt x="352" y="480"/>
                  </a:lnTo>
                  <a:lnTo>
                    <a:pt x="352" y="480"/>
                  </a:lnTo>
                  <a:lnTo>
                    <a:pt x="354" y="480"/>
                  </a:lnTo>
                  <a:lnTo>
                    <a:pt x="354" y="482"/>
                  </a:lnTo>
                  <a:lnTo>
                    <a:pt x="354" y="482"/>
                  </a:lnTo>
                  <a:lnTo>
                    <a:pt x="354" y="482"/>
                  </a:lnTo>
                  <a:lnTo>
                    <a:pt x="354" y="484"/>
                  </a:lnTo>
                  <a:lnTo>
                    <a:pt x="354" y="484"/>
                  </a:lnTo>
                  <a:lnTo>
                    <a:pt x="356" y="486"/>
                  </a:lnTo>
                  <a:lnTo>
                    <a:pt x="356" y="486"/>
                  </a:lnTo>
                  <a:lnTo>
                    <a:pt x="356" y="488"/>
                  </a:lnTo>
                  <a:lnTo>
                    <a:pt x="356" y="488"/>
                  </a:lnTo>
                  <a:lnTo>
                    <a:pt x="356" y="488"/>
                  </a:lnTo>
                  <a:lnTo>
                    <a:pt x="356" y="488"/>
                  </a:lnTo>
                  <a:lnTo>
                    <a:pt x="356" y="490"/>
                  </a:lnTo>
                  <a:lnTo>
                    <a:pt x="354" y="490"/>
                  </a:lnTo>
                  <a:lnTo>
                    <a:pt x="354" y="490"/>
                  </a:lnTo>
                  <a:lnTo>
                    <a:pt x="354" y="490"/>
                  </a:lnTo>
                  <a:lnTo>
                    <a:pt x="354" y="490"/>
                  </a:lnTo>
                  <a:lnTo>
                    <a:pt x="354" y="492"/>
                  </a:lnTo>
                  <a:lnTo>
                    <a:pt x="354" y="492"/>
                  </a:lnTo>
                  <a:lnTo>
                    <a:pt x="356" y="494"/>
                  </a:lnTo>
                  <a:lnTo>
                    <a:pt x="356" y="494"/>
                  </a:lnTo>
                  <a:lnTo>
                    <a:pt x="356" y="496"/>
                  </a:lnTo>
                  <a:lnTo>
                    <a:pt x="356" y="496"/>
                  </a:lnTo>
                  <a:lnTo>
                    <a:pt x="356" y="496"/>
                  </a:lnTo>
                  <a:lnTo>
                    <a:pt x="356" y="498"/>
                  </a:lnTo>
                  <a:lnTo>
                    <a:pt x="358" y="498"/>
                  </a:lnTo>
                  <a:lnTo>
                    <a:pt x="358" y="498"/>
                  </a:lnTo>
                  <a:lnTo>
                    <a:pt x="358" y="500"/>
                  </a:lnTo>
                  <a:lnTo>
                    <a:pt x="358" y="500"/>
                  </a:lnTo>
                  <a:lnTo>
                    <a:pt x="358" y="502"/>
                  </a:lnTo>
                  <a:lnTo>
                    <a:pt x="356" y="502"/>
                  </a:lnTo>
                  <a:lnTo>
                    <a:pt x="356" y="502"/>
                  </a:lnTo>
                  <a:lnTo>
                    <a:pt x="356" y="504"/>
                  </a:lnTo>
                  <a:lnTo>
                    <a:pt x="358" y="504"/>
                  </a:lnTo>
                  <a:lnTo>
                    <a:pt x="358" y="504"/>
                  </a:lnTo>
                  <a:lnTo>
                    <a:pt x="358" y="506"/>
                  </a:lnTo>
                  <a:lnTo>
                    <a:pt x="358" y="506"/>
                  </a:lnTo>
                  <a:lnTo>
                    <a:pt x="358" y="508"/>
                  </a:lnTo>
                  <a:lnTo>
                    <a:pt x="360" y="508"/>
                  </a:lnTo>
                  <a:lnTo>
                    <a:pt x="360" y="508"/>
                  </a:lnTo>
                  <a:lnTo>
                    <a:pt x="360" y="508"/>
                  </a:lnTo>
                  <a:lnTo>
                    <a:pt x="362" y="510"/>
                  </a:lnTo>
                  <a:lnTo>
                    <a:pt x="362" y="510"/>
                  </a:lnTo>
                  <a:lnTo>
                    <a:pt x="362" y="512"/>
                  </a:lnTo>
                  <a:lnTo>
                    <a:pt x="366" y="512"/>
                  </a:lnTo>
                  <a:lnTo>
                    <a:pt x="366" y="514"/>
                  </a:lnTo>
                  <a:lnTo>
                    <a:pt x="366" y="514"/>
                  </a:lnTo>
                  <a:lnTo>
                    <a:pt x="369" y="516"/>
                  </a:lnTo>
                  <a:lnTo>
                    <a:pt x="369" y="516"/>
                  </a:lnTo>
                  <a:lnTo>
                    <a:pt x="371" y="516"/>
                  </a:lnTo>
                  <a:lnTo>
                    <a:pt x="371" y="516"/>
                  </a:lnTo>
                  <a:lnTo>
                    <a:pt x="371" y="516"/>
                  </a:lnTo>
                  <a:lnTo>
                    <a:pt x="371" y="516"/>
                  </a:lnTo>
                  <a:lnTo>
                    <a:pt x="371" y="512"/>
                  </a:lnTo>
                  <a:lnTo>
                    <a:pt x="371" y="512"/>
                  </a:lnTo>
                  <a:lnTo>
                    <a:pt x="371" y="512"/>
                  </a:lnTo>
                  <a:lnTo>
                    <a:pt x="371" y="512"/>
                  </a:lnTo>
                  <a:lnTo>
                    <a:pt x="371" y="510"/>
                  </a:lnTo>
                  <a:lnTo>
                    <a:pt x="371" y="510"/>
                  </a:lnTo>
                  <a:lnTo>
                    <a:pt x="373" y="510"/>
                  </a:lnTo>
                  <a:lnTo>
                    <a:pt x="377" y="506"/>
                  </a:lnTo>
                  <a:lnTo>
                    <a:pt x="377" y="506"/>
                  </a:lnTo>
                  <a:lnTo>
                    <a:pt x="379" y="506"/>
                  </a:lnTo>
                  <a:lnTo>
                    <a:pt x="381" y="506"/>
                  </a:lnTo>
                  <a:lnTo>
                    <a:pt x="381" y="504"/>
                  </a:lnTo>
                  <a:lnTo>
                    <a:pt x="383" y="504"/>
                  </a:lnTo>
                  <a:lnTo>
                    <a:pt x="383" y="504"/>
                  </a:lnTo>
                  <a:lnTo>
                    <a:pt x="385" y="506"/>
                  </a:lnTo>
                  <a:lnTo>
                    <a:pt x="395" y="508"/>
                  </a:lnTo>
                  <a:lnTo>
                    <a:pt x="395" y="508"/>
                  </a:lnTo>
                  <a:lnTo>
                    <a:pt x="395" y="508"/>
                  </a:lnTo>
                  <a:lnTo>
                    <a:pt x="397" y="510"/>
                  </a:lnTo>
                  <a:lnTo>
                    <a:pt x="397" y="510"/>
                  </a:lnTo>
                  <a:lnTo>
                    <a:pt x="399" y="510"/>
                  </a:lnTo>
                  <a:lnTo>
                    <a:pt x="401" y="510"/>
                  </a:lnTo>
                  <a:lnTo>
                    <a:pt x="401" y="510"/>
                  </a:lnTo>
                  <a:lnTo>
                    <a:pt x="403" y="510"/>
                  </a:lnTo>
                  <a:lnTo>
                    <a:pt x="403" y="512"/>
                  </a:lnTo>
                  <a:lnTo>
                    <a:pt x="403" y="512"/>
                  </a:lnTo>
                  <a:lnTo>
                    <a:pt x="403" y="512"/>
                  </a:lnTo>
                  <a:lnTo>
                    <a:pt x="405" y="512"/>
                  </a:lnTo>
                  <a:lnTo>
                    <a:pt x="405" y="512"/>
                  </a:lnTo>
                  <a:lnTo>
                    <a:pt x="407" y="512"/>
                  </a:lnTo>
                  <a:lnTo>
                    <a:pt x="407" y="512"/>
                  </a:lnTo>
                  <a:lnTo>
                    <a:pt x="407" y="512"/>
                  </a:lnTo>
                  <a:lnTo>
                    <a:pt x="409" y="508"/>
                  </a:lnTo>
                  <a:lnTo>
                    <a:pt x="409" y="506"/>
                  </a:lnTo>
                  <a:lnTo>
                    <a:pt x="412" y="506"/>
                  </a:lnTo>
                  <a:lnTo>
                    <a:pt x="412" y="504"/>
                  </a:lnTo>
                  <a:lnTo>
                    <a:pt x="412" y="504"/>
                  </a:lnTo>
                  <a:lnTo>
                    <a:pt x="414" y="504"/>
                  </a:lnTo>
                  <a:lnTo>
                    <a:pt x="414" y="504"/>
                  </a:lnTo>
                  <a:lnTo>
                    <a:pt x="416" y="504"/>
                  </a:lnTo>
                  <a:lnTo>
                    <a:pt x="416" y="504"/>
                  </a:lnTo>
                  <a:lnTo>
                    <a:pt x="418" y="504"/>
                  </a:lnTo>
                  <a:lnTo>
                    <a:pt x="418" y="502"/>
                  </a:lnTo>
                  <a:lnTo>
                    <a:pt x="418" y="502"/>
                  </a:lnTo>
                  <a:lnTo>
                    <a:pt x="420" y="502"/>
                  </a:lnTo>
                  <a:lnTo>
                    <a:pt x="420" y="502"/>
                  </a:lnTo>
                  <a:lnTo>
                    <a:pt x="422" y="504"/>
                  </a:lnTo>
                  <a:lnTo>
                    <a:pt x="422" y="504"/>
                  </a:lnTo>
                  <a:lnTo>
                    <a:pt x="422" y="504"/>
                  </a:lnTo>
                  <a:lnTo>
                    <a:pt x="424" y="504"/>
                  </a:lnTo>
                  <a:lnTo>
                    <a:pt x="426" y="504"/>
                  </a:lnTo>
                  <a:lnTo>
                    <a:pt x="428" y="506"/>
                  </a:lnTo>
                  <a:lnTo>
                    <a:pt x="430" y="506"/>
                  </a:lnTo>
                  <a:lnTo>
                    <a:pt x="430" y="506"/>
                  </a:lnTo>
                  <a:lnTo>
                    <a:pt x="438" y="506"/>
                  </a:lnTo>
                  <a:lnTo>
                    <a:pt x="440" y="506"/>
                  </a:lnTo>
                  <a:lnTo>
                    <a:pt x="440" y="506"/>
                  </a:lnTo>
                  <a:lnTo>
                    <a:pt x="442" y="506"/>
                  </a:lnTo>
                  <a:lnTo>
                    <a:pt x="442" y="506"/>
                  </a:lnTo>
                  <a:lnTo>
                    <a:pt x="442" y="506"/>
                  </a:lnTo>
                  <a:lnTo>
                    <a:pt x="444" y="506"/>
                  </a:lnTo>
                  <a:lnTo>
                    <a:pt x="444" y="506"/>
                  </a:lnTo>
                  <a:lnTo>
                    <a:pt x="448" y="506"/>
                  </a:lnTo>
                  <a:lnTo>
                    <a:pt x="448" y="506"/>
                  </a:lnTo>
                  <a:lnTo>
                    <a:pt x="450" y="508"/>
                  </a:lnTo>
                  <a:lnTo>
                    <a:pt x="450" y="508"/>
                  </a:lnTo>
                  <a:lnTo>
                    <a:pt x="450" y="508"/>
                  </a:lnTo>
                  <a:lnTo>
                    <a:pt x="450" y="510"/>
                  </a:lnTo>
                  <a:lnTo>
                    <a:pt x="450" y="510"/>
                  </a:lnTo>
                  <a:lnTo>
                    <a:pt x="452" y="510"/>
                  </a:lnTo>
                  <a:lnTo>
                    <a:pt x="452" y="510"/>
                  </a:lnTo>
                  <a:lnTo>
                    <a:pt x="452" y="510"/>
                  </a:lnTo>
                  <a:lnTo>
                    <a:pt x="455" y="510"/>
                  </a:lnTo>
                  <a:lnTo>
                    <a:pt x="455" y="510"/>
                  </a:lnTo>
                  <a:lnTo>
                    <a:pt x="457" y="510"/>
                  </a:lnTo>
                  <a:lnTo>
                    <a:pt x="459" y="510"/>
                  </a:lnTo>
                  <a:lnTo>
                    <a:pt x="459" y="510"/>
                  </a:lnTo>
                  <a:lnTo>
                    <a:pt x="463" y="508"/>
                  </a:lnTo>
                  <a:lnTo>
                    <a:pt x="463" y="508"/>
                  </a:lnTo>
                  <a:lnTo>
                    <a:pt x="473" y="508"/>
                  </a:lnTo>
                  <a:lnTo>
                    <a:pt x="473" y="508"/>
                  </a:lnTo>
                  <a:lnTo>
                    <a:pt x="475" y="510"/>
                  </a:lnTo>
                  <a:lnTo>
                    <a:pt x="477" y="510"/>
                  </a:lnTo>
                  <a:lnTo>
                    <a:pt x="477" y="510"/>
                  </a:lnTo>
                  <a:lnTo>
                    <a:pt x="477" y="510"/>
                  </a:lnTo>
                  <a:lnTo>
                    <a:pt x="479" y="510"/>
                  </a:lnTo>
                  <a:lnTo>
                    <a:pt x="479" y="510"/>
                  </a:lnTo>
                  <a:lnTo>
                    <a:pt x="481" y="510"/>
                  </a:lnTo>
                  <a:lnTo>
                    <a:pt x="481" y="510"/>
                  </a:lnTo>
                  <a:lnTo>
                    <a:pt x="481" y="510"/>
                  </a:lnTo>
                  <a:lnTo>
                    <a:pt x="479" y="510"/>
                  </a:lnTo>
                  <a:lnTo>
                    <a:pt x="477" y="508"/>
                  </a:lnTo>
                  <a:lnTo>
                    <a:pt x="477" y="508"/>
                  </a:lnTo>
                  <a:lnTo>
                    <a:pt x="477" y="508"/>
                  </a:lnTo>
                  <a:lnTo>
                    <a:pt x="477" y="508"/>
                  </a:lnTo>
                  <a:lnTo>
                    <a:pt x="477" y="508"/>
                  </a:lnTo>
                  <a:lnTo>
                    <a:pt x="477" y="506"/>
                  </a:lnTo>
                  <a:lnTo>
                    <a:pt x="477" y="506"/>
                  </a:lnTo>
                  <a:lnTo>
                    <a:pt x="477" y="506"/>
                  </a:lnTo>
                  <a:lnTo>
                    <a:pt x="477" y="504"/>
                  </a:lnTo>
                  <a:lnTo>
                    <a:pt x="477" y="504"/>
                  </a:lnTo>
                  <a:lnTo>
                    <a:pt x="477" y="504"/>
                  </a:lnTo>
                  <a:lnTo>
                    <a:pt x="477" y="502"/>
                  </a:lnTo>
                  <a:lnTo>
                    <a:pt x="477" y="502"/>
                  </a:lnTo>
                  <a:lnTo>
                    <a:pt x="479" y="500"/>
                  </a:lnTo>
                  <a:lnTo>
                    <a:pt x="479" y="500"/>
                  </a:lnTo>
                  <a:lnTo>
                    <a:pt x="479" y="500"/>
                  </a:lnTo>
                  <a:lnTo>
                    <a:pt x="481" y="500"/>
                  </a:lnTo>
                  <a:lnTo>
                    <a:pt x="481" y="500"/>
                  </a:lnTo>
                  <a:lnTo>
                    <a:pt x="481" y="498"/>
                  </a:lnTo>
                  <a:lnTo>
                    <a:pt x="481" y="498"/>
                  </a:lnTo>
                  <a:lnTo>
                    <a:pt x="481" y="498"/>
                  </a:lnTo>
                  <a:lnTo>
                    <a:pt x="481" y="498"/>
                  </a:lnTo>
                  <a:lnTo>
                    <a:pt x="481" y="496"/>
                  </a:lnTo>
                  <a:lnTo>
                    <a:pt x="481" y="496"/>
                  </a:lnTo>
                  <a:lnTo>
                    <a:pt x="481" y="496"/>
                  </a:lnTo>
                  <a:lnTo>
                    <a:pt x="481" y="496"/>
                  </a:lnTo>
                  <a:lnTo>
                    <a:pt x="481" y="494"/>
                  </a:lnTo>
                  <a:lnTo>
                    <a:pt x="481" y="494"/>
                  </a:lnTo>
                  <a:lnTo>
                    <a:pt x="481" y="494"/>
                  </a:lnTo>
                  <a:lnTo>
                    <a:pt x="483" y="494"/>
                  </a:lnTo>
                  <a:lnTo>
                    <a:pt x="483" y="492"/>
                  </a:lnTo>
                  <a:lnTo>
                    <a:pt x="483" y="492"/>
                  </a:lnTo>
                  <a:lnTo>
                    <a:pt x="485" y="492"/>
                  </a:lnTo>
                  <a:lnTo>
                    <a:pt x="487" y="492"/>
                  </a:lnTo>
                  <a:lnTo>
                    <a:pt x="487" y="492"/>
                  </a:lnTo>
                  <a:lnTo>
                    <a:pt x="489" y="490"/>
                  </a:lnTo>
                  <a:lnTo>
                    <a:pt x="489" y="490"/>
                  </a:lnTo>
                  <a:lnTo>
                    <a:pt x="489" y="490"/>
                  </a:lnTo>
                  <a:lnTo>
                    <a:pt x="491" y="490"/>
                  </a:lnTo>
                  <a:lnTo>
                    <a:pt x="493" y="492"/>
                  </a:lnTo>
                  <a:lnTo>
                    <a:pt x="493" y="494"/>
                  </a:lnTo>
                  <a:lnTo>
                    <a:pt x="493" y="496"/>
                  </a:lnTo>
                  <a:lnTo>
                    <a:pt x="498" y="500"/>
                  </a:lnTo>
                  <a:lnTo>
                    <a:pt x="498" y="502"/>
                  </a:lnTo>
                  <a:lnTo>
                    <a:pt x="498" y="502"/>
                  </a:lnTo>
                  <a:lnTo>
                    <a:pt x="500" y="502"/>
                  </a:lnTo>
                  <a:lnTo>
                    <a:pt x="500" y="502"/>
                  </a:lnTo>
                  <a:lnTo>
                    <a:pt x="500" y="504"/>
                  </a:lnTo>
                  <a:lnTo>
                    <a:pt x="500" y="504"/>
                  </a:lnTo>
                  <a:lnTo>
                    <a:pt x="500" y="504"/>
                  </a:lnTo>
                  <a:lnTo>
                    <a:pt x="500" y="506"/>
                  </a:lnTo>
                  <a:lnTo>
                    <a:pt x="500" y="506"/>
                  </a:lnTo>
                  <a:lnTo>
                    <a:pt x="500" y="508"/>
                  </a:lnTo>
                  <a:lnTo>
                    <a:pt x="500" y="508"/>
                  </a:lnTo>
                  <a:lnTo>
                    <a:pt x="500" y="508"/>
                  </a:lnTo>
                  <a:lnTo>
                    <a:pt x="500" y="508"/>
                  </a:lnTo>
                  <a:lnTo>
                    <a:pt x="502" y="510"/>
                  </a:lnTo>
                  <a:lnTo>
                    <a:pt x="502" y="510"/>
                  </a:lnTo>
                  <a:lnTo>
                    <a:pt x="504" y="510"/>
                  </a:lnTo>
                  <a:lnTo>
                    <a:pt x="504" y="512"/>
                  </a:lnTo>
                  <a:lnTo>
                    <a:pt x="506" y="514"/>
                  </a:lnTo>
                  <a:lnTo>
                    <a:pt x="508" y="516"/>
                  </a:lnTo>
                  <a:lnTo>
                    <a:pt x="508" y="519"/>
                  </a:lnTo>
                  <a:lnTo>
                    <a:pt x="512" y="521"/>
                  </a:lnTo>
                  <a:lnTo>
                    <a:pt x="512" y="521"/>
                  </a:lnTo>
                  <a:close/>
                </a:path>
              </a:pathLst>
            </a:custGeom>
            <a:solidFill>
              <a:schemeClr val="tx1"/>
            </a:solidFill>
            <a:ln w="3175" cap="rnd">
              <a:solidFill>
                <a:schemeClr val="bg1"/>
              </a:solidFill>
              <a:prstDash val="solid"/>
              <a:round/>
              <a:headEnd/>
              <a:tailEnd/>
            </a:ln>
          </p:spPr>
          <p:txBody>
            <a:bodyPr vert="horz" wrap="square" lIns="0" tIns="0" rIns="0" bIns="240000" numCol="1" anchor="b"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ID</a:t>
              </a:r>
            </a:p>
          </p:txBody>
        </p:sp>
        <p:sp>
          <p:nvSpPr>
            <p:cNvPr id="332" name="Freeform 43">
              <a:extLst>
                <a:ext uri="{FF2B5EF4-FFF2-40B4-BE49-F238E27FC236}">
                  <a16:creationId xmlns:a16="http://schemas.microsoft.com/office/drawing/2014/main" id="{DB4D05F5-1E60-7278-376B-D05FD7286DD1}"/>
                </a:ext>
              </a:extLst>
            </p:cNvPr>
            <p:cNvSpPr>
              <a:spLocks/>
            </p:cNvSpPr>
            <p:nvPr/>
          </p:nvSpPr>
          <p:spPr bwMode="auto">
            <a:xfrm>
              <a:off x="3001" y="723"/>
              <a:ext cx="534" cy="330"/>
            </a:xfrm>
            <a:custGeom>
              <a:avLst/>
              <a:gdLst>
                <a:gd name="T0" fmla="*/ 504 w 534"/>
                <a:gd name="T1" fmla="*/ 113 h 330"/>
                <a:gd name="T2" fmla="*/ 516 w 534"/>
                <a:gd name="T3" fmla="*/ 130 h 330"/>
                <a:gd name="T4" fmla="*/ 530 w 534"/>
                <a:gd name="T5" fmla="*/ 140 h 330"/>
                <a:gd name="T6" fmla="*/ 532 w 534"/>
                <a:gd name="T7" fmla="*/ 169 h 330"/>
                <a:gd name="T8" fmla="*/ 522 w 534"/>
                <a:gd name="T9" fmla="*/ 183 h 330"/>
                <a:gd name="T10" fmla="*/ 522 w 534"/>
                <a:gd name="T11" fmla="*/ 193 h 330"/>
                <a:gd name="T12" fmla="*/ 502 w 534"/>
                <a:gd name="T13" fmla="*/ 205 h 330"/>
                <a:gd name="T14" fmla="*/ 463 w 534"/>
                <a:gd name="T15" fmla="*/ 230 h 330"/>
                <a:gd name="T16" fmla="*/ 475 w 534"/>
                <a:gd name="T17" fmla="*/ 250 h 330"/>
                <a:gd name="T18" fmla="*/ 467 w 534"/>
                <a:gd name="T19" fmla="*/ 283 h 330"/>
                <a:gd name="T20" fmla="*/ 450 w 534"/>
                <a:gd name="T21" fmla="*/ 304 h 330"/>
                <a:gd name="T22" fmla="*/ 444 w 534"/>
                <a:gd name="T23" fmla="*/ 314 h 330"/>
                <a:gd name="T24" fmla="*/ 442 w 534"/>
                <a:gd name="T25" fmla="*/ 330 h 330"/>
                <a:gd name="T26" fmla="*/ 432 w 534"/>
                <a:gd name="T27" fmla="*/ 322 h 330"/>
                <a:gd name="T28" fmla="*/ 428 w 534"/>
                <a:gd name="T29" fmla="*/ 318 h 330"/>
                <a:gd name="T30" fmla="*/ 422 w 534"/>
                <a:gd name="T31" fmla="*/ 314 h 330"/>
                <a:gd name="T32" fmla="*/ 416 w 534"/>
                <a:gd name="T33" fmla="*/ 308 h 330"/>
                <a:gd name="T34" fmla="*/ 303 w 534"/>
                <a:gd name="T35" fmla="*/ 316 h 330"/>
                <a:gd name="T36" fmla="*/ 141 w 534"/>
                <a:gd name="T37" fmla="*/ 324 h 330"/>
                <a:gd name="T38" fmla="*/ 80 w 534"/>
                <a:gd name="T39" fmla="*/ 328 h 330"/>
                <a:gd name="T40" fmla="*/ 80 w 534"/>
                <a:gd name="T41" fmla="*/ 328 h 330"/>
                <a:gd name="T42" fmla="*/ 74 w 534"/>
                <a:gd name="T43" fmla="*/ 320 h 330"/>
                <a:gd name="T44" fmla="*/ 74 w 534"/>
                <a:gd name="T45" fmla="*/ 310 h 330"/>
                <a:gd name="T46" fmla="*/ 74 w 534"/>
                <a:gd name="T47" fmla="*/ 296 h 330"/>
                <a:gd name="T48" fmla="*/ 69 w 534"/>
                <a:gd name="T49" fmla="*/ 283 h 330"/>
                <a:gd name="T50" fmla="*/ 69 w 534"/>
                <a:gd name="T51" fmla="*/ 279 h 330"/>
                <a:gd name="T52" fmla="*/ 69 w 534"/>
                <a:gd name="T53" fmla="*/ 267 h 330"/>
                <a:gd name="T54" fmla="*/ 67 w 534"/>
                <a:gd name="T55" fmla="*/ 253 h 330"/>
                <a:gd name="T56" fmla="*/ 63 w 534"/>
                <a:gd name="T57" fmla="*/ 236 h 330"/>
                <a:gd name="T58" fmla="*/ 57 w 534"/>
                <a:gd name="T59" fmla="*/ 230 h 330"/>
                <a:gd name="T60" fmla="*/ 51 w 534"/>
                <a:gd name="T61" fmla="*/ 228 h 330"/>
                <a:gd name="T62" fmla="*/ 49 w 534"/>
                <a:gd name="T63" fmla="*/ 214 h 330"/>
                <a:gd name="T64" fmla="*/ 51 w 534"/>
                <a:gd name="T65" fmla="*/ 201 h 330"/>
                <a:gd name="T66" fmla="*/ 45 w 534"/>
                <a:gd name="T67" fmla="*/ 187 h 330"/>
                <a:gd name="T68" fmla="*/ 33 w 534"/>
                <a:gd name="T69" fmla="*/ 166 h 330"/>
                <a:gd name="T70" fmla="*/ 26 w 534"/>
                <a:gd name="T71" fmla="*/ 152 h 330"/>
                <a:gd name="T72" fmla="*/ 20 w 534"/>
                <a:gd name="T73" fmla="*/ 130 h 330"/>
                <a:gd name="T74" fmla="*/ 12 w 534"/>
                <a:gd name="T75" fmla="*/ 119 h 330"/>
                <a:gd name="T76" fmla="*/ 10 w 534"/>
                <a:gd name="T77" fmla="*/ 115 h 330"/>
                <a:gd name="T78" fmla="*/ 10 w 534"/>
                <a:gd name="T79" fmla="*/ 111 h 330"/>
                <a:gd name="T80" fmla="*/ 0 w 534"/>
                <a:gd name="T81" fmla="*/ 103 h 330"/>
                <a:gd name="T82" fmla="*/ 4 w 534"/>
                <a:gd name="T83" fmla="*/ 95 h 330"/>
                <a:gd name="T84" fmla="*/ 6 w 534"/>
                <a:gd name="T85" fmla="*/ 91 h 330"/>
                <a:gd name="T86" fmla="*/ 8 w 534"/>
                <a:gd name="T87" fmla="*/ 85 h 330"/>
                <a:gd name="T88" fmla="*/ 10 w 534"/>
                <a:gd name="T89" fmla="*/ 76 h 330"/>
                <a:gd name="T90" fmla="*/ 10 w 534"/>
                <a:gd name="T91" fmla="*/ 72 h 330"/>
                <a:gd name="T92" fmla="*/ 14 w 534"/>
                <a:gd name="T93" fmla="*/ 62 h 330"/>
                <a:gd name="T94" fmla="*/ 10 w 534"/>
                <a:gd name="T95" fmla="*/ 52 h 330"/>
                <a:gd name="T96" fmla="*/ 4 w 534"/>
                <a:gd name="T97" fmla="*/ 52 h 330"/>
                <a:gd name="T98" fmla="*/ 4 w 534"/>
                <a:gd name="T99" fmla="*/ 48 h 330"/>
                <a:gd name="T100" fmla="*/ 8 w 534"/>
                <a:gd name="T101" fmla="*/ 44 h 330"/>
                <a:gd name="T102" fmla="*/ 2 w 534"/>
                <a:gd name="T103" fmla="*/ 31 h 330"/>
                <a:gd name="T104" fmla="*/ 2 w 534"/>
                <a:gd name="T105" fmla="*/ 23 h 330"/>
                <a:gd name="T106" fmla="*/ 170 w 534"/>
                <a:gd name="T107" fmla="*/ 17 h 330"/>
                <a:gd name="T108" fmla="*/ 379 w 534"/>
                <a:gd name="T109" fmla="*/ 5 h 330"/>
                <a:gd name="T110" fmla="*/ 434 w 534"/>
                <a:gd name="T111" fmla="*/ 7 h 330"/>
                <a:gd name="T112" fmla="*/ 446 w 534"/>
                <a:gd name="T113" fmla="*/ 21 h 330"/>
                <a:gd name="T114" fmla="*/ 444 w 534"/>
                <a:gd name="T115" fmla="*/ 52 h 330"/>
                <a:gd name="T116" fmla="*/ 450 w 534"/>
                <a:gd name="T117" fmla="*/ 72 h 330"/>
                <a:gd name="T118" fmla="*/ 483 w 534"/>
                <a:gd name="T119" fmla="*/ 85 h 330"/>
                <a:gd name="T120" fmla="*/ 489 w 534"/>
                <a:gd name="T121" fmla="*/ 99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4" h="330">
                  <a:moveTo>
                    <a:pt x="489" y="99"/>
                  </a:moveTo>
                  <a:lnTo>
                    <a:pt x="487" y="103"/>
                  </a:lnTo>
                  <a:lnTo>
                    <a:pt x="489" y="103"/>
                  </a:lnTo>
                  <a:lnTo>
                    <a:pt x="491" y="105"/>
                  </a:lnTo>
                  <a:lnTo>
                    <a:pt x="493" y="105"/>
                  </a:lnTo>
                  <a:lnTo>
                    <a:pt x="493" y="107"/>
                  </a:lnTo>
                  <a:lnTo>
                    <a:pt x="498" y="109"/>
                  </a:lnTo>
                  <a:lnTo>
                    <a:pt x="504" y="113"/>
                  </a:lnTo>
                  <a:lnTo>
                    <a:pt x="508" y="115"/>
                  </a:lnTo>
                  <a:lnTo>
                    <a:pt x="510" y="119"/>
                  </a:lnTo>
                  <a:lnTo>
                    <a:pt x="510" y="117"/>
                  </a:lnTo>
                  <a:lnTo>
                    <a:pt x="510" y="123"/>
                  </a:lnTo>
                  <a:lnTo>
                    <a:pt x="510" y="125"/>
                  </a:lnTo>
                  <a:lnTo>
                    <a:pt x="514" y="128"/>
                  </a:lnTo>
                  <a:lnTo>
                    <a:pt x="516" y="130"/>
                  </a:lnTo>
                  <a:lnTo>
                    <a:pt x="516" y="130"/>
                  </a:lnTo>
                  <a:lnTo>
                    <a:pt x="518" y="130"/>
                  </a:lnTo>
                  <a:lnTo>
                    <a:pt x="524" y="134"/>
                  </a:lnTo>
                  <a:lnTo>
                    <a:pt x="526" y="134"/>
                  </a:lnTo>
                  <a:lnTo>
                    <a:pt x="528" y="138"/>
                  </a:lnTo>
                  <a:lnTo>
                    <a:pt x="528" y="138"/>
                  </a:lnTo>
                  <a:lnTo>
                    <a:pt x="530" y="138"/>
                  </a:lnTo>
                  <a:lnTo>
                    <a:pt x="530" y="138"/>
                  </a:lnTo>
                  <a:lnTo>
                    <a:pt x="530" y="140"/>
                  </a:lnTo>
                  <a:lnTo>
                    <a:pt x="530" y="142"/>
                  </a:lnTo>
                  <a:lnTo>
                    <a:pt x="532" y="142"/>
                  </a:lnTo>
                  <a:lnTo>
                    <a:pt x="534" y="146"/>
                  </a:lnTo>
                  <a:lnTo>
                    <a:pt x="534" y="148"/>
                  </a:lnTo>
                  <a:lnTo>
                    <a:pt x="534" y="152"/>
                  </a:lnTo>
                  <a:lnTo>
                    <a:pt x="532" y="156"/>
                  </a:lnTo>
                  <a:lnTo>
                    <a:pt x="532" y="162"/>
                  </a:lnTo>
                  <a:lnTo>
                    <a:pt x="532" y="169"/>
                  </a:lnTo>
                  <a:lnTo>
                    <a:pt x="530" y="171"/>
                  </a:lnTo>
                  <a:lnTo>
                    <a:pt x="530" y="171"/>
                  </a:lnTo>
                  <a:lnTo>
                    <a:pt x="528" y="173"/>
                  </a:lnTo>
                  <a:lnTo>
                    <a:pt x="526" y="175"/>
                  </a:lnTo>
                  <a:lnTo>
                    <a:pt x="524" y="177"/>
                  </a:lnTo>
                  <a:lnTo>
                    <a:pt x="524" y="179"/>
                  </a:lnTo>
                  <a:lnTo>
                    <a:pt x="522" y="181"/>
                  </a:lnTo>
                  <a:lnTo>
                    <a:pt x="522" y="183"/>
                  </a:lnTo>
                  <a:lnTo>
                    <a:pt x="522" y="185"/>
                  </a:lnTo>
                  <a:lnTo>
                    <a:pt x="520" y="187"/>
                  </a:lnTo>
                  <a:lnTo>
                    <a:pt x="520" y="187"/>
                  </a:lnTo>
                  <a:lnTo>
                    <a:pt x="522" y="189"/>
                  </a:lnTo>
                  <a:lnTo>
                    <a:pt x="522" y="189"/>
                  </a:lnTo>
                  <a:lnTo>
                    <a:pt x="522" y="191"/>
                  </a:lnTo>
                  <a:lnTo>
                    <a:pt x="522" y="193"/>
                  </a:lnTo>
                  <a:lnTo>
                    <a:pt x="522" y="193"/>
                  </a:lnTo>
                  <a:lnTo>
                    <a:pt x="520" y="195"/>
                  </a:lnTo>
                  <a:lnTo>
                    <a:pt x="516" y="197"/>
                  </a:lnTo>
                  <a:lnTo>
                    <a:pt x="516" y="197"/>
                  </a:lnTo>
                  <a:lnTo>
                    <a:pt x="516" y="199"/>
                  </a:lnTo>
                  <a:lnTo>
                    <a:pt x="514" y="201"/>
                  </a:lnTo>
                  <a:lnTo>
                    <a:pt x="510" y="201"/>
                  </a:lnTo>
                  <a:lnTo>
                    <a:pt x="502" y="205"/>
                  </a:lnTo>
                  <a:lnTo>
                    <a:pt x="502" y="205"/>
                  </a:lnTo>
                  <a:lnTo>
                    <a:pt x="498" y="210"/>
                  </a:lnTo>
                  <a:lnTo>
                    <a:pt x="498" y="212"/>
                  </a:lnTo>
                  <a:lnTo>
                    <a:pt x="493" y="212"/>
                  </a:lnTo>
                  <a:lnTo>
                    <a:pt x="469" y="216"/>
                  </a:lnTo>
                  <a:lnTo>
                    <a:pt x="467" y="218"/>
                  </a:lnTo>
                  <a:lnTo>
                    <a:pt x="465" y="222"/>
                  </a:lnTo>
                  <a:lnTo>
                    <a:pt x="463" y="226"/>
                  </a:lnTo>
                  <a:lnTo>
                    <a:pt x="463" y="230"/>
                  </a:lnTo>
                  <a:lnTo>
                    <a:pt x="463" y="236"/>
                  </a:lnTo>
                  <a:lnTo>
                    <a:pt x="463" y="238"/>
                  </a:lnTo>
                  <a:lnTo>
                    <a:pt x="463" y="240"/>
                  </a:lnTo>
                  <a:lnTo>
                    <a:pt x="465" y="242"/>
                  </a:lnTo>
                  <a:lnTo>
                    <a:pt x="467" y="242"/>
                  </a:lnTo>
                  <a:lnTo>
                    <a:pt x="467" y="244"/>
                  </a:lnTo>
                  <a:lnTo>
                    <a:pt x="471" y="246"/>
                  </a:lnTo>
                  <a:lnTo>
                    <a:pt x="475" y="250"/>
                  </a:lnTo>
                  <a:lnTo>
                    <a:pt x="477" y="255"/>
                  </a:lnTo>
                  <a:lnTo>
                    <a:pt x="477" y="259"/>
                  </a:lnTo>
                  <a:lnTo>
                    <a:pt x="477" y="263"/>
                  </a:lnTo>
                  <a:lnTo>
                    <a:pt x="475" y="267"/>
                  </a:lnTo>
                  <a:lnTo>
                    <a:pt x="469" y="277"/>
                  </a:lnTo>
                  <a:lnTo>
                    <a:pt x="467" y="279"/>
                  </a:lnTo>
                  <a:lnTo>
                    <a:pt x="467" y="281"/>
                  </a:lnTo>
                  <a:lnTo>
                    <a:pt x="467" y="283"/>
                  </a:lnTo>
                  <a:lnTo>
                    <a:pt x="467" y="287"/>
                  </a:lnTo>
                  <a:lnTo>
                    <a:pt x="467" y="289"/>
                  </a:lnTo>
                  <a:lnTo>
                    <a:pt x="465" y="296"/>
                  </a:lnTo>
                  <a:lnTo>
                    <a:pt x="463" y="298"/>
                  </a:lnTo>
                  <a:lnTo>
                    <a:pt x="461" y="300"/>
                  </a:lnTo>
                  <a:lnTo>
                    <a:pt x="457" y="302"/>
                  </a:lnTo>
                  <a:lnTo>
                    <a:pt x="454" y="302"/>
                  </a:lnTo>
                  <a:lnTo>
                    <a:pt x="450" y="304"/>
                  </a:lnTo>
                  <a:lnTo>
                    <a:pt x="448" y="306"/>
                  </a:lnTo>
                  <a:lnTo>
                    <a:pt x="444" y="308"/>
                  </a:lnTo>
                  <a:lnTo>
                    <a:pt x="442" y="310"/>
                  </a:lnTo>
                  <a:lnTo>
                    <a:pt x="442" y="310"/>
                  </a:lnTo>
                  <a:lnTo>
                    <a:pt x="442" y="312"/>
                  </a:lnTo>
                  <a:lnTo>
                    <a:pt x="442" y="312"/>
                  </a:lnTo>
                  <a:lnTo>
                    <a:pt x="442" y="314"/>
                  </a:lnTo>
                  <a:lnTo>
                    <a:pt x="444" y="314"/>
                  </a:lnTo>
                  <a:lnTo>
                    <a:pt x="446" y="316"/>
                  </a:lnTo>
                  <a:lnTo>
                    <a:pt x="446" y="318"/>
                  </a:lnTo>
                  <a:lnTo>
                    <a:pt x="446" y="322"/>
                  </a:lnTo>
                  <a:lnTo>
                    <a:pt x="446" y="324"/>
                  </a:lnTo>
                  <a:lnTo>
                    <a:pt x="446" y="326"/>
                  </a:lnTo>
                  <a:lnTo>
                    <a:pt x="446" y="328"/>
                  </a:lnTo>
                  <a:lnTo>
                    <a:pt x="446" y="328"/>
                  </a:lnTo>
                  <a:lnTo>
                    <a:pt x="442" y="330"/>
                  </a:lnTo>
                  <a:lnTo>
                    <a:pt x="440" y="330"/>
                  </a:lnTo>
                  <a:lnTo>
                    <a:pt x="438" y="330"/>
                  </a:lnTo>
                  <a:lnTo>
                    <a:pt x="436" y="328"/>
                  </a:lnTo>
                  <a:lnTo>
                    <a:pt x="434" y="326"/>
                  </a:lnTo>
                  <a:lnTo>
                    <a:pt x="432" y="324"/>
                  </a:lnTo>
                  <a:lnTo>
                    <a:pt x="432" y="324"/>
                  </a:lnTo>
                  <a:lnTo>
                    <a:pt x="432" y="324"/>
                  </a:lnTo>
                  <a:lnTo>
                    <a:pt x="432" y="322"/>
                  </a:lnTo>
                  <a:lnTo>
                    <a:pt x="432" y="322"/>
                  </a:lnTo>
                  <a:lnTo>
                    <a:pt x="432" y="322"/>
                  </a:lnTo>
                  <a:lnTo>
                    <a:pt x="430" y="320"/>
                  </a:lnTo>
                  <a:lnTo>
                    <a:pt x="428" y="320"/>
                  </a:lnTo>
                  <a:lnTo>
                    <a:pt x="428" y="320"/>
                  </a:lnTo>
                  <a:lnTo>
                    <a:pt x="428" y="320"/>
                  </a:lnTo>
                  <a:lnTo>
                    <a:pt x="428" y="318"/>
                  </a:lnTo>
                  <a:lnTo>
                    <a:pt x="428" y="318"/>
                  </a:lnTo>
                  <a:lnTo>
                    <a:pt x="426" y="318"/>
                  </a:lnTo>
                  <a:lnTo>
                    <a:pt x="426" y="318"/>
                  </a:lnTo>
                  <a:lnTo>
                    <a:pt x="426" y="318"/>
                  </a:lnTo>
                  <a:lnTo>
                    <a:pt x="426" y="318"/>
                  </a:lnTo>
                  <a:lnTo>
                    <a:pt x="426" y="316"/>
                  </a:lnTo>
                  <a:lnTo>
                    <a:pt x="424" y="316"/>
                  </a:lnTo>
                  <a:lnTo>
                    <a:pt x="422" y="314"/>
                  </a:lnTo>
                  <a:lnTo>
                    <a:pt x="422" y="314"/>
                  </a:lnTo>
                  <a:lnTo>
                    <a:pt x="420" y="314"/>
                  </a:lnTo>
                  <a:lnTo>
                    <a:pt x="420" y="314"/>
                  </a:lnTo>
                  <a:lnTo>
                    <a:pt x="420" y="312"/>
                  </a:lnTo>
                  <a:lnTo>
                    <a:pt x="418" y="312"/>
                  </a:lnTo>
                  <a:lnTo>
                    <a:pt x="418" y="310"/>
                  </a:lnTo>
                  <a:lnTo>
                    <a:pt x="418" y="310"/>
                  </a:lnTo>
                  <a:lnTo>
                    <a:pt x="416" y="308"/>
                  </a:lnTo>
                  <a:lnTo>
                    <a:pt x="416" y="308"/>
                  </a:lnTo>
                  <a:lnTo>
                    <a:pt x="416" y="306"/>
                  </a:lnTo>
                  <a:lnTo>
                    <a:pt x="411" y="308"/>
                  </a:lnTo>
                  <a:lnTo>
                    <a:pt x="403" y="308"/>
                  </a:lnTo>
                  <a:lnTo>
                    <a:pt x="383" y="310"/>
                  </a:lnTo>
                  <a:lnTo>
                    <a:pt x="364" y="310"/>
                  </a:lnTo>
                  <a:lnTo>
                    <a:pt x="344" y="312"/>
                  </a:lnTo>
                  <a:lnTo>
                    <a:pt x="323" y="314"/>
                  </a:lnTo>
                  <a:lnTo>
                    <a:pt x="303" y="316"/>
                  </a:lnTo>
                  <a:lnTo>
                    <a:pt x="282" y="316"/>
                  </a:lnTo>
                  <a:lnTo>
                    <a:pt x="262" y="318"/>
                  </a:lnTo>
                  <a:lnTo>
                    <a:pt x="241" y="320"/>
                  </a:lnTo>
                  <a:lnTo>
                    <a:pt x="223" y="320"/>
                  </a:lnTo>
                  <a:lnTo>
                    <a:pt x="203" y="322"/>
                  </a:lnTo>
                  <a:lnTo>
                    <a:pt x="182" y="322"/>
                  </a:lnTo>
                  <a:lnTo>
                    <a:pt x="162" y="324"/>
                  </a:lnTo>
                  <a:lnTo>
                    <a:pt x="141" y="324"/>
                  </a:lnTo>
                  <a:lnTo>
                    <a:pt x="121" y="326"/>
                  </a:lnTo>
                  <a:lnTo>
                    <a:pt x="100" y="326"/>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6"/>
                  </a:lnTo>
                  <a:lnTo>
                    <a:pt x="80" y="324"/>
                  </a:lnTo>
                  <a:lnTo>
                    <a:pt x="80" y="322"/>
                  </a:lnTo>
                  <a:lnTo>
                    <a:pt x="78" y="320"/>
                  </a:lnTo>
                  <a:lnTo>
                    <a:pt x="74" y="320"/>
                  </a:lnTo>
                  <a:lnTo>
                    <a:pt x="72" y="318"/>
                  </a:lnTo>
                  <a:lnTo>
                    <a:pt x="72" y="316"/>
                  </a:lnTo>
                  <a:lnTo>
                    <a:pt x="72" y="316"/>
                  </a:lnTo>
                  <a:lnTo>
                    <a:pt x="72" y="314"/>
                  </a:lnTo>
                  <a:lnTo>
                    <a:pt x="72" y="314"/>
                  </a:lnTo>
                  <a:lnTo>
                    <a:pt x="72" y="312"/>
                  </a:lnTo>
                  <a:lnTo>
                    <a:pt x="72" y="312"/>
                  </a:lnTo>
                  <a:lnTo>
                    <a:pt x="74" y="310"/>
                  </a:lnTo>
                  <a:lnTo>
                    <a:pt x="74" y="308"/>
                  </a:lnTo>
                  <a:lnTo>
                    <a:pt x="74" y="308"/>
                  </a:lnTo>
                  <a:lnTo>
                    <a:pt x="74" y="306"/>
                  </a:lnTo>
                  <a:lnTo>
                    <a:pt x="74" y="304"/>
                  </a:lnTo>
                  <a:lnTo>
                    <a:pt x="74" y="302"/>
                  </a:lnTo>
                  <a:lnTo>
                    <a:pt x="74" y="300"/>
                  </a:lnTo>
                  <a:lnTo>
                    <a:pt x="74" y="298"/>
                  </a:lnTo>
                  <a:lnTo>
                    <a:pt x="74" y="296"/>
                  </a:lnTo>
                  <a:lnTo>
                    <a:pt x="74" y="291"/>
                  </a:lnTo>
                  <a:lnTo>
                    <a:pt x="72" y="291"/>
                  </a:lnTo>
                  <a:lnTo>
                    <a:pt x="74" y="289"/>
                  </a:lnTo>
                  <a:lnTo>
                    <a:pt x="74" y="287"/>
                  </a:lnTo>
                  <a:lnTo>
                    <a:pt x="72" y="287"/>
                  </a:lnTo>
                  <a:lnTo>
                    <a:pt x="72" y="285"/>
                  </a:lnTo>
                  <a:lnTo>
                    <a:pt x="69" y="285"/>
                  </a:lnTo>
                  <a:lnTo>
                    <a:pt x="69" y="283"/>
                  </a:lnTo>
                  <a:lnTo>
                    <a:pt x="69" y="283"/>
                  </a:lnTo>
                  <a:lnTo>
                    <a:pt x="69" y="281"/>
                  </a:lnTo>
                  <a:lnTo>
                    <a:pt x="69" y="281"/>
                  </a:lnTo>
                  <a:lnTo>
                    <a:pt x="69" y="281"/>
                  </a:lnTo>
                  <a:lnTo>
                    <a:pt x="69" y="279"/>
                  </a:lnTo>
                  <a:lnTo>
                    <a:pt x="69" y="279"/>
                  </a:lnTo>
                  <a:lnTo>
                    <a:pt x="69" y="279"/>
                  </a:lnTo>
                  <a:lnTo>
                    <a:pt x="69" y="279"/>
                  </a:lnTo>
                  <a:lnTo>
                    <a:pt x="69" y="279"/>
                  </a:lnTo>
                  <a:lnTo>
                    <a:pt x="69" y="277"/>
                  </a:lnTo>
                  <a:lnTo>
                    <a:pt x="69" y="275"/>
                  </a:lnTo>
                  <a:lnTo>
                    <a:pt x="69" y="273"/>
                  </a:lnTo>
                  <a:lnTo>
                    <a:pt x="69" y="269"/>
                  </a:lnTo>
                  <a:lnTo>
                    <a:pt x="69" y="269"/>
                  </a:lnTo>
                  <a:lnTo>
                    <a:pt x="72" y="267"/>
                  </a:lnTo>
                  <a:lnTo>
                    <a:pt x="69" y="267"/>
                  </a:lnTo>
                  <a:lnTo>
                    <a:pt x="65" y="265"/>
                  </a:lnTo>
                  <a:lnTo>
                    <a:pt x="65" y="265"/>
                  </a:lnTo>
                  <a:lnTo>
                    <a:pt x="65" y="263"/>
                  </a:lnTo>
                  <a:lnTo>
                    <a:pt x="65" y="259"/>
                  </a:lnTo>
                  <a:lnTo>
                    <a:pt x="65" y="257"/>
                  </a:lnTo>
                  <a:lnTo>
                    <a:pt x="67" y="255"/>
                  </a:lnTo>
                  <a:lnTo>
                    <a:pt x="69" y="253"/>
                  </a:lnTo>
                  <a:lnTo>
                    <a:pt x="67" y="253"/>
                  </a:lnTo>
                  <a:lnTo>
                    <a:pt x="67" y="253"/>
                  </a:lnTo>
                  <a:lnTo>
                    <a:pt x="63" y="250"/>
                  </a:lnTo>
                  <a:lnTo>
                    <a:pt x="61" y="250"/>
                  </a:lnTo>
                  <a:lnTo>
                    <a:pt x="63" y="244"/>
                  </a:lnTo>
                  <a:lnTo>
                    <a:pt x="63" y="242"/>
                  </a:lnTo>
                  <a:lnTo>
                    <a:pt x="63" y="238"/>
                  </a:lnTo>
                  <a:lnTo>
                    <a:pt x="63" y="236"/>
                  </a:lnTo>
                  <a:lnTo>
                    <a:pt x="63" y="236"/>
                  </a:lnTo>
                  <a:lnTo>
                    <a:pt x="61" y="236"/>
                  </a:lnTo>
                  <a:lnTo>
                    <a:pt x="59" y="236"/>
                  </a:lnTo>
                  <a:lnTo>
                    <a:pt x="57" y="236"/>
                  </a:lnTo>
                  <a:lnTo>
                    <a:pt x="57" y="234"/>
                  </a:lnTo>
                  <a:lnTo>
                    <a:pt x="57" y="234"/>
                  </a:lnTo>
                  <a:lnTo>
                    <a:pt x="57" y="232"/>
                  </a:lnTo>
                  <a:lnTo>
                    <a:pt x="57" y="230"/>
                  </a:lnTo>
                  <a:lnTo>
                    <a:pt x="57" y="230"/>
                  </a:lnTo>
                  <a:lnTo>
                    <a:pt x="57" y="230"/>
                  </a:lnTo>
                  <a:lnTo>
                    <a:pt x="57" y="228"/>
                  </a:lnTo>
                  <a:lnTo>
                    <a:pt x="57" y="228"/>
                  </a:lnTo>
                  <a:lnTo>
                    <a:pt x="55" y="228"/>
                  </a:lnTo>
                  <a:lnTo>
                    <a:pt x="55" y="228"/>
                  </a:lnTo>
                  <a:lnTo>
                    <a:pt x="53" y="230"/>
                  </a:lnTo>
                  <a:lnTo>
                    <a:pt x="53" y="230"/>
                  </a:lnTo>
                  <a:lnTo>
                    <a:pt x="51" y="228"/>
                  </a:lnTo>
                  <a:lnTo>
                    <a:pt x="51" y="226"/>
                  </a:lnTo>
                  <a:lnTo>
                    <a:pt x="51" y="224"/>
                  </a:lnTo>
                  <a:lnTo>
                    <a:pt x="51" y="224"/>
                  </a:lnTo>
                  <a:lnTo>
                    <a:pt x="49" y="222"/>
                  </a:lnTo>
                  <a:lnTo>
                    <a:pt x="49" y="220"/>
                  </a:lnTo>
                  <a:lnTo>
                    <a:pt x="49" y="218"/>
                  </a:lnTo>
                  <a:lnTo>
                    <a:pt x="49" y="214"/>
                  </a:lnTo>
                  <a:lnTo>
                    <a:pt x="49" y="214"/>
                  </a:lnTo>
                  <a:lnTo>
                    <a:pt x="49" y="212"/>
                  </a:lnTo>
                  <a:lnTo>
                    <a:pt x="49" y="212"/>
                  </a:lnTo>
                  <a:lnTo>
                    <a:pt x="49" y="210"/>
                  </a:lnTo>
                  <a:lnTo>
                    <a:pt x="49" y="210"/>
                  </a:lnTo>
                  <a:lnTo>
                    <a:pt x="49" y="207"/>
                  </a:lnTo>
                  <a:lnTo>
                    <a:pt x="49" y="205"/>
                  </a:lnTo>
                  <a:lnTo>
                    <a:pt x="51" y="203"/>
                  </a:lnTo>
                  <a:lnTo>
                    <a:pt x="51" y="201"/>
                  </a:lnTo>
                  <a:lnTo>
                    <a:pt x="49" y="199"/>
                  </a:lnTo>
                  <a:lnTo>
                    <a:pt x="45" y="195"/>
                  </a:lnTo>
                  <a:lnTo>
                    <a:pt x="45" y="195"/>
                  </a:lnTo>
                  <a:lnTo>
                    <a:pt x="43" y="191"/>
                  </a:lnTo>
                  <a:lnTo>
                    <a:pt x="43" y="191"/>
                  </a:lnTo>
                  <a:lnTo>
                    <a:pt x="43" y="189"/>
                  </a:lnTo>
                  <a:lnTo>
                    <a:pt x="43" y="187"/>
                  </a:lnTo>
                  <a:lnTo>
                    <a:pt x="45" y="187"/>
                  </a:lnTo>
                  <a:lnTo>
                    <a:pt x="43" y="183"/>
                  </a:lnTo>
                  <a:lnTo>
                    <a:pt x="39" y="179"/>
                  </a:lnTo>
                  <a:lnTo>
                    <a:pt x="37" y="179"/>
                  </a:lnTo>
                  <a:lnTo>
                    <a:pt x="35" y="175"/>
                  </a:lnTo>
                  <a:lnTo>
                    <a:pt x="33" y="173"/>
                  </a:lnTo>
                  <a:lnTo>
                    <a:pt x="33" y="171"/>
                  </a:lnTo>
                  <a:lnTo>
                    <a:pt x="33" y="169"/>
                  </a:lnTo>
                  <a:lnTo>
                    <a:pt x="33" y="166"/>
                  </a:lnTo>
                  <a:lnTo>
                    <a:pt x="31" y="164"/>
                  </a:lnTo>
                  <a:lnTo>
                    <a:pt x="28" y="164"/>
                  </a:lnTo>
                  <a:lnTo>
                    <a:pt x="26" y="162"/>
                  </a:lnTo>
                  <a:lnTo>
                    <a:pt x="26" y="160"/>
                  </a:lnTo>
                  <a:lnTo>
                    <a:pt x="26" y="158"/>
                  </a:lnTo>
                  <a:lnTo>
                    <a:pt x="26" y="156"/>
                  </a:lnTo>
                  <a:lnTo>
                    <a:pt x="26" y="154"/>
                  </a:lnTo>
                  <a:lnTo>
                    <a:pt x="26" y="152"/>
                  </a:lnTo>
                  <a:lnTo>
                    <a:pt x="26" y="150"/>
                  </a:lnTo>
                  <a:lnTo>
                    <a:pt x="24" y="148"/>
                  </a:lnTo>
                  <a:lnTo>
                    <a:pt x="24" y="148"/>
                  </a:lnTo>
                  <a:lnTo>
                    <a:pt x="24" y="146"/>
                  </a:lnTo>
                  <a:lnTo>
                    <a:pt x="20" y="142"/>
                  </a:lnTo>
                  <a:lnTo>
                    <a:pt x="22" y="138"/>
                  </a:lnTo>
                  <a:lnTo>
                    <a:pt x="22" y="134"/>
                  </a:lnTo>
                  <a:lnTo>
                    <a:pt x="20" y="130"/>
                  </a:lnTo>
                  <a:lnTo>
                    <a:pt x="20" y="128"/>
                  </a:lnTo>
                  <a:lnTo>
                    <a:pt x="18" y="128"/>
                  </a:lnTo>
                  <a:lnTo>
                    <a:pt x="14" y="128"/>
                  </a:lnTo>
                  <a:lnTo>
                    <a:pt x="14" y="123"/>
                  </a:lnTo>
                  <a:lnTo>
                    <a:pt x="14" y="121"/>
                  </a:lnTo>
                  <a:lnTo>
                    <a:pt x="12" y="121"/>
                  </a:lnTo>
                  <a:lnTo>
                    <a:pt x="12" y="121"/>
                  </a:lnTo>
                  <a:lnTo>
                    <a:pt x="12" y="119"/>
                  </a:lnTo>
                  <a:lnTo>
                    <a:pt x="12" y="119"/>
                  </a:lnTo>
                  <a:lnTo>
                    <a:pt x="12" y="119"/>
                  </a:lnTo>
                  <a:lnTo>
                    <a:pt x="12" y="117"/>
                  </a:lnTo>
                  <a:lnTo>
                    <a:pt x="12" y="117"/>
                  </a:lnTo>
                  <a:lnTo>
                    <a:pt x="12" y="117"/>
                  </a:lnTo>
                  <a:lnTo>
                    <a:pt x="10" y="117"/>
                  </a:lnTo>
                  <a:lnTo>
                    <a:pt x="10" y="115"/>
                  </a:lnTo>
                  <a:lnTo>
                    <a:pt x="10" y="115"/>
                  </a:lnTo>
                  <a:lnTo>
                    <a:pt x="8" y="115"/>
                  </a:lnTo>
                  <a:lnTo>
                    <a:pt x="8" y="115"/>
                  </a:lnTo>
                  <a:lnTo>
                    <a:pt x="10" y="115"/>
                  </a:lnTo>
                  <a:lnTo>
                    <a:pt x="10" y="113"/>
                  </a:lnTo>
                  <a:lnTo>
                    <a:pt x="10" y="113"/>
                  </a:lnTo>
                  <a:lnTo>
                    <a:pt x="10" y="113"/>
                  </a:lnTo>
                  <a:lnTo>
                    <a:pt x="10" y="113"/>
                  </a:lnTo>
                  <a:lnTo>
                    <a:pt x="10" y="111"/>
                  </a:lnTo>
                  <a:lnTo>
                    <a:pt x="10" y="111"/>
                  </a:lnTo>
                  <a:lnTo>
                    <a:pt x="8" y="111"/>
                  </a:lnTo>
                  <a:lnTo>
                    <a:pt x="4" y="107"/>
                  </a:lnTo>
                  <a:lnTo>
                    <a:pt x="4" y="107"/>
                  </a:lnTo>
                  <a:lnTo>
                    <a:pt x="2" y="107"/>
                  </a:lnTo>
                  <a:lnTo>
                    <a:pt x="2" y="105"/>
                  </a:lnTo>
                  <a:lnTo>
                    <a:pt x="2" y="103"/>
                  </a:lnTo>
                  <a:lnTo>
                    <a:pt x="0" y="103"/>
                  </a:lnTo>
                  <a:lnTo>
                    <a:pt x="2" y="101"/>
                  </a:lnTo>
                  <a:lnTo>
                    <a:pt x="2" y="101"/>
                  </a:lnTo>
                  <a:lnTo>
                    <a:pt x="2" y="99"/>
                  </a:lnTo>
                  <a:lnTo>
                    <a:pt x="4" y="97"/>
                  </a:lnTo>
                  <a:lnTo>
                    <a:pt x="4" y="97"/>
                  </a:lnTo>
                  <a:lnTo>
                    <a:pt x="4" y="95"/>
                  </a:lnTo>
                  <a:lnTo>
                    <a:pt x="4" y="95"/>
                  </a:lnTo>
                  <a:lnTo>
                    <a:pt x="4" y="95"/>
                  </a:lnTo>
                  <a:lnTo>
                    <a:pt x="4" y="95"/>
                  </a:lnTo>
                  <a:lnTo>
                    <a:pt x="4" y="93"/>
                  </a:lnTo>
                  <a:lnTo>
                    <a:pt x="4" y="93"/>
                  </a:lnTo>
                  <a:lnTo>
                    <a:pt x="4" y="93"/>
                  </a:lnTo>
                  <a:lnTo>
                    <a:pt x="6" y="93"/>
                  </a:lnTo>
                  <a:lnTo>
                    <a:pt x="6" y="93"/>
                  </a:lnTo>
                  <a:lnTo>
                    <a:pt x="6" y="93"/>
                  </a:lnTo>
                  <a:lnTo>
                    <a:pt x="6" y="91"/>
                  </a:lnTo>
                  <a:lnTo>
                    <a:pt x="6" y="91"/>
                  </a:lnTo>
                  <a:lnTo>
                    <a:pt x="6" y="89"/>
                  </a:lnTo>
                  <a:lnTo>
                    <a:pt x="8" y="89"/>
                  </a:lnTo>
                  <a:lnTo>
                    <a:pt x="8" y="89"/>
                  </a:lnTo>
                  <a:lnTo>
                    <a:pt x="8" y="89"/>
                  </a:lnTo>
                  <a:lnTo>
                    <a:pt x="8" y="89"/>
                  </a:lnTo>
                  <a:lnTo>
                    <a:pt x="8" y="87"/>
                  </a:lnTo>
                  <a:lnTo>
                    <a:pt x="8" y="85"/>
                  </a:lnTo>
                  <a:lnTo>
                    <a:pt x="8" y="82"/>
                  </a:lnTo>
                  <a:lnTo>
                    <a:pt x="8" y="82"/>
                  </a:lnTo>
                  <a:lnTo>
                    <a:pt x="10" y="80"/>
                  </a:lnTo>
                  <a:lnTo>
                    <a:pt x="10" y="80"/>
                  </a:lnTo>
                  <a:lnTo>
                    <a:pt x="10" y="80"/>
                  </a:lnTo>
                  <a:lnTo>
                    <a:pt x="10" y="78"/>
                  </a:lnTo>
                  <a:lnTo>
                    <a:pt x="10" y="76"/>
                  </a:lnTo>
                  <a:lnTo>
                    <a:pt x="10" y="76"/>
                  </a:lnTo>
                  <a:lnTo>
                    <a:pt x="10" y="76"/>
                  </a:lnTo>
                  <a:lnTo>
                    <a:pt x="10" y="76"/>
                  </a:lnTo>
                  <a:lnTo>
                    <a:pt x="10" y="74"/>
                  </a:lnTo>
                  <a:lnTo>
                    <a:pt x="12" y="74"/>
                  </a:lnTo>
                  <a:lnTo>
                    <a:pt x="10" y="74"/>
                  </a:lnTo>
                  <a:lnTo>
                    <a:pt x="10" y="72"/>
                  </a:lnTo>
                  <a:lnTo>
                    <a:pt x="10" y="72"/>
                  </a:lnTo>
                  <a:lnTo>
                    <a:pt x="10" y="72"/>
                  </a:lnTo>
                  <a:lnTo>
                    <a:pt x="10" y="72"/>
                  </a:lnTo>
                  <a:lnTo>
                    <a:pt x="10" y="70"/>
                  </a:lnTo>
                  <a:lnTo>
                    <a:pt x="12" y="68"/>
                  </a:lnTo>
                  <a:lnTo>
                    <a:pt x="14" y="68"/>
                  </a:lnTo>
                  <a:lnTo>
                    <a:pt x="14" y="68"/>
                  </a:lnTo>
                  <a:lnTo>
                    <a:pt x="14" y="62"/>
                  </a:lnTo>
                  <a:lnTo>
                    <a:pt x="14" y="62"/>
                  </a:lnTo>
                  <a:lnTo>
                    <a:pt x="14" y="62"/>
                  </a:lnTo>
                  <a:lnTo>
                    <a:pt x="14" y="60"/>
                  </a:lnTo>
                  <a:lnTo>
                    <a:pt x="14" y="60"/>
                  </a:lnTo>
                  <a:lnTo>
                    <a:pt x="12" y="56"/>
                  </a:lnTo>
                  <a:lnTo>
                    <a:pt x="12" y="54"/>
                  </a:lnTo>
                  <a:lnTo>
                    <a:pt x="12" y="54"/>
                  </a:lnTo>
                  <a:lnTo>
                    <a:pt x="12" y="54"/>
                  </a:lnTo>
                  <a:lnTo>
                    <a:pt x="12" y="52"/>
                  </a:lnTo>
                  <a:lnTo>
                    <a:pt x="10" y="52"/>
                  </a:lnTo>
                  <a:lnTo>
                    <a:pt x="10" y="54"/>
                  </a:lnTo>
                  <a:lnTo>
                    <a:pt x="10" y="54"/>
                  </a:lnTo>
                  <a:lnTo>
                    <a:pt x="8" y="52"/>
                  </a:lnTo>
                  <a:lnTo>
                    <a:pt x="6" y="52"/>
                  </a:lnTo>
                  <a:lnTo>
                    <a:pt x="6" y="52"/>
                  </a:lnTo>
                  <a:lnTo>
                    <a:pt x="6" y="52"/>
                  </a:lnTo>
                  <a:lnTo>
                    <a:pt x="4" y="52"/>
                  </a:lnTo>
                  <a:lnTo>
                    <a:pt x="4" y="52"/>
                  </a:lnTo>
                  <a:lnTo>
                    <a:pt x="4" y="52"/>
                  </a:lnTo>
                  <a:lnTo>
                    <a:pt x="4" y="50"/>
                  </a:lnTo>
                  <a:lnTo>
                    <a:pt x="6" y="50"/>
                  </a:lnTo>
                  <a:lnTo>
                    <a:pt x="6" y="50"/>
                  </a:lnTo>
                  <a:lnTo>
                    <a:pt x="6" y="50"/>
                  </a:lnTo>
                  <a:lnTo>
                    <a:pt x="6" y="48"/>
                  </a:lnTo>
                  <a:lnTo>
                    <a:pt x="4" y="48"/>
                  </a:lnTo>
                  <a:lnTo>
                    <a:pt x="4" y="48"/>
                  </a:lnTo>
                  <a:lnTo>
                    <a:pt x="4" y="46"/>
                  </a:lnTo>
                  <a:lnTo>
                    <a:pt x="4" y="46"/>
                  </a:lnTo>
                  <a:lnTo>
                    <a:pt x="4" y="46"/>
                  </a:lnTo>
                  <a:lnTo>
                    <a:pt x="6" y="46"/>
                  </a:lnTo>
                  <a:lnTo>
                    <a:pt x="6" y="46"/>
                  </a:lnTo>
                  <a:lnTo>
                    <a:pt x="6" y="46"/>
                  </a:lnTo>
                  <a:lnTo>
                    <a:pt x="6" y="46"/>
                  </a:lnTo>
                  <a:lnTo>
                    <a:pt x="8" y="44"/>
                  </a:lnTo>
                  <a:lnTo>
                    <a:pt x="8" y="41"/>
                  </a:lnTo>
                  <a:lnTo>
                    <a:pt x="8" y="35"/>
                  </a:lnTo>
                  <a:lnTo>
                    <a:pt x="6" y="35"/>
                  </a:lnTo>
                  <a:lnTo>
                    <a:pt x="6" y="35"/>
                  </a:lnTo>
                  <a:lnTo>
                    <a:pt x="6" y="33"/>
                  </a:lnTo>
                  <a:lnTo>
                    <a:pt x="4" y="33"/>
                  </a:lnTo>
                  <a:lnTo>
                    <a:pt x="4" y="31"/>
                  </a:lnTo>
                  <a:lnTo>
                    <a:pt x="2" y="31"/>
                  </a:lnTo>
                  <a:lnTo>
                    <a:pt x="2" y="29"/>
                  </a:lnTo>
                  <a:lnTo>
                    <a:pt x="2" y="29"/>
                  </a:lnTo>
                  <a:lnTo>
                    <a:pt x="2" y="27"/>
                  </a:lnTo>
                  <a:lnTo>
                    <a:pt x="2" y="27"/>
                  </a:lnTo>
                  <a:lnTo>
                    <a:pt x="2" y="25"/>
                  </a:lnTo>
                  <a:lnTo>
                    <a:pt x="2" y="25"/>
                  </a:lnTo>
                  <a:lnTo>
                    <a:pt x="2" y="25"/>
                  </a:lnTo>
                  <a:lnTo>
                    <a:pt x="2" y="23"/>
                  </a:lnTo>
                  <a:lnTo>
                    <a:pt x="2" y="23"/>
                  </a:lnTo>
                  <a:lnTo>
                    <a:pt x="14" y="23"/>
                  </a:lnTo>
                  <a:lnTo>
                    <a:pt x="39" y="23"/>
                  </a:lnTo>
                  <a:lnTo>
                    <a:pt x="65" y="21"/>
                  </a:lnTo>
                  <a:lnTo>
                    <a:pt x="92" y="21"/>
                  </a:lnTo>
                  <a:lnTo>
                    <a:pt x="119" y="19"/>
                  </a:lnTo>
                  <a:lnTo>
                    <a:pt x="143" y="17"/>
                  </a:lnTo>
                  <a:lnTo>
                    <a:pt x="170" y="17"/>
                  </a:lnTo>
                  <a:lnTo>
                    <a:pt x="196" y="15"/>
                  </a:lnTo>
                  <a:lnTo>
                    <a:pt x="223" y="13"/>
                  </a:lnTo>
                  <a:lnTo>
                    <a:pt x="248" y="13"/>
                  </a:lnTo>
                  <a:lnTo>
                    <a:pt x="274" y="11"/>
                  </a:lnTo>
                  <a:lnTo>
                    <a:pt x="301" y="9"/>
                  </a:lnTo>
                  <a:lnTo>
                    <a:pt x="328" y="7"/>
                  </a:lnTo>
                  <a:lnTo>
                    <a:pt x="352" y="5"/>
                  </a:lnTo>
                  <a:lnTo>
                    <a:pt x="379" y="5"/>
                  </a:lnTo>
                  <a:lnTo>
                    <a:pt x="405" y="3"/>
                  </a:lnTo>
                  <a:lnTo>
                    <a:pt x="432" y="0"/>
                  </a:lnTo>
                  <a:lnTo>
                    <a:pt x="432" y="0"/>
                  </a:lnTo>
                  <a:lnTo>
                    <a:pt x="432" y="0"/>
                  </a:lnTo>
                  <a:lnTo>
                    <a:pt x="432" y="3"/>
                  </a:lnTo>
                  <a:lnTo>
                    <a:pt x="432" y="5"/>
                  </a:lnTo>
                  <a:lnTo>
                    <a:pt x="432" y="5"/>
                  </a:lnTo>
                  <a:lnTo>
                    <a:pt x="434" y="7"/>
                  </a:lnTo>
                  <a:lnTo>
                    <a:pt x="434" y="9"/>
                  </a:lnTo>
                  <a:lnTo>
                    <a:pt x="434" y="9"/>
                  </a:lnTo>
                  <a:lnTo>
                    <a:pt x="434" y="13"/>
                  </a:lnTo>
                  <a:lnTo>
                    <a:pt x="436" y="13"/>
                  </a:lnTo>
                  <a:lnTo>
                    <a:pt x="436" y="13"/>
                  </a:lnTo>
                  <a:lnTo>
                    <a:pt x="444" y="15"/>
                  </a:lnTo>
                  <a:lnTo>
                    <a:pt x="446" y="17"/>
                  </a:lnTo>
                  <a:lnTo>
                    <a:pt x="446" y="21"/>
                  </a:lnTo>
                  <a:lnTo>
                    <a:pt x="444" y="25"/>
                  </a:lnTo>
                  <a:lnTo>
                    <a:pt x="442" y="31"/>
                  </a:lnTo>
                  <a:lnTo>
                    <a:pt x="440" y="35"/>
                  </a:lnTo>
                  <a:lnTo>
                    <a:pt x="442" y="41"/>
                  </a:lnTo>
                  <a:lnTo>
                    <a:pt x="442" y="46"/>
                  </a:lnTo>
                  <a:lnTo>
                    <a:pt x="442" y="50"/>
                  </a:lnTo>
                  <a:lnTo>
                    <a:pt x="442" y="52"/>
                  </a:lnTo>
                  <a:lnTo>
                    <a:pt x="444" y="52"/>
                  </a:lnTo>
                  <a:lnTo>
                    <a:pt x="444" y="58"/>
                  </a:lnTo>
                  <a:lnTo>
                    <a:pt x="444" y="60"/>
                  </a:lnTo>
                  <a:lnTo>
                    <a:pt x="446" y="60"/>
                  </a:lnTo>
                  <a:lnTo>
                    <a:pt x="448" y="64"/>
                  </a:lnTo>
                  <a:lnTo>
                    <a:pt x="448" y="64"/>
                  </a:lnTo>
                  <a:lnTo>
                    <a:pt x="450" y="66"/>
                  </a:lnTo>
                  <a:lnTo>
                    <a:pt x="450" y="72"/>
                  </a:lnTo>
                  <a:lnTo>
                    <a:pt x="450" y="72"/>
                  </a:lnTo>
                  <a:lnTo>
                    <a:pt x="454" y="78"/>
                  </a:lnTo>
                  <a:lnTo>
                    <a:pt x="454" y="80"/>
                  </a:lnTo>
                  <a:lnTo>
                    <a:pt x="457" y="80"/>
                  </a:lnTo>
                  <a:lnTo>
                    <a:pt x="461" y="82"/>
                  </a:lnTo>
                  <a:lnTo>
                    <a:pt x="475" y="82"/>
                  </a:lnTo>
                  <a:lnTo>
                    <a:pt x="479" y="85"/>
                  </a:lnTo>
                  <a:lnTo>
                    <a:pt x="481" y="85"/>
                  </a:lnTo>
                  <a:lnTo>
                    <a:pt x="483" y="85"/>
                  </a:lnTo>
                  <a:lnTo>
                    <a:pt x="483" y="87"/>
                  </a:lnTo>
                  <a:lnTo>
                    <a:pt x="485" y="91"/>
                  </a:lnTo>
                  <a:lnTo>
                    <a:pt x="487" y="93"/>
                  </a:lnTo>
                  <a:lnTo>
                    <a:pt x="489" y="95"/>
                  </a:lnTo>
                  <a:lnTo>
                    <a:pt x="489" y="97"/>
                  </a:lnTo>
                  <a:lnTo>
                    <a:pt x="489" y="97"/>
                  </a:lnTo>
                  <a:lnTo>
                    <a:pt x="489" y="99"/>
                  </a:lnTo>
                  <a:lnTo>
                    <a:pt x="489" y="99"/>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A</a:t>
              </a:r>
            </a:p>
          </p:txBody>
        </p:sp>
        <p:sp>
          <p:nvSpPr>
            <p:cNvPr id="333" name="Freeform 44">
              <a:extLst>
                <a:ext uri="{FF2B5EF4-FFF2-40B4-BE49-F238E27FC236}">
                  <a16:creationId xmlns:a16="http://schemas.microsoft.com/office/drawing/2014/main" id="{9D615B40-4467-A05D-FF98-7C2E47D75B03}"/>
                </a:ext>
              </a:extLst>
            </p:cNvPr>
            <p:cNvSpPr>
              <a:spLocks noEditPoints="1"/>
            </p:cNvSpPr>
            <p:nvPr/>
          </p:nvSpPr>
          <p:spPr bwMode="auto">
            <a:xfrm>
              <a:off x="3435" y="2477"/>
              <a:ext cx="645" cy="391"/>
            </a:xfrm>
            <a:custGeom>
              <a:avLst/>
              <a:gdLst>
                <a:gd name="T0" fmla="*/ 485 w 645"/>
                <a:gd name="T1" fmla="*/ 161 h 391"/>
                <a:gd name="T2" fmla="*/ 471 w 645"/>
                <a:gd name="T3" fmla="*/ 153 h 391"/>
                <a:gd name="T4" fmla="*/ 457 w 645"/>
                <a:gd name="T5" fmla="*/ 155 h 391"/>
                <a:gd name="T6" fmla="*/ 438 w 645"/>
                <a:gd name="T7" fmla="*/ 147 h 391"/>
                <a:gd name="T8" fmla="*/ 426 w 645"/>
                <a:gd name="T9" fmla="*/ 143 h 391"/>
                <a:gd name="T10" fmla="*/ 426 w 645"/>
                <a:gd name="T11" fmla="*/ 168 h 391"/>
                <a:gd name="T12" fmla="*/ 440 w 645"/>
                <a:gd name="T13" fmla="*/ 170 h 391"/>
                <a:gd name="T14" fmla="*/ 448 w 645"/>
                <a:gd name="T15" fmla="*/ 190 h 391"/>
                <a:gd name="T16" fmla="*/ 469 w 645"/>
                <a:gd name="T17" fmla="*/ 194 h 391"/>
                <a:gd name="T18" fmla="*/ 502 w 645"/>
                <a:gd name="T19" fmla="*/ 180 h 391"/>
                <a:gd name="T20" fmla="*/ 422 w 645"/>
                <a:gd name="T21" fmla="*/ 204 h 391"/>
                <a:gd name="T22" fmla="*/ 635 w 645"/>
                <a:gd name="T23" fmla="*/ 313 h 391"/>
                <a:gd name="T24" fmla="*/ 612 w 645"/>
                <a:gd name="T25" fmla="*/ 295 h 391"/>
                <a:gd name="T26" fmla="*/ 561 w 645"/>
                <a:gd name="T27" fmla="*/ 252 h 391"/>
                <a:gd name="T28" fmla="*/ 545 w 645"/>
                <a:gd name="T29" fmla="*/ 245 h 391"/>
                <a:gd name="T30" fmla="*/ 522 w 645"/>
                <a:gd name="T31" fmla="*/ 233 h 391"/>
                <a:gd name="T32" fmla="*/ 524 w 645"/>
                <a:gd name="T33" fmla="*/ 262 h 391"/>
                <a:gd name="T34" fmla="*/ 504 w 645"/>
                <a:gd name="T35" fmla="*/ 284 h 391"/>
                <a:gd name="T36" fmla="*/ 506 w 645"/>
                <a:gd name="T37" fmla="*/ 309 h 391"/>
                <a:gd name="T38" fmla="*/ 512 w 645"/>
                <a:gd name="T39" fmla="*/ 325 h 391"/>
                <a:gd name="T40" fmla="*/ 514 w 645"/>
                <a:gd name="T41" fmla="*/ 370 h 391"/>
                <a:gd name="T42" fmla="*/ 526 w 645"/>
                <a:gd name="T43" fmla="*/ 381 h 391"/>
                <a:gd name="T44" fmla="*/ 547 w 645"/>
                <a:gd name="T45" fmla="*/ 387 h 391"/>
                <a:gd name="T46" fmla="*/ 575 w 645"/>
                <a:gd name="T47" fmla="*/ 358 h 391"/>
                <a:gd name="T48" fmla="*/ 608 w 645"/>
                <a:gd name="T49" fmla="*/ 348 h 391"/>
                <a:gd name="T50" fmla="*/ 643 w 645"/>
                <a:gd name="T51" fmla="*/ 323 h 391"/>
                <a:gd name="T52" fmla="*/ 410 w 645"/>
                <a:gd name="T53" fmla="*/ 127 h 391"/>
                <a:gd name="T54" fmla="*/ 389 w 645"/>
                <a:gd name="T55" fmla="*/ 123 h 391"/>
                <a:gd name="T56" fmla="*/ 362 w 645"/>
                <a:gd name="T57" fmla="*/ 123 h 391"/>
                <a:gd name="T58" fmla="*/ 354 w 645"/>
                <a:gd name="T59" fmla="*/ 123 h 391"/>
                <a:gd name="T60" fmla="*/ 354 w 645"/>
                <a:gd name="T61" fmla="*/ 137 h 391"/>
                <a:gd name="T62" fmla="*/ 403 w 645"/>
                <a:gd name="T63" fmla="*/ 139 h 391"/>
                <a:gd name="T64" fmla="*/ 111 w 645"/>
                <a:gd name="T65" fmla="*/ 8 h 391"/>
                <a:gd name="T66" fmla="*/ 98 w 645"/>
                <a:gd name="T67" fmla="*/ 2 h 391"/>
                <a:gd name="T68" fmla="*/ 72 w 645"/>
                <a:gd name="T69" fmla="*/ 6 h 391"/>
                <a:gd name="T70" fmla="*/ 53 w 645"/>
                <a:gd name="T71" fmla="*/ 22 h 391"/>
                <a:gd name="T72" fmla="*/ 68 w 645"/>
                <a:gd name="T73" fmla="*/ 34 h 391"/>
                <a:gd name="T74" fmla="*/ 94 w 645"/>
                <a:gd name="T75" fmla="*/ 45 h 391"/>
                <a:gd name="T76" fmla="*/ 108 w 645"/>
                <a:gd name="T77" fmla="*/ 26 h 391"/>
                <a:gd name="T78" fmla="*/ 12 w 645"/>
                <a:gd name="T79" fmla="*/ 32 h 391"/>
                <a:gd name="T80" fmla="*/ 4 w 645"/>
                <a:gd name="T81" fmla="*/ 53 h 391"/>
                <a:gd name="T82" fmla="*/ 16 w 645"/>
                <a:gd name="T83" fmla="*/ 41 h 391"/>
                <a:gd name="T84" fmla="*/ 301 w 645"/>
                <a:gd name="T85" fmla="*/ 104 h 391"/>
                <a:gd name="T86" fmla="*/ 293 w 645"/>
                <a:gd name="T87" fmla="*/ 92 h 391"/>
                <a:gd name="T88" fmla="*/ 285 w 645"/>
                <a:gd name="T89" fmla="*/ 90 h 391"/>
                <a:gd name="T90" fmla="*/ 278 w 645"/>
                <a:gd name="T91" fmla="*/ 75 h 391"/>
                <a:gd name="T92" fmla="*/ 268 w 645"/>
                <a:gd name="T93" fmla="*/ 63 h 391"/>
                <a:gd name="T94" fmla="*/ 252 w 645"/>
                <a:gd name="T95" fmla="*/ 75 h 391"/>
                <a:gd name="T96" fmla="*/ 233 w 645"/>
                <a:gd name="T97" fmla="*/ 79 h 391"/>
                <a:gd name="T98" fmla="*/ 246 w 645"/>
                <a:gd name="T99" fmla="*/ 100 h 391"/>
                <a:gd name="T100" fmla="*/ 256 w 645"/>
                <a:gd name="T101" fmla="*/ 112 h 391"/>
                <a:gd name="T102" fmla="*/ 264 w 645"/>
                <a:gd name="T103" fmla="*/ 102 h 391"/>
                <a:gd name="T104" fmla="*/ 272 w 645"/>
                <a:gd name="T105" fmla="*/ 102 h 391"/>
                <a:gd name="T106" fmla="*/ 278 w 645"/>
                <a:gd name="T107" fmla="*/ 108 h 391"/>
                <a:gd name="T108" fmla="*/ 293 w 645"/>
                <a:gd name="T109" fmla="*/ 114 h 391"/>
                <a:gd name="T110" fmla="*/ 401 w 645"/>
                <a:gd name="T111" fmla="*/ 161 h 391"/>
                <a:gd name="T112" fmla="*/ 385 w 645"/>
                <a:gd name="T113" fmla="*/ 170 h 391"/>
                <a:gd name="T114" fmla="*/ 407 w 645"/>
                <a:gd name="T115" fmla="*/ 166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5" h="391">
                  <a:moveTo>
                    <a:pt x="502" y="180"/>
                  </a:moveTo>
                  <a:lnTo>
                    <a:pt x="504" y="174"/>
                  </a:lnTo>
                  <a:lnTo>
                    <a:pt x="502" y="170"/>
                  </a:lnTo>
                  <a:lnTo>
                    <a:pt x="496" y="168"/>
                  </a:lnTo>
                  <a:lnTo>
                    <a:pt x="494" y="166"/>
                  </a:lnTo>
                  <a:lnTo>
                    <a:pt x="487" y="166"/>
                  </a:lnTo>
                  <a:lnTo>
                    <a:pt x="487" y="164"/>
                  </a:lnTo>
                  <a:lnTo>
                    <a:pt x="485" y="161"/>
                  </a:lnTo>
                  <a:lnTo>
                    <a:pt x="485" y="161"/>
                  </a:lnTo>
                  <a:lnTo>
                    <a:pt x="481" y="159"/>
                  </a:lnTo>
                  <a:lnTo>
                    <a:pt x="479" y="159"/>
                  </a:lnTo>
                  <a:lnTo>
                    <a:pt x="477" y="157"/>
                  </a:lnTo>
                  <a:lnTo>
                    <a:pt x="477" y="157"/>
                  </a:lnTo>
                  <a:lnTo>
                    <a:pt x="475" y="155"/>
                  </a:lnTo>
                  <a:lnTo>
                    <a:pt x="473" y="153"/>
                  </a:lnTo>
                  <a:lnTo>
                    <a:pt x="471" y="155"/>
                  </a:lnTo>
                  <a:lnTo>
                    <a:pt x="471" y="153"/>
                  </a:lnTo>
                  <a:lnTo>
                    <a:pt x="471" y="153"/>
                  </a:lnTo>
                  <a:lnTo>
                    <a:pt x="471" y="153"/>
                  </a:lnTo>
                  <a:lnTo>
                    <a:pt x="471" y="153"/>
                  </a:lnTo>
                  <a:lnTo>
                    <a:pt x="469" y="153"/>
                  </a:lnTo>
                  <a:lnTo>
                    <a:pt x="467" y="153"/>
                  </a:lnTo>
                  <a:lnTo>
                    <a:pt x="465" y="153"/>
                  </a:lnTo>
                  <a:lnTo>
                    <a:pt x="463" y="153"/>
                  </a:lnTo>
                  <a:lnTo>
                    <a:pt x="461" y="153"/>
                  </a:lnTo>
                  <a:lnTo>
                    <a:pt x="457" y="155"/>
                  </a:lnTo>
                  <a:lnTo>
                    <a:pt x="457" y="155"/>
                  </a:lnTo>
                  <a:lnTo>
                    <a:pt x="453" y="157"/>
                  </a:lnTo>
                  <a:lnTo>
                    <a:pt x="451" y="157"/>
                  </a:lnTo>
                  <a:lnTo>
                    <a:pt x="448" y="157"/>
                  </a:lnTo>
                  <a:lnTo>
                    <a:pt x="446" y="157"/>
                  </a:lnTo>
                  <a:lnTo>
                    <a:pt x="446" y="159"/>
                  </a:lnTo>
                  <a:lnTo>
                    <a:pt x="444" y="157"/>
                  </a:lnTo>
                  <a:lnTo>
                    <a:pt x="440" y="149"/>
                  </a:lnTo>
                  <a:lnTo>
                    <a:pt x="440" y="149"/>
                  </a:lnTo>
                  <a:lnTo>
                    <a:pt x="438" y="147"/>
                  </a:lnTo>
                  <a:lnTo>
                    <a:pt x="434" y="143"/>
                  </a:lnTo>
                  <a:lnTo>
                    <a:pt x="432" y="143"/>
                  </a:lnTo>
                  <a:lnTo>
                    <a:pt x="432" y="141"/>
                  </a:lnTo>
                  <a:lnTo>
                    <a:pt x="430" y="141"/>
                  </a:lnTo>
                  <a:lnTo>
                    <a:pt x="430" y="141"/>
                  </a:lnTo>
                  <a:lnTo>
                    <a:pt x="430" y="143"/>
                  </a:lnTo>
                  <a:lnTo>
                    <a:pt x="428" y="143"/>
                  </a:lnTo>
                  <a:lnTo>
                    <a:pt x="428" y="143"/>
                  </a:lnTo>
                  <a:lnTo>
                    <a:pt x="426" y="143"/>
                  </a:lnTo>
                  <a:lnTo>
                    <a:pt x="426" y="143"/>
                  </a:lnTo>
                  <a:lnTo>
                    <a:pt x="426" y="145"/>
                  </a:lnTo>
                  <a:lnTo>
                    <a:pt x="426" y="145"/>
                  </a:lnTo>
                  <a:lnTo>
                    <a:pt x="426" y="145"/>
                  </a:lnTo>
                  <a:lnTo>
                    <a:pt x="424" y="145"/>
                  </a:lnTo>
                  <a:lnTo>
                    <a:pt x="424" y="145"/>
                  </a:lnTo>
                  <a:lnTo>
                    <a:pt x="422" y="147"/>
                  </a:lnTo>
                  <a:lnTo>
                    <a:pt x="418" y="155"/>
                  </a:lnTo>
                  <a:lnTo>
                    <a:pt x="426" y="168"/>
                  </a:lnTo>
                  <a:lnTo>
                    <a:pt x="426" y="168"/>
                  </a:lnTo>
                  <a:lnTo>
                    <a:pt x="428" y="168"/>
                  </a:lnTo>
                  <a:lnTo>
                    <a:pt x="430" y="168"/>
                  </a:lnTo>
                  <a:lnTo>
                    <a:pt x="432" y="170"/>
                  </a:lnTo>
                  <a:lnTo>
                    <a:pt x="436" y="172"/>
                  </a:lnTo>
                  <a:lnTo>
                    <a:pt x="438" y="172"/>
                  </a:lnTo>
                  <a:lnTo>
                    <a:pt x="438" y="172"/>
                  </a:lnTo>
                  <a:lnTo>
                    <a:pt x="440" y="172"/>
                  </a:lnTo>
                  <a:lnTo>
                    <a:pt x="440" y="170"/>
                  </a:lnTo>
                  <a:lnTo>
                    <a:pt x="444" y="170"/>
                  </a:lnTo>
                  <a:lnTo>
                    <a:pt x="444" y="172"/>
                  </a:lnTo>
                  <a:lnTo>
                    <a:pt x="446" y="172"/>
                  </a:lnTo>
                  <a:lnTo>
                    <a:pt x="446" y="174"/>
                  </a:lnTo>
                  <a:lnTo>
                    <a:pt x="446" y="176"/>
                  </a:lnTo>
                  <a:lnTo>
                    <a:pt x="446" y="176"/>
                  </a:lnTo>
                  <a:lnTo>
                    <a:pt x="448" y="178"/>
                  </a:lnTo>
                  <a:lnTo>
                    <a:pt x="448" y="180"/>
                  </a:lnTo>
                  <a:lnTo>
                    <a:pt x="448" y="190"/>
                  </a:lnTo>
                  <a:lnTo>
                    <a:pt x="451" y="194"/>
                  </a:lnTo>
                  <a:lnTo>
                    <a:pt x="453" y="196"/>
                  </a:lnTo>
                  <a:lnTo>
                    <a:pt x="459" y="196"/>
                  </a:lnTo>
                  <a:lnTo>
                    <a:pt x="461" y="194"/>
                  </a:lnTo>
                  <a:lnTo>
                    <a:pt x="463" y="194"/>
                  </a:lnTo>
                  <a:lnTo>
                    <a:pt x="463" y="194"/>
                  </a:lnTo>
                  <a:lnTo>
                    <a:pt x="463" y="194"/>
                  </a:lnTo>
                  <a:lnTo>
                    <a:pt x="465" y="194"/>
                  </a:lnTo>
                  <a:lnTo>
                    <a:pt x="469" y="194"/>
                  </a:lnTo>
                  <a:lnTo>
                    <a:pt x="475" y="190"/>
                  </a:lnTo>
                  <a:lnTo>
                    <a:pt x="477" y="190"/>
                  </a:lnTo>
                  <a:lnTo>
                    <a:pt x="481" y="190"/>
                  </a:lnTo>
                  <a:lnTo>
                    <a:pt x="483" y="190"/>
                  </a:lnTo>
                  <a:lnTo>
                    <a:pt x="485" y="190"/>
                  </a:lnTo>
                  <a:lnTo>
                    <a:pt x="487" y="190"/>
                  </a:lnTo>
                  <a:lnTo>
                    <a:pt x="496" y="186"/>
                  </a:lnTo>
                  <a:lnTo>
                    <a:pt x="500" y="184"/>
                  </a:lnTo>
                  <a:lnTo>
                    <a:pt x="502" y="180"/>
                  </a:lnTo>
                  <a:close/>
                  <a:moveTo>
                    <a:pt x="436" y="194"/>
                  </a:moveTo>
                  <a:lnTo>
                    <a:pt x="434" y="192"/>
                  </a:lnTo>
                  <a:lnTo>
                    <a:pt x="432" y="194"/>
                  </a:lnTo>
                  <a:lnTo>
                    <a:pt x="430" y="194"/>
                  </a:lnTo>
                  <a:lnTo>
                    <a:pt x="426" y="196"/>
                  </a:lnTo>
                  <a:lnTo>
                    <a:pt x="422" y="198"/>
                  </a:lnTo>
                  <a:lnTo>
                    <a:pt x="420" y="200"/>
                  </a:lnTo>
                  <a:lnTo>
                    <a:pt x="420" y="202"/>
                  </a:lnTo>
                  <a:lnTo>
                    <a:pt x="422" y="204"/>
                  </a:lnTo>
                  <a:lnTo>
                    <a:pt x="424" y="204"/>
                  </a:lnTo>
                  <a:lnTo>
                    <a:pt x="428" y="202"/>
                  </a:lnTo>
                  <a:lnTo>
                    <a:pt x="428" y="202"/>
                  </a:lnTo>
                  <a:lnTo>
                    <a:pt x="434" y="202"/>
                  </a:lnTo>
                  <a:lnTo>
                    <a:pt x="436" y="202"/>
                  </a:lnTo>
                  <a:lnTo>
                    <a:pt x="438" y="200"/>
                  </a:lnTo>
                  <a:lnTo>
                    <a:pt x="436" y="200"/>
                  </a:lnTo>
                  <a:lnTo>
                    <a:pt x="436" y="194"/>
                  </a:lnTo>
                  <a:close/>
                  <a:moveTo>
                    <a:pt x="635" y="313"/>
                  </a:moveTo>
                  <a:lnTo>
                    <a:pt x="629" y="311"/>
                  </a:lnTo>
                  <a:lnTo>
                    <a:pt x="625" y="307"/>
                  </a:lnTo>
                  <a:lnTo>
                    <a:pt x="625" y="305"/>
                  </a:lnTo>
                  <a:lnTo>
                    <a:pt x="623" y="299"/>
                  </a:lnTo>
                  <a:lnTo>
                    <a:pt x="623" y="297"/>
                  </a:lnTo>
                  <a:lnTo>
                    <a:pt x="620" y="295"/>
                  </a:lnTo>
                  <a:lnTo>
                    <a:pt x="618" y="295"/>
                  </a:lnTo>
                  <a:lnTo>
                    <a:pt x="612" y="297"/>
                  </a:lnTo>
                  <a:lnTo>
                    <a:pt x="612" y="295"/>
                  </a:lnTo>
                  <a:lnTo>
                    <a:pt x="610" y="293"/>
                  </a:lnTo>
                  <a:lnTo>
                    <a:pt x="610" y="284"/>
                  </a:lnTo>
                  <a:lnTo>
                    <a:pt x="610" y="280"/>
                  </a:lnTo>
                  <a:lnTo>
                    <a:pt x="610" y="278"/>
                  </a:lnTo>
                  <a:lnTo>
                    <a:pt x="600" y="268"/>
                  </a:lnTo>
                  <a:lnTo>
                    <a:pt x="596" y="266"/>
                  </a:lnTo>
                  <a:lnTo>
                    <a:pt x="580" y="258"/>
                  </a:lnTo>
                  <a:lnTo>
                    <a:pt x="567" y="254"/>
                  </a:lnTo>
                  <a:lnTo>
                    <a:pt x="561" y="252"/>
                  </a:lnTo>
                  <a:lnTo>
                    <a:pt x="557" y="250"/>
                  </a:lnTo>
                  <a:lnTo>
                    <a:pt x="555" y="248"/>
                  </a:lnTo>
                  <a:lnTo>
                    <a:pt x="555" y="250"/>
                  </a:lnTo>
                  <a:lnTo>
                    <a:pt x="553" y="250"/>
                  </a:lnTo>
                  <a:lnTo>
                    <a:pt x="551" y="250"/>
                  </a:lnTo>
                  <a:lnTo>
                    <a:pt x="551" y="250"/>
                  </a:lnTo>
                  <a:lnTo>
                    <a:pt x="549" y="248"/>
                  </a:lnTo>
                  <a:lnTo>
                    <a:pt x="547" y="248"/>
                  </a:lnTo>
                  <a:lnTo>
                    <a:pt x="545" y="245"/>
                  </a:lnTo>
                  <a:lnTo>
                    <a:pt x="543" y="243"/>
                  </a:lnTo>
                  <a:lnTo>
                    <a:pt x="534" y="241"/>
                  </a:lnTo>
                  <a:lnTo>
                    <a:pt x="534" y="239"/>
                  </a:lnTo>
                  <a:lnTo>
                    <a:pt x="534" y="239"/>
                  </a:lnTo>
                  <a:lnTo>
                    <a:pt x="534" y="237"/>
                  </a:lnTo>
                  <a:lnTo>
                    <a:pt x="534" y="237"/>
                  </a:lnTo>
                  <a:lnTo>
                    <a:pt x="532" y="237"/>
                  </a:lnTo>
                  <a:lnTo>
                    <a:pt x="530" y="235"/>
                  </a:lnTo>
                  <a:lnTo>
                    <a:pt x="522" y="233"/>
                  </a:lnTo>
                  <a:lnTo>
                    <a:pt x="518" y="233"/>
                  </a:lnTo>
                  <a:lnTo>
                    <a:pt x="516" y="235"/>
                  </a:lnTo>
                  <a:lnTo>
                    <a:pt x="514" y="239"/>
                  </a:lnTo>
                  <a:lnTo>
                    <a:pt x="514" y="243"/>
                  </a:lnTo>
                  <a:lnTo>
                    <a:pt x="514" y="248"/>
                  </a:lnTo>
                  <a:lnTo>
                    <a:pt x="516" y="252"/>
                  </a:lnTo>
                  <a:lnTo>
                    <a:pt x="522" y="260"/>
                  </a:lnTo>
                  <a:lnTo>
                    <a:pt x="524" y="260"/>
                  </a:lnTo>
                  <a:lnTo>
                    <a:pt x="524" y="262"/>
                  </a:lnTo>
                  <a:lnTo>
                    <a:pt x="524" y="264"/>
                  </a:lnTo>
                  <a:lnTo>
                    <a:pt x="524" y="266"/>
                  </a:lnTo>
                  <a:lnTo>
                    <a:pt x="520" y="268"/>
                  </a:lnTo>
                  <a:lnTo>
                    <a:pt x="518" y="268"/>
                  </a:lnTo>
                  <a:lnTo>
                    <a:pt x="514" y="276"/>
                  </a:lnTo>
                  <a:lnTo>
                    <a:pt x="514" y="276"/>
                  </a:lnTo>
                  <a:lnTo>
                    <a:pt x="510" y="280"/>
                  </a:lnTo>
                  <a:lnTo>
                    <a:pt x="506" y="282"/>
                  </a:lnTo>
                  <a:lnTo>
                    <a:pt x="504" y="284"/>
                  </a:lnTo>
                  <a:lnTo>
                    <a:pt x="504" y="286"/>
                  </a:lnTo>
                  <a:lnTo>
                    <a:pt x="502" y="286"/>
                  </a:lnTo>
                  <a:lnTo>
                    <a:pt x="500" y="289"/>
                  </a:lnTo>
                  <a:lnTo>
                    <a:pt x="498" y="291"/>
                  </a:lnTo>
                  <a:lnTo>
                    <a:pt x="496" y="295"/>
                  </a:lnTo>
                  <a:lnTo>
                    <a:pt x="498" y="299"/>
                  </a:lnTo>
                  <a:lnTo>
                    <a:pt x="500" y="303"/>
                  </a:lnTo>
                  <a:lnTo>
                    <a:pt x="502" y="305"/>
                  </a:lnTo>
                  <a:lnTo>
                    <a:pt x="506" y="309"/>
                  </a:lnTo>
                  <a:lnTo>
                    <a:pt x="506" y="313"/>
                  </a:lnTo>
                  <a:lnTo>
                    <a:pt x="506" y="315"/>
                  </a:lnTo>
                  <a:lnTo>
                    <a:pt x="508" y="317"/>
                  </a:lnTo>
                  <a:lnTo>
                    <a:pt x="508" y="319"/>
                  </a:lnTo>
                  <a:lnTo>
                    <a:pt x="508" y="321"/>
                  </a:lnTo>
                  <a:lnTo>
                    <a:pt x="510" y="325"/>
                  </a:lnTo>
                  <a:lnTo>
                    <a:pt x="510" y="325"/>
                  </a:lnTo>
                  <a:lnTo>
                    <a:pt x="512" y="325"/>
                  </a:lnTo>
                  <a:lnTo>
                    <a:pt x="512" y="325"/>
                  </a:lnTo>
                  <a:lnTo>
                    <a:pt x="512" y="325"/>
                  </a:lnTo>
                  <a:lnTo>
                    <a:pt x="512" y="327"/>
                  </a:lnTo>
                  <a:lnTo>
                    <a:pt x="512" y="327"/>
                  </a:lnTo>
                  <a:lnTo>
                    <a:pt x="514" y="338"/>
                  </a:lnTo>
                  <a:lnTo>
                    <a:pt x="516" y="340"/>
                  </a:lnTo>
                  <a:lnTo>
                    <a:pt x="516" y="342"/>
                  </a:lnTo>
                  <a:lnTo>
                    <a:pt x="516" y="342"/>
                  </a:lnTo>
                  <a:lnTo>
                    <a:pt x="514" y="362"/>
                  </a:lnTo>
                  <a:lnTo>
                    <a:pt x="514" y="370"/>
                  </a:lnTo>
                  <a:lnTo>
                    <a:pt x="514" y="375"/>
                  </a:lnTo>
                  <a:lnTo>
                    <a:pt x="516" y="375"/>
                  </a:lnTo>
                  <a:lnTo>
                    <a:pt x="516" y="375"/>
                  </a:lnTo>
                  <a:lnTo>
                    <a:pt x="516" y="377"/>
                  </a:lnTo>
                  <a:lnTo>
                    <a:pt x="518" y="379"/>
                  </a:lnTo>
                  <a:lnTo>
                    <a:pt x="518" y="379"/>
                  </a:lnTo>
                  <a:lnTo>
                    <a:pt x="518" y="381"/>
                  </a:lnTo>
                  <a:lnTo>
                    <a:pt x="522" y="379"/>
                  </a:lnTo>
                  <a:lnTo>
                    <a:pt x="526" y="381"/>
                  </a:lnTo>
                  <a:lnTo>
                    <a:pt x="532" y="383"/>
                  </a:lnTo>
                  <a:lnTo>
                    <a:pt x="537" y="385"/>
                  </a:lnTo>
                  <a:lnTo>
                    <a:pt x="539" y="387"/>
                  </a:lnTo>
                  <a:lnTo>
                    <a:pt x="541" y="391"/>
                  </a:lnTo>
                  <a:lnTo>
                    <a:pt x="541" y="391"/>
                  </a:lnTo>
                  <a:lnTo>
                    <a:pt x="543" y="391"/>
                  </a:lnTo>
                  <a:lnTo>
                    <a:pt x="545" y="389"/>
                  </a:lnTo>
                  <a:lnTo>
                    <a:pt x="547" y="389"/>
                  </a:lnTo>
                  <a:lnTo>
                    <a:pt x="547" y="387"/>
                  </a:lnTo>
                  <a:lnTo>
                    <a:pt x="553" y="381"/>
                  </a:lnTo>
                  <a:lnTo>
                    <a:pt x="555" y="375"/>
                  </a:lnTo>
                  <a:lnTo>
                    <a:pt x="555" y="373"/>
                  </a:lnTo>
                  <a:lnTo>
                    <a:pt x="561" y="366"/>
                  </a:lnTo>
                  <a:lnTo>
                    <a:pt x="563" y="366"/>
                  </a:lnTo>
                  <a:lnTo>
                    <a:pt x="569" y="364"/>
                  </a:lnTo>
                  <a:lnTo>
                    <a:pt x="569" y="362"/>
                  </a:lnTo>
                  <a:lnTo>
                    <a:pt x="573" y="360"/>
                  </a:lnTo>
                  <a:lnTo>
                    <a:pt x="575" y="358"/>
                  </a:lnTo>
                  <a:lnTo>
                    <a:pt x="577" y="358"/>
                  </a:lnTo>
                  <a:lnTo>
                    <a:pt x="577" y="358"/>
                  </a:lnTo>
                  <a:lnTo>
                    <a:pt x="582" y="354"/>
                  </a:lnTo>
                  <a:lnTo>
                    <a:pt x="586" y="352"/>
                  </a:lnTo>
                  <a:lnTo>
                    <a:pt x="586" y="350"/>
                  </a:lnTo>
                  <a:lnTo>
                    <a:pt x="588" y="350"/>
                  </a:lnTo>
                  <a:lnTo>
                    <a:pt x="598" y="350"/>
                  </a:lnTo>
                  <a:lnTo>
                    <a:pt x="600" y="350"/>
                  </a:lnTo>
                  <a:lnTo>
                    <a:pt x="608" y="348"/>
                  </a:lnTo>
                  <a:lnTo>
                    <a:pt x="612" y="346"/>
                  </a:lnTo>
                  <a:lnTo>
                    <a:pt x="614" y="346"/>
                  </a:lnTo>
                  <a:lnTo>
                    <a:pt x="616" y="344"/>
                  </a:lnTo>
                  <a:lnTo>
                    <a:pt x="618" y="344"/>
                  </a:lnTo>
                  <a:lnTo>
                    <a:pt x="631" y="336"/>
                  </a:lnTo>
                  <a:lnTo>
                    <a:pt x="631" y="334"/>
                  </a:lnTo>
                  <a:lnTo>
                    <a:pt x="641" y="329"/>
                  </a:lnTo>
                  <a:lnTo>
                    <a:pt x="641" y="327"/>
                  </a:lnTo>
                  <a:lnTo>
                    <a:pt x="643" y="323"/>
                  </a:lnTo>
                  <a:lnTo>
                    <a:pt x="643" y="321"/>
                  </a:lnTo>
                  <a:lnTo>
                    <a:pt x="645" y="319"/>
                  </a:lnTo>
                  <a:lnTo>
                    <a:pt x="635" y="313"/>
                  </a:lnTo>
                  <a:close/>
                  <a:moveTo>
                    <a:pt x="418" y="127"/>
                  </a:moveTo>
                  <a:lnTo>
                    <a:pt x="414" y="127"/>
                  </a:lnTo>
                  <a:lnTo>
                    <a:pt x="412" y="127"/>
                  </a:lnTo>
                  <a:lnTo>
                    <a:pt x="412" y="127"/>
                  </a:lnTo>
                  <a:lnTo>
                    <a:pt x="410" y="127"/>
                  </a:lnTo>
                  <a:lnTo>
                    <a:pt x="410" y="127"/>
                  </a:lnTo>
                  <a:lnTo>
                    <a:pt x="410" y="127"/>
                  </a:lnTo>
                  <a:lnTo>
                    <a:pt x="407" y="127"/>
                  </a:lnTo>
                  <a:lnTo>
                    <a:pt x="407" y="127"/>
                  </a:lnTo>
                  <a:lnTo>
                    <a:pt x="405" y="127"/>
                  </a:lnTo>
                  <a:lnTo>
                    <a:pt x="405" y="127"/>
                  </a:lnTo>
                  <a:lnTo>
                    <a:pt x="397" y="127"/>
                  </a:lnTo>
                  <a:lnTo>
                    <a:pt x="395" y="127"/>
                  </a:lnTo>
                  <a:lnTo>
                    <a:pt x="393" y="127"/>
                  </a:lnTo>
                  <a:lnTo>
                    <a:pt x="389" y="123"/>
                  </a:lnTo>
                  <a:lnTo>
                    <a:pt x="387" y="123"/>
                  </a:lnTo>
                  <a:lnTo>
                    <a:pt x="387" y="123"/>
                  </a:lnTo>
                  <a:lnTo>
                    <a:pt x="387" y="125"/>
                  </a:lnTo>
                  <a:lnTo>
                    <a:pt x="387" y="125"/>
                  </a:lnTo>
                  <a:lnTo>
                    <a:pt x="385" y="125"/>
                  </a:lnTo>
                  <a:lnTo>
                    <a:pt x="381" y="125"/>
                  </a:lnTo>
                  <a:lnTo>
                    <a:pt x="379" y="123"/>
                  </a:lnTo>
                  <a:lnTo>
                    <a:pt x="362" y="123"/>
                  </a:lnTo>
                  <a:lnTo>
                    <a:pt x="362" y="123"/>
                  </a:lnTo>
                  <a:lnTo>
                    <a:pt x="360" y="120"/>
                  </a:lnTo>
                  <a:lnTo>
                    <a:pt x="358" y="120"/>
                  </a:lnTo>
                  <a:lnTo>
                    <a:pt x="358" y="120"/>
                  </a:lnTo>
                  <a:lnTo>
                    <a:pt x="356" y="120"/>
                  </a:lnTo>
                  <a:lnTo>
                    <a:pt x="356" y="120"/>
                  </a:lnTo>
                  <a:lnTo>
                    <a:pt x="354" y="120"/>
                  </a:lnTo>
                  <a:lnTo>
                    <a:pt x="354" y="120"/>
                  </a:lnTo>
                  <a:lnTo>
                    <a:pt x="354" y="123"/>
                  </a:lnTo>
                  <a:lnTo>
                    <a:pt x="354" y="123"/>
                  </a:lnTo>
                  <a:lnTo>
                    <a:pt x="354" y="125"/>
                  </a:lnTo>
                  <a:lnTo>
                    <a:pt x="350" y="127"/>
                  </a:lnTo>
                  <a:lnTo>
                    <a:pt x="350" y="129"/>
                  </a:lnTo>
                  <a:lnTo>
                    <a:pt x="348" y="131"/>
                  </a:lnTo>
                  <a:lnTo>
                    <a:pt x="348" y="133"/>
                  </a:lnTo>
                  <a:lnTo>
                    <a:pt x="348" y="135"/>
                  </a:lnTo>
                  <a:lnTo>
                    <a:pt x="350" y="135"/>
                  </a:lnTo>
                  <a:lnTo>
                    <a:pt x="352" y="137"/>
                  </a:lnTo>
                  <a:lnTo>
                    <a:pt x="354" y="137"/>
                  </a:lnTo>
                  <a:lnTo>
                    <a:pt x="356" y="135"/>
                  </a:lnTo>
                  <a:lnTo>
                    <a:pt x="358" y="135"/>
                  </a:lnTo>
                  <a:lnTo>
                    <a:pt x="367" y="135"/>
                  </a:lnTo>
                  <a:lnTo>
                    <a:pt x="377" y="135"/>
                  </a:lnTo>
                  <a:lnTo>
                    <a:pt x="379" y="135"/>
                  </a:lnTo>
                  <a:lnTo>
                    <a:pt x="389" y="139"/>
                  </a:lnTo>
                  <a:lnTo>
                    <a:pt x="395" y="141"/>
                  </a:lnTo>
                  <a:lnTo>
                    <a:pt x="399" y="141"/>
                  </a:lnTo>
                  <a:lnTo>
                    <a:pt x="403" y="139"/>
                  </a:lnTo>
                  <a:lnTo>
                    <a:pt x="407" y="139"/>
                  </a:lnTo>
                  <a:lnTo>
                    <a:pt x="414" y="135"/>
                  </a:lnTo>
                  <a:lnTo>
                    <a:pt x="416" y="133"/>
                  </a:lnTo>
                  <a:lnTo>
                    <a:pt x="418" y="127"/>
                  </a:lnTo>
                  <a:lnTo>
                    <a:pt x="418" y="127"/>
                  </a:lnTo>
                  <a:close/>
                  <a:moveTo>
                    <a:pt x="113" y="10"/>
                  </a:moveTo>
                  <a:lnTo>
                    <a:pt x="111" y="10"/>
                  </a:lnTo>
                  <a:lnTo>
                    <a:pt x="111" y="10"/>
                  </a:lnTo>
                  <a:lnTo>
                    <a:pt x="111" y="8"/>
                  </a:lnTo>
                  <a:lnTo>
                    <a:pt x="111" y="6"/>
                  </a:lnTo>
                  <a:lnTo>
                    <a:pt x="108" y="6"/>
                  </a:lnTo>
                  <a:lnTo>
                    <a:pt x="106" y="4"/>
                  </a:lnTo>
                  <a:lnTo>
                    <a:pt x="104" y="2"/>
                  </a:lnTo>
                  <a:lnTo>
                    <a:pt x="102" y="2"/>
                  </a:lnTo>
                  <a:lnTo>
                    <a:pt x="100" y="2"/>
                  </a:lnTo>
                  <a:lnTo>
                    <a:pt x="100" y="0"/>
                  </a:lnTo>
                  <a:lnTo>
                    <a:pt x="98" y="2"/>
                  </a:lnTo>
                  <a:lnTo>
                    <a:pt x="98" y="2"/>
                  </a:lnTo>
                  <a:lnTo>
                    <a:pt x="96" y="2"/>
                  </a:lnTo>
                  <a:lnTo>
                    <a:pt x="88" y="4"/>
                  </a:lnTo>
                  <a:lnTo>
                    <a:pt x="86" y="4"/>
                  </a:lnTo>
                  <a:lnTo>
                    <a:pt x="86" y="2"/>
                  </a:lnTo>
                  <a:lnTo>
                    <a:pt x="84" y="2"/>
                  </a:lnTo>
                  <a:lnTo>
                    <a:pt x="82" y="2"/>
                  </a:lnTo>
                  <a:lnTo>
                    <a:pt x="80" y="2"/>
                  </a:lnTo>
                  <a:lnTo>
                    <a:pt x="78" y="2"/>
                  </a:lnTo>
                  <a:lnTo>
                    <a:pt x="72" y="6"/>
                  </a:lnTo>
                  <a:lnTo>
                    <a:pt x="61" y="12"/>
                  </a:lnTo>
                  <a:lnTo>
                    <a:pt x="61" y="12"/>
                  </a:lnTo>
                  <a:lnTo>
                    <a:pt x="61" y="12"/>
                  </a:lnTo>
                  <a:lnTo>
                    <a:pt x="61" y="12"/>
                  </a:lnTo>
                  <a:lnTo>
                    <a:pt x="61" y="14"/>
                  </a:lnTo>
                  <a:lnTo>
                    <a:pt x="59" y="14"/>
                  </a:lnTo>
                  <a:lnTo>
                    <a:pt x="55" y="20"/>
                  </a:lnTo>
                  <a:lnTo>
                    <a:pt x="55" y="22"/>
                  </a:lnTo>
                  <a:lnTo>
                    <a:pt x="53" y="22"/>
                  </a:lnTo>
                  <a:lnTo>
                    <a:pt x="55" y="26"/>
                  </a:lnTo>
                  <a:lnTo>
                    <a:pt x="55" y="28"/>
                  </a:lnTo>
                  <a:lnTo>
                    <a:pt x="57" y="28"/>
                  </a:lnTo>
                  <a:lnTo>
                    <a:pt x="57" y="30"/>
                  </a:lnTo>
                  <a:lnTo>
                    <a:pt x="59" y="30"/>
                  </a:lnTo>
                  <a:lnTo>
                    <a:pt x="61" y="32"/>
                  </a:lnTo>
                  <a:lnTo>
                    <a:pt x="63" y="32"/>
                  </a:lnTo>
                  <a:lnTo>
                    <a:pt x="65" y="34"/>
                  </a:lnTo>
                  <a:lnTo>
                    <a:pt x="68" y="34"/>
                  </a:lnTo>
                  <a:lnTo>
                    <a:pt x="70" y="34"/>
                  </a:lnTo>
                  <a:lnTo>
                    <a:pt x="72" y="36"/>
                  </a:lnTo>
                  <a:lnTo>
                    <a:pt x="76" y="41"/>
                  </a:lnTo>
                  <a:lnTo>
                    <a:pt x="76" y="41"/>
                  </a:lnTo>
                  <a:lnTo>
                    <a:pt x="78" y="41"/>
                  </a:lnTo>
                  <a:lnTo>
                    <a:pt x="80" y="41"/>
                  </a:lnTo>
                  <a:lnTo>
                    <a:pt x="86" y="41"/>
                  </a:lnTo>
                  <a:lnTo>
                    <a:pt x="90" y="43"/>
                  </a:lnTo>
                  <a:lnTo>
                    <a:pt x="94" y="45"/>
                  </a:lnTo>
                  <a:lnTo>
                    <a:pt x="100" y="41"/>
                  </a:lnTo>
                  <a:lnTo>
                    <a:pt x="106" y="34"/>
                  </a:lnTo>
                  <a:lnTo>
                    <a:pt x="106" y="32"/>
                  </a:lnTo>
                  <a:lnTo>
                    <a:pt x="106" y="32"/>
                  </a:lnTo>
                  <a:lnTo>
                    <a:pt x="106" y="32"/>
                  </a:lnTo>
                  <a:lnTo>
                    <a:pt x="108" y="32"/>
                  </a:lnTo>
                  <a:lnTo>
                    <a:pt x="108" y="30"/>
                  </a:lnTo>
                  <a:lnTo>
                    <a:pt x="108" y="28"/>
                  </a:lnTo>
                  <a:lnTo>
                    <a:pt x="108" y="26"/>
                  </a:lnTo>
                  <a:lnTo>
                    <a:pt x="106" y="24"/>
                  </a:lnTo>
                  <a:lnTo>
                    <a:pt x="111" y="18"/>
                  </a:lnTo>
                  <a:lnTo>
                    <a:pt x="113" y="12"/>
                  </a:lnTo>
                  <a:lnTo>
                    <a:pt x="113" y="12"/>
                  </a:lnTo>
                  <a:lnTo>
                    <a:pt x="113" y="10"/>
                  </a:lnTo>
                  <a:close/>
                  <a:moveTo>
                    <a:pt x="18" y="26"/>
                  </a:moveTo>
                  <a:lnTo>
                    <a:pt x="16" y="28"/>
                  </a:lnTo>
                  <a:lnTo>
                    <a:pt x="16" y="28"/>
                  </a:lnTo>
                  <a:lnTo>
                    <a:pt x="12" y="32"/>
                  </a:lnTo>
                  <a:lnTo>
                    <a:pt x="12" y="32"/>
                  </a:lnTo>
                  <a:lnTo>
                    <a:pt x="10" y="34"/>
                  </a:lnTo>
                  <a:lnTo>
                    <a:pt x="10" y="36"/>
                  </a:lnTo>
                  <a:lnTo>
                    <a:pt x="6" y="36"/>
                  </a:lnTo>
                  <a:lnTo>
                    <a:pt x="2" y="43"/>
                  </a:lnTo>
                  <a:lnTo>
                    <a:pt x="0" y="45"/>
                  </a:lnTo>
                  <a:lnTo>
                    <a:pt x="0" y="49"/>
                  </a:lnTo>
                  <a:lnTo>
                    <a:pt x="0" y="51"/>
                  </a:lnTo>
                  <a:lnTo>
                    <a:pt x="4" y="53"/>
                  </a:lnTo>
                  <a:lnTo>
                    <a:pt x="4" y="53"/>
                  </a:lnTo>
                  <a:lnTo>
                    <a:pt x="6" y="53"/>
                  </a:lnTo>
                  <a:lnTo>
                    <a:pt x="6" y="51"/>
                  </a:lnTo>
                  <a:lnTo>
                    <a:pt x="8" y="49"/>
                  </a:lnTo>
                  <a:lnTo>
                    <a:pt x="8" y="47"/>
                  </a:lnTo>
                  <a:lnTo>
                    <a:pt x="12" y="43"/>
                  </a:lnTo>
                  <a:lnTo>
                    <a:pt x="12" y="43"/>
                  </a:lnTo>
                  <a:lnTo>
                    <a:pt x="16" y="43"/>
                  </a:lnTo>
                  <a:lnTo>
                    <a:pt x="16" y="41"/>
                  </a:lnTo>
                  <a:lnTo>
                    <a:pt x="18" y="41"/>
                  </a:lnTo>
                  <a:lnTo>
                    <a:pt x="20" y="38"/>
                  </a:lnTo>
                  <a:lnTo>
                    <a:pt x="20" y="36"/>
                  </a:lnTo>
                  <a:lnTo>
                    <a:pt x="20" y="32"/>
                  </a:lnTo>
                  <a:lnTo>
                    <a:pt x="22" y="30"/>
                  </a:lnTo>
                  <a:lnTo>
                    <a:pt x="25" y="28"/>
                  </a:lnTo>
                  <a:lnTo>
                    <a:pt x="22" y="26"/>
                  </a:lnTo>
                  <a:lnTo>
                    <a:pt x="18" y="26"/>
                  </a:lnTo>
                  <a:close/>
                  <a:moveTo>
                    <a:pt x="301" y="104"/>
                  </a:moveTo>
                  <a:lnTo>
                    <a:pt x="301" y="102"/>
                  </a:lnTo>
                  <a:lnTo>
                    <a:pt x="301" y="100"/>
                  </a:lnTo>
                  <a:lnTo>
                    <a:pt x="301" y="98"/>
                  </a:lnTo>
                  <a:lnTo>
                    <a:pt x="299" y="98"/>
                  </a:lnTo>
                  <a:lnTo>
                    <a:pt x="297" y="98"/>
                  </a:lnTo>
                  <a:lnTo>
                    <a:pt x="297" y="96"/>
                  </a:lnTo>
                  <a:lnTo>
                    <a:pt x="297" y="94"/>
                  </a:lnTo>
                  <a:lnTo>
                    <a:pt x="299" y="92"/>
                  </a:lnTo>
                  <a:lnTo>
                    <a:pt x="293" y="92"/>
                  </a:lnTo>
                  <a:lnTo>
                    <a:pt x="291" y="92"/>
                  </a:lnTo>
                  <a:lnTo>
                    <a:pt x="295" y="96"/>
                  </a:lnTo>
                  <a:lnTo>
                    <a:pt x="293" y="96"/>
                  </a:lnTo>
                  <a:lnTo>
                    <a:pt x="291" y="96"/>
                  </a:lnTo>
                  <a:lnTo>
                    <a:pt x="291" y="96"/>
                  </a:lnTo>
                  <a:lnTo>
                    <a:pt x="291" y="96"/>
                  </a:lnTo>
                  <a:lnTo>
                    <a:pt x="287" y="92"/>
                  </a:lnTo>
                  <a:lnTo>
                    <a:pt x="285" y="92"/>
                  </a:lnTo>
                  <a:lnTo>
                    <a:pt x="285" y="90"/>
                  </a:lnTo>
                  <a:lnTo>
                    <a:pt x="283" y="86"/>
                  </a:lnTo>
                  <a:lnTo>
                    <a:pt x="283" y="86"/>
                  </a:lnTo>
                  <a:lnTo>
                    <a:pt x="283" y="86"/>
                  </a:lnTo>
                  <a:lnTo>
                    <a:pt x="285" y="86"/>
                  </a:lnTo>
                  <a:lnTo>
                    <a:pt x="285" y="84"/>
                  </a:lnTo>
                  <a:lnTo>
                    <a:pt x="285" y="82"/>
                  </a:lnTo>
                  <a:lnTo>
                    <a:pt x="283" y="82"/>
                  </a:lnTo>
                  <a:lnTo>
                    <a:pt x="281" y="79"/>
                  </a:lnTo>
                  <a:lnTo>
                    <a:pt x="278" y="75"/>
                  </a:lnTo>
                  <a:lnTo>
                    <a:pt x="276" y="73"/>
                  </a:lnTo>
                  <a:lnTo>
                    <a:pt x="276" y="71"/>
                  </a:lnTo>
                  <a:lnTo>
                    <a:pt x="274" y="69"/>
                  </a:lnTo>
                  <a:lnTo>
                    <a:pt x="272" y="67"/>
                  </a:lnTo>
                  <a:lnTo>
                    <a:pt x="272" y="65"/>
                  </a:lnTo>
                  <a:lnTo>
                    <a:pt x="270" y="65"/>
                  </a:lnTo>
                  <a:lnTo>
                    <a:pt x="268" y="63"/>
                  </a:lnTo>
                  <a:lnTo>
                    <a:pt x="268" y="63"/>
                  </a:lnTo>
                  <a:lnTo>
                    <a:pt x="268" y="63"/>
                  </a:lnTo>
                  <a:lnTo>
                    <a:pt x="268" y="63"/>
                  </a:lnTo>
                  <a:lnTo>
                    <a:pt x="262" y="65"/>
                  </a:lnTo>
                  <a:lnTo>
                    <a:pt x="260" y="67"/>
                  </a:lnTo>
                  <a:lnTo>
                    <a:pt x="258" y="69"/>
                  </a:lnTo>
                  <a:lnTo>
                    <a:pt x="258" y="71"/>
                  </a:lnTo>
                  <a:lnTo>
                    <a:pt x="256" y="71"/>
                  </a:lnTo>
                  <a:lnTo>
                    <a:pt x="256" y="71"/>
                  </a:lnTo>
                  <a:lnTo>
                    <a:pt x="252" y="73"/>
                  </a:lnTo>
                  <a:lnTo>
                    <a:pt x="252" y="75"/>
                  </a:lnTo>
                  <a:lnTo>
                    <a:pt x="252" y="75"/>
                  </a:lnTo>
                  <a:lnTo>
                    <a:pt x="252" y="77"/>
                  </a:lnTo>
                  <a:lnTo>
                    <a:pt x="250" y="77"/>
                  </a:lnTo>
                  <a:lnTo>
                    <a:pt x="248" y="77"/>
                  </a:lnTo>
                  <a:lnTo>
                    <a:pt x="246" y="77"/>
                  </a:lnTo>
                  <a:lnTo>
                    <a:pt x="240" y="75"/>
                  </a:lnTo>
                  <a:lnTo>
                    <a:pt x="238" y="77"/>
                  </a:lnTo>
                  <a:lnTo>
                    <a:pt x="235" y="77"/>
                  </a:lnTo>
                  <a:lnTo>
                    <a:pt x="233" y="79"/>
                  </a:lnTo>
                  <a:lnTo>
                    <a:pt x="238" y="84"/>
                  </a:lnTo>
                  <a:lnTo>
                    <a:pt x="238" y="86"/>
                  </a:lnTo>
                  <a:lnTo>
                    <a:pt x="235" y="88"/>
                  </a:lnTo>
                  <a:lnTo>
                    <a:pt x="238" y="90"/>
                  </a:lnTo>
                  <a:lnTo>
                    <a:pt x="240" y="92"/>
                  </a:lnTo>
                  <a:lnTo>
                    <a:pt x="242" y="92"/>
                  </a:lnTo>
                  <a:lnTo>
                    <a:pt x="242" y="94"/>
                  </a:lnTo>
                  <a:lnTo>
                    <a:pt x="244" y="98"/>
                  </a:lnTo>
                  <a:lnTo>
                    <a:pt x="246" y="100"/>
                  </a:lnTo>
                  <a:lnTo>
                    <a:pt x="248" y="102"/>
                  </a:lnTo>
                  <a:lnTo>
                    <a:pt x="250" y="102"/>
                  </a:lnTo>
                  <a:lnTo>
                    <a:pt x="250" y="102"/>
                  </a:lnTo>
                  <a:lnTo>
                    <a:pt x="250" y="104"/>
                  </a:lnTo>
                  <a:lnTo>
                    <a:pt x="252" y="112"/>
                  </a:lnTo>
                  <a:lnTo>
                    <a:pt x="254" y="112"/>
                  </a:lnTo>
                  <a:lnTo>
                    <a:pt x="254" y="112"/>
                  </a:lnTo>
                  <a:lnTo>
                    <a:pt x="254" y="112"/>
                  </a:lnTo>
                  <a:lnTo>
                    <a:pt x="256" y="112"/>
                  </a:lnTo>
                  <a:lnTo>
                    <a:pt x="258" y="110"/>
                  </a:lnTo>
                  <a:lnTo>
                    <a:pt x="262" y="110"/>
                  </a:lnTo>
                  <a:lnTo>
                    <a:pt x="266" y="110"/>
                  </a:lnTo>
                  <a:lnTo>
                    <a:pt x="268" y="110"/>
                  </a:lnTo>
                  <a:lnTo>
                    <a:pt x="268" y="106"/>
                  </a:lnTo>
                  <a:lnTo>
                    <a:pt x="266" y="106"/>
                  </a:lnTo>
                  <a:lnTo>
                    <a:pt x="264" y="104"/>
                  </a:lnTo>
                  <a:lnTo>
                    <a:pt x="262" y="102"/>
                  </a:lnTo>
                  <a:lnTo>
                    <a:pt x="264" y="102"/>
                  </a:lnTo>
                  <a:lnTo>
                    <a:pt x="266" y="104"/>
                  </a:lnTo>
                  <a:lnTo>
                    <a:pt x="268" y="104"/>
                  </a:lnTo>
                  <a:lnTo>
                    <a:pt x="266" y="100"/>
                  </a:lnTo>
                  <a:lnTo>
                    <a:pt x="268" y="102"/>
                  </a:lnTo>
                  <a:lnTo>
                    <a:pt x="270" y="102"/>
                  </a:lnTo>
                  <a:lnTo>
                    <a:pt x="270" y="100"/>
                  </a:lnTo>
                  <a:lnTo>
                    <a:pt x="270" y="100"/>
                  </a:lnTo>
                  <a:lnTo>
                    <a:pt x="272" y="102"/>
                  </a:lnTo>
                  <a:lnTo>
                    <a:pt x="272" y="102"/>
                  </a:lnTo>
                  <a:lnTo>
                    <a:pt x="272" y="104"/>
                  </a:lnTo>
                  <a:lnTo>
                    <a:pt x="272" y="104"/>
                  </a:lnTo>
                  <a:lnTo>
                    <a:pt x="270" y="104"/>
                  </a:lnTo>
                  <a:lnTo>
                    <a:pt x="270" y="106"/>
                  </a:lnTo>
                  <a:lnTo>
                    <a:pt x="270" y="108"/>
                  </a:lnTo>
                  <a:lnTo>
                    <a:pt x="272" y="108"/>
                  </a:lnTo>
                  <a:lnTo>
                    <a:pt x="274" y="108"/>
                  </a:lnTo>
                  <a:lnTo>
                    <a:pt x="276" y="106"/>
                  </a:lnTo>
                  <a:lnTo>
                    <a:pt x="278" y="108"/>
                  </a:lnTo>
                  <a:lnTo>
                    <a:pt x="281" y="108"/>
                  </a:lnTo>
                  <a:lnTo>
                    <a:pt x="281" y="110"/>
                  </a:lnTo>
                  <a:lnTo>
                    <a:pt x="281" y="110"/>
                  </a:lnTo>
                  <a:lnTo>
                    <a:pt x="283" y="112"/>
                  </a:lnTo>
                  <a:lnTo>
                    <a:pt x="285" y="114"/>
                  </a:lnTo>
                  <a:lnTo>
                    <a:pt x="287" y="114"/>
                  </a:lnTo>
                  <a:lnTo>
                    <a:pt x="289" y="116"/>
                  </a:lnTo>
                  <a:lnTo>
                    <a:pt x="291" y="116"/>
                  </a:lnTo>
                  <a:lnTo>
                    <a:pt x="293" y="114"/>
                  </a:lnTo>
                  <a:lnTo>
                    <a:pt x="295" y="114"/>
                  </a:lnTo>
                  <a:lnTo>
                    <a:pt x="299" y="112"/>
                  </a:lnTo>
                  <a:lnTo>
                    <a:pt x="301" y="116"/>
                  </a:lnTo>
                  <a:lnTo>
                    <a:pt x="301" y="114"/>
                  </a:lnTo>
                  <a:lnTo>
                    <a:pt x="307" y="110"/>
                  </a:lnTo>
                  <a:lnTo>
                    <a:pt x="307" y="108"/>
                  </a:lnTo>
                  <a:lnTo>
                    <a:pt x="301" y="104"/>
                  </a:lnTo>
                  <a:close/>
                  <a:moveTo>
                    <a:pt x="403" y="161"/>
                  </a:moveTo>
                  <a:lnTo>
                    <a:pt x="401" y="161"/>
                  </a:lnTo>
                  <a:lnTo>
                    <a:pt x="399" y="161"/>
                  </a:lnTo>
                  <a:lnTo>
                    <a:pt x="393" y="155"/>
                  </a:lnTo>
                  <a:lnTo>
                    <a:pt x="381" y="155"/>
                  </a:lnTo>
                  <a:lnTo>
                    <a:pt x="377" y="157"/>
                  </a:lnTo>
                  <a:lnTo>
                    <a:pt x="379" y="161"/>
                  </a:lnTo>
                  <a:lnTo>
                    <a:pt x="383" y="164"/>
                  </a:lnTo>
                  <a:lnTo>
                    <a:pt x="385" y="166"/>
                  </a:lnTo>
                  <a:lnTo>
                    <a:pt x="385" y="168"/>
                  </a:lnTo>
                  <a:lnTo>
                    <a:pt x="385" y="170"/>
                  </a:lnTo>
                  <a:lnTo>
                    <a:pt x="385" y="174"/>
                  </a:lnTo>
                  <a:lnTo>
                    <a:pt x="387" y="176"/>
                  </a:lnTo>
                  <a:lnTo>
                    <a:pt x="389" y="178"/>
                  </a:lnTo>
                  <a:lnTo>
                    <a:pt x="393" y="178"/>
                  </a:lnTo>
                  <a:lnTo>
                    <a:pt x="399" y="176"/>
                  </a:lnTo>
                  <a:lnTo>
                    <a:pt x="403" y="174"/>
                  </a:lnTo>
                  <a:lnTo>
                    <a:pt x="405" y="170"/>
                  </a:lnTo>
                  <a:lnTo>
                    <a:pt x="407" y="168"/>
                  </a:lnTo>
                  <a:lnTo>
                    <a:pt x="407" y="166"/>
                  </a:lnTo>
                  <a:lnTo>
                    <a:pt x="405" y="166"/>
                  </a:lnTo>
                  <a:lnTo>
                    <a:pt x="403" y="161"/>
                  </a:lnTo>
                  <a:close/>
                </a:path>
              </a:pathLst>
            </a:custGeom>
            <a:solidFill>
              <a:schemeClr val="accent1"/>
            </a:solidFill>
            <a:ln w="3175" cap="flat">
              <a:solidFill>
                <a:schemeClr val="bg1"/>
              </a:solidFill>
              <a:prstDash val="solid"/>
              <a:miter lim="800000"/>
              <a:headEnd/>
              <a:tailEnd/>
            </a:ln>
          </p:spPr>
          <p:txBody>
            <a:bodyPr vert="horz" wrap="square" lIns="0" tIns="0" rIns="72000" bIns="72000" numCol="1" anchor="b"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HI</a:t>
              </a:r>
            </a:p>
          </p:txBody>
        </p:sp>
        <p:sp>
          <p:nvSpPr>
            <p:cNvPr id="334" name="Freeform 45">
              <a:extLst>
                <a:ext uri="{FF2B5EF4-FFF2-40B4-BE49-F238E27FC236}">
                  <a16:creationId xmlns:a16="http://schemas.microsoft.com/office/drawing/2014/main" id="{35AF8F4B-D6CE-DD99-E778-56A1EBDB40B1}"/>
                </a:ext>
              </a:extLst>
            </p:cNvPr>
            <p:cNvSpPr>
              <a:spLocks noEditPoints="1"/>
            </p:cNvSpPr>
            <p:nvPr/>
          </p:nvSpPr>
          <p:spPr bwMode="auto">
            <a:xfrm>
              <a:off x="4002" y="1545"/>
              <a:ext cx="475" cy="480"/>
            </a:xfrm>
            <a:custGeom>
              <a:avLst/>
              <a:gdLst>
                <a:gd name="T0" fmla="*/ 437 w 475"/>
                <a:gd name="T1" fmla="*/ 416 h 480"/>
                <a:gd name="T2" fmla="*/ 471 w 475"/>
                <a:gd name="T3" fmla="*/ 283 h 480"/>
                <a:gd name="T4" fmla="*/ 451 w 475"/>
                <a:gd name="T5" fmla="*/ 281 h 480"/>
                <a:gd name="T6" fmla="*/ 443 w 475"/>
                <a:gd name="T7" fmla="*/ 269 h 480"/>
                <a:gd name="T8" fmla="*/ 434 w 475"/>
                <a:gd name="T9" fmla="*/ 246 h 480"/>
                <a:gd name="T10" fmla="*/ 424 w 475"/>
                <a:gd name="T11" fmla="*/ 234 h 480"/>
                <a:gd name="T12" fmla="*/ 412 w 475"/>
                <a:gd name="T13" fmla="*/ 222 h 480"/>
                <a:gd name="T14" fmla="*/ 408 w 475"/>
                <a:gd name="T15" fmla="*/ 209 h 480"/>
                <a:gd name="T16" fmla="*/ 389 w 475"/>
                <a:gd name="T17" fmla="*/ 185 h 480"/>
                <a:gd name="T18" fmla="*/ 363 w 475"/>
                <a:gd name="T19" fmla="*/ 166 h 480"/>
                <a:gd name="T20" fmla="*/ 353 w 475"/>
                <a:gd name="T21" fmla="*/ 158 h 480"/>
                <a:gd name="T22" fmla="*/ 340 w 475"/>
                <a:gd name="T23" fmla="*/ 138 h 480"/>
                <a:gd name="T24" fmla="*/ 310 w 475"/>
                <a:gd name="T25" fmla="*/ 115 h 480"/>
                <a:gd name="T26" fmla="*/ 283 w 475"/>
                <a:gd name="T27" fmla="*/ 97 h 480"/>
                <a:gd name="T28" fmla="*/ 267 w 475"/>
                <a:gd name="T29" fmla="*/ 82 h 480"/>
                <a:gd name="T30" fmla="*/ 232 w 475"/>
                <a:gd name="T31" fmla="*/ 51 h 480"/>
                <a:gd name="T32" fmla="*/ 203 w 475"/>
                <a:gd name="T33" fmla="*/ 29 h 480"/>
                <a:gd name="T34" fmla="*/ 211 w 475"/>
                <a:gd name="T35" fmla="*/ 13 h 480"/>
                <a:gd name="T36" fmla="*/ 207 w 475"/>
                <a:gd name="T37" fmla="*/ 2 h 480"/>
                <a:gd name="T38" fmla="*/ 121 w 475"/>
                <a:gd name="T39" fmla="*/ 17 h 480"/>
                <a:gd name="T40" fmla="*/ 23 w 475"/>
                <a:gd name="T41" fmla="*/ 29 h 480"/>
                <a:gd name="T42" fmla="*/ 15 w 475"/>
                <a:gd name="T43" fmla="*/ 80 h 480"/>
                <a:gd name="T44" fmla="*/ 49 w 475"/>
                <a:gd name="T45" fmla="*/ 193 h 480"/>
                <a:gd name="T46" fmla="*/ 66 w 475"/>
                <a:gd name="T47" fmla="*/ 246 h 480"/>
                <a:gd name="T48" fmla="*/ 76 w 475"/>
                <a:gd name="T49" fmla="*/ 267 h 480"/>
                <a:gd name="T50" fmla="*/ 92 w 475"/>
                <a:gd name="T51" fmla="*/ 293 h 480"/>
                <a:gd name="T52" fmla="*/ 94 w 475"/>
                <a:gd name="T53" fmla="*/ 308 h 480"/>
                <a:gd name="T54" fmla="*/ 101 w 475"/>
                <a:gd name="T55" fmla="*/ 316 h 480"/>
                <a:gd name="T56" fmla="*/ 94 w 475"/>
                <a:gd name="T57" fmla="*/ 326 h 480"/>
                <a:gd name="T58" fmla="*/ 92 w 475"/>
                <a:gd name="T59" fmla="*/ 347 h 480"/>
                <a:gd name="T60" fmla="*/ 99 w 475"/>
                <a:gd name="T61" fmla="*/ 386 h 480"/>
                <a:gd name="T62" fmla="*/ 101 w 475"/>
                <a:gd name="T63" fmla="*/ 412 h 480"/>
                <a:gd name="T64" fmla="*/ 107 w 475"/>
                <a:gd name="T65" fmla="*/ 439 h 480"/>
                <a:gd name="T66" fmla="*/ 115 w 475"/>
                <a:gd name="T67" fmla="*/ 455 h 480"/>
                <a:gd name="T68" fmla="*/ 135 w 475"/>
                <a:gd name="T69" fmla="*/ 480 h 480"/>
                <a:gd name="T70" fmla="*/ 219 w 475"/>
                <a:gd name="T71" fmla="*/ 474 h 480"/>
                <a:gd name="T72" fmla="*/ 336 w 475"/>
                <a:gd name="T73" fmla="*/ 463 h 480"/>
                <a:gd name="T74" fmla="*/ 373 w 475"/>
                <a:gd name="T75" fmla="*/ 463 h 480"/>
                <a:gd name="T76" fmla="*/ 377 w 475"/>
                <a:gd name="T77" fmla="*/ 474 h 480"/>
                <a:gd name="T78" fmla="*/ 389 w 475"/>
                <a:gd name="T79" fmla="*/ 480 h 480"/>
                <a:gd name="T80" fmla="*/ 394 w 475"/>
                <a:gd name="T81" fmla="*/ 457 h 480"/>
                <a:gd name="T82" fmla="*/ 389 w 475"/>
                <a:gd name="T83" fmla="*/ 443 h 480"/>
                <a:gd name="T84" fmla="*/ 391 w 475"/>
                <a:gd name="T85" fmla="*/ 433 h 480"/>
                <a:gd name="T86" fmla="*/ 396 w 475"/>
                <a:gd name="T87" fmla="*/ 429 h 480"/>
                <a:gd name="T88" fmla="*/ 414 w 475"/>
                <a:gd name="T89" fmla="*/ 433 h 480"/>
                <a:gd name="T90" fmla="*/ 432 w 475"/>
                <a:gd name="T91" fmla="*/ 435 h 480"/>
                <a:gd name="T92" fmla="*/ 434 w 475"/>
                <a:gd name="T93" fmla="*/ 420 h 480"/>
                <a:gd name="T94" fmla="*/ 434 w 475"/>
                <a:gd name="T95" fmla="*/ 414 h 480"/>
                <a:gd name="T96" fmla="*/ 437 w 475"/>
                <a:gd name="T97" fmla="*/ 398 h 480"/>
                <a:gd name="T98" fmla="*/ 439 w 475"/>
                <a:gd name="T99" fmla="*/ 394 h 480"/>
                <a:gd name="T100" fmla="*/ 437 w 475"/>
                <a:gd name="T101" fmla="*/ 377 h 480"/>
                <a:gd name="T102" fmla="*/ 449 w 475"/>
                <a:gd name="T103" fmla="*/ 369 h 480"/>
                <a:gd name="T104" fmla="*/ 443 w 475"/>
                <a:gd name="T105" fmla="*/ 365 h 480"/>
                <a:gd name="T106" fmla="*/ 443 w 475"/>
                <a:gd name="T107" fmla="*/ 355 h 480"/>
                <a:gd name="T108" fmla="*/ 451 w 475"/>
                <a:gd name="T109" fmla="*/ 340 h 480"/>
                <a:gd name="T110" fmla="*/ 439 w 475"/>
                <a:gd name="T111" fmla="*/ 340 h 480"/>
                <a:gd name="T112" fmla="*/ 449 w 475"/>
                <a:gd name="T113" fmla="*/ 330 h 480"/>
                <a:gd name="T114" fmla="*/ 451 w 475"/>
                <a:gd name="T115" fmla="*/ 324 h 480"/>
                <a:gd name="T116" fmla="*/ 443 w 475"/>
                <a:gd name="T117" fmla="*/ 318 h 480"/>
                <a:gd name="T118" fmla="*/ 459 w 475"/>
                <a:gd name="T119" fmla="*/ 308 h 480"/>
                <a:gd name="T120" fmla="*/ 455 w 475"/>
                <a:gd name="T121" fmla="*/ 302 h 480"/>
                <a:gd name="T122" fmla="*/ 465 w 475"/>
                <a:gd name="T123" fmla="*/ 291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5" h="480">
                  <a:moveTo>
                    <a:pt x="441" y="424"/>
                  </a:moveTo>
                  <a:lnTo>
                    <a:pt x="441" y="424"/>
                  </a:lnTo>
                  <a:lnTo>
                    <a:pt x="443" y="420"/>
                  </a:lnTo>
                  <a:lnTo>
                    <a:pt x="443" y="416"/>
                  </a:lnTo>
                  <a:lnTo>
                    <a:pt x="443" y="412"/>
                  </a:lnTo>
                  <a:lnTo>
                    <a:pt x="443" y="410"/>
                  </a:lnTo>
                  <a:lnTo>
                    <a:pt x="443" y="406"/>
                  </a:lnTo>
                  <a:lnTo>
                    <a:pt x="441" y="404"/>
                  </a:lnTo>
                  <a:lnTo>
                    <a:pt x="441" y="404"/>
                  </a:lnTo>
                  <a:lnTo>
                    <a:pt x="441" y="408"/>
                  </a:lnTo>
                  <a:lnTo>
                    <a:pt x="437" y="412"/>
                  </a:lnTo>
                  <a:lnTo>
                    <a:pt x="437" y="416"/>
                  </a:lnTo>
                  <a:lnTo>
                    <a:pt x="437" y="416"/>
                  </a:lnTo>
                  <a:lnTo>
                    <a:pt x="439" y="418"/>
                  </a:lnTo>
                  <a:lnTo>
                    <a:pt x="439" y="420"/>
                  </a:lnTo>
                  <a:lnTo>
                    <a:pt x="439" y="420"/>
                  </a:lnTo>
                  <a:lnTo>
                    <a:pt x="439" y="422"/>
                  </a:lnTo>
                  <a:lnTo>
                    <a:pt x="441" y="431"/>
                  </a:lnTo>
                  <a:lnTo>
                    <a:pt x="443" y="431"/>
                  </a:lnTo>
                  <a:lnTo>
                    <a:pt x="443" y="431"/>
                  </a:lnTo>
                  <a:lnTo>
                    <a:pt x="443" y="429"/>
                  </a:lnTo>
                  <a:lnTo>
                    <a:pt x="441" y="424"/>
                  </a:lnTo>
                  <a:close/>
                  <a:moveTo>
                    <a:pt x="473" y="283"/>
                  </a:moveTo>
                  <a:lnTo>
                    <a:pt x="471" y="283"/>
                  </a:lnTo>
                  <a:lnTo>
                    <a:pt x="471" y="283"/>
                  </a:lnTo>
                  <a:lnTo>
                    <a:pt x="469" y="283"/>
                  </a:lnTo>
                  <a:lnTo>
                    <a:pt x="469" y="283"/>
                  </a:lnTo>
                  <a:lnTo>
                    <a:pt x="469" y="283"/>
                  </a:lnTo>
                  <a:lnTo>
                    <a:pt x="467" y="283"/>
                  </a:lnTo>
                  <a:lnTo>
                    <a:pt x="465" y="283"/>
                  </a:lnTo>
                  <a:lnTo>
                    <a:pt x="465" y="283"/>
                  </a:lnTo>
                  <a:lnTo>
                    <a:pt x="463" y="281"/>
                  </a:lnTo>
                  <a:lnTo>
                    <a:pt x="463" y="281"/>
                  </a:lnTo>
                  <a:lnTo>
                    <a:pt x="459" y="279"/>
                  </a:lnTo>
                  <a:lnTo>
                    <a:pt x="457" y="279"/>
                  </a:lnTo>
                  <a:lnTo>
                    <a:pt x="451" y="281"/>
                  </a:lnTo>
                  <a:lnTo>
                    <a:pt x="451" y="281"/>
                  </a:lnTo>
                  <a:lnTo>
                    <a:pt x="449" y="277"/>
                  </a:lnTo>
                  <a:lnTo>
                    <a:pt x="447" y="277"/>
                  </a:lnTo>
                  <a:lnTo>
                    <a:pt x="447" y="277"/>
                  </a:lnTo>
                  <a:lnTo>
                    <a:pt x="447" y="277"/>
                  </a:lnTo>
                  <a:lnTo>
                    <a:pt x="445" y="275"/>
                  </a:lnTo>
                  <a:lnTo>
                    <a:pt x="445" y="275"/>
                  </a:lnTo>
                  <a:lnTo>
                    <a:pt x="445" y="275"/>
                  </a:lnTo>
                  <a:lnTo>
                    <a:pt x="445" y="275"/>
                  </a:lnTo>
                  <a:lnTo>
                    <a:pt x="443" y="271"/>
                  </a:lnTo>
                  <a:lnTo>
                    <a:pt x="443" y="271"/>
                  </a:lnTo>
                  <a:lnTo>
                    <a:pt x="443" y="269"/>
                  </a:lnTo>
                  <a:lnTo>
                    <a:pt x="443" y="267"/>
                  </a:lnTo>
                  <a:lnTo>
                    <a:pt x="443" y="267"/>
                  </a:lnTo>
                  <a:lnTo>
                    <a:pt x="443" y="265"/>
                  </a:lnTo>
                  <a:lnTo>
                    <a:pt x="443" y="263"/>
                  </a:lnTo>
                  <a:lnTo>
                    <a:pt x="443" y="263"/>
                  </a:lnTo>
                  <a:lnTo>
                    <a:pt x="443" y="261"/>
                  </a:lnTo>
                  <a:lnTo>
                    <a:pt x="443" y="258"/>
                  </a:lnTo>
                  <a:lnTo>
                    <a:pt x="443" y="256"/>
                  </a:lnTo>
                  <a:lnTo>
                    <a:pt x="443" y="254"/>
                  </a:lnTo>
                  <a:lnTo>
                    <a:pt x="441" y="254"/>
                  </a:lnTo>
                  <a:lnTo>
                    <a:pt x="439" y="254"/>
                  </a:lnTo>
                  <a:lnTo>
                    <a:pt x="434" y="246"/>
                  </a:lnTo>
                  <a:lnTo>
                    <a:pt x="434" y="242"/>
                  </a:lnTo>
                  <a:lnTo>
                    <a:pt x="434" y="240"/>
                  </a:lnTo>
                  <a:lnTo>
                    <a:pt x="432" y="240"/>
                  </a:lnTo>
                  <a:lnTo>
                    <a:pt x="430" y="240"/>
                  </a:lnTo>
                  <a:lnTo>
                    <a:pt x="430" y="238"/>
                  </a:lnTo>
                  <a:lnTo>
                    <a:pt x="430" y="238"/>
                  </a:lnTo>
                  <a:lnTo>
                    <a:pt x="428" y="236"/>
                  </a:lnTo>
                  <a:lnTo>
                    <a:pt x="428" y="236"/>
                  </a:lnTo>
                  <a:lnTo>
                    <a:pt x="426" y="236"/>
                  </a:lnTo>
                  <a:lnTo>
                    <a:pt x="426" y="236"/>
                  </a:lnTo>
                  <a:lnTo>
                    <a:pt x="426" y="236"/>
                  </a:lnTo>
                  <a:lnTo>
                    <a:pt x="424" y="234"/>
                  </a:lnTo>
                  <a:lnTo>
                    <a:pt x="424" y="234"/>
                  </a:lnTo>
                  <a:lnTo>
                    <a:pt x="422" y="232"/>
                  </a:lnTo>
                  <a:lnTo>
                    <a:pt x="422" y="232"/>
                  </a:lnTo>
                  <a:lnTo>
                    <a:pt x="418" y="232"/>
                  </a:lnTo>
                  <a:lnTo>
                    <a:pt x="416" y="232"/>
                  </a:lnTo>
                  <a:lnTo>
                    <a:pt x="416" y="232"/>
                  </a:lnTo>
                  <a:lnTo>
                    <a:pt x="414" y="230"/>
                  </a:lnTo>
                  <a:lnTo>
                    <a:pt x="412" y="228"/>
                  </a:lnTo>
                  <a:lnTo>
                    <a:pt x="412" y="228"/>
                  </a:lnTo>
                  <a:lnTo>
                    <a:pt x="412" y="226"/>
                  </a:lnTo>
                  <a:lnTo>
                    <a:pt x="412" y="224"/>
                  </a:lnTo>
                  <a:lnTo>
                    <a:pt x="412" y="222"/>
                  </a:lnTo>
                  <a:lnTo>
                    <a:pt x="412" y="222"/>
                  </a:lnTo>
                  <a:lnTo>
                    <a:pt x="412" y="222"/>
                  </a:lnTo>
                  <a:lnTo>
                    <a:pt x="410" y="222"/>
                  </a:lnTo>
                  <a:lnTo>
                    <a:pt x="410" y="220"/>
                  </a:lnTo>
                  <a:lnTo>
                    <a:pt x="410" y="220"/>
                  </a:lnTo>
                  <a:lnTo>
                    <a:pt x="410" y="217"/>
                  </a:lnTo>
                  <a:lnTo>
                    <a:pt x="410" y="217"/>
                  </a:lnTo>
                  <a:lnTo>
                    <a:pt x="410" y="215"/>
                  </a:lnTo>
                  <a:lnTo>
                    <a:pt x="410" y="213"/>
                  </a:lnTo>
                  <a:lnTo>
                    <a:pt x="408" y="213"/>
                  </a:lnTo>
                  <a:lnTo>
                    <a:pt x="408" y="211"/>
                  </a:lnTo>
                  <a:lnTo>
                    <a:pt x="408" y="209"/>
                  </a:lnTo>
                  <a:lnTo>
                    <a:pt x="408" y="207"/>
                  </a:lnTo>
                  <a:lnTo>
                    <a:pt x="406" y="205"/>
                  </a:lnTo>
                  <a:lnTo>
                    <a:pt x="400" y="197"/>
                  </a:lnTo>
                  <a:lnTo>
                    <a:pt x="398" y="197"/>
                  </a:lnTo>
                  <a:lnTo>
                    <a:pt x="398" y="195"/>
                  </a:lnTo>
                  <a:lnTo>
                    <a:pt x="398" y="191"/>
                  </a:lnTo>
                  <a:lnTo>
                    <a:pt x="398" y="189"/>
                  </a:lnTo>
                  <a:lnTo>
                    <a:pt x="396" y="187"/>
                  </a:lnTo>
                  <a:lnTo>
                    <a:pt x="396" y="187"/>
                  </a:lnTo>
                  <a:lnTo>
                    <a:pt x="394" y="185"/>
                  </a:lnTo>
                  <a:lnTo>
                    <a:pt x="391" y="185"/>
                  </a:lnTo>
                  <a:lnTo>
                    <a:pt x="389" y="185"/>
                  </a:lnTo>
                  <a:lnTo>
                    <a:pt x="387" y="183"/>
                  </a:lnTo>
                  <a:lnTo>
                    <a:pt x="383" y="181"/>
                  </a:lnTo>
                  <a:lnTo>
                    <a:pt x="375" y="179"/>
                  </a:lnTo>
                  <a:lnTo>
                    <a:pt x="371" y="176"/>
                  </a:lnTo>
                  <a:lnTo>
                    <a:pt x="371" y="176"/>
                  </a:lnTo>
                  <a:lnTo>
                    <a:pt x="369" y="172"/>
                  </a:lnTo>
                  <a:lnTo>
                    <a:pt x="369" y="170"/>
                  </a:lnTo>
                  <a:lnTo>
                    <a:pt x="367" y="170"/>
                  </a:lnTo>
                  <a:lnTo>
                    <a:pt x="365" y="170"/>
                  </a:lnTo>
                  <a:lnTo>
                    <a:pt x="363" y="170"/>
                  </a:lnTo>
                  <a:lnTo>
                    <a:pt x="361" y="168"/>
                  </a:lnTo>
                  <a:lnTo>
                    <a:pt x="363" y="166"/>
                  </a:lnTo>
                  <a:lnTo>
                    <a:pt x="363" y="166"/>
                  </a:lnTo>
                  <a:lnTo>
                    <a:pt x="363" y="164"/>
                  </a:lnTo>
                  <a:lnTo>
                    <a:pt x="361" y="164"/>
                  </a:lnTo>
                  <a:lnTo>
                    <a:pt x="361" y="162"/>
                  </a:lnTo>
                  <a:lnTo>
                    <a:pt x="361" y="162"/>
                  </a:lnTo>
                  <a:lnTo>
                    <a:pt x="361" y="162"/>
                  </a:lnTo>
                  <a:lnTo>
                    <a:pt x="359" y="160"/>
                  </a:lnTo>
                  <a:lnTo>
                    <a:pt x="359" y="162"/>
                  </a:lnTo>
                  <a:lnTo>
                    <a:pt x="359" y="162"/>
                  </a:lnTo>
                  <a:lnTo>
                    <a:pt x="359" y="162"/>
                  </a:lnTo>
                  <a:lnTo>
                    <a:pt x="357" y="162"/>
                  </a:lnTo>
                  <a:lnTo>
                    <a:pt x="353" y="158"/>
                  </a:lnTo>
                  <a:lnTo>
                    <a:pt x="353" y="156"/>
                  </a:lnTo>
                  <a:lnTo>
                    <a:pt x="353" y="156"/>
                  </a:lnTo>
                  <a:lnTo>
                    <a:pt x="350" y="154"/>
                  </a:lnTo>
                  <a:lnTo>
                    <a:pt x="350" y="152"/>
                  </a:lnTo>
                  <a:lnTo>
                    <a:pt x="353" y="152"/>
                  </a:lnTo>
                  <a:lnTo>
                    <a:pt x="353" y="150"/>
                  </a:lnTo>
                  <a:lnTo>
                    <a:pt x="350" y="150"/>
                  </a:lnTo>
                  <a:lnTo>
                    <a:pt x="350" y="148"/>
                  </a:lnTo>
                  <a:lnTo>
                    <a:pt x="350" y="146"/>
                  </a:lnTo>
                  <a:lnTo>
                    <a:pt x="346" y="144"/>
                  </a:lnTo>
                  <a:lnTo>
                    <a:pt x="344" y="142"/>
                  </a:lnTo>
                  <a:lnTo>
                    <a:pt x="340" y="138"/>
                  </a:lnTo>
                  <a:lnTo>
                    <a:pt x="336" y="138"/>
                  </a:lnTo>
                  <a:lnTo>
                    <a:pt x="336" y="136"/>
                  </a:lnTo>
                  <a:lnTo>
                    <a:pt x="330" y="136"/>
                  </a:lnTo>
                  <a:lnTo>
                    <a:pt x="328" y="136"/>
                  </a:lnTo>
                  <a:lnTo>
                    <a:pt x="326" y="133"/>
                  </a:lnTo>
                  <a:lnTo>
                    <a:pt x="324" y="133"/>
                  </a:lnTo>
                  <a:lnTo>
                    <a:pt x="322" y="129"/>
                  </a:lnTo>
                  <a:lnTo>
                    <a:pt x="322" y="127"/>
                  </a:lnTo>
                  <a:lnTo>
                    <a:pt x="320" y="125"/>
                  </a:lnTo>
                  <a:lnTo>
                    <a:pt x="318" y="121"/>
                  </a:lnTo>
                  <a:lnTo>
                    <a:pt x="316" y="119"/>
                  </a:lnTo>
                  <a:lnTo>
                    <a:pt x="310" y="115"/>
                  </a:lnTo>
                  <a:lnTo>
                    <a:pt x="305" y="113"/>
                  </a:lnTo>
                  <a:lnTo>
                    <a:pt x="301" y="111"/>
                  </a:lnTo>
                  <a:lnTo>
                    <a:pt x="299" y="111"/>
                  </a:lnTo>
                  <a:lnTo>
                    <a:pt x="295" y="109"/>
                  </a:lnTo>
                  <a:lnTo>
                    <a:pt x="293" y="107"/>
                  </a:lnTo>
                  <a:lnTo>
                    <a:pt x="291" y="105"/>
                  </a:lnTo>
                  <a:lnTo>
                    <a:pt x="289" y="103"/>
                  </a:lnTo>
                  <a:lnTo>
                    <a:pt x="289" y="103"/>
                  </a:lnTo>
                  <a:lnTo>
                    <a:pt x="287" y="103"/>
                  </a:lnTo>
                  <a:lnTo>
                    <a:pt x="285" y="103"/>
                  </a:lnTo>
                  <a:lnTo>
                    <a:pt x="285" y="101"/>
                  </a:lnTo>
                  <a:lnTo>
                    <a:pt x="283" y="97"/>
                  </a:lnTo>
                  <a:lnTo>
                    <a:pt x="281" y="95"/>
                  </a:lnTo>
                  <a:lnTo>
                    <a:pt x="281" y="95"/>
                  </a:lnTo>
                  <a:lnTo>
                    <a:pt x="279" y="92"/>
                  </a:lnTo>
                  <a:lnTo>
                    <a:pt x="277" y="90"/>
                  </a:lnTo>
                  <a:lnTo>
                    <a:pt x="277" y="88"/>
                  </a:lnTo>
                  <a:lnTo>
                    <a:pt x="275" y="88"/>
                  </a:lnTo>
                  <a:lnTo>
                    <a:pt x="275" y="86"/>
                  </a:lnTo>
                  <a:lnTo>
                    <a:pt x="273" y="86"/>
                  </a:lnTo>
                  <a:lnTo>
                    <a:pt x="271" y="84"/>
                  </a:lnTo>
                  <a:lnTo>
                    <a:pt x="269" y="84"/>
                  </a:lnTo>
                  <a:lnTo>
                    <a:pt x="269" y="82"/>
                  </a:lnTo>
                  <a:lnTo>
                    <a:pt x="267" y="82"/>
                  </a:lnTo>
                  <a:lnTo>
                    <a:pt x="264" y="72"/>
                  </a:lnTo>
                  <a:lnTo>
                    <a:pt x="262" y="70"/>
                  </a:lnTo>
                  <a:lnTo>
                    <a:pt x="256" y="64"/>
                  </a:lnTo>
                  <a:lnTo>
                    <a:pt x="256" y="62"/>
                  </a:lnTo>
                  <a:lnTo>
                    <a:pt x="254" y="60"/>
                  </a:lnTo>
                  <a:lnTo>
                    <a:pt x="252" y="56"/>
                  </a:lnTo>
                  <a:lnTo>
                    <a:pt x="252" y="54"/>
                  </a:lnTo>
                  <a:lnTo>
                    <a:pt x="248" y="51"/>
                  </a:lnTo>
                  <a:lnTo>
                    <a:pt x="242" y="54"/>
                  </a:lnTo>
                  <a:lnTo>
                    <a:pt x="238" y="54"/>
                  </a:lnTo>
                  <a:lnTo>
                    <a:pt x="234" y="54"/>
                  </a:lnTo>
                  <a:lnTo>
                    <a:pt x="232" y="51"/>
                  </a:lnTo>
                  <a:lnTo>
                    <a:pt x="232" y="49"/>
                  </a:lnTo>
                  <a:lnTo>
                    <a:pt x="230" y="47"/>
                  </a:lnTo>
                  <a:lnTo>
                    <a:pt x="226" y="45"/>
                  </a:lnTo>
                  <a:lnTo>
                    <a:pt x="224" y="45"/>
                  </a:lnTo>
                  <a:lnTo>
                    <a:pt x="221" y="43"/>
                  </a:lnTo>
                  <a:lnTo>
                    <a:pt x="221" y="41"/>
                  </a:lnTo>
                  <a:lnTo>
                    <a:pt x="221" y="41"/>
                  </a:lnTo>
                  <a:lnTo>
                    <a:pt x="219" y="43"/>
                  </a:lnTo>
                  <a:lnTo>
                    <a:pt x="215" y="41"/>
                  </a:lnTo>
                  <a:lnTo>
                    <a:pt x="207" y="37"/>
                  </a:lnTo>
                  <a:lnTo>
                    <a:pt x="203" y="35"/>
                  </a:lnTo>
                  <a:lnTo>
                    <a:pt x="203" y="29"/>
                  </a:lnTo>
                  <a:lnTo>
                    <a:pt x="205" y="27"/>
                  </a:lnTo>
                  <a:lnTo>
                    <a:pt x="205" y="27"/>
                  </a:lnTo>
                  <a:lnTo>
                    <a:pt x="205" y="25"/>
                  </a:lnTo>
                  <a:lnTo>
                    <a:pt x="205" y="25"/>
                  </a:lnTo>
                  <a:lnTo>
                    <a:pt x="205" y="25"/>
                  </a:lnTo>
                  <a:lnTo>
                    <a:pt x="205" y="23"/>
                  </a:lnTo>
                  <a:lnTo>
                    <a:pt x="207" y="21"/>
                  </a:lnTo>
                  <a:lnTo>
                    <a:pt x="207" y="21"/>
                  </a:lnTo>
                  <a:lnTo>
                    <a:pt x="209" y="19"/>
                  </a:lnTo>
                  <a:lnTo>
                    <a:pt x="209" y="19"/>
                  </a:lnTo>
                  <a:lnTo>
                    <a:pt x="209" y="17"/>
                  </a:lnTo>
                  <a:lnTo>
                    <a:pt x="211" y="13"/>
                  </a:lnTo>
                  <a:lnTo>
                    <a:pt x="211" y="10"/>
                  </a:lnTo>
                  <a:lnTo>
                    <a:pt x="211" y="10"/>
                  </a:lnTo>
                  <a:lnTo>
                    <a:pt x="215" y="6"/>
                  </a:lnTo>
                  <a:lnTo>
                    <a:pt x="215" y="6"/>
                  </a:lnTo>
                  <a:lnTo>
                    <a:pt x="219" y="4"/>
                  </a:lnTo>
                  <a:lnTo>
                    <a:pt x="219" y="4"/>
                  </a:lnTo>
                  <a:lnTo>
                    <a:pt x="219" y="2"/>
                  </a:lnTo>
                  <a:lnTo>
                    <a:pt x="219" y="2"/>
                  </a:lnTo>
                  <a:lnTo>
                    <a:pt x="219" y="0"/>
                  </a:lnTo>
                  <a:lnTo>
                    <a:pt x="219" y="0"/>
                  </a:lnTo>
                  <a:lnTo>
                    <a:pt x="213" y="0"/>
                  </a:lnTo>
                  <a:lnTo>
                    <a:pt x="207" y="2"/>
                  </a:lnTo>
                  <a:lnTo>
                    <a:pt x="201" y="2"/>
                  </a:lnTo>
                  <a:lnTo>
                    <a:pt x="193" y="4"/>
                  </a:lnTo>
                  <a:lnTo>
                    <a:pt x="187" y="4"/>
                  </a:lnTo>
                  <a:lnTo>
                    <a:pt x="181" y="6"/>
                  </a:lnTo>
                  <a:lnTo>
                    <a:pt x="174" y="8"/>
                  </a:lnTo>
                  <a:lnTo>
                    <a:pt x="168" y="8"/>
                  </a:lnTo>
                  <a:lnTo>
                    <a:pt x="160" y="10"/>
                  </a:lnTo>
                  <a:lnTo>
                    <a:pt x="148" y="13"/>
                  </a:lnTo>
                  <a:lnTo>
                    <a:pt x="142" y="13"/>
                  </a:lnTo>
                  <a:lnTo>
                    <a:pt x="133" y="15"/>
                  </a:lnTo>
                  <a:lnTo>
                    <a:pt x="127" y="15"/>
                  </a:lnTo>
                  <a:lnTo>
                    <a:pt x="121" y="17"/>
                  </a:lnTo>
                  <a:lnTo>
                    <a:pt x="115" y="17"/>
                  </a:lnTo>
                  <a:lnTo>
                    <a:pt x="107" y="19"/>
                  </a:lnTo>
                  <a:lnTo>
                    <a:pt x="99" y="19"/>
                  </a:lnTo>
                  <a:lnTo>
                    <a:pt x="92" y="19"/>
                  </a:lnTo>
                  <a:lnTo>
                    <a:pt x="90" y="19"/>
                  </a:lnTo>
                  <a:lnTo>
                    <a:pt x="88" y="19"/>
                  </a:lnTo>
                  <a:lnTo>
                    <a:pt x="78" y="21"/>
                  </a:lnTo>
                  <a:lnTo>
                    <a:pt x="66" y="23"/>
                  </a:lnTo>
                  <a:lnTo>
                    <a:pt x="56" y="25"/>
                  </a:lnTo>
                  <a:lnTo>
                    <a:pt x="43" y="25"/>
                  </a:lnTo>
                  <a:lnTo>
                    <a:pt x="33" y="27"/>
                  </a:lnTo>
                  <a:lnTo>
                    <a:pt x="23" y="29"/>
                  </a:lnTo>
                  <a:lnTo>
                    <a:pt x="11" y="29"/>
                  </a:lnTo>
                  <a:lnTo>
                    <a:pt x="0" y="31"/>
                  </a:lnTo>
                  <a:lnTo>
                    <a:pt x="0" y="31"/>
                  </a:lnTo>
                  <a:lnTo>
                    <a:pt x="0" y="33"/>
                  </a:lnTo>
                  <a:lnTo>
                    <a:pt x="2" y="37"/>
                  </a:lnTo>
                  <a:lnTo>
                    <a:pt x="2" y="41"/>
                  </a:lnTo>
                  <a:lnTo>
                    <a:pt x="4" y="45"/>
                  </a:lnTo>
                  <a:lnTo>
                    <a:pt x="6" y="51"/>
                  </a:lnTo>
                  <a:lnTo>
                    <a:pt x="8" y="58"/>
                  </a:lnTo>
                  <a:lnTo>
                    <a:pt x="11" y="64"/>
                  </a:lnTo>
                  <a:lnTo>
                    <a:pt x="13" y="72"/>
                  </a:lnTo>
                  <a:lnTo>
                    <a:pt x="15" y="80"/>
                  </a:lnTo>
                  <a:lnTo>
                    <a:pt x="19" y="88"/>
                  </a:lnTo>
                  <a:lnTo>
                    <a:pt x="21" y="99"/>
                  </a:lnTo>
                  <a:lnTo>
                    <a:pt x="23" y="107"/>
                  </a:lnTo>
                  <a:lnTo>
                    <a:pt x="27" y="117"/>
                  </a:lnTo>
                  <a:lnTo>
                    <a:pt x="29" y="127"/>
                  </a:lnTo>
                  <a:lnTo>
                    <a:pt x="33" y="138"/>
                  </a:lnTo>
                  <a:lnTo>
                    <a:pt x="35" y="146"/>
                  </a:lnTo>
                  <a:lnTo>
                    <a:pt x="39" y="156"/>
                  </a:lnTo>
                  <a:lnTo>
                    <a:pt x="41" y="166"/>
                  </a:lnTo>
                  <a:lnTo>
                    <a:pt x="45" y="174"/>
                  </a:lnTo>
                  <a:lnTo>
                    <a:pt x="47" y="185"/>
                  </a:lnTo>
                  <a:lnTo>
                    <a:pt x="49" y="193"/>
                  </a:lnTo>
                  <a:lnTo>
                    <a:pt x="54" y="201"/>
                  </a:lnTo>
                  <a:lnTo>
                    <a:pt x="56" y="209"/>
                  </a:lnTo>
                  <a:lnTo>
                    <a:pt x="58" y="215"/>
                  </a:lnTo>
                  <a:lnTo>
                    <a:pt x="60" y="222"/>
                  </a:lnTo>
                  <a:lnTo>
                    <a:pt x="62" y="228"/>
                  </a:lnTo>
                  <a:lnTo>
                    <a:pt x="62" y="234"/>
                  </a:lnTo>
                  <a:lnTo>
                    <a:pt x="64" y="236"/>
                  </a:lnTo>
                  <a:lnTo>
                    <a:pt x="66" y="240"/>
                  </a:lnTo>
                  <a:lnTo>
                    <a:pt x="66" y="242"/>
                  </a:lnTo>
                  <a:lnTo>
                    <a:pt x="66" y="242"/>
                  </a:lnTo>
                  <a:lnTo>
                    <a:pt x="66" y="246"/>
                  </a:lnTo>
                  <a:lnTo>
                    <a:pt x="66" y="246"/>
                  </a:lnTo>
                  <a:lnTo>
                    <a:pt x="70" y="254"/>
                  </a:lnTo>
                  <a:lnTo>
                    <a:pt x="70" y="258"/>
                  </a:lnTo>
                  <a:lnTo>
                    <a:pt x="72" y="258"/>
                  </a:lnTo>
                  <a:lnTo>
                    <a:pt x="72" y="258"/>
                  </a:lnTo>
                  <a:lnTo>
                    <a:pt x="72" y="261"/>
                  </a:lnTo>
                  <a:lnTo>
                    <a:pt x="72" y="261"/>
                  </a:lnTo>
                  <a:lnTo>
                    <a:pt x="74" y="263"/>
                  </a:lnTo>
                  <a:lnTo>
                    <a:pt x="76" y="263"/>
                  </a:lnTo>
                  <a:lnTo>
                    <a:pt x="74" y="265"/>
                  </a:lnTo>
                  <a:lnTo>
                    <a:pt x="76" y="265"/>
                  </a:lnTo>
                  <a:lnTo>
                    <a:pt x="76" y="267"/>
                  </a:lnTo>
                  <a:lnTo>
                    <a:pt x="76" y="267"/>
                  </a:lnTo>
                  <a:lnTo>
                    <a:pt x="78" y="271"/>
                  </a:lnTo>
                  <a:lnTo>
                    <a:pt x="80" y="273"/>
                  </a:lnTo>
                  <a:lnTo>
                    <a:pt x="80" y="275"/>
                  </a:lnTo>
                  <a:lnTo>
                    <a:pt x="80" y="277"/>
                  </a:lnTo>
                  <a:lnTo>
                    <a:pt x="80" y="277"/>
                  </a:lnTo>
                  <a:lnTo>
                    <a:pt x="82" y="277"/>
                  </a:lnTo>
                  <a:lnTo>
                    <a:pt x="82" y="279"/>
                  </a:lnTo>
                  <a:lnTo>
                    <a:pt x="82" y="279"/>
                  </a:lnTo>
                  <a:lnTo>
                    <a:pt x="88" y="287"/>
                  </a:lnTo>
                  <a:lnTo>
                    <a:pt x="90" y="289"/>
                  </a:lnTo>
                  <a:lnTo>
                    <a:pt x="90" y="289"/>
                  </a:lnTo>
                  <a:lnTo>
                    <a:pt x="92" y="293"/>
                  </a:lnTo>
                  <a:lnTo>
                    <a:pt x="92" y="295"/>
                  </a:lnTo>
                  <a:lnTo>
                    <a:pt x="94" y="297"/>
                  </a:lnTo>
                  <a:lnTo>
                    <a:pt x="94" y="297"/>
                  </a:lnTo>
                  <a:lnTo>
                    <a:pt x="94" y="299"/>
                  </a:lnTo>
                  <a:lnTo>
                    <a:pt x="94" y="299"/>
                  </a:lnTo>
                  <a:lnTo>
                    <a:pt x="94" y="299"/>
                  </a:lnTo>
                  <a:lnTo>
                    <a:pt x="94" y="299"/>
                  </a:lnTo>
                  <a:lnTo>
                    <a:pt x="94" y="302"/>
                  </a:lnTo>
                  <a:lnTo>
                    <a:pt x="94" y="302"/>
                  </a:lnTo>
                  <a:lnTo>
                    <a:pt x="94" y="304"/>
                  </a:lnTo>
                  <a:lnTo>
                    <a:pt x="94" y="304"/>
                  </a:lnTo>
                  <a:lnTo>
                    <a:pt x="94" y="308"/>
                  </a:lnTo>
                  <a:lnTo>
                    <a:pt x="94" y="308"/>
                  </a:lnTo>
                  <a:lnTo>
                    <a:pt x="97" y="310"/>
                  </a:lnTo>
                  <a:lnTo>
                    <a:pt x="101" y="312"/>
                  </a:lnTo>
                  <a:lnTo>
                    <a:pt x="103" y="312"/>
                  </a:lnTo>
                  <a:lnTo>
                    <a:pt x="103" y="314"/>
                  </a:lnTo>
                  <a:lnTo>
                    <a:pt x="103" y="314"/>
                  </a:lnTo>
                  <a:lnTo>
                    <a:pt x="103" y="314"/>
                  </a:lnTo>
                  <a:lnTo>
                    <a:pt x="105" y="314"/>
                  </a:lnTo>
                  <a:lnTo>
                    <a:pt x="103" y="316"/>
                  </a:lnTo>
                  <a:lnTo>
                    <a:pt x="103" y="316"/>
                  </a:lnTo>
                  <a:lnTo>
                    <a:pt x="103" y="316"/>
                  </a:lnTo>
                  <a:lnTo>
                    <a:pt x="101" y="316"/>
                  </a:lnTo>
                  <a:lnTo>
                    <a:pt x="103" y="318"/>
                  </a:lnTo>
                  <a:lnTo>
                    <a:pt x="103" y="320"/>
                  </a:lnTo>
                  <a:lnTo>
                    <a:pt x="101" y="320"/>
                  </a:lnTo>
                  <a:lnTo>
                    <a:pt x="101" y="320"/>
                  </a:lnTo>
                  <a:lnTo>
                    <a:pt x="99" y="320"/>
                  </a:lnTo>
                  <a:lnTo>
                    <a:pt x="99" y="320"/>
                  </a:lnTo>
                  <a:lnTo>
                    <a:pt x="99" y="322"/>
                  </a:lnTo>
                  <a:lnTo>
                    <a:pt x="99" y="322"/>
                  </a:lnTo>
                  <a:lnTo>
                    <a:pt x="99" y="324"/>
                  </a:lnTo>
                  <a:lnTo>
                    <a:pt x="97" y="324"/>
                  </a:lnTo>
                  <a:lnTo>
                    <a:pt x="94" y="324"/>
                  </a:lnTo>
                  <a:lnTo>
                    <a:pt x="94" y="326"/>
                  </a:lnTo>
                  <a:lnTo>
                    <a:pt x="94" y="326"/>
                  </a:lnTo>
                  <a:lnTo>
                    <a:pt x="92" y="326"/>
                  </a:lnTo>
                  <a:lnTo>
                    <a:pt x="92" y="330"/>
                  </a:lnTo>
                  <a:lnTo>
                    <a:pt x="92" y="332"/>
                  </a:lnTo>
                  <a:lnTo>
                    <a:pt x="92" y="334"/>
                  </a:lnTo>
                  <a:lnTo>
                    <a:pt x="92" y="336"/>
                  </a:lnTo>
                  <a:lnTo>
                    <a:pt x="92" y="338"/>
                  </a:lnTo>
                  <a:lnTo>
                    <a:pt x="92" y="340"/>
                  </a:lnTo>
                  <a:lnTo>
                    <a:pt x="92" y="342"/>
                  </a:lnTo>
                  <a:lnTo>
                    <a:pt x="92" y="345"/>
                  </a:lnTo>
                  <a:lnTo>
                    <a:pt x="92" y="345"/>
                  </a:lnTo>
                  <a:lnTo>
                    <a:pt x="92" y="347"/>
                  </a:lnTo>
                  <a:lnTo>
                    <a:pt x="92" y="349"/>
                  </a:lnTo>
                  <a:lnTo>
                    <a:pt x="90" y="353"/>
                  </a:lnTo>
                  <a:lnTo>
                    <a:pt x="88" y="357"/>
                  </a:lnTo>
                  <a:lnTo>
                    <a:pt x="88" y="361"/>
                  </a:lnTo>
                  <a:lnTo>
                    <a:pt x="88" y="361"/>
                  </a:lnTo>
                  <a:lnTo>
                    <a:pt x="88" y="363"/>
                  </a:lnTo>
                  <a:lnTo>
                    <a:pt x="88" y="363"/>
                  </a:lnTo>
                  <a:lnTo>
                    <a:pt x="88" y="365"/>
                  </a:lnTo>
                  <a:lnTo>
                    <a:pt x="88" y="367"/>
                  </a:lnTo>
                  <a:lnTo>
                    <a:pt x="92" y="379"/>
                  </a:lnTo>
                  <a:lnTo>
                    <a:pt x="94" y="381"/>
                  </a:lnTo>
                  <a:lnTo>
                    <a:pt x="99" y="386"/>
                  </a:lnTo>
                  <a:lnTo>
                    <a:pt x="99" y="386"/>
                  </a:lnTo>
                  <a:lnTo>
                    <a:pt x="99" y="388"/>
                  </a:lnTo>
                  <a:lnTo>
                    <a:pt x="99" y="392"/>
                  </a:lnTo>
                  <a:lnTo>
                    <a:pt x="101" y="392"/>
                  </a:lnTo>
                  <a:lnTo>
                    <a:pt x="101" y="394"/>
                  </a:lnTo>
                  <a:lnTo>
                    <a:pt x="101" y="396"/>
                  </a:lnTo>
                  <a:lnTo>
                    <a:pt x="101" y="398"/>
                  </a:lnTo>
                  <a:lnTo>
                    <a:pt x="101" y="400"/>
                  </a:lnTo>
                  <a:lnTo>
                    <a:pt x="101" y="402"/>
                  </a:lnTo>
                  <a:lnTo>
                    <a:pt x="101" y="404"/>
                  </a:lnTo>
                  <a:lnTo>
                    <a:pt x="101" y="408"/>
                  </a:lnTo>
                  <a:lnTo>
                    <a:pt x="101" y="412"/>
                  </a:lnTo>
                  <a:lnTo>
                    <a:pt x="101" y="420"/>
                  </a:lnTo>
                  <a:lnTo>
                    <a:pt x="101" y="420"/>
                  </a:lnTo>
                  <a:lnTo>
                    <a:pt x="99" y="422"/>
                  </a:lnTo>
                  <a:lnTo>
                    <a:pt x="99" y="424"/>
                  </a:lnTo>
                  <a:lnTo>
                    <a:pt x="99" y="424"/>
                  </a:lnTo>
                  <a:lnTo>
                    <a:pt x="101" y="427"/>
                  </a:lnTo>
                  <a:lnTo>
                    <a:pt x="101" y="429"/>
                  </a:lnTo>
                  <a:lnTo>
                    <a:pt x="101" y="433"/>
                  </a:lnTo>
                  <a:lnTo>
                    <a:pt x="101" y="433"/>
                  </a:lnTo>
                  <a:lnTo>
                    <a:pt x="103" y="435"/>
                  </a:lnTo>
                  <a:lnTo>
                    <a:pt x="105" y="435"/>
                  </a:lnTo>
                  <a:lnTo>
                    <a:pt x="107" y="439"/>
                  </a:lnTo>
                  <a:lnTo>
                    <a:pt x="111" y="443"/>
                  </a:lnTo>
                  <a:lnTo>
                    <a:pt x="113" y="447"/>
                  </a:lnTo>
                  <a:lnTo>
                    <a:pt x="113" y="449"/>
                  </a:lnTo>
                  <a:lnTo>
                    <a:pt x="113" y="449"/>
                  </a:lnTo>
                  <a:lnTo>
                    <a:pt x="113" y="451"/>
                  </a:lnTo>
                  <a:lnTo>
                    <a:pt x="113" y="451"/>
                  </a:lnTo>
                  <a:lnTo>
                    <a:pt x="113" y="451"/>
                  </a:lnTo>
                  <a:lnTo>
                    <a:pt x="113" y="453"/>
                  </a:lnTo>
                  <a:lnTo>
                    <a:pt x="113" y="453"/>
                  </a:lnTo>
                  <a:lnTo>
                    <a:pt x="113" y="453"/>
                  </a:lnTo>
                  <a:lnTo>
                    <a:pt x="115" y="455"/>
                  </a:lnTo>
                  <a:lnTo>
                    <a:pt x="115" y="455"/>
                  </a:lnTo>
                  <a:lnTo>
                    <a:pt x="117" y="457"/>
                  </a:lnTo>
                  <a:lnTo>
                    <a:pt x="117" y="459"/>
                  </a:lnTo>
                  <a:lnTo>
                    <a:pt x="119" y="459"/>
                  </a:lnTo>
                  <a:lnTo>
                    <a:pt x="119" y="463"/>
                  </a:lnTo>
                  <a:lnTo>
                    <a:pt x="121" y="465"/>
                  </a:lnTo>
                  <a:lnTo>
                    <a:pt x="121" y="470"/>
                  </a:lnTo>
                  <a:lnTo>
                    <a:pt x="123" y="476"/>
                  </a:lnTo>
                  <a:lnTo>
                    <a:pt x="129" y="480"/>
                  </a:lnTo>
                  <a:lnTo>
                    <a:pt x="129" y="480"/>
                  </a:lnTo>
                  <a:lnTo>
                    <a:pt x="131" y="480"/>
                  </a:lnTo>
                  <a:lnTo>
                    <a:pt x="133" y="480"/>
                  </a:lnTo>
                  <a:lnTo>
                    <a:pt x="135" y="480"/>
                  </a:lnTo>
                  <a:lnTo>
                    <a:pt x="138" y="480"/>
                  </a:lnTo>
                  <a:lnTo>
                    <a:pt x="142" y="480"/>
                  </a:lnTo>
                  <a:lnTo>
                    <a:pt x="146" y="480"/>
                  </a:lnTo>
                  <a:lnTo>
                    <a:pt x="152" y="478"/>
                  </a:lnTo>
                  <a:lnTo>
                    <a:pt x="158" y="478"/>
                  </a:lnTo>
                  <a:lnTo>
                    <a:pt x="164" y="478"/>
                  </a:lnTo>
                  <a:lnTo>
                    <a:pt x="172" y="478"/>
                  </a:lnTo>
                  <a:lnTo>
                    <a:pt x="181" y="476"/>
                  </a:lnTo>
                  <a:lnTo>
                    <a:pt x="191" y="476"/>
                  </a:lnTo>
                  <a:lnTo>
                    <a:pt x="199" y="476"/>
                  </a:lnTo>
                  <a:lnTo>
                    <a:pt x="209" y="474"/>
                  </a:lnTo>
                  <a:lnTo>
                    <a:pt x="219" y="474"/>
                  </a:lnTo>
                  <a:lnTo>
                    <a:pt x="230" y="474"/>
                  </a:lnTo>
                  <a:lnTo>
                    <a:pt x="240" y="472"/>
                  </a:lnTo>
                  <a:lnTo>
                    <a:pt x="250" y="472"/>
                  </a:lnTo>
                  <a:lnTo>
                    <a:pt x="260" y="470"/>
                  </a:lnTo>
                  <a:lnTo>
                    <a:pt x="271" y="470"/>
                  </a:lnTo>
                  <a:lnTo>
                    <a:pt x="281" y="467"/>
                  </a:lnTo>
                  <a:lnTo>
                    <a:pt x="291" y="467"/>
                  </a:lnTo>
                  <a:lnTo>
                    <a:pt x="301" y="467"/>
                  </a:lnTo>
                  <a:lnTo>
                    <a:pt x="310" y="465"/>
                  </a:lnTo>
                  <a:lnTo>
                    <a:pt x="320" y="465"/>
                  </a:lnTo>
                  <a:lnTo>
                    <a:pt x="328" y="465"/>
                  </a:lnTo>
                  <a:lnTo>
                    <a:pt x="336" y="463"/>
                  </a:lnTo>
                  <a:lnTo>
                    <a:pt x="344" y="463"/>
                  </a:lnTo>
                  <a:lnTo>
                    <a:pt x="350" y="463"/>
                  </a:lnTo>
                  <a:lnTo>
                    <a:pt x="357" y="461"/>
                  </a:lnTo>
                  <a:lnTo>
                    <a:pt x="361" y="461"/>
                  </a:lnTo>
                  <a:lnTo>
                    <a:pt x="367" y="461"/>
                  </a:lnTo>
                  <a:lnTo>
                    <a:pt x="369" y="461"/>
                  </a:lnTo>
                  <a:lnTo>
                    <a:pt x="373" y="461"/>
                  </a:lnTo>
                  <a:lnTo>
                    <a:pt x="373" y="461"/>
                  </a:lnTo>
                  <a:lnTo>
                    <a:pt x="373" y="461"/>
                  </a:lnTo>
                  <a:lnTo>
                    <a:pt x="373" y="461"/>
                  </a:lnTo>
                  <a:lnTo>
                    <a:pt x="373" y="463"/>
                  </a:lnTo>
                  <a:lnTo>
                    <a:pt x="373" y="463"/>
                  </a:lnTo>
                  <a:lnTo>
                    <a:pt x="373" y="463"/>
                  </a:lnTo>
                  <a:lnTo>
                    <a:pt x="373" y="463"/>
                  </a:lnTo>
                  <a:lnTo>
                    <a:pt x="373" y="463"/>
                  </a:lnTo>
                  <a:lnTo>
                    <a:pt x="377" y="467"/>
                  </a:lnTo>
                  <a:lnTo>
                    <a:pt x="377" y="467"/>
                  </a:lnTo>
                  <a:lnTo>
                    <a:pt x="377" y="467"/>
                  </a:lnTo>
                  <a:lnTo>
                    <a:pt x="377" y="470"/>
                  </a:lnTo>
                  <a:lnTo>
                    <a:pt x="377" y="470"/>
                  </a:lnTo>
                  <a:lnTo>
                    <a:pt x="377" y="470"/>
                  </a:lnTo>
                  <a:lnTo>
                    <a:pt x="377" y="470"/>
                  </a:lnTo>
                  <a:lnTo>
                    <a:pt x="377" y="472"/>
                  </a:lnTo>
                  <a:lnTo>
                    <a:pt x="377" y="474"/>
                  </a:lnTo>
                  <a:lnTo>
                    <a:pt x="377" y="474"/>
                  </a:lnTo>
                  <a:lnTo>
                    <a:pt x="377" y="474"/>
                  </a:lnTo>
                  <a:lnTo>
                    <a:pt x="379" y="476"/>
                  </a:lnTo>
                  <a:lnTo>
                    <a:pt x="381" y="480"/>
                  </a:lnTo>
                  <a:lnTo>
                    <a:pt x="381" y="480"/>
                  </a:lnTo>
                  <a:lnTo>
                    <a:pt x="381" y="480"/>
                  </a:lnTo>
                  <a:lnTo>
                    <a:pt x="381" y="480"/>
                  </a:lnTo>
                  <a:lnTo>
                    <a:pt x="383" y="480"/>
                  </a:lnTo>
                  <a:lnTo>
                    <a:pt x="383" y="480"/>
                  </a:lnTo>
                  <a:lnTo>
                    <a:pt x="387" y="480"/>
                  </a:lnTo>
                  <a:lnTo>
                    <a:pt x="387" y="480"/>
                  </a:lnTo>
                  <a:lnTo>
                    <a:pt x="389" y="480"/>
                  </a:lnTo>
                  <a:lnTo>
                    <a:pt x="391" y="480"/>
                  </a:lnTo>
                  <a:lnTo>
                    <a:pt x="391" y="480"/>
                  </a:lnTo>
                  <a:lnTo>
                    <a:pt x="394" y="478"/>
                  </a:lnTo>
                  <a:lnTo>
                    <a:pt x="394" y="478"/>
                  </a:lnTo>
                  <a:lnTo>
                    <a:pt x="394" y="478"/>
                  </a:lnTo>
                  <a:lnTo>
                    <a:pt x="394" y="478"/>
                  </a:lnTo>
                  <a:lnTo>
                    <a:pt x="394" y="476"/>
                  </a:lnTo>
                  <a:lnTo>
                    <a:pt x="394" y="474"/>
                  </a:lnTo>
                  <a:lnTo>
                    <a:pt x="394" y="472"/>
                  </a:lnTo>
                  <a:lnTo>
                    <a:pt x="394" y="472"/>
                  </a:lnTo>
                  <a:lnTo>
                    <a:pt x="394" y="463"/>
                  </a:lnTo>
                  <a:lnTo>
                    <a:pt x="394" y="457"/>
                  </a:lnTo>
                  <a:lnTo>
                    <a:pt x="394" y="455"/>
                  </a:lnTo>
                  <a:lnTo>
                    <a:pt x="394" y="455"/>
                  </a:lnTo>
                  <a:lnTo>
                    <a:pt x="394" y="453"/>
                  </a:lnTo>
                  <a:lnTo>
                    <a:pt x="394" y="453"/>
                  </a:lnTo>
                  <a:lnTo>
                    <a:pt x="391" y="451"/>
                  </a:lnTo>
                  <a:lnTo>
                    <a:pt x="389" y="451"/>
                  </a:lnTo>
                  <a:lnTo>
                    <a:pt x="389" y="449"/>
                  </a:lnTo>
                  <a:lnTo>
                    <a:pt x="389" y="449"/>
                  </a:lnTo>
                  <a:lnTo>
                    <a:pt x="389" y="447"/>
                  </a:lnTo>
                  <a:lnTo>
                    <a:pt x="389" y="447"/>
                  </a:lnTo>
                  <a:lnTo>
                    <a:pt x="389" y="445"/>
                  </a:lnTo>
                  <a:lnTo>
                    <a:pt x="389" y="443"/>
                  </a:lnTo>
                  <a:lnTo>
                    <a:pt x="389" y="443"/>
                  </a:lnTo>
                  <a:lnTo>
                    <a:pt x="389" y="441"/>
                  </a:lnTo>
                  <a:lnTo>
                    <a:pt x="389" y="439"/>
                  </a:lnTo>
                  <a:lnTo>
                    <a:pt x="389" y="439"/>
                  </a:lnTo>
                  <a:lnTo>
                    <a:pt x="389" y="439"/>
                  </a:lnTo>
                  <a:lnTo>
                    <a:pt x="389" y="437"/>
                  </a:lnTo>
                  <a:lnTo>
                    <a:pt x="389" y="437"/>
                  </a:lnTo>
                  <a:lnTo>
                    <a:pt x="389" y="437"/>
                  </a:lnTo>
                  <a:lnTo>
                    <a:pt x="389" y="435"/>
                  </a:lnTo>
                  <a:lnTo>
                    <a:pt x="389" y="435"/>
                  </a:lnTo>
                  <a:lnTo>
                    <a:pt x="389" y="435"/>
                  </a:lnTo>
                  <a:lnTo>
                    <a:pt x="391" y="433"/>
                  </a:lnTo>
                  <a:lnTo>
                    <a:pt x="391" y="433"/>
                  </a:lnTo>
                  <a:lnTo>
                    <a:pt x="391" y="433"/>
                  </a:lnTo>
                  <a:lnTo>
                    <a:pt x="394" y="433"/>
                  </a:lnTo>
                  <a:lnTo>
                    <a:pt x="394" y="433"/>
                  </a:lnTo>
                  <a:lnTo>
                    <a:pt x="394" y="433"/>
                  </a:lnTo>
                  <a:lnTo>
                    <a:pt x="394" y="433"/>
                  </a:lnTo>
                  <a:lnTo>
                    <a:pt x="394" y="431"/>
                  </a:lnTo>
                  <a:lnTo>
                    <a:pt x="394" y="431"/>
                  </a:lnTo>
                  <a:lnTo>
                    <a:pt x="394" y="431"/>
                  </a:lnTo>
                  <a:lnTo>
                    <a:pt x="394" y="431"/>
                  </a:lnTo>
                  <a:lnTo>
                    <a:pt x="394" y="429"/>
                  </a:lnTo>
                  <a:lnTo>
                    <a:pt x="396" y="429"/>
                  </a:lnTo>
                  <a:lnTo>
                    <a:pt x="396" y="429"/>
                  </a:lnTo>
                  <a:lnTo>
                    <a:pt x="398" y="429"/>
                  </a:lnTo>
                  <a:lnTo>
                    <a:pt x="398" y="429"/>
                  </a:lnTo>
                  <a:lnTo>
                    <a:pt x="398" y="429"/>
                  </a:lnTo>
                  <a:lnTo>
                    <a:pt x="400" y="429"/>
                  </a:lnTo>
                  <a:lnTo>
                    <a:pt x="400" y="429"/>
                  </a:lnTo>
                  <a:lnTo>
                    <a:pt x="402" y="429"/>
                  </a:lnTo>
                  <a:lnTo>
                    <a:pt x="404" y="431"/>
                  </a:lnTo>
                  <a:lnTo>
                    <a:pt x="412" y="433"/>
                  </a:lnTo>
                  <a:lnTo>
                    <a:pt x="412" y="433"/>
                  </a:lnTo>
                  <a:lnTo>
                    <a:pt x="414" y="433"/>
                  </a:lnTo>
                  <a:lnTo>
                    <a:pt x="414" y="433"/>
                  </a:lnTo>
                  <a:lnTo>
                    <a:pt x="416" y="433"/>
                  </a:lnTo>
                  <a:lnTo>
                    <a:pt x="416" y="433"/>
                  </a:lnTo>
                  <a:lnTo>
                    <a:pt x="418" y="433"/>
                  </a:lnTo>
                  <a:lnTo>
                    <a:pt x="418" y="433"/>
                  </a:lnTo>
                  <a:lnTo>
                    <a:pt x="424" y="435"/>
                  </a:lnTo>
                  <a:lnTo>
                    <a:pt x="424" y="435"/>
                  </a:lnTo>
                  <a:lnTo>
                    <a:pt x="426" y="435"/>
                  </a:lnTo>
                  <a:lnTo>
                    <a:pt x="426" y="435"/>
                  </a:lnTo>
                  <a:lnTo>
                    <a:pt x="428" y="435"/>
                  </a:lnTo>
                  <a:lnTo>
                    <a:pt x="428" y="435"/>
                  </a:lnTo>
                  <a:lnTo>
                    <a:pt x="432" y="435"/>
                  </a:lnTo>
                  <a:lnTo>
                    <a:pt x="432" y="435"/>
                  </a:lnTo>
                  <a:lnTo>
                    <a:pt x="437" y="433"/>
                  </a:lnTo>
                  <a:lnTo>
                    <a:pt x="439" y="433"/>
                  </a:lnTo>
                  <a:lnTo>
                    <a:pt x="439" y="433"/>
                  </a:lnTo>
                  <a:lnTo>
                    <a:pt x="439" y="433"/>
                  </a:lnTo>
                  <a:lnTo>
                    <a:pt x="439" y="429"/>
                  </a:lnTo>
                  <a:lnTo>
                    <a:pt x="439" y="427"/>
                  </a:lnTo>
                  <a:lnTo>
                    <a:pt x="437" y="427"/>
                  </a:lnTo>
                  <a:lnTo>
                    <a:pt x="437" y="424"/>
                  </a:lnTo>
                  <a:lnTo>
                    <a:pt x="437" y="424"/>
                  </a:lnTo>
                  <a:lnTo>
                    <a:pt x="434" y="422"/>
                  </a:lnTo>
                  <a:lnTo>
                    <a:pt x="434" y="420"/>
                  </a:lnTo>
                  <a:lnTo>
                    <a:pt x="434" y="420"/>
                  </a:lnTo>
                  <a:lnTo>
                    <a:pt x="432" y="420"/>
                  </a:lnTo>
                  <a:lnTo>
                    <a:pt x="432" y="418"/>
                  </a:lnTo>
                  <a:lnTo>
                    <a:pt x="434" y="418"/>
                  </a:lnTo>
                  <a:lnTo>
                    <a:pt x="434" y="418"/>
                  </a:lnTo>
                  <a:lnTo>
                    <a:pt x="437" y="418"/>
                  </a:lnTo>
                  <a:lnTo>
                    <a:pt x="437" y="418"/>
                  </a:lnTo>
                  <a:lnTo>
                    <a:pt x="437" y="418"/>
                  </a:lnTo>
                  <a:lnTo>
                    <a:pt x="437" y="416"/>
                  </a:lnTo>
                  <a:lnTo>
                    <a:pt x="434" y="416"/>
                  </a:lnTo>
                  <a:lnTo>
                    <a:pt x="434" y="416"/>
                  </a:lnTo>
                  <a:lnTo>
                    <a:pt x="434" y="414"/>
                  </a:lnTo>
                  <a:lnTo>
                    <a:pt x="434" y="414"/>
                  </a:lnTo>
                  <a:lnTo>
                    <a:pt x="434" y="412"/>
                  </a:lnTo>
                  <a:lnTo>
                    <a:pt x="434" y="412"/>
                  </a:lnTo>
                  <a:lnTo>
                    <a:pt x="439" y="408"/>
                  </a:lnTo>
                  <a:lnTo>
                    <a:pt x="439" y="406"/>
                  </a:lnTo>
                  <a:lnTo>
                    <a:pt x="437" y="406"/>
                  </a:lnTo>
                  <a:lnTo>
                    <a:pt x="434" y="406"/>
                  </a:lnTo>
                  <a:lnTo>
                    <a:pt x="432" y="406"/>
                  </a:lnTo>
                  <a:lnTo>
                    <a:pt x="432" y="404"/>
                  </a:lnTo>
                  <a:lnTo>
                    <a:pt x="437" y="404"/>
                  </a:lnTo>
                  <a:lnTo>
                    <a:pt x="437" y="402"/>
                  </a:lnTo>
                  <a:lnTo>
                    <a:pt x="437" y="400"/>
                  </a:lnTo>
                  <a:lnTo>
                    <a:pt x="437" y="398"/>
                  </a:lnTo>
                  <a:lnTo>
                    <a:pt x="432" y="396"/>
                  </a:lnTo>
                  <a:lnTo>
                    <a:pt x="430" y="394"/>
                  </a:lnTo>
                  <a:lnTo>
                    <a:pt x="432" y="394"/>
                  </a:lnTo>
                  <a:lnTo>
                    <a:pt x="434" y="396"/>
                  </a:lnTo>
                  <a:lnTo>
                    <a:pt x="439" y="398"/>
                  </a:lnTo>
                  <a:lnTo>
                    <a:pt x="439" y="400"/>
                  </a:lnTo>
                  <a:lnTo>
                    <a:pt x="441" y="400"/>
                  </a:lnTo>
                  <a:lnTo>
                    <a:pt x="441" y="392"/>
                  </a:lnTo>
                  <a:lnTo>
                    <a:pt x="441" y="388"/>
                  </a:lnTo>
                  <a:lnTo>
                    <a:pt x="439" y="390"/>
                  </a:lnTo>
                  <a:lnTo>
                    <a:pt x="439" y="392"/>
                  </a:lnTo>
                  <a:lnTo>
                    <a:pt x="439" y="394"/>
                  </a:lnTo>
                  <a:lnTo>
                    <a:pt x="437" y="394"/>
                  </a:lnTo>
                  <a:lnTo>
                    <a:pt x="434" y="392"/>
                  </a:lnTo>
                  <a:lnTo>
                    <a:pt x="432" y="390"/>
                  </a:lnTo>
                  <a:lnTo>
                    <a:pt x="432" y="390"/>
                  </a:lnTo>
                  <a:lnTo>
                    <a:pt x="432" y="388"/>
                  </a:lnTo>
                  <a:lnTo>
                    <a:pt x="437" y="390"/>
                  </a:lnTo>
                  <a:lnTo>
                    <a:pt x="437" y="388"/>
                  </a:lnTo>
                  <a:lnTo>
                    <a:pt x="434" y="386"/>
                  </a:lnTo>
                  <a:lnTo>
                    <a:pt x="434" y="381"/>
                  </a:lnTo>
                  <a:lnTo>
                    <a:pt x="434" y="379"/>
                  </a:lnTo>
                  <a:lnTo>
                    <a:pt x="434" y="379"/>
                  </a:lnTo>
                  <a:lnTo>
                    <a:pt x="437" y="377"/>
                  </a:lnTo>
                  <a:lnTo>
                    <a:pt x="437" y="379"/>
                  </a:lnTo>
                  <a:lnTo>
                    <a:pt x="439" y="386"/>
                  </a:lnTo>
                  <a:lnTo>
                    <a:pt x="439" y="386"/>
                  </a:lnTo>
                  <a:lnTo>
                    <a:pt x="439" y="386"/>
                  </a:lnTo>
                  <a:lnTo>
                    <a:pt x="441" y="386"/>
                  </a:lnTo>
                  <a:lnTo>
                    <a:pt x="443" y="383"/>
                  </a:lnTo>
                  <a:lnTo>
                    <a:pt x="445" y="381"/>
                  </a:lnTo>
                  <a:lnTo>
                    <a:pt x="447" y="375"/>
                  </a:lnTo>
                  <a:lnTo>
                    <a:pt x="449" y="375"/>
                  </a:lnTo>
                  <a:lnTo>
                    <a:pt x="449" y="375"/>
                  </a:lnTo>
                  <a:lnTo>
                    <a:pt x="449" y="371"/>
                  </a:lnTo>
                  <a:lnTo>
                    <a:pt x="449" y="369"/>
                  </a:lnTo>
                  <a:lnTo>
                    <a:pt x="447" y="369"/>
                  </a:lnTo>
                  <a:lnTo>
                    <a:pt x="443" y="367"/>
                  </a:lnTo>
                  <a:lnTo>
                    <a:pt x="443" y="367"/>
                  </a:lnTo>
                  <a:lnTo>
                    <a:pt x="439" y="367"/>
                  </a:lnTo>
                  <a:lnTo>
                    <a:pt x="434" y="367"/>
                  </a:lnTo>
                  <a:lnTo>
                    <a:pt x="430" y="365"/>
                  </a:lnTo>
                  <a:lnTo>
                    <a:pt x="428" y="363"/>
                  </a:lnTo>
                  <a:lnTo>
                    <a:pt x="428" y="363"/>
                  </a:lnTo>
                  <a:lnTo>
                    <a:pt x="428" y="363"/>
                  </a:lnTo>
                  <a:lnTo>
                    <a:pt x="430" y="363"/>
                  </a:lnTo>
                  <a:lnTo>
                    <a:pt x="432" y="365"/>
                  </a:lnTo>
                  <a:lnTo>
                    <a:pt x="443" y="365"/>
                  </a:lnTo>
                  <a:lnTo>
                    <a:pt x="447" y="365"/>
                  </a:lnTo>
                  <a:lnTo>
                    <a:pt x="447" y="363"/>
                  </a:lnTo>
                  <a:lnTo>
                    <a:pt x="447" y="361"/>
                  </a:lnTo>
                  <a:lnTo>
                    <a:pt x="445" y="359"/>
                  </a:lnTo>
                  <a:lnTo>
                    <a:pt x="443" y="357"/>
                  </a:lnTo>
                  <a:lnTo>
                    <a:pt x="441" y="355"/>
                  </a:lnTo>
                  <a:lnTo>
                    <a:pt x="441" y="355"/>
                  </a:lnTo>
                  <a:lnTo>
                    <a:pt x="441" y="355"/>
                  </a:lnTo>
                  <a:lnTo>
                    <a:pt x="443" y="353"/>
                  </a:lnTo>
                  <a:lnTo>
                    <a:pt x="443" y="353"/>
                  </a:lnTo>
                  <a:lnTo>
                    <a:pt x="443" y="353"/>
                  </a:lnTo>
                  <a:lnTo>
                    <a:pt x="443" y="355"/>
                  </a:lnTo>
                  <a:lnTo>
                    <a:pt x="445" y="355"/>
                  </a:lnTo>
                  <a:lnTo>
                    <a:pt x="445" y="357"/>
                  </a:lnTo>
                  <a:lnTo>
                    <a:pt x="445" y="357"/>
                  </a:lnTo>
                  <a:lnTo>
                    <a:pt x="447" y="357"/>
                  </a:lnTo>
                  <a:lnTo>
                    <a:pt x="447" y="359"/>
                  </a:lnTo>
                  <a:lnTo>
                    <a:pt x="447" y="357"/>
                  </a:lnTo>
                  <a:lnTo>
                    <a:pt x="449" y="357"/>
                  </a:lnTo>
                  <a:lnTo>
                    <a:pt x="447" y="357"/>
                  </a:lnTo>
                  <a:lnTo>
                    <a:pt x="447" y="355"/>
                  </a:lnTo>
                  <a:lnTo>
                    <a:pt x="453" y="345"/>
                  </a:lnTo>
                  <a:lnTo>
                    <a:pt x="453" y="340"/>
                  </a:lnTo>
                  <a:lnTo>
                    <a:pt x="451" y="340"/>
                  </a:lnTo>
                  <a:lnTo>
                    <a:pt x="447" y="342"/>
                  </a:lnTo>
                  <a:lnTo>
                    <a:pt x="443" y="347"/>
                  </a:lnTo>
                  <a:lnTo>
                    <a:pt x="443" y="347"/>
                  </a:lnTo>
                  <a:lnTo>
                    <a:pt x="445" y="345"/>
                  </a:lnTo>
                  <a:lnTo>
                    <a:pt x="445" y="342"/>
                  </a:lnTo>
                  <a:lnTo>
                    <a:pt x="443" y="342"/>
                  </a:lnTo>
                  <a:lnTo>
                    <a:pt x="443" y="342"/>
                  </a:lnTo>
                  <a:lnTo>
                    <a:pt x="441" y="342"/>
                  </a:lnTo>
                  <a:lnTo>
                    <a:pt x="441" y="342"/>
                  </a:lnTo>
                  <a:lnTo>
                    <a:pt x="439" y="342"/>
                  </a:lnTo>
                  <a:lnTo>
                    <a:pt x="439" y="340"/>
                  </a:lnTo>
                  <a:lnTo>
                    <a:pt x="439" y="340"/>
                  </a:lnTo>
                  <a:lnTo>
                    <a:pt x="441" y="340"/>
                  </a:lnTo>
                  <a:lnTo>
                    <a:pt x="441" y="338"/>
                  </a:lnTo>
                  <a:lnTo>
                    <a:pt x="443" y="338"/>
                  </a:lnTo>
                  <a:lnTo>
                    <a:pt x="445" y="338"/>
                  </a:lnTo>
                  <a:lnTo>
                    <a:pt x="447" y="338"/>
                  </a:lnTo>
                  <a:lnTo>
                    <a:pt x="449" y="338"/>
                  </a:lnTo>
                  <a:lnTo>
                    <a:pt x="451" y="334"/>
                  </a:lnTo>
                  <a:lnTo>
                    <a:pt x="449" y="334"/>
                  </a:lnTo>
                  <a:lnTo>
                    <a:pt x="447" y="332"/>
                  </a:lnTo>
                  <a:lnTo>
                    <a:pt x="445" y="330"/>
                  </a:lnTo>
                  <a:lnTo>
                    <a:pt x="447" y="330"/>
                  </a:lnTo>
                  <a:lnTo>
                    <a:pt x="449" y="330"/>
                  </a:lnTo>
                  <a:lnTo>
                    <a:pt x="451" y="332"/>
                  </a:lnTo>
                  <a:lnTo>
                    <a:pt x="451" y="332"/>
                  </a:lnTo>
                  <a:lnTo>
                    <a:pt x="453" y="336"/>
                  </a:lnTo>
                  <a:lnTo>
                    <a:pt x="453" y="338"/>
                  </a:lnTo>
                  <a:lnTo>
                    <a:pt x="453" y="336"/>
                  </a:lnTo>
                  <a:lnTo>
                    <a:pt x="455" y="336"/>
                  </a:lnTo>
                  <a:lnTo>
                    <a:pt x="455" y="328"/>
                  </a:lnTo>
                  <a:lnTo>
                    <a:pt x="455" y="326"/>
                  </a:lnTo>
                  <a:lnTo>
                    <a:pt x="455" y="324"/>
                  </a:lnTo>
                  <a:lnTo>
                    <a:pt x="453" y="322"/>
                  </a:lnTo>
                  <a:lnTo>
                    <a:pt x="451" y="324"/>
                  </a:lnTo>
                  <a:lnTo>
                    <a:pt x="451" y="324"/>
                  </a:lnTo>
                  <a:lnTo>
                    <a:pt x="453" y="326"/>
                  </a:lnTo>
                  <a:lnTo>
                    <a:pt x="453" y="326"/>
                  </a:lnTo>
                  <a:lnTo>
                    <a:pt x="447" y="328"/>
                  </a:lnTo>
                  <a:lnTo>
                    <a:pt x="445" y="328"/>
                  </a:lnTo>
                  <a:lnTo>
                    <a:pt x="449" y="324"/>
                  </a:lnTo>
                  <a:lnTo>
                    <a:pt x="449" y="322"/>
                  </a:lnTo>
                  <a:lnTo>
                    <a:pt x="445" y="320"/>
                  </a:lnTo>
                  <a:lnTo>
                    <a:pt x="443" y="320"/>
                  </a:lnTo>
                  <a:lnTo>
                    <a:pt x="441" y="320"/>
                  </a:lnTo>
                  <a:lnTo>
                    <a:pt x="441" y="318"/>
                  </a:lnTo>
                  <a:lnTo>
                    <a:pt x="441" y="318"/>
                  </a:lnTo>
                  <a:lnTo>
                    <a:pt x="443" y="318"/>
                  </a:lnTo>
                  <a:lnTo>
                    <a:pt x="443" y="318"/>
                  </a:lnTo>
                  <a:lnTo>
                    <a:pt x="445" y="318"/>
                  </a:lnTo>
                  <a:lnTo>
                    <a:pt x="447" y="320"/>
                  </a:lnTo>
                  <a:lnTo>
                    <a:pt x="451" y="320"/>
                  </a:lnTo>
                  <a:lnTo>
                    <a:pt x="455" y="318"/>
                  </a:lnTo>
                  <a:lnTo>
                    <a:pt x="455" y="318"/>
                  </a:lnTo>
                  <a:lnTo>
                    <a:pt x="457" y="316"/>
                  </a:lnTo>
                  <a:lnTo>
                    <a:pt x="459" y="312"/>
                  </a:lnTo>
                  <a:lnTo>
                    <a:pt x="459" y="310"/>
                  </a:lnTo>
                  <a:lnTo>
                    <a:pt x="459" y="308"/>
                  </a:lnTo>
                  <a:lnTo>
                    <a:pt x="459" y="308"/>
                  </a:lnTo>
                  <a:lnTo>
                    <a:pt x="459" y="308"/>
                  </a:lnTo>
                  <a:lnTo>
                    <a:pt x="455" y="306"/>
                  </a:lnTo>
                  <a:lnTo>
                    <a:pt x="455" y="306"/>
                  </a:lnTo>
                  <a:lnTo>
                    <a:pt x="451" y="306"/>
                  </a:lnTo>
                  <a:lnTo>
                    <a:pt x="451" y="306"/>
                  </a:lnTo>
                  <a:lnTo>
                    <a:pt x="455" y="304"/>
                  </a:lnTo>
                  <a:lnTo>
                    <a:pt x="455" y="302"/>
                  </a:lnTo>
                  <a:lnTo>
                    <a:pt x="453" y="302"/>
                  </a:lnTo>
                  <a:lnTo>
                    <a:pt x="451" y="299"/>
                  </a:lnTo>
                  <a:lnTo>
                    <a:pt x="453" y="299"/>
                  </a:lnTo>
                  <a:lnTo>
                    <a:pt x="453" y="299"/>
                  </a:lnTo>
                  <a:lnTo>
                    <a:pt x="455" y="299"/>
                  </a:lnTo>
                  <a:lnTo>
                    <a:pt x="455" y="302"/>
                  </a:lnTo>
                  <a:lnTo>
                    <a:pt x="455" y="302"/>
                  </a:lnTo>
                  <a:lnTo>
                    <a:pt x="457" y="302"/>
                  </a:lnTo>
                  <a:lnTo>
                    <a:pt x="461" y="302"/>
                  </a:lnTo>
                  <a:lnTo>
                    <a:pt x="463" y="304"/>
                  </a:lnTo>
                  <a:lnTo>
                    <a:pt x="465" y="304"/>
                  </a:lnTo>
                  <a:lnTo>
                    <a:pt x="467" y="302"/>
                  </a:lnTo>
                  <a:lnTo>
                    <a:pt x="469" y="297"/>
                  </a:lnTo>
                  <a:lnTo>
                    <a:pt x="467" y="297"/>
                  </a:lnTo>
                  <a:lnTo>
                    <a:pt x="465" y="295"/>
                  </a:lnTo>
                  <a:lnTo>
                    <a:pt x="465" y="293"/>
                  </a:lnTo>
                  <a:lnTo>
                    <a:pt x="465" y="293"/>
                  </a:lnTo>
                  <a:lnTo>
                    <a:pt x="465" y="291"/>
                  </a:lnTo>
                  <a:lnTo>
                    <a:pt x="465" y="291"/>
                  </a:lnTo>
                  <a:lnTo>
                    <a:pt x="467" y="289"/>
                  </a:lnTo>
                  <a:lnTo>
                    <a:pt x="467" y="289"/>
                  </a:lnTo>
                  <a:lnTo>
                    <a:pt x="467" y="289"/>
                  </a:lnTo>
                  <a:lnTo>
                    <a:pt x="469" y="291"/>
                  </a:lnTo>
                  <a:lnTo>
                    <a:pt x="469" y="291"/>
                  </a:lnTo>
                  <a:lnTo>
                    <a:pt x="469" y="293"/>
                  </a:lnTo>
                  <a:lnTo>
                    <a:pt x="473" y="289"/>
                  </a:lnTo>
                  <a:lnTo>
                    <a:pt x="475" y="285"/>
                  </a:lnTo>
                  <a:lnTo>
                    <a:pt x="473" y="283"/>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GA</a:t>
              </a:r>
            </a:p>
          </p:txBody>
        </p:sp>
        <p:sp>
          <p:nvSpPr>
            <p:cNvPr id="335" name="Freeform 46">
              <a:extLst>
                <a:ext uri="{FF2B5EF4-FFF2-40B4-BE49-F238E27FC236}">
                  <a16:creationId xmlns:a16="http://schemas.microsoft.com/office/drawing/2014/main" id="{04E6CAB2-5209-C5E2-BBA5-D4C8B8C02B5E}"/>
                </a:ext>
              </a:extLst>
            </p:cNvPr>
            <p:cNvSpPr>
              <a:spLocks noEditPoints="1"/>
            </p:cNvSpPr>
            <p:nvPr/>
          </p:nvSpPr>
          <p:spPr bwMode="auto">
            <a:xfrm>
              <a:off x="3875" y="1974"/>
              <a:ext cx="807" cy="705"/>
            </a:xfrm>
            <a:custGeom>
              <a:avLst/>
              <a:gdLst>
                <a:gd name="T0" fmla="*/ 248 w 807"/>
                <a:gd name="T1" fmla="*/ 164 h 705"/>
                <a:gd name="T2" fmla="*/ 95 w 807"/>
                <a:gd name="T3" fmla="*/ 104 h 705"/>
                <a:gd name="T4" fmla="*/ 574 w 807"/>
                <a:gd name="T5" fmla="*/ 461 h 705"/>
                <a:gd name="T6" fmla="*/ 768 w 807"/>
                <a:gd name="T7" fmla="*/ 379 h 705"/>
                <a:gd name="T8" fmla="*/ 670 w 807"/>
                <a:gd name="T9" fmla="*/ 207 h 705"/>
                <a:gd name="T10" fmla="*/ 695 w 807"/>
                <a:gd name="T11" fmla="*/ 245 h 705"/>
                <a:gd name="T12" fmla="*/ 594 w 807"/>
                <a:gd name="T13" fmla="*/ 73 h 705"/>
                <a:gd name="T14" fmla="*/ 572 w 807"/>
                <a:gd name="T15" fmla="*/ 6 h 705"/>
                <a:gd name="T16" fmla="*/ 518 w 807"/>
                <a:gd name="T17" fmla="*/ 4 h 705"/>
                <a:gd name="T18" fmla="*/ 508 w 807"/>
                <a:gd name="T19" fmla="*/ 51 h 705"/>
                <a:gd name="T20" fmla="*/ 326 w 807"/>
                <a:gd name="T21" fmla="*/ 47 h 705"/>
                <a:gd name="T22" fmla="*/ 2 w 807"/>
                <a:gd name="T23" fmla="*/ 53 h 705"/>
                <a:gd name="T24" fmla="*/ 27 w 807"/>
                <a:gd name="T25" fmla="*/ 120 h 705"/>
                <a:gd name="T26" fmla="*/ 47 w 807"/>
                <a:gd name="T27" fmla="*/ 92 h 705"/>
                <a:gd name="T28" fmla="*/ 72 w 807"/>
                <a:gd name="T29" fmla="*/ 104 h 705"/>
                <a:gd name="T30" fmla="*/ 117 w 807"/>
                <a:gd name="T31" fmla="*/ 98 h 705"/>
                <a:gd name="T32" fmla="*/ 127 w 807"/>
                <a:gd name="T33" fmla="*/ 100 h 705"/>
                <a:gd name="T34" fmla="*/ 185 w 807"/>
                <a:gd name="T35" fmla="*/ 110 h 705"/>
                <a:gd name="T36" fmla="*/ 207 w 807"/>
                <a:gd name="T37" fmla="*/ 125 h 705"/>
                <a:gd name="T38" fmla="*/ 224 w 807"/>
                <a:gd name="T39" fmla="*/ 145 h 705"/>
                <a:gd name="T40" fmla="*/ 271 w 807"/>
                <a:gd name="T41" fmla="*/ 157 h 705"/>
                <a:gd name="T42" fmla="*/ 312 w 807"/>
                <a:gd name="T43" fmla="*/ 123 h 705"/>
                <a:gd name="T44" fmla="*/ 371 w 807"/>
                <a:gd name="T45" fmla="*/ 118 h 705"/>
                <a:gd name="T46" fmla="*/ 434 w 807"/>
                <a:gd name="T47" fmla="*/ 176 h 705"/>
                <a:gd name="T48" fmla="*/ 480 w 807"/>
                <a:gd name="T49" fmla="*/ 204 h 705"/>
                <a:gd name="T50" fmla="*/ 494 w 807"/>
                <a:gd name="T51" fmla="*/ 270 h 705"/>
                <a:gd name="T52" fmla="*/ 500 w 807"/>
                <a:gd name="T53" fmla="*/ 340 h 705"/>
                <a:gd name="T54" fmla="*/ 502 w 807"/>
                <a:gd name="T55" fmla="*/ 309 h 705"/>
                <a:gd name="T56" fmla="*/ 525 w 807"/>
                <a:gd name="T57" fmla="*/ 344 h 705"/>
                <a:gd name="T58" fmla="*/ 523 w 807"/>
                <a:gd name="T59" fmla="*/ 373 h 705"/>
                <a:gd name="T60" fmla="*/ 568 w 807"/>
                <a:gd name="T61" fmla="*/ 430 h 705"/>
                <a:gd name="T62" fmla="*/ 586 w 807"/>
                <a:gd name="T63" fmla="*/ 407 h 705"/>
                <a:gd name="T64" fmla="*/ 607 w 807"/>
                <a:gd name="T65" fmla="*/ 438 h 705"/>
                <a:gd name="T66" fmla="*/ 615 w 807"/>
                <a:gd name="T67" fmla="*/ 481 h 705"/>
                <a:gd name="T68" fmla="*/ 639 w 807"/>
                <a:gd name="T69" fmla="*/ 512 h 705"/>
                <a:gd name="T70" fmla="*/ 686 w 807"/>
                <a:gd name="T71" fmla="*/ 547 h 705"/>
                <a:gd name="T72" fmla="*/ 697 w 807"/>
                <a:gd name="T73" fmla="*/ 586 h 705"/>
                <a:gd name="T74" fmla="*/ 750 w 807"/>
                <a:gd name="T75" fmla="*/ 575 h 705"/>
                <a:gd name="T76" fmla="*/ 768 w 807"/>
                <a:gd name="T77" fmla="*/ 561 h 705"/>
                <a:gd name="T78" fmla="*/ 682 w 807"/>
                <a:gd name="T79" fmla="*/ 217 h 705"/>
                <a:gd name="T80" fmla="*/ 738 w 807"/>
                <a:gd name="T81" fmla="*/ 334 h 705"/>
                <a:gd name="T82" fmla="*/ 799 w 807"/>
                <a:gd name="T83" fmla="*/ 698 h 705"/>
                <a:gd name="T84" fmla="*/ 490 w 807"/>
                <a:gd name="T85" fmla="*/ 233 h 705"/>
                <a:gd name="T86" fmla="*/ 486 w 807"/>
                <a:gd name="T87" fmla="*/ 219 h 705"/>
                <a:gd name="T88" fmla="*/ 473 w 807"/>
                <a:gd name="T89" fmla="*/ 194 h 705"/>
                <a:gd name="T90" fmla="*/ 647 w 807"/>
                <a:gd name="T91" fmla="*/ 664 h 705"/>
                <a:gd name="T92" fmla="*/ 615 w 807"/>
                <a:gd name="T93" fmla="*/ 668 h 705"/>
                <a:gd name="T94" fmla="*/ 662 w 807"/>
                <a:gd name="T95" fmla="*/ 520 h 705"/>
                <a:gd name="T96" fmla="*/ 654 w 807"/>
                <a:gd name="T97" fmla="*/ 520 h 705"/>
                <a:gd name="T98" fmla="*/ 541 w 807"/>
                <a:gd name="T99" fmla="*/ 672 h 705"/>
                <a:gd name="T100" fmla="*/ 584 w 807"/>
                <a:gd name="T101" fmla="*/ 463 h 705"/>
                <a:gd name="T102" fmla="*/ 668 w 807"/>
                <a:gd name="T103" fmla="*/ 645 h 705"/>
                <a:gd name="T104" fmla="*/ 662 w 807"/>
                <a:gd name="T105" fmla="*/ 657 h 705"/>
                <a:gd name="T106" fmla="*/ 713 w 807"/>
                <a:gd name="T107" fmla="*/ 575 h 705"/>
                <a:gd name="T108" fmla="*/ 516 w 807"/>
                <a:gd name="T109" fmla="*/ 358 h 705"/>
                <a:gd name="T110" fmla="*/ 676 w 807"/>
                <a:gd name="T111" fmla="*/ 647 h 705"/>
                <a:gd name="T112" fmla="*/ 742 w 807"/>
                <a:gd name="T113" fmla="*/ 584 h 705"/>
                <a:gd name="T114" fmla="*/ 766 w 807"/>
                <a:gd name="T115" fmla="*/ 580 h 705"/>
                <a:gd name="T116" fmla="*/ 781 w 807"/>
                <a:gd name="T117" fmla="*/ 561 h 705"/>
                <a:gd name="T118" fmla="*/ 680 w 807"/>
                <a:gd name="T119" fmla="*/ 637 h 705"/>
                <a:gd name="T120" fmla="*/ 738 w 807"/>
                <a:gd name="T121" fmla="*/ 606 h 705"/>
                <a:gd name="T122" fmla="*/ 717 w 807"/>
                <a:gd name="T123" fmla="*/ 631 h 705"/>
                <a:gd name="T124" fmla="*/ 764 w 807"/>
                <a:gd name="T125" fmla="*/ 5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7" h="705">
                  <a:moveTo>
                    <a:pt x="295" y="143"/>
                  </a:moveTo>
                  <a:lnTo>
                    <a:pt x="293" y="145"/>
                  </a:lnTo>
                  <a:lnTo>
                    <a:pt x="289" y="147"/>
                  </a:lnTo>
                  <a:lnTo>
                    <a:pt x="289" y="149"/>
                  </a:lnTo>
                  <a:lnTo>
                    <a:pt x="293" y="147"/>
                  </a:lnTo>
                  <a:lnTo>
                    <a:pt x="295" y="145"/>
                  </a:lnTo>
                  <a:lnTo>
                    <a:pt x="297" y="143"/>
                  </a:lnTo>
                  <a:lnTo>
                    <a:pt x="295" y="143"/>
                  </a:lnTo>
                  <a:lnTo>
                    <a:pt x="295" y="143"/>
                  </a:lnTo>
                  <a:close/>
                  <a:moveTo>
                    <a:pt x="285" y="151"/>
                  </a:moveTo>
                  <a:lnTo>
                    <a:pt x="285" y="153"/>
                  </a:lnTo>
                  <a:lnTo>
                    <a:pt x="283" y="155"/>
                  </a:lnTo>
                  <a:lnTo>
                    <a:pt x="283" y="155"/>
                  </a:lnTo>
                  <a:lnTo>
                    <a:pt x="283" y="155"/>
                  </a:lnTo>
                  <a:lnTo>
                    <a:pt x="281" y="155"/>
                  </a:lnTo>
                  <a:lnTo>
                    <a:pt x="281" y="155"/>
                  </a:lnTo>
                  <a:lnTo>
                    <a:pt x="281" y="157"/>
                  </a:lnTo>
                  <a:lnTo>
                    <a:pt x="281" y="157"/>
                  </a:lnTo>
                  <a:lnTo>
                    <a:pt x="281" y="157"/>
                  </a:lnTo>
                  <a:lnTo>
                    <a:pt x="279" y="157"/>
                  </a:lnTo>
                  <a:lnTo>
                    <a:pt x="260" y="170"/>
                  </a:lnTo>
                  <a:lnTo>
                    <a:pt x="258" y="172"/>
                  </a:lnTo>
                  <a:lnTo>
                    <a:pt x="256" y="172"/>
                  </a:lnTo>
                  <a:lnTo>
                    <a:pt x="252" y="172"/>
                  </a:lnTo>
                  <a:lnTo>
                    <a:pt x="250" y="172"/>
                  </a:lnTo>
                  <a:lnTo>
                    <a:pt x="254" y="172"/>
                  </a:lnTo>
                  <a:lnTo>
                    <a:pt x="256" y="172"/>
                  </a:lnTo>
                  <a:lnTo>
                    <a:pt x="260" y="172"/>
                  </a:lnTo>
                  <a:lnTo>
                    <a:pt x="262" y="172"/>
                  </a:lnTo>
                  <a:lnTo>
                    <a:pt x="269" y="168"/>
                  </a:lnTo>
                  <a:lnTo>
                    <a:pt x="271" y="166"/>
                  </a:lnTo>
                  <a:lnTo>
                    <a:pt x="279" y="159"/>
                  </a:lnTo>
                  <a:lnTo>
                    <a:pt x="283" y="155"/>
                  </a:lnTo>
                  <a:lnTo>
                    <a:pt x="285" y="153"/>
                  </a:lnTo>
                  <a:lnTo>
                    <a:pt x="285" y="153"/>
                  </a:lnTo>
                  <a:lnTo>
                    <a:pt x="287" y="151"/>
                  </a:lnTo>
                  <a:lnTo>
                    <a:pt x="287" y="151"/>
                  </a:lnTo>
                  <a:lnTo>
                    <a:pt x="287" y="151"/>
                  </a:lnTo>
                  <a:lnTo>
                    <a:pt x="285" y="151"/>
                  </a:lnTo>
                  <a:close/>
                  <a:moveTo>
                    <a:pt x="252" y="166"/>
                  </a:moveTo>
                  <a:lnTo>
                    <a:pt x="252" y="164"/>
                  </a:lnTo>
                  <a:lnTo>
                    <a:pt x="250" y="164"/>
                  </a:lnTo>
                  <a:lnTo>
                    <a:pt x="250" y="164"/>
                  </a:lnTo>
                  <a:lnTo>
                    <a:pt x="248" y="164"/>
                  </a:lnTo>
                  <a:lnTo>
                    <a:pt x="246" y="164"/>
                  </a:lnTo>
                  <a:lnTo>
                    <a:pt x="244" y="166"/>
                  </a:lnTo>
                  <a:lnTo>
                    <a:pt x="244" y="166"/>
                  </a:lnTo>
                  <a:lnTo>
                    <a:pt x="240" y="166"/>
                  </a:lnTo>
                  <a:lnTo>
                    <a:pt x="240" y="166"/>
                  </a:lnTo>
                  <a:lnTo>
                    <a:pt x="242" y="168"/>
                  </a:lnTo>
                  <a:lnTo>
                    <a:pt x="244" y="168"/>
                  </a:lnTo>
                  <a:lnTo>
                    <a:pt x="244" y="168"/>
                  </a:lnTo>
                  <a:lnTo>
                    <a:pt x="244" y="170"/>
                  </a:lnTo>
                  <a:lnTo>
                    <a:pt x="246" y="170"/>
                  </a:lnTo>
                  <a:lnTo>
                    <a:pt x="246" y="170"/>
                  </a:lnTo>
                  <a:lnTo>
                    <a:pt x="248" y="170"/>
                  </a:lnTo>
                  <a:lnTo>
                    <a:pt x="250" y="170"/>
                  </a:lnTo>
                  <a:lnTo>
                    <a:pt x="250" y="170"/>
                  </a:lnTo>
                  <a:lnTo>
                    <a:pt x="250" y="168"/>
                  </a:lnTo>
                  <a:lnTo>
                    <a:pt x="250" y="168"/>
                  </a:lnTo>
                  <a:lnTo>
                    <a:pt x="250" y="166"/>
                  </a:lnTo>
                  <a:lnTo>
                    <a:pt x="252" y="166"/>
                  </a:lnTo>
                  <a:close/>
                  <a:moveTo>
                    <a:pt x="95" y="104"/>
                  </a:moveTo>
                  <a:lnTo>
                    <a:pt x="92" y="106"/>
                  </a:lnTo>
                  <a:lnTo>
                    <a:pt x="92" y="106"/>
                  </a:lnTo>
                  <a:lnTo>
                    <a:pt x="90" y="106"/>
                  </a:lnTo>
                  <a:lnTo>
                    <a:pt x="80" y="110"/>
                  </a:lnTo>
                  <a:lnTo>
                    <a:pt x="76" y="110"/>
                  </a:lnTo>
                  <a:lnTo>
                    <a:pt x="74" y="110"/>
                  </a:lnTo>
                  <a:lnTo>
                    <a:pt x="72" y="110"/>
                  </a:lnTo>
                  <a:lnTo>
                    <a:pt x="72" y="112"/>
                  </a:lnTo>
                  <a:lnTo>
                    <a:pt x="68" y="112"/>
                  </a:lnTo>
                  <a:lnTo>
                    <a:pt x="62" y="114"/>
                  </a:lnTo>
                  <a:lnTo>
                    <a:pt x="58" y="116"/>
                  </a:lnTo>
                  <a:lnTo>
                    <a:pt x="47" y="118"/>
                  </a:lnTo>
                  <a:lnTo>
                    <a:pt x="39" y="120"/>
                  </a:lnTo>
                  <a:lnTo>
                    <a:pt x="37" y="120"/>
                  </a:lnTo>
                  <a:lnTo>
                    <a:pt x="43" y="120"/>
                  </a:lnTo>
                  <a:lnTo>
                    <a:pt x="105" y="106"/>
                  </a:lnTo>
                  <a:lnTo>
                    <a:pt x="105" y="106"/>
                  </a:lnTo>
                  <a:lnTo>
                    <a:pt x="105" y="106"/>
                  </a:lnTo>
                  <a:lnTo>
                    <a:pt x="105" y="106"/>
                  </a:lnTo>
                  <a:lnTo>
                    <a:pt x="105" y="106"/>
                  </a:lnTo>
                  <a:lnTo>
                    <a:pt x="107" y="106"/>
                  </a:lnTo>
                  <a:lnTo>
                    <a:pt x="107" y="106"/>
                  </a:lnTo>
                  <a:lnTo>
                    <a:pt x="109" y="104"/>
                  </a:lnTo>
                  <a:lnTo>
                    <a:pt x="99" y="104"/>
                  </a:lnTo>
                  <a:lnTo>
                    <a:pt x="95" y="104"/>
                  </a:lnTo>
                  <a:close/>
                  <a:moveTo>
                    <a:pt x="783" y="516"/>
                  </a:moveTo>
                  <a:lnTo>
                    <a:pt x="783" y="518"/>
                  </a:lnTo>
                  <a:lnTo>
                    <a:pt x="783" y="518"/>
                  </a:lnTo>
                  <a:lnTo>
                    <a:pt x="783" y="518"/>
                  </a:lnTo>
                  <a:lnTo>
                    <a:pt x="785" y="518"/>
                  </a:lnTo>
                  <a:lnTo>
                    <a:pt x="785" y="516"/>
                  </a:lnTo>
                  <a:lnTo>
                    <a:pt x="785" y="510"/>
                  </a:lnTo>
                  <a:lnTo>
                    <a:pt x="785" y="510"/>
                  </a:lnTo>
                  <a:lnTo>
                    <a:pt x="785" y="510"/>
                  </a:lnTo>
                  <a:lnTo>
                    <a:pt x="783" y="510"/>
                  </a:lnTo>
                  <a:lnTo>
                    <a:pt x="783" y="512"/>
                  </a:lnTo>
                  <a:lnTo>
                    <a:pt x="783" y="512"/>
                  </a:lnTo>
                  <a:lnTo>
                    <a:pt x="783" y="512"/>
                  </a:lnTo>
                  <a:lnTo>
                    <a:pt x="783" y="514"/>
                  </a:lnTo>
                  <a:lnTo>
                    <a:pt x="783" y="514"/>
                  </a:lnTo>
                  <a:lnTo>
                    <a:pt x="783" y="514"/>
                  </a:lnTo>
                  <a:lnTo>
                    <a:pt x="783" y="514"/>
                  </a:lnTo>
                  <a:lnTo>
                    <a:pt x="783" y="514"/>
                  </a:lnTo>
                  <a:lnTo>
                    <a:pt x="783" y="514"/>
                  </a:lnTo>
                  <a:lnTo>
                    <a:pt x="783" y="514"/>
                  </a:lnTo>
                  <a:lnTo>
                    <a:pt x="783" y="514"/>
                  </a:lnTo>
                  <a:lnTo>
                    <a:pt x="783" y="514"/>
                  </a:lnTo>
                  <a:lnTo>
                    <a:pt x="783" y="516"/>
                  </a:lnTo>
                  <a:lnTo>
                    <a:pt x="783" y="516"/>
                  </a:lnTo>
                  <a:close/>
                  <a:moveTo>
                    <a:pt x="592" y="467"/>
                  </a:moveTo>
                  <a:lnTo>
                    <a:pt x="590" y="465"/>
                  </a:lnTo>
                  <a:lnTo>
                    <a:pt x="588" y="465"/>
                  </a:lnTo>
                  <a:lnTo>
                    <a:pt x="588" y="465"/>
                  </a:lnTo>
                  <a:lnTo>
                    <a:pt x="588" y="465"/>
                  </a:lnTo>
                  <a:lnTo>
                    <a:pt x="586" y="467"/>
                  </a:lnTo>
                  <a:lnTo>
                    <a:pt x="584" y="467"/>
                  </a:lnTo>
                  <a:lnTo>
                    <a:pt x="582" y="467"/>
                  </a:lnTo>
                  <a:lnTo>
                    <a:pt x="582" y="467"/>
                  </a:lnTo>
                  <a:lnTo>
                    <a:pt x="580" y="467"/>
                  </a:lnTo>
                  <a:lnTo>
                    <a:pt x="578" y="465"/>
                  </a:lnTo>
                  <a:lnTo>
                    <a:pt x="576" y="463"/>
                  </a:lnTo>
                  <a:lnTo>
                    <a:pt x="576" y="461"/>
                  </a:lnTo>
                  <a:lnTo>
                    <a:pt x="576" y="461"/>
                  </a:lnTo>
                  <a:lnTo>
                    <a:pt x="574" y="459"/>
                  </a:lnTo>
                  <a:lnTo>
                    <a:pt x="574" y="459"/>
                  </a:lnTo>
                  <a:lnTo>
                    <a:pt x="574" y="459"/>
                  </a:lnTo>
                  <a:lnTo>
                    <a:pt x="574" y="459"/>
                  </a:lnTo>
                  <a:lnTo>
                    <a:pt x="572" y="459"/>
                  </a:lnTo>
                  <a:lnTo>
                    <a:pt x="574" y="461"/>
                  </a:lnTo>
                  <a:lnTo>
                    <a:pt x="576" y="465"/>
                  </a:lnTo>
                  <a:lnTo>
                    <a:pt x="576" y="467"/>
                  </a:lnTo>
                  <a:lnTo>
                    <a:pt x="578" y="467"/>
                  </a:lnTo>
                  <a:lnTo>
                    <a:pt x="578" y="467"/>
                  </a:lnTo>
                  <a:lnTo>
                    <a:pt x="584" y="471"/>
                  </a:lnTo>
                  <a:lnTo>
                    <a:pt x="584" y="471"/>
                  </a:lnTo>
                  <a:lnTo>
                    <a:pt x="584" y="471"/>
                  </a:lnTo>
                  <a:lnTo>
                    <a:pt x="586" y="471"/>
                  </a:lnTo>
                  <a:lnTo>
                    <a:pt x="588" y="469"/>
                  </a:lnTo>
                  <a:lnTo>
                    <a:pt x="590" y="467"/>
                  </a:lnTo>
                  <a:lnTo>
                    <a:pt x="592" y="467"/>
                  </a:lnTo>
                  <a:lnTo>
                    <a:pt x="592" y="467"/>
                  </a:lnTo>
                  <a:lnTo>
                    <a:pt x="592" y="467"/>
                  </a:lnTo>
                  <a:close/>
                  <a:moveTo>
                    <a:pt x="781" y="473"/>
                  </a:moveTo>
                  <a:lnTo>
                    <a:pt x="781" y="471"/>
                  </a:lnTo>
                  <a:lnTo>
                    <a:pt x="781" y="471"/>
                  </a:lnTo>
                  <a:lnTo>
                    <a:pt x="781" y="467"/>
                  </a:lnTo>
                  <a:lnTo>
                    <a:pt x="781" y="450"/>
                  </a:lnTo>
                  <a:lnTo>
                    <a:pt x="781" y="448"/>
                  </a:lnTo>
                  <a:lnTo>
                    <a:pt x="781" y="446"/>
                  </a:lnTo>
                  <a:lnTo>
                    <a:pt x="781" y="444"/>
                  </a:lnTo>
                  <a:lnTo>
                    <a:pt x="779" y="442"/>
                  </a:lnTo>
                  <a:lnTo>
                    <a:pt x="779" y="440"/>
                  </a:lnTo>
                  <a:lnTo>
                    <a:pt x="781" y="436"/>
                  </a:lnTo>
                  <a:lnTo>
                    <a:pt x="779" y="422"/>
                  </a:lnTo>
                  <a:lnTo>
                    <a:pt x="779" y="422"/>
                  </a:lnTo>
                  <a:lnTo>
                    <a:pt x="779" y="418"/>
                  </a:lnTo>
                  <a:lnTo>
                    <a:pt x="777" y="405"/>
                  </a:lnTo>
                  <a:lnTo>
                    <a:pt x="777" y="401"/>
                  </a:lnTo>
                  <a:lnTo>
                    <a:pt x="774" y="401"/>
                  </a:lnTo>
                  <a:lnTo>
                    <a:pt x="774" y="399"/>
                  </a:lnTo>
                  <a:lnTo>
                    <a:pt x="774" y="397"/>
                  </a:lnTo>
                  <a:lnTo>
                    <a:pt x="774" y="395"/>
                  </a:lnTo>
                  <a:lnTo>
                    <a:pt x="770" y="385"/>
                  </a:lnTo>
                  <a:lnTo>
                    <a:pt x="770" y="385"/>
                  </a:lnTo>
                  <a:lnTo>
                    <a:pt x="768" y="383"/>
                  </a:lnTo>
                  <a:lnTo>
                    <a:pt x="766" y="383"/>
                  </a:lnTo>
                  <a:lnTo>
                    <a:pt x="764" y="383"/>
                  </a:lnTo>
                  <a:lnTo>
                    <a:pt x="764" y="383"/>
                  </a:lnTo>
                  <a:lnTo>
                    <a:pt x="766" y="381"/>
                  </a:lnTo>
                  <a:lnTo>
                    <a:pt x="766" y="381"/>
                  </a:lnTo>
                  <a:lnTo>
                    <a:pt x="768" y="381"/>
                  </a:lnTo>
                  <a:lnTo>
                    <a:pt x="768" y="379"/>
                  </a:lnTo>
                  <a:lnTo>
                    <a:pt x="768" y="379"/>
                  </a:lnTo>
                  <a:lnTo>
                    <a:pt x="766" y="375"/>
                  </a:lnTo>
                  <a:lnTo>
                    <a:pt x="762" y="368"/>
                  </a:lnTo>
                  <a:lnTo>
                    <a:pt x="760" y="364"/>
                  </a:lnTo>
                  <a:lnTo>
                    <a:pt x="758" y="364"/>
                  </a:lnTo>
                  <a:lnTo>
                    <a:pt x="758" y="362"/>
                  </a:lnTo>
                  <a:lnTo>
                    <a:pt x="754" y="360"/>
                  </a:lnTo>
                  <a:lnTo>
                    <a:pt x="754" y="360"/>
                  </a:lnTo>
                  <a:lnTo>
                    <a:pt x="750" y="356"/>
                  </a:lnTo>
                  <a:lnTo>
                    <a:pt x="750" y="356"/>
                  </a:lnTo>
                  <a:lnTo>
                    <a:pt x="748" y="358"/>
                  </a:lnTo>
                  <a:lnTo>
                    <a:pt x="746" y="358"/>
                  </a:lnTo>
                  <a:lnTo>
                    <a:pt x="744" y="356"/>
                  </a:lnTo>
                  <a:lnTo>
                    <a:pt x="744" y="356"/>
                  </a:lnTo>
                  <a:lnTo>
                    <a:pt x="742" y="354"/>
                  </a:lnTo>
                  <a:lnTo>
                    <a:pt x="740" y="354"/>
                  </a:lnTo>
                  <a:lnTo>
                    <a:pt x="742" y="354"/>
                  </a:lnTo>
                  <a:lnTo>
                    <a:pt x="742" y="354"/>
                  </a:lnTo>
                  <a:lnTo>
                    <a:pt x="744" y="354"/>
                  </a:lnTo>
                  <a:lnTo>
                    <a:pt x="744" y="354"/>
                  </a:lnTo>
                  <a:lnTo>
                    <a:pt x="746" y="356"/>
                  </a:lnTo>
                  <a:lnTo>
                    <a:pt x="750" y="356"/>
                  </a:lnTo>
                  <a:lnTo>
                    <a:pt x="752" y="356"/>
                  </a:lnTo>
                  <a:lnTo>
                    <a:pt x="752" y="358"/>
                  </a:lnTo>
                  <a:lnTo>
                    <a:pt x="752" y="356"/>
                  </a:lnTo>
                  <a:lnTo>
                    <a:pt x="731" y="325"/>
                  </a:lnTo>
                  <a:lnTo>
                    <a:pt x="725" y="311"/>
                  </a:lnTo>
                  <a:lnTo>
                    <a:pt x="684" y="250"/>
                  </a:lnTo>
                  <a:lnTo>
                    <a:pt x="682" y="245"/>
                  </a:lnTo>
                  <a:lnTo>
                    <a:pt x="678" y="241"/>
                  </a:lnTo>
                  <a:lnTo>
                    <a:pt x="676" y="235"/>
                  </a:lnTo>
                  <a:lnTo>
                    <a:pt x="674" y="233"/>
                  </a:lnTo>
                  <a:lnTo>
                    <a:pt x="670" y="223"/>
                  </a:lnTo>
                  <a:lnTo>
                    <a:pt x="670" y="219"/>
                  </a:lnTo>
                  <a:lnTo>
                    <a:pt x="668" y="217"/>
                  </a:lnTo>
                  <a:lnTo>
                    <a:pt x="666" y="213"/>
                  </a:lnTo>
                  <a:lnTo>
                    <a:pt x="666" y="211"/>
                  </a:lnTo>
                  <a:lnTo>
                    <a:pt x="666" y="211"/>
                  </a:lnTo>
                  <a:lnTo>
                    <a:pt x="664" y="209"/>
                  </a:lnTo>
                  <a:lnTo>
                    <a:pt x="660" y="198"/>
                  </a:lnTo>
                  <a:lnTo>
                    <a:pt x="662" y="198"/>
                  </a:lnTo>
                  <a:lnTo>
                    <a:pt x="666" y="202"/>
                  </a:lnTo>
                  <a:lnTo>
                    <a:pt x="670" y="202"/>
                  </a:lnTo>
                  <a:lnTo>
                    <a:pt x="672" y="204"/>
                  </a:lnTo>
                  <a:lnTo>
                    <a:pt x="670" y="207"/>
                  </a:lnTo>
                  <a:lnTo>
                    <a:pt x="670" y="209"/>
                  </a:lnTo>
                  <a:lnTo>
                    <a:pt x="670" y="207"/>
                  </a:lnTo>
                  <a:lnTo>
                    <a:pt x="670" y="209"/>
                  </a:lnTo>
                  <a:lnTo>
                    <a:pt x="670" y="211"/>
                  </a:lnTo>
                  <a:lnTo>
                    <a:pt x="670" y="213"/>
                  </a:lnTo>
                  <a:lnTo>
                    <a:pt x="670" y="215"/>
                  </a:lnTo>
                  <a:lnTo>
                    <a:pt x="672" y="217"/>
                  </a:lnTo>
                  <a:lnTo>
                    <a:pt x="674" y="217"/>
                  </a:lnTo>
                  <a:lnTo>
                    <a:pt x="680" y="217"/>
                  </a:lnTo>
                  <a:lnTo>
                    <a:pt x="680" y="217"/>
                  </a:lnTo>
                  <a:lnTo>
                    <a:pt x="682" y="217"/>
                  </a:lnTo>
                  <a:lnTo>
                    <a:pt x="682" y="215"/>
                  </a:lnTo>
                  <a:lnTo>
                    <a:pt x="680" y="215"/>
                  </a:lnTo>
                  <a:lnTo>
                    <a:pt x="680" y="213"/>
                  </a:lnTo>
                  <a:lnTo>
                    <a:pt x="682" y="213"/>
                  </a:lnTo>
                  <a:lnTo>
                    <a:pt x="682" y="213"/>
                  </a:lnTo>
                  <a:lnTo>
                    <a:pt x="682" y="215"/>
                  </a:lnTo>
                  <a:lnTo>
                    <a:pt x="682" y="215"/>
                  </a:lnTo>
                  <a:lnTo>
                    <a:pt x="684" y="213"/>
                  </a:lnTo>
                  <a:lnTo>
                    <a:pt x="686" y="215"/>
                  </a:lnTo>
                  <a:lnTo>
                    <a:pt x="688" y="215"/>
                  </a:lnTo>
                  <a:lnTo>
                    <a:pt x="688" y="217"/>
                  </a:lnTo>
                  <a:lnTo>
                    <a:pt x="690" y="221"/>
                  </a:lnTo>
                  <a:lnTo>
                    <a:pt x="690" y="225"/>
                  </a:lnTo>
                  <a:lnTo>
                    <a:pt x="690" y="239"/>
                  </a:lnTo>
                  <a:lnTo>
                    <a:pt x="693" y="258"/>
                  </a:lnTo>
                  <a:lnTo>
                    <a:pt x="695" y="262"/>
                  </a:lnTo>
                  <a:lnTo>
                    <a:pt x="699" y="268"/>
                  </a:lnTo>
                  <a:lnTo>
                    <a:pt x="707" y="278"/>
                  </a:lnTo>
                  <a:lnTo>
                    <a:pt x="707" y="282"/>
                  </a:lnTo>
                  <a:lnTo>
                    <a:pt x="711" y="284"/>
                  </a:lnTo>
                  <a:lnTo>
                    <a:pt x="711" y="284"/>
                  </a:lnTo>
                  <a:lnTo>
                    <a:pt x="713" y="286"/>
                  </a:lnTo>
                  <a:lnTo>
                    <a:pt x="715" y="291"/>
                  </a:lnTo>
                  <a:lnTo>
                    <a:pt x="715" y="286"/>
                  </a:lnTo>
                  <a:lnTo>
                    <a:pt x="705" y="276"/>
                  </a:lnTo>
                  <a:lnTo>
                    <a:pt x="703" y="270"/>
                  </a:lnTo>
                  <a:lnTo>
                    <a:pt x="701" y="270"/>
                  </a:lnTo>
                  <a:lnTo>
                    <a:pt x="699" y="266"/>
                  </a:lnTo>
                  <a:lnTo>
                    <a:pt x="695" y="256"/>
                  </a:lnTo>
                  <a:lnTo>
                    <a:pt x="695" y="250"/>
                  </a:lnTo>
                  <a:lnTo>
                    <a:pt x="695" y="248"/>
                  </a:lnTo>
                  <a:lnTo>
                    <a:pt x="693" y="248"/>
                  </a:lnTo>
                  <a:lnTo>
                    <a:pt x="695" y="245"/>
                  </a:lnTo>
                  <a:lnTo>
                    <a:pt x="693" y="235"/>
                  </a:lnTo>
                  <a:lnTo>
                    <a:pt x="693" y="235"/>
                  </a:lnTo>
                  <a:lnTo>
                    <a:pt x="693" y="235"/>
                  </a:lnTo>
                  <a:lnTo>
                    <a:pt x="693" y="233"/>
                  </a:lnTo>
                  <a:lnTo>
                    <a:pt x="695" y="233"/>
                  </a:lnTo>
                  <a:lnTo>
                    <a:pt x="695" y="231"/>
                  </a:lnTo>
                  <a:lnTo>
                    <a:pt x="695" y="231"/>
                  </a:lnTo>
                  <a:lnTo>
                    <a:pt x="697" y="229"/>
                  </a:lnTo>
                  <a:lnTo>
                    <a:pt x="697" y="227"/>
                  </a:lnTo>
                  <a:lnTo>
                    <a:pt x="695" y="225"/>
                  </a:lnTo>
                  <a:lnTo>
                    <a:pt x="690" y="219"/>
                  </a:lnTo>
                  <a:lnTo>
                    <a:pt x="684" y="211"/>
                  </a:lnTo>
                  <a:lnTo>
                    <a:pt x="678" y="204"/>
                  </a:lnTo>
                  <a:lnTo>
                    <a:pt x="670" y="194"/>
                  </a:lnTo>
                  <a:lnTo>
                    <a:pt x="654" y="176"/>
                  </a:lnTo>
                  <a:lnTo>
                    <a:pt x="654" y="174"/>
                  </a:lnTo>
                  <a:lnTo>
                    <a:pt x="652" y="172"/>
                  </a:lnTo>
                  <a:lnTo>
                    <a:pt x="650" y="172"/>
                  </a:lnTo>
                  <a:lnTo>
                    <a:pt x="650" y="170"/>
                  </a:lnTo>
                  <a:lnTo>
                    <a:pt x="650" y="168"/>
                  </a:lnTo>
                  <a:lnTo>
                    <a:pt x="637" y="153"/>
                  </a:lnTo>
                  <a:lnTo>
                    <a:pt x="629" y="137"/>
                  </a:lnTo>
                  <a:lnTo>
                    <a:pt x="621" y="127"/>
                  </a:lnTo>
                  <a:lnTo>
                    <a:pt x="615" y="118"/>
                  </a:lnTo>
                  <a:lnTo>
                    <a:pt x="615" y="118"/>
                  </a:lnTo>
                  <a:lnTo>
                    <a:pt x="615" y="116"/>
                  </a:lnTo>
                  <a:lnTo>
                    <a:pt x="613" y="114"/>
                  </a:lnTo>
                  <a:lnTo>
                    <a:pt x="613" y="112"/>
                  </a:lnTo>
                  <a:lnTo>
                    <a:pt x="609" y="106"/>
                  </a:lnTo>
                  <a:lnTo>
                    <a:pt x="607" y="100"/>
                  </a:lnTo>
                  <a:lnTo>
                    <a:pt x="604" y="100"/>
                  </a:lnTo>
                  <a:lnTo>
                    <a:pt x="604" y="98"/>
                  </a:lnTo>
                  <a:lnTo>
                    <a:pt x="602" y="94"/>
                  </a:lnTo>
                  <a:lnTo>
                    <a:pt x="602" y="92"/>
                  </a:lnTo>
                  <a:lnTo>
                    <a:pt x="602" y="92"/>
                  </a:lnTo>
                  <a:lnTo>
                    <a:pt x="602" y="92"/>
                  </a:lnTo>
                  <a:lnTo>
                    <a:pt x="600" y="90"/>
                  </a:lnTo>
                  <a:lnTo>
                    <a:pt x="600" y="90"/>
                  </a:lnTo>
                  <a:lnTo>
                    <a:pt x="600" y="90"/>
                  </a:lnTo>
                  <a:lnTo>
                    <a:pt x="600" y="88"/>
                  </a:lnTo>
                  <a:lnTo>
                    <a:pt x="600" y="88"/>
                  </a:lnTo>
                  <a:lnTo>
                    <a:pt x="598" y="88"/>
                  </a:lnTo>
                  <a:lnTo>
                    <a:pt x="598" y="86"/>
                  </a:lnTo>
                  <a:lnTo>
                    <a:pt x="594" y="73"/>
                  </a:lnTo>
                  <a:lnTo>
                    <a:pt x="592" y="65"/>
                  </a:lnTo>
                  <a:lnTo>
                    <a:pt x="592" y="63"/>
                  </a:lnTo>
                  <a:lnTo>
                    <a:pt x="588" y="59"/>
                  </a:lnTo>
                  <a:lnTo>
                    <a:pt x="588" y="59"/>
                  </a:lnTo>
                  <a:lnTo>
                    <a:pt x="582" y="47"/>
                  </a:lnTo>
                  <a:lnTo>
                    <a:pt x="582" y="43"/>
                  </a:lnTo>
                  <a:lnTo>
                    <a:pt x="582" y="38"/>
                  </a:lnTo>
                  <a:lnTo>
                    <a:pt x="582" y="36"/>
                  </a:lnTo>
                  <a:lnTo>
                    <a:pt x="580" y="36"/>
                  </a:lnTo>
                  <a:lnTo>
                    <a:pt x="580" y="36"/>
                  </a:lnTo>
                  <a:lnTo>
                    <a:pt x="580" y="34"/>
                  </a:lnTo>
                  <a:lnTo>
                    <a:pt x="580" y="32"/>
                  </a:lnTo>
                  <a:lnTo>
                    <a:pt x="578" y="30"/>
                  </a:lnTo>
                  <a:lnTo>
                    <a:pt x="578" y="30"/>
                  </a:lnTo>
                  <a:lnTo>
                    <a:pt x="578" y="28"/>
                  </a:lnTo>
                  <a:lnTo>
                    <a:pt x="576" y="28"/>
                  </a:lnTo>
                  <a:lnTo>
                    <a:pt x="576" y="28"/>
                  </a:lnTo>
                  <a:lnTo>
                    <a:pt x="576" y="28"/>
                  </a:lnTo>
                  <a:lnTo>
                    <a:pt x="574" y="26"/>
                  </a:lnTo>
                  <a:lnTo>
                    <a:pt x="574" y="26"/>
                  </a:lnTo>
                  <a:lnTo>
                    <a:pt x="572" y="24"/>
                  </a:lnTo>
                  <a:lnTo>
                    <a:pt x="572" y="24"/>
                  </a:lnTo>
                  <a:lnTo>
                    <a:pt x="570" y="22"/>
                  </a:lnTo>
                  <a:lnTo>
                    <a:pt x="568" y="22"/>
                  </a:lnTo>
                  <a:lnTo>
                    <a:pt x="568" y="20"/>
                  </a:lnTo>
                  <a:lnTo>
                    <a:pt x="568" y="18"/>
                  </a:lnTo>
                  <a:lnTo>
                    <a:pt x="568" y="16"/>
                  </a:lnTo>
                  <a:lnTo>
                    <a:pt x="568" y="14"/>
                  </a:lnTo>
                  <a:lnTo>
                    <a:pt x="568" y="14"/>
                  </a:lnTo>
                  <a:lnTo>
                    <a:pt x="570" y="14"/>
                  </a:lnTo>
                  <a:lnTo>
                    <a:pt x="570" y="16"/>
                  </a:lnTo>
                  <a:lnTo>
                    <a:pt x="570" y="16"/>
                  </a:lnTo>
                  <a:lnTo>
                    <a:pt x="572" y="16"/>
                  </a:lnTo>
                  <a:lnTo>
                    <a:pt x="572" y="20"/>
                  </a:lnTo>
                  <a:lnTo>
                    <a:pt x="572" y="22"/>
                  </a:lnTo>
                  <a:lnTo>
                    <a:pt x="574" y="22"/>
                  </a:lnTo>
                  <a:lnTo>
                    <a:pt x="574" y="24"/>
                  </a:lnTo>
                  <a:lnTo>
                    <a:pt x="574" y="20"/>
                  </a:lnTo>
                  <a:lnTo>
                    <a:pt x="572" y="12"/>
                  </a:lnTo>
                  <a:lnTo>
                    <a:pt x="572" y="8"/>
                  </a:lnTo>
                  <a:lnTo>
                    <a:pt x="572" y="6"/>
                  </a:lnTo>
                  <a:lnTo>
                    <a:pt x="572" y="6"/>
                  </a:lnTo>
                  <a:lnTo>
                    <a:pt x="572" y="6"/>
                  </a:lnTo>
                  <a:lnTo>
                    <a:pt x="572" y="6"/>
                  </a:lnTo>
                  <a:lnTo>
                    <a:pt x="572" y="6"/>
                  </a:lnTo>
                  <a:lnTo>
                    <a:pt x="570" y="6"/>
                  </a:lnTo>
                  <a:lnTo>
                    <a:pt x="570" y="6"/>
                  </a:lnTo>
                  <a:lnTo>
                    <a:pt x="568" y="6"/>
                  </a:lnTo>
                  <a:lnTo>
                    <a:pt x="568" y="6"/>
                  </a:lnTo>
                  <a:lnTo>
                    <a:pt x="566" y="6"/>
                  </a:lnTo>
                  <a:lnTo>
                    <a:pt x="566" y="4"/>
                  </a:lnTo>
                  <a:lnTo>
                    <a:pt x="566" y="4"/>
                  </a:lnTo>
                  <a:lnTo>
                    <a:pt x="564" y="4"/>
                  </a:lnTo>
                  <a:lnTo>
                    <a:pt x="559" y="6"/>
                  </a:lnTo>
                  <a:lnTo>
                    <a:pt x="559" y="6"/>
                  </a:lnTo>
                  <a:lnTo>
                    <a:pt x="555" y="6"/>
                  </a:lnTo>
                  <a:lnTo>
                    <a:pt x="555" y="6"/>
                  </a:lnTo>
                  <a:lnTo>
                    <a:pt x="553" y="6"/>
                  </a:lnTo>
                  <a:lnTo>
                    <a:pt x="553" y="6"/>
                  </a:lnTo>
                  <a:lnTo>
                    <a:pt x="551" y="6"/>
                  </a:lnTo>
                  <a:lnTo>
                    <a:pt x="551" y="6"/>
                  </a:lnTo>
                  <a:lnTo>
                    <a:pt x="545" y="4"/>
                  </a:lnTo>
                  <a:lnTo>
                    <a:pt x="545" y="4"/>
                  </a:lnTo>
                  <a:lnTo>
                    <a:pt x="543" y="4"/>
                  </a:lnTo>
                  <a:lnTo>
                    <a:pt x="543" y="4"/>
                  </a:lnTo>
                  <a:lnTo>
                    <a:pt x="541" y="4"/>
                  </a:lnTo>
                  <a:lnTo>
                    <a:pt x="541" y="4"/>
                  </a:lnTo>
                  <a:lnTo>
                    <a:pt x="539" y="4"/>
                  </a:lnTo>
                  <a:lnTo>
                    <a:pt x="539" y="4"/>
                  </a:lnTo>
                  <a:lnTo>
                    <a:pt x="531" y="2"/>
                  </a:lnTo>
                  <a:lnTo>
                    <a:pt x="529" y="0"/>
                  </a:lnTo>
                  <a:lnTo>
                    <a:pt x="527" y="0"/>
                  </a:lnTo>
                  <a:lnTo>
                    <a:pt x="527" y="0"/>
                  </a:lnTo>
                  <a:lnTo>
                    <a:pt x="525" y="0"/>
                  </a:lnTo>
                  <a:lnTo>
                    <a:pt x="525" y="0"/>
                  </a:lnTo>
                  <a:lnTo>
                    <a:pt x="525" y="0"/>
                  </a:lnTo>
                  <a:lnTo>
                    <a:pt x="523" y="0"/>
                  </a:lnTo>
                  <a:lnTo>
                    <a:pt x="523" y="0"/>
                  </a:lnTo>
                  <a:lnTo>
                    <a:pt x="521" y="0"/>
                  </a:lnTo>
                  <a:lnTo>
                    <a:pt x="521" y="2"/>
                  </a:lnTo>
                  <a:lnTo>
                    <a:pt x="521" y="2"/>
                  </a:lnTo>
                  <a:lnTo>
                    <a:pt x="521" y="2"/>
                  </a:lnTo>
                  <a:lnTo>
                    <a:pt x="521" y="2"/>
                  </a:lnTo>
                  <a:lnTo>
                    <a:pt x="521" y="4"/>
                  </a:lnTo>
                  <a:lnTo>
                    <a:pt x="521" y="4"/>
                  </a:lnTo>
                  <a:lnTo>
                    <a:pt x="521" y="4"/>
                  </a:lnTo>
                  <a:lnTo>
                    <a:pt x="521" y="4"/>
                  </a:lnTo>
                  <a:lnTo>
                    <a:pt x="518" y="4"/>
                  </a:lnTo>
                  <a:lnTo>
                    <a:pt x="518" y="4"/>
                  </a:lnTo>
                  <a:lnTo>
                    <a:pt x="518" y="4"/>
                  </a:lnTo>
                  <a:lnTo>
                    <a:pt x="516" y="6"/>
                  </a:lnTo>
                  <a:lnTo>
                    <a:pt x="516" y="6"/>
                  </a:lnTo>
                  <a:lnTo>
                    <a:pt x="516" y="6"/>
                  </a:lnTo>
                  <a:lnTo>
                    <a:pt x="516" y="8"/>
                  </a:lnTo>
                  <a:lnTo>
                    <a:pt x="516" y="8"/>
                  </a:lnTo>
                  <a:lnTo>
                    <a:pt x="516" y="8"/>
                  </a:lnTo>
                  <a:lnTo>
                    <a:pt x="516" y="10"/>
                  </a:lnTo>
                  <a:lnTo>
                    <a:pt x="516" y="10"/>
                  </a:lnTo>
                  <a:lnTo>
                    <a:pt x="516" y="10"/>
                  </a:lnTo>
                  <a:lnTo>
                    <a:pt x="516" y="12"/>
                  </a:lnTo>
                  <a:lnTo>
                    <a:pt x="516" y="14"/>
                  </a:lnTo>
                  <a:lnTo>
                    <a:pt x="516" y="14"/>
                  </a:lnTo>
                  <a:lnTo>
                    <a:pt x="516" y="16"/>
                  </a:lnTo>
                  <a:lnTo>
                    <a:pt x="516" y="18"/>
                  </a:lnTo>
                  <a:lnTo>
                    <a:pt x="516" y="18"/>
                  </a:lnTo>
                  <a:lnTo>
                    <a:pt x="516" y="20"/>
                  </a:lnTo>
                  <a:lnTo>
                    <a:pt x="516" y="20"/>
                  </a:lnTo>
                  <a:lnTo>
                    <a:pt x="516" y="22"/>
                  </a:lnTo>
                  <a:lnTo>
                    <a:pt x="518" y="22"/>
                  </a:lnTo>
                  <a:lnTo>
                    <a:pt x="521" y="24"/>
                  </a:lnTo>
                  <a:lnTo>
                    <a:pt x="521" y="24"/>
                  </a:lnTo>
                  <a:lnTo>
                    <a:pt x="521" y="26"/>
                  </a:lnTo>
                  <a:lnTo>
                    <a:pt x="521" y="26"/>
                  </a:lnTo>
                  <a:lnTo>
                    <a:pt x="521" y="28"/>
                  </a:lnTo>
                  <a:lnTo>
                    <a:pt x="521" y="34"/>
                  </a:lnTo>
                  <a:lnTo>
                    <a:pt x="521" y="43"/>
                  </a:lnTo>
                  <a:lnTo>
                    <a:pt x="521" y="43"/>
                  </a:lnTo>
                  <a:lnTo>
                    <a:pt x="521" y="45"/>
                  </a:lnTo>
                  <a:lnTo>
                    <a:pt x="521" y="47"/>
                  </a:lnTo>
                  <a:lnTo>
                    <a:pt x="521" y="49"/>
                  </a:lnTo>
                  <a:lnTo>
                    <a:pt x="521" y="49"/>
                  </a:lnTo>
                  <a:lnTo>
                    <a:pt x="521" y="49"/>
                  </a:lnTo>
                  <a:lnTo>
                    <a:pt x="521" y="49"/>
                  </a:lnTo>
                  <a:lnTo>
                    <a:pt x="518" y="51"/>
                  </a:lnTo>
                  <a:lnTo>
                    <a:pt x="518" y="51"/>
                  </a:lnTo>
                  <a:lnTo>
                    <a:pt x="516" y="51"/>
                  </a:lnTo>
                  <a:lnTo>
                    <a:pt x="514" y="51"/>
                  </a:lnTo>
                  <a:lnTo>
                    <a:pt x="514" y="51"/>
                  </a:lnTo>
                  <a:lnTo>
                    <a:pt x="510" y="51"/>
                  </a:lnTo>
                  <a:lnTo>
                    <a:pt x="510" y="51"/>
                  </a:lnTo>
                  <a:lnTo>
                    <a:pt x="508" y="51"/>
                  </a:lnTo>
                  <a:lnTo>
                    <a:pt x="508" y="51"/>
                  </a:lnTo>
                  <a:lnTo>
                    <a:pt x="508" y="51"/>
                  </a:lnTo>
                  <a:lnTo>
                    <a:pt x="508" y="51"/>
                  </a:lnTo>
                  <a:lnTo>
                    <a:pt x="506" y="47"/>
                  </a:lnTo>
                  <a:lnTo>
                    <a:pt x="504" y="45"/>
                  </a:lnTo>
                  <a:lnTo>
                    <a:pt x="504" y="45"/>
                  </a:lnTo>
                  <a:lnTo>
                    <a:pt x="504" y="45"/>
                  </a:lnTo>
                  <a:lnTo>
                    <a:pt x="504" y="43"/>
                  </a:lnTo>
                  <a:lnTo>
                    <a:pt x="504" y="41"/>
                  </a:lnTo>
                  <a:lnTo>
                    <a:pt x="504" y="41"/>
                  </a:lnTo>
                  <a:lnTo>
                    <a:pt x="504" y="41"/>
                  </a:lnTo>
                  <a:lnTo>
                    <a:pt x="504" y="41"/>
                  </a:lnTo>
                  <a:lnTo>
                    <a:pt x="504" y="38"/>
                  </a:lnTo>
                  <a:lnTo>
                    <a:pt x="504" y="38"/>
                  </a:lnTo>
                  <a:lnTo>
                    <a:pt x="504" y="38"/>
                  </a:lnTo>
                  <a:lnTo>
                    <a:pt x="500" y="34"/>
                  </a:lnTo>
                  <a:lnTo>
                    <a:pt x="500" y="34"/>
                  </a:lnTo>
                  <a:lnTo>
                    <a:pt x="500" y="34"/>
                  </a:lnTo>
                  <a:lnTo>
                    <a:pt x="500" y="34"/>
                  </a:lnTo>
                  <a:lnTo>
                    <a:pt x="500" y="34"/>
                  </a:lnTo>
                  <a:lnTo>
                    <a:pt x="500" y="32"/>
                  </a:lnTo>
                  <a:lnTo>
                    <a:pt x="500" y="32"/>
                  </a:lnTo>
                  <a:lnTo>
                    <a:pt x="500" y="32"/>
                  </a:lnTo>
                  <a:lnTo>
                    <a:pt x="500" y="32"/>
                  </a:lnTo>
                  <a:lnTo>
                    <a:pt x="496" y="32"/>
                  </a:lnTo>
                  <a:lnTo>
                    <a:pt x="494" y="32"/>
                  </a:lnTo>
                  <a:lnTo>
                    <a:pt x="488" y="32"/>
                  </a:lnTo>
                  <a:lnTo>
                    <a:pt x="484" y="32"/>
                  </a:lnTo>
                  <a:lnTo>
                    <a:pt x="477" y="34"/>
                  </a:lnTo>
                  <a:lnTo>
                    <a:pt x="471" y="34"/>
                  </a:lnTo>
                  <a:lnTo>
                    <a:pt x="463" y="34"/>
                  </a:lnTo>
                  <a:lnTo>
                    <a:pt x="455" y="36"/>
                  </a:lnTo>
                  <a:lnTo>
                    <a:pt x="447" y="36"/>
                  </a:lnTo>
                  <a:lnTo>
                    <a:pt x="437" y="36"/>
                  </a:lnTo>
                  <a:lnTo>
                    <a:pt x="428" y="38"/>
                  </a:lnTo>
                  <a:lnTo>
                    <a:pt x="418" y="38"/>
                  </a:lnTo>
                  <a:lnTo>
                    <a:pt x="408" y="38"/>
                  </a:lnTo>
                  <a:lnTo>
                    <a:pt x="398" y="41"/>
                  </a:lnTo>
                  <a:lnTo>
                    <a:pt x="387" y="41"/>
                  </a:lnTo>
                  <a:lnTo>
                    <a:pt x="377" y="43"/>
                  </a:lnTo>
                  <a:lnTo>
                    <a:pt x="367" y="43"/>
                  </a:lnTo>
                  <a:lnTo>
                    <a:pt x="357" y="45"/>
                  </a:lnTo>
                  <a:lnTo>
                    <a:pt x="346" y="45"/>
                  </a:lnTo>
                  <a:lnTo>
                    <a:pt x="336" y="45"/>
                  </a:lnTo>
                  <a:lnTo>
                    <a:pt x="326" y="47"/>
                  </a:lnTo>
                  <a:lnTo>
                    <a:pt x="318" y="47"/>
                  </a:lnTo>
                  <a:lnTo>
                    <a:pt x="308" y="47"/>
                  </a:lnTo>
                  <a:lnTo>
                    <a:pt x="299" y="49"/>
                  </a:lnTo>
                  <a:lnTo>
                    <a:pt x="291" y="49"/>
                  </a:lnTo>
                  <a:lnTo>
                    <a:pt x="285" y="49"/>
                  </a:lnTo>
                  <a:lnTo>
                    <a:pt x="279" y="49"/>
                  </a:lnTo>
                  <a:lnTo>
                    <a:pt x="273" y="51"/>
                  </a:lnTo>
                  <a:lnTo>
                    <a:pt x="269" y="51"/>
                  </a:lnTo>
                  <a:lnTo>
                    <a:pt x="265" y="51"/>
                  </a:lnTo>
                  <a:lnTo>
                    <a:pt x="262" y="51"/>
                  </a:lnTo>
                  <a:lnTo>
                    <a:pt x="260" y="51"/>
                  </a:lnTo>
                  <a:lnTo>
                    <a:pt x="258" y="51"/>
                  </a:lnTo>
                  <a:lnTo>
                    <a:pt x="256" y="51"/>
                  </a:lnTo>
                  <a:lnTo>
                    <a:pt x="256" y="51"/>
                  </a:lnTo>
                  <a:lnTo>
                    <a:pt x="250" y="47"/>
                  </a:lnTo>
                  <a:lnTo>
                    <a:pt x="248" y="41"/>
                  </a:lnTo>
                  <a:lnTo>
                    <a:pt x="248" y="36"/>
                  </a:lnTo>
                  <a:lnTo>
                    <a:pt x="246" y="34"/>
                  </a:lnTo>
                  <a:lnTo>
                    <a:pt x="246" y="30"/>
                  </a:lnTo>
                  <a:lnTo>
                    <a:pt x="244" y="30"/>
                  </a:lnTo>
                  <a:lnTo>
                    <a:pt x="244" y="28"/>
                  </a:lnTo>
                  <a:lnTo>
                    <a:pt x="242" y="26"/>
                  </a:lnTo>
                  <a:lnTo>
                    <a:pt x="242" y="26"/>
                  </a:lnTo>
                  <a:lnTo>
                    <a:pt x="240" y="24"/>
                  </a:lnTo>
                  <a:lnTo>
                    <a:pt x="240" y="24"/>
                  </a:lnTo>
                  <a:lnTo>
                    <a:pt x="240" y="24"/>
                  </a:lnTo>
                  <a:lnTo>
                    <a:pt x="240" y="22"/>
                  </a:lnTo>
                  <a:lnTo>
                    <a:pt x="226" y="24"/>
                  </a:lnTo>
                  <a:lnTo>
                    <a:pt x="211" y="26"/>
                  </a:lnTo>
                  <a:lnTo>
                    <a:pt x="195" y="28"/>
                  </a:lnTo>
                  <a:lnTo>
                    <a:pt x="181" y="30"/>
                  </a:lnTo>
                  <a:lnTo>
                    <a:pt x="166" y="32"/>
                  </a:lnTo>
                  <a:lnTo>
                    <a:pt x="152" y="34"/>
                  </a:lnTo>
                  <a:lnTo>
                    <a:pt x="138" y="36"/>
                  </a:lnTo>
                  <a:lnTo>
                    <a:pt x="123" y="38"/>
                  </a:lnTo>
                  <a:lnTo>
                    <a:pt x="109" y="41"/>
                  </a:lnTo>
                  <a:lnTo>
                    <a:pt x="95" y="43"/>
                  </a:lnTo>
                  <a:lnTo>
                    <a:pt x="78" y="43"/>
                  </a:lnTo>
                  <a:lnTo>
                    <a:pt x="64" y="45"/>
                  </a:lnTo>
                  <a:lnTo>
                    <a:pt x="49" y="47"/>
                  </a:lnTo>
                  <a:lnTo>
                    <a:pt x="35" y="49"/>
                  </a:lnTo>
                  <a:lnTo>
                    <a:pt x="21" y="51"/>
                  </a:lnTo>
                  <a:lnTo>
                    <a:pt x="6" y="53"/>
                  </a:lnTo>
                  <a:lnTo>
                    <a:pt x="2" y="53"/>
                  </a:lnTo>
                  <a:lnTo>
                    <a:pt x="2" y="55"/>
                  </a:lnTo>
                  <a:lnTo>
                    <a:pt x="2" y="59"/>
                  </a:lnTo>
                  <a:lnTo>
                    <a:pt x="2" y="59"/>
                  </a:lnTo>
                  <a:lnTo>
                    <a:pt x="0" y="63"/>
                  </a:lnTo>
                  <a:lnTo>
                    <a:pt x="0" y="65"/>
                  </a:lnTo>
                  <a:lnTo>
                    <a:pt x="0" y="65"/>
                  </a:lnTo>
                  <a:lnTo>
                    <a:pt x="0" y="67"/>
                  </a:lnTo>
                  <a:lnTo>
                    <a:pt x="0" y="67"/>
                  </a:lnTo>
                  <a:lnTo>
                    <a:pt x="0" y="67"/>
                  </a:lnTo>
                  <a:lnTo>
                    <a:pt x="2" y="69"/>
                  </a:lnTo>
                  <a:lnTo>
                    <a:pt x="2" y="71"/>
                  </a:lnTo>
                  <a:lnTo>
                    <a:pt x="8" y="75"/>
                  </a:lnTo>
                  <a:lnTo>
                    <a:pt x="8" y="75"/>
                  </a:lnTo>
                  <a:lnTo>
                    <a:pt x="11" y="79"/>
                  </a:lnTo>
                  <a:lnTo>
                    <a:pt x="13" y="79"/>
                  </a:lnTo>
                  <a:lnTo>
                    <a:pt x="15" y="82"/>
                  </a:lnTo>
                  <a:lnTo>
                    <a:pt x="23" y="86"/>
                  </a:lnTo>
                  <a:lnTo>
                    <a:pt x="23" y="86"/>
                  </a:lnTo>
                  <a:lnTo>
                    <a:pt x="23" y="86"/>
                  </a:lnTo>
                  <a:lnTo>
                    <a:pt x="23" y="88"/>
                  </a:lnTo>
                  <a:lnTo>
                    <a:pt x="23" y="88"/>
                  </a:lnTo>
                  <a:lnTo>
                    <a:pt x="23" y="92"/>
                  </a:lnTo>
                  <a:lnTo>
                    <a:pt x="23" y="96"/>
                  </a:lnTo>
                  <a:lnTo>
                    <a:pt x="21" y="98"/>
                  </a:lnTo>
                  <a:lnTo>
                    <a:pt x="21" y="100"/>
                  </a:lnTo>
                  <a:lnTo>
                    <a:pt x="21" y="100"/>
                  </a:lnTo>
                  <a:lnTo>
                    <a:pt x="23" y="102"/>
                  </a:lnTo>
                  <a:lnTo>
                    <a:pt x="25" y="106"/>
                  </a:lnTo>
                  <a:lnTo>
                    <a:pt x="25" y="106"/>
                  </a:lnTo>
                  <a:lnTo>
                    <a:pt x="25" y="106"/>
                  </a:lnTo>
                  <a:lnTo>
                    <a:pt x="27" y="108"/>
                  </a:lnTo>
                  <a:lnTo>
                    <a:pt x="27" y="108"/>
                  </a:lnTo>
                  <a:lnTo>
                    <a:pt x="29" y="108"/>
                  </a:lnTo>
                  <a:lnTo>
                    <a:pt x="31" y="108"/>
                  </a:lnTo>
                  <a:lnTo>
                    <a:pt x="31" y="108"/>
                  </a:lnTo>
                  <a:lnTo>
                    <a:pt x="31" y="110"/>
                  </a:lnTo>
                  <a:lnTo>
                    <a:pt x="31" y="110"/>
                  </a:lnTo>
                  <a:lnTo>
                    <a:pt x="31" y="112"/>
                  </a:lnTo>
                  <a:lnTo>
                    <a:pt x="29" y="112"/>
                  </a:lnTo>
                  <a:lnTo>
                    <a:pt x="27" y="114"/>
                  </a:lnTo>
                  <a:lnTo>
                    <a:pt x="25" y="118"/>
                  </a:lnTo>
                  <a:lnTo>
                    <a:pt x="25" y="118"/>
                  </a:lnTo>
                  <a:lnTo>
                    <a:pt x="27" y="118"/>
                  </a:lnTo>
                  <a:lnTo>
                    <a:pt x="27" y="120"/>
                  </a:lnTo>
                  <a:lnTo>
                    <a:pt x="25" y="120"/>
                  </a:lnTo>
                  <a:lnTo>
                    <a:pt x="25" y="123"/>
                  </a:lnTo>
                  <a:lnTo>
                    <a:pt x="23" y="123"/>
                  </a:lnTo>
                  <a:lnTo>
                    <a:pt x="21" y="123"/>
                  </a:lnTo>
                  <a:lnTo>
                    <a:pt x="21" y="125"/>
                  </a:lnTo>
                  <a:lnTo>
                    <a:pt x="23" y="125"/>
                  </a:lnTo>
                  <a:lnTo>
                    <a:pt x="23" y="125"/>
                  </a:lnTo>
                  <a:lnTo>
                    <a:pt x="21" y="125"/>
                  </a:lnTo>
                  <a:lnTo>
                    <a:pt x="19" y="127"/>
                  </a:lnTo>
                  <a:lnTo>
                    <a:pt x="19" y="127"/>
                  </a:lnTo>
                  <a:lnTo>
                    <a:pt x="19" y="127"/>
                  </a:lnTo>
                  <a:lnTo>
                    <a:pt x="17" y="129"/>
                  </a:lnTo>
                  <a:lnTo>
                    <a:pt x="17" y="129"/>
                  </a:lnTo>
                  <a:lnTo>
                    <a:pt x="17" y="129"/>
                  </a:lnTo>
                  <a:lnTo>
                    <a:pt x="17" y="129"/>
                  </a:lnTo>
                  <a:lnTo>
                    <a:pt x="19" y="129"/>
                  </a:lnTo>
                  <a:lnTo>
                    <a:pt x="21" y="129"/>
                  </a:lnTo>
                  <a:lnTo>
                    <a:pt x="21" y="127"/>
                  </a:lnTo>
                  <a:lnTo>
                    <a:pt x="35" y="123"/>
                  </a:lnTo>
                  <a:lnTo>
                    <a:pt x="37" y="120"/>
                  </a:lnTo>
                  <a:lnTo>
                    <a:pt x="35" y="120"/>
                  </a:lnTo>
                  <a:lnTo>
                    <a:pt x="37" y="118"/>
                  </a:lnTo>
                  <a:lnTo>
                    <a:pt x="39" y="118"/>
                  </a:lnTo>
                  <a:lnTo>
                    <a:pt x="39" y="118"/>
                  </a:lnTo>
                  <a:lnTo>
                    <a:pt x="39" y="116"/>
                  </a:lnTo>
                  <a:lnTo>
                    <a:pt x="39" y="114"/>
                  </a:lnTo>
                  <a:lnTo>
                    <a:pt x="39" y="112"/>
                  </a:lnTo>
                  <a:lnTo>
                    <a:pt x="41" y="112"/>
                  </a:lnTo>
                  <a:lnTo>
                    <a:pt x="43" y="112"/>
                  </a:lnTo>
                  <a:lnTo>
                    <a:pt x="45" y="110"/>
                  </a:lnTo>
                  <a:lnTo>
                    <a:pt x="45" y="108"/>
                  </a:lnTo>
                  <a:lnTo>
                    <a:pt x="45" y="108"/>
                  </a:lnTo>
                  <a:lnTo>
                    <a:pt x="45" y="108"/>
                  </a:lnTo>
                  <a:lnTo>
                    <a:pt x="45" y="108"/>
                  </a:lnTo>
                  <a:lnTo>
                    <a:pt x="47" y="108"/>
                  </a:lnTo>
                  <a:lnTo>
                    <a:pt x="49" y="104"/>
                  </a:lnTo>
                  <a:lnTo>
                    <a:pt x="49" y="102"/>
                  </a:lnTo>
                  <a:lnTo>
                    <a:pt x="47" y="100"/>
                  </a:lnTo>
                  <a:lnTo>
                    <a:pt x="45" y="98"/>
                  </a:lnTo>
                  <a:lnTo>
                    <a:pt x="45" y="98"/>
                  </a:lnTo>
                  <a:lnTo>
                    <a:pt x="45" y="94"/>
                  </a:lnTo>
                  <a:lnTo>
                    <a:pt x="45" y="92"/>
                  </a:lnTo>
                  <a:lnTo>
                    <a:pt x="45" y="92"/>
                  </a:lnTo>
                  <a:lnTo>
                    <a:pt x="47" y="92"/>
                  </a:lnTo>
                  <a:lnTo>
                    <a:pt x="47" y="94"/>
                  </a:lnTo>
                  <a:lnTo>
                    <a:pt x="49" y="94"/>
                  </a:lnTo>
                  <a:lnTo>
                    <a:pt x="49" y="94"/>
                  </a:lnTo>
                  <a:lnTo>
                    <a:pt x="49" y="96"/>
                  </a:lnTo>
                  <a:lnTo>
                    <a:pt x="49" y="96"/>
                  </a:lnTo>
                  <a:lnTo>
                    <a:pt x="49" y="98"/>
                  </a:lnTo>
                  <a:lnTo>
                    <a:pt x="52" y="98"/>
                  </a:lnTo>
                  <a:lnTo>
                    <a:pt x="54" y="98"/>
                  </a:lnTo>
                  <a:lnTo>
                    <a:pt x="54" y="100"/>
                  </a:lnTo>
                  <a:lnTo>
                    <a:pt x="54" y="102"/>
                  </a:lnTo>
                  <a:lnTo>
                    <a:pt x="54" y="104"/>
                  </a:lnTo>
                  <a:lnTo>
                    <a:pt x="54" y="104"/>
                  </a:lnTo>
                  <a:lnTo>
                    <a:pt x="56" y="106"/>
                  </a:lnTo>
                  <a:lnTo>
                    <a:pt x="56" y="106"/>
                  </a:lnTo>
                  <a:lnTo>
                    <a:pt x="58" y="104"/>
                  </a:lnTo>
                  <a:lnTo>
                    <a:pt x="58" y="100"/>
                  </a:lnTo>
                  <a:lnTo>
                    <a:pt x="58" y="98"/>
                  </a:lnTo>
                  <a:lnTo>
                    <a:pt x="60" y="92"/>
                  </a:lnTo>
                  <a:lnTo>
                    <a:pt x="60" y="92"/>
                  </a:lnTo>
                  <a:lnTo>
                    <a:pt x="60" y="90"/>
                  </a:lnTo>
                  <a:lnTo>
                    <a:pt x="58" y="88"/>
                  </a:lnTo>
                  <a:lnTo>
                    <a:pt x="60" y="90"/>
                  </a:lnTo>
                  <a:lnTo>
                    <a:pt x="62" y="92"/>
                  </a:lnTo>
                  <a:lnTo>
                    <a:pt x="64" y="94"/>
                  </a:lnTo>
                  <a:lnTo>
                    <a:pt x="64" y="92"/>
                  </a:lnTo>
                  <a:lnTo>
                    <a:pt x="66" y="92"/>
                  </a:lnTo>
                  <a:lnTo>
                    <a:pt x="66" y="92"/>
                  </a:lnTo>
                  <a:lnTo>
                    <a:pt x="66" y="94"/>
                  </a:lnTo>
                  <a:lnTo>
                    <a:pt x="62" y="94"/>
                  </a:lnTo>
                  <a:lnTo>
                    <a:pt x="62" y="96"/>
                  </a:lnTo>
                  <a:lnTo>
                    <a:pt x="62" y="98"/>
                  </a:lnTo>
                  <a:lnTo>
                    <a:pt x="62" y="98"/>
                  </a:lnTo>
                  <a:lnTo>
                    <a:pt x="62" y="100"/>
                  </a:lnTo>
                  <a:lnTo>
                    <a:pt x="62" y="100"/>
                  </a:lnTo>
                  <a:lnTo>
                    <a:pt x="64" y="100"/>
                  </a:lnTo>
                  <a:lnTo>
                    <a:pt x="64" y="100"/>
                  </a:lnTo>
                  <a:lnTo>
                    <a:pt x="66" y="102"/>
                  </a:lnTo>
                  <a:lnTo>
                    <a:pt x="66" y="102"/>
                  </a:lnTo>
                  <a:lnTo>
                    <a:pt x="68" y="102"/>
                  </a:lnTo>
                  <a:lnTo>
                    <a:pt x="70" y="102"/>
                  </a:lnTo>
                  <a:lnTo>
                    <a:pt x="72" y="102"/>
                  </a:lnTo>
                  <a:lnTo>
                    <a:pt x="74" y="104"/>
                  </a:lnTo>
                  <a:lnTo>
                    <a:pt x="74" y="106"/>
                  </a:lnTo>
                  <a:lnTo>
                    <a:pt x="72" y="104"/>
                  </a:lnTo>
                  <a:lnTo>
                    <a:pt x="70" y="104"/>
                  </a:lnTo>
                  <a:lnTo>
                    <a:pt x="68" y="104"/>
                  </a:lnTo>
                  <a:lnTo>
                    <a:pt x="64" y="110"/>
                  </a:lnTo>
                  <a:lnTo>
                    <a:pt x="62" y="110"/>
                  </a:lnTo>
                  <a:lnTo>
                    <a:pt x="58" y="110"/>
                  </a:lnTo>
                  <a:lnTo>
                    <a:pt x="52" y="112"/>
                  </a:lnTo>
                  <a:lnTo>
                    <a:pt x="47" y="114"/>
                  </a:lnTo>
                  <a:lnTo>
                    <a:pt x="47" y="114"/>
                  </a:lnTo>
                  <a:lnTo>
                    <a:pt x="47" y="116"/>
                  </a:lnTo>
                  <a:lnTo>
                    <a:pt x="47" y="116"/>
                  </a:lnTo>
                  <a:lnTo>
                    <a:pt x="52" y="116"/>
                  </a:lnTo>
                  <a:lnTo>
                    <a:pt x="60" y="112"/>
                  </a:lnTo>
                  <a:lnTo>
                    <a:pt x="74" y="108"/>
                  </a:lnTo>
                  <a:lnTo>
                    <a:pt x="80" y="108"/>
                  </a:lnTo>
                  <a:lnTo>
                    <a:pt x="82" y="106"/>
                  </a:lnTo>
                  <a:lnTo>
                    <a:pt x="84" y="106"/>
                  </a:lnTo>
                  <a:lnTo>
                    <a:pt x="86" y="106"/>
                  </a:lnTo>
                  <a:lnTo>
                    <a:pt x="92" y="104"/>
                  </a:lnTo>
                  <a:lnTo>
                    <a:pt x="101" y="104"/>
                  </a:lnTo>
                  <a:lnTo>
                    <a:pt x="101" y="104"/>
                  </a:lnTo>
                  <a:lnTo>
                    <a:pt x="101" y="102"/>
                  </a:lnTo>
                  <a:lnTo>
                    <a:pt x="101" y="102"/>
                  </a:lnTo>
                  <a:lnTo>
                    <a:pt x="103" y="102"/>
                  </a:lnTo>
                  <a:lnTo>
                    <a:pt x="105" y="100"/>
                  </a:lnTo>
                  <a:lnTo>
                    <a:pt x="105" y="98"/>
                  </a:lnTo>
                  <a:lnTo>
                    <a:pt x="107" y="98"/>
                  </a:lnTo>
                  <a:lnTo>
                    <a:pt x="107" y="98"/>
                  </a:lnTo>
                  <a:lnTo>
                    <a:pt x="109" y="98"/>
                  </a:lnTo>
                  <a:lnTo>
                    <a:pt x="109" y="98"/>
                  </a:lnTo>
                  <a:lnTo>
                    <a:pt x="111" y="96"/>
                  </a:lnTo>
                  <a:lnTo>
                    <a:pt x="111" y="96"/>
                  </a:lnTo>
                  <a:lnTo>
                    <a:pt x="111" y="92"/>
                  </a:lnTo>
                  <a:lnTo>
                    <a:pt x="109" y="92"/>
                  </a:lnTo>
                  <a:lnTo>
                    <a:pt x="111" y="92"/>
                  </a:lnTo>
                  <a:lnTo>
                    <a:pt x="111" y="94"/>
                  </a:lnTo>
                  <a:lnTo>
                    <a:pt x="113" y="94"/>
                  </a:lnTo>
                  <a:lnTo>
                    <a:pt x="113" y="92"/>
                  </a:lnTo>
                  <a:lnTo>
                    <a:pt x="113" y="92"/>
                  </a:lnTo>
                  <a:lnTo>
                    <a:pt x="115" y="92"/>
                  </a:lnTo>
                  <a:lnTo>
                    <a:pt x="117" y="92"/>
                  </a:lnTo>
                  <a:lnTo>
                    <a:pt x="115" y="94"/>
                  </a:lnTo>
                  <a:lnTo>
                    <a:pt x="115" y="96"/>
                  </a:lnTo>
                  <a:lnTo>
                    <a:pt x="117" y="98"/>
                  </a:lnTo>
                  <a:lnTo>
                    <a:pt x="117" y="98"/>
                  </a:lnTo>
                  <a:lnTo>
                    <a:pt x="119" y="96"/>
                  </a:lnTo>
                  <a:lnTo>
                    <a:pt x="119" y="96"/>
                  </a:lnTo>
                  <a:lnTo>
                    <a:pt x="121" y="94"/>
                  </a:lnTo>
                  <a:lnTo>
                    <a:pt x="123" y="94"/>
                  </a:lnTo>
                  <a:lnTo>
                    <a:pt x="127" y="92"/>
                  </a:lnTo>
                  <a:lnTo>
                    <a:pt x="129" y="92"/>
                  </a:lnTo>
                  <a:lnTo>
                    <a:pt x="133" y="92"/>
                  </a:lnTo>
                  <a:lnTo>
                    <a:pt x="135" y="92"/>
                  </a:lnTo>
                  <a:lnTo>
                    <a:pt x="135" y="90"/>
                  </a:lnTo>
                  <a:lnTo>
                    <a:pt x="138" y="94"/>
                  </a:lnTo>
                  <a:lnTo>
                    <a:pt x="140" y="94"/>
                  </a:lnTo>
                  <a:lnTo>
                    <a:pt x="140" y="94"/>
                  </a:lnTo>
                  <a:lnTo>
                    <a:pt x="142" y="92"/>
                  </a:lnTo>
                  <a:lnTo>
                    <a:pt x="144" y="94"/>
                  </a:lnTo>
                  <a:lnTo>
                    <a:pt x="142" y="94"/>
                  </a:lnTo>
                  <a:lnTo>
                    <a:pt x="142" y="94"/>
                  </a:lnTo>
                  <a:lnTo>
                    <a:pt x="142" y="96"/>
                  </a:lnTo>
                  <a:lnTo>
                    <a:pt x="146" y="100"/>
                  </a:lnTo>
                  <a:lnTo>
                    <a:pt x="146" y="100"/>
                  </a:lnTo>
                  <a:lnTo>
                    <a:pt x="146" y="100"/>
                  </a:lnTo>
                  <a:lnTo>
                    <a:pt x="146" y="102"/>
                  </a:lnTo>
                  <a:lnTo>
                    <a:pt x="146" y="102"/>
                  </a:lnTo>
                  <a:lnTo>
                    <a:pt x="144" y="102"/>
                  </a:lnTo>
                  <a:lnTo>
                    <a:pt x="144" y="102"/>
                  </a:lnTo>
                  <a:lnTo>
                    <a:pt x="138" y="100"/>
                  </a:lnTo>
                  <a:lnTo>
                    <a:pt x="135" y="98"/>
                  </a:lnTo>
                  <a:lnTo>
                    <a:pt x="133" y="98"/>
                  </a:lnTo>
                  <a:lnTo>
                    <a:pt x="133" y="98"/>
                  </a:lnTo>
                  <a:lnTo>
                    <a:pt x="131" y="98"/>
                  </a:lnTo>
                  <a:lnTo>
                    <a:pt x="131" y="100"/>
                  </a:lnTo>
                  <a:lnTo>
                    <a:pt x="133" y="100"/>
                  </a:lnTo>
                  <a:lnTo>
                    <a:pt x="135" y="100"/>
                  </a:lnTo>
                  <a:lnTo>
                    <a:pt x="135" y="100"/>
                  </a:lnTo>
                  <a:lnTo>
                    <a:pt x="135" y="102"/>
                  </a:lnTo>
                  <a:lnTo>
                    <a:pt x="135" y="102"/>
                  </a:lnTo>
                  <a:lnTo>
                    <a:pt x="133" y="102"/>
                  </a:lnTo>
                  <a:lnTo>
                    <a:pt x="129" y="102"/>
                  </a:lnTo>
                  <a:lnTo>
                    <a:pt x="129" y="102"/>
                  </a:lnTo>
                  <a:lnTo>
                    <a:pt x="127" y="100"/>
                  </a:lnTo>
                  <a:lnTo>
                    <a:pt x="127" y="98"/>
                  </a:lnTo>
                  <a:lnTo>
                    <a:pt x="127" y="98"/>
                  </a:lnTo>
                  <a:lnTo>
                    <a:pt x="127" y="98"/>
                  </a:lnTo>
                  <a:lnTo>
                    <a:pt x="127" y="98"/>
                  </a:lnTo>
                  <a:lnTo>
                    <a:pt x="127" y="100"/>
                  </a:lnTo>
                  <a:lnTo>
                    <a:pt x="125" y="102"/>
                  </a:lnTo>
                  <a:lnTo>
                    <a:pt x="125" y="102"/>
                  </a:lnTo>
                  <a:lnTo>
                    <a:pt x="125" y="104"/>
                  </a:lnTo>
                  <a:lnTo>
                    <a:pt x="119" y="102"/>
                  </a:lnTo>
                  <a:lnTo>
                    <a:pt x="111" y="104"/>
                  </a:lnTo>
                  <a:lnTo>
                    <a:pt x="109" y="104"/>
                  </a:lnTo>
                  <a:lnTo>
                    <a:pt x="109" y="104"/>
                  </a:lnTo>
                  <a:lnTo>
                    <a:pt x="109" y="104"/>
                  </a:lnTo>
                  <a:lnTo>
                    <a:pt x="109" y="104"/>
                  </a:lnTo>
                  <a:lnTo>
                    <a:pt x="111" y="106"/>
                  </a:lnTo>
                  <a:lnTo>
                    <a:pt x="123" y="106"/>
                  </a:lnTo>
                  <a:lnTo>
                    <a:pt x="140" y="108"/>
                  </a:lnTo>
                  <a:lnTo>
                    <a:pt x="152" y="110"/>
                  </a:lnTo>
                  <a:lnTo>
                    <a:pt x="162" y="114"/>
                  </a:lnTo>
                  <a:lnTo>
                    <a:pt x="172" y="116"/>
                  </a:lnTo>
                  <a:lnTo>
                    <a:pt x="185" y="125"/>
                  </a:lnTo>
                  <a:lnTo>
                    <a:pt x="187" y="125"/>
                  </a:lnTo>
                  <a:lnTo>
                    <a:pt x="185" y="123"/>
                  </a:lnTo>
                  <a:lnTo>
                    <a:pt x="185" y="123"/>
                  </a:lnTo>
                  <a:lnTo>
                    <a:pt x="185" y="123"/>
                  </a:lnTo>
                  <a:lnTo>
                    <a:pt x="187" y="123"/>
                  </a:lnTo>
                  <a:lnTo>
                    <a:pt x="187" y="123"/>
                  </a:lnTo>
                  <a:lnTo>
                    <a:pt x="185" y="120"/>
                  </a:lnTo>
                  <a:lnTo>
                    <a:pt x="183" y="120"/>
                  </a:lnTo>
                  <a:lnTo>
                    <a:pt x="183" y="118"/>
                  </a:lnTo>
                  <a:lnTo>
                    <a:pt x="185" y="116"/>
                  </a:lnTo>
                  <a:lnTo>
                    <a:pt x="183" y="114"/>
                  </a:lnTo>
                  <a:lnTo>
                    <a:pt x="181" y="114"/>
                  </a:lnTo>
                  <a:lnTo>
                    <a:pt x="181" y="114"/>
                  </a:lnTo>
                  <a:lnTo>
                    <a:pt x="178" y="112"/>
                  </a:lnTo>
                  <a:lnTo>
                    <a:pt x="176" y="114"/>
                  </a:lnTo>
                  <a:lnTo>
                    <a:pt x="174" y="114"/>
                  </a:lnTo>
                  <a:lnTo>
                    <a:pt x="174" y="114"/>
                  </a:lnTo>
                  <a:lnTo>
                    <a:pt x="172" y="114"/>
                  </a:lnTo>
                  <a:lnTo>
                    <a:pt x="172" y="112"/>
                  </a:lnTo>
                  <a:lnTo>
                    <a:pt x="172" y="110"/>
                  </a:lnTo>
                  <a:lnTo>
                    <a:pt x="174" y="108"/>
                  </a:lnTo>
                  <a:lnTo>
                    <a:pt x="176" y="108"/>
                  </a:lnTo>
                  <a:lnTo>
                    <a:pt x="178" y="108"/>
                  </a:lnTo>
                  <a:lnTo>
                    <a:pt x="178" y="106"/>
                  </a:lnTo>
                  <a:lnTo>
                    <a:pt x="181" y="104"/>
                  </a:lnTo>
                  <a:lnTo>
                    <a:pt x="183" y="106"/>
                  </a:lnTo>
                  <a:lnTo>
                    <a:pt x="183" y="108"/>
                  </a:lnTo>
                  <a:lnTo>
                    <a:pt x="185" y="110"/>
                  </a:lnTo>
                  <a:lnTo>
                    <a:pt x="185" y="112"/>
                  </a:lnTo>
                  <a:lnTo>
                    <a:pt x="185" y="112"/>
                  </a:lnTo>
                  <a:lnTo>
                    <a:pt x="187" y="110"/>
                  </a:lnTo>
                  <a:lnTo>
                    <a:pt x="187" y="110"/>
                  </a:lnTo>
                  <a:lnTo>
                    <a:pt x="187" y="108"/>
                  </a:lnTo>
                  <a:lnTo>
                    <a:pt x="189" y="108"/>
                  </a:lnTo>
                  <a:lnTo>
                    <a:pt x="191" y="108"/>
                  </a:lnTo>
                  <a:lnTo>
                    <a:pt x="191" y="108"/>
                  </a:lnTo>
                  <a:lnTo>
                    <a:pt x="191" y="108"/>
                  </a:lnTo>
                  <a:lnTo>
                    <a:pt x="193" y="108"/>
                  </a:lnTo>
                  <a:lnTo>
                    <a:pt x="195" y="102"/>
                  </a:lnTo>
                  <a:lnTo>
                    <a:pt x="195" y="102"/>
                  </a:lnTo>
                  <a:lnTo>
                    <a:pt x="197" y="102"/>
                  </a:lnTo>
                  <a:lnTo>
                    <a:pt x="197" y="104"/>
                  </a:lnTo>
                  <a:lnTo>
                    <a:pt x="199" y="106"/>
                  </a:lnTo>
                  <a:lnTo>
                    <a:pt x="197" y="106"/>
                  </a:lnTo>
                  <a:lnTo>
                    <a:pt x="195" y="110"/>
                  </a:lnTo>
                  <a:lnTo>
                    <a:pt x="191" y="110"/>
                  </a:lnTo>
                  <a:lnTo>
                    <a:pt x="191" y="110"/>
                  </a:lnTo>
                  <a:lnTo>
                    <a:pt x="187" y="116"/>
                  </a:lnTo>
                  <a:lnTo>
                    <a:pt x="185" y="118"/>
                  </a:lnTo>
                  <a:lnTo>
                    <a:pt x="187" y="118"/>
                  </a:lnTo>
                  <a:lnTo>
                    <a:pt x="187" y="118"/>
                  </a:lnTo>
                  <a:lnTo>
                    <a:pt x="187" y="120"/>
                  </a:lnTo>
                  <a:lnTo>
                    <a:pt x="191" y="120"/>
                  </a:lnTo>
                  <a:lnTo>
                    <a:pt x="193" y="120"/>
                  </a:lnTo>
                  <a:lnTo>
                    <a:pt x="193" y="123"/>
                  </a:lnTo>
                  <a:lnTo>
                    <a:pt x="195" y="123"/>
                  </a:lnTo>
                  <a:lnTo>
                    <a:pt x="197" y="123"/>
                  </a:lnTo>
                  <a:lnTo>
                    <a:pt x="199" y="125"/>
                  </a:lnTo>
                  <a:lnTo>
                    <a:pt x="201" y="125"/>
                  </a:lnTo>
                  <a:lnTo>
                    <a:pt x="201" y="125"/>
                  </a:lnTo>
                  <a:lnTo>
                    <a:pt x="201" y="125"/>
                  </a:lnTo>
                  <a:lnTo>
                    <a:pt x="201" y="123"/>
                  </a:lnTo>
                  <a:lnTo>
                    <a:pt x="201" y="123"/>
                  </a:lnTo>
                  <a:lnTo>
                    <a:pt x="203" y="123"/>
                  </a:lnTo>
                  <a:lnTo>
                    <a:pt x="203" y="123"/>
                  </a:lnTo>
                  <a:lnTo>
                    <a:pt x="205" y="120"/>
                  </a:lnTo>
                  <a:lnTo>
                    <a:pt x="207" y="120"/>
                  </a:lnTo>
                  <a:lnTo>
                    <a:pt x="207" y="120"/>
                  </a:lnTo>
                  <a:lnTo>
                    <a:pt x="205" y="123"/>
                  </a:lnTo>
                  <a:lnTo>
                    <a:pt x="205" y="125"/>
                  </a:lnTo>
                  <a:lnTo>
                    <a:pt x="207" y="125"/>
                  </a:lnTo>
                  <a:lnTo>
                    <a:pt x="207" y="125"/>
                  </a:lnTo>
                  <a:lnTo>
                    <a:pt x="209" y="127"/>
                  </a:lnTo>
                  <a:lnTo>
                    <a:pt x="209" y="129"/>
                  </a:lnTo>
                  <a:lnTo>
                    <a:pt x="209" y="131"/>
                  </a:lnTo>
                  <a:lnTo>
                    <a:pt x="211" y="131"/>
                  </a:lnTo>
                  <a:lnTo>
                    <a:pt x="211" y="131"/>
                  </a:lnTo>
                  <a:lnTo>
                    <a:pt x="213" y="129"/>
                  </a:lnTo>
                  <a:lnTo>
                    <a:pt x="213" y="127"/>
                  </a:lnTo>
                  <a:lnTo>
                    <a:pt x="213" y="129"/>
                  </a:lnTo>
                  <a:lnTo>
                    <a:pt x="213" y="129"/>
                  </a:lnTo>
                  <a:lnTo>
                    <a:pt x="213" y="129"/>
                  </a:lnTo>
                  <a:lnTo>
                    <a:pt x="215" y="129"/>
                  </a:lnTo>
                  <a:lnTo>
                    <a:pt x="217" y="129"/>
                  </a:lnTo>
                  <a:lnTo>
                    <a:pt x="217" y="129"/>
                  </a:lnTo>
                  <a:lnTo>
                    <a:pt x="217" y="131"/>
                  </a:lnTo>
                  <a:lnTo>
                    <a:pt x="217" y="131"/>
                  </a:lnTo>
                  <a:lnTo>
                    <a:pt x="215" y="131"/>
                  </a:lnTo>
                  <a:lnTo>
                    <a:pt x="215" y="133"/>
                  </a:lnTo>
                  <a:lnTo>
                    <a:pt x="213" y="133"/>
                  </a:lnTo>
                  <a:lnTo>
                    <a:pt x="209" y="133"/>
                  </a:lnTo>
                  <a:lnTo>
                    <a:pt x="207" y="131"/>
                  </a:lnTo>
                  <a:lnTo>
                    <a:pt x="205" y="129"/>
                  </a:lnTo>
                  <a:lnTo>
                    <a:pt x="203" y="127"/>
                  </a:lnTo>
                  <a:lnTo>
                    <a:pt x="197" y="127"/>
                  </a:lnTo>
                  <a:lnTo>
                    <a:pt x="197" y="125"/>
                  </a:lnTo>
                  <a:lnTo>
                    <a:pt x="191" y="123"/>
                  </a:lnTo>
                  <a:lnTo>
                    <a:pt x="189" y="125"/>
                  </a:lnTo>
                  <a:lnTo>
                    <a:pt x="191" y="125"/>
                  </a:lnTo>
                  <a:lnTo>
                    <a:pt x="197" y="129"/>
                  </a:lnTo>
                  <a:lnTo>
                    <a:pt x="197" y="129"/>
                  </a:lnTo>
                  <a:lnTo>
                    <a:pt x="211" y="137"/>
                  </a:lnTo>
                  <a:lnTo>
                    <a:pt x="209" y="137"/>
                  </a:lnTo>
                  <a:lnTo>
                    <a:pt x="207" y="137"/>
                  </a:lnTo>
                  <a:lnTo>
                    <a:pt x="203" y="135"/>
                  </a:lnTo>
                  <a:lnTo>
                    <a:pt x="203" y="133"/>
                  </a:lnTo>
                  <a:lnTo>
                    <a:pt x="201" y="133"/>
                  </a:lnTo>
                  <a:lnTo>
                    <a:pt x="203" y="135"/>
                  </a:lnTo>
                  <a:lnTo>
                    <a:pt x="203" y="135"/>
                  </a:lnTo>
                  <a:lnTo>
                    <a:pt x="203" y="135"/>
                  </a:lnTo>
                  <a:lnTo>
                    <a:pt x="203" y="137"/>
                  </a:lnTo>
                  <a:lnTo>
                    <a:pt x="207" y="139"/>
                  </a:lnTo>
                  <a:lnTo>
                    <a:pt x="217" y="141"/>
                  </a:lnTo>
                  <a:lnTo>
                    <a:pt x="219" y="143"/>
                  </a:lnTo>
                  <a:lnTo>
                    <a:pt x="221" y="145"/>
                  </a:lnTo>
                  <a:lnTo>
                    <a:pt x="224" y="145"/>
                  </a:lnTo>
                  <a:lnTo>
                    <a:pt x="224" y="147"/>
                  </a:lnTo>
                  <a:lnTo>
                    <a:pt x="226" y="149"/>
                  </a:lnTo>
                  <a:lnTo>
                    <a:pt x="228" y="153"/>
                  </a:lnTo>
                  <a:lnTo>
                    <a:pt x="230" y="155"/>
                  </a:lnTo>
                  <a:lnTo>
                    <a:pt x="230" y="164"/>
                  </a:lnTo>
                  <a:lnTo>
                    <a:pt x="230" y="164"/>
                  </a:lnTo>
                  <a:lnTo>
                    <a:pt x="232" y="164"/>
                  </a:lnTo>
                  <a:lnTo>
                    <a:pt x="230" y="166"/>
                  </a:lnTo>
                  <a:lnTo>
                    <a:pt x="230" y="166"/>
                  </a:lnTo>
                  <a:lnTo>
                    <a:pt x="228" y="168"/>
                  </a:lnTo>
                  <a:lnTo>
                    <a:pt x="228" y="168"/>
                  </a:lnTo>
                  <a:lnTo>
                    <a:pt x="226" y="168"/>
                  </a:lnTo>
                  <a:lnTo>
                    <a:pt x="224" y="164"/>
                  </a:lnTo>
                  <a:lnTo>
                    <a:pt x="221" y="161"/>
                  </a:lnTo>
                  <a:lnTo>
                    <a:pt x="221" y="159"/>
                  </a:lnTo>
                  <a:lnTo>
                    <a:pt x="221" y="157"/>
                  </a:lnTo>
                  <a:lnTo>
                    <a:pt x="219" y="149"/>
                  </a:lnTo>
                  <a:lnTo>
                    <a:pt x="219" y="149"/>
                  </a:lnTo>
                  <a:lnTo>
                    <a:pt x="219" y="151"/>
                  </a:lnTo>
                  <a:lnTo>
                    <a:pt x="219" y="155"/>
                  </a:lnTo>
                  <a:lnTo>
                    <a:pt x="221" y="166"/>
                  </a:lnTo>
                  <a:lnTo>
                    <a:pt x="224" y="166"/>
                  </a:lnTo>
                  <a:lnTo>
                    <a:pt x="226" y="168"/>
                  </a:lnTo>
                  <a:lnTo>
                    <a:pt x="228" y="168"/>
                  </a:lnTo>
                  <a:lnTo>
                    <a:pt x="230" y="166"/>
                  </a:lnTo>
                  <a:lnTo>
                    <a:pt x="232" y="166"/>
                  </a:lnTo>
                  <a:lnTo>
                    <a:pt x="234" y="166"/>
                  </a:lnTo>
                  <a:lnTo>
                    <a:pt x="236" y="166"/>
                  </a:lnTo>
                  <a:lnTo>
                    <a:pt x="248" y="161"/>
                  </a:lnTo>
                  <a:lnTo>
                    <a:pt x="250" y="159"/>
                  </a:lnTo>
                  <a:lnTo>
                    <a:pt x="258" y="159"/>
                  </a:lnTo>
                  <a:lnTo>
                    <a:pt x="260" y="159"/>
                  </a:lnTo>
                  <a:lnTo>
                    <a:pt x="260" y="155"/>
                  </a:lnTo>
                  <a:lnTo>
                    <a:pt x="262" y="155"/>
                  </a:lnTo>
                  <a:lnTo>
                    <a:pt x="265" y="153"/>
                  </a:lnTo>
                  <a:lnTo>
                    <a:pt x="267" y="151"/>
                  </a:lnTo>
                  <a:lnTo>
                    <a:pt x="267" y="151"/>
                  </a:lnTo>
                  <a:lnTo>
                    <a:pt x="269" y="149"/>
                  </a:lnTo>
                  <a:lnTo>
                    <a:pt x="269" y="149"/>
                  </a:lnTo>
                  <a:lnTo>
                    <a:pt x="271" y="149"/>
                  </a:lnTo>
                  <a:lnTo>
                    <a:pt x="269" y="155"/>
                  </a:lnTo>
                  <a:lnTo>
                    <a:pt x="269" y="155"/>
                  </a:lnTo>
                  <a:lnTo>
                    <a:pt x="269" y="157"/>
                  </a:lnTo>
                  <a:lnTo>
                    <a:pt x="271" y="157"/>
                  </a:lnTo>
                  <a:lnTo>
                    <a:pt x="271" y="155"/>
                  </a:lnTo>
                  <a:lnTo>
                    <a:pt x="273" y="155"/>
                  </a:lnTo>
                  <a:lnTo>
                    <a:pt x="275" y="153"/>
                  </a:lnTo>
                  <a:lnTo>
                    <a:pt x="275" y="153"/>
                  </a:lnTo>
                  <a:lnTo>
                    <a:pt x="277" y="151"/>
                  </a:lnTo>
                  <a:lnTo>
                    <a:pt x="279" y="149"/>
                  </a:lnTo>
                  <a:lnTo>
                    <a:pt x="281" y="149"/>
                  </a:lnTo>
                  <a:lnTo>
                    <a:pt x="283" y="149"/>
                  </a:lnTo>
                  <a:lnTo>
                    <a:pt x="287" y="143"/>
                  </a:lnTo>
                  <a:lnTo>
                    <a:pt x="289" y="141"/>
                  </a:lnTo>
                  <a:lnTo>
                    <a:pt x="293" y="139"/>
                  </a:lnTo>
                  <a:lnTo>
                    <a:pt x="297" y="135"/>
                  </a:lnTo>
                  <a:lnTo>
                    <a:pt x="301" y="131"/>
                  </a:lnTo>
                  <a:lnTo>
                    <a:pt x="303" y="133"/>
                  </a:lnTo>
                  <a:lnTo>
                    <a:pt x="303" y="133"/>
                  </a:lnTo>
                  <a:lnTo>
                    <a:pt x="305" y="131"/>
                  </a:lnTo>
                  <a:lnTo>
                    <a:pt x="308" y="131"/>
                  </a:lnTo>
                  <a:lnTo>
                    <a:pt x="312" y="131"/>
                  </a:lnTo>
                  <a:lnTo>
                    <a:pt x="316" y="131"/>
                  </a:lnTo>
                  <a:lnTo>
                    <a:pt x="316" y="133"/>
                  </a:lnTo>
                  <a:lnTo>
                    <a:pt x="316" y="133"/>
                  </a:lnTo>
                  <a:lnTo>
                    <a:pt x="314" y="133"/>
                  </a:lnTo>
                  <a:lnTo>
                    <a:pt x="316" y="131"/>
                  </a:lnTo>
                  <a:lnTo>
                    <a:pt x="318" y="129"/>
                  </a:lnTo>
                  <a:lnTo>
                    <a:pt x="316" y="127"/>
                  </a:lnTo>
                  <a:lnTo>
                    <a:pt x="314" y="127"/>
                  </a:lnTo>
                  <a:lnTo>
                    <a:pt x="308" y="127"/>
                  </a:lnTo>
                  <a:lnTo>
                    <a:pt x="308" y="127"/>
                  </a:lnTo>
                  <a:lnTo>
                    <a:pt x="305" y="125"/>
                  </a:lnTo>
                  <a:lnTo>
                    <a:pt x="305" y="125"/>
                  </a:lnTo>
                  <a:lnTo>
                    <a:pt x="303" y="125"/>
                  </a:lnTo>
                  <a:lnTo>
                    <a:pt x="305" y="123"/>
                  </a:lnTo>
                  <a:lnTo>
                    <a:pt x="308" y="123"/>
                  </a:lnTo>
                  <a:lnTo>
                    <a:pt x="310" y="123"/>
                  </a:lnTo>
                  <a:lnTo>
                    <a:pt x="312" y="125"/>
                  </a:lnTo>
                  <a:lnTo>
                    <a:pt x="314" y="125"/>
                  </a:lnTo>
                  <a:lnTo>
                    <a:pt x="316" y="125"/>
                  </a:lnTo>
                  <a:lnTo>
                    <a:pt x="316" y="125"/>
                  </a:lnTo>
                  <a:lnTo>
                    <a:pt x="314" y="123"/>
                  </a:lnTo>
                  <a:lnTo>
                    <a:pt x="314" y="120"/>
                  </a:lnTo>
                  <a:lnTo>
                    <a:pt x="314" y="123"/>
                  </a:lnTo>
                  <a:lnTo>
                    <a:pt x="312" y="123"/>
                  </a:lnTo>
                  <a:lnTo>
                    <a:pt x="312" y="123"/>
                  </a:lnTo>
                  <a:lnTo>
                    <a:pt x="312" y="123"/>
                  </a:lnTo>
                  <a:lnTo>
                    <a:pt x="312" y="120"/>
                  </a:lnTo>
                  <a:lnTo>
                    <a:pt x="312" y="120"/>
                  </a:lnTo>
                  <a:lnTo>
                    <a:pt x="312" y="120"/>
                  </a:lnTo>
                  <a:lnTo>
                    <a:pt x="312" y="120"/>
                  </a:lnTo>
                  <a:lnTo>
                    <a:pt x="312" y="118"/>
                  </a:lnTo>
                  <a:lnTo>
                    <a:pt x="312" y="118"/>
                  </a:lnTo>
                  <a:lnTo>
                    <a:pt x="312" y="118"/>
                  </a:lnTo>
                  <a:lnTo>
                    <a:pt x="312" y="118"/>
                  </a:lnTo>
                  <a:lnTo>
                    <a:pt x="312" y="118"/>
                  </a:lnTo>
                  <a:lnTo>
                    <a:pt x="312" y="116"/>
                  </a:lnTo>
                  <a:lnTo>
                    <a:pt x="314" y="116"/>
                  </a:lnTo>
                  <a:lnTo>
                    <a:pt x="316" y="114"/>
                  </a:lnTo>
                  <a:lnTo>
                    <a:pt x="318" y="114"/>
                  </a:lnTo>
                  <a:lnTo>
                    <a:pt x="320" y="114"/>
                  </a:lnTo>
                  <a:lnTo>
                    <a:pt x="320" y="112"/>
                  </a:lnTo>
                  <a:lnTo>
                    <a:pt x="320" y="112"/>
                  </a:lnTo>
                  <a:lnTo>
                    <a:pt x="322" y="110"/>
                  </a:lnTo>
                  <a:lnTo>
                    <a:pt x="322" y="110"/>
                  </a:lnTo>
                  <a:lnTo>
                    <a:pt x="322" y="110"/>
                  </a:lnTo>
                  <a:lnTo>
                    <a:pt x="322" y="110"/>
                  </a:lnTo>
                  <a:lnTo>
                    <a:pt x="324" y="110"/>
                  </a:lnTo>
                  <a:lnTo>
                    <a:pt x="322" y="110"/>
                  </a:lnTo>
                  <a:lnTo>
                    <a:pt x="324" y="110"/>
                  </a:lnTo>
                  <a:lnTo>
                    <a:pt x="326" y="110"/>
                  </a:lnTo>
                  <a:lnTo>
                    <a:pt x="326" y="108"/>
                  </a:lnTo>
                  <a:lnTo>
                    <a:pt x="326" y="108"/>
                  </a:lnTo>
                  <a:lnTo>
                    <a:pt x="326" y="108"/>
                  </a:lnTo>
                  <a:lnTo>
                    <a:pt x="328" y="108"/>
                  </a:lnTo>
                  <a:lnTo>
                    <a:pt x="328" y="108"/>
                  </a:lnTo>
                  <a:lnTo>
                    <a:pt x="328" y="108"/>
                  </a:lnTo>
                  <a:lnTo>
                    <a:pt x="328" y="108"/>
                  </a:lnTo>
                  <a:lnTo>
                    <a:pt x="328" y="110"/>
                  </a:lnTo>
                  <a:lnTo>
                    <a:pt x="330" y="110"/>
                  </a:lnTo>
                  <a:lnTo>
                    <a:pt x="330" y="110"/>
                  </a:lnTo>
                  <a:lnTo>
                    <a:pt x="332" y="108"/>
                  </a:lnTo>
                  <a:lnTo>
                    <a:pt x="338" y="108"/>
                  </a:lnTo>
                  <a:lnTo>
                    <a:pt x="342" y="106"/>
                  </a:lnTo>
                  <a:lnTo>
                    <a:pt x="344" y="106"/>
                  </a:lnTo>
                  <a:lnTo>
                    <a:pt x="351" y="110"/>
                  </a:lnTo>
                  <a:lnTo>
                    <a:pt x="361" y="114"/>
                  </a:lnTo>
                  <a:lnTo>
                    <a:pt x="365" y="116"/>
                  </a:lnTo>
                  <a:lnTo>
                    <a:pt x="367" y="114"/>
                  </a:lnTo>
                  <a:lnTo>
                    <a:pt x="369" y="116"/>
                  </a:lnTo>
                  <a:lnTo>
                    <a:pt x="371" y="118"/>
                  </a:lnTo>
                  <a:lnTo>
                    <a:pt x="373" y="118"/>
                  </a:lnTo>
                  <a:lnTo>
                    <a:pt x="373" y="118"/>
                  </a:lnTo>
                  <a:lnTo>
                    <a:pt x="377" y="120"/>
                  </a:lnTo>
                  <a:lnTo>
                    <a:pt x="379" y="123"/>
                  </a:lnTo>
                  <a:lnTo>
                    <a:pt x="379" y="123"/>
                  </a:lnTo>
                  <a:lnTo>
                    <a:pt x="383" y="127"/>
                  </a:lnTo>
                  <a:lnTo>
                    <a:pt x="385" y="129"/>
                  </a:lnTo>
                  <a:lnTo>
                    <a:pt x="385" y="129"/>
                  </a:lnTo>
                  <a:lnTo>
                    <a:pt x="387" y="129"/>
                  </a:lnTo>
                  <a:lnTo>
                    <a:pt x="387" y="129"/>
                  </a:lnTo>
                  <a:lnTo>
                    <a:pt x="387" y="131"/>
                  </a:lnTo>
                  <a:lnTo>
                    <a:pt x="389" y="133"/>
                  </a:lnTo>
                  <a:lnTo>
                    <a:pt x="389" y="135"/>
                  </a:lnTo>
                  <a:lnTo>
                    <a:pt x="389" y="137"/>
                  </a:lnTo>
                  <a:lnTo>
                    <a:pt x="391" y="137"/>
                  </a:lnTo>
                  <a:lnTo>
                    <a:pt x="394" y="139"/>
                  </a:lnTo>
                  <a:lnTo>
                    <a:pt x="396" y="141"/>
                  </a:lnTo>
                  <a:lnTo>
                    <a:pt x="400" y="141"/>
                  </a:lnTo>
                  <a:lnTo>
                    <a:pt x="400" y="141"/>
                  </a:lnTo>
                  <a:lnTo>
                    <a:pt x="402" y="143"/>
                  </a:lnTo>
                  <a:lnTo>
                    <a:pt x="402" y="143"/>
                  </a:lnTo>
                  <a:lnTo>
                    <a:pt x="404" y="143"/>
                  </a:lnTo>
                  <a:lnTo>
                    <a:pt x="406" y="143"/>
                  </a:lnTo>
                  <a:lnTo>
                    <a:pt x="408" y="143"/>
                  </a:lnTo>
                  <a:lnTo>
                    <a:pt x="408" y="145"/>
                  </a:lnTo>
                  <a:lnTo>
                    <a:pt x="410" y="147"/>
                  </a:lnTo>
                  <a:lnTo>
                    <a:pt x="410" y="149"/>
                  </a:lnTo>
                  <a:lnTo>
                    <a:pt x="410" y="151"/>
                  </a:lnTo>
                  <a:lnTo>
                    <a:pt x="408" y="153"/>
                  </a:lnTo>
                  <a:lnTo>
                    <a:pt x="410" y="155"/>
                  </a:lnTo>
                  <a:lnTo>
                    <a:pt x="410" y="155"/>
                  </a:lnTo>
                  <a:lnTo>
                    <a:pt x="410" y="157"/>
                  </a:lnTo>
                  <a:lnTo>
                    <a:pt x="410" y="159"/>
                  </a:lnTo>
                  <a:lnTo>
                    <a:pt x="412" y="159"/>
                  </a:lnTo>
                  <a:lnTo>
                    <a:pt x="414" y="159"/>
                  </a:lnTo>
                  <a:lnTo>
                    <a:pt x="414" y="159"/>
                  </a:lnTo>
                  <a:lnTo>
                    <a:pt x="420" y="166"/>
                  </a:lnTo>
                  <a:lnTo>
                    <a:pt x="422" y="166"/>
                  </a:lnTo>
                  <a:lnTo>
                    <a:pt x="426" y="166"/>
                  </a:lnTo>
                  <a:lnTo>
                    <a:pt x="428" y="168"/>
                  </a:lnTo>
                  <a:lnTo>
                    <a:pt x="430" y="170"/>
                  </a:lnTo>
                  <a:lnTo>
                    <a:pt x="432" y="172"/>
                  </a:lnTo>
                  <a:lnTo>
                    <a:pt x="434" y="176"/>
                  </a:lnTo>
                  <a:lnTo>
                    <a:pt x="434" y="176"/>
                  </a:lnTo>
                  <a:lnTo>
                    <a:pt x="437" y="178"/>
                  </a:lnTo>
                  <a:lnTo>
                    <a:pt x="437" y="178"/>
                  </a:lnTo>
                  <a:lnTo>
                    <a:pt x="437" y="180"/>
                  </a:lnTo>
                  <a:lnTo>
                    <a:pt x="437" y="180"/>
                  </a:lnTo>
                  <a:lnTo>
                    <a:pt x="439" y="180"/>
                  </a:lnTo>
                  <a:lnTo>
                    <a:pt x="441" y="182"/>
                  </a:lnTo>
                  <a:lnTo>
                    <a:pt x="443" y="182"/>
                  </a:lnTo>
                  <a:lnTo>
                    <a:pt x="445" y="182"/>
                  </a:lnTo>
                  <a:lnTo>
                    <a:pt x="445" y="182"/>
                  </a:lnTo>
                  <a:lnTo>
                    <a:pt x="447" y="184"/>
                  </a:lnTo>
                  <a:lnTo>
                    <a:pt x="447" y="184"/>
                  </a:lnTo>
                  <a:lnTo>
                    <a:pt x="445" y="186"/>
                  </a:lnTo>
                  <a:lnTo>
                    <a:pt x="447" y="188"/>
                  </a:lnTo>
                  <a:lnTo>
                    <a:pt x="447" y="188"/>
                  </a:lnTo>
                  <a:lnTo>
                    <a:pt x="449" y="188"/>
                  </a:lnTo>
                  <a:lnTo>
                    <a:pt x="449" y="188"/>
                  </a:lnTo>
                  <a:lnTo>
                    <a:pt x="449" y="190"/>
                  </a:lnTo>
                  <a:lnTo>
                    <a:pt x="449" y="190"/>
                  </a:lnTo>
                  <a:lnTo>
                    <a:pt x="451" y="190"/>
                  </a:lnTo>
                  <a:lnTo>
                    <a:pt x="453" y="190"/>
                  </a:lnTo>
                  <a:lnTo>
                    <a:pt x="453" y="190"/>
                  </a:lnTo>
                  <a:lnTo>
                    <a:pt x="455" y="190"/>
                  </a:lnTo>
                  <a:lnTo>
                    <a:pt x="455" y="190"/>
                  </a:lnTo>
                  <a:lnTo>
                    <a:pt x="459" y="188"/>
                  </a:lnTo>
                  <a:lnTo>
                    <a:pt x="459" y="188"/>
                  </a:lnTo>
                  <a:lnTo>
                    <a:pt x="461" y="188"/>
                  </a:lnTo>
                  <a:lnTo>
                    <a:pt x="463" y="190"/>
                  </a:lnTo>
                  <a:lnTo>
                    <a:pt x="465" y="190"/>
                  </a:lnTo>
                  <a:lnTo>
                    <a:pt x="467" y="188"/>
                  </a:lnTo>
                  <a:lnTo>
                    <a:pt x="467" y="188"/>
                  </a:lnTo>
                  <a:lnTo>
                    <a:pt x="469" y="190"/>
                  </a:lnTo>
                  <a:lnTo>
                    <a:pt x="469" y="190"/>
                  </a:lnTo>
                  <a:lnTo>
                    <a:pt x="469" y="188"/>
                  </a:lnTo>
                  <a:lnTo>
                    <a:pt x="471" y="188"/>
                  </a:lnTo>
                  <a:lnTo>
                    <a:pt x="471" y="190"/>
                  </a:lnTo>
                  <a:lnTo>
                    <a:pt x="473" y="192"/>
                  </a:lnTo>
                  <a:lnTo>
                    <a:pt x="473" y="192"/>
                  </a:lnTo>
                  <a:lnTo>
                    <a:pt x="475" y="194"/>
                  </a:lnTo>
                  <a:lnTo>
                    <a:pt x="473" y="194"/>
                  </a:lnTo>
                  <a:lnTo>
                    <a:pt x="475" y="196"/>
                  </a:lnTo>
                  <a:lnTo>
                    <a:pt x="480" y="198"/>
                  </a:lnTo>
                  <a:lnTo>
                    <a:pt x="480" y="198"/>
                  </a:lnTo>
                  <a:lnTo>
                    <a:pt x="480" y="202"/>
                  </a:lnTo>
                  <a:lnTo>
                    <a:pt x="480" y="204"/>
                  </a:lnTo>
                  <a:lnTo>
                    <a:pt x="480" y="204"/>
                  </a:lnTo>
                  <a:lnTo>
                    <a:pt x="480" y="204"/>
                  </a:lnTo>
                  <a:lnTo>
                    <a:pt x="482" y="207"/>
                  </a:lnTo>
                  <a:lnTo>
                    <a:pt x="482" y="207"/>
                  </a:lnTo>
                  <a:lnTo>
                    <a:pt x="482" y="209"/>
                  </a:lnTo>
                  <a:lnTo>
                    <a:pt x="482" y="211"/>
                  </a:lnTo>
                  <a:lnTo>
                    <a:pt x="488" y="215"/>
                  </a:lnTo>
                  <a:lnTo>
                    <a:pt x="488" y="215"/>
                  </a:lnTo>
                  <a:lnTo>
                    <a:pt x="488" y="215"/>
                  </a:lnTo>
                  <a:lnTo>
                    <a:pt x="490" y="215"/>
                  </a:lnTo>
                  <a:lnTo>
                    <a:pt x="492" y="215"/>
                  </a:lnTo>
                  <a:lnTo>
                    <a:pt x="492" y="217"/>
                  </a:lnTo>
                  <a:lnTo>
                    <a:pt x="492" y="217"/>
                  </a:lnTo>
                  <a:lnTo>
                    <a:pt x="494" y="223"/>
                  </a:lnTo>
                  <a:lnTo>
                    <a:pt x="494" y="223"/>
                  </a:lnTo>
                  <a:lnTo>
                    <a:pt x="494" y="227"/>
                  </a:lnTo>
                  <a:lnTo>
                    <a:pt x="492" y="225"/>
                  </a:lnTo>
                  <a:lnTo>
                    <a:pt x="490" y="223"/>
                  </a:lnTo>
                  <a:lnTo>
                    <a:pt x="490" y="225"/>
                  </a:lnTo>
                  <a:lnTo>
                    <a:pt x="490" y="227"/>
                  </a:lnTo>
                  <a:lnTo>
                    <a:pt x="492" y="229"/>
                  </a:lnTo>
                  <a:lnTo>
                    <a:pt x="492" y="229"/>
                  </a:lnTo>
                  <a:lnTo>
                    <a:pt x="492" y="231"/>
                  </a:lnTo>
                  <a:lnTo>
                    <a:pt x="494" y="231"/>
                  </a:lnTo>
                  <a:lnTo>
                    <a:pt x="494" y="231"/>
                  </a:lnTo>
                  <a:lnTo>
                    <a:pt x="494" y="231"/>
                  </a:lnTo>
                  <a:lnTo>
                    <a:pt x="496" y="235"/>
                  </a:lnTo>
                  <a:lnTo>
                    <a:pt x="496" y="235"/>
                  </a:lnTo>
                  <a:lnTo>
                    <a:pt x="496" y="237"/>
                  </a:lnTo>
                  <a:lnTo>
                    <a:pt x="496" y="237"/>
                  </a:lnTo>
                  <a:lnTo>
                    <a:pt x="496" y="239"/>
                  </a:lnTo>
                  <a:lnTo>
                    <a:pt x="496" y="239"/>
                  </a:lnTo>
                  <a:lnTo>
                    <a:pt x="496" y="239"/>
                  </a:lnTo>
                  <a:lnTo>
                    <a:pt x="496" y="241"/>
                  </a:lnTo>
                  <a:lnTo>
                    <a:pt x="496" y="241"/>
                  </a:lnTo>
                  <a:lnTo>
                    <a:pt x="496" y="243"/>
                  </a:lnTo>
                  <a:lnTo>
                    <a:pt x="496" y="254"/>
                  </a:lnTo>
                  <a:lnTo>
                    <a:pt x="496" y="256"/>
                  </a:lnTo>
                  <a:lnTo>
                    <a:pt x="496" y="258"/>
                  </a:lnTo>
                  <a:lnTo>
                    <a:pt x="496" y="264"/>
                  </a:lnTo>
                  <a:lnTo>
                    <a:pt x="496" y="268"/>
                  </a:lnTo>
                  <a:lnTo>
                    <a:pt x="496" y="268"/>
                  </a:lnTo>
                  <a:lnTo>
                    <a:pt x="496" y="268"/>
                  </a:lnTo>
                  <a:lnTo>
                    <a:pt x="494" y="270"/>
                  </a:lnTo>
                  <a:lnTo>
                    <a:pt x="492" y="280"/>
                  </a:lnTo>
                  <a:lnTo>
                    <a:pt x="494" y="278"/>
                  </a:lnTo>
                  <a:lnTo>
                    <a:pt x="494" y="278"/>
                  </a:lnTo>
                  <a:lnTo>
                    <a:pt x="494" y="278"/>
                  </a:lnTo>
                  <a:lnTo>
                    <a:pt x="494" y="280"/>
                  </a:lnTo>
                  <a:lnTo>
                    <a:pt x="494" y="282"/>
                  </a:lnTo>
                  <a:lnTo>
                    <a:pt x="492" y="284"/>
                  </a:lnTo>
                  <a:lnTo>
                    <a:pt x="492" y="289"/>
                  </a:lnTo>
                  <a:lnTo>
                    <a:pt x="492" y="289"/>
                  </a:lnTo>
                  <a:lnTo>
                    <a:pt x="490" y="291"/>
                  </a:lnTo>
                  <a:lnTo>
                    <a:pt x="490" y="291"/>
                  </a:lnTo>
                  <a:lnTo>
                    <a:pt x="490" y="293"/>
                  </a:lnTo>
                  <a:lnTo>
                    <a:pt x="490" y="295"/>
                  </a:lnTo>
                  <a:lnTo>
                    <a:pt x="490" y="295"/>
                  </a:lnTo>
                  <a:lnTo>
                    <a:pt x="492" y="299"/>
                  </a:lnTo>
                  <a:lnTo>
                    <a:pt x="492" y="301"/>
                  </a:lnTo>
                  <a:lnTo>
                    <a:pt x="494" y="301"/>
                  </a:lnTo>
                  <a:lnTo>
                    <a:pt x="492" y="303"/>
                  </a:lnTo>
                  <a:lnTo>
                    <a:pt x="492" y="303"/>
                  </a:lnTo>
                  <a:lnTo>
                    <a:pt x="492" y="307"/>
                  </a:lnTo>
                  <a:lnTo>
                    <a:pt x="492" y="317"/>
                  </a:lnTo>
                  <a:lnTo>
                    <a:pt x="490" y="325"/>
                  </a:lnTo>
                  <a:lnTo>
                    <a:pt x="490" y="323"/>
                  </a:lnTo>
                  <a:lnTo>
                    <a:pt x="490" y="321"/>
                  </a:lnTo>
                  <a:lnTo>
                    <a:pt x="490" y="321"/>
                  </a:lnTo>
                  <a:lnTo>
                    <a:pt x="490" y="319"/>
                  </a:lnTo>
                  <a:lnTo>
                    <a:pt x="490" y="319"/>
                  </a:lnTo>
                  <a:lnTo>
                    <a:pt x="488" y="321"/>
                  </a:lnTo>
                  <a:lnTo>
                    <a:pt x="488" y="323"/>
                  </a:lnTo>
                  <a:lnTo>
                    <a:pt x="488" y="325"/>
                  </a:lnTo>
                  <a:lnTo>
                    <a:pt x="488" y="327"/>
                  </a:lnTo>
                  <a:lnTo>
                    <a:pt x="490" y="329"/>
                  </a:lnTo>
                  <a:lnTo>
                    <a:pt x="490" y="332"/>
                  </a:lnTo>
                  <a:lnTo>
                    <a:pt x="492" y="334"/>
                  </a:lnTo>
                  <a:lnTo>
                    <a:pt x="498" y="340"/>
                  </a:lnTo>
                  <a:lnTo>
                    <a:pt x="500" y="342"/>
                  </a:lnTo>
                  <a:lnTo>
                    <a:pt x="502" y="344"/>
                  </a:lnTo>
                  <a:lnTo>
                    <a:pt x="502" y="346"/>
                  </a:lnTo>
                  <a:lnTo>
                    <a:pt x="504" y="348"/>
                  </a:lnTo>
                  <a:lnTo>
                    <a:pt x="504" y="348"/>
                  </a:lnTo>
                  <a:lnTo>
                    <a:pt x="504" y="346"/>
                  </a:lnTo>
                  <a:lnTo>
                    <a:pt x="504" y="344"/>
                  </a:lnTo>
                  <a:lnTo>
                    <a:pt x="502" y="342"/>
                  </a:lnTo>
                  <a:lnTo>
                    <a:pt x="500" y="340"/>
                  </a:lnTo>
                  <a:lnTo>
                    <a:pt x="494" y="334"/>
                  </a:lnTo>
                  <a:lnTo>
                    <a:pt x="492" y="334"/>
                  </a:lnTo>
                  <a:lnTo>
                    <a:pt x="494" y="332"/>
                  </a:lnTo>
                  <a:lnTo>
                    <a:pt x="496" y="332"/>
                  </a:lnTo>
                  <a:lnTo>
                    <a:pt x="500" y="336"/>
                  </a:lnTo>
                  <a:lnTo>
                    <a:pt x="502" y="336"/>
                  </a:lnTo>
                  <a:lnTo>
                    <a:pt x="504" y="340"/>
                  </a:lnTo>
                  <a:lnTo>
                    <a:pt x="504" y="340"/>
                  </a:lnTo>
                  <a:lnTo>
                    <a:pt x="506" y="340"/>
                  </a:lnTo>
                  <a:lnTo>
                    <a:pt x="506" y="340"/>
                  </a:lnTo>
                  <a:lnTo>
                    <a:pt x="506" y="342"/>
                  </a:lnTo>
                  <a:lnTo>
                    <a:pt x="508" y="344"/>
                  </a:lnTo>
                  <a:lnTo>
                    <a:pt x="508" y="344"/>
                  </a:lnTo>
                  <a:lnTo>
                    <a:pt x="508" y="344"/>
                  </a:lnTo>
                  <a:lnTo>
                    <a:pt x="510" y="344"/>
                  </a:lnTo>
                  <a:lnTo>
                    <a:pt x="512" y="342"/>
                  </a:lnTo>
                  <a:lnTo>
                    <a:pt x="512" y="340"/>
                  </a:lnTo>
                  <a:lnTo>
                    <a:pt x="512" y="338"/>
                  </a:lnTo>
                  <a:lnTo>
                    <a:pt x="512" y="338"/>
                  </a:lnTo>
                  <a:lnTo>
                    <a:pt x="512" y="334"/>
                  </a:lnTo>
                  <a:lnTo>
                    <a:pt x="512" y="334"/>
                  </a:lnTo>
                  <a:lnTo>
                    <a:pt x="512" y="332"/>
                  </a:lnTo>
                  <a:lnTo>
                    <a:pt x="514" y="329"/>
                  </a:lnTo>
                  <a:lnTo>
                    <a:pt x="514" y="329"/>
                  </a:lnTo>
                  <a:lnTo>
                    <a:pt x="514" y="327"/>
                  </a:lnTo>
                  <a:lnTo>
                    <a:pt x="512" y="325"/>
                  </a:lnTo>
                  <a:lnTo>
                    <a:pt x="512" y="325"/>
                  </a:lnTo>
                  <a:lnTo>
                    <a:pt x="514" y="323"/>
                  </a:lnTo>
                  <a:lnTo>
                    <a:pt x="516" y="321"/>
                  </a:lnTo>
                  <a:lnTo>
                    <a:pt x="512" y="323"/>
                  </a:lnTo>
                  <a:lnTo>
                    <a:pt x="508" y="321"/>
                  </a:lnTo>
                  <a:lnTo>
                    <a:pt x="504" y="319"/>
                  </a:lnTo>
                  <a:lnTo>
                    <a:pt x="500" y="319"/>
                  </a:lnTo>
                  <a:lnTo>
                    <a:pt x="502" y="317"/>
                  </a:lnTo>
                  <a:lnTo>
                    <a:pt x="506" y="315"/>
                  </a:lnTo>
                  <a:lnTo>
                    <a:pt x="506" y="313"/>
                  </a:lnTo>
                  <a:lnTo>
                    <a:pt x="504" y="315"/>
                  </a:lnTo>
                  <a:lnTo>
                    <a:pt x="502" y="315"/>
                  </a:lnTo>
                  <a:lnTo>
                    <a:pt x="502" y="313"/>
                  </a:lnTo>
                  <a:lnTo>
                    <a:pt x="502" y="313"/>
                  </a:lnTo>
                  <a:lnTo>
                    <a:pt x="502" y="313"/>
                  </a:lnTo>
                  <a:lnTo>
                    <a:pt x="502" y="311"/>
                  </a:lnTo>
                  <a:lnTo>
                    <a:pt x="502" y="311"/>
                  </a:lnTo>
                  <a:lnTo>
                    <a:pt x="502" y="309"/>
                  </a:lnTo>
                  <a:lnTo>
                    <a:pt x="502" y="309"/>
                  </a:lnTo>
                  <a:lnTo>
                    <a:pt x="502" y="307"/>
                  </a:lnTo>
                  <a:lnTo>
                    <a:pt x="506" y="311"/>
                  </a:lnTo>
                  <a:lnTo>
                    <a:pt x="506" y="309"/>
                  </a:lnTo>
                  <a:lnTo>
                    <a:pt x="506" y="309"/>
                  </a:lnTo>
                  <a:lnTo>
                    <a:pt x="506" y="309"/>
                  </a:lnTo>
                  <a:lnTo>
                    <a:pt x="506" y="309"/>
                  </a:lnTo>
                  <a:lnTo>
                    <a:pt x="508" y="311"/>
                  </a:lnTo>
                  <a:lnTo>
                    <a:pt x="510" y="311"/>
                  </a:lnTo>
                  <a:lnTo>
                    <a:pt x="510" y="313"/>
                  </a:lnTo>
                  <a:lnTo>
                    <a:pt x="510" y="313"/>
                  </a:lnTo>
                  <a:lnTo>
                    <a:pt x="510" y="315"/>
                  </a:lnTo>
                  <a:lnTo>
                    <a:pt x="512" y="313"/>
                  </a:lnTo>
                  <a:lnTo>
                    <a:pt x="514" y="313"/>
                  </a:lnTo>
                  <a:lnTo>
                    <a:pt x="516" y="315"/>
                  </a:lnTo>
                  <a:lnTo>
                    <a:pt x="518" y="317"/>
                  </a:lnTo>
                  <a:lnTo>
                    <a:pt x="518" y="323"/>
                  </a:lnTo>
                  <a:lnTo>
                    <a:pt x="518" y="325"/>
                  </a:lnTo>
                  <a:lnTo>
                    <a:pt x="521" y="327"/>
                  </a:lnTo>
                  <a:lnTo>
                    <a:pt x="521" y="327"/>
                  </a:lnTo>
                  <a:lnTo>
                    <a:pt x="525" y="327"/>
                  </a:lnTo>
                  <a:lnTo>
                    <a:pt x="525" y="325"/>
                  </a:lnTo>
                  <a:lnTo>
                    <a:pt x="525" y="325"/>
                  </a:lnTo>
                  <a:lnTo>
                    <a:pt x="525" y="323"/>
                  </a:lnTo>
                  <a:lnTo>
                    <a:pt x="523" y="319"/>
                  </a:lnTo>
                  <a:lnTo>
                    <a:pt x="523" y="317"/>
                  </a:lnTo>
                  <a:lnTo>
                    <a:pt x="525" y="317"/>
                  </a:lnTo>
                  <a:lnTo>
                    <a:pt x="527" y="315"/>
                  </a:lnTo>
                  <a:lnTo>
                    <a:pt x="527" y="315"/>
                  </a:lnTo>
                  <a:lnTo>
                    <a:pt x="529" y="315"/>
                  </a:lnTo>
                  <a:lnTo>
                    <a:pt x="531" y="321"/>
                  </a:lnTo>
                  <a:lnTo>
                    <a:pt x="533" y="325"/>
                  </a:lnTo>
                  <a:lnTo>
                    <a:pt x="533" y="327"/>
                  </a:lnTo>
                  <a:lnTo>
                    <a:pt x="533" y="329"/>
                  </a:lnTo>
                  <a:lnTo>
                    <a:pt x="531" y="332"/>
                  </a:lnTo>
                  <a:lnTo>
                    <a:pt x="531" y="334"/>
                  </a:lnTo>
                  <a:lnTo>
                    <a:pt x="527" y="336"/>
                  </a:lnTo>
                  <a:lnTo>
                    <a:pt x="527" y="338"/>
                  </a:lnTo>
                  <a:lnTo>
                    <a:pt x="527" y="340"/>
                  </a:lnTo>
                  <a:lnTo>
                    <a:pt x="527" y="340"/>
                  </a:lnTo>
                  <a:lnTo>
                    <a:pt x="525" y="342"/>
                  </a:lnTo>
                  <a:lnTo>
                    <a:pt x="525" y="342"/>
                  </a:lnTo>
                  <a:lnTo>
                    <a:pt x="525" y="344"/>
                  </a:lnTo>
                  <a:lnTo>
                    <a:pt x="525" y="344"/>
                  </a:lnTo>
                  <a:lnTo>
                    <a:pt x="523" y="346"/>
                  </a:lnTo>
                  <a:lnTo>
                    <a:pt x="521" y="348"/>
                  </a:lnTo>
                  <a:lnTo>
                    <a:pt x="521" y="352"/>
                  </a:lnTo>
                  <a:lnTo>
                    <a:pt x="521" y="354"/>
                  </a:lnTo>
                  <a:lnTo>
                    <a:pt x="518" y="354"/>
                  </a:lnTo>
                  <a:lnTo>
                    <a:pt x="518" y="356"/>
                  </a:lnTo>
                  <a:lnTo>
                    <a:pt x="518" y="356"/>
                  </a:lnTo>
                  <a:lnTo>
                    <a:pt x="518" y="358"/>
                  </a:lnTo>
                  <a:lnTo>
                    <a:pt x="518" y="356"/>
                  </a:lnTo>
                  <a:lnTo>
                    <a:pt x="521" y="356"/>
                  </a:lnTo>
                  <a:lnTo>
                    <a:pt x="521" y="358"/>
                  </a:lnTo>
                  <a:lnTo>
                    <a:pt x="518" y="358"/>
                  </a:lnTo>
                  <a:lnTo>
                    <a:pt x="516" y="360"/>
                  </a:lnTo>
                  <a:lnTo>
                    <a:pt x="514" y="360"/>
                  </a:lnTo>
                  <a:lnTo>
                    <a:pt x="516" y="360"/>
                  </a:lnTo>
                  <a:lnTo>
                    <a:pt x="518" y="362"/>
                  </a:lnTo>
                  <a:lnTo>
                    <a:pt x="518" y="362"/>
                  </a:lnTo>
                  <a:lnTo>
                    <a:pt x="521" y="362"/>
                  </a:lnTo>
                  <a:lnTo>
                    <a:pt x="518" y="362"/>
                  </a:lnTo>
                  <a:lnTo>
                    <a:pt x="514" y="362"/>
                  </a:lnTo>
                  <a:lnTo>
                    <a:pt x="512" y="362"/>
                  </a:lnTo>
                  <a:lnTo>
                    <a:pt x="512" y="364"/>
                  </a:lnTo>
                  <a:lnTo>
                    <a:pt x="512" y="364"/>
                  </a:lnTo>
                  <a:lnTo>
                    <a:pt x="512" y="364"/>
                  </a:lnTo>
                  <a:lnTo>
                    <a:pt x="514" y="364"/>
                  </a:lnTo>
                  <a:lnTo>
                    <a:pt x="514" y="364"/>
                  </a:lnTo>
                  <a:lnTo>
                    <a:pt x="514" y="364"/>
                  </a:lnTo>
                  <a:lnTo>
                    <a:pt x="514" y="364"/>
                  </a:lnTo>
                  <a:lnTo>
                    <a:pt x="514" y="366"/>
                  </a:lnTo>
                  <a:lnTo>
                    <a:pt x="514" y="366"/>
                  </a:lnTo>
                  <a:lnTo>
                    <a:pt x="514" y="368"/>
                  </a:lnTo>
                  <a:lnTo>
                    <a:pt x="512" y="366"/>
                  </a:lnTo>
                  <a:lnTo>
                    <a:pt x="510" y="366"/>
                  </a:lnTo>
                  <a:lnTo>
                    <a:pt x="508" y="366"/>
                  </a:lnTo>
                  <a:lnTo>
                    <a:pt x="508" y="364"/>
                  </a:lnTo>
                  <a:lnTo>
                    <a:pt x="506" y="362"/>
                  </a:lnTo>
                  <a:lnTo>
                    <a:pt x="506" y="362"/>
                  </a:lnTo>
                  <a:lnTo>
                    <a:pt x="506" y="364"/>
                  </a:lnTo>
                  <a:lnTo>
                    <a:pt x="508" y="368"/>
                  </a:lnTo>
                  <a:lnTo>
                    <a:pt x="510" y="368"/>
                  </a:lnTo>
                  <a:lnTo>
                    <a:pt x="512" y="370"/>
                  </a:lnTo>
                  <a:lnTo>
                    <a:pt x="516" y="370"/>
                  </a:lnTo>
                  <a:lnTo>
                    <a:pt x="521" y="373"/>
                  </a:lnTo>
                  <a:lnTo>
                    <a:pt x="523" y="373"/>
                  </a:lnTo>
                  <a:lnTo>
                    <a:pt x="523" y="375"/>
                  </a:lnTo>
                  <a:lnTo>
                    <a:pt x="525" y="379"/>
                  </a:lnTo>
                  <a:lnTo>
                    <a:pt x="527" y="383"/>
                  </a:lnTo>
                  <a:lnTo>
                    <a:pt x="529" y="385"/>
                  </a:lnTo>
                  <a:lnTo>
                    <a:pt x="527" y="385"/>
                  </a:lnTo>
                  <a:lnTo>
                    <a:pt x="527" y="385"/>
                  </a:lnTo>
                  <a:lnTo>
                    <a:pt x="527" y="385"/>
                  </a:lnTo>
                  <a:lnTo>
                    <a:pt x="527" y="385"/>
                  </a:lnTo>
                  <a:lnTo>
                    <a:pt x="527" y="385"/>
                  </a:lnTo>
                  <a:lnTo>
                    <a:pt x="527" y="387"/>
                  </a:lnTo>
                  <a:lnTo>
                    <a:pt x="529" y="389"/>
                  </a:lnTo>
                  <a:lnTo>
                    <a:pt x="529" y="391"/>
                  </a:lnTo>
                  <a:lnTo>
                    <a:pt x="531" y="393"/>
                  </a:lnTo>
                  <a:lnTo>
                    <a:pt x="533" y="393"/>
                  </a:lnTo>
                  <a:lnTo>
                    <a:pt x="531" y="391"/>
                  </a:lnTo>
                  <a:lnTo>
                    <a:pt x="533" y="391"/>
                  </a:lnTo>
                  <a:lnTo>
                    <a:pt x="533" y="393"/>
                  </a:lnTo>
                  <a:lnTo>
                    <a:pt x="535" y="393"/>
                  </a:lnTo>
                  <a:lnTo>
                    <a:pt x="535" y="395"/>
                  </a:lnTo>
                  <a:lnTo>
                    <a:pt x="535" y="395"/>
                  </a:lnTo>
                  <a:lnTo>
                    <a:pt x="533" y="395"/>
                  </a:lnTo>
                  <a:lnTo>
                    <a:pt x="533" y="393"/>
                  </a:lnTo>
                  <a:lnTo>
                    <a:pt x="533" y="395"/>
                  </a:lnTo>
                  <a:lnTo>
                    <a:pt x="537" y="399"/>
                  </a:lnTo>
                  <a:lnTo>
                    <a:pt x="539" y="403"/>
                  </a:lnTo>
                  <a:lnTo>
                    <a:pt x="549" y="420"/>
                  </a:lnTo>
                  <a:lnTo>
                    <a:pt x="551" y="422"/>
                  </a:lnTo>
                  <a:lnTo>
                    <a:pt x="551" y="422"/>
                  </a:lnTo>
                  <a:lnTo>
                    <a:pt x="551" y="422"/>
                  </a:lnTo>
                  <a:lnTo>
                    <a:pt x="553" y="422"/>
                  </a:lnTo>
                  <a:lnTo>
                    <a:pt x="551" y="422"/>
                  </a:lnTo>
                  <a:lnTo>
                    <a:pt x="551" y="418"/>
                  </a:lnTo>
                  <a:lnTo>
                    <a:pt x="549" y="418"/>
                  </a:lnTo>
                  <a:lnTo>
                    <a:pt x="553" y="420"/>
                  </a:lnTo>
                  <a:lnTo>
                    <a:pt x="557" y="428"/>
                  </a:lnTo>
                  <a:lnTo>
                    <a:pt x="559" y="430"/>
                  </a:lnTo>
                  <a:lnTo>
                    <a:pt x="561" y="430"/>
                  </a:lnTo>
                  <a:lnTo>
                    <a:pt x="561" y="430"/>
                  </a:lnTo>
                  <a:lnTo>
                    <a:pt x="564" y="430"/>
                  </a:lnTo>
                  <a:lnTo>
                    <a:pt x="564" y="430"/>
                  </a:lnTo>
                  <a:lnTo>
                    <a:pt x="566" y="430"/>
                  </a:lnTo>
                  <a:lnTo>
                    <a:pt x="566" y="430"/>
                  </a:lnTo>
                  <a:lnTo>
                    <a:pt x="566" y="430"/>
                  </a:lnTo>
                  <a:lnTo>
                    <a:pt x="568" y="430"/>
                  </a:lnTo>
                  <a:lnTo>
                    <a:pt x="568" y="430"/>
                  </a:lnTo>
                  <a:lnTo>
                    <a:pt x="568" y="430"/>
                  </a:lnTo>
                  <a:lnTo>
                    <a:pt x="568" y="430"/>
                  </a:lnTo>
                  <a:lnTo>
                    <a:pt x="570" y="430"/>
                  </a:lnTo>
                  <a:lnTo>
                    <a:pt x="570" y="432"/>
                  </a:lnTo>
                  <a:lnTo>
                    <a:pt x="570" y="430"/>
                  </a:lnTo>
                  <a:lnTo>
                    <a:pt x="570" y="430"/>
                  </a:lnTo>
                  <a:lnTo>
                    <a:pt x="570" y="428"/>
                  </a:lnTo>
                  <a:lnTo>
                    <a:pt x="570" y="428"/>
                  </a:lnTo>
                  <a:lnTo>
                    <a:pt x="572" y="430"/>
                  </a:lnTo>
                  <a:lnTo>
                    <a:pt x="572" y="432"/>
                  </a:lnTo>
                  <a:lnTo>
                    <a:pt x="574" y="432"/>
                  </a:lnTo>
                  <a:lnTo>
                    <a:pt x="574" y="430"/>
                  </a:lnTo>
                  <a:lnTo>
                    <a:pt x="574" y="428"/>
                  </a:lnTo>
                  <a:lnTo>
                    <a:pt x="572" y="424"/>
                  </a:lnTo>
                  <a:lnTo>
                    <a:pt x="570" y="420"/>
                  </a:lnTo>
                  <a:lnTo>
                    <a:pt x="570" y="420"/>
                  </a:lnTo>
                  <a:lnTo>
                    <a:pt x="568" y="420"/>
                  </a:lnTo>
                  <a:lnTo>
                    <a:pt x="566" y="416"/>
                  </a:lnTo>
                  <a:lnTo>
                    <a:pt x="566" y="416"/>
                  </a:lnTo>
                  <a:lnTo>
                    <a:pt x="564" y="416"/>
                  </a:lnTo>
                  <a:lnTo>
                    <a:pt x="564" y="416"/>
                  </a:lnTo>
                  <a:lnTo>
                    <a:pt x="559" y="411"/>
                  </a:lnTo>
                  <a:lnTo>
                    <a:pt x="559" y="411"/>
                  </a:lnTo>
                  <a:lnTo>
                    <a:pt x="557" y="409"/>
                  </a:lnTo>
                  <a:lnTo>
                    <a:pt x="559" y="409"/>
                  </a:lnTo>
                  <a:lnTo>
                    <a:pt x="561" y="411"/>
                  </a:lnTo>
                  <a:lnTo>
                    <a:pt x="564" y="414"/>
                  </a:lnTo>
                  <a:lnTo>
                    <a:pt x="566" y="414"/>
                  </a:lnTo>
                  <a:lnTo>
                    <a:pt x="568" y="414"/>
                  </a:lnTo>
                  <a:lnTo>
                    <a:pt x="568" y="414"/>
                  </a:lnTo>
                  <a:lnTo>
                    <a:pt x="568" y="416"/>
                  </a:lnTo>
                  <a:lnTo>
                    <a:pt x="570" y="416"/>
                  </a:lnTo>
                  <a:lnTo>
                    <a:pt x="572" y="418"/>
                  </a:lnTo>
                  <a:lnTo>
                    <a:pt x="572" y="418"/>
                  </a:lnTo>
                  <a:lnTo>
                    <a:pt x="572" y="416"/>
                  </a:lnTo>
                  <a:lnTo>
                    <a:pt x="574" y="416"/>
                  </a:lnTo>
                  <a:lnTo>
                    <a:pt x="574" y="416"/>
                  </a:lnTo>
                  <a:lnTo>
                    <a:pt x="574" y="414"/>
                  </a:lnTo>
                  <a:lnTo>
                    <a:pt x="576" y="414"/>
                  </a:lnTo>
                  <a:lnTo>
                    <a:pt x="578" y="414"/>
                  </a:lnTo>
                  <a:lnTo>
                    <a:pt x="580" y="411"/>
                  </a:lnTo>
                  <a:lnTo>
                    <a:pt x="584" y="409"/>
                  </a:lnTo>
                  <a:lnTo>
                    <a:pt x="586" y="407"/>
                  </a:lnTo>
                  <a:lnTo>
                    <a:pt x="586" y="407"/>
                  </a:lnTo>
                  <a:lnTo>
                    <a:pt x="586" y="411"/>
                  </a:lnTo>
                  <a:lnTo>
                    <a:pt x="586" y="411"/>
                  </a:lnTo>
                  <a:lnTo>
                    <a:pt x="584" y="411"/>
                  </a:lnTo>
                  <a:lnTo>
                    <a:pt x="582" y="414"/>
                  </a:lnTo>
                  <a:lnTo>
                    <a:pt x="578" y="416"/>
                  </a:lnTo>
                  <a:lnTo>
                    <a:pt x="576" y="418"/>
                  </a:lnTo>
                  <a:lnTo>
                    <a:pt x="578" y="420"/>
                  </a:lnTo>
                  <a:lnTo>
                    <a:pt x="580" y="422"/>
                  </a:lnTo>
                  <a:lnTo>
                    <a:pt x="580" y="422"/>
                  </a:lnTo>
                  <a:lnTo>
                    <a:pt x="582" y="422"/>
                  </a:lnTo>
                  <a:lnTo>
                    <a:pt x="582" y="426"/>
                  </a:lnTo>
                  <a:lnTo>
                    <a:pt x="582" y="428"/>
                  </a:lnTo>
                  <a:lnTo>
                    <a:pt x="582" y="440"/>
                  </a:lnTo>
                  <a:lnTo>
                    <a:pt x="582" y="442"/>
                  </a:lnTo>
                  <a:lnTo>
                    <a:pt x="582" y="444"/>
                  </a:lnTo>
                  <a:lnTo>
                    <a:pt x="586" y="448"/>
                  </a:lnTo>
                  <a:lnTo>
                    <a:pt x="586" y="448"/>
                  </a:lnTo>
                  <a:lnTo>
                    <a:pt x="586" y="452"/>
                  </a:lnTo>
                  <a:lnTo>
                    <a:pt x="586" y="452"/>
                  </a:lnTo>
                  <a:lnTo>
                    <a:pt x="586" y="455"/>
                  </a:lnTo>
                  <a:lnTo>
                    <a:pt x="588" y="457"/>
                  </a:lnTo>
                  <a:lnTo>
                    <a:pt x="588" y="459"/>
                  </a:lnTo>
                  <a:lnTo>
                    <a:pt x="590" y="459"/>
                  </a:lnTo>
                  <a:lnTo>
                    <a:pt x="592" y="457"/>
                  </a:lnTo>
                  <a:lnTo>
                    <a:pt x="592" y="455"/>
                  </a:lnTo>
                  <a:lnTo>
                    <a:pt x="594" y="457"/>
                  </a:lnTo>
                  <a:lnTo>
                    <a:pt x="594" y="457"/>
                  </a:lnTo>
                  <a:lnTo>
                    <a:pt x="596" y="455"/>
                  </a:lnTo>
                  <a:lnTo>
                    <a:pt x="596" y="455"/>
                  </a:lnTo>
                  <a:lnTo>
                    <a:pt x="596" y="455"/>
                  </a:lnTo>
                  <a:lnTo>
                    <a:pt x="598" y="446"/>
                  </a:lnTo>
                  <a:lnTo>
                    <a:pt x="600" y="444"/>
                  </a:lnTo>
                  <a:lnTo>
                    <a:pt x="602" y="440"/>
                  </a:lnTo>
                  <a:lnTo>
                    <a:pt x="604" y="438"/>
                  </a:lnTo>
                  <a:lnTo>
                    <a:pt x="604" y="436"/>
                  </a:lnTo>
                  <a:lnTo>
                    <a:pt x="607" y="436"/>
                  </a:lnTo>
                  <a:lnTo>
                    <a:pt x="609" y="434"/>
                  </a:lnTo>
                  <a:lnTo>
                    <a:pt x="611" y="434"/>
                  </a:lnTo>
                  <a:lnTo>
                    <a:pt x="611" y="436"/>
                  </a:lnTo>
                  <a:lnTo>
                    <a:pt x="611" y="436"/>
                  </a:lnTo>
                  <a:lnTo>
                    <a:pt x="609" y="438"/>
                  </a:lnTo>
                  <a:lnTo>
                    <a:pt x="609" y="438"/>
                  </a:lnTo>
                  <a:lnTo>
                    <a:pt x="607" y="438"/>
                  </a:lnTo>
                  <a:lnTo>
                    <a:pt x="607" y="438"/>
                  </a:lnTo>
                  <a:lnTo>
                    <a:pt x="607" y="440"/>
                  </a:lnTo>
                  <a:lnTo>
                    <a:pt x="604" y="440"/>
                  </a:lnTo>
                  <a:lnTo>
                    <a:pt x="602" y="444"/>
                  </a:lnTo>
                  <a:lnTo>
                    <a:pt x="600" y="446"/>
                  </a:lnTo>
                  <a:lnTo>
                    <a:pt x="602" y="448"/>
                  </a:lnTo>
                  <a:lnTo>
                    <a:pt x="600" y="452"/>
                  </a:lnTo>
                  <a:lnTo>
                    <a:pt x="598" y="455"/>
                  </a:lnTo>
                  <a:lnTo>
                    <a:pt x="596" y="459"/>
                  </a:lnTo>
                  <a:lnTo>
                    <a:pt x="596" y="459"/>
                  </a:lnTo>
                  <a:lnTo>
                    <a:pt x="596" y="459"/>
                  </a:lnTo>
                  <a:lnTo>
                    <a:pt x="594" y="459"/>
                  </a:lnTo>
                  <a:lnTo>
                    <a:pt x="594" y="459"/>
                  </a:lnTo>
                  <a:lnTo>
                    <a:pt x="592" y="459"/>
                  </a:lnTo>
                  <a:lnTo>
                    <a:pt x="592" y="459"/>
                  </a:lnTo>
                  <a:lnTo>
                    <a:pt x="592" y="459"/>
                  </a:lnTo>
                  <a:lnTo>
                    <a:pt x="592" y="461"/>
                  </a:lnTo>
                  <a:lnTo>
                    <a:pt x="592" y="463"/>
                  </a:lnTo>
                  <a:lnTo>
                    <a:pt x="592" y="463"/>
                  </a:lnTo>
                  <a:lnTo>
                    <a:pt x="594" y="463"/>
                  </a:lnTo>
                  <a:lnTo>
                    <a:pt x="594" y="463"/>
                  </a:lnTo>
                  <a:lnTo>
                    <a:pt x="594" y="463"/>
                  </a:lnTo>
                  <a:lnTo>
                    <a:pt x="596" y="463"/>
                  </a:lnTo>
                  <a:lnTo>
                    <a:pt x="600" y="465"/>
                  </a:lnTo>
                  <a:lnTo>
                    <a:pt x="602" y="463"/>
                  </a:lnTo>
                  <a:lnTo>
                    <a:pt x="604" y="463"/>
                  </a:lnTo>
                  <a:lnTo>
                    <a:pt x="604" y="465"/>
                  </a:lnTo>
                  <a:lnTo>
                    <a:pt x="604" y="465"/>
                  </a:lnTo>
                  <a:lnTo>
                    <a:pt x="604" y="465"/>
                  </a:lnTo>
                  <a:lnTo>
                    <a:pt x="607" y="463"/>
                  </a:lnTo>
                  <a:lnTo>
                    <a:pt x="604" y="461"/>
                  </a:lnTo>
                  <a:lnTo>
                    <a:pt x="604" y="459"/>
                  </a:lnTo>
                  <a:lnTo>
                    <a:pt x="604" y="461"/>
                  </a:lnTo>
                  <a:lnTo>
                    <a:pt x="609" y="463"/>
                  </a:lnTo>
                  <a:lnTo>
                    <a:pt x="609" y="465"/>
                  </a:lnTo>
                  <a:lnTo>
                    <a:pt x="611" y="467"/>
                  </a:lnTo>
                  <a:lnTo>
                    <a:pt x="611" y="473"/>
                  </a:lnTo>
                  <a:lnTo>
                    <a:pt x="611" y="473"/>
                  </a:lnTo>
                  <a:lnTo>
                    <a:pt x="611" y="473"/>
                  </a:lnTo>
                  <a:lnTo>
                    <a:pt x="609" y="473"/>
                  </a:lnTo>
                  <a:lnTo>
                    <a:pt x="611" y="475"/>
                  </a:lnTo>
                  <a:lnTo>
                    <a:pt x="615" y="479"/>
                  </a:lnTo>
                  <a:lnTo>
                    <a:pt x="615" y="479"/>
                  </a:lnTo>
                  <a:lnTo>
                    <a:pt x="615" y="481"/>
                  </a:lnTo>
                  <a:lnTo>
                    <a:pt x="615" y="483"/>
                  </a:lnTo>
                  <a:lnTo>
                    <a:pt x="617" y="491"/>
                  </a:lnTo>
                  <a:lnTo>
                    <a:pt x="619" y="500"/>
                  </a:lnTo>
                  <a:lnTo>
                    <a:pt x="621" y="500"/>
                  </a:lnTo>
                  <a:lnTo>
                    <a:pt x="619" y="498"/>
                  </a:lnTo>
                  <a:lnTo>
                    <a:pt x="619" y="498"/>
                  </a:lnTo>
                  <a:lnTo>
                    <a:pt x="619" y="495"/>
                  </a:lnTo>
                  <a:lnTo>
                    <a:pt x="621" y="495"/>
                  </a:lnTo>
                  <a:lnTo>
                    <a:pt x="623" y="502"/>
                  </a:lnTo>
                  <a:lnTo>
                    <a:pt x="625" y="506"/>
                  </a:lnTo>
                  <a:lnTo>
                    <a:pt x="627" y="506"/>
                  </a:lnTo>
                  <a:lnTo>
                    <a:pt x="627" y="508"/>
                  </a:lnTo>
                  <a:lnTo>
                    <a:pt x="627" y="510"/>
                  </a:lnTo>
                  <a:lnTo>
                    <a:pt x="629" y="510"/>
                  </a:lnTo>
                  <a:lnTo>
                    <a:pt x="629" y="510"/>
                  </a:lnTo>
                  <a:lnTo>
                    <a:pt x="631" y="510"/>
                  </a:lnTo>
                  <a:lnTo>
                    <a:pt x="633" y="510"/>
                  </a:lnTo>
                  <a:lnTo>
                    <a:pt x="635" y="510"/>
                  </a:lnTo>
                  <a:lnTo>
                    <a:pt x="635" y="512"/>
                  </a:lnTo>
                  <a:lnTo>
                    <a:pt x="633" y="512"/>
                  </a:lnTo>
                  <a:lnTo>
                    <a:pt x="633" y="514"/>
                  </a:lnTo>
                  <a:lnTo>
                    <a:pt x="633" y="514"/>
                  </a:lnTo>
                  <a:lnTo>
                    <a:pt x="631" y="514"/>
                  </a:lnTo>
                  <a:lnTo>
                    <a:pt x="629" y="514"/>
                  </a:lnTo>
                  <a:lnTo>
                    <a:pt x="629" y="512"/>
                  </a:lnTo>
                  <a:lnTo>
                    <a:pt x="627" y="514"/>
                  </a:lnTo>
                  <a:lnTo>
                    <a:pt x="629" y="516"/>
                  </a:lnTo>
                  <a:lnTo>
                    <a:pt x="629" y="518"/>
                  </a:lnTo>
                  <a:lnTo>
                    <a:pt x="631" y="518"/>
                  </a:lnTo>
                  <a:lnTo>
                    <a:pt x="631" y="518"/>
                  </a:lnTo>
                  <a:lnTo>
                    <a:pt x="631" y="518"/>
                  </a:lnTo>
                  <a:lnTo>
                    <a:pt x="631" y="518"/>
                  </a:lnTo>
                  <a:lnTo>
                    <a:pt x="631" y="518"/>
                  </a:lnTo>
                  <a:lnTo>
                    <a:pt x="631" y="518"/>
                  </a:lnTo>
                  <a:lnTo>
                    <a:pt x="633" y="516"/>
                  </a:lnTo>
                  <a:lnTo>
                    <a:pt x="633" y="516"/>
                  </a:lnTo>
                  <a:lnTo>
                    <a:pt x="633" y="516"/>
                  </a:lnTo>
                  <a:lnTo>
                    <a:pt x="633" y="516"/>
                  </a:lnTo>
                  <a:lnTo>
                    <a:pt x="635" y="516"/>
                  </a:lnTo>
                  <a:lnTo>
                    <a:pt x="635" y="516"/>
                  </a:lnTo>
                  <a:lnTo>
                    <a:pt x="637" y="516"/>
                  </a:lnTo>
                  <a:lnTo>
                    <a:pt x="637" y="516"/>
                  </a:lnTo>
                  <a:lnTo>
                    <a:pt x="637" y="514"/>
                  </a:lnTo>
                  <a:lnTo>
                    <a:pt x="639" y="512"/>
                  </a:lnTo>
                  <a:lnTo>
                    <a:pt x="639" y="514"/>
                  </a:lnTo>
                  <a:lnTo>
                    <a:pt x="641" y="514"/>
                  </a:lnTo>
                  <a:lnTo>
                    <a:pt x="641" y="514"/>
                  </a:lnTo>
                  <a:lnTo>
                    <a:pt x="643" y="514"/>
                  </a:lnTo>
                  <a:lnTo>
                    <a:pt x="643" y="516"/>
                  </a:lnTo>
                  <a:lnTo>
                    <a:pt x="643" y="516"/>
                  </a:lnTo>
                  <a:lnTo>
                    <a:pt x="643" y="516"/>
                  </a:lnTo>
                  <a:lnTo>
                    <a:pt x="643" y="516"/>
                  </a:lnTo>
                  <a:lnTo>
                    <a:pt x="643" y="516"/>
                  </a:lnTo>
                  <a:lnTo>
                    <a:pt x="645" y="516"/>
                  </a:lnTo>
                  <a:lnTo>
                    <a:pt x="645" y="514"/>
                  </a:lnTo>
                  <a:lnTo>
                    <a:pt x="645" y="514"/>
                  </a:lnTo>
                  <a:lnTo>
                    <a:pt x="647" y="516"/>
                  </a:lnTo>
                  <a:lnTo>
                    <a:pt x="650" y="516"/>
                  </a:lnTo>
                  <a:lnTo>
                    <a:pt x="652" y="516"/>
                  </a:lnTo>
                  <a:lnTo>
                    <a:pt x="652" y="518"/>
                  </a:lnTo>
                  <a:lnTo>
                    <a:pt x="654" y="516"/>
                  </a:lnTo>
                  <a:lnTo>
                    <a:pt x="654" y="516"/>
                  </a:lnTo>
                  <a:lnTo>
                    <a:pt x="656" y="518"/>
                  </a:lnTo>
                  <a:lnTo>
                    <a:pt x="658" y="518"/>
                  </a:lnTo>
                  <a:lnTo>
                    <a:pt x="658" y="518"/>
                  </a:lnTo>
                  <a:lnTo>
                    <a:pt x="662" y="518"/>
                  </a:lnTo>
                  <a:lnTo>
                    <a:pt x="662" y="520"/>
                  </a:lnTo>
                  <a:lnTo>
                    <a:pt x="666" y="520"/>
                  </a:lnTo>
                  <a:lnTo>
                    <a:pt x="668" y="522"/>
                  </a:lnTo>
                  <a:lnTo>
                    <a:pt x="670" y="524"/>
                  </a:lnTo>
                  <a:lnTo>
                    <a:pt x="670" y="526"/>
                  </a:lnTo>
                  <a:lnTo>
                    <a:pt x="668" y="528"/>
                  </a:lnTo>
                  <a:lnTo>
                    <a:pt x="668" y="528"/>
                  </a:lnTo>
                  <a:lnTo>
                    <a:pt x="670" y="530"/>
                  </a:lnTo>
                  <a:lnTo>
                    <a:pt x="670" y="530"/>
                  </a:lnTo>
                  <a:lnTo>
                    <a:pt x="672" y="532"/>
                  </a:lnTo>
                  <a:lnTo>
                    <a:pt x="672" y="532"/>
                  </a:lnTo>
                  <a:lnTo>
                    <a:pt x="674" y="532"/>
                  </a:lnTo>
                  <a:lnTo>
                    <a:pt x="676" y="532"/>
                  </a:lnTo>
                  <a:lnTo>
                    <a:pt x="676" y="534"/>
                  </a:lnTo>
                  <a:lnTo>
                    <a:pt x="678" y="536"/>
                  </a:lnTo>
                  <a:lnTo>
                    <a:pt x="678" y="536"/>
                  </a:lnTo>
                  <a:lnTo>
                    <a:pt x="678" y="539"/>
                  </a:lnTo>
                  <a:lnTo>
                    <a:pt x="680" y="541"/>
                  </a:lnTo>
                  <a:lnTo>
                    <a:pt x="682" y="547"/>
                  </a:lnTo>
                  <a:lnTo>
                    <a:pt x="684" y="547"/>
                  </a:lnTo>
                  <a:lnTo>
                    <a:pt x="684" y="547"/>
                  </a:lnTo>
                  <a:lnTo>
                    <a:pt x="686" y="547"/>
                  </a:lnTo>
                  <a:lnTo>
                    <a:pt x="688" y="547"/>
                  </a:lnTo>
                  <a:lnTo>
                    <a:pt x="688" y="547"/>
                  </a:lnTo>
                  <a:lnTo>
                    <a:pt x="688" y="549"/>
                  </a:lnTo>
                  <a:lnTo>
                    <a:pt x="688" y="549"/>
                  </a:lnTo>
                  <a:lnTo>
                    <a:pt x="686" y="551"/>
                  </a:lnTo>
                  <a:lnTo>
                    <a:pt x="686" y="553"/>
                  </a:lnTo>
                  <a:lnTo>
                    <a:pt x="690" y="555"/>
                  </a:lnTo>
                  <a:lnTo>
                    <a:pt x="693" y="559"/>
                  </a:lnTo>
                  <a:lnTo>
                    <a:pt x="693" y="561"/>
                  </a:lnTo>
                  <a:lnTo>
                    <a:pt x="695" y="563"/>
                  </a:lnTo>
                  <a:lnTo>
                    <a:pt x="695" y="563"/>
                  </a:lnTo>
                  <a:lnTo>
                    <a:pt x="695" y="565"/>
                  </a:lnTo>
                  <a:lnTo>
                    <a:pt x="701" y="567"/>
                  </a:lnTo>
                  <a:lnTo>
                    <a:pt x="705" y="567"/>
                  </a:lnTo>
                  <a:lnTo>
                    <a:pt x="705" y="567"/>
                  </a:lnTo>
                  <a:lnTo>
                    <a:pt x="707" y="567"/>
                  </a:lnTo>
                  <a:lnTo>
                    <a:pt x="711" y="567"/>
                  </a:lnTo>
                  <a:lnTo>
                    <a:pt x="713" y="569"/>
                  </a:lnTo>
                  <a:lnTo>
                    <a:pt x="719" y="573"/>
                  </a:lnTo>
                  <a:lnTo>
                    <a:pt x="719" y="575"/>
                  </a:lnTo>
                  <a:lnTo>
                    <a:pt x="719" y="577"/>
                  </a:lnTo>
                  <a:lnTo>
                    <a:pt x="717" y="580"/>
                  </a:lnTo>
                  <a:lnTo>
                    <a:pt x="715" y="580"/>
                  </a:lnTo>
                  <a:lnTo>
                    <a:pt x="713" y="582"/>
                  </a:lnTo>
                  <a:lnTo>
                    <a:pt x="711" y="580"/>
                  </a:lnTo>
                  <a:lnTo>
                    <a:pt x="711" y="580"/>
                  </a:lnTo>
                  <a:lnTo>
                    <a:pt x="713" y="580"/>
                  </a:lnTo>
                  <a:lnTo>
                    <a:pt x="713" y="580"/>
                  </a:lnTo>
                  <a:lnTo>
                    <a:pt x="713" y="580"/>
                  </a:lnTo>
                  <a:lnTo>
                    <a:pt x="713" y="577"/>
                  </a:lnTo>
                  <a:lnTo>
                    <a:pt x="705" y="575"/>
                  </a:lnTo>
                  <a:lnTo>
                    <a:pt x="705" y="575"/>
                  </a:lnTo>
                  <a:lnTo>
                    <a:pt x="703" y="575"/>
                  </a:lnTo>
                  <a:lnTo>
                    <a:pt x="701" y="571"/>
                  </a:lnTo>
                  <a:lnTo>
                    <a:pt x="701" y="571"/>
                  </a:lnTo>
                  <a:lnTo>
                    <a:pt x="699" y="571"/>
                  </a:lnTo>
                  <a:lnTo>
                    <a:pt x="699" y="569"/>
                  </a:lnTo>
                  <a:lnTo>
                    <a:pt x="697" y="569"/>
                  </a:lnTo>
                  <a:lnTo>
                    <a:pt x="697" y="569"/>
                  </a:lnTo>
                  <a:lnTo>
                    <a:pt x="697" y="569"/>
                  </a:lnTo>
                  <a:lnTo>
                    <a:pt x="695" y="573"/>
                  </a:lnTo>
                  <a:lnTo>
                    <a:pt x="695" y="577"/>
                  </a:lnTo>
                  <a:lnTo>
                    <a:pt x="695" y="582"/>
                  </a:lnTo>
                  <a:lnTo>
                    <a:pt x="697" y="586"/>
                  </a:lnTo>
                  <a:lnTo>
                    <a:pt x="699" y="588"/>
                  </a:lnTo>
                  <a:lnTo>
                    <a:pt x="705" y="592"/>
                  </a:lnTo>
                  <a:lnTo>
                    <a:pt x="705" y="592"/>
                  </a:lnTo>
                  <a:lnTo>
                    <a:pt x="711" y="590"/>
                  </a:lnTo>
                  <a:lnTo>
                    <a:pt x="713" y="588"/>
                  </a:lnTo>
                  <a:lnTo>
                    <a:pt x="717" y="588"/>
                  </a:lnTo>
                  <a:lnTo>
                    <a:pt x="721" y="586"/>
                  </a:lnTo>
                  <a:lnTo>
                    <a:pt x="723" y="586"/>
                  </a:lnTo>
                  <a:lnTo>
                    <a:pt x="723" y="584"/>
                  </a:lnTo>
                  <a:lnTo>
                    <a:pt x="725" y="584"/>
                  </a:lnTo>
                  <a:lnTo>
                    <a:pt x="727" y="582"/>
                  </a:lnTo>
                  <a:lnTo>
                    <a:pt x="729" y="582"/>
                  </a:lnTo>
                  <a:lnTo>
                    <a:pt x="731" y="582"/>
                  </a:lnTo>
                  <a:lnTo>
                    <a:pt x="731" y="584"/>
                  </a:lnTo>
                  <a:lnTo>
                    <a:pt x="731" y="584"/>
                  </a:lnTo>
                  <a:lnTo>
                    <a:pt x="731" y="584"/>
                  </a:lnTo>
                  <a:lnTo>
                    <a:pt x="734" y="584"/>
                  </a:lnTo>
                  <a:lnTo>
                    <a:pt x="734" y="584"/>
                  </a:lnTo>
                  <a:lnTo>
                    <a:pt x="734" y="582"/>
                  </a:lnTo>
                  <a:lnTo>
                    <a:pt x="734" y="584"/>
                  </a:lnTo>
                  <a:lnTo>
                    <a:pt x="734" y="584"/>
                  </a:lnTo>
                  <a:lnTo>
                    <a:pt x="736" y="584"/>
                  </a:lnTo>
                  <a:lnTo>
                    <a:pt x="736" y="584"/>
                  </a:lnTo>
                  <a:lnTo>
                    <a:pt x="736" y="584"/>
                  </a:lnTo>
                  <a:lnTo>
                    <a:pt x="736" y="584"/>
                  </a:lnTo>
                  <a:lnTo>
                    <a:pt x="736" y="582"/>
                  </a:lnTo>
                  <a:lnTo>
                    <a:pt x="736" y="582"/>
                  </a:lnTo>
                  <a:lnTo>
                    <a:pt x="738" y="584"/>
                  </a:lnTo>
                  <a:lnTo>
                    <a:pt x="740" y="584"/>
                  </a:lnTo>
                  <a:lnTo>
                    <a:pt x="740" y="584"/>
                  </a:lnTo>
                  <a:lnTo>
                    <a:pt x="742" y="582"/>
                  </a:lnTo>
                  <a:lnTo>
                    <a:pt x="744" y="580"/>
                  </a:lnTo>
                  <a:lnTo>
                    <a:pt x="744" y="580"/>
                  </a:lnTo>
                  <a:lnTo>
                    <a:pt x="746" y="580"/>
                  </a:lnTo>
                  <a:lnTo>
                    <a:pt x="746" y="580"/>
                  </a:lnTo>
                  <a:lnTo>
                    <a:pt x="748" y="580"/>
                  </a:lnTo>
                  <a:lnTo>
                    <a:pt x="746" y="580"/>
                  </a:lnTo>
                  <a:lnTo>
                    <a:pt x="746" y="577"/>
                  </a:lnTo>
                  <a:lnTo>
                    <a:pt x="746" y="577"/>
                  </a:lnTo>
                  <a:lnTo>
                    <a:pt x="746" y="577"/>
                  </a:lnTo>
                  <a:lnTo>
                    <a:pt x="750" y="575"/>
                  </a:lnTo>
                  <a:lnTo>
                    <a:pt x="750" y="575"/>
                  </a:lnTo>
                  <a:lnTo>
                    <a:pt x="750" y="575"/>
                  </a:lnTo>
                  <a:lnTo>
                    <a:pt x="750" y="575"/>
                  </a:lnTo>
                  <a:lnTo>
                    <a:pt x="750" y="575"/>
                  </a:lnTo>
                  <a:lnTo>
                    <a:pt x="750" y="575"/>
                  </a:lnTo>
                  <a:lnTo>
                    <a:pt x="752" y="575"/>
                  </a:lnTo>
                  <a:lnTo>
                    <a:pt x="752" y="571"/>
                  </a:lnTo>
                  <a:lnTo>
                    <a:pt x="752" y="569"/>
                  </a:lnTo>
                  <a:lnTo>
                    <a:pt x="754" y="569"/>
                  </a:lnTo>
                  <a:lnTo>
                    <a:pt x="758" y="569"/>
                  </a:lnTo>
                  <a:lnTo>
                    <a:pt x="758" y="567"/>
                  </a:lnTo>
                  <a:lnTo>
                    <a:pt x="760" y="569"/>
                  </a:lnTo>
                  <a:lnTo>
                    <a:pt x="760" y="569"/>
                  </a:lnTo>
                  <a:lnTo>
                    <a:pt x="760" y="569"/>
                  </a:lnTo>
                  <a:lnTo>
                    <a:pt x="758" y="569"/>
                  </a:lnTo>
                  <a:lnTo>
                    <a:pt x="758" y="569"/>
                  </a:lnTo>
                  <a:lnTo>
                    <a:pt x="758" y="571"/>
                  </a:lnTo>
                  <a:lnTo>
                    <a:pt x="758" y="571"/>
                  </a:lnTo>
                  <a:lnTo>
                    <a:pt x="758" y="571"/>
                  </a:lnTo>
                  <a:lnTo>
                    <a:pt x="760" y="571"/>
                  </a:lnTo>
                  <a:lnTo>
                    <a:pt x="760" y="573"/>
                  </a:lnTo>
                  <a:lnTo>
                    <a:pt x="760" y="573"/>
                  </a:lnTo>
                  <a:lnTo>
                    <a:pt x="762" y="571"/>
                  </a:lnTo>
                  <a:lnTo>
                    <a:pt x="764" y="571"/>
                  </a:lnTo>
                  <a:lnTo>
                    <a:pt x="766" y="573"/>
                  </a:lnTo>
                  <a:lnTo>
                    <a:pt x="766" y="575"/>
                  </a:lnTo>
                  <a:lnTo>
                    <a:pt x="766" y="575"/>
                  </a:lnTo>
                  <a:lnTo>
                    <a:pt x="766" y="573"/>
                  </a:lnTo>
                  <a:lnTo>
                    <a:pt x="764" y="571"/>
                  </a:lnTo>
                  <a:lnTo>
                    <a:pt x="762" y="571"/>
                  </a:lnTo>
                  <a:lnTo>
                    <a:pt x="760" y="571"/>
                  </a:lnTo>
                  <a:lnTo>
                    <a:pt x="762" y="569"/>
                  </a:lnTo>
                  <a:lnTo>
                    <a:pt x="764" y="567"/>
                  </a:lnTo>
                  <a:lnTo>
                    <a:pt x="764" y="567"/>
                  </a:lnTo>
                  <a:lnTo>
                    <a:pt x="764" y="569"/>
                  </a:lnTo>
                  <a:lnTo>
                    <a:pt x="766" y="569"/>
                  </a:lnTo>
                  <a:lnTo>
                    <a:pt x="768" y="571"/>
                  </a:lnTo>
                  <a:lnTo>
                    <a:pt x="770" y="573"/>
                  </a:lnTo>
                  <a:lnTo>
                    <a:pt x="770" y="571"/>
                  </a:lnTo>
                  <a:lnTo>
                    <a:pt x="768" y="571"/>
                  </a:lnTo>
                  <a:lnTo>
                    <a:pt x="768" y="569"/>
                  </a:lnTo>
                  <a:lnTo>
                    <a:pt x="768" y="567"/>
                  </a:lnTo>
                  <a:lnTo>
                    <a:pt x="768" y="567"/>
                  </a:lnTo>
                  <a:lnTo>
                    <a:pt x="768" y="563"/>
                  </a:lnTo>
                  <a:lnTo>
                    <a:pt x="768" y="563"/>
                  </a:lnTo>
                  <a:lnTo>
                    <a:pt x="768" y="563"/>
                  </a:lnTo>
                  <a:lnTo>
                    <a:pt x="768" y="561"/>
                  </a:lnTo>
                  <a:lnTo>
                    <a:pt x="772" y="555"/>
                  </a:lnTo>
                  <a:lnTo>
                    <a:pt x="777" y="553"/>
                  </a:lnTo>
                  <a:lnTo>
                    <a:pt x="777" y="551"/>
                  </a:lnTo>
                  <a:lnTo>
                    <a:pt x="774" y="551"/>
                  </a:lnTo>
                  <a:lnTo>
                    <a:pt x="772" y="549"/>
                  </a:lnTo>
                  <a:lnTo>
                    <a:pt x="772" y="549"/>
                  </a:lnTo>
                  <a:lnTo>
                    <a:pt x="772" y="547"/>
                  </a:lnTo>
                  <a:lnTo>
                    <a:pt x="772" y="545"/>
                  </a:lnTo>
                  <a:lnTo>
                    <a:pt x="772" y="545"/>
                  </a:lnTo>
                  <a:lnTo>
                    <a:pt x="772" y="545"/>
                  </a:lnTo>
                  <a:lnTo>
                    <a:pt x="772" y="543"/>
                  </a:lnTo>
                  <a:lnTo>
                    <a:pt x="770" y="541"/>
                  </a:lnTo>
                  <a:lnTo>
                    <a:pt x="770" y="539"/>
                  </a:lnTo>
                  <a:lnTo>
                    <a:pt x="770" y="536"/>
                  </a:lnTo>
                  <a:lnTo>
                    <a:pt x="772" y="534"/>
                  </a:lnTo>
                  <a:lnTo>
                    <a:pt x="772" y="532"/>
                  </a:lnTo>
                  <a:lnTo>
                    <a:pt x="772" y="528"/>
                  </a:lnTo>
                  <a:lnTo>
                    <a:pt x="772" y="526"/>
                  </a:lnTo>
                  <a:lnTo>
                    <a:pt x="774" y="522"/>
                  </a:lnTo>
                  <a:lnTo>
                    <a:pt x="774" y="518"/>
                  </a:lnTo>
                  <a:lnTo>
                    <a:pt x="774" y="514"/>
                  </a:lnTo>
                  <a:lnTo>
                    <a:pt x="774" y="514"/>
                  </a:lnTo>
                  <a:lnTo>
                    <a:pt x="777" y="512"/>
                  </a:lnTo>
                  <a:lnTo>
                    <a:pt x="777" y="512"/>
                  </a:lnTo>
                  <a:lnTo>
                    <a:pt x="779" y="512"/>
                  </a:lnTo>
                  <a:lnTo>
                    <a:pt x="779" y="512"/>
                  </a:lnTo>
                  <a:lnTo>
                    <a:pt x="781" y="510"/>
                  </a:lnTo>
                  <a:lnTo>
                    <a:pt x="779" y="506"/>
                  </a:lnTo>
                  <a:lnTo>
                    <a:pt x="781" y="502"/>
                  </a:lnTo>
                  <a:lnTo>
                    <a:pt x="781" y="498"/>
                  </a:lnTo>
                  <a:lnTo>
                    <a:pt x="783" y="493"/>
                  </a:lnTo>
                  <a:lnTo>
                    <a:pt x="783" y="493"/>
                  </a:lnTo>
                  <a:lnTo>
                    <a:pt x="783" y="493"/>
                  </a:lnTo>
                  <a:lnTo>
                    <a:pt x="785" y="498"/>
                  </a:lnTo>
                  <a:lnTo>
                    <a:pt x="785" y="502"/>
                  </a:lnTo>
                  <a:lnTo>
                    <a:pt x="785" y="506"/>
                  </a:lnTo>
                  <a:lnTo>
                    <a:pt x="787" y="506"/>
                  </a:lnTo>
                  <a:lnTo>
                    <a:pt x="783" y="475"/>
                  </a:lnTo>
                  <a:lnTo>
                    <a:pt x="781" y="473"/>
                  </a:lnTo>
                  <a:close/>
                  <a:moveTo>
                    <a:pt x="686" y="221"/>
                  </a:moveTo>
                  <a:lnTo>
                    <a:pt x="686" y="219"/>
                  </a:lnTo>
                  <a:lnTo>
                    <a:pt x="684" y="215"/>
                  </a:lnTo>
                  <a:lnTo>
                    <a:pt x="684" y="215"/>
                  </a:lnTo>
                  <a:lnTo>
                    <a:pt x="682" y="217"/>
                  </a:lnTo>
                  <a:lnTo>
                    <a:pt x="680" y="219"/>
                  </a:lnTo>
                  <a:lnTo>
                    <a:pt x="678" y="219"/>
                  </a:lnTo>
                  <a:lnTo>
                    <a:pt x="678" y="221"/>
                  </a:lnTo>
                  <a:lnTo>
                    <a:pt x="678" y="223"/>
                  </a:lnTo>
                  <a:lnTo>
                    <a:pt x="676" y="223"/>
                  </a:lnTo>
                  <a:lnTo>
                    <a:pt x="676" y="225"/>
                  </a:lnTo>
                  <a:lnTo>
                    <a:pt x="676" y="229"/>
                  </a:lnTo>
                  <a:lnTo>
                    <a:pt x="678" y="231"/>
                  </a:lnTo>
                  <a:lnTo>
                    <a:pt x="680" y="239"/>
                  </a:lnTo>
                  <a:lnTo>
                    <a:pt x="680" y="241"/>
                  </a:lnTo>
                  <a:lnTo>
                    <a:pt x="682" y="243"/>
                  </a:lnTo>
                  <a:lnTo>
                    <a:pt x="688" y="254"/>
                  </a:lnTo>
                  <a:lnTo>
                    <a:pt x="690" y="256"/>
                  </a:lnTo>
                  <a:lnTo>
                    <a:pt x="688" y="254"/>
                  </a:lnTo>
                  <a:lnTo>
                    <a:pt x="688" y="252"/>
                  </a:lnTo>
                  <a:lnTo>
                    <a:pt x="686" y="250"/>
                  </a:lnTo>
                  <a:lnTo>
                    <a:pt x="686" y="250"/>
                  </a:lnTo>
                  <a:lnTo>
                    <a:pt x="686" y="248"/>
                  </a:lnTo>
                  <a:lnTo>
                    <a:pt x="686" y="245"/>
                  </a:lnTo>
                  <a:lnTo>
                    <a:pt x="684" y="233"/>
                  </a:lnTo>
                  <a:lnTo>
                    <a:pt x="684" y="229"/>
                  </a:lnTo>
                  <a:lnTo>
                    <a:pt x="686" y="221"/>
                  </a:lnTo>
                  <a:close/>
                  <a:moveTo>
                    <a:pt x="690" y="258"/>
                  </a:moveTo>
                  <a:lnTo>
                    <a:pt x="693" y="258"/>
                  </a:lnTo>
                  <a:lnTo>
                    <a:pt x="693" y="260"/>
                  </a:lnTo>
                  <a:lnTo>
                    <a:pt x="693" y="260"/>
                  </a:lnTo>
                  <a:lnTo>
                    <a:pt x="693" y="260"/>
                  </a:lnTo>
                  <a:lnTo>
                    <a:pt x="693" y="260"/>
                  </a:lnTo>
                  <a:lnTo>
                    <a:pt x="693" y="258"/>
                  </a:lnTo>
                  <a:lnTo>
                    <a:pt x="690" y="256"/>
                  </a:lnTo>
                  <a:lnTo>
                    <a:pt x="690" y="256"/>
                  </a:lnTo>
                  <a:lnTo>
                    <a:pt x="690" y="256"/>
                  </a:lnTo>
                  <a:lnTo>
                    <a:pt x="690" y="258"/>
                  </a:lnTo>
                  <a:close/>
                  <a:moveTo>
                    <a:pt x="721" y="301"/>
                  </a:moveTo>
                  <a:lnTo>
                    <a:pt x="723" y="303"/>
                  </a:lnTo>
                  <a:lnTo>
                    <a:pt x="723" y="305"/>
                  </a:lnTo>
                  <a:lnTo>
                    <a:pt x="725" y="305"/>
                  </a:lnTo>
                  <a:lnTo>
                    <a:pt x="725" y="307"/>
                  </a:lnTo>
                  <a:lnTo>
                    <a:pt x="727" y="311"/>
                  </a:lnTo>
                  <a:lnTo>
                    <a:pt x="727" y="313"/>
                  </a:lnTo>
                  <a:lnTo>
                    <a:pt x="729" y="313"/>
                  </a:lnTo>
                  <a:lnTo>
                    <a:pt x="729" y="315"/>
                  </a:lnTo>
                  <a:lnTo>
                    <a:pt x="736" y="332"/>
                  </a:lnTo>
                  <a:lnTo>
                    <a:pt x="738" y="334"/>
                  </a:lnTo>
                  <a:lnTo>
                    <a:pt x="740" y="336"/>
                  </a:lnTo>
                  <a:lnTo>
                    <a:pt x="740" y="336"/>
                  </a:lnTo>
                  <a:lnTo>
                    <a:pt x="740" y="336"/>
                  </a:lnTo>
                  <a:lnTo>
                    <a:pt x="742" y="338"/>
                  </a:lnTo>
                  <a:lnTo>
                    <a:pt x="742" y="338"/>
                  </a:lnTo>
                  <a:lnTo>
                    <a:pt x="750" y="350"/>
                  </a:lnTo>
                  <a:lnTo>
                    <a:pt x="752" y="354"/>
                  </a:lnTo>
                  <a:lnTo>
                    <a:pt x="754" y="356"/>
                  </a:lnTo>
                  <a:lnTo>
                    <a:pt x="756" y="358"/>
                  </a:lnTo>
                  <a:lnTo>
                    <a:pt x="756" y="358"/>
                  </a:lnTo>
                  <a:lnTo>
                    <a:pt x="756" y="358"/>
                  </a:lnTo>
                  <a:lnTo>
                    <a:pt x="754" y="356"/>
                  </a:lnTo>
                  <a:lnTo>
                    <a:pt x="731" y="315"/>
                  </a:lnTo>
                  <a:lnTo>
                    <a:pt x="729" y="313"/>
                  </a:lnTo>
                  <a:lnTo>
                    <a:pt x="729" y="311"/>
                  </a:lnTo>
                  <a:lnTo>
                    <a:pt x="729" y="309"/>
                  </a:lnTo>
                  <a:lnTo>
                    <a:pt x="727" y="307"/>
                  </a:lnTo>
                  <a:lnTo>
                    <a:pt x="721" y="301"/>
                  </a:lnTo>
                  <a:lnTo>
                    <a:pt x="719" y="297"/>
                  </a:lnTo>
                  <a:lnTo>
                    <a:pt x="717" y="293"/>
                  </a:lnTo>
                  <a:lnTo>
                    <a:pt x="717" y="291"/>
                  </a:lnTo>
                  <a:lnTo>
                    <a:pt x="717" y="291"/>
                  </a:lnTo>
                  <a:lnTo>
                    <a:pt x="717" y="291"/>
                  </a:lnTo>
                  <a:lnTo>
                    <a:pt x="717" y="291"/>
                  </a:lnTo>
                  <a:lnTo>
                    <a:pt x="717" y="291"/>
                  </a:lnTo>
                  <a:lnTo>
                    <a:pt x="717" y="291"/>
                  </a:lnTo>
                  <a:lnTo>
                    <a:pt x="717" y="291"/>
                  </a:lnTo>
                  <a:lnTo>
                    <a:pt x="715" y="291"/>
                  </a:lnTo>
                  <a:lnTo>
                    <a:pt x="715" y="291"/>
                  </a:lnTo>
                  <a:lnTo>
                    <a:pt x="717" y="295"/>
                  </a:lnTo>
                  <a:lnTo>
                    <a:pt x="721" y="301"/>
                  </a:lnTo>
                  <a:close/>
                  <a:moveTo>
                    <a:pt x="787" y="705"/>
                  </a:moveTo>
                  <a:lnTo>
                    <a:pt x="789" y="705"/>
                  </a:lnTo>
                  <a:lnTo>
                    <a:pt x="789" y="705"/>
                  </a:lnTo>
                  <a:lnTo>
                    <a:pt x="789" y="705"/>
                  </a:lnTo>
                  <a:lnTo>
                    <a:pt x="787" y="705"/>
                  </a:lnTo>
                  <a:close/>
                  <a:moveTo>
                    <a:pt x="797" y="700"/>
                  </a:moveTo>
                  <a:lnTo>
                    <a:pt x="797" y="698"/>
                  </a:lnTo>
                  <a:lnTo>
                    <a:pt x="797" y="698"/>
                  </a:lnTo>
                  <a:lnTo>
                    <a:pt x="797" y="700"/>
                  </a:lnTo>
                  <a:close/>
                  <a:moveTo>
                    <a:pt x="799" y="698"/>
                  </a:moveTo>
                  <a:lnTo>
                    <a:pt x="799" y="698"/>
                  </a:lnTo>
                  <a:lnTo>
                    <a:pt x="799" y="698"/>
                  </a:lnTo>
                  <a:lnTo>
                    <a:pt x="799" y="698"/>
                  </a:lnTo>
                  <a:close/>
                  <a:moveTo>
                    <a:pt x="803" y="694"/>
                  </a:moveTo>
                  <a:lnTo>
                    <a:pt x="805" y="694"/>
                  </a:lnTo>
                  <a:lnTo>
                    <a:pt x="803" y="694"/>
                  </a:lnTo>
                  <a:lnTo>
                    <a:pt x="803" y="694"/>
                  </a:lnTo>
                  <a:close/>
                  <a:moveTo>
                    <a:pt x="807" y="694"/>
                  </a:moveTo>
                  <a:lnTo>
                    <a:pt x="807" y="694"/>
                  </a:lnTo>
                  <a:lnTo>
                    <a:pt x="807" y="694"/>
                  </a:lnTo>
                  <a:lnTo>
                    <a:pt x="807" y="694"/>
                  </a:lnTo>
                  <a:close/>
                  <a:moveTo>
                    <a:pt x="494" y="243"/>
                  </a:moveTo>
                  <a:lnTo>
                    <a:pt x="494" y="243"/>
                  </a:lnTo>
                  <a:lnTo>
                    <a:pt x="494" y="243"/>
                  </a:lnTo>
                  <a:lnTo>
                    <a:pt x="494" y="243"/>
                  </a:lnTo>
                  <a:lnTo>
                    <a:pt x="494" y="243"/>
                  </a:lnTo>
                  <a:lnTo>
                    <a:pt x="494" y="243"/>
                  </a:lnTo>
                  <a:lnTo>
                    <a:pt x="494" y="243"/>
                  </a:lnTo>
                  <a:lnTo>
                    <a:pt x="494" y="243"/>
                  </a:lnTo>
                  <a:lnTo>
                    <a:pt x="494" y="243"/>
                  </a:lnTo>
                  <a:lnTo>
                    <a:pt x="494" y="243"/>
                  </a:lnTo>
                  <a:close/>
                  <a:moveTo>
                    <a:pt x="492" y="219"/>
                  </a:moveTo>
                  <a:lnTo>
                    <a:pt x="492" y="219"/>
                  </a:lnTo>
                  <a:lnTo>
                    <a:pt x="492" y="219"/>
                  </a:lnTo>
                  <a:lnTo>
                    <a:pt x="492" y="219"/>
                  </a:lnTo>
                  <a:lnTo>
                    <a:pt x="492" y="219"/>
                  </a:lnTo>
                  <a:lnTo>
                    <a:pt x="492" y="219"/>
                  </a:lnTo>
                  <a:lnTo>
                    <a:pt x="492" y="219"/>
                  </a:lnTo>
                  <a:lnTo>
                    <a:pt x="492" y="217"/>
                  </a:lnTo>
                  <a:lnTo>
                    <a:pt x="492" y="217"/>
                  </a:lnTo>
                  <a:lnTo>
                    <a:pt x="490" y="217"/>
                  </a:lnTo>
                  <a:lnTo>
                    <a:pt x="490" y="217"/>
                  </a:lnTo>
                  <a:lnTo>
                    <a:pt x="490" y="217"/>
                  </a:lnTo>
                  <a:lnTo>
                    <a:pt x="490" y="219"/>
                  </a:lnTo>
                  <a:lnTo>
                    <a:pt x="492" y="219"/>
                  </a:lnTo>
                  <a:close/>
                  <a:moveTo>
                    <a:pt x="492" y="231"/>
                  </a:moveTo>
                  <a:lnTo>
                    <a:pt x="492" y="231"/>
                  </a:lnTo>
                  <a:lnTo>
                    <a:pt x="492" y="231"/>
                  </a:lnTo>
                  <a:lnTo>
                    <a:pt x="494" y="231"/>
                  </a:lnTo>
                  <a:lnTo>
                    <a:pt x="494" y="231"/>
                  </a:lnTo>
                  <a:lnTo>
                    <a:pt x="492" y="231"/>
                  </a:lnTo>
                  <a:close/>
                  <a:moveTo>
                    <a:pt x="490" y="233"/>
                  </a:moveTo>
                  <a:lnTo>
                    <a:pt x="490" y="233"/>
                  </a:lnTo>
                  <a:lnTo>
                    <a:pt x="490" y="233"/>
                  </a:lnTo>
                  <a:lnTo>
                    <a:pt x="490" y="233"/>
                  </a:lnTo>
                  <a:lnTo>
                    <a:pt x="490" y="233"/>
                  </a:lnTo>
                  <a:lnTo>
                    <a:pt x="490" y="233"/>
                  </a:lnTo>
                  <a:lnTo>
                    <a:pt x="490" y="233"/>
                  </a:lnTo>
                  <a:lnTo>
                    <a:pt x="490" y="233"/>
                  </a:lnTo>
                  <a:lnTo>
                    <a:pt x="490" y="233"/>
                  </a:lnTo>
                  <a:lnTo>
                    <a:pt x="490" y="235"/>
                  </a:lnTo>
                  <a:lnTo>
                    <a:pt x="490" y="235"/>
                  </a:lnTo>
                  <a:lnTo>
                    <a:pt x="492" y="235"/>
                  </a:lnTo>
                  <a:lnTo>
                    <a:pt x="492" y="235"/>
                  </a:lnTo>
                  <a:lnTo>
                    <a:pt x="492" y="235"/>
                  </a:lnTo>
                  <a:lnTo>
                    <a:pt x="492" y="233"/>
                  </a:lnTo>
                  <a:lnTo>
                    <a:pt x="492" y="233"/>
                  </a:lnTo>
                  <a:lnTo>
                    <a:pt x="492" y="233"/>
                  </a:lnTo>
                  <a:lnTo>
                    <a:pt x="490" y="233"/>
                  </a:lnTo>
                  <a:close/>
                  <a:moveTo>
                    <a:pt x="492" y="237"/>
                  </a:moveTo>
                  <a:lnTo>
                    <a:pt x="492" y="235"/>
                  </a:lnTo>
                  <a:lnTo>
                    <a:pt x="492" y="237"/>
                  </a:lnTo>
                  <a:lnTo>
                    <a:pt x="492" y="237"/>
                  </a:lnTo>
                  <a:lnTo>
                    <a:pt x="492" y="237"/>
                  </a:lnTo>
                  <a:close/>
                  <a:moveTo>
                    <a:pt x="490" y="227"/>
                  </a:moveTo>
                  <a:lnTo>
                    <a:pt x="490" y="227"/>
                  </a:lnTo>
                  <a:lnTo>
                    <a:pt x="488" y="227"/>
                  </a:lnTo>
                  <a:lnTo>
                    <a:pt x="488" y="229"/>
                  </a:lnTo>
                  <a:lnTo>
                    <a:pt x="488" y="229"/>
                  </a:lnTo>
                  <a:lnTo>
                    <a:pt x="490" y="229"/>
                  </a:lnTo>
                  <a:lnTo>
                    <a:pt x="490" y="229"/>
                  </a:lnTo>
                  <a:lnTo>
                    <a:pt x="488" y="229"/>
                  </a:lnTo>
                  <a:lnTo>
                    <a:pt x="488" y="231"/>
                  </a:lnTo>
                  <a:lnTo>
                    <a:pt x="490" y="231"/>
                  </a:lnTo>
                  <a:lnTo>
                    <a:pt x="490" y="231"/>
                  </a:lnTo>
                  <a:lnTo>
                    <a:pt x="490" y="229"/>
                  </a:lnTo>
                  <a:lnTo>
                    <a:pt x="490" y="229"/>
                  </a:lnTo>
                  <a:lnTo>
                    <a:pt x="490" y="227"/>
                  </a:lnTo>
                  <a:close/>
                  <a:moveTo>
                    <a:pt x="492" y="241"/>
                  </a:moveTo>
                  <a:lnTo>
                    <a:pt x="492" y="241"/>
                  </a:lnTo>
                  <a:lnTo>
                    <a:pt x="492" y="239"/>
                  </a:lnTo>
                  <a:lnTo>
                    <a:pt x="492" y="241"/>
                  </a:lnTo>
                  <a:close/>
                  <a:moveTo>
                    <a:pt x="486" y="219"/>
                  </a:moveTo>
                  <a:lnTo>
                    <a:pt x="484" y="219"/>
                  </a:lnTo>
                  <a:lnTo>
                    <a:pt x="484" y="219"/>
                  </a:lnTo>
                  <a:lnTo>
                    <a:pt x="486" y="219"/>
                  </a:lnTo>
                  <a:lnTo>
                    <a:pt x="486" y="219"/>
                  </a:lnTo>
                  <a:lnTo>
                    <a:pt x="486" y="219"/>
                  </a:lnTo>
                  <a:lnTo>
                    <a:pt x="486" y="219"/>
                  </a:lnTo>
                  <a:lnTo>
                    <a:pt x="486" y="219"/>
                  </a:lnTo>
                  <a:lnTo>
                    <a:pt x="486" y="219"/>
                  </a:lnTo>
                  <a:lnTo>
                    <a:pt x="486" y="219"/>
                  </a:lnTo>
                  <a:lnTo>
                    <a:pt x="486" y="219"/>
                  </a:lnTo>
                  <a:lnTo>
                    <a:pt x="486" y="219"/>
                  </a:lnTo>
                  <a:close/>
                  <a:moveTo>
                    <a:pt x="486" y="225"/>
                  </a:moveTo>
                  <a:lnTo>
                    <a:pt x="486" y="225"/>
                  </a:lnTo>
                  <a:lnTo>
                    <a:pt x="484" y="225"/>
                  </a:lnTo>
                  <a:lnTo>
                    <a:pt x="486" y="225"/>
                  </a:lnTo>
                  <a:lnTo>
                    <a:pt x="486" y="225"/>
                  </a:lnTo>
                  <a:lnTo>
                    <a:pt x="486" y="225"/>
                  </a:lnTo>
                  <a:lnTo>
                    <a:pt x="486" y="225"/>
                  </a:lnTo>
                  <a:lnTo>
                    <a:pt x="486" y="225"/>
                  </a:lnTo>
                  <a:lnTo>
                    <a:pt x="488" y="225"/>
                  </a:lnTo>
                  <a:lnTo>
                    <a:pt x="486" y="225"/>
                  </a:lnTo>
                  <a:lnTo>
                    <a:pt x="486" y="225"/>
                  </a:lnTo>
                  <a:close/>
                  <a:moveTo>
                    <a:pt x="484" y="221"/>
                  </a:moveTo>
                  <a:lnTo>
                    <a:pt x="484" y="221"/>
                  </a:lnTo>
                  <a:lnTo>
                    <a:pt x="484" y="221"/>
                  </a:lnTo>
                  <a:lnTo>
                    <a:pt x="484" y="221"/>
                  </a:lnTo>
                  <a:lnTo>
                    <a:pt x="484" y="221"/>
                  </a:lnTo>
                  <a:close/>
                  <a:moveTo>
                    <a:pt x="490" y="219"/>
                  </a:moveTo>
                  <a:lnTo>
                    <a:pt x="490" y="219"/>
                  </a:lnTo>
                  <a:lnTo>
                    <a:pt x="490" y="219"/>
                  </a:lnTo>
                  <a:lnTo>
                    <a:pt x="490" y="219"/>
                  </a:lnTo>
                  <a:lnTo>
                    <a:pt x="488" y="219"/>
                  </a:lnTo>
                  <a:lnTo>
                    <a:pt x="488" y="219"/>
                  </a:lnTo>
                  <a:lnTo>
                    <a:pt x="488" y="219"/>
                  </a:lnTo>
                  <a:lnTo>
                    <a:pt x="488" y="219"/>
                  </a:lnTo>
                  <a:lnTo>
                    <a:pt x="488" y="219"/>
                  </a:lnTo>
                  <a:lnTo>
                    <a:pt x="488" y="219"/>
                  </a:lnTo>
                  <a:lnTo>
                    <a:pt x="490" y="219"/>
                  </a:lnTo>
                  <a:close/>
                  <a:moveTo>
                    <a:pt x="484" y="229"/>
                  </a:moveTo>
                  <a:lnTo>
                    <a:pt x="484" y="229"/>
                  </a:lnTo>
                  <a:lnTo>
                    <a:pt x="484" y="227"/>
                  </a:lnTo>
                  <a:lnTo>
                    <a:pt x="484" y="227"/>
                  </a:lnTo>
                  <a:lnTo>
                    <a:pt x="484" y="229"/>
                  </a:lnTo>
                  <a:close/>
                  <a:moveTo>
                    <a:pt x="473" y="194"/>
                  </a:moveTo>
                  <a:lnTo>
                    <a:pt x="471" y="196"/>
                  </a:lnTo>
                  <a:lnTo>
                    <a:pt x="471" y="196"/>
                  </a:lnTo>
                  <a:lnTo>
                    <a:pt x="471" y="196"/>
                  </a:lnTo>
                  <a:lnTo>
                    <a:pt x="471" y="196"/>
                  </a:lnTo>
                  <a:lnTo>
                    <a:pt x="473" y="196"/>
                  </a:lnTo>
                  <a:lnTo>
                    <a:pt x="473" y="196"/>
                  </a:lnTo>
                  <a:lnTo>
                    <a:pt x="473" y="196"/>
                  </a:lnTo>
                  <a:lnTo>
                    <a:pt x="473" y="194"/>
                  </a:lnTo>
                  <a:close/>
                  <a:moveTo>
                    <a:pt x="451" y="194"/>
                  </a:moveTo>
                  <a:lnTo>
                    <a:pt x="449" y="194"/>
                  </a:lnTo>
                  <a:lnTo>
                    <a:pt x="449" y="194"/>
                  </a:lnTo>
                  <a:lnTo>
                    <a:pt x="449" y="194"/>
                  </a:lnTo>
                  <a:lnTo>
                    <a:pt x="449" y="196"/>
                  </a:lnTo>
                  <a:lnTo>
                    <a:pt x="449" y="196"/>
                  </a:lnTo>
                  <a:lnTo>
                    <a:pt x="451" y="194"/>
                  </a:lnTo>
                  <a:lnTo>
                    <a:pt x="451" y="194"/>
                  </a:lnTo>
                  <a:lnTo>
                    <a:pt x="451" y="194"/>
                  </a:lnTo>
                  <a:lnTo>
                    <a:pt x="451" y="194"/>
                  </a:lnTo>
                  <a:close/>
                  <a:moveTo>
                    <a:pt x="488" y="217"/>
                  </a:moveTo>
                  <a:lnTo>
                    <a:pt x="488" y="217"/>
                  </a:lnTo>
                  <a:lnTo>
                    <a:pt x="490" y="217"/>
                  </a:lnTo>
                  <a:lnTo>
                    <a:pt x="490" y="217"/>
                  </a:lnTo>
                  <a:lnTo>
                    <a:pt x="490" y="217"/>
                  </a:lnTo>
                  <a:lnTo>
                    <a:pt x="488" y="217"/>
                  </a:lnTo>
                  <a:lnTo>
                    <a:pt x="488" y="215"/>
                  </a:lnTo>
                  <a:lnTo>
                    <a:pt x="488" y="215"/>
                  </a:lnTo>
                  <a:lnTo>
                    <a:pt x="488" y="215"/>
                  </a:lnTo>
                  <a:lnTo>
                    <a:pt x="488" y="217"/>
                  </a:lnTo>
                  <a:lnTo>
                    <a:pt x="488" y="217"/>
                  </a:lnTo>
                  <a:lnTo>
                    <a:pt x="488" y="217"/>
                  </a:lnTo>
                  <a:close/>
                  <a:moveTo>
                    <a:pt x="488" y="235"/>
                  </a:moveTo>
                  <a:lnTo>
                    <a:pt x="488" y="235"/>
                  </a:lnTo>
                  <a:lnTo>
                    <a:pt x="488" y="235"/>
                  </a:lnTo>
                  <a:lnTo>
                    <a:pt x="488" y="235"/>
                  </a:lnTo>
                  <a:lnTo>
                    <a:pt x="488" y="235"/>
                  </a:lnTo>
                  <a:lnTo>
                    <a:pt x="488" y="235"/>
                  </a:lnTo>
                  <a:lnTo>
                    <a:pt x="488" y="235"/>
                  </a:lnTo>
                  <a:close/>
                  <a:moveTo>
                    <a:pt x="652" y="661"/>
                  </a:moveTo>
                  <a:lnTo>
                    <a:pt x="652" y="659"/>
                  </a:lnTo>
                  <a:lnTo>
                    <a:pt x="652" y="659"/>
                  </a:lnTo>
                  <a:lnTo>
                    <a:pt x="652" y="659"/>
                  </a:lnTo>
                  <a:lnTo>
                    <a:pt x="652" y="659"/>
                  </a:lnTo>
                  <a:lnTo>
                    <a:pt x="652" y="659"/>
                  </a:lnTo>
                  <a:lnTo>
                    <a:pt x="650" y="661"/>
                  </a:lnTo>
                  <a:lnTo>
                    <a:pt x="647" y="664"/>
                  </a:lnTo>
                  <a:lnTo>
                    <a:pt x="647" y="664"/>
                  </a:lnTo>
                  <a:lnTo>
                    <a:pt x="645" y="664"/>
                  </a:lnTo>
                  <a:lnTo>
                    <a:pt x="645" y="664"/>
                  </a:lnTo>
                  <a:lnTo>
                    <a:pt x="645" y="666"/>
                  </a:lnTo>
                  <a:lnTo>
                    <a:pt x="645" y="664"/>
                  </a:lnTo>
                  <a:lnTo>
                    <a:pt x="645" y="666"/>
                  </a:lnTo>
                  <a:lnTo>
                    <a:pt x="647" y="664"/>
                  </a:lnTo>
                  <a:lnTo>
                    <a:pt x="650" y="664"/>
                  </a:lnTo>
                  <a:lnTo>
                    <a:pt x="650"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4" y="661"/>
                  </a:lnTo>
                  <a:lnTo>
                    <a:pt x="654" y="661"/>
                  </a:lnTo>
                  <a:lnTo>
                    <a:pt x="652" y="661"/>
                  </a:lnTo>
                  <a:close/>
                  <a:moveTo>
                    <a:pt x="645" y="518"/>
                  </a:moveTo>
                  <a:lnTo>
                    <a:pt x="645" y="518"/>
                  </a:lnTo>
                  <a:lnTo>
                    <a:pt x="645" y="518"/>
                  </a:lnTo>
                  <a:lnTo>
                    <a:pt x="645" y="518"/>
                  </a:lnTo>
                  <a:lnTo>
                    <a:pt x="645" y="520"/>
                  </a:lnTo>
                  <a:lnTo>
                    <a:pt x="645" y="520"/>
                  </a:lnTo>
                  <a:lnTo>
                    <a:pt x="645" y="520"/>
                  </a:lnTo>
                  <a:lnTo>
                    <a:pt x="645" y="518"/>
                  </a:lnTo>
                  <a:close/>
                  <a:moveTo>
                    <a:pt x="615" y="664"/>
                  </a:moveTo>
                  <a:lnTo>
                    <a:pt x="613" y="664"/>
                  </a:lnTo>
                  <a:lnTo>
                    <a:pt x="613" y="664"/>
                  </a:lnTo>
                  <a:lnTo>
                    <a:pt x="613" y="666"/>
                  </a:lnTo>
                  <a:lnTo>
                    <a:pt x="613" y="664"/>
                  </a:lnTo>
                  <a:lnTo>
                    <a:pt x="613" y="664"/>
                  </a:lnTo>
                  <a:lnTo>
                    <a:pt x="615" y="666"/>
                  </a:lnTo>
                  <a:lnTo>
                    <a:pt x="615" y="666"/>
                  </a:lnTo>
                  <a:lnTo>
                    <a:pt x="617" y="666"/>
                  </a:lnTo>
                  <a:lnTo>
                    <a:pt x="617" y="668"/>
                  </a:lnTo>
                  <a:lnTo>
                    <a:pt x="617" y="666"/>
                  </a:lnTo>
                  <a:lnTo>
                    <a:pt x="615" y="666"/>
                  </a:lnTo>
                  <a:lnTo>
                    <a:pt x="615" y="664"/>
                  </a:lnTo>
                  <a:close/>
                  <a:moveTo>
                    <a:pt x="615" y="668"/>
                  </a:moveTo>
                  <a:lnTo>
                    <a:pt x="615" y="670"/>
                  </a:lnTo>
                  <a:lnTo>
                    <a:pt x="615" y="668"/>
                  </a:lnTo>
                  <a:lnTo>
                    <a:pt x="617" y="668"/>
                  </a:lnTo>
                  <a:lnTo>
                    <a:pt x="615" y="668"/>
                  </a:lnTo>
                  <a:lnTo>
                    <a:pt x="615" y="668"/>
                  </a:lnTo>
                  <a:close/>
                  <a:moveTo>
                    <a:pt x="613" y="670"/>
                  </a:moveTo>
                  <a:lnTo>
                    <a:pt x="613" y="670"/>
                  </a:lnTo>
                  <a:lnTo>
                    <a:pt x="613" y="670"/>
                  </a:lnTo>
                  <a:lnTo>
                    <a:pt x="613" y="670"/>
                  </a:lnTo>
                  <a:lnTo>
                    <a:pt x="613" y="670"/>
                  </a:lnTo>
                  <a:lnTo>
                    <a:pt x="613" y="670"/>
                  </a:lnTo>
                  <a:lnTo>
                    <a:pt x="613" y="670"/>
                  </a:lnTo>
                  <a:lnTo>
                    <a:pt x="613" y="670"/>
                  </a:lnTo>
                  <a:lnTo>
                    <a:pt x="613" y="670"/>
                  </a:lnTo>
                  <a:close/>
                  <a:moveTo>
                    <a:pt x="660" y="655"/>
                  </a:moveTo>
                  <a:lnTo>
                    <a:pt x="660" y="655"/>
                  </a:lnTo>
                  <a:lnTo>
                    <a:pt x="660" y="655"/>
                  </a:lnTo>
                  <a:lnTo>
                    <a:pt x="658" y="657"/>
                  </a:lnTo>
                  <a:lnTo>
                    <a:pt x="656" y="657"/>
                  </a:lnTo>
                  <a:lnTo>
                    <a:pt x="656" y="657"/>
                  </a:lnTo>
                  <a:lnTo>
                    <a:pt x="656" y="657"/>
                  </a:lnTo>
                  <a:lnTo>
                    <a:pt x="656" y="657"/>
                  </a:lnTo>
                  <a:lnTo>
                    <a:pt x="654" y="657"/>
                  </a:lnTo>
                  <a:lnTo>
                    <a:pt x="654" y="657"/>
                  </a:lnTo>
                  <a:lnTo>
                    <a:pt x="654" y="659"/>
                  </a:lnTo>
                  <a:lnTo>
                    <a:pt x="654" y="659"/>
                  </a:lnTo>
                  <a:lnTo>
                    <a:pt x="656" y="659"/>
                  </a:lnTo>
                  <a:lnTo>
                    <a:pt x="656" y="659"/>
                  </a:lnTo>
                  <a:lnTo>
                    <a:pt x="654" y="661"/>
                  </a:lnTo>
                  <a:lnTo>
                    <a:pt x="654" y="661"/>
                  </a:lnTo>
                  <a:lnTo>
                    <a:pt x="654" y="661"/>
                  </a:lnTo>
                  <a:lnTo>
                    <a:pt x="654" y="661"/>
                  </a:lnTo>
                  <a:lnTo>
                    <a:pt x="660" y="657"/>
                  </a:lnTo>
                  <a:lnTo>
                    <a:pt x="660" y="657"/>
                  </a:lnTo>
                  <a:lnTo>
                    <a:pt x="660" y="655"/>
                  </a:lnTo>
                  <a:close/>
                  <a:moveTo>
                    <a:pt x="664" y="526"/>
                  </a:moveTo>
                  <a:lnTo>
                    <a:pt x="664" y="526"/>
                  </a:lnTo>
                  <a:lnTo>
                    <a:pt x="664" y="526"/>
                  </a:lnTo>
                  <a:lnTo>
                    <a:pt x="664" y="524"/>
                  </a:lnTo>
                  <a:lnTo>
                    <a:pt x="664" y="524"/>
                  </a:lnTo>
                  <a:lnTo>
                    <a:pt x="664" y="524"/>
                  </a:lnTo>
                  <a:lnTo>
                    <a:pt x="666" y="524"/>
                  </a:lnTo>
                  <a:lnTo>
                    <a:pt x="666" y="524"/>
                  </a:lnTo>
                  <a:lnTo>
                    <a:pt x="666" y="522"/>
                  </a:lnTo>
                  <a:lnTo>
                    <a:pt x="664" y="522"/>
                  </a:lnTo>
                  <a:lnTo>
                    <a:pt x="664" y="522"/>
                  </a:lnTo>
                  <a:lnTo>
                    <a:pt x="662" y="520"/>
                  </a:lnTo>
                  <a:lnTo>
                    <a:pt x="662" y="520"/>
                  </a:lnTo>
                  <a:lnTo>
                    <a:pt x="660" y="520"/>
                  </a:lnTo>
                  <a:lnTo>
                    <a:pt x="658" y="520"/>
                  </a:lnTo>
                  <a:lnTo>
                    <a:pt x="658" y="522"/>
                  </a:lnTo>
                  <a:lnTo>
                    <a:pt x="660" y="522"/>
                  </a:lnTo>
                  <a:lnTo>
                    <a:pt x="660" y="524"/>
                  </a:lnTo>
                  <a:lnTo>
                    <a:pt x="660" y="524"/>
                  </a:lnTo>
                  <a:lnTo>
                    <a:pt x="660" y="524"/>
                  </a:lnTo>
                  <a:lnTo>
                    <a:pt x="662" y="524"/>
                  </a:lnTo>
                  <a:lnTo>
                    <a:pt x="662" y="526"/>
                  </a:lnTo>
                  <a:lnTo>
                    <a:pt x="664" y="526"/>
                  </a:lnTo>
                  <a:close/>
                  <a:moveTo>
                    <a:pt x="666" y="524"/>
                  </a:moveTo>
                  <a:lnTo>
                    <a:pt x="664" y="524"/>
                  </a:lnTo>
                  <a:lnTo>
                    <a:pt x="664" y="526"/>
                  </a:lnTo>
                  <a:lnTo>
                    <a:pt x="666" y="526"/>
                  </a:lnTo>
                  <a:lnTo>
                    <a:pt x="668" y="526"/>
                  </a:lnTo>
                  <a:lnTo>
                    <a:pt x="668" y="524"/>
                  </a:lnTo>
                  <a:lnTo>
                    <a:pt x="668" y="524"/>
                  </a:lnTo>
                  <a:lnTo>
                    <a:pt x="666" y="524"/>
                  </a:lnTo>
                  <a:lnTo>
                    <a:pt x="666" y="524"/>
                  </a:lnTo>
                  <a:lnTo>
                    <a:pt x="666" y="524"/>
                  </a:lnTo>
                  <a:lnTo>
                    <a:pt x="666" y="524"/>
                  </a:lnTo>
                  <a:lnTo>
                    <a:pt x="666" y="524"/>
                  </a:lnTo>
                  <a:close/>
                  <a:moveTo>
                    <a:pt x="611" y="668"/>
                  </a:moveTo>
                  <a:lnTo>
                    <a:pt x="613" y="668"/>
                  </a:lnTo>
                  <a:lnTo>
                    <a:pt x="611" y="668"/>
                  </a:lnTo>
                  <a:lnTo>
                    <a:pt x="611" y="668"/>
                  </a:lnTo>
                  <a:close/>
                  <a:moveTo>
                    <a:pt x="647" y="516"/>
                  </a:moveTo>
                  <a:lnTo>
                    <a:pt x="647" y="516"/>
                  </a:lnTo>
                  <a:lnTo>
                    <a:pt x="645" y="516"/>
                  </a:lnTo>
                  <a:lnTo>
                    <a:pt x="645" y="518"/>
                  </a:lnTo>
                  <a:lnTo>
                    <a:pt x="645" y="518"/>
                  </a:lnTo>
                  <a:lnTo>
                    <a:pt x="647" y="518"/>
                  </a:lnTo>
                  <a:lnTo>
                    <a:pt x="647" y="518"/>
                  </a:lnTo>
                  <a:lnTo>
                    <a:pt x="647" y="520"/>
                  </a:lnTo>
                  <a:lnTo>
                    <a:pt x="647" y="522"/>
                  </a:lnTo>
                  <a:lnTo>
                    <a:pt x="647" y="522"/>
                  </a:lnTo>
                  <a:lnTo>
                    <a:pt x="650" y="520"/>
                  </a:lnTo>
                  <a:lnTo>
                    <a:pt x="650" y="518"/>
                  </a:lnTo>
                  <a:lnTo>
                    <a:pt x="647" y="518"/>
                  </a:lnTo>
                  <a:lnTo>
                    <a:pt x="647" y="518"/>
                  </a:lnTo>
                  <a:lnTo>
                    <a:pt x="647" y="518"/>
                  </a:lnTo>
                  <a:lnTo>
                    <a:pt x="647" y="518"/>
                  </a:lnTo>
                  <a:lnTo>
                    <a:pt x="647" y="516"/>
                  </a:lnTo>
                  <a:close/>
                  <a:moveTo>
                    <a:pt x="654" y="520"/>
                  </a:moveTo>
                  <a:lnTo>
                    <a:pt x="654" y="522"/>
                  </a:lnTo>
                  <a:lnTo>
                    <a:pt x="654" y="520"/>
                  </a:lnTo>
                  <a:lnTo>
                    <a:pt x="656" y="522"/>
                  </a:lnTo>
                  <a:lnTo>
                    <a:pt x="656" y="522"/>
                  </a:lnTo>
                  <a:lnTo>
                    <a:pt x="656" y="522"/>
                  </a:lnTo>
                  <a:lnTo>
                    <a:pt x="658" y="524"/>
                  </a:lnTo>
                  <a:lnTo>
                    <a:pt x="658" y="522"/>
                  </a:lnTo>
                  <a:lnTo>
                    <a:pt x="658" y="522"/>
                  </a:lnTo>
                  <a:lnTo>
                    <a:pt x="658" y="522"/>
                  </a:lnTo>
                  <a:lnTo>
                    <a:pt x="658" y="522"/>
                  </a:lnTo>
                  <a:lnTo>
                    <a:pt x="656" y="520"/>
                  </a:lnTo>
                  <a:lnTo>
                    <a:pt x="656" y="518"/>
                  </a:lnTo>
                  <a:lnTo>
                    <a:pt x="656" y="518"/>
                  </a:lnTo>
                  <a:lnTo>
                    <a:pt x="654" y="518"/>
                  </a:lnTo>
                  <a:lnTo>
                    <a:pt x="654" y="520"/>
                  </a:lnTo>
                  <a:lnTo>
                    <a:pt x="652" y="520"/>
                  </a:lnTo>
                  <a:lnTo>
                    <a:pt x="652" y="520"/>
                  </a:lnTo>
                  <a:lnTo>
                    <a:pt x="652" y="522"/>
                  </a:lnTo>
                  <a:lnTo>
                    <a:pt x="652" y="522"/>
                  </a:lnTo>
                  <a:lnTo>
                    <a:pt x="652" y="522"/>
                  </a:lnTo>
                  <a:lnTo>
                    <a:pt x="652" y="522"/>
                  </a:lnTo>
                  <a:lnTo>
                    <a:pt x="652" y="522"/>
                  </a:lnTo>
                  <a:lnTo>
                    <a:pt x="652" y="522"/>
                  </a:lnTo>
                  <a:lnTo>
                    <a:pt x="652" y="522"/>
                  </a:lnTo>
                  <a:lnTo>
                    <a:pt x="652" y="520"/>
                  </a:lnTo>
                  <a:lnTo>
                    <a:pt x="652" y="520"/>
                  </a:lnTo>
                  <a:lnTo>
                    <a:pt x="654" y="520"/>
                  </a:lnTo>
                  <a:close/>
                  <a:moveTo>
                    <a:pt x="635" y="518"/>
                  </a:moveTo>
                  <a:lnTo>
                    <a:pt x="633" y="518"/>
                  </a:lnTo>
                  <a:lnTo>
                    <a:pt x="633" y="520"/>
                  </a:lnTo>
                  <a:lnTo>
                    <a:pt x="631" y="520"/>
                  </a:lnTo>
                  <a:lnTo>
                    <a:pt x="631" y="520"/>
                  </a:lnTo>
                  <a:lnTo>
                    <a:pt x="631" y="520"/>
                  </a:lnTo>
                  <a:lnTo>
                    <a:pt x="633" y="522"/>
                  </a:lnTo>
                  <a:lnTo>
                    <a:pt x="633" y="522"/>
                  </a:lnTo>
                  <a:lnTo>
                    <a:pt x="633" y="522"/>
                  </a:lnTo>
                  <a:lnTo>
                    <a:pt x="633" y="522"/>
                  </a:lnTo>
                  <a:lnTo>
                    <a:pt x="633" y="522"/>
                  </a:lnTo>
                  <a:lnTo>
                    <a:pt x="635" y="522"/>
                  </a:lnTo>
                  <a:lnTo>
                    <a:pt x="635" y="522"/>
                  </a:lnTo>
                  <a:lnTo>
                    <a:pt x="637" y="520"/>
                  </a:lnTo>
                  <a:lnTo>
                    <a:pt x="635" y="518"/>
                  </a:lnTo>
                  <a:lnTo>
                    <a:pt x="635" y="518"/>
                  </a:lnTo>
                  <a:close/>
                  <a:moveTo>
                    <a:pt x="541" y="672"/>
                  </a:moveTo>
                  <a:lnTo>
                    <a:pt x="541" y="672"/>
                  </a:lnTo>
                  <a:lnTo>
                    <a:pt x="541" y="672"/>
                  </a:lnTo>
                  <a:lnTo>
                    <a:pt x="541" y="672"/>
                  </a:lnTo>
                  <a:close/>
                  <a:moveTo>
                    <a:pt x="541" y="672"/>
                  </a:moveTo>
                  <a:lnTo>
                    <a:pt x="541" y="672"/>
                  </a:lnTo>
                  <a:lnTo>
                    <a:pt x="541" y="672"/>
                  </a:lnTo>
                  <a:lnTo>
                    <a:pt x="541" y="672"/>
                  </a:lnTo>
                  <a:close/>
                  <a:moveTo>
                    <a:pt x="541" y="672"/>
                  </a:moveTo>
                  <a:lnTo>
                    <a:pt x="541" y="672"/>
                  </a:lnTo>
                  <a:lnTo>
                    <a:pt x="541" y="672"/>
                  </a:lnTo>
                  <a:lnTo>
                    <a:pt x="541" y="672"/>
                  </a:lnTo>
                  <a:close/>
                  <a:moveTo>
                    <a:pt x="535" y="672"/>
                  </a:moveTo>
                  <a:lnTo>
                    <a:pt x="535" y="672"/>
                  </a:lnTo>
                  <a:lnTo>
                    <a:pt x="535" y="672"/>
                  </a:lnTo>
                  <a:lnTo>
                    <a:pt x="535" y="672"/>
                  </a:lnTo>
                  <a:close/>
                  <a:moveTo>
                    <a:pt x="523" y="381"/>
                  </a:moveTo>
                  <a:lnTo>
                    <a:pt x="518" y="377"/>
                  </a:lnTo>
                  <a:lnTo>
                    <a:pt x="514" y="373"/>
                  </a:lnTo>
                  <a:lnTo>
                    <a:pt x="514" y="373"/>
                  </a:lnTo>
                  <a:lnTo>
                    <a:pt x="514" y="373"/>
                  </a:lnTo>
                  <a:lnTo>
                    <a:pt x="512" y="370"/>
                  </a:lnTo>
                  <a:lnTo>
                    <a:pt x="512" y="373"/>
                  </a:lnTo>
                  <a:lnTo>
                    <a:pt x="514" y="375"/>
                  </a:lnTo>
                  <a:lnTo>
                    <a:pt x="514" y="375"/>
                  </a:lnTo>
                  <a:lnTo>
                    <a:pt x="516" y="377"/>
                  </a:lnTo>
                  <a:lnTo>
                    <a:pt x="521" y="381"/>
                  </a:lnTo>
                  <a:lnTo>
                    <a:pt x="523" y="381"/>
                  </a:lnTo>
                  <a:lnTo>
                    <a:pt x="523" y="381"/>
                  </a:lnTo>
                  <a:lnTo>
                    <a:pt x="523" y="381"/>
                  </a:lnTo>
                  <a:lnTo>
                    <a:pt x="523" y="381"/>
                  </a:lnTo>
                  <a:close/>
                  <a:moveTo>
                    <a:pt x="578" y="444"/>
                  </a:moveTo>
                  <a:lnTo>
                    <a:pt x="576" y="442"/>
                  </a:lnTo>
                  <a:lnTo>
                    <a:pt x="574" y="442"/>
                  </a:lnTo>
                  <a:lnTo>
                    <a:pt x="574" y="442"/>
                  </a:lnTo>
                  <a:lnTo>
                    <a:pt x="574" y="442"/>
                  </a:lnTo>
                  <a:lnTo>
                    <a:pt x="572" y="442"/>
                  </a:lnTo>
                  <a:lnTo>
                    <a:pt x="574" y="444"/>
                  </a:lnTo>
                  <a:lnTo>
                    <a:pt x="576" y="448"/>
                  </a:lnTo>
                  <a:lnTo>
                    <a:pt x="578" y="450"/>
                  </a:lnTo>
                  <a:lnTo>
                    <a:pt x="578" y="452"/>
                  </a:lnTo>
                  <a:lnTo>
                    <a:pt x="580" y="455"/>
                  </a:lnTo>
                  <a:lnTo>
                    <a:pt x="582" y="461"/>
                  </a:lnTo>
                  <a:lnTo>
                    <a:pt x="584" y="463"/>
                  </a:lnTo>
                  <a:lnTo>
                    <a:pt x="584" y="463"/>
                  </a:lnTo>
                  <a:lnTo>
                    <a:pt x="584" y="463"/>
                  </a:lnTo>
                  <a:lnTo>
                    <a:pt x="586" y="463"/>
                  </a:lnTo>
                  <a:lnTo>
                    <a:pt x="586" y="461"/>
                  </a:lnTo>
                  <a:lnTo>
                    <a:pt x="584" y="455"/>
                  </a:lnTo>
                  <a:lnTo>
                    <a:pt x="582" y="455"/>
                  </a:lnTo>
                  <a:lnTo>
                    <a:pt x="580" y="452"/>
                  </a:lnTo>
                  <a:lnTo>
                    <a:pt x="580" y="450"/>
                  </a:lnTo>
                  <a:lnTo>
                    <a:pt x="580" y="446"/>
                  </a:lnTo>
                  <a:lnTo>
                    <a:pt x="578" y="444"/>
                  </a:lnTo>
                  <a:close/>
                  <a:moveTo>
                    <a:pt x="611" y="670"/>
                  </a:moveTo>
                  <a:lnTo>
                    <a:pt x="611" y="670"/>
                  </a:lnTo>
                  <a:lnTo>
                    <a:pt x="611" y="670"/>
                  </a:lnTo>
                  <a:lnTo>
                    <a:pt x="611" y="670"/>
                  </a:lnTo>
                  <a:lnTo>
                    <a:pt x="611" y="670"/>
                  </a:lnTo>
                  <a:close/>
                  <a:moveTo>
                    <a:pt x="543" y="670"/>
                  </a:moveTo>
                  <a:lnTo>
                    <a:pt x="543" y="670"/>
                  </a:lnTo>
                  <a:lnTo>
                    <a:pt x="541" y="670"/>
                  </a:lnTo>
                  <a:lnTo>
                    <a:pt x="543" y="670"/>
                  </a:lnTo>
                  <a:lnTo>
                    <a:pt x="543" y="670"/>
                  </a:lnTo>
                  <a:lnTo>
                    <a:pt x="543" y="670"/>
                  </a:lnTo>
                  <a:lnTo>
                    <a:pt x="543" y="670"/>
                  </a:lnTo>
                  <a:lnTo>
                    <a:pt x="543" y="670"/>
                  </a:lnTo>
                  <a:lnTo>
                    <a:pt x="543" y="670"/>
                  </a:lnTo>
                  <a:close/>
                  <a:moveTo>
                    <a:pt x="611" y="668"/>
                  </a:moveTo>
                  <a:lnTo>
                    <a:pt x="611" y="668"/>
                  </a:lnTo>
                  <a:lnTo>
                    <a:pt x="611" y="668"/>
                  </a:lnTo>
                  <a:lnTo>
                    <a:pt x="611" y="668"/>
                  </a:lnTo>
                  <a:close/>
                  <a:moveTo>
                    <a:pt x="570" y="450"/>
                  </a:moveTo>
                  <a:lnTo>
                    <a:pt x="568" y="446"/>
                  </a:lnTo>
                  <a:lnTo>
                    <a:pt x="566" y="444"/>
                  </a:lnTo>
                  <a:lnTo>
                    <a:pt x="566" y="442"/>
                  </a:lnTo>
                  <a:lnTo>
                    <a:pt x="566" y="442"/>
                  </a:lnTo>
                  <a:lnTo>
                    <a:pt x="566" y="442"/>
                  </a:lnTo>
                  <a:lnTo>
                    <a:pt x="566" y="442"/>
                  </a:lnTo>
                  <a:lnTo>
                    <a:pt x="568" y="448"/>
                  </a:lnTo>
                  <a:lnTo>
                    <a:pt x="568" y="450"/>
                  </a:lnTo>
                  <a:lnTo>
                    <a:pt x="570" y="452"/>
                  </a:lnTo>
                  <a:lnTo>
                    <a:pt x="570" y="452"/>
                  </a:lnTo>
                  <a:lnTo>
                    <a:pt x="570" y="452"/>
                  </a:lnTo>
                  <a:lnTo>
                    <a:pt x="570" y="450"/>
                  </a:lnTo>
                  <a:close/>
                  <a:moveTo>
                    <a:pt x="670" y="645"/>
                  </a:moveTo>
                  <a:lnTo>
                    <a:pt x="668" y="645"/>
                  </a:lnTo>
                  <a:lnTo>
                    <a:pt x="668" y="645"/>
                  </a:lnTo>
                  <a:lnTo>
                    <a:pt x="668" y="645"/>
                  </a:lnTo>
                  <a:lnTo>
                    <a:pt x="668" y="645"/>
                  </a:lnTo>
                  <a:lnTo>
                    <a:pt x="668" y="645"/>
                  </a:lnTo>
                  <a:lnTo>
                    <a:pt x="668" y="645"/>
                  </a:lnTo>
                  <a:lnTo>
                    <a:pt x="668" y="645"/>
                  </a:lnTo>
                  <a:lnTo>
                    <a:pt x="668" y="645"/>
                  </a:lnTo>
                  <a:lnTo>
                    <a:pt x="668" y="645"/>
                  </a:lnTo>
                  <a:lnTo>
                    <a:pt x="668" y="645"/>
                  </a:lnTo>
                  <a:lnTo>
                    <a:pt x="668" y="647"/>
                  </a:lnTo>
                  <a:lnTo>
                    <a:pt x="668" y="647"/>
                  </a:lnTo>
                  <a:lnTo>
                    <a:pt x="668" y="647"/>
                  </a:lnTo>
                  <a:lnTo>
                    <a:pt x="668" y="647"/>
                  </a:lnTo>
                  <a:lnTo>
                    <a:pt x="668" y="647"/>
                  </a:lnTo>
                  <a:lnTo>
                    <a:pt x="668" y="647"/>
                  </a:lnTo>
                  <a:lnTo>
                    <a:pt x="668" y="647"/>
                  </a:lnTo>
                  <a:lnTo>
                    <a:pt x="668" y="649"/>
                  </a:lnTo>
                  <a:lnTo>
                    <a:pt x="668" y="649"/>
                  </a:lnTo>
                  <a:lnTo>
                    <a:pt x="668" y="649"/>
                  </a:lnTo>
                  <a:lnTo>
                    <a:pt x="670" y="649"/>
                  </a:lnTo>
                  <a:lnTo>
                    <a:pt x="672" y="649"/>
                  </a:lnTo>
                  <a:lnTo>
                    <a:pt x="672" y="649"/>
                  </a:lnTo>
                  <a:lnTo>
                    <a:pt x="672" y="651"/>
                  </a:lnTo>
                  <a:lnTo>
                    <a:pt x="672" y="651"/>
                  </a:lnTo>
                  <a:lnTo>
                    <a:pt x="670" y="649"/>
                  </a:lnTo>
                  <a:lnTo>
                    <a:pt x="670" y="649"/>
                  </a:lnTo>
                  <a:lnTo>
                    <a:pt x="670" y="649"/>
                  </a:lnTo>
                  <a:lnTo>
                    <a:pt x="666" y="649"/>
                  </a:lnTo>
                  <a:lnTo>
                    <a:pt x="666" y="649"/>
                  </a:lnTo>
                  <a:lnTo>
                    <a:pt x="666" y="649"/>
                  </a:lnTo>
                  <a:lnTo>
                    <a:pt x="666" y="649"/>
                  </a:lnTo>
                  <a:lnTo>
                    <a:pt x="666" y="649"/>
                  </a:lnTo>
                  <a:lnTo>
                    <a:pt x="668" y="651"/>
                  </a:lnTo>
                  <a:lnTo>
                    <a:pt x="670" y="651"/>
                  </a:lnTo>
                  <a:lnTo>
                    <a:pt x="668" y="651"/>
                  </a:lnTo>
                  <a:lnTo>
                    <a:pt x="668" y="653"/>
                  </a:lnTo>
                  <a:lnTo>
                    <a:pt x="668" y="653"/>
                  </a:lnTo>
                  <a:lnTo>
                    <a:pt x="668" y="653"/>
                  </a:lnTo>
                  <a:lnTo>
                    <a:pt x="666" y="655"/>
                  </a:lnTo>
                  <a:lnTo>
                    <a:pt x="664" y="653"/>
                  </a:lnTo>
                  <a:lnTo>
                    <a:pt x="664" y="653"/>
                  </a:lnTo>
                  <a:lnTo>
                    <a:pt x="664" y="653"/>
                  </a:lnTo>
                  <a:lnTo>
                    <a:pt x="664" y="655"/>
                  </a:lnTo>
                  <a:lnTo>
                    <a:pt x="662" y="657"/>
                  </a:lnTo>
                  <a:lnTo>
                    <a:pt x="662" y="657"/>
                  </a:lnTo>
                  <a:lnTo>
                    <a:pt x="662" y="657"/>
                  </a:lnTo>
                  <a:lnTo>
                    <a:pt x="662" y="657"/>
                  </a:lnTo>
                  <a:lnTo>
                    <a:pt x="668" y="653"/>
                  </a:lnTo>
                  <a:lnTo>
                    <a:pt x="672" y="653"/>
                  </a:lnTo>
                  <a:lnTo>
                    <a:pt x="674" y="649"/>
                  </a:lnTo>
                  <a:lnTo>
                    <a:pt x="674" y="649"/>
                  </a:lnTo>
                  <a:lnTo>
                    <a:pt x="670" y="645"/>
                  </a:lnTo>
                  <a:close/>
                  <a:moveTo>
                    <a:pt x="564" y="434"/>
                  </a:moveTo>
                  <a:lnTo>
                    <a:pt x="561" y="432"/>
                  </a:lnTo>
                  <a:lnTo>
                    <a:pt x="561" y="432"/>
                  </a:lnTo>
                  <a:lnTo>
                    <a:pt x="561" y="432"/>
                  </a:lnTo>
                  <a:lnTo>
                    <a:pt x="561" y="432"/>
                  </a:lnTo>
                  <a:lnTo>
                    <a:pt x="561" y="432"/>
                  </a:lnTo>
                  <a:lnTo>
                    <a:pt x="561" y="432"/>
                  </a:lnTo>
                  <a:lnTo>
                    <a:pt x="561" y="434"/>
                  </a:lnTo>
                  <a:lnTo>
                    <a:pt x="564" y="440"/>
                  </a:lnTo>
                  <a:lnTo>
                    <a:pt x="564" y="442"/>
                  </a:lnTo>
                  <a:lnTo>
                    <a:pt x="564" y="442"/>
                  </a:lnTo>
                  <a:lnTo>
                    <a:pt x="564" y="442"/>
                  </a:lnTo>
                  <a:lnTo>
                    <a:pt x="564" y="438"/>
                  </a:lnTo>
                  <a:lnTo>
                    <a:pt x="564" y="436"/>
                  </a:lnTo>
                  <a:lnTo>
                    <a:pt x="564" y="434"/>
                  </a:lnTo>
                  <a:close/>
                  <a:moveTo>
                    <a:pt x="701" y="571"/>
                  </a:moveTo>
                  <a:lnTo>
                    <a:pt x="701" y="571"/>
                  </a:lnTo>
                  <a:lnTo>
                    <a:pt x="701" y="571"/>
                  </a:lnTo>
                  <a:lnTo>
                    <a:pt x="703" y="569"/>
                  </a:lnTo>
                  <a:lnTo>
                    <a:pt x="703" y="569"/>
                  </a:lnTo>
                  <a:lnTo>
                    <a:pt x="703" y="569"/>
                  </a:lnTo>
                  <a:lnTo>
                    <a:pt x="701" y="569"/>
                  </a:lnTo>
                  <a:lnTo>
                    <a:pt x="701" y="569"/>
                  </a:lnTo>
                  <a:lnTo>
                    <a:pt x="699" y="569"/>
                  </a:lnTo>
                  <a:lnTo>
                    <a:pt x="699" y="569"/>
                  </a:lnTo>
                  <a:lnTo>
                    <a:pt x="699" y="569"/>
                  </a:lnTo>
                  <a:lnTo>
                    <a:pt x="699" y="569"/>
                  </a:lnTo>
                  <a:lnTo>
                    <a:pt x="699" y="569"/>
                  </a:lnTo>
                  <a:lnTo>
                    <a:pt x="701" y="571"/>
                  </a:lnTo>
                  <a:close/>
                  <a:moveTo>
                    <a:pt x="713" y="575"/>
                  </a:moveTo>
                  <a:lnTo>
                    <a:pt x="715" y="575"/>
                  </a:lnTo>
                  <a:lnTo>
                    <a:pt x="715" y="575"/>
                  </a:lnTo>
                  <a:lnTo>
                    <a:pt x="715" y="575"/>
                  </a:lnTo>
                  <a:lnTo>
                    <a:pt x="713" y="575"/>
                  </a:lnTo>
                  <a:lnTo>
                    <a:pt x="713" y="575"/>
                  </a:lnTo>
                  <a:lnTo>
                    <a:pt x="713" y="575"/>
                  </a:lnTo>
                  <a:lnTo>
                    <a:pt x="713" y="575"/>
                  </a:lnTo>
                  <a:lnTo>
                    <a:pt x="713" y="575"/>
                  </a:lnTo>
                  <a:lnTo>
                    <a:pt x="713" y="575"/>
                  </a:lnTo>
                  <a:close/>
                  <a:moveTo>
                    <a:pt x="715" y="580"/>
                  </a:moveTo>
                  <a:lnTo>
                    <a:pt x="717" y="580"/>
                  </a:lnTo>
                  <a:lnTo>
                    <a:pt x="717" y="580"/>
                  </a:lnTo>
                  <a:lnTo>
                    <a:pt x="717" y="577"/>
                  </a:lnTo>
                  <a:lnTo>
                    <a:pt x="717" y="577"/>
                  </a:lnTo>
                  <a:lnTo>
                    <a:pt x="717" y="577"/>
                  </a:lnTo>
                  <a:lnTo>
                    <a:pt x="717" y="577"/>
                  </a:lnTo>
                  <a:lnTo>
                    <a:pt x="717" y="577"/>
                  </a:lnTo>
                  <a:lnTo>
                    <a:pt x="717" y="577"/>
                  </a:lnTo>
                  <a:lnTo>
                    <a:pt x="717" y="577"/>
                  </a:lnTo>
                  <a:lnTo>
                    <a:pt x="717" y="577"/>
                  </a:lnTo>
                  <a:lnTo>
                    <a:pt x="717" y="577"/>
                  </a:lnTo>
                  <a:lnTo>
                    <a:pt x="715" y="580"/>
                  </a:lnTo>
                  <a:close/>
                  <a:moveTo>
                    <a:pt x="705" y="571"/>
                  </a:moveTo>
                  <a:lnTo>
                    <a:pt x="707" y="569"/>
                  </a:lnTo>
                  <a:lnTo>
                    <a:pt x="707" y="569"/>
                  </a:lnTo>
                  <a:lnTo>
                    <a:pt x="705" y="569"/>
                  </a:lnTo>
                  <a:lnTo>
                    <a:pt x="705" y="569"/>
                  </a:lnTo>
                  <a:lnTo>
                    <a:pt x="703" y="569"/>
                  </a:lnTo>
                  <a:lnTo>
                    <a:pt x="705" y="571"/>
                  </a:lnTo>
                  <a:lnTo>
                    <a:pt x="705" y="571"/>
                  </a:lnTo>
                  <a:lnTo>
                    <a:pt x="705" y="571"/>
                  </a:lnTo>
                  <a:close/>
                  <a:moveTo>
                    <a:pt x="703" y="571"/>
                  </a:moveTo>
                  <a:lnTo>
                    <a:pt x="703" y="573"/>
                  </a:lnTo>
                  <a:lnTo>
                    <a:pt x="705" y="575"/>
                  </a:lnTo>
                  <a:lnTo>
                    <a:pt x="705" y="575"/>
                  </a:lnTo>
                  <a:lnTo>
                    <a:pt x="707" y="573"/>
                  </a:lnTo>
                  <a:lnTo>
                    <a:pt x="707" y="573"/>
                  </a:lnTo>
                  <a:lnTo>
                    <a:pt x="707" y="571"/>
                  </a:lnTo>
                  <a:lnTo>
                    <a:pt x="707" y="571"/>
                  </a:lnTo>
                  <a:lnTo>
                    <a:pt x="707" y="571"/>
                  </a:lnTo>
                  <a:lnTo>
                    <a:pt x="705" y="571"/>
                  </a:lnTo>
                  <a:lnTo>
                    <a:pt x="703" y="571"/>
                  </a:lnTo>
                  <a:lnTo>
                    <a:pt x="703" y="571"/>
                  </a:lnTo>
                  <a:close/>
                  <a:moveTo>
                    <a:pt x="703" y="567"/>
                  </a:moveTo>
                  <a:lnTo>
                    <a:pt x="703" y="567"/>
                  </a:lnTo>
                  <a:lnTo>
                    <a:pt x="701" y="567"/>
                  </a:lnTo>
                  <a:lnTo>
                    <a:pt x="699" y="567"/>
                  </a:lnTo>
                  <a:lnTo>
                    <a:pt x="699" y="567"/>
                  </a:lnTo>
                  <a:lnTo>
                    <a:pt x="699" y="567"/>
                  </a:lnTo>
                  <a:lnTo>
                    <a:pt x="699" y="567"/>
                  </a:lnTo>
                  <a:lnTo>
                    <a:pt x="703" y="567"/>
                  </a:lnTo>
                  <a:close/>
                  <a:moveTo>
                    <a:pt x="516" y="358"/>
                  </a:moveTo>
                  <a:lnTo>
                    <a:pt x="516" y="358"/>
                  </a:lnTo>
                  <a:lnTo>
                    <a:pt x="516" y="358"/>
                  </a:lnTo>
                  <a:lnTo>
                    <a:pt x="516" y="358"/>
                  </a:lnTo>
                  <a:lnTo>
                    <a:pt x="516" y="358"/>
                  </a:lnTo>
                  <a:lnTo>
                    <a:pt x="516" y="358"/>
                  </a:lnTo>
                  <a:lnTo>
                    <a:pt x="516" y="358"/>
                  </a:lnTo>
                  <a:lnTo>
                    <a:pt x="518" y="358"/>
                  </a:lnTo>
                  <a:lnTo>
                    <a:pt x="518" y="358"/>
                  </a:lnTo>
                  <a:lnTo>
                    <a:pt x="518" y="358"/>
                  </a:lnTo>
                  <a:lnTo>
                    <a:pt x="518" y="358"/>
                  </a:lnTo>
                  <a:lnTo>
                    <a:pt x="518" y="358"/>
                  </a:lnTo>
                  <a:lnTo>
                    <a:pt x="518" y="358"/>
                  </a:lnTo>
                  <a:lnTo>
                    <a:pt x="518" y="358"/>
                  </a:lnTo>
                  <a:lnTo>
                    <a:pt x="518" y="358"/>
                  </a:lnTo>
                  <a:lnTo>
                    <a:pt x="516" y="358"/>
                  </a:lnTo>
                  <a:close/>
                  <a:moveTo>
                    <a:pt x="717" y="575"/>
                  </a:moveTo>
                  <a:lnTo>
                    <a:pt x="719" y="575"/>
                  </a:lnTo>
                  <a:lnTo>
                    <a:pt x="719" y="577"/>
                  </a:lnTo>
                  <a:lnTo>
                    <a:pt x="719" y="577"/>
                  </a:lnTo>
                  <a:lnTo>
                    <a:pt x="719" y="575"/>
                  </a:lnTo>
                  <a:lnTo>
                    <a:pt x="719" y="575"/>
                  </a:lnTo>
                  <a:lnTo>
                    <a:pt x="719" y="573"/>
                  </a:lnTo>
                  <a:lnTo>
                    <a:pt x="717" y="573"/>
                  </a:lnTo>
                  <a:lnTo>
                    <a:pt x="717" y="573"/>
                  </a:lnTo>
                  <a:lnTo>
                    <a:pt x="717" y="575"/>
                  </a:lnTo>
                  <a:lnTo>
                    <a:pt x="717" y="575"/>
                  </a:lnTo>
                  <a:lnTo>
                    <a:pt x="717" y="575"/>
                  </a:lnTo>
                  <a:close/>
                  <a:moveTo>
                    <a:pt x="674" y="645"/>
                  </a:moveTo>
                  <a:lnTo>
                    <a:pt x="674" y="643"/>
                  </a:lnTo>
                  <a:lnTo>
                    <a:pt x="674" y="643"/>
                  </a:lnTo>
                  <a:lnTo>
                    <a:pt x="674" y="643"/>
                  </a:lnTo>
                  <a:lnTo>
                    <a:pt x="672" y="643"/>
                  </a:lnTo>
                  <a:lnTo>
                    <a:pt x="672" y="643"/>
                  </a:lnTo>
                  <a:lnTo>
                    <a:pt x="672" y="643"/>
                  </a:lnTo>
                  <a:lnTo>
                    <a:pt x="672" y="645"/>
                  </a:lnTo>
                  <a:lnTo>
                    <a:pt x="672" y="645"/>
                  </a:lnTo>
                  <a:lnTo>
                    <a:pt x="672" y="647"/>
                  </a:lnTo>
                  <a:lnTo>
                    <a:pt x="672" y="647"/>
                  </a:lnTo>
                  <a:lnTo>
                    <a:pt x="672" y="647"/>
                  </a:lnTo>
                  <a:lnTo>
                    <a:pt x="674" y="647"/>
                  </a:lnTo>
                  <a:lnTo>
                    <a:pt x="674" y="647"/>
                  </a:lnTo>
                  <a:lnTo>
                    <a:pt x="674" y="647"/>
                  </a:lnTo>
                  <a:lnTo>
                    <a:pt x="674" y="647"/>
                  </a:lnTo>
                  <a:lnTo>
                    <a:pt x="676" y="647"/>
                  </a:lnTo>
                  <a:lnTo>
                    <a:pt x="676" y="647"/>
                  </a:lnTo>
                  <a:lnTo>
                    <a:pt x="676" y="647"/>
                  </a:lnTo>
                  <a:lnTo>
                    <a:pt x="676" y="645"/>
                  </a:lnTo>
                  <a:lnTo>
                    <a:pt x="674" y="645"/>
                  </a:lnTo>
                  <a:close/>
                  <a:moveTo>
                    <a:pt x="496" y="254"/>
                  </a:moveTo>
                  <a:lnTo>
                    <a:pt x="496" y="254"/>
                  </a:lnTo>
                  <a:lnTo>
                    <a:pt x="496" y="254"/>
                  </a:lnTo>
                  <a:lnTo>
                    <a:pt x="496" y="254"/>
                  </a:lnTo>
                  <a:lnTo>
                    <a:pt x="496" y="252"/>
                  </a:lnTo>
                  <a:lnTo>
                    <a:pt x="496" y="252"/>
                  </a:lnTo>
                  <a:lnTo>
                    <a:pt x="496" y="252"/>
                  </a:lnTo>
                  <a:lnTo>
                    <a:pt x="496" y="252"/>
                  </a:lnTo>
                  <a:lnTo>
                    <a:pt x="496" y="254"/>
                  </a:lnTo>
                  <a:close/>
                  <a:moveTo>
                    <a:pt x="758" y="575"/>
                  </a:moveTo>
                  <a:lnTo>
                    <a:pt x="758" y="575"/>
                  </a:lnTo>
                  <a:lnTo>
                    <a:pt x="758" y="575"/>
                  </a:lnTo>
                  <a:lnTo>
                    <a:pt x="756" y="575"/>
                  </a:lnTo>
                  <a:lnTo>
                    <a:pt x="756" y="575"/>
                  </a:lnTo>
                  <a:lnTo>
                    <a:pt x="756" y="575"/>
                  </a:lnTo>
                  <a:lnTo>
                    <a:pt x="758" y="575"/>
                  </a:lnTo>
                  <a:lnTo>
                    <a:pt x="758" y="575"/>
                  </a:lnTo>
                  <a:close/>
                  <a:moveTo>
                    <a:pt x="746" y="586"/>
                  </a:moveTo>
                  <a:lnTo>
                    <a:pt x="746" y="584"/>
                  </a:lnTo>
                  <a:lnTo>
                    <a:pt x="744" y="584"/>
                  </a:lnTo>
                  <a:lnTo>
                    <a:pt x="744" y="586"/>
                  </a:lnTo>
                  <a:lnTo>
                    <a:pt x="746" y="586"/>
                  </a:lnTo>
                  <a:lnTo>
                    <a:pt x="746" y="586"/>
                  </a:lnTo>
                  <a:close/>
                  <a:moveTo>
                    <a:pt x="748" y="608"/>
                  </a:moveTo>
                  <a:lnTo>
                    <a:pt x="748" y="608"/>
                  </a:lnTo>
                  <a:lnTo>
                    <a:pt x="748" y="608"/>
                  </a:lnTo>
                  <a:lnTo>
                    <a:pt x="748" y="608"/>
                  </a:lnTo>
                  <a:close/>
                  <a:moveTo>
                    <a:pt x="748" y="586"/>
                  </a:moveTo>
                  <a:lnTo>
                    <a:pt x="748" y="586"/>
                  </a:lnTo>
                  <a:lnTo>
                    <a:pt x="748" y="586"/>
                  </a:lnTo>
                  <a:lnTo>
                    <a:pt x="748" y="586"/>
                  </a:lnTo>
                  <a:lnTo>
                    <a:pt x="748" y="586"/>
                  </a:lnTo>
                  <a:lnTo>
                    <a:pt x="748" y="586"/>
                  </a:lnTo>
                  <a:lnTo>
                    <a:pt x="748" y="588"/>
                  </a:lnTo>
                  <a:lnTo>
                    <a:pt x="748" y="588"/>
                  </a:lnTo>
                  <a:lnTo>
                    <a:pt x="748" y="586"/>
                  </a:lnTo>
                  <a:lnTo>
                    <a:pt x="748" y="586"/>
                  </a:lnTo>
                  <a:lnTo>
                    <a:pt x="748" y="586"/>
                  </a:lnTo>
                  <a:close/>
                  <a:moveTo>
                    <a:pt x="742" y="584"/>
                  </a:moveTo>
                  <a:lnTo>
                    <a:pt x="742" y="584"/>
                  </a:lnTo>
                  <a:lnTo>
                    <a:pt x="742" y="584"/>
                  </a:lnTo>
                  <a:lnTo>
                    <a:pt x="742" y="584"/>
                  </a:lnTo>
                  <a:close/>
                  <a:moveTo>
                    <a:pt x="746" y="612"/>
                  </a:moveTo>
                  <a:lnTo>
                    <a:pt x="746" y="612"/>
                  </a:lnTo>
                  <a:lnTo>
                    <a:pt x="744" y="614"/>
                  </a:lnTo>
                  <a:lnTo>
                    <a:pt x="744" y="614"/>
                  </a:lnTo>
                  <a:lnTo>
                    <a:pt x="746" y="614"/>
                  </a:lnTo>
                  <a:lnTo>
                    <a:pt x="746" y="612"/>
                  </a:lnTo>
                  <a:lnTo>
                    <a:pt x="748" y="612"/>
                  </a:lnTo>
                  <a:lnTo>
                    <a:pt x="748" y="610"/>
                  </a:lnTo>
                  <a:lnTo>
                    <a:pt x="748" y="610"/>
                  </a:lnTo>
                  <a:lnTo>
                    <a:pt x="746" y="612"/>
                  </a:lnTo>
                  <a:close/>
                  <a:moveTo>
                    <a:pt x="754" y="602"/>
                  </a:moveTo>
                  <a:lnTo>
                    <a:pt x="754" y="604"/>
                  </a:lnTo>
                  <a:lnTo>
                    <a:pt x="752" y="608"/>
                  </a:lnTo>
                  <a:lnTo>
                    <a:pt x="752" y="606"/>
                  </a:lnTo>
                  <a:lnTo>
                    <a:pt x="754" y="604"/>
                  </a:lnTo>
                  <a:lnTo>
                    <a:pt x="754" y="604"/>
                  </a:lnTo>
                  <a:lnTo>
                    <a:pt x="754" y="602"/>
                  </a:lnTo>
                  <a:lnTo>
                    <a:pt x="754" y="602"/>
                  </a:lnTo>
                  <a:close/>
                  <a:moveTo>
                    <a:pt x="750" y="586"/>
                  </a:moveTo>
                  <a:lnTo>
                    <a:pt x="750" y="586"/>
                  </a:lnTo>
                  <a:lnTo>
                    <a:pt x="750" y="584"/>
                  </a:lnTo>
                  <a:lnTo>
                    <a:pt x="748" y="582"/>
                  </a:lnTo>
                  <a:lnTo>
                    <a:pt x="748" y="582"/>
                  </a:lnTo>
                  <a:lnTo>
                    <a:pt x="748" y="584"/>
                  </a:lnTo>
                  <a:lnTo>
                    <a:pt x="748" y="584"/>
                  </a:lnTo>
                  <a:lnTo>
                    <a:pt x="750" y="586"/>
                  </a:lnTo>
                  <a:close/>
                  <a:moveTo>
                    <a:pt x="781" y="553"/>
                  </a:moveTo>
                  <a:lnTo>
                    <a:pt x="779" y="555"/>
                  </a:lnTo>
                  <a:lnTo>
                    <a:pt x="777" y="559"/>
                  </a:lnTo>
                  <a:lnTo>
                    <a:pt x="774" y="559"/>
                  </a:lnTo>
                  <a:lnTo>
                    <a:pt x="772" y="561"/>
                  </a:lnTo>
                  <a:lnTo>
                    <a:pt x="772" y="561"/>
                  </a:lnTo>
                  <a:lnTo>
                    <a:pt x="772" y="563"/>
                  </a:lnTo>
                  <a:lnTo>
                    <a:pt x="772" y="563"/>
                  </a:lnTo>
                  <a:lnTo>
                    <a:pt x="774" y="563"/>
                  </a:lnTo>
                  <a:lnTo>
                    <a:pt x="774" y="565"/>
                  </a:lnTo>
                  <a:lnTo>
                    <a:pt x="774" y="567"/>
                  </a:lnTo>
                  <a:lnTo>
                    <a:pt x="770" y="571"/>
                  </a:lnTo>
                  <a:lnTo>
                    <a:pt x="770" y="577"/>
                  </a:lnTo>
                  <a:lnTo>
                    <a:pt x="766" y="577"/>
                  </a:lnTo>
                  <a:lnTo>
                    <a:pt x="766" y="580"/>
                  </a:lnTo>
                  <a:lnTo>
                    <a:pt x="766" y="580"/>
                  </a:lnTo>
                  <a:lnTo>
                    <a:pt x="766" y="580"/>
                  </a:lnTo>
                  <a:lnTo>
                    <a:pt x="766" y="577"/>
                  </a:lnTo>
                  <a:lnTo>
                    <a:pt x="766" y="577"/>
                  </a:lnTo>
                  <a:lnTo>
                    <a:pt x="768" y="580"/>
                  </a:lnTo>
                  <a:lnTo>
                    <a:pt x="768" y="580"/>
                  </a:lnTo>
                  <a:lnTo>
                    <a:pt x="768" y="582"/>
                  </a:lnTo>
                  <a:lnTo>
                    <a:pt x="768" y="580"/>
                  </a:lnTo>
                  <a:lnTo>
                    <a:pt x="768" y="580"/>
                  </a:lnTo>
                  <a:lnTo>
                    <a:pt x="768" y="580"/>
                  </a:lnTo>
                  <a:lnTo>
                    <a:pt x="768" y="580"/>
                  </a:lnTo>
                  <a:lnTo>
                    <a:pt x="768" y="582"/>
                  </a:lnTo>
                  <a:lnTo>
                    <a:pt x="768" y="582"/>
                  </a:lnTo>
                  <a:lnTo>
                    <a:pt x="768" y="584"/>
                  </a:lnTo>
                  <a:lnTo>
                    <a:pt x="766" y="584"/>
                  </a:lnTo>
                  <a:lnTo>
                    <a:pt x="764" y="584"/>
                  </a:lnTo>
                  <a:lnTo>
                    <a:pt x="764" y="586"/>
                  </a:lnTo>
                  <a:lnTo>
                    <a:pt x="764" y="588"/>
                  </a:lnTo>
                  <a:lnTo>
                    <a:pt x="762" y="590"/>
                  </a:lnTo>
                  <a:lnTo>
                    <a:pt x="762" y="592"/>
                  </a:lnTo>
                  <a:lnTo>
                    <a:pt x="760" y="594"/>
                  </a:lnTo>
                  <a:lnTo>
                    <a:pt x="760" y="594"/>
                  </a:lnTo>
                  <a:lnTo>
                    <a:pt x="760" y="594"/>
                  </a:lnTo>
                  <a:lnTo>
                    <a:pt x="758" y="598"/>
                  </a:lnTo>
                  <a:lnTo>
                    <a:pt x="758" y="598"/>
                  </a:lnTo>
                  <a:lnTo>
                    <a:pt x="756" y="600"/>
                  </a:lnTo>
                  <a:lnTo>
                    <a:pt x="756" y="600"/>
                  </a:lnTo>
                  <a:lnTo>
                    <a:pt x="756" y="602"/>
                  </a:lnTo>
                  <a:lnTo>
                    <a:pt x="756" y="602"/>
                  </a:lnTo>
                  <a:lnTo>
                    <a:pt x="756" y="602"/>
                  </a:lnTo>
                  <a:lnTo>
                    <a:pt x="758" y="600"/>
                  </a:lnTo>
                  <a:lnTo>
                    <a:pt x="760" y="598"/>
                  </a:lnTo>
                  <a:lnTo>
                    <a:pt x="762" y="594"/>
                  </a:lnTo>
                  <a:lnTo>
                    <a:pt x="764" y="590"/>
                  </a:lnTo>
                  <a:lnTo>
                    <a:pt x="766" y="588"/>
                  </a:lnTo>
                  <a:lnTo>
                    <a:pt x="766" y="586"/>
                  </a:lnTo>
                  <a:lnTo>
                    <a:pt x="766" y="586"/>
                  </a:lnTo>
                  <a:lnTo>
                    <a:pt x="768" y="586"/>
                  </a:lnTo>
                  <a:lnTo>
                    <a:pt x="768" y="584"/>
                  </a:lnTo>
                  <a:lnTo>
                    <a:pt x="774" y="575"/>
                  </a:lnTo>
                  <a:lnTo>
                    <a:pt x="774" y="575"/>
                  </a:lnTo>
                  <a:lnTo>
                    <a:pt x="774" y="573"/>
                  </a:lnTo>
                  <a:lnTo>
                    <a:pt x="774" y="569"/>
                  </a:lnTo>
                  <a:lnTo>
                    <a:pt x="777" y="565"/>
                  </a:lnTo>
                  <a:lnTo>
                    <a:pt x="781" y="561"/>
                  </a:lnTo>
                  <a:lnTo>
                    <a:pt x="781" y="559"/>
                  </a:lnTo>
                  <a:lnTo>
                    <a:pt x="781" y="559"/>
                  </a:lnTo>
                  <a:lnTo>
                    <a:pt x="781" y="557"/>
                  </a:lnTo>
                  <a:lnTo>
                    <a:pt x="781" y="557"/>
                  </a:lnTo>
                  <a:lnTo>
                    <a:pt x="781" y="555"/>
                  </a:lnTo>
                  <a:lnTo>
                    <a:pt x="781" y="555"/>
                  </a:lnTo>
                  <a:lnTo>
                    <a:pt x="783" y="555"/>
                  </a:lnTo>
                  <a:lnTo>
                    <a:pt x="783" y="555"/>
                  </a:lnTo>
                  <a:lnTo>
                    <a:pt x="783" y="553"/>
                  </a:lnTo>
                  <a:lnTo>
                    <a:pt x="781" y="553"/>
                  </a:lnTo>
                  <a:lnTo>
                    <a:pt x="781" y="553"/>
                  </a:lnTo>
                  <a:close/>
                  <a:moveTo>
                    <a:pt x="754" y="577"/>
                  </a:moveTo>
                  <a:lnTo>
                    <a:pt x="752" y="577"/>
                  </a:lnTo>
                  <a:lnTo>
                    <a:pt x="752" y="577"/>
                  </a:lnTo>
                  <a:lnTo>
                    <a:pt x="752" y="577"/>
                  </a:lnTo>
                  <a:lnTo>
                    <a:pt x="752" y="580"/>
                  </a:lnTo>
                  <a:lnTo>
                    <a:pt x="752" y="580"/>
                  </a:lnTo>
                  <a:lnTo>
                    <a:pt x="754" y="577"/>
                  </a:lnTo>
                  <a:close/>
                  <a:moveTo>
                    <a:pt x="748" y="588"/>
                  </a:moveTo>
                  <a:lnTo>
                    <a:pt x="750" y="590"/>
                  </a:lnTo>
                  <a:lnTo>
                    <a:pt x="750" y="588"/>
                  </a:lnTo>
                  <a:lnTo>
                    <a:pt x="750" y="588"/>
                  </a:lnTo>
                  <a:lnTo>
                    <a:pt x="748" y="588"/>
                  </a:lnTo>
                  <a:close/>
                  <a:moveTo>
                    <a:pt x="742" y="598"/>
                  </a:moveTo>
                  <a:lnTo>
                    <a:pt x="744" y="598"/>
                  </a:lnTo>
                  <a:lnTo>
                    <a:pt x="742" y="598"/>
                  </a:lnTo>
                  <a:lnTo>
                    <a:pt x="742" y="598"/>
                  </a:lnTo>
                  <a:close/>
                  <a:moveTo>
                    <a:pt x="746" y="586"/>
                  </a:moveTo>
                  <a:lnTo>
                    <a:pt x="746" y="586"/>
                  </a:lnTo>
                  <a:lnTo>
                    <a:pt x="748" y="588"/>
                  </a:lnTo>
                  <a:lnTo>
                    <a:pt x="746" y="586"/>
                  </a:lnTo>
                  <a:close/>
                  <a:moveTo>
                    <a:pt x="697" y="641"/>
                  </a:moveTo>
                  <a:lnTo>
                    <a:pt x="695" y="643"/>
                  </a:lnTo>
                  <a:lnTo>
                    <a:pt x="697" y="643"/>
                  </a:lnTo>
                  <a:lnTo>
                    <a:pt x="697" y="643"/>
                  </a:lnTo>
                  <a:lnTo>
                    <a:pt x="697" y="643"/>
                  </a:lnTo>
                  <a:lnTo>
                    <a:pt x="697" y="641"/>
                  </a:lnTo>
                  <a:lnTo>
                    <a:pt x="697" y="641"/>
                  </a:lnTo>
                  <a:close/>
                  <a:moveTo>
                    <a:pt x="684" y="639"/>
                  </a:moveTo>
                  <a:lnTo>
                    <a:pt x="680" y="637"/>
                  </a:lnTo>
                  <a:lnTo>
                    <a:pt x="680" y="637"/>
                  </a:lnTo>
                  <a:lnTo>
                    <a:pt x="680" y="637"/>
                  </a:lnTo>
                  <a:lnTo>
                    <a:pt x="680" y="637"/>
                  </a:lnTo>
                  <a:lnTo>
                    <a:pt x="680" y="637"/>
                  </a:lnTo>
                  <a:lnTo>
                    <a:pt x="678" y="637"/>
                  </a:lnTo>
                  <a:lnTo>
                    <a:pt x="680" y="637"/>
                  </a:lnTo>
                  <a:lnTo>
                    <a:pt x="680" y="637"/>
                  </a:lnTo>
                  <a:lnTo>
                    <a:pt x="678" y="637"/>
                  </a:lnTo>
                  <a:lnTo>
                    <a:pt x="686" y="645"/>
                  </a:lnTo>
                  <a:lnTo>
                    <a:pt x="688" y="647"/>
                  </a:lnTo>
                  <a:lnTo>
                    <a:pt x="688" y="647"/>
                  </a:lnTo>
                  <a:lnTo>
                    <a:pt x="688" y="647"/>
                  </a:lnTo>
                  <a:lnTo>
                    <a:pt x="690" y="645"/>
                  </a:lnTo>
                  <a:lnTo>
                    <a:pt x="688" y="641"/>
                  </a:lnTo>
                  <a:lnTo>
                    <a:pt x="684" y="639"/>
                  </a:lnTo>
                  <a:close/>
                  <a:moveTo>
                    <a:pt x="678" y="643"/>
                  </a:moveTo>
                  <a:lnTo>
                    <a:pt x="678" y="645"/>
                  </a:lnTo>
                  <a:lnTo>
                    <a:pt x="678" y="645"/>
                  </a:lnTo>
                  <a:lnTo>
                    <a:pt x="678" y="645"/>
                  </a:lnTo>
                  <a:lnTo>
                    <a:pt x="678" y="645"/>
                  </a:lnTo>
                  <a:lnTo>
                    <a:pt x="678" y="645"/>
                  </a:lnTo>
                  <a:lnTo>
                    <a:pt x="678" y="645"/>
                  </a:lnTo>
                  <a:lnTo>
                    <a:pt x="678" y="647"/>
                  </a:lnTo>
                  <a:lnTo>
                    <a:pt x="678" y="647"/>
                  </a:lnTo>
                  <a:lnTo>
                    <a:pt x="680" y="647"/>
                  </a:lnTo>
                  <a:lnTo>
                    <a:pt x="680" y="645"/>
                  </a:lnTo>
                  <a:lnTo>
                    <a:pt x="678" y="645"/>
                  </a:lnTo>
                  <a:lnTo>
                    <a:pt x="678" y="643"/>
                  </a:lnTo>
                  <a:close/>
                  <a:moveTo>
                    <a:pt x="680" y="647"/>
                  </a:moveTo>
                  <a:lnTo>
                    <a:pt x="682" y="647"/>
                  </a:lnTo>
                  <a:lnTo>
                    <a:pt x="682" y="647"/>
                  </a:lnTo>
                  <a:lnTo>
                    <a:pt x="682" y="645"/>
                  </a:lnTo>
                  <a:lnTo>
                    <a:pt x="682" y="645"/>
                  </a:lnTo>
                  <a:lnTo>
                    <a:pt x="680" y="647"/>
                  </a:lnTo>
                  <a:close/>
                  <a:moveTo>
                    <a:pt x="690" y="639"/>
                  </a:moveTo>
                  <a:lnTo>
                    <a:pt x="688" y="639"/>
                  </a:lnTo>
                  <a:lnTo>
                    <a:pt x="688" y="641"/>
                  </a:lnTo>
                  <a:lnTo>
                    <a:pt x="688" y="641"/>
                  </a:lnTo>
                  <a:lnTo>
                    <a:pt x="688" y="641"/>
                  </a:lnTo>
                  <a:lnTo>
                    <a:pt x="690" y="641"/>
                  </a:lnTo>
                  <a:lnTo>
                    <a:pt x="690" y="643"/>
                  </a:lnTo>
                  <a:lnTo>
                    <a:pt x="690" y="641"/>
                  </a:lnTo>
                  <a:lnTo>
                    <a:pt x="690" y="641"/>
                  </a:lnTo>
                  <a:lnTo>
                    <a:pt x="690" y="639"/>
                  </a:lnTo>
                  <a:close/>
                  <a:moveTo>
                    <a:pt x="738" y="606"/>
                  </a:moveTo>
                  <a:lnTo>
                    <a:pt x="738" y="606"/>
                  </a:lnTo>
                  <a:lnTo>
                    <a:pt x="738" y="606"/>
                  </a:lnTo>
                  <a:lnTo>
                    <a:pt x="738" y="606"/>
                  </a:lnTo>
                  <a:close/>
                  <a:moveTo>
                    <a:pt x="740" y="616"/>
                  </a:moveTo>
                  <a:lnTo>
                    <a:pt x="740" y="616"/>
                  </a:lnTo>
                  <a:lnTo>
                    <a:pt x="740" y="616"/>
                  </a:lnTo>
                  <a:lnTo>
                    <a:pt x="740" y="618"/>
                  </a:lnTo>
                  <a:lnTo>
                    <a:pt x="740" y="618"/>
                  </a:lnTo>
                  <a:lnTo>
                    <a:pt x="740" y="618"/>
                  </a:lnTo>
                  <a:lnTo>
                    <a:pt x="738" y="616"/>
                  </a:lnTo>
                  <a:lnTo>
                    <a:pt x="738" y="616"/>
                  </a:lnTo>
                  <a:lnTo>
                    <a:pt x="738" y="616"/>
                  </a:lnTo>
                  <a:lnTo>
                    <a:pt x="738" y="616"/>
                  </a:lnTo>
                  <a:lnTo>
                    <a:pt x="736" y="620"/>
                  </a:lnTo>
                  <a:lnTo>
                    <a:pt x="734" y="620"/>
                  </a:lnTo>
                  <a:lnTo>
                    <a:pt x="734" y="620"/>
                  </a:lnTo>
                  <a:lnTo>
                    <a:pt x="734" y="620"/>
                  </a:lnTo>
                  <a:lnTo>
                    <a:pt x="738" y="620"/>
                  </a:lnTo>
                  <a:lnTo>
                    <a:pt x="740" y="620"/>
                  </a:lnTo>
                  <a:lnTo>
                    <a:pt x="740" y="618"/>
                  </a:lnTo>
                  <a:lnTo>
                    <a:pt x="740" y="618"/>
                  </a:lnTo>
                  <a:lnTo>
                    <a:pt x="740" y="618"/>
                  </a:lnTo>
                  <a:lnTo>
                    <a:pt x="740" y="616"/>
                  </a:lnTo>
                  <a:lnTo>
                    <a:pt x="740" y="616"/>
                  </a:lnTo>
                  <a:close/>
                  <a:moveTo>
                    <a:pt x="729" y="598"/>
                  </a:moveTo>
                  <a:lnTo>
                    <a:pt x="729" y="598"/>
                  </a:lnTo>
                  <a:lnTo>
                    <a:pt x="729" y="598"/>
                  </a:lnTo>
                  <a:lnTo>
                    <a:pt x="729" y="598"/>
                  </a:lnTo>
                  <a:close/>
                  <a:moveTo>
                    <a:pt x="717" y="631"/>
                  </a:moveTo>
                  <a:lnTo>
                    <a:pt x="717" y="631"/>
                  </a:lnTo>
                  <a:lnTo>
                    <a:pt x="715" y="633"/>
                  </a:lnTo>
                  <a:lnTo>
                    <a:pt x="711" y="635"/>
                  </a:lnTo>
                  <a:lnTo>
                    <a:pt x="709" y="637"/>
                  </a:lnTo>
                  <a:lnTo>
                    <a:pt x="709" y="637"/>
                  </a:lnTo>
                  <a:lnTo>
                    <a:pt x="709" y="637"/>
                  </a:lnTo>
                  <a:lnTo>
                    <a:pt x="711" y="635"/>
                  </a:lnTo>
                  <a:lnTo>
                    <a:pt x="713" y="635"/>
                  </a:lnTo>
                  <a:lnTo>
                    <a:pt x="713" y="637"/>
                  </a:lnTo>
                  <a:lnTo>
                    <a:pt x="713" y="637"/>
                  </a:lnTo>
                  <a:lnTo>
                    <a:pt x="713" y="637"/>
                  </a:lnTo>
                  <a:lnTo>
                    <a:pt x="713" y="637"/>
                  </a:lnTo>
                  <a:lnTo>
                    <a:pt x="713" y="637"/>
                  </a:lnTo>
                  <a:lnTo>
                    <a:pt x="715" y="635"/>
                  </a:lnTo>
                  <a:lnTo>
                    <a:pt x="715" y="635"/>
                  </a:lnTo>
                  <a:lnTo>
                    <a:pt x="717" y="633"/>
                  </a:lnTo>
                  <a:lnTo>
                    <a:pt x="717" y="633"/>
                  </a:lnTo>
                  <a:lnTo>
                    <a:pt x="717" y="631"/>
                  </a:lnTo>
                  <a:lnTo>
                    <a:pt x="717" y="631"/>
                  </a:lnTo>
                  <a:close/>
                  <a:moveTo>
                    <a:pt x="727" y="625"/>
                  </a:moveTo>
                  <a:lnTo>
                    <a:pt x="727" y="625"/>
                  </a:lnTo>
                  <a:lnTo>
                    <a:pt x="725" y="627"/>
                  </a:lnTo>
                  <a:lnTo>
                    <a:pt x="717" y="633"/>
                  </a:lnTo>
                  <a:lnTo>
                    <a:pt x="719" y="633"/>
                  </a:lnTo>
                  <a:lnTo>
                    <a:pt x="719" y="633"/>
                  </a:lnTo>
                  <a:lnTo>
                    <a:pt x="725" y="629"/>
                  </a:lnTo>
                  <a:lnTo>
                    <a:pt x="725" y="627"/>
                  </a:lnTo>
                  <a:lnTo>
                    <a:pt x="727" y="627"/>
                  </a:lnTo>
                  <a:lnTo>
                    <a:pt x="727" y="627"/>
                  </a:lnTo>
                  <a:lnTo>
                    <a:pt x="727" y="627"/>
                  </a:lnTo>
                  <a:lnTo>
                    <a:pt x="727" y="625"/>
                  </a:lnTo>
                  <a:lnTo>
                    <a:pt x="727" y="625"/>
                  </a:lnTo>
                  <a:close/>
                  <a:moveTo>
                    <a:pt x="740" y="596"/>
                  </a:moveTo>
                  <a:lnTo>
                    <a:pt x="740" y="594"/>
                  </a:lnTo>
                  <a:lnTo>
                    <a:pt x="740" y="594"/>
                  </a:lnTo>
                  <a:lnTo>
                    <a:pt x="740" y="596"/>
                  </a:lnTo>
                  <a:lnTo>
                    <a:pt x="740" y="596"/>
                  </a:lnTo>
                  <a:close/>
                  <a:moveTo>
                    <a:pt x="785" y="536"/>
                  </a:moveTo>
                  <a:lnTo>
                    <a:pt x="785" y="536"/>
                  </a:lnTo>
                  <a:lnTo>
                    <a:pt x="785" y="536"/>
                  </a:lnTo>
                  <a:lnTo>
                    <a:pt x="785" y="536"/>
                  </a:lnTo>
                  <a:lnTo>
                    <a:pt x="785" y="545"/>
                  </a:lnTo>
                  <a:lnTo>
                    <a:pt x="783" y="545"/>
                  </a:lnTo>
                  <a:lnTo>
                    <a:pt x="783" y="547"/>
                  </a:lnTo>
                  <a:lnTo>
                    <a:pt x="783" y="547"/>
                  </a:lnTo>
                  <a:lnTo>
                    <a:pt x="783" y="547"/>
                  </a:lnTo>
                  <a:lnTo>
                    <a:pt x="783" y="547"/>
                  </a:lnTo>
                  <a:lnTo>
                    <a:pt x="783" y="547"/>
                  </a:lnTo>
                  <a:lnTo>
                    <a:pt x="783" y="547"/>
                  </a:lnTo>
                  <a:lnTo>
                    <a:pt x="783" y="547"/>
                  </a:lnTo>
                  <a:lnTo>
                    <a:pt x="783" y="547"/>
                  </a:lnTo>
                  <a:lnTo>
                    <a:pt x="785" y="545"/>
                  </a:lnTo>
                  <a:lnTo>
                    <a:pt x="785" y="543"/>
                  </a:lnTo>
                  <a:lnTo>
                    <a:pt x="785" y="541"/>
                  </a:lnTo>
                  <a:lnTo>
                    <a:pt x="785" y="539"/>
                  </a:lnTo>
                  <a:lnTo>
                    <a:pt x="785" y="539"/>
                  </a:lnTo>
                  <a:lnTo>
                    <a:pt x="785" y="536"/>
                  </a:lnTo>
                  <a:lnTo>
                    <a:pt x="785" y="536"/>
                  </a:lnTo>
                  <a:lnTo>
                    <a:pt x="785" y="536"/>
                  </a:lnTo>
                  <a:close/>
                  <a:moveTo>
                    <a:pt x="764" y="582"/>
                  </a:moveTo>
                  <a:lnTo>
                    <a:pt x="764" y="582"/>
                  </a:lnTo>
                  <a:lnTo>
                    <a:pt x="764" y="582"/>
                  </a:lnTo>
                  <a:lnTo>
                    <a:pt x="764" y="582"/>
                  </a:lnTo>
                  <a:lnTo>
                    <a:pt x="764" y="584"/>
                  </a:lnTo>
                  <a:lnTo>
                    <a:pt x="762" y="584"/>
                  </a:lnTo>
                  <a:lnTo>
                    <a:pt x="762" y="584"/>
                  </a:lnTo>
                  <a:lnTo>
                    <a:pt x="764" y="584"/>
                  </a:lnTo>
                  <a:lnTo>
                    <a:pt x="764" y="582"/>
                  </a:lnTo>
                  <a:lnTo>
                    <a:pt x="764" y="582"/>
                  </a:lnTo>
                  <a:close/>
                </a:path>
              </a:pathLst>
            </a:custGeom>
            <a:solidFill>
              <a:schemeClr val="accent1"/>
            </a:solidFill>
            <a:ln w="3175" cap="rnd">
              <a:solidFill>
                <a:schemeClr val="bg1"/>
              </a:solidFill>
              <a:prstDash val="solid"/>
              <a:round/>
              <a:headEnd/>
              <a:tailEnd/>
            </a:ln>
          </p:spPr>
          <p:txBody>
            <a:bodyPr vert="horz" wrap="square" lIns="0" tIns="0" rIns="192000" bIns="0" numCol="1" anchor="ctr"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FL</a:t>
              </a:r>
            </a:p>
          </p:txBody>
        </p:sp>
        <p:sp>
          <p:nvSpPr>
            <p:cNvPr id="336" name="Freeform 47">
              <a:extLst>
                <a:ext uri="{FF2B5EF4-FFF2-40B4-BE49-F238E27FC236}">
                  <a16:creationId xmlns:a16="http://schemas.microsoft.com/office/drawing/2014/main" id="{C342E807-FA7E-5583-0973-97F730B2A21F}"/>
                </a:ext>
              </a:extLst>
            </p:cNvPr>
            <p:cNvSpPr>
              <a:spLocks/>
            </p:cNvSpPr>
            <p:nvPr/>
          </p:nvSpPr>
          <p:spPr bwMode="auto">
            <a:xfrm>
              <a:off x="4750" y="912"/>
              <a:ext cx="92" cy="150"/>
            </a:xfrm>
            <a:custGeom>
              <a:avLst/>
              <a:gdLst>
                <a:gd name="T0" fmla="*/ 26 w 92"/>
                <a:gd name="T1" fmla="*/ 6 h 150"/>
                <a:gd name="T2" fmla="*/ 24 w 92"/>
                <a:gd name="T3" fmla="*/ 12 h 150"/>
                <a:gd name="T4" fmla="*/ 18 w 92"/>
                <a:gd name="T5" fmla="*/ 21 h 150"/>
                <a:gd name="T6" fmla="*/ 18 w 92"/>
                <a:gd name="T7" fmla="*/ 25 h 150"/>
                <a:gd name="T8" fmla="*/ 20 w 92"/>
                <a:gd name="T9" fmla="*/ 29 h 150"/>
                <a:gd name="T10" fmla="*/ 24 w 92"/>
                <a:gd name="T11" fmla="*/ 33 h 150"/>
                <a:gd name="T12" fmla="*/ 22 w 92"/>
                <a:gd name="T13" fmla="*/ 39 h 150"/>
                <a:gd name="T14" fmla="*/ 26 w 92"/>
                <a:gd name="T15" fmla="*/ 43 h 150"/>
                <a:gd name="T16" fmla="*/ 35 w 92"/>
                <a:gd name="T17" fmla="*/ 51 h 150"/>
                <a:gd name="T18" fmla="*/ 37 w 92"/>
                <a:gd name="T19" fmla="*/ 51 h 150"/>
                <a:gd name="T20" fmla="*/ 43 w 92"/>
                <a:gd name="T21" fmla="*/ 59 h 150"/>
                <a:gd name="T22" fmla="*/ 47 w 92"/>
                <a:gd name="T23" fmla="*/ 72 h 150"/>
                <a:gd name="T24" fmla="*/ 49 w 92"/>
                <a:gd name="T25" fmla="*/ 76 h 150"/>
                <a:gd name="T26" fmla="*/ 51 w 92"/>
                <a:gd name="T27" fmla="*/ 80 h 150"/>
                <a:gd name="T28" fmla="*/ 57 w 92"/>
                <a:gd name="T29" fmla="*/ 88 h 150"/>
                <a:gd name="T30" fmla="*/ 59 w 92"/>
                <a:gd name="T31" fmla="*/ 92 h 150"/>
                <a:gd name="T32" fmla="*/ 74 w 92"/>
                <a:gd name="T33" fmla="*/ 102 h 150"/>
                <a:gd name="T34" fmla="*/ 80 w 92"/>
                <a:gd name="T35" fmla="*/ 100 h 150"/>
                <a:gd name="T36" fmla="*/ 86 w 92"/>
                <a:gd name="T37" fmla="*/ 117 h 150"/>
                <a:gd name="T38" fmla="*/ 82 w 92"/>
                <a:gd name="T39" fmla="*/ 111 h 150"/>
                <a:gd name="T40" fmla="*/ 80 w 92"/>
                <a:gd name="T41" fmla="*/ 117 h 150"/>
                <a:gd name="T42" fmla="*/ 78 w 92"/>
                <a:gd name="T43" fmla="*/ 117 h 150"/>
                <a:gd name="T44" fmla="*/ 78 w 92"/>
                <a:gd name="T45" fmla="*/ 117 h 150"/>
                <a:gd name="T46" fmla="*/ 82 w 92"/>
                <a:gd name="T47" fmla="*/ 119 h 150"/>
                <a:gd name="T48" fmla="*/ 76 w 92"/>
                <a:gd name="T49" fmla="*/ 123 h 150"/>
                <a:gd name="T50" fmla="*/ 76 w 92"/>
                <a:gd name="T51" fmla="*/ 125 h 150"/>
                <a:gd name="T52" fmla="*/ 76 w 92"/>
                <a:gd name="T53" fmla="*/ 127 h 150"/>
                <a:gd name="T54" fmla="*/ 82 w 92"/>
                <a:gd name="T55" fmla="*/ 123 h 150"/>
                <a:gd name="T56" fmla="*/ 84 w 92"/>
                <a:gd name="T57" fmla="*/ 125 h 150"/>
                <a:gd name="T58" fmla="*/ 86 w 92"/>
                <a:gd name="T59" fmla="*/ 121 h 150"/>
                <a:gd name="T60" fmla="*/ 86 w 92"/>
                <a:gd name="T61" fmla="*/ 119 h 150"/>
                <a:gd name="T62" fmla="*/ 88 w 92"/>
                <a:gd name="T63" fmla="*/ 127 h 150"/>
                <a:gd name="T64" fmla="*/ 92 w 92"/>
                <a:gd name="T65" fmla="*/ 133 h 150"/>
                <a:gd name="T66" fmla="*/ 90 w 92"/>
                <a:gd name="T67" fmla="*/ 137 h 150"/>
                <a:gd name="T68" fmla="*/ 88 w 92"/>
                <a:gd name="T69" fmla="*/ 137 h 150"/>
                <a:gd name="T70" fmla="*/ 82 w 92"/>
                <a:gd name="T71" fmla="*/ 139 h 150"/>
                <a:gd name="T72" fmla="*/ 63 w 92"/>
                <a:gd name="T73" fmla="*/ 143 h 150"/>
                <a:gd name="T74" fmla="*/ 43 w 92"/>
                <a:gd name="T75" fmla="*/ 148 h 150"/>
                <a:gd name="T76" fmla="*/ 35 w 92"/>
                <a:gd name="T77" fmla="*/ 139 h 150"/>
                <a:gd name="T78" fmla="*/ 28 w 92"/>
                <a:gd name="T79" fmla="*/ 117 h 150"/>
                <a:gd name="T80" fmla="*/ 22 w 92"/>
                <a:gd name="T81" fmla="*/ 94 h 150"/>
                <a:gd name="T82" fmla="*/ 16 w 92"/>
                <a:gd name="T83" fmla="*/ 72 h 150"/>
                <a:gd name="T84" fmla="*/ 8 w 92"/>
                <a:gd name="T85" fmla="*/ 47 h 150"/>
                <a:gd name="T86" fmla="*/ 2 w 92"/>
                <a:gd name="T87" fmla="*/ 25 h 150"/>
                <a:gd name="T88" fmla="*/ 2 w 92"/>
                <a:gd name="T89" fmla="*/ 18 h 150"/>
                <a:gd name="T90" fmla="*/ 6 w 92"/>
                <a:gd name="T91" fmla="*/ 6 h 150"/>
                <a:gd name="T92" fmla="*/ 10 w 92"/>
                <a:gd name="T93" fmla="*/ 2 h 150"/>
                <a:gd name="T94" fmla="*/ 16 w 92"/>
                <a:gd name="T95" fmla="*/ 0 h 150"/>
                <a:gd name="T96" fmla="*/ 26 w 92"/>
                <a:gd name="T97" fmla="*/ 0 h 150"/>
                <a:gd name="T98" fmla="*/ 28 w 92"/>
                <a:gd name="T99" fmla="*/ 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150">
                  <a:moveTo>
                    <a:pt x="28" y="2"/>
                  </a:moveTo>
                  <a:lnTo>
                    <a:pt x="28" y="2"/>
                  </a:lnTo>
                  <a:lnTo>
                    <a:pt x="26" y="6"/>
                  </a:lnTo>
                  <a:lnTo>
                    <a:pt x="24" y="6"/>
                  </a:lnTo>
                  <a:lnTo>
                    <a:pt x="24" y="10"/>
                  </a:lnTo>
                  <a:lnTo>
                    <a:pt x="24" y="12"/>
                  </a:lnTo>
                  <a:lnTo>
                    <a:pt x="22" y="18"/>
                  </a:lnTo>
                  <a:lnTo>
                    <a:pt x="20" y="18"/>
                  </a:lnTo>
                  <a:lnTo>
                    <a:pt x="18" y="21"/>
                  </a:lnTo>
                  <a:lnTo>
                    <a:pt x="18" y="23"/>
                  </a:lnTo>
                  <a:lnTo>
                    <a:pt x="18" y="23"/>
                  </a:lnTo>
                  <a:lnTo>
                    <a:pt x="18" y="25"/>
                  </a:lnTo>
                  <a:lnTo>
                    <a:pt x="18" y="25"/>
                  </a:lnTo>
                  <a:lnTo>
                    <a:pt x="18" y="27"/>
                  </a:lnTo>
                  <a:lnTo>
                    <a:pt x="20" y="29"/>
                  </a:lnTo>
                  <a:lnTo>
                    <a:pt x="22" y="29"/>
                  </a:lnTo>
                  <a:lnTo>
                    <a:pt x="24" y="31"/>
                  </a:lnTo>
                  <a:lnTo>
                    <a:pt x="24" y="33"/>
                  </a:lnTo>
                  <a:lnTo>
                    <a:pt x="24" y="35"/>
                  </a:lnTo>
                  <a:lnTo>
                    <a:pt x="22" y="37"/>
                  </a:lnTo>
                  <a:lnTo>
                    <a:pt x="22" y="39"/>
                  </a:lnTo>
                  <a:lnTo>
                    <a:pt x="24" y="41"/>
                  </a:lnTo>
                  <a:lnTo>
                    <a:pt x="26" y="43"/>
                  </a:lnTo>
                  <a:lnTo>
                    <a:pt x="26" y="43"/>
                  </a:lnTo>
                  <a:lnTo>
                    <a:pt x="28" y="45"/>
                  </a:lnTo>
                  <a:lnTo>
                    <a:pt x="33" y="51"/>
                  </a:lnTo>
                  <a:lnTo>
                    <a:pt x="35" y="51"/>
                  </a:lnTo>
                  <a:lnTo>
                    <a:pt x="35" y="51"/>
                  </a:lnTo>
                  <a:lnTo>
                    <a:pt x="37" y="51"/>
                  </a:lnTo>
                  <a:lnTo>
                    <a:pt x="37" y="51"/>
                  </a:lnTo>
                  <a:lnTo>
                    <a:pt x="39" y="53"/>
                  </a:lnTo>
                  <a:lnTo>
                    <a:pt x="43" y="57"/>
                  </a:lnTo>
                  <a:lnTo>
                    <a:pt x="43" y="59"/>
                  </a:lnTo>
                  <a:lnTo>
                    <a:pt x="45" y="61"/>
                  </a:lnTo>
                  <a:lnTo>
                    <a:pt x="45" y="70"/>
                  </a:lnTo>
                  <a:lnTo>
                    <a:pt x="47" y="72"/>
                  </a:lnTo>
                  <a:lnTo>
                    <a:pt x="47" y="72"/>
                  </a:lnTo>
                  <a:lnTo>
                    <a:pt x="47" y="74"/>
                  </a:lnTo>
                  <a:lnTo>
                    <a:pt x="49" y="76"/>
                  </a:lnTo>
                  <a:lnTo>
                    <a:pt x="49" y="78"/>
                  </a:lnTo>
                  <a:lnTo>
                    <a:pt x="49" y="78"/>
                  </a:lnTo>
                  <a:lnTo>
                    <a:pt x="51" y="80"/>
                  </a:lnTo>
                  <a:lnTo>
                    <a:pt x="53" y="82"/>
                  </a:lnTo>
                  <a:lnTo>
                    <a:pt x="57" y="86"/>
                  </a:lnTo>
                  <a:lnTo>
                    <a:pt x="57" y="88"/>
                  </a:lnTo>
                  <a:lnTo>
                    <a:pt x="59" y="90"/>
                  </a:lnTo>
                  <a:lnTo>
                    <a:pt x="59" y="92"/>
                  </a:lnTo>
                  <a:lnTo>
                    <a:pt x="59" y="92"/>
                  </a:lnTo>
                  <a:lnTo>
                    <a:pt x="65" y="96"/>
                  </a:lnTo>
                  <a:lnTo>
                    <a:pt x="72" y="100"/>
                  </a:lnTo>
                  <a:lnTo>
                    <a:pt x="74" y="102"/>
                  </a:lnTo>
                  <a:lnTo>
                    <a:pt x="78" y="102"/>
                  </a:lnTo>
                  <a:lnTo>
                    <a:pt x="80" y="102"/>
                  </a:lnTo>
                  <a:lnTo>
                    <a:pt x="80" y="100"/>
                  </a:lnTo>
                  <a:lnTo>
                    <a:pt x="82" y="102"/>
                  </a:lnTo>
                  <a:lnTo>
                    <a:pt x="86" y="113"/>
                  </a:lnTo>
                  <a:lnTo>
                    <a:pt x="86" y="117"/>
                  </a:lnTo>
                  <a:lnTo>
                    <a:pt x="86" y="117"/>
                  </a:lnTo>
                  <a:lnTo>
                    <a:pt x="84" y="113"/>
                  </a:lnTo>
                  <a:lnTo>
                    <a:pt x="82" y="111"/>
                  </a:lnTo>
                  <a:lnTo>
                    <a:pt x="78" y="113"/>
                  </a:lnTo>
                  <a:lnTo>
                    <a:pt x="78" y="113"/>
                  </a:lnTo>
                  <a:lnTo>
                    <a:pt x="80" y="117"/>
                  </a:lnTo>
                  <a:lnTo>
                    <a:pt x="80" y="117"/>
                  </a:lnTo>
                  <a:lnTo>
                    <a:pt x="80" y="117"/>
                  </a:lnTo>
                  <a:lnTo>
                    <a:pt x="78" y="117"/>
                  </a:lnTo>
                  <a:lnTo>
                    <a:pt x="78" y="117"/>
                  </a:lnTo>
                  <a:lnTo>
                    <a:pt x="78" y="117"/>
                  </a:lnTo>
                  <a:lnTo>
                    <a:pt x="78" y="117"/>
                  </a:lnTo>
                  <a:lnTo>
                    <a:pt x="80" y="117"/>
                  </a:lnTo>
                  <a:lnTo>
                    <a:pt x="80" y="119"/>
                  </a:lnTo>
                  <a:lnTo>
                    <a:pt x="82" y="119"/>
                  </a:lnTo>
                  <a:lnTo>
                    <a:pt x="84" y="119"/>
                  </a:lnTo>
                  <a:lnTo>
                    <a:pt x="82" y="121"/>
                  </a:lnTo>
                  <a:lnTo>
                    <a:pt x="76" y="123"/>
                  </a:lnTo>
                  <a:lnTo>
                    <a:pt x="76" y="125"/>
                  </a:lnTo>
                  <a:lnTo>
                    <a:pt x="78" y="125"/>
                  </a:lnTo>
                  <a:lnTo>
                    <a:pt x="76" y="125"/>
                  </a:lnTo>
                  <a:lnTo>
                    <a:pt x="76" y="127"/>
                  </a:lnTo>
                  <a:lnTo>
                    <a:pt x="76" y="127"/>
                  </a:lnTo>
                  <a:lnTo>
                    <a:pt x="76" y="127"/>
                  </a:lnTo>
                  <a:lnTo>
                    <a:pt x="78" y="127"/>
                  </a:lnTo>
                  <a:lnTo>
                    <a:pt x="80" y="125"/>
                  </a:lnTo>
                  <a:lnTo>
                    <a:pt x="82" y="123"/>
                  </a:lnTo>
                  <a:lnTo>
                    <a:pt x="82" y="125"/>
                  </a:lnTo>
                  <a:lnTo>
                    <a:pt x="84" y="125"/>
                  </a:lnTo>
                  <a:lnTo>
                    <a:pt x="84" y="125"/>
                  </a:lnTo>
                  <a:lnTo>
                    <a:pt x="86" y="125"/>
                  </a:lnTo>
                  <a:lnTo>
                    <a:pt x="86" y="123"/>
                  </a:lnTo>
                  <a:lnTo>
                    <a:pt x="86" y="121"/>
                  </a:lnTo>
                  <a:lnTo>
                    <a:pt x="86" y="121"/>
                  </a:lnTo>
                  <a:lnTo>
                    <a:pt x="86" y="121"/>
                  </a:lnTo>
                  <a:lnTo>
                    <a:pt x="86" y="119"/>
                  </a:lnTo>
                  <a:lnTo>
                    <a:pt x="88" y="121"/>
                  </a:lnTo>
                  <a:lnTo>
                    <a:pt x="88" y="121"/>
                  </a:lnTo>
                  <a:lnTo>
                    <a:pt x="88" y="127"/>
                  </a:lnTo>
                  <a:lnTo>
                    <a:pt x="90" y="129"/>
                  </a:lnTo>
                  <a:lnTo>
                    <a:pt x="90" y="131"/>
                  </a:lnTo>
                  <a:lnTo>
                    <a:pt x="92" y="133"/>
                  </a:lnTo>
                  <a:lnTo>
                    <a:pt x="92" y="137"/>
                  </a:lnTo>
                  <a:lnTo>
                    <a:pt x="90" y="137"/>
                  </a:lnTo>
                  <a:lnTo>
                    <a:pt x="90" y="137"/>
                  </a:lnTo>
                  <a:lnTo>
                    <a:pt x="90" y="135"/>
                  </a:lnTo>
                  <a:lnTo>
                    <a:pt x="90" y="135"/>
                  </a:lnTo>
                  <a:lnTo>
                    <a:pt x="88" y="137"/>
                  </a:lnTo>
                  <a:lnTo>
                    <a:pt x="88" y="137"/>
                  </a:lnTo>
                  <a:lnTo>
                    <a:pt x="86" y="137"/>
                  </a:lnTo>
                  <a:lnTo>
                    <a:pt x="82" y="139"/>
                  </a:lnTo>
                  <a:lnTo>
                    <a:pt x="76" y="139"/>
                  </a:lnTo>
                  <a:lnTo>
                    <a:pt x="69" y="141"/>
                  </a:lnTo>
                  <a:lnTo>
                    <a:pt x="63" y="143"/>
                  </a:lnTo>
                  <a:lnTo>
                    <a:pt x="57" y="143"/>
                  </a:lnTo>
                  <a:lnTo>
                    <a:pt x="49" y="146"/>
                  </a:lnTo>
                  <a:lnTo>
                    <a:pt x="43" y="148"/>
                  </a:lnTo>
                  <a:lnTo>
                    <a:pt x="37" y="150"/>
                  </a:lnTo>
                  <a:lnTo>
                    <a:pt x="35" y="143"/>
                  </a:lnTo>
                  <a:lnTo>
                    <a:pt x="35" y="139"/>
                  </a:lnTo>
                  <a:lnTo>
                    <a:pt x="33" y="131"/>
                  </a:lnTo>
                  <a:lnTo>
                    <a:pt x="31" y="123"/>
                  </a:lnTo>
                  <a:lnTo>
                    <a:pt x="28" y="117"/>
                  </a:lnTo>
                  <a:lnTo>
                    <a:pt x="26" y="109"/>
                  </a:lnTo>
                  <a:lnTo>
                    <a:pt x="24" y="100"/>
                  </a:lnTo>
                  <a:lnTo>
                    <a:pt x="22" y="94"/>
                  </a:lnTo>
                  <a:lnTo>
                    <a:pt x="20" y="86"/>
                  </a:lnTo>
                  <a:lnTo>
                    <a:pt x="18" y="78"/>
                  </a:lnTo>
                  <a:lnTo>
                    <a:pt x="16" y="72"/>
                  </a:lnTo>
                  <a:lnTo>
                    <a:pt x="14" y="64"/>
                  </a:lnTo>
                  <a:lnTo>
                    <a:pt x="12" y="55"/>
                  </a:lnTo>
                  <a:lnTo>
                    <a:pt x="8" y="47"/>
                  </a:lnTo>
                  <a:lnTo>
                    <a:pt x="6" y="41"/>
                  </a:lnTo>
                  <a:lnTo>
                    <a:pt x="4" y="33"/>
                  </a:lnTo>
                  <a:lnTo>
                    <a:pt x="2" y="25"/>
                  </a:lnTo>
                  <a:lnTo>
                    <a:pt x="0" y="18"/>
                  </a:lnTo>
                  <a:lnTo>
                    <a:pt x="2" y="18"/>
                  </a:lnTo>
                  <a:lnTo>
                    <a:pt x="2" y="18"/>
                  </a:lnTo>
                  <a:lnTo>
                    <a:pt x="2" y="14"/>
                  </a:lnTo>
                  <a:lnTo>
                    <a:pt x="4" y="10"/>
                  </a:lnTo>
                  <a:lnTo>
                    <a:pt x="6" y="6"/>
                  </a:lnTo>
                  <a:lnTo>
                    <a:pt x="6" y="6"/>
                  </a:lnTo>
                  <a:lnTo>
                    <a:pt x="8" y="4"/>
                  </a:lnTo>
                  <a:lnTo>
                    <a:pt x="10" y="2"/>
                  </a:lnTo>
                  <a:lnTo>
                    <a:pt x="12" y="2"/>
                  </a:lnTo>
                  <a:lnTo>
                    <a:pt x="14" y="0"/>
                  </a:lnTo>
                  <a:lnTo>
                    <a:pt x="16" y="0"/>
                  </a:lnTo>
                  <a:lnTo>
                    <a:pt x="20" y="0"/>
                  </a:lnTo>
                  <a:lnTo>
                    <a:pt x="24" y="0"/>
                  </a:lnTo>
                  <a:lnTo>
                    <a:pt x="26" y="0"/>
                  </a:lnTo>
                  <a:lnTo>
                    <a:pt x="28" y="2"/>
                  </a:lnTo>
                  <a:lnTo>
                    <a:pt x="28" y="2"/>
                  </a:lnTo>
                  <a:lnTo>
                    <a:pt x="28" y="2"/>
                  </a:lnTo>
                  <a:close/>
                </a:path>
              </a:pathLst>
            </a:custGeom>
            <a:solidFill>
              <a:schemeClr val="tx1"/>
            </a:solidFill>
            <a:ln w="3175" cap="rnd">
              <a:solidFill>
                <a:schemeClr val="bg1"/>
              </a:solidFill>
              <a:prstDash val="solid"/>
              <a:round/>
              <a:headEnd/>
              <a:tailEnd/>
            </a:ln>
          </p:spPr>
          <p:txBody>
            <a:bodyPr vert="horz" wrap="square" lIns="0" tIns="19200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 b="0" i="0" u="none" strike="noStrike" kern="1200" cap="none" spc="0" normalizeH="0" baseline="0" noProof="0">
                  <a:ln>
                    <a:noFill/>
                  </a:ln>
                  <a:solidFill>
                    <a:schemeClr val="bg1"/>
                  </a:solidFill>
                  <a:effectLst/>
                  <a:uLnTx/>
                  <a:uFillTx/>
                  <a:latin typeface="Arial" panose="020B0604020202020204" pitchFamily="34" charset="0"/>
                  <a:ea typeface="+mn-ea"/>
                  <a:cs typeface="+mn-cs"/>
                </a:rPr>
                <a:t>DE</a:t>
              </a:r>
            </a:p>
          </p:txBody>
        </p:sp>
        <p:sp>
          <p:nvSpPr>
            <p:cNvPr id="337" name="Freeform 48">
              <a:extLst>
                <a:ext uri="{FF2B5EF4-FFF2-40B4-BE49-F238E27FC236}">
                  <a16:creationId xmlns:a16="http://schemas.microsoft.com/office/drawing/2014/main" id="{9697534F-AC55-38AB-9E68-ACB385B1F2E0}"/>
                </a:ext>
              </a:extLst>
            </p:cNvPr>
            <p:cNvSpPr>
              <a:spLocks/>
            </p:cNvSpPr>
            <p:nvPr/>
          </p:nvSpPr>
          <p:spPr bwMode="auto">
            <a:xfrm>
              <a:off x="4658" y="1027"/>
              <a:ext cx="16" cy="20"/>
            </a:xfrm>
            <a:custGeom>
              <a:avLst/>
              <a:gdLst>
                <a:gd name="T0" fmla="*/ 12 w 16"/>
                <a:gd name="T1" fmla="*/ 20 h 20"/>
                <a:gd name="T2" fmla="*/ 10 w 16"/>
                <a:gd name="T3" fmla="*/ 18 h 20"/>
                <a:gd name="T4" fmla="*/ 10 w 16"/>
                <a:gd name="T5" fmla="*/ 12 h 20"/>
                <a:gd name="T6" fmla="*/ 6 w 16"/>
                <a:gd name="T7" fmla="*/ 10 h 20"/>
                <a:gd name="T8" fmla="*/ 6 w 16"/>
                <a:gd name="T9" fmla="*/ 10 h 20"/>
                <a:gd name="T10" fmla="*/ 4 w 16"/>
                <a:gd name="T11" fmla="*/ 10 h 20"/>
                <a:gd name="T12" fmla="*/ 2 w 16"/>
                <a:gd name="T13" fmla="*/ 8 h 20"/>
                <a:gd name="T14" fmla="*/ 0 w 16"/>
                <a:gd name="T15" fmla="*/ 8 h 20"/>
                <a:gd name="T16" fmla="*/ 6 w 16"/>
                <a:gd name="T17" fmla="*/ 0 h 20"/>
                <a:gd name="T18" fmla="*/ 16 w 16"/>
                <a:gd name="T19" fmla="*/ 10 h 20"/>
                <a:gd name="T20" fmla="*/ 12 w 16"/>
                <a:gd name="T21" fmla="*/ 20 h 20"/>
                <a:gd name="T22" fmla="*/ 12 w 16"/>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0">
                  <a:moveTo>
                    <a:pt x="12" y="20"/>
                  </a:moveTo>
                  <a:lnTo>
                    <a:pt x="10" y="18"/>
                  </a:lnTo>
                  <a:lnTo>
                    <a:pt x="10" y="12"/>
                  </a:lnTo>
                  <a:lnTo>
                    <a:pt x="6" y="10"/>
                  </a:lnTo>
                  <a:lnTo>
                    <a:pt x="6" y="10"/>
                  </a:lnTo>
                  <a:lnTo>
                    <a:pt x="4" y="10"/>
                  </a:lnTo>
                  <a:lnTo>
                    <a:pt x="2" y="8"/>
                  </a:lnTo>
                  <a:lnTo>
                    <a:pt x="0" y="8"/>
                  </a:lnTo>
                  <a:lnTo>
                    <a:pt x="6" y="0"/>
                  </a:lnTo>
                  <a:lnTo>
                    <a:pt x="16" y="10"/>
                  </a:lnTo>
                  <a:lnTo>
                    <a:pt x="12" y="20"/>
                  </a:lnTo>
                  <a:lnTo>
                    <a:pt x="12" y="20"/>
                  </a:lnTo>
                  <a:close/>
                </a:path>
              </a:pathLst>
            </a:custGeom>
            <a:solidFill>
              <a:srgbClr val="FFFFFF"/>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38" name="Freeform 49">
              <a:extLst>
                <a:ext uri="{FF2B5EF4-FFF2-40B4-BE49-F238E27FC236}">
                  <a16:creationId xmlns:a16="http://schemas.microsoft.com/office/drawing/2014/main" id="{4AE03E2A-A1EC-9C36-F4B7-B5A3D7510222}"/>
                </a:ext>
              </a:extLst>
            </p:cNvPr>
            <p:cNvSpPr>
              <a:spLocks/>
            </p:cNvSpPr>
            <p:nvPr/>
          </p:nvSpPr>
          <p:spPr bwMode="auto">
            <a:xfrm>
              <a:off x="4881" y="615"/>
              <a:ext cx="149" cy="141"/>
            </a:xfrm>
            <a:custGeom>
              <a:avLst/>
              <a:gdLst>
                <a:gd name="T0" fmla="*/ 139 w 149"/>
                <a:gd name="T1" fmla="*/ 18 h 141"/>
                <a:gd name="T2" fmla="*/ 145 w 149"/>
                <a:gd name="T3" fmla="*/ 41 h 141"/>
                <a:gd name="T4" fmla="*/ 149 w 149"/>
                <a:gd name="T5" fmla="*/ 61 h 141"/>
                <a:gd name="T6" fmla="*/ 149 w 149"/>
                <a:gd name="T7" fmla="*/ 70 h 141"/>
                <a:gd name="T8" fmla="*/ 147 w 149"/>
                <a:gd name="T9" fmla="*/ 72 h 141"/>
                <a:gd name="T10" fmla="*/ 143 w 149"/>
                <a:gd name="T11" fmla="*/ 70 h 141"/>
                <a:gd name="T12" fmla="*/ 129 w 149"/>
                <a:gd name="T13" fmla="*/ 74 h 141"/>
                <a:gd name="T14" fmla="*/ 127 w 149"/>
                <a:gd name="T15" fmla="*/ 80 h 141"/>
                <a:gd name="T16" fmla="*/ 119 w 149"/>
                <a:gd name="T17" fmla="*/ 82 h 141"/>
                <a:gd name="T18" fmla="*/ 110 w 149"/>
                <a:gd name="T19" fmla="*/ 84 h 141"/>
                <a:gd name="T20" fmla="*/ 108 w 149"/>
                <a:gd name="T21" fmla="*/ 82 h 141"/>
                <a:gd name="T22" fmla="*/ 106 w 149"/>
                <a:gd name="T23" fmla="*/ 78 h 141"/>
                <a:gd name="T24" fmla="*/ 108 w 149"/>
                <a:gd name="T25" fmla="*/ 82 h 141"/>
                <a:gd name="T26" fmla="*/ 108 w 149"/>
                <a:gd name="T27" fmla="*/ 88 h 141"/>
                <a:gd name="T28" fmla="*/ 100 w 149"/>
                <a:gd name="T29" fmla="*/ 90 h 141"/>
                <a:gd name="T30" fmla="*/ 96 w 149"/>
                <a:gd name="T31" fmla="*/ 92 h 141"/>
                <a:gd name="T32" fmla="*/ 94 w 149"/>
                <a:gd name="T33" fmla="*/ 92 h 141"/>
                <a:gd name="T34" fmla="*/ 84 w 149"/>
                <a:gd name="T35" fmla="*/ 94 h 141"/>
                <a:gd name="T36" fmla="*/ 82 w 149"/>
                <a:gd name="T37" fmla="*/ 96 h 141"/>
                <a:gd name="T38" fmla="*/ 76 w 149"/>
                <a:gd name="T39" fmla="*/ 96 h 141"/>
                <a:gd name="T40" fmla="*/ 72 w 149"/>
                <a:gd name="T41" fmla="*/ 98 h 141"/>
                <a:gd name="T42" fmla="*/ 65 w 149"/>
                <a:gd name="T43" fmla="*/ 96 h 141"/>
                <a:gd name="T44" fmla="*/ 63 w 149"/>
                <a:gd name="T45" fmla="*/ 98 h 141"/>
                <a:gd name="T46" fmla="*/ 57 w 149"/>
                <a:gd name="T47" fmla="*/ 106 h 141"/>
                <a:gd name="T48" fmla="*/ 53 w 149"/>
                <a:gd name="T49" fmla="*/ 111 h 141"/>
                <a:gd name="T50" fmla="*/ 51 w 149"/>
                <a:gd name="T51" fmla="*/ 113 h 141"/>
                <a:gd name="T52" fmla="*/ 47 w 149"/>
                <a:gd name="T53" fmla="*/ 115 h 141"/>
                <a:gd name="T54" fmla="*/ 43 w 149"/>
                <a:gd name="T55" fmla="*/ 117 h 141"/>
                <a:gd name="T56" fmla="*/ 43 w 149"/>
                <a:gd name="T57" fmla="*/ 117 h 141"/>
                <a:gd name="T58" fmla="*/ 41 w 149"/>
                <a:gd name="T59" fmla="*/ 119 h 141"/>
                <a:gd name="T60" fmla="*/ 39 w 149"/>
                <a:gd name="T61" fmla="*/ 121 h 141"/>
                <a:gd name="T62" fmla="*/ 35 w 149"/>
                <a:gd name="T63" fmla="*/ 123 h 141"/>
                <a:gd name="T64" fmla="*/ 33 w 149"/>
                <a:gd name="T65" fmla="*/ 127 h 141"/>
                <a:gd name="T66" fmla="*/ 24 w 149"/>
                <a:gd name="T67" fmla="*/ 133 h 141"/>
                <a:gd name="T68" fmla="*/ 20 w 149"/>
                <a:gd name="T69" fmla="*/ 137 h 141"/>
                <a:gd name="T70" fmla="*/ 14 w 149"/>
                <a:gd name="T71" fmla="*/ 137 h 141"/>
                <a:gd name="T72" fmla="*/ 12 w 149"/>
                <a:gd name="T73" fmla="*/ 139 h 141"/>
                <a:gd name="T74" fmla="*/ 10 w 149"/>
                <a:gd name="T75" fmla="*/ 139 h 141"/>
                <a:gd name="T76" fmla="*/ 4 w 149"/>
                <a:gd name="T77" fmla="*/ 133 h 141"/>
                <a:gd name="T78" fmla="*/ 16 w 149"/>
                <a:gd name="T79" fmla="*/ 121 h 141"/>
                <a:gd name="T80" fmla="*/ 16 w 149"/>
                <a:gd name="T81" fmla="*/ 113 h 141"/>
                <a:gd name="T82" fmla="*/ 12 w 149"/>
                <a:gd name="T83" fmla="*/ 102 h 141"/>
                <a:gd name="T84" fmla="*/ 8 w 149"/>
                <a:gd name="T85" fmla="*/ 82 h 141"/>
                <a:gd name="T86" fmla="*/ 6 w 149"/>
                <a:gd name="T87" fmla="*/ 63 h 141"/>
                <a:gd name="T88" fmla="*/ 2 w 149"/>
                <a:gd name="T89" fmla="*/ 45 h 141"/>
                <a:gd name="T90" fmla="*/ 10 w 149"/>
                <a:gd name="T91" fmla="*/ 27 h 141"/>
                <a:gd name="T92" fmla="*/ 45 w 149"/>
                <a:gd name="T93" fmla="*/ 20 h 141"/>
                <a:gd name="T94" fmla="*/ 57 w 149"/>
                <a:gd name="T95" fmla="*/ 20 h 141"/>
                <a:gd name="T96" fmla="*/ 72 w 149"/>
                <a:gd name="T97" fmla="*/ 14 h 141"/>
                <a:gd name="T98" fmla="*/ 90 w 149"/>
                <a:gd name="T99" fmla="*/ 10 h 141"/>
                <a:gd name="T100" fmla="*/ 133 w 149"/>
                <a:gd name="T10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 h="141">
                  <a:moveTo>
                    <a:pt x="133" y="0"/>
                  </a:moveTo>
                  <a:lnTo>
                    <a:pt x="135" y="6"/>
                  </a:lnTo>
                  <a:lnTo>
                    <a:pt x="137" y="12"/>
                  </a:lnTo>
                  <a:lnTo>
                    <a:pt x="139" y="18"/>
                  </a:lnTo>
                  <a:lnTo>
                    <a:pt x="141" y="24"/>
                  </a:lnTo>
                  <a:lnTo>
                    <a:pt x="141" y="31"/>
                  </a:lnTo>
                  <a:lnTo>
                    <a:pt x="143" y="37"/>
                  </a:lnTo>
                  <a:lnTo>
                    <a:pt x="145" y="41"/>
                  </a:lnTo>
                  <a:lnTo>
                    <a:pt x="147" y="47"/>
                  </a:lnTo>
                  <a:lnTo>
                    <a:pt x="147" y="51"/>
                  </a:lnTo>
                  <a:lnTo>
                    <a:pt x="147" y="55"/>
                  </a:lnTo>
                  <a:lnTo>
                    <a:pt x="149" y="61"/>
                  </a:lnTo>
                  <a:lnTo>
                    <a:pt x="149" y="61"/>
                  </a:lnTo>
                  <a:lnTo>
                    <a:pt x="147" y="63"/>
                  </a:lnTo>
                  <a:lnTo>
                    <a:pt x="147" y="65"/>
                  </a:lnTo>
                  <a:lnTo>
                    <a:pt x="149" y="70"/>
                  </a:lnTo>
                  <a:lnTo>
                    <a:pt x="149" y="72"/>
                  </a:lnTo>
                  <a:lnTo>
                    <a:pt x="147" y="74"/>
                  </a:lnTo>
                  <a:lnTo>
                    <a:pt x="145" y="72"/>
                  </a:lnTo>
                  <a:lnTo>
                    <a:pt x="147" y="72"/>
                  </a:lnTo>
                  <a:lnTo>
                    <a:pt x="147" y="72"/>
                  </a:lnTo>
                  <a:lnTo>
                    <a:pt x="145" y="72"/>
                  </a:lnTo>
                  <a:lnTo>
                    <a:pt x="145" y="70"/>
                  </a:lnTo>
                  <a:lnTo>
                    <a:pt x="143" y="70"/>
                  </a:lnTo>
                  <a:lnTo>
                    <a:pt x="139" y="72"/>
                  </a:lnTo>
                  <a:lnTo>
                    <a:pt x="137" y="72"/>
                  </a:lnTo>
                  <a:lnTo>
                    <a:pt x="133" y="76"/>
                  </a:lnTo>
                  <a:lnTo>
                    <a:pt x="129" y="74"/>
                  </a:lnTo>
                  <a:lnTo>
                    <a:pt x="129" y="76"/>
                  </a:lnTo>
                  <a:lnTo>
                    <a:pt x="129" y="78"/>
                  </a:lnTo>
                  <a:lnTo>
                    <a:pt x="129" y="78"/>
                  </a:lnTo>
                  <a:lnTo>
                    <a:pt x="127" y="80"/>
                  </a:lnTo>
                  <a:lnTo>
                    <a:pt x="123" y="78"/>
                  </a:lnTo>
                  <a:lnTo>
                    <a:pt x="121" y="80"/>
                  </a:lnTo>
                  <a:lnTo>
                    <a:pt x="121" y="82"/>
                  </a:lnTo>
                  <a:lnTo>
                    <a:pt x="119" y="82"/>
                  </a:lnTo>
                  <a:lnTo>
                    <a:pt x="115" y="86"/>
                  </a:lnTo>
                  <a:lnTo>
                    <a:pt x="113" y="84"/>
                  </a:lnTo>
                  <a:lnTo>
                    <a:pt x="110" y="84"/>
                  </a:lnTo>
                  <a:lnTo>
                    <a:pt x="110" y="84"/>
                  </a:lnTo>
                  <a:lnTo>
                    <a:pt x="108" y="84"/>
                  </a:lnTo>
                  <a:lnTo>
                    <a:pt x="108" y="84"/>
                  </a:lnTo>
                  <a:lnTo>
                    <a:pt x="108" y="82"/>
                  </a:lnTo>
                  <a:lnTo>
                    <a:pt x="108" y="82"/>
                  </a:lnTo>
                  <a:lnTo>
                    <a:pt x="108" y="80"/>
                  </a:lnTo>
                  <a:lnTo>
                    <a:pt x="108" y="80"/>
                  </a:lnTo>
                  <a:lnTo>
                    <a:pt x="106" y="80"/>
                  </a:lnTo>
                  <a:lnTo>
                    <a:pt x="106" y="78"/>
                  </a:lnTo>
                  <a:lnTo>
                    <a:pt x="104" y="78"/>
                  </a:lnTo>
                  <a:lnTo>
                    <a:pt x="104" y="80"/>
                  </a:lnTo>
                  <a:lnTo>
                    <a:pt x="106" y="82"/>
                  </a:lnTo>
                  <a:lnTo>
                    <a:pt x="108" y="82"/>
                  </a:lnTo>
                  <a:lnTo>
                    <a:pt x="108" y="86"/>
                  </a:lnTo>
                  <a:lnTo>
                    <a:pt x="108" y="86"/>
                  </a:lnTo>
                  <a:lnTo>
                    <a:pt x="108" y="86"/>
                  </a:lnTo>
                  <a:lnTo>
                    <a:pt x="108" y="88"/>
                  </a:lnTo>
                  <a:lnTo>
                    <a:pt x="106" y="88"/>
                  </a:lnTo>
                  <a:lnTo>
                    <a:pt x="102" y="88"/>
                  </a:lnTo>
                  <a:lnTo>
                    <a:pt x="100" y="88"/>
                  </a:lnTo>
                  <a:lnTo>
                    <a:pt x="100" y="90"/>
                  </a:lnTo>
                  <a:lnTo>
                    <a:pt x="98" y="90"/>
                  </a:lnTo>
                  <a:lnTo>
                    <a:pt x="98" y="92"/>
                  </a:lnTo>
                  <a:lnTo>
                    <a:pt x="96" y="92"/>
                  </a:lnTo>
                  <a:lnTo>
                    <a:pt x="96" y="92"/>
                  </a:lnTo>
                  <a:lnTo>
                    <a:pt x="96" y="92"/>
                  </a:lnTo>
                  <a:lnTo>
                    <a:pt x="96" y="92"/>
                  </a:lnTo>
                  <a:lnTo>
                    <a:pt x="96" y="92"/>
                  </a:lnTo>
                  <a:lnTo>
                    <a:pt x="94" y="92"/>
                  </a:lnTo>
                  <a:lnTo>
                    <a:pt x="92" y="92"/>
                  </a:lnTo>
                  <a:lnTo>
                    <a:pt x="90" y="92"/>
                  </a:lnTo>
                  <a:lnTo>
                    <a:pt x="84" y="94"/>
                  </a:lnTo>
                  <a:lnTo>
                    <a:pt x="84" y="94"/>
                  </a:lnTo>
                  <a:lnTo>
                    <a:pt x="84" y="96"/>
                  </a:lnTo>
                  <a:lnTo>
                    <a:pt x="84" y="96"/>
                  </a:lnTo>
                  <a:lnTo>
                    <a:pt x="82" y="96"/>
                  </a:lnTo>
                  <a:lnTo>
                    <a:pt x="82" y="96"/>
                  </a:lnTo>
                  <a:lnTo>
                    <a:pt x="80" y="96"/>
                  </a:lnTo>
                  <a:lnTo>
                    <a:pt x="80" y="96"/>
                  </a:lnTo>
                  <a:lnTo>
                    <a:pt x="78" y="96"/>
                  </a:lnTo>
                  <a:lnTo>
                    <a:pt x="76" y="96"/>
                  </a:lnTo>
                  <a:lnTo>
                    <a:pt x="76" y="96"/>
                  </a:lnTo>
                  <a:lnTo>
                    <a:pt x="74" y="98"/>
                  </a:lnTo>
                  <a:lnTo>
                    <a:pt x="74" y="98"/>
                  </a:lnTo>
                  <a:lnTo>
                    <a:pt x="72" y="98"/>
                  </a:lnTo>
                  <a:lnTo>
                    <a:pt x="67" y="100"/>
                  </a:lnTo>
                  <a:lnTo>
                    <a:pt x="65" y="98"/>
                  </a:lnTo>
                  <a:lnTo>
                    <a:pt x="65" y="98"/>
                  </a:lnTo>
                  <a:lnTo>
                    <a:pt x="65" y="96"/>
                  </a:lnTo>
                  <a:lnTo>
                    <a:pt x="63" y="96"/>
                  </a:lnTo>
                  <a:lnTo>
                    <a:pt x="63" y="96"/>
                  </a:lnTo>
                  <a:lnTo>
                    <a:pt x="63" y="98"/>
                  </a:lnTo>
                  <a:lnTo>
                    <a:pt x="63" y="98"/>
                  </a:lnTo>
                  <a:lnTo>
                    <a:pt x="61" y="102"/>
                  </a:lnTo>
                  <a:lnTo>
                    <a:pt x="59" y="104"/>
                  </a:lnTo>
                  <a:lnTo>
                    <a:pt x="59" y="106"/>
                  </a:lnTo>
                  <a:lnTo>
                    <a:pt x="57" y="106"/>
                  </a:lnTo>
                  <a:lnTo>
                    <a:pt x="55" y="106"/>
                  </a:lnTo>
                  <a:lnTo>
                    <a:pt x="55" y="108"/>
                  </a:lnTo>
                  <a:lnTo>
                    <a:pt x="55" y="108"/>
                  </a:lnTo>
                  <a:lnTo>
                    <a:pt x="53" y="111"/>
                  </a:lnTo>
                  <a:lnTo>
                    <a:pt x="53" y="111"/>
                  </a:lnTo>
                  <a:lnTo>
                    <a:pt x="51" y="113"/>
                  </a:lnTo>
                  <a:lnTo>
                    <a:pt x="51" y="113"/>
                  </a:lnTo>
                  <a:lnTo>
                    <a:pt x="51" y="113"/>
                  </a:lnTo>
                  <a:lnTo>
                    <a:pt x="51" y="115"/>
                  </a:lnTo>
                  <a:lnTo>
                    <a:pt x="49" y="115"/>
                  </a:lnTo>
                  <a:lnTo>
                    <a:pt x="49" y="115"/>
                  </a:lnTo>
                  <a:lnTo>
                    <a:pt x="47" y="115"/>
                  </a:lnTo>
                  <a:lnTo>
                    <a:pt x="47" y="113"/>
                  </a:lnTo>
                  <a:lnTo>
                    <a:pt x="47" y="115"/>
                  </a:lnTo>
                  <a:lnTo>
                    <a:pt x="45" y="117"/>
                  </a:lnTo>
                  <a:lnTo>
                    <a:pt x="43" y="117"/>
                  </a:lnTo>
                  <a:lnTo>
                    <a:pt x="43" y="117"/>
                  </a:lnTo>
                  <a:lnTo>
                    <a:pt x="43" y="117"/>
                  </a:lnTo>
                  <a:lnTo>
                    <a:pt x="43" y="117"/>
                  </a:lnTo>
                  <a:lnTo>
                    <a:pt x="43" y="117"/>
                  </a:lnTo>
                  <a:lnTo>
                    <a:pt x="43" y="117"/>
                  </a:lnTo>
                  <a:lnTo>
                    <a:pt x="43" y="117"/>
                  </a:lnTo>
                  <a:lnTo>
                    <a:pt x="43" y="119"/>
                  </a:lnTo>
                  <a:lnTo>
                    <a:pt x="41" y="119"/>
                  </a:lnTo>
                  <a:lnTo>
                    <a:pt x="41" y="121"/>
                  </a:lnTo>
                  <a:lnTo>
                    <a:pt x="41" y="121"/>
                  </a:lnTo>
                  <a:lnTo>
                    <a:pt x="39" y="121"/>
                  </a:lnTo>
                  <a:lnTo>
                    <a:pt x="39" y="121"/>
                  </a:lnTo>
                  <a:lnTo>
                    <a:pt x="37" y="121"/>
                  </a:lnTo>
                  <a:lnTo>
                    <a:pt x="37" y="121"/>
                  </a:lnTo>
                  <a:lnTo>
                    <a:pt x="37" y="123"/>
                  </a:lnTo>
                  <a:lnTo>
                    <a:pt x="35" y="123"/>
                  </a:lnTo>
                  <a:lnTo>
                    <a:pt x="35" y="123"/>
                  </a:lnTo>
                  <a:lnTo>
                    <a:pt x="33" y="125"/>
                  </a:lnTo>
                  <a:lnTo>
                    <a:pt x="33" y="125"/>
                  </a:lnTo>
                  <a:lnTo>
                    <a:pt x="33" y="127"/>
                  </a:lnTo>
                  <a:lnTo>
                    <a:pt x="29" y="129"/>
                  </a:lnTo>
                  <a:lnTo>
                    <a:pt x="29" y="129"/>
                  </a:lnTo>
                  <a:lnTo>
                    <a:pt x="24" y="133"/>
                  </a:lnTo>
                  <a:lnTo>
                    <a:pt x="24" y="133"/>
                  </a:lnTo>
                  <a:lnTo>
                    <a:pt x="22" y="133"/>
                  </a:lnTo>
                  <a:lnTo>
                    <a:pt x="22" y="135"/>
                  </a:lnTo>
                  <a:lnTo>
                    <a:pt x="20" y="135"/>
                  </a:lnTo>
                  <a:lnTo>
                    <a:pt x="20" y="137"/>
                  </a:lnTo>
                  <a:lnTo>
                    <a:pt x="18" y="137"/>
                  </a:lnTo>
                  <a:lnTo>
                    <a:pt x="18" y="139"/>
                  </a:lnTo>
                  <a:lnTo>
                    <a:pt x="16" y="137"/>
                  </a:lnTo>
                  <a:lnTo>
                    <a:pt x="14" y="137"/>
                  </a:lnTo>
                  <a:lnTo>
                    <a:pt x="14" y="139"/>
                  </a:lnTo>
                  <a:lnTo>
                    <a:pt x="14" y="139"/>
                  </a:lnTo>
                  <a:lnTo>
                    <a:pt x="12" y="141"/>
                  </a:lnTo>
                  <a:lnTo>
                    <a:pt x="12" y="139"/>
                  </a:lnTo>
                  <a:lnTo>
                    <a:pt x="12" y="139"/>
                  </a:lnTo>
                  <a:lnTo>
                    <a:pt x="10" y="139"/>
                  </a:lnTo>
                  <a:lnTo>
                    <a:pt x="10" y="139"/>
                  </a:lnTo>
                  <a:lnTo>
                    <a:pt x="10" y="139"/>
                  </a:lnTo>
                  <a:lnTo>
                    <a:pt x="10" y="137"/>
                  </a:lnTo>
                  <a:lnTo>
                    <a:pt x="8" y="135"/>
                  </a:lnTo>
                  <a:lnTo>
                    <a:pt x="4" y="133"/>
                  </a:lnTo>
                  <a:lnTo>
                    <a:pt x="4" y="133"/>
                  </a:lnTo>
                  <a:lnTo>
                    <a:pt x="4" y="131"/>
                  </a:lnTo>
                  <a:lnTo>
                    <a:pt x="8" y="129"/>
                  </a:lnTo>
                  <a:lnTo>
                    <a:pt x="12" y="125"/>
                  </a:lnTo>
                  <a:lnTo>
                    <a:pt x="16" y="121"/>
                  </a:lnTo>
                  <a:lnTo>
                    <a:pt x="18" y="117"/>
                  </a:lnTo>
                  <a:lnTo>
                    <a:pt x="20" y="117"/>
                  </a:lnTo>
                  <a:lnTo>
                    <a:pt x="18" y="115"/>
                  </a:lnTo>
                  <a:lnTo>
                    <a:pt x="16" y="113"/>
                  </a:lnTo>
                  <a:lnTo>
                    <a:pt x="16" y="111"/>
                  </a:lnTo>
                  <a:lnTo>
                    <a:pt x="14" y="108"/>
                  </a:lnTo>
                  <a:lnTo>
                    <a:pt x="12" y="106"/>
                  </a:lnTo>
                  <a:lnTo>
                    <a:pt x="12" y="102"/>
                  </a:lnTo>
                  <a:lnTo>
                    <a:pt x="12" y="98"/>
                  </a:lnTo>
                  <a:lnTo>
                    <a:pt x="10" y="92"/>
                  </a:lnTo>
                  <a:lnTo>
                    <a:pt x="10" y="88"/>
                  </a:lnTo>
                  <a:lnTo>
                    <a:pt x="8" y="82"/>
                  </a:lnTo>
                  <a:lnTo>
                    <a:pt x="8" y="78"/>
                  </a:lnTo>
                  <a:lnTo>
                    <a:pt x="8" y="74"/>
                  </a:lnTo>
                  <a:lnTo>
                    <a:pt x="6" y="67"/>
                  </a:lnTo>
                  <a:lnTo>
                    <a:pt x="6" y="63"/>
                  </a:lnTo>
                  <a:lnTo>
                    <a:pt x="4" y="59"/>
                  </a:lnTo>
                  <a:lnTo>
                    <a:pt x="4" y="53"/>
                  </a:lnTo>
                  <a:lnTo>
                    <a:pt x="2" y="49"/>
                  </a:lnTo>
                  <a:lnTo>
                    <a:pt x="2" y="45"/>
                  </a:lnTo>
                  <a:lnTo>
                    <a:pt x="2" y="39"/>
                  </a:lnTo>
                  <a:lnTo>
                    <a:pt x="0" y="35"/>
                  </a:lnTo>
                  <a:lnTo>
                    <a:pt x="0" y="29"/>
                  </a:lnTo>
                  <a:lnTo>
                    <a:pt x="10" y="27"/>
                  </a:lnTo>
                  <a:lnTo>
                    <a:pt x="18" y="24"/>
                  </a:lnTo>
                  <a:lnTo>
                    <a:pt x="29" y="22"/>
                  </a:lnTo>
                  <a:lnTo>
                    <a:pt x="39" y="20"/>
                  </a:lnTo>
                  <a:lnTo>
                    <a:pt x="45" y="20"/>
                  </a:lnTo>
                  <a:lnTo>
                    <a:pt x="49" y="18"/>
                  </a:lnTo>
                  <a:lnTo>
                    <a:pt x="53" y="18"/>
                  </a:lnTo>
                  <a:lnTo>
                    <a:pt x="55" y="20"/>
                  </a:lnTo>
                  <a:lnTo>
                    <a:pt x="57" y="20"/>
                  </a:lnTo>
                  <a:lnTo>
                    <a:pt x="57" y="18"/>
                  </a:lnTo>
                  <a:lnTo>
                    <a:pt x="67" y="14"/>
                  </a:lnTo>
                  <a:lnTo>
                    <a:pt x="70" y="14"/>
                  </a:lnTo>
                  <a:lnTo>
                    <a:pt x="72" y="14"/>
                  </a:lnTo>
                  <a:lnTo>
                    <a:pt x="72" y="14"/>
                  </a:lnTo>
                  <a:lnTo>
                    <a:pt x="74" y="14"/>
                  </a:lnTo>
                  <a:lnTo>
                    <a:pt x="78" y="12"/>
                  </a:lnTo>
                  <a:lnTo>
                    <a:pt x="90" y="10"/>
                  </a:lnTo>
                  <a:lnTo>
                    <a:pt x="100" y="6"/>
                  </a:lnTo>
                  <a:lnTo>
                    <a:pt x="113" y="4"/>
                  </a:lnTo>
                  <a:lnTo>
                    <a:pt x="125" y="2"/>
                  </a:lnTo>
                  <a:lnTo>
                    <a:pt x="133" y="0"/>
                  </a:lnTo>
                  <a:lnTo>
                    <a:pt x="133" y="0"/>
                  </a:lnTo>
                  <a:lnTo>
                    <a:pt x="133" y="0"/>
                  </a:lnTo>
                  <a:close/>
                </a:path>
              </a:pathLst>
            </a:custGeom>
            <a:solidFill>
              <a:schemeClr val="tx1"/>
            </a:solidFill>
            <a:ln w="3175" cap="rnd">
              <a:solidFill>
                <a:schemeClr val="bg1"/>
              </a:solidFill>
              <a:prstDash val="solid"/>
              <a:round/>
              <a:headEnd/>
              <a:tailEnd/>
            </a:ln>
          </p:spPr>
          <p:txBody>
            <a:bodyPr vert="horz" wrap="square" lIns="0" tIns="0" rIns="0" bIns="48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CT</a:t>
              </a:r>
            </a:p>
          </p:txBody>
        </p:sp>
        <p:sp>
          <p:nvSpPr>
            <p:cNvPr id="339" name="Freeform 50">
              <a:extLst>
                <a:ext uri="{FF2B5EF4-FFF2-40B4-BE49-F238E27FC236}">
                  <a16:creationId xmlns:a16="http://schemas.microsoft.com/office/drawing/2014/main" id="{160966A2-1B31-6F2D-821A-6CD0044BA1EF}"/>
                </a:ext>
              </a:extLst>
            </p:cNvPr>
            <p:cNvSpPr>
              <a:spLocks/>
            </p:cNvSpPr>
            <p:nvPr/>
          </p:nvSpPr>
          <p:spPr bwMode="auto">
            <a:xfrm>
              <a:off x="1943" y="986"/>
              <a:ext cx="614" cy="457"/>
            </a:xfrm>
            <a:custGeom>
              <a:avLst/>
              <a:gdLst>
                <a:gd name="T0" fmla="*/ 612 w 614"/>
                <a:gd name="T1" fmla="*/ 153 h 457"/>
                <a:gd name="T2" fmla="*/ 612 w 614"/>
                <a:gd name="T3" fmla="*/ 184 h 457"/>
                <a:gd name="T4" fmla="*/ 612 w 614"/>
                <a:gd name="T5" fmla="*/ 215 h 457"/>
                <a:gd name="T6" fmla="*/ 612 w 614"/>
                <a:gd name="T7" fmla="*/ 246 h 457"/>
                <a:gd name="T8" fmla="*/ 610 w 614"/>
                <a:gd name="T9" fmla="*/ 274 h 457"/>
                <a:gd name="T10" fmla="*/ 610 w 614"/>
                <a:gd name="T11" fmla="*/ 305 h 457"/>
                <a:gd name="T12" fmla="*/ 610 w 614"/>
                <a:gd name="T13" fmla="*/ 336 h 457"/>
                <a:gd name="T14" fmla="*/ 610 w 614"/>
                <a:gd name="T15" fmla="*/ 365 h 457"/>
                <a:gd name="T16" fmla="*/ 608 w 614"/>
                <a:gd name="T17" fmla="*/ 395 h 457"/>
                <a:gd name="T18" fmla="*/ 608 w 614"/>
                <a:gd name="T19" fmla="*/ 426 h 457"/>
                <a:gd name="T20" fmla="*/ 608 w 614"/>
                <a:gd name="T21" fmla="*/ 457 h 457"/>
                <a:gd name="T22" fmla="*/ 576 w 614"/>
                <a:gd name="T23" fmla="*/ 455 h 457"/>
                <a:gd name="T24" fmla="*/ 545 w 614"/>
                <a:gd name="T25" fmla="*/ 455 h 457"/>
                <a:gd name="T26" fmla="*/ 506 w 614"/>
                <a:gd name="T27" fmla="*/ 453 h 457"/>
                <a:gd name="T28" fmla="*/ 457 w 614"/>
                <a:gd name="T29" fmla="*/ 453 h 457"/>
                <a:gd name="T30" fmla="*/ 408 w 614"/>
                <a:gd name="T31" fmla="*/ 451 h 457"/>
                <a:gd name="T32" fmla="*/ 358 w 614"/>
                <a:gd name="T33" fmla="*/ 449 h 457"/>
                <a:gd name="T34" fmla="*/ 309 w 614"/>
                <a:gd name="T35" fmla="*/ 447 h 457"/>
                <a:gd name="T36" fmla="*/ 260 w 614"/>
                <a:gd name="T37" fmla="*/ 442 h 457"/>
                <a:gd name="T38" fmla="*/ 211 w 614"/>
                <a:gd name="T39" fmla="*/ 440 h 457"/>
                <a:gd name="T40" fmla="*/ 162 w 614"/>
                <a:gd name="T41" fmla="*/ 438 h 457"/>
                <a:gd name="T42" fmla="*/ 113 w 614"/>
                <a:gd name="T43" fmla="*/ 434 h 457"/>
                <a:gd name="T44" fmla="*/ 66 w 614"/>
                <a:gd name="T45" fmla="*/ 430 h 457"/>
                <a:gd name="T46" fmla="*/ 16 w 614"/>
                <a:gd name="T47" fmla="*/ 426 h 457"/>
                <a:gd name="T48" fmla="*/ 2 w 614"/>
                <a:gd name="T49" fmla="*/ 399 h 457"/>
                <a:gd name="T50" fmla="*/ 4 w 614"/>
                <a:gd name="T51" fmla="*/ 358 h 457"/>
                <a:gd name="T52" fmla="*/ 8 w 614"/>
                <a:gd name="T53" fmla="*/ 319 h 457"/>
                <a:gd name="T54" fmla="*/ 10 w 614"/>
                <a:gd name="T55" fmla="*/ 278 h 457"/>
                <a:gd name="T56" fmla="*/ 14 w 614"/>
                <a:gd name="T57" fmla="*/ 238 h 457"/>
                <a:gd name="T58" fmla="*/ 19 w 614"/>
                <a:gd name="T59" fmla="*/ 199 h 457"/>
                <a:gd name="T60" fmla="*/ 21 w 614"/>
                <a:gd name="T61" fmla="*/ 158 h 457"/>
                <a:gd name="T62" fmla="*/ 25 w 614"/>
                <a:gd name="T63" fmla="*/ 119 h 457"/>
                <a:gd name="T64" fmla="*/ 27 w 614"/>
                <a:gd name="T65" fmla="*/ 78 h 457"/>
                <a:gd name="T66" fmla="*/ 31 w 614"/>
                <a:gd name="T67" fmla="*/ 39 h 457"/>
                <a:gd name="T68" fmla="*/ 35 w 614"/>
                <a:gd name="T69" fmla="*/ 0 h 457"/>
                <a:gd name="T70" fmla="*/ 74 w 614"/>
                <a:gd name="T71" fmla="*/ 2 h 457"/>
                <a:gd name="T72" fmla="*/ 113 w 614"/>
                <a:gd name="T73" fmla="*/ 4 h 457"/>
                <a:gd name="T74" fmla="*/ 152 w 614"/>
                <a:gd name="T75" fmla="*/ 8 h 457"/>
                <a:gd name="T76" fmla="*/ 191 w 614"/>
                <a:gd name="T77" fmla="*/ 10 h 457"/>
                <a:gd name="T78" fmla="*/ 229 w 614"/>
                <a:gd name="T79" fmla="*/ 12 h 457"/>
                <a:gd name="T80" fmla="*/ 268 w 614"/>
                <a:gd name="T81" fmla="*/ 14 h 457"/>
                <a:gd name="T82" fmla="*/ 307 w 614"/>
                <a:gd name="T83" fmla="*/ 16 h 457"/>
                <a:gd name="T84" fmla="*/ 346 w 614"/>
                <a:gd name="T85" fmla="*/ 18 h 457"/>
                <a:gd name="T86" fmla="*/ 385 w 614"/>
                <a:gd name="T87" fmla="*/ 20 h 457"/>
                <a:gd name="T88" fmla="*/ 424 w 614"/>
                <a:gd name="T89" fmla="*/ 22 h 457"/>
                <a:gd name="T90" fmla="*/ 459 w 614"/>
                <a:gd name="T91" fmla="*/ 24 h 457"/>
                <a:gd name="T92" fmla="*/ 490 w 614"/>
                <a:gd name="T93" fmla="*/ 24 h 457"/>
                <a:gd name="T94" fmla="*/ 518 w 614"/>
                <a:gd name="T95" fmla="*/ 26 h 457"/>
                <a:gd name="T96" fmla="*/ 549 w 614"/>
                <a:gd name="T97" fmla="*/ 26 h 457"/>
                <a:gd name="T98" fmla="*/ 578 w 614"/>
                <a:gd name="T99" fmla="*/ 26 h 457"/>
                <a:gd name="T100" fmla="*/ 608 w 614"/>
                <a:gd name="T101" fmla="*/ 28 h 457"/>
                <a:gd name="T102" fmla="*/ 614 w 614"/>
                <a:gd name="T103" fmla="*/ 41 h 457"/>
                <a:gd name="T104" fmla="*/ 614 w 614"/>
                <a:gd name="T105" fmla="*/ 61 h 457"/>
                <a:gd name="T106" fmla="*/ 614 w 614"/>
                <a:gd name="T107" fmla="*/ 82 h 457"/>
                <a:gd name="T108" fmla="*/ 614 w 614"/>
                <a:gd name="T109" fmla="*/ 100 h 457"/>
                <a:gd name="T110" fmla="*/ 612 w 614"/>
                <a:gd name="T111" fmla="*/ 121 h 457"/>
                <a:gd name="T112" fmla="*/ 612 w 614"/>
                <a:gd name="T113" fmla="*/ 135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 h="457">
                  <a:moveTo>
                    <a:pt x="612" y="135"/>
                  </a:moveTo>
                  <a:lnTo>
                    <a:pt x="612" y="145"/>
                  </a:lnTo>
                  <a:lnTo>
                    <a:pt x="612" y="153"/>
                  </a:lnTo>
                  <a:lnTo>
                    <a:pt x="612" y="164"/>
                  </a:lnTo>
                  <a:lnTo>
                    <a:pt x="612" y="174"/>
                  </a:lnTo>
                  <a:lnTo>
                    <a:pt x="612" y="184"/>
                  </a:lnTo>
                  <a:lnTo>
                    <a:pt x="612" y="194"/>
                  </a:lnTo>
                  <a:lnTo>
                    <a:pt x="612" y="205"/>
                  </a:lnTo>
                  <a:lnTo>
                    <a:pt x="612" y="215"/>
                  </a:lnTo>
                  <a:lnTo>
                    <a:pt x="612" y="225"/>
                  </a:lnTo>
                  <a:lnTo>
                    <a:pt x="612" y="235"/>
                  </a:lnTo>
                  <a:lnTo>
                    <a:pt x="612" y="246"/>
                  </a:lnTo>
                  <a:lnTo>
                    <a:pt x="610" y="254"/>
                  </a:lnTo>
                  <a:lnTo>
                    <a:pt x="610" y="264"/>
                  </a:lnTo>
                  <a:lnTo>
                    <a:pt x="610" y="274"/>
                  </a:lnTo>
                  <a:lnTo>
                    <a:pt x="610" y="285"/>
                  </a:lnTo>
                  <a:lnTo>
                    <a:pt x="610" y="295"/>
                  </a:lnTo>
                  <a:lnTo>
                    <a:pt x="610" y="305"/>
                  </a:lnTo>
                  <a:lnTo>
                    <a:pt x="610" y="315"/>
                  </a:lnTo>
                  <a:lnTo>
                    <a:pt x="610" y="326"/>
                  </a:lnTo>
                  <a:lnTo>
                    <a:pt x="610" y="336"/>
                  </a:lnTo>
                  <a:lnTo>
                    <a:pt x="610" y="346"/>
                  </a:lnTo>
                  <a:lnTo>
                    <a:pt x="610" y="354"/>
                  </a:lnTo>
                  <a:lnTo>
                    <a:pt x="610" y="365"/>
                  </a:lnTo>
                  <a:lnTo>
                    <a:pt x="610" y="375"/>
                  </a:lnTo>
                  <a:lnTo>
                    <a:pt x="610" y="385"/>
                  </a:lnTo>
                  <a:lnTo>
                    <a:pt x="608" y="395"/>
                  </a:lnTo>
                  <a:lnTo>
                    <a:pt x="608" y="406"/>
                  </a:lnTo>
                  <a:lnTo>
                    <a:pt x="608" y="416"/>
                  </a:lnTo>
                  <a:lnTo>
                    <a:pt x="608" y="426"/>
                  </a:lnTo>
                  <a:lnTo>
                    <a:pt x="608" y="436"/>
                  </a:lnTo>
                  <a:lnTo>
                    <a:pt x="608" y="447"/>
                  </a:lnTo>
                  <a:lnTo>
                    <a:pt x="608" y="457"/>
                  </a:lnTo>
                  <a:lnTo>
                    <a:pt x="598" y="457"/>
                  </a:lnTo>
                  <a:lnTo>
                    <a:pt x="588" y="455"/>
                  </a:lnTo>
                  <a:lnTo>
                    <a:pt x="576" y="455"/>
                  </a:lnTo>
                  <a:lnTo>
                    <a:pt x="565" y="455"/>
                  </a:lnTo>
                  <a:lnTo>
                    <a:pt x="555" y="455"/>
                  </a:lnTo>
                  <a:lnTo>
                    <a:pt x="545" y="455"/>
                  </a:lnTo>
                  <a:lnTo>
                    <a:pt x="533" y="455"/>
                  </a:lnTo>
                  <a:lnTo>
                    <a:pt x="522" y="455"/>
                  </a:lnTo>
                  <a:lnTo>
                    <a:pt x="506" y="453"/>
                  </a:lnTo>
                  <a:lnTo>
                    <a:pt x="490" y="453"/>
                  </a:lnTo>
                  <a:lnTo>
                    <a:pt x="473" y="453"/>
                  </a:lnTo>
                  <a:lnTo>
                    <a:pt x="457" y="453"/>
                  </a:lnTo>
                  <a:lnTo>
                    <a:pt x="440" y="451"/>
                  </a:lnTo>
                  <a:lnTo>
                    <a:pt x="424" y="451"/>
                  </a:lnTo>
                  <a:lnTo>
                    <a:pt x="408" y="451"/>
                  </a:lnTo>
                  <a:lnTo>
                    <a:pt x="391" y="449"/>
                  </a:lnTo>
                  <a:lnTo>
                    <a:pt x="375" y="449"/>
                  </a:lnTo>
                  <a:lnTo>
                    <a:pt x="358" y="449"/>
                  </a:lnTo>
                  <a:lnTo>
                    <a:pt x="342" y="447"/>
                  </a:lnTo>
                  <a:lnTo>
                    <a:pt x="326" y="447"/>
                  </a:lnTo>
                  <a:lnTo>
                    <a:pt x="309" y="447"/>
                  </a:lnTo>
                  <a:lnTo>
                    <a:pt x="293" y="444"/>
                  </a:lnTo>
                  <a:lnTo>
                    <a:pt x="277" y="444"/>
                  </a:lnTo>
                  <a:lnTo>
                    <a:pt x="260" y="442"/>
                  </a:lnTo>
                  <a:lnTo>
                    <a:pt x="244" y="442"/>
                  </a:lnTo>
                  <a:lnTo>
                    <a:pt x="227" y="442"/>
                  </a:lnTo>
                  <a:lnTo>
                    <a:pt x="211" y="440"/>
                  </a:lnTo>
                  <a:lnTo>
                    <a:pt x="195" y="440"/>
                  </a:lnTo>
                  <a:lnTo>
                    <a:pt x="178" y="438"/>
                  </a:lnTo>
                  <a:lnTo>
                    <a:pt x="162" y="438"/>
                  </a:lnTo>
                  <a:lnTo>
                    <a:pt x="145" y="436"/>
                  </a:lnTo>
                  <a:lnTo>
                    <a:pt x="129" y="436"/>
                  </a:lnTo>
                  <a:lnTo>
                    <a:pt x="113" y="434"/>
                  </a:lnTo>
                  <a:lnTo>
                    <a:pt x="96" y="432"/>
                  </a:lnTo>
                  <a:lnTo>
                    <a:pt x="80" y="432"/>
                  </a:lnTo>
                  <a:lnTo>
                    <a:pt x="66" y="430"/>
                  </a:lnTo>
                  <a:lnTo>
                    <a:pt x="49" y="430"/>
                  </a:lnTo>
                  <a:lnTo>
                    <a:pt x="33" y="428"/>
                  </a:lnTo>
                  <a:lnTo>
                    <a:pt x="16" y="426"/>
                  </a:lnTo>
                  <a:lnTo>
                    <a:pt x="0" y="426"/>
                  </a:lnTo>
                  <a:lnTo>
                    <a:pt x="0" y="412"/>
                  </a:lnTo>
                  <a:lnTo>
                    <a:pt x="2" y="399"/>
                  </a:lnTo>
                  <a:lnTo>
                    <a:pt x="2" y="385"/>
                  </a:lnTo>
                  <a:lnTo>
                    <a:pt x="4" y="373"/>
                  </a:lnTo>
                  <a:lnTo>
                    <a:pt x="4" y="358"/>
                  </a:lnTo>
                  <a:lnTo>
                    <a:pt x="6" y="346"/>
                  </a:lnTo>
                  <a:lnTo>
                    <a:pt x="6" y="332"/>
                  </a:lnTo>
                  <a:lnTo>
                    <a:pt x="8" y="319"/>
                  </a:lnTo>
                  <a:lnTo>
                    <a:pt x="8" y="305"/>
                  </a:lnTo>
                  <a:lnTo>
                    <a:pt x="10" y="291"/>
                  </a:lnTo>
                  <a:lnTo>
                    <a:pt x="10" y="278"/>
                  </a:lnTo>
                  <a:lnTo>
                    <a:pt x="12" y="264"/>
                  </a:lnTo>
                  <a:lnTo>
                    <a:pt x="14" y="252"/>
                  </a:lnTo>
                  <a:lnTo>
                    <a:pt x="14" y="238"/>
                  </a:lnTo>
                  <a:lnTo>
                    <a:pt x="16" y="225"/>
                  </a:lnTo>
                  <a:lnTo>
                    <a:pt x="16" y="211"/>
                  </a:lnTo>
                  <a:lnTo>
                    <a:pt x="19" y="199"/>
                  </a:lnTo>
                  <a:lnTo>
                    <a:pt x="19" y="184"/>
                  </a:lnTo>
                  <a:lnTo>
                    <a:pt x="21" y="172"/>
                  </a:lnTo>
                  <a:lnTo>
                    <a:pt x="21" y="158"/>
                  </a:lnTo>
                  <a:lnTo>
                    <a:pt x="23" y="145"/>
                  </a:lnTo>
                  <a:lnTo>
                    <a:pt x="23" y="131"/>
                  </a:lnTo>
                  <a:lnTo>
                    <a:pt x="25" y="119"/>
                  </a:lnTo>
                  <a:lnTo>
                    <a:pt x="25" y="104"/>
                  </a:lnTo>
                  <a:lnTo>
                    <a:pt x="27" y="92"/>
                  </a:lnTo>
                  <a:lnTo>
                    <a:pt x="27" y="78"/>
                  </a:lnTo>
                  <a:lnTo>
                    <a:pt x="29" y="65"/>
                  </a:lnTo>
                  <a:lnTo>
                    <a:pt x="31" y="51"/>
                  </a:lnTo>
                  <a:lnTo>
                    <a:pt x="31" y="39"/>
                  </a:lnTo>
                  <a:lnTo>
                    <a:pt x="33" y="24"/>
                  </a:lnTo>
                  <a:lnTo>
                    <a:pt x="33" y="12"/>
                  </a:lnTo>
                  <a:lnTo>
                    <a:pt x="35" y="0"/>
                  </a:lnTo>
                  <a:lnTo>
                    <a:pt x="47" y="0"/>
                  </a:lnTo>
                  <a:lnTo>
                    <a:pt x="59" y="2"/>
                  </a:lnTo>
                  <a:lnTo>
                    <a:pt x="74" y="2"/>
                  </a:lnTo>
                  <a:lnTo>
                    <a:pt x="86" y="4"/>
                  </a:lnTo>
                  <a:lnTo>
                    <a:pt x="98" y="4"/>
                  </a:lnTo>
                  <a:lnTo>
                    <a:pt x="113" y="4"/>
                  </a:lnTo>
                  <a:lnTo>
                    <a:pt x="125" y="6"/>
                  </a:lnTo>
                  <a:lnTo>
                    <a:pt x="137" y="6"/>
                  </a:lnTo>
                  <a:lnTo>
                    <a:pt x="152" y="8"/>
                  </a:lnTo>
                  <a:lnTo>
                    <a:pt x="164" y="8"/>
                  </a:lnTo>
                  <a:lnTo>
                    <a:pt x="176" y="10"/>
                  </a:lnTo>
                  <a:lnTo>
                    <a:pt x="191" y="10"/>
                  </a:lnTo>
                  <a:lnTo>
                    <a:pt x="203" y="12"/>
                  </a:lnTo>
                  <a:lnTo>
                    <a:pt x="215" y="12"/>
                  </a:lnTo>
                  <a:lnTo>
                    <a:pt x="229" y="12"/>
                  </a:lnTo>
                  <a:lnTo>
                    <a:pt x="242" y="14"/>
                  </a:lnTo>
                  <a:lnTo>
                    <a:pt x="254" y="14"/>
                  </a:lnTo>
                  <a:lnTo>
                    <a:pt x="268" y="14"/>
                  </a:lnTo>
                  <a:lnTo>
                    <a:pt x="281" y="16"/>
                  </a:lnTo>
                  <a:lnTo>
                    <a:pt x="293" y="16"/>
                  </a:lnTo>
                  <a:lnTo>
                    <a:pt x="307" y="16"/>
                  </a:lnTo>
                  <a:lnTo>
                    <a:pt x="320" y="18"/>
                  </a:lnTo>
                  <a:lnTo>
                    <a:pt x="332" y="18"/>
                  </a:lnTo>
                  <a:lnTo>
                    <a:pt x="346" y="18"/>
                  </a:lnTo>
                  <a:lnTo>
                    <a:pt x="358" y="20"/>
                  </a:lnTo>
                  <a:lnTo>
                    <a:pt x="371" y="20"/>
                  </a:lnTo>
                  <a:lnTo>
                    <a:pt x="385" y="20"/>
                  </a:lnTo>
                  <a:lnTo>
                    <a:pt x="397" y="22"/>
                  </a:lnTo>
                  <a:lnTo>
                    <a:pt x="412" y="22"/>
                  </a:lnTo>
                  <a:lnTo>
                    <a:pt x="424" y="22"/>
                  </a:lnTo>
                  <a:lnTo>
                    <a:pt x="436" y="22"/>
                  </a:lnTo>
                  <a:lnTo>
                    <a:pt x="451" y="24"/>
                  </a:lnTo>
                  <a:lnTo>
                    <a:pt x="459" y="24"/>
                  </a:lnTo>
                  <a:lnTo>
                    <a:pt x="469" y="24"/>
                  </a:lnTo>
                  <a:lnTo>
                    <a:pt x="479" y="24"/>
                  </a:lnTo>
                  <a:lnTo>
                    <a:pt x="490" y="24"/>
                  </a:lnTo>
                  <a:lnTo>
                    <a:pt x="500" y="24"/>
                  </a:lnTo>
                  <a:lnTo>
                    <a:pt x="508" y="24"/>
                  </a:lnTo>
                  <a:lnTo>
                    <a:pt x="518" y="26"/>
                  </a:lnTo>
                  <a:lnTo>
                    <a:pt x="528" y="26"/>
                  </a:lnTo>
                  <a:lnTo>
                    <a:pt x="539" y="26"/>
                  </a:lnTo>
                  <a:lnTo>
                    <a:pt x="549" y="26"/>
                  </a:lnTo>
                  <a:lnTo>
                    <a:pt x="557" y="26"/>
                  </a:lnTo>
                  <a:lnTo>
                    <a:pt x="567" y="26"/>
                  </a:lnTo>
                  <a:lnTo>
                    <a:pt x="578" y="26"/>
                  </a:lnTo>
                  <a:lnTo>
                    <a:pt x="588" y="26"/>
                  </a:lnTo>
                  <a:lnTo>
                    <a:pt x="598" y="28"/>
                  </a:lnTo>
                  <a:lnTo>
                    <a:pt x="608" y="28"/>
                  </a:lnTo>
                  <a:lnTo>
                    <a:pt x="614" y="28"/>
                  </a:lnTo>
                  <a:lnTo>
                    <a:pt x="614" y="35"/>
                  </a:lnTo>
                  <a:lnTo>
                    <a:pt x="614" y="41"/>
                  </a:lnTo>
                  <a:lnTo>
                    <a:pt x="614" y="47"/>
                  </a:lnTo>
                  <a:lnTo>
                    <a:pt x="614" y="55"/>
                  </a:lnTo>
                  <a:lnTo>
                    <a:pt x="614" y="61"/>
                  </a:lnTo>
                  <a:lnTo>
                    <a:pt x="614" y="67"/>
                  </a:lnTo>
                  <a:lnTo>
                    <a:pt x="614" y="74"/>
                  </a:lnTo>
                  <a:lnTo>
                    <a:pt x="614" y="82"/>
                  </a:lnTo>
                  <a:lnTo>
                    <a:pt x="614" y="88"/>
                  </a:lnTo>
                  <a:lnTo>
                    <a:pt x="614" y="94"/>
                  </a:lnTo>
                  <a:lnTo>
                    <a:pt x="614" y="100"/>
                  </a:lnTo>
                  <a:lnTo>
                    <a:pt x="614" y="108"/>
                  </a:lnTo>
                  <a:lnTo>
                    <a:pt x="614" y="115"/>
                  </a:lnTo>
                  <a:lnTo>
                    <a:pt x="612" y="121"/>
                  </a:lnTo>
                  <a:lnTo>
                    <a:pt x="612" y="127"/>
                  </a:lnTo>
                  <a:lnTo>
                    <a:pt x="612" y="135"/>
                  </a:lnTo>
                  <a:lnTo>
                    <a:pt x="612" y="135"/>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CO</a:t>
              </a:r>
            </a:p>
          </p:txBody>
        </p:sp>
        <p:sp>
          <p:nvSpPr>
            <p:cNvPr id="340" name="Freeform 51">
              <a:extLst>
                <a:ext uri="{FF2B5EF4-FFF2-40B4-BE49-F238E27FC236}">
                  <a16:creationId xmlns:a16="http://schemas.microsoft.com/office/drawing/2014/main" id="{82811A09-B471-B9D8-5AD2-9EE506DF5D6C}"/>
                </a:ext>
              </a:extLst>
            </p:cNvPr>
            <p:cNvSpPr>
              <a:spLocks noEditPoints="1"/>
            </p:cNvSpPr>
            <p:nvPr/>
          </p:nvSpPr>
          <p:spPr bwMode="auto">
            <a:xfrm>
              <a:off x="711" y="693"/>
              <a:ext cx="760" cy="1125"/>
            </a:xfrm>
            <a:custGeom>
              <a:avLst/>
              <a:gdLst>
                <a:gd name="T0" fmla="*/ 350 w 760"/>
                <a:gd name="T1" fmla="*/ 1061 h 1125"/>
                <a:gd name="T2" fmla="*/ 260 w 760"/>
                <a:gd name="T3" fmla="*/ 998 h 1125"/>
                <a:gd name="T4" fmla="*/ 359 w 760"/>
                <a:gd name="T5" fmla="*/ 1004 h 1125"/>
                <a:gd name="T6" fmla="*/ 223 w 760"/>
                <a:gd name="T7" fmla="*/ 908 h 1125"/>
                <a:gd name="T8" fmla="*/ 234 w 760"/>
                <a:gd name="T9" fmla="*/ 918 h 1125"/>
                <a:gd name="T10" fmla="*/ 201 w 760"/>
                <a:gd name="T11" fmla="*/ 903 h 1125"/>
                <a:gd name="T12" fmla="*/ 242 w 760"/>
                <a:gd name="T13" fmla="*/ 906 h 1125"/>
                <a:gd name="T14" fmla="*/ 756 w 760"/>
                <a:gd name="T15" fmla="*/ 955 h 1125"/>
                <a:gd name="T16" fmla="*/ 741 w 760"/>
                <a:gd name="T17" fmla="*/ 934 h 1125"/>
                <a:gd name="T18" fmla="*/ 725 w 760"/>
                <a:gd name="T19" fmla="*/ 895 h 1125"/>
                <a:gd name="T20" fmla="*/ 518 w 760"/>
                <a:gd name="T21" fmla="*/ 617 h 1125"/>
                <a:gd name="T22" fmla="*/ 354 w 760"/>
                <a:gd name="T23" fmla="*/ 260 h 1125"/>
                <a:gd name="T24" fmla="*/ 178 w 760"/>
                <a:gd name="T25" fmla="*/ 28 h 1125"/>
                <a:gd name="T26" fmla="*/ 49 w 760"/>
                <a:gd name="T27" fmla="*/ 35 h 1125"/>
                <a:gd name="T28" fmla="*/ 37 w 760"/>
                <a:gd name="T29" fmla="*/ 90 h 1125"/>
                <a:gd name="T30" fmla="*/ 33 w 760"/>
                <a:gd name="T31" fmla="*/ 125 h 1125"/>
                <a:gd name="T32" fmla="*/ 12 w 760"/>
                <a:gd name="T33" fmla="*/ 139 h 1125"/>
                <a:gd name="T34" fmla="*/ 2 w 760"/>
                <a:gd name="T35" fmla="*/ 180 h 1125"/>
                <a:gd name="T36" fmla="*/ 33 w 760"/>
                <a:gd name="T37" fmla="*/ 246 h 1125"/>
                <a:gd name="T38" fmla="*/ 27 w 760"/>
                <a:gd name="T39" fmla="*/ 311 h 1125"/>
                <a:gd name="T40" fmla="*/ 57 w 760"/>
                <a:gd name="T41" fmla="*/ 387 h 1125"/>
                <a:gd name="T42" fmla="*/ 72 w 760"/>
                <a:gd name="T43" fmla="*/ 428 h 1125"/>
                <a:gd name="T44" fmla="*/ 66 w 760"/>
                <a:gd name="T45" fmla="*/ 434 h 1125"/>
                <a:gd name="T46" fmla="*/ 84 w 760"/>
                <a:gd name="T47" fmla="*/ 453 h 1125"/>
                <a:gd name="T48" fmla="*/ 100 w 760"/>
                <a:gd name="T49" fmla="*/ 455 h 1125"/>
                <a:gd name="T50" fmla="*/ 125 w 760"/>
                <a:gd name="T51" fmla="*/ 444 h 1125"/>
                <a:gd name="T52" fmla="*/ 152 w 760"/>
                <a:gd name="T53" fmla="*/ 451 h 1125"/>
                <a:gd name="T54" fmla="*/ 166 w 760"/>
                <a:gd name="T55" fmla="*/ 453 h 1125"/>
                <a:gd name="T56" fmla="*/ 178 w 760"/>
                <a:gd name="T57" fmla="*/ 451 h 1125"/>
                <a:gd name="T58" fmla="*/ 178 w 760"/>
                <a:gd name="T59" fmla="*/ 453 h 1125"/>
                <a:gd name="T60" fmla="*/ 164 w 760"/>
                <a:gd name="T61" fmla="*/ 457 h 1125"/>
                <a:gd name="T62" fmla="*/ 109 w 760"/>
                <a:gd name="T63" fmla="*/ 455 h 1125"/>
                <a:gd name="T64" fmla="*/ 123 w 760"/>
                <a:gd name="T65" fmla="*/ 490 h 1125"/>
                <a:gd name="T66" fmla="*/ 121 w 760"/>
                <a:gd name="T67" fmla="*/ 506 h 1125"/>
                <a:gd name="T68" fmla="*/ 105 w 760"/>
                <a:gd name="T69" fmla="*/ 492 h 1125"/>
                <a:gd name="T70" fmla="*/ 94 w 760"/>
                <a:gd name="T71" fmla="*/ 473 h 1125"/>
                <a:gd name="T72" fmla="*/ 94 w 760"/>
                <a:gd name="T73" fmla="*/ 528 h 1125"/>
                <a:gd name="T74" fmla="*/ 133 w 760"/>
                <a:gd name="T75" fmla="*/ 571 h 1125"/>
                <a:gd name="T76" fmla="*/ 125 w 760"/>
                <a:gd name="T77" fmla="*/ 604 h 1125"/>
                <a:gd name="T78" fmla="*/ 119 w 760"/>
                <a:gd name="T79" fmla="*/ 635 h 1125"/>
                <a:gd name="T80" fmla="*/ 143 w 760"/>
                <a:gd name="T81" fmla="*/ 676 h 1125"/>
                <a:gd name="T82" fmla="*/ 172 w 760"/>
                <a:gd name="T83" fmla="*/ 733 h 1125"/>
                <a:gd name="T84" fmla="*/ 182 w 760"/>
                <a:gd name="T85" fmla="*/ 768 h 1125"/>
                <a:gd name="T86" fmla="*/ 197 w 760"/>
                <a:gd name="T87" fmla="*/ 809 h 1125"/>
                <a:gd name="T88" fmla="*/ 195 w 760"/>
                <a:gd name="T89" fmla="*/ 844 h 1125"/>
                <a:gd name="T90" fmla="*/ 266 w 760"/>
                <a:gd name="T91" fmla="*/ 875 h 1125"/>
                <a:gd name="T92" fmla="*/ 305 w 760"/>
                <a:gd name="T93" fmla="*/ 899 h 1125"/>
                <a:gd name="T94" fmla="*/ 332 w 760"/>
                <a:gd name="T95" fmla="*/ 924 h 1125"/>
                <a:gd name="T96" fmla="*/ 373 w 760"/>
                <a:gd name="T97" fmla="*/ 959 h 1125"/>
                <a:gd name="T98" fmla="*/ 383 w 760"/>
                <a:gd name="T99" fmla="*/ 965 h 1125"/>
                <a:gd name="T100" fmla="*/ 445 w 760"/>
                <a:gd name="T101" fmla="*/ 1020 h 1125"/>
                <a:gd name="T102" fmla="*/ 459 w 760"/>
                <a:gd name="T103" fmla="*/ 1092 h 1125"/>
                <a:gd name="T104" fmla="*/ 459 w 760"/>
                <a:gd name="T105" fmla="*/ 1094 h 1125"/>
                <a:gd name="T106" fmla="*/ 533 w 760"/>
                <a:gd name="T107" fmla="*/ 1117 h 1125"/>
                <a:gd name="T108" fmla="*/ 674 w 760"/>
                <a:gd name="T109" fmla="*/ 1123 h 1125"/>
                <a:gd name="T110" fmla="*/ 711 w 760"/>
                <a:gd name="T111" fmla="*/ 1098 h 1125"/>
                <a:gd name="T112" fmla="*/ 694 w 760"/>
                <a:gd name="T113" fmla="*/ 1049 h 1125"/>
                <a:gd name="T114" fmla="*/ 719 w 760"/>
                <a:gd name="T115" fmla="*/ 1018 h 1125"/>
                <a:gd name="T116" fmla="*/ 725 w 760"/>
                <a:gd name="T117" fmla="*/ 990 h 1125"/>
                <a:gd name="T118" fmla="*/ 53 w 760"/>
                <a:gd name="T119" fmla="*/ 471 h 1125"/>
                <a:gd name="T120" fmla="*/ 109 w 760"/>
                <a:gd name="T121" fmla="*/ 469 h 1125"/>
                <a:gd name="T122" fmla="*/ 289 w 760"/>
                <a:gd name="T123" fmla="*/ 922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1125">
                  <a:moveTo>
                    <a:pt x="354" y="1057"/>
                  </a:moveTo>
                  <a:lnTo>
                    <a:pt x="352" y="1053"/>
                  </a:lnTo>
                  <a:lnTo>
                    <a:pt x="348" y="1049"/>
                  </a:lnTo>
                  <a:lnTo>
                    <a:pt x="346" y="1047"/>
                  </a:lnTo>
                  <a:lnTo>
                    <a:pt x="346" y="1043"/>
                  </a:lnTo>
                  <a:lnTo>
                    <a:pt x="346" y="1043"/>
                  </a:lnTo>
                  <a:lnTo>
                    <a:pt x="346" y="1041"/>
                  </a:lnTo>
                  <a:lnTo>
                    <a:pt x="344" y="1041"/>
                  </a:lnTo>
                  <a:lnTo>
                    <a:pt x="344" y="1039"/>
                  </a:lnTo>
                  <a:lnTo>
                    <a:pt x="344" y="1039"/>
                  </a:lnTo>
                  <a:lnTo>
                    <a:pt x="344" y="1037"/>
                  </a:lnTo>
                  <a:lnTo>
                    <a:pt x="342" y="1037"/>
                  </a:lnTo>
                  <a:lnTo>
                    <a:pt x="342" y="1037"/>
                  </a:lnTo>
                  <a:lnTo>
                    <a:pt x="340" y="1039"/>
                  </a:lnTo>
                  <a:lnTo>
                    <a:pt x="342" y="1043"/>
                  </a:lnTo>
                  <a:lnTo>
                    <a:pt x="344" y="1045"/>
                  </a:lnTo>
                  <a:lnTo>
                    <a:pt x="344" y="1049"/>
                  </a:lnTo>
                  <a:lnTo>
                    <a:pt x="346" y="1055"/>
                  </a:lnTo>
                  <a:lnTo>
                    <a:pt x="348" y="1059"/>
                  </a:lnTo>
                  <a:lnTo>
                    <a:pt x="350" y="1061"/>
                  </a:lnTo>
                  <a:lnTo>
                    <a:pt x="352" y="1061"/>
                  </a:lnTo>
                  <a:lnTo>
                    <a:pt x="352" y="1063"/>
                  </a:lnTo>
                  <a:lnTo>
                    <a:pt x="354" y="1063"/>
                  </a:lnTo>
                  <a:lnTo>
                    <a:pt x="354" y="1063"/>
                  </a:lnTo>
                  <a:lnTo>
                    <a:pt x="354" y="1063"/>
                  </a:lnTo>
                  <a:lnTo>
                    <a:pt x="356" y="1063"/>
                  </a:lnTo>
                  <a:lnTo>
                    <a:pt x="359" y="1063"/>
                  </a:lnTo>
                  <a:lnTo>
                    <a:pt x="359" y="1063"/>
                  </a:lnTo>
                  <a:lnTo>
                    <a:pt x="361" y="1063"/>
                  </a:lnTo>
                  <a:lnTo>
                    <a:pt x="356" y="1059"/>
                  </a:lnTo>
                  <a:lnTo>
                    <a:pt x="354" y="1057"/>
                  </a:lnTo>
                  <a:close/>
                  <a:moveTo>
                    <a:pt x="268" y="1000"/>
                  </a:moveTo>
                  <a:lnTo>
                    <a:pt x="264" y="998"/>
                  </a:lnTo>
                  <a:lnTo>
                    <a:pt x="264" y="998"/>
                  </a:lnTo>
                  <a:lnTo>
                    <a:pt x="264" y="996"/>
                  </a:lnTo>
                  <a:lnTo>
                    <a:pt x="262" y="996"/>
                  </a:lnTo>
                  <a:lnTo>
                    <a:pt x="262" y="996"/>
                  </a:lnTo>
                  <a:lnTo>
                    <a:pt x="260" y="996"/>
                  </a:lnTo>
                  <a:lnTo>
                    <a:pt x="258" y="996"/>
                  </a:lnTo>
                  <a:lnTo>
                    <a:pt x="260" y="998"/>
                  </a:lnTo>
                  <a:lnTo>
                    <a:pt x="262" y="1002"/>
                  </a:lnTo>
                  <a:lnTo>
                    <a:pt x="264" y="1004"/>
                  </a:lnTo>
                  <a:lnTo>
                    <a:pt x="266" y="1004"/>
                  </a:lnTo>
                  <a:lnTo>
                    <a:pt x="270" y="1004"/>
                  </a:lnTo>
                  <a:lnTo>
                    <a:pt x="270" y="1002"/>
                  </a:lnTo>
                  <a:lnTo>
                    <a:pt x="268" y="1000"/>
                  </a:lnTo>
                  <a:close/>
                  <a:moveTo>
                    <a:pt x="369" y="1000"/>
                  </a:moveTo>
                  <a:lnTo>
                    <a:pt x="361" y="996"/>
                  </a:lnTo>
                  <a:lnTo>
                    <a:pt x="361" y="996"/>
                  </a:lnTo>
                  <a:lnTo>
                    <a:pt x="354" y="992"/>
                  </a:lnTo>
                  <a:lnTo>
                    <a:pt x="352" y="990"/>
                  </a:lnTo>
                  <a:lnTo>
                    <a:pt x="350" y="990"/>
                  </a:lnTo>
                  <a:lnTo>
                    <a:pt x="350" y="992"/>
                  </a:lnTo>
                  <a:lnTo>
                    <a:pt x="350" y="994"/>
                  </a:lnTo>
                  <a:lnTo>
                    <a:pt x="352" y="994"/>
                  </a:lnTo>
                  <a:lnTo>
                    <a:pt x="354" y="996"/>
                  </a:lnTo>
                  <a:lnTo>
                    <a:pt x="356" y="996"/>
                  </a:lnTo>
                  <a:lnTo>
                    <a:pt x="359" y="998"/>
                  </a:lnTo>
                  <a:lnTo>
                    <a:pt x="359" y="1000"/>
                  </a:lnTo>
                  <a:lnTo>
                    <a:pt x="359" y="1004"/>
                  </a:lnTo>
                  <a:lnTo>
                    <a:pt x="359" y="1006"/>
                  </a:lnTo>
                  <a:lnTo>
                    <a:pt x="359" y="1008"/>
                  </a:lnTo>
                  <a:lnTo>
                    <a:pt x="361" y="1010"/>
                  </a:lnTo>
                  <a:lnTo>
                    <a:pt x="363" y="1010"/>
                  </a:lnTo>
                  <a:lnTo>
                    <a:pt x="363" y="1010"/>
                  </a:lnTo>
                  <a:lnTo>
                    <a:pt x="365" y="1010"/>
                  </a:lnTo>
                  <a:lnTo>
                    <a:pt x="367" y="1010"/>
                  </a:lnTo>
                  <a:lnTo>
                    <a:pt x="367" y="1010"/>
                  </a:lnTo>
                  <a:lnTo>
                    <a:pt x="369" y="1012"/>
                  </a:lnTo>
                  <a:lnTo>
                    <a:pt x="371" y="1012"/>
                  </a:lnTo>
                  <a:lnTo>
                    <a:pt x="373" y="1012"/>
                  </a:lnTo>
                  <a:lnTo>
                    <a:pt x="373" y="1010"/>
                  </a:lnTo>
                  <a:lnTo>
                    <a:pt x="369" y="1002"/>
                  </a:lnTo>
                  <a:lnTo>
                    <a:pt x="369" y="1000"/>
                  </a:lnTo>
                  <a:close/>
                  <a:moveTo>
                    <a:pt x="232" y="912"/>
                  </a:moveTo>
                  <a:lnTo>
                    <a:pt x="232" y="910"/>
                  </a:lnTo>
                  <a:lnTo>
                    <a:pt x="232" y="908"/>
                  </a:lnTo>
                  <a:lnTo>
                    <a:pt x="229" y="908"/>
                  </a:lnTo>
                  <a:lnTo>
                    <a:pt x="229" y="908"/>
                  </a:lnTo>
                  <a:lnTo>
                    <a:pt x="223" y="908"/>
                  </a:lnTo>
                  <a:lnTo>
                    <a:pt x="221" y="908"/>
                  </a:lnTo>
                  <a:lnTo>
                    <a:pt x="221" y="908"/>
                  </a:lnTo>
                  <a:lnTo>
                    <a:pt x="219" y="908"/>
                  </a:lnTo>
                  <a:lnTo>
                    <a:pt x="217" y="908"/>
                  </a:lnTo>
                  <a:lnTo>
                    <a:pt x="215" y="906"/>
                  </a:lnTo>
                  <a:lnTo>
                    <a:pt x="213" y="908"/>
                  </a:lnTo>
                  <a:lnTo>
                    <a:pt x="213" y="910"/>
                  </a:lnTo>
                  <a:lnTo>
                    <a:pt x="215" y="912"/>
                  </a:lnTo>
                  <a:lnTo>
                    <a:pt x="217" y="914"/>
                  </a:lnTo>
                  <a:lnTo>
                    <a:pt x="217" y="916"/>
                  </a:lnTo>
                  <a:lnTo>
                    <a:pt x="217" y="918"/>
                  </a:lnTo>
                  <a:lnTo>
                    <a:pt x="219" y="920"/>
                  </a:lnTo>
                  <a:lnTo>
                    <a:pt x="221" y="920"/>
                  </a:lnTo>
                  <a:lnTo>
                    <a:pt x="223" y="920"/>
                  </a:lnTo>
                  <a:lnTo>
                    <a:pt x="223" y="920"/>
                  </a:lnTo>
                  <a:lnTo>
                    <a:pt x="225" y="920"/>
                  </a:lnTo>
                  <a:lnTo>
                    <a:pt x="225" y="920"/>
                  </a:lnTo>
                  <a:lnTo>
                    <a:pt x="227" y="920"/>
                  </a:lnTo>
                  <a:lnTo>
                    <a:pt x="227" y="920"/>
                  </a:lnTo>
                  <a:lnTo>
                    <a:pt x="234" y="918"/>
                  </a:lnTo>
                  <a:lnTo>
                    <a:pt x="236" y="918"/>
                  </a:lnTo>
                  <a:lnTo>
                    <a:pt x="236" y="916"/>
                  </a:lnTo>
                  <a:lnTo>
                    <a:pt x="236" y="914"/>
                  </a:lnTo>
                  <a:lnTo>
                    <a:pt x="234" y="914"/>
                  </a:lnTo>
                  <a:lnTo>
                    <a:pt x="232" y="912"/>
                  </a:lnTo>
                  <a:close/>
                  <a:moveTo>
                    <a:pt x="207" y="903"/>
                  </a:moveTo>
                  <a:lnTo>
                    <a:pt x="207" y="901"/>
                  </a:lnTo>
                  <a:lnTo>
                    <a:pt x="207" y="901"/>
                  </a:lnTo>
                  <a:lnTo>
                    <a:pt x="205" y="901"/>
                  </a:lnTo>
                  <a:lnTo>
                    <a:pt x="205" y="899"/>
                  </a:lnTo>
                  <a:lnTo>
                    <a:pt x="205" y="899"/>
                  </a:lnTo>
                  <a:lnTo>
                    <a:pt x="203" y="897"/>
                  </a:lnTo>
                  <a:lnTo>
                    <a:pt x="203" y="899"/>
                  </a:lnTo>
                  <a:lnTo>
                    <a:pt x="201" y="899"/>
                  </a:lnTo>
                  <a:lnTo>
                    <a:pt x="199" y="899"/>
                  </a:lnTo>
                  <a:lnTo>
                    <a:pt x="197" y="901"/>
                  </a:lnTo>
                  <a:lnTo>
                    <a:pt x="197" y="901"/>
                  </a:lnTo>
                  <a:lnTo>
                    <a:pt x="197" y="901"/>
                  </a:lnTo>
                  <a:lnTo>
                    <a:pt x="199" y="901"/>
                  </a:lnTo>
                  <a:lnTo>
                    <a:pt x="201" y="903"/>
                  </a:lnTo>
                  <a:lnTo>
                    <a:pt x="203" y="903"/>
                  </a:lnTo>
                  <a:lnTo>
                    <a:pt x="209" y="906"/>
                  </a:lnTo>
                  <a:lnTo>
                    <a:pt x="209" y="903"/>
                  </a:lnTo>
                  <a:lnTo>
                    <a:pt x="207" y="903"/>
                  </a:lnTo>
                  <a:close/>
                  <a:moveTo>
                    <a:pt x="275" y="914"/>
                  </a:moveTo>
                  <a:lnTo>
                    <a:pt x="275" y="914"/>
                  </a:lnTo>
                  <a:lnTo>
                    <a:pt x="272" y="912"/>
                  </a:lnTo>
                  <a:lnTo>
                    <a:pt x="270" y="914"/>
                  </a:lnTo>
                  <a:lnTo>
                    <a:pt x="266" y="916"/>
                  </a:lnTo>
                  <a:lnTo>
                    <a:pt x="266" y="916"/>
                  </a:lnTo>
                  <a:lnTo>
                    <a:pt x="266" y="916"/>
                  </a:lnTo>
                  <a:lnTo>
                    <a:pt x="258" y="912"/>
                  </a:lnTo>
                  <a:lnTo>
                    <a:pt x="256" y="910"/>
                  </a:lnTo>
                  <a:lnTo>
                    <a:pt x="252" y="910"/>
                  </a:lnTo>
                  <a:lnTo>
                    <a:pt x="252" y="910"/>
                  </a:lnTo>
                  <a:lnTo>
                    <a:pt x="248" y="906"/>
                  </a:lnTo>
                  <a:lnTo>
                    <a:pt x="244" y="906"/>
                  </a:lnTo>
                  <a:lnTo>
                    <a:pt x="244" y="906"/>
                  </a:lnTo>
                  <a:lnTo>
                    <a:pt x="244" y="906"/>
                  </a:lnTo>
                  <a:lnTo>
                    <a:pt x="242" y="906"/>
                  </a:lnTo>
                  <a:lnTo>
                    <a:pt x="242" y="908"/>
                  </a:lnTo>
                  <a:lnTo>
                    <a:pt x="242" y="908"/>
                  </a:lnTo>
                  <a:lnTo>
                    <a:pt x="244" y="908"/>
                  </a:lnTo>
                  <a:lnTo>
                    <a:pt x="244" y="910"/>
                  </a:lnTo>
                  <a:lnTo>
                    <a:pt x="246" y="910"/>
                  </a:lnTo>
                  <a:lnTo>
                    <a:pt x="246" y="912"/>
                  </a:lnTo>
                  <a:lnTo>
                    <a:pt x="244" y="914"/>
                  </a:lnTo>
                  <a:lnTo>
                    <a:pt x="246" y="916"/>
                  </a:lnTo>
                  <a:lnTo>
                    <a:pt x="250" y="918"/>
                  </a:lnTo>
                  <a:lnTo>
                    <a:pt x="252" y="920"/>
                  </a:lnTo>
                  <a:lnTo>
                    <a:pt x="272" y="920"/>
                  </a:lnTo>
                  <a:lnTo>
                    <a:pt x="275" y="918"/>
                  </a:lnTo>
                  <a:lnTo>
                    <a:pt x="277" y="918"/>
                  </a:lnTo>
                  <a:lnTo>
                    <a:pt x="277" y="916"/>
                  </a:lnTo>
                  <a:lnTo>
                    <a:pt x="277" y="916"/>
                  </a:lnTo>
                  <a:lnTo>
                    <a:pt x="275" y="914"/>
                  </a:lnTo>
                  <a:close/>
                  <a:moveTo>
                    <a:pt x="760" y="959"/>
                  </a:moveTo>
                  <a:lnTo>
                    <a:pt x="760" y="959"/>
                  </a:lnTo>
                  <a:lnTo>
                    <a:pt x="758" y="957"/>
                  </a:lnTo>
                  <a:lnTo>
                    <a:pt x="756" y="955"/>
                  </a:lnTo>
                  <a:lnTo>
                    <a:pt x="756" y="953"/>
                  </a:lnTo>
                  <a:lnTo>
                    <a:pt x="754" y="953"/>
                  </a:lnTo>
                  <a:lnTo>
                    <a:pt x="748" y="947"/>
                  </a:lnTo>
                  <a:lnTo>
                    <a:pt x="746" y="944"/>
                  </a:lnTo>
                  <a:lnTo>
                    <a:pt x="746" y="944"/>
                  </a:lnTo>
                  <a:lnTo>
                    <a:pt x="744" y="942"/>
                  </a:lnTo>
                  <a:lnTo>
                    <a:pt x="744" y="942"/>
                  </a:lnTo>
                  <a:lnTo>
                    <a:pt x="744" y="942"/>
                  </a:lnTo>
                  <a:lnTo>
                    <a:pt x="744" y="940"/>
                  </a:lnTo>
                  <a:lnTo>
                    <a:pt x="744" y="940"/>
                  </a:lnTo>
                  <a:lnTo>
                    <a:pt x="741" y="940"/>
                  </a:lnTo>
                  <a:lnTo>
                    <a:pt x="741" y="940"/>
                  </a:lnTo>
                  <a:lnTo>
                    <a:pt x="741" y="940"/>
                  </a:lnTo>
                  <a:lnTo>
                    <a:pt x="739" y="940"/>
                  </a:lnTo>
                  <a:lnTo>
                    <a:pt x="739" y="938"/>
                  </a:lnTo>
                  <a:lnTo>
                    <a:pt x="739" y="938"/>
                  </a:lnTo>
                  <a:lnTo>
                    <a:pt x="739" y="936"/>
                  </a:lnTo>
                  <a:lnTo>
                    <a:pt x="739" y="936"/>
                  </a:lnTo>
                  <a:lnTo>
                    <a:pt x="739" y="934"/>
                  </a:lnTo>
                  <a:lnTo>
                    <a:pt x="741" y="934"/>
                  </a:lnTo>
                  <a:lnTo>
                    <a:pt x="739" y="932"/>
                  </a:lnTo>
                  <a:lnTo>
                    <a:pt x="739" y="932"/>
                  </a:lnTo>
                  <a:lnTo>
                    <a:pt x="739" y="930"/>
                  </a:lnTo>
                  <a:lnTo>
                    <a:pt x="739" y="928"/>
                  </a:lnTo>
                  <a:lnTo>
                    <a:pt x="737" y="928"/>
                  </a:lnTo>
                  <a:lnTo>
                    <a:pt x="737" y="926"/>
                  </a:lnTo>
                  <a:lnTo>
                    <a:pt x="737" y="926"/>
                  </a:lnTo>
                  <a:lnTo>
                    <a:pt x="737" y="922"/>
                  </a:lnTo>
                  <a:lnTo>
                    <a:pt x="737" y="922"/>
                  </a:lnTo>
                  <a:lnTo>
                    <a:pt x="737" y="922"/>
                  </a:lnTo>
                  <a:lnTo>
                    <a:pt x="737" y="920"/>
                  </a:lnTo>
                  <a:lnTo>
                    <a:pt x="733" y="908"/>
                  </a:lnTo>
                  <a:lnTo>
                    <a:pt x="731" y="908"/>
                  </a:lnTo>
                  <a:lnTo>
                    <a:pt x="729" y="906"/>
                  </a:lnTo>
                  <a:lnTo>
                    <a:pt x="727" y="903"/>
                  </a:lnTo>
                  <a:lnTo>
                    <a:pt x="729" y="901"/>
                  </a:lnTo>
                  <a:lnTo>
                    <a:pt x="727" y="899"/>
                  </a:lnTo>
                  <a:lnTo>
                    <a:pt x="727" y="897"/>
                  </a:lnTo>
                  <a:lnTo>
                    <a:pt x="727" y="895"/>
                  </a:lnTo>
                  <a:lnTo>
                    <a:pt x="725" y="895"/>
                  </a:lnTo>
                  <a:lnTo>
                    <a:pt x="725" y="895"/>
                  </a:lnTo>
                  <a:lnTo>
                    <a:pt x="723" y="893"/>
                  </a:lnTo>
                  <a:lnTo>
                    <a:pt x="725" y="881"/>
                  </a:lnTo>
                  <a:lnTo>
                    <a:pt x="725" y="879"/>
                  </a:lnTo>
                  <a:lnTo>
                    <a:pt x="711" y="862"/>
                  </a:lnTo>
                  <a:lnTo>
                    <a:pt x="696" y="844"/>
                  </a:lnTo>
                  <a:lnTo>
                    <a:pt x="682" y="828"/>
                  </a:lnTo>
                  <a:lnTo>
                    <a:pt x="668" y="809"/>
                  </a:lnTo>
                  <a:lnTo>
                    <a:pt x="655" y="795"/>
                  </a:lnTo>
                  <a:lnTo>
                    <a:pt x="643" y="778"/>
                  </a:lnTo>
                  <a:lnTo>
                    <a:pt x="631" y="764"/>
                  </a:lnTo>
                  <a:lnTo>
                    <a:pt x="619" y="748"/>
                  </a:lnTo>
                  <a:lnTo>
                    <a:pt x="608" y="731"/>
                  </a:lnTo>
                  <a:lnTo>
                    <a:pt x="596" y="717"/>
                  </a:lnTo>
                  <a:lnTo>
                    <a:pt x="584" y="701"/>
                  </a:lnTo>
                  <a:lnTo>
                    <a:pt x="572" y="686"/>
                  </a:lnTo>
                  <a:lnTo>
                    <a:pt x="559" y="668"/>
                  </a:lnTo>
                  <a:lnTo>
                    <a:pt x="545" y="651"/>
                  </a:lnTo>
                  <a:lnTo>
                    <a:pt x="531" y="635"/>
                  </a:lnTo>
                  <a:lnTo>
                    <a:pt x="518" y="617"/>
                  </a:lnTo>
                  <a:lnTo>
                    <a:pt x="504" y="600"/>
                  </a:lnTo>
                  <a:lnTo>
                    <a:pt x="492" y="584"/>
                  </a:lnTo>
                  <a:lnTo>
                    <a:pt x="477" y="565"/>
                  </a:lnTo>
                  <a:lnTo>
                    <a:pt x="465" y="549"/>
                  </a:lnTo>
                  <a:lnTo>
                    <a:pt x="449" y="528"/>
                  </a:lnTo>
                  <a:lnTo>
                    <a:pt x="432" y="508"/>
                  </a:lnTo>
                  <a:lnTo>
                    <a:pt x="414" y="487"/>
                  </a:lnTo>
                  <a:lnTo>
                    <a:pt x="397" y="467"/>
                  </a:lnTo>
                  <a:lnTo>
                    <a:pt x="381" y="446"/>
                  </a:lnTo>
                  <a:lnTo>
                    <a:pt x="365" y="424"/>
                  </a:lnTo>
                  <a:lnTo>
                    <a:pt x="348" y="403"/>
                  </a:lnTo>
                  <a:lnTo>
                    <a:pt x="332" y="383"/>
                  </a:lnTo>
                  <a:lnTo>
                    <a:pt x="332" y="381"/>
                  </a:lnTo>
                  <a:lnTo>
                    <a:pt x="332" y="377"/>
                  </a:lnTo>
                  <a:lnTo>
                    <a:pt x="336" y="356"/>
                  </a:lnTo>
                  <a:lnTo>
                    <a:pt x="340" y="338"/>
                  </a:lnTo>
                  <a:lnTo>
                    <a:pt x="344" y="317"/>
                  </a:lnTo>
                  <a:lnTo>
                    <a:pt x="346" y="299"/>
                  </a:lnTo>
                  <a:lnTo>
                    <a:pt x="350" y="280"/>
                  </a:lnTo>
                  <a:lnTo>
                    <a:pt x="354" y="260"/>
                  </a:lnTo>
                  <a:lnTo>
                    <a:pt x="356" y="242"/>
                  </a:lnTo>
                  <a:lnTo>
                    <a:pt x="361" y="221"/>
                  </a:lnTo>
                  <a:lnTo>
                    <a:pt x="365" y="203"/>
                  </a:lnTo>
                  <a:lnTo>
                    <a:pt x="369" y="184"/>
                  </a:lnTo>
                  <a:lnTo>
                    <a:pt x="371" y="164"/>
                  </a:lnTo>
                  <a:lnTo>
                    <a:pt x="375" y="145"/>
                  </a:lnTo>
                  <a:lnTo>
                    <a:pt x="379" y="127"/>
                  </a:lnTo>
                  <a:lnTo>
                    <a:pt x="381" y="106"/>
                  </a:lnTo>
                  <a:lnTo>
                    <a:pt x="385" y="88"/>
                  </a:lnTo>
                  <a:lnTo>
                    <a:pt x="389" y="69"/>
                  </a:lnTo>
                  <a:lnTo>
                    <a:pt x="369" y="65"/>
                  </a:lnTo>
                  <a:lnTo>
                    <a:pt x="346" y="61"/>
                  </a:lnTo>
                  <a:lnTo>
                    <a:pt x="326" y="57"/>
                  </a:lnTo>
                  <a:lnTo>
                    <a:pt x="305" y="53"/>
                  </a:lnTo>
                  <a:lnTo>
                    <a:pt x="283" y="49"/>
                  </a:lnTo>
                  <a:lnTo>
                    <a:pt x="262" y="45"/>
                  </a:lnTo>
                  <a:lnTo>
                    <a:pt x="242" y="41"/>
                  </a:lnTo>
                  <a:lnTo>
                    <a:pt x="221" y="37"/>
                  </a:lnTo>
                  <a:lnTo>
                    <a:pt x="199" y="33"/>
                  </a:lnTo>
                  <a:lnTo>
                    <a:pt x="178" y="28"/>
                  </a:lnTo>
                  <a:lnTo>
                    <a:pt x="158" y="22"/>
                  </a:lnTo>
                  <a:lnTo>
                    <a:pt x="137" y="18"/>
                  </a:lnTo>
                  <a:lnTo>
                    <a:pt x="115" y="14"/>
                  </a:lnTo>
                  <a:lnTo>
                    <a:pt x="94" y="10"/>
                  </a:lnTo>
                  <a:lnTo>
                    <a:pt x="74" y="6"/>
                  </a:lnTo>
                  <a:lnTo>
                    <a:pt x="53" y="0"/>
                  </a:lnTo>
                  <a:lnTo>
                    <a:pt x="53" y="0"/>
                  </a:lnTo>
                  <a:lnTo>
                    <a:pt x="51" y="0"/>
                  </a:lnTo>
                  <a:lnTo>
                    <a:pt x="51" y="2"/>
                  </a:lnTo>
                  <a:lnTo>
                    <a:pt x="51" y="4"/>
                  </a:lnTo>
                  <a:lnTo>
                    <a:pt x="51" y="4"/>
                  </a:lnTo>
                  <a:lnTo>
                    <a:pt x="49" y="14"/>
                  </a:lnTo>
                  <a:lnTo>
                    <a:pt x="47" y="16"/>
                  </a:lnTo>
                  <a:lnTo>
                    <a:pt x="45" y="18"/>
                  </a:lnTo>
                  <a:lnTo>
                    <a:pt x="41" y="22"/>
                  </a:lnTo>
                  <a:lnTo>
                    <a:pt x="41" y="22"/>
                  </a:lnTo>
                  <a:lnTo>
                    <a:pt x="43" y="24"/>
                  </a:lnTo>
                  <a:lnTo>
                    <a:pt x="47" y="26"/>
                  </a:lnTo>
                  <a:lnTo>
                    <a:pt x="49" y="33"/>
                  </a:lnTo>
                  <a:lnTo>
                    <a:pt x="49" y="35"/>
                  </a:lnTo>
                  <a:lnTo>
                    <a:pt x="49" y="37"/>
                  </a:lnTo>
                  <a:lnTo>
                    <a:pt x="49" y="39"/>
                  </a:lnTo>
                  <a:lnTo>
                    <a:pt x="49" y="41"/>
                  </a:lnTo>
                  <a:lnTo>
                    <a:pt x="51" y="43"/>
                  </a:lnTo>
                  <a:lnTo>
                    <a:pt x="51" y="43"/>
                  </a:lnTo>
                  <a:lnTo>
                    <a:pt x="49" y="47"/>
                  </a:lnTo>
                  <a:lnTo>
                    <a:pt x="49" y="47"/>
                  </a:lnTo>
                  <a:lnTo>
                    <a:pt x="49" y="49"/>
                  </a:lnTo>
                  <a:lnTo>
                    <a:pt x="51" y="49"/>
                  </a:lnTo>
                  <a:lnTo>
                    <a:pt x="51" y="49"/>
                  </a:lnTo>
                  <a:lnTo>
                    <a:pt x="51" y="51"/>
                  </a:lnTo>
                  <a:lnTo>
                    <a:pt x="51" y="51"/>
                  </a:lnTo>
                  <a:lnTo>
                    <a:pt x="49" y="55"/>
                  </a:lnTo>
                  <a:lnTo>
                    <a:pt x="49" y="61"/>
                  </a:lnTo>
                  <a:lnTo>
                    <a:pt x="49" y="65"/>
                  </a:lnTo>
                  <a:lnTo>
                    <a:pt x="45" y="71"/>
                  </a:lnTo>
                  <a:lnTo>
                    <a:pt x="45" y="76"/>
                  </a:lnTo>
                  <a:lnTo>
                    <a:pt x="41" y="82"/>
                  </a:lnTo>
                  <a:lnTo>
                    <a:pt x="39" y="86"/>
                  </a:lnTo>
                  <a:lnTo>
                    <a:pt x="37" y="90"/>
                  </a:lnTo>
                  <a:lnTo>
                    <a:pt x="35" y="90"/>
                  </a:lnTo>
                  <a:lnTo>
                    <a:pt x="35" y="92"/>
                  </a:lnTo>
                  <a:lnTo>
                    <a:pt x="35" y="94"/>
                  </a:lnTo>
                  <a:lnTo>
                    <a:pt x="35" y="96"/>
                  </a:lnTo>
                  <a:lnTo>
                    <a:pt x="33" y="98"/>
                  </a:lnTo>
                  <a:lnTo>
                    <a:pt x="35" y="102"/>
                  </a:lnTo>
                  <a:lnTo>
                    <a:pt x="37" y="104"/>
                  </a:lnTo>
                  <a:lnTo>
                    <a:pt x="35" y="106"/>
                  </a:lnTo>
                  <a:lnTo>
                    <a:pt x="27" y="121"/>
                  </a:lnTo>
                  <a:lnTo>
                    <a:pt x="23" y="127"/>
                  </a:lnTo>
                  <a:lnTo>
                    <a:pt x="21" y="129"/>
                  </a:lnTo>
                  <a:lnTo>
                    <a:pt x="23" y="127"/>
                  </a:lnTo>
                  <a:lnTo>
                    <a:pt x="25" y="127"/>
                  </a:lnTo>
                  <a:lnTo>
                    <a:pt x="29" y="121"/>
                  </a:lnTo>
                  <a:lnTo>
                    <a:pt x="29" y="121"/>
                  </a:lnTo>
                  <a:lnTo>
                    <a:pt x="33" y="121"/>
                  </a:lnTo>
                  <a:lnTo>
                    <a:pt x="35" y="121"/>
                  </a:lnTo>
                  <a:lnTo>
                    <a:pt x="35" y="123"/>
                  </a:lnTo>
                  <a:lnTo>
                    <a:pt x="35" y="123"/>
                  </a:lnTo>
                  <a:lnTo>
                    <a:pt x="33" y="125"/>
                  </a:lnTo>
                  <a:lnTo>
                    <a:pt x="31" y="125"/>
                  </a:lnTo>
                  <a:lnTo>
                    <a:pt x="29" y="125"/>
                  </a:lnTo>
                  <a:lnTo>
                    <a:pt x="27" y="125"/>
                  </a:lnTo>
                  <a:lnTo>
                    <a:pt x="27" y="127"/>
                  </a:lnTo>
                  <a:lnTo>
                    <a:pt x="23" y="129"/>
                  </a:lnTo>
                  <a:lnTo>
                    <a:pt x="23" y="131"/>
                  </a:lnTo>
                  <a:lnTo>
                    <a:pt x="21" y="135"/>
                  </a:lnTo>
                  <a:lnTo>
                    <a:pt x="19" y="137"/>
                  </a:lnTo>
                  <a:lnTo>
                    <a:pt x="19" y="135"/>
                  </a:lnTo>
                  <a:lnTo>
                    <a:pt x="16" y="133"/>
                  </a:lnTo>
                  <a:lnTo>
                    <a:pt x="16" y="133"/>
                  </a:lnTo>
                  <a:lnTo>
                    <a:pt x="19" y="131"/>
                  </a:lnTo>
                  <a:lnTo>
                    <a:pt x="19" y="131"/>
                  </a:lnTo>
                  <a:lnTo>
                    <a:pt x="14" y="133"/>
                  </a:lnTo>
                  <a:lnTo>
                    <a:pt x="12" y="135"/>
                  </a:lnTo>
                  <a:lnTo>
                    <a:pt x="12" y="139"/>
                  </a:lnTo>
                  <a:lnTo>
                    <a:pt x="12" y="139"/>
                  </a:lnTo>
                  <a:lnTo>
                    <a:pt x="12" y="139"/>
                  </a:lnTo>
                  <a:lnTo>
                    <a:pt x="12" y="139"/>
                  </a:lnTo>
                  <a:lnTo>
                    <a:pt x="12" y="139"/>
                  </a:lnTo>
                  <a:lnTo>
                    <a:pt x="10" y="139"/>
                  </a:lnTo>
                  <a:lnTo>
                    <a:pt x="10" y="139"/>
                  </a:lnTo>
                  <a:lnTo>
                    <a:pt x="10" y="141"/>
                  </a:lnTo>
                  <a:lnTo>
                    <a:pt x="10" y="141"/>
                  </a:lnTo>
                  <a:lnTo>
                    <a:pt x="6" y="145"/>
                  </a:lnTo>
                  <a:lnTo>
                    <a:pt x="6" y="147"/>
                  </a:lnTo>
                  <a:lnTo>
                    <a:pt x="4" y="149"/>
                  </a:lnTo>
                  <a:lnTo>
                    <a:pt x="2" y="151"/>
                  </a:lnTo>
                  <a:lnTo>
                    <a:pt x="2" y="153"/>
                  </a:lnTo>
                  <a:lnTo>
                    <a:pt x="2" y="155"/>
                  </a:lnTo>
                  <a:lnTo>
                    <a:pt x="0" y="158"/>
                  </a:lnTo>
                  <a:lnTo>
                    <a:pt x="0" y="158"/>
                  </a:lnTo>
                  <a:lnTo>
                    <a:pt x="0" y="160"/>
                  </a:lnTo>
                  <a:lnTo>
                    <a:pt x="0" y="162"/>
                  </a:lnTo>
                  <a:lnTo>
                    <a:pt x="2" y="170"/>
                  </a:lnTo>
                  <a:lnTo>
                    <a:pt x="2" y="172"/>
                  </a:lnTo>
                  <a:lnTo>
                    <a:pt x="0" y="176"/>
                  </a:lnTo>
                  <a:lnTo>
                    <a:pt x="0" y="178"/>
                  </a:lnTo>
                  <a:lnTo>
                    <a:pt x="0" y="180"/>
                  </a:lnTo>
                  <a:lnTo>
                    <a:pt x="2" y="180"/>
                  </a:lnTo>
                  <a:lnTo>
                    <a:pt x="10" y="192"/>
                  </a:lnTo>
                  <a:lnTo>
                    <a:pt x="14" y="196"/>
                  </a:lnTo>
                  <a:lnTo>
                    <a:pt x="14" y="199"/>
                  </a:lnTo>
                  <a:lnTo>
                    <a:pt x="16" y="205"/>
                  </a:lnTo>
                  <a:lnTo>
                    <a:pt x="16" y="205"/>
                  </a:lnTo>
                  <a:lnTo>
                    <a:pt x="16" y="207"/>
                  </a:lnTo>
                  <a:lnTo>
                    <a:pt x="16" y="209"/>
                  </a:lnTo>
                  <a:lnTo>
                    <a:pt x="19" y="209"/>
                  </a:lnTo>
                  <a:lnTo>
                    <a:pt x="19" y="209"/>
                  </a:lnTo>
                  <a:lnTo>
                    <a:pt x="21" y="211"/>
                  </a:lnTo>
                  <a:lnTo>
                    <a:pt x="23" y="213"/>
                  </a:lnTo>
                  <a:lnTo>
                    <a:pt x="31" y="233"/>
                  </a:lnTo>
                  <a:lnTo>
                    <a:pt x="31" y="235"/>
                  </a:lnTo>
                  <a:lnTo>
                    <a:pt x="29" y="240"/>
                  </a:lnTo>
                  <a:lnTo>
                    <a:pt x="31" y="242"/>
                  </a:lnTo>
                  <a:lnTo>
                    <a:pt x="31" y="244"/>
                  </a:lnTo>
                  <a:lnTo>
                    <a:pt x="31" y="244"/>
                  </a:lnTo>
                  <a:lnTo>
                    <a:pt x="31" y="244"/>
                  </a:lnTo>
                  <a:lnTo>
                    <a:pt x="33" y="246"/>
                  </a:lnTo>
                  <a:lnTo>
                    <a:pt x="33" y="246"/>
                  </a:lnTo>
                  <a:lnTo>
                    <a:pt x="33" y="248"/>
                  </a:lnTo>
                  <a:lnTo>
                    <a:pt x="33" y="250"/>
                  </a:lnTo>
                  <a:lnTo>
                    <a:pt x="31" y="256"/>
                  </a:lnTo>
                  <a:lnTo>
                    <a:pt x="31" y="264"/>
                  </a:lnTo>
                  <a:lnTo>
                    <a:pt x="31" y="264"/>
                  </a:lnTo>
                  <a:lnTo>
                    <a:pt x="29" y="264"/>
                  </a:lnTo>
                  <a:lnTo>
                    <a:pt x="29" y="266"/>
                  </a:lnTo>
                  <a:lnTo>
                    <a:pt x="27" y="272"/>
                  </a:lnTo>
                  <a:lnTo>
                    <a:pt x="25" y="278"/>
                  </a:lnTo>
                  <a:lnTo>
                    <a:pt x="23" y="283"/>
                  </a:lnTo>
                  <a:lnTo>
                    <a:pt x="23" y="287"/>
                  </a:lnTo>
                  <a:lnTo>
                    <a:pt x="23" y="289"/>
                  </a:lnTo>
                  <a:lnTo>
                    <a:pt x="23" y="289"/>
                  </a:lnTo>
                  <a:lnTo>
                    <a:pt x="23" y="291"/>
                  </a:lnTo>
                  <a:lnTo>
                    <a:pt x="23" y="293"/>
                  </a:lnTo>
                  <a:lnTo>
                    <a:pt x="23" y="299"/>
                  </a:lnTo>
                  <a:lnTo>
                    <a:pt x="23" y="301"/>
                  </a:lnTo>
                  <a:lnTo>
                    <a:pt x="25" y="301"/>
                  </a:lnTo>
                  <a:lnTo>
                    <a:pt x="27" y="309"/>
                  </a:lnTo>
                  <a:lnTo>
                    <a:pt x="27" y="311"/>
                  </a:lnTo>
                  <a:lnTo>
                    <a:pt x="25" y="313"/>
                  </a:lnTo>
                  <a:lnTo>
                    <a:pt x="25" y="315"/>
                  </a:lnTo>
                  <a:lnTo>
                    <a:pt x="25" y="317"/>
                  </a:lnTo>
                  <a:lnTo>
                    <a:pt x="25" y="319"/>
                  </a:lnTo>
                  <a:lnTo>
                    <a:pt x="25" y="321"/>
                  </a:lnTo>
                  <a:lnTo>
                    <a:pt x="23" y="324"/>
                  </a:lnTo>
                  <a:lnTo>
                    <a:pt x="23" y="324"/>
                  </a:lnTo>
                  <a:lnTo>
                    <a:pt x="21" y="326"/>
                  </a:lnTo>
                  <a:lnTo>
                    <a:pt x="21" y="328"/>
                  </a:lnTo>
                  <a:lnTo>
                    <a:pt x="23" y="332"/>
                  </a:lnTo>
                  <a:lnTo>
                    <a:pt x="27" y="340"/>
                  </a:lnTo>
                  <a:lnTo>
                    <a:pt x="31" y="344"/>
                  </a:lnTo>
                  <a:lnTo>
                    <a:pt x="31" y="346"/>
                  </a:lnTo>
                  <a:lnTo>
                    <a:pt x="31" y="346"/>
                  </a:lnTo>
                  <a:lnTo>
                    <a:pt x="33" y="348"/>
                  </a:lnTo>
                  <a:lnTo>
                    <a:pt x="35" y="352"/>
                  </a:lnTo>
                  <a:lnTo>
                    <a:pt x="37" y="354"/>
                  </a:lnTo>
                  <a:lnTo>
                    <a:pt x="47" y="377"/>
                  </a:lnTo>
                  <a:lnTo>
                    <a:pt x="49" y="381"/>
                  </a:lnTo>
                  <a:lnTo>
                    <a:pt x="57" y="387"/>
                  </a:lnTo>
                  <a:lnTo>
                    <a:pt x="59" y="391"/>
                  </a:lnTo>
                  <a:lnTo>
                    <a:pt x="62" y="397"/>
                  </a:lnTo>
                  <a:lnTo>
                    <a:pt x="64" y="399"/>
                  </a:lnTo>
                  <a:lnTo>
                    <a:pt x="62" y="406"/>
                  </a:lnTo>
                  <a:lnTo>
                    <a:pt x="62" y="408"/>
                  </a:lnTo>
                  <a:lnTo>
                    <a:pt x="62" y="406"/>
                  </a:lnTo>
                  <a:lnTo>
                    <a:pt x="64" y="403"/>
                  </a:lnTo>
                  <a:lnTo>
                    <a:pt x="68" y="408"/>
                  </a:lnTo>
                  <a:lnTo>
                    <a:pt x="68" y="410"/>
                  </a:lnTo>
                  <a:lnTo>
                    <a:pt x="68" y="412"/>
                  </a:lnTo>
                  <a:lnTo>
                    <a:pt x="68" y="414"/>
                  </a:lnTo>
                  <a:lnTo>
                    <a:pt x="68" y="414"/>
                  </a:lnTo>
                  <a:lnTo>
                    <a:pt x="70" y="418"/>
                  </a:lnTo>
                  <a:lnTo>
                    <a:pt x="72" y="424"/>
                  </a:lnTo>
                  <a:lnTo>
                    <a:pt x="76" y="430"/>
                  </a:lnTo>
                  <a:lnTo>
                    <a:pt x="76" y="432"/>
                  </a:lnTo>
                  <a:lnTo>
                    <a:pt x="76" y="434"/>
                  </a:lnTo>
                  <a:lnTo>
                    <a:pt x="76" y="432"/>
                  </a:lnTo>
                  <a:lnTo>
                    <a:pt x="74" y="430"/>
                  </a:lnTo>
                  <a:lnTo>
                    <a:pt x="72" y="428"/>
                  </a:lnTo>
                  <a:lnTo>
                    <a:pt x="72" y="424"/>
                  </a:lnTo>
                  <a:lnTo>
                    <a:pt x="72" y="422"/>
                  </a:lnTo>
                  <a:lnTo>
                    <a:pt x="68" y="418"/>
                  </a:lnTo>
                  <a:lnTo>
                    <a:pt x="66" y="416"/>
                  </a:lnTo>
                  <a:lnTo>
                    <a:pt x="68" y="422"/>
                  </a:lnTo>
                  <a:lnTo>
                    <a:pt x="68" y="424"/>
                  </a:lnTo>
                  <a:lnTo>
                    <a:pt x="62" y="434"/>
                  </a:lnTo>
                  <a:lnTo>
                    <a:pt x="59" y="438"/>
                  </a:lnTo>
                  <a:lnTo>
                    <a:pt x="57" y="440"/>
                  </a:lnTo>
                  <a:lnTo>
                    <a:pt x="59" y="440"/>
                  </a:lnTo>
                  <a:lnTo>
                    <a:pt x="62" y="440"/>
                  </a:lnTo>
                  <a:lnTo>
                    <a:pt x="62" y="440"/>
                  </a:lnTo>
                  <a:lnTo>
                    <a:pt x="62" y="440"/>
                  </a:lnTo>
                  <a:lnTo>
                    <a:pt x="62" y="440"/>
                  </a:lnTo>
                  <a:lnTo>
                    <a:pt x="64" y="438"/>
                  </a:lnTo>
                  <a:lnTo>
                    <a:pt x="64" y="438"/>
                  </a:lnTo>
                  <a:lnTo>
                    <a:pt x="66" y="436"/>
                  </a:lnTo>
                  <a:lnTo>
                    <a:pt x="66" y="436"/>
                  </a:lnTo>
                  <a:lnTo>
                    <a:pt x="66" y="436"/>
                  </a:lnTo>
                  <a:lnTo>
                    <a:pt x="66" y="434"/>
                  </a:lnTo>
                  <a:lnTo>
                    <a:pt x="66" y="434"/>
                  </a:lnTo>
                  <a:lnTo>
                    <a:pt x="66" y="434"/>
                  </a:lnTo>
                  <a:lnTo>
                    <a:pt x="66" y="432"/>
                  </a:lnTo>
                  <a:lnTo>
                    <a:pt x="68" y="432"/>
                  </a:lnTo>
                  <a:lnTo>
                    <a:pt x="68" y="432"/>
                  </a:lnTo>
                  <a:lnTo>
                    <a:pt x="68" y="436"/>
                  </a:lnTo>
                  <a:lnTo>
                    <a:pt x="70" y="438"/>
                  </a:lnTo>
                  <a:lnTo>
                    <a:pt x="76" y="442"/>
                  </a:lnTo>
                  <a:lnTo>
                    <a:pt x="76" y="442"/>
                  </a:lnTo>
                  <a:lnTo>
                    <a:pt x="76" y="442"/>
                  </a:lnTo>
                  <a:lnTo>
                    <a:pt x="78" y="444"/>
                  </a:lnTo>
                  <a:lnTo>
                    <a:pt x="78" y="449"/>
                  </a:lnTo>
                  <a:lnTo>
                    <a:pt x="78" y="449"/>
                  </a:lnTo>
                  <a:lnTo>
                    <a:pt x="80" y="451"/>
                  </a:lnTo>
                  <a:lnTo>
                    <a:pt x="80" y="451"/>
                  </a:lnTo>
                  <a:lnTo>
                    <a:pt x="82" y="455"/>
                  </a:lnTo>
                  <a:lnTo>
                    <a:pt x="84" y="455"/>
                  </a:lnTo>
                  <a:lnTo>
                    <a:pt x="84" y="455"/>
                  </a:lnTo>
                  <a:lnTo>
                    <a:pt x="84" y="455"/>
                  </a:lnTo>
                  <a:lnTo>
                    <a:pt x="84" y="453"/>
                  </a:lnTo>
                  <a:lnTo>
                    <a:pt x="88" y="457"/>
                  </a:lnTo>
                  <a:lnTo>
                    <a:pt x="90" y="461"/>
                  </a:lnTo>
                  <a:lnTo>
                    <a:pt x="92" y="463"/>
                  </a:lnTo>
                  <a:lnTo>
                    <a:pt x="94" y="465"/>
                  </a:lnTo>
                  <a:lnTo>
                    <a:pt x="96" y="465"/>
                  </a:lnTo>
                  <a:lnTo>
                    <a:pt x="96" y="467"/>
                  </a:lnTo>
                  <a:lnTo>
                    <a:pt x="98" y="467"/>
                  </a:lnTo>
                  <a:lnTo>
                    <a:pt x="100" y="465"/>
                  </a:lnTo>
                  <a:lnTo>
                    <a:pt x="100" y="465"/>
                  </a:lnTo>
                  <a:lnTo>
                    <a:pt x="100" y="463"/>
                  </a:lnTo>
                  <a:lnTo>
                    <a:pt x="100" y="461"/>
                  </a:lnTo>
                  <a:lnTo>
                    <a:pt x="100" y="461"/>
                  </a:lnTo>
                  <a:lnTo>
                    <a:pt x="102" y="461"/>
                  </a:lnTo>
                  <a:lnTo>
                    <a:pt x="102" y="463"/>
                  </a:lnTo>
                  <a:lnTo>
                    <a:pt x="102" y="463"/>
                  </a:lnTo>
                  <a:lnTo>
                    <a:pt x="105" y="461"/>
                  </a:lnTo>
                  <a:lnTo>
                    <a:pt x="102" y="459"/>
                  </a:lnTo>
                  <a:lnTo>
                    <a:pt x="100" y="457"/>
                  </a:lnTo>
                  <a:lnTo>
                    <a:pt x="100" y="455"/>
                  </a:lnTo>
                  <a:lnTo>
                    <a:pt x="100" y="455"/>
                  </a:lnTo>
                  <a:lnTo>
                    <a:pt x="102" y="453"/>
                  </a:lnTo>
                  <a:lnTo>
                    <a:pt x="102" y="453"/>
                  </a:lnTo>
                  <a:lnTo>
                    <a:pt x="100" y="453"/>
                  </a:lnTo>
                  <a:lnTo>
                    <a:pt x="102" y="451"/>
                  </a:lnTo>
                  <a:lnTo>
                    <a:pt x="102" y="451"/>
                  </a:lnTo>
                  <a:lnTo>
                    <a:pt x="105" y="451"/>
                  </a:lnTo>
                  <a:lnTo>
                    <a:pt x="105" y="449"/>
                  </a:lnTo>
                  <a:lnTo>
                    <a:pt x="102" y="446"/>
                  </a:lnTo>
                  <a:lnTo>
                    <a:pt x="102" y="444"/>
                  </a:lnTo>
                  <a:lnTo>
                    <a:pt x="105" y="438"/>
                  </a:lnTo>
                  <a:lnTo>
                    <a:pt x="105" y="436"/>
                  </a:lnTo>
                  <a:lnTo>
                    <a:pt x="107" y="436"/>
                  </a:lnTo>
                  <a:lnTo>
                    <a:pt x="109" y="436"/>
                  </a:lnTo>
                  <a:lnTo>
                    <a:pt x="111" y="434"/>
                  </a:lnTo>
                  <a:lnTo>
                    <a:pt x="113" y="432"/>
                  </a:lnTo>
                  <a:lnTo>
                    <a:pt x="121" y="438"/>
                  </a:lnTo>
                  <a:lnTo>
                    <a:pt x="123" y="440"/>
                  </a:lnTo>
                  <a:lnTo>
                    <a:pt x="123" y="442"/>
                  </a:lnTo>
                  <a:lnTo>
                    <a:pt x="123" y="442"/>
                  </a:lnTo>
                  <a:lnTo>
                    <a:pt x="125" y="444"/>
                  </a:lnTo>
                  <a:lnTo>
                    <a:pt x="127" y="444"/>
                  </a:lnTo>
                  <a:lnTo>
                    <a:pt x="131" y="449"/>
                  </a:lnTo>
                  <a:lnTo>
                    <a:pt x="133" y="449"/>
                  </a:lnTo>
                  <a:lnTo>
                    <a:pt x="133" y="449"/>
                  </a:lnTo>
                  <a:lnTo>
                    <a:pt x="135" y="449"/>
                  </a:lnTo>
                  <a:lnTo>
                    <a:pt x="139" y="446"/>
                  </a:lnTo>
                  <a:lnTo>
                    <a:pt x="139" y="444"/>
                  </a:lnTo>
                  <a:lnTo>
                    <a:pt x="139" y="444"/>
                  </a:lnTo>
                  <a:lnTo>
                    <a:pt x="141" y="442"/>
                  </a:lnTo>
                  <a:lnTo>
                    <a:pt x="141" y="442"/>
                  </a:lnTo>
                  <a:lnTo>
                    <a:pt x="141" y="440"/>
                  </a:lnTo>
                  <a:lnTo>
                    <a:pt x="143" y="440"/>
                  </a:lnTo>
                  <a:lnTo>
                    <a:pt x="146" y="440"/>
                  </a:lnTo>
                  <a:lnTo>
                    <a:pt x="148" y="440"/>
                  </a:lnTo>
                  <a:lnTo>
                    <a:pt x="148" y="442"/>
                  </a:lnTo>
                  <a:lnTo>
                    <a:pt x="148" y="442"/>
                  </a:lnTo>
                  <a:lnTo>
                    <a:pt x="146" y="446"/>
                  </a:lnTo>
                  <a:lnTo>
                    <a:pt x="150" y="449"/>
                  </a:lnTo>
                  <a:lnTo>
                    <a:pt x="154" y="449"/>
                  </a:lnTo>
                  <a:lnTo>
                    <a:pt x="152" y="451"/>
                  </a:lnTo>
                  <a:lnTo>
                    <a:pt x="152" y="451"/>
                  </a:lnTo>
                  <a:lnTo>
                    <a:pt x="152" y="451"/>
                  </a:lnTo>
                  <a:lnTo>
                    <a:pt x="152" y="453"/>
                  </a:lnTo>
                  <a:lnTo>
                    <a:pt x="154" y="453"/>
                  </a:lnTo>
                  <a:lnTo>
                    <a:pt x="156" y="453"/>
                  </a:lnTo>
                  <a:lnTo>
                    <a:pt x="156" y="453"/>
                  </a:lnTo>
                  <a:lnTo>
                    <a:pt x="156" y="451"/>
                  </a:lnTo>
                  <a:lnTo>
                    <a:pt x="158" y="451"/>
                  </a:lnTo>
                  <a:lnTo>
                    <a:pt x="160" y="453"/>
                  </a:lnTo>
                  <a:lnTo>
                    <a:pt x="162" y="453"/>
                  </a:lnTo>
                  <a:lnTo>
                    <a:pt x="166" y="453"/>
                  </a:lnTo>
                  <a:lnTo>
                    <a:pt x="166" y="451"/>
                  </a:lnTo>
                  <a:lnTo>
                    <a:pt x="170" y="449"/>
                  </a:lnTo>
                  <a:lnTo>
                    <a:pt x="172" y="446"/>
                  </a:lnTo>
                  <a:lnTo>
                    <a:pt x="172" y="446"/>
                  </a:lnTo>
                  <a:lnTo>
                    <a:pt x="172" y="449"/>
                  </a:lnTo>
                  <a:lnTo>
                    <a:pt x="170" y="451"/>
                  </a:lnTo>
                  <a:lnTo>
                    <a:pt x="170" y="451"/>
                  </a:lnTo>
                  <a:lnTo>
                    <a:pt x="168" y="453"/>
                  </a:lnTo>
                  <a:lnTo>
                    <a:pt x="166" y="453"/>
                  </a:lnTo>
                  <a:lnTo>
                    <a:pt x="166" y="453"/>
                  </a:lnTo>
                  <a:lnTo>
                    <a:pt x="164" y="453"/>
                  </a:lnTo>
                  <a:lnTo>
                    <a:pt x="164" y="453"/>
                  </a:lnTo>
                  <a:lnTo>
                    <a:pt x="164" y="455"/>
                  </a:lnTo>
                  <a:lnTo>
                    <a:pt x="164" y="455"/>
                  </a:lnTo>
                  <a:lnTo>
                    <a:pt x="164" y="455"/>
                  </a:lnTo>
                  <a:lnTo>
                    <a:pt x="164" y="457"/>
                  </a:lnTo>
                  <a:lnTo>
                    <a:pt x="168" y="457"/>
                  </a:lnTo>
                  <a:lnTo>
                    <a:pt x="170" y="457"/>
                  </a:lnTo>
                  <a:lnTo>
                    <a:pt x="172" y="455"/>
                  </a:lnTo>
                  <a:lnTo>
                    <a:pt x="172" y="453"/>
                  </a:lnTo>
                  <a:lnTo>
                    <a:pt x="172" y="453"/>
                  </a:lnTo>
                  <a:lnTo>
                    <a:pt x="174" y="451"/>
                  </a:lnTo>
                  <a:lnTo>
                    <a:pt x="174" y="451"/>
                  </a:lnTo>
                  <a:lnTo>
                    <a:pt x="174" y="453"/>
                  </a:lnTo>
                  <a:lnTo>
                    <a:pt x="174" y="453"/>
                  </a:lnTo>
                  <a:lnTo>
                    <a:pt x="176" y="453"/>
                  </a:lnTo>
                  <a:lnTo>
                    <a:pt x="176" y="453"/>
                  </a:lnTo>
                  <a:lnTo>
                    <a:pt x="176" y="451"/>
                  </a:lnTo>
                  <a:lnTo>
                    <a:pt x="178" y="451"/>
                  </a:lnTo>
                  <a:lnTo>
                    <a:pt x="180" y="453"/>
                  </a:lnTo>
                  <a:lnTo>
                    <a:pt x="180" y="453"/>
                  </a:lnTo>
                  <a:lnTo>
                    <a:pt x="182" y="453"/>
                  </a:lnTo>
                  <a:lnTo>
                    <a:pt x="186" y="459"/>
                  </a:lnTo>
                  <a:lnTo>
                    <a:pt x="189" y="461"/>
                  </a:lnTo>
                  <a:lnTo>
                    <a:pt x="189" y="461"/>
                  </a:lnTo>
                  <a:lnTo>
                    <a:pt x="191" y="463"/>
                  </a:lnTo>
                  <a:lnTo>
                    <a:pt x="191" y="465"/>
                  </a:lnTo>
                  <a:lnTo>
                    <a:pt x="191" y="465"/>
                  </a:lnTo>
                  <a:lnTo>
                    <a:pt x="189" y="465"/>
                  </a:lnTo>
                  <a:lnTo>
                    <a:pt x="189" y="463"/>
                  </a:lnTo>
                  <a:lnTo>
                    <a:pt x="186" y="461"/>
                  </a:lnTo>
                  <a:lnTo>
                    <a:pt x="186" y="459"/>
                  </a:lnTo>
                  <a:lnTo>
                    <a:pt x="184" y="459"/>
                  </a:lnTo>
                  <a:lnTo>
                    <a:pt x="182" y="459"/>
                  </a:lnTo>
                  <a:lnTo>
                    <a:pt x="180" y="455"/>
                  </a:lnTo>
                  <a:lnTo>
                    <a:pt x="180" y="455"/>
                  </a:lnTo>
                  <a:lnTo>
                    <a:pt x="180" y="455"/>
                  </a:lnTo>
                  <a:lnTo>
                    <a:pt x="180" y="453"/>
                  </a:lnTo>
                  <a:lnTo>
                    <a:pt x="178" y="453"/>
                  </a:lnTo>
                  <a:lnTo>
                    <a:pt x="178" y="453"/>
                  </a:lnTo>
                  <a:lnTo>
                    <a:pt x="178" y="453"/>
                  </a:lnTo>
                  <a:lnTo>
                    <a:pt x="176" y="453"/>
                  </a:lnTo>
                  <a:lnTo>
                    <a:pt x="176" y="453"/>
                  </a:lnTo>
                  <a:lnTo>
                    <a:pt x="174" y="453"/>
                  </a:lnTo>
                  <a:lnTo>
                    <a:pt x="174" y="453"/>
                  </a:lnTo>
                  <a:lnTo>
                    <a:pt x="172" y="455"/>
                  </a:lnTo>
                  <a:lnTo>
                    <a:pt x="172" y="455"/>
                  </a:lnTo>
                  <a:lnTo>
                    <a:pt x="172" y="455"/>
                  </a:lnTo>
                  <a:lnTo>
                    <a:pt x="172" y="457"/>
                  </a:lnTo>
                  <a:lnTo>
                    <a:pt x="172" y="457"/>
                  </a:lnTo>
                  <a:lnTo>
                    <a:pt x="170" y="457"/>
                  </a:lnTo>
                  <a:lnTo>
                    <a:pt x="170" y="457"/>
                  </a:lnTo>
                  <a:lnTo>
                    <a:pt x="168" y="457"/>
                  </a:lnTo>
                  <a:lnTo>
                    <a:pt x="168" y="459"/>
                  </a:lnTo>
                  <a:lnTo>
                    <a:pt x="168" y="459"/>
                  </a:lnTo>
                  <a:lnTo>
                    <a:pt x="170" y="459"/>
                  </a:lnTo>
                  <a:lnTo>
                    <a:pt x="170" y="461"/>
                  </a:lnTo>
                  <a:lnTo>
                    <a:pt x="168" y="459"/>
                  </a:lnTo>
                  <a:lnTo>
                    <a:pt x="164" y="457"/>
                  </a:lnTo>
                  <a:lnTo>
                    <a:pt x="154" y="455"/>
                  </a:lnTo>
                  <a:lnTo>
                    <a:pt x="150" y="453"/>
                  </a:lnTo>
                  <a:lnTo>
                    <a:pt x="139" y="449"/>
                  </a:lnTo>
                  <a:lnTo>
                    <a:pt x="139" y="449"/>
                  </a:lnTo>
                  <a:lnTo>
                    <a:pt x="133" y="451"/>
                  </a:lnTo>
                  <a:lnTo>
                    <a:pt x="131" y="451"/>
                  </a:lnTo>
                  <a:lnTo>
                    <a:pt x="131" y="451"/>
                  </a:lnTo>
                  <a:lnTo>
                    <a:pt x="127" y="446"/>
                  </a:lnTo>
                  <a:lnTo>
                    <a:pt x="125" y="446"/>
                  </a:lnTo>
                  <a:lnTo>
                    <a:pt x="125" y="446"/>
                  </a:lnTo>
                  <a:lnTo>
                    <a:pt x="123" y="446"/>
                  </a:lnTo>
                  <a:lnTo>
                    <a:pt x="117" y="451"/>
                  </a:lnTo>
                  <a:lnTo>
                    <a:pt x="117" y="451"/>
                  </a:lnTo>
                  <a:lnTo>
                    <a:pt x="115" y="451"/>
                  </a:lnTo>
                  <a:lnTo>
                    <a:pt x="115" y="451"/>
                  </a:lnTo>
                  <a:lnTo>
                    <a:pt x="115" y="449"/>
                  </a:lnTo>
                  <a:lnTo>
                    <a:pt x="113" y="449"/>
                  </a:lnTo>
                  <a:lnTo>
                    <a:pt x="113" y="451"/>
                  </a:lnTo>
                  <a:lnTo>
                    <a:pt x="111" y="453"/>
                  </a:lnTo>
                  <a:lnTo>
                    <a:pt x="109" y="455"/>
                  </a:lnTo>
                  <a:lnTo>
                    <a:pt x="109" y="455"/>
                  </a:lnTo>
                  <a:lnTo>
                    <a:pt x="109" y="459"/>
                  </a:lnTo>
                  <a:lnTo>
                    <a:pt x="113" y="461"/>
                  </a:lnTo>
                  <a:lnTo>
                    <a:pt x="115" y="463"/>
                  </a:lnTo>
                  <a:lnTo>
                    <a:pt x="115" y="467"/>
                  </a:lnTo>
                  <a:lnTo>
                    <a:pt x="113" y="471"/>
                  </a:lnTo>
                  <a:lnTo>
                    <a:pt x="113" y="473"/>
                  </a:lnTo>
                  <a:lnTo>
                    <a:pt x="113" y="475"/>
                  </a:lnTo>
                  <a:lnTo>
                    <a:pt x="115" y="475"/>
                  </a:lnTo>
                  <a:lnTo>
                    <a:pt x="119" y="479"/>
                  </a:lnTo>
                  <a:lnTo>
                    <a:pt x="121" y="479"/>
                  </a:lnTo>
                  <a:lnTo>
                    <a:pt x="117" y="481"/>
                  </a:lnTo>
                  <a:lnTo>
                    <a:pt x="117" y="481"/>
                  </a:lnTo>
                  <a:lnTo>
                    <a:pt x="119" y="481"/>
                  </a:lnTo>
                  <a:lnTo>
                    <a:pt x="117" y="483"/>
                  </a:lnTo>
                  <a:lnTo>
                    <a:pt x="119" y="483"/>
                  </a:lnTo>
                  <a:lnTo>
                    <a:pt x="121" y="483"/>
                  </a:lnTo>
                  <a:lnTo>
                    <a:pt x="121" y="483"/>
                  </a:lnTo>
                  <a:lnTo>
                    <a:pt x="121" y="485"/>
                  </a:lnTo>
                  <a:lnTo>
                    <a:pt x="123" y="490"/>
                  </a:lnTo>
                  <a:lnTo>
                    <a:pt x="123" y="502"/>
                  </a:lnTo>
                  <a:lnTo>
                    <a:pt x="125" y="506"/>
                  </a:lnTo>
                  <a:lnTo>
                    <a:pt x="125" y="506"/>
                  </a:lnTo>
                  <a:lnTo>
                    <a:pt x="127" y="508"/>
                  </a:lnTo>
                  <a:lnTo>
                    <a:pt x="127" y="508"/>
                  </a:lnTo>
                  <a:lnTo>
                    <a:pt x="129" y="508"/>
                  </a:lnTo>
                  <a:lnTo>
                    <a:pt x="129" y="510"/>
                  </a:lnTo>
                  <a:lnTo>
                    <a:pt x="129" y="510"/>
                  </a:lnTo>
                  <a:lnTo>
                    <a:pt x="129" y="510"/>
                  </a:lnTo>
                  <a:lnTo>
                    <a:pt x="129" y="510"/>
                  </a:lnTo>
                  <a:lnTo>
                    <a:pt x="129" y="512"/>
                  </a:lnTo>
                  <a:lnTo>
                    <a:pt x="129" y="512"/>
                  </a:lnTo>
                  <a:lnTo>
                    <a:pt x="131" y="512"/>
                  </a:lnTo>
                  <a:lnTo>
                    <a:pt x="129" y="514"/>
                  </a:lnTo>
                  <a:lnTo>
                    <a:pt x="127" y="514"/>
                  </a:lnTo>
                  <a:lnTo>
                    <a:pt x="125" y="512"/>
                  </a:lnTo>
                  <a:lnTo>
                    <a:pt x="123" y="512"/>
                  </a:lnTo>
                  <a:lnTo>
                    <a:pt x="123" y="510"/>
                  </a:lnTo>
                  <a:lnTo>
                    <a:pt x="123" y="508"/>
                  </a:lnTo>
                  <a:lnTo>
                    <a:pt x="121" y="506"/>
                  </a:lnTo>
                  <a:lnTo>
                    <a:pt x="121" y="506"/>
                  </a:lnTo>
                  <a:lnTo>
                    <a:pt x="119" y="506"/>
                  </a:lnTo>
                  <a:lnTo>
                    <a:pt x="119" y="504"/>
                  </a:lnTo>
                  <a:lnTo>
                    <a:pt x="119" y="504"/>
                  </a:lnTo>
                  <a:lnTo>
                    <a:pt x="117" y="504"/>
                  </a:lnTo>
                  <a:lnTo>
                    <a:pt x="117" y="504"/>
                  </a:lnTo>
                  <a:lnTo>
                    <a:pt x="117" y="502"/>
                  </a:lnTo>
                  <a:lnTo>
                    <a:pt x="115" y="502"/>
                  </a:lnTo>
                  <a:lnTo>
                    <a:pt x="115" y="500"/>
                  </a:lnTo>
                  <a:lnTo>
                    <a:pt x="115" y="500"/>
                  </a:lnTo>
                  <a:lnTo>
                    <a:pt x="113" y="500"/>
                  </a:lnTo>
                  <a:lnTo>
                    <a:pt x="113" y="498"/>
                  </a:lnTo>
                  <a:lnTo>
                    <a:pt x="113" y="498"/>
                  </a:lnTo>
                  <a:lnTo>
                    <a:pt x="111" y="498"/>
                  </a:lnTo>
                  <a:lnTo>
                    <a:pt x="109" y="496"/>
                  </a:lnTo>
                  <a:lnTo>
                    <a:pt x="109" y="494"/>
                  </a:lnTo>
                  <a:lnTo>
                    <a:pt x="109" y="494"/>
                  </a:lnTo>
                  <a:lnTo>
                    <a:pt x="107" y="494"/>
                  </a:lnTo>
                  <a:lnTo>
                    <a:pt x="105" y="494"/>
                  </a:lnTo>
                  <a:lnTo>
                    <a:pt x="105" y="492"/>
                  </a:lnTo>
                  <a:lnTo>
                    <a:pt x="105" y="492"/>
                  </a:lnTo>
                  <a:lnTo>
                    <a:pt x="105" y="490"/>
                  </a:lnTo>
                  <a:lnTo>
                    <a:pt x="105" y="490"/>
                  </a:lnTo>
                  <a:lnTo>
                    <a:pt x="105" y="487"/>
                  </a:lnTo>
                  <a:lnTo>
                    <a:pt x="105" y="487"/>
                  </a:lnTo>
                  <a:lnTo>
                    <a:pt x="107" y="479"/>
                  </a:lnTo>
                  <a:lnTo>
                    <a:pt x="107" y="479"/>
                  </a:lnTo>
                  <a:lnTo>
                    <a:pt x="107" y="479"/>
                  </a:lnTo>
                  <a:lnTo>
                    <a:pt x="109" y="479"/>
                  </a:lnTo>
                  <a:lnTo>
                    <a:pt x="107" y="479"/>
                  </a:lnTo>
                  <a:lnTo>
                    <a:pt x="107" y="477"/>
                  </a:lnTo>
                  <a:lnTo>
                    <a:pt x="107" y="477"/>
                  </a:lnTo>
                  <a:lnTo>
                    <a:pt x="107" y="475"/>
                  </a:lnTo>
                  <a:lnTo>
                    <a:pt x="107" y="471"/>
                  </a:lnTo>
                  <a:lnTo>
                    <a:pt x="107" y="471"/>
                  </a:lnTo>
                  <a:lnTo>
                    <a:pt x="105" y="469"/>
                  </a:lnTo>
                  <a:lnTo>
                    <a:pt x="100" y="469"/>
                  </a:lnTo>
                  <a:lnTo>
                    <a:pt x="98" y="469"/>
                  </a:lnTo>
                  <a:lnTo>
                    <a:pt x="98" y="469"/>
                  </a:lnTo>
                  <a:lnTo>
                    <a:pt x="94" y="473"/>
                  </a:lnTo>
                  <a:lnTo>
                    <a:pt x="94" y="477"/>
                  </a:lnTo>
                  <a:lnTo>
                    <a:pt x="94" y="483"/>
                  </a:lnTo>
                  <a:lnTo>
                    <a:pt x="94" y="487"/>
                  </a:lnTo>
                  <a:lnTo>
                    <a:pt x="94" y="490"/>
                  </a:lnTo>
                  <a:lnTo>
                    <a:pt x="92" y="492"/>
                  </a:lnTo>
                  <a:lnTo>
                    <a:pt x="90" y="494"/>
                  </a:lnTo>
                  <a:lnTo>
                    <a:pt x="90" y="500"/>
                  </a:lnTo>
                  <a:lnTo>
                    <a:pt x="90" y="500"/>
                  </a:lnTo>
                  <a:lnTo>
                    <a:pt x="92" y="500"/>
                  </a:lnTo>
                  <a:lnTo>
                    <a:pt x="92" y="500"/>
                  </a:lnTo>
                  <a:lnTo>
                    <a:pt x="94" y="502"/>
                  </a:lnTo>
                  <a:lnTo>
                    <a:pt x="94" y="504"/>
                  </a:lnTo>
                  <a:lnTo>
                    <a:pt x="94" y="508"/>
                  </a:lnTo>
                  <a:lnTo>
                    <a:pt x="96" y="510"/>
                  </a:lnTo>
                  <a:lnTo>
                    <a:pt x="96" y="512"/>
                  </a:lnTo>
                  <a:lnTo>
                    <a:pt x="96" y="514"/>
                  </a:lnTo>
                  <a:lnTo>
                    <a:pt x="96" y="516"/>
                  </a:lnTo>
                  <a:lnTo>
                    <a:pt x="96" y="518"/>
                  </a:lnTo>
                  <a:lnTo>
                    <a:pt x="94" y="524"/>
                  </a:lnTo>
                  <a:lnTo>
                    <a:pt x="94" y="528"/>
                  </a:lnTo>
                  <a:lnTo>
                    <a:pt x="92" y="531"/>
                  </a:lnTo>
                  <a:lnTo>
                    <a:pt x="94" y="537"/>
                  </a:lnTo>
                  <a:lnTo>
                    <a:pt x="96" y="539"/>
                  </a:lnTo>
                  <a:lnTo>
                    <a:pt x="96" y="541"/>
                  </a:lnTo>
                  <a:lnTo>
                    <a:pt x="96" y="543"/>
                  </a:lnTo>
                  <a:lnTo>
                    <a:pt x="96" y="543"/>
                  </a:lnTo>
                  <a:lnTo>
                    <a:pt x="102" y="549"/>
                  </a:lnTo>
                  <a:lnTo>
                    <a:pt x="105" y="555"/>
                  </a:lnTo>
                  <a:lnTo>
                    <a:pt x="107" y="559"/>
                  </a:lnTo>
                  <a:lnTo>
                    <a:pt x="113" y="565"/>
                  </a:lnTo>
                  <a:lnTo>
                    <a:pt x="115" y="565"/>
                  </a:lnTo>
                  <a:lnTo>
                    <a:pt x="117" y="565"/>
                  </a:lnTo>
                  <a:lnTo>
                    <a:pt x="119" y="565"/>
                  </a:lnTo>
                  <a:lnTo>
                    <a:pt x="121" y="565"/>
                  </a:lnTo>
                  <a:lnTo>
                    <a:pt x="123" y="565"/>
                  </a:lnTo>
                  <a:lnTo>
                    <a:pt x="123" y="567"/>
                  </a:lnTo>
                  <a:lnTo>
                    <a:pt x="127" y="565"/>
                  </a:lnTo>
                  <a:lnTo>
                    <a:pt x="129" y="567"/>
                  </a:lnTo>
                  <a:lnTo>
                    <a:pt x="131" y="567"/>
                  </a:lnTo>
                  <a:lnTo>
                    <a:pt x="133" y="571"/>
                  </a:lnTo>
                  <a:lnTo>
                    <a:pt x="135" y="582"/>
                  </a:lnTo>
                  <a:lnTo>
                    <a:pt x="137" y="586"/>
                  </a:lnTo>
                  <a:lnTo>
                    <a:pt x="135" y="592"/>
                  </a:lnTo>
                  <a:lnTo>
                    <a:pt x="135" y="592"/>
                  </a:lnTo>
                  <a:lnTo>
                    <a:pt x="135" y="592"/>
                  </a:lnTo>
                  <a:lnTo>
                    <a:pt x="137" y="592"/>
                  </a:lnTo>
                  <a:lnTo>
                    <a:pt x="137" y="592"/>
                  </a:lnTo>
                  <a:lnTo>
                    <a:pt x="137" y="592"/>
                  </a:lnTo>
                  <a:lnTo>
                    <a:pt x="137" y="594"/>
                  </a:lnTo>
                  <a:lnTo>
                    <a:pt x="137" y="594"/>
                  </a:lnTo>
                  <a:lnTo>
                    <a:pt x="137" y="594"/>
                  </a:lnTo>
                  <a:lnTo>
                    <a:pt x="135" y="594"/>
                  </a:lnTo>
                  <a:lnTo>
                    <a:pt x="133" y="594"/>
                  </a:lnTo>
                  <a:lnTo>
                    <a:pt x="133" y="594"/>
                  </a:lnTo>
                  <a:lnTo>
                    <a:pt x="131" y="600"/>
                  </a:lnTo>
                  <a:lnTo>
                    <a:pt x="131" y="602"/>
                  </a:lnTo>
                  <a:lnTo>
                    <a:pt x="129" y="602"/>
                  </a:lnTo>
                  <a:lnTo>
                    <a:pt x="127" y="604"/>
                  </a:lnTo>
                  <a:lnTo>
                    <a:pt x="125" y="604"/>
                  </a:lnTo>
                  <a:lnTo>
                    <a:pt x="125" y="604"/>
                  </a:lnTo>
                  <a:lnTo>
                    <a:pt x="123" y="602"/>
                  </a:lnTo>
                  <a:lnTo>
                    <a:pt x="121" y="602"/>
                  </a:lnTo>
                  <a:lnTo>
                    <a:pt x="121" y="602"/>
                  </a:lnTo>
                  <a:lnTo>
                    <a:pt x="119" y="604"/>
                  </a:lnTo>
                  <a:lnTo>
                    <a:pt x="117" y="606"/>
                  </a:lnTo>
                  <a:lnTo>
                    <a:pt x="117" y="608"/>
                  </a:lnTo>
                  <a:lnTo>
                    <a:pt x="119" y="608"/>
                  </a:lnTo>
                  <a:lnTo>
                    <a:pt x="119" y="610"/>
                  </a:lnTo>
                  <a:lnTo>
                    <a:pt x="121" y="610"/>
                  </a:lnTo>
                  <a:lnTo>
                    <a:pt x="121" y="612"/>
                  </a:lnTo>
                  <a:lnTo>
                    <a:pt x="119" y="612"/>
                  </a:lnTo>
                  <a:lnTo>
                    <a:pt x="117" y="612"/>
                  </a:lnTo>
                  <a:lnTo>
                    <a:pt x="117" y="615"/>
                  </a:lnTo>
                  <a:lnTo>
                    <a:pt x="117" y="617"/>
                  </a:lnTo>
                  <a:lnTo>
                    <a:pt x="119" y="621"/>
                  </a:lnTo>
                  <a:lnTo>
                    <a:pt x="119" y="627"/>
                  </a:lnTo>
                  <a:lnTo>
                    <a:pt x="117" y="631"/>
                  </a:lnTo>
                  <a:lnTo>
                    <a:pt x="117" y="631"/>
                  </a:lnTo>
                  <a:lnTo>
                    <a:pt x="119" y="635"/>
                  </a:lnTo>
                  <a:lnTo>
                    <a:pt x="119" y="635"/>
                  </a:lnTo>
                  <a:lnTo>
                    <a:pt x="119" y="637"/>
                  </a:lnTo>
                  <a:lnTo>
                    <a:pt x="119" y="637"/>
                  </a:lnTo>
                  <a:lnTo>
                    <a:pt x="119" y="639"/>
                  </a:lnTo>
                  <a:lnTo>
                    <a:pt x="119" y="639"/>
                  </a:lnTo>
                  <a:lnTo>
                    <a:pt x="121" y="639"/>
                  </a:lnTo>
                  <a:lnTo>
                    <a:pt x="121" y="641"/>
                  </a:lnTo>
                  <a:lnTo>
                    <a:pt x="121" y="643"/>
                  </a:lnTo>
                  <a:lnTo>
                    <a:pt x="121" y="643"/>
                  </a:lnTo>
                  <a:lnTo>
                    <a:pt x="121" y="645"/>
                  </a:lnTo>
                  <a:lnTo>
                    <a:pt x="123" y="645"/>
                  </a:lnTo>
                  <a:lnTo>
                    <a:pt x="125" y="647"/>
                  </a:lnTo>
                  <a:lnTo>
                    <a:pt x="131" y="653"/>
                  </a:lnTo>
                  <a:lnTo>
                    <a:pt x="133" y="658"/>
                  </a:lnTo>
                  <a:lnTo>
                    <a:pt x="137" y="666"/>
                  </a:lnTo>
                  <a:lnTo>
                    <a:pt x="137" y="670"/>
                  </a:lnTo>
                  <a:lnTo>
                    <a:pt x="137" y="672"/>
                  </a:lnTo>
                  <a:lnTo>
                    <a:pt x="139" y="672"/>
                  </a:lnTo>
                  <a:lnTo>
                    <a:pt x="141" y="674"/>
                  </a:lnTo>
                  <a:lnTo>
                    <a:pt x="143" y="674"/>
                  </a:lnTo>
                  <a:lnTo>
                    <a:pt x="143" y="676"/>
                  </a:lnTo>
                  <a:lnTo>
                    <a:pt x="146" y="678"/>
                  </a:lnTo>
                  <a:lnTo>
                    <a:pt x="146" y="680"/>
                  </a:lnTo>
                  <a:lnTo>
                    <a:pt x="146" y="682"/>
                  </a:lnTo>
                  <a:lnTo>
                    <a:pt x="146" y="684"/>
                  </a:lnTo>
                  <a:lnTo>
                    <a:pt x="146" y="686"/>
                  </a:lnTo>
                  <a:lnTo>
                    <a:pt x="146" y="688"/>
                  </a:lnTo>
                  <a:lnTo>
                    <a:pt x="148" y="690"/>
                  </a:lnTo>
                  <a:lnTo>
                    <a:pt x="150" y="694"/>
                  </a:lnTo>
                  <a:lnTo>
                    <a:pt x="150" y="697"/>
                  </a:lnTo>
                  <a:lnTo>
                    <a:pt x="152" y="699"/>
                  </a:lnTo>
                  <a:lnTo>
                    <a:pt x="154" y="701"/>
                  </a:lnTo>
                  <a:lnTo>
                    <a:pt x="156" y="703"/>
                  </a:lnTo>
                  <a:lnTo>
                    <a:pt x="156" y="709"/>
                  </a:lnTo>
                  <a:lnTo>
                    <a:pt x="158" y="715"/>
                  </a:lnTo>
                  <a:lnTo>
                    <a:pt x="158" y="717"/>
                  </a:lnTo>
                  <a:lnTo>
                    <a:pt x="164" y="719"/>
                  </a:lnTo>
                  <a:lnTo>
                    <a:pt x="166" y="721"/>
                  </a:lnTo>
                  <a:lnTo>
                    <a:pt x="168" y="723"/>
                  </a:lnTo>
                  <a:lnTo>
                    <a:pt x="170" y="729"/>
                  </a:lnTo>
                  <a:lnTo>
                    <a:pt x="172" y="733"/>
                  </a:lnTo>
                  <a:lnTo>
                    <a:pt x="174" y="737"/>
                  </a:lnTo>
                  <a:lnTo>
                    <a:pt x="176" y="740"/>
                  </a:lnTo>
                  <a:lnTo>
                    <a:pt x="178" y="742"/>
                  </a:lnTo>
                  <a:lnTo>
                    <a:pt x="184" y="744"/>
                  </a:lnTo>
                  <a:lnTo>
                    <a:pt x="186" y="746"/>
                  </a:lnTo>
                  <a:lnTo>
                    <a:pt x="186" y="748"/>
                  </a:lnTo>
                  <a:lnTo>
                    <a:pt x="186" y="750"/>
                  </a:lnTo>
                  <a:lnTo>
                    <a:pt x="186" y="752"/>
                  </a:lnTo>
                  <a:lnTo>
                    <a:pt x="186" y="754"/>
                  </a:lnTo>
                  <a:lnTo>
                    <a:pt x="189" y="756"/>
                  </a:lnTo>
                  <a:lnTo>
                    <a:pt x="189" y="758"/>
                  </a:lnTo>
                  <a:lnTo>
                    <a:pt x="189" y="758"/>
                  </a:lnTo>
                  <a:lnTo>
                    <a:pt x="186" y="758"/>
                  </a:lnTo>
                  <a:lnTo>
                    <a:pt x="186" y="758"/>
                  </a:lnTo>
                  <a:lnTo>
                    <a:pt x="186" y="756"/>
                  </a:lnTo>
                  <a:lnTo>
                    <a:pt x="186" y="754"/>
                  </a:lnTo>
                  <a:lnTo>
                    <a:pt x="182" y="762"/>
                  </a:lnTo>
                  <a:lnTo>
                    <a:pt x="182" y="764"/>
                  </a:lnTo>
                  <a:lnTo>
                    <a:pt x="182" y="766"/>
                  </a:lnTo>
                  <a:lnTo>
                    <a:pt x="182" y="768"/>
                  </a:lnTo>
                  <a:lnTo>
                    <a:pt x="184" y="770"/>
                  </a:lnTo>
                  <a:lnTo>
                    <a:pt x="189" y="774"/>
                  </a:lnTo>
                  <a:lnTo>
                    <a:pt x="191" y="776"/>
                  </a:lnTo>
                  <a:lnTo>
                    <a:pt x="191" y="776"/>
                  </a:lnTo>
                  <a:lnTo>
                    <a:pt x="193" y="776"/>
                  </a:lnTo>
                  <a:lnTo>
                    <a:pt x="195" y="776"/>
                  </a:lnTo>
                  <a:lnTo>
                    <a:pt x="197" y="776"/>
                  </a:lnTo>
                  <a:lnTo>
                    <a:pt x="197" y="776"/>
                  </a:lnTo>
                  <a:lnTo>
                    <a:pt x="199" y="778"/>
                  </a:lnTo>
                  <a:lnTo>
                    <a:pt x="199" y="778"/>
                  </a:lnTo>
                  <a:lnTo>
                    <a:pt x="201" y="781"/>
                  </a:lnTo>
                  <a:lnTo>
                    <a:pt x="201" y="781"/>
                  </a:lnTo>
                  <a:lnTo>
                    <a:pt x="201" y="785"/>
                  </a:lnTo>
                  <a:lnTo>
                    <a:pt x="201" y="789"/>
                  </a:lnTo>
                  <a:lnTo>
                    <a:pt x="199" y="793"/>
                  </a:lnTo>
                  <a:lnTo>
                    <a:pt x="199" y="797"/>
                  </a:lnTo>
                  <a:lnTo>
                    <a:pt x="195" y="803"/>
                  </a:lnTo>
                  <a:lnTo>
                    <a:pt x="193" y="805"/>
                  </a:lnTo>
                  <a:lnTo>
                    <a:pt x="195" y="805"/>
                  </a:lnTo>
                  <a:lnTo>
                    <a:pt x="197" y="809"/>
                  </a:lnTo>
                  <a:lnTo>
                    <a:pt x="197" y="809"/>
                  </a:lnTo>
                  <a:lnTo>
                    <a:pt x="197" y="811"/>
                  </a:lnTo>
                  <a:lnTo>
                    <a:pt x="197" y="811"/>
                  </a:lnTo>
                  <a:lnTo>
                    <a:pt x="197" y="813"/>
                  </a:lnTo>
                  <a:lnTo>
                    <a:pt x="197" y="815"/>
                  </a:lnTo>
                  <a:lnTo>
                    <a:pt x="195" y="819"/>
                  </a:lnTo>
                  <a:lnTo>
                    <a:pt x="193" y="822"/>
                  </a:lnTo>
                  <a:lnTo>
                    <a:pt x="195" y="824"/>
                  </a:lnTo>
                  <a:lnTo>
                    <a:pt x="195" y="826"/>
                  </a:lnTo>
                  <a:lnTo>
                    <a:pt x="195" y="828"/>
                  </a:lnTo>
                  <a:lnTo>
                    <a:pt x="195" y="830"/>
                  </a:lnTo>
                  <a:lnTo>
                    <a:pt x="193" y="832"/>
                  </a:lnTo>
                  <a:lnTo>
                    <a:pt x="193" y="834"/>
                  </a:lnTo>
                  <a:lnTo>
                    <a:pt x="191" y="834"/>
                  </a:lnTo>
                  <a:lnTo>
                    <a:pt x="191" y="838"/>
                  </a:lnTo>
                  <a:lnTo>
                    <a:pt x="189" y="840"/>
                  </a:lnTo>
                  <a:lnTo>
                    <a:pt x="189" y="840"/>
                  </a:lnTo>
                  <a:lnTo>
                    <a:pt x="191" y="842"/>
                  </a:lnTo>
                  <a:lnTo>
                    <a:pt x="193" y="844"/>
                  </a:lnTo>
                  <a:lnTo>
                    <a:pt x="195" y="844"/>
                  </a:lnTo>
                  <a:lnTo>
                    <a:pt x="197" y="844"/>
                  </a:lnTo>
                  <a:lnTo>
                    <a:pt x="199" y="848"/>
                  </a:lnTo>
                  <a:lnTo>
                    <a:pt x="201" y="852"/>
                  </a:lnTo>
                  <a:lnTo>
                    <a:pt x="203" y="856"/>
                  </a:lnTo>
                  <a:lnTo>
                    <a:pt x="207" y="856"/>
                  </a:lnTo>
                  <a:lnTo>
                    <a:pt x="215" y="856"/>
                  </a:lnTo>
                  <a:lnTo>
                    <a:pt x="227" y="858"/>
                  </a:lnTo>
                  <a:lnTo>
                    <a:pt x="232" y="860"/>
                  </a:lnTo>
                  <a:lnTo>
                    <a:pt x="236" y="862"/>
                  </a:lnTo>
                  <a:lnTo>
                    <a:pt x="240" y="862"/>
                  </a:lnTo>
                  <a:lnTo>
                    <a:pt x="246" y="865"/>
                  </a:lnTo>
                  <a:lnTo>
                    <a:pt x="254" y="871"/>
                  </a:lnTo>
                  <a:lnTo>
                    <a:pt x="256" y="871"/>
                  </a:lnTo>
                  <a:lnTo>
                    <a:pt x="258" y="871"/>
                  </a:lnTo>
                  <a:lnTo>
                    <a:pt x="260" y="871"/>
                  </a:lnTo>
                  <a:lnTo>
                    <a:pt x="260" y="871"/>
                  </a:lnTo>
                  <a:lnTo>
                    <a:pt x="262" y="873"/>
                  </a:lnTo>
                  <a:lnTo>
                    <a:pt x="264" y="873"/>
                  </a:lnTo>
                  <a:lnTo>
                    <a:pt x="266" y="875"/>
                  </a:lnTo>
                  <a:lnTo>
                    <a:pt x="266" y="875"/>
                  </a:lnTo>
                  <a:lnTo>
                    <a:pt x="268" y="875"/>
                  </a:lnTo>
                  <a:lnTo>
                    <a:pt x="268" y="875"/>
                  </a:lnTo>
                  <a:lnTo>
                    <a:pt x="270" y="873"/>
                  </a:lnTo>
                  <a:lnTo>
                    <a:pt x="275" y="873"/>
                  </a:lnTo>
                  <a:lnTo>
                    <a:pt x="277" y="875"/>
                  </a:lnTo>
                  <a:lnTo>
                    <a:pt x="279" y="875"/>
                  </a:lnTo>
                  <a:lnTo>
                    <a:pt x="279" y="875"/>
                  </a:lnTo>
                  <a:lnTo>
                    <a:pt x="281" y="875"/>
                  </a:lnTo>
                  <a:lnTo>
                    <a:pt x="283" y="877"/>
                  </a:lnTo>
                  <a:lnTo>
                    <a:pt x="287" y="881"/>
                  </a:lnTo>
                  <a:lnTo>
                    <a:pt x="291" y="883"/>
                  </a:lnTo>
                  <a:lnTo>
                    <a:pt x="299" y="893"/>
                  </a:lnTo>
                  <a:lnTo>
                    <a:pt x="301" y="895"/>
                  </a:lnTo>
                  <a:lnTo>
                    <a:pt x="303" y="895"/>
                  </a:lnTo>
                  <a:lnTo>
                    <a:pt x="303" y="895"/>
                  </a:lnTo>
                  <a:lnTo>
                    <a:pt x="303" y="895"/>
                  </a:lnTo>
                  <a:lnTo>
                    <a:pt x="305" y="897"/>
                  </a:lnTo>
                  <a:lnTo>
                    <a:pt x="303" y="897"/>
                  </a:lnTo>
                  <a:lnTo>
                    <a:pt x="303" y="899"/>
                  </a:lnTo>
                  <a:lnTo>
                    <a:pt x="305" y="899"/>
                  </a:lnTo>
                  <a:lnTo>
                    <a:pt x="305" y="901"/>
                  </a:lnTo>
                  <a:lnTo>
                    <a:pt x="305" y="901"/>
                  </a:lnTo>
                  <a:lnTo>
                    <a:pt x="305" y="903"/>
                  </a:lnTo>
                  <a:lnTo>
                    <a:pt x="305" y="906"/>
                  </a:lnTo>
                  <a:lnTo>
                    <a:pt x="305" y="906"/>
                  </a:lnTo>
                  <a:lnTo>
                    <a:pt x="305" y="908"/>
                  </a:lnTo>
                  <a:lnTo>
                    <a:pt x="307" y="908"/>
                  </a:lnTo>
                  <a:lnTo>
                    <a:pt x="307" y="908"/>
                  </a:lnTo>
                  <a:lnTo>
                    <a:pt x="307" y="910"/>
                  </a:lnTo>
                  <a:lnTo>
                    <a:pt x="307" y="910"/>
                  </a:lnTo>
                  <a:lnTo>
                    <a:pt x="311" y="914"/>
                  </a:lnTo>
                  <a:lnTo>
                    <a:pt x="313" y="916"/>
                  </a:lnTo>
                  <a:lnTo>
                    <a:pt x="315" y="916"/>
                  </a:lnTo>
                  <a:lnTo>
                    <a:pt x="315" y="916"/>
                  </a:lnTo>
                  <a:lnTo>
                    <a:pt x="313" y="916"/>
                  </a:lnTo>
                  <a:lnTo>
                    <a:pt x="313" y="916"/>
                  </a:lnTo>
                  <a:lnTo>
                    <a:pt x="313" y="914"/>
                  </a:lnTo>
                  <a:lnTo>
                    <a:pt x="315" y="916"/>
                  </a:lnTo>
                  <a:lnTo>
                    <a:pt x="324" y="920"/>
                  </a:lnTo>
                  <a:lnTo>
                    <a:pt x="332" y="924"/>
                  </a:lnTo>
                  <a:lnTo>
                    <a:pt x="336" y="926"/>
                  </a:lnTo>
                  <a:lnTo>
                    <a:pt x="338" y="928"/>
                  </a:lnTo>
                  <a:lnTo>
                    <a:pt x="340" y="930"/>
                  </a:lnTo>
                  <a:lnTo>
                    <a:pt x="342" y="930"/>
                  </a:lnTo>
                  <a:lnTo>
                    <a:pt x="344" y="928"/>
                  </a:lnTo>
                  <a:lnTo>
                    <a:pt x="356" y="930"/>
                  </a:lnTo>
                  <a:lnTo>
                    <a:pt x="359" y="930"/>
                  </a:lnTo>
                  <a:lnTo>
                    <a:pt x="359" y="930"/>
                  </a:lnTo>
                  <a:lnTo>
                    <a:pt x="359" y="930"/>
                  </a:lnTo>
                  <a:lnTo>
                    <a:pt x="361" y="930"/>
                  </a:lnTo>
                  <a:lnTo>
                    <a:pt x="363" y="930"/>
                  </a:lnTo>
                  <a:lnTo>
                    <a:pt x="365" y="930"/>
                  </a:lnTo>
                  <a:lnTo>
                    <a:pt x="367" y="932"/>
                  </a:lnTo>
                  <a:lnTo>
                    <a:pt x="369" y="936"/>
                  </a:lnTo>
                  <a:lnTo>
                    <a:pt x="371" y="942"/>
                  </a:lnTo>
                  <a:lnTo>
                    <a:pt x="373" y="947"/>
                  </a:lnTo>
                  <a:lnTo>
                    <a:pt x="373" y="951"/>
                  </a:lnTo>
                  <a:lnTo>
                    <a:pt x="375" y="953"/>
                  </a:lnTo>
                  <a:lnTo>
                    <a:pt x="373" y="955"/>
                  </a:lnTo>
                  <a:lnTo>
                    <a:pt x="373" y="959"/>
                  </a:lnTo>
                  <a:lnTo>
                    <a:pt x="373" y="959"/>
                  </a:lnTo>
                  <a:lnTo>
                    <a:pt x="371" y="961"/>
                  </a:lnTo>
                  <a:lnTo>
                    <a:pt x="371" y="963"/>
                  </a:lnTo>
                  <a:lnTo>
                    <a:pt x="371" y="965"/>
                  </a:lnTo>
                  <a:lnTo>
                    <a:pt x="373" y="965"/>
                  </a:lnTo>
                  <a:lnTo>
                    <a:pt x="373" y="967"/>
                  </a:lnTo>
                  <a:lnTo>
                    <a:pt x="373" y="967"/>
                  </a:lnTo>
                  <a:lnTo>
                    <a:pt x="375" y="967"/>
                  </a:lnTo>
                  <a:lnTo>
                    <a:pt x="375" y="965"/>
                  </a:lnTo>
                  <a:lnTo>
                    <a:pt x="377" y="967"/>
                  </a:lnTo>
                  <a:lnTo>
                    <a:pt x="377" y="969"/>
                  </a:lnTo>
                  <a:lnTo>
                    <a:pt x="377" y="969"/>
                  </a:lnTo>
                  <a:lnTo>
                    <a:pt x="379" y="969"/>
                  </a:lnTo>
                  <a:lnTo>
                    <a:pt x="379" y="971"/>
                  </a:lnTo>
                  <a:lnTo>
                    <a:pt x="381" y="971"/>
                  </a:lnTo>
                  <a:lnTo>
                    <a:pt x="381" y="971"/>
                  </a:lnTo>
                  <a:lnTo>
                    <a:pt x="383" y="969"/>
                  </a:lnTo>
                  <a:lnTo>
                    <a:pt x="383" y="969"/>
                  </a:lnTo>
                  <a:lnTo>
                    <a:pt x="383" y="969"/>
                  </a:lnTo>
                  <a:lnTo>
                    <a:pt x="383" y="965"/>
                  </a:lnTo>
                  <a:lnTo>
                    <a:pt x="385" y="965"/>
                  </a:lnTo>
                  <a:lnTo>
                    <a:pt x="385" y="965"/>
                  </a:lnTo>
                  <a:lnTo>
                    <a:pt x="387" y="965"/>
                  </a:lnTo>
                  <a:lnTo>
                    <a:pt x="387" y="965"/>
                  </a:lnTo>
                  <a:lnTo>
                    <a:pt x="387" y="965"/>
                  </a:lnTo>
                  <a:lnTo>
                    <a:pt x="389" y="965"/>
                  </a:lnTo>
                  <a:lnTo>
                    <a:pt x="391" y="967"/>
                  </a:lnTo>
                  <a:lnTo>
                    <a:pt x="393" y="967"/>
                  </a:lnTo>
                  <a:lnTo>
                    <a:pt x="395" y="967"/>
                  </a:lnTo>
                  <a:lnTo>
                    <a:pt x="397" y="967"/>
                  </a:lnTo>
                  <a:lnTo>
                    <a:pt x="408" y="981"/>
                  </a:lnTo>
                  <a:lnTo>
                    <a:pt x="410" y="985"/>
                  </a:lnTo>
                  <a:lnTo>
                    <a:pt x="420" y="992"/>
                  </a:lnTo>
                  <a:lnTo>
                    <a:pt x="424" y="996"/>
                  </a:lnTo>
                  <a:lnTo>
                    <a:pt x="426" y="1002"/>
                  </a:lnTo>
                  <a:lnTo>
                    <a:pt x="428" y="1002"/>
                  </a:lnTo>
                  <a:lnTo>
                    <a:pt x="432" y="1006"/>
                  </a:lnTo>
                  <a:lnTo>
                    <a:pt x="432" y="1008"/>
                  </a:lnTo>
                  <a:lnTo>
                    <a:pt x="436" y="1014"/>
                  </a:lnTo>
                  <a:lnTo>
                    <a:pt x="445" y="1020"/>
                  </a:lnTo>
                  <a:lnTo>
                    <a:pt x="455" y="1041"/>
                  </a:lnTo>
                  <a:lnTo>
                    <a:pt x="457" y="1051"/>
                  </a:lnTo>
                  <a:lnTo>
                    <a:pt x="459" y="1057"/>
                  </a:lnTo>
                  <a:lnTo>
                    <a:pt x="459" y="1059"/>
                  </a:lnTo>
                  <a:lnTo>
                    <a:pt x="459" y="1061"/>
                  </a:lnTo>
                  <a:lnTo>
                    <a:pt x="459" y="1072"/>
                  </a:lnTo>
                  <a:lnTo>
                    <a:pt x="459" y="1074"/>
                  </a:lnTo>
                  <a:lnTo>
                    <a:pt x="459" y="1076"/>
                  </a:lnTo>
                  <a:lnTo>
                    <a:pt x="457" y="1076"/>
                  </a:lnTo>
                  <a:lnTo>
                    <a:pt x="457" y="1078"/>
                  </a:lnTo>
                  <a:lnTo>
                    <a:pt x="455" y="1080"/>
                  </a:lnTo>
                  <a:lnTo>
                    <a:pt x="457" y="1084"/>
                  </a:lnTo>
                  <a:lnTo>
                    <a:pt x="457" y="1086"/>
                  </a:lnTo>
                  <a:lnTo>
                    <a:pt x="457" y="1088"/>
                  </a:lnTo>
                  <a:lnTo>
                    <a:pt x="455" y="1092"/>
                  </a:lnTo>
                  <a:lnTo>
                    <a:pt x="455" y="1092"/>
                  </a:lnTo>
                  <a:lnTo>
                    <a:pt x="457" y="1094"/>
                  </a:lnTo>
                  <a:lnTo>
                    <a:pt x="457" y="1096"/>
                  </a:lnTo>
                  <a:lnTo>
                    <a:pt x="457" y="1096"/>
                  </a:lnTo>
                  <a:lnTo>
                    <a:pt x="459" y="1092"/>
                  </a:lnTo>
                  <a:lnTo>
                    <a:pt x="459" y="1092"/>
                  </a:lnTo>
                  <a:lnTo>
                    <a:pt x="461" y="1090"/>
                  </a:lnTo>
                  <a:lnTo>
                    <a:pt x="461" y="1090"/>
                  </a:lnTo>
                  <a:lnTo>
                    <a:pt x="463" y="1092"/>
                  </a:lnTo>
                  <a:lnTo>
                    <a:pt x="463" y="1092"/>
                  </a:lnTo>
                  <a:lnTo>
                    <a:pt x="465" y="1094"/>
                  </a:lnTo>
                  <a:lnTo>
                    <a:pt x="467" y="1094"/>
                  </a:lnTo>
                  <a:lnTo>
                    <a:pt x="467" y="1098"/>
                  </a:lnTo>
                  <a:lnTo>
                    <a:pt x="469" y="1100"/>
                  </a:lnTo>
                  <a:lnTo>
                    <a:pt x="469" y="1102"/>
                  </a:lnTo>
                  <a:lnTo>
                    <a:pt x="467" y="1102"/>
                  </a:lnTo>
                  <a:lnTo>
                    <a:pt x="467" y="1102"/>
                  </a:lnTo>
                  <a:lnTo>
                    <a:pt x="467" y="1100"/>
                  </a:lnTo>
                  <a:lnTo>
                    <a:pt x="465" y="1098"/>
                  </a:lnTo>
                  <a:lnTo>
                    <a:pt x="465" y="1096"/>
                  </a:lnTo>
                  <a:lnTo>
                    <a:pt x="463" y="1094"/>
                  </a:lnTo>
                  <a:lnTo>
                    <a:pt x="463" y="1094"/>
                  </a:lnTo>
                  <a:lnTo>
                    <a:pt x="463" y="1092"/>
                  </a:lnTo>
                  <a:lnTo>
                    <a:pt x="461" y="1092"/>
                  </a:lnTo>
                  <a:lnTo>
                    <a:pt x="459" y="1094"/>
                  </a:lnTo>
                  <a:lnTo>
                    <a:pt x="459" y="1094"/>
                  </a:lnTo>
                  <a:lnTo>
                    <a:pt x="461" y="1094"/>
                  </a:lnTo>
                  <a:lnTo>
                    <a:pt x="463" y="1096"/>
                  </a:lnTo>
                  <a:lnTo>
                    <a:pt x="465" y="1100"/>
                  </a:lnTo>
                  <a:lnTo>
                    <a:pt x="465" y="1102"/>
                  </a:lnTo>
                  <a:lnTo>
                    <a:pt x="465" y="1106"/>
                  </a:lnTo>
                  <a:lnTo>
                    <a:pt x="465" y="1108"/>
                  </a:lnTo>
                  <a:lnTo>
                    <a:pt x="465" y="1110"/>
                  </a:lnTo>
                  <a:lnTo>
                    <a:pt x="465" y="1113"/>
                  </a:lnTo>
                  <a:lnTo>
                    <a:pt x="465" y="1113"/>
                  </a:lnTo>
                  <a:lnTo>
                    <a:pt x="471" y="1113"/>
                  </a:lnTo>
                  <a:lnTo>
                    <a:pt x="479" y="1113"/>
                  </a:lnTo>
                  <a:lnTo>
                    <a:pt x="485" y="1113"/>
                  </a:lnTo>
                  <a:lnTo>
                    <a:pt x="492" y="1115"/>
                  </a:lnTo>
                  <a:lnTo>
                    <a:pt x="498" y="1115"/>
                  </a:lnTo>
                  <a:lnTo>
                    <a:pt x="506" y="1115"/>
                  </a:lnTo>
                  <a:lnTo>
                    <a:pt x="512" y="1115"/>
                  </a:lnTo>
                  <a:lnTo>
                    <a:pt x="518" y="1115"/>
                  </a:lnTo>
                  <a:lnTo>
                    <a:pt x="526" y="1117"/>
                  </a:lnTo>
                  <a:lnTo>
                    <a:pt x="533" y="1117"/>
                  </a:lnTo>
                  <a:lnTo>
                    <a:pt x="539" y="1117"/>
                  </a:lnTo>
                  <a:lnTo>
                    <a:pt x="545" y="1117"/>
                  </a:lnTo>
                  <a:lnTo>
                    <a:pt x="553" y="1117"/>
                  </a:lnTo>
                  <a:lnTo>
                    <a:pt x="559" y="1117"/>
                  </a:lnTo>
                  <a:lnTo>
                    <a:pt x="565" y="1119"/>
                  </a:lnTo>
                  <a:lnTo>
                    <a:pt x="580" y="1119"/>
                  </a:lnTo>
                  <a:lnTo>
                    <a:pt x="586" y="1119"/>
                  </a:lnTo>
                  <a:lnTo>
                    <a:pt x="592" y="1119"/>
                  </a:lnTo>
                  <a:lnTo>
                    <a:pt x="600" y="1121"/>
                  </a:lnTo>
                  <a:lnTo>
                    <a:pt x="606" y="1121"/>
                  </a:lnTo>
                  <a:lnTo>
                    <a:pt x="612" y="1121"/>
                  </a:lnTo>
                  <a:lnTo>
                    <a:pt x="619" y="1121"/>
                  </a:lnTo>
                  <a:lnTo>
                    <a:pt x="627" y="1121"/>
                  </a:lnTo>
                  <a:lnTo>
                    <a:pt x="633" y="1121"/>
                  </a:lnTo>
                  <a:lnTo>
                    <a:pt x="639" y="1123"/>
                  </a:lnTo>
                  <a:lnTo>
                    <a:pt x="647" y="1123"/>
                  </a:lnTo>
                  <a:lnTo>
                    <a:pt x="653" y="1123"/>
                  </a:lnTo>
                  <a:lnTo>
                    <a:pt x="660" y="1123"/>
                  </a:lnTo>
                  <a:lnTo>
                    <a:pt x="666" y="1123"/>
                  </a:lnTo>
                  <a:lnTo>
                    <a:pt x="674" y="1123"/>
                  </a:lnTo>
                  <a:lnTo>
                    <a:pt x="680" y="1123"/>
                  </a:lnTo>
                  <a:lnTo>
                    <a:pt x="684" y="1123"/>
                  </a:lnTo>
                  <a:lnTo>
                    <a:pt x="684" y="1125"/>
                  </a:lnTo>
                  <a:lnTo>
                    <a:pt x="684" y="1123"/>
                  </a:lnTo>
                  <a:lnTo>
                    <a:pt x="688" y="1121"/>
                  </a:lnTo>
                  <a:lnTo>
                    <a:pt x="696" y="1123"/>
                  </a:lnTo>
                  <a:lnTo>
                    <a:pt x="701" y="1123"/>
                  </a:lnTo>
                  <a:lnTo>
                    <a:pt x="703" y="1123"/>
                  </a:lnTo>
                  <a:lnTo>
                    <a:pt x="703" y="1121"/>
                  </a:lnTo>
                  <a:lnTo>
                    <a:pt x="703" y="1119"/>
                  </a:lnTo>
                  <a:lnTo>
                    <a:pt x="703" y="1117"/>
                  </a:lnTo>
                  <a:lnTo>
                    <a:pt x="705" y="1115"/>
                  </a:lnTo>
                  <a:lnTo>
                    <a:pt x="709" y="1113"/>
                  </a:lnTo>
                  <a:lnTo>
                    <a:pt x="709" y="1113"/>
                  </a:lnTo>
                  <a:lnTo>
                    <a:pt x="711" y="1110"/>
                  </a:lnTo>
                  <a:lnTo>
                    <a:pt x="709" y="1102"/>
                  </a:lnTo>
                  <a:lnTo>
                    <a:pt x="709" y="1100"/>
                  </a:lnTo>
                  <a:lnTo>
                    <a:pt x="711" y="1100"/>
                  </a:lnTo>
                  <a:lnTo>
                    <a:pt x="711" y="1098"/>
                  </a:lnTo>
                  <a:lnTo>
                    <a:pt x="711" y="1098"/>
                  </a:lnTo>
                  <a:lnTo>
                    <a:pt x="709" y="1094"/>
                  </a:lnTo>
                  <a:lnTo>
                    <a:pt x="705" y="1092"/>
                  </a:lnTo>
                  <a:lnTo>
                    <a:pt x="696" y="1090"/>
                  </a:lnTo>
                  <a:lnTo>
                    <a:pt x="694" y="1088"/>
                  </a:lnTo>
                  <a:lnTo>
                    <a:pt x="692" y="1084"/>
                  </a:lnTo>
                  <a:lnTo>
                    <a:pt x="692" y="1080"/>
                  </a:lnTo>
                  <a:lnTo>
                    <a:pt x="694" y="1076"/>
                  </a:lnTo>
                  <a:lnTo>
                    <a:pt x="694" y="1072"/>
                  </a:lnTo>
                  <a:lnTo>
                    <a:pt x="694" y="1065"/>
                  </a:lnTo>
                  <a:lnTo>
                    <a:pt x="694" y="1063"/>
                  </a:lnTo>
                  <a:lnTo>
                    <a:pt x="692" y="1061"/>
                  </a:lnTo>
                  <a:lnTo>
                    <a:pt x="692" y="1059"/>
                  </a:lnTo>
                  <a:lnTo>
                    <a:pt x="694" y="1055"/>
                  </a:lnTo>
                  <a:lnTo>
                    <a:pt x="694" y="1055"/>
                  </a:lnTo>
                  <a:lnTo>
                    <a:pt x="694" y="1053"/>
                  </a:lnTo>
                  <a:lnTo>
                    <a:pt x="694" y="1053"/>
                  </a:lnTo>
                  <a:lnTo>
                    <a:pt x="694" y="1051"/>
                  </a:lnTo>
                  <a:lnTo>
                    <a:pt x="694" y="1051"/>
                  </a:lnTo>
                  <a:lnTo>
                    <a:pt x="692" y="1049"/>
                  </a:lnTo>
                  <a:lnTo>
                    <a:pt x="694" y="1049"/>
                  </a:lnTo>
                  <a:lnTo>
                    <a:pt x="698" y="1049"/>
                  </a:lnTo>
                  <a:lnTo>
                    <a:pt x="701" y="1049"/>
                  </a:lnTo>
                  <a:lnTo>
                    <a:pt x="703" y="1047"/>
                  </a:lnTo>
                  <a:lnTo>
                    <a:pt x="707" y="1041"/>
                  </a:lnTo>
                  <a:lnTo>
                    <a:pt x="709" y="1039"/>
                  </a:lnTo>
                  <a:lnTo>
                    <a:pt x="709" y="1039"/>
                  </a:lnTo>
                  <a:lnTo>
                    <a:pt x="711" y="1037"/>
                  </a:lnTo>
                  <a:lnTo>
                    <a:pt x="713" y="1035"/>
                  </a:lnTo>
                  <a:lnTo>
                    <a:pt x="713" y="1035"/>
                  </a:lnTo>
                  <a:lnTo>
                    <a:pt x="713" y="1033"/>
                  </a:lnTo>
                  <a:lnTo>
                    <a:pt x="713" y="1031"/>
                  </a:lnTo>
                  <a:lnTo>
                    <a:pt x="713" y="1028"/>
                  </a:lnTo>
                  <a:lnTo>
                    <a:pt x="715" y="1028"/>
                  </a:lnTo>
                  <a:lnTo>
                    <a:pt x="715" y="1028"/>
                  </a:lnTo>
                  <a:lnTo>
                    <a:pt x="715" y="1026"/>
                  </a:lnTo>
                  <a:lnTo>
                    <a:pt x="715" y="1024"/>
                  </a:lnTo>
                  <a:lnTo>
                    <a:pt x="715" y="1022"/>
                  </a:lnTo>
                  <a:lnTo>
                    <a:pt x="717" y="1020"/>
                  </a:lnTo>
                  <a:lnTo>
                    <a:pt x="719" y="1020"/>
                  </a:lnTo>
                  <a:lnTo>
                    <a:pt x="719" y="1018"/>
                  </a:lnTo>
                  <a:lnTo>
                    <a:pt x="719" y="1016"/>
                  </a:lnTo>
                  <a:lnTo>
                    <a:pt x="719" y="1014"/>
                  </a:lnTo>
                  <a:lnTo>
                    <a:pt x="719" y="1014"/>
                  </a:lnTo>
                  <a:lnTo>
                    <a:pt x="719" y="1014"/>
                  </a:lnTo>
                  <a:lnTo>
                    <a:pt x="719" y="1012"/>
                  </a:lnTo>
                  <a:lnTo>
                    <a:pt x="719" y="1012"/>
                  </a:lnTo>
                  <a:lnTo>
                    <a:pt x="719" y="1010"/>
                  </a:lnTo>
                  <a:lnTo>
                    <a:pt x="719" y="1010"/>
                  </a:lnTo>
                  <a:lnTo>
                    <a:pt x="719" y="1006"/>
                  </a:lnTo>
                  <a:lnTo>
                    <a:pt x="719" y="1004"/>
                  </a:lnTo>
                  <a:lnTo>
                    <a:pt x="719" y="1002"/>
                  </a:lnTo>
                  <a:lnTo>
                    <a:pt x="721" y="1002"/>
                  </a:lnTo>
                  <a:lnTo>
                    <a:pt x="721" y="1000"/>
                  </a:lnTo>
                  <a:lnTo>
                    <a:pt x="721" y="1000"/>
                  </a:lnTo>
                  <a:lnTo>
                    <a:pt x="719" y="998"/>
                  </a:lnTo>
                  <a:lnTo>
                    <a:pt x="719" y="996"/>
                  </a:lnTo>
                  <a:lnTo>
                    <a:pt x="719" y="996"/>
                  </a:lnTo>
                  <a:lnTo>
                    <a:pt x="719" y="992"/>
                  </a:lnTo>
                  <a:lnTo>
                    <a:pt x="721" y="992"/>
                  </a:lnTo>
                  <a:lnTo>
                    <a:pt x="725" y="990"/>
                  </a:lnTo>
                  <a:lnTo>
                    <a:pt x="727" y="988"/>
                  </a:lnTo>
                  <a:lnTo>
                    <a:pt x="729" y="988"/>
                  </a:lnTo>
                  <a:lnTo>
                    <a:pt x="729" y="985"/>
                  </a:lnTo>
                  <a:lnTo>
                    <a:pt x="731" y="979"/>
                  </a:lnTo>
                  <a:lnTo>
                    <a:pt x="733" y="977"/>
                  </a:lnTo>
                  <a:lnTo>
                    <a:pt x="733" y="977"/>
                  </a:lnTo>
                  <a:lnTo>
                    <a:pt x="737" y="977"/>
                  </a:lnTo>
                  <a:lnTo>
                    <a:pt x="748" y="971"/>
                  </a:lnTo>
                  <a:lnTo>
                    <a:pt x="750" y="971"/>
                  </a:lnTo>
                  <a:lnTo>
                    <a:pt x="752" y="967"/>
                  </a:lnTo>
                  <a:lnTo>
                    <a:pt x="756" y="965"/>
                  </a:lnTo>
                  <a:lnTo>
                    <a:pt x="758" y="963"/>
                  </a:lnTo>
                  <a:lnTo>
                    <a:pt x="760" y="961"/>
                  </a:lnTo>
                  <a:lnTo>
                    <a:pt x="760" y="959"/>
                  </a:lnTo>
                  <a:close/>
                  <a:moveTo>
                    <a:pt x="53" y="471"/>
                  </a:moveTo>
                  <a:lnTo>
                    <a:pt x="53" y="471"/>
                  </a:lnTo>
                  <a:lnTo>
                    <a:pt x="53" y="471"/>
                  </a:lnTo>
                  <a:lnTo>
                    <a:pt x="53" y="471"/>
                  </a:lnTo>
                  <a:lnTo>
                    <a:pt x="53" y="471"/>
                  </a:lnTo>
                  <a:lnTo>
                    <a:pt x="53" y="471"/>
                  </a:lnTo>
                  <a:lnTo>
                    <a:pt x="53" y="471"/>
                  </a:lnTo>
                  <a:lnTo>
                    <a:pt x="53" y="471"/>
                  </a:lnTo>
                  <a:lnTo>
                    <a:pt x="53" y="471"/>
                  </a:lnTo>
                  <a:lnTo>
                    <a:pt x="53" y="471"/>
                  </a:lnTo>
                  <a:close/>
                  <a:moveTo>
                    <a:pt x="105" y="463"/>
                  </a:moveTo>
                  <a:lnTo>
                    <a:pt x="105" y="463"/>
                  </a:lnTo>
                  <a:lnTo>
                    <a:pt x="105" y="463"/>
                  </a:lnTo>
                  <a:lnTo>
                    <a:pt x="105" y="463"/>
                  </a:lnTo>
                  <a:lnTo>
                    <a:pt x="102" y="463"/>
                  </a:lnTo>
                  <a:lnTo>
                    <a:pt x="102" y="463"/>
                  </a:lnTo>
                  <a:lnTo>
                    <a:pt x="102" y="463"/>
                  </a:lnTo>
                  <a:lnTo>
                    <a:pt x="105" y="465"/>
                  </a:lnTo>
                  <a:lnTo>
                    <a:pt x="105" y="465"/>
                  </a:lnTo>
                  <a:lnTo>
                    <a:pt x="105" y="463"/>
                  </a:lnTo>
                  <a:lnTo>
                    <a:pt x="105" y="463"/>
                  </a:lnTo>
                  <a:lnTo>
                    <a:pt x="105" y="463"/>
                  </a:lnTo>
                  <a:lnTo>
                    <a:pt x="105" y="463"/>
                  </a:lnTo>
                  <a:close/>
                  <a:moveTo>
                    <a:pt x="109" y="467"/>
                  </a:moveTo>
                  <a:lnTo>
                    <a:pt x="109" y="469"/>
                  </a:lnTo>
                  <a:lnTo>
                    <a:pt x="109" y="469"/>
                  </a:lnTo>
                  <a:lnTo>
                    <a:pt x="109" y="471"/>
                  </a:lnTo>
                  <a:lnTo>
                    <a:pt x="109" y="469"/>
                  </a:lnTo>
                  <a:lnTo>
                    <a:pt x="109" y="469"/>
                  </a:lnTo>
                  <a:lnTo>
                    <a:pt x="109" y="469"/>
                  </a:lnTo>
                  <a:lnTo>
                    <a:pt x="109" y="469"/>
                  </a:lnTo>
                  <a:lnTo>
                    <a:pt x="109" y="467"/>
                  </a:lnTo>
                  <a:lnTo>
                    <a:pt x="109" y="467"/>
                  </a:lnTo>
                  <a:lnTo>
                    <a:pt x="109" y="467"/>
                  </a:lnTo>
                  <a:lnTo>
                    <a:pt x="109" y="467"/>
                  </a:lnTo>
                  <a:close/>
                  <a:moveTo>
                    <a:pt x="289" y="920"/>
                  </a:moveTo>
                  <a:lnTo>
                    <a:pt x="287" y="920"/>
                  </a:lnTo>
                  <a:lnTo>
                    <a:pt x="287" y="920"/>
                  </a:lnTo>
                  <a:lnTo>
                    <a:pt x="285" y="920"/>
                  </a:lnTo>
                  <a:lnTo>
                    <a:pt x="285" y="920"/>
                  </a:lnTo>
                  <a:lnTo>
                    <a:pt x="285" y="920"/>
                  </a:lnTo>
                  <a:lnTo>
                    <a:pt x="285" y="920"/>
                  </a:lnTo>
                  <a:lnTo>
                    <a:pt x="287" y="920"/>
                  </a:lnTo>
                  <a:lnTo>
                    <a:pt x="287" y="920"/>
                  </a:lnTo>
                  <a:lnTo>
                    <a:pt x="289" y="922"/>
                  </a:lnTo>
                  <a:lnTo>
                    <a:pt x="289" y="922"/>
                  </a:lnTo>
                  <a:lnTo>
                    <a:pt x="289" y="920"/>
                  </a:lnTo>
                  <a:lnTo>
                    <a:pt x="289" y="920"/>
                  </a:lnTo>
                  <a:close/>
                  <a:moveTo>
                    <a:pt x="311" y="981"/>
                  </a:moveTo>
                  <a:lnTo>
                    <a:pt x="311" y="981"/>
                  </a:lnTo>
                  <a:lnTo>
                    <a:pt x="309" y="981"/>
                  </a:lnTo>
                  <a:lnTo>
                    <a:pt x="309" y="981"/>
                  </a:lnTo>
                  <a:lnTo>
                    <a:pt x="309" y="983"/>
                  </a:lnTo>
                  <a:lnTo>
                    <a:pt x="309" y="983"/>
                  </a:lnTo>
                  <a:lnTo>
                    <a:pt x="309" y="983"/>
                  </a:lnTo>
                  <a:lnTo>
                    <a:pt x="309" y="983"/>
                  </a:lnTo>
                  <a:lnTo>
                    <a:pt x="309" y="983"/>
                  </a:lnTo>
                  <a:lnTo>
                    <a:pt x="311" y="983"/>
                  </a:lnTo>
                  <a:lnTo>
                    <a:pt x="311" y="981"/>
                  </a:lnTo>
                  <a:lnTo>
                    <a:pt x="311" y="981"/>
                  </a:lnTo>
                  <a:lnTo>
                    <a:pt x="311" y="981"/>
                  </a:lnTo>
                  <a:close/>
                </a:path>
              </a:pathLst>
            </a:custGeom>
            <a:solidFill>
              <a:schemeClr val="accent1"/>
            </a:solidFill>
            <a:ln w="3175" cap="rnd">
              <a:solidFill>
                <a:schemeClr val="bg1"/>
              </a:solidFill>
              <a:prstDash val="solid"/>
              <a:round/>
              <a:headEnd/>
              <a:tailEnd/>
            </a:ln>
          </p:spPr>
          <p:txBody>
            <a:bodyPr vert="horz" wrap="square" lIns="0" tIns="0" rIns="288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CA</a:t>
              </a:r>
            </a:p>
          </p:txBody>
        </p:sp>
        <p:sp>
          <p:nvSpPr>
            <p:cNvPr id="341" name="Freeform 52">
              <a:extLst>
                <a:ext uri="{FF2B5EF4-FFF2-40B4-BE49-F238E27FC236}">
                  <a16:creationId xmlns:a16="http://schemas.microsoft.com/office/drawing/2014/main" id="{ABC86C8C-29B6-EDC9-4D7F-AF9BA6CD2094}"/>
                </a:ext>
              </a:extLst>
            </p:cNvPr>
            <p:cNvSpPr>
              <a:spLocks/>
            </p:cNvSpPr>
            <p:nvPr/>
          </p:nvSpPr>
          <p:spPr bwMode="auto">
            <a:xfrm>
              <a:off x="1380" y="1367"/>
              <a:ext cx="563" cy="654"/>
            </a:xfrm>
            <a:custGeom>
              <a:avLst/>
              <a:gdLst>
                <a:gd name="T0" fmla="*/ 545 w 563"/>
                <a:gd name="T1" fmla="*/ 254 h 654"/>
                <a:gd name="T2" fmla="*/ 534 w 563"/>
                <a:gd name="T3" fmla="*/ 387 h 654"/>
                <a:gd name="T4" fmla="*/ 524 w 563"/>
                <a:gd name="T5" fmla="*/ 520 h 654"/>
                <a:gd name="T6" fmla="*/ 512 w 563"/>
                <a:gd name="T7" fmla="*/ 654 h 654"/>
                <a:gd name="T8" fmla="*/ 512 w 563"/>
                <a:gd name="T9" fmla="*/ 654 h 654"/>
                <a:gd name="T10" fmla="*/ 512 w 563"/>
                <a:gd name="T11" fmla="*/ 654 h 654"/>
                <a:gd name="T12" fmla="*/ 512 w 563"/>
                <a:gd name="T13" fmla="*/ 654 h 654"/>
                <a:gd name="T14" fmla="*/ 512 w 563"/>
                <a:gd name="T15" fmla="*/ 654 h 654"/>
                <a:gd name="T16" fmla="*/ 502 w 563"/>
                <a:gd name="T17" fmla="*/ 654 h 654"/>
                <a:gd name="T18" fmla="*/ 475 w 563"/>
                <a:gd name="T19" fmla="*/ 652 h 654"/>
                <a:gd name="T20" fmla="*/ 448 w 563"/>
                <a:gd name="T21" fmla="*/ 650 h 654"/>
                <a:gd name="T22" fmla="*/ 420 w 563"/>
                <a:gd name="T23" fmla="*/ 645 h 654"/>
                <a:gd name="T24" fmla="*/ 393 w 563"/>
                <a:gd name="T25" fmla="*/ 643 h 654"/>
                <a:gd name="T26" fmla="*/ 364 w 563"/>
                <a:gd name="T27" fmla="*/ 641 h 654"/>
                <a:gd name="T28" fmla="*/ 338 w 563"/>
                <a:gd name="T29" fmla="*/ 639 h 654"/>
                <a:gd name="T30" fmla="*/ 307 w 563"/>
                <a:gd name="T31" fmla="*/ 627 h 654"/>
                <a:gd name="T32" fmla="*/ 180 w 563"/>
                <a:gd name="T33" fmla="*/ 564 h 654"/>
                <a:gd name="T34" fmla="*/ 0 w 563"/>
                <a:gd name="T35" fmla="*/ 471 h 654"/>
                <a:gd name="T36" fmla="*/ 4 w 563"/>
                <a:gd name="T37" fmla="*/ 459 h 654"/>
                <a:gd name="T38" fmla="*/ 10 w 563"/>
                <a:gd name="T39" fmla="*/ 453 h 654"/>
                <a:gd name="T40" fmla="*/ 31 w 563"/>
                <a:gd name="T41" fmla="*/ 447 h 654"/>
                <a:gd name="T42" fmla="*/ 37 w 563"/>
                <a:gd name="T43" fmla="*/ 428 h 654"/>
                <a:gd name="T44" fmla="*/ 24 w 563"/>
                <a:gd name="T45" fmla="*/ 416 h 654"/>
                <a:gd name="T46" fmla="*/ 22 w 563"/>
                <a:gd name="T47" fmla="*/ 389 h 654"/>
                <a:gd name="T48" fmla="*/ 22 w 563"/>
                <a:gd name="T49" fmla="*/ 377 h 654"/>
                <a:gd name="T50" fmla="*/ 35 w 563"/>
                <a:gd name="T51" fmla="*/ 367 h 654"/>
                <a:gd name="T52" fmla="*/ 41 w 563"/>
                <a:gd name="T53" fmla="*/ 357 h 654"/>
                <a:gd name="T54" fmla="*/ 45 w 563"/>
                <a:gd name="T55" fmla="*/ 346 h 654"/>
                <a:gd name="T56" fmla="*/ 47 w 563"/>
                <a:gd name="T57" fmla="*/ 338 h 654"/>
                <a:gd name="T58" fmla="*/ 49 w 563"/>
                <a:gd name="T59" fmla="*/ 328 h 654"/>
                <a:gd name="T60" fmla="*/ 49 w 563"/>
                <a:gd name="T61" fmla="*/ 318 h 654"/>
                <a:gd name="T62" fmla="*/ 61 w 563"/>
                <a:gd name="T63" fmla="*/ 303 h 654"/>
                <a:gd name="T64" fmla="*/ 88 w 563"/>
                <a:gd name="T65" fmla="*/ 287 h 654"/>
                <a:gd name="T66" fmla="*/ 76 w 563"/>
                <a:gd name="T67" fmla="*/ 273 h 654"/>
                <a:gd name="T68" fmla="*/ 72 w 563"/>
                <a:gd name="T69" fmla="*/ 266 h 654"/>
                <a:gd name="T70" fmla="*/ 67 w 563"/>
                <a:gd name="T71" fmla="*/ 262 h 654"/>
                <a:gd name="T72" fmla="*/ 67 w 563"/>
                <a:gd name="T73" fmla="*/ 254 h 654"/>
                <a:gd name="T74" fmla="*/ 65 w 563"/>
                <a:gd name="T75" fmla="*/ 246 h 654"/>
                <a:gd name="T76" fmla="*/ 55 w 563"/>
                <a:gd name="T77" fmla="*/ 223 h 654"/>
                <a:gd name="T78" fmla="*/ 53 w 563"/>
                <a:gd name="T79" fmla="*/ 205 h 654"/>
                <a:gd name="T80" fmla="*/ 53 w 563"/>
                <a:gd name="T81" fmla="*/ 191 h 654"/>
                <a:gd name="T82" fmla="*/ 61 w 563"/>
                <a:gd name="T83" fmla="*/ 184 h 654"/>
                <a:gd name="T84" fmla="*/ 57 w 563"/>
                <a:gd name="T85" fmla="*/ 156 h 654"/>
                <a:gd name="T86" fmla="*/ 57 w 563"/>
                <a:gd name="T87" fmla="*/ 127 h 654"/>
                <a:gd name="T88" fmla="*/ 61 w 563"/>
                <a:gd name="T89" fmla="*/ 111 h 654"/>
                <a:gd name="T90" fmla="*/ 59 w 563"/>
                <a:gd name="T91" fmla="*/ 92 h 654"/>
                <a:gd name="T92" fmla="*/ 61 w 563"/>
                <a:gd name="T93" fmla="*/ 86 h 654"/>
                <a:gd name="T94" fmla="*/ 82 w 563"/>
                <a:gd name="T95" fmla="*/ 86 h 654"/>
                <a:gd name="T96" fmla="*/ 86 w 563"/>
                <a:gd name="T97" fmla="*/ 88 h 654"/>
                <a:gd name="T98" fmla="*/ 92 w 563"/>
                <a:gd name="T99" fmla="*/ 86 h 654"/>
                <a:gd name="T100" fmla="*/ 96 w 563"/>
                <a:gd name="T101" fmla="*/ 96 h 654"/>
                <a:gd name="T102" fmla="*/ 110 w 563"/>
                <a:gd name="T103" fmla="*/ 100 h 654"/>
                <a:gd name="T104" fmla="*/ 121 w 563"/>
                <a:gd name="T105" fmla="*/ 82 h 654"/>
                <a:gd name="T106" fmla="*/ 125 w 563"/>
                <a:gd name="T107" fmla="*/ 53 h 654"/>
                <a:gd name="T108" fmla="*/ 131 w 563"/>
                <a:gd name="T109" fmla="*/ 6 h 654"/>
                <a:gd name="T110" fmla="*/ 186 w 563"/>
                <a:gd name="T111" fmla="*/ 6 h 654"/>
                <a:gd name="T112" fmla="*/ 280 w 563"/>
                <a:gd name="T113" fmla="*/ 16 h 654"/>
                <a:gd name="T114" fmla="*/ 373 w 563"/>
                <a:gd name="T115" fmla="*/ 27 h 654"/>
                <a:gd name="T116" fmla="*/ 469 w 563"/>
                <a:gd name="T117" fmla="*/ 37 h 654"/>
                <a:gd name="T118" fmla="*/ 563 w 563"/>
                <a:gd name="T119" fmla="*/ 45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3" h="654">
                  <a:moveTo>
                    <a:pt x="555" y="139"/>
                  </a:moveTo>
                  <a:lnTo>
                    <a:pt x="553" y="158"/>
                  </a:lnTo>
                  <a:lnTo>
                    <a:pt x="551" y="178"/>
                  </a:lnTo>
                  <a:lnTo>
                    <a:pt x="551" y="197"/>
                  </a:lnTo>
                  <a:lnTo>
                    <a:pt x="549" y="215"/>
                  </a:lnTo>
                  <a:lnTo>
                    <a:pt x="547" y="236"/>
                  </a:lnTo>
                  <a:lnTo>
                    <a:pt x="545" y="254"/>
                  </a:lnTo>
                  <a:lnTo>
                    <a:pt x="543" y="273"/>
                  </a:lnTo>
                  <a:lnTo>
                    <a:pt x="543" y="291"/>
                  </a:lnTo>
                  <a:lnTo>
                    <a:pt x="541" y="311"/>
                  </a:lnTo>
                  <a:lnTo>
                    <a:pt x="538" y="330"/>
                  </a:lnTo>
                  <a:lnTo>
                    <a:pt x="536" y="348"/>
                  </a:lnTo>
                  <a:lnTo>
                    <a:pt x="536" y="369"/>
                  </a:lnTo>
                  <a:lnTo>
                    <a:pt x="534" y="387"/>
                  </a:lnTo>
                  <a:lnTo>
                    <a:pt x="532" y="406"/>
                  </a:lnTo>
                  <a:lnTo>
                    <a:pt x="530" y="424"/>
                  </a:lnTo>
                  <a:lnTo>
                    <a:pt x="530" y="445"/>
                  </a:lnTo>
                  <a:lnTo>
                    <a:pt x="528" y="463"/>
                  </a:lnTo>
                  <a:lnTo>
                    <a:pt x="526" y="482"/>
                  </a:lnTo>
                  <a:lnTo>
                    <a:pt x="524" y="502"/>
                  </a:lnTo>
                  <a:lnTo>
                    <a:pt x="524" y="520"/>
                  </a:lnTo>
                  <a:lnTo>
                    <a:pt x="522" y="539"/>
                  </a:lnTo>
                  <a:lnTo>
                    <a:pt x="520" y="557"/>
                  </a:lnTo>
                  <a:lnTo>
                    <a:pt x="518" y="578"/>
                  </a:lnTo>
                  <a:lnTo>
                    <a:pt x="518" y="596"/>
                  </a:lnTo>
                  <a:lnTo>
                    <a:pt x="516" y="615"/>
                  </a:lnTo>
                  <a:lnTo>
                    <a:pt x="514" y="635"/>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0" y="654"/>
                  </a:lnTo>
                  <a:lnTo>
                    <a:pt x="506" y="654"/>
                  </a:lnTo>
                  <a:lnTo>
                    <a:pt x="502" y="654"/>
                  </a:lnTo>
                  <a:lnTo>
                    <a:pt x="498" y="654"/>
                  </a:lnTo>
                  <a:lnTo>
                    <a:pt x="495" y="654"/>
                  </a:lnTo>
                  <a:lnTo>
                    <a:pt x="491" y="652"/>
                  </a:lnTo>
                  <a:lnTo>
                    <a:pt x="487" y="652"/>
                  </a:lnTo>
                  <a:lnTo>
                    <a:pt x="483" y="652"/>
                  </a:lnTo>
                  <a:lnTo>
                    <a:pt x="479" y="652"/>
                  </a:lnTo>
                  <a:lnTo>
                    <a:pt x="475" y="652"/>
                  </a:lnTo>
                  <a:lnTo>
                    <a:pt x="471" y="652"/>
                  </a:lnTo>
                  <a:lnTo>
                    <a:pt x="467" y="650"/>
                  </a:lnTo>
                  <a:lnTo>
                    <a:pt x="463" y="650"/>
                  </a:lnTo>
                  <a:lnTo>
                    <a:pt x="459" y="650"/>
                  </a:lnTo>
                  <a:lnTo>
                    <a:pt x="455" y="650"/>
                  </a:lnTo>
                  <a:lnTo>
                    <a:pt x="450" y="650"/>
                  </a:lnTo>
                  <a:lnTo>
                    <a:pt x="448" y="650"/>
                  </a:lnTo>
                  <a:lnTo>
                    <a:pt x="444" y="648"/>
                  </a:lnTo>
                  <a:lnTo>
                    <a:pt x="440" y="648"/>
                  </a:lnTo>
                  <a:lnTo>
                    <a:pt x="436" y="648"/>
                  </a:lnTo>
                  <a:lnTo>
                    <a:pt x="432" y="648"/>
                  </a:lnTo>
                  <a:lnTo>
                    <a:pt x="428" y="648"/>
                  </a:lnTo>
                  <a:lnTo>
                    <a:pt x="424" y="648"/>
                  </a:lnTo>
                  <a:lnTo>
                    <a:pt x="420" y="645"/>
                  </a:lnTo>
                  <a:lnTo>
                    <a:pt x="416" y="645"/>
                  </a:lnTo>
                  <a:lnTo>
                    <a:pt x="412" y="645"/>
                  </a:lnTo>
                  <a:lnTo>
                    <a:pt x="407" y="645"/>
                  </a:lnTo>
                  <a:lnTo>
                    <a:pt x="403" y="645"/>
                  </a:lnTo>
                  <a:lnTo>
                    <a:pt x="399" y="643"/>
                  </a:lnTo>
                  <a:lnTo>
                    <a:pt x="397" y="643"/>
                  </a:lnTo>
                  <a:lnTo>
                    <a:pt x="393" y="643"/>
                  </a:lnTo>
                  <a:lnTo>
                    <a:pt x="389" y="643"/>
                  </a:lnTo>
                  <a:lnTo>
                    <a:pt x="385" y="643"/>
                  </a:lnTo>
                  <a:lnTo>
                    <a:pt x="381" y="643"/>
                  </a:lnTo>
                  <a:lnTo>
                    <a:pt x="377" y="641"/>
                  </a:lnTo>
                  <a:lnTo>
                    <a:pt x="373" y="641"/>
                  </a:lnTo>
                  <a:lnTo>
                    <a:pt x="369" y="641"/>
                  </a:lnTo>
                  <a:lnTo>
                    <a:pt x="364" y="641"/>
                  </a:lnTo>
                  <a:lnTo>
                    <a:pt x="360" y="641"/>
                  </a:lnTo>
                  <a:lnTo>
                    <a:pt x="356" y="639"/>
                  </a:lnTo>
                  <a:lnTo>
                    <a:pt x="354" y="639"/>
                  </a:lnTo>
                  <a:lnTo>
                    <a:pt x="350" y="639"/>
                  </a:lnTo>
                  <a:lnTo>
                    <a:pt x="346" y="639"/>
                  </a:lnTo>
                  <a:lnTo>
                    <a:pt x="342" y="639"/>
                  </a:lnTo>
                  <a:lnTo>
                    <a:pt x="338" y="639"/>
                  </a:lnTo>
                  <a:lnTo>
                    <a:pt x="332" y="637"/>
                  </a:lnTo>
                  <a:lnTo>
                    <a:pt x="328" y="637"/>
                  </a:lnTo>
                  <a:lnTo>
                    <a:pt x="323" y="635"/>
                  </a:lnTo>
                  <a:lnTo>
                    <a:pt x="319" y="633"/>
                  </a:lnTo>
                  <a:lnTo>
                    <a:pt x="315" y="631"/>
                  </a:lnTo>
                  <a:lnTo>
                    <a:pt x="311" y="629"/>
                  </a:lnTo>
                  <a:lnTo>
                    <a:pt x="307" y="627"/>
                  </a:lnTo>
                  <a:lnTo>
                    <a:pt x="301" y="625"/>
                  </a:lnTo>
                  <a:lnTo>
                    <a:pt x="297" y="621"/>
                  </a:lnTo>
                  <a:lnTo>
                    <a:pt x="293" y="619"/>
                  </a:lnTo>
                  <a:lnTo>
                    <a:pt x="289" y="617"/>
                  </a:lnTo>
                  <a:lnTo>
                    <a:pt x="252" y="600"/>
                  </a:lnTo>
                  <a:lnTo>
                    <a:pt x="217" y="582"/>
                  </a:lnTo>
                  <a:lnTo>
                    <a:pt x="180" y="564"/>
                  </a:lnTo>
                  <a:lnTo>
                    <a:pt x="145" y="547"/>
                  </a:lnTo>
                  <a:lnTo>
                    <a:pt x="108" y="529"/>
                  </a:lnTo>
                  <a:lnTo>
                    <a:pt x="74" y="510"/>
                  </a:lnTo>
                  <a:lnTo>
                    <a:pt x="39" y="492"/>
                  </a:lnTo>
                  <a:lnTo>
                    <a:pt x="4" y="473"/>
                  </a:lnTo>
                  <a:lnTo>
                    <a:pt x="0" y="471"/>
                  </a:lnTo>
                  <a:lnTo>
                    <a:pt x="0" y="471"/>
                  </a:lnTo>
                  <a:lnTo>
                    <a:pt x="0" y="471"/>
                  </a:lnTo>
                  <a:lnTo>
                    <a:pt x="0" y="471"/>
                  </a:lnTo>
                  <a:lnTo>
                    <a:pt x="0" y="471"/>
                  </a:lnTo>
                  <a:lnTo>
                    <a:pt x="2" y="465"/>
                  </a:lnTo>
                  <a:lnTo>
                    <a:pt x="4" y="463"/>
                  </a:lnTo>
                  <a:lnTo>
                    <a:pt x="2" y="461"/>
                  </a:lnTo>
                  <a:lnTo>
                    <a:pt x="4" y="459"/>
                  </a:lnTo>
                  <a:lnTo>
                    <a:pt x="6" y="459"/>
                  </a:lnTo>
                  <a:lnTo>
                    <a:pt x="6" y="459"/>
                  </a:lnTo>
                  <a:lnTo>
                    <a:pt x="8" y="457"/>
                  </a:lnTo>
                  <a:lnTo>
                    <a:pt x="8" y="457"/>
                  </a:lnTo>
                  <a:lnTo>
                    <a:pt x="8" y="457"/>
                  </a:lnTo>
                  <a:lnTo>
                    <a:pt x="10" y="455"/>
                  </a:lnTo>
                  <a:lnTo>
                    <a:pt x="10" y="453"/>
                  </a:lnTo>
                  <a:lnTo>
                    <a:pt x="12" y="451"/>
                  </a:lnTo>
                  <a:lnTo>
                    <a:pt x="12" y="449"/>
                  </a:lnTo>
                  <a:lnTo>
                    <a:pt x="16" y="447"/>
                  </a:lnTo>
                  <a:lnTo>
                    <a:pt x="24" y="449"/>
                  </a:lnTo>
                  <a:lnTo>
                    <a:pt x="29" y="449"/>
                  </a:lnTo>
                  <a:lnTo>
                    <a:pt x="31" y="449"/>
                  </a:lnTo>
                  <a:lnTo>
                    <a:pt x="31" y="447"/>
                  </a:lnTo>
                  <a:lnTo>
                    <a:pt x="31" y="445"/>
                  </a:lnTo>
                  <a:lnTo>
                    <a:pt x="31" y="443"/>
                  </a:lnTo>
                  <a:lnTo>
                    <a:pt x="33" y="441"/>
                  </a:lnTo>
                  <a:lnTo>
                    <a:pt x="37" y="439"/>
                  </a:lnTo>
                  <a:lnTo>
                    <a:pt x="37" y="439"/>
                  </a:lnTo>
                  <a:lnTo>
                    <a:pt x="39" y="436"/>
                  </a:lnTo>
                  <a:lnTo>
                    <a:pt x="37" y="428"/>
                  </a:lnTo>
                  <a:lnTo>
                    <a:pt x="37" y="426"/>
                  </a:lnTo>
                  <a:lnTo>
                    <a:pt x="39" y="426"/>
                  </a:lnTo>
                  <a:lnTo>
                    <a:pt x="39" y="424"/>
                  </a:lnTo>
                  <a:lnTo>
                    <a:pt x="39" y="424"/>
                  </a:lnTo>
                  <a:lnTo>
                    <a:pt x="37" y="420"/>
                  </a:lnTo>
                  <a:lnTo>
                    <a:pt x="33" y="418"/>
                  </a:lnTo>
                  <a:lnTo>
                    <a:pt x="24" y="416"/>
                  </a:lnTo>
                  <a:lnTo>
                    <a:pt x="22" y="414"/>
                  </a:lnTo>
                  <a:lnTo>
                    <a:pt x="20" y="410"/>
                  </a:lnTo>
                  <a:lnTo>
                    <a:pt x="20" y="406"/>
                  </a:lnTo>
                  <a:lnTo>
                    <a:pt x="22" y="402"/>
                  </a:lnTo>
                  <a:lnTo>
                    <a:pt x="22" y="398"/>
                  </a:lnTo>
                  <a:lnTo>
                    <a:pt x="22" y="391"/>
                  </a:lnTo>
                  <a:lnTo>
                    <a:pt x="22" y="389"/>
                  </a:lnTo>
                  <a:lnTo>
                    <a:pt x="20" y="387"/>
                  </a:lnTo>
                  <a:lnTo>
                    <a:pt x="20" y="385"/>
                  </a:lnTo>
                  <a:lnTo>
                    <a:pt x="22" y="381"/>
                  </a:lnTo>
                  <a:lnTo>
                    <a:pt x="22" y="381"/>
                  </a:lnTo>
                  <a:lnTo>
                    <a:pt x="22" y="379"/>
                  </a:lnTo>
                  <a:lnTo>
                    <a:pt x="22" y="379"/>
                  </a:lnTo>
                  <a:lnTo>
                    <a:pt x="22" y="377"/>
                  </a:lnTo>
                  <a:lnTo>
                    <a:pt x="22" y="377"/>
                  </a:lnTo>
                  <a:lnTo>
                    <a:pt x="20" y="375"/>
                  </a:lnTo>
                  <a:lnTo>
                    <a:pt x="22" y="375"/>
                  </a:lnTo>
                  <a:lnTo>
                    <a:pt x="26" y="375"/>
                  </a:lnTo>
                  <a:lnTo>
                    <a:pt x="29" y="375"/>
                  </a:lnTo>
                  <a:lnTo>
                    <a:pt x="31" y="373"/>
                  </a:lnTo>
                  <a:lnTo>
                    <a:pt x="35" y="367"/>
                  </a:lnTo>
                  <a:lnTo>
                    <a:pt x="37" y="365"/>
                  </a:lnTo>
                  <a:lnTo>
                    <a:pt x="37" y="365"/>
                  </a:lnTo>
                  <a:lnTo>
                    <a:pt x="39" y="363"/>
                  </a:lnTo>
                  <a:lnTo>
                    <a:pt x="41" y="361"/>
                  </a:lnTo>
                  <a:lnTo>
                    <a:pt x="41" y="361"/>
                  </a:lnTo>
                  <a:lnTo>
                    <a:pt x="41" y="359"/>
                  </a:lnTo>
                  <a:lnTo>
                    <a:pt x="41" y="357"/>
                  </a:lnTo>
                  <a:lnTo>
                    <a:pt x="41" y="354"/>
                  </a:lnTo>
                  <a:lnTo>
                    <a:pt x="43" y="354"/>
                  </a:lnTo>
                  <a:lnTo>
                    <a:pt x="43" y="354"/>
                  </a:lnTo>
                  <a:lnTo>
                    <a:pt x="43" y="352"/>
                  </a:lnTo>
                  <a:lnTo>
                    <a:pt x="43" y="350"/>
                  </a:lnTo>
                  <a:lnTo>
                    <a:pt x="43" y="348"/>
                  </a:lnTo>
                  <a:lnTo>
                    <a:pt x="45" y="346"/>
                  </a:lnTo>
                  <a:lnTo>
                    <a:pt x="47" y="346"/>
                  </a:lnTo>
                  <a:lnTo>
                    <a:pt x="47" y="344"/>
                  </a:lnTo>
                  <a:lnTo>
                    <a:pt x="47" y="342"/>
                  </a:lnTo>
                  <a:lnTo>
                    <a:pt x="47" y="340"/>
                  </a:lnTo>
                  <a:lnTo>
                    <a:pt x="47" y="340"/>
                  </a:lnTo>
                  <a:lnTo>
                    <a:pt x="47" y="340"/>
                  </a:lnTo>
                  <a:lnTo>
                    <a:pt x="47" y="338"/>
                  </a:lnTo>
                  <a:lnTo>
                    <a:pt x="47" y="338"/>
                  </a:lnTo>
                  <a:lnTo>
                    <a:pt x="47" y="336"/>
                  </a:lnTo>
                  <a:lnTo>
                    <a:pt x="47" y="336"/>
                  </a:lnTo>
                  <a:lnTo>
                    <a:pt x="47" y="332"/>
                  </a:lnTo>
                  <a:lnTo>
                    <a:pt x="47" y="330"/>
                  </a:lnTo>
                  <a:lnTo>
                    <a:pt x="47" y="328"/>
                  </a:lnTo>
                  <a:lnTo>
                    <a:pt x="49" y="328"/>
                  </a:lnTo>
                  <a:lnTo>
                    <a:pt x="49" y="326"/>
                  </a:lnTo>
                  <a:lnTo>
                    <a:pt x="49" y="326"/>
                  </a:lnTo>
                  <a:lnTo>
                    <a:pt x="47" y="324"/>
                  </a:lnTo>
                  <a:lnTo>
                    <a:pt x="47" y="322"/>
                  </a:lnTo>
                  <a:lnTo>
                    <a:pt x="47" y="322"/>
                  </a:lnTo>
                  <a:lnTo>
                    <a:pt x="47" y="318"/>
                  </a:lnTo>
                  <a:lnTo>
                    <a:pt x="49" y="318"/>
                  </a:lnTo>
                  <a:lnTo>
                    <a:pt x="53" y="316"/>
                  </a:lnTo>
                  <a:lnTo>
                    <a:pt x="55" y="314"/>
                  </a:lnTo>
                  <a:lnTo>
                    <a:pt x="57" y="314"/>
                  </a:lnTo>
                  <a:lnTo>
                    <a:pt x="57" y="311"/>
                  </a:lnTo>
                  <a:lnTo>
                    <a:pt x="59" y="305"/>
                  </a:lnTo>
                  <a:lnTo>
                    <a:pt x="61" y="303"/>
                  </a:lnTo>
                  <a:lnTo>
                    <a:pt x="61" y="303"/>
                  </a:lnTo>
                  <a:lnTo>
                    <a:pt x="65" y="303"/>
                  </a:lnTo>
                  <a:lnTo>
                    <a:pt x="76" y="297"/>
                  </a:lnTo>
                  <a:lnTo>
                    <a:pt x="78" y="297"/>
                  </a:lnTo>
                  <a:lnTo>
                    <a:pt x="80" y="293"/>
                  </a:lnTo>
                  <a:lnTo>
                    <a:pt x="84" y="291"/>
                  </a:lnTo>
                  <a:lnTo>
                    <a:pt x="86" y="289"/>
                  </a:lnTo>
                  <a:lnTo>
                    <a:pt x="88" y="287"/>
                  </a:lnTo>
                  <a:lnTo>
                    <a:pt x="88" y="285"/>
                  </a:lnTo>
                  <a:lnTo>
                    <a:pt x="88" y="285"/>
                  </a:lnTo>
                  <a:lnTo>
                    <a:pt x="86" y="283"/>
                  </a:lnTo>
                  <a:lnTo>
                    <a:pt x="84" y="281"/>
                  </a:lnTo>
                  <a:lnTo>
                    <a:pt x="84" y="279"/>
                  </a:lnTo>
                  <a:lnTo>
                    <a:pt x="82" y="279"/>
                  </a:lnTo>
                  <a:lnTo>
                    <a:pt x="76" y="273"/>
                  </a:lnTo>
                  <a:lnTo>
                    <a:pt x="74" y="270"/>
                  </a:lnTo>
                  <a:lnTo>
                    <a:pt x="74" y="270"/>
                  </a:lnTo>
                  <a:lnTo>
                    <a:pt x="72" y="268"/>
                  </a:lnTo>
                  <a:lnTo>
                    <a:pt x="72" y="268"/>
                  </a:lnTo>
                  <a:lnTo>
                    <a:pt x="72" y="268"/>
                  </a:lnTo>
                  <a:lnTo>
                    <a:pt x="72" y="266"/>
                  </a:lnTo>
                  <a:lnTo>
                    <a:pt x="72" y="266"/>
                  </a:lnTo>
                  <a:lnTo>
                    <a:pt x="69" y="266"/>
                  </a:lnTo>
                  <a:lnTo>
                    <a:pt x="69" y="266"/>
                  </a:lnTo>
                  <a:lnTo>
                    <a:pt x="69" y="266"/>
                  </a:lnTo>
                  <a:lnTo>
                    <a:pt x="67" y="266"/>
                  </a:lnTo>
                  <a:lnTo>
                    <a:pt x="67" y="264"/>
                  </a:lnTo>
                  <a:lnTo>
                    <a:pt x="67" y="264"/>
                  </a:lnTo>
                  <a:lnTo>
                    <a:pt x="67" y="262"/>
                  </a:lnTo>
                  <a:lnTo>
                    <a:pt x="67" y="262"/>
                  </a:lnTo>
                  <a:lnTo>
                    <a:pt x="67" y="260"/>
                  </a:lnTo>
                  <a:lnTo>
                    <a:pt x="69" y="260"/>
                  </a:lnTo>
                  <a:lnTo>
                    <a:pt x="67" y="258"/>
                  </a:lnTo>
                  <a:lnTo>
                    <a:pt x="67" y="258"/>
                  </a:lnTo>
                  <a:lnTo>
                    <a:pt x="67" y="256"/>
                  </a:lnTo>
                  <a:lnTo>
                    <a:pt x="67" y="254"/>
                  </a:lnTo>
                  <a:lnTo>
                    <a:pt x="65" y="254"/>
                  </a:lnTo>
                  <a:lnTo>
                    <a:pt x="65" y="252"/>
                  </a:lnTo>
                  <a:lnTo>
                    <a:pt x="65" y="252"/>
                  </a:lnTo>
                  <a:lnTo>
                    <a:pt x="65" y="248"/>
                  </a:lnTo>
                  <a:lnTo>
                    <a:pt x="65" y="248"/>
                  </a:lnTo>
                  <a:lnTo>
                    <a:pt x="65" y="248"/>
                  </a:lnTo>
                  <a:lnTo>
                    <a:pt x="65" y="246"/>
                  </a:lnTo>
                  <a:lnTo>
                    <a:pt x="61" y="234"/>
                  </a:lnTo>
                  <a:lnTo>
                    <a:pt x="59" y="234"/>
                  </a:lnTo>
                  <a:lnTo>
                    <a:pt x="57" y="232"/>
                  </a:lnTo>
                  <a:lnTo>
                    <a:pt x="55" y="229"/>
                  </a:lnTo>
                  <a:lnTo>
                    <a:pt x="57" y="227"/>
                  </a:lnTo>
                  <a:lnTo>
                    <a:pt x="55" y="225"/>
                  </a:lnTo>
                  <a:lnTo>
                    <a:pt x="55" y="223"/>
                  </a:lnTo>
                  <a:lnTo>
                    <a:pt x="55" y="221"/>
                  </a:lnTo>
                  <a:lnTo>
                    <a:pt x="53" y="221"/>
                  </a:lnTo>
                  <a:lnTo>
                    <a:pt x="53" y="221"/>
                  </a:lnTo>
                  <a:lnTo>
                    <a:pt x="51" y="219"/>
                  </a:lnTo>
                  <a:lnTo>
                    <a:pt x="53" y="207"/>
                  </a:lnTo>
                  <a:lnTo>
                    <a:pt x="53" y="205"/>
                  </a:lnTo>
                  <a:lnTo>
                    <a:pt x="53" y="205"/>
                  </a:lnTo>
                  <a:lnTo>
                    <a:pt x="53" y="201"/>
                  </a:lnTo>
                  <a:lnTo>
                    <a:pt x="55" y="199"/>
                  </a:lnTo>
                  <a:lnTo>
                    <a:pt x="55" y="197"/>
                  </a:lnTo>
                  <a:lnTo>
                    <a:pt x="55" y="197"/>
                  </a:lnTo>
                  <a:lnTo>
                    <a:pt x="53" y="195"/>
                  </a:lnTo>
                  <a:lnTo>
                    <a:pt x="53" y="193"/>
                  </a:lnTo>
                  <a:lnTo>
                    <a:pt x="53" y="191"/>
                  </a:lnTo>
                  <a:lnTo>
                    <a:pt x="55" y="191"/>
                  </a:lnTo>
                  <a:lnTo>
                    <a:pt x="55" y="191"/>
                  </a:lnTo>
                  <a:lnTo>
                    <a:pt x="57" y="191"/>
                  </a:lnTo>
                  <a:lnTo>
                    <a:pt x="59" y="191"/>
                  </a:lnTo>
                  <a:lnTo>
                    <a:pt x="59" y="191"/>
                  </a:lnTo>
                  <a:lnTo>
                    <a:pt x="59" y="186"/>
                  </a:lnTo>
                  <a:lnTo>
                    <a:pt x="61" y="184"/>
                  </a:lnTo>
                  <a:lnTo>
                    <a:pt x="61" y="180"/>
                  </a:lnTo>
                  <a:lnTo>
                    <a:pt x="59" y="174"/>
                  </a:lnTo>
                  <a:lnTo>
                    <a:pt x="61" y="172"/>
                  </a:lnTo>
                  <a:lnTo>
                    <a:pt x="61" y="168"/>
                  </a:lnTo>
                  <a:lnTo>
                    <a:pt x="61" y="166"/>
                  </a:lnTo>
                  <a:lnTo>
                    <a:pt x="59" y="160"/>
                  </a:lnTo>
                  <a:lnTo>
                    <a:pt x="57" y="156"/>
                  </a:lnTo>
                  <a:lnTo>
                    <a:pt x="57" y="152"/>
                  </a:lnTo>
                  <a:lnTo>
                    <a:pt x="59" y="145"/>
                  </a:lnTo>
                  <a:lnTo>
                    <a:pt x="59" y="141"/>
                  </a:lnTo>
                  <a:lnTo>
                    <a:pt x="59" y="139"/>
                  </a:lnTo>
                  <a:lnTo>
                    <a:pt x="59" y="137"/>
                  </a:lnTo>
                  <a:lnTo>
                    <a:pt x="57" y="129"/>
                  </a:lnTo>
                  <a:lnTo>
                    <a:pt x="57" y="127"/>
                  </a:lnTo>
                  <a:lnTo>
                    <a:pt x="57" y="123"/>
                  </a:lnTo>
                  <a:lnTo>
                    <a:pt x="59" y="117"/>
                  </a:lnTo>
                  <a:lnTo>
                    <a:pt x="59" y="117"/>
                  </a:lnTo>
                  <a:lnTo>
                    <a:pt x="61" y="113"/>
                  </a:lnTo>
                  <a:lnTo>
                    <a:pt x="61" y="113"/>
                  </a:lnTo>
                  <a:lnTo>
                    <a:pt x="61" y="111"/>
                  </a:lnTo>
                  <a:lnTo>
                    <a:pt x="61" y="111"/>
                  </a:lnTo>
                  <a:lnTo>
                    <a:pt x="59" y="104"/>
                  </a:lnTo>
                  <a:lnTo>
                    <a:pt x="57" y="102"/>
                  </a:lnTo>
                  <a:lnTo>
                    <a:pt x="57" y="100"/>
                  </a:lnTo>
                  <a:lnTo>
                    <a:pt x="57" y="96"/>
                  </a:lnTo>
                  <a:lnTo>
                    <a:pt x="59" y="96"/>
                  </a:lnTo>
                  <a:lnTo>
                    <a:pt x="59" y="94"/>
                  </a:lnTo>
                  <a:lnTo>
                    <a:pt x="59" y="92"/>
                  </a:lnTo>
                  <a:lnTo>
                    <a:pt x="59" y="90"/>
                  </a:lnTo>
                  <a:lnTo>
                    <a:pt x="59" y="90"/>
                  </a:lnTo>
                  <a:lnTo>
                    <a:pt x="59" y="88"/>
                  </a:lnTo>
                  <a:lnTo>
                    <a:pt x="61" y="88"/>
                  </a:lnTo>
                  <a:lnTo>
                    <a:pt x="61" y="88"/>
                  </a:lnTo>
                  <a:lnTo>
                    <a:pt x="61" y="86"/>
                  </a:lnTo>
                  <a:lnTo>
                    <a:pt x="61" y="86"/>
                  </a:lnTo>
                  <a:lnTo>
                    <a:pt x="65" y="86"/>
                  </a:lnTo>
                  <a:lnTo>
                    <a:pt x="67" y="84"/>
                  </a:lnTo>
                  <a:lnTo>
                    <a:pt x="74" y="84"/>
                  </a:lnTo>
                  <a:lnTo>
                    <a:pt x="76" y="84"/>
                  </a:lnTo>
                  <a:lnTo>
                    <a:pt x="76" y="84"/>
                  </a:lnTo>
                  <a:lnTo>
                    <a:pt x="76" y="84"/>
                  </a:lnTo>
                  <a:lnTo>
                    <a:pt x="82" y="86"/>
                  </a:lnTo>
                  <a:lnTo>
                    <a:pt x="82" y="86"/>
                  </a:lnTo>
                  <a:lnTo>
                    <a:pt x="82" y="86"/>
                  </a:lnTo>
                  <a:lnTo>
                    <a:pt x="82" y="86"/>
                  </a:lnTo>
                  <a:lnTo>
                    <a:pt x="84" y="88"/>
                  </a:lnTo>
                  <a:lnTo>
                    <a:pt x="84" y="88"/>
                  </a:lnTo>
                  <a:lnTo>
                    <a:pt x="84" y="88"/>
                  </a:lnTo>
                  <a:lnTo>
                    <a:pt x="86" y="88"/>
                  </a:lnTo>
                  <a:lnTo>
                    <a:pt x="86" y="88"/>
                  </a:lnTo>
                  <a:lnTo>
                    <a:pt x="86" y="88"/>
                  </a:lnTo>
                  <a:lnTo>
                    <a:pt x="90" y="86"/>
                  </a:lnTo>
                  <a:lnTo>
                    <a:pt x="90" y="86"/>
                  </a:lnTo>
                  <a:lnTo>
                    <a:pt x="90" y="86"/>
                  </a:lnTo>
                  <a:lnTo>
                    <a:pt x="90" y="86"/>
                  </a:lnTo>
                  <a:lnTo>
                    <a:pt x="92" y="86"/>
                  </a:lnTo>
                  <a:lnTo>
                    <a:pt x="92" y="86"/>
                  </a:lnTo>
                  <a:lnTo>
                    <a:pt x="92" y="88"/>
                  </a:lnTo>
                  <a:lnTo>
                    <a:pt x="94" y="88"/>
                  </a:lnTo>
                  <a:lnTo>
                    <a:pt x="94" y="88"/>
                  </a:lnTo>
                  <a:lnTo>
                    <a:pt x="94" y="90"/>
                  </a:lnTo>
                  <a:lnTo>
                    <a:pt x="96" y="90"/>
                  </a:lnTo>
                  <a:lnTo>
                    <a:pt x="96" y="96"/>
                  </a:lnTo>
                  <a:lnTo>
                    <a:pt x="98" y="96"/>
                  </a:lnTo>
                  <a:lnTo>
                    <a:pt x="98" y="98"/>
                  </a:lnTo>
                  <a:lnTo>
                    <a:pt x="100" y="100"/>
                  </a:lnTo>
                  <a:lnTo>
                    <a:pt x="102" y="102"/>
                  </a:lnTo>
                  <a:lnTo>
                    <a:pt x="104" y="102"/>
                  </a:lnTo>
                  <a:lnTo>
                    <a:pt x="108" y="102"/>
                  </a:lnTo>
                  <a:lnTo>
                    <a:pt x="110" y="100"/>
                  </a:lnTo>
                  <a:lnTo>
                    <a:pt x="113" y="96"/>
                  </a:lnTo>
                  <a:lnTo>
                    <a:pt x="115" y="92"/>
                  </a:lnTo>
                  <a:lnTo>
                    <a:pt x="117" y="88"/>
                  </a:lnTo>
                  <a:lnTo>
                    <a:pt x="119" y="86"/>
                  </a:lnTo>
                  <a:lnTo>
                    <a:pt x="121" y="84"/>
                  </a:lnTo>
                  <a:lnTo>
                    <a:pt x="121" y="84"/>
                  </a:lnTo>
                  <a:lnTo>
                    <a:pt x="121" y="82"/>
                  </a:lnTo>
                  <a:lnTo>
                    <a:pt x="121" y="78"/>
                  </a:lnTo>
                  <a:lnTo>
                    <a:pt x="121" y="78"/>
                  </a:lnTo>
                  <a:lnTo>
                    <a:pt x="123" y="76"/>
                  </a:lnTo>
                  <a:lnTo>
                    <a:pt x="123" y="72"/>
                  </a:lnTo>
                  <a:lnTo>
                    <a:pt x="123" y="66"/>
                  </a:lnTo>
                  <a:lnTo>
                    <a:pt x="125" y="59"/>
                  </a:lnTo>
                  <a:lnTo>
                    <a:pt x="125" y="53"/>
                  </a:lnTo>
                  <a:lnTo>
                    <a:pt x="125" y="45"/>
                  </a:lnTo>
                  <a:lnTo>
                    <a:pt x="127" y="39"/>
                  </a:lnTo>
                  <a:lnTo>
                    <a:pt x="127" y="31"/>
                  </a:lnTo>
                  <a:lnTo>
                    <a:pt x="129" y="25"/>
                  </a:lnTo>
                  <a:lnTo>
                    <a:pt x="129" y="18"/>
                  </a:lnTo>
                  <a:lnTo>
                    <a:pt x="131" y="12"/>
                  </a:lnTo>
                  <a:lnTo>
                    <a:pt x="131" y="6"/>
                  </a:lnTo>
                  <a:lnTo>
                    <a:pt x="131" y="2"/>
                  </a:lnTo>
                  <a:lnTo>
                    <a:pt x="131" y="0"/>
                  </a:lnTo>
                  <a:lnTo>
                    <a:pt x="131" y="0"/>
                  </a:lnTo>
                  <a:lnTo>
                    <a:pt x="145" y="0"/>
                  </a:lnTo>
                  <a:lnTo>
                    <a:pt x="158" y="2"/>
                  </a:lnTo>
                  <a:lnTo>
                    <a:pt x="172" y="4"/>
                  </a:lnTo>
                  <a:lnTo>
                    <a:pt x="186" y="6"/>
                  </a:lnTo>
                  <a:lnTo>
                    <a:pt x="199" y="8"/>
                  </a:lnTo>
                  <a:lnTo>
                    <a:pt x="213" y="8"/>
                  </a:lnTo>
                  <a:lnTo>
                    <a:pt x="225" y="10"/>
                  </a:lnTo>
                  <a:lnTo>
                    <a:pt x="239" y="12"/>
                  </a:lnTo>
                  <a:lnTo>
                    <a:pt x="252" y="14"/>
                  </a:lnTo>
                  <a:lnTo>
                    <a:pt x="266" y="16"/>
                  </a:lnTo>
                  <a:lnTo>
                    <a:pt x="280" y="16"/>
                  </a:lnTo>
                  <a:lnTo>
                    <a:pt x="293" y="18"/>
                  </a:lnTo>
                  <a:lnTo>
                    <a:pt x="307" y="20"/>
                  </a:lnTo>
                  <a:lnTo>
                    <a:pt x="319" y="20"/>
                  </a:lnTo>
                  <a:lnTo>
                    <a:pt x="334" y="23"/>
                  </a:lnTo>
                  <a:lnTo>
                    <a:pt x="346" y="25"/>
                  </a:lnTo>
                  <a:lnTo>
                    <a:pt x="360" y="27"/>
                  </a:lnTo>
                  <a:lnTo>
                    <a:pt x="373" y="27"/>
                  </a:lnTo>
                  <a:lnTo>
                    <a:pt x="387" y="29"/>
                  </a:lnTo>
                  <a:lnTo>
                    <a:pt x="401" y="31"/>
                  </a:lnTo>
                  <a:lnTo>
                    <a:pt x="414" y="31"/>
                  </a:lnTo>
                  <a:lnTo>
                    <a:pt x="428" y="33"/>
                  </a:lnTo>
                  <a:lnTo>
                    <a:pt x="440" y="33"/>
                  </a:lnTo>
                  <a:lnTo>
                    <a:pt x="455" y="35"/>
                  </a:lnTo>
                  <a:lnTo>
                    <a:pt x="469" y="37"/>
                  </a:lnTo>
                  <a:lnTo>
                    <a:pt x="481" y="37"/>
                  </a:lnTo>
                  <a:lnTo>
                    <a:pt x="495" y="39"/>
                  </a:lnTo>
                  <a:lnTo>
                    <a:pt x="508" y="39"/>
                  </a:lnTo>
                  <a:lnTo>
                    <a:pt x="522" y="41"/>
                  </a:lnTo>
                  <a:lnTo>
                    <a:pt x="534" y="43"/>
                  </a:lnTo>
                  <a:lnTo>
                    <a:pt x="549" y="43"/>
                  </a:lnTo>
                  <a:lnTo>
                    <a:pt x="563" y="45"/>
                  </a:lnTo>
                  <a:lnTo>
                    <a:pt x="561" y="63"/>
                  </a:lnTo>
                  <a:lnTo>
                    <a:pt x="559" y="82"/>
                  </a:lnTo>
                  <a:lnTo>
                    <a:pt x="557" y="102"/>
                  </a:lnTo>
                  <a:lnTo>
                    <a:pt x="557" y="121"/>
                  </a:lnTo>
                  <a:lnTo>
                    <a:pt x="555" y="139"/>
                  </a:lnTo>
                  <a:lnTo>
                    <a:pt x="555" y="139"/>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Z</a:t>
              </a:r>
            </a:p>
          </p:txBody>
        </p:sp>
        <p:sp>
          <p:nvSpPr>
            <p:cNvPr id="342" name="Freeform 53">
              <a:extLst>
                <a:ext uri="{FF2B5EF4-FFF2-40B4-BE49-F238E27FC236}">
                  <a16:creationId xmlns:a16="http://schemas.microsoft.com/office/drawing/2014/main" id="{952E3F07-4F88-94A1-490F-37D945F04E18}"/>
                </a:ext>
              </a:extLst>
            </p:cNvPr>
            <p:cNvSpPr>
              <a:spLocks/>
            </p:cNvSpPr>
            <p:nvPr/>
          </p:nvSpPr>
          <p:spPr bwMode="auto">
            <a:xfrm>
              <a:off x="3200" y="1459"/>
              <a:ext cx="437" cy="400"/>
            </a:xfrm>
            <a:custGeom>
              <a:avLst/>
              <a:gdLst>
                <a:gd name="T0" fmla="*/ 437 w 437"/>
                <a:gd name="T1" fmla="*/ 62 h 400"/>
                <a:gd name="T2" fmla="*/ 428 w 437"/>
                <a:gd name="T3" fmla="*/ 64 h 400"/>
                <a:gd name="T4" fmla="*/ 414 w 437"/>
                <a:gd name="T5" fmla="*/ 82 h 400"/>
                <a:gd name="T6" fmla="*/ 416 w 437"/>
                <a:gd name="T7" fmla="*/ 94 h 400"/>
                <a:gd name="T8" fmla="*/ 416 w 437"/>
                <a:gd name="T9" fmla="*/ 103 h 400"/>
                <a:gd name="T10" fmla="*/ 410 w 437"/>
                <a:gd name="T11" fmla="*/ 111 h 400"/>
                <a:gd name="T12" fmla="*/ 404 w 437"/>
                <a:gd name="T13" fmla="*/ 129 h 400"/>
                <a:gd name="T14" fmla="*/ 404 w 437"/>
                <a:gd name="T15" fmla="*/ 148 h 400"/>
                <a:gd name="T16" fmla="*/ 398 w 437"/>
                <a:gd name="T17" fmla="*/ 156 h 400"/>
                <a:gd name="T18" fmla="*/ 390 w 437"/>
                <a:gd name="T19" fmla="*/ 162 h 400"/>
                <a:gd name="T20" fmla="*/ 377 w 437"/>
                <a:gd name="T21" fmla="*/ 183 h 400"/>
                <a:gd name="T22" fmla="*/ 377 w 437"/>
                <a:gd name="T23" fmla="*/ 193 h 400"/>
                <a:gd name="T24" fmla="*/ 369 w 437"/>
                <a:gd name="T25" fmla="*/ 199 h 400"/>
                <a:gd name="T26" fmla="*/ 367 w 437"/>
                <a:gd name="T27" fmla="*/ 230 h 400"/>
                <a:gd name="T28" fmla="*/ 355 w 437"/>
                <a:gd name="T29" fmla="*/ 232 h 400"/>
                <a:gd name="T30" fmla="*/ 357 w 437"/>
                <a:gd name="T31" fmla="*/ 240 h 400"/>
                <a:gd name="T32" fmla="*/ 351 w 437"/>
                <a:gd name="T33" fmla="*/ 242 h 400"/>
                <a:gd name="T34" fmla="*/ 340 w 437"/>
                <a:gd name="T35" fmla="*/ 256 h 400"/>
                <a:gd name="T36" fmla="*/ 345 w 437"/>
                <a:gd name="T37" fmla="*/ 271 h 400"/>
                <a:gd name="T38" fmla="*/ 330 w 437"/>
                <a:gd name="T39" fmla="*/ 277 h 400"/>
                <a:gd name="T40" fmla="*/ 334 w 437"/>
                <a:gd name="T41" fmla="*/ 285 h 400"/>
                <a:gd name="T42" fmla="*/ 334 w 437"/>
                <a:gd name="T43" fmla="*/ 297 h 400"/>
                <a:gd name="T44" fmla="*/ 326 w 437"/>
                <a:gd name="T45" fmla="*/ 303 h 400"/>
                <a:gd name="T46" fmla="*/ 326 w 437"/>
                <a:gd name="T47" fmla="*/ 314 h 400"/>
                <a:gd name="T48" fmla="*/ 322 w 437"/>
                <a:gd name="T49" fmla="*/ 322 h 400"/>
                <a:gd name="T50" fmla="*/ 328 w 437"/>
                <a:gd name="T51" fmla="*/ 330 h 400"/>
                <a:gd name="T52" fmla="*/ 328 w 437"/>
                <a:gd name="T53" fmla="*/ 347 h 400"/>
                <a:gd name="T54" fmla="*/ 334 w 437"/>
                <a:gd name="T55" fmla="*/ 355 h 400"/>
                <a:gd name="T56" fmla="*/ 332 w 437"/>
                <a:gd name="T57" fmla="*/ 369 h 400"/>
                <a:gd name="T58" fmla="*/ 297 w 437"/>
                <a:gd name="T59" fmla="*/ 385 h 400"/>
                <a:gd name="T60" fmla="*/ 201 w 437"/>
                <a:gd name="T61" fmla="*/ 392 h 400"/>
                <a:gd name="T62" fmla="*/ 103 w 437"/>
                <a:gd name="T63" fmla="*/ 398 h 400"/>
                <a:gd name="T64" fmla="*/ 68 w 437"/>
                <a:gd name="T65" fmla="*/ 349 h 400"/>
                <a:gd name="T66" fmla="*/ 62 w 437"/>
                <a:gd name="T67" fmla="*/ 340 h 400"/>
                <a:gd name="T68" fmla="*/ 52 w 437"/>
                <a:gd name="T69" fmla="*/ 340 h 400"/>
                <a:gd name="T70" fmla="*/ 41 w 437"/>
                <a:gd name="T71" fmla="*/ 342 h 400"/>
                <a:gd name="T72" fmla="*/ 35 w 437"/>
                <a:gd name="T73" fmla="*/ 340 h 400"/>
                <a:gd name="T74" fmla="*/ 27 w 437"/>
                <a:gd name="T75" fmla="*/ 310 h 400"/>
                <a:gd name="T76" fmla="*/ 23 w 437"/>
                <a:gd name="T77" fmla="*/ 170 h 400"/>
                <a:gd name="T78" fmla="*/ 9 w 437"/>
                <a:gd name="T79" fmla="*/ 72 h 400"/>
                <a:gd name="T80" fmla="*/ 72 w 437"/>
                <a:gd name="T81" fmla="*/ 23 h 400"/>
                <a:gd name="T82" fmla="*/ 215 w 437"/>
                <a:gd name="T83" fmla="*/ 15 h 400"/>
                <a:gd name="T84" fmla="*/ 359 w 437"/>
                <a:gd name="T85" fmla="*/ 2 h 400"/>
                <a:gd name="T86" fmla="*/ 390 w 437"/>
                <a:gd name="T87" fmla="*/ 4 h 400"/>
                <a:gd name="T88" fmla="*/ 392 w 437"/>
                <a:gd name="T89" fmla="*/ 6 h 400"/>
                <a:gd name="T90" fmla="*/ 396 w 437"/>
                <a:gd name="T91" fmla="*/ 10 h 400"/>
                <a:gd name="T92" fmla="*/ 398 w 437"/>
                <a:gd name="T93" fmla="*/ 15 h 400"/>
                <a:gd name="T94" fmla="*/ 400 w 437"/>
                <a:gd name="T95" fmla="*/ 23 h 400"/>
                <a:gd name="T96" fmla="*/ 398 w 437"/>
                <a:gd name="T97" fmla="*/ 25 h 400"/>
                <a:gd name="T98" fmla="*/ 394 w 437"/>
                <a:gd name="T99" fmla="*/ 29 h 400"/>
                <a:gd name="T100" fmla="*/ 390 w 437"/>
                <a:gd name="T101" fmla="*/ 33 h 400"/>
                <a:gd name="T102" fmla="*/ 385 w 437"/>
                <a:gd name="T103" fmla="*/ 37 h 400"/>
                <a:gd name="T104" fmla="*/ 385 w 437"/>
                <a:gd name="T105" fmla="*/ 41 h 400"/>
                <a:gd name="T106" fmla="*/ 381 w 437"/>
                <a:gd name="T107" fmla="*/ 43 h 400"/>
                <a:gd name="T108" fmla="*/ 375 w 437"/>
                <a:gd name="T109" fmla="*/ 56 h 400"/>
                <a:gd name="T110" fmla="*/ 394 w 437"/>
                <a:gd name="T111" fmla="*/ 56 h 400"/>
                <a:gd name="T112" fmla="*/ 431 w 437"/>
                <a:gd name="T113" fmla="*/ 4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7" h="400">
                  <a:moveTo>
                    <a:pt x="433" y="49"/>
                  </a:moveTo>
                  <a:lnTo>
                    <a:pt x="433" y="51"/>
                  </a:lnTo>
                  <a:lnTo>
                    <a:pt x="433" y="53"/>
                  </a:lnTo>
                  <a:lnTo>
                    <a:pt x="437" y="56"/>
                  </a:lnTo>
                  <a:lnTo>
                    <a:pt x="437" y="60"/>
                  </a:lnTo>
                  <a:lnTo>
                    <a:pt x="437" y="62"/>
                  </a:lnTo>
                  <a:lnTo>
                    <a:pt x="437" y="62"/>
                  </a:lnTo>
                  <a:lnTo>
                    <a:pt x="433" y="60"/>
                  </a:lnTo>
                  <a:lnTo>
                    <a:pt x="431" y="60"/>
                  </a:lnTo>
                  <a:lnTo>
                    <a:pt x="428" y="60"/>
                  </a:lnTo>
                  <a:lnTo>
                    <a:pt x="428" y="62"/>
                  </a:lnTo>
                  <a:lnTo>
                    <a:pt x="428" y="64"/>
                  </a:lnTo>
                  <a:lnTo>
                    <a:pt x="431" y="66"/>
                  </a:lnTo>
                  <a:lnTo>
                    <a:pt x="433" y="66"/>
                  </a:lnTo>
                  <a:lnTo>
                    <a:pt x="433" y="68"/>
                  </a:lnTo>
                  <a:lnTo>
                    <a:pt x="428" y="74"/>
                  </a:lnTo>
                  <a:lnTo>
                    <a:pt x="416" y="80"/>
                  </a:lnTo>
                  <a:lnTo>
                    <a:pt x="414" y="82"/>
                  </a:lnTo>
                  <a:lnTo>
                    <a:pt x="414" y="84"/>
                  </a:lnTo>
                  <a:lnTo>
                    <a:pt x="416" y="86"/>
                  </a:lnTo>
                  <a:lnTo>
                    <a:pt x="418" y="88"/>
                  </a:lnTo>
                  <a:lnTo>
                    <a:pt x="418" y="90"/>
                  </a:lnTo>
                  <a:lnTo>
                    <a:pt x="418" y="92"/>
                  </a:lnTo>
                  <a:lnTo>
                    <a:pt x="416" y="94"/>
                  </a:lnTo>
                  <a:lnTo>
                    <a:pt x="416" y="94"/>
                  </a:lnTo>
                  <a:lnTo>
                    <a:pt x="416" y="96"/>
                  </a:lnTo>
                  <a:lnTo>
                    <a:pt x="418" y="99"/>
                  </a:lnTo>
                  <a:lnTo>
                    <a:pt x="418" y="101"/>
                  </a:lnTo>
                  <a:lnTo>
                    <a:pt x="418" y="103"/>
                  </a:lnTo>
                  <a:lnTo>
                    <a:pt x="416" y="103"/>
                  </a:lnTo>
                  <a:lnTo>
                    <a:pt x="414" y="103"/>
                  </a:lnTo>
                  <a:lnTo>
                    <a:pt x="412" y="105"/>
                  </a:lnTo>
                  <a:lnTo>
                    <a:pt x="412" y="105"/>
                  </a:lnTo>
                  <a:lnTo>
                    <a:pt x="410" y="107"/>
                  </a:lnTo>
                  <a:lnTo>
                    <a:pt x="412" y="109"/>
                  </a:lnTo>
                  <a:lnTo>
                    <a:pt x="410" y="111"/>
                  </a:lnTo>
                  <a:lnTo>
                    <a:pt x="410" y="113"/>
                  </a:lnTo>
                  <a:lnTo>
                    <a:pt x="408" y="115"/>
                  </a:lnTo>
                  <a:lnTo>
                    <a:pt x="404" y="119"/>
                  </a:lnTo>
                  <a:lnTo>
                    <a:pt x="404" y="121"/>
                  </a:lnTo>
                  <a:lnTo>
                    <a:pt x="404" y="123"/>
                  </a:lnTo>
                  <a:lnTo>
                    <a:pt x="404" y="129"/>
                  </a:lnTo>
                  <a:lnTo>
                    <a:pt x="404" y="131"/>
                  </a:lnTo>
                  <a:lnTo>
                    <a:pt x="406" y="135"/>
                  </a:lnTo>
                  <a:lnTo>
                    <a:pt x="408" y="140"/>
                  </a:lnTo>
                  <a:lnTo>
                    <a:pt x="408" y="144"/>
                  </a:lnTo>
                  <a:lnTo>
                    <a:pt x="406" y="148"/>
                  </a:lnTo>
                  <a:lnTo>
                    <a:pt x="404" y="148"/>
                  </a:lnTo>
                  <a:lnTo>
                    <a:pt x="402" y="148"/>
                  </a:lnTo>
                  <a:lnTo>
                    <a:pt x="400" y="148"/>
                  </a:lnTo>
                  <a:lnTo>
                    <a:pt x="400" y="150"/>
                  </a:lnTo>
                  <a:lnTo>
                    <a:pt x="400" y="152"/>
                  </a:lnTo>
                  <a:lnTo>
                    <a:pt x="400" y="154"/>
                  </a:lnTo>
                  <a:lnTo>
                    <a:pt x="398" y="156"/>
                  </a:lnTo>
                  <a:lnTo>
                    <a:pt x="398" y="156"/>
                  </a:lnTo>
                  <a:lnTo>
                    <a:pt x="394" y="158"/>
                  </a:lnTo>
                  <a:lnTo>
                    <a:pt x="392" y="160"/>
                  </a:lnTo>
                  <a:lnTo>
                    <a:pt x="390" y="160"/>
                  </a:lnTo>
                  <a:lnTo>
                    <a:pt x="390" y="162"/>
                  </a:lnTo>
                  <a:lnTo>
                    <a:pt x="390" y="162"/>
                  </a:lnTo>
                  <a:lnTo>
                    <a:pt x="392" y="162"/>
                  </a:lnTo>
                  <a:lnTo>
                    <a:pt x="394" y="166"/>
                  </a:lnTo>
                  <a:lnTo>
                    <a:pt x="394" y="170"/>
                  </a:lnTo>
                  <a:lnTo>
                    <a:pt x="392" y="174"/>
                  </a:lnTo>
                  <a:lnTo>
                    <a:pt x="388" y="176"/>
                  </a:lnTo>
                  <a:lnTo>
                    <a:pt x="377" y="183"/>
                  </a:lnTo>
                  <a:lnTo>
                    <a:pt x="377" y="183"/>
                  </a:lnTo>
                  <a:lnTo>
                    <a:pt x="377" y="185"/>
                  </a:lnTo>
                  <a:lnTo>
                    <a:pt x="379" y="187"/>
                  </a:lnTo>
                  <a:lnTo>
                    <a:pt x="379" y="189"/>
                  </a:lnTo>
                  <a:lnTo>
                    <a:pt x="377" y="191"/>
                  </a:lnTo>
                  <a:lnTo>
                    <a:pt x="377" y="193"/>
                  </a:lnTo>
                  <a:lnTo>
                    <a:pt x="375" y="193"/>
                  </a:lnTo>
                  <a:lnTo>
                    <a:pt x="373" y="193"/>
                  </a:lnTo>
                  <a:lnTo>
                    <a:pt x="371" y="191"/>
                  </a:lnTo>
                  <a:lnTo>
                    <a:pt x="371" y="193"/>
                  </a:lnTo>
                  <a:lnTo>
                    <a:pt x="369" y="195"/>
                  </a:lnTo>
                  <a:lnTo>
                    <a:pt x="369" y="199"/>
                  </a:lnTo>
                  <a:lnTo>
                    <a:pt x="369" y="203"/>
                  </a:lnTo>
                  <a:lnTo>
                    <a:pt x="371" y="209"/>
                  </a:lnTo>
                  <a:lnTo>
                    <a:pt x="371" y="219"/>
                  </a:lnTo>
                  <a:lnTo>
                    <a:pt x="371" y="224"/>
                  </a:lnTo>
                  <a:lnTo>
                    <a:pt x="371" y="226"/>
                  </a:lnTo>
                  <a:lnTo>
                    <a:pt x="367" y="230"/>
                  </a:lnTo>
                  <a:lnTo>
                    <a:pt x="365" y="232"/>
                  </a:lnTo>
                  <a:lnTo>
                    <a:pt x="363" y="232"/>
                  </a:lnTo>
                  <a:lnTo>
                    <a:pt x="359" y="234"/>
                  </a:lnTo>
                  <a:lnTo>
                    <a:pt x="357" y="234"/>
                  </a:lnTo>
                  <a:lnTo>
                    <a:pt x="357" y="234"/>
                  </a:lnTo>
                  <a:lnTo>
                    <a:pt x="355" y="232"/>
                  </a:lnTo>
                  <a:lnTo>
                    <a:pt x="355" y="234"/>
                  </a:lnTo>
                  <a:lnTo>
                    <a:pt x="355" y="234"/>
                  </a:lnTo>
                  <a:lnTo>
                    <a:pt x="357" y="236"/>
                  </a:lnTo>
                  <a:lnTo>
                    <a:pt x="357" y="238"/>
                  </a:lnTo>
                  <a:lnTo>
                    <a:pt x="357" y="238"/>
                  </a:lnTo>
                  <a:lnTo>
                    <a:pt x="357" y="240"/>
                  </a:lnTo>
                  <a:lnTo>
                    <a:pt x="357" y="242"/>
                  </a:lnTo>
                  <a:lnTo>
                    <a:pt x="355" y="242"/>
                  </a:lnTo>
                  <a:lnTo>
                    <a:pt x="355" y="244"/>
                  </a:lnTo>
                  <a:lnTo>
                    <a:pt x="355" y="244"/>
                  </a:lnTo>
                  <a:lnTo>
                    <a:pt x="353" y="242"/>
                  </a:lnTo>
                  <a:lnTo>
                    <a:pt x="351" y="242"/>
                  </a:lnTo>
                  <a:lnTo>
                    <a:pt x="351" y="242"/>
                  </a:lnTo>
                  <a:lnTo>
                    <a:pt x="351" y="244"/>
                  </a:lnTo>
                  <a:lnTo>
                    <a:pt x="349" y="252"/>
                  </a:lnTo>
                  <a:lnTo>
                    <a:pt x="347" y="252"/>
                  </a:lnTo>
                  <a:lnTo>
                    <a:pt x="347" y="254"/>
                  </a:lnTo>
                  <a:lnTo>
                    <a:pt x="340" y="256"/>
                  </a:lnTo>
                  <a:lnTo>
                    <a:pt x="340" y="258"/>
                  </a:lnTo>
                  <a:lnTo>
                    <a:pt x="340" y="260"/>
                  </a:lnTo>
                  <a:lnTo>
                    <a:pt x="347" y="262"/>
                  </a:lnTo>
                  <a:lnTo>
                    <a:pt x="349" y="267"/>
                  </a:lnTo>
                  <a:lnTo>
                    <a:pt x="347" y="269"/>
                  </a:lnTo>
                  <a:lnTo>
                    <a:pt x="345" y="271"/>
                  </a:lnTo>
                  <a:lnTo>
                    <a:pt x="345" y="271"/>
                  </a:lnTo>
                  <a:lnTo>
                    <a:pt x="342" y="271"/>
                  </a:lnTo>
                  <a:lnTo>
                    <a:pt x="340" y="271"/>
                  </a:lnTo>
                  <a:lnTo>
                    <a:pt x="334" y="275"/>
                  </a:lnTo>
                  <a:lnTo>
                    <a:pt x="330" y="277"/>
                  </a:lnTo>
                  <a:lnTo>
                    <a:pt x="330" y="277"/>
                  </a:lnTo>
                  <a:lnTo>
                    <a:pt x="330" y="279"/>
                  </a:lnTo>
                  <a:lnTo>
                    <a:pt x="330" y="279"/>
                  </a:lnTo>
                  <a:lnTo>
                    <a:pt x="332" y="279"/>
                  </a:lnTo>
                  <a:lnTo>
                    <a:pt x="334" y="281"/>
                  </a:lnTo>
                  <a:lnTo>
                    <a:pt x="334" y="283"/>
                  </a:lnTo>
                  <a:lnTo>
                    <a:pt x="334" y="285"/>
                  </a:lnTo>
                  <a:lnTo>
                    <a:pt x="332" y="287"/>
                  </a:lnTo>
                  <a:lnTo>
                    <a:pt x="334" y="291"/>
                  </a:lnTo>
                  <a:lnTo>
                    <a:pt x="334" y="293"/>
                  </a:lnTo>
                  <a:lnTo>
                    <a:pt x="334" y="295"/>
                  </a:lnTo>
                  <a:lnTo>
                    <a:pt x="334" y="297"/>
                  </a:lnTo>
                  <a:lnTo>
                    <a:pt x="334" y="297"/>
                  </a:lnTo>
                  <a:lnTo>
                    <a:pt x="330" y="299"/>
                  </a:lnTo>
                  <a:lnTo>
                    <a:pt x="330" y="299"/>
                  </a:lnTo>
                  <a:lnTo>
                    <a:pt x="330" y="299"/>
                  </a:lnTo>
                  <a:lnTo>
                    <a:pt x="328" y="301"/>
                  </a:lnTo>
                  <a:lnTo>
                    <a:pt x="326" y="301"/>
                  </a:lnTo>
                  <a:lnTo>
                    <a:pt x="326" y="303"/>
                  </a:lnTo>
                  <a:lnTo>
                    <a:pt x="324" y="308"/>
                  </a:lnTo>
                  <a:lnTo>
                    <a:pt x="322" y="310"/>
                  </a:lnTo>
                  <a:lnTo>
                    <a:pt x="320" y="310"/>
                  </a:lnTo>
                  <a:lnTo>
                    <a:pt x="320" y="312"/>
                  </a:lnTo>
                  <a:lnTo>
                    <a:pt x="322" y="314"/>
                  </a:lnTo>
                  <a:lnTo>
                    <a:pt x="326" y="314"/>
                  </a:lnTo>
                  <a:lnTo>
                    <a:pt x="328" y="316"/>
                  </a:lnTo>
                  <a:lnTo>
                    <a:pt x="328" y="318"/>
                  </a:lnTo>
                  <a:lnTo>
                    <a:pt x="328" y="320"/>
                  </a:lnTo>
                  <a:lnTo>
                    <a:pt x="326" y="322"/>
                  </a:lnTo>
                  <a:lnTo>
                    <a:pt x="324" y="322"/>
                  </a:lnTo>
                  <a:lnTo>
                    <a:pt x="322" y="322"/>
                  </a:lnTo>
                  <a:lnTo>
                    <a:pt x="320" y="324"/>
                  </a:lnTo>
                  <a:lnTo>
                    <a:pt x="320" y="326"/>
                  </a:lnTo>
                  <a:lnTo>
                    <a:pt x="322" y="326"/>
                  </a:lnTo>
                  <a:lnTo>
                    <a:pt x="324" y="328"/>
                  </a:lnTo>
                  <a:lnTo>
                    <a:pt x="326" y="328"/>
                  </a:lnTo>
                  <a:lnTo>
                    <a:pt x="328" y="330"/>
                  </a:lnTo>
                  <a:lnTo>
                    <a:pt x="330" y="332"/>
                  </a:lnTo>
                  <a:lnTo>
                    <a:pt x="330" y="334"/>
                  </a:lnTo>
                  <a:lnTo>
                    <a:pt x="332" y="336"/>
                  </a:lnTo>
                  <a:lnTo>
                    <a:pt x="332" y="340"/>
                  </a:lnTo>
                  <a:lnTo>
                    <a:pt x="330" y="342"/>
                  </a:lnTo>
                  <a:lnTo>
                    <a:pt x="328" y="347"/>
                  </a:lnTo>
                  <a:lnTo>
                    <a:pt x="328" y="349"/>
                  </a:lnTo>
                  <a:lnTo>
                    <a:pt x="328" y="351"/>
                  </a:lnTo>
                  <a:lnTo>
                    <a:pt x="330" y="351"/>
                  </a:lnTo>
                  <a:lnTo>
                    <a:pt x="332" y="353"/>
                  </a:lnTo>
                  <a:lnTo>
                    <a:pt x="334" y="353"/>
                  </a:lnTo>
                  <a:lnTo>
                    <a:pt x="334" y="355"/>
                  </a:lnTo>
                  <a:lnTo>
                    <a:pt x="334" y="361"/>
                  </a:lnTo>
                  <a:lnTo>
                    <a:pt x="336" y="363"/>
                  </a:lnTo>
                  <a:lnTo>
                    <a:pt x="336" y="365"/>
                  </a:lnTo>
                  <a:lnTo>
                    <a:pt x="336" y="367"/>
                  </a:lnTo>
                  <a:lnTo>
                    <a:pt x="334" y="369"/>
                  </a:lnTo>
                  <a:lnTo>
                    <a:pt x="332" y="369"/>
                  </a:lnTo>
                  <a:lnTo>
                    <a:pt x="332" y="369"/>
                  </a:lnTo>
                  <a:lnTo>
                    <a:pt x="330" y="371"/>
                  </a:lnTo>
                  <a:lnTo>
                    <a:pt x="332" y="381"/>
                  </a:lnTo>
                  <a:lnTo>
                    <a:pt x="330" y="383"/>
                  </a:lnTo>
                  <a:lnTo>
                    <a:pt x="314" y="383"/>
                  </a:lnTo>
                  <a:lnTo>
                    <a:pt x="297" y="385"/>
                  </a:lnTo>
                  <a:lnTo>
                    <a:pt x="281" y="385"/>
                  </a:lnTo>
                  <a:lnTo>
                    <a:pt x="265" y="388"/>
                  </a:lnTo>
                  <a:lnTo>
                    <a:pt x="250" y="390"/>
                  </a:lnTo>
                  <a:lnTo>
                    <a:pt x="234" y="390"/>
                  </a:lnTo>
                  <a:lnTo>
                    <a:pt x="218" y="392"/>
                  </a:lnTo>
                  <a:lnTo>
                    <a:pt x="201" y="392"/>
                  </a:lnTo>
                  <a:lnTo>
                    <a:pt x="185" y="394"/>
                  </a:lnTo>
                  <a:lnTo>
                    <a:pt x="168" y="394"/>
                  </a:lnTo>
                  <a:lnTo>
                    <a:pt x="152" y="396"/>
                  </a:lnTo>
                  <a:lnTo>
                    <a:pt x="136" y="396"/>
                  </a:lnTo>
                  <a:lnTo>
                    <a:pt x="119" y="398"/>
                  </a:lnTo>
                  <a:lnTo>
                    <a:pt x="103" y="398"/>
                  </a:lnTo>
                  <a:lnTo>
                    <a:pt x="89" y="400"/>
                  </a:lnTo>
                  <a:lnTo>
                    <a:pt x="72" y="400"/>
                  </a:lnTo>
                  <a:lnTo>
                    <a:pt x="70" y="388"/>
                  </a:lnTo>
                  <a:lnTo>
                    <a:pt x="70" y="375"/>
                  </a:lnTo>
                  <a:lnTo>
                    <a:pt x="68" y="361"/>
                  </a:lnTo>
                  <a:lnTo>
                    <a:pt x="68" y="349"/>
                  </a:lnTo>
                  <a:lnTo>
                    <a:pt x="68" y="342"/>
                  </a:lnTo>
                  <a:lnTo>
                    <a:pt x="68" y="342"/>
                  </a:lnTo>
                  <a:lnTo>
                    <a:pt x="66" y="340"/>
                  </a:lnTo>
                  <a:lnTo>
                    <a:pt x="66" y="340"/>
                  </a:lnTo>
                  <a:lnTo>
                    <a:pt x="62" y="338"/>
                  </a:lnTo>
                  <a:lnTo>
                    <a:pt x="62" y="340"/>
                  </a:lnTo>
                  <a:lnTo>
                    <a:pt x="60" y="340"/>
                  </a:lnTo>
                  <a:lnTo>
                    <a:pt x="58" y="340"/>
                  </a:lnTo>
                  <a:lnTo>
                    <a:pt x="54" y="338"/>
                  </a:lnTo>
                  <a:lnTo>
                    <a:pt x="54" y="338"/>
                  </a:lnTo>
                  <a:lnTo>
                    <a:pt x="52" y="340"/>
                  </a:lnTo>
                  <a:lnTo>
                    <a:pt x="52" y="340"/>
                  </a:lnTo>
                  <a:lnTo>
                    <a:pt x="45" y="338"/>
                  </a:lnTo>
                  <a:lnTo>
                    <a:pt x="45" y="338"/>
                  </a:lnTo>
                  <a:lnTo>
                    <a:pt x="43" y="340"/>
                  </a:lnTo>
                  <a:lnTo>
                    <a:pt x="43" y="342"/>
                  </a:lnTo>
                  <a:lnTo>
                    <a:pt x="43" y="342"/>
                  </a:lnTo>
                  <a:lnTo>
                    <a:pt x="41" y="342"/>
                  </a:lnTo>
                  <a:lnTo>
                    <a:pt x="39" y="342"/>
                  </a:lnTo>
                  <a:lnTo>
                    <a:pt x="37" y="342"/>
                  </a:lnTo>
                  <a:lnTo>
                    <a:pt x="37" y="340"/>
                  </a:lnTo>
                  <a:lnTo>
                    <a:pt x="37" y="340"/>
                  </a:lnTo>
                  <a:lnTo>
                    <a:pt x="37" y="340"/>
                  </a:lnTo>
                  <a:lnTo>
                    <a:pt x="35" y="340"/>
                  </a:lnTo>
                  <a:lnTo>
                    <a:pt x="33" y="338"/>
                  </a:lnTo>
                  <a:lnTo>
                    <a:pt x="31" y="338"/>
                  </a:lnTo>
                  <a:lnTo>
                    <a:pt x="31" y="336"/>
                  </a:lnTo>
                  <a:lnTo>
                    <a:pt x="29" y="334"/>
                  </a:lnTo>
                  <a:lnTo>
                    <a:pt x="27" y="334"/>
                  </a:lnTo>
                  <a:lnTo>
                    <a:pt x="27" y="310"/>
                  </a:lnTo>
                  <a:lnTo>
                    <a:pt x="27" y="287"/>
                  </a:lnTo>
                  <a:lnTo>
                    <a:pt x="25" y="262"/>
                  </a:lnTo>
                  <a:lnTo>
                    <a:pt x="25" y="240"/>
                  </a:lnTo>
                  <a:lnTo>
                    <a:pt x="25" y="215"/>
                  </a:lnTo>
                  <a:lnTo>
                    <a:pt x="23" y="193"/>
                  </a:lnTo>
                  <a:lnTo>
                    <a:pt x="23" y="170"/>
                  </a:lnTo>
                  <a:lnTo>
                    <a:pt x="23" y="146"/>
                  </a:lnTo>
                  <a:lnTo>
                    <a:pt x="19" y="131"/>
                  </a:lnTo>
                  <a:lnTo>
                    <a:pt x="17" y="117"/>
                  </a:lnTo>
                  <a:lnTo>
                    <a:pt x="15" y="101"/>
                  </a:lnTo>
                  <a:lnTo>
                    <a:pt x="13" y="86"/>
                  </a:lnTo>
                  <a:lnTo>
                    <a:pt x="9" y="72"/>
                  </a:lnTo>
                  <a:lnTo>
                    <a:pt x="7" y="58"/>
                  </a:lnTo>
                  <a:lnTo>
                    <a:pt x="5" y="41"/>
                  </a:lnTo>
                  <a:lnTo>
                    <a:pt x="0" y="27"/>
                  </a:lnTo>
                  <a:lnTo>
                    <a:pt x="25" y="25"/>
                  </a:lnTo>
                  <a:lnTo>
                    <a:pt x="50" y="25"/>
                  </a:lnTo>
                  <a:lnTo>
                    <a:pt x="72" y="23"/>
                  </a:lnTo>
                  <a:lnTo>
                    <a:pt x="97" y="23"/>
                  </a:lnTo>
                  <a:lnTo>
                    <a:pt x="121" y="21"/>
                  </a:lnTo>
                  <a:lnTo>
                    <a:pt x="144" y="19"/>
                  </a:lnTo>
                  <a:lnTo>
                    <a:pt x="168" y="17"/>
                  </a:lnTo>
                  <a:lnTo>
                    <a:pt x="193" y="17"/>
                  </a:lnTo>
                  <a:lnTo>
                    <a:pt x="215" y="15"/>
                  </a:lnTo>
                  <a:lnTo>
                    <a:pt x="240" y="12"/>
                  </a:lnTo>
                  <a:lnTo>
                    <a:pt x="263" y="10"/>
                  </a:lnTo>
                  <a:lnTo>
                    <a:pt x="287" y="8"/>
                  </a:lnTo>
                  <a:lnTo>
                    <a:pt x="312" y="6"/>
                  </a:lnTo>
                  <a:lnTo>
                    <a:pt x="334" y="4"/>
                  </a:lnTo>
                  <a:lnTo>
                    <a:pt x="359" y="2"/>
                  </a:lnTo>
                  <a:lnTo>
                    <a:pt x="383" y="0"/>
                  </a:lnTo>
                  <a:lnTo>
                    <a:pt x="390" y="0"/>
                  </a:lnTo>
                  <a:lnTo>
                    <a:pt x="390" y="0"/>
                  </a:lnTo>
                  <a:lnTo>
                    <a:pt x="390" y="0"/>
                  </a:lnTo>
                  <a:lnTo>
                    <a:pt x="390" y="2"/>
                  </a:lnTo>
                  <a:lnTo>
                    <a:pt x="390" y="4"/>
                  </a:lnTo>
                  <a:lnTo>
                    <a:pt x="392" y="4"/>
                  </a:lnTo>
                  <a:lnTo>
                    <a:pt x="392" y="4"/>
                  </a:lnTo>
                  <a:lnTo>
                    <a:pt x="392" y="4"/>
                  </a:lnTo>
                  <a:lnTo>
                    <a:pt x="392" y="4"/>
                  </a:lnTo>
                  <a:lnTo>
                    <a:pt x="392" y="6"/>
                  </a:lnTo>
                  <a:lnTo>
                    <a:pt x="392" y="6"/>
                  </a:lnTo>
                  <a:lnTo>
                    <a:pt x="392" y="8"/>
                  </a:lnTo>
                  <a:lnTo>
                    <a:pt x="394" y="8"/>
                  </a:lnTo>
                  <a:lnTo>
                    <a:pt x="394" y="8"/>
                  </a:lnTo>
                  <a:lnTo>
                    <a:pt x="394" y="8"/>
                  </a:lnTo>
                  <a:lnTo>
                    <a:pt x="394" y="10"/>
                  </a:lnTo>
                  <a:lnTo>
                    <a:pt x="396" y="10"/>
                  </a:lnTo>
                  <a:lnTo>
                    <a:pt x="398" y="10"/>
                  </a:lnTo>
                  <a:lnTo>
                    <a:pt x="398" y="12"/>
                  </a:lnTo>
                  <a:lnTo>
                    <a:pt x="398" y="12"/>
                  </a:lnTo>
                  <a:lnTo>
                    <a:pt x="398" y="12"/>
                  </a:lnTo>
                  <a:lnTo>
                    <a:pt x="398" y="12"/>
                  </a:lnTo>
                  <a:lnTo>
                    <a:pt x="398" y="15"/>
                  </a:lnTo>
                  <a:lnTo>
                    <a:pt x="398" y="15"/>
                  </a:lnTo>
                  <a:lnTo>
                    <a:pt x="398" y="15"/>
                  </a:lnTo>
                  <a:lnTo>
                    <a:pt x="398" y="17"/>
                  </a:lnTo>
                  <a:lnTo>
                    <a:pt x="398" y="19"/>
                  </a:lnTo>
                  <a:lnTo>
                    <a:pt x="400" y="21"/>
                  </a:lnTo>
                  <a:lnTo>
                    <a:pt x="400" y="23"/>
                  </a:lnTo>
                  <a:lnTo>
                    <a:pt x="400" y="23"/>
                  </a:lnTo>
                  <a:lnTo>
                    <a:pt x="398" y="23"/>
                  </a:lnTo>
                  <a:lnTo>
                    <a:pt x="398" y="23"/>
                  </a:lnTo>
                  <a:lnTo>
                    <a:pt x="398" y="25"/>
                  </a:lnTo>
                  <a:lnTo>
                    <a:pt x="398" y="25"/>
                  </a:lnTo>
                  <a:lnTo>
                    <a:pt x="398" y="25"/>
                  </a:lnTo>
                  <a:lnTo>
                    <a:pt x="398" y="25"/>
                  </a:lnTo>
                  <a:lnTo>
                    <a:pt x="396" y="25"/>
                  </a:lnTo>
                  <a:lnTo>
                    <a:pt x="394" y="27"/>
                  </a:lnTo>
                  <a:lnTo>
                    <a:pt x="394" y="27"/>
                  </a:lnTo>
                  <a:lnTo>
                    <a:pt x="394" y="27"/>
                  </a:lnTo>
                  <a:lnTo>
                    <a:pt x="394" y="29"/>
                  </a:lnTo>
                  <a:lnTo>
                    <a:pt x="394" y="29"/>
                  </a:lnTo>
                  <a:lnTo>
                    <a:pt x="394" y="31"/>
                  </a:lnTo>
                  <a:lnTo>
                    <a:pt x="394" y="31"/>
                  </a:lnTo>
                  <a:lnTo>
                    <a:pt x="394" y="31"/>
                  </a:lnTo>
                  <a:lnTo>
                    <a:pt x="390" y="33"/>
                  </a:lnTo>
                  <a:lnTo>
                    <a:pt x="390" y="33"/>
                  </a:lnTo>
                  <a:lnTo>
                    <a:pt x="388" y="35"/>
                  </a:lnTo>
                  <a:lnTo>
                    <a:pt x="388" y="35"/>
                  </a:lnTo>
                  <a:lnTo>
                    <a:pt x="385" y="35"/>
                  </a:lnTo>
                  <a:lnTo>
                    <a:pt x="385" y="35"/>
                  </a:lnTo>
                  <a:lnTo>
                    <a:pt x="385" y="35"/>
                  </a:lnTo>
                  <a:lnTo>
                    <a:pt x="385" y="37"/>
                  </a:lnTo>
                  <a:lnTo>
                    <a:pt x="385" y="37"/>
                  </a:lnTo>
                  <a:lnTo>
                    <a:pt x="385" y="39"/>
                  </a:lnTo>
                  <a:lnTo>
                    <a:pt x="385" y="39"/>
                  </a:lnTo>
                  <a:lnTo>
                    <a:pt x="385" y="39"/>
                  </a:lnTo>
                  <a:lnTo>
                    <a:pt x="385" y="39"/>
                  </a:lnTo>
                  <a:lnTo>
                    <a:pt x="385" y="41"/>
                  </a:lnTo>
                  <a:lnTo>
                    <a:pt x="383" y="41"/>
                  </a:lnTo>
                  <a:lnTo>
                    <a:pt x="383" y="41"/>
                  </a:lnTo>
                  <a:lnTo>
                    <a:pt x="383" y="41"/>
                  </a:lnTo>
                  <a:lnTo>
                    <a:pt x="381" y="41"/>
                  </a:lnTo>
                  <a:lnTo>
                    <a:pt x="381" y="41"/>
                  </a:lnTo>
                  <a:lnTo>
                    <a:pt x="381" y="43"/>
                  </a:lnTo>
                  <a:lnTo>
                    <a:pt x="381" y="43"/>
                  </a:lnTo>
                  <a:lnTo>
                    <a:pt x="379" y="43"/>
                  </a:lnTo>
                  <a:lnTo>
                    <a:pt x="379" y="45"/>
                  </a:lnTo>
                  <a:lnTo>
                    <a:pt x="377" y="47"/>
                  </a:lnTo>
                  <a:lnTo>
                    <a:pt x="377" y="49"/>
                  </a:lnTo>
                  <a:lnTo>
                    <a:pt x="375" y="56"/>
                  </a:lnTo>
                  <a:lnTo>
                    <a:pt x="375" y="56"/>
                  </a:lnTo>
                  <a:lnTo>
                    <a:pt x="375" y="56"/>
                  </a:lnTo>
                  <a:lnTo>
                    <a:pt x="375" y="58"/>
                  </a:lnTo>
                  <a:lnTo>
                    <a:pt x="375" y="58"/>
                  </a:lnTo>
                  <a:lnTo>
                    <a:pt x="381" y="56"/>
                  </a:lnTo>
                  <a:lnTo>
                    <a:pt x="394" y="56"/>
                  </a:lnTo>
                  <a:lnTo>
                    <a:pt x="406" y="53"/>
                  </a:lnTo>
                  <a:lnTo>
                    <a:pt x="418" y="51"/>
                  </a:lnTo>
                  <a:lnTo>
                    <a:pt x="431" y="51"/>
                  </a:lnTo>
                  <a:lnTo>
                    <a:pt x="431" y="51"/>
                  </a:lnTo>
                  <a:lnTo>
                    <a:pt x="431" y="49"/>
                  </a:lnTo>
                  <a:lnTo>
                    <a:pt x="431" y="49"/>
                  </a:lnTo>
                  <a:lnTo>
                    <a:pt x="433" y="49"/>
                  </a:lnTo>
                  <a:lnTo>
                    <a:pt x="433" y="49"/>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R</a:t>
              </a:r>
            </a:p>
          </p:txBody>
        </p:sp>
        <p:sp>
          <p:nvSpPr>
            <p:cNvPr id="343" name="Freeform 54">
              <a:extLst>
                <a:ext uri="{FF2B5EF4-FFF2-40B4-BE49-F238E27FC236}">
                  <a16:creationId xmlns:a16="http://schemas.microsoft.com/office/drawing/2014/main" id="{F48DE50C-8C73-A509-C048-9334C0E6E4E5}"/>
                </a:ext>
              </a:extLst>
            </p:cNvPr>
            <p:cNvSpPr>
              <a:spLocks noEditPoints="1"/>
            </p:cNvSpPr>
            <p:nvPr/>
          </p:nvSpPr>
          <p:spPr bwMode="auto">
            <a:xfrm>
              <a:off x="3776" y="1576"/>
              <a:ext cx="340" cy="539"/>
            </a:xfrm>
            <a:custGeom>
              <a:avLst/>
              <a:gdLst>
                <a:gd name="T0" fmla="*/ 45 w 340"/>
                <a:gd name="T1" fmla="*/ 539 h 539"/>
                <a:gd name="T2" fmla="*/ 340 w 340"/>
                <a:gd name="T3" fmla="*/ 418 h 539"/>
                <a:gd name="T4" fmla="*/ 328 w 340"/>
                <a:gd name="T5" fmla="*/ 402 h 539"/>
                <a:gd name="T6" fmla="*/ 328 w 340"/>
                <a:gd name="T7" fmla="*/ 389 h 539"/>
                <a:gd name="T8" fmla="*/ 328 w 340"/>
                <a:gd name="T9" fmla="*/ 365 h 539"/>
                <a:gd name="T10" fmla="*/ 321 w 340"/>
                <a:gd name="T11" fmla="*/ 350 h 539"/>
                <a:gd name="T12" fmla="*/ 315 w 340"/>
                <a:gd name="T13" fmla="*/ 330 h 539"/>
                <a:gd name="T14" fmla="*/ 319 w 340"/>
                <a:gd name="T15" fmla="*/ 311 h 539"/>
                <a:gd name="T16" fmla="*/ 319 w 340"/>
                <a:gd name="T17" fmla="*/ 295 h 539"/>
                <a:gd name="T18" fmla="*/ 326 w 340"/>
                <a:gd name="T19" fmla="*/ 291 h 539"/>
                <a:gd name="T20" fmla="*/ 328 w 340"/>
                <a:gd name="T21" fmla="*/ 285 h 539"/>
                <a:gd name="T22" fmla="*/ 330 w 340"/>
                <a:gd name="T23" fmla="*/ 283 h 539"/>
                <a:gd name="T24" fmla="*/ 321 w 340"/>
                <a:gd name="T25" fmla="*/ 273 h 539"/>
                <a:gd name="T26" fmla="*/ 319 w 340"/>
                <a:gd name="T27" fmla="*/ 262 h 539"/>
                <a:gd name="T28" fmla="*/ 307 w 340"/>
                <a:gd name="T29" fmla="*/ 246 h 539"/>
                <a:gd name="T30" fmla="*/ 303 w 340"/>
                <a:gd name="T31" fmla="*/ 234 h 539"/>
                <a:gd name="T32" fmla="*/ 299 w 340"/>
                <a:gd name="T33" fmla="*/ 227 h 539"/>
                <a:gd name="T34" fmla="*/ 293 w 340"/>
                <a:gd name="T35" fmla="*/ 209 h 539"/>
                <a:gd name="T36" fmla="*/ 281 w 340"/>
                <a:gd name="T37" fmla="*/ 170 h 539"/>
                <a:gd name="T38" fmla="*/ 260 w 340"/>
                <a:gd name="T39" fmla="*/ 107 h 539"/>
                <a:gd name="T40" fmla="*/ 240 w 340"/>
                <a:gd name="T41" fmla="*/ 41 h 539"/>
                <a:gd name="T42" fmla="*/ 227 w 340"/>
                <a:gd name="T43" fmla="*/ 2 h 539"/>
                <a:gd name="T44" fmla="*/ 158 w 340"/>
                <a:gd name="T45" fmla="*/ 8 h 539"/>
                <a:gd name="T46" fmla="*/ 59 w 340"/>
                <a:gd name="T47" fmla="*/ 18 h 539"/>
                <a:gd name="T48" fmla="*/ 2 w 340"/>
                <a:gd name="T49" fmla="*/ 27 h 539"/>
                <a:gd name="T50" fmla="*/ 10 w 340"/>
                <a:gd name="T51" fmla="*/ 45 h 539"/>
                <a:gd name="T52" fmla="*/ 10 w 340"/>
                <a:gd name="T53" fmla="*/ 117 h 539"/>
                <a:gd name="T54" fmla="*/ 10 w 340"/>
                <a:gd name="T55" fmla="*/ 234 h 539"/>
                <a:gd name="T56" fmla="*/ 10 w 340"/>
                <a:gd name="T57" fmla="*/ 324 h 539"/>
                <a:gd name="T58" fmla="*/ 10 w 340"/>
                <a:gd name="T59" fmla="*/ 365 h 539"/>
                <a:gd name="T60" fmla="*/ 22 w 340"/>
                <a:gd name="T61" fmla="*/ 445 h 539"/>
                <a:gd name="T62" fmla="*/ 35 w 340"/>
                <a:gd name="T63" fmla="*/ 525 h 539"/>
                <a:gd name="T64" fmla="*/ 43 w 340"/>
                <a:gd name="T65" fmla="*/ 523 h 539"/>
                <a:gd name="T66" fmla="*/ 53 w 340"/>
                <a:gd name="T67" fmla="*/ 527 h 539"/>
                <a:gd name="T68" fmla="*/ 59 w 340"/>
                <a:gd name="T69" fmla="*/ 529 h 539"/>
                <a:gd name="T70" fmla="*/ 61 w 340"/>
                <a:gd name="T71" fmla="*/ 506 h 539"/>
                <a:gd name="T72" fmla="*/ 63 w 340"/>
                <a:gd name="T73" fmla="*/ 498 h 539"/>
                <a:gd name="T74" fmla="*/ 63 w 340"/>
                <a:gd name="T75" fmla="*/ 488 h 539"/>
                <a:gd name="T76" fmla="*/ 68 w 340"/>
                <a:gd name="T77" fmla="*/ 486 h 539"/>
                <a:gd name="T78" fmla="*/ 74 w 340"/>
                <a:gd name="T79" fmla="*/ 490 h 539"/>
                <a:gd name="T80" fmla="*/ 76 w 340"/>
                <a:gd name="T81" fmla="*/ 510 h 539"/>
                <a:gd name="T82" fmla="*/ 80 w 340"/>
                <a:gd name="T83" fmla="*/ 516 h 539"/>
                <a:gd name="T84" fmla="*/ 86 w 340"/>
                <a:gd name="T85" fmla="*/ 518 h 539"/>
                <a:gd name="T86" fmla="*/ 88 w 340"/>
                <a:gd name="T87" fmla="*/ 521 h 539"/>
                <a:gd name="T88" fmla="*/ 84 w 340"/>
                <a:gd name="T89" fmla="*/ 535 h 539"/>
                <a:gd name="T90" fmla="*/ 72 w 340"/>
                <a:gd name="T91" fmla="*/ 537 h 539"/>
                <a:gd name="T92" fmla="*/ 113 w 340"/>
                <a:gd name="T93" fmla="*/ 525 h 539"/>
                <a:gd name="T94" fmla="*/ 108 w 340"/>
                <a:gd name="T95" fmla="*/ 521 h 539"/>
                <a:gd name="T96" fmla="*/ 113 w 340"/>
                <a:gd name="T97" fmla="*/ 523 h 539"/>
                <a:gd name="T98" fmla="*/ 121 w 340"/>
                <a:gd name="T99" fmla="*/ 516 h 539"/>
                <a:gd name="T100" fmla="*/ 125 w 340"/>
                <a:gd name="T101" fmla="*/ 506 h 539"/>
                <a:gd name="T102" fmla="*/ 121 w 340"/>
                <a:gd name="T103" fmla="*/ 498 h 539"/>
                <a:gd name="T104" fmla="*/ 123 w 340"/>
                <a:gd name="T105" fmla="*/ 484 h 539"/>
                <a:gd name="T106" fmla="*/ 108 w 340"/>
                <a:gd name="T107" fmla="*/ 473 h 539"/>
                <a:gd name="T108" fmla="*/ 100 w 340"/>
                <a:gd name="T109" fmla="*/ 463 h 539"/>
                <a:gd name="T110" fmla="*/ 121 w 340"/>
                <a:gd name="T111" fmla="*/ 449 h 539"/>
                <a:gd name="T112" fmla="*/ 223 w 340"/>
                <a:gd name="T113" fmla="*/ 436 h 539"/>
                <a:gd name="T114" fmla="*/ 326 w 340"/>
                <a:gd name="T115" fmla="*/ 42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539">
                  <a:moveTo>
                    <a:pt x="63" y="533"/>
                  </a:moveTo>
                  <a:lnTo>
                    <a:pt x="61" y="535"/>
                  </a:lnTo>
                  <a:lnTo>
                    <a:pt x="61" y="535"/>
                  </a:lnTo>
                  <a:lnTo>
                    <a:pt x="61" y="535"/>
                  </a:lnTo>
                  <a:lnTo>
                    <a:pt x="59" y="535"/>
                  </a:lnTo>
                  <a:lnTo>
                    <a:pt x="53" y="537"/>
                  </a:lnTo>
                  <a:lnTo>
                    <a:pt x="45" y="539"/>
                  </a:lnTo>
                  <a:lnTo>
                    <a:pt x="45" y="539"/>
                  </a:lnTo>
                  <a:lnTo>
                    <a:pt x="65" y="537"/>
                  </a:lnTo>
                  <a:lnTo>
                    <a:pt x="65" y="537"/>
                  </a:lnTo>
                  <a:lnTo>
                    <a:pt x="68" y="535"/>
                  </a:lnTo>
                  <a:lnTo>
                    <a:pt x="68" y="535"/>
                  </a:lnTo>
                  <a:lnTo>
                    <a:pt x="63" y="533"/>
                  </a:lnTo>
                  <a:close/>
                  <a:moveTo>
                    <a:pt x="340" y="418"/>
                  </a:moveTo>
                  <a:lnTo>
                    <a:pt x="340" y="416"/>
                  </a:lnTo>
                  <a:lnTo>
                    <a:pt x="338" y="412"/>
                  </a:lnTo>
                  <a:lnTo>
                    <a:pt x="334" y="408"/>
                  </a:lnTo>
                  <a:lnTo>
                    <a:pt x="332" y="404"/>
                  </a:lnTo>
                  <a:lnTo>
                    <a:pt x="330" y="404"/>
                  </a:lnTo>
                  <a:lnTo>
                    <a:pt x="328" y="402"/>
                  </a:lnTo>
                  <a:lnTo>
                    <a:pt x="328" y="402"/>
                  </a:lnTo>
                  <a:lnTo>
                    <a:pt x="328" y="398"/>
                  </a:lnTo>
                  <a:lnTo>
                    <a:pt x="328" y="396"/>
                  </a:lnTo>
                  <a:lnTo>
                    <a:pt x="326" y="393"/>
                  </a:lnTo>
                  <a:lnTo>
                    <a:pt x="326" y="393"/>
                  </a:lnTo>
                  <a:lnTo>
                    <a:pt x="326" y="391"/>
                  </a:lnTo>
                  <a:lnTo>
                    <a:pt x="328" y="389"/>
                  </a:lnTo>
                  <a:lnTo>
                    <a:pt x="328" y="389"/>
                  </a:lnTo>
                  <a:lnTo>
                    <a:pt x="328" y="381"/>
                  </a:lnTo>
                  <a:lnTo>
                    <a:pt x="328" y="377"/>
                  </a:lnTo>
                  <a:lnTo>
                    <a:pt x="328" y="373"/>
                  </a:lnTo>
                  <a:lnTo>
                    <a:pt x="328" y="371"/>
                  </a:lnTo>
                  <a:lnTo>
                    <a:pt x="328" y="369"/>
                  </a:lnTo>
                  <a:lnTo>
                    <a:pt x="328" y="367"/>
                  </a:lnTo>
                  <a:lnTo>
                    <a:pt x="328" y="365"/>
                  </a:lnTo>
                  <a:lnTo>
                    <a:pt x="328" y="363"/>
                  </a:lnTo>
                  <a:lnTo>
                    <a:pt x="328" y="361"/>
                  </a:lnTo>
                  <a:lnTo>
                    <a:pt x="326" y="361"/>
                  </a:lnTo>
                  <a:lnTo>
                    <a:pt x="326" y="357"/>
                  </a:lnTo>
                  <a:lnTo>
                    <a:pt x="326" y="355"/>
                  </a:lnTo>
                  <a:lnTo>
                    <a:pt x="326" y="355"/>
                  </a:lnTo>
                  <a:lnTo>
                    <a:pt x="321" y="350"/>
                  </a:lnTo>
                  <a:lnTo>
                    <a:pt x="319" y="348"/>
                  </a:lnTo>
                  <a:lnTo>
                    <a:pt x="315" y="336"/>
                  </a:lnTo>
                  <a:lnTo>
                    <a:pt x="315" y="334"/>
                  </a:lnTo>
                  <a:lnTo>
                    <a:pt x="315" y="332"/>
                  </a:lnTo>
                  <a:lnTo>
                    <a:pt x="315" y="332"/>
                  </a:lnTo>
                  <a:lnTo>
                    <a:pt x="315" y="330"/>
                  </a:lnTo>
                  <a:lnTo>
                    <a:pt x="315" y="330"/>
                  </a:lnTo>
                  <a:lnTo>
                    <a:pt x="315" y="326"/>
                  </a:lnTo>
                  <a:lnTo>
                    <a:pt x="317" y="322"/>
                  </a:lnTo>
                  <a:lnTo>
                    <a:pt x="319" y="318"/>
                  </a:lnTo>
                  <a:lnTo>
                    <a:pt x="319" y="316"/>
                  </a:lnTo>
                  <a:lnTo>
                    <a:pt x="319" y="314"/>
                  </a:lnTo>
                  <a:lnTo>
                    <a:pt x="319" y="314"/>
                  </a:lnTo>
                  <a:lnTo>
                    <a:pt x="319" y="311"/>
                  </a:lnTo>
                  <a:lnTo>
                    <a:pt x="319" y="309"/>
                  </a:lnTo>
                  <a:lnTo>
                    <a:pt x="319" y="307"/>
                  </a:lnTo>
                  <a:lnTo>
                    <a:pt x="319" y="305"/>
                  </a:lnTo>
                  <a:lnTo>
                    <a:pt x="319" y="303"/>
                  </a:lnTo>
                  <a:lnTo>
                    <a:pt x="319" y="301"/>
                  </a:lnTo>
                  <a:lnTo>
                    <a:pt x="319" y="299"/>
                  </a:lnTo>
                  <a:lnTo>
                    <a:pt x="319" y="295"/>
                  </a:lnTo>
                  <a:lnTo>
                    <a:pt x="321" y="295"/>
                  </a:lnTo>
                  <a:lnTo>
                    <a:pt x="321" y="295"/>
                  </a:lnTo>
                  <a:lnTo>
                    <a:pt x="321" y="293"/>
                  </a:lnTo>
                  <a:lnTo>
                    <a:pt x="324" y="293"/>
                  </a:lnTo>
                  <a:lnTo>
                    <a:pt x="326" y="293"/>
                  </a:lnTo>
                  <a:lnTo>
                    <a:pt x="326" y="291"/>
                  </a:lnTo>
                  <a:lnTo>
                    <a:pt x="326" y="291"/>
                  </a:lnTo>
                  <a:lnTo>
                    <a:pt x="326" y="289"/>
                  </a:lnTo>
                  <a:lnTo>
                    <a:pt x="326" y="289"/>
                  </a:lnTo>
                  <a:lnTo>
                    <a:pt x="328" y="289"/>
                  </a:lnTo>
                  <a:lnTo>
                    <a:pt x="328" y="289"/>
                  </a:lnTo>
                  <a:lnTo>
                    <a:pt x="330" y="289"/>
                  </a:lnTo>
                  <a:lnTo>
                    <a:pt x="330" y="287"/>
                  </a:lnTo>
                  <a:lnTo>
                    <a:pt x="328" y="285"/>
                  </a:lnTo>
                  <a:lnTo>
                    <a:pt x="330" y="285"/>
                  </a:lnTo>
                  <a:lnTo>
                    <a:pt x="330" y="285"/>
                  </a:lnTo>
                  <a:lnTo>
                    <a:pt x="330" y="285"/>
                  </a:lnTo>
                  <a:lnTo>
                    <a:pt x="332" y="283"/>
                  </a:lnTo>
                  <a:lnTo>
                    <a:pt x="330" y="283"/>
                  </a:lnTo>
                  <a:lnTo>
                    <a:pt x="330" y="283"/>
                  </a:lnTo>
                  <a:lnTo>
                    <a:pt x="330" y="283"/>
                  </a:lnTo>
                  <a:lnTo>
                    <a:pt x="330" y="281"/>
                  </a:lnTo>
                  <a:lnTo>
                    <a:pt x="328" y="281"/>
                  </a:lnTo>
                  <a:lnTo>
                    <a:pt x="324" y="279"/>
                  </a:lnTo>
                  <a:lnTo>
                    <a:pt x="321" y="277"/>
                  </a:lnTo>
                  <a:lnTo>
                    <a:pt x="321" y="277"/>
                  </a:lnTo>
                  <a:lnTo>
                    <a:pt x="321" y="273"/>
                  </a:lnTo>
                  <a:lnTo>
                    <a:pt x="321" y="273"/>
                  </a:lnTo>
                  <a:lnTo>
                    <a:pt x="321" y="271"/>
                  </a:lnTo>
                  <a:lnTo>
                    <a:pt x="321" y="271"/>
                  </a:lnTo>
                  <a:lnTo>
                    <a:pt x="321" y="268"/>
                  </a:lnTo>
                  <a:lnTo>
                    <a:pt x="321" y="266"/>
                  </a:lnTo>
                  <a:lnTo>
                    <a:pt x="321" y="266"/>
                  </a:lnTo>
                  <a:lnTo>
                    <a:pt x="319" y="264"/>
                  </a:lnTo>
                  <a:lnTo>
                    <a:pt x="319" y="262"/>
                  </a:lnTo>
                  <a:lnTo>
                    <a:pt x="317" y="258"/>
                  </a:lnTo>
                  <a:lnTo>
                    <a:pt x="317" y="258"/>
                  </a:lnTo>
                  <a:lnTo>
                    <a:pt x="315" y="256"/>
                  </a:lnTo>
                  <a:lnTo>
                    <a:pt x="309" y="248"/>
                  </a:lnTo>
                  <a:lnTo>
                    <a:pt x="309" y="248"/>
                  </a:lnTo>
                  <a:lnTo>
                    <a:pt x="309" y="246"/>
                  </a:lnTo>
                  <a:lnTo>
                    <a:pt x="307" y="246"/>
                  </a:lnTo>
                  <a:lnTo>
                    <a:pt x="307" y="246"/>
                  </a:lnTo>
                  <a:lnTo>
                    <a:pt x="307" y="244"/>
                  </a:lnTo>
                  <a:lnTo>
                    <a:pt x="307" y="242"/>
                  </a:lnTo>
                  <a:lnTo>
                    <a:pt x="305" y="240"/>
                  </a:lnTo>
                  <a:lnTo>
                    <a:pt x="303" y="236"/>
                  </a:lnTo>
                  <a:lnTo>
                    <a:pt x="303" y="236"/>
                  </a:lnTo>
                  <a:lnTo>
                    <a:pt x="303" y="234"/>
                  </a:lnTo>
                  <a:lnTo>
                    <a:pt x="301" y="234"/>
                  </a:lnTo>
                  <a:lnTo>
                    <a:pt x="303" y="232"/>
                  </a:lnTo>
                  <a:lnTo>
                    <a:pt x="301" y="232"/>
                  </a:lnTo>
                  <a:lnTo>
                    <a:pt x="299" y="230"/>
                  </a:lnTo>
                  <a:lnTo>
                    <a:pt x="299" y="230"/>
                  </a:lnTo>
                  <a:lnTo>
                    <a:pt x="299" y="227"/>
                  </a:lnTo>
                  <a:lnTo>
                    <a:pt x="299" y="227"/>
                  </a:lnTo>
                  <a:lnTo>
                    <a:pt x="297" y="227"/>
                  </a:lnTo>
                  <a:lnTo>
                    <a:pt x="297" y="223"/>
                  </a:lnTo>
                  <a:lnTo>
                    <a:pt x="293" y="215"/>
                  </a:lnTo>
                  <a:lnTo>
                    <a:pt x="293" y="215"/>
                  </a:lnTo>
                  <a:lnTo>
                    <a:pt x="293" y="211"/>
                  </a:lnTo>
                  <a:lnTo>
                    <a:pt x="293" y="211"/>
                  </a:lnTo>
                  <a:lnTo>
                    <a:pt x="293" y="209"/>
                  </a:lnTo>
                  <a:lnTo>
                    <a:pt x="291" y="205"/>
                  </a:lnTo>
                  <a:lnTo>
                    <a:pt x="289" y="203"/>
                  </a:lnTo>
                  <a:lnTo>
                    <a:pt x="289" y="197"/>
                  </a:lnTo>
                  <a:lnTo>
                    <a:pt x="287" y="191"/>
                  </a:lnTo>
                  <a:lnTo>
                    <a:pt x="285" y="184"/>
                  </a:lnTo>
                  <a:lnTo>
                    <a:pt x="283" y="178"/>
                  </a:lnTo>
                  <a:lnTo>
                    <a:pt x="281" y="170"/>
                  </a:lnTo>
                  <a:lnTo>
                    <a:pt x="276" y="162"/>
                  </a:lnTo>
                  <a:lnTo>
                    <a:pt x="274" y="154"/>
                  </a:lnTo>
                  <a:lnTo>
                    <a:pt x="272" y="143"/>
                  </a:lnTo>
                  <a:lnTo>
                    <a:pt x="268" y="135"/>
                  </a:lnTo>
                  <a:lnTo>
                    <a:pt x="266" y="125"/>
                  </a:lnTo>
                  <a:lnTo>
                    <a:pt x="262" y="115"/>
                  </a:lnTo>
                  <a:lnTo>
                    <a:pt x="260" y="107"/>
                  </a:lnTo>
                  <a:lnTo>
                    <a:pt x="256" y="96"/>
                  </a:lnTo>
                  <a:lnTo>
                    <a:pt x="254" y="86"/>
                  </a:lnTo>
                  <a:lnTo>
                    <a:pt x="250" y="76"/>
                  </a:lnTo>
                  <a:lnTo>
                    <a:pt x="248" y="68"/>
                  </a:lnTo>
                  <a:lnTo>
                    <a:pt x="246" y="57"/>
                  </a:lnTo>
                  <a:lnTo>
                    <a:pt x="242" y="49"/>
                  </a:lnTo>
                  <a:lnTo>
                    <a:pt x="240" y="41"/>
                  </a:lnTo>
                  <a:lnTo>
                    <a:pt x="238" y="33"/>
                  </a:lnTo>
                  <a:lnTo>
                    <a:pt x="235" y="27"/>
                  </a:lnTo>
                  <a:lnTo>
                    <a:pt x="233" y="20"/>
                  </a:lnTo>
                  <a:lnTo>
                    <a:pt x="231" y="14"/>
                  </a:lnTo>
                  <a:lnTo>
                    <a:pt x="229" y="10"/>
                  </a:lnTo>
                  <a:lnTo>
                    <a:pt x="229" y="6"/>
                  </a:lnTo>
                  <a:lnTo>
                    <a:pt x="227" y="2"/>
                  </a:lnTo>
                  <a:lnTo>
                    <a:pt x="227" y="0"/>
                  </a:lnTo>
                  <a:lnTo>
                    <a:pt x="227" y="0"/>
                  </a:lnTo>
                  <a:lnTo>
                    <a:pt x="213" y="2"/>
                  </a:lnTo>
                  <a:lnTo>
                    <a:pt x="199" y="4"/>
                  </a:lnTo>
                  <a:lnTo>
                    <a:pt x="186" y="4"/>
                  </a:lnTo>
                  <a:lnTo>
                    <a:pt x="172" y="6"/>
                  </a:lnTo>
                  <a:lnTo>
                    <a:pt x="158" y="8"/>
                  </a:lnTo>
                  <a:lnTo>
                    <a:pt x="143" y="10"/>
                  </a:lnTo>
                  <a:lnTo>
                    <a:pt x="129" y="12"/>
                  </a:lnTo>
                  <a:lnTo>
                    <a:pt x="117" y="12"/>
                  </a:lnTo>
                  <a:lnTo>
                    <a:pt x="102" y="14"/>
                  </a:lnTo>
                  <a:lnTo>
                    <a:pt x="88" y="16"/>
                  </a:lnTo>
                  <a:lnTo>
                    <a:pt x="74" y="16"/>
                  </a:lnTo>
                  <a:lnTo>
                    <a:pt x="59" y="18"/>
                  </a:lnTo>
                  <a:lnTo>
                    <a:pt x="47" y="20"/>
                  </a:lnTo>
                  <a:lnTo>
                    <a:pt x="33" y="20"/>
                  </a:lnTo>
                  <a:lnTo>
                    <a:pt x="18" y="23"/>
                  </a:lnTo>
                  <a:lnTo>
                    <a:pt x="4" y="25"/>
                  </a:lnTo>
                  <a:lnTo>
                    <a:pt x="2" y="25"/>
                  </a:lnTo>
                  <a:lnTo>
                    <a:pt x="0" y="25"/>
                  </a:lnTo>
                  <a:lnTo>
                    <a:pt x="2" y="27"/>
                  </a:lnTo>
                  <a:lnTo>
                    <a:pt x="4" y="31"/>
                  </a:lnTo>
                  <a:lnTo>
                    <a:pt x="6" y="35"/>
                  </a:lnTo>
                  <a:lnTo>
                    <a:pt x="10" y="37"/>
                  </a:lnTo>
                  <a:lnTo>
                    <a:pt x="10" y="37"/>
                  </a:lnTo>
                  <a:lnTo>
                    <a:pt x="10" y="37"/>
                  </a:lnTo>
                  <a:lnTo>
                    <a:pt x="10" y="43"/>
                  </a:lnTo>
                  <a:lnTo>
                    <a:pt x="10" y="45"/>
                  </a:lnTo>
                  <a:lnTo>
                    <a:pt x="10" y="55"/>
                  </a:lnTo>
                  <a:lnTo>
                    <a:pt x="10" y="64"/>
                  </a:lnTo>
                  <a:lnTo>
                    <a:pt x="10" y="72"/>
                  </a:lnTo>
                  <a:lnTo>
                    <a:pt x="10" y="82"/>
                  </a:lnTo>
                  <a:lnTo>
                    <a:pt x="10" y="92"/>
                  </a:lnTo>
                  <a:lnTo>
                    <a:pt x="10" y="105"/>
                  </a:lnTo>
                  <a:lnTo>
                    <a:pt x="10" y="117"/>
                  </a:lnTo>
                  <a:lnTo>
                    <a:pt x="10" y="129"/>
                  </a:lnTo>
                  <a:lnTo>
                    <a:pt x="10" y="143"/>
                  </a:lnTo>
                  <a:lnTo>
                    <a:pt x="10" y="158"/>
                  </a:lnTo>
                  <a:lnTo>
                    <a:pt x="10" y="172"/>
                  </a:lnTo>
                  <a:lnTo>
                    <a:pt x="10" y="189"/>
                  </a:lnTo>
                  <a:lnTo>
                    <a:pt x="10" y="217"/>
                  </a:lnTo>
                  <a:lnTo>
                    <a:pt x="10" y="234"/>
                  </a:lnTo>
                  <a:lnTo>
                    <a:pt x="10" y="248"/>
                  </a:lnTo>
                  <a:lnTo>
                    <a:pt x="10" y="262"/>
                  </a:lnTo>
                  <a:lnTo>
                    <a:pt x="10" y="277"/>
                  </a:lnTo>
                  <a:lnTo>
                    <a:pt x="10" y="289"/>
                  </a:lnTo>
                  <a:lnTo>
                    <a:pt x="10" y="301"/>
                  </a:lnTo>
                  <a:lnTo>
                    <a:pt x="10" y="314"/>
                  </a:lnTo>
                  <a:lnTo>
                    <a:pt x="10" y="324"/>
                  </a:lnTo>
                  <a:lnTo>
                    <a:pt x="10" y="334"/>
                  </a:lnTo>
                  <a:lnTo>
                    <a:pt x="10" y="342"/>
                  </a:lnTo>
                  <a:lnTo>
                    <a:pt x="10" y="350"/>
                  </a:lnTo>
                  <a:lnTo>
                    <a:pt x="10" y="357"/>
                  </a:lnTo>
                  <a:lnTo>
                    <a:pt x="10" y="361"/>
                  </a:lnTo>
                  <a:lnTo>
                    <a:pt x="10" y="363"/>
                  </a:lnTo>
                  <a:lnTo>
                    <a:pt x="10" y="365"/>
                  </a:lnTo>
                  <a:lnTo>
                    <a:pt x="12" y="373"/>
                  </a:lnTo>
                  <a:lnTo>
                    <a:pt x="12" y="383"/>
                  </a:lnTo>
                  <a:lnTo>
                    <a:pt x="14" y="393"/>
                  </a:lnTo>
                  <a:lnTo>
                    <a:pt x="16" y="404"/>
                  </a:lnTo>
                  <a:lnTo>
                    <a:pt x="18" y="414"/>
                  </a:lnTo>
                  <a:lnTo>
                    <a:pt x="18" y="424"/>
                  </a:lnTo>
                  <a:lnTo>
                    <a:pt x="22" y="445"/>
                  </a:lnTo>
                  <a:lnTo>
                    <a:pt x="22" y="455"/>
                  </a:lnTo>
                  <a:lnTo>
                    <a:pt x="25" y="463"/>
                  </a:lnTo>
                  <a:lnTo>
                    <a:pt x="27" y="473"/>
                  </a:lnTo>
                  <a:lnTo>
                    <a:pt x="29" y="484"/>
                  </a:lnTo>
                  <a:lnTo>
                    <a:pt x="31" y="494"/>
                  </a:lnTo>
                  <a:lnTo>
                    <a:pt x="31" y="504"/>
                  </a:lnTo>
                  <a:lnTo>
                    <a:pt x="35" y="525"/>
                  </a:lnTo>
                  <a:lnTo>
                    <a:pt x="37" y="523"/>
                  </a:lnTo>
                  <a:lnTo>
                    <a:pt x="39" y="523"/>
                  </a:lnTo>
                  <a:lnTo>
                    <a:pt x="41" y="523"/>
                  </a:lnTo>
                  <a:lnTo>
                    <a:pt x="43" y="525"/>
                  </a:lnTo>
                  <a:lnTo>
                    <a:pt x="43" y="525"/>
                  </a:lnTo>
                  <a:lnTo>
                    <a:pt x="43" y="523"/>
                  </a:lnTo>
                  <a:lnTo>
                    <a:pt x="43" y="523"/>
                  </a:lnTo>
                  <a:lnTo>
                    <a:pt x="43" y="523"/>
                  </a:lnTo>
                  <a:lnTo>
                    <a:pt x="43" y="523"/>
                  </a:lnTo>
                  <a:lnTo>
                    <a:pt x="45" y="523"/>
                  </a:lnTo>
                  <a:lnTo>
                    <a:pt x="51" y="523"/>
                  </a:lnTo>
                  <a:lnTo>
                    <a:pt x="55" y="525"/>
                  </a:lnTo>
                  <a:lnTo>
                    <a:pt x="53" y="527"/>
                  </a:lnTo>
                  <a:lnTo>
                    <a:pt x="53" y="527"/>
                  </a:lnTo>
                  <a:lnTo>
                    <a:pt x="55" y="529"/>
                  </a:lnTo>
                  <a:lnTo>
                    <a:pt x="57" y="529"/>
                  </a:lnTo>
                  <a:lnTo>
                    <a:pt x="57" y="529"/>
                  </a:lnTo>
                  <a:lnTo>
                    <a:pt x="59" y="527"/>
                  </a:lnTo>
                  <a:lnTo>
                    <a:pt x="59" y="529"/>
                  </a:lnTo>
                  <a:lnTo>
                    <a:pt x="59" y="529"/>
                  </a:lnTo>
                  <a:lnTo>
                    <a:pt x="59" y="529"/>
                  </a:lnTo>
                  <a:lnTo>
                    <a:pt x="61" y="529"/>
                  </a:lnTo>
                  <a:lnTo>
                    <a:pt x="61" y="527"/>
                  </a:lnTo>
                  <a:lnTo>
                    <a:pt x="61" y="518"/>
                  </a:lnTo>
                  <a:lnTo>
                    <a:pt x="61" y="514"/>
                  </a:lnTo>
                  <a:lnTo>
                    <a:pt x="61" y="512"/>
                  </a:lnTo>
                  <a:lnTo>
                    <a:pt x="61" y="508"/>
                  </a:lnTo>
                  <a:lnTo>
                    <a:pt x="61" y="506"/>
                  </a:lnTo>
                  <a:lnTo>
                    <a:pt x="61" y="506"/>
                  </a:lnTo>
                  <a:lnTo>
                    <a:pt x="61" y="504"/>
                  </a:lnTo>
                  <a:lnTo>
                    <a:pt x="61" y="504"/>
                  </a:lnTo>
                  <a:lnTo>
                    <a:pt x="61" y="502"/>
                  </a:lnTo>
                  <a:lnTo>
                    <a:pt x="61" y="500"/>
                  </a:lnTo>
                  <a:lnTo>
                    <a:pt x="61" y="500"/>
                  </a:lnTo>
                  <a:lnTo>
                    <a:pt x="63" y="498"/>
                  </a:lnTo>
                  <a:lnTo>
                    <a:pt x="63" y="498"/>
                  </a:lnTo>
                  <a:lnTo>
                    <a:pt x="63" y="496"/>
                  </a:lnTo>
                  <a:lnTo>
                    <a:pt x="63" y="494"/>
                  </a:lnTo>
                  <a:lnTo>
                    <a:pt x="63" y="492"/>
                  </a:lnTo>
                  <a:lnTo>
                    <a:pt x="63" y="492"/>
                  </a:lnTo>
                  <a:lnTo>
                    <a:pt x="65" y="490"/>
                  </a:lnTo>
                  <a:lnTo>
                    <a:pt x="63" y="488"/>
                  </a:lnTo>
                  <a:lnTo>
                    <a:pt x="65" y="488"/>
                  </a:lnTo>
                  <a:lnTo>
                    <a:pt x="65" y="486"/>
                  </a:lnTo>
                  <a:lnTo>
                    <a:pt x="65" y="484"/>
                  </a:lnTo>
                  <a:lnTo>
                    <a:pt x="65" y="484"/>
                  </a:lnTo>
                  <a:lnTo>
                    <a:pt x="65" y="484"/>
                  </a:lnTo>
                  <a:lnTo>
                    <a:pt x="68" y="484"/>
                  </a:lnTo>
                  <a:lnTo>
                    <a:pt x="68" y="486"/>
                  </a:lnTo>
                  <a:lnTo>
                    <a:pt x="68" y="488"/>
                  </a:lnTo>
                  <a:lnTo>
                    <a:pt x="68" y="488"/>
                  </a:lnTo>
                  <a:lnTo>
                    <a:pt x="68" y="488"/>
                  </a:lnTo>
                  <a:lnTo>
                    <a:pt x="70" y="488"/>
                  </a:lnTo>
                  <a:lnTo>
                    <a:pt x="70" y="488"/>
                  </a:lnTo>
                  <a:lnTo>
                    <a:pt x="72" y="490"/>
                  </a:lnTo>
                  <a:lnTo>
                    <a:pt x="74" y="490"/>
                  </a:lnTo>
                  <a:lnTo>
                    <a:pt x="78" y="498"/>
                  </a:lnTo>
                  <a:lnTo>
                    <a:pt x="78" y="500"/>
                  </a:lnTo>
                  <a:lnTo>
                    <a:pt x="78" y="502"/>
                  </a:lnTo>
                  <a:lnTo>
                    <a:pt x="78" y="504"/>
                  </a:lnTo>
                  <a:lnTo>
                    <a:pt x="76" y="506"/>
                  </a:lnTo>
                  <a:lnTo>
                    <a:pt x="76" y="508"/>
                  </a:lnTo>
                  <a:lnTo>
                    <a:pt x="76" y="510"/>
                  </a:lnTo>
                  <a:lnTo>
                    <a:pt x="76" y="510"/>
                  </a:lnTo>
                  <a:lnTo>
                    <a:pt x="78" y="510"/>
                  </a:lnTo>
                  <a:lnTo>
                    <a:pt x="78" y="512"/>
                  </a:lnTo>
                  <a:lnTo>
                    <a:pt x="78" y="512"/>
                  </a:lnTo>
                  <a:lnTo>
                    <a:pt x="78" y="514"/>
                  </a:lnTo>
                  <a:lnTo>
                    <a:pt x="80" y="516"/>
                  </a:lnTo>
                  <a:lnTo>
                    <a:pt x="80" y="516"/>
                  </a:lnTo>
                  <a:lnTo>
                    <a:pt x="80" y="518"/>
                  </a:lnTo>
                  <a:lnTo>
                    <a:pt x="82" y="518"/>
                  </a:lnTo>
                  <a:lnTo>
                    <a:pt x="82" y="518"/>
                  </a:lnTo>
                  <a:lnTo>
                    <a:pt x="84" y="518"/>
                  </a:lnTo>
                  <a:lnTo>
                    <a:pt x="84" y="518"/>
                  </a:lnTo>
                  <a:lnTo>
                    <a:pt x="86" y="518"/>
                  </a:lnTo>
                  <a:lnTo>
                    <a:pt x="86" y="518"/>
                  </a:lnTo>
                  <a:lnTo>
                    <a:pt x="86" y="518"/>
                  </a:lnTo>
                  <a:lnTo>
                    <a:pt x="86" y="516"/>
                  </a:lnTo>
                  <a:lnTo>
                    <a:pt x="86" y="516"/>
                  </a:lnTo>
                  <a:lnTo>
                    <a:pt x="88" y="516"/>
                  </a:lnTo>
                  <a:lnTo>
                    <a:pt x="88" y="516"/>
                  </a:lnTo>
                  <a:lnTo>
                    <a:pt x="88" y="516"/>
                  </a:lnTo>
                  <a:lnTo>
                    <a:pt x="88" y="521"/>
                  </a:lnTo>
                  <a:lnTo>
                    <a:pt x="88" y="521"/>
                  </a:lnTo>
                  <a:lnTo>
                    <a:pt x="88" y="523"/>
                  </a:lnTo>
                  <a:lnTo>
                    <a:pt x="94" y="527"/>
                  </a:lnTo>
                  <a:lnTo>
                    <a:pt x="94" y="529"/>
                  </a:lnTo>
                  <a:lnTo>
                    <a:pt x="92" y="531"/>
                  </a:lnTo>
                  <a:lnTo>
                    <a:pt x="88" y="533"/>
                  </a:lnTo>
                  <a:lnTo>
                    <a:pt x="84" y="535"/>
                  </a:lnTo>
                  <a:lnTo>
                    <a:pt x="82" y="535"/>
                  </a:lnTo>
                  <a:lnTo>
                    <a:pt x="80" y="533"/>
                  </a:lnTo>
                  <a:lnTo>
                    <a:pt x="78" y="533"/>
                  </a:lnTo>
                  <a:lnTo>
                    <a:pt x="78" y="535"/>
                  </a:lnTo>
                  <a:lnTo>
                    <a:pt x="78" y="535"/>
                  </a:lnTo>
                  <a:lnTo>
                    <a:pt x="74" y="535"/>
                  </a:lnTo>
                  <a:lnTo>
                    <a:pt x="72" y="537"/>
                  </a:lnTo>
                  <a:lnTo>
                    <a:pt x="72" y="539"/>
                  </a:lnTo>
                  <a:lnTo>
                    <a:pt x="74" y="537"/>
                  </a:lnTo>
                  <a:lnTo>
                    <a:pt x="82" y="535"/>
                  </a:lnTo>
                  <a:lnTo>
                    <a:pt x="94" y="535"/>
                  </a:lnTo>
                  <a:lnTo>
                    <a:pt x="104" y="531"/>
                  </a:lnTo>
                  <a:lnTo>
                    <a:pt x="111" y="529"/>
                  </a:lnTo>
                  <a:lnTo>
                    <a:pt x="113" y="525"/>
                  </a:lnTo>
                  <a:lnTo>
                    <a:pt x="113" y="525"/>
                  </a:lnTo>
                  <a:lnTo>
                    <a:pt x="111" y="525"/>
                  </a:lnTo>
                  <a:lnTo>
                    <a:pt x="111" y="525"/>
                  </a:lnTo>
                  <a:lnTo>
                    <a:pt x="108" y="525"/>
                  </a:lnTo>
                  <a:lnTo>
                    <a:pt x="108" y="523"/>
                  </a:lnTo>
                  <a:lnTo>
                    <a:pt x="108" y="523"/>
                  </a:lnTo>
                  <a:lnTo>
                    <a:pt x="108" y="521"/>
                  </a:lnTo>
                  <a:lnTo>
                    <a:pt x="108" y="518"/>
                  </a:lnTo>
                  <a:lnTo>
                    <a:pt x="108" y="518"/>
                  </a:lnTo>
                  <a:lnTo>
                    <a:pt x="108" y="521"/>
                  </a:lnTo>
                  <a:lnTo>
                    <a:pt x="111" y="521"/>
                  </a:lnTo>
                  <a:lnTo>
                    <a:pt x="111" y="523"/>
                  </a:lnTo>
                  <a:lnTo>
                    <a:pt x="111" y="523"/>
                  </a:lnTo>
                  <a:lnTo>
                    <a:pt x="113" y="523"/>
                  </a:lnTo>
                  <a:lnTo>
                    <a:pt x="113" y="523"/>
                  </a:lnTo>
                  <a:lnTo>
                    <a:pt x="115" y="523"/>
                  </a:lnTo>
                  <a:lnTo>
                    <a:pt x="117" y="521"/>
                  </a:lnTo>
                  <a:lnTo>
                    <a:pt x="117" y="518"/>
                  </a:lnTo>
                  <a:lnTo>
                    <a:pt x="119" y="518"/>
                  </a:lnTo>
                  <a:lnTo>
                    <a:pt x="121" y="518"/>
                  </a:lnTo>
                  <a:lnTo>
                    <a:pt x="121" y="516"/>
                  </a:lnTo>
                  <a:lnTo>
                    <a:pt x="123" y="514"/>
                  </a:lnTo>
                  <a:lnTo>
                    <a:pt x="123" y="512"/>
                  </a:lnTo>
                  <a:lnTo>
                    <a:pt x="127" y="508"/>
                  </a:lnTo>
                  <a:lnTo>
                    <a:pt x="127" y="508"/>
                  </a:lnTo>
                  <a:lnTo>
                    <a:pt x="127" y="508"/>
                  </a:lnTo>
                  <a:lnTo>
                    <a:pt x="127" y="506"/>
                  </a:lnTo>
                  <a:lnTo>
                    <a:pt x="125" y="506"/>
                  </a:lnTo>
                  <a:lnTo>
                    <a:pt x="125" y="506"/>
                  </a:lnTo>
                  <a:lnTo>
                    <a:pt x="123" y="504"/>
                  </a:lnTo>
                  <a:lnTo>
                    <a:pt x="123" y="504"/>
                  </a:lnTo>
                  <a:lnTo>
                    <a:pt x="125" y="504"/>
                  </a:lnTo>
                  <a:lnTo>
                    <a:pt x="125" y="504"/>
                  </a:lnTo>
                  <a:lnTo>
                    <a:pt x="123" y="500"/>
                  </a:lnTo>
                  <a:lnTo>
                    <a:pt x="121" y="498"/>
                  </a:lnTo>
                  <a:lnTo>
                    <a:pt x="121" y="498"/>
                  </a:lnTo>
                  <a:lnTo>
                    <a:pt x="121" y="496"/>
                  </a:lnTo>
                  <a:lnTo>
                    <a:pt x="123" y="494"/>
                  </a:lnTo>
                  <a:lnTo>
                    <a:pt x="123" y="490"/>
                  </a:lnTo>
                  <a:lnTo>
                    <a:pt x="123" y="486"/>
                  </a:lnTo>
                  <a:lnTo>
                    <a:pt x="123" y="486"/>
                  </a:lnTo>
                  <a:lnTo>
                    <a:pt x="123" y="484"/>
                  </a:lnTo>
                  <a:lnTo>
                    <a:pt x="123" y="484"/>
                  </a:lnTo>
                  <a:lnTo>
                    <a:pt x="123" y="484"/>
                  </a:lnTo>
                  <a:lnTo>
                    <a:pt x="115" y="480"/>
                  </a:lnTo>
                  <a:lnTo>
                    <a:pt x="113" y="477"/>
                  </a:lnTo>
                  <a:lnTo>
                    <a:pt x="111" y="477"/>
                  </a:lnTo>
                  <a:lnTo>
                    <a:pt x="108" y="473"/>
                  </a:lnTo>
                  <a:lnTo>
                    <a:pt x="108" y="473"/>
                  </a:lnTo>
                  <a:lnTo>
                    <a:pt x="102" y="469"/>
                  </a:lnTo>
                  <a:lnTo>
                    <a:pt x="102" y="467"/>
                  </a:lnTo>
                  <a:lnTo>
                    <a:pt x="100" y="465"/>
                  </a:lnTo>
                  <a:lnTo>
                    <a:pt x="100" y="465"/>
                  </a:lnTo>
                  <a:lnTo>
                    <a:pt x="100" y="465"/>
                  </a:lnTo>
                  <a:lnTo>
                    <a:pt x="100" y="463"/>
                  </a:lnTo>
                  <a:lnTo>
                    <a:pt x="100" y="463"/>
                  </a:lnTo>
                  <a:lnTo>
                    <a:pt x="100" y="461"/>
                  </a:lnTo>
                  <a:lnTo>
                    <a:pt x="102" y="457"/>
                  </a:lnTo>
                  <a:lnTo>
                    <a:pt x="102" y="457"/>
                  </a:lnTo>
                  <a:lnTo>
                    <a:pt x="102" y="453"/>
                  </a:lnTo>
                  <a:lnTo>
                    <a:pt x="102" y="451"/>
                  </a:lnTo>
                  <a:lnTo>
                    <a:pt x="106" y="451"/>
                  </a:lnTo>
                  <a:lnTo>
                    <a:pt x="121" y="449"/>
                  </a:lnTo>
                  <a:lnTo>
                    <a:pt x="135" y="447"/>
                  </a:lnTo>
                  <a:lnTo>
                    <a:pt x="149" y="445"/>
                  </a:lnTo>
                  <a:lnTo>
                    <a:pt x="164" y="443"/>
                  </a:lnTo>
                  <a:lnTo>
                    <a:pt x="178" y="441"/>
                  </a:lnTo>
                  <a:lnTo>
                    <a:pt x="195" y="441"/>
                  </a:lnTo>
                  <a:lnTo>
                    <a:pt x="209" y="439"/>
                  </a:lnTo>
                  <a:lnTo>
                    <a:pt x="223" y="436"/>
                  </a:lnTo>
                  <a:lnTo>
                    <a:pt x="238" y="434"/>
                  </a:lnTo>
                  <a:lnTo>
                    <a:pt x="252" y="432"/>
                  </a:lnTo>
                  <a:lnTo>
                    <a:pt x="266" y="430"/>
                  </a:lnTo>
                  <a:lnTo>
                    <a:pt x="281" y="428"/>
                  </a:lnTo>
                  <a:lnTo>
                    <a:pt x="295" y="426"/>
                  </a:lnTo>
                  <a:lnTo>
                    <a:pt x="311" y="424"/>
                  </a:lnTo>
                  <a:lnTo>
                    <a:pt x="326" y="422"/>
                  </a:lnTo>
                  <a:lnTo>
                    <a:pt x="340" y="420"/>
                  </a:lnTo>
                  <a:lnTo>
                    <a:pt x="340" y="420"/>
                  </a:lnTo>
                  <a:lnTo>
                    <a:pt x="340" y="420"/>
                  </a:lnTo>
                  <a:lnTo>
                    <a:pt x="340" y="418"/>
                  </a:lnTo>
                  <a:lnTo>
                    <a:pt x="340" y="41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L</a:t>
              </a:r>
            </a:p>
          </p:txBody>
        </p:sp>
        <p:sp>
          <p:nvSpPr>
            <p:cNvPr id="344" name="Freeform 55">
              <a:extLst>
                <a:ext uri="{FF2B5EF4-FFF2-40B4-BE49-F238E27FC236}">
                  <a16:creationId xmlns:a16="http://schemas.microsoft.com/office/drawing/2014/main" id="{D53E3566-893E-67A0-49EB-350B7F266BBA}"/>
                </a:ext>
              </a:extLst>
            </p:cNvPr>
            <p:cNvSpPr>
              <a:spLocks noEditPoints="1"/>
            </p:cNvSpPr>
            <p:nvPr/>
          </p:nvSpPr>
          <p:spPr bwMode="auto">
            <a:xfrm>
              <a:off x="-261" y="2004"/>
              <a:ext cx="1708" cy="918"/>
            </a:xfrm>
            <a:custGeom>
              <a:avLst/>
              <a:gdLst>
                <a:gd name="T0" fmla="*/ 672 w 1708"/>
                <a:gd name="T1" fmla="*/ 871 h 918"/>
                <a:gd name="T2" fmla="*/ 649 w 1708"/>
                <a:gd name="T3" fmla="*/ 369 h 918"/>
                <a:gd name="T4" fmla="*/ 614 w 1708"/>
                <a:gd name="T5" fmla="*/ 879 h 918"/>
                <a:gd name="T6" fmla="*/ 789 w 1708"/>
                <a:gd name="T7" fmla="*/ 838 h 918"/>
                <a:gd name="T8" fmla="*/ 854 w 1708"/>
                <a:gd name="T9" fmla="*/ 850 h 918"/>
                <a:gd name="T10" fmla="*/ 729 w 1708"/>
                <a:gd name="T11" fmla="*/ 832 h 918"/>
                <a:gd name="T12" fmla="*/ 229 w 1708"/>
                <a:gd name="T13" fmla="*/ 883 h 918"/>
                <a:gd name="T14" fmla="*/ 295 w 1708"/>
                <a:gd name="T15" fmla="*/ 896 h 918"/>
                <a:gd name="T16" fmla="*/ 6 w 1708"/>
                <a:gd name="T17" fmla="*/ 711 h 918"/>
                <a:gd name="T18" fmla="*/ 522 w 1708"/>
                <a:gd name="T19" fmla="*/ 908 h 918"/>
                <a:gd name="T20" fmla="*/ 561 w 1708"/>
                <a:gd name="T21" fmla="*/ 910 h 918"/>
                <a:gd name="T22" fmla="*/ 387 w 1708"/>
                <a:gd name="T23" fmla="*/ 914 h 918"/>
                <a:gd name="T24" fmla="*/ 1624 w 1708"/>
                <a:gd name="T25" fmla="*/ 682 h 918"/>
                <a:gd name="T26" fmla="*/ 1221 w 1708"/>
                <a:gd name="T27" fmla="*/ 57 h 918"/>
                <a:gd name="T28" fmla="*/ 1040 w 1708"/>
                <a:gd name="T29" fmla="*/ 37 h 918"/>
                <a:gd name="T30" fmla="*/ 922 w 1708"/>
                <a:gd name="T31" fmla="*/ 31 h 918"/>
                <a:gd name="T32" fmla="*/ 846 w 1708"/>
                <a:gd name="T33" fmla="*/ 84 h 918"/>
                <a:gd name="T34" fmla="*/ 862 w 1708"/>
                <a:gd name="T35" fmla="*/ 244 h 918"/>
                <a:gd name="T36" fmla="*/ 782 w 1708"/>
                <a:gd name="T37" fmla="*/ 238 h 918"/>
                <a:gd name="T38" fmla="*/ 813 w 1708"/>
                <a:gd name="T39" fmla="*/ 344 h 918"/>
                <a:gd name="T40" fmla="*/ 770 w 1708"/>
                <a:gd name="T41" fmla="*/ 416 h 918"/>
                <a:gd name="T42" fmla="*/ 748 w 1708"/>
                <a:gd name="T43" fmla="*/ 488 h 918"/>
                <a:gd name="T44" fmla="*/ 733 w 1708"/>
                <a:gd name="T45" fmla="*/ 541 h 918"/>
                <a:gd name="T46" fmla="*/ 803 w 1708"/>
                <a:gd name="T47" fmla="*/ 629 h 918"/>
                <a:gd name="T48" fmla="*/ 881 w 1708"/>
                <a:gd name="T49" fmla="*/ 654 h 918"/>
                <a:gd name="T50" fmla="*/ 897 w 1708"/>
                <a:gd name="T51" fmla="*/ 725 h 918"/>
                <a:gd name="T52" fmla="*/ 739 w 1708"/>
                <a:gd name="T53" fmla="*/ 840 h 918"/>
                <a:gd name="T54" fmla="*/ 834 w 1708"/>
                <a:gd name="T55" fmla="*/ 807 h 918"/>
                <a:gd name="T56" fmla="*/ 885 w 1708"/>
                <a:gd name="T57" fmla="*/ 785 h 918"/>
                <a:gd name="T58" fmla="*/ 963 w 1708"/>
                <a:gd name="T59" fmla="*/ 719 h 918"/>
                <a:gd name="T60" fmla="*/ 1012 w 1708"/>
                <a:gd name="T61" fmla="*/ 627 h 918"/>
                <a:gd name="T62" fmla="*/ 1116 w 1708"/>
                <a:gd name="T63" fmla="*/ 514 h 918"/>
                <a:gd name="T64" fmla="*/ 1106 w 1708"/>
                <a:gd name="T65" fmla="*/ 615 h 918"/>
                <a:gd name="T66" fmla="*/ 1159 w 1708"/>
                <a:gd name="T67" fmla="*/ 572 h 918"/>
                <a:gd name="T68" fmla="*/ 1163 w 1708"/>
                <a:gd name="T69" fmla="*/ 535 h 918"/>
                <a:gd name="T70" fmla="*/ 1212 w 1708"/>
                <a:gd name="T71" fmla="*/ 541 h 918"/>
                <a:gd name="T72" fmla="*/ 1380 w 1708"/>
                <a:gd name="T73" fmla="*/ 559 h 918"/>
                <a:gd name="T74" fmla="*/ 1485 w 1708"/>
                <a:gd name="T75" fmla="*/ 619 h 918"/>
                <a:gd name="T76" fmla="*/ 1491 w 1708"/>
                <a:gd name="T77" fmla="*/ 586 h 918"/>
                <a:gd name="T78" fmla="*/ 1548 w 1708"/>
                <a:gd name="T79" fmla="*/ 594 h 918"/>
                <a:gd name="T80" fmla="*/ 1600 w 1708"/>
                <a:gd name="T81" fmla="*/ 652 h 918"/>
                <a:gd name="T82" fmla="*/ 1690 w 1708"/>
                <a:gd name="T83" fmla="*/ 728 h 918"/>
                <a:gd name="T84" fmla="*/ 840 w 1708"/>
                <a:gd name="T85" fmla="*/ 654 h 918"/>
                <a:gd name="T86" fmla="*/ 1602 w 1708"/>
                <a:gd name="T87" fmla="*/ 725 h 918"/>
                <a:gd name="T88" fmla="*/ 1606 w 1708"/>
                <a:gd name="T89" fmla="*/ 744 h 918"/>
                <a:gd name="T90" fmla="*/ 1636 w 1708"/>
                <a:gd name="T91" fmla="*/ 723 h 918"/>
                <a:gd name="T92" fmla="*/ 1630 w 1708"/>
                <a:gd name="T93" fmla="*/ 740 h 918"/>
                <a:gd name="T94" fmla="*/ 1636 w 1708"/>
                <a:gd name="T95" fmla="*/ 766 h 918"/>
                <a:gd name="T96" fmla="*/ 723 w 1708"/>
                <a:gd name="T97" fmla="*/ 459 h 918"/>
                <a:gd name="T98" fmla="*/ 1634 w 1708"/>
                <a:gd name="T99" fmla="*/ 695 h 918"/>
                <a:gd name="T100" fmla="*/ 1053 w 1708"/>
                <a:gd name="T101" fmla="*/ 691 h 918"/>
                <a:gd name="T102" fmla="*/ 1165 w 1708"/>
                <a:gd name="T103" fmla="*/ 539 h 918"/>
                <a:gd name="T104" fmla="*/ 1030 w 1708"/>
                <a:gd name="T105" fmla="*/ 705 h 918"/>
                <a:gd name="T106" fmla="*/ 1028 w 1708"/>
                <a:gd name="T107" fmla="*/ 709 h 918"/>
                <a:gd name="T108" fmla="*/ 1014 w 1708"/>
                <a:gd name="T109" fmla="*/ 754 h 918"/>
                <a:gd name="T110" fmla="*/ 1491 w 1708"/>
                <a:gd name="T111" fmla="*/ 639 h 918"/>
                <a:gd name="T112" fmla="*/ 1497 w 1708"/>
                <a:gd name="T113" fmla="*/ 621 h 918"/>
                <a:gd name="T114" fmla="*/ 1557 w 1708"/>
                <a:gd name="T115" fmla="*/ 652 h 918"/>
                <a:gd name="T116" fmla="*/ 1579 w 1708"/>
                <a:gd name="T117" fmla="*/ 725 h 918"/>
                <a:gd name="T118" fmla="*/ 1577 w 1708"/>
                <a:gd name="T119" fmla="*/ 674 h 918"/>
                <a:gd name="T120" fmla="*/ 1524 w 1708"/>
                <a:gd name="T121" fmla="*/ 666 h 918"/>
                <a:gd name="T122" fmla="*/ 1542 w 1708"/>
                <a:gd name="T123" fmla="*/ 689 h 918"/>
                <a:gd name="T124" fmla="*/ 1178 w 1708"/>
                <a:gd name="T125" fmla="*/ 594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8" h="918">
                  <a:moveTo>
                    <a:pt x="694" y="258"/>
                  </a:moveTo>
                  <a:lnTo>
                    <a:pt x="696" y="258"/>
                  </a:lnTo>
                  <a:lnTo>
                    <a:pt x="696" y="258"/>
                  </a:lnTo>
                  <a:lnTo>
                    <a:pt x="696" y="256"/>
                  </a:lnTo>
                  <a:lnTo>
                    <a:pt x="696" y="256"/>
                  </a:lnTo>
                  <a:lnTo>
                    <a:pt x="696" y="256"/>
                  </a:lnTo>
                  <a:lnTo>
                    <a:pt x="694" y="256"/>
                  </a:lnTo>
                  <a:lnTo>
                    <a:pt x="694" y="256"/>
                  </a:lnTo>
                  <a:lnTo>
                    <a:pt x="694" y="258"/>
                  </a:lnTo>
                  <a:lnTo>
                    <a:pt x="694" y="258"/>
                  </a:lnTo>
                  <a:close/>
                  <a:moveTo>
                    <a:pt x="684" y="568"/>
                  </a:moveTo>
                  <a:lnTo>
                    <a:pt x="684" y="568"/>
                  </a:lnTo>
                  <a:lnTo>
                    <a:pt x="684" y="568"/>
                  </a:lnTo>
                  <a:lnTo>
                    <a:pt x="686" y="570"/>
                  </a:lnTo>
                  <a:lnTo>
                    <a:pt x="686" y="570"/>
                  </a:lnTo>
                  <a:lnTo>
                    <a:pt x="686" y="570"/>
                  </a:lnTo>
                  <a:lnTo>
                    <a:pt x="688" y="570"/>
                  </a:lnTo>
                  <a:lnTo>
                    <a:pt x="688" y="570"/>
                  </a:lnTo>
                  <a:lnTo>
                    <a:pt x="688" y="570"/>
                  </a:lnTo>
                  <a:lnTo>
                    <a:pt x="690" y="570"/>
                  </a:lnTo>
                  <a:lnTo>
                    <a:pt x="690" y="570"/>
                  </a:lnTo>
                  <a:lnTo>
                    <a:pt x="690" y="570"/>
                  </a:lnTo>
                  <a:lnTo>
                    <a:pt x="692" y="572"/>
                  </a:lnTo>
                  <a:lnTo>
                    <a:pt x="692" y="572"/>
                  </a:lnTo>
                  <a:lnTo>
                    <a:pt x="694" y="572"/>
                  </a:lnTo>
                  <a:lnTo>
                    <a:pt x="694" y="574"/>
                  </a:lnTo>
                  <a:lnTo>
                    <a:pt x="694" y="574"/>
                  </a:lnTo>
                  <a:lnTo>
                    <a:pt x="694" y="574"/>
                  </a:lnTo>
                  <a:lnTo>
                    <a:pt x="696" y="576"/>
                  </a:lnTo>
                  <a:lnTo>
                    <a:pt x="696" y="576"/>
                  </a:lnTo>
                  <a:lnTo>
                    <a:pt x="696" y="576"/>
                  </a:lnTo>
                  <a:lnTo>
                    <a:pt x="696" y="576"/>
                  </a:lnTo>
                  <a:lnTo>
                    <a:pt x="698" y="576"/>
                  </a:lnTo>
                  <a:lnTo>
                    <a:pt x="698" y="576"/>
                  </a:lnTo>
                  <a:lnTo>
                    <a:pt x="698" y="576"/>
                  </a:lnTo>
                  <a:lnTo>
                    <a:pt x="698" y="574"/>
                  </a:lnTo>
                  <a:lnTo>
                    <a:pt x="698" y="574"/>
                  </a:lnTo>
                  <a:lnTo>
                    <a:pt x="696" y="574"/>
                  </a:lnTo>
                  <a:lnTo>
                    <a:pt x="696" y="574"/>
                  </a:lnTo>
                  <a:lnTo>
                    <a:pt x="694" y="572"/>
                  </a:lnTo>
                  <a:lnTo>
                    <a:pt x="694" y="572"/>
                  </a:lnTo>
                  <a:lnTo>
                    <a:pt x="694" y="572"/>
                  </a:lnTo>
                  <a:lnTo>
                    <a:pt x="696" y="572"/>
                  </a:lnTo>
                  <a:lnTo>
                    <a:pt x="698" y="572"/>
                  </a:lnTo>
                  <a:lnTo>
                    <a:pt x="698" y="572"/>
                  </a:lnTo>
                  <a:lnTo>
                    <a:pt x="700" y="572"/>
                  </a:lnTo>
                  <a:lnTo>
                    <a:pt x="700" y="572"/>
                  </a:lnTo>
                  <a:lnTo>
                    <a:pt x="700" y="572"/>
                  </a:lnTo>
                  <a:lnTo>
                    <a:pt x="703" y="572"/>
                  </a:lnTo>
                  <a:lnTo>
                    <a:pt x="703" y="572"/>
                  </a:lnTo>
                  <a:lnTo>
                    <a:pt x="703" y="570"/>
                  </a:lnTo>
                  <a:lnTo>
                    <a:pt x="703" y="570"/>
                  </a:lnTo>
                  <a:lnTo>
                    <a:pt x="703" y="570"/>
                  </a:lnTo>
                  <a:lnTo>
                    <a:pt x="703" y="572"/>
                  </a:lnTo>
                  <a:lnTo>
                    <a:pt x="703" y="572"/>
                  </a:lnTo>
                  <a:lnTo>
                    <a:pt x="705" y="572"/>
                  </a:lnTo>
                  <a:lnTo>
                    <a:pt x="705" y="572"/>
                  </a:lnTo>
                  <a:lnTo>
                    <a:pt x="709" y="572"/>
                  </a:lnTo>
                  <a:lnTo>
                    <a:pt x="709" y="570"/>
                  </a:lnTo>
                  <a:lnTo>
                    <a:pt x="709" y="570"/>
                  </a:lnTo>
                  <a:lnTo>
                    <a:pt x="709" y="570"/>
                  </a:lnTo>
                  <a:lnTo>
                    <a:pt x="709" y="570"/>
                  </a:lnTo>
                  <a:lnTo>
                    <a:pt x="709" y="572"/>
                  </a:lnTo>
                  <a:lnTo>
                    <a:pt x="711" y="572"/>
                  </a:lnTo>
                  <a:lnTo>
                    <a:pt x="713" y="572"/>
                  </a:lnTo>
                  <a:lnTo>
                    <a:pt x="713" y="572"/>
                  </a:lnTo>
                  <a:lnTo>
                    <a:pt x="713" y="572"/>
                  </a:lnTo>
                  <a:lnTo>
                    <a:pt x="713" y="570"/>
                  </a:lnTo>
                  <a:lnTo>
                    <a:pt x="713" y="570"/>
                  </a:lnTo>
                  <a:lnTo>
                    <a:pt x="713" y="570"/>
                  </a:lnTo>
                  <a:lnTo>
                    <a:pt x="713" y="570"/>
                  </a:lnTo>
                  <a:lnTo>
                    <a:pt x="713" y="570"/>
                  </a:lnTo>
                  <a:lnTo>
                    <a:pt x="713" y="570"/>
                  </a:lnTo>
                  <a:lnTo>
                    <a:pt x="713" y="570"/>
                  </a:lnTo>
                  <a:lnTo>
                    <a:pt x="713" y="568"/>
                  </a:lnTo>
                  <a:lnTo>
                    <a:pt x="715" y="568"/>
                  </a:lnTo>
                  <a:lnTo>
                    <a:pt x="715" y="568"/>
                  </a:lnTo>
                  <a:lnTo>
                    <a:pt x="715" y="568"/>
                  </a:lnTo>
                  <a:lnTo>
                    <a:pt x="713" y="568"/>
                  </a:lnTo>
                  <a:lnTo>
                    <a:pt x="713" y="568"/>
                  </a:lnTo>
                  <a:lnTo>
                    <a:pt x="713" y="568"/>
                  </a:lnTo>
                  <a:lnTo>
                    <a:pt x="713" y="568"/>
                  </a:lnTo>
                  <a:lnTo>
                    <a:pt x="713" y="568"/>
                  </a:lnTo>
                  <a:lnTo>
                    <a:pt x="713" y="566"/>
                  </a:lnTo>
                  <a:lnTo>
                    <a:pt x="713" y="566"/>
                  </a:lnTo>
                  <a:lnTo>
                    <a:pt x="713" y="566"/>
                  </a:lnTo>
                  <a:lnTo>
                    <a:pt x="713" y="566"/>
                  </a:lnTo>
                  <a:lnTo>
                    <a:pt x="713" y="566"/>
                  </a:lnTo>
                  <a:lnTo>
                    <a:pt x="711" y="564"/>
                  </a:lnTo>
                  <a:lnTo>
                    <a:pt x="711" y="564"/>
                  </a:lnTo>
                  <a:lnTo>
                    <a:pt x="711" y="564"/>
                  </a:lnTo>
                  <a:lnTo>
                    <a:pt x="711" y="564"/>
                  </a:lnTo>
                  <a:lnTo>
                    <a:pt x="711" y="562"/>
                  </a:lnTo>
                  <a:lnTo>
                    <a:pt x="713" y="562"/>
                  </a:lnTo>
                  <a:lnTo>
                    <a:pt x="713" y="559"/>
                  </a:lnTo>
                  <a:lnTo>
                    <a:pt x="713" y="559"/>
                  </a:lnTo>
                  <a:lnTo>
                    <a:pt x="713" y="559"/>
                  </a:lnTo>
                  <a:lnTo>
                    <a:pt x="713" y="559"/>
                  </a:lnTo>
                  <a:lnTo>
                    <a:pt x="713" y="559"/>
                  </a:lnTo>
                  <a:lnTo>
                    <a:pt x="713" y="559"/>
                  </a:lnTo>
                  <a:lnTo>
                    <a:pt x="713" y="559"/>
                  </a:lnTo>
                  <a:lnTo>
                    <a:pt x="713" y="559"/>
                  </a:lnTo>
                  <a:lnTo>
                    <a:pt x="713" y="557"/>
                  </a:lnTo>
                  <a:lnTo>
                    <a:pt x="713" y="557"/>
                  </a:lnTo>
                  <a:lnTo>
                    <a:pt x="711" y="557"/>
                  </a:lnTo>
                  <a:lnTo>
                    <a:pt x="711" y="557"/>
                  </a:lnTo>
                  <a:lnTo>
                    <a:pt x="711" y="557"/>
                  </a:lnTo>
                  <a:lnTo>
                    <a:pt x="711" y="557"/>
                  </a:lnTo>
                  <a:lnTo>
                    <a:pt x="713" y="555"/>
                  </a:lnTo>
                  <a:lnTo>
                    <a:pt x="713" y="555"/>
                  </a:lnTo>
                  <a:lnTo>
                    <a:pt x="713" y="553"/>
                  </a:lnTo>
                  <a:lnTo>
                    <a:pt x="713" y="553"/>
                  </a:lnTo>
                  <a:lnTo>
                    <a:pt x="713" y="553"/>
                  </a:lnTo>
                  <a:lnTo>
                    <a:pt x="713" y="553"/>
                  </a:lnTo>
                  <a:lnTo>
                    <a:pt x="713" y="551"/>
                  </a:lnTo>
                  <a:lnTo>
                    <a:pt x="713" y="551"/>
                  </a:lnTo>
                  <a:lnTo>
                    <a:pt x="713" y="551"/>
                  </a:lnTo>
                  <a:lnTo>
                    <a:pt x="713" y="551"/>
                  </a:lnTo>
                  <a:lnTo>
                    <a:pt x="713" y="551"/>
                  </a:lnTo>
                  <a:lnTo>
                    <a:pt x="713" y="551"/>
                  </a:lnTo>
                  <a:lnTo>
                    <a:pt x="713" y="549"/>
                  </a:lnTo>
                  <a:lnTo>
                    <a:pt x="713" y="549"/>
                  </a:lnTo>
                  <a:lnTo>
                    <a:pt x="713" y="549"/>
                  </a:lnTo>
                  <a:lnTo>
                    <a:pt x="713" y="549"/>
                  </a:lnTo>
                  <a:lnTo>
                    <a:pt x="711" y="549"/>
                  </a:lnTo>
                  <a:lnTo>
                    <a:pt x="711" y="549"/>
                  </a:lnTo>
                  <a:lnTo>
                    <a:pt x="711" y="549"/>
                  </a:lnTo>
                  <a:lnTo>
                    <a:pt x="711" y="547"/>
                  </a:lnTo>
                  <a:lnTo>
                    <a:pt x="709" y="547"/>
                  </a:lnTo>
                  <a:lnTo>
                    <a:pt x="709" y="547"/>
                  </a:lnTo>
                  <a:lnTo>
                    <a:pt x="709" y="549"/>
                  </a:lnTo>
                  <a:lnTo>
                    <a:pt x="707" y="549"/>
                  </a:lnTo>
                  <a:lnTo>
                    <a:pt x="705" y="547"/>
                  </a:lnTo>
                  <a:lnTo>
                    <a:pt x="705" y="547"/>
                  </a:lnTo>
                  <a:lnTo>
                    <a:pt x="705" y="547"/>
                  </a:lnTo>
                  <a:lnTo>
                    <a:pt x="705" y="547"/>
                  </a:lnTo>
                  <a:lnTo>
                    <a:pt x="705" y="547"/>
                  </a:lnTo>
                  <a:lnTo>
                    <a:pt x="705" y="547"/>
                  </a:lnTo>
                  <a:lnTo>
                    <a:pt x="705" y="545"/>
                  </a:lnTo>
                  <a:lnTo>
                    <a:pt x="705" y="545"/>
                  </a:lnTo>
                  <a:lnTo>
                    <a:pt x="705" y="545"/>
                  </a:lnTo>
                  <a:lnTo>
                    <a:pt x="705" y="543"/>
                  </a:lnTo>
                  <a:lnTo>
                    <a:pt x="705" y="543"/>
                  </a:lnTo>
                  <a:lnTo>
                    <a:pt x="705" y="543"/>
                  </a:lnTo>
                  <a:lnTo>
                    <a:pt x="703" y="543"/>
                  </a:lnTo>
                  <a:lnTo>
                    <a:pt x="703" y="541"/>
                  </a:lnTo>
                  <a:lnTo>
                    <a:pt x="703" y="543"/>
                  </a:lnTo>
                  <a:lnTo>
                    <a:pt x="703" y="543"/>
                  </a:lnTo>
                  <a:lnTo>
                    <a:pt x="703" y="545"/>
                  </a:lnTo>
                  <a:lnTo>
                    <a:pt x="703" y="545"/>
                  </a:lnTo>
                  <a:lnTo>
                    <a:pt x="703" y="545"/>
                  </a:lnTo>
                  <a:lnTo>
                    <a:pt x="703" y="545"/>
                  </a:lnTo>
                  <a:lnTo>
                    <a:pt x="703" y="543"/>
                  </a:lnTo>
                  <a:lnTo>
                    <a:pt x="698" y="543"/>
                  </a:lnTo>
                  <a:lnTo>
                    <a:pt x="696" y="545"/>
                  </a:lnTo>
                  <a:lnTo>
                    <a:pt x="696" y="545"/>
                  </a:lnTo>
                  <a:lnTo>
                    <a:pt x="696" y="545"/>
                  </a:lnTo>
                  <a:lnTo>
                    <a:pt x="696" y="545"/>
                  </a:lnTo>
                  <a:lnTo>
                    <a:pt x="696" y="545"/>
                  </a:lnTo>
                  <a:lnTo>
                    <a:pt x="696" y="543"/>
                  </a:lnTo>
                  <a:lnTo>
                    <a:pt x="694" y="543"/>
                  </a:lnTo>
                  <a:lnTo>
                    <a:pt x="692" y="543"/>
                  </a:lnTo>
                  <a:lnTo>
                    <a:pt x="692" y="545"/>
                  </a:lnTo>
                  <a:lnTo>
                    <a:pt x="692" y="545"/>
                  </a:lnTo>
                  <a:lnTo>
                    <a:pt x="690" y="545"/>
                  </a:lnTo>
                  <a:lnTo>
                    <a:pt x="690" y="545"/>
                  </a:lnTo>
                  <a:lnTo>
                    <a:pt x="690" y="545"/>
                  </a:lnTo>
                  <a:lnTo>
                    <a:pt x="688" y="545"/>
                  </a:lnTo>
                  <a:lnTo>
                    <a:pt x="688" y="545"/>
                  </a:lnTo>
                  <a:lnTo>
                    <a:pt x="686" y="545"/>
                  </a:lnTo>
                  <a:lnTo>
                    <a:pt x="686" y="547"/>
                  </a:lnTo>
                  <a:lnTo>
                    <a:pt x="686" y="547"/>
                  </a:lnTo>
                  <a:lnTo>
                    <a:pt x="684" y="547"/>
                  </a:lnTo>
                  <a:lnTo>
                    <a:pt x="684" y="547"/>
                  </a:lnTo>
                  <a:lnTo>
                    <a:pt x="684" y="547"/>
                  </a:lnTo>
                  <a:lnTo>
                    <a:pt x="684" y="547"/>
                  </a:lnTo>
                  <a:lnTo>
                    <a:pt x="684" y="549"/>
                  </a:lnTo>
                  <a:lnTo>
                    <a:pt x="682" y="549"/>
                  </a:lnTo>
                  <a:lnTo>
                    <a:pt x="676" y="547"/>
                  </a:lnTo>
                  <a:lnTo>
                    <a:pt x="674" y="547"/>
                  </a:lnTo>
                  <a:lnTo>
                    <a:pt x="674" y="547"/>
                  </a:lnTo>
                  <a:lnTo>
                    <a:pt x="672" y="547"/>
                  </a:lnTo>
                  <a:lnTo>
                    <a:pt x="672" y="547"/>
                  </a:lnTo>
                  <a:lnTo>
                    <a:pt x="672" y="547"/>
                  </a:lnTo>
                  <a:lnTo>
                    <a:pt x="672" y="547"/>
                  </a:lnTo>
                  <a:lnTo>
                    <a:pt x="672" y="547"/>
                  </a:lnTo>
                  <a:lnTo>
                    <a:pt x="672" y="547"/>
                  </a:lnTo>
                  <a:lnTo>
                    <a:pt x="670" y="547"/>
                  </a:lnTo>
                  <a:lnTo>
                    <a:pt x="668" y="547"/>
                  </a:lnTo>
                  <a:lnTo>
                    <a:pt x="668" y="547"/>
                  </a:lnTo>
                  <a:lnTo>
                    <a:pt x="668" y="547"/>
                  </a:lnTo>
                  <a:lnTo>
                    <a:pt x="670" y="551"/>
                  </a:lnTo>
                  <a:lnTo>
                    <a:pt x="670" y="551"/>
                  </a:lnTo>
                  <a:lnTo>
                    <a:pt x="670" y="551"/>
                  </a:lnTo>
                  <a:lnTo>
                    <a:pt x="670" y="553"/>
                  </a:lnTo>
                  <a:lnTo>
                    <a:pt x="670" y="553"/>
                  </a:lnTo>
                  <a:lnTo>
                    <a:pt x="670" y="553"/>
                  </a:lnTo>
                  <a:lnTo>
                    <a:pt x="670" y="555"/>
                  </a:lnTo>
                  <a:lnTo>
                    <a:pt x="670" y="555"/>
                  </a:lnTo>
                  <a:lnTo>
                    <a:pt x="672" y="555"/>
                  </a:lnTo>
                  <a:lnTo>
                    <a:pt x="672" y="553"/>
                  </a:lnTo>
                  <a:lnTo>
                    <a:pt x="672" y="553"/>
                  </a:lnTo>
                  <a:lnTo>
                    <a:pt x="672" y="555"/>
                  </a:lnTo>
                  <a:lnTo>
                    <a:pt x="672" y="557"/>
                  </a:lnTo>
                  <a:lnTo>
                    <a:pt x="672" y="557"/>
                  </a:lnTo>
                  <a:lnTo>
                    <a:pt x="674" y="557"/>
                  </a:lnTo>
                  <a:lnTo>
                    <a:pt x="674" y="559"/>
                  </a:lnTo>
                  <a:lnTo>
                    <a:pt x="674" y="559"/>
                  </a:lnTo>
                  <a:lnTo>
                    <a:pt x="674" y="559"/>
                  </a:lnTo>
                  <a:lnTo>
                    <a:pt x="676" y="559"/>
                  </a:lnTo>
                  <a:lnTo>
                    <a:pt x="676" y="559"/>
                  </a:lnTo>
                  <a:lnTo>
                    <a:pt x="676" y="559"/>
                  </a:lnTo>
                  <a:lnTo>
                    <a:pt x="676" y="559"/>
                  </a:lnTo>
                  <a:lnTo>
                    <a:pt x="676" y="559"/>
                  </a:lnTo>
                  <a:lnTo>
                    <a:pt x="676" y="559"/>
                  </a:lnTo>
                  <a:lnTo>
                    <a:pt x="676" y="559"/>
                  </a:lnTo>
                  <a:lnTo>
                    <a:pt x="676" y="559"/>
                  </a:lnTo>
                  <a:lnTo>
                    <a:pt x="676" y="559"/>
                  </a:lnTo>
                  <a:lnTo>
                    <a:pt x="676" y="559"/>
                  </a:lnTo>
                  <a:lnTo>
                    <a:pt x="678" y="559"/>
                  </a:lnTo>
                  <a:lnTo>
                    <a:pt x="678" y="559"/>
                  </a:lnTo>
                  <a:lnTo>
                    <a:pt x="678" y="559"/>
                  </a:lnTo>
                  <a:lnTo>
                    <a:pt x="676" y="559"/>
                  </a:lnTo>
                  <a:lnTo>
                    <a:pt x="682" y="566"/>
                  </a:lnTo>
                  <a:lnTo>
                    <a:pt x="682" y="566"/>
                  </a:lnTo>
                  <a:lnTo>
                    <a:pt x="684" y="568"/>
                  </a:lnTo>
                  <a:close/>
                  <a:moveTo>
                    <a:pt x="655" y="867"/>
                  </a:moveTo>
                  <a:lnTo>
                    <a:pt x="653" y="867"/>
                  </a:lnTo>
                  <a:lnTo>
                    <a:pt x="653" y="867"/>
                  </a:lnTo>
                  <a:lnTo>
                    <a:pt x="653" y="867"/>
                  </a:lnTo>
                  <a:lnTo>
                    <a:pt x="653" y="867"/>
                  </a:lnTo>
                  <a:lnTo>
                    <a:pt x="655" y="867"/>
                  </a:lnTo>
                  <a:lnTo>
                    <a:pt x="655" y="867"/>
                  </a:lnTo>
                  <a:lnTo>
                    <a:pt x="655" y="865"/>
                  </a:lnTo>
                  <a:lnTo>
                    <a:pt x="653" y="865"/>
                  </a:lnTo>
                  <a:lnTo>
                    <a:pt x="653" y="865"/>
                  </a:lnTo>
                  <a:lnTo>
                    <a:pt x="653" y="865"/>
                  </a:lnTo>
                  <a:lnTo>
                    <a:pt x="653" y="865"/>
                  </a:lnTo>
                  <a:lnTo>
                    <a:pt x="651" y="865"/>
                  </a:lnTo>
                  <a:lnTo>
                    <a:pt x="651" y="863"/>
                  </a:lnTo>
                  <a:lnTo>
                    <a:pt x="651" y="863"/>
                  </a:lnTo>
                  <a:lnTo>
                    <a:pt x="651" y="863"/>
                  </a:lnTo>
                  <a:lnTo>
                    <a:pt x="651" y="863"/>
                  </a:lnTo>
                  <a:lnTo>
                    <a:pt x="651" y="863"/>
                  </a:lnTo>
                  <a:lnTo>
                    <a:pt x="651" y="861"/>
                  </a:lnTo>
                  <a:lnTo>
                    <a:pt x="649" y="861"/>
                  </a:lnTo>
                  <a:lnTo>
                    <a:pt x="649" y="861"/>
                  </a:lnTo>
                  <a:lnTo>
                    <a:pt x="647" y="863"/>
                  </a:lnTo>
                  <a:lnTo>
                    <a:pt x="645" y="863"/>
                  </a:lnTo>
                  <a:lnTo>
                    <a:pt x="645" y="863"/>
                  </a:lnTo>
                  <a:lnTo>
                    <a:pt x="645" y="863"/>
                  </a:lnTo>
                  <a:lnTo>
                    <a:pt x="645" y="865"/>
                  </a:lnTo>
                  <a:lnTo>
                    <a:pt x="645" y="865"/>
                  </a:lnTo>
                  <a:lnTo>
                    <a:pt x="645" y="865"/>
                  </a:lnTo>
                  <a:lnTo>
                    <a:pt x="643" y="865"/>
                  </a:lnTo>
                  <a:lnTo>
                    <a:pt x="645" y="867"/>
                  </a:lnTo>
                  <a:lnTo>
                    <a:pt x="645" y="869"/>
                  </a:lnTo>
                  <a:lnTo>
                    <a:pt x="645" y="869"/>
                  </a:lnTo>
                  <a:lnTo>
                    <a:pt x="645" y="871"/>
                  </a:lnTo>
                  <a:lnTo>
                    <a:pt x="647" y="871"/>
                  </a:lnTo>
                  <a:lnTo>
                    <a:pt x="647" y="869"/>
                  </a:lnTo>
                  <a:lnTo>
                    <a:pt x="647" y="869"/>
                  </a:lnTo>
                  <a:lnTo>
                    <a:pt x="647" y="869"/>
                  </a:lnTo>
                  <a:lnTo>
                    <a:pt x="649" y="869"/>
                  </a:lnTo>
                  <a:lnTo>
                    <a:pt x="649" y="869"/>
                  </a:lnTo>
                  <a:lnTo>
                    <a:pt x="649" y="869"/>
                  </a:lnTo>
                  <a:lnTo>
                    <a:pt x="649" y="871"/>
                  </a:lnTo>
                  <a:lnTo>
                    <a:pt x="649" y="871"/>
                  </a:lnTo>
                  <a:lnTo>
                    <a:pt x="649" y="871"/>
                  </a:lnTo>
                  <a:lnTo>
                    <a:pt x="651" y="871"/>
                  </a:lnTo>
                  <a:lnTo>
                    <a:pt x="651" y="869"/>
                  </a:lnTo>
                  <a:lnTo>
                    <a:pt x="651" y="869"/>
                  </a:lnTo>
                  <a:lnTo>
                    <a:pt x="653" y="869"/>
                  </a:lnTo>
                  <a:lnTo>
                    <a:pt x="653" y="871"/>
                  </a:lnTo>
                  <a:lnTo>
                    <a:pt x="653" y="871"/>
                  </a:lnTo>
                  <a:lnTo>
                    <a:pt x="653" y="871"/>
                  </a:lnTo>
                  <a:lnTo>
                    <a:pt x="657" y="869"/>
                  </a:lnTo>
                  <a:lnTo>
                    <a:pt x="657" y="869"/>
                  </a:lnTo>
                  <a:lnTo>
                    <a:pt x="657" y="869"/>
                  </a:lnTo>
                  <a:lnTo>
                    <a:pt x="657" y="869"/>
                  </a:lnTo>
                  <a:lnTo>
                    <a:pt x="657" y="867"/>
                  </a:lnTo>
                  <a:lnTo>
                    <a:pt x="655" y="867"/>
                  </a:lnTo>
                  <a:close/>
                  <a:moveTo>
                    <a:pt x="680" y="871"/>
                  </a:moveTo>
                  <a:lnTo>
                    <a:pt x="680" y="871"/>
                  </a:lnTo>
                  <a:lnTo>
                    <a:pt x="680" y="871"/>
                  </a:lnTo>
                  <a:lnTo>
                    <a:pt x="678" y="871"/>
                  </a:lnTo>
                  <a:lnTo>
                    <a:pt x="678" y="871"/>
                  </a:lnTo>
                  <a:lnTo>
                    <a:pt x="678" y="871"/>
                  </a:lnTo>
                  <a:lnTo>
                    <a:pt x="676" y="871"/>
                  </a:lnTo>
                  <a:lnTo>
                    <a:pt x="676" y="873"/>
                  </a:lnTo>
                  <a:lnTo>
                    <a:pt x="676" y="871"/>
                  </a:lnTo>
                  <a:lnTo>
                    <a:pt x="676" y="871"/>
                  </a:lnTo>
                  <a:lnTo>
                    <a:pt x="676" y="871"/>
                  </a:lnTo>
                  <a:lnTo>
                    <a:pt x="676" y="871"/>
                  </a:lnTo>
                  <a:lnTo>
                    <a:pt x="676" y="871"/>
                  </a:lnTo>
                  <a:lnTo>
                    <a:pt x="674" y="871"/>
                  </a:lnTo>
                  <a:lnTo>
                    <a:pt x="674" y="871"/>
                  </a:lnTo>
                  <a:lnTo>
                    <a:pt x="674" y="871"/>
                  </a:lnTo>
                  <a:lnTo>
                    <a:pt x="674" y="871"/>
                  </a:lnTo>
                  <a:lnTo>
                    <a:pt x="674" y="871"/>
                  </a:lnTo>
                  <a:lnTo>
                    <a:pt x="674" y="871"/>
                  </a:lnTo>
                  <a:lnTo>
                    <a:pt x="674" y="871"/>
                  </a:lnTo>
                  <a:lnTo>
                    <a:pt x="674" y="871"/>
                  </a:lnTo>
                  <a:lnTo>
                    <a:pt x="672" y="871"/>
                  </a:lnTo>
                  <a:lnTo>
                    <a:pt x="672" y="871"/>
                  </a:lnTo>
                  <a:lnTo>
                    <a:pt x="672" y="871"/>
                  </a:lnTo>
                  <a:lnTo>
                    <a:pt x="672" y="871"/>
                  </a:lnTo>
                  <a:lnTo>
                    <a:pt x="672" y="871"/>
                  </a:lnTo>
                  <a:lnTo>
                    <a:pt x="672" y="871"/>
                  </a:lnTo>
                  <a:lnTo>
                    <a:pt x="672" y="871"/>
                  </a:lnTo>
                  <a:lnTo>
                    <a:pt x="670" y="873"/>
                  </a:lnTo>
                  <a:lnTo>
                    <a:pt x="672" y="873"/>
                  </a:lnTo>
                  <a:lnTo>
                    <a:pt x="674" y="873"/>
                  </a:lnTo>
                  <a:lnTo>
                    <a:pt x="674" y="873"/>
                  </a:lnTo>
                  <a:lnTo>
                    <a:pt x="674" y="873"/>
                  </a:lnTo>
                  <a:lnTo>
                    <a:pt x="674" y="873"/>
                  </a:lnTo>
                  <a:lnTo>
                    <a:pt x="674" y="873"/>
                  </a:lnTo>
                  <a:lnTo>
                    <a:pt x="674" y="873"/>
                  </a:lnTo>
                  <a:lnTo>
                    <a:pt x="674" y="873"/>
                  </a:lnTo>
                  <a:lnTo>
                    <a:pt x="676" y="873"/>
                  </a:lnTo>
                  <a:lnTo>
                    <a:pt x="678" y="875"/>
                  </a:lnTo>
                  <a:lnTo>
                    <a:pt x="678" y="873"/>
                  </a:lnTo>
                  <a:lnTo>
                    <a:pt x="678" y="873"/>
                  </a:lnTo>
                  <a:lnTo>
                    <a:pt x="680" y="873"/>
                  </a:lnTo>
                  <a:lnTo>
                    <a:pt x="680" y="873"/>
                  </a:lnTo>
                  <a:lnTo>
                    <a:pt x="680" y="871"/>
                  </a:lnTo>
                  <a:lnTo>
                    <a:pt x="680" y="871"/>
                  </a:lnTo>
                  <a:close/>
                  <a:moveTo>
                    <a:pt x="662" y="873"/>
                  </a:moveTo>
                  <a:lnTo>
                    <a:pt x="662" y="873"/>
                  </a:lnTo>
                  <a:lnTo>
                    <a:pt x="662" y="871"/>
                  </a:lnTo>
                  <a:lnTo>
                    <a:pt x="662" y="871"/>
                  </a:lnTo>
                  <a:lnTo>
                    <a:pt x="662" y="871"/>
                  </a:lnTo>
                  <a:lnTo>
                    <a:pt x="660" y="873"/>
                  </a:lnTo>
                  <a:lnTo>
                    <a:pt x="660" y="873"/>
                  </a:lnTo>
                  <a:lnTo>
                    <a:pt x="660" y="873"/>
                  </a:lnTo>
                  <a:lnTo>
                    <a:pt x="660" y="873"/>
                  </a:lnTo>
                  <a:lnTo>
                    <a:pt x="662" y="873"/>
                  </a:lnTo>
                  <a:lnTo>
                    <a:pt x="662" y="873"/>
                  </a:lnTo>
                  <a:lnTo>
                    <a:pt x="662" y="873"/>
                  </a:lnTo>
                  <a:lnTo>
                    <a:pt x="662" y="873"/>
                  </a:lnTo>
                  <a:lnTo>
                    <a:pt x="662" y="873"/>
                  </a:lnTo>
                  <a:close/>
                  <a:moveTo>
                    <a:pt x="662" y="869"/>
                  </a:moveTo>
                  <a:lnTo>
                    <a:pt x="662" y="869"/>
                  </a:lnTo>
                  <a:lnTo>
                    <a:pt x="662" y="867"/>
                  </a:lnTo>
                  <a:lnTo>
                    <a:pt x="662" y="867"/>
                  </a:lnTo>
                  <a:lnTo>
                    <a:pt x="662" y="867"/>
                  </a:lnTo>
                  <a:lnTo>
                    <a:pt x="662" y="867"/>
                  </a:lnTo>
                  <a:lnTo>
                    <a:pt x="664" y="867"/>
                  </a:lnTo>
                  <a:lnTo>
                    <a:pt x="664" y="867"/>
                  </a:lnTo>
                  <a:lnTo>
                    <a:pt x="664" y="867"/>
                  </a:lnTo>
                  <a:lnTo>
                    <a:pt x="664" y="867"/>
                  </a:lnTo>
                  <a:lnTo>
                    <a:pt x="664" y="867"/>
                  </a:lnTo>
                  <a:lnTo>
                    <a:pt x="664" y="867"/>
                  </a:lnTo>
                  <a:lnTo>
                    <a:pt x="666" y="867"/>
                  </a:lnTo>
                  <a:lnTo>
                    <a:pt x="666" y="867"/>
                  </a:lnTo>
                  <a:lnTo>
                    <a:pt x="666" y="865"/>
                  </a:lnTo>
                  <a:lnTo>
                    <a:pt x="666" y="865"/>
                  </a:lnTo>
                  <a:lnTo>
                    <a:pt x="662" y="863"/>
                  </a:lnTo>
                  <a:lnTo>
                    <a:pt x="662" y="863"/>
                  </a:lnTo>
                  <a:lnTo>
                    <a:pt x="664" y="863"/>
                  </a:lnTo>
                  <a:lnTo>
                    <a:pt x="662" y="863"/>
                  </a:lnTo>
                  <a:lnTo>
                    <a:pt x="662" y="863"/>
                  </a:lnTo>
                  <a:lnTo>
                    <a:pt x="662" y="863"/>
                  </a:lnTo>
                  <a:lnTo>
                    <a:pt x="662" y="863"/>
                  </a:lnTo>
                  <a:lnTo>
                    <a:pt x="664" y="861"/>
                  </a:lnTo>
                  <a:lnTo>
                    <a:pt x="664" y="861"/>
                  </a:lnTo>
                  <a:lnTo>
                    <a:pt x="664" y="861"/>
                  </a:lnTo>
                  <a:lnTo>
                    <a:pt x="664" y="861"/>
                  </a:lnTo>
                  <a:lnTo>
                    <a:pt x="664" y="861"/>
                  </a:lnTo>
                  <a:lnTo>
                    <a:pt x="664" y="861"/>
                  </a:lnTo>
                  <a:lnTo>
                    <a:pt x="664" y="861"/>
                  </a:lnTo>
                  <a:lnTo>
                    <a:pt x="664" y="861"/>
                  </a:lnTo>
                  <a:lnTo>
                    <a:pt x="662" y="861"/>
                  </a:lnTo>
                  <a:lnTo>
                    <a:pt x="662" y="861"/>
                  </a:lnTo>
                  <a:lnTo>
                    <a:pt x="662" y="861"/>
                  </a:lnTo>
                  <a:lnTo>
                    <a:pt x="662" y="861"/>
                  </a:lnTo>
                  <a:lnTo>
                    <a:pt x="662" y="861"/>
                  </a:lnTo>
                  <a:lnTo>
                    <a:pt x="662" y="861"/>
                  </a:lnTo>
                  <a:lnTo>
                    <a:pt x="662" y="861"/>
                  </a:lnTo>
                  <a:lnTo>
                    <a:pt x="662" y="861"/>
                  </a:lnTo>
                  <a:lnTo>
                    <a:pt x="662" y="859"/>
                  </a:lnTo>
                  <a:lnTo>
                    <a:pt x="662" y="859"/>
                  </a:lnTo>
                  <a:lnTo>
                    <a:pt x="660" y="859"/>
                  </a:lnTo>
                  <a:lnTo>
                    <a:pt x="660" y="861"/>
                  </a:lnTo>
                  <a:lnTo>
                    <a:pt x="660" y="861"/>
                  </a:lnTo>
                  <a:lnTo>
                    <a:pt x="660" y="861"/>
                  </a:lnTo>
                  <a:lnTo>
                    <a:pt x="660" y="861"/>
                  </a:lnTo>
                  <a:lnTo>
                    <a:pt x="660" y="861"/>
                  </a:lnTo>
                  <a:lnTo>
                    <a:pt x="660" y="861"/>
                  </a:lnTo>
                  <a:lnTo>
                    <a:pt x="657" y="863"/>
                  </a:lnTo>
                  <a:lnTo>
                    <a:pt x="662" y="863"/>
                  </a:lnTo>
                  <a:lnTo>
                    <a:pt x="662" y="863"/>
                  </a:lnTo>
                  <a:lnTo>
                    <a:pt x="662" y="863"/>
                  </a:lnTo>
                  <a:lnTo>
                    <a:pt x="660" y="865"/>
                  </a:lnTo>
                  <a:lnTo>
                    <a:pt x="660" y="865"/>
                  </a:lnTo>
                  <a:lnTo>
                    <a:pt x="660" y="865"/>
                  </a:lnTo>
                  <a:lnTo>
                    <a:pt x="660" y="867"/>
                  </a:lnTo>
                  <a:lnTo>
                    <a:pt x="660" y="867"/>
                  </a:lnTo>
                  <a:lnTo>
                    <a:pt x="660" y="867"/>
                  </a:lnTo>
                  <a:lnTo>
                    <a:pt x="660" y="869"/>
                  </a:lnTo>
                  <a:lnTo>
                    <a:pt x="660" y="869"/>
                  </a:lnTo>
                  <a:lnTo>
                    <a:pt x="662" y="869"/>
                  </a:lnTo>
                  <a:close/>
                  <a:moveTo>
                    <a:pt x="670" y="873"/>
                  </a:moveTo>
                  <a:lnTo>
                    <a:pt x="670" y="871"/>
                  </a:lnTo>
                  <a:lnTo>
                    <a:pt x="666" y="871"/>
                  </a:lnTo>
                  <a:lnTo>
                    <a:pt x="664" y="871"/>
                  </a:lnTo>
                  <a:lnTo>
                    <a:pt x="664" y="871"/>
                  </a:lnTo>
                  <a:lnTo>
                    <a:pt x="666" y="871"/>
                  </a:lnTo>
                  <a:lnTo>
                    <a:pt x="666" y="873"/>
                  </a:lnTo>
                  <a:lnTo>
                    <a:pt x="668" y="873"/>
                  </a:lnTo>
                  <a:lnTo>
                    <a:pt x="668" y="873"/>
                  </a:lnTo>
                  <a:lnTo>
                    <a:pt x="668" y="873"/>
                  </a:lnTo>
                  <a:lnTo>
                    <a:pt x="668" y="875"/>
                  </a:lnTo>
                  <a:lnTo>
                    <a:pt x="668" y="873"/>
                  </a:lnTo>
                  <a:lnTo>
                    <a:pt x="668" y="873"/>
                  </a:lnTo>
                  <a:lnTo>
                    <a:pt x="670" y="873"/>
                  </a:lnTo>
                  <a:lnTo>
                    <a:pt x="670" y="873"/>
                  </a:lnTo>
                  <a:lnTo>
                    <a:pt x="670" y="873"/>
                  </a:lnTo>
                  <a:lnTo>
                    <a:pt x="670" y="873"/>
                  </a:lnTo>
                  <a:lnTo>
                    <a:pt x="670" y="873"/>
                  </a:lnTo>
                  <a:lnTo>
                    <a:pt x="670" y="873"/>
                  </a:lnTo>
                  <a:lnTo>
                    <a:pt x="670" y="873"/>
                  </a:lnTo>
                  <a:close/>
                  <a:moveTo>
                    <a:pt x="643" y="873"/>
                  </a:moveTo>
                  <a:lnTo>
                    <a:pt x="643" y="873"/>
                  </a:lnTo>
                  <a:lnTo>
                    <a:pt x="641" y="871"/>
                  </a:lnTo>
                  <a:lnTo>
                    <a:pt x="641" y="873"/>
                  </a:lnTo>
                  <a:lnTo>
                    <a:pt x="641" y="873"/>
                  </a:lnTo>
                  <a:lnTo>
                    <a:pt x="641" y="873"/>
                  </a:lnTo>
                  <a:lnTo>
                    <a:pt x="641" y="873"/>
                  </a:lnTo>
                  <a:lnTo>
                    <a:pt x="641" y="873"/>
                  </a:lnTo>
                  <a:lnTo>
                    <a:pt x="641" y="873"/>
                  </a:lnTo>
                  <a:lnTo>
                    <a:pt x="643" y="875"/>
                  </a:lnTo>
                  <a:lnTo>
                    <a:pt x="643" y="873"/>
                  </a:lnTo>
                  <a:lnTo>
                    <a:pt x="643" y="873"/>
                  </a:lnTo>
                  <a:lnTo>
                    <a:pt x="643" y="873"/>
                  </a:lnTo>
                  <a:lnTo>
                    <a:pt x="643" y="873"/>
                  </a:lnTo>
                  <a:close/>
                  <a:moveTo>
                    <a:pt x="627" y="367"/>
                  </a:moveTo>
                  <a:lnTo>
                    <a:pt x="633" y="371"/>
                  </a:lnTo>
                  <a:lnTo>
                    <a:pt x="633" y="375"/>
                  </a:lnTo>
                  <a:lnTo>
                    <a:pt x="635" y="377"/>
                  </a:lnTo>
                  <a:lnTo>
                    <a:pt x="633" y="373"/>
                  </a:lnTo>
                  <a:lnTo>
                    <a:pt x="633" y="371"/>
                  </a:lnTo>
                  <a:lnTo>
                    <a:pt x="627" y="367"/>
                  </a:lnTo>
                  <a:close/>
                  <a:moveTo>
                    <a:pt x="641" y="385"/>
                  </a:moveTo>
                  <a:lnTo>
                    <a:pt x="643" y="385"/>
                  </a:lnTo>
                  <a:lnTo>
                    <a:pt x="643" y="387"/>
                  </a:lnTo>
                  <a:lnTo>
                    <a:pt x="643" y="389"/>
                  </a:lnTo>
                  <a:lnTo>
                    <a:pt x="643" y="387"/>
                  </a:lnTo>
                  <a:lnTo>
                    <a:pt x="641" y="385"/>
                  </a:lnTo>
                  <a:close/>
                  <a:moveTo>
                    <a:pt x="602" y="359"/>
                  </a:moveTo>
                  <a:lnTo>
                    <a:pt x="604" y="361"/>
                  </a:lnTo>
                  <a:lnTo>
                    <a:pt x="604" y="363"/>
                  </a:lnTo>
                  <a:lnTo>
                    <a:pt x="604" y="363"/>
                  </a:lnTo>
                  <a:lnTo>
                    <a:pt x="606" y="363"/>
                  </a:lnTo>
                  <a:lnTo>
                    <a:pt x="606" y="365"/>
                  </a:lnTo>
                  <a:lnTo>
                    <a:pt x="606" y="365"/>
                  </a:lnTo>
                  <a:lnTo>
                    <a:pt x="606" y="365"/>
                  </a:lnTo>
                  <a:lnTo>
                    <a:pt x="608" y="365"/>
                  </a:lnTo>
                  <a:lnTo>
                    <a:pt x="608" y="365"/>
                  </a:lnTo>
                  <a:lnTo>
                    <a:pt x="608" y="365"/>
                  </a:lnTo>
                  <a:lnTo>
                    <a:pt x="608" y="365"/>
                  </a:lnTo>
                  <a:lnTo>
                    <a:pt x="610" y="367"/>
                  </a:lnTo>
                  <a:lnTo>
                    <a:pt x="610" y="367"/>
                  </a:lnTo>
                  <a:lnTo>
                    <a:pt x="612" y="367"/>
                  </a:lnTo>
                  <a:lnTo>
                    <a:pt x="612" y="365"/>
                  </a:lnTo>
                  <a:lnTo>
                    <a:pt x="612" y="365"/>
                  </a:lnTo>
                  <a:lnTo>
                    <a:pt x="614" y="365"/>
                  </a:lnTo>
                  <a:lnTo>
                    <a:pt x="614" y="365"/>
                  </a:lnTo>
                  <a:lnTo>
                    <a:pt x="614" y="365"/>
                  </a:lnTo>
                  <a:lnTo>
                    <a:pt x="614" y="365"/>
                  </a:lnTo>
                  <a:lnTo>
                    <a:pt x="617" y="365"/>
                  </a:lnTo>
                  <a:lnTo>
                    <a:pt x="619" y="363"/>
                  </a:lnTo>
                  <a:lnTo>
                    <a:pt x="619" y="363"/>
                  </a:lnTo>
                  <a:lnTo>
                    <a:pt x="619" y="363"/>
                  </a:lnTo>
                  <a:lnTo>
                    <a:pt x="621" y="363"/>
                  </a:lnTo>
                  <a:lnTo>
                    <a:pt x="621" y="363"/>
                  </a:lnTo>
                  <a:lnTo>
                    <a:pt x="621" y="363"/>
                  </a:lnTo>
                  <a:lnTo>
                    <a:pt x="621" y="363"/>
                  </a:lnTo>
                  <a:lnTo>
                    <a:pt x="625" y="363"/>
                  </a:lnTo>
                  <a:lnTo>
                    <a:pt x="625" y="363"/>
                  </a:lnTo>
                  <a:lnTo>
                    <a:pt x="625" y="363"/>
                  </a:lnTo>
                  <a:lnTo>
                    <a:pt x="625" y="365"/>
                  </a:lnTo>
                  <a:lnTo>
                    <a:pt x="627" y="365"/>
                  </a:lnTo>
                  <a:lnTo>
                    <a:pt x="627" y="365"/>
                  </a:lnTo>
                  <a:lnTo>
                    <a:pt x="627" y="365"/>
                  </a:lnTo>
                  <a:lnTo>
                    <a:pt x="629" y="367"/>
                  </a:lnTo>
                  <a:lnTo>
                    <a:pt x="629" y="367"/>
                  </a:lnTo>
                  <a:lnTo>
                    <a:pt x="629" y="367"/>
                  </a:lnTo>
                  <a:lnTo>
                    <a:pt x="629" y="367"/>
                  </a:lnTo>
                  <a:lnTo>
                    <a:pt x="629" y="367"/>
                  </a:lnTo>
                  <a:lnTo>
                    <a:pt x="631" y="367"/>
                  </a:lnTo>
                  <a:lnTo>
                    <a:pt x="633" y="371"/>
                  </a:lnTo>
                  <a:lnTo>
                    <a:pt x="633" y="371"/>
                  </a:lnTo>
                  <a:lnTo>
                    <a:pt x="635" y="373"/>
                  </a:lnTo>
                  <a:lnTo>
                    <a:pt x="637" y="375"/>
                  </a:lnTo>
                  <a:lnTo>
                    <a:pt x="637" y="375"/>
                  </a:lnTo>
                  <a:lnTo>
                    <a:pt x="637" y="375"/>
                  </a:lnTo>
                  <a:lnTo>
                    <a:pt x="637" y="375"/>
                  </a:lnTo>
                  <a:lnTo>
                    <a:pt x="637" y="377"/>
                  </a:lnTo>
                  <a:lnTo>
                    <a:pt x="637" y="377"/>
                  </a:lnTo>
                  <a:lnTo>
                    <a:pt x="637" y="377"/>
                  </a:lnTo>
                  <a:lnTo>
                    <a:pt x="637" y="379"/>
                  </a:lnTo>
                  <a:lnTo>
                    <a:pt x="637" y="379"/>
                  </a:lnTo>
                  <a:lnTo>
                    <a:pt x="637" y="379"/>
                  </a:lnTo>
                  <a:lnTo>
                    <a:pt x="635" y="379"/>
                  </a:lnTo>
                  <a:lnTo>
                    <a:pt x="635" y="379"/>
                  </a:lnTo>
                  <a:lnTo>
                    <a:pt x="635" y="379"/>
                  </a:lnTo>
                  <a:lnTo>
                    <a:pt x="635" y="379"/>
                  </a:lnTo>
                  <a:lnTo>
                    <a:pt x="637" y="381"/>
                  </a:lnTo>
                  <a:lnTo>
                    <a:pt x="637" y="381"/>
                  </a:lnTo>
                  <a:lnTo>
                    <a:pt x="637" y="381"/>
                  </a:lnTo>
                  <a:lnTo>
                    <a:pt x="639" y="381"/>
                  </a:lnTo>
                  <a:lnTo>
                    <a:pt x="639" y="379"/>
                  </a:lnTo>
                  <a:lnTo>
                    <a:pt x="639" y="381"/>
                  </a:lnTo>
                  <a:lnTo>
                    <a:pt x="639" y="381"/>
                  </a:lnTo>
                  <a:lnTo>
                    <a:pt x="639" y="381"/>
                  </a:lnTo>
                  <a:lnTo>
                    <a:pt x="639" y="381"/>
                  </a:lnTo>
                  <a:lnTo>
                    <a:pt x="639" y="381"/>
                  </a:lnTo>
                  <a:lnTo>
                    <a:pt x="639" y="381"/>
                  </a:lnTo>
                  <a:lnTo>
                    <a:pt x="639" y="381"/>
                  </a:lnTo>
                  <a:lnTo>
                    <a:pt x="641" y="383"/>
                  </a:lnTo>
                  <a:lnTo>
                    <a:pt x="641" y="383"/>
                  </a:lnTo>
                  <a:lnTo>
                    <a:pt x="641" y="383"/>
                  </a:lnTo>
                  <a:lnTo>
                    <a:pt x="643" y="385"/>
                  </a:lnTo>
                  <a:lnTo>
                    <a:pt x="645" y="385"/>
                  </a:lnTo>
                  <a:lnTo>
                    <a:pt x="645" y="387"/>
                  </a:lnTo>
                  <a:lnTo>
                    <a:pt x="645" y="389"/>
                  </a:lnTo>
                  <a:lnTo>
                    <a:pt x="645" y="389"/>
                  </a:lnTo>
                  <a:lnTo>
                    <a:pt x="645" y="389"/>
                  </a:lnTo>
                  <a:lnTo>
                    <a:pt x="645" y="389"/>
                  </a:lnTo>
                  <a:lnTo>
                    <a:pt x="645" y="391"/>
                  </a:lnTo>
                  <a:lnTo>
                    <a:pt x="645" y="391"/>
                  </a:lnTo>
                  <a:lnTo>
                    <a:pt x="645" y="391"/>
                  </a:lnTo>
                  <a:lnTo>
                    <a:pt x="645" y="391"/>
                  </a:lnTo>
                  <a:lnTo>
                    <a:pt x="645" y="391"/>
                  </a:lnTo>
                  <a:lnTo>
                    <a:pt x="645" y="393"/>
                  </a:lnTo>
                  <a:lnTo>
                    <a:pt x="645" y="393"/>
                  </a:lnTo>
                  <a:lnTo>
                    <a:pt x="643" y="393"/>
                  </a:lnTo>
                  <a:lnTo>
                    <a:pt x="645" y="393"/>
                  </a:lnTo>
                  <a:lnTo>
                    <a:pt x="645" y="396"/>
                  </a:lnTo>
                  <a:lnTo>
                    <a:pt x="645" y="396"/>
                  </a:lnTo>
                  <a:lnTo>
                    <a:pt x="645" y="396"/>
                  </a:lnTo>
                  <a:lnTo>
                    <a:pt x="647" y="396"/>
                  </a:lnTo>
                  <a:lnTo>
                    <a:pt x="647" y="393"/>
                  </a:lnTo>
                  <a:lnTo>
                    <a:pt x="647" y="393"/>
                  </a:lnTo>
                  <a:lnTo>
                    <a:pt x="649" y="393"/>
                  </a:lnTo>
                  <a:lnTo>
                    <a:pt x="649" y="393"/>
                  </a:lnTo>
                  <a:lnTo>
                    <a:pt x="649" y="393"/>
                  </a:lnTo>
                  <a:lnTo>
                    <a:pt x="649" y="391"/>
                  </a:lnTo>
                  <a:lnTo>
                    <a:pt x="649" y="391"/>
                  </a:lnTo>
                  <a:lnTo>
                    <a:pt x="649" y="391"/>
                  </a:lnTo>
                  <a:lnTo>
                    <a:pt x="649" y="389"/>
                  </a:lnTo>
                  <a:lnTo>
                    <a:pt x="649" y="389"/>
                  </a:lnTo>
                  <a:lnTo>
                    <a:pt x="651" y="389"/>
                  </a:lnTo>
                  <a:lnTo>
                    <a:pt x="651" y="389"/>
                  </a:lnTo>
                  <a:lnTo>
                    <a:pt x="653" y="389"/>
                  </a:lnTo>
                  <a:lnTo>
                    <a:pt x="653" y="387"/>
                  </a:lnTo>
                  <a:lnTo>
                    <a:pt x="653" y="387"/>
                  </a:lnTo>
                  <a:lnTo>
                    <a:pt x="653" y="387"/>
                  </a:lnTo>
                  <a:lnTo>
                    <a:pt x="653" y="387"/>
                  </a:lnTo>
                  <a:lnTo>
                    <a:pt x="655" y="385"/>
                  </a:lnTo>
                  <a:lnTo>
                    <a:pt x="657" y="385"/>
                  </a:lnTo>
                  <a:lnTo>
                    <a:pt x="662" y="385"/>
                  </a:lnTo>
                  <a:lnTo>
                    <a:pt x="660" y="385"/>
                  </a:lnTo>
                  <a:lnTo>
                    <a:pt x="660" y="385"/>
                  </a:lnTo>
                  <a:lnTo>
                    <a:pt x="657" y="385"/>
                  </a:lnTo>
                  <a:lnTo>
                    <a:pt x="657" y="385"/>
                  </a:lnTo>
                  <a:lnTo>
                    <a:pt x="655" y="387"/>
                  </a:lnTo>
                  <a:lnTo>
                    <a:pt x="657" y="385"/>
                  </a:lnTo>
                  <a:lnTo>
                    <a:pt x="664" y="387"/>
                  </a:lnTo>
                  <a:lnTo>
                    <a:pt x="664" y="387"/>
                  </a:lnTo>
                  <a:lnTo>
                    <a:pt x="664" y="387"/>
                  </a:lnTo>
                  <a:lnTo>
                    <a:pt x="664" y="387"/>
                  </a:lnTo>
                  <a:lnTo>
                    <a:pt x="668" y="389"/>
                  </a:lnTo>
                  <a:lnTo>
                    <a:pt x="668" y="389"/>
                  </a:lnTo>
                  <a:lnTo>
                    <a:pt x="670" y="387"/>
                  </a:lnTo>
                  <a:lnTo>
                    <a:pt x="670" y="385"/>
                  </a:lnTo>
                  <a:lnTo>
                    <a:pt x="672" y="385"/>
                  </a:lnTo>
                  <a:lnTo>
                    <a:pt x="670" y="383"/>
                  </a:lnTo>
                  <a:lnTo>
                    <a:pt x="672" y="383"/>
                  </a:lnTo>
                  <a:lnTo>
                    <a:pt x="672" y="383"/>
                  </a:lnTo>
                  <a:lnTo>
                    <a:pt x="672" y="383"/>
                  </a:lnTo>
                  <a:lnTo>
                    <a:pt x="672" y="381"/>
                  </a:lnTo>
                  <a:lnTo>
                    <a:pt x="666" y="379"/>
                  </a:lnTo>
                  <a:lnTo>
                    <a:pt x="666" y="379"/>
                  </a:lnTo>
                  <a:lnTo>
                    <a:pt x="666" y="379"/>
                  </a:lnTo>
                  <a:lnTo>
                    <a:pt x="664" y="379"/>
                  </a:lnTo>
                  <a:lnTo>
                    <a:pt x="662" y="377"/>
                  </a:lnTo>
                  <a:lnTo>
                    <a:pt x="662" y="377"/>
                  </a:lnTo>
                  <a:lnTo>
                    <a:pt x="662" y="379"/>
                  </a:lnTo>
                  <a:lnTo>
                    <a:pt x="664" y="379"/>
                  </a:lnTo>
                  <a:lnTo>
                    <a:pt x="664" y="379"/>
                  </a:lnTo>
                  <a:lnTo>
                    <a:pt x="664" y="381"/>
                  </a:lnTo>
                  <a:lnTo>
                    <a:pt x="662" y="381"/>
                  </a:lnTo>
                  <a:lnTo>
                    <a:pt x="662" y="381"/>
                  </a:lnTo>
                  <a:lnTo>
                    <a:pt x="660" y="379"/>
                  </a:lnTo>
                  <a:lnTo>
                    <a:pt x="660" y="377"/>
                  </a:lnTo>
                  <a:lnTo>
                    <a:pt x="660" y="377"/>
                  </a:lnTo>
                  <a:lnTo>
                    <a:pt x="657" y="377"/>
                  </a:lnTo>
                  <a:lnTo>
                    <a:pt x="655" y="375"/>
                  </a:lnTo>
                  <a:lnTo>
                    <a:pt x="655" y="375"/>
                  </a:lnTo>
                  <a:lnTo>
                    <a:pt x="655" y="377"/>
                  </a:lnTo>
                  <a:lnTo>
                    <a:pt x="655" y="377"/>
                  </a:lnTo>
                  <a:lnTo>
                    <a:pt x="655" y="377"/>
                  </a:lnTo>
                  <a:lnTo>
                    <a:pt x="653" y="375"/>
                  </a:lnTo>
                  <a:lnTo>
                    <a:pt x="653" y="375"/>
                  </a:lnTo>
                  <a:lnTo>
                    <a:pt x="653" y="375"/>
                  </a:lnTo>
                  <a:lnTo>
                    <a:pt x="653" y="373"/>
                  </a:lnTo>
                  <a:lnTo>
                    <a:pt x="653" y="371"/>
                  </a:lnTo>
                  <a:lnTo>
                    <a:pt x="651" y="371"/>
                  </a:lnTo>
                  <a:lnTo>
                    <a:pt x="649" y="371"/>
                  </a:lnTo>
                  <a:lnTo>
                    <a:pt x="647" y="369"/>
                  </a:lnTo>
                  <a:lnTo>
                    <a:pt x="649" y="369"/>
                  </a:lnTo>
                  <a:lnTo>
                    <a:pt x="649" y="369"/>
                  </a:lnTo>
                  <a:lnTo>
                    <a:pt x="649" y="369"/>
                  </a:lnTo>
                  <a:lnTo>
                    <a:pt x="647" y="369"/>
                  </a:lnTo>
                  <a:lnTo>
                    <a:pt x="647" y="369"/>
                  </a:lnTo>
                  <a:lnTo>
                    <a:pt x="645" y="367"/>
                  </a:lnTo>
                  <a:lnTo>
                    <a:pt x="643" y="365"/>
                  </a:lnTo>
                  <a:lnTo>
                    <a:pt x="643" y="365"/>
                  </a:lnTo>
                  <a:lnTo>
                    <a:pt x="643" y="367"/>
                  </a:lnTo>
                  <a:lnTo>
                    <a:pt x="643" y="365"/>
                  </a:lnTo>
                  <a:lnTo>
                    <a:pt x="643" y="365"/>
                  </a:lnTo>
                  <a:lnTo>
                    <a:pt x="645" y="365"/>
                  </a:lnTo>
                  <a:lnTo>
                    <a:pt x="645" y="363"/>
                  </a:lnTo>
                  <a:lnTo>
                    <a:pt x="645" y="363"/>
                  </a:lnTo>
                  <a:lnTo>
                    <a:pt x="645" y="363"/>
                  </a:lnTo>
                  <a:lnTo>
                    <a:pt x="645" y="363"/>
                  </a:lnTo>
                  <a:lnTo>
                    <a:pt x="645" y="363"/>
                  </a:lnTo>
                  <a:lnTo>
                    <a:pt x="645" y="361"/>
                  </a:lnTo>
                  <a:lnTo>
                    <a:pt x="645" y="361"/>
                  </a:lnTo>
                  <a:lnTo>
                    <a:pt x="645" y="359"/>
                  </a:lnTo>
                  <a:lnTo>
                    <a:pt x="643" y="359"/>
                  </a:lnTo>
                  <a:lnTo>
                    <a:pt x="643" y="359"/>
                  </a:lnTo>
                  <a:lnTo>
                    <a:pt x="643" y="359"/>
                  </a:lnTo>
                  <a:lnTo>
                    <a:pt x="641" y="357"/>
                  </a:lnTo>
                  <a:lnTo>
                    <a:pt x="641" y="355"/>
                  </a:lnTo>
                  <a:lnTo>
                    <a:pt x="641" y="355"/>
                  </a:lnTo>
                  <a:lnTo>
                    <a:pt x="641" y="355"/>
                  </a:lnTo>
                  <a:lnTo>
                    <a:pt x="641" y="355"/>
                  </a:lnTo>
                  <a:lnTo>
                    <a:pt x="641" y="355"/>
                  </a:lnTo>
                  <a:lnTo>
                    <a:pt x="639" y="355"/>
                  </a:lnTo>
                  <a:lnTo>
                    <a:pt x="639" y="355"/>
                  </a:lnTo>
                  <a:lnTo>
                    <a:pt x="639" y="355"/>
                  </a:lnTo>
                  <a:lnTo>
                    <a:pt x="637" y="352"/>
                  </a:lnTo>
                  <a:lnTo>
                    <a:pt x="637" y="352"/>
                  </a:lnTo>
                  <a:lnTo>
                    <a:pt x="637" y="352"/>
                  </a:lnTo>
                  <a:lnTo>
                    <a:pt x="637" y="352"/>
                  </a:lnTo>
                  <a:lnTo>
                    <a:pt x="633" y="355"/>
                  </a:lnTo>
                  <a:lnTo>
                    <a:pt x="633" y="355"/>
                  </a:lnTo>
                  <a:lnTo>
                    <a:pt x="633" y="352"/>
                  </a:lnTo>
                  <a:lnTo>
                    <a:pt x="633" y="352"/>
                  </a:lnTo>
                  <a:lnTo>
                    <a:pt x="631" y="355"/>
                  </a:lnTo>
                  <a:lnTo>
                    <a:pt x="629" y="355"/>
                  </a:lnTo>
                  <a:lnTo>
                    <a:pt x="627" y="357"/>
                  </a:lnTo>
                  <a:lnTo>
                    <a:pt x="627" y="357"/>
                  </a:lnTo>
                  <a:lnTo>
                    <a:pt x="625" y="357"/>
                  </a:lnTo>
                  <a:lnTo>
                    <a:pt x="625" y="357"/>
                  </a:lnTo>
                  <a:lnTo>
                    <a:pt x="625" y="357"/>
                  </a:lnTo>
                  <a:lnTo>
                    <a:pt x="625" y="357"/>
                  </a:lnTo>
                  <a:lnTo>
                    <a:pt x="625" y="357"/>
                  </a:lnTo>
                  <a:lnTo>
                    <a:pt x="621" y="355"/>
                  </a:lnTo>
                  <a:lnTo>
                    <a:pt x="621" y="355"/>
                  </a:lnTo>
                  <a:lnTo>
                    <a:pt x="621" y="355"/>
                  </a:lnTo>
                  <a:lnTo>
                    <a:pt x="621" y="355"/>
                  </a:lnTo>
                  <a:lnTo>
                    <a:pt x="621" y="355"/>
                  </a:lnTo>
                  <a:lnTo>
                    <a:pt x="621" y="355"/>
                  </a:lnTo>
                  <a:lnTo>
                    <a:pt x="621" y="355"/>
                  </a:lnTo>
                  <a:lnTo>
                    <a:pt x="621" y="355"/>
                  </a:lnTo>
                  <a:lnTo>
                    <a:pt x="621" y="355"/>
                  </a:lnTo>
                  <a:lnTo>
                    <a:pt x="617" y="350"/>
                  </a:lnTo>
                  <a:lnTo>
                    <a:pt x="617" y="350"/>
                  </a:lnTo>
                  <a:lnTo>
                    <a:pt x="617" y="350"/>
                  </a:lnTo>
                  <a:lnTo>
                    <a:pt x="617" y="352"/>
                  </a:lnTo>
                  <a:lnTo>
                    <a:pt x="617" y="352"/>
                  </a:lnTo>
                  <a:lnTo>
                    <a:pt x="617" y="352"/>
                  </a:lnTo>
                  <a:lnTo>
                    <a:pt x="612" y="352"/>
                  </a:lnTo>
                  <a:lnTo>
                    <a:pt x="612" y="352"/>
                  </a:lnTo>
                  <a:lnTo>
                    <a:pt x="612" y="350"/>
                  </a:lnTo>
                  <a:lnTo>
                    <a:pt x="612" y="350"/>
                  </a:lnTo>
                  <a:lnTo>
                    <a:pt x="612" y="350"/>
                  </a:lnTo>
                  <a:lnTo>
                    <a:pt x="612" y="350"/>
                  </a:lnTo>
                  <a:lnTo>
                    <a:pt x="612" y="350"/>
                  </a:lnTo>
                  <a:lnTo>
                    <a:pt x="612" y="350"/>
                  </a:lnTo>
                  <a:lnTo>
                    <a:pt x="612" y="348"/>
                  </a:lnTo>
                  <a:lnTo>
                    <a:pt x="614" y="348"/>
                  </a:lnTo>
                  <a:lnTo>
                    <a:pt x="614" y="350"/>
                  </a:lnTo>
                  <a:lnTo>
                    <a:pt x="614" y="350"/>
                  </a:lnTo>
                  <a:lnTo>
                    <a:pt x="614" y="350"/>
                  </a:lnTo>
                  <a:lnTo>
                    <a:pt x="614" y="348"/>
                  </a:lnTo>
                  <a:lnTo>
                    <a:pt x="610" y="346"/>
                  </a:lnTo>
                  <a:lnTo>
                    <a:pt x="610" y="346"/>
                  </a:lnTo>
                  <a:lnTo>
                    <a:pt x="610" y="346"/>
                  </a:lnTo>
                  <a:lnTo>
                    <a:pt x="610" y="344"/>
                  </a:lnTo>
                  <a:lnTo>
                    <a:pt x="610" y="344"/>
                  </a:lnTo>
                  <a:lnTo>
                    <a:pt x="612" y="344"/>
                  </a:lnTo>
                  <a:lnTo>
                    <a:pt x="612" y="342"/>
                  </a:lnTo>
                  <a:lnTo>
                    <a:pt x="612" y="342"/>
                  </a:lnTo>
                  <a:lnTo>
                    <a:pt x="612" y="342"/>
                  </a:lnTo>
                  <a:lnTo>
                    <a:pt x="610" y="340"/>
                  </a:lnTo>
                  <a:lnTo>
                    <a:pt x="610" y="342"/>
                  </a:lnTo>
                  <a:lnTo>
                    <a:pt x="610" y="340"/>
                  </a:lnTo>
                  <a:lnTo>
                    <a:pt x="610" y="340"/>
                  </a:lnTo>
                  <a:lnTo>
                    <a:pt x="610" y="340"/>
                  </a:lnTo>
                  <a:lnTo>
                    <a:pt x="610" y="340"/>
                  </a:lnTo>
                  <a:lnTo>
                    <a:pt x="610" y="342"/>
                  </a:lnTo>
                  <a:lnTo>
                    <a:pt x="610" y="342"/>
                  </a:lnTo>
                  <a:lnTo>
                    <a:pt x="610" y="342"/>
                  </a:lnTo>
                  <a:lnTo>
                    <a:pt x="610" y="342"/>
                  </a:lnTo>
                  <a:lnTo>
                    <a:pt x="610" y="342"/>
                  </a:lnTo>
                  <a:lnTo>
                    <a:pt x="608" y="344"/>
                  </a:lnTo>
                  <a:lnTo>
                    <a:pt x="608" y="344"/>
                  </a:lnTo>
                  <a:lnTo>
                    <a:pt x="608" y="346"/>
                  </a:lnTo>
                  <a:lnTo>
                    <a:pt x="608" y="346"/>
                  </a:lnTo>
                  <a:lnTo>
                    <a:pt x="608" y="346"/>
                  </a:lnTo>
                  <a:lnTo>
                    <a:pt x="606" y="348"/>
                  </a:lnTo>
                  <a:lnTo>
                    <a:pt x="606" y="348"/>
                  </a:lnTo>
                  <a:lnTo>
                    <a:pt x="606" y="348"/>
                  </a:lnTo>
                  <a:lnTo>
                    <a:pt x="606" y="348"/>
                  </a:lnTo>
                  <a:lnTo>
                    <a:pt x="606" y="348"/>
                  </a:lnTo>
                  <a:lnTo>
                    <a:pt x="606" y="348"/>
                  </a:lnTo>
                  <a:lnTo>
                    <a:pt x="606" y="348"/>
                  </a:lnTo>
                  <a:lnTo>
                    <a:pt x="606" y="348"/>
                  </a:lnTo>
                  <a:lnTo>
                    <a:pt x="606" y="350"/>
                  </a:lnTo>
                  <a:lnTo>
                    <a:pt x="606" y="350"/>
                  </a:lnTo>
                  <a:lnTo>
                    <a:pt x="606" y="350"/>
                  </a:lnTo>
                  <a:lnTo>
                    <a:pt x="604" y="350"/>
                  </a:lnTo>
                  <a:lnTo>
                    <a:pt x="604" y="350"/>
                  </a:lnTo>
                  <a:lnTo>
                    <a:pt x="604" y="350"/>
                  </a:lnTo>
                  <a:lnTo>
                    <a:pt x="604" y="352"/>
                  </a:lnTo>
                  <a:lnTo>
                    <a:pt x="604" y="352"/>
                  </a:lnTo>
                  <a:lnTo>
                    <a:pt x="604" y="352"/>
                  </a:lnTo>
                  <a:lnTo>
                    <a:pt x="604" y="355"/>
                  </a:lnTo>
                  <a:lnTo>
                    <a:pt x="604" y="355"/>
                  </a:lnTo>
                  <a:lnTo>
                    <a:pt x="604" y="355"/>
                  </a:lnTo>
                  <a:lnTo>
                    <a:pt x="604" y="355"/>
                  </a:lnTo>
                  <a:lnTo>
                    <a:pt x="604" y="355"/>
                  </a:lnTo>
                  <a:lnTo>
                    <a:pt x="604" y="355"/>
                  </a:lnTo>
                  <a:lnTo>
                    <a:pt x="604" y="357"/>
                  </a:lnTo>
                  <a:lnTo>
                    <a:pt x="604" y="357"/>
                  </a:lnTo>
                  <a:lnTo>
                    <a:pt x="602" y="357"/>
                  </a:lnTo>
                  <a:lnTo>
                    <a:pt x="602" y="359"/>
                  </a:lnTo>
                  <a:close/>
                  <a:moveTo>
                    <a:pt x="623" y="363"/>
                  </a:moveTo>
                  <a:lnTo>
                    <a:pt x="627" y="367"/>
                  </a:lnTo>
                  <a:lnTo>
                    <a:pt x="621" y="363"/>
                  </a:lnTo>
                  <a:lnTo>
                    <a:pt x="621" y="363"/>
                  </a:lnTo>
                  <a:lnTo>
                    <a:pt x="621" y="363"/>
                  </a:lnTo>
                  <a:lnTo>
                    <a:pt x="623" y="363"/>
                  </a:lnTo>
                  <a:close/>
                  <a:moveTo>
                    <a:pt x="623" y="355"/>
                  </a:moveTo>
                  <a:lnTo>
                    <a:pt x="623" y="355"/>
                  </a:lnTo>
                  <a:lnTo>
                    <a:pt x="623" y="355"/>
                  </a:lnTo>
                  <a:lnTo>
                    <a:pt x="623" y="355"/>
                  </a:lnTo>
                  <a:close/>
                  <a:moveTo>
                    <a:pt x="621" y="355"/>
                  </a:moveTo>
                  <a:lnTo>
                    <a:pt x="621" y="355"/>
                  </a:lnTo>
                  <a:lnTo>
                    <a:pt x="623" y="355"/>
                  </a:lnTo>
                  <a:lnTo>
                    <a:pt x="621" y="355"/>
                  </a:lnTo>
                  <a:close/>
                  <a:moveTo>
                    <a:pt x="653" y="375"/>
                  </a:moveTo>
                  <a:lnTo>
                    <a:pt x="653" y="375"/>
                  </a:lnTo>
                  <a:lnTo>
                    <a:pt x="655" y="375"/>
                  </a:lnTo>
                  <a:lnTo>
                    <a:pt x="655" y="375"/>
                  </a:lnTo>
                  <a:lnTo>
                    <a:pt x="655" y="375"/>
                  </a:lnTo>
                  <a:lnTo>
                    <a:pt x="653" y="375"/>
                  </a:lnTo>
                  <a:close/>
                  <a:moveTo>
                    <a:pt x="635" y="885"/>
                  </a:moveTo>
                  <a:lnTo>
                    <a:pt x="635" y="883"/>
                  </a:lnTo>
                  <a:lnTo>
                    <a:pt x="635" y="883"/>
                  </a:lnTo>
                  <a:lnTo>
                    <a:pt x="635" y="883"/>
                  </a:lnTo>
                  <a:lnTo>
                    <a:pt x="635" y="881"/>
                  </a:lnTo>
                  <a:lnTo>
                    <a:pt x="635" y="881"/>
                  </a:lnTo>
                  <a:lnTo>
                    <a:pt x="635" y="881"/>
                  </a:lnTo>
                  <a:lnTo>
                    <a:pt x="633" y="881"/>
                  </a:lnTo>
                  <a:lnTo>
                    <a:pt x="633" y="883"/>
                  </a:lnTo>
                  <a:lnTo>
                    <a:pt x="633" y="883"/>
                  </a:lnTo>
                  <a:lnTo>
                    <a:pt x="633" y="885"/>
                  </a:lnTo>
                  <a:lnTo>
                    <a:pt x="633" y="883"/>
                  </a:lnTo>
                  <a:lnTo>
                    <a:pt x="633" y="883"/>
                  </a:lnTo>
                  <a:lnTo>
                    <a:pt x="633" y="883"/>
                  </a:lnTo>
                  <a:lnTo>
                    <a:pt x="633" y="883"/>
                  </a:lnTo>
                  <a:lnTo>
                    <a:pt x="633" y="883"/>
                  </a:lnTo>
                  <a:lnTo>
                    <a:pt x="631" y="883"/>
                  </a:lnTo>
                  <a:lnTo>
                    <a:pt x="631" y="883"/>
                  </a:lnTo>
                  <a:lnTo>
                    <a:pt x="631" y="883"/>
                  </a:lnTo>
                  <a:lnTo>
                    <a:pt x="631" y="883"/>
                  </a:lnTo>
                  <a:lnTo>
                    <a:pt x="631" y="883"/>
                  </a:lnTo>
                  <a:lnTo>
                    <a:pt x="629" y="883"/>
                  </a:lnTo>
                  <a:lnTo>
                    <a:pt x="629" y="883"/>
                  </a:lnTo>
                  <a:lnTo>
                    <a:pt x="629" y="885"/>
                  </a:lnTo>
                  <a:lnTo>
                    <a:pt x="629" y="885"/>
                  </a:lnTo>
                  <a:lnTo>
                    <a:pt x="629" y="885"/>
                  </a:lnTo>
                  <a:lnTo>
                    <a:pt x="629" y="885"/>
                  </a:lnTo>
                  <a:lnTo>
                    <a:pt x="629" y="883"/>
                  </a:lnTo>
                  <a:lnTo>
                    <a:pt x="629" y="883"/>
                  </a:lnTo>
                  <a:lnTo>
                    <a:pt x="629" y="883"/>
                  </a:lnTo>
                  <a:lnTo>
                    <a:pt x="627" y="885"/>
                  </a:lnTo>
                  <a:lnTo>
                    <a:pt x="627" y="885"/>
                  </a:lnTo>
                  <a:lnTo>
                    <a:pt x="627" y="885"/>
                  </a:lnTo>
                  <a:lnTo>
                    <a:pt x="627" y="883"/>
                  </a:lnTo>
                  <a:lnTo>
                    <a:pt x="627" y="883"/>
                  </a:lnTo>
                  <a:lnTo>
                    <a:pt x="627" y="883"/>
                  </a:lnTo>
                  <a:lnTo>
                    <a:pt x="629" y="881"/>
                  </a:lnTo>
                  <a:lnTo>
                    <a:pt x="629" y="881"/>
                  </a:lnTo>
                  <a:lnTo>
                    <a:pt x="629" y="881"/>
                  </a:lnTo>
                  <a:lnTo>
                    <a:pt x="629" y="881"/>
                  </a:lnTo>
                  <a:lnTo>
                    <a:pt x="629" y="881"/>
                  </a:lnTo>
                  <a:lnTo>
                    <a:pt x="629" y="881"/>
                  </a:lnTo>
                  <a:lnTo>
                    <a:pt x="629" y="879"/>
                  </a:lnTo>
                  <a:lnTo>
                    <a:pt x="629" y="881"/>
                  </a:lnTo>
                  <a:lnTo>
                    <a:pt x="633" y="879"/>
                  </a:lnTo>
                  <a:lnTo>
                    <a:pt x="633" y="879"/>
                  </a:lnTo>
                  <a:lnTo>
                    <a:pt x="633" y="879"/>
                  </a:lnTo>
                  <a:lnTo>
                    <a:pt x="633" y="879"/>
                  </a:lnTo>
                  <a:lnTo>
                    <a:pt x="633" y="879"/>
                  </a:lnTo>
                  <a:lnTo>
                    <a:pt x="633" y="879"/>
                  </a:lnTo>
                  <a:lnTo>
                    <a:pt x="635" y="877"/>
                  </a:lnTo>
                  <a:lnTo>
                    <a:pt x="635" y="877"/>
                  </a:lnTo>
                  <a:lnTo>
                    <a:pt x="635" y="877"/>
                  </a:lnTo>
                  <a:lnTo>
                    <a:pt x="635" y="877"/>
                  </a:lnTo>
                  <a:lnTo>
                    <a:pt x="635" y="877"/>
                  </a:lnTo>
                  <a:lnTo>
                    <a:pt x="635" y="877"/>
                  </a:lnTo>
                  <a:lnTo>
                    <a:pt x="635" y="877"/>
                  </a:lnTo>
                  <a:lnTo>
                    <a:pt x="635" y="877"/>
                  </a:lnTo>
                  <a:lnTo>
                    <a:pt x="637" y="877"/>
                  </a:lnTo>
                  <a:lnTo>
                    <a:pt x="637" y="877"/>
                  </a:lnTo>
                  <a:lnTo>
                    <a:pt x="637" y="877"/>
                  </a:lnTo>
                  <a:lnTo>
                    <a:pt x="639" y="877"/>
                  </a:lnTo>
                  <a:lnTo>
                    <a:pt x="639" y="877"/>
                  </a:lnTo>
                  <a:lnTo>
                    <a:pt x="639" y="875"/>
                  </a:lnTo>
                  <a:lnTo>
                    <a:pt x="639" y="875"/>
                  </a:lnTo>
                  <a:lnTo>
                    <a:pt x="639" y="875"/>
                  </a:lnTo>
                  <a:lnTo>
                    <a:pt x="639" y="875"/>
                  </a:lnTo>
                  <a:lnTo>
                    <a:pt x="639" y="875"/>
                  </a:lnTo>
                  <a:lnTo>
                    <a:pt x="637" y="875"/>
                  </a:lnTo>
                  <a:lnTo>
                    <a:pt x="639" y="875"/>
                  </a:lnTo>
                  <a:lnTo>
                    <a:pt x="639" y="875"/>
                  </a:lnTo>
                  <a:lnTo>
                    <a:pt x="639" y="873"/>
                  </a:lnTo>
                  <a:lnTo>
                    <a:pt x="639" y="873"/>
                  </a:lnTo>
                  <a:lnTo>
                    <a:pt x="637" y="873"/>
                  </a:lnTo>
                  <a:lnTo>
                    <a:pt x="637" y="873"/>
                  </a:lnTo>
                  <a:lnTo>
                    <a:pt x="637" y="873"/>
                  </a:lnTo>
                  <a:lnTo>
                    <a:pt x="635" y="873"/>
                  </a:lnTo>
                  <a:lnTo>
                    <a:pt x="635" y="873"/>
                  </a:lnTo>
                  <a:lnTo>
                    <a:pt x="635" y="871"/>
                  </a:lnTo>
                  <a:lnTo>
                    <a:pt x="635" y="871"/>
                  </a:lnTo>
                  <a:lnTo>
                    <a:pt x="635" y="871"/>
                  </a:lnTo>
                  <a:lnTo>
                    <a:pt x="635" y="871"/>
                  </a:lnTo>
                  <a:lnTo>
                    <a:pt x="635" y="871"/>
                  </a:lnTo>
                  <a:lnTo>
                    <a:pt x="633" y="873"/>
                  </a:lnTo>
                  <a:lnTo>
                    <a:pt x="633" y="873"/>
                  </a:lnTo>
                  <a:lnTo>
                    <a:pt x="633" y="873"/>
                  </a:lnTo>
                  <a:lnTo>
                    <a:pt x="633" y="873"/>
                  </a:lnTo>
                  <a:lnTo>
                    <a:pt x="633" y="873"/>
                  </a:lnTo>
                  <a:lnTo>
                    <a:pt x="633" y="873"/>
                  </a:lnTo>
                  <a:lnTo>
                    <a:pt x="631" y="875"/>
                  </a:lnTo>
                  <a:lnTo>
                    <a:pt x="631" y="875"/>
                  </a:lnTo>
                  <a:lnTo>
                    <a:pt x="631" y="875"/>
                  </a:lnTo>
                  <a:lnTo>
                    <a:pt x="631" y="875"/>
                  </a:lnTo>
                  <a:lnTo>
                    <a:pt x="627" y="877"/>
                  </a:lnTo>
                  <a:lnTo>
                    <a:pt x="627" y="877"/>
                  </a:lnTo>
                  <a:lnTo>
                    <a:pt x="627" y="877"/>
                  </a:lnTo>
                  <a:lnTo>
                    <a:pt x="629" y="875"/>
                  </a:lnTo>
                  <a:lnTo>
                    <a:pt x="627" y="875"/>
                  </a:lnTo>
                  <a:lnTo>
                    <a:pt x="627" y="875"/>
                  </a:lnTo>
                  <a:lnTo>
                    <a:pt x="627" y="875"/>
                  </a:lnTo>
                  <a:lnTo>
                    <a:pt x="627" y="875"/>
                  </a:lnTo>
                  <a:lnTo>
                    <a:pt x="627" y="875"/>
                  </a:lnTo>
                  <a:lnTo>
                    <a:pt x="627" y="873"/>
                  </a:lnTo>
                  <a:lnTo>
                    <a:pt x="627" y="873"/>
                  </a:lnTo>
                  <a:lnTo>
                    <a:pt x="627" y="873"/>
                  </a:lnTo>
                  <a:lnTo>
                    <a:pt x="627" y="873"/>
                  </a:lnTo>
                  <a:lnTo>
                    <a:pt x="627" y="873"/>
                  </a:lnTo>
                  <a:lnTo>
                    <a:pt x="627" y="873"/>
                  </a:lnTo>
                  <a:lnTo>
                    <a:pt x="627" y="873"/>
                  </a:lnTo>
                  <a:lnTo>
                    <a:pt x="627" y="871"/>
                  </a:lnTo>
                  <a:lnTo>
                    <a:pt x="627" y="871"/>
                  </a:lnTo>
                  <a:lnTo>
                    <a:pt x="627" y="871"/>
                  </a:lnTo>
                  <a:lnTo>
                    <a:pt x="629" y="871"/>
                  </a:lnTo>
                  <a:lnTo>
                    <a:pt x="629" y="869"/>
                  </a:lnTo>
                  <a:lnTo>
                    <a:pt x="627" y="869"/>
                  </a:lnTo>
                  <a:lnTo>
                    <a:pt x="627" y="869"/>
                  </a:lnTo>
                  <a:lnTo>
                    <a:pt x="625" y="869"/>
                  </a:lnTo>
                  <a:lnTo>
                    <a:pt x="625" y="869"/>
                  </a:lnTo>
                  <a:lnTo>
                    <a:pt x="625" y="869"/>
                  </a:lnTo>
                  <a:lnTo>
                    <a:pt x="625" y="869"/>
                  </a:lnTo>
                  <a:lnTo>
                    <a:pt x="625" y="869"/>
                  </a:lnTo>
                  <a:lnTo>
                    <a:pt x="625" y="869"/>
                  </a:lnTo>
                  <a:lnTo>
                    <a:pt x="625" y="869"/>
                  </a:lnTo>
                  <a:lnTo>
                    <a:pt x="625" y="869"/>
                  </a:lnTo>
                  <a:lnTo>
                    <a:pt x="625" y="867"/>
                  </a:lnTo>
                  <a:lnTo>
                    <a:pt x="623" y="869"/>
                  </a:lnTo>
                  <a:lnTo>
                    <a:pt x="621" y="869"/>
                  </a:lnTo>
                  <a:lnTo>
                    <a:pt x="621" y="869"/>
                  </a:lnTo>
                  <a:lnTo>
                    <a:pt x="621" y="869"/>
                  </a:lnTo>
                  <a:lnTo>
                    <a:pt x="619" y="869"/>
                  </a:lnTo>
                  <a:lnTo>
                    <a:pt x="619" y="869"/>
                  </a:lnTo>
                  <a:lnTo>
                    <a:pt x="619" y="869"/>
                  </a:lnTo>
                  <a:lnTo>
                    <a:pt x="617" y="869"/>
                  </a:lnTo>
                  <a:lnTo>
                    <a:pt x="617" y="869"/>
                  </a:lnTo>
                  <a:lnTo>
                    <a:pt x="614" y="869"/>
                  </a:lnTo>
                  <a:lnTo>
                    <a:pt x="614" y="869"/>
                  </a:lnTo>
                  <a:lnTo>
                    <a:pt x="614" y="869"/>
                  </a:lnTo>
                  <a:lnTo>
                    <a:pt x="612" y="871"/>
                  </a:lnTo>
                  <a:lnTo>
                    <a:pt x="612" y="871"/>
                  </a:lnTo>
                  <a:lnTo>
                    <a:pt x="612" y="873"/>
                  </a:lnTo>
                  <a:lnTo>
                    <a:pt x="610" y="873"/>
                  </a:lnTo>
                  <a:lnTo>
                    <a:pt x="610" y="873"/>
                  </a:lnTo>
                  <a:lnTo>
                    <a:pt x="610" y="873"/>
                  </a:lnTo>
                  <a:lnTo>
                    <a:pt x="610" y="873"/>
                  </a:lnTo>
                  <a:lnTo>
                    <a:pt x="610" y="873"/>
                  </a:lnTo>
                  <a:lnTo>
                    <a:pt x="610" y="873"/>
                  </a:lnTo>
                  <a:lnTo>
                    <a:pt x="610" y="875"/>
                  </a:lnTo>
                  <a:lnTo>
                    <a:pt x="610" y="875"/>
                  </a:lnTo>
                  <a:lnTo>
                    <a:pt x="610" y="875"/>
                  </a:lnTo>
                  <a:lnTo>
                    <a:pt x="610" y="875"/>
                  </a:lnTo>
                  <a:lnTo>
                    <a:pt x="610" y="875"/>
                  </a:lnTo>
                  <a:lnTo>
                    <a:pt x="612" y="875"/>
                  </a:lnTo>
                  <a:lnTo>
                    <a:pt x="612" y="875"/>
                  </a:lnTo>
                  <a:lnTo>
                    <a:pt x="612" y="875"/>
                  </a:lnTo>
                  <a:lnTo>
                    <a:pt x="612" y="875"/>
                  </a:lnTo>
                  <a:lnTo>
                    <a:pt x="612" y="875"/>
                  </a:lnTo>
                  <a:lnTo>
                    <a:pt x="610" y="877"/>
                  </a:lnTo>
                  <a:lnTo>
                    <a:pt x="612" y="879"/>
                  </a:lnTo>
                  <a:lnTo>
                    <a:pt x="614" y="879"/>
                  </a:lnTo>
                  <a:lnTo>
                    <a:pt x="614" y="879"/>
                  </a:lnTo>
                  <a:lnTo>
                    <a:pt x="614" y="879"/>
                  </a:lnTo>
                  <a:lnTo>
                    <a:pt x="617" y="879"/>
                  </a:lnTo>
                  <a:lnTo>
                    <a:pt x="617" y="879"/>
                  </a:lnTo>
                  <a:lnTo>
                    <a:pt x="617" y="879"/>
                  </a:lnTo>
                  <a:lnTo>
                    <a:pt x="619" y="881"/>
                  </a:lnTo>
                  <a:lnTo>
                    <a:pt x="623" y="883"/>
                  </a:lnTo>
                  <a:lnTo>
                    <a:pt x="623" y="883"/>
                  </a:lnTo>
                  <a:lnTo>
                    <a:pt x="623" y="883"/>
                  </a:lnTo>
                  <a:lnTo>
                    <a:pt x="621" y="883"/>
                  </a:lnTo>
                  <a:lnTo>
                    <a:pt x="621" y="883"/>
                  </a:lnTo>
                  <a:lnTo>
                    <a:pt x="621" y="883"/>
                  </a:lnTo>
                  <a:lnTo>
                    <a:pt x="621" y="883"/>
                  </a:lnTo>
                  <a:lnTo>
                    <a:pt x="621" y="883"/>
                  </a:lnTo>
                  <a:lnTo>
                    <a:pt x="621" y="883"/>
                  </a:lnTo>
                  <a:lnTo>
                    <a:pt x="621" y="883"/>
                  </a:lnTo>
                  <a:lnTo>
                    <a:pt x="621" y="883"/>
                  </a:lnTo>
                  <a:lnTo>
                    <a:pt x="619" y="883"/>
                  </a:lnTo>
                  <a:lnTo>
                    <a:pt x="619" y="883"/>
                  </a:lnTo>
                  <a:lnTo>
                    <a:pt x="619" y="887"/>
                  </a:lnTo>
                  <a:lnTo>
                    <a:pt x="619" y="885"/>
                  </a:lnTo>
                  <a:lnTo>
                    <a:pt x="619" y="885"/>
                  </a:lnTo>
                  <a:lnTo>
                    <a:pt x="617" y="885"/>
                  </a:lnTo>
                  <a:lnTo>
                    <a:pt x="617" y="885"/>
                  </a:lnTo>
                  <a:lnTo>
                    <a:pt x="617" y="887"/>
                  </a:lnTo>
                  <a:lnTo>
                    <a:pt x="617" y="885"/>
                  </a:lnTo>
                  <a:lnTo>
                    <a:pt x="617" y="885"/>
                  </a:lnTo>
                  <a:lnTo>
                    <a:pt x="617" y="883"/>
                  </a:lnTo>
                  <a:lnTo>
                    <a:pt x="617" y="883"/>
                  </a:lnTo>
                  <a:lnTo>
                    <a:pt x="617" y="881"/>
                  </a:lnTo>
                  <a:lnTo>
                    <a:pt x="614" y="881"/>
                  </a:lnTo>
                  <a:lnTo>
                    <a:pt x="612" y="881"/>
                  </a:lnTo>
                  <a:lnTo>
                    <a:pt x="612" y="881"/>
                  </a:lnTo>
                  <a:lnTo>
                    <a:pt x="610" y="883"/>
                  </a:lnTo>
                  <a:lnTo>
                    <a:pt x="610" y="883"/>
                  </a:lnTo>
                  <a:lnTo>
                    <a:pt x="612" y="883"/>
                  </a:lnTo>
                  <a:lnTo>
                    <a:pt x="612" y="885"/>
                  </a:lnTo>
                  <a:lnTo>
                    <a:pt x="612" y="885"/>
                  </a:lnTo>
                  <a:lnTo>
                    <a:pt x="612" y="885"/>
                  </a:lnTo>
                  <a:lnTo>
                    <a:pt x="610" y="885"/>
                  </a:lnTo>
                  <a:lnTo>
                    <a:pt x="610" y="885"/>
                  </a:lnTo>
                  <a:lnTo>
                    <a:pt x="610" y="887"/>
                  </a:lnTo>
                  <a:lnTo>
                    <a:pt x="610" y="887"/>
                  </a:lnTo>
                  <a:lnTo>
                    <a:pt x="610" y="887"/>
                  </a:lnTo>
                  <a:lnTo>
                    <a:pt x="610" y="887"/>
                  </a:lnTo>
                  <a:lnTo>
                    <a:pt x="610" y="887"/>
                  </a:lnTo>
                  <a:lnTo>
                    <a:pt x="610" y="887"/>
                  </a:lnTo>
                  <a:lnTo>
                    <a:pt x="610" y="885"/>
                  </a:lnTo>
                  <a:lnTo>
                    <a:pt x="610" y="885"/>
                  </a:lnTo>
                  <a:lnTo>
                    <a:pt x="610" y="885"/>
                  </a:lnTo>
                  <a:lnTo>
                    <a:pt x="608" y="885"/>
                  </a:lnTo>
                  <a:lnTo>
                    <a:pt x="608" y="885"/>
                  </a:lnTo>
                  <a:lnTo>
                    <a:pt x="608" y="885"/>
                  </a:lnTo>
                  <a:lnTo>
                    <a:pt x="608" y="887"/>
                  </a:lnTo>
                  <a:lnTo>
                    <a:pt x="608" y="887"/>
                  </a:lnTo>
                  <a:lnTo>
                    <a:pt x="608" y="887"/>
                  </a:lnTo>
                  <a:lnTo>
                    <a:pt x="608" y="887"/>
                  </a:lnTo>
                  <a:lnTo>
                    <a:pt x="608" y="887"/>
                  </a:lnTo>
                  <a:lnTo>
                    <a:pt x="608" y="889"/>
                  </a:lnTo>
                  <a:lnTo>
                    <a:pt x="608" y="889"/>
                  </a:lnTo>
                  <a:lnTo>
                    <a:pt x="608" y="889"/>
                  </a:lnTo>
                  <a:lnTo>
                    <a:pt x="610" y="889"/>
                  </a:lnTo>
                  <a:lnTo>
                    <a:pt x="612" y="889"/>
                  </a:lnTo>
                  <a:lnTo>
                    <a:pt x="612" y="889"/>
                  </a:lnTo>
                  <a:lnTo>
                    <a:pt x="612" y="891"/>
                  </a:lnTo>
                  <a:lnTo>
                    <a:pt x="612" y="891"/>
                  </a:lnTo>
                  <a:lnTo>
                    <a:pt x="610" y="891"/>
                  </a:lnTo>
                  <a:lnTo>
                    <a:pt x="608" y="891"/>
                  </a:lnTo>
                  <a:lnTo>
                    <a:pt x="606" y="889"/>
                  </a:lnTo>
                  <a:lnTo>
                    <a:pt x="606" y="889"/>
                  </a:lnTo>
                  <a:lnTo>
                    <a:pt x="606" y="889"/>
                  </a:lnTo>
                  <a:lnTo>
                    <a:pt x="606" y="891"/>
                  </a:lnTo>
                  <a:lnTo>
                    <a:pt x="606" y="891"/>
                  </a:lnTo>
                  <a:lnTo>
                    <a:pt x="606" y="891"/>
                  </a:lnTo>
                  <a:lnTo>
                    <a:pt x="606" y="891"/>
                  </a:lnTo>
                  <a:lnTo>
                    <a:pt x="606" y="891"/>
                  </a:lnTo>
                  <a:lnTo>
                    <a:pt x="606" y="891"/>
                  </a:lnTo>
                  <a:lnTo>
                    <a:pt x="606" y="891"/>
                  </a:lnTo>
                  <a:lnTo>
                    <a:pt x="606" y="891"/>
                  </a:lnTo>
                  <a:lnTo>
                    <a:pt x="606" y="891"/>
                  </a:lnTo>
                  <a:lnTo>
                    <a:pt x="606" y="894"/>
                  </a:lnTo>
                  <a:lnTo>
                    <a:pt x="604" y="894"/>
                  </a:lnTo>
                  <a:lnTo>
                    <a:pt x="604" y="894"/>
                  </a:lnTo>
                  <a:lnTo>
                    <a:pt x="602" y="891"/>
                  </a:lnTo>
                  <a:lnTo>
                    <a:pt x="602" y="891"/>
                  </a:lnTo>
                  <a:lnTo>
                    <a:pt x="602" y="894"/>
                  </a:lnTo>
                  <a:lnTo>
                    <a:pt x="602" y="894"/>
                  </a:lnTo>
                  <a:lnTo>
                    <a:pt x="602" y="894"/>
                  </a:lnTo>
                  <a:lnTo>
                    <a:pt x="600" y="894"/>
                  </a:lnTo>
                  <a:lnTo>
                    <a:pt x="600" y="894"/>
                  </a:lnTo>
                  <a:lnTo>
                    <a:pt x="600" y="894"/>
                  </a:lnTo>
                  <a:lnTo>
                    <a:pt x="600" y="894"/>
                  </a:lnTo>
                  <a:lnTo>
                    <a:pt x="598" y="894"/>
                  </a:lnTo>
                  <a:lnTo>
                    <a:pt x="598" y="894"/>
                  </a:lnTo>
                  <a:lnTo>
                    <a:pt x="598" y="894"/>
                  </a:lnTo>
                  <a:lnTo>
                    <a:pt x="598" y="894"/>
                  </a:lnTo>
                  <a:lnTo>
                    <a:pt x="598" y="894"/>
                  </a:lnTo>
                  <a:lnTo>
                    <a:pt x="598" y="894"/>
                  </a:lnTo>
                  <a:lnTo>
                    <a:pt x="596" y="894"/>
                  </a:lnTo>
                  <a:lnTo>
                    <a:pt x="596" y="894"/>
                  </a:lnTo>
                  <a:lnTo>
                    <a:pt x="596" y="894"/>
                  </a:lnTo>
                  <a:lnTo>
                    <a:pt x="596" y="894"/>
                  </a:lnTo>
                  <a:lnTo>
                    <a:pt x="596" y="894"/>
                  </a:lnTo>
                  <a:lnTo>
                    <a:pt x="594" y="894"/>
                  </a:lnTo>
                  <a:lnTo>
                    <a:pt x="594" y="894"/>
                  </a:lnTo>
                  <a:lnTo>
                    <a:pt x="596" y="896"/>
                  </a:lnTo>
                  <a:lnTo>
                    <a:pt x="596" y="896"/>
                  </a:lnTo>
                  <a:lnTo>
                    <a:pt x="594" y="896"/>
                  </a:lnTo>
                  <a:lnTo>
                    <a:pt x="594" y="894"/>
                  </a:lnTo>
                  <a:lnTo>
                    <a:pt x="592" y="894"/>
                  </a:lnTo>
                  <a:lnTo>
                    <a:pt x="592" y="896"/>
                  </a:lnTo>
                  <a:lnTo>
                    <a:pt x="592" y="896"/>
                  </a:lnTo>
                  <a:lnTo>
                    <a:pt x="590" y="894"/>
                  </a:lnTo>
                  <a:lnTo>
                    <a:pt x="590" y="896"/>
                  </a:lnTo>
                  <a:lnTo>
                    <a:pt x="590" y="894"/>
                  </a:lnTo>
                  <a:lnTo>
                    <a:pt x="590" y="894"/>
                  </a:lnTo>
                  <a:lnTo>
                    <a:pt x="588" y="894"/>
                  </a:lnTo>
                  <a:lnTo>
                    <a:pt x="588" y="894"/>
                  </a:lnTo>
                  <a:lnTo>
                    <a:pt x="584" y="898"/>
                  </a:lnTo>
                  <a:lnTo>
                    <a:pt x="584" y="898"/>
                  </a:lnTo>
                  <a:lnTo>
                    <a:pt x="584" y="898"/>
                  </a:lnTo>
                  <a:lnTo>
                    <a:pt x="584" y="898"/>
                  </a:lnTo>
                  <a:lnTo>
                    <a:pt x="584" y="898"/>
                  </a:lnTo>
                  <a:lnTo>
                    <a:pt x="584" y="898"/>
                  </a:lnTo>
                  <a:lnTo>
                    <a:pt x="584" y="898"/>
                  </a:lnTo>
                  <a:lnTo>
                    <a:pt x="586" y="898"/>
                  </a:lnTo>
                  <a:lnTo>
                    <a:pt x="586" y="898"/>
                  </a:lnTo>
                  <a:lnTo>
                    <a:pt x="586" y="900"/>
                  </a:lnTo>
                  <a:lnTo>
                    <a:pt x="588" y="900"/>
                  </a:lnTo>
                  <a:lnTo>
                    <a:pt x="588" y="900"/>
                  </a:lnTo>
                  <a:lnTo>
                    <a:pt x="588" y="902"/>
                  </a:lnTo>
                  <a:lnTo>
                    <a:pt x="590" y="900"/>
                  </a:lnTo>
                  <a:lnTo>
                    <a:pt x="590" y="900"/>
                  </a:lnTo>
                  <a:lnTo>
                    <a:pt x="590" y="900"/>
                  </a:lnTo>
                  <a:lnTo>
                    <a:pt x="590" y="900"/>
                  </a:lnTo>
                  <a:lnTo>
                    <a:pt x="590" y="900"/>
                  </a:lnTo>
                  <a:lnTo>
                    <a:pt x="592" y="900"/>
                  </a:lnTo>
                  <a:lnTo>
                    <a:pt x="592" y="900"/>
                  </a:lnTo>
                  <a:lnTo>
                    <a:pt x="592" y="900"/>
                  </a:lnTo>
                  <a:lnTo>
                    <a:pt x="594" y="900"/>
                  </a:lnTo>
                  <a:lnTo>
                    <a:pt x="594" y="902"/>
                  </a:lnTo>
                  <a:lnTo>
                    <a:pt x="594" y="902"/>
                  </a:lnTo>
                  <a:lnTo>
                    <a:pt x="594" y="902"/>
                  </a:lnTo>
                  <a:lnTo>
                    <a:pt x="594" y="900"/>
                  </a:lnTo>
                  <a:lnTo>
                    <a:pt x="594" y="900"/>
                  </a:lnTo>
                  <a:lnTo>
                    <a:pt x="596" y="900"/>
                  </a:lnTo>
                  <a:lnTo>
                    <a:pt x="596" y="900"/>
                  </a:lnTo>
                  <a:lnTo>
                    <a:pt x="596" y="900"/>
                  </a:lnTo>
                  <a:lnTo>
                    <a:pt x="596" y="898"/>
                  </a:lnTo>
                  <a:lnTo>
                    <a:pt x="596" y="898"/>
                  </a:lnTo>
                  <a:lnTo>
                    <a:pt x="598" y="898"/>
                  </a:lnTo>
                  <a:lnTo>
                    <a:pt x="598" y="898"/>
                  </a:lnTo>
                  <a:lnTo>
                    <a:pt x="600" y="900"/>
                  </a:lnTo>
                  <a:lnTo>
                    <a:pt x="600" y="898"/>
                  </a:lnTo>
                  <a:lnTo>
                    <a:pt x="600" y="898"/>
                  </a:lnTo>
                  <a:lnTo>
                    <a:pt x="602" y="898"/>
                  </a:lnTo>
                  <a:lnTo>
                    <a:pt x="602" y="898"/>
                  </a:lnTo>
                  <a:lnTo>
                    <a:pt x="602" y="898"/>
                  </a:lnTo>
                  <a:lnTo>
                    <a:pt x="604" y="898"/>
                  </a:lnTo>
                  <a:lnTo>
                    <a:pt x="606" y="896"/>
                  </a:lnTo>
                  <a:lnTo>
                    <a:pt x="606" y="896"/>
                  </a:lnTo>
                  <a:lnTo>
                    <a:pt x="608" y="896"/>
                  </a:lnTo>
                  <a:lnTo>
                    <a:pt x="608" y="896"/>
                  </a:lnTo>
                  <a:lnTo>
                    <a:pt x="610" y="896"/>
                  </a:lnTo>
                  <a:lnTo>
                    <a:pt x="612" y="896"/>
                  </a:lnTo>
                  <a:lnTo>
                    <a:pt x="610" y="896"/>
                  </a:lnTo>
                  <a:lnTo>
                    <a:pt x="610" y="896"/>
                  </a:lnTo>
                  <a:lnTo>
                    <a:pt x="612" y="896"/>
                  </a:lnTo>
                  <a:lnTo>
                    <a:pt x="612" y="896"/>
                  </a:lnTo>
                  <a:lnTo>
                    <a:pt x="612" y="896"/>
                  </a:lnTo>
                  <a:lnTo>
                    <a:pt x="612" y="894"/>
                  </a:lnTo>
                  <a:lnTo>
                    <a:pt x="612" y="894"/>
                  </a:lnTo>
                  <a:lnTo>
                    <a:pt x="612" y="896"/>
                  </a:lnTo>
                  <a:lnTo>
                    <a:pt x="612" y="896"/>
                  </a:lnTo>
                  <a:lnTo>
                    <a:pt x="612" y="896"/>
                  </a:lnTo>
                  <a:lnTo>
                    <a:pt x="614" y="896"/>
                  </a:lnTo>
                  <a:lnTo>
                    <a:pt x="614" y="894"/>
                  </a:lnTo>
                  <a:lnTo>
                    <a:pt x="614" y="894"/>
                  </a:lnTo>
                  <a:lnTo>
                    <a:pt x="614" y="894"/>
                  </a:lnTo>
                  <a:lnTo>
                    <a:pt x="617" y="896"/>
                  </a:lnTo>
                  <a:lnTo>
                    <a:pt x="617" y="896"/>
                  </a:lnTo>
                  <a:lnTo>
                    <a:pt x="617" y="896"/>
                  </a:lnTo>
                  <a:lnTo>
                    <a:pt x="617" y="896"/>
                  </a:lnTo>
                  <a:lnTo>
                    <a:pt x="617" y="896"/>
                  </a:lnTo>
                  <a:lnTo>
                    <a:pt x="617" y="896"/>
                  </a:lnTo>
                  <a:lnTo>
                    <a:pt x="617" y="896"/>
                  </a:lnTo>
                  <a:lnTo>
                    <a:pt x="617" y="896"/>
                  </a:lnTo>
                  <a:lnTo>
                    <a:pt x="619" y="896"/>
                  </a:lnTo>
                  <a:lnTo>
                    <a:pt x="619" y="896"/>
                  </a:lnTo>
                  <a:lnTo>
                    <a:pt x="619" y="896"/>
                  </a:lnTo>
                  <a:lnTo>
                    <a:pt x="619" y="896"/>
                  </a:lnTo>
                  <a:lnTo>
                    <a:pt x="619" y="894"/>
                  </a:lnTo>
                  <a:lnTo>
                    <a:pt x="619" y="891"/>
                  </a:lnTo>
                  <a:lnTo>
                    <a:pt x="619" y="891"/>
                  </a:lnTo>
                  <a:lnTo>
                    <a:pt x="619" y="889"/>
                  </a:lnTo>
                  <a:lnTo>
                    <a:pt x="619" y="891"/>
                  </a:lnTo>
                  <a:lnTo>
                    <a:pt x="619" y="891"/>
                  </a:lnTo>
                  <a:lnTo>
                    <a:pt x="619" y="894"/>
                  </a:lnTo>
                  <a:lnTo>
                    <a:pt x="621" y="894"/>
                  </a:lnTo>
                  <a:lnTo>
                    <a:pt x="621" y="894"/>
                  </a:lnTo>
                  <a:lnTo>
                    <a:pt x="621" y="894"/>
                  </a:lnTo>
                  <a:lnTo>
                    <a:pt x="621" y="894"/>
                  </a:lnTo>
                  <a:lnTo>
                    <a:pt x="621" y="896"/>
                  </a:lnTo>
                  <a:lnTo>
                    <a:pt x="623" y="896"/>
                  </a:lnTo>
                  <a:lnTo>
                    <a:pt x="623" y="894"/>
                  </a:lnTo>
                  <a:lnTo>
                    <a:pt x="623" y="894"/>
                  </a:lnTo>
                  <a:lnTo>
                    <a:pt x="621" y="894"/>
                  </a:lnTo>
                  <a:lnTo>
                    <a:pt x="621" y="894"/>
                  </a:lnTo>
                  <a:lnTo>
                    <a:pt x="621" y="891"/>
                  </a:lnTo>
                  <a:lnTo>
                    <a:pt x="621" y="891"/>
                  </a:lnTo>
                  <a:lnTo>
                    <a:pt x="623" y="894"/>
                  </a:lnTo>
                  <a:lnTo>
                    <a:pt x="623" y="894"/>
                  </a:lnTo>
                  <a:lnTo>
                    <a:pt x="623" y="891"/>
                  </a:lnTo>
                  <a:lnTo>
                    <a:pt x="623" y="889"/>
                  </a:lnTo>
                  <a:lnTo>
                    <a:pt x="623" y="889"/>
                  </a:lnTo>
                  <a:lnTo>
                    <a:pt x="625" y="891"/>
                  </a:lnTo>
                  <a:lnTo>
                    <a:pt x="625" y="894"/>
                  </a:lnTo>
                  <a:lnTo>
                    <a:pt x="625" y="891"/>
                  </a:lnTo>
                  <a:lnTo>
                    <a:pt x="625" y="889"/>
                  </a:lnTo>
                  <a:lnTo>
                    <a:pt x="627" y="889"/>
                  </a:lnTo>
                  <a:lnTo>
                    <a:pt x="627" y="891"/>
                  </a:lnTo>
                  <a:lnTo>
                    <a:pt x="627" y="889"/>
                  </a:lnTo>
                  <a:lnTo>
                    <a:pt x="627" y="889"/>
                  </a:lnTo>
                  <a:lnTo>
                    <a:pt x="627" y="889"/>
                  </a:lnTo>
                  <a:lnTo>
                    <a:pt x="627" y="889"/>
                  </a:lnTo>
                  <a:lnTo>
                    <a:pt x="627" y="889"/>
                  </a:lnTo>
                  <a:lnTo>
                    <a:pt x="629" y="887"/>
                  </a:lnTo>
                  <a:lnTo>
                    <a:pt x="629" y="887"/>
                  </a:lnTo>
                  <a:lnTo>
                    <a:pt x="629" y="887"/>
                  </a:lnTo>
                  <a:lnTo>
                    <a:pt x="631" y="887"/>
                  </a:lnTo>
                  <a:lnTo>
                    <a:pt x="631" y="887"/>
                  </a:lnTo>
                  <a:lnTo>
                    <a:pt x="631" y="887"/>
                  </a:lnTo>
                  <a:lnTo>
                    <a:pt x="631" y="887"/>
                  </a:lnTo>
                  <a:lnTo>
                    <a:pt x="631" y="887"/>
                  </a:lnTo>
                  <a:lnTo>
                    <a:pt x="633" y="887"/>
                  </a:lnTo>
                  <a:lnTo>
                    <a:pt x="635" y="887"/>
                  </a:lnTo>
                  <a:lnTo>
                    <a:pt x="635" y="887"/>
                  </a:lnTo>
                  <a:lnTo>
                    <a:pt x="635" y="885"/>
                  </a:lnTo>
                  <a:lnTo>
                    <a:pt x="635" y="885"/>
                  </a:lnTo>
                  <a:lnTo>
                    <a:pt x="635" y="885"/>
                  </a:lnTo>
                  <a:lnTo>
                    <a:pt x="635" y="885"/>
                  </a:lnTo>
                  <a:lnTo>
                    <a:pt x="635" y="885"/>
                  </a:lnTo>
                  <a:close/>
                  <a:moveTo>
                    <a:pt x="643" y="389"/>
                  </a:moveTo>
                  <a:lnTo>
                    <a:pt x="643" y="389"/>
                  </a:lnTo>
                  <a:lnTo>
                    <a:pt x="645" y="391"/>
                  </a:lnTo>
                  <a:lnTo>
                    <a:pt x="643" y="389"/>
                  </a:lnTo>
                  <a:lnTo>
                    <a:pt x="643" y="389"/>
                  </a:lnTo>
                  <a:close/>
                  <a:moveTo>
                    <a:pt x="641" y="879"/>
                  </a:moveTo>
                  <a:lnTo>
                    <a:pt x="641" y="879"/>
                  </a:lnTo>
                  <a:lnTo>
                    <a:pt x="641" y="879"/>
                  </a:lnTo>
                  <a:lnTo>
                    <a:pt x="641" y="879"/>
                  </a:lnTo>
                  <a:lnTo>
                    <a:pt x="641" y="879"/>
                  </a:lnTo>
                  <a:lnTo>
                    <a:pt x="639" y="879"/>
                  </a:lnTo>
                  <a:lnTo>
                    <a:pt x="639" y="879"/>
                  </a:lnTo>
                  <a:lnTo>
                    <a:pt x="639" y="879"/>
                  </a:lnTo>
                  <a:lnTo>
                    <a:pt x="639" y="881"/>
                  </a:lnTo>
                  <a:lnTo>
                    <a:pt x="637" y="883"/>
                  </a:lnTo>
                  <a:lnTo>
                    <a:pt x="637" y="883"/>
                  </a:lnTo>
                  <a:lnTo>
                    <a:pt x="637" y="881"/>
                  </a:lnTo>
                  <a:lnTo>
                    <a:pt x="637" y="881"/>
                  </a:lnTo>
                  <a:lnTo>
                    <a:pt x="637" y="881"/>
                  </a:lnTo>
                  <a:lnTo>
                    <a:pt x="637" y="881"/>
                  </a:lnTo>
                  <a:lnTo>
                    <a:pt x="637" y="881"/>
                  </a:lnTo>
                  <a:lnTo>
                    <a:pt x="637" y="881"/>
                  </a:lnTo>
                  <a:lnTo>
                    <a:pt x="637" y="881"/>
                  </a:lnTo>
                  <a:lnTo>
                    <a:pt x="635" y="881"/>
                  </a:lnTo>
                  <a:lnTo>
                    <a:pt x="635" y="881"/>
                  </a:lnTo>
                  <a:lnTo>
                    <a:pt x="635" y="883"/>
                  </a:lnTo>
                  <a:lnTo>
                    <a:pt x="635" y="883"/>
                  </a:lnTo>
                  <a:lnTo>
                    <a:pt x="635" y="883"/>
                  </a:lnTo>
                  <a:lnTo>
                    <a:pt x="637" y="885"/>
                  </a:lnTo>
                  <a:lnTo>
                    <a:pt x="637" y="885"/>
                  </a:lnTo>
                  <a:lnTo>
                    <a:pt x="637" y="885"/>
                  </a:lnTo>
                  <a:lnTo>
                    <a:pt x="637" y="885"/>
                  </a:lnTo>
                  <a:lnTo>
                    <a:pt x="639" y="885"/>
                  </a:lnTo>
                  <a:lnTo>
                    <a:pt x="639" y="885"/>
                  </a:lnTo>
                  <a:lnTo>
                    <a:pt x="639" y="885"/>
                  </a:lnTo>
                  <a:lnTo>
                    <a:pt x="639" y="883"/>
                  </a:lnTo>
                  <a:lnTo>
                    <a:pt x="639" y="883"/>
                  </a:lnTo>
                  <a:lnTo>
                    <a:pt x="639" y="883"/>
                  </a:lnTo>
                  <a:lnTo>
                    <a:pt x="641" y="883"/>
                  </a:lnTo>
                  <a:lnTo>
                    <a:pt x="641" y="883"/>
                  </a:lnTo>
                  <a:lnTo>
                    <a:pt x="641" y="883"/>
                  </a:lnTo>
                  <a:lnTo>
                    <a:pt x="641" y="883"/>
                  </a:lnTo>
                  <a:lnTo>
                    <a:pt x="641" y="881"/>
                  </a:lnTo>
                  <a:lnTo>
                    <a:pt x="641" y="881"/>
                  </a:lnTo>
                  <a:lnTo>
                    <a:pt x="641" y="881"/>
                  </a:lnTo>
                  <a:lnTo>
                    <a:pt x="641" y="881"/>
                  </a:lnTo>
                  <a:lnTo>
                    <a:pt x="641" y="881"/>
                  </a:lnTo>
                  <a:lnTo>
                    <a:pt x="641" y="881"/>
                  </a:lnTo>
                  <a:lnTo>
                    <a:pt x="641" y="881"/>
                  </a:lnTo>
                  <a:lnTo>
                    <a:pt x="643" y="879"/>
                  </a:lnTo>
                  <a:lnTo>
                    <a:pt x="641" y="879"/>
                  </a:lnTo>
                  <a:lnTo>
                    <a:pt x="641" y="879"/>
                  </a:lnTo>
                  <a:close/>
                  <a:moveTo>
                    <a:pt x="786" y="836"/>
                  </a:moveTo>
                  <a:lnTo>
                    <a:pt x="786" y="834"/>
                  </a:lnTo>
                  <a:lnTo>
                    <a:pt x="786" y="834"/>
                  </a:lnTo>
                  <a:lnTo>
                    <a:pt x="786" y="836"/>
                  </a:lnTo>
                  <a:lnTo>
                    <a:pt x="786" y="836"/>
                  </a:lnTo>
                  <a:lnTo>
                    <a:pt x="786" y="836"/>
                  </a:lnTo>
                  <a:lnTo>
                    <a:pt x="786" y="836"/>
                  </a:lnTo>
                  <a:lnTo>
                    <a:pt x="786" y="836"/>
                  </a:lnTo>
                  <a:lnTo>
                    <a:pt x="786" y="836"/>
                  </a:lnTo>
                  <a:lnTo>
                    <a:pt x="786" y="838"/>
                  </a:lnTo>
                  <a:lnTo>
                    <a:pt x="786" y="838"/>
                  </a:lnTo>
                  <a:lnTo>
                    <a:pt x="789" y="838"/>
                  </a:lnTo>
                  <a:lnTo>
                    <a:pt x="789" y="838"/>
                  </a:lnTo>
                  <a:lnTo>
                    <a:pt x="789" y="836"/>
                  </a:lnTo>
                  <a:lnTo>
                    <a:pt x="789" y="836"/>
                  </a:lnTo>
                  <a:lnTo>
                    <a:pt x="786" y="836"/>
                  </a:lnTo>
                  <a:close/>
                  <a:moveTo>
                    <a:pt x="834" y="830"/>
                  </a:moveTo>
                  <a:lnTo>
                    <a:pt x="834" y="830"/>
                  </a:lnTo>
                  <a:lnTo>
                    <a:pt x="834" y="830"/>
                  </a:lnTo>
                  <a:lnTo>
                    <a:pt x="834" y="828"/>
                  </a:lnTo>
                  <a:lnTo>
                    <a:pt x="834" y="828"/>
                  </a:lnTo>
                  <a:lnTo>
                    <a:pt x="834" y="828"/>
                  </a:lnTo>
                  <a:lnTo>
                    <a:pt x="834" y="828"/>
                  </a:lnTo>
                  <a:lnTo>
                    <a:pt x="834" y="828"/>
                  </a:lnTo>
                  <a:lnTo>
                    <a:pt x="834" y="828"/>
                  </a:lnTo>
                  <a:lnTo>
                    <a:pt x="832" y="828"/>
                  </a:lnTo>
                  <a:lnTo>
                    <a:pt x="832" y="828"/>
                  </a:lnTo>
                  <a:lnTo>
                    <a:pt x="832" y="828"/>
                  </a:lnTo>
                  <a:lnTo>
                    <a:pt x="832" y="828"/>
                  </a:lnTo>
                  <a:lnTo>
                    <a:pt x="832" y="830"/>
                  </a:lnTo>
                  <a:lnTo>
                    <a:pt x="834" y="830"/>
                  </a:lnTo>
                  <a:close/>
                  <a:moveTo>
                    <a:pt x="827" y="824"/>
                  </a:moveTo>
                  <a:lnTo>
                    <a:pt x="827" y="824"/>
                  </a:lnTo>
                  <a:lnTo>
                    <a:pt x="827" y="824"/>
                  </a:lnTo>
                  <a:lnTo>
                    <a:pt x="827" y="824"/>
                  </a:lnTo>
                  <a:lnTo>
                    <a:pt x="827" y="824"/>
                  </a:lnTo>
                  <a:lnTo>
                    <a:pt x="830" y="824"/>
                  </a:lnTo>
                  <a:lnTo>
                    <a:pt x="830" y="824"/>
                  </a:lnTo>
                  <a:lnTo>
                    <a:pt x="830" y="824"/>
                  </a:lnTo>
                  <a:lnTo>
                    <a:pt x="830" y="826"/>
                  </a:lnTo>
                  <a:lnTo>
                    <a:pt x="830" y="826"/>
                  </a:lnTo>
                  <a:lnTo>
                    <a:pt x="832" y="826"/>
                  </a:lnTo>
                  <a:lnTo>
                    <a:pt x="832" y="824"/>
                  </a:lnTo>
                  <a:lnTo>
                    <a:pt x="832" y="824"/>
                  </a:lnTo>
                  <a:lnTo>
                    <a:pt x="832" y="824"/>
                  </a:lnTo>
                  <a:lnTo>
                    <a:pt x="832" y="822"/>
                  </a:lnTo>
                  <a:lnTo>
                    <a:pt x="832" y="822"/>
                  </a:lnTo>
                  <a:lnTo>
                    <a:pt x="830" y="822"/>
                  </a:lnTo>
                  <a:lnTo>
                    <a:pt x="830" y="822"/>
                  </a:lnTo>
                  <a:lnTo>
                    <a:pt x="830" y="822"/>
                  </a:lnTo>
                  <a:lnTo>
                    <a:pt x="830" y="822"/>
                  </a:lnTo>
                  <a:lnTo>
                    <a:pt x="830" y="822"/>
                  </a:lnTo>
                  <a:lnTo>
                    <a:pt x="830" y="822"/>
                  </a:lnTo>
                  <a:lnTo>
                    <a:pt x="830" y="822"/>
                  </a:lnTo>
                  <a:lnTo>
                    <a:pt x="827" y="822"/>
                  </a:lnTo>
                  <a:lnTo>
                    <a:pt x="827" y="822"/>
                  </a:lnTo>
                  <a:lnTo>
                    <a:pt x="827" y="822"/>
                  </a:lnTo>
                  <a:lnTo>
                    <a:pt x="825" y="822"/>
                  </a:lnTo>
                  <a:lnTo>
                    <a:pt x="825" y="824"/>
                  </a:lnTo>
                  <a:lnTo>
                    <a:pt x="825" y="824"/>
                  </a:lnTo>
                  <a:lnTo>
                    <a:pt x="825" y="824"/>
                  </a:lnTo>
                  <a:lnTo>
                    <a:pt x="825" y="824"/>
                  </a:lnTo>
                  <a:lnTo>
                    <a:pt x="827" y="824"/>
                  </a:lnTo>
                  <a:close/>
                  <a:moveTo>
                    <a:pt x="789" y="828"/>
                  </a:moveTo>
                  <a:lnTo>
                    <a:pt x="786" y="828"/>
                  </a:lnTo>
                  <a:lnTo>
                    <a:pt x="786" y="828"/>
                  </a:lnTo>
                  <a:lnTo>
                    <a:pt x="784" y="828"/>
                  </a:lnTo>
                  <a:lnTo>
                    <a:pt x="784" y="830"/>
                  </a:lnTo>
                  <a:lnTo>
                    <a:pt x="784" y="830"/>
                  </a:lnTo>
                  <a:lnTo>
                    <a:pt x="784" y="830"/>
                  </a:lnTo>
                  <a:lnTo>
                    <a:pt x="786" y="830"/>
                  </a:lnTo>
                  <a:lnTo>
                    <a:pt x="786" y="830"/>
                  </a:lnTo>
                  <a:lnTo>
                    <a:pt x="786" y="830"/>
                  </a:lnTo>
                  <a:lnTo>
                    <a:pt x="789" y="830"/>
                  </a:lnTo>
                  <a:lnTo>
                    <a:pt x="789" y="830"/>
                  </a:lnTo>
                  <a:lnTo>
                    <a:pt x="789" y="830"/>
                  </a:lnTo>
                  <a:lnTo>
                    <a:pt x="789" y="828"/>
                  </a:lnTo>
                  <a:lnTo>
                    <a:pt x="789" y="828"/>
                  </a:lnTo>
                  <a:lnTo>
                    <a:pt x="789" y="828"/>
                  </a:lnTo>
                  <a:close/>
                  <a:moveTo>
                    <a:pt x="825" y="826"/>
                  </a:moveTo>
                  <a:lnTo>
                    <a:pt x="823" y="826"/>
                  </a:lnTo>
                  <a:lnTo>
                    <a:pt x="823" y="826"/>
                  </a:lnTo>
                  <a:lnTo>
                    <a:pt x="821" y="826"/>
                  </a:lnTo>
                  <a:lnTo>
                    <a:pt x="821" y="826"/>
                  </a:lnTo>
                  <a:lnTo>
                    <a:pt x="821" y="826"/>
                  </a:lnTo>
                  <a:lnTo>
                    <a:pt x="819" y="826"/>
                  </a:lnTo>
                  <a:lnTo>
                    <a:pt x="819" y="826"/>
                  </a:lnTo>
                  <a:lnTo>
                    <a:pt x="819" y="828"/>
                  </a:lnTo>
                  <a:lnTo>
                    <a:pt x="819" y="828"/>
                  </a:lnTo>
                  <a:lnTo>
                    <a:pt x="819" y="828"/>
                  </a:lnTo>
                  <a:lnTo>
                    <a:pt x="819" y="828"/>
                  </a:lnTo>
                  <a:lnTo>
                    <a:pt x="823" y="830"/>
                  </a:lnTo>
                  <a:lnTo>
                    <a:pt x="823" y="832"/>
                  </a:lnTo>
                  <a:lnTo>
                    <a:pt x="823" y="832"/>
                  </a:lnTo>
                  <a:lnTo>
                    <a:pt x="823" y="832"/>
                  </a:lnTo>
                  <a:lnTo>
                    <a:pt x="825" y="832"/>
                  </a:lnTo>
                  <a:lnTo>
                    <a:pt x="825" y="830"/>
                  </a:lnTo>
                  <a:lnTo>
                    <a:pt x="825" y="830"/>
                  </a:lnTo>
                  <a:lnTo>
                    <a:pt x="825" y="828"/>
                  </a:lnTo>
                  <a:lnTo>
                    <a:pt x="825" y="826"/>
                  </a:lnTo>
                  <a:lnTo>
                    <a:pt x="825" y="826"/>
                  </a:lnTo>
                  <a:lnTo>
                    <a:pt x="825" y="826"/>
                  </a:lnTo>
                  <a:close/>
                  <a:moveTo>
                    <a:pt x="795" y="832"/>
                  </a:moveTo>
                  <a:lnTo>
                    <a:pt x="795" y="830"/>
                  </a:lnTo>
                  <a:lnTo>
                    <a:pt x="795" y="830"/>
                  </a:lnTo>
                  <a:lnTo>
                    <a:pt x="795" y="830"/>
                  </a:lnTo>
                  <a:lnTo>
                    <a:pt x="795" y="830"/>
                  </a:lnTo>
                  <a:lnTo>
                    <a:pt x="795" y="830"/>
                  </a:lnTo>
                  <a:lnTo>
                    <a:pt x="793" y="830"/>
                  </a:lnTo>
                  <a:lnTo>
                    <a:pt x="793" y="830"/>
                  </a:lnTo>
                  <a:lnTo>
                    <a:pt x="793" y="830"/>
                  </a:lnTo>
                  <a:lnTo>
                    <a:pt x="793" y="832"/>
                  </a:lnTo>
                  <a:lnTo>
                    <a:pt x="793" y="832"/>
                  </a:lnTo>
                  <a:lnTo>
                    <a:pt x="795" y="832"/>
                  </a:lnTo>
                  <a:lnTo>
                    <a:pt x="795" y="834"/>
                  </a:lnTo>
                  <a:lnTo>
                    <a:pt x="795" y="834"/>
                  </a:lnTo>
                  <a:lnTo>
                    <a:pt x="795" y="832"/>
                  </a:lnTo>
                  <a:lnTo>
                    <a:pt x="795" y="832"/>
                  </a:lnTo>
                  <a:lnTo>
                    <a:pt x="795" y="832"/>
                  </a:lnTo>
                  <a:lnTo>
                    <a:pt x="795" y="832"/>
                  </a:lnTo>
                  <a:lnTo>
                    <a:pt x="795" y="832"/>
                  </a:lnTo>
                  <a:close/>
                  <a:moveTo>
                    <a:pt x="819" y="834"/>
                  </a:moveTo>
                  <a:lnTo>
                    <a:pt x="819" y="834"/>
                  </a:lnTo>
                  <a:lnTo>
                    <a:pt x="819" y="834"/>
                  </a:lnTo>
                  <a:lnTo>
                    <a:pt x="819" y="834"/>
                  </a:lnTo>
                  <a:lnTo>
                    <a:pt x="819" y="832"/>
                  </a:lnTo>
                  <a:lnTo>
                    <a:pt x="819" y="832"/>
                  </a:lnTo>
                  <a:lnTo>
                    <a:pt x="819" y="832"/>
                  </a:lnTo>
                  <a:lnTo>
                    <a:pt x="817" y="832"/>
                  </a:lnTo>
                  <a:lnTo>
                    <a:pt x="817" y="832"/>
                  </a:lnTo>
                  <a:lnTo>
                    <a:pt x="819" y="832"/>
                  </a:lnTo>
                  <a:lnTo>
                    <a:pt x="819" y="832"/>
                  </a:lnTo>
                  <a:lnTo>
                    <a:pt x="819" y="830"/>
                  </a:lnTo>
                  <a:lnTo>
                    <a:pt x="817" y="830"/>
                  </a:lnTo>
                  <a:lnTo>
                    <a:pt x="817" y="830"/>
                  </a:lnTo>
                  <a:lnTo>
                    <a:pt x="817" y="830"/>
                  </a:lnTo>
                  <a:lnTo>
                    <a:pt x="817" y="828"/>
                  </a:lnTo>
                  <a:lnTo>
                    <a:pt x="817" y="828"/>
                  </a:lnTo>
                  <a:lnTo>
                    <a:pt x="819" y="826"/>
                  </a:lnTo>
                  <a:lnTo>
                    <a:pt x="819" y="826"/>
                  </a:lnTo>
                  <a:lnTo>
                    <a:pt x="819" y="824"/>
                  </a:lnTo>
                  <a:lnTo>
                    <a:pt x="819" y="824"/>
                  </a:lnTo>
                  <a:lnTo>
                    <a:pt x="819" y="824"/>
                  </a:lnTo>
                  <a:lnTo>
                    <a:pt x="817" y="824"/>
                  </a:lnTo>
                  <a:lnTo>
                    <a:pt x="817" y="824"/>
                  </a:lnTo>
                  <a:lnTo>
                    <a:pt x="817" y="826"/>
                  </a:lnTo>
                  <a:lnTo>
                    <a:pt x="817" y="826"/>
                  </a:lnTo>
                  <a:lnTo>
                    <a:pt x="817" y="828"/>
                  </a:lnTo>
                  <a:lnTo>
                    <a:pt x="817" y="828"/>
                  </a:lnTo>
                  <a:lnTo>
                    <a:pt x="817" y="826"/>
                  </a:lnTo>
                  <a:lnTo>
                    <a:pt x="815" y="826"/>
                  </a:lnTo>
                  <a:lnTo>
                    <a:pt x="815" y="826"/>
                  </a:lnTo>
                  <a:lnTo>
                    <a:pt x="815" y="828"/>
                  </a:lnTo>
                  <a:lnTo>
                    <a:pt x="815" y="828"/>
                  </a:lnTo>
                  <a:lnTo>
                    <a:pt x="815" y="828"/>
                  </a:lnTo>
                  <a:lnTo>
                    <a:pt x="815" y="828"/>
                  </a:lnTo>
                  <a:lnTo>
                    <a:pt x="815" y="828"/>
                  </a:lnTo>
                  <a:lnTo>
                    <a:pt x="815" y="828"/>
                  </a:lnTo>
                  <a:lnTo>
                    <a:pt x="815" y="826"/>
                  </a:lnTo>
                  <a:lnTo>
                    <a:pt x="815" y="826"/>
                  </a:lnTo>
                  <a:lnTo>
                    <a:pt x="815" y="824"/>
                  </a:lnTo>
                  <a:lnTo>
                    <a:pt x="815" y="822"/>
                  </a:lnTo>
                  <a:lnTo>
                    <a:pt x="813" y="822"/>
                  </a:lnTo>
                  <a:lnTo>
                    <a:pt x="813" y="824"/>
                  </a:lnTo>
                  <a:lnTo>
                    <a:pt x="811" y="824"/>
                  </a:lnTo>
                  <a:lnTo>
                    <a:pt x="809" y="826"/>
                  </a:lnTo>
                  <a:lnTo>
                    <a:pt x="809" y="826"/>
                  </a:lnTo>
                  <a:lnTo>
                    <a:pt x="809" y="828"/>
                  </a:lnTo>
                  <a:lnTo>
                    <a:pt x="809" y="828"/>
                  </a:lnTo>
                  <a:lnTo>
                    <a:pt x="809" y="830"/>
                  </a:lnTo>
                  <a:lnTo>
                    <a:pt x="809" y="830"/>
                  </a:lnTo>
                  <a:lnTo>
                    <a:pt x="809" y="830"/>
                  </a:lnTo>
                  <a:lnTo>
                    <a:pt x="809" y="830"/>
                  </a:lnTo>
                  <a:lnTo>
                    <a:pt x="809" y="830"/>
                  </a:lnTo>
                  <a:lnTo>
                    <a:pt x="809" y="832"/>
                  </a:lnTo>
                  <a:lnTo>
                    <a:pt x="809" y="832"/>
                  </a:lnTo>
                  <a:lnTo>
                    <a:pt x="809" y="832"/>
                  </a:lnTo>
                  <a:lnTo>
                    <a:pt x="809" y="832"/>
                  </a:lnTo>
                  <a:lnTo>
                    <a:pt x="811" y="834"/>
                  </a:lnTo>
                  <a:lnTo>
                    <a:pt x="811" y="834"/>
                  </a:lnTo>
                  <a:lnTo>
                    <a:pt x="809" y="836"/>
                  </a:lnTo>
                  <a:lnTo>
                    <a:pt x="809" y="836"/>
                  </a:lnTo>
                  <a:lnTo>
                    <a:pt x="811" y="836"/>
                  </a:lnTo>
                  <a:lnTo>
                    <a:pt x="811" y="834"/>
                  </a:lnTo>
                  <a:lnTo>
                    <a:pt x="811" y="834"/>
                  </a:lnTo>
                  <a:lnTo>
                    <a:pt x="811" y="834"/>
                  </a:lnTo>
                  <a:lnTo>
                    <a:pt x="813" y="834"/>
                  </a:lnTo>
                  <a:lnTo>
                    <a:pt x="813" y="834"/>
                  </a:lnTo>
                  <a:lnTo>
                    <a:pt x="813" y="834"/>
                  </a:lnTo>
                  <a:lnTo>
                    <a:pt x="813" y="834"/>
                  </a:lnTo>
                  <a:lnTo>
                    <a:pt x="813" y="832"/>
                  </a:lnTo>
                  <a:lnTo>
                    <a:pt x="815" y="832"/>
                  </a:lnTo>
                  <a:lnTo>
                    <a:pt x="815" y="834"/>
                  </a:lnTo>
                  <a:lnTo>
                    <a:pt x="815" y="834"/>
                  </a:lnTo>
                  <a:lnTo>
                    <a:pt x="813" y="834"/>
                  </a:lnTo>
                  <a:lnTo>
                    <a:pt x="813" y="834"/>
                  </a:lnTo>
                  <a:lnTo>
                    <a:pt x="815" y="834"/>
                  </a:lnTo>
                  <a:lnTo>
                    <a:pt x="815" y="836"/>
                  </a:lnTo>
                  <a:lnTo>
                    <a:pt x="815" y="836"/>
                  </a:lnTo>
                  <a:lnTo>
                    <a:pt x="815" y="836"/>
                  </a:lnTo>
                  <a:lnTo>
                    <a:pt x="817" y="836"/>
                  </a:lnTo>
                  <a:lnTo>
                    <a:pt x="817" y="836"/>
                  </a:lnTo>
                  <a:lnTo>
                    <a:pt x="817" y="838"/>
                  </a:lnTo>
                  <a:lnTo>
                    <a:pt x="819" y="836"/>
                  </a:lnTo>
                  <a:lnTo>
                    <a:pt x="819" y="836"/>
                  </a:lnTo>
                  <a:lnTo>
                    <a:pt x="819" y="834"/>
                  </a:lnTo>
                  <a:lnTo>
                    <a:pt x="817" y="834"/>
                  </a:lnTo>
                  <a:lnTo>
                    <a:pt x="819" y="834"/>
                  </a:lnTo>
                  <a:lnTo>
                    <a:pt x="819" y="834"/>
                  </a:lnTo>
                  <a:lnTo>
                    <a:pt x="821" y="834"/>
                  </a:lnTo>
                  <a:lnTo>
                    <a:pt x="821" y="834"/>
                  </a:lnTo>
                  <a:lnTo>
                    <a:pt x="819" y="834"/>
                  </a:lnTo>
                  <a:close/>
                  <a:moveTo>
                    <a:pt x="838" y="836"/>
                  </a:moveTo>
                  <a:lnTo>
                    <a:pt x="838" y="838"/>
                  </a:lnTo>
                  <a:lnTo>
                    <a:pt x="838" y="838"/>
                  </a:lnTo>
                  <a:lnTo>
                    <a:pt x="836" y="838"/>
                  </a:lnTo>
                  <a:lnTo>
                    <a:pt x="838" y="836"/>
                  </a:lnTo>
                  <a:lnTo>
                    <a:pt x="838" y="834"/>
                  </a:lnTo>
                  <a:lnTo>
                    <a:pt x="838" y="834"/>
                  </a:lnTo>
                  <a:lnTo>
                    <a:pt x="838" y="834"/>
                  </a:lnTo>
                  <a:lnTo>
                    <a:pt x="838" y="832"/>
                  </a:lnTo>
                  <a:lnTo>
                    <a:pt x="838" y="832"/>
                  </a:lnTo>
                  <a:lnTo>
                    <a:pt x="838" y="832"/>
                  </a:lnTo>
                  <a:lnTo>
                    <a:pt x="838" y="830"/>
                  </a:lnTo>
                  <a:lnTo>
                    <a:pt x="838" y="832"/>
                  </a:lnTo>
                  <a:lnTo>
                    <a:pt x="836" y="832"/>
                  </a:lnTo>
                  <a:lnTo>
                    <a:pt x="836" y="832"/>
                  </a:lnTo>
                  <a:lnTo>
                    <a:pt x="836" y="834"/>
                  </a:lnTo>
                  <a:lnTo>
                    <a:pt x="836" y="834"/>
                  </a:lnTo>
                  <a:lnTo>
                    <a:pt x="836" y="834"/>
                  </a:lnTo>
                  <a:lnTo>
                    <a:pt x="836" y="834"/>
                  </a:lnTo>
                  <a:lnTo>
                    <a:pt x="836" y="834"/>
                  </a:lnTo>
                  <a:lnTo>
                    <a:pt x="836" y="834"/>
                  </a:lnTo>
                  <a:lnTo>
                    <a:pt x="836" y="834"/>
                  </a:lnTo>
                  <a:lnTo>
                    <a:pt x="836" y="834"/>
                  </a:lnTo>
                  <a:lnTo>
                    <a:pt x="836" y="836"/>
                  </a:lnTo>
                  <a:lnTo>
                    <a:pt x="836" y="836"/>
                  </a:lnTo>
                  <a:lnTo>
                    <a:pt x="832" y="834"/>
                  </a:lnTo>
                  <a:lnTo>
                    <a:pt x="834" y="836"/>
                  </a:lnTo>
                  <a:lnTo>
                    <a:pt x="834" y="838"/>
                  </a:lnTo>
                  <a:lnTo>
                    <a:pt x="834" y="840"/>
                  </a:lnTo>
                  <a:lnTo>
                    <a:pt x="834" y="840"/>
                  </a:lnTo>
                  <a:lnTo>
                    <a:pt x="834" y="840"/>
                  </a:lnTo>
                  <a:lnTo>
                    <a:pt x="834" y="840"/>
                  </a:lnTo>
                  <a:lnTo>
                    <a:pt x="834" y="840"/>
                  </a:lnTo>
                  <a:lnTo>
                    <a:pt x="834" y="840"/>
                  </a:lnTo>
                  <a:lnTo>
                    <a:pt x="834" y="840"/>
                  </a:lnTo>
                  <a:lnTo>
                    <a:pt x="832" y="840"/>
                  </a:lnTo>
                  <a:lnTo>
                    <a:pt x="832" y="838"/>
                  </a:lnTo>
                  <a:lnTo>
                    <a:pt x="832" y="838"/>
                  </a:lnTo>
                  <a:lnTo>
                    <a:pt x="832" y="838"/>
                  </a:lnTo>
                  <a:lnTo>
                    <a:pt x="832" y="838"/>
                  </a:lnTo>
                  <a:lnTo>
                    <a:pt x="832" y="838"/>
                  </a:lnTo>
                  <a:lnTo>
                    <a:pt x="832" y="836"/>
                  </a:lnTo>
                  <a:lnTo>
                    <a:pt x="830" y="838"/>
                  </a:lnTo>
                  <a:lnTo>
                    <a:pt x="832" y="838"/>
                  </a:lnTo>
                  <a:lnTo>
                    <a:pt x="832" y="840"/>
                  </a:lnTo>
                  <a:lnTo>
                    <a:pt x="832" y="840"/>
                  </a:lnTo>
                  <a:lnTo>
                    <a:pt x="832" y="840"/>
                  </a:lnTo>
                  <a:lnTo>
                    <a:pt x="830" y="838"/>
                  </a:lnTo>
                  <a:lnTo>
                    <a:pt x="830" y="838"/>
                  </a:lnTo>
                  <a:lnTo>
                    <a:pt x="827" y="838"/>
                  </a:lnTo>
                  <a:lnTo>
                    <a:pt x="827" y="840"/>
                  </a:lnTo>
                  <a:lnTo>
                    <a:pt x="830" y="840"/>
                  </a:lnTo>
                  <a:lnTo>
                    <a:pt x="830" y="840"/>
                  </a:lnTo>
                  <a:lnTo>
                    <a:pt x="830" y="840"/>
                  </a:lnTo>
                  <a:lnTo>
                    <a:pt x="830" y="840"/>
                  </a:lnTo>
                  <a:lnTo>
                    <a:pt x="830" y="842"/>
                  </a:lnTo>
                  <a:lnTo>
                    <a:pt x="830" y="842"/>
                  </a:lnTo>
                  <a:lnTo>
                    <a:pt x="830" y="842"/>
                  </a:lnTo>
                  <a:lnTo>
                    <a:pt x="830" y="842"/>
                  </a:lnTo>
                  <a:lnTo>
                    <a:pt x="830" y="842"/>
                  </a:lnTo>
                  <a:lnTo>
                    <a:pt x="832" y="842"/>
                  </a:lnTo>
                  <a:lnTo>
                    <a:pt x="832" y="844"/>
                  </a:lnTo>
                  <a:lnTo>
                    <a:pt x="830" y="844"/>
                  </a:lnTo>
                  <a:lnTo>
                    <a:pt x="830" y="844"/>
                  </a:lnTo>
                  <a:lnTo>
                    <a:pt x="830" y="844"/>
                  </a:lnTo>
                  <a:lnTo>
                    <a:pt x="827" y="848"/>
                  </a:lnTo>
                  <a:lnTo>
                    <a:pt x="827" y="848"/>
                  </a:lnTo>
                  <a:lnTo>
                    <a:pt x="825" y="848"/>
                  </a:lnTo>
                  <a:lnTo>
                    <a:pt x="825" y="848"/>
                  </a:lnTo>
                  <a:lnTo>
                    <a:pt x="825" y="850"/>
                  </a:lnTo>
                  <a:lnTo>
                    <a:pt x="825" y="850"/>
                  </a:lnTo>
                  <a:lnTo>
                    <a:pt x="825" y="850"/>
                  </a:lnTo>
                  <a:lnTo>
                    <a:pt x="827" y="853"/>
                  </a:lnTo>
                  <a:lnTo>
                    <a:pt x="827" y="850"/>
                  </a:lnTo>
                  <a:lnTo>
                    <a:pt x="827" y="848"/>
                  </a:lnTo>
                  <a:lnTo>
                    <a:pt x="830" y="848"/>
                  </a:lnTo>
                  <a:lnTo>
                    <a:pt x="830" y="846"/>
                  </a:lnTo>
                  <a:lnTo>
                    <a:pt x="832" y="846"/>
                  </a:lnTo>
                  <a:lnTo>
                    <a:pt x="832" y="844"/>
                  </a:lnTo>
                  <a:lnTo>
                    <a:pt x="834" y="842"/>
                  </a:lnTo>
                  <a:lnTo>
                    <a:pt x="834" y="842"/>
                  </a:lnTo>
                  <a:lnTo>
                    <a:pt x="834" y="842"/>
                  </a:lnTo>
                  <a:lnTo>
                    <a:pt x="834" y="842"/>
                  </a:lnTo>
                  <a:lnTo>
                    <a:pt x="836" y="842"/>
                  </a:lnTo>
                  <a:lnTo>
                    <a:pt x="836" y="842"/>
                  </a:lnTo>
                  <a:lnTo>
                    <a:pt x="836" y="842"/>
                  </a:lnTo>
                  <a:lnTo>
                    <a:pt x="834" y="840"/>
                  </a:lnTo>
                  <a:lnTo>
                    <a:pt x="836" y="840"/>
                  </a:lnTo>
                  <a:lnTo>
                    <a:pt x="836" y="838"/>
                  </a:lnTo>
                  <a:lnTo>
                    <a:pt x="836" y="838"/>
                  </a:lnTo>
                  <a:lnTo>
                    <a:pt x="836" y="840"/>
                  </a:lnTo>
                  <a:lnTo>
                    <a:pt x="836" y="840"/>
                  </a:lnTo>
                  <a:lnTo>
                    <a:pt x="838" y="840"/>
                  </a:lnTo>
                  <a:lnTo>
                    <a:pt x="838" y="840"/>
                  </a:lnTo>
                  <a:lnTo>
                    <a:pt x="838" y="840"/>
                  </a:lnTo>
                  <a:lnTo>
                    <a:pt x="838" y="840"/>
                  </a:lnTo>
                  <a:lnTo>
                    <a:pt x="838" y="840"/>
                  </a:lnTo>
                  <a:lnTo>
                    <a:pt x="838" y="840"/>
                  </a:lnTo>
                  <a:lnTo>
                    <a:pt x="838" y="838"/>
                  </a:lnTo>
                  <a:lnTo>
                    <a:pt x="838" y="838"/>
                  </a:lnTo>
                  <a:lnTo>
                    <a:pt x="840" y="838"/>
                  </a:lnTo>
                  <a:lnTo>
                    <a:pt x="840" y="838"/>
                  </a:lnTo>
                  <a:lnTo>
                    <a:pt x="840" y="836"/>
                  </a:lnTo>
                  <a:lnTo>
                    <a:pt x="838" y="836"/>
                  </a:lnTo>
                  <a:lnTo>
                    <a:pt x="838" y="836"/>
                  </a:lnTo>
                  <a:close/>
                  <a:moveTo>
                    <a:pt x="856" y="850"/>
                  </a:moveTo>
                  <a:lnTo>
                    <a:pt x="856" y="850"/>
                  </a:lnTo>
                  <a:lnTo>
                    <a:pt x="854" y="850"/>
                  </a:lnTo>
                  <a:lnTo>
                    <a:pt x="854" y="850"/>
                  </a:lnTo>
                  <a:lnTo>
                    <a:pt x="854" y="850"/>
                  </a:lnTo>
                  <a:lnTo>
                    <a:pt x="854" y="850"/>
                  </a:lnTo>
                  <a:lnTo>
                    <a:pt x="854" y="850"/>
                  </a:lnTo>
                  <a:lnTo>
                    <a:pt x="854" y="850"/>
                  </a:lnTo>
                  <a:lnTo>
                    <a:pt x="852" y="850"/>
                  </a:lnTo>
                  <a:lnTo>
                    <a:pt x="854" y="850"/>
                  </a:lnTo>
                  <a:lnTo>
                    <a:pt x="854" y="850"/>
                  </a:lnTo>
                  <a:lnTo>
                    <a:pt x="854" y="850"/>
                  </a:lnTo>
                  <a:lnTo>
                    <a:pt x="854" y="853"/>
                  </a:lnTo>
                  <a:lnTo>
                    <a:pt x="854" y="853"/>
                  </a:lnTo>
                  <a:lnTo>
                    <a:pt x="854" y="853"/>
                  </a:lnTo>
                  <a:lnTo>
                    <a:pt x="854" y="855"/>
                  </a:lnTo>
                  <a:lnTo>
                    <a:pt x="856" y="853"/>
                  </a:lnTo>
                  <a:lnTo>
                    <a:pt x="856" y="853"/>
                  </a:lnTo>
                  <a:lnTo>
                    <a:pt x="856" y="853"/>
                  </a:lnTo>
                  <a:lnTo>
                    <a:pt x="856" y="850"/>
                  </a:lnTo>
                  <a:lnTo>
                    <a:pt x="856" y="850"/>
                  </a:lnTo>
                  <a:close/>
                  <a:moveTo>
                    <a:pt x="858" y="805"/>
                  </a:moveTo>
                  <a:lnTo>
                    <a:pt x="856" y="805"/>
                  </a:lnTo>
                  <a:lnTo>
                    <a:pt x="856" y="805"/>
                  </a:lnTo>
                  <a:lnTo>
                    <a:pt x="856" y="807"/>
                  </a:lnTo>
                  <a:lnTo>
                    <a:pt x="856" y="807"/>
                  </a:lnTo>
                  <a:lnTo>
                    <a:pt x="856" y="807"/>
                  </a:lnTo>
                  <a:lnTo>
                    <a:pt x="856" y="807"/>
                  </a:lnTo>
                  <a:lnTo>
                    <a:pt x="858" y="807"/>
                  </a:lnTo>
                  <a:lnTo>
                    <a:pt x="858" y="807"/>
                  </a:lnTo>
                  <a:lnTo>
                    <a:pt x="858" y="807"/>
                  </a:lnTo>
                  <a:lnTo>
                    <a:pt x="858" y="805"/>
                  </a:lnTo>
                  <a:lnTo>
                    <a:pt x="858" y="805"/>
                  </a:lnTo>
                  <a:close/>
                  <a:moveTo>
                    <a:pt x="875" y="803"/>
                  </a:moveTo>
                  <a:lnTo>
                    <a:pt x="875" y="803"/>
                  </a:lnTo>
                  <a:lnTo>
                    <a:pt x="875" y="803"/>
                  </a:lnTo>
                  <a:lnTo>
                    <a:pt x="873" y="803"/>
                  </a:lnTo>
                  <a:lnTo>
                    <a:pt x="873" y="803"/>
                  </a:lnTo>
                  <a:lnTo>
                    <a:pt x="873" y="801"/>
                  </a:lnTo>
                  <a:lnTo>
                    <a:pt x="870" y="801"/>
                  </a:lnTo>
                  <a:lnTo>
                    <a:pt x="870" y="803"/>
                  </a:lnTo>
                  <a:lnTo>
                    <a:pt x="870" y="803"/>
                  </a:lnTo>
                  <a:lnTo>
                    <a:pt x="868" y="805"/>
                  </a:lnTo>
                  <a:lnTo>
                    <a:pt x="868" y="805"/>
                  </a:lnTo>
                  <a:lnTo>
                    <a:pt x="868" y="805"/>
                  </a:lnTo>
                  <a:lnTo>
                    <a:pt x="870" y="807"/>
                  </a:lnTo>
                  <a:lnTo>
                    <a:pt x="870" y="807"/>
                  </a:lnTo>
                  <a:lnTo>
                    <a:pt x="870" y="805"/>
                  </a:lnTo>
                  <a:lnTo>
                    <a:pt x="870" y="805"/>
                  </a:lnTo>
                  <a:lnTo>
                    <a:pt x="870" y="805"/>
                  </a:lnTo>
                  <a:lnTo>
                    <a:pt x="870" y="805"/>
                  </a:lnTo>
                  <a:lnTo>
                    <a:pt x="870" y="805"/>
                  </a:lnTo>
                  <a:lnTo>
                    <a:pt x="870" y="803"/>
                  </a:lnTo>
                  <a:lnTo>
                    <a:pt x="873" y="803"/>
                  </a:lnTo>
                  <a:lnTo>
                    <a:pt x="875" y="805"/>
                  </a:lnTo>
                  <a:lnTo>
                    <a:pt x="875" y="805"/>
                  </a:lnTo>
                  <a:lnTo>
                    <a:pt x="875" y="803"/>
                  </a:lnTo>
                  <a:close/>
                  <a:moveTo>
                    <a:pt x="852" y="846"/>
                  </a:moveTo>
                  <a:lnTo>
                    <a:pt x="852" y="846"/>
                  </a:lnTo>
                  <a:lnTo>
                    <a:pt x="852" y="846"/>
                  </a:lnTo>
                  <a:lnTo>
                    <a:pt x="852" y="846"/>
                  </a:lnTo>
                  <a:lnTo>
                    <a:pt x="852" y="846"/>
                  </a:lnTo>
                  <a:lnTo>
                    <a:pt x="852" y="846"/>
                  </a:lnTo>
                  <a:lnTo>
                    <a:pt x="852" y="844"/>
                  </a:lnTo>
                  <a:lnTo>
                    <a:pt x="852" y="846"/>
                  </a:lnTo>
                  <a:lnTo>
                    <a:pt x="852" y="844"/>
                  </a:lnTo>
                  <a:lnTo>
                    <a:pt x="852" y="844"/>
                  </a:lnTo>
                  <a:lnTo>
                    <a:pt x="854" y="844"/>
                  </a:lnTo>
                  <a:lnTo>
                    <a:pt x="852" y="844"/>
                  </a:lnTo>
                  <a:lnTo>
                    <a:pt x="852" y="844"/>
                  </a:lnTo>
                  <a:lnTo>
                    <a:pt x="850" y="844"/>
                  </a:lnTo>
                  <a:lnTo>
                    <a:pt x="850" y="844"/>
                  </a:lnTo>
                  <a:lnTo>
                    <a:pt x="850" y="844"/>
                  </a:lnTo>
                  <a:lnTo>
                    <a:pt x="850" y="844"/>
                  </a:lnTo>
                  <a:lnTo>
                    <a:pt x="850" y="844"/>
                  </a:lnTo>
                  <a:lnTo>
                    <a:pt x="848" y="846"/>
                  </a:lnTo>
                  <a:lnTo>
                    <a:pt x="850" y="846"/>
                  </a:lnTo>
                  <a:lnTo>
                    <a:pt x="850" y="846"/>
                  </a:lnTo>
                  <a:lnTo>
                    <a:pt x="850" y="848"/>
                  </a:lnTo>
                  <a:lnTo>
                    <a:pt x="850" y="848"/>
                  </a:lnTo>
                  <a:lnTo>
                    <a:pt x="850" y="848"/>
                  </a:lnTo>
                  <a:lnTo>
                    <a:pt x="850" y="848"/>
                  </a:lnTo>
                  <a:lnTo>
                    <a:pt x="850" y="848"/>
                  </a:lnTo>
                  <a:lnTo>
                    <a:pt x="850" y="848"/>
                  </a:lnTo>
                  <a:lnTo>
                    <a:pt x="850" y="848"/>
                  </a:lnTo>
                  <a:lnTo>
                    <a:pt x="850" y="848"/>
                  </a:lnTo>
                  <a:lnTo>
                    <a:pt x="850" y="850"/>
                  </a:lnTo>
                  <a:lnTo>
                    <a:pt x="850" y="850"/>
                  </a:lnTo>
                  <a:lnTo>
                    <a:pt x="852" y="850"/>
                  </a:lnTo>
                  <a:lnTo>
                    <a:pt x="852" y="848"/>
                  </a:lnTo>
                  <a:lnTo>
                    <a:pt x="852" y="846"/>
                  </a:lnTo>
                  <a:close/>
                  <a:moveTo>
                    <a:pt x="846" y="857"/>
                  </a:moveTo>
                  <a:lnTo>
                    <a:pt x="846" y="857"/>
                  </a:lnTo>
                  <a:lnTo>
                    <a:pt x="846" y="857"/>
                  </a:lnTo>
                  <a:lnTo>
                    <a:pt x="846" y="857"/>
                  </a:lnTo>
                  <a:lnTo>
                    <a:pt x="846" y="857"/>
                  </a:lnTo>
                  <a:lnTo>
                    <a:pt x="846" y="857"/>
                  </a:lnTo>
                  <a:lnTo>
                    <a:pt x="844" y="857"/>
                  </a:lnTo>
                  <a:lnTo>
                    <a:pt x="844" y="857"/>
                  </a:lnTo>
                  <a:lnTo>
                    <a:pt x="844" y="857"/>
                  </a:lnTo>
                  <a:lnTo>
                    <a:pt x="844" y="857"/>
                  </a:lnTo>
                  <a:lnTo>
                    <a:pt x="844" y="859"/>
                  </a:lnTo>
                  <a:lnTo>
                    <a:pt x="844" y="859"/>
                  </a:lnTo>
                  <a:lnTo>
                    <a:pt x="844" y="859"/>
                  </a:lnTo>
                  <a:lnTo>
                    <a:pt x="844" y="859"/>
                  </a:lnTo>
                  <a:lnTo>
                    <a:pt x="846" y="859"/>
                  </a:lnTo>
                  <a:lnTo>
                    <a:pt x="846" y="859"/>
                  </a:lnTo>
                  <a:lnTo>
                    <a:pt x="846" y="859"/>
                  </a:lnTo>
                  <a:lnTo>
                    <a:pt x="846" y="859"/>
                  </a:lnTo>
                  <a:lnTo>
                    <a:pt x="848" y="859"/>
                  </a:lnTo>
                  <a:lnTo>
                    <a:pt x="848" y="859"/>
                  </a:lnTo>
                  <a:lnTo>
                    <a:pt x="846" y="857"/>
                  </a:lnTo>
                  <a:close/>
                  <a:moveTo>
                    <a:pt x="705" y="301"/>
                  </a:moveTo>
                  <a:lnTo>
                    <a:pt x="705" y="301"/>
                  </a:lnTo>
                  <a:lnTo>
                    <a:pt x="705" y="301"/>
                  </a:lnTo>
                  <a:lnTo>
                    <a:pt x="705" y="301"/>
                  </a:lnTo>
                  <a:lnTo>
                    <a:pt x="705" y="299"/>
                  </a:lnTo>
                  <a:lnTo>
                    <a:pt x="705" y="301"/>
                  </a:lnTo>
                  <a:lnTo>
                    <a:pt x="705" y="301"/>
                  </a:lnTo>
                  <a:lnTo>
                    <a:pt x="705" y="301"/>
                  </a:lnTo>
                  <a:lnTo>
                    <a:pt x="705" y="301"/>
                  </a:lnTo>
                  <a:close/>
                  <a:moveTo>
                    <a:pt x="848" y="842"/>
                  </a:moveTo>
                  <a:lnTo>
                    <a:pt x="848" y="842"/>
                  </a:lnTo>
                  <a:lnTo>
                    <a:pt x="848" y="840"/>
                  </a:lnTo>
                  <a:lnTo>
                    <a:pt x="848" y="838"/>
                  </a:lnTo>
                  <a:lnTo>
                    <a:pt x="848" y="838"/>
                  </a:lnTo>
                  <a:lnTo>
                    <a:pt x="848" y="838"/>
                  </a:lnTo>
                  <a:lnTo>
                    <a:pt x="848" y="838"/>
                  </a:lnTo>
                  <a:lnTo>
                    <a:pt x="848" y="838"/>
                  </a:lnTo>
                  <a:lnTo>
                    <a:pt x="848" y="836"/>
                  </a:lnTo>
                  <a:lnTo>
                    <a:pt x="848" y="836"/>
                  </a:lnTo>
                  <a:lnTo>
                    <a:pt x="848" y="836"/>
                  </a:lnTo>
                  <a:lnTo>
                    <a:pt x="848" y="836"/>
                  </a:lnTo>
                  <a:lnTo>
                    <a:pt x="848" y="834"/>
                  </a:lnTo>
                  <a:lnTo>
                    <a:pt x="848" y="834"/>
                  </a:lnTo>
                  <a:lnTo>
                    <a:pt x="848" y="834"/>
                  </a:lnTo>
                  <a:lnTo>
                    <a:pt x="848" y="834"/>
                  </a:lnTo>
                  <a:lnTo>
                    <a:pt x="848" y="834"/>
                  </a:lnTo>
                  <a:lnTo>
                    <a:pt x="848" y="836"/>
                  </a:lnTo>
                  <a:lnTo>
                    <a:pt x="848" y="836"/>
                  </a:lnTo>
                  <a:lnTo>
                    <a:pt x="848" y="836"/>
                  </a:lnTo>
                  <a:lnTo>
                    <a:pt x="848" y="836"/>
                  </a:lnTo>
                  <a:lnTo>
                    <a:pt x="846" y="836"/>
                  </a:lnTo>
                  <a:lnTo>
                    <a:pt x="846" y="836"/>
                  </a:lnTo>
                  <a:lnTo>
                    <a:pt x="846" y="838"/>
                  </a:lnTo>
                  <a:lnTo>
                    <a:pt x="846" y="838"/>
                  </a:lnTo>
                  <a:lnTo>
                    <a:pt x="846" y="838"/>
                  </a:lnTo>
                  <a:lnTo>
                    <a:pt x="848" y="838"/>
                  </a:lnTo>
                  <a:lnTo>
                    <a:pt x="848" y="838"/>
                  </a:lnTo>
                  <a:lnTo>
                    <a:pt x="848" y="840"/>
                  </a:lnTo>
                  <a:lnTo>
                    <a:pt x="846" y="840"/>
                  </a:lnTo>
                  <a:lnTo>
                    <a:pt x="846" y="840"/>
                  </a:lnTo>
                  <a:lnTo>
                    <a:pt x="846" y="840"/>
                  </a:lnTo>
                  <a:lnTo>
                    <a:pt x="846" y="840"/>
                  </a:lnTo>
                  <a:lnTo>
                    <a:pt x="846" y="840"/>
                  </a:lnTo>
                  <a:lnTo>
                    <a:pt x="844" y="840"/>
                  </a:lnTo>
                  <a:lnTo>
                    <a:pt x="844" y="840"/>
                  </a:lnTo>
                  <a:lnTo>
                    <a:pt x="844" y="840"/>
                  </a:lnTo>
                  <a:lnTo>
                    <a:pt x="846" y="840"/>
                  </a:lnTo>
                  <a:lnTo>
                    <a:pt x="846" y="840"/>
                  </a:lnTo>
                  <a:lnTo>
                    <a:pt x="846" y="842"/>
                  </a:lnTo>
                  <a:lnTo>
                    <a:pt x="846" y="842"/>
                  </a:lnTo>
                  <a:lnTo>
                    <a:pt x="846" y="842"/>
                  </a:lnTo>
                  <a:lnTo>
                    <a:pt x="846" y="842"/>
                  </a:lnTo>
                  <a:lnTo>
                    <a:pt x="846" y="842"/>
                  </a:lnTo>
                  <a:lnTo>
                    <a:pt x="846" y="842"/>
                  </a:lnTo>
                  <a:lnTo>
                    <a:pt x="844" y="842"/>
                  </a:lnTo>
                  <a:lnTo>
                    <a:pt x="844" y="842"/>
                  </a:lnTo>
                  <a:lnTo>
                    <a:pt x="844" y="842"/>
                  </a:lnTo>
                  <a:lnTo>
                    <a:pt x="844" y="844"/>
                  </a:lnTo>
                  <a:lnTo>
                    <a:pt x="844" y="844"/>
                  </a:lnTo>
                  <a:lnTo>
                    <a:pt x="844" y="844"/>
                  </a:lnTo>
                  <a:lnTo>
                    <a:pt x="844" y="844"/>
                  </a:lnTo>
                  <a:lnTo>
                    <a:pt x="844" y="844"/>
                  </a:lnTo>
                  <a:lnTo>
                    <a:pt x="846" y="844"/>
                  </a:lnTo>
                  <a:lnTo>
                    <a:pt x="846" y="844"/>
                  </a:lnTo>
                  <a:lnTo>
                    <a:pt x="846" y="844"/>
                  </a:lnTo>
                  <a:lnTo>
                    <a:pt x="846" y="844"/>
                  </a:lnTo>
                  <a:lnTo>
                    <a:pt x="846" y="842"/>
                  </a:lnTo>
                  <a:lnTo>
                    <a:pt x="846" y="842"/>
                  </a:lnTo>
                  <a:lnTo>
                    <a:pt x="846" y="842"/>
                  </a:lnTo>
                  <a:lnTo>
                    <a:pt x="846" y="842"/>
                  </a:lnTo>
                  <a:lnTo>
                    <a:pt x="848" y="842"/>
                  </a:lnTo>
                  <a:lnTo>
                    <a:pt x="848" y="844"/>
                  </a:lnTo>
                  <a:lnTo>
                    <a:pt x="848" y="844"/>
                  </a:lnTo>
                  <a:lnTo>
                    <a:pt x="848" y="844"/>
                  </a:lnTo>
                  <a:lnTo>
                    <a:pt x="848" y="844"/>
                  </a:lnTo>
                  <a:lnTo>
                    <a:pt x="848" y="844"/>
                  </a:lnTo>
                  <a:lnTo>
                    <a:pt x="848" y="844"/>
                  </a:lnTo>
                  <a:lnTo>
                    <a:pt x="848" y="842"/>
                  </a:lnTo>
                  <a:close/>
                  <a:moveTo>
                    <a:pt x="754" y="867"/>
                  </a:moveTo>
                  <a:lnTo>
                    <a:pt x="754" y="865"/>
                  </a:lnTo>
                  <a:lnTo>
                    <a:pt x="754" y="865"/>
                  </a:lnTo>
                  <a:lnTo>
                    <a:pt x="754" y="865"/>
                  </a:lnTo>
                  <a:lnTo>
                    <a:pt x="754" y="865"/>
                  </a:lnTo>
                  <a:lnTo>
                    <a:pt x="752" y="865"/>
                  </a:lnTo>
                  <a:lnTo>
                    <a:pt x="752" y="865"/>
                  </a:lnTo>
                  <a:lnTo>
                    <a:pt x="752" y="865"/>
                  </a:lnTo>
                  <a:lnTo>
                    <a:pt x="752" y="865"/>
                  </a:lnTo>
                  <a:lnTo>
                    <a:pt x="750" y="865"/>
                  </a:lnTo>
                  <a:lnTo>
                    <a:pt x="750" y="863"/>
                  </a:lnTo>
                  <a:lnTo>
                    <a:pt x="748" y="863"/>
                  </a:lnTo>
                  <a:lnTo>
                    <a:pt x="748" y="863"/>
                  </a:lnTo>
                  <a:lnTo>
                    <a:pt x="746" y="863"/>
                  </a:lnTo>
                  <a:lnTo>
                    <a:pt x="746" y="863"/>
                  </a:lnTo>
                  <a:lnTo>
                    <a:pt x="746" y="863"/>
                  </a:lnTo>
                  <a:lnTo>
                    <a:pt x="746" y="863"/>
                  </a:lnTo>
                  <a:lnTo>
                    <a:pt x="746" y="865"/>
                  </a:lnTo>
                  <a:lnTo>
                    <a:pt x="746" y="865"/>
                  </a:lnTo>
                  <a:lnTo>
                    <a:pt x="746" y="867"/>
                  </a:lnTo>
                  <a:lnTo>
                    <a:pt x="748" y="867"/>
                  </a:lnTo>
                  <a:lnTo>
                    <a:pt x="748" y="867"/>
                  </a:lnTo>
                  <a:lnTo>
                    <a:pt x="748" y="867"/>
                  </a:lnTo>
                  <a:lnTo>
                    <a:pt x="750" y="869"/>
                  </a:lnTo>
                  <a:lnTo>
                    <a:pt x="750" y="869"/>
                  </a:lnTo>
                  <a:lnTo>
                    <a:pt x="752" y="869"/>
                  </a:lnTo>
                  <a:lnTo>
                    <a:pt x="752" y="869"/>
                  </a:lnTo>
                  <a:lnTo>
                    <a:pt x="752" y="869"/>
                  </a:lnTo>
                  <a:lnTo>
                    <a:pt x="752" y="869"/>
                  </a:lnTo>
                  <a:lnTo>
                    <a:pt x="752" y="869"/>
                  </a:lnTo>
                  <a:lnTo>
                    <a:pt x="752" y="869"/>
                  </a:lnTo>
                  <a:lnTo>
                    <a:pt x="750" y="869"/>
                  </a:lnTo>
                  <a:lnTo>
                    <a:pt x="754" y="869"/>
                  </a:lnTo>
                  <a:lnTo>
                    <a:pt x="754" y="869"/>
                  </a:lnTo>
                  <a:lnTo>
                    <a:pt x="754" y="869"/>
                  </a:lnTo>
                  <a:lnTo>
                    <a:pt x="754" y="867"/>
                  </a:lnTo>
                  <a:lnTo>
                    <a:pt x="754" y="867"/>
                  </a:lnTo>
                  <a:lnTo>
                    <a:pt x="754" y="867"/>
                  </a:lnTo>
                  <a:close/>
                  <a:moveTo>
                    <a:pt x="733" y="830"/>
                  </a:moveTo>
                  <a:lnTo>
                    <a:pt x="733" y="830"/>
                  </a:lnTo>
                  <a:lnTo>
                    <a:pt x="733" y="830"/>
                  </a:lnTo>
                  <a:lnTo>
                    <a:pt x="731" y="830"/>
                  </a:lnTo>
                  <a:lnTo>
                    <a:pt x="731" y="830"/>
                  </a:lnTo>
                  <a:lnTo>
                    <a:pt x="731" y="830"/>
                  </a:lnTo>
                  <a:lnTo>
                    <a:pt x="733" y="830"/>
                  </a:lnTo>
                  <a:lnTo>
                    <a:pt x="733" y="830"/>
                  </a:lnTo>
                  <a:lnTo>
                    <a:pt x="733" y="830"/>
                  </a:lnTo>
                  <a:lnTo>
                    <a:pt x="733" y="830"/>
                  </a:lnTo>
                  <a:lnTo>
                    <a:pt x="733" y="830"/>
                  </a:lnTo>
                  <a:lnTo>
                    <a:pt x="733" y="830"/>
                  </a:lnTo>
                  <a:lnTo>
                    <a:pt x="733" y="830"/>
                  </a:lnTo>
                  <a:lnTo>
                    <a:pt x="731" y="830"/>
                  </a:lnTo>
                  <a:lnTo>
                    <a:pt x="731" y="830"/>
                  </a:lnTo>
                  <a:lnTo>
                    <a:pt x="733" y="830"/>
                  </a:lnTo>
                  <a:close/>
                  <a:moveTo>
                    <a:pt x="586" y="865"/>
                  </a:moveTo>
                  <a:lnTo>
                    <a:pt x="584" y="863"/>
                  </a:lnTo>
                  <a:lnTo>
                    <a:pt x="584" y="863"/>
                  </a:lnTo>
                  <a:lnTo>
                    <a:pt x="584" y="865"/>
                  </a:lnTo>
                  <a:lnTo>
                    <a:pt x="586" y="865"/>
                  </a:lnTo>
                  <a:close/>
                  <a:moveTo>
                    <a:pt x="758" y="869"/>
                  </a:moveTo>
                  <a:lnTo>
                    <a:pt x="758" y="869"/>
                  </a:lnTo>
                  <a:lnTo>
                    <a:pt x="758" y="869"/>
                  </a:lnTo>
                  <a:lnTo>
                    <a:pt x="758" y="869"/>
                  </a:lnTo>
                  <a:lnTo>
                    <a:pt x="756" y="867"/>
                  </a:lnTo>
                  <a:lnTo>
                    <a:pt x="756" y="867"/>
                  </a:lnTo>
                  <a:lnTo>
                    <a:pt x="756" y="867"/>
                  </a:lnTo>
                  <a:lnTo>
                    <a:pt x="756" y="867"/>
                  </a:lnTo>
                  <a:lnTo>
                    <a:pt x="756" y="869"/>
                  </a:lnTo>
                  <a:lnTo>
                    <a:pt x="756" y="869"/>
                  </a:lnTo>
                  <a:lnTo>
                    <a:pt x="756" y="869"/>
                  </a:lnTo>
                  <a:lnTo>
                    <a:pt x="758" y="871"/>
                  </a:lnTo>
                  <a:lnTo>
                    <a:pt x="758" y="871"/>
                  </a:lnTo>
                  <a:lnTo>
                    <a:pt x="760" y="869"/>
                  </a:lnTo>
                  <a:lnTo>
                    <a:pt x="760" y="869"/>
                  </a:lnTo>
                  <a:lnTo>
                    <a:pt x="758" y="869"/>
                  </a:lnTo>
                  <a:lnTo>
                    <a:pt x="758" y="869"/>
                  </a:lnTo>
                  <a:close/>
                  <a:moveTo>
                    <a:pt x="684" y="867"/>
                  </a:moveTo>
                  <a:lnTo>
                    <a:pt x="684" y="867"/>
                  </a:lnTo>
                  <a:lnTo>
                    <a:pt x="682" y="869"/>
                  </a:lnTo>
                  <a:lnTo>
                    <a:pt x="682" y="869"/>
                  </a:lnTo>
                  <a:lnTo>
                    <a:pt x="682" y="869"/>
                  </a:lnTo>
                  <a:lnTo>
                    <a:pt x="684" y="869"/>
                  </a:lnTo>
                  <a:lnTo>
                    <a:pt x="686" y="869"/>
                  </a:lnTo>
                  <a:lnTo>
                    <a:pt x="686" y="869"/>
                  </a:lnTo>
                  <a:lnTo>
                    <a:pt x="686" y="867"/>
                  </a:lnTo>
                  <a:lnTo>
                    <a:pt x="684" y="867"/>
                  </a:lnTo>
                  <a:close/>
                  <a:moveTo>
                    <a:pt x="739" y="853"/>
                  </a:moveTo>
                  <a:lnTo>
                    <a:pt x="739" y="850"/>
                  </a:lnTo>
                  <a:lnTo>
                    <a:pt x="739" y="850"/>
                  </a:lnTo>
                  <a:lnTo>
                    <a:pt x="739" y="850"/>
                  </a:lnTo>
                  <a:lnTo>
                    <a:pt x="739" y="850"/>
                  </a:lnTo>
                  <a:lnTo>
                    <a:pt x="739" y="850"/>
                  </a:lnTo>
                  <a:lnTo>
                    <a:pt x="739" y="848"/>
                  </a:lnTo>
                  <a:lnTo>
                    <a:pt x="739" y="846"/>
                  </a:lnTo>
                  <a:lnTo>
                    <a:pt x="737" y="846"/>
                  </a:lnTo>
                  <a:lnTo>
                    <a:pt x="737" y="846"/>
                  </a:lnTo>
                  <a:lnTo>
                    <a:pt x="737" y="846"/>
                  </a:lnTo>
                  <a:lnTo>
                    <a:pt x="737" y="846"/>
                  </a:lnTo>
                  <a:lnTo>
                    <a:pt x="737" y="846"/>
                  </a:lnTo>
                  <a:lnTo>
                    <a:pt x="737" y="846"/>
                  </a:lnTo>
                  <a:lnTo>
                    <a:pt x="735" y="846"/>
                  </a:lnTo>
                  <a:lnTo>
                    <a:pt x="735" y="846"/>
                  </a:lnTo>
                  <a:lnTo>
                    <a:pt x="733" y="846"/>
                  </a:lnTo>
                  <a:lnTo>
                    <a:pt x="733" y="846"/>
                  </a:lnTo>
                  <a:lnTo>
                    <a:pt x="733" y="846"/>
                  </a:lnTo>
                  <a:lnTo>
                    <a:pt x="731" y="844"/>
                  </a:lnTo>
                  <a:lnTo>
                    <a:pt x="731" y="842"/>
                  </a:lnTo>
                  <a:lnTo>
                    <a:pt x="731" y="840"/>
                  </a:lnTo>
                  <a:lnTo>
                    <a:pt x="731" y="838"/>
                  </a:lnTo>
                  <a:lnTo>
                    <a:pt x="731" y="836"/>
                  </a:lnTo>
                  <a:lnTo>
                    <a:pt x="731" y="836"/>
                  </a:lnTo>
                  <a:lnTo>
                    <a:pt x="731" y="836"/>
                  </a:lnTo>
                  <a:lnTo>
                    <a:pt x="729" y="834"/>
                  </a:lnTo>
                  <a:lnTo>
                    <a:pt x="729" y="834"/>
                  </a:lnTo>
                  <a:lnTo>
                    <a:pt x="729" y="832"/>
                  </a:lnTo>
                  <a:lnTo>
                    <a:pt x="729" y="832"/>
                  </a:lnTo>
                  <a:lnTo>
                    <a:pt x="729" y="832"/>
                  </a:lnTo>
                  <a:lnTo>
                    <a:pt x="729" y="832"/>
                  </a:lnTo>
                  <a:lnTo>
                    <a:pt x="729" y="832"/>
                  </a:lnTo>
                  <a:lnTo>
                    <a:pt x="729" y="832"/>
                  </a:lnTo>
                  <a:lnTo>
                    <a:pt x="727" y="830"/>
                  </a:lnTo>
                  <a:lnTo>
                    <a:pt x="725" y="830"/>
                  </a:lnTo>
                  <a:lnTo>
                    <a:pt x="723" y="830"/>
                  </a:lnTo>
                  <a:lnTo>
                    <a:pt x="721" y="830"/>
                  </a:lnTo>
                  <a:lnTo>
                    <a:pt x="721" y="830"/>
                  </a:lnTo>
                  <a:lnTo>
                    <a:pt x="721" y="830"/>
                  </a:lnTo>
                  <a:lnTo>
                    <a:pt x="717" y="830"/>
                  </a:lnTo>
                  <a:lnTo>
                    <a:pt x="717" y="830"/>
                  </a:lnTo>
                  <a:lnTo>
                    <a:pt x="715" y="832"/>
                  </a:lnTo>
                  <a:lnTo>
                    <a:pt x="715" y="832"/>
                  </a:lnTo>
                  <a:lnTo>
                    <a:pt x="713" y="832"/>
                  </a:lnTo>
                  <a:lnTo>
                    <a:pt x="711" y="832"/>
                  </a:lnTo>
                  <a:lnTo>
                    <a:pt x="711" y="832"/>
                  </a:lnTo>
                  <a:lnTo>
                    <a:pt x="709" y="834"/>
                  </a:lnTo>
                  <a:lnTo>
                    <a:pt x="707" y="834"/>
                  </a:lnTo>
                  <a:lnTo>
                    <a:pt x="709" y="834"/>
                  </a:lnTo>
                  <a:lnTo>
                    <a:pt x="709" y="836"/>
                  </a:lnTo>
                  <a:lnTo>
                    <a:pt x="707" y="836"/>
                  </a:lnTo>
                  <a:lnTo>
                    <a:pt x="705" y="836"/>
                  </a:lnTo>
                  <a:lnTo>
                    <a:pt x="705" y="834"/>
                  </a:lnTo>
                  <a:lnTo>
                    <a:pt x="703" y="834"/>
                  </a:lnTo>
                  <a:lnTo>
                    <a:pt x="703" y="834"/>
                  </a:lnTo>
                  <a:lnTo>
                    <a:pt x="700" y="832"/>
                  </a:lnTo>
                  <a:lnTo>
                    <a:pt x="700" y="834"/>
                  </a:lnTo>
                  <a:lnTo>
                    <a:pt x="698" y="834"/>
                  </a:lnTo>
                  <a:lnTo>
                    <a:pt x="698" y="834"/>
                  </a:lnTo>
                  <a:lnTo>
                    <a:pt x="696" y="836"/>
                  </a:lnTo>
                  <a:lnTo>
                    <a:pt x="696" y="836"/>
                  </a:lnTo>
                  <a:lnTo>
                    <a:pt x="692" y="844"/>
                  </a:lnTo>
                  <a:lnTo>
                    <a:pt x="690" y="846"/>
                  </a:lnTo>
                  <a:lnTo>
                    <a:pt x="688" y="846"/>
                  </a:lnTo>
                  <a:lnTo>
                    <a:pt x="686" y="846"/>
                  </a:lnTo>
                  <a:lnTo>
                    <a:pt x="684" y="846"/>
                  </a:lnTo>
                  <a:lnTo>
                    <a:pt x="684" y="848"/>
                  </a:lnTo>
                  <a:lnTo>
                    <a:pt x="682" y="848"/>
                  </a:lnTo>
                  <a:lnTo>
                    <a:pt x="684" y="850"/>
                  </a:lnTo>
                  <a:lnTo>
                    <a:pt x="684" y="850"/>
                  </a:lnTo>
                  <a:lnTo>
                    <a:pt x="684" y="850"/>
                  </a:lnTo>
                  <a:lnTo>
                    <a:pt x="684" y="853"/>
                  </a:lnTo>
                  <a:lnTo>
                    <a:pt x="684" y="853"/>
                  </a:lnTo>
                  <a:lnTo>
                    <a:pt x="684" y="853"/>
                  </a:lnTo>
                  <a:lnTo>
                    <a:pt x="684" y="855"/>
                  </a:lnTo>
                  <a:lnTo>
                    <a:pt x="684" y="855"/>
                  </a:lnTo>
                  <a:lnTo>
                    <a:pt x="684" y="855"/>
                  </a:lnTo>
                  <a:lnTo>
                    <a:pt x="684" y="857"/>
                  </a:lnTo>
                  <a:lnTo>
                    <a:pt x="686" y="857"/>
                  </a:lnTo>
                  <a:lnTo>
                    <a:pt x="686" y="859"/>
                  </a:lnTo>
                  <a:lnTo>
                    <a:pt x="690" y="859"/>
                  </a:lnTo>
                  <a:lnTo>
                    <a:pt x="690" y="859"/>
                  </a:lnTo>
                  <a:lnTo>
                    <a:pt x="692" y="859"/>
                  </a:lnTo>
                  <a:lnTo>
                    <a:pt x="692" y="859"/>
                  </a:lnTo>
                  <a:lnTo>
                    <a:pt x="694" y="859"/>
                  </a:lnTo>
                  <a:lnTo>
                    <a:pt x="696" y="859"/>
                  </a:lnTo>
                  <a:lnTo>
                    <a:pt x="698" y="859"/>
                  </a:lnTo>
                  <a:lnTo>
                    <a:pt x="700" y="857"/>
                  </a:lnTo>
                  <a:lnTo>
                    <a:pt x="700" y="857"/>
                  </a:lnTo>
                  <a:lnTo>
                    <a:pt x="700" y="855"/>
                  </a:lnTo>
                  <a:lnTo>
                    <a:pt x="700" y="855"/>
                  </a:lnTo>
                  <a:lnTo>
                    <a:pt x="700" y="855"/>
                  </a:lnTo>
                  <a:lnTo>
                    <a:pt x="700" y="855"/>
                  </a:lnTo>
                  <a:lnTo>
                    <a:pt x="700" y="855"/>
                  </a:lnTo>
                  <a:lnTo>
                    <a:pt x="705" y="850"/>
                  </a:lnTo>
                  <a:lnTo>
                    <a:pt x="707" y="850"/>
                  </a:lnTo>
                  <a:lnTo>
                    <a:pt x="709" y="850"/>
                  </a:lnTo>
                  <a:lnTo>
                    <a:pt x="719" y="850"/>
                  </a:lnTo>
                  <a:lnTo>
                    <a:pt x="721" y="853"/>
                  </a:lnTo>
                  <a:lnTo>
                    <a:pt x="723" y="853"/>
                  </a:lnTo>
                  <a:lnTo>
                    <a:pt x="725" y="853"/>
                  </a:lnTo>
                  <a:lnTo>
                    <a:pt x="727" y="853"/>
                  </a:lnTo>
                  <a:lnTo>
                    <a:pt x="727" y="850"/>
                  </a:lnTo>
                  <a:lnTo>
                    <a:pt x="729" y="850"/>
                  </a:lnTo>
                  <a:lnTo>
                    <a:pt x="729" y="850"/>
                  </a:lnTo>
                  <a:lnTo>
                    <a:pt x="729" y="850"/>
                  </a:lnTo>
                  <a:lnTo>
                    <a:pt x="729" y="848"/>
                  </a:lnTo>
                  <a:lnTo>
                    <a:pt x="729" y="846"/>
                  </a:lnTo>
                  <a:lnTo>
                    <a:pt x="729" y="846"/>
                  </a:lnTo>
                  <a:lnTo>
                    <a:pt x="731" y="846"/>
                  </a:lnTo>
                  <a:lnTo>
                    <a:pt x="731" y="846"/>
                  </a:lnTo>
                  <a:lnTo>
                    <a:pt x="733" y="846"/>
                  </a:lnTo>
                  <a:lnTo>
                    <a:pt x="733" y="848"/>
                  </a:lnTo>
                  <a:lnTo>
                    <a:pt x="733" y="848"/>
                  </a:lnTo>
                  <a:lnTo>
                    <a:pt x="733" y="848"/>
                  </a:lnTo>
                  <a:lnTo>
                    <a:pt x="735" y="850"/>
                  </a:lnTo>
                  <a:lnTo>
                    <a:pt x="735" y="850"/>
                  </a:lnTo>
                  <a:lnTo>
                    <a:pt x="735" y="850"/>
                  </a:lnTo>
                  <a:lnTo>
                    <a:pt x="735" y="850"/>
                  </a:lnTo>
                  <a:lnTo>
                    <a:pt x="735" y="850"/>
                  </a:lnTo>
                  <a:lnTo>
                    <a:pt x="737" y="850"/>
                  </a:lnTo>
                  <a:lnTo>
                    <a:pt x="737" y="850"/>
                  </a:lnTo>
                  <a:lnTo>
                    <a:pt x="737" y="850"/>
                  </a:lnTo>
                  <a:lnTo>
                    <a:pt x="737" y="850"/>
                  </a:lnTo>
                  <a:lnTo>
                    <a:pt x="739" y="850"/>
                  </a:lnTo>
                  <a:lnTo>
                    <a:pt x="739" y="850"/>
                  </a:lnTo>
                  <a:lnTo>
                    <a:pt x="737" y="853"/>
                  </a:lnTo>
                  <a:lnTo>
                    <a:pt x="737" y="853"/>
                  </a:lnTo>
                  <a:lnTo>
                    <a:pt x="737" y="853"/>
                  </a:lnTo>
                  <a:lnTo>
                    <a:pt x="739" y="853"/>
                  </a:lnTo>
                  <a:lnTo>
                    <a:pt x="741" y="853"/>
                  </a:lnTo>
                  <a:lnTo>
                    <a:pt x="741" y="853"/>
                  </a:lnTo>
                  <a:lnTo>
                    <a:pt x="739" y="853"/>
                  </a:lnTo>
                  <a:close/>
                  <a:moveTo>
                    <a:pt x="748" y="840"/>
                  </a:moveTo>
                  <a:lnTo>
                    <a:pt x="748" y="840"/>
                  </a:lnTo>
                  <a:lnTo>
                    <a:pt x="748" y="840"/>
                  </a:lnTo>
                  <a:lnTo>
                    <a:pt x="748" y="842"/>
                  </a:lnTo>
                  <a:lnTo>
                    <a:pt x="748" y="842"/>
                  </a:lnTo>
                  <a:lnTo>
                    <a:pt x="748" y="840"/>
                  </a:lnTo>
                  <a:close/>
                  <a:moveTo>
                    <a:pt x="782" y="832"/>
                  </a:moveTo>
                  <a:lnTo>
                    <a:pt x="782" y="832"/>
                  </a:lnTo>
                  <a:lnTo>
                    <a:pt x="782" y="832"/>
                  </a:lnTo>
                  <a:lnTo>
                    <a:pt x="782" y="832"/>
                  </a:lnTo>
                  <a:lnTo>
                    <a:pt x="782" y="832"/>
                  </a:lnTo>
                  <a:lnTo>
                    <a:pt x="782" y="832"/>
                  </a:lnTo>
                  <a:lnTo>
                    <a:pt x="780" y="832"/>
                  </a:lnTo>
                  <a:lnTo>
                    <a:pt x="778" y="832"/>
                  </a:lnTo>
                  <a:lnTo>
                    <a:pt x="778" y="832"/>
                  </a:lnTo>
                  <a:lnTo>
                    <a:pt x="778" y="832"/>
                  </a:lnTo>
                  <a:lnTo>
                    <a:pt x="778" y="832"/>
                  </a:lnTo>
                  <a:lnTo>
                    <a:pt x="778" y="832"/>
                  </a:lnTo>
                  <a:lnTo>
                    <a:pt x="778" y="832"/>
                  </a:lnTo>
                  <a:lnTo>
                    <a:pt x="778" y="832"/>
                  </a:lnTo>
                  <a:lnTo>
                    <a:pt x="778" y="834"/>
                  </a:lnTo>
                  <a:lnTo>
                    <a:pt x="780" y="834"/>
                  </a:lnTo>
                  <a:lnTo>
                    <a:pt x="780" y="834"/>
                  </a:lnTo>
                  <a:lnTo>
                    <a:pt x="780" y="834"/>
                  </a:lnTo>
                  <a:lnTo>
                    <a:pt x="780" y="832"/>
                  </a:lnTo>
                  <a:lnTo>
                    <a:pt x="780" y="832"/>
                  </a:lnTo>
                  <a:lnTo>
                    <a:pt x="780" y="832"/>
                  </a:lnTo>
                  <a:lnTo>
                    <a:pt x="782" y="834"/>
                  </a:lnTo>
                  <a:lnTo>
                    <a:pt x="782" y="834"/>
                  </a:lnTo>
                  <a:lnTo>
                    <a:pt x="780" y="834"/>
                  </a:lnTo>
                  <a:lnTo>
                    <a:pt x="780" y="836"/>
                  </a:lnTo>
                  <a:lnTo>
                    <a:pt x="780" y="836"/>
                  </a:lnTo>
                  <a:lnTo>
                    <a:pt x="780" y="836"/>
                  </a:lnTo>
                  <a:lnTo>
                    <a:pt x="780" y="836"/>
                  </a:lnTo>
                  <a:lnTo>
                    <a:pt x="782" y="838"/>
                  </a:lnTo>
                  <a:lnTo>
                    <a:pt x="782" y="836"/>
                  </a:lnTo>
                  <a:lnTo>
                    <a:pt x="782" y="836"/>
                  </a:lnTo>
                  <a:lnTo>
                    <a:pt x="782" y="836"/>
                  </a:lnTo>
                  <a:lnTo>
                    <a:pt x="784" y="836"/>
                  </a:lnTo>
                  <a:lnTo>
                    <a:pt x="784" y="836"/>
                  </a:lnTo>
                  <a:lnTo>
                    <a:pt x="784" y="834"/>
                  </a:lnTo>
                  <a:lnTo>
                    <a:pt x="784" y="834"/>
                  </a:lnTo>
                  <a:lnTo>
                    <a:pt x="784" y="834"/>
                  </a:lnTo>
                  <a:lnTo>
                    <a:pt x="782" y="832"/>
                  </a:lnTo>
                  <a:close/>
                  <a:moveTo>
                    <a:pt x="778" y="840"/>
                  </a:moveTo>
                  <a:lnTo>
                    <a:pt x="776" y="838"/>
                  </a:lnTo>
                  <a:lnTo>
                    <a:pt x="776" y="838"/>
                  </a:lnTo>
                  <a:lnTo>
                    <a:pt x="776" y="838"/>
                  </a:lnTo>
                  <a:lnTo>
                    <a:pt x="776" y="838"/>
                  </a:lnTo>
                  <a:lnTo>
                    <a:pt x="778" y="840"/>
                  </a:lnTo>
                  <a:lnTo>
                    <a:pt x="778" y="840"/>
                  </a:lnTo>
                  <a:lnTo>
                    <a:pt x="778" y="840"/>
                  </a:lnTo>
                  <a:lnTo>
                    <a:pt x="778" y="840"/>
                  </a:lnTo>
                  <a:lnTo>
                    <a:pt x="778" y="840"/>
                  </a:lnTo>
                  <a:close/>
                  <a:moveTo>
                    <a:pt x="762" y="857"/>
                  </a:moveTo>
                  <a:lnTo>
                    <a:pt x="762" y="857"/>
                  </a:lnTo>
                  <a:lnTo>
                    <a:pt x="760" y="857"/>
                  </a:lnTo>
                  <a:lnTo>
                    <a:pt x="760" y="857"/>
                  </a:lnTo>
                  <a:lnTo>
                    <a:pt x="762" y="857"/>
                  </a:lnTo>
                  <a:lnTo>
                    <a:pt x="760" y="857"/>
                  </a:lnTo>
                  <a:lnTo>
                    <a:pt x="760" y="857"/>
                  </a:lnTo>
                  <a:lnTo>
                    <a:pt x="760" y="857"/>
                  </a:lnTo>
                  <a:lnTo>
                    <a:pt x="760" y="857"/>
                  </a:lnTo>
                  <a:lnTo>
                    <a:pt x="760" y="857"/>
                  </a:lnTo>
                  <a:lnTo>
                    <a:pt x="760" y="857"/>
                  </a:lnTo>
                  <a:lnTo>
                    <a:pt x="760" y="857"/>
                  </a:lnTo>
                  <a:lnTo>
                    <a:pt x="760" y="857"/>
                  </a:lnTo>
                  <a:lnTo>
                    <a:pt x="760" y="857"/>
                  </a:lnTo>
                  <a:lnTo>
                    <a:pt x="762" y="857"/>
                  </a:lnTo>
                  <a:lnTo>
                    <a:pt x="762" y="857"/>
                  </a:lnTo>
                  <a:lnTo>
                    <a:pt x="762" y="857"/>
                  </a:lnTo>
                  <a:lnTo>
                    <a:pt x="762" y="857"/>
                  </a:lnTo>
                  <a:lnTo>
                    <a:pt x="762" y="857"/>
                  </a:lnTo>
                  <a:lnTo>
                    <a:pt x="762" y="857"/>
                  </a:lnTo>
                  <a:close/>
                  <a:moveTo>
                    <a:pt x="776" y="836"/>
                  </a:moveTo>
                  <a:lnTo>
                    <a:pt x="776" y="836"/>
                  </a:lnTo>
                  <a:lnTo>
                    <a:pt x="776" y="836"/>
                  </a:lnTo>
                  <a:lnTo>
                    <a:pt x="776" y="836"/>
                  </a:lnTo>
                  <a:lnTo>
                    <a:pt x="776" y="838"/>
                  </a:lnTo>
                  <a:lnTo>
                    <a:pt x="776" y="838"/>
                  </a:lnTo>
                  <a:lnTo>
                    <a:pt x="776" y="836"/>
                  </a:lnTo>
                  <a:lnTo>
                    <a:pt x="776" y="836"/>
                  </a:lnTo>
                  <a:lnTo>
                    <a:pt x="776" y="836"/>
                  </a:lnTo>
                  <a:close/>
                  <a:moveTo>
                    <a:pt x="766" y="838"/>
                  </a:moveTo>
                  <a:lnTo>
                    <a:pt x="764" y="838"/>
                  </a:lnTo>
                  <a:lnTo>
                    <a:pt x="764" y="840"/>
                  </a:lnTo>
                  <a:lnTo>
                    <a:pt x="762" y="840"/>
                  </a:lnTo>
                  <a:lnTo>
                    <a:pt x="762" y="840"/>
                  </a:lnTo>
                  <a:lnTo>
                    <a:pt x="760" y="842"/>
                  </a:lnTo>
                  <a:lnTo>
                    <a:pt x="760" y="842"/>
                  </a:lnTo>
                  <a:lnTo>
                    <a:pt x="760" y="842"/>
                  </a:lnTo>
                  <a:lnTo>
                    <a:pt x="762" y="844"/>
                  </a:lnTo>
                  <a:lnTo>
                    <a:pt x="762" y="846"/>
                  </a:lnTo>
                  <a:lnTo>
                    <a:pt x="762" y="846"/>
                  </a:lnTo>
                  <a:lnTo>
                    <a:pt x="764" y="846"/>
                  </a:lnTo>
                  <a:lnTo>
                    <a:pt x="764" y="846"/>
                  </a:lnTo>
                  <a:lnTo>
                    <a:pt x="766" y="844"/>
                  </a:lnTo>
                  <a:lnTo>
                    <a:pt x="766" y="842"/>
                  </a:lnTo>
                  <a:lnTo>
                    <a:pt x="766" y="842"/>
                  </a:lnTo>
                  <a:lnTo>
                    <a:pt x="766" y="842"/>
                  </a:lnTo>
                  <a:lnTo>
                    <a:pt x="766" y="840"/>
                  </a:lnTo>
                  <a:lnTo>
                    <a:pt x="766" y="840"/>
                  </a:lnTo>
                  <a:lnTo>
                    <a:pt x="766" y="838"/>
                  </a:lnTo>
                  <a:close/>
                  <a:moveTo>
                    <a:pt x="27" y="738"/>
                  </a:moveTo>
                  <a:lnTo>
                    <a:pt x="23" y="738"/>
                  </a:lnTo>
                  <a:lnTo>
                    <a:pt x="23" y="738"/>
                  </a:lnTo>
                  <a:lnTo>
                    <a:pt x="23" y="738"/>
                  </a:lnTo>
                  <a:lnTo>
                    <a:pt x="23" y="738"/>
                  </a:lnTo>
                  <a:lnTo>
                    <a:pt x="21" y="738"/>
                  </a:lnTo>
                  <a:lnTo>
                    <a:pt x="21" y="738"/>
                  </a:lnTo>
                  <a:lnTo>
                    <a:pt x="21" y="738"/>
                  </a:lnTo>
                  <a:lnTo>
                    <a:pt x="21" y="738"/>
                  </a:lnTo>
                  <a:lnTo>
                    <a:pt x="21" y="738"/>
                  </a:lnTo>
                  <a:lnTo>
                    <a:pt x="18" y="738"/>
                  </a:lnTo>
                  <a:lnTo>
                    <a:pt x="18" y="738"/>
                  </a:lnTo>
                  <a:lnTo>
                    <a:pt x="18" y="738"/>
                  </a:lnTo>
                  <a:lnTo>
                    <a:pt x="16" y="738"/>
                  </a:lnTo>
                  <a:lnTo>
                    <a:pt x="16" y="738"/>
                  </a:lnTo>
                  <a:lnTo>
                    <a:pt x="16" y="738"/>
                  </a:lnTo>
                  <a:lnTo>
                    <a:pt x="16" y="738"/>
                  </a:lnTo>
                  <a:lnTo>
                    <a:pt x="14" y="738"/>
                  </a:lnTo>
                  <a:lnTo>
                    <a:pt x="14" y="738"/>
                  </a:lnTo>
                  <a:lnTo>
                    <a:pt x="14" y="738"/>
                  </a:lnTo>
                  <a:lnTo>
                    <a:pt x="14" y="738"/>
                  </a:lnTo>
                  <a:lnTo>
                    <a:pt x="16" y="740"/>
                  </a:lnTo>
                  <a:lnTo>
                    <a:pt x="18" y="742"/>
                  </a:lnTo>
                  <a:lnTo>
                    <a:pt x="21" y="742"/>
                  </a:lnTo>
                  <a:lnTo>
                    <a:pt x="21" y="742"/>
                  </a:lnTo>
                  <a:lnTo>
                    <a:pt x="21" y="744"/>
                  </a:lnTo>
                  <a:lnTo>
                    <a:pt x="21" y="744"/>
                  </a:lnTo>
                  <a:lnTo>
                    <a:pt x="21" y="744"/>
                  </a:lnTo>
                  <a:lnTo>
                    <a:pt x="21" y="744"/>
                  </a:lnTo>
                  <a:lnTo>
                    <a:pt x="21" y="744"/>
                  </a:lnTo>
                  <a:lnTo>
                    <a:pt x="21" y="744"/>
                  </a:lnTo>
                  <a:lnTo>
                    <a:pt x="21" y="744"/>
                  </a:lnTo>
                  <a:lnTo>
                    <a:pt x="21" y="744"/>
                  </a:lnTo>
                  <a:lnTo>
                    <a:pt x="21" y="744"/>
                  </a:lnTo>
                  <a:lnTo>
                    <a:pt x="23" y="746"/>
                  </a:lnTo>
                  <a:lnTo>
                    <a:pt x="23" y="744"/>
                  </a:lnTo>
                  <a:lnTo>
                    <a:pt x="23" y="744"/>
                  </a:lnTo>
                  <a:lnTo>
                    <a:pt x="23" y="742"/>
                  </a:lnTo>
                  <a:lnTo>
                    <a:pt x="23" y="742"/>
                  </a:lnTo>
                  <a:lnTo>
                    <a:pt x="25" y="740"/>
                  </a:lnTo>
                  <a:lnTo>
                    <a:pt x="25" y="740"/>
                  </a:lnTo>
                  <a:lnTo>
                    <a:pt x="27" y="740"/>
                  </a:lnTo>
                  <a:lnTo>
                    <a:pt x="27" y="740"/>
                  </a:lnTo>
                  <a:lnTo>
                    <a:pt x="27" y="738"/>
                  </a:lnTo>
                  <a:close/>
                  <a:moveTo>
                    <a:pt x="231" y="883"/>
                  </a:moveTo>
                  <a:lnTo>
                    <a:pt x="231" y="883"/>
                  </a:lnTo>
                  <a:lnTo>
                    <a:pt x="231" y="883"/>
                  </a:lnTo>
                  <a:lnTo>
                    <a:pt x="229" y="883"/>
                  </a:lnTo>
                  <a:lnTo>
                    <a:pt x="229" y="883"/>
                  </a:lnTo>
                  <a:lnTo>
                    <a:pt x="231" y="883"/>
                  </a:lnTo>
                  <a:lnTo>
                    <a:pt x="231" y="883"/>
                  </a:lnTo>
                  <a:lnTo>
                    <a:pt x="231" y="885"/>
                  </a:lnTo>
                  <a:lnTo>
                    <a:pt x="231" y="885"/>
                  </a:lnTo>
                  <a:lnTo>
                    <a:pt x="231" y="883"/>
                  </a:lnTo>
                  <a:lnTo>
                    <a:pt x="231" y="883"/>
                  </a:lnTo>
                  <a:lnTo>
                    <a:pt x="231" y="883"/>
                  </a:lnTo>
                  <a:close/>
                  <a:moveTo>
                    <a:pt x="315" y="898"/>
                  </a:moveTo>
                  <a:lnTo>
                    <a:pt x="315" y="898"/>
                  </a:lnTo>
                  <a:lnTo>
                    <a:pt x="315" y="900"/>
                  </a:lnTo>
                  <a:lnTo>
                    <a:pt x="313" y="898"/>
                  </a:lnTo>
                  <a:lnTo>
                    <a:pt x="313" y="898"/>
                  </a:lnTo>
                  <a:lnTo>
                    <a:pt x="315" y="898"/>
                  </a:lnTo>
                  <a:lnTo>
                    <a:pt x="315" y="898"/>
                  </a:lnTo>
                  <a:lnTo>
                    <a:pt x="315" y="898"/>
                  </a:lnTo>
                  <a:lnTo>
                    <a:pt x="315" y="898"/>
                  </a:lnTo>
                  <a:lnTo>
                    <a:pt x="315" y="898"/>
                  </a:lnTo>
                  <a:lnTo>
                    <a:pt x="313" y="898"/>
                  </a:lnTo>
                  <a:lnTo>
                    <a:pt x="313" y="898"/>
                  </a:lnTo>
                  <a:lnTo>
                    <a:pt x="311" y="898"/>
                  </a:lnTo>
                  <a:lnTo>
                    <a:pt x="311" y="898"/>
                  </a:lnTo>
                  <a:lnTo>
                    <a:pt x="315" y="900"/>
                  </a:lnTo>
                  <a:lnTo>
                    <a:pt x="315" y="900"/>
                  </a:lnTo>
                  <a:lnTo>
                    <a:pt x="315" y="900"/>
                  </a:lnTo>
                  <a:lnTo>
                    <a:pt x="315" y="900"/>
                  </a:lnTo>
                  <a:lnTo>
                    <a:pt x="315" y="900"/>
                  </a:lnTo>
                  <a:lnTo>
                    <a:pt x="315" y="898"/>
                  </a:lnTo>
                  <a:lnTo>
                    <a:pt x="315" y="898"/>
                  </a:lnTo>
                  <a:close/>
                  <a:moveTo>
                    <a:pt x="238" y="894"/>
                  </a:moveTo>
                  <a:lnTo>
                    <a:pt x="238" y="894"/>
                  </a:lnTo>
                  <a:lnTo>
                    <a:pt x="238" y="894"/>
                  </a:lnTo>
                  <a:lnTo>
                    <a:pt x="238" y="894"/>
                  </a:lnTo>
                  <a:lnTo>
                    <a:pt x="238" y="894"/>
                  </a:lnTo>
                  <a:lnTo>
                    <a:pt x="238" y="894"/>
                  </a:lnTo>
                  <a:close/>
                  <a:moveTo>
                    <a:pt x="225" y="883"/>
                  </a:moveTo>
                  <a:lnTo>
                    <a:pt x="223" y="883"/>
                  </a:lnTo>
                  <a:lnTo>
                    <a:pt x="223" y="883"/>
                  </a:lnTo>
                  <a:lnTo>
                    <a:pt x="223" y="883"/>
                  </a:lnTo>
                  <a:lnTo>
                    <a:pt x="223" y="881"/>
                  </a:lnTo>
                  <a:lnTo>
                    <a:pt x="223" y="881"/>
                  </a:lnTo>
                  <a:lnTo>
                    <a:pt x="223" y="881"/>
                  </a:lnTo>
                  <a:lnTo>
                    <a:pt x="223" y="881"/>
                  </a:lnTo>
                  <a:lnTo>
                    <a:pt x="223" y="881"/>
                  </a:lnTo>
                  <a:lnTo>
                    <a:pt x="223" y="883"/>
                  </a:lnTo>
                  <a:lnTo>
                    <a:pt x="223" y="883"/>
                  </a:lnTo>
                  <a:lnTo>
                    <a:pt x="223" y="883"/>
                  </a:lnTo>
                  <a:lnTo>
                    <a:pt x="223" y="883"/>
                  </a:lnTo>
                  <a:lnTo>
                    <a:pt x="223" y="883"/>
                  </a:lnTo>
                  <a:lnTo>
                    <a:pt x="225" y="883"/>
                  </a:lnTo>
                  <a:lnTo>
                    <a:pt x="225" y="885"/>
                  </a:lnTo>
                  <a:lnTo>
                    <a:pt x="225" y="883"/>
                  </a:lnTo>
                  <a:lnTo>
                    <a:pt x="225" y="883"/>
                  </a:lnTo>
                  <a:lnTo>
                    <a:pt x="225" y="883"/>
                  </a:lnTo>
                  <a:close/>
                  <a:moveTo>
                    <a:pt x="229" y="883"/>
                  </a:moveTo>
                  <a:lnTo>
                    <a:pt x="229" y="883"/>
                  </a:lnTo>
                  <a:lnTo>
                    <a:pt x="229" y="881"/>
                  </a:lnTo>
                  <a:lnTo>
                    <a:pt x="229" y="881"/>
                  </a:lnTo>
                  <a:lnTo>
                    <a:pt x="227" y="881"/>
                  </a:lnTo>
                  <a:lnTo>
                    <a:pt x="227" y="881"/>
                  </a:lnTo>
                  <a:lnTo>
                    <a:pt x="227" y="883"/>
                  </a:lnTo>
                  <a:lnTo>
                    <a:pt x="227" y="883"/>
                  </a:lnTo>
                  <a:lnTo>
                    <a:pt x="227" y="883"/>
                  </a:lnTo>
                  <a:lnTo>
                    <a:pt x="227" y="883"/>
                  </a:lnTo>
                  <a:lnTo>
                    <a:pt x="229" y="883"/>
                  </a:lnTo>
                  <a:lnTo>
                    <a:pt x="229" y="883"/>
                  </a:lnTo>
                  <a:lnTo>
                    <a:pt x="229" y="883"/>
                  </a:lnTo>
                  <a:lnTo>
                    <a:pt x="229" y="883"/>
                  </a:lnTo>
                  <a:lnTo>
                    <a:pt x="229" y="883"/>
                  </a:lnTo>
                  <a:lnTo>
                    <a:pt x="229" y="883"/>
                  </a:lnTo>
                  <a:lnTo>
                    <a:pt x="229" y="883"/>
                  </a:lnTo>
                  <a:close/>
                  <a:moveTo>
                    <a:pt x="260" y="883"/>
                  </a:moveTo>
                  <a:lnTo>
                    <a:pt x="260" y="883"/>
                  </a:lnTo>
                  <a:lnTo>
                    <a:pt x="262" y="883"/>
                  </a:lnTo>
                  <a:lnTo>
                    <a:pt x="262" y="883"/>
                  </a:lnTo>
                  <a:lnTo>
                    <a:pt x="264" y="883"/>
                  </a:lnTo>
                  <a:lnTo>
                    <a:pt x="264" y="883"/>
                  </a:lnTo>
                  <a:lnTo>
                    <a:pt x="264" y="883"/>
                  </a:lnTo>
                  <a:lnTo>
                    <a:pt x="264" y="883"/>
                  </a:lnTo>
                  <a:lnTo>
                    <a:pt x="262" y="881"/>
                  </a:lnTo>
                  <a:lnTo>
                    <a:pt x="258" y="881"/>
                  </a:lnTo>
                  <a:lnTo>
                    <a:pt x="258" y="879"/>
                  </a:lnTo>
                  <a:lnTo>
                    <a:pt x="256" y="879"/>
                  </a:lnTo>
                  <a:lnTo>
                    <a:pt x="258" y="879"/>
                  </a:lnTo>
                  <a:lnTo>
                    <a:pt x="258" y="877"/>
                  </a:lnTo>
                  <a:lnTo>
                    <a:pt x="258" y="877"/>
                  </a:lnTo>
                  <a:lnTo>
                    <a:pt x="256" y="877"/>
                  </a:lnTo>
                  <a:lnTo>
                    <a:pt x="256" y="875"/>
                  </a:lnTo>
                  <a:lnTo>
                    <a:pt x="256" y="875"/>
                  </a:lnTo>
                  <a:lnTo>
                    <a:pt x="250" y="873"/>
                  </a:lnTo>
                  <a:lnTo>
                    <a:pt x="250" y="873"/>
                  </a:lnTo>
                  <a:lnTo>
                    <a:pt x="248" y="875"/>
                  </a:lnTo>
                  <a:lnTo>
                    <a:pt x="248" y="875"/>
                  </a:lnTo>
                  <a:lnTo>
                    <a:pt x="250" y="879"/>
                  </a:lnTo>
                  <a:lnTo>
                    <a:pt x="250" y="879"/>
                  </a:lnTo>
                  <a:lnTo>
                    <a:pt x="250" y="881"/>
                  </a:lnTo>
                  <a:lnTo>
                    <a:pt x="252" y="881"/>
                  </a:lnTo>
                  <a:lnTo>
                    <a:pt x="252" y="881"/>
                  </a:lnTo>
                  <a:lnTo>
                    <a:pt x="254" y="883"/>
                  </a:lnTo>
                  <a:lnTo>
                    <a:pt x="252" y="883"/>
                  </a:lnTo>
                  <a:lnTo>
                    <a:pt x="252" y="885"/>
                  </a:lnTo>
                  <a:lnTo>
                    <a:pt x="252" y="885"/>
                  </a:lnTo>
                  <a:lnTo>
                    <a:pt x="252" y="885"/>
                  </a:lnTo>
                  <a:lnTo>
                    <a:pt x="250" y="885"/>
                  </a:lnTo>
                  <a:lnTo>
                    <a:pt x="250" y="885"/>
                  </a:lnTo>
                  <a:lnTo>
                    <a:pt x="250" y="885"/>
                  </a:lnTo>
                  <a:lnTo>
                    <a:pt x="248" y="885"/>
                  </a:lnTo>
                  <a:lnTo>
                    <a:pt x="248" y="885"/>
                  </a:lnTo>
                  <a:lnTo>
                    <a:pt x="248" y="885"/>
                  </a:lnTo>
                  <a:lnTo>
                    <a:pt x="248" y="887"/>
                  </a:lnTo>
                  <a:lnTo>
                    <a:pt x="248" y="887"/>
                  </a:lnTo>
                  <a:lnTo>
                    <a:pt x="248" y="887"/>
                  </a:lnTo>
                  <a:lnTo>
                    <a:pt x="250" y="887"/>
                  </a:lnTo>
                  <a:lnTo>
                    <a:pt x="250" y="889"/>
                  </a:lnTo>
                  <a:lnTo>
                    <a:pt x="250" y="889"/>
                  </a:lnTo>
                  <a:lnTo>
                    <a:pt x="250" y="889"/>
                  </a:lnTo>
                  <a:lnTo>
                    <a:pt x="250" y="891"/>
                  </a:lnTo>
                  <a:lnTo>
                    <a:pt x="250" y="891"/>
                  </a:lnTo>
                  <a:lnTo>
                    <a:pt x="250" y="891"/>
                  </a:lnTo>
                  <a:lnTo>
                    <a:pt x="252" y="891"/>
                  </a:lnTo>
                  <a:lnTo>
                    <a:pt x="252" y="891"/>
                  </a:lnTo>
                  <a:lnTo>
                    <a:pt x="252" y="891"/>
                  </a:lnTo>
                  <a:lnTo>
                    <a:pt x="252" y="889"/>
                  </a:lnTo>
                  <a:lnTo>
                    <a:pt x="252" y="889"/>
                  </a:lnTo>
                  <a:lnTo>
                    <a:pt x="252" y="889"/>
                  </a:lnTo>
                  <a:lnTo>
                    <a:pt x="252" y="887"/>
                  </a:lnTo>
                  <a:lnTo>
                    <a:pt x="252" y="887"/>
                  </a:lnTo>
                  <a:lnTo>
                    <a:pt x="254" y="887"/>
                  </a:lnTo>
                  <a:lnTo>
                    <a:pt x="254" y="887"/>
                  </a:lnTo>
                  <a:lnTo>
                    <a:pt x="254" y="887"/>
                  </a:lnTo>
                  <a:lnTo>
                    <a:pt x="254" y="887"/>
                  </a:lnTo>
                  <a:lnTo>
                    <a:pt x="254" y="889"/>
                  </a:lnTo>
                  <a:lnTo>
                    <a:pt x="256" y="889"/>
                  </a:lnTo>
                  <a:lnTo>
                    <a:pt x="256" y="887"/>
                  </a:lnTo>
                  <a:lnTo>
                    <a:pt x="256" y="887"/>
                  </a:lnTo>
                  <a:lnTo>
                    <a:pt x="256" y="887"/>
                  </a:lnTo>
                  <a:lnTo>
                    <a:pt x="258" y="885"/>
                  </a:lnTo>
                  <a:lnTo>
                    <a:pt x="258" y="885"/>
                  </a:lnTo>
                  <a:lnTo>
                    <a:pt x="258" y="885"/>
                  </a:lnTo>
                  <a:lnTo>
                    <a:pt x="258" y="885"/>
                  </a:lnTo>
                  <a:lnTo>
                    <a:pt x="258" y="883"/>
                  </a:lnTo>
                  <a:lnTo>
                    <a:pt x="258" y="883"/>
                  </a:lnTo>
                  <a:lnTo>
                    <a:pt x="258" y="883"/>
                  </a:lnTo>
                  <a:lnTo>
                    <a:pt x="260" y="883"/>
                  </a:lnTo>
                  <a:close/>
                  <a:moveTo>
                    <a:pt x="270" y="883"/>
                  </a:moveTo>
                  <a:lnTo>
                    <a:pt x="270" y="883"/>
                  </a:lnTo>
                  <a:lnTo>
                    <a:pt x="272" y="883"/>
                  </a:lnTo>
                  <a:lnTo>
                    <a:pt x="272" y="883"/>
                  </a:lnTo>
                  <a:lnTo>
                    <a:pt x="272" y="881"/>
                  </a:lnTo>
                  <a:lnTo>
                    <a:pt x="272" y="881"/>
                  </a:lnTo>
                  <a:lnTo>
                    <a:pt x="272" y="881"/>
                  </a:lnTo>
                  <a:lnTo>
                    <a:pt x="270" y="881"/>
                  </a:lnTo>
                  <a:lnTo>
                    <a:pt x="270" y="881"/>
                  </a:lnTo>
                  <a:lnTo>
                    <a:pt x="270" y="881"/>
                  </a:lnTo>
                  <a:lnTo>
                    <a:pt x="270" y="881"/>
                  </a:lnTo>
                  <a:lnTo>
                    <a:pt x="270" y="883"/>
                  </a:lnTo>
                  <a:lnTo>
                    <a:pt x="270" y="883"/>
                  </a:lnTo>
                  <a:close/>
                  <a:moveTo>
                    <a:pt x="303" y="898"/>
                  </a:moveTo>
                  <a:lnTo>
                    <a:pt x="305" y="898"/>
                  </a:lnTo>
                  <a:lnTo>
                    <a:pt x="305" y="898"/>
                  </a:lnTo>
                  <a:lnTo>
                    <a:pt x="305" y="898"/>
                  </a:lnTo>
                  <a:lnTo>
                    <a:pt x="305" y="896"/>
                  </a:lnTo>
                  <a:lnTo>
                    <a:pt x="303" y="896"/>
                  </a:lnTo>
                  <a:lnTo>
                    <a:pt x="303" y="896"/>
                  </a:lnTo>
                  <a:lnTo>
                    <a:pt x="301" y="896"/>
                  </a:lnTo>
                  <a:lnTo>
                    <a:pt x="301" y="898"/>
                  </a:lnTo>
                  <a:lnTo>
                    <a:pt x="301" y="898"/>
                  </a:lnTo>
                  <a:lnTo>
                    <a:pt x="301" y="898"/>
                  </a:lnTo>
                  <a:lnTo>
                    <a:pt x="301" y="898"/>
                  </a:lnTo>
                  <a:lnTo>
                    <a:pt x="301" y="898"/>
                  </a:lnTo>
                  <a:lnTo>
                    <a:pt x="301" y="900"/>
                  </a:lnTo>
                  <a:lnTo>
                    <a:pt x="301" y="902"/>
                  </a:lnTo>
                  <a:lnTo>
                    <a:pt x="301" y="902"/>
                  </a:lnTo>
                  <a:lnTo>
                    <a:pt x="301" y="902"/>
                  </a:lnTo>
                  <a:lnTo>
                    <a:pt x="301" y="902"/>
                  </a:lnTo>
                  <a:lnTo>
                    <a:pt x="301" y="902"/>
                  </a:lnTo>
                  <a:lnTo>
                    <a:pt x="301" y="902"/>
                  </a:lnTo>
                  <a:lnTo>
                    <a:pt x="301" y="902"/>
                  </a:lnTo>
                  <a:lnTo>
                    <a:pt x="303" y="902"/>
                  </a:lnTo>
                  <a:lnTo>
                    <a:pt x="303" y="902"/>
                  </a:lnTo>
                  <a:lnTo>
                    <a:pt x="303" y="902"/>
                  </a:lnTo>
                  <a:lnTo>
                    <a:pt x="303" y="902"/>
                  </a:lnTo>
                  <a:lnTo>
                    <a:pt x="303" y="902"/>
                  </a:lnTo>
                  <a:lnTo>
                    <a:pt x="303" y="902"/>
                  </a:lnTo>
                  <a:lnTo>
                    <a:pt x="305" y="902"/>
                  </a:lnTo>
                  <a:lnTo>
                    <a:pt x="305" y="902"/>
                  </a:lnTo>
                  <a:lnTo>
                    <a:pt x="305" y="902"/>
                  </a:lnTo>
                  <a:lnTo>
                    <a:pt x="305" y="902"/>
                  </a:lnTo>
                  <a:lnTo>
                    <a:pt x="305" y="900"/>
                  </a:lnTo>
                  <a:lnTo>
                    <a:pt x="305" y="900"/>
                  </a:lnTo>
                  <a:lnTo>
                    <a:pt x="305" y="900"/>
                  </a:lnTo>
                  <a:lnTo>
                    <a:pt x="305" y="900"/>
                  </a:lnTo>
                  <a:lnTo>
                    <a:pt x="305" y="900"/>
                  </a:lnTo>
                  <a:lnTo>
                    <a:pt x="305" y="900"/>
                  </a:lnTo>
                  <a:lnTo>
                    <a:pt x="305" y="898"/>
                  </a:lnTo>
                  <a:lnTo>
                    <a:pt x="305" y="898"/>
                  </a:lnTo>
                  <a:lnTo>
                    <a:pt x="303" y="900"/>
                  </a:lnTo>
                  <a:lnTo>
                    <a:pt x="303" y="898"/>
                  </a:lnTo>
                  <a:lnTo>
                    <a:pt x="303" y="898"/>
                  </a:lnTo>
                  <a:lnTo>
                    <a:pt x="303" y="898"/>
                  </a:lnTo>
                  <a:lnTo>
                    <a:pt x="303" y="898"/>
                  </a:lnTo>
                  <a:lnTo>
                    <a:pt x="303" y="898"/>
                  </a:lnTo>
                  <a:lnTo>
                    <a:pt x="303" y="898"/>
                  </a:lnTo>
                  <a:lnTo>
                    <a:pt x="303" y="898"/>
                  </a:lnTo>
                  <a:close/>
                  <a:moveTo>
                    <a:pt x="313" y="902"/>
                  </a:moveTo>
                  <a:lnTo>
                    <a:pt x="313" y="902"/>
                  </a:lnTo>
                  <a:lnTo>
                    <a:pt x="313" y="900"/>
                  </a:lnTo>
                  <a:lnTo>
                    <a:pt x="311" y="900"/>
                  </a:lnTo>
                  <a:lnTo>
                    <a:pt x="311" y="900"/>
                  </a:lnTo>
                  <a:lnTo>
                    <a:pt x="311" y="900"/>
                  </a:lnTo>
                  <a:lnTo>
                    <a:pt x="311" y="900"/>
                  </a:lnTo>
                  <a:lnTo>
                    <a:pt x="311" y="900"/>
                  </a:lnTo>
                  <a:lnTo>
                    <a:pt x="311" y="898"/>
                  </a:lnTo>
                  <a:lnTo>
                    <a:pt x="311" y="898"/>
                  </a:lnTo>
                  <a:lnTo>
                    <a:pt x="309" y="898"/>
                  </a:lnTo>
                  <a:lnTo>
                    <a:pt x="309" y="898"/>
                  </a:lnTo>
                  <a:lnTo>
                    <a:pt x="309" y="898"/>
                  </a:lnTo>
                  <a:lnTo>
                    <a:pt x="309" y="896"/>
                  </a:lnTo>
                  <a:lnTo>
                    <a:pt x="309" y="898"/>
                  </a:lnTo>
                  <a:lnTo>
                    <a:pt x="307" y="898"/>
                  </a:lnTo>
                  <a:lnTo>
                    <a:pt x="307" y="898"/>
                  </a:lnTo>
                  <a:lnTo>
                    <a:pt x="307" y="898"/>
                  </a:lnTo>
                  <a:lnTo>
                    <a:pt x="307" y="898"/>
                  </a:lnTo>
                  <a:lnTo>
                    <a:pt x="307" y="900"/>
                  </a:lnTo>
                  <a:lnTo>
                    <a:pt x="307" y="900"/>
                  </a:lnTo>
                  <a:lnTo>
                    <a:pt x="307" y="900"/>
                  </a:lnTo>
                  <a:lnTo>
                    <a:pt x="307" y="900"/>
                  </a:lnTo>
                  <a:lnTo>
                    <a:pt x="309" y="900"/>
                  </a:lnTo>
                  <a:lnTo>
                    <a:pt x="309" y="900"/>
                  </a:lnTo>
                  <a:lnTo>
                    <a:pt x="309" y="900"/>
                  </a:lnTo>
                  <a:lnTo>
                    <a:pt x="309" y="902"/>
                  </a:lnTo>
                  <a:lnTo>
                    <a:pt x="307" y="902"/>
                  </a:lnTo>
                  <a:lnTo>
                    <a:pt x="309" y="902"/>
                  </a:lnTo>
                  <a:lnTo>
                    <a:pt x="309" y="902"/>
                  </a:lnTo>
                  <a:lnTo>
                    <a:pt x="309" y="902"/>
                  </a:lnTo>
                  <a:lnTo>
                    <a:pt x="309" y="902"/>
                  </a:lnTo>
                  <a:lnTo>
                    <a:pt x="309" y="902"/>
                  </a:lnTo>
                  <a:lnTo>
                    <a:pt x="309" y="902"/>
                  </a:lnTo>
                  <a:lnTo>
                    <a:pt x="309" y="900"/>
                  </a:lnTo>
                  <a:lnTo>
                    <a:pt x="309" y="900"/>
                  </a:lnTo>
                  <a:lnTo>
                    <a:pt x="309" y="900"/>
                  </a:lnTo>
                  <a:lnTo>
                    <a:pt x="309" y="902"/>
                  </a:lnTo>
                  <a:lnTo>
                    <a:pt x="309" y="902"/>
                  </a:lnTo>
                  <a:lnTo>
                    <a:pt x="311" y="902"/>
                  </a:lnTo>
                  <a:lnTo>
                    <a:pt x="311" y="902"/>
                  </a:lnTo>
                  <a:lnTo>
                    <a:pt x="311" y="900"/>
                  </a:lnTo>
                  <a:lnTo>
                    <a:pt x="311" y="900"/>
                  </a:lnTo>
                  <a:lnTo>
                    <a:pt x="311" y="902"/>
                  </a:lnTo>
                  <a:lnTo>
                    <a:pt x="311" y="902"/>
                  </a:lnTo>
                  <a:lnTo>
                    <a:pt x="313" y="902"/>
                  </a:lnTo>
                  <a:lnTo>
                    <a:pt x="313" y="902"/>
                  </a:lnTo>
                  <a:lnTo>
                    <a:pt x="313" y="902"/>
                  </a:lnTo>
                  <a:lnTo>
                    <a:pt x="313" y="902"/>
                  </a:lnTo>
                  <a:lnTo>
                    <a:pt x="313" y="902"/>
                  </a:lnTo>
                  <a:lnTo>
                    <a:pt x="313" y="902"/>
                  </a:lnTo>
                  <a:close/>
                  <a:moveTo>
                    <a:pt x="283" y="887"/>
                  </a:moveTo>
                  <a:lnTo>
                    <a:pt x="283" y="887"/>
                  </a:lnTo>
                  <a:lnTo>
                    <a:pt x="283" y="887"/>
                  </a:lnTo>
                  <a:lnTo>
                    <a:pt x="283" y="887"/>
                  </a:lnTo>
                  <a:lnTo>
                    <a:pt x="283" y="887"/>
                  </a:lnTo>
                  <a:lnTo>
                    <a:pt x="283" y="885"/>
                  </a:lnTo>
                  <a:lnTo>
                    <a:pt x="283" y="885"/>
                  </a:lnTo>
                  <a:lnTo>
                    <a:pt x="283" y="885"/>
                  </a:lnTo>
                  <a:lnTo>
                    <a:pt x="281" y="883"/>
                  </a:lnTo>
                  <a:lnTo>
                    <a:pt x="281" y="883"/>
                  </a:lnTo>
                  <a:lnTo>
                    <a:pt x="279" y="883"/>
                  </a:lnTo>
                  <a:lnTo>
                    <a:pt x="279" y="885"/>
                  </a:lnTo>
                  <a:lnTo>
                    <a:pt x="279" y="885"/>
                  </a:lnTo>
                  <a:lnTo>
                    <a:pt x="279" y="885"/>
                  </a:lnTo>
                  <a:lnTo>
                    <a:pt x="279" y="885"/>
                  </a:lnTo>
                  <a:lnTo>
                    <a:pt x="277" y="889"/>
                  </a:lnTo>
                  <a:lnTo>
                    <a:pt x="274" y="889"/>
                  </a:lnTo>
                  <a:lnTo>
                    <a:pt x="270" y="889"/>
                  </a:lnTo>
                  <a:lnTo>
                    <a:pt x="268" y="889"/>
                  </a:lnTo>
                  <a:lnTo>
                    <a:pt x="268" y="889"/>
                  </a:lnTo>
                  <a:lnTo>
                    <a:pt x="268" y="889"/>
                  </a:lnTo>
                  <a:lnTo>
                    <a:pt x="268" y="889"/>
                  </a:lnTo>
                  <a:lnTo>
                    <a:pt x="266" y="889"/>
                  </a:lnTo>
                  <a:lnTo>
                    <a:pt x="266" y="889"/>
                  </a:lnTo>
                  <a:lnTo>
                    <a:pt x="266" y="889"/>
                  </a:lnTo>
                  <a:lnTo>
                    <a:pt x="266" y="889"/>
                  </a:lnTo>
                  <a:lnTo>
                    <a:pt x="266" y="889"/>
                  </a:lnTo>
                  <a:lnTo>
                    <a:pt x="266" y="889"/>
                  </a:lnTo>
                  <a:lnTo>
                    <a:pt x="264" y="889"/>
                  </a:lnTo>
                  <a:lnTo>
                    <a:pt x="264" y="889"/>
                  </a:lnTo>
                  <a:lnTo>
                    <a:pt x="262" y="887"/>
                  </a:lnTo>
                  <a:lnTo>
                    <a:pt x="262" y="887"/>
                  </a:lnTo>
                  <a:lnTo>
                    <a:pt x="262" y="887"/>
                  </a:lnTo>
                  <a:lnTo>
                    <a:pt x="260" y="889"/>
                  </a:lnTo>
                  <a:lnTo>
                    <a:pt x="260" y="889"/>
                  </a:lnTo>
                  <a:lnTo>
                    <a:pt x="260" y="889"/>
                  </a:lnTo>
                  <a:lnTo>
                    <a:pt x="260" y="889"/>
                  </a:lnTo>
                  <a:lnTo>
                    <a:pt x="260" y="889"/>
                  </a:lnTo>
                  <a:lnTo>
                    <a:pt x="260" y="889"/>
                  </a:lnTo>
                  <a:lnTo>
                    <a:pt x="260" y="891"/>
                  </a:lnTo>
                  <a:lnTo>
                    <a:pt x="260" y="891"/>
                  </a:lnTo>
                  <a:lnTo>
                    <a:pt x="260" y="891"/>
                  </a:lnTo>
                  <a:lnTo>
                    <a:pt x="260" y="891"/>
                  </a:lnTo>
                  <a:lnTo>
                    <a:pt x="260" y="891"/>
                  </a:lnTo>
                  <a:lnTo>
                    <a:pt x="262" y="889"/>
                  </a:lnTo>
                  <a:lnTo>
                    <a:pt x="262" y="889"/>
                  </a:lnTo>
                  <a:lnTo>
                    <a:pt x="264" y="891"/>
                  </a:lnTo>
                  <a:lnTo>
                    <a:pt x="266" y="891"/>
                  </a:lnTo>
                  <a:lnTo>
                    <a:pt x="266" y="891"/>
                  </a:lnTo>
                  <a:lnTo>
                    <a:pt x="266" y="891"/>
                  </a:lnTo>
                  <a:lnTo>
                    <a:pt x="268" y="891"/>
                  </a:lnTo>
                  <a:lnTo>
                    <a:pt x="268" y="891"/>
                  </a:lnTo>
                  <a:lnTo>
                    <a:pt x="270" y="891"/>
                  </a:lnTo>
                  <a:lnTo>
                    <a:pt x="270" y="891"/>
                  </a:lnTo>
                  <a:lnTo>
                    <a:pt x="270" y="891"/>
                  </a:lnTo>
                  <a:lnTo>
                    <a:pt x="270" y="894"/>
                  </a:lnTo>
                  <a:lnTo>
                    <a:pt x="270" y="894"/>
                  </a:lnTo>
                  <a:lnTo>
                    <a:pt x="270" y="894"/>
                  </a:lnTo>
                  <a:lnTo>
                    <a:pt x="270" y="894"/>
                  </a:lnTo>
                  <a:lnTo>
                    <a:pt x="270" y="894"/>
                  </a:lnTo>
                  <a:lnTo>
                    <a:pt x="272" y="894"/>
                  </a:lnTo>
                  <a:lnTo>
                    <a:pt x="272" y="896"/>
                  </a:lnTo>
                  <a:lnTo>
                    <a:pt x="272" y="896"/>
                  </a:lnTo>
                  <a:lnTo>
                    <a:pt x="274" y="894"/>
                  </a:lnTo>
                  <a:lnTo>
                    <a:pt x="274" y="896"/>
                  </a:lnTo>
                  <a:lnTo>
                    <a:pt x="274" y="896"/>
                  </a:lnTo>
                  <a:lnTo>
                    <a:pt x="274" y="894"/>
                  </a:lnTo>
                  <a:lnTo>
                    <a:pt x="274" y="894"/>
                  </a:lnTo>
                  <a:lnTo>
                    <a:pt x="274" y="894"/>
                  </a:lnTo>
                  <a:lnTo>
                    <a:pt x="274" y="894"/>
                  </a:lnTo>
                  <a:lnTo>
                    <a:pt x="277" y="896"/>
                  </a:lnTo>
                  <a:lnTo>
                    <a:pt x="277" y="894"/>
                  </a:lnTo>
                  <a:lnTo>
                    <a:pt x="279" y="894"/>
                  </a:lnTo>
                  <a:lnTo>
                    <a:pt x="279" y="891"/>
                  </a:lnTo>
                  <a:lnTo>
                    <a:pt x="279" y="891"/>
                  </a:lnTo>
                  <a:lnTo>
                    <a:pt x="279" y="889"/>
                  </a:lnTo>
                  <a:lnTo>
                    <a:pt x="281" y="889"/>
                  </a:lnTo>
                  <a:lnTo>
                    <a:pt x="281" y="887"/>
                  </a:lnTo>
                  <a:lnTo>
                    <a:pt x="283" y="887"/>
                  </a:lnTo>
                  <a:close/>
                  <a:moveTo>
                    <a:pt x="217" y="879"/>
                  </a:moveTo>
                  <a:lnTo>
                    <a:pt x="217" y="879"/>
                  </a:lnTo>
                  <a:lnTo>
                    <a:pt x="217" y="879"/>
                  </a:lnTo>
                  <a:lnTo>
                    <a:pt x="217" y="879"/>
                  </a:lnTo>
                  <a:lnTo>
                    <a:pt x="217" y="879"/>
                  </a:lnTo>
                  <a:lnTo>
                    <a:pt x="217" y="879"/>
                  </a:lnTo>
                  <a:lnTo>
                    <a:pt x="217" y="879"/>
                  </a:lnTo>
                  <a:lnTo>
                    <a:pt x="217" y="879"/>
                  </a:lnTo>
                  <a:lnTo>
                    <a:pt x="217" y="879"/>
                  </a:lnTo>
                  <a:lnTo>
                    <a:pt x="217" y="879"/>
                  </a:lnTo>
                  <a:close/>
                  <a:moveTo>
                    <a:pt x="299" y="900"/>
                  </a:moveTo>
                  <a:lnTo>
                    <a:pt x="299" y="900"/>
                  </a:lnTo>
                  <a:lnTo>
                    <a:pt x="299" y="898"/>
                  </a:lnTo>
                  <a:lnTo>
                    <a:pt x="301" y="898"/>
                  </a:lnTo>
                  <a:lnTo>
                    <a:pt x="301" y="898"/>
                  </a:lnTo>
                  <a:lnTo>
                    <a:pt x="301" y="898"/>
                  </a:lnTo>
                  <a:lnTo>
                    <a:pt x="301" y="898"/>
                  </a:lnTo>
                  <a:lnTo>
                    <a:pt x="301" y="896"/>
                  </a:lnTo>
                  <a:lnTo>
                    <a:pt x="301" y="896"/>
                  </a:lnTo>
                  <a:lnTo>
                    <a:pt x="299" y="896"/>
                  </a:lnTo>
                  <a:lnTo>
                    <a:pt x="299" y="896"/>
                  </a:lnTo>
                  <a:lnTo>
                    <a:pt x="299" y="896"/>
                  </a:lnTo>
                  <a:lnTo>
                    <a:pt x="299" y="896"/>
                  </a:lnTo>
                  <a:lnTo>
                    <a:pt x="299" y="896"/>
                  </a:lnTo>
                  <a:lnTo>
                    <a:pt x="299" y="896"/>
                  </a:lnTo>
                  <a:lnTo>
                    <a:pt x="297" y="896"/>
                  </a:lnTo>
                  <a:lnTo>
                    <a:pt x="297" y="896"/>
                  </a:lnTo>
                  <a:lnTo>
                    <a:pt x="297" y="896"/>
                  </a:lnTo>
                  <a:lnTo>
                    <a:pt x="295" y="896"/>
                  </a:lnTo>
                  <a:lnTo>
                    <a:pt x="295" y="894"/>
                  </a:lnTo>
                  <a:lnTo>
                    <a:pt x="295" y="894"/>
                  </a:lnTo>
                  <a:lnTo>
                    <a:pt x="295" y="894"/>
                  </a:lnTo>
                  <a:lnTo>
                    <a:pt x="297" y="894"/>
                  </a:lnTo>
                  <a:lnTo>
                    <a:pt x="295" y="894"/>
                  </a:lnTo>
                  <a:lnTo>
                    <a:pt x="295" y="894"/>
                  </a:lnTo>
                  <a:lnTo>
                    <a:pt x="295" y="894"/>
                  </a:lnTo>
                  <a:lnTo>
                    <a:pt x="295" y="891"/>
                  </a:lnTo>
                  <a:lnTo>
                    <a:pt x="297" y="891"/>
                  </a:lnTo>
                  <a:lnTo>
                    <a:pt x="297" y="891"/>
                  </a:lnTo>
                  <a:lnTo>
                    <a:pt x="297" y="891"/>
                  </a:lnTo>
                  <a:lnTo>
                    <a:pt x="297" y="891"/>
                  </a:lnTo>
                  <a:lnTo>
                    <a:pt x="299" y="891"/>
                  </a:lnTo>
                  <a:lnTo>
                    <a:pt x="299" y="891"/>
                  </a:lnTo>
                  <a:lnTo>
                    <a:pt x="299" y="889"/>
                  </a:lnTo>
                  <a:lnTo>
                    <a:pt x="299" y="889"/>
                  </a:lnTo>
                  <a:lnTo>
                    <a:pt x="299" y="889"/>
                  </a:lnTo>
                  <a:lnTo>
                    <a:pt x="299" y="887"/>
                  </a:lnTo>
                  <a:lnTo>
                    <a:pt x="299" y="887"/>
                  </a:lnTo>
                  <a:lnTo>
                    <a:pt x="299" y="887"/>
                  </a:lnTo>
                  <a:lnTo>
                    <a:pt x="299" y="887"/>
                  </a:lnTo>
                  <a:lnTo>
                    <a:pt x="299" y="887"/>
                  </a:lnTo>
                  <a:lnTo>
                    <a:pt x="297" y="887"/>
                  </a:lnTo>
                  <a:lnTo>
                    <a:pt x="297" y="887"/>
                  </a:lnTo>
                  <a:lnTo>
                    <a:pt x="297" y="887"/>
                  </a:lnTo>
                  <a:lnTo>
                    <a:pt x="297" y="889"/>
                  </a:lnTo>
                  <a:lnTo>
                    <a:pt x="295" y="887"/>
                  </a:lnTo>
                  <a:lnTo>
                    <a:pt x="295" y="887"/>
                  </a:lnTo>
                  <a:lnTo>
                    <a:pt x="295" y="887"/>
                  </a:lnTo>
                  <a:lnTo>
                    <a:pt x="293" y="887"/>
                  </a:lnTo>
                  <a:lnTo>
                    <a:pt x="293" y="887"/>
                  </a:lnTo>
                  <a:lnTo>
                    <a:pt x="293" y="887"/>
                  </a:lnTo>
                  <a:lnTo>
                    <a:pt x="291" y="887"/>
                  </a:lnTo>
                  <a:lnTo>
                    <a:pt x="291" y="889"/>
                  </a:lnTo>
                  <a:lnTo>
                    <a:pt x="291" y="891"/>
                  </a:lnTo>
                  <a:lnTo>
                    <a:pt x="293" y="891"/>
                  </a:lnTo>
                  <a:lnTo>
                    <a:pt x="291" y="891"/>
                  </a:lnTo>
                  <a:lnTo>
                    <a:pt x="291" y="891"/>
                  </a:lnTo>
                  <a:lnTo>
                    <a:pt x="291" y="891"/>
                  </a:lnTo>
                  <a:lnTo>
                    <a:pt x="291" y="894"/>
                  </a:lnTo>
                  <a:lnTo>
                    <a:pt x="291" y="894"/>
                  </a:lnTo>
                  <a:lnTo>
                    <a:pt x="291" y="894"/>
                  </a:lnTo>
                  <a:lnTo>
                    <a:pt x="291" y="896"/>
                  </a:lnTo>
                  <a:lnTo>
                    <a:pt x="291" y="896"/>
                  </a:lnTo>
                  <a:lnTo>
                    <a:pt x="291" y="896"/>
                  </a:lnTo>
                  <a:lnTo>
                    <a:pt x="289" y="896"/>
                  </a:lnTo>
                  <a:lnTo>
                    <a:pt x="287" y="894"/>
                  </a:lnTo>
                  <a:lnTo>
                    <a:pt x="287" y="894"/>
                  </a:lnTo>
                  <a:lnTo>
                    <a:pt x="287" y="894"/>
                  </a:lnTo>
                  <a:lnTo>
                    <a:pt x="287" y="891"/>
                  </a:lnTo>
                  <a:lnTo>
                    <a:pt x="287" y="891"/>
                  </a:lnTo>
                  <a:lnTo>
                    <a:pt x="287" y="894"/>
                  </a:lnTo>
                  <a:lnTo>
                    <a:pt x="285" y="894"/>
                  </a:lnTo>
                  <a:lnTo>
                    <a:pt x="285" y="894"/>
                  </a:lnTo>
                  <a:lnTo>
                    <a:pt x="285" y="896"/>
                  </a:lnTo>
                  <a:lnTo>
                    <a:pt x="287" y="896"/>
                  </a:lnTo>
                  <a:lnTo>
                    <a:pt x="287" y="896"/>
                  </a:lnTo>
                  <a:lnTo>
                    <a:pt x="289" y="896"/>
                  </a:lnTo>
                  <a:lnTo>
                    <a:pt x="287" y="896"/>
                  </a:lnTo>
                  <a:lnTo>
                    <a:pt x="287" y="896"/>
                  </a:lnTo>
                  <a:lnTo>
                    <a:pt x="287" y="896"/>
                  </a:lnTo>
                  <a:lnTo>
                    <a:pt x="287" y="896"/>
                  </a:lnTo>
                  <a:lnTo>
                    <a:pt x="287" y="896"/>
                  </a:lnTo>
                  <a:lnTo>
                    <a:pt x="285" y="896"/>
                  </a:lnTo>
                  <a:lnTo>
                    <a:pt x="285" y="896"/>
                  </a:lnTo>
                  <a:lnTo>
                    <a:pt x="285" y="898"/>
                  </a:lnTo>
                  <a:lnTo>
                    <a:pt x="285" y="898"/>
                  </a:lnTo>
                  <a:lnTo>
                    <a:pt x="285" y="898"/>
                  </a:lnTo>
                  <a:lnTo>
                    <a:pt x="281" y="900"/>
                  </a:lnTo>
                  <a:lnTo>
                    <a:pt x="281" y="900"/>
                  </a:lnTo>
                  <a:lnTo>
                    <a:pt x="281" y="902"/>
                  </a:lnTo>
                  <a:lnTo>
                    <a:pt x="281" y="902"/>
                  </a:lnTo>
                  <a:lnTo>
                    <a:pt x="281" y="902"/>
                  </a:lnTo>
                  <a:lnTo>
                    <a:pt x="281" y="902"/>
                  </a:lnTo>
                  <a:lnTo>
                    <a:pt x="283" y="902"/>
                  </a:lnTo>
                  <a:lnTo>
                    <a:pt x="283" y="902"/>
                  </a:lnTo>
                  <a:lnTo>
                    <a:pt x="283" y="902"/>
                  </a:lnTo>
                  <a:lnTo>
                    <a:pt x="283" y="902"/>
                  </a:lnTo>
                  <a:lnTo>
                    <a:pt x="287" y="898"/>
                  </a:lnTo>
                  <a:lnTo>
                    <a:pt x="287" y="898"/>
                  </a:lnTo>
                  <a:lnTo>
                    <a:pt x="287" y="900"/>
                  </a:lnTo>
                  <a:lnTo>
                    <a:pt x="287" y="900"/>
                  </a:lnTo>
                  <a:lnTo>
                    <a:pt x="287" y="902"/>
                  </a:lnTo>
                  <a:lnTo>
                    <a:pt x="287" y="902"/>
                  </a:lnTo>
                  <a:lnTo>
                    <a:pt x="287" y="902"/>
                  </a:lnTo>
                  <a:lnTo>
                    <a:pt x="285" y="902"/>
                  </a:lnTo>
                  <a:lnTo>
                    <a:pt x="285" y="902"/>
                  </a:lnTo>
                  <a:lnTo>
                    <a:pt x="285" y="904"/>
                  </a:lnTo>
                  <a:lnTo>
                    <a:pt x="285" y="904"/>
                  </a:lnTo>
                  <a:lnTo>
                    <a:pt x="287" y="904"/>
                  </a:lnTo>
                  <a:lnTo>
                    <a:pt x="287" y="904"/>
                  </a:lnTo>
                  <a:lnTo>
                    <a:pt x="287" y="902"/>
                  </a:lnTo>
                  <a:lnTo>
                    <a:pt x="289" y="904"/>
                  </a:lnTo>
                  <a:lnTo>
                    <a:pt x="289" y="904"/>
                  </a:lnTo>
                  <a:lnTo>
                    <a:pt x="289" y="904"/>
                  </a:lnTo>
                  <a:lnTo>
                    <a:pt x="289" y="902"/>
                  </a:lnTo>
                  <a:lnTo>
                    <a:pt x="289" y="902"/>
                  </a:lnTo>
                  <a:lnTo>
                    <a:pt x="289" y="902"/>
                  </a:lnTo>
                  <a:lnTo>
                    <a:pt x="289" y="902"/>
                  </a:lnTo>
                  <a:lnTo>
                    <a:pt x="289" y="900"/>
                  </a:lnTo>
                  <a:lnTo>
                    <a:pt x="291" y="902"/>
                  </a:lnTo>
                  <a:lnTo>
                    <a:pt x="291" y="902"/>
                  </a:lnTo>
                  <a:lnTo>
                    <a:pt x="291" y="902"/>
                  </a:lnTo>
                  <a:lnTo>
                    <a:pt x="291" y="902"/>
                  </a:lnTo>
                  <a:lnTo>
                    <a:pt x="291" y="902"/>
                  </a:lnTo>
                  <a:lnTo>
                    <a:pt x="291" y="902"/>
                  </a:lnTo>
                  <a:lnTo>
                    <a:pt x="293" y="902"/>
                  </a:lnTo>
                  <a:lnTo>
                    <a:pt x="293" y="902"/>
                  </a:lnTo>
                  <a:lnTo>
                    <a:pt x="293" y="902"/>
                  </a:lnTo>
                  <a:lnTo>
                    <a:pt x="293" y="902"/>
                  </a:lnTo>
                  <a:lnTo>
                    <a:pt x="293" y="902"/>
                  </a:lnTo>
                  <a:lnTo>
                    <a:pt x="293" y="902"/>
                  </a:lnTo>
                  <a:lnTo>
                    <a:pt x="293" y="902"/>
                  </a:lnTo>
                  <a:lnTo>
                    <a:pt x="297" y="900"/>
                  </a:lnTo>
                  <a:lnTo>
                    <a:pt x="297" y="900"/>
                  </a:lnTo>
                  <a:lnTo>
                    <a:pt x="297" y="902"/>
                  </a:lnTo>
                  <a:lnTo>
                    <a:pt x="299" y="902"/>
                  </a:lnTo>
                  <a:lnTo>
                    <a:pt x="299" y="902"/>
                  </a:lnTo>
                  <a:lnTo>
                    <a:pt x="299" y="900"/>
                  </a:lnTo>
                  <a:lnTo>
                    <a:pt x="299" y="900"/>
                  </a:lnTo>
                  <a:lnTo>
                    <a:pt x="299" y="900"/>
                  </a:lnTo>
                  <a:close/>
                  <a:moveTo>
                    <a:pt x="229" y="869"/>
                  </a:moveTo>
                  <a:lnTo>
                    <a:pt x="227" y="869"/>
                  </a:lnTo>
                  <a:lnTo>
                    <a:pt x="227" y="871"/>
                  </a:lnTo>
                  <a:lnTo>
                    <a:pt x="227" y="871"/>
                  </a:lnTo>
                  <a:lnTo>
                    <a:pt x="225" y="871"/>
                  </a:lnTo>
                  <a:lnTo>
                    <a:pt x="227" y="873"/>
                  </a:lnTo>
                  <a:lnTo>
                    <a:pt x="227" y="873"/>
                  </a:lnTo>
                  <a:lnTo>
                    <a:pt x="227" y="873"/>
                  </a:lnTo>
                  <a:lnTo>
                    <a:pt x="229" y="875"/>
                  </a:lnTo>
                  <a:lnTo>
                    <a:pt x="229" y="873"/>
                  </a:lnTo>
                  <a:lnTo>
                    <a:pt x="229" y="871"/>
                  </a:lnTo>
                  <a:lnTo>
                    <a:pt x="229" y="871"/>
                  </a:lnTo>
                  <a:lnTo>
                    <a:pt x="229" y="869"/>
                  </a:lnTo>
                  <a:close/>
                  <a:moveTo>
                    <a:pt x="86" y="777"/>
                  </a:moveTo>
                  <a:lnTo>
                    <a:pt x="84" y="777"/>
                  </a:lnTo>
                  <a:lnTo>
                    <a:pt x="84" y="775"/>
                  </a:lnTo>
                  <a:lnTo>
                    <a:pt x="84" y="777"/>
                  </a:lnTo>
                  <a:lnTo>
                    <a:pt x="84" y="779"/>
                  </a:lnTo>
                  <a:lnTo>
                    <a:pt x="86" y="779"/>
                  </a:lnTo>
                  <a:lnTo>
                    <a:pt x="86" y="779"/>
                  </a:lnTo>
                  <a:lnTo>
                    <a:pt x="86" y="777"/>
                  </a:lnTo>
                  <a:lnTo>
                    <a:pt x="86" y="777"/>
                  </a:lnTo>
                  <a:close/>
                  <a:moveTo>
                    <a:pt x="43" y="734"/>
                  </a:moveTo>
                  <a:lnTo>
                    <a:pt x="41" y="734"/>
                  </a:lnTo>
                  <a:lnTo>
                    <a:pt x="41" y="734"/>
                  </a:lnTo>
                  <a:lnTo>
                    <a:pt x="41" y="734"/>
                  </a:lnTo>
                  <a:lnTo>
                    <a:pt x="41" y="734"/>
                  </a:lnTo>
                  <a:lnTo>
                    <a:pt x="43" y="736"/>
                  </a:lnTo>
                  <a:lnTo>
                    <a:pt x="43" y="736"/>
                  </a:lnTo>
                  <a:lnTo>
                    <a:pt x="43" y="734"/>
                  </a:lnTo>
                  <a:close/>
                  <a:moveTo>
                    <a:pt x="215" y="889"/>
                  </a:moveTo>
                  <a:lnTo>
                    <a:pt x="215" y="889"/>
                  </a:lnTo>
                  <a:lnTo>
                    <a:pt x="215" y="889"/>
                  </a:lnTo>
                  <a:lnTo>
                    <a:pt x="215" y="889"/>
                  </a:lnTo>
                  <a:lnTo>
                    <a:pt x="215" y="891"/>
                  </a:lnTo>
                  <a:lnTo>
                    <a:pt x="213" y="891"/>
                  </a:lnTo>
                  <a:lnTo>
                    <a:pt x="213" y="891"/>
                  </a:lnTo>
                  <a:lnTo>
                    <a:pt x="213" y="894"/>
                  </a:lnTo>
                  <a:lnTo>
                    <a:pt x="213" y="894"/>
                  </a:lnTo>
                  <a:lnTo>
                    <a:pt x="215" y="891"/>
                  </a:lnTo>
                  <a:lnTo>
                    <a:pt x="215" y="891"/>
                  </a:lnTo>
                  <a:lnTo>
                    <a:pt x="217" y="891"/>
                  </a:lnTo>
                  <a:lnTo>
                    <a:pt x="217" y="891"/>
                  </a:lnTo>
                  <a:lnTo>
                    <a:pt x="217" y="889"/>
                  </a:lnTo>
                  <a:lnTo>
                    <a:pt x="215" y="889"/>
                  </a:lnTo>
                  <a:lnTo>
                    <a:pt x="215" y="889"/>
                  </a:lnTo>
                  <a:close/>
                  <a:moveTo>
                    <a:pt x="903" y="781"/>
                  </a:moveTo>
                  <a:lnTo>
                    <a:pt x="903" y="781"/>
                  </a:lnTo>
                  <a:lnTo>
                    <a:pt x="903" y="781"/>
                  </a:lnTo>
                  <a:lnTo>
                    <a:pt x="903" y="781"/>
                  </a:lnTo>
                  <a:lnTo>
                    <a:pt x="903" y="779"/>
                  </a:lnTo>
                  <a:lnTo>
                    <a:pt x="901" y="779"/>
                  </a:lnTo>
                  <a:lnTo>
                    <a:pt x="899" y="781"/>
                  </a:lnTo>
                  <a:lnTo>
                    <a:pt x="899" y="781"/>
                  </a:lnTo>
                  <a:lnTo>
                    <a:pt x="901" y="781"/>
                  </a:lnTo>
                  <a:lnTo>
                    <a:pt x="901" y="781"/>
                  </a:lnTo>
                  <a:lnTo>
                    <a:pt x="901" y="783"/>
                  </a:lnTo>
                  <a:lnTo>
                    <a:pt x="901" y="783"/>
                  </a:lnTo>
                  <a:lnTo>
                    <a:pt x="903" y="783"/>
                  </a:lnTo>
                  <a:lnTo>
                    <a:pt x="903" y="781"/>
                  </a:lnTo>
                  <a:lnTo>
                    <a:pt x="903" y="781"/>
                  </a:lnTo>
                  <a:lnTo>
                    <a:pt x="903" y="781"/>
                  </a:lnTo>
                  <a:lnTo>
                    <a:pt x="903" y="781"/>
                  </a:lnTo>
                  <a:close/>
                  <a:moveTo>
                    <a:pt x="150" y="834"/>
                  </a:moveTo>
                  <a:lnTo>
                    <a:pt x="150" y="834"/>
                  </a:lnTo>
                  <a:lnTo>
                    <a:pt x="152" y="834"/>
                  </a:lnTo>
                  <a:lnTo>
                    <a:pt x="152" y="834"/>
                  </a:lnTo>
                  <a:lnTo>
                    <a:pt x="152" y="834"/>
                  </a:lnTo>
                  <a:lnTo>
                    <a:pt x="152" y="834"/>
                  </a:lnTo>
                  <a:lnTo>
                    <a:pt x="152" y="834"/>
                  </a:lnTo>
                  <a:lnTo>
                    <a:pt x="154" y="832"/>
                  </a:lnTo>
                  <a:lnTo>
                    <a:pt x="154" y="832"/>
                  </a:lnTo>
                  <a:lnTo>
                    <a:pt x="154" y="832"/>
                  </a:lnTo>
                  <a:lnTo>
                    <a:pt x="154" y="832"/>
                  </a:lnTo>
                  <a:lnTo>
                    <a:pt x="154" y="830"/>
                  </a:lnTo>
                  <a:lnTo>
                    <a:pt x="152" y="830"/>
                  </a:lnTo>
                  <a:lnTo>
                    <a:pt x="152" y="830"/>
                  </a:lnTo>
                  <a:lnTo>
                    <a:pt x="152" y="830"/>
                  </a:lnTo>
                  <a:lnTo>
                    <a:pt x="152" y="828"/>
                  </a:lnTo>
                  <a:lnTo>
                    <a:pt x="152" y="830"/>
                  </a:lnTo>
                  <a:lnTo>
                    <a:pt x="152" y="828"/>
                  </a:lnTo>
                  <a:lnTo>
                    <a:pt x="152" y="828"/>
                  </a:lnTo>
                  <a:lnTo>
                    <a:pt x="150" y="830"/>
                  </a:lnTo>
                  <a:lnTo>
                    <a:pt x="150" y="830"/>
                  </a:lnTo>
                  <a:lnTo>
                    <a:pt x="150" y="830"/>
                  </a:lnTo>
                  <a:lnTo>
                    <a:pt x="150" y="830"/>
                  </a:lnTo>
                  <a:lnTo>
                    <a:pt x="150" y="832"/>
                  </a:lnTo>
                  <a:lnTo>
                    <a:pt x="150" y="832"/>
                  </a:lnTo>
                  <a:lnTo>
                    <a:pt x="150" y="834"/>
                  </a:lnTo>
                  <a:close/>
                  <a:moveTo>
                    <a:pt x="14" y="713"/>
                  </a:moveTo>
                  <a:lnTo>
                    <a:pt x="14" y="713"/>
                  </a:lnTo>
                  <a:lnTo>
                    <a:pt x="16" y="713"/>
                  </a:lnTo>
                  <a:lnTo>
                    <a:pt x="16" y="715"/>
                  </a:lnTo>
                  <a:lnTo>
                    <a:pt x="16" y="715"/>
                  </a:lnTo>
                  <a:lnTo>
                    <a:pt x="16" y="717"/>
                  </a:lnTo>
                  <a:lnTo>
                    <a:pt x="16" y="717"/>
                  </a:lnTo>
                  <a:lnTo>
                    <a:pt x="16" y="717"/>
                  </a:lnTo>
                  <a:lnTo>
                    <a:pt x="18" y="717"/>
                  </a:lnTo>
                  <a:lnTo>
                    <a:pt x="18" y="717"/>
                  </a:lnTo>
                  <a:lnTo>
                    <a:pt x="18" y="715"/>
                  </a:lnTo>
                  <a:lnTo>
                    <a:pt x="18" y="715"/>
                  </a:lnTo>
                  <a:lnTo>
                    <a:pt x="18" y="715"/>
                  </a:lnTo>
                  <a:lnTo>
                    <a:pt x="18" y="715"/>
                  </a:lnTo>
                  <a:lnTo>
                    <a:pt x="18" y="715"/>
                  </a:lnTo>
                  <a:lnTo>
                    <a:pt x="18" y="715"/>
                  </a:lnTo>
                  <a:lnTo>
                    <a:pt x="21" y="715"/>
                  </a:lnTo>
                  <a:lnTo>
                    <a:pt x="21" y="715"/>
                  </a:lnTo>
                  <a:lnTo>
                    <a:pt x="21" y="715"/>
                  </a:lnTo>
                  <a:lnTo>
                    <a:pt x="21" y="717"/>
                  </a:lnTo>
                  <a:lnTo>
                    <a:pt x="21" y="717"/>
                  </a:lnTo>
                  <a:lnTo>
                    <a:pt x="23" y="719"/>
                  </a:lnTo>
                  <a:lnTo>
                    <a:pt x="23" y="717"/>
                  </a:lnTo>
                  <a:lnTo>
                    <a:pt x="23" y="717"/>
                  </a:lnTo>
                  <a:lnTo>
                    <a:pt x="25" y="719"/>
                  </a:lnTo>
                  <a:lnTo>
                    <a:pt x="25" y="719"/>
                  </a:lnTo>
                  <a:lnTo>
                    <a:pt x="25" y="719"/>
                  </a:lnTo>
                  <a:lnTo>
                    <a:pt x="27" y="717"/>
                  </a:lnTo>
                  <a:lnTo>
                    <a:pt x="25" y="717"/>
                  </a:lnTo>
                  <a:lnTo>
                    <a:pt x="23" y="717"/>
                  </a:lnTo>
                  <a:lnTo>
                    <a:pt x="23" y="715"/>
                  </a:lnTo>
                  <a:lnTo>
                    <a:pt x="21" y="715"/>
                  </a:lnTo>
                  <a:lnTo>
                    <a:pt x="23" y="715"/>
                  </a:lnTo>
                  <a:lnTo>
                    <a:pt x="23" y="715"/>
                  </a:lnTo>
                  <a:lnTo>
                    <a:pt x="25" y="715"/>
                  </a:lnTo>
                  <a:lnTo>
                    <a:pt x="25" y="713"/>
                  </a:lnTo>
                  <a:lnTo>
                    <a:pt x="25" y="713"/>
                  </a:lnTo>
                  <a:lnTo>
                    <a:pt x="23" y="711"/>
                  </a:lnTo>
                  <a:lnTo>
                    <a:pt x="23" y="711"/>
                  </a:lnTo>
                  <a:lnTo>
                    <a:pt x="23" y="711"/>
                  </a:lnTo>
                  <a:lnTo>
                    <a:pt x="21" y="711"/>
                  </a:lnTo>
                  <a:lnTo>
                    <a:pt x="21" y="711"/>
                  </a:lnTo>
                  <a:lnTo>
                    <a:pt x="21" y="711"/>
                  </a:lnTo>
                  <a:lnTo>
                    <a:pt x="21" y="711"/>
                  </a:lnTo>
                  <a:lnTo>
                    <a:pt x="18" y="711"/>
                  </a:lnTo>
                  <a:lnTo>
                    <a:pt x="21" y="709"/>
                  </a:lnTo>
                  <a:lnTo>
                    <a:pt x="21" y="709"/>
                  </a:lnTo>
                  <a:lnTo>
                    <a:pt x="23" y="709"/>
                  </a:lnTo>
                  <a:lnTo>
                    <a:pt x="21" y="709"/>
                  </a:lnTo>
                  <a:lnTo>
                    <a:pt x="21" y="707"/>
                  </a:lnTo>
                  <a:lnTo>
                    <a:pt x="21" y="707"/>
                  </a:lnTo>
                  <a:lnTo>
                    <a:pt x="18" y="705"/>
                  </a:lnTo>
                  <a:lnTo>
                    <a:pt x="16" y="705"/>
                  </a:lnTo>
                  <a:lnTo>
                    <a:pt x="16" y="705"/>
                  </a:lnTo>
                  <a:lnTo>
                    <a:pt x="16" y="705"/>
                  </a:lnTo>
                  <a:lnTo>
                    <a:pt x="14" y="705"/>
                  </a:lnTo>
                  <a:lnTo>
                    <a:pt x="14" y="705"/>
                  </a:lnTo>
                  <a:lnTo>
                    <a:pt x="14" y="705"/>
                  </a:lnTo>
                  <a:lnTo>
                    <a:pt x="14" y="705"/>
                  </a:lnTo>
                  <a:lnTo>
                    <a:pt x="14" y="703"/>
                  </a:lnTo>
                  <a:lnTo>
                    <a:pt x="14" y="703"/>
                  </a:lnTo>
                  <a:lnTo>
                    <a:pt x="12" y="701"/>
                  </a:lnTo>
                  <a:lnTo>
                    <a:pt x="10" y="701"/>
                  </a:lnTo>
                  <a:lnTo>
                    <a:pt x="10" y="701"/>
                  </a:lnTo>
                  <a:lnTo>
                    <a:pt x="10" y="701"/>
                  </a:lnTo>
                  <a:lnTo>
                    <a:pt x="8" y="699"/>
                  </a:lnTo>
                  <a:lnTo>
                    <a:pt x="4" y="699"/>
                  </a:lnTo>
                  <a:lnTo>
                    <a:pt x="4" y="701"/>
                  </a:lnTo>
                  <a:lnTo>
                    <a:pt x="4" y="699"/>
                  </a:lnTo>
                  <a:lnTo>
                    <a:pt x="0" y="701"/>
                  </a:lnTo>
                  <a:lnTo>
                    <a:pt x="2" y="701"/>
                  </a:lnTo>
                  <a:lnTo>
                    <a:pt x="2" y="701"/>
                  </a:lnTo>
                  <a:lnTo>
                    <a:pt x="2" y="701"/>
                  </a:lnTo>
                  <a:lnTo>
                    <a:pt x="2" y="703"/>
                  </a:lnTo>
                  <a:lnTo>
                    <a:pt x="4" y="703"/>
                  </a:lnTo>
                  <a:lnTo>
                    <a:pt x="6" y="703"/>
                  </a:lnTo>
                  <a:lnTo>
                    <a:pt x="6" y="703"/>
                  </a:lnTo>
                  <a:lnTo>
                    <a:pt x="6" y="703"/>
                  </a:lnTo>
                  <a:lnTo>
                    <a:pt x="4" y="705"/>
                  </a:lnTo>
                  <a:lnTo>
                    <a:pt x="4" y="705"/>
                  </a:lnTo>
                  <a:lnTo>
                    <a:pt x="4" y="705"/>
                  </a:lnTo>
                  <a:lnTo>
                    <a:pt x="6" y="707"/>
                  </a:lnTo>
                  <a:lnTo>
                    <a:pt x="8" y="707"/>
                  </a:lnTo>
                  <a:lnTo>
                    <a:pt x="8" y="707"/>
                  </a:lnTo>
                  <a:lnTo>
                    <a:pt x="8" y="707"/>
                  </a:lnTo>
                  <a:lnTo>
                    <a:pt x="8" y="707"/>
                  </a:lnTo>
                  <a:lnTo>
                    <a:pt x="10" y="707"/>
                  </a:lnTo>
                  <a:lnTo>
                    <a:pt x="8" y="707"/>
                  </a:lnTo>
                  <a:lnTo>
                    <a:pt x="8" y="709"/>
                  </a:lnTo>
                  <a:lnTo>
                    <a:pt x="6" y="709"/>
                  </a:lnTo>
                  <a:lnTo>
                    <a:pt x="6" y="711"/>
                  </a:lnTo>
                  <a:lnTo>
                    <a:pt x="6" y="711"/>
                  </a:lnTo>
                  <a:lnTo>
                    <a:pt x="6" y="711"/>
                  </a:lnTo>
                  <a:lnTo>
                    <a:pt x="6" y="711"/>
                  </a:lnTo>
                  <a:lnTo>
                    <a:pt x="6" y="711"/>
                  </a:lnTo>
                  <a:lnTo>
                    <a:pt x="6" y="711"/>
                  </a:lnTo>
                  <a:lnTo>
                    <a:pt x="6" y="711"/>
                  </a:lnTo>
                  <a:lnTo>
                    <a:pt x="8" y="711"/>
                  </a:lnTo>
                  <a:lnTo>
                    <a:pt x="8" y="711"/>
                  </a:lnTo>
                  <a:lnTo>
                    <a:pt x="8" y="711"/>
                  </a:lnTo>
                  <a:lnTo>
                    <a:pt x="8" y="713"/>
                  </a:lnTo>
                  <a:lnTo>
                    <a:pt x="8" y="713"/>
                  </a:lnTo>
                  <a:lnTo>
                    <a:pt x="8" y="713"/>
                  </a:lnTo>
                  <a:lnTo>
                    <a:pt x="10" y="713"/>
                  </a:lnTo>
                  <a:lnTo>
                    <a:pt x="10" y="713"/>
                  </a:lnTo>
                  <a:lnTo>
                    <a:pt x="10" y="713"/>
                  </a:lnTo>
                  <a:lnTo>
                    <a:pt x="8" y="713"/>
                  </a:lnTo>
                  <a:lnTo>
                    <a:pt x="8" y="715"/>
                  </a:lnTo>
                  <a:lnTo>
                    <a:pt x="8" y="715"/>
                  </a:lnTo>
                  <a:lnTo>
                    <a:pt x="10" y="715"/>
                  </a:lnTo>
                  <a:lnTo>
                    <a:pt x="10" y="715"/>
                  </a:lnTo>
                  <a:lnTo>
                    <a:pt x="12" y="715"/>
                  </a:lnTo>
                  <a:lnTo>
                    <a:pt x="14" y="713"/>
                  </a:lnTo>
                  <a:lnTo>
                    <a:pt x="14" y="713"/>
                  </a:lnTo>
                  <a:close/>
                  <a:moveTo>
                    <a:pt x="188" y="844"/>
                  </a:moveTo>
                  <a:lnTo>
                    <a:pt x="188" y="844"/>
                  </a:lnTo>
                  <a:lnTo>
                    <a:pt x="186" y="842"/>
                  </a:lnTo>
                  <a:lnTo>
                    <a:pt x="186" y="842"/>
                  </a:lnTo>
                  <a:lnTo>
                    <a:pt x="186" y="842"/>
                  </a:lnTo>
                  <a:lnTo>
                    <a:pt x="186" y="842"/>
                  </a:lnTo>
                  <a:lnTo>
                    <a:pt x="186" y="842"/>
                  </a:lnTo>
                  <a:lnTo>
                    <a:pt x="186" y="842"/>
                  </a:lnTo>
                  <a:lnTo>
                    <a:pt x="186" y="842"/>
                  </a:lnTo>
                  <a:lnTo>
                    <a:pt x="186" y="840"/>
                  </a:lnTo>
                  <a:lnTo>
                    <a:pt x="184" y="842"/>
                  </a:lnTo>
                  <a:lnTo>
                    <a:pt x="184" y="842"/>
                  </a:lnTo>
                  <a:lnTo>
                    <a:pt x="184" y="842"/>
                  </a:lnTo>
                  <a:lnTo>
                    <a:pt x="182" y="842"/>
                  </a:lnTo>
                  <a:lnTo>
                    <a:pt x="182" y="842"/>
                  </a:lnTo>
                  <a:lnTo>
                    <a:pt x="182" y="842"/>
                  </a:lnTo>
                  <a:lnTo>
                    <a:pt x="180" y="842"/>
                  </a:lnTo>
                  <a:lnTo>
                    <a:pt x="180" y="842"/>
                  </a:lnTo>
                  <a:lnTo>
                    <a:pt x="180" y="842"/>
                  </a:lnTo>
                  <a:lnTo>
                    <a:pt x="180" y="842"/>
                  </a:lnTo>
                  <a:lnTo>
                    <a:pt x="180" y="844"/>
                  </a:lnTo>
                  <a:lnTo>
                    <a:pt x="180" y="844"/>
                  </a:lnTo>
                  <a:lnTo>
                    <a:pt x="180" y="844"/>
                  </a:lnTo>
                  <a:lnTo>
                    <a:pt x="180" y="844"/>
                  </a:lnTo>
                  <a:lnTo>
                    <a:pt x="180" y="844"/>
                  </a:lnTo>
                  <a:lnTo>
                    <a:pt x="180" y="846"/>
                  </a:lnTo>
                  <a:lnTo>
                    <a:pt x="180" y="846"/>
                  </a:lnTo>
                  <a:lnTo>
                    <a:pt x="180" y="846"/>
                  </a:lnTo>
                  <a:lnTo>
                    <a:pt x="180" y="848"/>
                  </a:lnTo>
                  <a:lnTo>
                    <a:pt x="182" y="848"/>
                  </a:lnTo>
                  <a:lnTo>
                    <a:pt x="184" y="848"/>
                  </a:lnTo>
                  <a:lnTo>
                    <a:pt x="184" y="848"/>
                  </a:lnTo>
                  <a:lnTo>
                    <a:pt x="186" y="848"/>
                  </a:lnTo>
                  <a:lnTo>
                    <a:pt x="186" y="848"/>
                  </a:lnTo>
                  <a:lnTo>
                    <a:pt x="186" y="848"/>
                  </a:lnTo>
                  <a:lnTo>
                    <a:pt x="188" y="846"/>
                  </a:lnTo>
                  <a:lnTo>
                    <a:pt x="188" y="846"/>
                  </a:lnTo>
                  <a:lnTo>
                    <a:pt x="188" y="846"/>
                  </a:lnTo>
                  <a:lnTo>
                    <a:pt x="188" y="846"/>
                  </a:lnTo>
                  <a:lnTo>
                    <a:pt x="188" y="846"/>
                  </a:lnTo>
                  <a:lnTo>
                    <a:pt x="188" y="846"/>
                  </a:lnTo>
                  <a:lnTo>
                    <a:pt x="188" y="844"/>
                  </a:lnTo>
                  <a:close/>
                  <a:moveTo>
                    <a:pt x="211" y="891"/>
                  </a:moveTo>
                  <a:lnTo>
                    <a:pt x="209" y="891"/>
                  </a:lnTo>
                  <a:lnTo>
                    <a:pt x="209" y="891"/>
                  </a:lnTo>
                  <a:lnTo>
                    <a:pt x="207" y="894"/>
                  </a:lnTo>
                  <a:lnTo>
                    <a:pt x="207" y="894"/>
                  </a:lnTo>
                  <a:lnTo>
                    <a:pt x="207" y="894"/>
                  </a:lnTo>
                  <a:lnTo>
                    <a:pt x="207" y="894"/>
                  </a:lnTo>
                  <a:lnTo>
                    <a:pt x="207" y="896"/>
                  </a:lnTo>
                  <a:lnTo>
                    <a:pt x="207" y="896"/>
                  </a:lnTo>
                  <a:lnTo>
                    <a:pt x="209" y="896"/>
                  </a:lnTo>
                  <a:lnTo>
                    <a:pt x="209" y="896"/>
                  </a:lnTo>
                  <a:lnTo>
                    <a:pt x="209" y="896"/>
                  </a:lnTo>
                  <a:lnTo>
                    <a:pt x="211" y="894"/>
                  </a:lnTo>
                  <a:lnTo>
                    <a:pt x="209" y="894"/>
                  </a:lnTo>
                  <a:lnTo>
                    <a:pt x="211" y="894"/>
                  </a:lnTo>
                  <a:lnTo>
                    <a:pt x="211" y="891"/>
                  </a:lnTo>
                  <a:close/>
                  <a:moveTo>
                    <a:pt x="143" y="834"/>
                  </a:moveTo>
                  <a:lnTo>
                    <a:pt x="143" y="834"/>
                  </a:lnTo>
                  <a:lnTo>
                    <a:pt x="141" y="834"/>
                  </a:lnTo>
                  <a:lnTo>
                    <a:pt x="141" y="834"/>
                  </a:lnTo>
                  <a:lnTo>
                    <a:pt x="141" y="834"/>
                  </a:lnTo>
                  <a:lnTo>
                    <a:pt x="141" y="832"/>
                  </a:lnTo>
                  <a:lnTo>
                    <a:pt x="139" y="832"/>
                  </a:lnTo>
                  <a:lnTo>
                    <a:pt x="139" y="832"/>
                  </a:lnTo>
                  <a:lnTo>
                    <a:pt x="139" y="834"/>
                  </a:lnTo>
                  <a:lnTo>
                    <a:pt x="141" y="834"/>
                  </a:lnTo>
                  <a:lnTo>
                    <a:pt x="141" y="834"/>
                  </a:lnTo>
                  <a:lnTo>
                    <a:pt x="141" y="836"/>
                  </a:lnTo>
                  <a:lnTo>
                    <a:pt x="141" y="836"/>
                  </a:lnTo>
                  <a:lnTo>
                    <a:pt x="141" y="836"/>
                  </a:lnTo>
                  <a:lnTo>
                    <a:pt x="141" y="838"/>
                  </a:lnTo>
                  <a:lnTo>
                    <a:pt x="143" y="838"/>
                  </a:lnTo>
                  <a:lnTo>
                    <a:pt x="143" y="838"/>
                  </a:lnTo>
                  <a:lnTo>
                    <a:pt x="143" y="838"/>
                  </a:lnTo>
                  <a:lnTo>
                    <a:pt x="143" y="836"/>
                  </a:lnTo>
                  <a:lnTo>
                    <a:pt x="143" y="834"/>
                  </a:lnTo>
                  <a:close/>
                  <a:moveTo>
                    <a:pt x="166" y="869"/>
                  </a:moveTo>
                  <a:lnTo>
                    <a:pt x="166" y="869"/>
                  </a:lnTo>
                  <a:lnTo>
                    <a:pt x="162" y="867"/>
                  </a:lnTo>
                  <a:lnTo>
                    <a:pt x="162" y="867"/>
                  </a:lnTo>
                  <a:lnTo>
                    <a:pt x="164" y="867"/>
                  </a:lnTo>
                  <a:lnTo>
                    <a:pt x="164" y="867"/>
                  </a:lnTo>
                  <a:lnTo>
                    <a:pt x="164" y="867"/>
                  </a:lnTo>
                  <a:lnTo>
                    <a:pt x="164" y="867"/>
                  </a:lnTo>
                  <a:lnTo>
                    <a:pt x="162" y="867"/>
                  </a:lnTo>
                  <a:lnTo>
                    <a:pt x="162" y="865"/>
                  </a:lnTo>
                  <a:lnTo>
                    <a:pt x="162" y="865"/>
                  </a:lnTo>
                  <a:lnTo>
                    <a:pt x="162" y="863"/>
                  </a:lnTo>
                  <a:lnTo>
                    <a:pt x="162" y="863"/>
                  </a:lnTo>
                  <a:lnTo>
                    <a:pt x="162" y="863"/>
                  </a:lnTo>
                  <a:lnTo>
                    <a:pt x="160" y="861"/>
                  </a:lnTo>
                  <a:lnTo>
                    <a:pt x="160" y="861"/>
                  </a:lnTo>
                  <a:lnTo>
                    <a:pt x="158" y="859"/>
                  </a:lnTo>
                  <a:lnTo>
                    <a:pt x="158" y="857"/>
                  </a:lnTo>
                  <a:lnTo>
                    <a:pt x="158" y="857"/>
                  </a:lnTo>
                  <a:lnTo>
                    <a:pt x="158" y="857"/>
                  </a:lnTo>
                  <a:lnTo>
                    <a:pt x="158" y="855"/>
                  </a:lnTo>
                  <a:lnTo>
                    <a:pt x="158" y="855"/>
                  </a:lnTo>
                  <a:lnTo>
                    <a:pt x="158" y="855"/>
                  </a:lnTo>
                  <a:lnTo>
                    <a:pt x="158" y="855"/>
                  </a:lnTo>
                  <a:lnTo>
                    <a:pt x="158" y="855"/>
                  </a:lnTo>
                  <a:lnTo>
                    <a:pt x="156" y="855"/>
                  </a:lnTo>
                  <a:lnTo>
                    <a:pt x="156" y="855"/>
                  </a:lnTo>
                  <a:lnTo>
                    <a:pt x="156" y="853"/>
                  </a:lnTo>
                  <a:lnTo>
                    <a:pt x="156" y="853"/>
                  </a:lnTo>
                  <a:lnTo>
                    <a:pt x="156" y="853"/>
                  </a:lnTo>
                  <a:lnTo>
                    <a:pt x="156" y="853"/>
                  </a:lnTo>
                  <a:lnTo>
                    <a:pt x="156" y="850"/>
                  </a:lnTo>
                  <a:lnTo>
                    <a:pt x="156" y="850"/>
                  </a:lnTo>
                  <a:lnTo>
                    <a:pt x="154" y="850"/>
                  </a:lnTo>
                  <a:lnTo>
                    <a:pt x="154" y="850"/>
                  </a:lnTo>
                  <a:lnTo>
                    <a:pt x="154" y="850"/>
                  </a:lnTo>
                  <a:lnTo>
                    <a:pt x="154" y="850"/>
                  </a:lnTo>
                  <a:lnTo>
                    <a:pt x="154" y="850"/>
                  </a:lnTo>
                  <a:lnTo>
                    <a:pt x="152" y="850"/>
                  </a:lnTo>
                  <a:lnTo>
                    <a:pt x="152" y="848"/>
                  </a:lnTo>
                  <a:lnTo>
                    <a:pt x="152" y="848"/>
                  </a:lnTo>
                  <a:lnTo>
                    <a:pt x="150" y="846"/>
                  </a:lnTo>
                  <a:lnTo>
                    <a:pt x="150" y="846"/>
                  </a:lnTo>
                  <a:lnTo>
                    <a:pt x="148" y="846"/>
                  </a:lnTo>
                  <a:lnTo>
                    <a:pt x="150" y="848"/>
                  </a:lnTo>
                  <a:lnTo>
                    <a:pt x="150" y="850"/>
                  </a:lnTo>
                  <a:lnTo>
                    <a:pt x="150" y="850"/>
                  </a:lnTo>
                  <a:lnTo>
                    <a:pt x="150" y="850"/>
                  </a:lnTo>
                  <a:lnTo>
                    <a:pt x="152" y="850"/>
                  </a:lnTo>
                  <a:lnTo>
                    <a:pt x="152" y="853"/>
                  </a:lnTo>
                  <a:lnTo>
                    <a:pt x="152" y="853"/>
                  </a:lnTo>
                  <a:lnTo>
                    <a:pt x="152" y="853"/>
                  </a:lnTo>
                  <a:lnTo>
                    <a:pt x="154" y="853"/>
                  </a:lnTo>
                  <a:lnTo>
                    <a:pt x="154" y="853"/>
                  </a:lnTo>
                  <a:lnTo>
                    <a:pt x="156" y="855"/>
                  </a:lnTo>
                  <a:lnTo>
                    <a:pt x="156" y="857"/>
                  </a:lnTo>
                  <a:lnTo>
                    <a:pt x="156" y="857"/>
                  </a:lnTo>
                  <a:lnTo>
                    <a:pt x="158" y="859"/>
                  </a:lnTo>
                  <a:lnTo>
                    <a:pt x="158" y="859"/>
                  </a:lnTo>
                  <a:lnTo>
                    <a:pt x="158" y="859"/>
                  </a:lnTo>
                  <a:lnTo>
                    <a:pt x="158" y="861"/>
                  </a:lnTo>
                  <a:lnTo>
                    <a:pt x="158" y="861"/>
                  </a:lnTo>
                  <a:lnTo>
                    <a:pt x="158" y="861"/>
                  </a:lnTo>
                  <a:lnTo>
                    <a:pt x="158" y="863"/>
                  </a:lnTo>
                  <a:lnTo>
                    <a:pt x="162" y="867"/>
                  </a:lnTo>
                  <a:lnTo>
                    <a:pt x="162" y="867"/>
                  </a:lnTo>
                  <a:lnTo>
                    <a:pt x="160" y="867"/>
                  </a:lnTo>
                  <a:lnTo>
                    <a:pt x="160" y="869"/>
                  </a:lnTo>
                  <a:lnTo>
                    <a:pt x="160" y="869"/>
                  </a:lnTo>
                  <a:lnTo>
                    <a:pt x="162" y="869"/>
                  </a:lnTo>
                  <a:lnTo>
                    <a:pt x="162" y="869"/>
                  </a:lnTo>
                  <a:lnTo>
                    <a:pt x="162" y="869"/>
                  </a:lnTo>
                  <a:lnTo>
                    <a:pt x="162" y="869"/>
                  </a:lnTo>
                  <a:lnTo>
                    <a:pt x="162" y="869"/>
                  </a:lnTo>
                  <a:lnTo>
                    <a:pt x="164" y="869"/>
                  </a:lnTo>
                  <a:lnTo>
                    <a:pt x="164" y="869"/>
                  </a:lnTo>
                  <a:lnTo>
                    <a:pt x="164" y="869"/>
                  </a:lnTo>
                  <a:lnTo>
                    <a:pt x="164" y="869"/>
                  </a:lnTo>
                  <a:lnTo>
                    <a:pt x="164" y="869"/>
                  </a:lnTo>
                  <a:lnTo>
                    <a:pt x="166" y="869"/>
                  </a:lnTo>
                  <a:lnTo>
                    <a:pt x="166" y="869"/>
                  </a:lnTo>
                  <a:lnTo>
                    <a:pt x="166" y="871"/>
                  </a:lnTo>
                  <a:lnTo>
                    <a:pt x="166" y="871"/>
                  </a:lnTo>
                  <a:lnTo>
                    <a:pt x="166" y="871"/>
                  </a:lnTo>
                  <a:lnTo>
                    <a:pt x="166" y="871"/>
                  </a:lnTo>
                  <a:lnTo>
                    <a:pt x="166" y="871"/>
                  </a:lnTo>
                  <a:lnTo>
                    <a:pt x="168" y="871"/>
                  </a:lnTo>
                  <a:lnTo>
                    <a:pt x="168" y="871"/>
                  </a:lnTo>
                  <a:lnTo>
                    <a:pt x="168" y="871"/>
                  </a:lnTo>
                  <a:lnTo>
                    <a:pt x="166" y="869"/>
                  </a:lnTo>
                  <a:close/>
                  <a:moveTo>
                    <a:pt x="129" y="812"/>
                  </a:moveTo>
                  <a:lnTo>
                    <a:pt x="129" y="812"/>
                  </a:lnTo>
                  <a:lnTo>
                    <a:pt x="127" y="812"/>
                  </a:lnTo>
                  <a:lnTo>
                    <a:pt x="127" y="812"/>
                  </a:lnTo>
                  <a:lnTo>
                    <a:pt x="125" y="812"/>
                  </a:lnTo>
                  <a:lnTo>
                    <a:pt x="123" y="814"/>
                  </a:lnTo>
                  <a:lnTo>
                    <a:pt x="123" y="816"/>
                  </a:lnTo>
                  <a:lnTo>
                    <a:pt x="123" y="816"/>
                  </a:lnTo>
                  <a:lnTo>
                    <a:pt x="121" y="816"/>
                  </a:lnTo>
                  <a:lnTo>
                    <a:pt x="121" y="816"/>
                  </a:lnTo>
                  <a:lnTo>
                    <a:pt x="121" y="816"/>
                  </a:lnTo>
                  <a:lnTo>
                    <a:pt x="121" y="816"/>
                  </a:lnTo>
                  <a:lnTo>
                    <a:pt x="119" y="816"/>
                  </a:lnTo>
                  <a:lnTo>
                    <a:pt x="119" y="816"/>
                  </a:lnTo>
                  <a:lnTo>
                    <a:pt x="119" y="816"/>
                  </a:lnTo>
                  <a:lnTo>
                    <a:pt x="117" y="816"/>
                  </a:lnTo>
                  <a:lnTo>
                    <a:pt x="117" y="816"/>
                  </a:lnTo>
                  <a:lnTo>
                    <a:pt x="117" y="816"/>
                  </a:lnTo>
                  <a:lnTo>
                    <a:pt x="115" y="816"/>
                  </a:lnTo>
                  <a:lnTo>
                    <a:pt x="115" y="816"/>
                  </a:lnTo>
                  <a:lnTo>
                    <a:pt x="113" y="816"/>
                  </a:lnTo>
                  <a:lnTo>
                    <a:pt x="113" y="818"/>
                  </a:lnTo>
                  <a:lnTo>
                    <a:pt x="113" y="820"/>
                  </a:lnTo>
                  <a:lnTo>
                    <a:pt x="113" y="820"/>
                  </a:lnTo>
                  <a:lnTo>
                    <a:pt x="113" y="820"/>
                  </a:lnTo>
                  <a:lnTo>
                    <a:pt x="113" y="820"/>
                  </a:lnTo>
                  <a:lnTo>
                    <a:pt x="113" y="822"/>
                  </a:lnTo>
                  <a:lnTo>
                    <a:pt x="113" y="822"/>
                  </a:lnTo>
                  <a:lnTo>
                    <a:pt x="115" y="820"/>
                  </a:lnTo>
                  <a:lnTo>
                    <a:pt x="115" y="820"/>
                  </a:lnTo>
                  <a:lnTo>
                    <a:pt x="117" y="818"/>
                  </a:lnTo>
                  <a:lnTo>
                    <a:pt x="117" y="818"/>
                  </a:lnTo>
                  <a:lnTo>
                    <a:pt x="117" y="818"/>
                  </a:lnTo>
                  <a:lnTo>
                    <a:pt x="119" y="818"/>
                  </a:lnTo>
                  <a:lnTo>
                    <a:pt x="121" y="818"/>
                  </a:lnTo>
                  <a:lnTo>
                    <a:pt x="119" y="818"/>
                  </a:lnTo>
                  <a:lnTo>
                    <a:pt x="119" y="820"/>
                  </a:lnTo>
                  <a:lnTo>
                    <a:pt x="121" y="820"/>
                  </a:lnTo>
                  <a:lnTo>
                    <a:pt x="121" y="818"/>
                  </a:lnTo>
                  <a:lnTo>
                    <a:pt x="121" y="818"/>
                  </a:lnTo>
                  <a:lnTo>
                    <a:pt x="121" y="818"/>
                  </a:lnTo>
                  <a:lnTo>
                    <a:pt x="123" y="820"/>
                  </a:lnTo>
                  <a:lnTo>
                    <a:pt x="123" y="820"/>
                  </a:lnTo>
                  <a:lnTo>
                    <a:pt x="123" y="820"/>
                  </a:lnTo>
                  <a:lnTo>
                    <a:pt x="123" y="820"/>
                  </a:lnTo>
                  <a:lnTo>
                    <a:pt x="123" y="820"/>
                  </a:lnTo>
                  <a:lnTo>
                    <a:pt x="123" y="820"/>
                  </a:lnTo>
                  <a:lnTo>
                    <a:pt x="123" y="820"/>
                  </a:lnTo>
                  <a:lnTo>
                    <a:pt x="125" y="820"/>
                  </a:lnTo>
                  <a:lnTo>
                    <a:pt x="125" y="820"/>
                  </a:lnTo>
                  <a:lnTo>
                    <a:pt x="125" y="820"/>
                  </a:lnTo>
                  <a:lnTo>
                    <a:pt x="125" y="820"/>
                  </a:lnTo>
                  <a:lnTo>
                    <a:pt x="123" y="818"/>
                  </a:lnTo>
                  <a:lnTo>
                    <a:pt x="123" y="818"/>
                  </a:lnTo>
                  <a:lnTo>
                    <a:pt x="123" y="818"/>
                  </a:lnTo>
                  <a:lnTo>
                    <a:pt x="125" y="818"/>
                  </a:lnTo>
                  <a:lnTo>
                    <a:pt x="125" y="816"/>
                  </a:lnTo>
                  <a:lnTo>
                    <a:pt x="127" y="816"/>
                  </a:lnTo>
                  <a:lnTo>
                    <a:pt x="127" y="816"/>
                  </a:lnTo>
                  <a:lnTo>
                    <a:pt x="127" y="816"/>
                  </a:lnTo>
                  <a:lnTo>
                    <a:pt x="127" y="814"/>
                  </a:lnTo>
                  <a:lnTo>
                    <a:pt x="129" y="814"/>
                  </a:lnTo>
                  <a:lnTo>
                    <a:pt x="129" y="814"/>
                  </a:lnTo>
                  <a:lnTo>
                    <a:pt x="129" y="814"/>
                  </a:lnTo>
                  <a:lnTo>
                    <a:pt x="129" y="814"/>
                  </a:lnTo>
                  <a:lnTo>
                    <a:pt x="129" y="814"/>
                  </a:lnTo>
                  <a:lnTo>
                    <a:pt x="129" y="812"/>
                  </a:lnTo>
                  <a:lnTo>
                    <a:pt x="129" y="812"/>
                  </a:lnTo>
                  <a:close/>
                  <a:moveTo>
                    <a:pt x="535" y="492"/>
                  </a:moveTo>
                  <a:lnTo>
                    <a:pt x="535" y="492"/>
                  </a:lnTo>
                  <a:lnTo>
                    <a:pt x="535" y="492"/>
                  </a:lnTo>
                  <a:lnTo>
                    <a:pt x="535" y="492"/>
                  </a:lnTo>
                  <a:lnTo>
                    <a:pt x="535" y="490"/>
                  </a:lnTo>
                  <a:lnTo>
                    <a:pt x="535" y="490"/>
                  </a:lnTo>
                  <a:lnTo>
                    <a:pt x="535" y="490"/>
                  </a:lnTo>
                  <a:lnTo>
                    <a:pt x="535" y="490"/>
                  </a:lnTo>
                  <a:lnTo>
                    <a:pt x="535" y="488"/>
                  </a:lnTo>
                  <a:lnTo>
                    <a:pt x="535" y="488"/>
                  </a:lnTo>
                  <a:lnTo>
                    <a:pt x="535" y="488"/>
                  </a:lnTo>
                  <a:lnTo>
                    <a:pt x="533" y="490"/>
                  </a:lnTo>
                  <a:lnTo>
                    <a:pt x="533" y="490"/>
                  </a:lnTo>
                  <a:lnTo>
                    <a:pt x="533" y="490"/>
                  </a:lnTo>
                  <a:lnTo>
                    <a:pt x="535" y="492"/>
                  </a:lnTo>
                  <a:close/>
                  <a:moveTo>
                    <a:pt x="522" y="906"/>
                  </a:moveTo>
                  <a:lnTo>
                    <a:pt x="522" y="906"/>
                  </a:lnTo>
                  <a:lnTo>
                    <a:pt x="522" y="906"/>
                  </a:lnTo>
                  <a:lnTo>
                    <a:pt x="522" y="906"/>
                  </a:lnTo>
                  <a:lnTo>
                    <a:pt x="522" y="906"/>
                  </a:lnTo>
                  <a:lnTo>
                    <a:pt x="522" y="906"/>
                  </a:lnTo>
                  <a:lnTo>
                    <a:pt x="520" y="906"/>
                  </a:lnTo>
                  <a:lnTo>
                    <a:pt x="520" y="906"/>
                  </a:lnTo>
                  <a:lnTo>
                    <a:pt x="520" y="906"/>
                  </a:lnTo>
                  <a:lnTo>
                    <a:pt x="520" y="904"/>
                  </a:lnTo>
                  <a:lnTo>
                    <a:pt x="520" y="904"/>
                  </a:lnTo>
                  <a:lnTo>
                    <a:pt x="518" y="904"/>
                  </a:lnTo>
                  <a:lnTo>
                    <a:pt x="518" y="904"/>
                  </a:lnTo>
                  <a:lnTo>
                    <a:pt x="516" y="904"/>
                  </a:lnTo>
                  <a:lnTo>
                    <a:pt x="516" y="906"/>
                  </a:lnTo>
                  <a:lnTo>
                    <a:pt x="516" y="906"/>
                  </a:lnTo>
                  <a:lnTo>
                    <a:pt x="514" y="906"/>
                  </a:lnTo>
                  <a:lnTo>
                    <a:pt x="514" y="904"/>
                  </a:lnTo>
                  <a:lnTo>
                    <a:pt x="514" y="904"/>
                  </a:lnTo>
                  <a:lnTo>
                    <a:pt x="512" y="906"/>
                  </a:lnTo>
                  <a:lnTo>
                    <a:pt x="512" y="906"/>
                  </a:lnTo>
                  <a:lnTo>
                    <a:pt x="512" y="906"/>
                  </a:lnTo>
                  <a:lnTo>
                    <a:pt x="512" y="908"/>
                  </a:lnTo>
                  <a:lnTo>
                    <a:pt x="512" y="908"/>
                  </a:lnTo>
                  <a:lnTo>
                    <a:pt x="512" y="908"/>
                  </a:lnTo>
                  <a:lnTo>
                    <a:pt x="512" y="908"/>
                  </a:lnTo>
                  <a:lnTo>
                    <a:pt x="514" y="908"/>
                  </a:lnTo>
                  <a:lnTo>
                    <a:pt x="514" y="908"/>
                  </a:lnTo>
                  <a:lnTo>
                    <a:pt x="514" y="908"/>
                  </a:lnTo>
                  <a:lnTo>
                    <a:pt x="516" y="908"/>
                  </a:lnTo>
                  <a:lnTo>
                    <a:pt x="516" y="908"/>
                  </a:lnTo>
                  <a:lnTo>
                    <a:pt x="518" y="908"/>
                  </a:lnTo>
                  <a:lnTo>
                    <a:pt x="518" y="910"/>
                  </a:lnTo>
                  <a:lnTo>
                    <a:pt x="520" y="910"/>
                  </a:lnTo>
                  <a:lnTo>
                    <a:pt x="520" y="910"/>
                  </a:lnTo>
                  <a:lnTo>
                    <a:pt x="520" y="910"/>
                  </a:lnTo>
                  <a:lnTo>
                    <a:pt x="520" y="910"/>
                  </a:lnTo>
                  <a:lnTo>
                    <a:pt x="520" y="910"/>
                  </a:lnTo>
                  <a:lnTo>
                    <a:pt x="522" y="908"/>
                  </a:lnTo>
                  <a:lnTo>
                    <a:pt x="522" y="908"/>
                  </a:lnTo>
                  <a:lnTo>
                    <a:pt x="522" y="908"/>
                  </a:lnTo>
                  <a:lnTo>
                    <a:pt x="522" y="908"/>
                  </a:lnTo>
                  <a:lnTo>
                    <a:pt x="522" y="906"/>
                  </a:lnTo>
                  <a:lnTo>
                    <a:pt x="522" y="906"/>
                  </a:lnTo>
                  <a:lnTo>
                    <a:pt x="522" y="906"/>
                  </a:lnTo>
                  <a:close/>
                  <a:moveTo>
                    <a:pt x="524" y="898"/>
                  </a:moveTo>
                  <a:lnTo>
                    <a:pt x="524" y="898"/>
                  </a:lnTo>
                  <a:lnTo>
                    <a:pt x="522" y="898"/>
                  </a:lnTo>
                  <a:lnTo>
                    <a:pt x="522" y="898"/>
                  </a:lnTo>
                  <a:lnTo>
                    <a:pt x="522" y="900"/>
                  </a:lnTo>
                  <a:lnTo>
                    <a:pt x="522" y="900"/>
                  </a:lnTo>
                  <a:lnTo>
                    <a:pt x="522" y="900"/>
                  </a:lnTo>
                  <a:lnTo>
                    <a:pt x="522" y="902"/>
                  </a:lnTo>
                  <a:lnTo>
                    <a:pt x="522" y="902"/>
                  </a:lnTo>
                  <a:lnTo>
                    <a:pt x="522" y="902"/>
                  </a:lnTo>
                  <a:lnTo>
                    <a:pt x="522" y="902"/>
                  </a:lnTo>
                  <a:lnTo>
                    <a:pt x="524" y="900"/>
                  </a:lnTo>
                  <a:lnTo>
                    <a:pt x="524" y="900"/>
                  </a:lnTo>
                  <a:lnTo>
                    <a:pt x="524" y="900"/>
                  </a:lnTo>
                  <a:lnTo>
                    <a:pt x="524" y="898"/>
                  </a:lnTo>
                  <a:lnTo>
                    <a:pt x="524" y="898"/>
                  </a:lnTo>
                  <a:lnTo>
                    <a:pt x="524" y="898"/>
                  </a:lnTo>
                  <a:close/>
                  <a:moveTo>
                    <a:pt x="567" y="719"/>
                  </a:moveTo>
                  <a:lnTo>
                    <a:pt x="567" y="719"/>
                  </a:lnTo>
                  <a:lnTo>
                    <a:pt x="567" y="719"/>
                  </a:lnTo>
                  <a:lnTo>
                    <a:pt x="569" y="721"/>
                  </a:lnTo>
                  <a:lnTo>
                    <a:pt x="569" y="721"/>
                  </a:lnTo>
                  <a:lnTo>
                    <a:pt x="571" y="721"/>
                  </a:lnTo>
                  <a:lnTo>
                    <a:pt x="571" y="719"/>
                  </a:lnTo>
                  <a:lnTo>
                    <a:pt x="573" y="719"/>
                  </a:lnTo>
                  <a:lnTo>
                    <a:pt x="573" y="719"/>
                  </a:lnTo>
                  <a:lnTo>
                    <a:pt x="571" y="717"/>
                  </a:lnTo>
                  <a:lnTo>
                    <a:pt x="571" y="717"/>
                  </a:lnTo>
                  <a:lnTo>
                    <a:pt x="571" y="717"/>
                  </a:lnTo>
                  <a:lnTo>
                    <a:pt x="569" y="717"/>
                  </a:lnTo>
                  <a:lnTo>
                    <a:pt x="567" y="715"/>
                  </a:lnTo>
                  <a:lnTo>
                    <a:pt x="565" y="715"/>
                  </a:lnTo>
                  <a:lnTo>
                    <a:pt x="565" y="717"/>
                  </a:lnTo>
                  <a:lnTo>
                    <a:pt x="567" y="719"/>
                  </a:lnTo>
                  <a:close/>
                  <a:moveTo>
                    <a:pt x="514" y="902"/>
                  </a:moveTo>
                  <a:lnTo>
                    <a:pt x="512" y="902"/>
                  </a:lnTo>
                  <a:lnTo>
                    <a:pt x="512" y="902"/>
                  </a:lnTo>
                  <a:lnTo>
                    <a:pt x="510" y="900"/>
                  </a:lnTo>
                  <a:lnTo>
                    <a:pt x="510" y="900"/>
                  </a:lnTo>
                  <a:lnTo>
                    <a:pt x="510" y="902"/>
                  </a:lnTo>
                  <a:lnTo>
                    <a:pt x="510" y="902"/>
                  </a:lnTo>
                  <a:lnTo>
                    <a:pt x="510" y="902"/>
                  </a:lnTo>
                  <a:lnTo>
                    <a:pt x="510" y="902"/>
                  </a:lnTo>
                  <a:lnTo>
                    <a:pt x="510" y="904"/>
                  </a:lnTo>
                  <a:lnTo>
                    <a:pt x="510" y="904"/>
                  </a:lnTo>
                  <a:lnTo>
                    <a:pt x="510" y="904"/>
                  </a:lnTo>
                  <a:lnTo>
                    <a:pt x="512" y="904"/>
                  </a:lnTo>
                  <a:lnTo>
                    <a:pt x="512" y="904"/>
                  </a:lnTo>
                  <a:lnTo>
                    <a:pt x="514" y="902"/>
                  </a:lnTo>
                  <a:close/>
                  <a:moveTo>
                    <a:pt x="510" y="908"/>
                  </a:moveTo>
                  <a:lnTo>
                    <a:pt x="508" y="908"/>
                  </a:lnTo>
                  <a:lnTo>
                    <a:pt x="508" y="908"/>
                  </a:lnTo>
                  <a:lnTo>
                    <a:pt x="508" y="908"/>
                  </a:lnTo>
                  <a:lnTo>
                    <a:pt x="508" y="906"/>
                  </a:lnTo>
                  <a:lnTo>
                    <a:pt x="506" y="906"/>
                  </a:lnTo>
                  <a:lnTo>
                    <a:pt x="506" y="906"/>
                  </a:lnTo>
                  <a:lnTo>
                    <a:pt x="506" y="908"/>
                  </a:lnTo>
                  <a:lnTo>
                    <a:pt x="506" y="908"/>
                  </a:lnTo>
                  <a:lnTo>
                    <a:pt x="506" y="908"/>
                  </a:lnTo>
                  <a:lnTo>
                    <a:pt x="506" y="908"/>
                  </a:lnTo>
                  <a:lnTo>
                    <a:pt x="506" y="910"/>
                  </a:lnTo>
                  <a:lnTo>
                    <a:pt x="508" y="910"/>
                  </a:lnTo>
                  <a:lnTo>
                    <a:pt x="510" y="910"/>
                  </a:lnTo>
                  <a:lnTo>
                    <a:pt x="510" y="910"/>
                  </a:lnTo>
                  <a:lnTo>
                    <a:pt x="510" y="910"/>
                  </a:lnTo>
                  <a:lnTo>
                    <a:pt x="510" y="910"/>
                  </a:lnTo>
                  <a:lnTo>
                    <a:pt x="510" y="908"/>
                  </a:lnTo>
                  <a:lnTo>
                    <a:pt x="510" y="908"/>
                  </a:lnTo>
                  <a:close/>
                  <a:moveTo>
                    <a:pt x="555" y="684"/>
                  </a:moveTo>
                  <a:lnTo>
                    <a:pt x="555" y="684"/>
                  </a:lnTo>
                  <a:lnTo>
                    <a:pt x="557" y="684"/>
                  </a:lnTo>
                  <a:lnTo>
                    <a:pt x="557" y="684"/>
                  </a:lnTo>
                  <a:lnTo>
                    <a:pt x="557" y="687"/>
                  </a:lnTo>
                  <a:lnTo>
                    <a:pt x="559" y="687"/>
                  </a:lnTo>
                  <a:lnTo>
                    <a:pt x="559" y="687"/>
                  </a:lnTo>
                  <a:lnTo>
                    <a:pt x="557" y="687"/>
                  </a:lnTo>
                  <a:lnTo>
                    <a:pt x="557" y="689"/>
                  </a:lnTo>
                  <a:lnTo>
                    <a:pt x="557" y="689"/>
                  </a:lnTo>
                  <a:lnTo>
                    <a:pt x="559" y="687"/>
                  </a:lnTo>
                  <a:lnTo>
                    <a:pt x="559" y="687"/>
                  </a:lnTo>
                  <a:lnTo>
                    <a:pt x="559" y="687"/>
                  </a:lnTo>
                  <a:lnTo>
                    <a:pt x="561" y="687"/>
                  </a:lnTo>
                  <a:lnTo>
                    <a:pt x="561" y="687"/>
                  </a:lnTo>
                  <a:lnTo>
                    <a:pt x="561" y="684"/>
                  </a:lnTo>
                  <a:lnTo>
                    <a:pt x="561" y="684"/>
                  </a:lnTo>
                  <a:lnTo>
                    <a:pt x="561" y="684"/>
                  </a:lnTo>
                  <a:lnTo>
                    <a:pt x="563" y="684"/>
                  </a:lnTo>
                  <a:lnTo>
                    <a:pt x="563" y="684"/>
                  </a:lnTo>
                  <a:lnTo>
                    <a:pt x="563" y="682"/>
                  </a:lnTo>
                  <a:lnTo>
                    <a:pt x="563" y="682"/>
                  </a:lnTo>
                  <a:lnTo>
                    <a:pt x="563" y="682"/>
                  </a:lnTo>
                  <a:lnTo>
                    <a:pt x="563" y="682"/>
                  </a:lnTo>
                  <a:lnTo>
                    <a:pt x="563" y="682"/>
                  </a:lnTo>
                  <a:lnTo>
                    <a:pt x="563" y="682"/>
                  </a:lnTo>
                  <a:lnTo>
                    <a:pt x="559" y="682"/>
                  </a:lnTo>
                  <a:lnTo>
                    <a:pt x="559" y="682"/>
                  </a:lnTo>
                  <a:lnTo>
                    <a:pt x="557" y="682"/>
                  </a:lnTo>
                  <a:lnTo>
                    <a:pt x="557" y="682"/>
                  </a:lnTo>
                  <a:lnTo>
                    <a:pt x="557" y="682"/>
                  </a:lnTo>
                  <a:lnTo>
                    <a:pt x="557" y="682"/>
                  </a:lnTo>
                  <a:lnTo>
                    <a:pt x="555" y="682"/>
                  </a:lnTo>
                  <a:lnTo>
                    <a:pt x="555" y="682"/>
                  </a:lnTo>
                  <a:lnTo>
                    <a:pt x="555" y="682"/>
                  </a:lnTo>
                  <a:lnTo>
                    <a:pt x="555" y="684"/>
                  </a:lnTo>
                  <a:lnTo>
                    <a:pt x="555" y="684"/>
                  </a:lnTo>
                  <a:lnTo>
                    <a:pt x="555" y="684"/>
                  </a:lnTo>
                  <a:close/>
                  <a:moveTo>
                    <a:pt x="492" y="908"/>
                  </a:moveTo>
                  <a:lnTo>
                    <a:pt x="492" y="908"/>
                  </a:lnTo>
                  <a:lnTo>
                    <a:pt x="492" y="908"/>
                  </a:lnTo>
                  <a:lnTo>
                    <a:pt x="492" y="908"/>
                  </a:lnTo>
                  <a:lnTo>
                    <a:pt x="492" y="908"/>
                  </a:lnTo>
                  <a:lnTo>
                    <a:pt x="490" y="908"/>
                  </a:lnTo>
                  <a:lnTo>
                    <a:pt x="490" y="908"/>
                  </a:lnTo>
                  <a:lnTo>
                    <a:pt x="490" y="908"/>
                  </a:lnTo>
                  <a:lnTo>
                    <a:pt x="490" y="908"/>
                  </a:lnTo>
                  <a:lnTo>
                    <a:pt x="487" y="908"/>
                  </a:lnTo>
                  <a:lnTo>
                    <a:pt x="487" y="908"/>
                  </a:lnTo>
                  <a:lnTo>
                    <a:pt x="487" y="908"/>
                  </a:lnTo>
                  <a:lnTo>
                    <a:pt x="487" y="908"/>
                  </a:lnTo>
                  <a:lnTo>
                    <a:pt x="487" y="908"/>
                  </a:lnTo>
                  <a:lnTo>
                    <a:pt x="487" y="908"/>
                  </a:lnTo>
                  <a:lnTo>
                    <a:pt x="483" y="910"/>
                  </a:lnTo>
                  <a:lnTo>
                    <a:pt x="483" y="912"/>
                  </a:lnTo>
                  <a:lnTo>
                    <a:pt x="483" y="914"/>
                  </a:lnTo>
                  <a:lnTo>
                    <a:pt x="483" y="914"/>
                  </a:lnTo>
                  <a:lnTo>
                    <a:pt x="483" y="914"/>
                  </a:lnTo>
                  <a:lnTo>
                    <a:pt x="483" y="914"/>
                  </a:lnTo>
                  <a:lnTo>
                    <a:pt x="485" y="914"/>
                  </a:lnTo>
                  <a:lnTo>
                    <a:pt x="485" y="914"/>
                  </a:lnTo>
                  <a:lnTo>
                    <a:pt x="485" y="912"/>
                  </a:lnTo>
                  <a:lnTo>
                    <a:pt x="487" y="912"/>
                  </a:lnTo>
                  <a:lnTo>
                    <a:pt x="490" y="912"/>
                  </a:lnTo>
                  <a:lnTo>
                    <a:pt x="490" y="914"/>
                  </a:lnTo>
                  <a:lnTo>
                    <a:pt x="490" y="912"/>
                  </a:lnTo>
                  <a:lnTo>
                    <a:pt x="492" y="912"/>
                  </a:lnTo>
                  <a:lnTo>
                    <a:pt x="492" y="910"/>
                  </a:lnTo>
                  <a:lnTo>
                    <a:pt x="494" y="910"/>
                  </a:lnTo>
                  <a:lnTo>
                    <a:pt x="494" y="910"/>
                  </a:lnTo>
                  <a:lnTo>
                    <a:pt x="494" y="910"/>
                  </a:lnTo>
                  <a:lnTo>
                    <a:pt x="494" y="910"/>
                  </a:lnTo>
                  <a:lnTo>
                    <a:pt x="492" y="908"/>
                  </a:lnTo>
                  <a:close/>
                  <a:moveTo>
                    <a:pt x="584" y="891"/>
                  </a:moveTo>
                  <a:lnTo>
                    <a:pt x="584" y="891"/>
                  </a:lnTo>
                  <a:lnTo>
                    <a:pt x="584" y="891"/>
                  </a:lnTo>
                  <a:lnTo>
                    <a:pt x="584" y="891"/>
                  </a:lnTo>
                  <a:lnTo>
                    <a:pt x="584" y="891"/>
                  </a:lnTo>
                  <a:lnTo>
                    <a:pt x="586" y="889"/>
                  </a:lnTo>
                  <a:lnTo>
                    <a:pt x="586" y="887"/>
                  </a:lnTo>
                  <a:lnTo>
                    <a:pt x="588" y="887"/>
                  </a:lnTo>
                  <a:lnTo>
                    <a:pt x="588" y="885"/>
                  </a:lnTo>
                  <a:lnTo>
                    <a:pt x="586" y="885"/>
                  </a:lnTo>
                  <a:lnTo>
                    <a:pt x="584" y="885"/>
                  </a:lnTo>
                  <a:lnTo>
                    <a:pt x="584" y="885"/>
                  </a:lnTo>
                  <a:lnTo>
                    <a:pt x="582" y="885"/>
                  </a:lnTo>
                  <a:lnTo>
                    <a:pt x="582" y="883"/>
                  </a:lnTo>
                  <a:lnTo>
                    <a:pt x="582" y="883"/>
                  </a:lnTo>
                  <a:lnTo>
                    <a:pt x="580" y="883"/>
                  </a:lnTo>
                  <a:lnTo>
                    <a:pt x="580" y="883"/>
                  </a:lnTo>
                  <a:lnTo>
                    <a:pt x="578" y="883"/>
                  </a:lnTo>
                  <a:lnTo>
                    <a:pt x="578" y="883"/>
                  </a:lnTo>
                  <a:lnTo>
                    <a:pt x="576" y="883"/>
                  </a:lnTo>
                  <a:lnTo>
                    <a:pt x="573" y="883"/>
                  </a:lnTo>
                  <a:lnTo>
                    <a:pt x="573" y="883"/>
                  </a:lnTo>
                  <a:lnTo>
                    <a:pt x="571" y="885"/>
                  </a:lnTo>
                  <a:lnTo>
                    <a:pt x="569" y="885"/>
                  </a:lnTo>
                  <a:lnTo>
                    <a:pt x="569" y="885"/>
                  </a:lnTo>
                  <a:lnTo>
                    <a:pt x="569" y="885"/>
                  </a:lnTo>
                  <a:lnTo>
                    <a:pt x="567" y="887"/>
                  </a:lnTo>
                  <a:lnTo>
                    <a:pt x="567" y="887"/>
                  </a:lnTo>
                  <a:lnTo>
                    <a:pt x="567" y="887"/>
                  </a:lnTo>
                  <a:lnTo>
                    <a:pt x="567" y="889"/>
                  </a:lnTo>
                  <a:lnTo>
                    <a:pt x="567" y="889"/>
                  </a:lnTo>
                  <a:lnTo>
                    <a:pt x="567" y="889"/>
                  </a:lnTo>
                  <a:lnTo>
                    <a:pt x="567" y="891"/>
                  </a:lnTo>
                  <a:lnTo>
                    <a:pt x="567" y="891"/>
                  </a:lnTo>
                  <a:lnTo>
                    <a:pt x="565" y="891"/>
                  </a:lnTo>
                  <a:lnTo>
                    <a:pt x="565" y="891"/>
                  </a:lnTo>
                  <a:lnTo>
                    <a:pt x="567" y="891"/>
                  </a:lnTo>
                  <a:lnTo>
                    <a:pt x="567" y="891"/>
                  </a:lnTo>
                  <a:lnTo>
                    <a:pt x="567" y="894"/>
                  </a:lnTo>
                  <a:lnTo>
                    <a:pt x="567" y="894"/>
                  </a:lnTo>
                  <a:lnTo>
                    <a:pt x="567" y="894"/>
                  </a:lnTo>
                  <a:lnTo>
                    <a:pt x="567" y="894"/>
                  </a:lnTo>
                  <a:lnTo>
                    <a:pt x="567" y="894"/>
                  </a:lnTo>
                  <a:lnTo>
                    <a:pt x="567" y="896"/>
                  </a:lnTo>
                  <a:lnTo>
                    <a:pt x="567" y="896"/>
                  </a:lnTo>
                  <a:lnTo>
                    <a:pt x="565" y="896"/>
                  </a:lnTo>
                  <a:lnTo>
                    <a:pt x="565" y="896"/>
                  </a:lnTo>
                  <a:lnTo>
                    <a:pt x="565" y="896"/>
                  </a:lnTo>
                  <a:lnTo>
                    <a:pt x="565" y="896"/>
                  </a:lnTo>
                  <a:lnTo>
                    <a:pt x="565" y="894"/>
                  </a:lnTo>
                  <a:lnTo>
                    <a:pt x="565" y="894"/>
                  </a:lnTo>
                  <a:lnTo>
                    <a:pt x="563" y="894"/>
                  </a:lnTo>
                  <a:lnTo>
                    <a:pt x="563" y="894"/>
                  </a:lnTo>
                  <a:lnTo>
                    <a:pt x="563" y="894"/>
                  </a:lnTo>
                  <a:lnTo>
                    <a:pt x="563" y="896"/>
                  </a:lnTo>
                  <a:lnTo>
                    <a:pt x="561" y="896"/>
                  </a:lnTo>
                  <a:lnTo>
                    <a:pt x="561" y="896"/>
                  </a:lnTo>
                  <a:lnTo>
                    <a:pt x="561" y="896"/>
                  </a:lnTo>
                  <a:lnTo>
                    <a:pt x="561" y="894"/>
                  </a:lnTo>
                  <a:lnTo>
                    <a:pt x="559" y="894"/>
                  </a:lnTo>
                  <a:lnTo>
                    <a:pt x="559" y="894"/>
                  </a:lnTo>
                  <a:lnTo>
                    <a:pt x="559" y="894"/>
                  </a:lnTo>
                  <a:lnTo>
                    <a:pt x="559" y="894"/>
                  </a:lnTo>
                  <a:lnTo>
                    <a:pt x="557" y="896"/>
                  </a:lnTo>
                  <a:lnTo>
                    <a:pt x="557" y="896"/>
                  </a:lnTo>
                  <a:lnTo>
                    <a:pt x="555" y="896"/>
                  </a:lnTo>
                  <a:lnTo>
                    <a:pt x="555" y="898"/>
                  </a:lnTo>
                  <a:lnTo>
                    <a:pt x="553" y="898"/>
                  </a:lnTo>
                  <a:lnTo>
                    <a:pt x="553" y="898"/>
                  </a:lnTo>
                  <a:lnTo>
                    <a:pt x="553" y="900"/>
                  </a:lnTo>
                  <a:lnTo>
                    <a:pt x="553" y="900"/>
                  </a:lnTo>
                  <a:lnTo>
                    <a:pt x="553" y="902"/>
                  </a:lnTo>
                  <a:lnTo>
                    <a:pt x="553" y="902"/>
                  </a:lnTo>
                  <a:lnTo>
                    <a:pt x="551" y="904"/>
                  </a:lnTo>
                  <a:lnTo>
                    <a:pt x="551" y="906"/>
                  </a:lnTo>
                  <a:lnTo>
                    <a:pt x="549" y="904"/>
                  </a:lnTo>
                  <a:lnTo>
                    <a:pt x="549" y="906"/>
                  </a:lnTo>
                  <a:lnTo>
                    <a:pt x="549" y="908"/>
                  </a:lnTo>
                  <a:lnTo>
                    <a:pt x="549" y="908"/>
                  </a:lnTo>
                  <a:lnTo>
                    <a:pt x="547" y="908"/>
                  </a:lnTo>
                  <a:lnTo>
                    <a:pt x="547" y="908"/>
                  </a:lnTo>
                  <a:lnTo>
                    <a:pt x="547" y="908"/>
                  </a:lnTo>
                  <a:lnTo>
                    <a:pt x="545" y="908"/>
                  </a:lnTo>
                  <a:lnTo>
                    <a:pt x="545" y="908"/>
                  </a:lnTo>
                  <a:lnTo>
                    <a:pt x="545" y="910"/>
                  </a:lnTo>
                  <a:lnTo>
                    <a:pt x="545" y="910"/>
                  </a:lnTo>
                  <a:lnTo>
                    <a:pt x="543" y="912"/>
                  </a:lnTo>
                  <a:lnTo>
                    <a:pt x="541" y="910"/>
                  </a:lnTo>
                  <a:lnTo>
                    <a:pt x="541" y="912"/>
                  </a:lnTo>
                  <a:lnTo>
                    <a:pt x="541" y="912"/>
                  </a:lnTo>
                  <a:lnTo>
                    <a:pt x="541" y="912"/>
                  </a:lnTo>
                  <a:lnTo>
                    <a:pt x="541" y="912"/>
                  </a:lnTo>
                  <a:lnTo>
                    <a:pt x="541" y="912"/>
                  </a:lnTo>
                  <a:lnTo>
                    <a:pt x="541" y="912"/>
                  </a:lnTo>
                  <a:lnTo>
                    <a:pt x="541" y="912"/>
                  </a:lnTo>
                  <a:lnTo>
                    <a:pt x="539" y="912"/>
                  </a:lnTo>
                  <a:lnTo>
                    <a:pt x="543" y="912"/>
                  </a:lnTo>
                  <a:lnTo>
                    <a:pt x="543" y="912"/>
                  </a:lnTo>
                  <a:lnTo>
                    <a:pt x="543" y="912"/>
                  </a:lnTo>
                  <a:lnTo>
                    <a:pt x="543" y="912"/>
                  </a:lnTo>
                  <a:lnTo>
                    <a:pt x="543" y="912"/>
                  </a:lnTo>
                  <a:lnTo>
                    <a:pt x="545" y="910"/>
                  </a:lnTo>
                  <a:lnTo>
                    <a:pt x="547" y="910"/>
                  </a:lnTo>
                  <a:lnTo>
                    <a:pt x="547" y="910"/>
                  </a:lnTo>
                  <a:lnTo>
                    <a:pt x="549" y="910"/>
                  </a:lnTo>
                  <a:lnTo>
                    <a:pt x="549" y="910"/>
                  </a:lnTo>
                  <a:lnTo>
                    <a:pt x="549" y="910"/>
                  </a:lnTo>
                  <a:lnTo>
                    <a:pt x="549" y="910"/>
                  </a:lnTo>
                  <a:lnTo>
                    <a:pt x="551" y="910"/>
                  </a:lnTo>
                  <a:lnTo>
                    <a:pt x="551" y="910"/>
                  </a:lnTo>
                  <a:lnTo>
                    <a:pt x="551" y="910"/>
                  </a:lnTo>
                  <a:lnTo>
                    <a:pt x="551" y="910"/>
                  </a:lnTo>
                  <a:lnTo>
                    <a:pt x="551" y="910"/>
                  </a:lnTo>
                  <a:lnTo>
                    <a:pt x="551" y="910"/>
                  </a:lnTo>
                  <a:lnTo>
                    <a:pt x="551" y="908"/>
                  </a:lnTo>
                  <a:lnTo>
                    <a:pt x="551" y="908"/>
                  </a:lnTo>
                  <a:lnTo>
                    <a:pt x="553" y="908"/>
                  </a:lnTo>
                  <a:lnTo>
                    <a:pt x="555" y="908"/>
                  </a:lnTo>
                  <a:lnTo>
                    <a:pt x="555" y="908"/>
                  </a:lnTo>
                  <a:lnTo>
                    <a:pt x="555" y="908"/>
                  </a:lnTo>
                  <a:lnTo>
                    <a:pt x="555" y="908"/>
                  </a:lnTo>
                  <a:lnTo>
                    <a:pt x="557" y="908"/>
                  </a:lnTo>
                  <a:lnTo>
                    <a:pt x="557" y="906"/>
                  </a:lnTo>
                  <a:lnTo>
                    <a:pt x="557" y="906"/>
                  </a:lnTo>
                  <a:lnTo>
                    <a:pt x="559" y="906"/>
                  </a:lnTo>
                  <a:lnTo>
                    <a:pt x="561" y="906"/>
                  </a:lnTo>
                  <a:lnTo>
                    <a:pt x="561" y="906"/>
                  </a:lnTo>
                  <a:lnTo>
                    <a:pt x="561" y="906"/>
                  </a:lnTo>
                  <a:lnTo>
                    <a:pt x="563" y="904"/>
                  </a:lnTo>
                  <a:lnTo>
                    <a:pt x="563" y="904"/>
                  </a:lnTo>
                  <a:lnTo>
                    <a:pt x="565" y="902"/>
                  </a:lnTo>
                  <a:lnTo>
                    <a:pt x="565" y="902"/>
                  </a:lnTo>
                  <a:lnTo>
                    <a:pt x="565" y="900"/>
                  </a:lnTo>
                  <a:lnTo>
                    <a:pt x="567" y="902"/>
                  </a:lnTo>
                  <a:lnTo>
                    <a:pt x="567" y="900"/>
                  </a:lnTo>
                  <a:lnTo>
                    <a:pt x="567" y="900"/>
                  </a:lnTo>
                  <a:lnTo>
                    <a:pt x="567" y="900"/>
                  </a:lnTo>
                  <a:lnTo>
                    <a:pt x="567" y="900"/>
                  </a:lnTo>
                  <a:lnTo>
                    <a:pt x="567" y="898"/>
                  </a:lnTo>
                  <a:lnTo>
                    <a:pt x="569" y="898"/>
                  </a:lnTo>
                  <a:lnTo>
                    <a:pt x="569" y="898"/>
                  </a:lnTo>
                  <a:lnTo>
                    <a:pt x="569" y="898"/>
                  </a:lnTo>
                  <a:lnTo>
                    <a:pt x="571" y="898"/>
                  </a:lnTo>
                  <a:lnTo>
                    <a:pt x="571" y="898"/>
                  </a:lnTo>
                  <a:lnTo>
                    <a:pt x="573" y="898"/>
                  </a:lnTo>
                  <a:lnTo>
                    <a:pt x="573" y="896"/>
                  </a:lnTo>
                  <a:lnTo>
                    <a:pt x="580" y="894"/>
                  </a:lnTo>
                  <a:lnTo>
                    <a:pt x="580" y="894"/>
                  </a:lnTo>
                  <a:lnTo>
                    <a:pt x="582" y="894"/>
                  </a:lnTo>
                  <a:lnTo>
                    <a:pt x="584" y="894"/>
                  </a:lnTo>
                  <a:lnTo>
                    <a:pt x="584" y="894"/>
                  </a:lnTo>
                  <a:lnTo>
                    <a:pt x="584" y="891"/>
                  </a:lnTo>
                  <a:close/>
                  <a:moveTo>
                    <a:pt x="561" y="908"/>
                  </a:moveTo>
                  <a:lnTo>
                    <a:pt x="561" y="908"/>
                  </a:lnTo>
                  <a:lnTo>
                    <a:pt x="561" y="908"/>
                  </a:lnTo>
                  <a:lnTo>
                    <a:pt x="561" y="910"/>
                  </a:lnTo>
                  <a:lnTo>
                    <a:pt x="561" y="910"/>
                  </a:lnTo>
                  <a:lnTo>
                    <a:pt x="561" y="910"/>
                  </a:lnTo>
                  <a:lnTo>
                    <a:pt x="561" y="910"/>
                  </a:lnTo>
                  <a:lnTo>
                    <a:pt x="561" y="910"/>
                  </a:lnTo>
                  <a:lnTo>
                    <a:pt x="561" y="910"/>
                  </a:lnTo>
                  <a:lnTo>
                    <a:pt x="561" y="910"/>
                  </a:lnTo>
                  <a:lnTo>
                    <a:pt x="561" y="908"/>
                  </a:lnTo>
                  <a:lnTo>
                    <a:pt x="561" y="908"/>
                  </a:lnTo>
                  <a:close/>
                  <a:moveTo>
                    <a:pt x="541" y="510"/>
                  </a:moveTo>
                  <a:lnTo>
                    <a:pt x="541" y="510"/>
                  </a:lnTo>
                  <a:lnTo>
                    <a:pt x="543" y="510"/>
                  </a:lnTo>
                  <a:lnTo>
                    <a:pt x="543" y="510"/>
                  </a:lnTo>
                  <a:lnTo>
                    <a:pt x="545" y="508"/>
                  </a:lnTo>
                  <a:lnTo>
                    <a:pt x="545" y="510"/>
                  </a:lnTo>
                  <a:lnTo>
                    <a:pt x="547" y="510"/>
                  </a:lnTo>
                  <a:lnTo>
                    <a:pt x="547" y="510"/>
                  </a:lnTo>
                  <a:lnTo>
                    <a:pt x="549" y="512"/>
                  </a:lnTo>
                  <a:lnTo>
                    <a:pt x="549" y="512"/>
                  </a:lnTo>
                  <a:lnTo>
                    <a:pt x="549" y="512"/>
                  </a:lnTo>
                  <a:lnTo>
                    <a:pt x="549" y="512"/>
                  </a:lnTo>
                  <a:lnTo>
                    <a:pt x="551" y="512"/>
                  </a:lnTo>
                  <a:lnTo>
                    <a:pt x="551" y="512"/>
                  </a:lnTo>
                  <a:lnTo>
                    <a:pt x="549" y="510"/>
                  </a:lnTo>
                  <a:lnTo>
                    <a:pt x="549" y="510"/>
                  </a:lnTo>
                  <a:lnTo>
                    <a:pt x="547" y="508"/>
                  </a:lnTo>
                  <a:lnTo>
                    <a:pt x="547" y="506"/>
                  </a:lnTo>
                  <a:lnTo>
                    <a:pt x="545" y="506"/>
                  </a:lnTo>
                  <a:lnTo>
                    <a:pt x="543" y="506"/>
                  </a:lnTo>
                  <a:lnTo>
                    <a:pt x="539" y="500"/>
                  </a:lnTo>
                  <a:lnTo>
                    <a:pt x="537" y="498"/>
                  </a:lnTo>
                  <a:lnTo>
                    <a:pt x="537" y="498"/>
                  </a:lnTo>
                  <a:lnTo>
                    <a:pt x="537" y="498"/>
                  </a:lnTo>
                  <a:lnTo>
                    <a:pt x="537" y="496"/>
                  </a:lnTo>
                  <a:lnTo>
                    <a:pt x="537" y="494"/>
                  </a:lnTo>
                  <a:lnTo>
                    <a:pt x="537" y="494"/>
                  </a:lnTo>
                  <a:lnTo>
                    <a:pt x="537" y="494"/>
                  </a:lnTo>
                  <a:lnTo>
                    <a:pt x="537" y="494"/>
                  </a:lnTo>
                  <a:lnTo>
                    <a:pt x="535" y="494"/>
                  </a:lnTo>
                  <a:lnTo>
                    <a:pt x="535" y="494"/>
                  </a:lnTo>
                  <a:lnTo>
                    <a:pt x="535" y="494"/>
                  </a:lnTo>
                  <a:lnTo>
                    <a:pt x="535" y="494"/>
                  </a:lnTo>
                  <a:lnTo>
                    <a:pt x="533" y="494"/>
                  </a:lnTo>
                  <a:lnTo>
                    <a:pt x="533" y="494"/>
                  </a:lnTo>
                  <a:lnTo>
                    <a:pt x="533" y="496"/>
                  </a:lnTo>
                  <a:lnTo>
                    <a:pt x="533" y="496"/>
                  </a:lnTo>
                  <a:lnTo>
                    <a:pt x="533" y="496"/>
                  </a:lnTo>
                  <a:lnTo>
                    <a:pt x="533" y="496"/>
                  </a:lnTo>
                  <a:lnTo>
                    <a:pt x="533" y="496"/>
                  </a:lnTo>
                  <a:lnTo>
                    <a:pt x="533" y="498"/>
                  </a:lnTo>
                  <a:lnTo>
                    <a:pt x="533" y="498"/>
                  </a:lnTo>
                  <a:lnTo>
                    <a:pt x="533" y="498"/>
                  </a:lnTo>
                  <a:lnTo>
                    <a:pt x="533" y="498"/>
                  </a:lnTo>
                  <a:lnTo>
                    <a:pt x="537" y="504"/>
                  </a:lnTo>
                  <a:lnTo>
                    <a:pt x="539" y="504"/>
                  </a:lnTo>
                  <a:lnTo>
                    <a:pt x="539" y="504"/>
                  </a:lnTo>
                  <a:lnTo>
                    <a:pt x="539" y="506"/>
                  </a:lnTo>
                  <a:lnTo>
                    <a:pt x="539" y="506"/>
                  </a:lnTo>
                  <a:lnTo>
                    <a:pt x="539" y="506"/>
                  </a:lnTo>
                  <a:lnTo>
                    <a:pt x="539" y="506"/>
                  </a:lnTo>
                  <a:lnTo>
                    <a:pt x="539" y="508"/>
                  </a:lnTo>
                  <a:lnTo>
                    <a:pt x="541" y="508"/>
                  </a:lnTo>
                  <a:lnTo>
                    <a:pt x="541" y="510"/>
                  </a:lnTo>
                  <a:close/>
                  <a:moveTo>
                    <a:pt x="537" y="914"/>
                  </a:moveTo>
                  <a:lnTo>
                    <a:pt x="535" y="914"/>
                  </a:lnTo>
                  <a:lnTo>
                    <a:pt x="535" y="914"/>
                  </a:lnTo>
                  <a:lnTo>
                    <a:pt x="535" y="914"/>
                  </a:lnTo>
                  <a:lnTo>
                    <a:pt x="535" y="914"/>
                  </a:lnTo>
                  <a:lnTo>
                    <a:pt x="535" y="914"/>
                  </a:lnTo>
                  <a:lnTo>
                    <a:pt x="537" y="914"/>
                  </a:lnTo>
                  <a:lnTo>
                    <a:pt x="537" y="914"/>
                  </a:lnTo>
                  <a:lnTo>
                    <a:pt x="537" y="914"/>
                  </a:lnTo>
                  <a:lnTo>
                    <a:pt x="537" y="914"/>
                  </a:lnTo>
                  <a:lnTo>
                    <a:pt x="537" y="914"/>
                  </a:lnTo>
                  <a:lnTo>
                    <a:pt x="537" y="914"/>
                  </a:lnTo>
                  <a:lnTo>
                    <a:pt x="537" y="914"/>
                  </a:lnTo>
                  <a:close/>
                  <a:moveTo>
                    <a:pt x="322" y="900"/>
                  </a:moveTo>
                  <a:lnTo>
                    <a:pt x="322" y="898"/>
                  </a:lnTo>
                  <a:lnTo>
                    <a:pt x="322" y="898"/>
                  </a:lnTo>
                  <a:lnTo>
                    <a:pt x="322" y="898"/>
                  </a:lnTo>
                  <a:lnTo>
                    <a:pt x="322" y="898"/>
                  </a:lnTo>
                  <a:lnTo>
                    <a:pt x="322" y="898"/>
                  </a:lnTo>
                  <a:lnTo>
                    <a:pt x="320" y="898"/>
                  </a:lnTo>
                  <a:lnTo>
                    <a:pt x="320" y="898"/>
                  </a:lnTo>
                  <a:lnTo>
                    <a:pt x="320" y="898"/>
                  </a:lnTo>
                  <a:lnTo>
                    <a:pt x="320" y="898"/>
                  </a:lnTo>
                  <a:lnTo>
                    <a:pt x="320" y="898"/>
                  </a:lnTo>
                  <a:lnTo>
                    <a:pt x="322" y="898"/>
                  </a:lnTo>
                  <a:lnTo>
                    <a:pt x="322" y="898"/>
                  </a:lnTo>
                  <a:lnTo>
                    <a:pt x="322" y="898"/>
                  </a:lnTo>
                  <a:lnTo>
                    <a:pt x="322" y="900"/>
                  </a:lnTo>
                  <a:lnTo>
                    <a:pt x="322" y="900"/>
                  </a:lnTo>
                  <a:lnTo>
                    <a:pt x="322" y="900"/>
                  </a:lnTo>
                  <a:lnTo>
                    <a:pt x="322" y="900"/>
                  </a:lnTo>
                  <a:lnTo>
                    <a:pt x="322" y="900"/>
                  </a:lnTo>
                  <a:lnTo>
                    <a:pt x="322" y="900"/>
                  </a:lnTo>
                  <a:close/>
                  <a:moveTo>
                    <a:pt x="313" y="894"/>
                  </a:moveTo>
                  <a:lnTo>
                    <a:pt x="313" y="894"/>
                  </a:lnTo>
                  <a:lnTo>
                    <a:pt x="313" y="894"/>
                  </a:lnTo>
                  <a:lnTo>
                    <a:pt x="311" y="894"/>
                  </a:lnTo>
                  <a:lnTo>
                    <a:pt x="311" y="894"/>
                  </a:lnTo>
                  <a:lnTo>
                    <a:pt x="311" y="894"/>
                  </a:lnTo>
                  <a:lnTo>
                    <a:pt x="311" y="894"/>
                  </a:lnTo>
                  <a:lnTo>
                    <a:pt x="311" y="894"/>
                  </a:lnTo>
                  <a:lnTo>
                    <a:pt x="313" y="894"/>
                  </a:lnTo>
                  <a:close/>
                  <a:moveTo>
                    <a:pt x="326" y="898"/>
                  </a:moveTo>
                  <a:lnTo>
                    <a:pt x="324" y="898"/>
                  </a:lnTo>
                  <a:lnTo>
                    <a:pt x="324" y="898"/>
                  </a:lnTo>
                  <a:lnTo>
                    <a:pt x="324" y="898"/>
                  </a:lnTo>
                  <a:lnTo>
                    <a:pt x="324" y="900"/>
                  </a:lnTo>
                  <a:lnTo>
                    <a:pt x="324" y="900"/>
                  </a:lnTo>
                  <a:lnTo>
                    <a:pt x="324" y="900"/>
                  </a:lnTo>
                  <a:lnTo>
                    <a:pt x="324" y="898"/>
                  </a:lnTo>
                  <a:lnTo>
                    <a:pt x="326" y="898"/>
                  </a:lnTo>
                  <a:lnTo>
                    <a:pt x="326" y="898"/>
                  </a:lnTo>
                  <a:lnTo>
                    <a:pt x="326" y="898"/>
                  </a:lnTo>
                  <a:lnTo>
                    <a:pt x="326" y="898"/>
                  </a:lnTo>
                  <a:lnTo>
                    <a:pt x="326" y="898"/>
                  </a:lnTo>
                  <a:close/>
                  <a:moveTo>
                    <a:pt x="334" y="900"/>
                  </a:moveTo>
                  <a:lnTo>
                    <a:pt x="334" y="900"/>
                  </a:lnTo>
                  <a:lnTo>
                    <a:pt x="332" y="900"/>
                  </a:lnTo>
                  <a:lnTo>
                    <a:pt x="334" y="900"/>
                  </a:lnTo>
                  <a:lnTo>
                    <a:pt x="334" y="900"/>
                  </a:lnTo>
                  <a:lnTo>
                    <a:pt x="334" y="900"/>
                  </a:lnTo>
                  <a:lnTo>
                    <a:pt x="334" y="900"/>
                  </a:lnTo>
                  <a:close/>
                  <a:moveTo>
                    <a:pt x="317" y="891"/>
                  </a:moveTo>
                  <a:lnTo>
                    <a:pt x="317" y="891"/>
                  </a:lnTo>
                  <a:lnTo>
                    <a:pt x="317" y="891"/>
                  </a:lnTo>
                  <a:lnTo>
                    <a:pt x="317" y="891"/>
                  </a:lnTo>
                  <a:lnTo>
                    <a:pt x="317" y="889"/>
                  </a:lnTo>
                  <a:lnTo>
                    <a:pt x="317" y="889"/>
                  </a:lnTo>
                  <a:lnTo>
                    <a:pt x="317" y="887"/>
                  </a:lnTo>
                  <a:lnTo>
                    <a:pt x="315" y="887"/>
                  </a:lnTo>
                  <a:lnTo>
                    <a:pt x="315" y="887"/>
                  </a:lnTo>
                  <a:lnTo>
                    <a:pt x="313" y="885"/>
                  </a:lnTo>
                  <a:lnTo>
                    <a:pt x="313" y="887"/>
                  </a:lnTo>
                  <a:lnTo>
                    <a:pt x="313" y="887"/>
                  </a:lnTo>
                  <a:lnTo>
                    <a:pt x="311" y="887"/>
                  </a:lnTo>
                  <a:lnTo>
                    <a:pt x="311" y="887"/>
                  </a:lnTo>
                  <a:lnTo>
                    <a:pt x="311" y="889"/>
                  </a:lnTo>
                  <a:lnTo>
                    <a:pt x="311" y="889"/>
                  </a:lnTo>
                  <a:lnTo>
                    <a:pt x="311" y="891"/>
                  </a:lnTo>
                  <a:lnTo>
                    <a:pt x="311" y="891"/>
                  </a:lnTo>
                  <a:lnTo>
                    <a:pt x="311" y="891"/>
                  </a:lnTo>
                  <a:lnTo>
                    <a:pt x="311" y="891"/>
                  </a:lnTo>
                  <a:lnTo>
                    <a:pt x="313" y="891"/>
                  </a:lnTo>
                  <a:lnTo>
                    <a:pt x="313" y="894"/>
                  </a:lnTo>
                  <a:lnTo>
                    <a:pt x="313" y="894"/>
                  </a:lnTo>
                  <a:lnTo>
                    <a:pt x="315" y="894"/>
                  </a:lnTo>
                  <a:lnTo>
                    <a:pt x="315" y="894"/>
                  </a:lnTo>
                  <a:lnTo>
                    <a:pt x="315" y="894"/>
                  </a:lnTo>
                  <a:lnTo>
                    <a:pt x="315" y="894"/>
                  </a:lnTo>
                  <a:lnTo>
                    <a:pt x="315" y="894"/>
                  </a:lnTo>
                  <a:lnTo>
                    <a:pt x="315" y="894"/>
                  </a:lnTo>
                  <a:lnTo>
                    <a:pt x="315" y="891"/>
                  </a:lnTo>
                  <a:lnTo>
                    <a:pt x="317" y="891"/>
                  </a:lnTo>
                  <a:lnTo>
                    <a:pt x="317" y="891"/>
                  </a:lnTo>
                  <a:close/>
                  <a:moveTo>
                    <a:pt x="322" y="896"/>
                  </a:moveTo>
                  <a:lnTo>
                    <a:pt x="322" y="896"/>
                  </a:lnTo>
                  <a:lnTo>
                    <a:pt x="322" y="896"/>
                  </a:lnTo>
                  <a:lnTo>
                    <a:pt x="322" y="896"/>
                  </a:lnTo>
                  <a:lnTo>
                    <a:pt x="320" y="896"/>
                  </a:lnTo>
                  <a:lnTo>
                    <a:pt x="320" y="894"/>
                  </a:lnTo>
                  <a:lnTo>
                    <a:pt x="320" y="896"/>
                  </a:lnTo>
                  <a:lnTo>
                    <a:pt x="320" y="896"/>
                  </a:lnTo>
                  <a:lnTo>
                    <a:pt x="320" y="896"/>
                  </a:lnTo>
                  <a:lnTo>
                    <a:pt x="320" y="896"/>
                  </a:lnTo>
                  <a:lnTo>
                    <a:pt x="320" y="896"/>
                  </a:lnTo>
                  <a:lnTo>
                    <a:pt x="320" y="894"/>
                  </a:lnTo>
                  <a:lnTo>
                    <a:pt x="317" y="894"/>
                  </a:lnTo>
                  <a:lnTo>
                    <a:pt x="317" y="896"/>
                  </a:lnTo>
                  <a:lnTo>
                    <a:pt x="320" y="896"/>
                  </a:lnTo>
                  <a:lnTo>
                    <a:pt x="320" y="896"/>
                  </a:lnTo>
                  <a:lnTo>
                    <a:pt x="322" y="896"/>
                  </a:lnTo>
                  <a:close/>
                  <a:moveTo>
                    <a:pt x="432" y="910"/>
                  </a:moveTo>
                  <a:lnTo>
                    <a:pt x="432" y="908"/>
                  </a:lnTo>
                  <a:lnTo>
                    <a:pt x="432" y="908"/>
                  </a:lnTo>
                  <a:lnTo>
                    <a:pt x="432" y="908"/>
                  </a:lnTo>
                  <a:lnTo>
                    <a:pt x="432" y="908"/>
                  </a:lnTo>
                  <a:lnTo>
                    <a:pt x="430" y="908"/>
                  </a:lnTo>
                  <a:lnTo>
                    <a:pt x="428" y="908"/>
                  </a:lnTo>
                  <a:lnTo>
                    <a:pt x="426" y="910"/>
                  </a:lnTo>
                  <a:lnTo>
                    <a:pt x="426" y="910"/>
                  </a:lnTo>
                  <a:lnTo>
                    <a:pt x="424" y="912"/>
                  </a:lnTo>
                  <a:lnTo>
                    <a:pt x="426" y="914"/>
                  </a:lnTo>
                  <a:lnTo>
                    <a:pt x="426" y="914"/>
                  </a:lnTo>
                  <a:lnTo>
                    <a:pt x="428" y="914"/>
                  </a:lnTo>
                  <a:lnTo>
                    <a:pt x="430" y="912"/>
                  </a:lnTo>
                  <a:lnTo>
                    <a:pt x="430" y="914"/>
                  </a:lnTo>
                  <a:lnTo>
                    <a:pt x="430" y="914"/>
                  </a:lnTo>
                  <a:lnTo>
                    <a:pt x="432" y="914"/>
                  </a:lnTo>
                  <a:lnTo>
                    <a:pt x="434" y="912"/>
                  </a:lnTo>
                  <a:lnTo>
                    <a:pt x="434" y="912"/>
                  </a:lnTo>
                  <a:lnTo>
                    <a:pt x="434" y="912"/>
                  </a:lnTo>
                  <a:lnTo>
                    <a:pt x="434" y="910"/>
                  </a:lnTo>
                  <a:lnTo>
                    <a:pt x="432" y="910"/>
                  </a:lnTo>
                  <a:close/>
                  <a:moveTo>
                    <a:pt x="469" y="912"/>
                  </a:moveTo>
                  <a:lnTo>
                    <a:pt x="469" y="912"/>
                  </a:lnTo>
                  <a:lnTo>
                    <a:pt x="467" y="912"/>
                  </a:lnTo>
                  <a:lnTo>
                    <a:pt x="467" y="914"/>
                  </a:lnTo>
                  <a:lnTo>
                    <a:pt x="469" y="914"/>
                  </a:lnTo>
                  <a:lnTo>
                    <a:pt x="469" y="914"/>
                  </a:lnTo>
                  <a:lnTo>
                    <a:pt x="471" y="914"/>
                  </a:lnTo>
                  <a:lnTo>
                    <a:pt x="471" y="914"/>
                  </a:lnTo>
                  <a:lnTo>
                    <a:pt x="471" y="914"/>
                  </a:lnTo>
                  <a:lnTo>
                    <a:pt x="471" y="912"/>
                  </a:lnTo>
                  <a:lnTo>
                    <a:pt x="471" y="912"/>
                  </a:lnTo>
                  <a:lnTo>
                    <a:pt x="469" y="912"/>
                  </a:lnTo>
                  <a:close/>
                  <a:moveTo>
                    <a:pt x="473" y="910"/>
                  </a:moveTo>
                  <a:lnTo>
                    <a:pt x="473" y="910"/>
                  </a:lnTo>
                  <a:lnTo>
                    <a:pt x="473" y="910"/>
                  </a:lnTo>
                  <a:lnTo>
                    <a:pt x="473" y="910"/>
                  </a:lnTo>
                  <a:lnTo>
                    <a:pt x="473" y="910"/>
                  </a:lnTo>
                  <a:lnTo>
                    <a:pt x="473" y="910"/>
                  </a:lnTo>
                  <a:lnTo>
                    <a:pt x="475" y="910"/>
                  </a:lnTo>
                  <a:lnTo>
                    <a:pt x="475" y="910"/>
                  </a:lnTo>
                  <a:lnTo>
                    <a:pt x="475" y="910"/>
                  </a:lnTo>
                  <a:lnTo>
                    <a:pt x="475" y="910"/>
                  </a:lnTo>
                  <a:lnTo>
                    <a:pt x="473" y="910"/>
                  </a:lnTo>
                  <a:lnTo>
                    <a:pt x="473" y="910"/>
                  </a:lnTo>
                  <a:close/>
                  <a:moveTo>
                    <a:pt x="334" y="889"/>
                  </a:moveTo>
                  <a:lnTo>
                    <a:pt x="334" y="889"/>
                  </a:lnTo>
                  <a:lnTo>
                    <a:pt x="334" y="889"/>
                  </a:lnTo>
                  <a:lnTo>
                    <a:pt x="334" y="889"/>
                  </a:lnTo>
                  <a:lnTo>
                    <a:pt x="334" y="889"/>
                  </a:lnTo>
                  <a:lnTo>
                    <a:pt x="334" y="889"/>
                  </a:lnTo>
                  <a:lnTo>
                    <a:pt x="334" y="889"/>
                  </a:lnTo>
                  <a:lnTo>
                    <a:pt x="334" y="889"/>
                  </a:lnTo>
                  <a:lnTo>
                    <a:pt x="334" y="889"/>
                  </a:lnTo>
                  <a:lnTo>
                    <a:pt x="336" y="889"/>
                  </a:lnTo>
                  <a:lnTo>
                    <a:pt x="334" y="889"/>
                  </a:lnTo>
                  <a:lnTo>
                    <a:pt x="334" y="889"/>
                  </a:lnTo>
                  <a:close/>
                  <a:moveTo>
                    <a:pt x="408" y="916"/>
                  </a:moveTo>
                  <a:lnTo>
                    <a:pt x="406" y="916"/>
                  </a:lnTo>
                  <a:lnTo>
                    <a:pt x="406" y="916"/>
                  </a:lnTo>
                  <a:lnTo>
                    <a:pt x="406" y="916"/>
                  </a:lnTo>
                  <a:lnTo>
                    <a:pt x="406" y="916"/>
                  </a:lnTo>
                  <a:lnTo>
                    <a:pt x="404" y="916"/>
                  </a:lnTo>
                  <a:lnTo>
                    <a:pt x="404" y="916"/>
                  </a:lnTo>
                  <a:lnTo>
                    <a:pt x="404" y="916"/>
                  </a:lnTo>
                  <a:lnTo>
                    <a:pt x="404" y="916"/>
                  </a:lnTo>
                  <a:lnTo>
                    <a:pt x="404" y="916"/>
                  </a:lnTo>
                  <a:lnTo>
                    <a:pt x="404" y="914"/>
                  </a:lnTo>
                  <a:lnTo>
                    <a:pt x="404" y="914"/>
                  </a:lnTo>
                  <a:lnTo>
                    <a:pt x="404" y="914"/>
                  </a:lnTo>
                  <a:lnTo>
                    <a:pt x="401" y="914"/>
                  </a:lnTo>
                  <a:lnTo>
                    <a:pt x="401" y="914"/>
                  </a:lnTo>
                  <a:lnTo>
                    <a:pt x="399" y="914"/>
                  </a:lnTo>
                  <a:lnTo>
                    <a:pt x="399" y="914"/>
                  </a:lnTo>
                  <a:lnTo>
                    <a:pt x="399" y="914"/>
                  </a:lnTo>
                  <a:lnTo>
                    <a:pt x="399" y="914"/>
                  </a:lnTo>
                  <a:lnTo>
                    <a:pt x="397" y="914"/>
                  </a:lnTo>
                  <a:lnTo>
                    <a:pt x="397" y="914"/>
                  </a:lnTo>
                  <a:lnTo>
                    <a:pt x="397" y="914"/>
                  </a:lnTo>
                  <a:lnTo>
                    <a:pt x="397" y="912"/>
                  </a:lnTo>
                  <a:lnTo>
                    <a:pt x="397" y="912"/>
                  </a:lnTo>
                  <a:lnTo>
                    <a:pt x="397" y="912"/>
                  </a:lnTo>
                  <a:lnTo>
                    <a:pt x="397" y="912"/>
                  </a:lnTo>
                  <a:lnTo>
                    <a:pt x="395" y="912"/>
                  </a:lnTo>
                  <a:lnTo>
                    <a:pt x="395" y="912"/>
                  </a:lnTo>
                  <a:lnTo>
                    <a:pt x="393" y="912"/>
                  </a:lnTo>
                  <a:lnTo>
                    <a:pt x="393" y="912"/>
                  </a:lnTo>
                  <a:lnTo>
                    <a:pt x="395" y="910"/>
                  </a:lnTo>
                  <a:lnTo>
                    <a:pt x="393" y="910"/>
                  </a:lnTo>
                  <a:lnTo>
                    <a:pt x="393" y="910"/>
                  </a:lnTo>
                  <a:lnTo>
                    <a:pt x="393" y="910"/>
                  </a:lnTo>
                  <a:lnTo>
                    <a:pt x="391" y="910"/>
                  </a:lnTo>
                  <a:lnTo>
                    <a:pt x="391" y="910"/>
                  </a:lnTo>
                  <a:lnTo>
                    <a:pt x="391" y="910"/>
                  </a:lnTo>
                  <a:lnTo>
                    <a:pt x="391" y="908"/>
                  </a:lnTo>
                  <a:lnTo>
                    <a:pt x="391" y="908"/>
                  </a:lnTo>
                  <a:lnTo>
                    <a:pt x="389" y="910"/>
                  </a:lnTo>
                  <a:lnTo>
                    <a:pt x="389" y="910"/>
                  </a:lnTo>
                  <a:lnTo>
                    <a:pt x="387" y="910"/>
                  </a:lnTo>
                  <a:lnTo>
                    <a:pt x="387" y="910"/>
                  </a:lnTo>
                  <a:lnTo>
                    <a:pt x="385" y="910"/>
                  </a:lnTo>
                  <a:lnTo>
                    <a:pt x="385" y="910"/>
                  </a:lnTo>
                  <a:lnTo>
                    <a:pt x="385" y="908"/>
                  </a:lnTo>
                  <a:lnTo>
                    <a:pt x="385" y="908"/>
                  </a:lnTo>
                  <a:lnTo>
                    <a:pt x="385" y="908"/>
                  </a:lnTo>
                  <a:lnTo>
                    <a:pt x="383" y="908"/>
                  </a:lnTo>
                  <a:lnTo>
                    <a:pt x="383" y="908"/>
                  </a:lnTo>
                  <a:lnTo>
                    <a:pt x="383" y="908"/>
                  </a:lnTo>
                  <a:lnTo>
                    <a:pt x="383" y="908"/>
                  </a:lnTo>
                  <a:lnTo>
                    <a:pt x="383" y="908"/>
                  </a:lnTo>
                  <a:lnTo>
                    <a:pt x="383" y="908"/>
                  </a:lnTo>
                  <a:lnTo>
                    <a:pt x="381" y="908"/>
                  </a:lnTo>
                  <a:lnTo>
                    <a:pt x="381" y="908"/>
                  </a:lnTo>
                  <a:lnTo>
                    <a:pt x="379" y="906"/>
                  </a:lnTo>
                  <a:lnTo>
                    <a:pt x="379" y="906"/>
                  </a:lnTo>
                  <a:lnTo>
                    <a:pt x="379" y="906"/>
                  </a:lnTo>
                  <a:lnTo>
                    <a:pt x="379" y="906"/>
                  </a:lnTo>
                  <a:lnTo>
                    <a:pt x="379" y="906"/>
                  </a:lnTo>
                  <a:lnTo>
                    <a:pt x="379" y="906"/>
                  </a:lnTo>
                  <a:lnTo>
                    <a:pt x="379" y="906"/>
                  </a:lnTo>
                  <a:lnTo>
                    <a:pt x="379" y="906"/>
                  </a:lnTo>
                  <a:lnTo>
                    <a:pt x="379" y="906"/>
                  </a:lnTo>
                  <a:lnTo>
                    <a:pt x="379" y="908"/>
                  </a:lnTo>
                  <a:lnTo>
                    <a:pt x="379" y="908"/>
                  </a:lnTo>
                  <a:lnTo>
                    <a:pt x="379" y="908"/>
                  </a:lnTo>
                  <a:lnTo>
                    <a:pt x="379" y="908"/>
                  </a:lnTo>
                  <a:lnTo>
                    <a:pt x="379" y="908"/>
                  </a:lnTo>
                  <a:lnTo>
                    <a:pt x="381" y="908"/>
                  </a:lnTo>
                  <a:lnTo>
                    <a:pt x="381" y="908"/>
                  </a:lnTo>
                  <a:lnTo>
                    <a:pt x="381" y="910"/>
                  </a:lnTo>
                  <a:lnTo>
                    <a:pt x="381" y="910"/>
                  </a:lnTo>
                  <a:lnTo>
                    <a:pt x="381" y="910"/>
                  </a:lnTo>
                  <a:lnTo>
                    <a:pt x="381" y="910"/>
                  </a:lnTo>
                  <a:lnTo>
                    <a:pt x="381" y="910"/>
                  </a:lnTo>
                  <a:lnTo>
                    <a:pt x="383" y="912"/>
                  </a:lnTo>
                  <a:lnTo>
                    <a:pt x="383" y="912"/>
                  </a:lnTo>
                  <a:lnTo>
                    <a:pt x="387" y="914"/>
                  </a:lnTo>
                  <a:lnTo>
                    <a:pt x="387" y="912"/>
                  </a:lnTo>
                  <a:lnTo>
                    <a:pt x="389" y="912"/>
                  </a:lnTo>
                  <a:lnTo>
                    <a:pt x="389" y="912"/>
                  </a:lnTo>
                  <a:lnTo>
                    <a:pt x="389" y="914"/>
                  </a:lnTo>
                  <a:lnTo>
                    <a:pt x="389" y="914"/>
                  </a:lnTo>
                  <a:lnTo>
                    <a:pt x="391" y="914"/>
                  </a:lnTo>
                  <a:lnTo>
                    <a:pt x="391" y="914"/>
                  </a:lnTo>
                  <a:lnTo>
                    <a:pt x="391" y="916"/>
                  </a:lnTo>
                  <a:lnTo>
                    <a:pt x="391" y="916"/>
                  </a:lnTo>
                  <a:lnTo>
                    <a:pt x="391" y="916"/>
                  </a:lnTo>
                  <a:lnTo>
                    <a:pt x="393" y="916"/>
                  </a:lnTo>
                  <a:lnTo>
                    <a:pt x="393" y="916"/>
                  </a:lnTo>
                  <a:lnTo>
                    <a:pt x="393" y="916"/>
                  </a:lnTo>
                  <a:lnTo>
                    <a:pt x="393" y="916"/>
                  </a:lnTo>
                  <a:lnTo>
                    <a:pt x="393" y="916"/>
                  </a:lnTo>
                  <a:lnTo>
                    <a:pt x="393" y="916"/>
                  </a:lnTo>
                  <a:lnTo>
                    <a:pt x="395" y="916"/>
                  </a:lnTo>
                  <a:lnTo>
                    <a:pt x="395" y="916"/>
                  </a:lnTo>
                  <a:lnTo>
                    <a:pt x="395" y="916"/>
                  </a:lnTo>
                  <a:lnTo>
                    <a:pt x="397" y="916"/>
                  </a:lnTo>
                  <a:lnTo>
                    <a:pt x="397" y="916"/>
                  </a:lnTo>
                  <a:lnTo>
                    <a:pt x="399" y="916"/>
                  </a:lnTo>
                  <a:lnTo>
                    <a:pt x="401" y="916"/>
                  </a:lnTo>
                  <a:lnTo>
                    <a:pt x="401" y="916"/>
                  </a:lnTo>
                  <a:lnTo>
                    <a:pt x="401" y="916"/>
                  </a:lnTo>
                  <a:lnTo>
                    <a:pt x="401" y="916"/>
                  </a:lnTo>
                  <a:lnTo>
                    <a:pt x="401" y="916"/>
                  </a:lnTo>
                  <a:lnTo>
                    <a:pt x="404" y="916"/>
                  </a:lnTo>
                  <a:lnTo>
                    <a:pt x="404" y="916"/>
                  </a:lnTo>
                  <a:lnTo>
                    <a:pt x="404" y="918"/>
                  </a:lnTo>
                  <a:lnTo>
                    <a:pt x="404" y="918"/>
                  </a:lnTo>
                  <a:lnTo>
                    <a:pt x="406" y="918"/>
                  </a:lnTo>
                  <a:lnTo>
                    <a:pt x="408" y="918"/>
                  </a:lnTo>
                  <a:lnTo>
                    <a:pt x="408" y="918"/>
                  </a:lnTo>
                  <a:lnTo>
                    <a:pt x="410" y="918"/>
                  </a:lnTo>
                  <a:lnTo>
                    <a:pt x="410" y="918"/>
                  </a:lnTo>
                  <a:lnTo>
                    <a:pt x="412" y="918"/>
                  </a:lnTo>
                  <a:lnTo>
                    <a:pt x="412" y="918"/>
                  </a:lnTo>
                  <a:lnTo>
                    <a:pt x="408" y="916"/>
                  </a:lnTo>
                  <a:lnTo>
                    <a:pt x="408" y="916"/>
                  </a:lnTo>
                  <a:close/>
                  <a:moveTo>
                    <a:pt x="377" y="904"/>
                  </a:moveTo>
                  <a:lnTo>
                    <a:pt x="375" y="904"/>
                  </a:lnTo>
                  <a:lnTo>
                    <a:pt x="375" y="902"/>
                  </a:lnTo>
                  <a:lnTo>
                    <a:pt x="375" y="902"/>
                  </a:lnTo>
                  <a:lnTo>
                    <a:pt x="375" y="900"/>
                  </a:lnTo>
                  <a:lnTo>
                    <a:pt x="377" y="900"/>
                  </a:lnTo>
                  <a:lnTo>
                    <a:pt x="379" y="902"/>
                  </a:lnTo>
                  <a:lnTo>
                    <a:pt x="381" y="900"/>
                  </a:lnTo>
                  <a:lnTo>
                    <a:pt x="381" y="900"/>
                  </a:lnTo>
                  <a:lnTo>
                    <a:pt x="381" y="900"/>
                  </a:lnTo>
                  <a:lnTo>
                    <a:pt x="381" y="900"/>
                  </a:lnTo>
                  <a:lnTo>
                    <a:pt x="381" y="900"/>
                  </a:lnTo>
                  <a:lnTo>
                    <a:pt x="381" y="900"/>
                  </a:lnTo>
                  <a:lnTo>
                    <a:pt x="381" y="900"/>
                  </a:lnTo>
                  <a:lnTo>
                    <a:pt x="383" y="900"/>
                  </a:lnTo>
                  <a:lnTo>
                    <a:pt x="383" y="898"/>
                  </a:lnTo>
                  <a:lnTo>
                    <a:pt x="383" y="898"/>
                  </a:lnTo>
                  <a:lnTo>
                    <a:pt x="383" y="898"/>
                  </a:lnTo>
                  <a:lnTo>
                    <a:pt x="383" y="896"/>
                  </a:lnTo>
                  <a:lnTo>
                    <a:pt x="383" y="896"/>
                  </a:lnTo>
                  <a:lnTo>
                    <a:pt x="383" y="896"/>
                  </a:lnTo>
                  <a:lnTo>
                    <a:pt x="381" y="894"/>
                  </a:lnTo>
                  <a:lnTo>
                    <a:pt x="381" y="894"/>
                  </a:lnTo>
                  <a:lnTo>
                    <a:pt x="381" y="891"/>
                  </a:lnTo>
                  <a:lnTo>
                    <a:pt x="381" y="894"/>
                  </a:lnTo>
                  <a:lnTo>
                    <a:pt x="381" y="891"/>
                  </a:lnTo>
                  <a:lnTo>
                    <a:pt x="379" y="891"/>
                  </a:lnTo>
                  <a:lnTo>
                    <a:pt x="379" y="891"/>
                  </a:lnTo>
                  <a:lnTo>
                    <a:pt x="379" y="891"/>
                  </a:lnTo>
                  <a:lnTo>
                    <a:pt x="377" y="891"/>
                  </a:lnTo>
                  <a:lnTo>
                    <a:pt x="375" y="891"/>
                  </a:lnTo>
                  <a:lnTo>
                    <a:pt x="375" y="891"/>
                  </a:lnTo>
                  <a:lnTo>
                    <a:pt x="375" y="891"/>
                  </a:lnTo>
                  <a:lnTo>
                    <a:pt x="375" y="891"/>
                  </a:lnTo>
                  <a:lnTo>
                    <a:pt x="373" y="891"/>
                  </a:lnTo>
                  <a:lnTo>
                    <a:pt x="373" y="891"/>
                  </a:lnTo>
                  <a:lnTo>
                    <a:pt x="373" y="891"/>
                  </a:lnTo>
                  <a:lnTo>
                    <a:pt x="373" y="894"/>
                  </a:lnTo>
                  <a:lnTo>
                    <a:pt x="371" y="894"/>
                  </a:lnTo>
                  <a:lnTo>
                    <a:pt x="369" y="894"/>
                  </a:lnTo>
                  <a:lnTo>
                    <a:pt x="369" y="894"/>
                  </a:lnTo>
                  <a:lnTo>
                    <a:pt x="369" y="894"/>
                  </a:lnTo>
                  <a:lnTo>
                    <a:pt x="371" y="896"/>
                  </a:lnTo>
                  <a:lnTo>
                    <a:pt x="371" y="896"/>
                  </a:lnTo>
                  <a:lnTo>
                    <a:pt x="371" y="896"/>
                  </a:lnTo>
                  <a:lnTo>
                    <a:pt x="373" y="894"/>
                  </a:lnTo>
                  <a:lnTo>
                    <a:pt x="373" y="894"/>
                  </a:lnTo>
                  <a:lnTo>
                    <a:pt x="373" y="896"/>
                  </a:lnTo>
                  <a:lnTo>
                    <a:pt x="373" y="896"/>
                  </a:lnTo>
                  <a:lnTo>
                    <a:pt x="373" y="896"/>
                  </a:lnTo>
                  <a:lnTo>
                    <a:pt x="373" y="896"/>
                  </a:lnTo>
                  <a:lnTo>
                    <a:pt x="373" y="898"/>
                  </a:lnTo>
                  <a:lnTo>
                    <a:pt x="375" y="898"/>
                  </a:lnTo>
                  <a:lnTo>
                    <a:pt x="375" y="898"/>
                  </a:lnTo>
                  <a:lnTo>
                    <a:pt x="375" y="898"/>
                  </a:lnTo>
                  <a:lnTo>
                    <a:pt x="375" y="900"/>
                  </a:lnTo>
                  <a:lnTo>
                    <a:pt x="373" y="898"/>
                  </a:lnTo>
                  <a:lnTo>
                    <a:pt x="373" y="900"/>
                  </a:lnTo>
                  <a:lnTo>
                    <a:pt x="373" y="900"/>
                  </a:lnTo>
                  <a:lnTo>
                    <a:pt x="373" y="900"/>
                  </a:lnTo>
                  <a:lnTo>
                    <a:pt x="373" y="900"/>
                  </a:lnTo>
                  <a:lnTo>
                    <a:pt x="373" y="900"/>
                  </a:lnTo>
                  <a:lnTo>
                    <a:pt x="371" y="900"/>
                  </a:lnTo>
                  <a:lnTo>
                    <a:pt x="371" y="900"/>
                  </a:lnTo>
                  <a:lnTo>
                    <a:pt x="371" y="900"/>
                  </a:lnTo>
                  <a:lnTo>
                    <a:pt x="371" y="900"/>
                  </a:lnTo>
                  <a:lnTo>
                    <a:pt x="369" y="900"/>
                  </a:lnTo>
                  <a:lnTo>
                    <a:pt x="367" y="898"/>
                  </a:lnTo>
                  <a:lnTo>
                    <a:pt x="367" y="898"/>
                  </a:lnTo>
                  <a:lnTo>
                    <a:pt x="369" y="900"/>
                  </a:lnTo>
                  <a:lnTo>
                    <a:pt x="369" y="900"/>
                  </a:lnTo>
                  <a:lnTo>
                    <a:pt x="369" y="900"/>
                  </a:lnTo>
                  <a:lnTo>
                    <a:pt x="369" y="900"/>
                  </a:lnTo>
                  <a:lnTo>
                    <a:pt x="367" y="900"/>
                  </a:lnTo>
                  <a:lnTo>
                    <a:pt x="367" y="900"/>
                  </a:lnTo>
                  <a:lnTo>
                    <a:pt x="363" y="900"/>
                  </a:lnTo>
                  <a:lnTo>
                    <a:pt x="365" y="900"/>
                  </a:lnTo>
                  <a:lnTo>
                    <a:pt x="365" y="900"/>
                  </a:lnTo>
                  <a:lnTo>
                    <a:pt x="365" y="900"/>
                  </a:lnTo>
                  <a:lnTo>
                    <a:pt x="363" y="900"/>
                  </a:lnTo>
                  <a:lnTo>
                    <a:pt x="365" y="900"/>
                  </a:lnTo>
                  <a:lnTo>
                    <a:pt x="365" y="900"/>
                  </a:lnTo>
                  <a:lnTo>
                    <a:pt x="365" y="900"/>
                  </a:lnTo>
                  <a:lnTo>
                    <a:pt x="365" y="902"/>
                  </a:lnTo>
                  <a:lnTo>
                    <a:pt x="365" y="902"/>
                  </a:lnTo>
                  <a:lnTo>
                    <a:pt x="363" y="902"/>
                  </a:lnTo>
                  <a:lnTo>
                    <a:pt x="363" y="900"/>
                  </a:lnTo>
                  <a:lnTo>
                    <a:pt x="363" y="902"/>
                  </a:lnTo>
                  <a:lnTo>
                    <a:pt x="360" y="902"/>
                  </a:lnTo>
                  <a:lnTo>
                    <a:pt x="360" y="902"/>
                  </a:lnTo>
                  <a:lnTo>
                    <a:pt x="363" y="902"/>
                  </a:lnTo>
                  <a:lnTo>
                    <a:pt x="360" y="902"/>
                  </a:lnTo>
                  <a:lnTo>
                    <a:pt x="360" y="902"/>
                  </a:lnTo>
                  <a:lnTo>
                    <a:pt x="358" y="902"/>
                  </a:lnTo>
                  <a:lnTo>
                    <a:pt x="358" y="900"/>
                  </a:lnTo>
                  <a:lnTo>
                    <a:pt x="356" y="900"/>
                  </a:lnTo>
                  <a:lnTo>
                    <a:pt x="356" y="900"/>
                  </a:lnTo>
                  <a:lnTo>
                    <a:pt x="356" y="902"/>
                  </a:lnTo>
                  <a:lnTo>
                    <a:pt x="354" y="902"/>
                  </a:lnTo>
                  <a:lnTo>
                    <a:pt x="354" y="902"/>
                  </a:lnTo>
                  <a:lnTo>
                    <a:pt x="354" y="900"/>
                  </a:lnTo>
                  <a:lnTo>
                    <a:pt x="354" y="900"/>
                  </a:lnTo>
                  <a:lnTo>
                    <a:pt x="354" y="900"/>
                  </a:lnTo>
                  <a:lnTo>
                    <a:pt x="352" y="900"/>
                  </a:lnTo>
                  <a:lnTo>
                    <a:pt x="352" y="900"/>
                  </a:lnTo>
                  <a:lnTo>
                    <a:pt x="352" y="900"/>
                  </a:lnTo>
                  <a:lnTo>
                    <a:pt x="352" y="898"/>
                  </a:lnTo>
                  <a:lnTo>
                    <a:pt x="352" y="900"/>
                  </a:lnTo>
                  <a:lnTo>
                    <a:pt x="350" y="900"/>
                  </a:lnTo>
                  <a:lnTo>
                    <a:pt x="350" y="900"/>
                  </a:lnTo>
                  <a:lnTo>
                    <a:pt x="350" y="900"/>
                  </a:lnTo>
                  <a:lnTo>
                    <a:pt x="350" y="900"/>
                  </a:lnTo>
                  <a:lnTo>
                    <a:pt x="348" y="900"/>
                  </a:lnTo>
                  <a:lnTo>
                    <a:pt x="348" y="900"/>
                  </a:lnTo>
                  <a:lnTo>
                    <a:pt x="348" y="900"/>
                  </a:lnTo>
                  <a:lnTo>
                    <a:pt x="348" y="900"/>
                  </a:lnTo>
                  <a:lnTo>
                    <a:pt x="348" y="900"/>
                  </a:lnTo>
                  <a:lnTo>
                    <a:pt x="348" y="900"/>
                  </a:lnTo>
                  <a:lnTo>
                    <a:pt x="348" y="900"/>
                  </a:lnTo>
                  <a:lnTo>
                    <a:pt x="348" y="900"/>
                  </a:lnTo>
                  <a:lnTo>
                    <a:pt x="348" y="900"/>
                  </a:lnTo>
                  <a:lnTo>
                    <a:pt x="348" y="900"/>
                  </a:lnTo>
                  <a:lnTo>
                    <a:pt x="348" y="900"/>
                  </a:lnTo>
                  <a:lnTo>
                    <a:pt x="348" y="902"/>
                  </a:lnTo>
                  <a:lnTo>
                    <a:pt x="346" y="902"/>
                  </a:lnTo>
                  <a:lnTo>
                    <a:pt x="346" y="902"/>
                  </a:lnTo>
                  <a:lnTo>
                    <a:pt x="346" y="902"/>
                  </a:lnTo>
                  <a:lnTo>
                    <a:pt x="346" y="900"/>
                  </a:lnTo>
                  <a:lnTo>
                    <a:pt x="346" y="900"/>
                  </a:lnTo>
                  <a:lnTo>
                    <a:pt x="344" y="900"/>
                  </a:lnTo>
                  <a:lnTo>
                    <a:pt x="344" y="900"/>
                  </a:lnTo>
                  <a:lnTo>
                    <a:pt x="344" y="900"/>
                  </a:lnTo>
                  <a:lnTo>
                    <a:pt x="344" y="900"/>
                  </a:lnTo>
                  <a:lnTo>
                    <a:pt x="344" y="900"/>
                  </a:lnTo>
                  <a:lnTo>
                    <a:pt x="344" y="900"/>
                  </a:lnTo>
                  <a:lnTo>
                    <a:pt x="342" y="900"/>
                  </a:lnTo>
                  <a:lnTo>
                    <a:pt x="342" y="900"/>
                  </a:lnTo>
                  <a:lnTo>
                    <a:pt x="338" y="900"/>
                  </a:lnTo>
                  <a:lnTo>
                    <a:pt x="338" y="900"/>
                  </a:lnTo>
                  <a:lnTo>
                    <a:pt x="338" y="900"/>
                  </a:lnTo>
                  <a:lnTo>
                    <a:pt x="346" y="902"/>
                  </a:lnTo>
                  <a:lnTo>
                    <a:pt x="348" y="902"/>
                  </a:lnTo>
                  <a:lnTo>
                    <a:pt x="348" y="902"/>
                  </a:lnTo>
                  <a:lnTo>
                    <a:pt x="348" y="902"/>
                  </a:lnTo>
                  <a:lnTo>
                    <a:pt x="350" y="902"/>
                  </a:lnTo>
                  <a:lnTo>
                    <a:pt x="350" y="902"/>
                  </a:lnTo>
                  <a:lnTo>
                    <a:pt x="350" y="902"/>
                  </a:lnTo>
                  <a:lnTo>
                    <a:pt x="352" y="902"/>
                  </a:lnTo>
                  <a:lnTo>
                    <a:pt x="354" y="904"/>
                  </a:lnTo>
                  <a:lnTo>
                    <a:pt x="354" y="904"/>
                  </a:lnTo>
                  <a:lnTo>
                    <a:pt x="354" y="906"/>
                  </a:lnTo>
                  <a:lnTo>
                    <a:pt x="356" y="906"/>
                  </a:lnTo>
                  <a:lnTo>
                    <a:pt x="356" y="906"/>
                  </a:lnTo>
                  <a:lnTo>
                    <a:pt x="356" y="904"/>
                  </a:lnTo>
                  <a:lnTo>
                    <a:pt x="356" y="904"/>
                  </a:lnTo>
                  <a:lnTo>
                    <a:pt x="356" y="904"/>
                  </a:lnTo>
                  <a:lnTo>
                    <a:pt x="356" y="904"/>
                  </a:lnTo>
                  <a:lnTo>
                    <a:pt x="356" y="904"/>
                  </a:lnTo>
                  <a:lnTo>
                    <a:pt x="356" y="904"/>
                  </a:lnTo>
                  <a:lnTo>
                    <a:pt x="358" y="906"/>
                  </a:lnTo>
                  <a:lnTo>
                    <a:pt x="358" y="906"/>
                  </a:lnTo>
                  <a:lnTo>
                    <a:pt x="358" y="906"/>
                  </a:lnTo>
                  <a:lnTo>
                    <a:pt x="360" y="906"/>
                  </a:lnTo>
                  <a:lnTo>
                    <a:pt x="360" y="906"/>
                  </a:lnTo>
                  <a:lnTo>
                    <a:pt x="360" y="906"/>
                  </a:lnTo>
                  <a:lnTo>
                    <a:pt x="363" y="906"/>
                  </a:lnTo>
                  <a:lnTo>
                    <a:pt x="363" y="906"/>
                  </a:lnTo>
                  <a:lnTo>
                    <a:pt x="363" y="906"/>
                  </a:lnTo>
                  <a:lnTo>
                    <a:pt x="363" y="906"/>
                  </a:lnTo>
                  <a:lnTo>
                    <a:pt x="363" y="906"/>
                  </a:lnTo>
                  <a:lnTo>
                    <a:pt x="363" y="906"/>
                  </a:lnTo>
                  <a:lnTo>
                    <a:pt x="363" y="904"/>
                  </a:lnTo>
                  <a:lnTo>
                    <a:pt x="363" y="906"/>
                  </a:lnTo>
                  <a:lnTo>
                    <a:pt x="363" y="906"/>
                  </a:lnTo>
                  <a:lnTo>
                    <a:pt x="363" y="906"/>
                  </a:lnTo>
                  <a:lnTo>
                    <a:pt x="363" y="906"/>
                  </a:lnTo>
                  <a:lnTo>
                    <a:pt x="363" y="904"/>
                  </a:lnTo>
                  <a:lnTo>
                    <a:pt x="363" y="904"/>
                  </a:lnTo>
                  <a:lnTo>
                    <a:pt x="363" y="904"/>
                  </a:lnTo>
                  <a:lnTo>
                    <a:pt x="365" y="904"/>
                  </a:lnTo>
                  <a:lnTo>
                    <a:pt x="365" y="906"/>
                  </a:lnTo>
                  <a:lnTo>
                    <a:pt x="365" y="904"/>
                  </a:lnTo>
                  <a:lnTo>
                    <a:pt x="365" y="906"/>
                  </a:lnTo>
                  <a:lnTo>
                    <a:pt x="365" y="906"/>
                  </a:lnTo>
                  <a:lnTo>
                    <a:pt x="365" y="906"/>
                  </a:lnTo>
                  <a:lnTo>
                    <a:pt x="367" y="908"/>
                  </a:lnTo>
                  <a:lnTo>
                    <a:pt x="367" y="906"/>
                  </a:lnTo>
                  <a:lnTo>
                    <a:pt x="367" y="904"/>
                  </a:lnTo>
                  <a:lnTo>
                    <a:pt x="369" y="904"/>
                  </a:lnTo>
                  <a:lnTo>
                    <a:pt x="369" y="904"/>
                  </a:lnTo>
                  <a:lnTo>
                    <a:pt x="367" y="904"/>
                  </a:lnTo>
                  <a:lnTo>
                    <a:pt x="367" y="904"/>
                  </a:lnTo>
                  <a:lnTo>
                    <a:pt x="367" y="904"/>
                  </a:lnTo>
                  <a:lnTo>
                    <a:pt x="367" y="904"/>
                  </a:lnTo>
                  <a:lnTo>
                    <a:pt x="367" y="904"/>
                  </a:lnTo>
                  <a:lnTo>
                    <a:pt x="369" y="904"/>
                  </a:lnTo>
                  <a:lnTo>
                    <a:pt x="369" y="904"/>
                  </a:lnTo>
                  <a:lnTo>
                    <a:pt x="369" y="904"/>
                  </a:lnTo>
                  <a:lnTo>
                    <a:pt x="371" y="904"/>
                  </a:lnTo>
                  <a:lnTo>
                    <a:pt x="371" y="904"/>
                  </a:lnTo>
                  <a:lnTo>
                    <a:pt x="371" y="904"/>
                  </a:lnTo>
                  <a:lnTo>
                    <a:pt x="371" y="906"/>
                  </a:lnTo>
                  <a:lnTo>
                    <a:pt x="371" y="906"/>
                  </a:lnTo>
                  <a:lnTo>
                    <a:pt x="373" y="906"/>
                  </a:lnTo>
                  <a:lnTo>
                    <a:pt x="373" y="906"/>
                  </a:lnTo>
                  <a:lnTo>
                    <a:pt x="373" y="906"/>
                  </a:lnTo>
                  <a:lnTo>
                    <a:pt x="373" y="906"/>
                  </a:lnTo>
                  <a:lnTo>
                    <a:pt x="373" y="906"/>
                  </a:lnTo>
                  <a:lnTo>
                    <a:pt x="373" y="904"/>
                  </a:lnTo>
                  <a:lnTo>
                    <a:pt x="373" y="906"/>
                  </a:lnTo>
                  <a:lnTo>
                    <a:pt x="375" y="906"/>
                  </a:lnTo>
                  <a:lnTo>
                    <a:pt x="375" y="906"/>
                  </a:lnTo>
                  <a:lnTo>
                    <a:pt x="375" y="906"/>
                  </a:lnTo>
                  <a:lnTo>
                    <a:pt x="375" y="906"/>
                  </a:lnTo>
                  <a:lnTo>
                    <a:pt x="375" y="906"/>
                  </a:lnTo>
                  <a:lnTo>
                    <a:pt x="375" y="906"/>
                  </a:lnTo>
                  <a:lnTo>
                    <a:pt x="377" y="906"/>
                  </a:lnTo>
                  <a:lnTo>
                    <a:pt x="377" y="906"/>
                  </a:lnTo>
                  <a:lnTo>
                    <a:pt x="377" y="906"/>
                  </a:lnTo>
                  <a:lnTo>
                    <a:pt x="377" y="906"/>
                  </a:lnTo>
                  <a:lnTo>
                    <a:pt x="377" y="904"/>
                  </a:lnTo>
                  <a:close/>
                  <a:moveTo>
                    <a:pt x="717" y="262"/>
                  </a:moveTo>
                  <a:lnTo>
                    <a:pt x="719" y="262"/>
                  </a:lnTo>
                  <a:lnTo>
                    <a:pt x="719" y="262"/>
                  </a:lnTo>
                  <a:lnTo>
                    <a:pt x="719" y="262"/>
                  </a:lnTo>
                  <a:lnTo>
                    <a:pt x="719" y="262"/>
                  </a:lnTo>
                  <a:lnTo>
                    <a:pt x="719" y="262"/>
                  </a:lnTo>
                  <a:lnTo>
                    <a:pt x="721" y="262"/>
                  </a:lnTo>
                  <a:lnTo>
                    <a:pt x="721" y="262"/>
                  </a:lnTo>
                  <a:lnTo>
                    <a:pt x="721" y="260"/>
                  </a:lnTo>
                  <a:lnTo>
                    <a:pt x="719" y="262"/>
                  </a:lnTo>
                  <a:lnTo>
                    <a:pt x="719" y="262"/>
                  </a:lnTo>
                  <a:lnTo>
                    <a:pt x="719" y="262"/>
                  </a:lnTo>
                  <a:lnTo>
                    <a:pt x="717" y="262"/>
                  </a:lnTo>
                  <a:lnTo>
                    <a:pt x="717" y="262"/>
                  </a:lnTo>
                  <a:close/>
                  <a:moveTo>
                    <a:pt x="1638" y="687"/>
                  </a:moveTo>
                  <a:lnTo>
                    <a:pt x="1638" y="687"/>
                  </a:lnTo>
                  <a:lnTo>
                    <a:pt x="1638" y="687"/>
                  </a:lnTo>
                  <a:lnTo>
                    <a:pt x="1638" y="684"/>
                  </a:lnTo>
                  <a:lnTo>
                    <a:pt x="1636" y="682"/>
                  </a:lnTo>
                  <a:lnTo>
                    <a:pt x="1634" y="680"/>
                  </a:lnTo>
                  <a:lnTo>
                    <a:pt x="1634" y="680"/>
                  </a:lnTo>
                  <a:lnTo>
                    <a:pt x="1634" y="680"/>
                  </a:lnTo>
                  <a:lnTo>
                    <a:pt x="1632" y="678"/>
                  </a:lnTo>
                  <a:lnTo>
                    <a:pt x="1632" y="680"/>
                  </a:lnTo>
                  <a:lnTo>
                    <a:pt x="1632" y="680"/>
                  </a:lnTo>
                  <a:lnTo>
                    <a:pt x="1632" y="680"/>
                  </a:lnTo>
                  <a:lnTo>
                    <a:pt x="1630" y="680"/>
                  </a:lnTo>
                  <a:lnTo>
                    <a:pt x="1630" y="680"/>
                  </a:lnTo>
                  <a:lnTo>
                    <a:pt x="1628" y="680"/>
                  </a:lnTo>
                  <a:lnTo>
                    <a:pt x="1628" y="678"/>
                  </a:lnTo>
                  <a:lnTo>
                    <a:pt x="1626" y="678"/>
                  </a:lnTo>
                  <a:lnTo>
                    <a:pt x="1626" y="676"/>
                  </a:lnTo>
                  <a:lnTo>
                    <a:pt x="1626" y="676"/>
                  </a:lnTo>
                  <a:lnTo>
                    <a:pt x="1624" y="676"/>
                  </a:lnTo>
                  <a:lnTo>
                    <a:pt x="1622" y="676"/>
                  </a:lnTo>
                  <a:lnTo>
                    <a:pt x="1622" y="676"/>
                  </a:lnTo>
                  <a:lnTo>
                    <a:pt x="1622" y="676"/>
                  </a:lnTo>
                  <a:lnTo>
                    <a:pt x="1624" y="678"/>
                  </a:lnTo>
                  <a:lnTo>
                    <a:pt x="1624" y="678"/>
                  </a:lnTo>
                  <a:lnTo>
                    <a:pt x="1624" y="678"/>
                  </a:lnTo>
                  <a:lnTo>
                    <a:pt x="1624" y="680"/>
                  </a:lnTo>
                  <a:lnTo>
                    <a:pt x="1624" y="680"/>
                  </a:lnTo>
                  <a:lnTo>
                    <a:pt x="1624" y="680"/>
                  </a:lnTo>
                  <a:lnTo>
                    <a:pt x="1624" y="680"/>
                  </a:lnTo>
                  <a:lnTo>
                    <a:pt x="1624" y="682"/>
                  </a:lnTo>
                  <a:lnTo>
                    <a:pt x="1624" y="682"/>
                  </a:lnTo>
                  <a:lnTo>
                    <a:pt x="1626" y="682"/>
                  </a:lnTo>
                  <a:lnTo>
                    <a:pt x="1626" y="682"/>
                  </a:lnTo>
                  <a:lnTo>
                    <a:pt x="1626" y="687"/>
                  </a:lnTo>
                  <a:lnTo>
                    <a:pt x="1626" y="687"/>
                  </a:lnTo>
                  <a:lnTo>
                    <a:pt x="1628" y="689"/>
                  </a:lnTo>
                  <a:lnTo>
                    <a:pt x="1630" y="689"/>
                  </a:lnTo>
                  <a:lnTo>
                    <a:pt x="1630" y="689"/>
                  </a:lnTo>
                  <a:lnTo>
                    <a:pt x="1632" y="689"/>
                  </a:lnTo>
                  <a:lnTo>
                    <a:pt x="1632" y="689"/>
                  </a:lnTo>
                  <a:lnTo>
                    <a:pt x="1634" y="691"/>
                  </a:lnTo>
                  <a:lnTo>
                    <a:pt x="1634" y="691"/>
                  </a:lnTo>
                  <a:lnTo>
                    <a:pt x="1634" y="691"/>
                  </a:lnTo>
                  <a:lnTo>
                    <a:pt x="1634" y="689"/>
                  </a:lnTo>
                  <a:lnTo>
                    <a:pt x="1634" y="689"/>
                  </a:lnTo>
                  <a:lnTo>
                    <a:pt x="1636" y="691"/>
                  </a:lnTo>
                  <a:lnTo>
                    <a:pt x="1636" y="691"/>
                  </a:lnTo>
                  <a:lnTo>
                    <a:pt x="1636" y="691"/>
                  </a:lnTo>
                  <a:lnTo>
                    <a:pt x="1636" y="691"/>
                  </a:lnTo>
                  <a:lnTo>
                    <a:pt x="1638" y="691"/>
                  </a:lnTo>
                  <a:lnTo>
                    <a:pt x="1638" y="691"/>
                  </a:lnTo>
                  <a:lnTo>
                    <a:pt x="1638" y="689"/>
                  </a:lnTo>
                  <a:lnTo>
                    <a:pt x="1638" y="687"/>
                  </a:lnTo>
                  <a:lnTo>
                    <a:pt x="1638" y="687"/>
                  </a:lnTo>
                  <a:lnTo>
                    <a:pt x="1638" y="687"/>
                  </a:lnTo>
                  <a:close/>
                  <a:moveTo>
                    <a:pt x="1049" y="584"/>
                  </a:moveTo>
                  <a:lnTo>
                    <a:pt x="1049" y="584"/>
                  </a:lnTo>
                  <a:lnTo>
                    <a:pt x="1049" y="584"/>
                  </a:lnTo>
                  <a:lnTo>
                    <a:pt x="1049" y="584"/>
                  </a:lnTo>
                  <a:lnTo>
                    <a:pt x="1049" y="584"/>
                  </a:lnTo>
                  <a:lnTo>
                    <a:pt x="1047" y="584"/>
                  </a:lnTo>
                  <a:lnTo>
                    <a:pt x="1049" y="584"/>
                  </a:lnTo>
                  <a:lnTo>
                    <a:pt x="1049" y="584"/>
                  </a:lnTo>
                  <a:lnTo>
                    <a:pt x="1049" y="586"/>
                  </a:lnTo>
                  <a:lnTo>
                    <a:pt x="1049" y="586"/>
                  </a:lnTo>
                  <a:lnTo>
                    <a:pt x="1051" y="586"/>
                  </a:lnTo>
                  <a:lnTo>
                    <a:pt x="1049" y="586"/>
                  </a:lnTo>
                  <a:lnTo>
                    <a:pt x="1049" y="584"/>
                  </a:lnTo>
                  <a:lnTo>
                    <a:pt x="1049" y="584"/>
                  </a:lnTo>
                  <a:close/>
                  <a:moveTo>
                    <a:pt x="1026" y="623"/>
                  </a:moveTo>
                  <a:lnTo>
                    <a:pt x="1026" y="625"/>
                  </a:lnTo>
                  <a:lnTo>
                    <a:pt x="1026" y="625"/>
                  </a:lnTo>
                  <a:lnTo>
                    <a:pt x="1026" y="625"/>
                  </a:lnTo>
                  <a:lnTo>
                    <a:pt x="1024" y="625"/>
                  </a:lnTo>
                  <a:lnTo>
                    <a:pt x="1024" y="625"/>
                  </a:lnTo>
                  <a:lnTo>
                    <a:pt x="1024" y="625"/>
                  </a:lnTo>
                  <a:lnTo>
                    <a:pt x="1024" y="627"/>
                  </a:lnTo>
                  <a:lnTo>
                    <a:pt x="1024" y="627"/>
                  </a:lnTo>
                  <a:lnTo>
                    <a:pt x="1024" y="627"/>
                  </a:lnTo>
                  <a:lnTo>
                    <a:pt x="1024" y="627"/>
                  </a:lnTo>
                  <a:lnTo>
                    <a:pt x="1024" y="627"/>
                  </a:lnTo>
                  <a:lnTo>
                    <a:pt x="1026" y="629"/>
                  </a:lnTo>
                  <a:lnTo>
                    <a:pt x="1028" y="627"/>
                  </a:lnTo>
                  <a:lnTo>
                    <a:pt x="1028" y="627"/>
                  </a:lnTo>
                  <a:lnTo>
                    <a:pt x="1030" y="627"/>
                  </a:lnTo>
                  <a:lnTo>
                    <a:pt x="1030" y="625"/>
                  </a:lnTo>
                  <a:lnTo>
                    <a:pt x="1028" y="623"/>
                  </a:lnTo>
                  <a:lnTo>
                    <a:pt x="1026" y="623"/>
                  </a:lnTo>
                  <a:close/>
                  <a:moveTo>
                    <a:pt x="1706" y="709"/>
                  </a:moveTo>
                  <a:lnTo>
                    <a:pt x="1706" y="709"/>
                  </a:lnTo>
                  <a:lnTo>
                    <a:pt x="1706" y="709"/>
                  </a:lnTo>
                  <a:lnTo>
                    <a:pt x="1704" y="705"/>
                  </a:lnTo>
                  <a:lnTo>
                    <a:pt x="1704" y="705"/>
                  </a:lnTo>
                  <a:lnTo>
                    <a:pt x="1704" y="705"/>
                  </a:lnTo>
                  <a:lnTo>
                    <a:pt x="1702" y="703"/>
                  </a:lnTo>
                  <a:lnTo>
                    <a:pt x="1702" y="703"/>
                  </a:lnTo>
                  <a:lnTo>
                    <a:pt x="1702" y="703"/>
                  </a:lnTo>
                  <a:lnTo>
                    <a:pt x="1700" y="701"/>
                  </a:lnTo>
                  <a:lnTo>
                    <a:pt x="1700" y="699"/>
                  </a:lnTo>
                  <a:lnTo>
                    <a:pt x="1700" y="699"/>
                  </a:lnTo>
                  <a:lnTo>
                    <a:pt x="1698" y="699"/>
                  </a:lnTo>
                  <a:lnTo>
                    <a:pt x="1698" y="697"/>
                  </a:lnTo>
                  <a:lnTo>
                    <a:pt x="1698" y="697"/>
                  </a:lnTo>
                  <a:lnTo>
                    <a:pt x="1698" y="695"/>
                  </a:lnTo>
                  <a:lnTo>
                    <a:pt x="1698" y="695"/>
                  </a:lnTo>
                  <a:lnTo>
                    <a:pt x="1698" y="693"/>
                  </a:lnTo>
                  <a:lnTo>
                    <a:pt x="1696" y="693"/>
                  </a:lnTo>
                  <a:lnTo>
                    <a:pt x="1696" y="693"/>
                  </a:lnTo>
                  <a:lnTo>
                    <a:pt x="1696" y="693"/>
                  </a:lnTo>
                  <a:lnTo>
                    <a:pt x="1696" y="691"/>
                  </a:lnTo>
                  <a:lnTo>
                    <a:pt x="1696" y="691"/>
                  </a:lnTo>
                  <a:lnTo>
                    <a:pt x="1696" y="691"/>
                  </a:lnTo>
                  <a:lnTo>
                    <a:pt x="1696" y="691"/>
                  </a:lnTo>
                  <a:lnTo>
                    <a:pt x="1696" y="691"/>
                  </a:lnTo>
                  <a:lnTo>
                    <a:pt x="1696" y="691"/>
                  </a:lnTo>
                  <a:lnTo>
                    <a:pt x="1696" y="689"/>
                  </a:lnTo>
                  <a:lnTo>
                    <a:pt x="1696" y="689"/>
                  </a:lnTo>
                  <a:lnTo>
                    <a:pt x="1696" y="687"/>
                  </a:lnTo>
                  <a:lnTo>
                    <a:pt x="1696" y="684"/>
                  </a:lnTo>
                  <a:lnTo>
                    <a:pt x="1696" y="682"/>
                  </a:lnTo>
                  <a:lnTo>
                    <a:pt x="1696" y="682"/>
                  </a:lnTo>
                  <a:lnTo>
                    <a:pt x="1696" y="680"/>
                  </a:lnTo>
                  <a:lnTo>
                    <a:pt x="1696" y="678"/>
                  </a:lnTo>
                  <a:lnTo>
                    <a:pt x="1694" y="676"/>
                  </a:lnTo>
                  <a:lnTo>
                    <a:pt x="1694" y="676"/>
                  </a:lnTo>
                  <a:lnTo>
                    <a:pt x="1694" y="674"/>
                  </a:lnTo>
                  <a:lnTo>
                    <a:pt x="1692" y="674"/>
                  </a:lnTo>
                  <a:lnTo>
                    <a:pt x="1692" y="672"/>
                  </a:lnTo>
                  <a:lnTo>
                    <a:pt x="1690" y="672"/>
                  </a:lnTo>
                  <a:lnTo>
                    <a:pt x="1688" y="674"/>
                  </a:lnTo>
                  <a:lnTo>
                    <a:pt x="1688" y="674"/>
                  </a:lnTo>
                  <a:lnTo>
                    <a:pt x="1686" y="674"/>
                  </a:lnTo>
                  <a:lnTo>
                    <a:pt x="1681" y="674"/>
                  </a:lnTo>
                  <a:lnTo>
                    <a:pt x="1681" y="674"/>
                  </a:lnTo>
                  <a:lnTo>
                    <a:pt x="1681" y="674"/>
                  </a:lnTo>
                  <a:lnTo>
                    <a:pt x="1679" y="672"/>
                  </a:lnTo>
                  <a:lnTo>
                    <a:pt x="1677" y="670"/>
                  </a:lnTo>
                  <a:lnTo>
                    <a:pt x="1677" y="670"/>
                  </a:lnTo>
                  <a:lnTo>
                    <a:pt x="1675" y="670"/>
                  </a:lnTo>
                  <a:lnTo>
                    <a:pt x="1673" y="670"/>
                  </a:lnTo>
                  <a:lnTo>
                    <a:pt x="1669" y="668"/>
                  </a:lnTo>
                  <a:lnTo>
                    <a:pt x="1665" y="668"/>
                  </a:lnTo>
                  <a:lnTo>
                    <a:pt x="1661" y="668"/>
                  </a:lnTo>
                  <a:lnTo>
                    <a:pt x="1659" y="668"/>
                  </a:lnTo>
                  <a:lnTo>
                    <a:pt x="1655" y="666"/>
                  </a:lnTo>
                  <a:lnTo>
                    <a:pt x="1651" y="666"/>
                  </a:lnTo>
                  <a:lnTo>
                    <a:pt x="1645" y="664"/>
                  </a:lnTo>
                  <a:lnTo>
                    <a:pt x="1643" y="664"/>
                  </a:lnTo>
                  <a:lnTo>
                    <a:pt x="1643" y="664"/>
                  </a:lnTo>
                  <a:lnTo>
                    <a:pt x="1643" y="664"/>
                  </a:lnTo>
                  <a:lnTo>
                    <a:pt x="1638" y="664"/>
                  </a:lnTo>
                  <a:lnTo>
                    <a:pt x="1636" y="666"/>
                  </a:lnTo>
                  <a:lnTo>
                    <a:pt x="1634" y="666"/>
                  </a:lnTo>
                  <a:lnTo>
                    <a:pt x="1634" y="666"/>
                  </a:lnTo>
                  <a:lnTo>
                    <a:pt x="1634" y="664"/>
                  </a:lnTo>
                  <a:lnTo>
                    <a:pt x="1634" y="662"/>
                  </a:lnTo>
                  <a:lnTo>
                    <a:pt x="1634" y="662"/>
                  </a:lnTo>
                  <a:lnTo>
                    <a:pt x="1632" y="660"/>
                  </a:lnTo>
                  <a:lnTo>
                    <a:pt x="1632" y="660"/>
                  </a:lnTo>
                  <a:lnTo>
                    <a:pt x="1630" y="660"/>
                  </a:lnTo>
                  <a:lnTo>
                    <a:pt x="1630" y="658"/>
                  </a:lnTo>
                  <a:lnTo>
                    <a:pt x="1630" y="658"/>
                  </a:lnTo>
                  <a:lnTo>
                    <a:pt x="1630" y="658"/>
                  </a:lnTo>
                  <a:lnTo>
                    <a:pt x="1630" y="656"/>
                  </a:lnTo>
                  <a:lnTo>
                    <a:pt x="1630" y="656"/>
                  </a:lnTo>
                  <a:lnTo>
                    <a:pt x="1624" y="656"/>
                  </a:lnTo>
                  <a:lnTo>
                    <a:pt x="1622" y="646"/>
                  </a:lnTo>
                  <a:lnTo>
                    <a:pt x="1618" y="646"/>
                  </a:lnTo>
                  <a:lnTo>
                    <a:pt x="1614" y="646"/>
                  </a:lnTo>
                  <a:lnTo>
                    <a:pt x="1614" y="643"/>
                  </a:lnTo>
                  <a:lnTo>
                    <a:pt x="1614" y="639"/>
                  </a:lnTo>
                  <a:lnTo>
                    <a:pt x="1612" y="635"/>
                  </a:lnTo>
                  <a:lnTo>
                    <a:pt x="1608" y="633"/>
                  </a:lnTo>
                  <a:lnTo>
                    <a:pt x="1604" y="631"/>
                  </a:lnTo>
                  <a:lnTo>
                    <a:pt x="1602" y="627"/>
                  </a:lnTo>
                  <a:lnTo>
                    <a:pt x="1598" y="625"/>
                  </a:lnTo>
                  <a:lnTo>
                    <a:pt x="1593" y="621"/>
                  </a:lnTo>
                  <a:lnTo>
                    <a:pt x="1589" y="615"/>
                  </a:lnTo>
                  <a:lnTo>
                    <a:pt x="1585" y="613"/>
                  </a:lnTo>
                  <a:lnTo>
                    <a:pt x="1579" y="607"/>
                  </a:lnTo>
                  <a:lnTo>
                    <a:pt x="1573" y="600"/>
                  </a:lnTo>
                  <a:lnTo>
                    <a:pt x="1567" y="594"/>
                  </a:lnTo>
                  <a:lnTo>
                    <a:pt x="1563" y="592"/>
                  </a:lnTo>
                  <a:lnTo>
                    <a:pt x="1565" y="588"/>
                  </a:lnTo>
                  <a:lnTo>
                    <a:pt x="1552" y="582"/>
                  </a:lnTo>
                  <a:lnTo>
                    <a:pt x="1546" y="578"/>
                  </a:lnTo>
                  <a:lnTo>
                    <a:pt x="1534" y="574"/>
                  </a:lnTo>
                  <a:lnTo>
                    <a:pt x="1532" y="572"/>
                  </a:lnTo>
                  <a:lnTo>
                    <a:pt x="1532" y="570"/>
                  </a:lnTo>
                  <a:lnTo>
                    <a:pt x="1530" y="570"/>
                  </a:lnTo>
                  <a:lnTo>
                    <a:pt x="1528" y="566"/>
                  </a:lnTo>
                  <a:lnTo>
                    <a:pt x="1524" y="564"/>
                  </a:lnTo>
                  <a:lnTo>
                    <a:pt x="1522" y="564"/>
                  </a:lnTo>
                  <a:lnTo>
                    <a:pt x="1518" y="562"/>
                  </a:lnTo>
                  <a:lnTo>
                    <a:pt x="1518" y="559"/>
                  </a:lnTo>
                  <a:lnTo>
                    <a:pt x="1509" y="559"/>
                  </a:lnTo>
                  <a:lnTo>
                    <a:pt x="1507" y="555"/>
                  </a:lnTo>
                  <a:lnTo>
                    <a:pt x="1507" y="553"/>
                  </a:lnTo>
                  <a:lnTo>
                    <a:pt x="1505" y="553"/>
                  </a:lnTo>
                  <a:lnTo>
                    <a:pt x="1505" y="551"/>
                  </a:lnTo>
                  <a:lnTo>
                    <a:pt x="1505" y="549"/>
                  </a:lnTo>
                  <a:lnTo>
                    <a:pt x="1503" y="545"/>
                  </a:lnTo>
                  <a:lnTo>
                    <a:pt x="1501" y="543"/>
                  </a:lnTo>
                  <a:lnTo>
                    <a:pt x="1499" y="543"/>
                  </a:lnTo>
                  <a:lnTo>
                    <a:pt x="1497" y="541"/>
                  </a:lnTo>
                  <a:lnTo>
                    <a:pt x="1497" y="539"/>
                  </a:lnTo>
                  <a:lnTo>
                    <a:pt x="1493" y="539"/>
                  </a:lnTo>
                  <a:lnTo>
                    <a:pt x="1489" y="537"/>
                  </a:lnTo>
                  <a:lnTo>
                    <a:pt x="1479" y="547"/>
                  </a:lnTo>
                  <a:lnTo>
                    <a:pt x="1475" y="549"/>
                  </a:lnTo>
                  <a:lnTo>
                    <a:pt x="1473" y="551"/>
                  </a:lnTo>
                  <a:lnTo>
                    <a:pt x="1471" y="553"/>
                  </a:lnTo>
                  <a:lnTo>
                    <a:pt x="1475" y="553"/>
                  </a:lnTo>
                  <a:lnTo>
                    <a:pt x="1475" y="555"/>
                  </a:lnTo>
                  <a:lnTo>
                    <a:pt x="1475" y="559"/>
                  </a:lnTo>
                  <a:lnTo>
                    <a:pt x="1471" y="562"/>
                  </a:lnTo>
                  <a:lnTo>
                    <a:pt x="1468" y="559"/>
                  </a:lnTo>
                  <a:lnTo>
                    <a:pt x="1473" y="570"/>
                  </a:lnTo>
                  <a:lnTo>
                    <a:pt x="1471" y="576"/>
                  </a:lnTo>
                  <a:lnTo>
                    <a:pt x="1464" y="578"/>
                  </a:lnTo>
                  <a:lnTo>
                    <a:pt x="1454" y="590"/>
                  </a:lnTo>
                  <a:lnTo>
                    <a:pt x="1452" y="594"/>
                  </a:lnTo>
                  <a:lnTo>
                    <a:pt x="1450" y="596"/>
                  </a:lnTo>
                  <a:lnTo>
                    <a:pt x="1450" y="590"/>
                  </a:lnTo>
                  <a:lnTo>
                    <a:pt x="1444" y="580"/>
                  </a:lnTo>
                  <a:lnTo>
                    <a:pt x="1430" y="570"/>
                  </a:lnTo>
                  <a:lnTo>
                    <a:pt x="1411" y="559"/>
                  </a:lnTo>
                  <a:lnTo>
                    <a:pt x="1409" y="557"/>
                  </a:lnTo>
                  <a:lnTo>
                    <a:pt x="1407" y="551"/>
                  </a:lnTo>
                  <a:lnTo>
                    <a:pt x="1397" y="549"/>
                  </a:lnTo>
                  <a:lnTo>
                    <a:pt x="1393" y="545"/>
                  </a:lnTo>
                  <a:lnTo>
                    <a:pt x="1393" y="533"/>
                  </a:lnTo>
                  <a:lnTo>
                    <a:pt x="1393" y="531"/>
                  </a:lnTo>
                  <a:lnTo>
                    <a:pt x="1376" y="535"/>
                  </a:lnTo>
                  <a:lnTo>
                    <a:pt x="1372" y="545"/>
                  </a:lnTo>
                  <a:lnTo>
                    <a:pt x="1358" y="541"/>
                  </a:lnTo>
                  <a:lnTo>
                    <a:pt x="1358" y="545"/>
                  </a:lnTo>
                  <a:lnTo>
                    <a:pt x="1344" y="543"/>
                  </a:lnTo>
                  <a:lnTo>
                    <a:pt x="1344" y="537"/>
                  </a:lnTo>
                  <a:lnTo>
                    <a:pt x="1342" y="529"/>
                  </a:lnTo>
                  <a:lnTo>
                    <a:pt x="1339" y="521"/>
                  </a:lnTo>
                  <a:lnTo>
                    <a:pt x="1337" y="514"/>
                  </a:lnTo>
                  <a:lnTo>
                    <a:pt x="1337" y="506"/>
                  </a:lnTo>
                  <a:lnTo>
                    <a:pt x="1335" y="498"/>
                  </a:lnTo>
                  <a:lnTo>
                    <a:pt x="1333" y="492"/>
                  </a:lnTo>
                  <a:lnTo>
                    <a:pt x="1333" y="484"/>
                  </a:lnTo>
                  <a:lnTo>
                    <a:pt x="1331" y="475"/>
                  </a:lnTo>
                  <a:lnTo>
                    <a:pt x="1327" y="461"/>
                  </a:lnTo>
                  <a:lnTo>
                    <a:pt x="1327" y="455"/>
                  </a:lnTo>
                  <a:lnTo>
                    <a:pt x="1325" y="447"/>
                  </a:lnTo>
                  <a:lnTo>
                    <a:pt x="1323" y="439"/>
                  </a:lnTo>
                  <a:lnTo>
                    <a:pt x="1321" y="432"/>
                  </a:lnTo>
                  <a:lnTo>
                    <a:pt x="1321" y="424"/>
                  </a:lnTo>
                  <a:lnTo>
                    <a:pt x="1319" y="416"/>
                  </a:lnTo>
                  <a:lnTo>
                    <a:pt x="1317" y="410"/>
                  </a:lnTo>
                  <a:lnTo>
                    <a:pt x="1317" y="402"/>
                  </a:lnTo>
                  <a:lnTo>
                    <a:pt x="1315" y="393"/>
                  </a:lnTo>
                  <a:lnTo>
                    <a:pt x="1313" y="387"/>
                  </a:lnTo>
                  <a:lnTo>
                    <a:pt x="1311" y="379"/>
                  </a:lnTo>
                  <a:lnTo>
                    <a:pt x="1311" y="371"/>
                  </a:lnTo>
                  <a:lnTo>
                    <a:pt x="1309" y="365"/>
                  </a:lnTo>
                  <a:lnTo>
                    <a:pt x="1307" y="357"/>
                  </a:lnTo>
                  <a:lnTo>
                    <a:pt x="1307" y="350"/>
                  </a:lnTo>
                  <a:lnTo>
                    <a:pt x="1305" y="342"/>
                  </a:lnTo>
                  <a:lnTo>
                    <a:pt x="1303" y="334"/>
                  </a:lnTo>
                  <a:lnTo>
                    <a:pt x="1301" y="328"/>
                  </a:lnTo>
                  <a:lnTo>
                    <a:pt x="1301" y="320"/>
                  </a:lnTo>
                  <a:lnTo>
                    <a:pt x="1294" y="289"/>
                  </a:lnTo>
                  <a:lnTo>
                    <a:pt x="1292" y="283"/>
                  </a:lnTo>
                  <a:lnTo>
                    <a:pt x="1290" y="268"/>
                  </a:lnTo>
                  <a:lnTo>
                    <a:pt x="1288" y="260"/>
                  </a:lnTo>
                  <a:lnTo>
                    <a:pt x="1284" y="246"/>
                  </a:lnTo>
                  <a:lnTo>
                    <a:pt x="1284" y="238"/>
                  </a:lnTo>
                  <a:lnTo>
                    <a:pt x="1282" y="230"/>
                  </a:lnTo>
                  <a:lnTo>
                    <a:pt x="1280" y="223"/>
                  </a:lnTo>
                  <a:lnTo>
                    <a:pt x="1280" y="215"/>
                  </a:lnTo>
                  <a:lnTo>
                    <a:pt x="1276" y="201"/>
                  </a:lnTo>
                  <a:lnTo>
                    <a:pt x="1274" y="193"/>
                  </a:lnTo>
                  <a:lnTo>
                    <a:pt x="1274" y="186"/>
                  </a:lnTo>
                  <a:lnTo>
                    <a:pt x="1272" y="178"/>
                  </a:lnTo>
                  <a:lnTo>
                    <a:pt x="1270" y="164"/>
                  </a:lnTo>
                  <a:lnTo>
                    <a:pt x="1268" y="156"/>
                  </a:lnTo>
                  <a:lnTo>
                    <a:pt x="1266" y="150"/>
                  </a:lnTo>
                  <a:lnTo>
                    <a:pt x="1264" y="133"/>
                  </a:lnTo>
                  <a:lnTo>
                    <a:pt x="1260" y="119"/>
                  </a:lnTo>
                  <a:lnTo>
                    <a:pt x="1260" y="113"/>
                  </a:lnTo>
                  <a:lnTo>
                    <a:pt x="1258" y="105"/>
                  </a:lnTo>
                  <a:lnTo>
                    <a:pt x="1256" y="98"/>
                  </a:lnTo>
                  <a:lnTo>
                    <a:pt x="1253" y="90"/>
                  </a:lnTo>
                  <a:lnTo>
                    <a:pt x="1253" y="82"/>
                  </a:lnTo>
                  <a:lnTo>
                    <a:pt x="1251" y="76"/>
                  </a:lnTo>
                  <a:lnTo>
                    <a:pt x="1249" y="68"/>
                  </a:lnTo>
                  <a:lnTo>
                    <a:pt x="1249" y="68"/>
                  </a:lnTo>
                  <a:lnTo>
                    <a:pt x="1243" y="68"/>
                  </a:lnTo>
                  <a:lnTo>
                    <a:pt x="1243" y="68"/>
                  </a:lnTo>
                  <a:lnTo>
                    <a:pt x="1245" y="68"/>
                  </a:lnTo>
                  <a:lnTo>
                    <a:pt x="1245" y="68"/>
                  </a:lnTo>
                  <a:lnTo>
                    <a:pt x="1245" y="68"/>
                  </a:lnTo>
                  <a:lnTo>
                    <a:pt x="1245" y="68"/>
                  </a:lnTo>
                  <a:lnTo>
                    <a:pt x="1245" y="68"/>
                  </a:lnTo>
                  <a:lnTo>
                    <a:pt x="1245" y="70"/>
                  </a:lnTo>
                  <a:lnTo>
                    <a:pt x="1245" y="70"/>
                  </a:lnTo>
                  <a:lnTo>
                    <a:pt x="1243" y="70"/>
                  </a:lnTo>
                  <a:lnTo>
                    <a:pt x="1241" y="70"/>
                  </a:lnTo>
                  <a:lnTo>
                    <a:pt x="1241" y="68"/>
                  </a:lnTo>
                  <a:lnTo>
                    <a:pt x="1241" y="68"/>
                  </a:lnTo>
                  <a:lnTo>
                    <a:pt x="1239" y="66"/>
                  </a:lnTo>
                  <a:lnTo>
                    <a:pt x="1239" y="66"/>
                  </a:lnTo>
                  <a:lnTo>
                    <a:pt x="1237" y="66"/>
                  </a:lnTo>
                  <a:lnTo>
                    <a:pt x="1233" y="64"/>
                  </a:lnTo>
                  <a:lnTo>
                    <a:pt x="1233" y="64"/>
                  </a:lnTo>
                  <a:lnTo>
                    <a:pt x="1231" y="64"/>
                  </a:lnTo>
                  <a:lnTo>
                    <a:pt x="1231" y="64"/>
                  </a:lnTo>
                  <a:lnTo>
                    <a:pt x="1231" y="64"/>
                  </a:lnTo>
                  <a:lnTo>
                    <a:pt x="1231" y="64"/>
                  </a:lnTo>
                  <a:lnTo>
                    <a:pt x="1231" y="64"/>
                  </a:lnTo>
                  <a:lnTo>
                    <a:pt x="1229" y="64"/>
                  </a:lnTo>
                  <a:lnTo>
                    <a:pt x="1229" y="61"/>
                  </a:lnTo>
                  <a:lnTo>
                    <a:pt x="1229" y="61"/>
                  </a:lnTo>
                  <a:lnTo>
                    <a:pt x="1225" y="61"/>
                  </a:lnTo>
                  <a:lnTo>
                    <a:pt x="1225" y="61"/>
                  </a:lnTo>
                  <a:lnTo>
                    <a:pt x="1225" y="61"/>
                  </a:lnTo>
                  <a:lnTo>
                    <a:pt x="1225" y="61"/>
                  </a:lnTo>
                  <a:lnTo>
                    <a:pt x="1223" y="61"/>
                  </a:lnTo>
                  <a:lnTo>
                    <a:pt x="1223" y="59"/>
                  </a:lnTo>
                  <a:lnTo>
                    <a:pt x="1223" y="59"/>
                  </a:lnTo>
                  <a:lnTo>
                    <a:pt x="1223" y="59"/>
                  </a:lnTo>
                  <a:lnTo>
                    <a:pt x="1223" y="59"/>
                  </a:lnTo>
                  <a:lnTo>
                    <a:pt x="1223" y="59"/>
                  </a:lnTo>
                  <a:lnTo>
                    <a:pt x="1223" y="59"/>
                  </a:lnTo>
                  <a:lnTo>
                    <a:pt x="1223" y="59"/>
                  </a:lnTo>
                  <a:lnTo>
                    <a:pt x="1223" y="59"/>
                  </a:lnTo>
                  <a:lnTo>
                    <a:pt x="1223" y="59"/>
                  </a:lnTo>
                  <a:lnTo>
                    <a:pt x="1223" y="59"/>
                  </a:lnTo>
                  <a:lnTo>
                    <a:pt x="1223" y="59"/>
                  </a:lnTo>
                  <a:lnTo>
                    <a:pt x="1221" y="57"/>
                  </a:lnTo>
                  <a:lnTo>
                    <a:pt x="1221" y="57"/>
                  </a:lnTo>
                  <a:lnTo>
                    <a:pt x="1221" y="57"/>
                  </a:lnTo>
                  <a:lnTo>
                    <a:pt x="1221" y="57"/>
                  </a:lnTo>
                  <a:lnTo>
                    <a:pt x="1221" y="57"/>
                  </a:lnTo>
                  <a:lnTo>
                    <a:pt x="1221" y="57"/>
                  </a:lnTo>
                  <a:lnTo>
                    <a:pt x="1221" y="57"/>
                  </a:lnTo>
                  <a:lnTo>
                    <a:pt x="1219" y="57"/>
                  </a:lnTo>
                  <a:lnTo>
                    <a:pt x="1219" y="55"/>
                  </a:lnTo>
                  <a:lnTo>
                    <a:pt x="1219" y="57"/>
                  </a:lnTo>
                  <a:lnTo>
                    <a:pt x="1219" y="57"/>
                  </a:lnTo>
                  <a:lnTo>
                    <a:pt x="1219" y="57"/>
                  </a:lnTo>
                  <a:lnTo>
                    <a:pt x="1219" y="57"/>
                  </a:lnTo>
                  <a:lnTo>
                    <a:pt x="1219" y="57"/>
                  </a:lnTo>
                  <a:lnTo>
                    <a:pt x="1219" y="55"/>
                  </a:lnTo>
                  <a:lnTo>
                    <a:pt x="1219" y="55"/>
                  </a:lnTo>
                  <a:lnTo>
                    <a:pt x="1217" y="55"/>
                  </a:lnTo>
                  <a:lnTo>
                    <a:pt x="1212" y="53"/>
                  </a:lnTo>
                  <a:lnTo>
                    <a:pt x="1210" y="53"/>
                  </a:lnTo>
                  <a:lnTo>
                    <a:pt x="1212" y="53"/>
                  </a:lnTo>
                  <a:lnTo>
                    <a:pt x="1210" y="53"/>
                  </a:lnTo>
                  <a:lnTo>
                    <a:pt x="1210" y="53"/>
                  </a:lnTo>
                  <a:lnTo>
                    <a:pt x="1210" y="53"/>
                  </a:lnTo>
                  <a:lnTo>
                    <a:pt x="1210" y="53"/>
                  </a:lnTo>
                  <a:lnTo>
                    <a:pt x="1210" y="53"/>
                  </a:lnTo>
                  <a:lnTo>
                    <a:pt x="1210" y="53"/>
                  </a:lnTo>
                  <a:lnTo>
                    <a:pt x="1210" y="53"/>
                  </a:lnTo>
                  <a:lnTo>
                    <a:pt x="1208" y="53"/>
                  </a:lnTo>
                  <a:lnTo>
                    <a:pt x="1208" y="53"/>
                  </a:lnTo>
                  <a:lnTo>
                    <a:pt x="1208" y="53"/>
                  </a:lnTo>
                  <a:lnTo>
                    <a:pt x="1206" y="53"/>
                  </a:lnTo>
                  <a:lnTo>
                    <a:pt x="1206" y="51"/>
                  </a:lnTo>
                  <a:lnTo>
                    <a:pt x="1206" y="51"/>
                  </a:lnTo>
                  <a:lnTo>
                    <a:pt x="1204" y="51"/>
                  </a:lnTo>
                  <a:lnTo>
                    <a:pt x="1204" y="51"/>
                  </a:lnTo>
                  <a:lnTo>
                    <a:pt x="1204" y="53"/>
                  </a:lnTo>
                  <a:lnTo>
                    <a:pt x="1204" y="53"/>
                  </a:lnTo>
                  <a:lnTo>
                    <a:pt x="1204" y="55"/>
                  </a:lnTo>
                  <a:lnTo>
                    <a:pt x="1206" y="55"/>
                  </a:lnTo>
                  <a:lnTo>
                    <a:pt x="1204" y="55"/>
                  </a:lnTo>
                  <a:lnTo>
                    <a:pt x="1204" y="55"/>
                  </a:lnTo>
                  <a:lnTo>
                    <a:pt x="1204" y="53"/>
                  </a:lnTo>
                  <a:lnTo>
                    <a:pt x="1204" y="53"/>
                  </a:lnTo>
                  <a:lnTo>
                    <a:pt x="1204" y="53"/>
                  </a:lnTo>
                  <a:lnTo>
                    <a:pt x="1200" y="53"/>
                  </a:lnTo>
                  <a:lnTo>
                    <a:pt x="1200" y="53"/>
                  </a:lnTo>
                  <a:lnTo>
                    <a:pt x="1200" y="53"/>
                  </a:lnTo>
                  <a:lnTo>
                    <a:pt x="1200" y="51"/>
                  </a:lnTo>
                  <a:lnTo>
                    <a:pt x="1200" y="53"/>
                  </a:lnTo>
                  <a:lnTo>
                    <a:pt x="1200" y="53"/>
                  </a:lnTo>
                  <a:lnTo>
                    <a:pt x="1200" y="53"/>
                  </a:lnTo>
                  <a:lnTo>
                    <a:pt x="1200" y="53"/>
                  </a:lnTo>
                  <a:lnTo>
                    <a:pt x="1200" y="53"/>
                  </a:lnTo>
                  <a:lnTo>
                    <a:pt x="1198" y="55"/>
                  </a:lnTo>
                  <a:lnTo>
                    <a:pt x="1198" y="53"/>
                  </a:lnTo>
                  <a:lnTo>
                    <a:pt x="1196" y="53"/>
                  </a:lnTo>
                  <a:lnTo>
                    <a:pt x="1196" y="53"/>
                  </a:lnTo>
                  <a:lnTo>
                    <a:pt x="1196" y="55"/>
                  </a:lnTo>
                  <a:lnTo>
                    <a:pt x="1194" y="55"/>
                  </a:lnTo>
                  <a:lnTo>
                    <a:pt x="1194" y="55"/>
                  </a:lnTo>
                  <a:lnTo>
                    <a:pt x="1194" y="55"/>
                  </a:lnTo>
                  <a:lnTo>
                    <a:pt x="1194" y="55"/>
                  </a:lnTo>
                  <a:lnTo>
                    <a:pt x="1194" y="55"/>
                  </a:lnTo>
                  <a:lnTo>
                    <a:pt x="1194" y="55"/>
                  </a:lnTo>
                  <a:lnTo>
                    <a:pt x="1194" y="55"/>
                  </a:lnTo>
                  <a:lnTo>
                    <a:pt x="1194" y="55"/>
                  </a:lnTo>
                  <a:lnTo>
                    <a:pt x="1192" y="55"/>
                  </a:lnTo>
                  <a:lnTo>
                    <a:pt x="1192" y="55"/>
                  </a:lnTo>
                  <a:lnTo>
                    <a:pt x="1192" y="55"/>
                  </a:lnTo>
                  <a:lnTo>
                    <a:pt x="1192" y="55"/>
                  </a:lnTo>
                  <a:lnTo>
                    <a:pt x="1192" y="55"/>
                  </a:lnTo>
                  <a:lnTo>
                    <a:pt x="1192" y="55"/>
                  </a:lnTo>
                  <a:lnTo>
                    <a:pt x="1192" y="57"/>
                  </a:lnTo>
                  <a:lnTo>
                    <a:pt x="1192" y="57"/>
                  </a:lnTo>
                  <a:lnTo>
                    <a:pt x="1192" y="59"/>
                  </a:lnTo>
                  <a:lnTo>
                    <a:pt x="1192" y="59"/>
                  </a:lnTo>
                  <a:lnTo>
                    <a:pt x="1192" y="61"/>
                  </a:lnTo>
                  <a:lnTo>
                    <a:pt x="1192" y="59"/>
                  </a:lnTo>
                  <a:lnTo>
                    <a:pt x="1192" y="59"/>
                  </a:lnTo>
                  <a:lnTo>
                    <a:pt x="1192" y="59"/>
                  </a:lnTo>
                  <a:lnTo>
                    <a:pt x="1192" y="59"/>
                  </a:lnTo>
                  <a:lnTo>
                    <a:pt x="1192" y="59"/>
                  </a:lnTo>
                  <a:lnTo>
                    <a:pt x="1192" y="57"/>
                  </a:lnTo>
                  <a:lnTo>
                    <a:pt x="1192" y="57"/>
                  </a:lnTo>
                  <a:lnTo>
                    <a:pt x="1192" y="57"/>
                  </a:lnTo>
                  <a:lnTo>
                    <a:pt x="1190" y="57"/>
                  </a:lnTo>
                  <a:lnTo>
                    <a:pt x="1190" y="57"/>
                  </a:lnTo>
                  <a:lnTo>
                    <a:pt x="1190" y="57"/>
                  </a:lnTo>
                  <a:lnTo>
                    <a:pt x="1190" y="57"/>
                  </a:lnTo>
                  <a:lnTo>
                    <a:pt x="1190" y="57"/>
                  </a:lnTo>
                  <a:lnTo>
                    <a:pt x="1186" y="59"/>
                  </a:lnTo>
                  <a:lnTo>
                    <a:pt x="1184" y="59"/>
                  </a:lnTo>
                  <a:lnTo>
                    <a:pt x="1184" y="61"/>
                  </a:lnTo>
                  <a:lnTo>
                    <a:pt x="1182" y="61"/>
                  </a:lnTo>
                  <a:lnTo>
                    <a:pt x="1180" y="64"/>
                  </a:lnTo>
                  <a:lnTo>
                    <a:pt x="1178" y="64"/>
                  </a:lnTo>
                  <a:lnTo>
                    <a:pt x="1178" y="61"/>
                  </a:lnTo>
                  <a:lnTo>
                    <a:pt x="1178" y="61"/>
                  </a:lnTo>
                  <a:lnTo>
                    <a:pt x="1176" y="64"/>
                  </a:lnTo>
                  <a:lnTo>
                    <a:pt x="1172" y="64"/>
                  </a:lnTo>
                  <a:lnTo>
                    <a:pt x="1169" y="64"/>
                  </a:lnTo>
                  <a:lnTo>
                    <a:pt x="1169" y="64"/>
                  </a:lnTo>
                  <a:lnTo>
                    <a:pt x="1172" y="61"/>
                  </a:lnTo>
                  <a:lnTo>
                    <a:pt x="1172" y="61"/>
                  </a:lnTo>
                  <a:lnTo>
                    <a:pt x="1172" y="61"/>
                  </a:lnTo>
                  <a:lnTo>
                    <a:pt x="1169" y="61"/>
                  </a:lnTo>
                  <a:lnTo>
                    <a:pt x="1167" y="61"/>
                  </a:lnTo>
                  <a:lnTo>
                    <a:pt x="1167" y="61"/>
                  </a:lnTo>
                  <a:lnTo>
                    <a:pt x="1167" y="61"/>
                  </a:lnTo>
                  <a:lnTo>
                    <a:pt x="1165" y="61"/>
                  </a:lnTo>
                  <a:lnTo>
                    <a:pt x="1165" y="59"/>
                  </a:lnTo>
                  <a:lnTo>
                    <a:pt x="1165" y="59"/>
                  </a:lnTo>
                  <a:lnTo>
                    <a:pt x="1165" y="59"/>
                  </a:lnTo>
                  <a:lnTo>
                    <a:pt x="1165" y="59"/>
                  </a:lnTo>
                  <a:lnTo>
                    <a:pt x="1163" y="59"/>
                  </a:lnTo>
                  <a:lnTo>
                    <a:pt x="1163" y="59"/>
                  </a:lnTo>
                  <a:lnTo>
                    <a:pt x="1163" y="59"/>
                  </a:lnTo>
                  <a:lnTo>
                    <a:pt x="1163" y="59"/>
                  </a:lnTo>
                  <a:lnTo>
                    <a:pt x="1163" y="59"/>
                  </a:lnTo>
                  <a:lnTo>
                    <a:pt x="1163" y="59"/>
                  </a:lnTo>
                  <a:lnTo>
                    <a:pt x="1163" y="59"/>
                  </a:lnTo>
                  <a:lnTo>
                    <a:pt x="1161" y="57"/>
                  </a:lnTo>
                  <a:lnTo>
                    <a:pt x="1161" y="57"/>
                  </a:lnTo>
                  <a:lnTo>
                    <a:pt x="1159" y="55"/>
                  </a:lnTo>
                  <a:lnTo>
                    <a:pt x="1157" y="55"/>
                  </a:lnTo>
                  <a:lnTo>
                    <a:pt x="1159" y="57"/>
                  </a:lnTo>
                  <a:lnTo>
                    <a:pt x="1157" y="57"/>
                  </a:lnTo>
                  <a:lnTo>
                    <a:pt x="1157" y="55"/>
                  </a:lnTo>
                  <a:lnTo>
                    <a:pt x="1157" y="55"/>
                  </a:lnTo>
                  <a:lnTo>
                    <a:pt x="1157" y="57"/>
                  </a:lnTo>
                  <a:lnTo>
                    <a:pt x="1157" y="57"/>
                  </a:lnTo>
                  <a:lnTo>
                    <a:pt x="1155" y="57"/>
                  </a:lnTo>
                  <a:lnTo>
                    <a:pt x="1151" y="55"/>
                  </a:lnTo>
                  <a:lnTo>
                    <a:pt x="1149" y="55"/>
                  </a:lnTo>
                  <a:lnTo>
                    <a:pt x="1143" y="57"/>
                  </a:lnTo>
                  <a:lnTo>
                    <a:pt x="1141" y="57"/>
                  </a:lnTo>
                  <a:lnTo>
                    <a:pt x="1141" y="57"/>
                  </a:lnTo>
                  <a:lnTo>
                    <a:pt x="1141" y="57"/>
                  </a:lnTo>
                  <a:lnTo>
                    <a:pt x="1137" y="59"/>
                  </a:lnTo>
                  <a:lnTo>
                    <a:pt x="1135" y="57"/>
                  </a:lnTo>
                  <a:lnTo>
                    <a:pt x="1135" y="57"/>
                  </a:lnTo>
                  <a:lnTo>
                    <a:pt x="1135" y="57"/>
                  </a:lnTo>
                  <a:lnTo>
                    <a:pt x="1135" y="57"/>
                  </a:lnTo>
                  <a:lnTo>
                    <a:pt x="1135" y="57"/>
                  </a:lnTo>
                  <a:lnTo>
                    <a:pt x="1135" y="57"/>
                  </a:lnTo>
                  <a:lnTo>
                    <a:pt x="1135" y="57"/>
                  </a:lnTo>
                  <a:lnTo>
                    <a:pt x="1131" y="57"/>
                  </a:lnTo>
                  <a:lnTo>
                    <a:pt x="1126" y="57"/>
                  </a:lnTo>
                  <a:lnTo>
                    <a:pt x="1124" y="57"/>
                  </a:lnTo>
                  <a:lnTo>
                    <a:pt x="1122" y="55"/>
                  </a:lnTo>
                  <a:lnTo>
                    <a:pt x="1124" y="55"/>
                  </a:lnTo>
                  <a:lnTo>
                    <a:pt x="1124" y="55"/>
                  </a:lnTo>
                  <a:lnTo>
                    <a:pt x="1124" y="55"/>
                  </a:lnTo>
                  <a:lnTo>
                    <a:pt x="1124" y="55"/>
                  </a:lnTo>
                  <a:lnTo>
                    <a:pt x="1122" y="55"/>
                  </a:lnTo>
                  <a:lnTo>
                    <a:pt x="1122" y="55"/>
                  </a:lnTo>
                  <a:lnTo>
                    <a:pt x="1122" y="55"/>
                  </a:lnTo>
                  <a:lnTo>
                    <a:pt x="1122" y="53"/>
                  </a:lnTo>
                  <a:lnTo>
                    <a:pt x="1122" y="53"/>
                  </a:lnTo>
                  <a:lnTo>
                    <a:pt x="1122" y="53"/>
                  </a:lnTo>
                  <a:lnTo>
                    <a:pt x="1122" y="53"/>
                  </a:lnTo>
                  <a:lnTo>
                    <a:pt x="1122" y="53"/>
                  </a:lnTo>
                  <a:lnTo>
                    <a:pt x="1122" y="53"/>
                  </a:lnTo>
                  <a:lnTo>
                    <a:pt x="1122" y="53"/>
                  </a:lnTo>
                  <a:lnTo>
                    <a:pt x="1120" y="53"/>
                  </a:lnTo>
                  <a:lnTo>
                    <a:pt x="1120" y="53"/>
                  </a:lnTo>
                  <a:lnTo>
                    <a:pt x="1120" y="53"/>
                  </a:lnTo>
                  <a:lnTo>
                    <a:pt x="1120" y="53"/>
                  </a:lnTo>
                  <a:lnTo>
                    <a:pt x="1120" y="53"/>
                  </a:lnTo>
                  <a:lnTo>
                    <a:pt x="1118" y="53"/>
                  </a:lnTo>
                  <a:lnTo>
                    <a:pt x="1118" y="53"/>
                  </a:lnTo>
                  <a:lnTo>
                    <a:pt x="1118" y="53"/>
                  </a:lnTo>
                  <a:lnTo>
                    <a:pt x="1118" y="53"/>
                  </a:lnTo>
                  <a:lnTo>
                    <a:pt x="1118" y="51"/>
                  </a:lnTo>
                  <a:lnTo>
                    <a:pt x="1116" y="51"/>
                  </a:lnTo>
                  <a:lnTo>
                    <a:pt x="1116" y="51"/>
                  </a:lnTo>
                  <a:lnTo>
                    <a:pt x="1114" y="51"/>
                  </a:lnTo>
                  <a:lnTo>
                    <a:pt x="1114" y="53"/>
                  </a:lnTo>
                  <a:lnTo>
                    <a:pt x="1112" y="53"/>
                  </a:lnTo>
                  <a:lnTo>
                    <a:pt x="1110" y="53"/>
                  </a:lnTo>
                  <a:lnTo>
                    <a:pt x="1110" y="51"/>
                  </a:lnTo>
                  <a:lnTo>
                    <a:pt x="1110" y="51"/>
                  </a:lnTo>
                  <a:lnTo>
                    <a:pt x="1110" y="51"/>
                  </a:lnTo>
                  <a:lnTo>
                    <a:pt x="1110" y="49"/>
                  </a:lnTo>
                  <a:lnTo>
                    <a:pt x="1108" y="49"/>
                  </a:lnTo>
                  <a:lnTo>
                    <a:pt x="1108" y="49"/>
                  </a:lnTo>
                  <a:lnTo>
                    <a:pt x="1108" y="49"/>
                  </a:lnTo>
                  <a:lnTo>
                    <a:pt x="1106" y="47"/>
                  </a:lnTo>
                  <a:lnTo>
                    <a:pt x="1106" y="47"/>
                  </a:lnTo>
                  <a:lnTo>
                    <a:pt x="1106" y="49"/>
                  </a:lnTo>
                  <a:lnTo>
                    <a:pt x="1104" y="49"/>
                  </a:lnTo>
                  <a:lnTo>
                    <a:pt x="1104" y="47"/>
                  </a:lnTo>
                  <a:lnTo>
                    <a:pt x="1102" y="47"/>
                  </a:lnTo>
                  <a:lnTo>
                    <a:pt x="1102" y="47"/>
                  </a:lnTo>
                  <a:lnTo>
                    <a:pt x="1102" y="47"/>
                  </a:lnTo>
                  <a:lnTo>
                    <a:pt x="1102" y="47"/>
                  </a:lnTo>
                  <a:lnTo>
                    <a:pt x="1102" y="47"/>
                  </a:lnTo>
                  <a:lnTo>
                    <a:pt x="1102" y="47"/>
                  </a:lnTo>
                  <a:lnTo>
                    <a:pt x="1102" y="47"/>
                  </a:lnTo>
                  <a:lnTo>
                    <a:pt x="1100" y="47"/>
                  </a:lnTo>
                  <a:lnTo>
                    <a:pt x="1096" y="45"/>
                  </a:lnTo>
                  <a:lnTo>
                    <a:pt x="1094" y="45"/>
                  </a:lnTo>
                  <a:lnTo>
                    <a:pt x="1096" y="45"/>
                  </a:lnTo>
                  <a:lnTo>
                    <a:pt x="1094" y="45"/>
                  </a:lnTo>
                  <a:lnTo>
                    <a:pt x="1092" y="45"/>
                  </a:lnTo>
                  <a:lnTo>
                    <a:pt x="1092" y="45"/>
                  </a:lnTo>
                  <a:lnTo>
                    <a:pt x="1092" y="45"/>
                  </a:lnTo>
                  <a:lnTo>
                    <a:pt x="1094" y="45"/>
                  </a:lnTo>
                  <a:lnTo>
                    <a:pt x="1094" y="45"/>
                  </a:lnTo>
                  <a:lnTo>
                    <a:pt x="1092" y="43"/>
                  </a:lnTo>
                  <a:lnTo>
                    <a:pt x="1092" y="43"/>
                  </a:lnTo>
                  <a:lnTo>
                    <a:pt x="1092" y="45"/>
                  </a:lnTo>
                  <a:lnTo>
                    <a:pt x="1088" y="45"/>
                  </a:lnTo>
                  <a:lnTo>
                    <a:pt x="1088" y="45"/>
                  </a:lnTo>
                  <a:lnTo>
                    <a:pt x="1088" y="45"/>
                  </a:lnTo>
                  <a:lnTo>
                    <a:pt x="1086" y="45"/>
                  </a:lnTo>
                  <a:lnTo>
                    <a:pt x="1086" y="45"/>
                  </a:lnTo>
                  <a:lnTo>
                    <a:pt x="1081" y="49"/>
                  </a:lnTo>
                  <a:lnTo>
                    <a:pt x="1079" y="49"/>
                  </a:lnTo>
                  <a:lnTo>
                    <a:pt x="1077" y="51"/>
                  </a:lnTo>
                  <a:lnTo>
                    <a:pt x="1075" y="51"/>
                  </a:lnTo>
                  <a:lnTo>
                    <a:pt x="1075" y="49"/>
                  </a:lnTo>
                  <a:lnTo>
                    <a:pt x="1077" y="47"/>
                  </a:lnTo>
                  <a:lnTo>
                    <a:pt x="1077" y="47"/>
                  </a:lnTo>
                  <a:lnTo>
                    <a:pt x="1077" y="47"/>
                  </a:lnTo>
                  <a:lnTo>
                    <a:pt x="1075" y="47"/>
                  </a:lnTo>
                  <a:lnTo>
                    <a:pt x="1075" y="47"/>
                  </a:lnTo>
                  <a:lnTo>
                    <a:pt x="1075" y="47"/>
                  </a:lnTo>
                  <a:lnTo>
                    <a:pt x="1075" y="47"/>
                  </a:lnTo>
                  <a:lnTo>
                    <a:pt x="1075" y="47"/>
                  </a:lnTo>
                  <a:lnTo>
                    <a:pt x="1073" y="45"/>
                  </a:lnTo>
                  <a:lnTo>
                    <a:pt x="1073" y="45"/>
                  </a:lnTo>
                  <a:lnTo>
                    <a:pt x="1073" y="45"/>
                  </a:lnTo>
                  <a:lnTo>
                    <a:pt x="1073" y="45"/>
                  </a:lnTo>
                  <a:lnTo>
                    <a:pt x="1073" y="47"/>
                  </a:lnTo>
                  <a:lnTo>
                    <a:pt x="1073" y="45"/>
                  </a:lnTo>
                  <a:lnTo>
                    <a:pt x="1073" y="45"/>
                  </a:lnTo>
                  <a:lnTo>
                    <a:pt x="1073" y="45"/>
                  </a:lnTo>
                  <a:lnTo>
                    <a:pt x="1069" y="47"/>
                  </a:lnTo>
                  <a:lnTo>
                    <a:pt x="1069" y="47"/>
                  </a:lnTo>
                  <a:lnTo>
                    <a:pt x="1069" y="47"/>
                  </a:lnTo>
                  <a:lnTo>
                    <a:pt x="1071" y="47"/>
                  </a:lnTo>
                  <a:lnTo>
                    <a:pt x="1069" y="47"/>
                  </a:lnTo>
                  <a:lnTo>
                    <a:pt x="1069" y="47"/>
                  </a:lnTo>
                  <a:lnTo>
                    <a:pt x="1069" y="47"/>
                  </a:lnTo>
                  <a:lnTo>
                    <a:pt x="1069" y="47"/>
                  </a:lnTo>
                  <a:lnTo>
                    <a:pt x="1069" y="47"/>
                  </a:lnTo>
                  <a:lnTo>
                    <a:pt x="1069" y="47"/>
                  </a:lnTo>
                  <a:lnTo>
                    <a:pt x="1067" y="47"/>
                  </a:lnTo>
                  <a:lnTo>
                    <a:pt x="1067" y="49"/>
                  </a:lnTo>
                  <a:lnTo>
                    <a:pt x="1067" y="49"/>
                  </a:lnTo>
                  <a:lnTo>
                    <a:pt x="1067" y="49"/>
                  </a:lnTo>
                  <a:lnTo>
                    <a:pt x="1063" y="49"/>
                  </a:lnTo>
                  <a:lnTo>
                    <a:pt x="1063" y="49"/>
                  </a:lnTo>
                  <a:lnTo>
                    <a:pt x="1063" y="51"/>
                  </a:lnTo>
                  <a:lnTo>
                    <a:pt x="1063" y="51"/>
                  </a:lnTo>
                  <a:lnTo>
                    <a:pt x="1063" y="53"/>
                  </a:lnTo>
                  <a:lnTo>
                    <a:pt x="1063" y="53"/>
                  </a:lnTo>
                  <a:lnTo>
                    <a:pt x="1061" y="53"/>
                  </a:lnTo>
                  <a:lnTo>
                    <a:pt x="1061" y="53"/>
                  </a:lnTo>
                  <a:lnTo>
                    <a:pt x="1061" y="51"/>
                  </a:lnTo>
                  <a:lnTo>
                    <a:pt x="1061" y="51"/>
                  </a:lnTo>
                  <a:lnTo>
                    <a:pt x="1059" y="51"/>
                  </a:lnTo>
                  <a:lnTo>
                    <a:pt x="1059" y="51"/>
                  </a:lnTo>
                  <a:lnTo>
                    <a:pt x="1059" y="51"/>
                  </a:lnTo>
                  <a:lnTo>
                    <a:pt x="1057" y="49"/>
                  </a:lnTo>
                  <a:lnTo>
                    <a:pt x="1053" y="51"/>
                  </a:lnTo>
                  <a:lnTo>
                    <a:pt x="1049" y="49"/>
                  </a:lnTo>
                  <a:lnTo>
                    <a:pt x="1049" y="49"/>
                  </a:lnTo>
                  <a:lnTo>
                    <a:pt x="1051" y="47"/>
                  </a:lnTo>
                  <a:lnTo>
                    <a:pt x="1051" y="47"/>
                  </a:lnTo>
                  <a:lnTo>
                    <a:pt x="1051" y="47"/>
                  </a:lnTo>
                  <a:lnTo>
                    <a:pt x="1051" y="47"/>
                  </a:lnTo>
                  <a:lnTo>
                    <a:pt x="1051" y="45"/>
                  </a:lnTo>
                  <a:lnTo>
                    <a:pt x="1051" y="47"/>
                  </a:lnTo>
                  <a:lnTo>
                    <a:pt x="1051" y="45"/>
                  </a:lnTo>
                  <a:lnTo>
                    <a:pt x="1053" y="45"/>
                  </a:lnTo>
                  <a:lnTo>
                    <a:pt x="1053" y="45"/>
                  </a:lnTo>
                  <a:lnTo>
                    <a:pt x="1053" y="45"/>
                  </a:lnTo>
                  <a:lnTo>
                    <a:pt x="1053" y="43"/>
                  </a:lnTo>
                  <a:lnTo>
                    <a:pt x="1051" y="45"/>
                  </a:lnTo>
                  <a:lnTo>
                    <a:pt x="1049" y="43"/>
                  </a:lnTo>
                  <a:lnTo>
                    <a:pt x="1040" y="45"/>
                  </a:lnTo>
                  <a:lnTo>
                    <a:pt x="1038" y="45"/>
                  </a:lnTo>
                  <a:lnTo>
                    <a:pt x="1038" y="45"/>
                  </a:lnTo>
                  <a:lnTo>
                    <a:pt x="1038" y="45"/>
                  </a:lnTo>
                  <a:lnTo>
                    <a:pt x="1038" y="45"/>
                  </a:lnTo>
                  <a:lnTo>
                    <a:pt x="1038" y="45"/>
                  </a:lnTo>
                  <a:lnTo>
                    <a:pt x="1036" y="45"/>
                  </a:lnTo>
                  <a:lnTo>
                    <a:pt x="1036" y="45"/>
                  </a:lnTo>
                  <a:lnTo>
                    <a:pt x="1036" y="43"/>
                  </a:lnTo>
                  <a:lnTo>
                    <a:pt x="1038" y="43"/>
                  </a:lnTo>
                  <a:lnTo>
                    <a:pt x="1038" y="43"/>
                  </a:lnTo>
                  <a:lnTo>
                    <a:pt x="1038" y="43"/>
                  </a:lnTo>
                  <a:lnTo>
                    <a:pt x="1040" y="43"/>
                  </a:lnTo>
                  <a:lnTo>
                    <a:pt x="1040" y="43"/>
                  </a:lnTo>
                  <a:lnTo>
                    <a:pt x="1045" y="43"/>
                  </a:lnTo>
                  <a:lnTo>
                    <a:pt x="1047" y="43"/>
                  </a:lnTo>
                  <a:lnTo>
                    <a:pt x="1047" y="43"/>
                  </a:lnTo>
                  <a:lnTo>
                    <a:pt x="1047" y="43"/>
                  </a:lnTo>
                  <a:lnTo>
                    <a:pt x="1045" y="43"/>
                  </a:lnTo>
                  <a:lnTo>
                    <a:pt x="1043" y="43"/>
                  </a:lnTo>
                  <a:lnTo>
                    <a:pt x="1040" y="41"/>
                  </a:lnTo>
                  <a:lnTo>
                    <a:pt x="1038" y="41"/>
                  </a:lnTo>
                  <a:lnTo>
                    <a:pt x="1038" y="39"/>
                  </a:lnTo>
                  <a:lnTo>
                    <a:pt x="1038" y="37"/>
                  </a:lnTo>
                  <a:lnTo>
                    <a:pt x="1038" y="37"/>
                  </a:lnTo>
                  <a:lnTo>
                    <a:pt x="1038" y="37"/>
                  </a:lnTo>
                  <a:lnTo>
                    <a:pt x="1040" y="37"/>
                  </a:lnTo>
                  <a:lnTo>
                    <a:pt x="1040" y="37"/>
                  </a:lnTo>
                  <a:lnTo>
                    <a:pt x="1040" y="37"/>
                  </a:lnTo>
                  <a:lnTo>
                    <a:pt x="1040" y="35"/>
                  </a:lnTo>
                  <a:lnTo>
                    <a:pt x="1040" y="35"/>
                  </a:lnTo>
                  <a:lnTo>
                    <a:pt x="1040" y="35"/>
                  </a:lnTo>
                  <a:lnTo>
                    <a:pt x="1040" y="35"/>
                  </a:lnTo>
                  <a:lnTo>
                    <a:pt x="1043" y="33"/>
                  </a:lnTo>
                  <a:lnTo>
                    <a:pt x="1045" y="31"/>
                  </a:lnTo>
                  <a:lnTo>
                    <a:pt x="1045" y="31"/>
                  </a:lnTo>
                  <a:lnTo>
                    <a:pt x="1043" y="29"/>
                  </a:lnTo>
                  <a:lnTo>
                    <a:pt x="1038" y="29"/>
                  </a:lnTo>
                  <a:lnTo>
                    <a:pt x="1034" y="29"/>
                  </a:lnTo>
                  <a:lnTo>
                    <a:pt x="1034" y="29"/>
                  </a:lnTo>
                  <a:lnTo>
                    <a:pt x="1034" y="29"/>
                  </a:lnTo>
                  <a:lnTo>
                    <a:pt x="1034" y="29"/>
                  </a:lnTo>
                  <a:lnTo>
                    <a:pt x="1036" y="29"/>
                  </a:lnTo>
                  <a:lnTo>
                    <a:pt x="1036" y="31"/>
                  </a:lnTo>
                  <a:lnTo>
                    <a:pt x="1034" y="31"/>
                  </a:lnTo>
                  <a:lnTo>
                    <a:pt x="1034" y="31"/>
                  </a:lnTo>
                  <a:lnTo>
                    <a:pt x="1034" y="31"/>
                  </a:lnTo>
                  <a:lnTo>
                    <a:pt x="1034" y="29"/>
                  </a:lnTo>
                  <a:lnTo>
                    <a:pt x="1034" y="29"/>
                  </a:lnTo>
                  <a:lnTo>
                    <a:pt x="1034" y="29"/>
                  </a:lnTo>
                  <a:lnTo>
                    <a:pt x="1032" y="29"/>
                  </a:lnTo>
                  <a:lnTo>
                    <a:pt x="1032" y="29"/>
                  </a:lnTo>
                  <a:lnTo>
                    <a:pt x="1032" y="29"/>
                  </a:lnTo>
                  <a:lnTo>
                    <a:pt x="1032" y="29"/>
                  </a:lnTo>
                  <a:lnTo>
                    <a:pt x="1032" y="29"/>
                  </a:lnTo>
                  <a:lnTo>
                    <a:pt x="1032" y="29"/>
                  </a:lnTo>
                  <a:lnTo>
                    <a:pt x="1032" y="29"/>
                  </a:lnTo>
                  <a:lnTo>
                    <a:pt x="1032" y="29"/>
                  </a:lnTo>
                  <a:lnTo>
                    <a:pt x="1032" y="29"/>
                  </a:lnTo>
                  <a:lnTo>
                    <a:pt x="1032" y="29"/>
                  </a:lnTo>
                  <a:lnTo>
                    <a:pt x="1030" y="29"/>
                  </a:lnTo>
                  <a:lnTo>
                    <a:pt x="1030" y="27"/>
                  </a:lnTo>
                  <a:lnTo>
                    <a:pt x="1030" y="27"/>
                  </a:lnTo>
                  <a:lnTo>
                    <a:pt x="1030" y="27"/>
                  </a:lnTo>
                  <a:lnTo>
                    <a:pt x="1028" y="27"/>
                  </a:lnTo>
                  <a:lnTo>
                    <a:pt x="1028" y="27"/>
                  </a:lnTo>
                  <a:lnTo>
                    <a:pt x="1028" y="27"/>
                  </a:lnTo>
                  <a:lnTo>
                    <a:pt x="1028" y="27"/>
                  </a:lnTo>
                  <a:lnTo>
                    <a:pt x="1028" y="27"/>
                  </a:lnTo>
                  <a:lnTo>
                    <a:pt x="1028" y="27"/>
                  </a:lnTo>
                  <a:lnTo>
                    <a:pt x="1028" y="27"/>
                  </a:lnTo>
                  <a:lnTo>
                    <a:pt x="1028" y="27"/>
                  </a:lnTo>
                  <a:lnTo>
                    <a:pt x="1028" y="27"/>
                  </a:lnTo>
                  <a:lnTo>
                    <a:pt x="1026" y="27"/>
                  </a:lnTo>
                  <a:lnTo>
                    <a:pt x="1026" y="27"/>
                  </a:lnTo>
                  <a:lnTo>
                    <a:pt x="1024" y="27"/>
                  </a:lnTo>
                  <a:lnTo>
                    <a:pt x="1024" y="27"/>
                  </a:lnTo>
                  <a:lnTo>
                    <a:pt x="1024" y="27"/>
                  </a:lnTo>
                  <a:lnTo>
                    <a:pt x="1022" y="27"/>
                  </a:lnTo>
                  <a:lnTo>
                    <a:pt x="1020" y="29"/>
                  </a:lnTo>
                  <a:lnTo>
                    <a:pt x="1014" y="27"/>
                  </a:lnTo>
                  <a:lnTo>
                    <a:pt x="1014" y="29"/>
                  </a:lnTo>
                  <a:lnTo>
                    <a:pt x="1014" y="29"/>
                  </a:lnTo>
                  <a:lnTo>
                    <a:pt x="1012" y="31"/>
                  </a:lnTo>
                  <a:lnTo>
                    <a:pt x="1012" y="31"/>
                  </a:lnTo>
                  <a:lnTo>
                    <a:pt x="1010" y="33"/>
                  </a:lnTo>
                  <a:lnTo>
                    <a:pt x="1010" y="33"/>
                  </a:lnTo>
                  <a:lnTo>
                    <a:pt x="1008" y="33"/>
                  </a:lnTo>
                  <a:lnTo>
                    <a:pt x="1008" y="33"/>
                  </a:lnTo>
                  <a:lnTo>
                    <a:pt x="1008" y="33"/>
                  </a:lnTo>
                  <a:lnTo>
                    <a:pt x="1008" y="33"/>
                  </a:lnTo>
                  <a:lnTo>
                    <a:pt x="1008" y="33"/>
                  </a:lnTo>
                  <a:lnTo>
                    <a:pt x="1008" y="31"/>
                  </a:lnTo>
                  <a:lnTo>
                    <a:pt x="1008" y="31"/>
                  </a:lnTo>
                  <a:lnTo>
                    <a:pt x="1006" y="31"/>
                  </a:lnTo>
                  <a:lnTo>
                    <a:pt x="1006" y="31"/>
                  </a:lnTo>
                  <a:lnTo>
                    <a:pt x="1004" y="31"/>
                  </a:lnTo>
                  <a:lnTo>
                    <a:pt x="1002" y="31"/>
                  </a:lnTo>
                  <a:lnTo>
                    <a:pt x="1002" y="31"/>
                  </a:lnTo>
                  <a:lnTo>
                    <a:pt x="1002" y="31"/>
                  </a:lnTo>
                  <a:lnTo>
                    <a:pt x="1002" y="31"/>
                  </a:lnTo>
                  <a:lnTo>
                    <a:pt x="1002" y="31"/>
                  </a:lnTo>
                  <a:lnTo>
                    <a:pt x="1002" y="29"/>
                  </a:lnTo>
                  <a:lnTo>
                    <a:pt x="1002" y="29"/>
                  </a:lnTo>
                  <a:lnTo>
                    <a:pt x="999" y="29"/>
                  </a:lnTo>
                  <a:lnTo>
                    <a:pt x="997" y="29"/>
                  </a:lnTo>
                  <a:lnTo>
                    <a:pt x="999" y="27"/>
                  </a:lnTo>
                  <a:lnTo>
                    <a:pt x="999" y="27"/>
                  </a:lnTo>
                  <a:lnTo>
                    <a:pt x="1002" y="27"/>
                  </a:lnTo>
                  <a:lnTo>
                    <a:pt x="1002" y="27"/>
                  </a:lnTo>
                  <a:lnTo>
                    <a:pt x="1002" y="27"/>
                  </a:lnTo>
                  <a:lnTo>
                    <a:pt x="1002" y="25"/>
                  </a:lnTo>
                  <a:lnTo>
                    <a:pt x="1002" y="25"/>
                  </a:lnTo>
                  <a:lnTo>
                    <a:pt x="1002" y="25"/>
                  </a:lnTo>
                  <a:lnTo>
                    <a:pt x="1002" y="25"/>
                  </a:lnTo>
                  <a:lnTo>
                    <a:pt x="1002" y="25"/>
                  </a:lnTo>
                  <a:lnTo>
                    <a:pt x="1002" y="23"/>
                  </a:lnTo>
                  <a:lnTo>
                    <a:pt x="1002" y="23"/>
                  </a:lnTo>
                  <a:lnTo>
                    <a:pt x="1002" y="23"/>
                  </a:lnTo>
                  <a:lnTo>
                    <a:pt x="1002" y="23"/>
                  </a:lnTo>
                  <a:lnTo>
                    <a:pt x="1002" y="21"/>
                  </a:lnTo>
                  <a:lnTo>
                    <a:pt x="1002" y="21"/>
                  </a:lnTo>
                  <a:lnTo>
                    <a:pt x="999" y="21"/>
                  </a:lnTo>
                  <a:lnTo>
                    <a:pt x="999" y="18"/>
                  </a:lnTo>
                  <a:lnTo>
                    <a:pt x="997" y="16"/>
                  </a:lnTo>
                  <a:lnTo>
                    <a:pt x="997" y="16"/>
                  </a:lnTo>
                  <a:lnTo>
                    <a:pt x="997" y="16"/>
                  </a:lnTo>
                  <a:lnTo>
                    <a:pt x="997" y="18"/>
                  </a:lnTo>
                  <a:lnTo>
                    <a:pt x="997" y="16"/>
                  </a:lnTo>
                  <a:lnTo>
                    <a:pt x="997" y="16"/>
                  </a:lnTo>
                  <a:lnTo>
                    <a:pt x="997" y="16"/>
                  </a:lnTo>
                  <a:lnTo>
                    <a:pt x="995" y="16"/>
                  </a:lnTo>
                  <a:lnTo>
                    <a:pt x="995" y="16"/>
                  </a:lnTo>
                  <a:lnTo>
                    <a:pt x="995" y="16"/>
                  </a:lnTo>
                  <a:lnTo>
                    <a:pt x="995" y="16"/>
                  </a:lnTo>
                  <a:lnTo>
                    <a:pt x="995" y="16"/>
                  </a:lnTo>
                  <a:lnTo>
                    <a:pt x="995" y="18"/>
                  </a:lnTo>
                  <a:lnTo>
                    <a:pt x="995" y="18"/>
                  </a:lnTo>
                  <a:lnTo>
                    <a:pt x="995" y="18"/>
                  </a:lnTo>
                  <a:lnTo>
                    <a:pt x="995" y="21"/>
                  </a:lnTo>
                  <a:lnTo>
                    <a:pt x="995" y="21"/>
                  </a:lnTo>
                  <a:lnTo>
                    <a:pt x="993" y="23"/>
                  </a:lnTo>
                  <a:lnTo>
                    <a:pt x="993" y="21"/>
                  </a:lnTo>
                  <a:lnTo>
                    <a:pt x="993" y="21"/>
                  </a:lnTo>
                  <a:lnTo>
                    <a:pt x="993" y="21"/>
                  </a:lnTo>
                  <a:lnTo>
                    <a:pt x="995" y="18"/>
                  </a:lnTo>
                  <a:lnTo>
                    <a:pt x="995" y="18"/>
                  </a:lnTo>
                  <a:lnTo>
                    <a:pt x="993" y="18"/>
                  </a:lnTo>
                  <a:lnTo>
                    <a:pt x="993" y="16"/>
                  </a:lnTo>
                  <a:lnTo>
                    <a:pt x="993" y="16"/>
                  </a:lnTo>
                  <a:lnTo>
                    <a:pt x="993" y="16"/>
                  </a:lnTo>
                  <a:lnTo>
                    <a:pt x="995" y="16"/>
                  </a:lnTo>
                  <a:lnTo>
                    <a:pt x="993" y="14"/>
                  </a:lnTo>
                  <a:lnTo>
                    <a:pt x="993" y="14"/>
                  </a:lnTo>
                  <a:lnTo>
                    <a:pt x="993" y="14"/>
                  </a:lnTo>
                  <a:lnTo>
                    <a:pt x="993" y="14"/>
                  </a:lnTo>
                  <a:lnTo>
                    <a:pt x="993" y="14"/>
                  </a:lnTo>
                  <a:lnTo>
                    <a:pt x="993" y="16"/>
                  </a:lnTo>
                  <a:lnTo>
                    <a:pt x="993" y="16"/>
                  </a:lnTo>
                  <a:lnTo>
                    <a:pt x="993" y="16"/>
                  </a:lnTo>
                  <a:lnTo>
                    <a:pt x="993" y="18"/>
                  </a:lnTo>
                  <a:lnTo>
                    <a:pt x="993" y="18"/>
                  </a:lnTo>
                  <a:lnTo>
                    <a:pt x="991" y="16"/>
                  </a:lnTo>
                  <a:lnTo>
                    <a:pt x="991" y="16"/>
                  </a:lnTo>
                  <a:lnTo>
                    <a:pt x="991" y="16"/>
                  </a:lnTo>
                  <a:lnTo>
                    <a:pt x="991" y="16"/>
                  </a:lnTo>
                  <a:lnTo>
                    <a:pt x="989" y="18"/>
                  </a:lnTo>
                  <a:lnTo>
                    <a:pt x="991" y="18"/>
                  </a:lnTo>
                  <a:lnTo>
                    <a:pt x="991" y="18"/>
                  </a:lnTo>
                  <a:lnTo>
                    <a:pt x="991" y="21"/>
                  </a:lnTo>
                  <a:lnTo>
                    <a:pt x="991" y="21"/>
                  </a:lnTo>
                  <a:lnTo>
                    <a:pt x="991" y="23"/>
                  </a:lnTo>
                  <a:lnTo>
                    <a:pt x="991" y="23"/>
                  </a:lnTo>
                  <a:lnTo>
                    <a:pt x="991" y="23"/>
                  </a:lnTo>
                  <a:lnTo>
                    <a:pt x="991" y="23"/>
                  </a:lnTo>
                  <a:lnTo>
                    <a:pt x="991" y="21"/>
                  </a:lnTo>
                  <a:lnTo>
                    <a:pt x="989" y="21"/>
                  </a:lnTo>
                  <a:lnTo>
                    <a:pt x="989" y="21"/>
                  </a:lnTo>
                  <a:lnTo>
                    <a:pt x="989" y="21"/>
                  </a:lnTo>
                  <a:lnTo>
                    <a:pt x="989" y="23"/>
                  </a:lnTo>
                  <a:lnTo>
                    <a:pt x="989" y="23"/>
                  </a:lnTo>
                  <a:lnTo>
                    <a:pt x="987" y="23"/>
                  </a:lnTo>
                  <a:lnTo>
                    <a:pt x="987" y="25"/>
                  </a:lnTo>
                  <a:lnTo>
                    <a:pt x="985" y="25"/>
                  </a:lnTo>
                  <a:lnTo>
                    <a:pt x="985" y="25"/>
                  </a:lnTo>
                  <a:lnTo>
                    <a:pt x="985" y="27"/>
                  </a:lnTo>
                  <a:lnTo>
                    <a:pt x="985" y="27"/>
                  </a:lnTo>
                  <a:lnTo>
                    <a:pt x="985" y="29"/>
                  </a:lnTo>
                  <a:lnTo>
                    <a:pt x="985" y="29"/>
                  </a:lnTo>
                  <a:lnTo>
                    <a:pt x="985" y="29"/>
                  </a:lnTo>
                  <a:lnTo>
                    <a:pt x="985" y="31"/>
                  </a:lnTo>
                  <a:lnTo>
                    <a:pt x="985" y="31"/>
                  </a:lnTo>
                  <a:lnTo>
                    <a:pt x="983" y="29"/>
                  </a:lnTo>
                  <a:lnTo>
                    <a:pt x="983" y="29"/>
                  </a:lnTo>
                  <a:lnTo>
                    <a:pt x="983" y="29"/>
                  </a:lnTo>
                  <a:lnTo>
                    <a:pt x="983" y="29"/>
                  </a:lnTo>
                  <a:lnTo>
                    <a:pt x="983" y="31"/>
                  </a:lnTo>
                  <a:lnTo>
                    <a:pt x="983" y="31"/>
                  </a:lnTo>
                  <a:lnTo>
                    <a:pt x="983" y="31"/>
                  </a:lnTo>
                  <a:lnTo>
                    <a:pt x="983" y="31"/>
                  </a:lnTo>
                  <a:lnTo>
                    <a:pt x="983" y="31"/>
                  </a:lnTo>
                  <a:lnTo>
                    <a:pt x="983" y="31"/>
                  </a:lnTo>
                  <a:lnTo>
                    <a:pt x="983" y="31"/>
                  </a:lnTo>
                  <a:lnTo>
                    <a:pt x="981" y="31"/>
                  </a:lnTo>
                  <a:lnTo>
                    <a:pt x="981" y="31"/>
                  </a:lnTo>
                  <a:lnTo>
                    <a:pt x="981" y="31"/>
                  </a:lnTo>
                  <a:lnTo>
                    <a:pt x="979" y="31"/>
                  </a:lnTo>
                  <a:lnTo>
                    <a:pt x="979" y="31"/>
                  </a:lnTo>
                  <a:lnTo>
                    <a:pt x="979" y="31"/>
                  </a:lnTo>
                  <a:lnTo>
                    <a:pt x="979" y="33"/>
                  </a:lnTo>
                  <a:lnTo>
                    <a:pt x="979" y="33"/>
                  </a:lnTo>
                  <a:lnTo>
                    <a:pt x="979" y="33"/>
                  </a:lnTo>
                  <a:lnTo>
                    <a:pt x="979" y="33"/>
                  </a:lnTo>
                  <a:lnTo>
                    <a:pt x="979" y="33"/>
                  </a:lnTo>
                  <a:lnTo>
                    <a:pt x="977" y="35"/>
                  </a:lnTo>
                  <a:lnTo>
                    <a:pt x="977" y="33"/>
                  </a:lnTo>
                  <a:lnTo>
                    <a:pt x="977" y="33"/>
                  </a:lnTo>
                  <a:lnTo>
                    <a:pt x="977" y="33"/>
                  </a:lnTo>
                  <a:lnTo>
                    <a:pt x="977" y="33"/>
                  </a:lnTo>
                  <a:lnTo>
                    <a:pt x="977" y="31"/>
                  </a:lnTo>
                  <a:lnTo>
                    <a:pt x="977" y="31"/>
                  </a:lnTo>
                  <a:lnTo>
                    <a:pt x="977" y="31"/>
                  </a:lnTo>
                  <a:lnTo>
                    <a:pt x="979" y="31"/>
                  </a:lnTo>
                  <a:lnTo>
                    <a:pt x="979" y="29"/>
                  </a:lnTo>
                  <a:lnTo>
                    <a:pt x="979" y="29"/>
                  </a:lnTo>
                  <a:lnTo>
                    <a:pt x="979" y="29"/>
                  </a:lnTo>
                  <a:lnTo>
                    <a:pt x="977" y="29"/>
                  </a:lnTo>
                  <a:lnTo>
                    <a:pt x="977" y="27"/>
                  </a:lnTo>
                  <a:lnTo>
                    <a:pt x="977" y="27"/>
                  </a:lnTo>
                  <a:lnTo>
                    <a:pt x="977" y="27"/>
                  </a:lnTo>
                  <a:lnTo>
                    <a:pt x="977" y="27"/>
                  </a:lnTo>
                  <a:lnTo>
                    <a:pt x="975" y="27"/>
                  </a:lnTo>
                  <a:lnTo>
                    <a:pt x="977" y="27"/>
                  </a:lnTo>
                  <a:lnTo>
                    <a:pt x="977" y="27"/>
                  </a:lnTo>
                  <a:lnTo>
                    <a:pt x="977" y="25"/>
                  </a:lnTo>
                  <a:lnTo>
                    <a:pt x="975" y="27"/>
                  </a:lnTo>
                  <a:lnTo>
                    <a:pt x="975" y="27"/>
                  </a:lnTo>
                  <a:lnTo>
                    <a:pt x="975" y="25"/>
                  </a:lnTo>
                  <a:lnTo>
                    <a:pt x="977" y="25"/>
                  </a:lnTo>
                  <a:lnTo>
                    <a:pt x="977" y="25"/>
                  </a:lnTo>
                  <a:lnTo>
                    <a:pt x="977" y="25"/>
                  </a:lnTo>
                  <a:lnTo>
                    <a:pt x="977" y="25"/>
                  </a:lnTo>
                  <a:lnTo>
                    <a:pt x="977" y="25"/>
                  </a:lnTo>
                  <a:lnTo>
                    <a:pt x="975" y="23"/>
                  </a:lnTo>
                  <a:lnTo>
                    <a:pt x="977" y="23"/>
                  </a:lnTo>
                  <a:lnTo>
                    <a:pt x="977" y="23"/>
                  </a:lnTo>
                  <a:lnTo>
                    <a:pt x="981" y="23"/>
                  </a:lnTo>
                  <a:lnTo>
                    <a:pt x="981" y="23"/>
                  </a:lnTo>
                  <a:lnTo>
                    <a:pt x="981" y="23"/>
                  </a:lnTo>
                  <a:lnTo>
                    <a:pt x="981" y="23"/>
                  </a:lnTo>
                  <a:lnTo>
                    <a:pt x="981" y="23"/>
                  </a:lnTo>
                  <a:lnTo>
                    <a:pt x="983" y="23"/>
                  </a:lnTo>
                  <a:lnTo>
                    <a:pt x="983" y="21"/>
                  </a:lnTo>
                  <a:lnTo>
                    <a:pt x="983" y="21"/>
                  </a:lnTo>
                  <a:lnTo>
                    <a:pt x="983" y="21"/>
                  </a:lnTo>
                  <a:lnTo>
                    <a:pt x="983" y="21"/>
                  </a:lnTo>
                  <a:lnTo>
                    <a:pt x="983" y="21"/>
                  </a:lnTo>
                  <a:lnTo>
                    <a:pt x="983" y="21"/>
                  </a:lnTo>
                  <a:lnTo>
                    <a:pt x="983" y="18"/>
                  </a:lnTo>
                  <a:lnTo>
                    <a:pt x="983" y="18"/>
                  </a:lnTo>
                  <a:lnTo>
                    <a:pt x="985" y="18"/>
                  </a:lnTo>
                  <a:lnTo>
                    <a:pt x="985" y="18"/>
                  </a:lnTo>
                  <a:lnTo>
                    <a:pt x="985" y="16"/>
                  </a:lnTo>
                  <a:lnTo>
                    <a:pt x="985" y="16"/>
                  </a:lnTo>
                  <a:lnTo>
                    <a:pt x="985" y="14"/>
                  </a:lnTo>
                  <a:lnTo>
                    <a:pt x="985" y="14"/>
                  </a:lnTo>
                  <a:lnTo>
                    <a:pt x="985" y="12"/>
                  </a:lnTo>
                  <a:lnTo>
                    <a:pt x="981" y="12"/>
                  </a:lnTo>
                  <a:lnTo>
                    <a:pt x="981" y="10"/>
                  </a:lnTo>
                  <a:lnTo>
                    <a:pt x="979" y="12"/>
                  </a:lnTo>
                  <a:lnTo>
                    <a:pt x="979" y="12"/>
                  </a:lnTo>
                  <a:lnTo>
                    <a:pt x="979" y="12"/>
                  </a:lnTo>
                  <a:lnTo>
                    <a:pt x="979" y="10"/>
                  </a:lnTo>
                  <a:lnTo>
                    <a:pt x="979" y="10"/>
                  </a:lnTo>
                  <a:lnTo>
                    <a:pt x="979" y="10"/>
                  </a:lnTo>
                  <a:lnTo>
                    <a:pt x="979" y="10"/>
                  </a:lnTo>
                  <a:lnTo>
                    <a:pt x="979" y="12"/>
                  </a:lnTo>
                  <a:lnTo>
                    <a:pt x="977" y="12"/>
                  </a:lnTo>
                  <a:lnTo>
                    <a:pt x="977" y="12"/>
                  </a:lnTo>
                  <a:lnTo>
                    <a:pt x="977" y="12"/>
                  </a:lnTo>
                  <a:lnTo>
                    <a:pt x="977" y="12"/>
                  </a:lnTo>
                  <a:lnTo>
                    <a:pt x="977" y="12"/>
                  </a:lnTo>
                  <a:lnTo>
                    <a:pt x="977" y="10"/>
                  </a:lnTo>
                  <a:lnTo>
                    <a:pt x="977" y="10"/>
                  </a:lnTo>
                  <a:lnTo>
                    <a:pt x="977" y="10"/>
                  </a:lnTo>
                  <a:lnTo>
                    <a:pt x="977" y="10"/>
                  </a:lnTo>
                  <a:lnTo>
                    <a:pt x="977" y="10"/>
                  </a:lnTo>
                  <a:lnTo>
                    <a:pt x="975" y="8"/>
                  </a:lnTo>
                  <a:lnTo>
                    <a:pt x="975" y="8"/>
                  </a:lnTo>
                  <a:lnTo>
                    <a:pt x="971" y="8"/>
                  </a:lnTo>
                  <a:lnTo>
                    <a:pt x="971" y="8"/>
                  </a:lnTo>
                  <a:lnTo>
                    <a:pt x="971" y="8"/>
                  </a:lnTo>
                  <a:lnTo>
                    <a:pt x="971" y="6"/>
                  </a:lnTo>
                  <a:lnTo>
                    <a:pt x="969" y="6"/>
                  </a:lnTo>
                  <a:lnTo>
                    <a:pt x="969" y="6"/>
                  </a:lnTo>
                  <a:lnTo>
                    <a:pt x="969" y="4"/>
                  </a:lnTo>
                  <a:lnTo>
                    <a:pt x="969" y="4"/>
                  </a:lnTo>
                  <a:lnTo>
                    <a:pt x="969" y="4"/>
                  </a:lnTo>
                  <a:lnTo>
                    <a:pt x="969" y="4"/>
                  </a:lnTo>
                  <a:lnTo>
                    <a:pt x="969" y="2"/>
                  </a:lnTo>
                  <a:lnTo>
                    <a:pt x="971" y="2"/>
                  </a:lnTo>
                  <a:lnTo>
                    <a:pt x="971" y="2"/>
                  </a:lnTo>
                  <a:lnTo>
                    <a:pt x="971" y="2"/>
                  </a:lnTo>
                  <a:lnTo>
                    <a:pt x="973" y="2"/>
                  </a:lnTo>
                  <a:lnTo>
                    <a:pt x="971" y="2"/>
                  </a:lnTo>
                  <a:lnTo>
                    <a:pt x="971" y="0"/>
                  </a:lnTo>
                  <a:lnTo>
                    <a:pt x="971" y="0"/>
                  </a:lnTo>
                  <a:lnTo>
                    <a:pt x="971" y="0"/>
                  </a:lnTo>
                  <a:lnTo>
                    <a:pt x="969" y="2"/>
                  </a:lnTo>
                  <a:lnTo>
                    <a:pt x="969" y="2"/>
                  </a:lnTo>
                  <a:lnTo>
                    <a:pt x="967" y="4"/>
                  </a:lnTo>
                  <a:lnTo>
                    <a:pt x="965" y="6"/>
                  </a:lnTo>
                  <a:lnTo>
                    <a:pt x="961" y="10"/>
                  </a:lnTo>
                  <a:lnTo>
                    <a:pt x="959" y="12"/>
                  </a:lnTo>
                  <a:lnTo>
                    <a:pt x="956" y="16"/>
                  </a:lnTo>
                  <a:lnTo>
                    <a:pt x="950" y="23"/>
                  </a:lnTo>
                  <a:lnTo>
                    <a:pt x="950" y="23"/>
                  </a:lnTo>
                  <a:lnTo>
                    <a:pt x="950" y="23"/>
                  </a:lnTo>
                  <a:lnTo>
                    <a:pt x="950" y="25"/>
                  </a:lnTo>
                  <a:lnTo>
                    <a:pt x="948" y="25"/>
                  </a:lnTo>
                  <a:lnTo>
                    <a:pt x="944" y="27"/>
                  </a:lnTo>
                  <a:lnTo>
                    <a:pt x="942" y="29"/>
                  </a:lnTo>
                  <a:lnTo>
                    <a:pt x="936" y="29"/>
                  </a:lnTo>
                  <a:lnTo>
                    <a:pt x="934" y="27"/>
                  </a:lnTo>
                  <a:lnTo>
                    <a:pt x="934" y="27"/>
                  </a:lnTo>
                  <a:lnTo>
                    <a:pt x="934" y="29"/>
                  </a:lnTo>
                  <a:lnTo>
                    <a:pt x="934" y="29"/>
                  </a:lnTo>
                  <a:lnTo>
                    <a:pt x="936" y="29"/>
                  </a:lnTo>
                  <a:lnTo>
                    <a:pt x="930" y="31"/>
                  </a:lnTo>
                  <a:lnTo>
                    <a:pt x="924" y="29"/>
                  </a:lnTo>
                  <a:lnTo>
                    <a:pt x="924" y="29"/>
                  </a:lnTo>
                  <a:lnTo>
                    <a:pt x="924" y="29"/>
                  </a:lnTo>
                  <a:lnTo>
                    <a:pt x="926" y="29"/>
                  </a:lnTo>
                  <a:lnTo>
                    <a:pt x="926" y="31"/>
                  </a:lnTo>
                  <a:lnTo>
                    <a:pt x="922" y="31"/>
                  </a:lnTo>
                  <a:lnTo>
                    <a:pt x="922" y="31"/>
                  </a:lnTo>
                  <a:lnTo>
                    <a:pt x="920" y="31"/>
                  </a:lnTo>
                  <a:lnTo>
                    <a:pt x="920" y="31"/>
                  </a:lnTo>
                  <a:lnTo>
                    <a:pt x="922" y="35"/>
                  </a:lnTo>
                  <a:lnTo>
                    <a:pt x="920" y="35"/>
                  </a:lnTo>
                  <a:lnTo>
                    <a:pt x="920" y="33"/>
                  </a:lnTo>
                  <a:lnTo>
                    <a:pt x="920" y="33"/>
                  </a:lnTo>
                  <a:lnTo>
                    <a:pt x="920" y="31"/>
                  </a:lnTo>
                  <a:lnTo>
                    <a:pt x="920" y="31"/>
                  </a:lnTo>
                  <a:lnTo>
                    <a:pt x="920" y="31"/>
                  </a:lnTo>
                  <a:lnTo>
                    <a:pt x="920" y="31"/>
                  </a:lnTo>
                  <a:lnTo>
                    <a:pt x="920" y="31"/>
                  </a:lnTo>
                  <a:lnTo>
                    <a:pt x="920" y="31"/>
                  </a:lnTo>
                  <a:lnTo>
                    <a:pt x="918" y="31"/>
                  </a:lnTo>
                  <a:lnTo>
                    <a:pt x="918" y="31"/>
                  </a:lnTo>
                  <a:lnTo>
                    <a:pt x="918" y="31"/>
                  </a:lnTo>
                  <a:lnTo>
                    <a:pt x="918" y="31"/>
                  </a:lnTo>
                  <a:lnTo>
                    <a:pt x="918" y="29"/>
                  </a:lnTo>
                  <a:lnTo>
                    <a:pt x="918" y="29"/>
                  </a:lnTo>
                  <a:lnTo>
                    <a:pt x="920" y="29"/>
                  </a:lnTo>
                  <a:lnTo>
                    <a:pt x="922" y="29"/>
                  </a:lnTo>
                  <a:lnTo>
                    <a:pt x="922" y="29"/>
                  </a:lnTo>
                  <a:lnTo>
                    <a:pt x="922" y="27"/>
                  </a:lnTo>
                  <a:lnTo>
                    <a:pt x="922" y="27"/>
                  </a:lnTo>
                  <a:lnTo>
                    <a:pt x="918" y="27"/>
                  </a:lnTo>
                  <a:lnTo>
                    <a:pt x="920" y="27"/>
                  </a:lnTo>
                  <a:lnTo>
                    <a:pt x="922" y="25"/>
                  </a:lnTo>
                  <a:lnTo>
                    <a:pt x="922" y="25"/>
                  </a:lnTo>
                  <a:lnTo>
                    <a:pt x="920" y="25"/>
                  </a:lnTo>
                  <a:lnTo>
                    <a:pt x="918" y="27"/>
                  </a:lnTo>
                  <a:lnTo>
                    <a:pt x="918" y="27"/>
                  </a:lnTo>
                  <a:lnTo>
                    <a:pt x="916" y="27"/>
                  </a:lnTo>
                  <a:lnTo>
                    <a:pt x="916" y="27"/>
                  </a:lnTo>
                  <a:lnTo>
                    <a:pt x="916" y="29"/>
                  </a:lnTo>
                  <a:lnTo>
                    <a:pt x="913" y="29"/>
                  </a:lnTo>
                  <a:lnTo>
                    <a:pt x="913" y="29"/>
                  </a:lnTo>
                  <a:lnTo>
                    <a:pt x="913" y="29"/>
                  </a:lnTo>
                  <a:lnTo>
                    <a:pt x="913" y="29"/>
                  </a:lnTo>
                  <a:lnTo>
                    <a:pt x="911" y="31"/>
                  </a:lnTo>
                  <a:lnTo>
                    <a:pt x="909" y="33"/>
                  </a:lnTo>
                  <a:lnTo>
                    <a:pt x="909" y="33"/>
                  </a:lnTo>
                  <a:lnTo>
                    <a:pt x="909" y="33"/>
                  </a:lnTo>
                  <a:lnTo>
                    <a:pt x="909" y="33"/>
                  </a:lnTo>
                  <a:lnTo>
                    <a:pt x="909" y="33"/>
                  </a:lnTo>
                  <a:lnTo>
                    <a:pt x="905" y="35"/>
                  </a:lnTo>
                  <a:lnTo>
                    <a:pt x="905" y="37"/>
                  </a:lnTo>
                  <a:lnTo>
                    <a:pt x="905" y="37"/>
                  </a:lnTo>
                  <a:lnTo>
                    <a:pt x="905" y="37"/>
                  </a:lnTo>
                  <a:lnTo>
                    <a:pt x="905" y="37"/>
                  </a:lnTo>
                  <a:lnTo>
                    <a:pt x="905" y="37"/>
                  </a:lnTo>
                  <a:lnTo>
                    <a:pt x="907" y="37"/>
                  </a:lnTo>
                  <a:lnTo>
                    <a:pt x="907" y="37"/>
                  </a:lnTo>
                  <a:lnTo>
                    <a:pt x="909" y="37"/>
                  </a:lnTo>
                  <a:lnTo>
                    <a:pt x="909" y="39"/>
                  </a:lnTo>
                  <a:lnTo>
                    <a:pt x="909" y="39"/>
                  </a:lnTo>
                  <a:lnTo>
                    <a:pt x="909" y="39"/>
                  </a:lnTo>
                  <a:lnTo>
                    <a:pt x="909" y="39"/>
                  </a:lnTo>
                  <a:lnTo>
                    <a:pt x="909" y="39"/>
                  </a:lnTo>
                  <a:lnTo>
                    <a:pt x="909" y="41"/>
                  </a:lnTo>
                  <a:lnTo>
                    <a:pt x="909" y="41"/>
                  </a:lnTo>
                  <a:lnTo>
                    <a:pt x="909" y="41"/>
                  </a:lnTo>
                  <a:lnTo>
                    <a:pt x="909" y="43"/>
                  </a:lnTo>
                  <a:lnTo>
                    <a:pt x="911" y="43"/>
                  </a:lnTo>
                  <a:lnTo>
                    <a:pt x="911" y="43"/>
                  </a:lnTo>
                  <a:lnTo>
                    <a:pt x="911" y="43"/>
                  </a:lnTo>
                  <a:lnTo>
                    <a:pt x="911" y="43"/>
                  </a:lnTo>
                  <a:lnTo>
                    <a:pt x="911" y="43"/>
                  </a:lnTo>
                  <a:lnTo>
                    <a:pt x="911" y="43"/>
                  </a:lnTo>
                  <a:lnTo>
                    <a:pt x="913" y="43"/>
                  </a:lnTo>
                  <a:lnTo>
                    <a:pt x="913" y="43"/>
                  </a:lnTo>
                  <a:lnTo>
                    <a:pt x="913" y="43"/>
                  </a:lnTo>
                  <a:lnTo>
                    <a:pt x="913" y="43"/>
                  </a:lnTo>
                  <a:lnTo>
                    <a:pt x="913" y="43"/>
                  </a:lnTo>
                  <a:lnTo>
                    <a:pt x="913" y="43"/>
                  </a:lnTo>
                  <a:lnTo>
                    <a:pt x="913" y="43"/>
                  </a:lnTo>
                  <a:lnTo>
                    <a:pt x="913" y="43"/>
                  </a:lnTo>
                  <a:lnTo>
                    <a:pt x="916" y="43"/>
                  </a:lnTo>
                  <a:lnTo>
                    <a:pt x="916" y="43"/>
                  </a:lnTo>
                  <a:lnTo>
                    <a:pt x="920" y="43"/>
                  </a:lnTo>
                  <a:lnTo>
                    <a:pt x="918" y="43"/>
                  </a:lnTo>
                  <a:lnTo>
                    <a:pt x="918" y="43"/>
                  </a:lnTo>
                  <a:lnTo>
                    <a:pt x="918" y="43"/>
                  </a:lnTo>
                  <a:lnTo>
                    <a:pt x="916" y="43"/>
                  </a:lnTo>
                  <a:lnTo>
                    <a:pt x="916" y="43"/>
                  </a:lnTo>
                  <a:lnTo>
                    <a:pt x="916" y="43"/>
                  </a:lnTo>
                  <a:lnTo>
                    <a:pt x="916" y="43"/>
                  </a:lnTo>
                  <a:lnTo>
                    <a:pt x="916" y="43"/>
                  </a:lnTo>
                  <a:lnTo>
                    <a:pt x="913" y="43"/>
                  </a:lnTo>
                  <a:lnTo>
                    <a:pt x="913" y="43"/>
                  </a:lnTo>
                  <a:lnTo>
                    <a:pt x="911" y="45"/>
                  </a:lnTo>
                  <a:lnTo>
                    <a:pt x="911" y="45"/>
                  </a:lnTo>
                  <a:lnTo>
                    <a:pt x="911" y="45"/>
                  </a:lnTo>
                  <a:lnTo>
                    <a:pt x="909" y="43"/>
                  </a:lnTo>
                  <a:lnTo>
                    <a:pt x="909" y="43"/>
                  </a:lnTo>
                  <a:lnTo>
                    <a:pt x="909" y="43"/>
                  </a:lnTo>
                  <a:lnTo>
                    <a:pt x="909" y="45"/>
                  </a:lnTo>
                  <a:lnTo>
                    <a:pt x="909" y="45"/>
                  </a:lnTo>
                  <a:lnTo>
                    <a:pt x="907" y="47"/>
                  </a:lnTo>
                  <a:lnTo>
                    <a:pt x="907" y="47"/>
                  </a:lnTo>
                  <a:lnTo>
                    <a:pt x="907" y="47"/>
                  </a:lnTo>
                  <a:lnTo>
                    <a:pt x="907" y="47"/>
                  </a:lnTo>
                  <a:lnTo>
                    <a:pt x="907" y="49"/>
                  </a:lnTo>
                  <a:lnTo>
                    <a:pt x="907" y="49"/>
                  </a:lnTo>
                  <a:lnTo>
                    <a:pt x="907" y="49"/>
                  </a:lnTo>
                  <a:lnTo>
                    <a:pt x="907" y="51"/>
                  </a:lnTo>
                  <a:lnTo>
                    <a:pt x="907" y="51"/>
                  </a:lnTo>
                  <a:lnTo>
                    <a:pt x="907" y="51"/>
                  </a:lnTo>
                  <a:lnTo>
                    <a:pt x="907" y="51"/>
                  </a:lnTo>
                  <a:lnTo>
                    <a:pt x="907" y="51"/>
                  </a:lnTo>
                  <a:lnTo>
                    <a:pt x="907" y="53"/>
                  </a:lnTo>
                  <a:lnTo>
                    <a:pt x="907" y="53"/>
                  </a:lnTo>
                  <a:lnTo>
                    <a:pt x="907" y="53"/>
                  </a:lnTo>
                  <a:lnTo>
                    <a:pt x="907" y="53"/>
                  </a:lnTo>
                  <a:lnTo>
                    <a:pt x="907" y="55"/>
                  </a:lnTo>
                  <a:lnTo>
                    <a:pt x="907" y="55"/>
                  </a:lnTo>
                  <a:lnTo>
                    <a:pt x="907" y="55"/>
                  </a:lnTo>
                  <a:lnTo>
                    <a:pt x="909" y="57"/>
                  </a:lnTo>
                  <a:lnTo>
                    <a:pt x="909" y="57"/>
                  </a:lnTo>
                  <a:lnTo>
                    <a:pt x="909" y="59"/>
                  </a:lnTo>
                  <a:lnTo>
                    <a:pt x="907" y="57"/>
                  </a:lnTo>
                  <a:lnTo>
                    <a:pt x="907" y="55"/>
                  </a:lnTo>
                  <a:lnTo>
                    <a:pt x="907" y="55"/>
                  </a:lnTo>
                  <a:lnTo>
                    <a:pt x="907" y="53"/>
                  </a:lnTo>
                  <a:lnTo>
                    <a:pt x="907" y="53"/>
                  </a:lnTo>
                  <a:lnTo>
                    <a:pt x="907" y="53"/>
                  </a:lnTo>
                  <a:lnTo>
                    <a:pt x="907" y="53"/>
                  </a:lnTo>
                  <a:lnTo>
                    <a:pt x="907" y="53"/>
                  </a:lnTo>
                  <a:lnTo>
                    <a:pt x="907" y="53"/>
                  </a:lnTo>
                  <a:lnTo>
                    <a:pt x="907" y="53"/>
                  </a:lnTo>
                  <a:lnTo>
                    <a:pt x="907" y="53"/>
                  </a:lnTo>
                  <a:lnTo>
                    <a:pt x="907" y="53"/>
                  </a:lnTo>
                  <a:lnTo>
                    <a:pt x="907" y="51"/>
                  </a:lnTo>
                  <a:lnTo>
                    <a:pt x="907" y="51"/>
                  </a:lnTo>
                  <a:lnTo>
                    <a:pt x="907" y="51"/>
                  </a:lnTo>
                  <a:lnTo>
                    <a:pt x="907" y="51"/>
                  </a:lnTo>
                  <a:lnTo>
                    <a:pt x="907" y="51"/>
                  </a:lnTo>
                  <a:lnTo>
                    <a:pt x="907" y="49"/>
                  </a:lnTo>
                  <a:lnTo>
                    <a:pt x="907" y="49"/>
                  </a:lnTo>
                  <a:lnTo>
                    <a:pt x="905" y="49"/>
                  </a:lnTo>
                  <a:lnTo>
                    <a:pt x="905" y="49"/>
                  </a:lnTo>
                  <a:lnTo>
                    <a:pt x="903" y="51"/>
                  </a:lnTo>
                  <a:lnTo>
                    <a:pt x="903" y="51"/>
                  </a:lnTo>
                  <a:lnTo>
                    <a:pt x="903" y="51"/>
                  </a:lnTo>
                  <a:lnTo>
                    <a:pt x="905" y="49"/>
                  </a:lnTo>
                  <a:lnTo>
                    <a:pt x="905" y="49"/>
                  </a:lnTo>
                  <a:lnTo>
                    <a:pt x="905" y="47"/>
                  </a:lnTo>
                  <a:lnTo>
                    <a:pt x="905" y="47"/>
                  </a:lnTo>
                  <a:lnTo>
                    <a:pt x="905" y="45"/>
                  </a:lnTo>
                  <a:lnTo>
                    <a:pt x="907" y="45"/>
                  </a:lnTo>
                  <a:lnTo>
                    <a:pt x="907" y="45"/>
                  </a:lnTo>
                  <a:lnTo>
                    <a:pt x="907" y="43"/>
                  </a:lnTo>
                  <a:lnTo>
                    <a:pt x="907" y="43"/>
                  </a:lnTo>
                  <a:lnTo>
                    <a:pt x="903" y="45"/>
                  </a:lnTo>
                  <a:lnTo>
                    <a:pt x="903" y="45"/>
                  </a:lnTo>
                  <a:lnTo>
                    <a:pt x="903" y="43"/>
                  </a:lnTo>
                  <a:lnTo>
                    <a:pt x="903" y="43"/>
                  </a:lnTo>
                  <a:lnTo>
                    <a:pt x="905" y="43"/>
                  </a:lnTo>
                  <a:lnTo>
                    <a:pt x="905" y="43"/>
                  </a:lnTo>
                  <a:lnTo>
                    <a:pt x="905" y="41"/>
                  </a:lnTo>
                  <a:lnTo>
                    <a:pt x="907" y="43"/>
                  </a:lnTo>
                  <a:lnTo>
                    <a:pt x="907" y="41"/>
                  </a:lnTo>
                  <a:lnTo>
                    <a:pt x="907" y="41"/>
                  </a:lnTo>
                  <a:lnTo>
                    <a:pt x="907" y="41"/>
                  </a:lnTo>
                  <a:lnTo>
                    <a:pt x="907" y="41"/>
                  </a:lnTo>
                  <a:lnTo>
                    <a:pt x="907" y="41"/>
                  </a:lnTo>
                  <a:lnTo>
                    <a:pt x="907" y="39"/>
                  </a:lnTo>
                  <a:lnTo>
                    <a:pt x="907" y="39"/>
                  </a:lnTo>
                  <a:lnTo>
                    <a:pt x="907" y="39"/>
                  </a:lnTo>
                  <a:lnTo>
                    <a:pt x="907" y="39"/>
                  </a:lnTo>
                  <a:lnTo>
                    <a:pt x="905" y="39"/>
                  </a:lnTo>
                  <a:lnTo>
                    <a:pt x="905" y="39"/>
                  </a:lnTo>
                  <a:lnTo>
                    <a:pt x="903" y="39"/>
                  </a:lnTo>
                  <a:lnTo>
                    <a:pt x="903" y="39"/>
                  </a:lnTo>
                  <a:lnTo>
                    <a:pt x="903" y="39"/>
                  </a:lnTo>
                  <a:lnTo>
                    <a:pt x="903" y="37"/>
                  </a:lnTo>
                  <a:lnTo>
                    <a:pt x="903" y="37"/>
                  </a:lnTo>
                  <a:lnTo>
                    <a:pt x="903" y="37"/>
                  </a:lnTo>
                  <a:lnTo>
                    <a:pt x="903" y="37"/>
                  </a:lnTo>
                  <a:lnTo>
                    <a:pt x="903" y="39"/>
                  </a:lnTo>
                  <a:lnTo>
                    <a:pt x="897" y="43"/>
                  </a:lnTo>
                  <a:lnTo>
                    <a:pt x="893" y="45"/>
                  </a:lnTo>
                  <a:lnTo>
                    <a:pt x="891" y="47"/>
                  </a:lnTo>
                  <a:lnTo>
                    <a:pt x="891" y="47"/>
                  </a:lnTo>
                  <a:lnTo>
                    <a:pt x="893" y="45"/>
                  </a:lnTo>
                  <a:lnTo>
                    <a:pt x="895" y="45"/>
                  </a:lnTo>
                  <a:lnTo>
                    <a:pt x="895" y="45"/>
                  </a:lnTo>
                  <a:lnTo>
                    <a:pt x="895" y="45"/>
                  </a:lnTo>
                  <a:lnTo>
                    <a:pt x="891" y="49"/>
                  </a:lnTo>
                  <a:lnTo>
                    <a:pt x="889" y="49"/>
                  </a:lnTo>
                  <a:lnTo>
                    <a:pt x="887" y="51"/>
                  </a:lnTo>
                  <a:lnTo>
                    <a:pt x="887" y="51"/>
                  </a:lnTo>
                  <a:lnTo>
                    <a:pt x="889" y="51"/>
                  </a:lnTo>
                  <a:lnTo>
                    <a:pt x="889" y="51"/>
                  </a:lnTo>
                  <a:lnTo>
                    <a:pt x="887" y="51"/>
                  </a:lnTo>
                  <a:lnTo>
                    <a:pt x="887" y="51"/>
                  </a:lnTo>
                  <a:lnTo>
                    <a:pt x="887" y="51"/>
                  </a:lnTo>
                  <a:lnTo>
                    <a:pt x="887" y="51"/>
                  </a:lnTo>
                  <a:lnTo>
                    <a:pt x="887" y="51"/>
                  </a:lnTo>
                  <a:lnTo>
                    <a:pt x="887" y="51"/>
                  </a:lnTo>
                  <a:lnTo>
                    <a:pt x="883" y="51"/>
                  </a:lnTo>
                  <a:lnTo>
                    <a:pt x="881" y="53"/>
                  </a:lnTo>
                  <a:lnTo>
                    <a:pt x="877" y="53"/>
                  </a:lnTo>
                  <a:lnTo>
                    <a:pt x="877" y="53"/>
                  </a:lnTo>
                  <a:lnTo>
                    <a:pt x="875" y="53"/>
                  </a:lnTo>
                  <a:lnTo>
                    <a:pt x="875" y="53"/>
                  </a:lnTo>
                  <a:lnTo>
                    <a:pt x="875" y="53"/>
                  </a:lnTo>
                  <a:lnTo>
                    <a:pt x="875" y="53"/>
                  </a:lnTo>
                  <a:lnTo>
                    <a:pt x="875" y="53"/>
                  </a:lnTo>
                  <a:lnTo>
                    <a:pt x="875" y="53"/>
                  </a:lnTo>
                  <a:lnTo>
                    <a:pt x="875" y="53"/>
                  </a:lnTo>
                  <a:lnTo>
                    <a:pt x="875" y="55"/>
                  </a:lnTo>
                  <a:lnTo>
                    <a:pt x="875" y="55"/>
                  </a:lnTo>
                  <a:lnTo>
                    <a:pt x="875" y="55"/>
                  </a:lnTo>
                  <a:lnTo>
                    <a:pt x="875" y="55"/>
                  </a:lnTo>
                  <a:lnTo>
                    <a:pt x="875" y="55"/>
                  </a:lnTo>
                  <a:lnTo>
                    <a:pt x="873" y="55"/>
                  </a:lnTo>
                  <a:lnTo>
                    <a:pt x="873" y="55"/>
                  </a:lnTo>
                  <a:lnTo>
                    <a:pt x="873" y="55"/>
                  </a:lnTo>
                  <a:lnTo>
                    <a:pt x="870" y="57"/>
                  </a:lnTo>
                  <a:lnTo>
                    <a:pt x="866" y="57"/>
                  </a:lnTo>
                  <a:lnTo>
                    <a:pt x="866" y="55"/>
                  </a:lnTo>
                  <a:lnTo>
                    <a:pt x="866" y="55"/>
                  </a:lnTo>
                  <a:lnTo>
                    <a:pt x="868" y="55"/>
                  </a:lnTo>
                  <a:lnTo>
                    <a:pt x="868" y="55"/>
                  </a:lnTo>
                  <a:lnTo>
                    <a:pt x="868" y="55"/>
                  </a:lnTo>
                  <a:lnTo>
                    <a:pt x="868" y="55"/>
                  </a:lnTo>
                  <a:lnTo>
                    <a:pt x="870" y="55"/>
                  </a:lnTo>
                  <a:lnTo>
                    <a:pt x="870" y="55"/>
                  </a:lnTo>
                  <a:lnTo>
                    <a:pt x="873" y="55"/>
                  </a:lnTo>
                  <a:lnTo>
                    <a:pt x="873" y="53"/>
                  </a:lnTo>
                  <a:lnTo>
                    <a:pt x="873" y="53"/>
                  </a:lnTo>
                  <a:lnTo>
                    <a:pt x="873" y="53"/>
                  </a:lnTo>
                  <a:lnTo>
                    <a:pt x="873" y="53"/>
                  </a:lnTo>
                  <a:lnTo>
                    <a:pt x="873" y="53"/>
                  </a:lnTo>
                  <a:lnTo>
                    <a:pt x="873" y="53"/>
                  </a:lnTo>
                  <a:lnTo>
                    <a:pt x="870" y="51"/>
                  </a:lnTo>
                  <a:lnTo>
                    <a:pt x="873" y="51"/>
                  </a:lnTo>
                  <a:lnTo>
                    <a:pt x="875" y="53"/>
                  </a:lnTo>
                  <a:lnTo>
                    <a:pt x="875" y="51"/>
                  </a:lnTo>
                  <a:lnTo>
                    <a:pt x="875" y="51"/>
                  </a:lnTo>
                  <a:lnTo>
                    <a:pt x="873" y="51"/>
                  </a:lnTo>
                  <a:lnTo>
                    <a:pt x="873" y="49"/>
                  </a:lnTo>
                  <a:lnTo>
                    <a:pt x="873" y="49"/>
                  </a:lnTo>
                  <a:lnTo>
                    <a:pt x="873" y="49"/>
                  </a:lnTo>
                  <a:lnTo>
                    <a:pt x="873" y="49"/>
                  </a:lnTo>
                  <a:lnTo>
                    <a:pt x="873" y="49"/>
                  </a:lnTo>
                  <a:lnTo>
                    <a:pt x="873" y="49"/>
                  </a:lnTo>
                  <a:lnTo>
                    <a:pt x="873" y="49"/>
                  </a:lnTo>
                  <a:lnTo>
                    <a:pt x="873" y="49"/>
                  </a:lnTo>
                  <a:lnTo>
                    <a:pt x="870" y="49"/>
                  </a:lnTo>
                  <a:lnTo>
                    <a:pt x="870" y="49"/>
                  </a:lnTo>
                  <a:lnTo>
                    <a:pt x="868" y="51"/>
                  </a:lnTo>
                  <a:lnTo>
                    <a:pt x="868" y="51"/>
                  </a:lnTo>
                  <a:lnTo>
                    <a:pt x="868" y="51"/>
                  </a:lnTo>
                  <a:lnTo>
                    <a:pt x="866" y="53"/>
                  </a:lnTo>
                  <a:lnTo>
                    <a:pt x="866" y="53"/>
                  </a:lnTo>
                  <a:lnTo>
                    <a:pt x="866" y="55"/>
                  </a:lnTo>
                  <a:lnTo>
                    <a:pt x="866" y="55"/>
                  </a:lnTo>
                  <a:lnTo>
                    <a:pt x="866" y="55"/>
                  </a:lnTo>
                  <a:lnTo>
                    <a:pt x="864" y="55"/>
                  </a:lnTo>
                  <a:lnTo>
                    <a:pt x="864" y="55"/>
                  </a:lnTo>
                  <a:lnTo>
                    <a:pt x="864" y="55"/>
                  </a:lnTo>
                  <a:lnTo>
                    <a:pt x="864" y="55"/>
                  </a:lnTo>
                  <a:lnTo>
                    <a:pt x="862" y="57"/>
                  </a:lnTo>
                  <a:lnTo>
                    <a:pt x="862" y="59"/>
                  </a:lnTo>
                  <a:lnTo>
                    <a:pt x="862" y="59"/>
                  </a:lnTo>
                  <a:lnTo>
                    <a:pt x="862" y="59"/>
                  </a:lnTo>
                  <a:lnTo>
                    <a:pt x="862" y="59"/>
                  </a:lnTo>
                  <a:lnTo>
                    <a:pt x="862" y="61"/>
                  </a:lnTo>
                  <a:lnTo>
                    <a:pt x="862" y="61"/>
                  </a:lnTo>
                  <a:lnTo>
                    <a:pt x="860" y="61"/>
                  </a:lnTo>
                  <a:lnTo>
                    <a:pt x="860" y="61"/>
                  </a:lnTo>
                  <a:lnTo>
                    <a:pt x="860" y="61"/>
                  </a:lnTo>
                  <a:lnTo>
                    <a:pt x="860" y="61"/>
                  </a:lnTo>
                  <a:lnTo>
                    <a:pt x="858" y="64"/>
                  </a:lnTo>
                  <a:lnTo>
                    <a:pt x="858" y="66"/>
                  </a:lnTo>
                  <a:lnTo>
                    <a:pt x="858" y="66"/>
                  </a:lnTo>
                  <a:lnTo>
                    <a:pt x="856" y="66"/>
                  </a:lnTo>
                  <a:lnTo>
                    <a:pt x="854" y="68"/>
                  </a:lnTo>
                  <a:lnTo>
                    <a:pt x="854" y="70"/>
                  </a:lnTo>
                  <a:lnTo>
                    <a:pt x="854" y="70"/>
                  </a:lnTo>
                  <a:lnTo>
                    <a:pt x="852" y="70"/>
                  </a:lnTo>
                  <a:lnTo>
                    <a:pt x="850" y="74"/>
                  </a:lnTo>
                  <a:lnTo>
                    <a:pt x="848" y="74"/>
                  </a:lnTo>
                  <a:lnTo>
                    <a:pt x="848" y="74"/>
                  </a:lnTo>
                  <a:lnTo>
                    <a:pt x="848" y="74"/>
                  </a:lnTo>
                  <a:lnTo>
                    <a:pt x="848" y="76"/>
                  </a:lnTo>
                  <a:lnTo>
                    <a:pt x="848" y="76"/>
                  </a:lnTo>
                  <a:lnTo>
                    <a:pt x="848" y="76"/>
                  </a:lnTo>
                  <a:lnTo>
                    <a:pt x="848" y="76"/>
                  </a:lnTo>
                  <a:lnTo>
                    <a:pt x="848" y="76"/>
                  </a:lnTo>
                  <a:lnTo>
                    <a:pt x="848" y="78"/>
                  </a:lnTo>
                  <a:lnTo>
                    <a:pt x="848" y="78"/>
                  </a:lnTo>
                  <a:lnTo>
                    <a:pt x="848" y="78"/>
                  </a:lnTo>
                  <a:lnTo>
                    <a:pt x="846" y="78"/>
                  </a:lnTo>
                  <a:lnTo>
                    <a:pt x="846" y="78"/>
                  </a:lnTo>
                  <a:lnTo>
                    <a:pt x="846" y="80"/>
                  </a:lnTo>
                  <a:lnTo>
                    <a:pt x="846" y="80"/>
                  </a:lnTo>
                  <a:lnTo>
                    <a:pt x="846" y="80"/>
                  </a:lnTo>
                  <a:lnTo>
                    <a:pt x="846" y="82"/>
                  </a:lnTo>
                  <a:lnTo>
                    <a:pt x="846" y="82"/>
                  </a:lnTo>
                  <a:lnTo>
                    <a:pt x="846" y="82"/>
                  </a:lnTo>
                  <a:lnTo>
                    <a:pt x="846" y="82"/>
                  </a:lnTo>
                  <a:lnTo>
                    <a:pt x="844" y="82"/>
                  </a:lnTo>
                  <a:lnTo>
                    <a:pt x="844" y="82"/>
                  </a:lnTo>
                  <a:lnTo>
                    <a:pt x="846" y="82"/>
                  </a:lnTo>
                  <a:lnTo>
                    <a:pt x="846" y="84"/>
                  </a:lnTo>
                  <a:lnTo>
                    <a:pt x="846" y="84"/>
                  </a:lnTo>
                  <a:lnTo>
                    <a:pt x="846" y="84"/>
                  </a:lnTo>
                  <a:lnTo>
                    <a:pt x="846" y="84"/>
                  </a:lnTo>
                  <a:lnTo>
                    <a:pt x="846" y="84"/>
                  </a:lnTo>
                  <a:lnTo>
                    <a:pt x="846" y="86"/>
                  </a:lnTo>
                  <a:lnTo>
                    <a:pt x="846" y="86"/>
                  </a:lnTo>
                  <a:lnTo>
                    <a:pt x="844" y="88"/>
                  </a:lnTo>
                  <a:lnTo>
                    <a:pt x="844" y="88"/>
                  </a:lnTo>
                  <a:lnTo>
                    <a:pt x="844" y="88"/>
                  </a:lnTo>
                  <a:lnTo>
                    <a:pt x="844" y="88"/>
                  </a:lnTo>
                  <a:lnTo>
                    <a:pt x="844" y="90"/>
                  </a:lnTo>
                  <a:lnTo>
                    <a:pt x="844" y="90"/>
                  </a:lnTo>
                  <a:lnTo>
                    <a:pt x="844" y="90"/>
                  </a:lnTo>
                  <a:lnTo>
                    <a:pt x="844" y="90"/>
                  </a:lnTo>
                  <a:lnTo>
                    <a:pt x="844" y="90"/>
                  </a:lnTo>
                  <a:lnTo>
                    <a:pt x="844" y="92"/>
                  </a:lnTo>
                  <a:lnTo>
                    <a:pt x="844" y="92"/>
                  </a:lnTo>
                  <a:lnTo>
                    <a:pt x="844" y="92"/>
                  </a:lnTo>
                  <a:lnTo>
                    <a:pt x="842" y="94"/>
                  </a:lnTo>
                  <a:lnTo>
                    <a:pt x="842" y="94"/>
                  </a:lnTo>
                  <a:lnTo>
                    <a:pt x="842" y="94"/>
                  </a:lnTo>
                  <a:lnTo>
                    <a:pt x="840" y="96"/>
                  </a:lnTo>
                  <a:lnTo>
                    <a:pt x="840" y="98"/>
                  </a:lnTo>
                  <a:lnTo>
                    <a:pt x="840" y="96"/>
                  </a:lnTo>
                  <a:lnTo>
                    <a:pt x="840" y="96"/>
                  </a:lnTo>
                  <a:lnTo>
                    <a:pt x="844" y="92"/>
                  </a:lnTo>
                  <a:lnTo>
                    <a:pt x="842" y="90"/>
                  </a:lnTo>
                  <a:lnTo>
                    <a:pt x="842" y="92"/>
                  </a:lnTo>
                  <a:lnTo>
                    <a:pt x="840" y="96"/>
                  </a:lnTo>
                  <a:lnTo>
                    <a:pt x="840" y="96"/>
                  </a:lnTo>
                  <a:lnTo>
                    <a:pt x="832" y="107"/>
                  </a:lnTo>
                  <a:lnTo>
                    <a:pt x="827" y="109"/>
                  </a:lnTo>
                  <a:lnTo>
                    <a:pt x="827" y="109"/>
                  </a:lnTo>
                  <a:lnTo>
                    <a:pt x="825" y="111"/>
                  </a:lnTo>
                  <a:lnTo>
                    <a:pt x="825" y="111"/>
                  </a:lnTo>
                  <a:lnTo>
                    <a:pt x="821" y="111"/>
                  </a:lnTo>
                  <a:lnTo>
                    <a:pt x="821" y="113"/>
                  </a:lnTo>
                  <a:lnTo>
                    <a:pt x="819" y="113"/>
                  </a:lnTo>
                  <a:lnTo>
                    <a:pt x="817" y="113"/>
                  </a:lnTo>
                  <a:lnTo>
                    <a:pt x="809" y="113"/>
                  </a:lnTo>
                  <a:lnTo>
                    <a:pt x="803" y="113"/>
                  </a:lnTo>
                  <a:lnTo>
                    <a:pt x="799" y="113"/>
                  </a:lnTo>
                  <a:lnTo>
                    <a:pt x="793" y="113"/>
                  </a:lnTo>
                  <a:lnTo>
                    <a:pt x="789" y="111"/>
                  </a:lnTo>
                  <a:lnTo>
                    <a:pt x="786" y="111"/>
                  </a:lnTo>
                  <a:lnTo>
                    <a:pt x="784" y="109"/>
                  </a:lnTo>
                  <a:lnTo>
                    <a:pt x="782" y="109"/>
                  </a:lnTo>
                  <a:lnTo>
                    <a:pt x="780" y="111"/>
                  </a:lnTo>
                  <a:lnTo>
                    <a:pt x="780" y="111"/>
                  </a:lnTo>
                  <a:lnTo>
                    <a:pt x="780" y="113"/>
                  </a:lnTo>
                  <a:lnTo>
                    <a:pt x="780" y="115"/>
                  </a:lnTo>
                  <a:lnTo>
                    <a:pt x="780" y="117"/>
                  </a:lnTo>
                  <a:lnTo>
                    <a:pt x="780" y="117"/>
                  </a:lnTo>
                  <a:lnTo>
                    <a:pt x="780" y="119"/>
                  </a:lnTo>
                  <a:lnTo>
                    <a:pt x="780" y="119"/>
                  </a:lnTo>
                  <a:lnTo>
                    <a:pt x="780" y="119"/>
                  </a:lnTo>
                  <a:lnTo>
                    <a:pt x="780" y="121"/>
                  </a:lnTo>
                  <a:lnTo>
                    <a:pt x="780" y="121"/>
                  </a:lnTo>
                  <a:lnTo>
                    <a:pt x="780" y="121"/>
                  </a:lnTo>
                  <a:lnTo>
                    <a:pt x="778" y="121"/>
                  </a:lnTo>
                  <a:lnTo>
                    <a:pt x="780" y="121"/>
                  </a:lnTo>
                  <a:lnTo>
                    <a:pt x="778" y="123"/>
                  </a:lnTo>
                  <a:lnTo>
                    <a:pt x="778" y="123"/>
                  </a:lnTo>
                  <a:lnTo>
                    <a:pt x="778" y="125"/>
                  </a:lnTo>
                  <a:lnTo>
                    <a:pt x="778" y="125"/>
                  </a:lnTo>
                  <a:lnTo>
                    <a:pt x="778" y="125"/>
                  </a:lnTo>
                  <a:lnTo>
                    <a:pt x="778" y="125"/>
                  </a:lnTo>
                  <a:lnTo>
                    <a:pt x="778" y="127"/>
                  </a:lnTo>
                  <a:lnTo>
                    <a:pt x="776" y="127"/>
                  </a:lnTo>
                  <a:lnTo>
                    <a:pt x="776" y="127"/>
                  </a:lnTo>
                  <a:lnTo>
                    <a:pt x="776" y="129"/>
                  </a:lnTo>
                  <a:lnTo>
                    <a:pt x="776" y="129"/>
                  </a:lnTo>
                  <a:lnTo>
                    <a:pt x="776" y="131"/>
                  </a:lnTo>
                  <a:lnTo>
                    <a:pt x="774" y="131"/>
                  </a:lnTo>
                  <a:lnTo>
                    <a:pt x="774" y="131"/>
                  </a:lnTo>
                  <a:lnTo>
                    <a:pt x="774" y="133"/>
                  </a:lnTo>
                  <a:lnTo>
                    <a:pt x="776" y="133"/>
                  </a:lnTo>
                  <a:lnTo>
                    <a:pt x="774" y="133"/>
                  </a:lnTo>
                  <a:lnTo>
                    <a:pt x="774" y="133"/>
                  </a:lnTo>
                  <a:lnTo>
                    <a:pt x="774" y="133"/>
                  </a:lnTo>
                  <a:lnTo>
                    <a:pt x="774" y="133"/>
                  </a:lnTo>
                  <a:lnTo>
                    <a:pt x="774" y="133"/>
                  </a:lnTo>
                  <a:lnTo>
                    <a:pt x="772" y="133"/>
                  </a:lnTo>
                  <a:lnTo>
                    <a:pt x="772" y="133"/>
                  </a:lnTo>
                  <a:lnTo>
                    <a:pt x="770" y="135"/>
                  </a:lnTo>
                  <a:lnTo>
                    <a:pt x="768" y="135"/>
                  </a:lnTo>
                  <a:lnTo>
                    <a:pt x="766" y="133"/>
                  </a:lnTo>
                  <a:lnTo>
                    <a:pt x="768" y="133"/>
                  </a:lnTo>
                  <a:lnTo>
                    <a:pt x="772" y="133"/>
                  </a:lnTo>
                  <a:lnTo>
                    <a:pt x="772" y="131"/>
                  </a:lnTo>
                  <a:lnTo>
                    <a:pt x="772" y="131"/>
                  </a:lnTo>
                  <a:lnTo>
                    <a:pt x="770" y="133"/>
                  </a:lnTo>
                  <a:lnTo>
                    <a:pt x="766" y="133"/>
                  </a:lnTo>
                  <a:lnTo>
                    <a:pt x="766" y="135"/>
                  </a:lnTo>
                  <a:lnTo>
                    <a:pt x="766" y="135"/>
                  </a:lnTo>
                  <a:lnTo>
                    <a:pt x="766" y="135"/>
                  </a:lnTo>
                  <a:lnTo>
                    <a:pt x="768" y="135"/>
                  </a:lnTo>
                  <a:lnTo>
                    <a:pt x="774" y="139"/>
                  </a:lnTo>
                  <a:lnTo>
                    <a:pt x="776" y="141"/>
                  </a:lnTo>
                  <a:lnTo>
                    <a:pt x="778" y="143"/>
                  </a:lnTo>
                  <a:lnTo>
                    <a:pt x="778" y="143"/>
                  </a:lnTo>
                  <a:lnTo>
                    <a:pt x="778" y="143"/>
                  </a:lnTo>
                  <a:lnTo>
                    <a:pt x="778" y="146"/>
                  </a:lnTo>
                  <a:lnTo>
                    <a:pt x="778" y="148"/>
                  </a:lnTo>
                  <a:lnTo>
                    <a:pt x="780" y="148"/>
                  </a:lnTo>
                  <a:lnTo>
                    <a:pt x="782" y="150"/>
                  </a:lnTo>
                  <a:lnTo>
                    <a:pt x="786" y="152"/>
                  </a:lnTo>
                  <a:lnTo>
                    <a:pt x="789" y="154"/>
                  </a:lnTo>
                  <a:lnTo>
                    <a:pt x="793" y="158"/>
                  </a:lnTo>
                  <a:lnTo>
                    <a:pt x="795" y="162"/>
                  </a:lnTo>
                  <a:lnTo>
                    <a:pt x="799" y="166"/>
                  </a:lnTo>
                  <a:lnTo>
                    <a:pt x="799" y="168"/>
                  </a:lnTo>
                  <a:lnTo>
                    <a:pt x="801" y="168"/>
                  </a:lnTo>
                  <a:lnTo>
                    <a:pt x="801" y="170"/>
                  </a:lnTo>
                  <a:lnTo>
                    <a:pt x="801" y="168"/>
                  </a:lnTo>
                  <a:lnTo>
                    <a:pt x="801" y="168"/>
                  </a:lnTo>
                  <a:lnTo>
                    <a:pt x="801" y="168"/>
                  </a:lnTo>
                  <a:lnTo>
                    <a:pt x="801" y="168"/>
                  </a:lnTo>
                  <a:lnTo>
                    <a:pt x="801" y="168"/>
                  </a:lnTo>
                  <a:lnTo>
                    <a:pt x="801" y="168"/>
                  </a:lnTo>
                  <a:lnTo>
                    <a:pt x="801" y="168"/>
                  </a:lnTo>
                  <a:lnTo>
                    <a:pt x="803" y="172"/>
                  </a:lnTo>
                  <a:lnTo>
                    <a:pt x="805" y="172"/>
                  </a:lnTo>
                  <a:lnTo>
                    <a:pt x="805" y="174"/>
                  </a:lnTo>
                  <a:lnTo>
                    <a:pt x="811" y="180"/>
                  </a:lnTo>
                  <a:lnTo>
                    <a:pt x="811" y="184"/>
                  </a:lnTo>
                  <a:lnTo>
                    <a:pt x="813" y="186"/>
                  </a:lnTo>
                  <a:lnTo>
                    <a:pt x="815" y="195"/>
                  </a:lnTo>
                  <a:lnTo>
                    <a:pt x="815" y="197"/>
                  </a:lnTo>
                  <a:lnTo>
                    <a:pt x="815" y="199"/>
                  </a:lnTo>
                  <a:lnTo>
                    <a:pt x="815" y="199"/>
                  </a:lnTo>
                  <a:lnTo>
                    <a:pt x="815" y="203"/>
                  </a:lnTo>
                  <a:lnTo>
                    <a:pt x="815" y="205"/>
                  </a:lnTo>
                  <a:lnTo>
                    <a:pt x="815" y="207"/>
                  </a:lnTo>
                  <a:lnTo>
                    <a:pt x="815" y="207"/>
                  </a:lnTo>
                  <a:lnTo>
                    <a:pt x="815" y="209"/>
                  </a:lnTo>
                  <a:lnTo>
                    <a:pt x="821" y="211"/>
                  </a:lnTo>
                  <a:lnTo>
                    <a:pt x="821" y="211"/>
                  </a:lnTo>
                  <a:lnTo>
                    <a:pt x="825" y="213"/>
                  </a:lnTo>
                  <a:lnTo>
                    <a:pt x="827" y="213"/>
                  </a:lnTo>
                  <a:lnTo>
                    <a:pt x="832" y="215"/>
                  </a:lnTo>
                  <a:lnTo>
                    <a:pt x="832" y="215"/>
                  </a:lnTo>
                  <a:lnTo>
                    <a:pt x="832" y="215"/>
                  </a:lnTo>
                  <a:lnTo>
                    <a:pt x="832" y="215"/>
                  </a:lnTo>
                  <a:lnTo>
                    <a:pt x="830" y="215"/>
                  </a:lnTo>
                  <a:lnTo>
                    <a:pt x="830" y="213"/>
                  </a:lnTo>
                  <a:lnTo>
                    <a:pt x="830" y="213"/>
                  </a:lnTo>
                  <a:lnTo>
                    <a:pt x="832" y="213"/>
                  </a:lnTo>
                  <a:lnTo>
                    <a:pt x="834" y="213"/>
                  </a:lnTo>
                  <a:lnTo>
                    <a:pt x="836" y="215"/>
                  </a:lnTo>
                  <a:lnTo>
                    <a:pt x="836" y="215"/>
                  </a:lnTo>
                  <a:lnTo>
                    <a:pt x="836" y="215"/>
                  </a:lnTo>
                  <a:lnTo>
                    <a:pt x="836" y="215"/>
                  </a:lnTo>
                  <a:lnTo>
                    <a:pt x="836" y="215"/>
                  </a:lnTo>
                  <a:lnTo>
                    <a:pt x="836" y="215"/>
                  </a:lnTo>
                  <a:lnTo>
                    <a:pt x="838" y="215"/>
                  </a:lnTo>
                  <a:lnTo>
                    <a:pt x="838" y="215"/>
                  </a:lnTo>
                  <a:lnTo>
                    <a:pt x="840" y="213"/>
                  </a:lnTo>
                  <a:lnTo>
                    <a:pt x="842" y="211"/>
                  </a:lnTo>
                  <a:lnTo>
                    <a:pt x="842" y="211"/>
                  </a:lnTo>
                  <a:lnTo>
                    <a:pt x="842" y="209"/>
                  </a:lnTo>
                  <a:lnTo>
                    <a:pt x="842" y="209"/>
                  </a:lnTo>
                  <a:lnTo>
                    <a:pt x="842" y="209"/>
                  </a:lnTo>
                  <a:lnTo>
                    <a:pt x="842" y="209"/>
                  </a:lnTo>
                  <a:lnTo>
                    <a:pt x="842" y="209"/>
                  </a:lnTo>
                  <a:lnTo>
                    <a:pt x="844" y="209"/>
                  </a:lnTo>
                  <a:lnTo>
                    <a:pt x="844" y="209"/>
                  </a:lnTo>
                  <a:lnTo>
                    <a:pt x="844" y="209"/>
                  </a:lnTo>
                  <a:lnTo>
                    <a:pt x="844" y="209"/>
                  </a:lnTo>
                  <a:lnTo>
                    <a:pt x="842" y="211"/>
                  </a:lnTo>
                  <a:lnTo>
                    <a:pt x="842" y="213"/>
                  </a:lnTo>
                  <a:lnTo>
                    <a:pt x="842" y="213"/>
                  </a:lnTo>
                  <a:lnTo>
                    <a:pt x="842" y="213"/>
                  </a:lnTo>
                  <a:lnTo>
                    <a:pt x="842" y="215"/>
                  </a:lnTo>
                  <a:lnTo>
                    <a:pt x="840" y="217"/>
                  </a:lnTo>
                  <a:lnTo>
                    <a:pt x="840" y="217"/>
                  </a:lnTo>
                  <a:lnTo>
                    <a:pt x="840" y="217"/>
                  </a:lnTo>
                  <a:lnTo>
                    <a:pt x="840" y="217"/>
                  </a:lnTo>
                  <a:lnTo>
                    <a:pt x="842" y="217"/>
                  </a:lnTo>
                  <a:lnTo>
                    <a:pt x="844" y="217"/>
                  </a:lnTo>
                  <a:lnTo>
                    <a:pt x="844" y="217"/>
                  </a:lnTo>
                  <a:lnTo>
                    <a:pt x="844" y="215"/>
                  </a:lnTo>
                  <a:lnTo>
                    <a:pt x="844" y="215"/>
                  </a:lnTo>
                  <a:lnTo>
                    <a:pt x="844" y="215"/>
                  </a:lnTo>
                  <a:lnTo>
                    <a:pt x="844" y="213"/>
                  </a:lnTo>
                  <a:lnTo>
                    <a:pt x="844" y="213"/>
                  </a:lnTo>
                  <a:lnTo>
                    <a:pt x="844" y="213"/>
                  </a:lnTo>
                  <a:lnTo>
                    <a:pt x="844" y="215"/>
                  </a:lnTo>
                  <a:lnTo>
                    <a:pt x="844" y="215"/>
                  </a:lnTo>
                  <a:lnTo>
                    <a:pt x="844" y="215"/>
                  </a:lnTo>
                  <a:lnTo>
                    <a:pt x="844" y="215"/>
                  </a:lnTo>
                  <a:lnTo>
                    <a:pt x="844" y="217"/>
                  </a:lnTo>
                  <a:lnTo>
                    <a:pt x="844" y="217"/>
                  </a:lnTo>
                  <a:lnTo>
                    <a:pt x="850" y="215"/>
                  </a:lnTo>
                  <a:lnTo>
                    <a:pt x="852" y="215"/>
                  </a:lnTo>
                  <a:lnTo>
                    <a:pt x="854" y="217"/>
                  </a:lnTo>
                  <a:lnTo>
                    <a:pt x="854" y="217"/>
                  </a:lnTo>
                  <a:lnTo>
                    <a:pt x="854" y="217"/>
                  </a:lnTo>
                  <a:lnTo>
                    <a:pt x="854" y="217"/>
                  </a:lnTo>
                  <a:lnTo>
                    <a:pt x="854" y="217"/>
                  </a:lnTo>
                  <a:lnTo>
                    <a:pt x="856" y="217"/>
                  </a:lnTo>
                  <a:lnTo>
                    <a:pt x="856" y="217"/>
                  </a:lnTo>
                  <a:lnTo>
                    <a:pt x="856" y="217"/>
                  </a:lnTo>
                  <a:lnTo>
                    <a:pt x="856" y="217"/>
                  </a:lnTo>
                  <a:lnTo>
                    <a:pt x="856" y="217"/>
                  </a:lnTo>
                  <a:lnTo>
                    <a:pt x="856" y="217"/>
                  </a:lnTo>
                  <a:lnTo>
                    <a:pt x="856" y="219"/>
                  </a:lnTo>
                  <a:lnTo>
                    <a:pt x="856" y="219"/>
                  </a:lnTo>
                  <a:lnTo>
                    <a:pt x="858" y="219"/>
                  </a:lnTo>
                  <a:lnTo>
                    <a:pt x="858" y="219"/>
                  </a:lnTo>
                  <a:lnTo>
                    <a:pt x="858" y="219"/>
                  </a:lnTo>
                  <a:lnTo>
                    <a:pt x="858" y="219"/>
                  </a:lnTo>
                  <a:lnTo>
                    <a:pt x="858" y="221"/>
                  </a:lnTo>
                  <a:lnTo>
                    <a:pt x="858" y="221"/>
                  </a:lnTo>
                  <a:lnTo>
                    <a:pt x="858" y="221"/>
                  </a:lnTo>
                  <a:lnTo>
                    <a:pt x="856" y="221"/>
                  </a:lnTo>
                  <a:lnTo>
                    <a:pt x="856" y="221"/>
                  </a:lnTo>
                  <a:lnTo>
                    <a:pt x="854" y="221"/>
                  </a:lnTo>
                  <a:lnTo>
                    <a:pt x="854" y="221"/>
                  </a:lnTo>
                  <a:lnTo>
                    <a:pt x="854" y="221"/>
                  </a:lnTo>
                  <a:lnTo>
                    <a:pt x="854" y="221"/>
                  </a:lnTo>
                  <a:lnTo>
                    <a:pt x="854" y="221"/>
                  </a:lnTo>
                  <a:lnTo>
                    <a:pt x="854" y="223"/>
                  </a:lnTo>
                  <a:lnTo>
                    <a:pt x="852" y="223"/>
                  </a:lnTo>
                  <a:lnTo>
                    <a:pt x="852" y="223"/>
                  </a:lnTo>
                  <a:lnTo>
                    <a:pt x="852" y="225"/>
                  </a:lnTo>
                  <a:lnTo>
                    <a:pt x="852" y="225"/>
                  </a:lnTo>
                  <a:lnTo>
                    <a:pt x="852" y="225"/>
                  </a:lnTo>
                  <a:lnTo>
                    <a:pt x="852" y="227"/>
                  </a:lnTo>
                  <a:lnTo>
                    <a:pt x="852" y="227"/>
                  </a:lnTo>
                  <a:lnTo>
                    <a:pt x="850" y="227"/>
                  </a:lnTo>
                  <a:lnTo>
                    <a:pt x="850" y="227"/>
                  </a:lnTo>
                  <a:lnTo>
                    <a:pt x="850" y="230"/>
                  </a:lnTo>
                  <a:lnTo>
                    <a:pt x="850" y="230"/>
                  </a:lnTo>
                  <a:lnTo>
                    <a:pt x="850" y="232"/>
                  </a:lnTo>
                  <a:lnTo>
                    <a:pt x="850" y="232"/>
                  </a:lnTo>
                  <a:lnTo>
                    <a:pt x="850" y="232"/>
                  </a:lnTo>
                  <a:lnTo>
                    <a:pt x="850" y="234"/>
                  </a:lnTo>
                  <a:lnTo>
                    <a:pt x="854" y="240"/>
                  </a:lnTo>
                  <a:lnTo>
                    <a:pt x="854" y="240"/>
                  </a:lnTo>
                  <a:lnTo>
                    <a:pt x="856" y="240"/>
                  </a:lnTo>
                  <a:lnTo>
                    <a:pt x="856" y="242"/>
                  </a:lnTo>
                  <a:lnTo>
                    <a:pt x="856" y="242"/>
                  </a:lnTo>
                  <a:lnTo>
                    <a:pt x="856" y="242"/>
                  </a:lnTo>
                  <a:lnTo>
                    <a:pt x="856" y="244"/>
                  </a:lnTo>
                  <a:lnTo>
                    <a:pt x="856" y="244"/>
                  </a:lnTo>
                  <a:lnTo>
                    <a:pt x="858" y="244"/>
                  </a:lnTo>
                  <a:lnTo>
                    <a:pt x="858" y="244"/>
                  </a:lnTo>
                  <a:lnTo>
                    <a:pt x="858" y="244"/>
                  </a:lnTo>
                  <a:lnTo>
                    <a:pt x="860" y="244"/>
                  </a:lnTo>
                  <a:lnTo>
                    <a:pt x="862" y="244"/>
                  </a:lnTo>
                  <a:lnTo>
                    <a:pt x="862" y="242"/>
                  </a:lnTo>
                  <a:lnTo>
                    <a:pt x="862" y="242"/>
                  </a:lnTo>
                  <a:lnTo>
                    <a:pt x="862" y="242"/>
                  </a:lnTo>
                  <a:lnTo>
                    <a:pt x="862" y="242"/>
                  </a:lnTo>
                  <a:lnTo>
                    <a:pt x="862" y="242"/>
                  </a:lnTo>
                  <a:lnTo>
                    <a:pt x="862" y="240"/>
                  </a:lnTo>
                  <a:lnTo>
                    <a:pt x="862" y="240"/>
                  </a:lnTo>
                  <a:lnTo>
                    <a:pt x="862" y="240"/>
                  </a:lnTo>
                  <a:lnTo>
                    <a:pt x="862" y="240"/>
                  </a:lnTo>
                  <a:lnTo>
                    <a:pt x="862" y="240"/>
                  </a:lnTo>
                  <a:lnTo>
                    <a:pt x="862" y="240"/>
                  </a:lnTo>
                  <a:lnTo>
                    <a:pt x="864" y="238"/>
                  </a:lnTo>
                  <a:lnTo>
                    <a:pt x="864" y="238"/>
                  </a:lnTo>
                  <a:lnTo>
                    <a:pt x="866" y="238"/>
                  </a:lnTo>
                  <a:lnTo>
                    <a:pt x="870" y="238"/>
                  </a:lnTo>
                  <a:lnTo>
                    <a:pt x="870" y="238"/>
                  </a:lnTo>
                  <a:lnTo>
                    <a:pt x="875" y="242"/>
                  </a:lnTo>
                  <a:lnTo>
                    <a:pt x="875" y="242"/>
                  </a:lnTo>
                  <a:lnTo>
                    <a:pt x="877" y="242"/>
                  </a:lnTo>
                  <a:lnTo>
                    <a:pt x="877" y="242"/>
                  </a:lnTo>
                  <a:lnTo>
                    <a:pt x="877" y="242"/>
                  </a:lnTo>
                  <a:lnTo>
                    <a:pt x="877" y="242"/>
                  </a:lnTo>
                  <a:lnTo>
                    <a:pt x="877" y="242"/>
                  </a:lnTo>
                  <a:lnTo>
                    <a:pt x="879" y="240"/>
                  </a:lnTo>
                  <a:lnTo>
                    <a:pt x="879" y="240"/>
                  </a:lnTo>
                  <a:lnTo>
                    <a:pt x="881" y="242"/>
                  </a:lnTo>
                  <a:lnTo>
                    <a:pt x="881" y="242"/>
                  </a:lnTo>
                  <a:lnTo>
                    <a:pt x="881" y="240"/>
                  </a:lnTo>
                  <a:lnTo>
                    <a:pt x="881" y="240"/>
                  </a:lnTo>
                  <a:lnTo>
                    <a:pt x="883" y="240"/>
                  </a:lnTo>
                  <a:lnTo>
                    <a:pt x="883" y="240"/>
                  </a:lnTo>
                  <a:lnTo>
                    <a:pt x="883" y="240"/>
                  </a:lnTo>
                  <a:lnTo>
                    <a:pt x="883" y="240"/>
                  </a:lnTo>
                  <a:lnTo>
                    <a:pt x="881" y="242"/>
                  </a:lnTo>
                  <a:lnTo>
                    <a:pt x="881" y="242"/>
                  </a:lnTo>
                  <a:lnTo>
                    <a:pt x="881" y="242"/>
                  </a:lnTo>
                  <a:lnTo>
                    <a:pt x="881" y="242"/>
                  </a:lnTo>
                  <a:lnTo>
                    <a:pt x="881" y="242"/>
                  </a:lnTo>
                  <a:lnTo>
                    <a:pt x="883" y="244"/>
                  </a:lnTo>
                  <a:lnTo>
                    <a:pt x="883" y="246"/>
                  </a:lnTo>
                  <a:lnTo>
                    <a:pt x="883" y="248"/>
                  </a:lnTo>
                  <a:lnTo>
                    <a:pt x="883" y="250"/>
                  </a:lnTo>
                  <a:lnTo>
                    <a:pt x="883" y="252"/>
                  </a:lnTo>
                  <a:lnTo>
                    <a:pt x="883" y="252"/>
                  </a:lnTo>
                  <a:lnTo>
                    <a:pt x="883" y="252"/>
                  </a:lnTo>
                  <a:lnTo>
                    <a:pt x="877" y="252"/>
                  </a:lnTo>
                  <a:lnTo>
                    <a:pt x="875" y="254"/>
                  </a:lnTo>
                  <a:lnTo>
                    <a:pt x="873" y="254"/>
                  </a:lnTo>
                  <a:lnTo>
                    <a:pt x="870" y="254"/>
                  </a:lnTo>
                  <a:lnTo>
                    <a:pt x="870" y="254"/>
                  </a:lnTo>
                  <a:lnTo>
                    <a:pt x="866" y="250"/>
                  </a:lnTo>
                  <a:lnTo>
                    <a:pt x="866" y="248"/>
                  </a:lnTo>
                  <a:lnTo>
                    <a:pt x="866" y="248"/>
                  </a:lnTo>
                  <a:lnTo>
                    <a:pt x="864" y="246"/>
                  </a:lnTo>
                  <a:lnTo>
                    <a:pt x="864" y="246"/>
                  </a:lnTo>
                  <a:lnTo>
                    <a:pt x="862" y="244"/>
                  </a:lnTo>
                  <a:lnTo>
                    <a:pt x="862" y="244"/>
                  </a:lnTo>
                  <a:lnTo>
                    <a:pt x="862" y="244"/>
                  </a:lnTo>
                  <a:lnTo>
                    <a:pt x="862" y="244"/>
                  </a:lnTo>
                  <a:lnTo>
                    <a:pt x="860" y="246"/>
                  </a:lnTo>
                  <a:lnTo>
                    <a:pt x="860" y="246"/>
                  </a:lnTo>
                  <a:lnTo>
                    <a:pt x="860" y="246"/>
                  </a:lnTo>
                  <a:lnTo>
                    <a:pt x="860" y="246"/>
                  </a:lnTo>
                  <a:lnTo>
                    <a:pt x="858" y="246"/>
                  </a:lnTo>
                  <a:lnTo>
                    <a:pt x="858" y="248"/>
                  </a:lnTo>
                  <a:lnTo>
                    <a:pt x="854" y="248"/>
                  </a:lnTo>
                  <a:lnTo>
                    <a:pt x="854" y="248"/>
                  </a:lnTo>
                  <a:lnTo>
                    <a:pt x="848" y="242"/>
                  </a:lnTo>
                  <a:lnTo>
                    <a:pt x="848" y="242"/>
                  </a:lnTo>
                  <a:lnTo>
                    <a:pt x="846" y="238"/>
                  </a:lnTo>
                  <a:lnTo>
                    <a:pt x="846" y="238"/>
                  </a:lnTo>
                  <a:lnTo>
                    <a:pt x="846" y="236"/>
                  </a:lnTo>
                  <a:lnTo>
                    <a:pt x="846" y="236"/>
                  </a:lnTo>
                  <a:lnTo>
                    <a:pt x="846" y="234"/>
                  </a:lnTo>
                  <a:lnTo>
                    <a:pt x="846" y="234"/>
                  </a:lnTo>
                  <a:lnTo>
                    <a:pt x="846" y="232"/>
                  </a:lnTo>
                  <a:lnTo>
                    <a:pt x="848" y="230"/>
                  </a:lnTo>
                  <a:lnTo>
                    <a:pt x="848" y="230"/>
                  </a:lnTo>
                  <a:lnTo>
                    <a:pt x="848" y="230"/>
                  </a:lnTo>
                  <a:lnTo>
                    <a:pt x="846" y="230"/>
                  </a:lnTo>
                  <a:lnTo>
                    <a:pt x="846" y="227"/>
                  </a:lnTo>
                  <a:lnTo>
                    <a:pt x="844" y="225"/>
                  </a:lnTo>
                  <a:lnTo>
                    <a:pt x="844" y="221"/>
                  </a:lnTo>
                  <a:lnTo>
                    <a:pt x="842" y="219"/>
                  </a:lnTo>
                  <a:lnTo>
                    <a:pt x="842" y="219"/>
                  </a:lnTo>
                  <a:lnTo>
                    <a:pt x="842" y="219"/>
                  </a:lnTo>
                  <a:lnTo>
                    <a:pt x="842" y="221"/>
                  </a:lnTo>
                  <a:lnTo>
                    <a:pt x="840" y="221"/>
                  </a:lnTo>
                  <a:lnTo>
                    <a:pt x="840" y="221"/>
                  </a:lnTo>
                  <a:lnTo>
                    <a:pt x="840" y="219"/>
                  </a:lnTo>
                  <a:lnTo>
                    <a:pt x="840" y="219"/>
                  </a:lnTo>
                  <a:lnTo>
                    <a:pt x="840" y="219"/>
                  </a:lnTo>
                  <a:lnTo>
                    <a:pt x="840" y="219"/>
                  </a:lnTo>
                  <a:lnTo>
                    <a:pt x="838" y="219"/>
                  </a:lnTo>
                  <a:lnTo>
                    <a:pt x="838" y="219"/>
                  </a:lnTo>
                  <a:lnTo>
                    <a:pt x="838" y="221"/>
                  </a:lnTo>
                  <a:lnTo>
                    <a:pt x="838" y="221"/>
                  </a:lnTo>
                  <a:lnTo>
                    <a:pt x="838" y="221"/>
                  </a:lnTo>
                  <a:lnTo>
                    <a:pt x="838" y="221"/>
                  </a:lnTo>
                  <a:lnTo>
                    <a:pt x="836" y="221"/>
                  </a:lnTo>
                  <a:lnTo>
                    <a:pt x="836" y="221"/>
                  </a:lnTo>
                  <a:lnTo>
                    <a:pt x="836" y="223"/>
                  </a:lnTo>
                  <a:lnTo>
                    <a:pt x="836" y="223"/>
                  </a:lnTo>
                  <a:lnTo>
                    <a:pt x="836" y="225"/>
                  </a:lnTo>
                  <a:lnTo>
                    <a:pt x="836" y="225"/>
                  </a:lnTo>
                  <a:lnTo>
                    <a:pt x="836" y="225"/>
                  </a:lnTo>
                  <a:lnTo>
                    <a:pt x="838" y="227"/>
                  </a:lnTo>
                  <a:lnTo>
                    <a:pt x="838" y="227"/>
                  </a:lnTo>
                  <a:lnTo>
                    <a:pt x="838" y="227"/>
                  </a:lnTo>
                  <a:lnTo>
                    <a:pt x="838" y="230"/>
                  </a:lnTo>
                  <a:lnTo>
                    <a:pt x="838" y="230"/>
                  </a:lnTo>
                  <a:lnTo>
                    <a:pt x="838" y="230"/>
                  </a:lnTo>
                  <a:lnTo>
                    <a:pt x="838" y="230"/>
                  </a:lnTo>
                  <a:lnTo>
                    <a:pt x="838" y="230"/>
                  </a:lnTo>
                  <a:lnTo>
                    <a:pt x="838" y="230"/>
                  </a:lnTo>
                  <a:lnTo>
                    <a:pt x="838" y="232"/>
                  </a:lnTo>
                  <a:lnTo>
                    <a:pt x="842" y="232"/>
                  </a:lnTo>
                  <a:lnTo>
                    <a:pt x="844" y="234"/>
                  </a:lnTo>
                  <a:lnTo>
                    <a:pt x="844" y="234"/>
                  </a:lnTo>
                  <a:lnTo>
                    <a:pt x="846" y="238"/>
                  </a:lnTo>
                  <a:lnTo>
                    <a:pt x="848" y="242"/>
                  </a:lnTo>
                  <a:lnTo>
                    <a:pt x="848" y="244"/>
                  </a:lnTo>
                  <a:lnTo>
                    <a:pt x="848" y="246"/>
                  </a:lnTo>
                  <a:lnTo>
                    <a:pt x="848" y="246"/>
                  </a:lnTo>
                  <a:lnTo>
                    <a:pt x="848" y="248"/>
                  </a:lnTo>
                  <a:lnTo>
                    <a:pt x="848" y="248"/>
                  </a:lnTo>
                  <a:lnTo>
                    <a:pt x="848" y="248"/>
                  </a:lnTo>
                  <a:lnTo>
                    <a:pt x="846" y="250"/>
                  </a:lnTo>
                  <a:lnTo>
                    <a:pt x="846" y="252"/>
                  </a:lnTo>
                  <a:lnTo>
                    <a:pt x="846" y="252"/>
                  </a:lnTo>
                  <a:lnTo>
                    <a:pt x="846" y="252"/>
                  </a:lnTo>
                  <a:lnTo>
                    <a:pt x="846" y="254"/>
                  </a:lnTo>
                  <a:lnTo>
                    <a:pt x="846" y="254"/>
                  </a:lnTo>
                  <a:lnTo>
                    <a:pt x="846" y="254"/>
                  </a:lnTo>
                  <a:lnTo>
                    <a:pt x="846" y="254"/>
                  </a:lnTo>
                  <a:lnTo>
                    <a:pt x="846" y="256"/>
                  </a:lnTo>
                  <a:lnTo>
                    <a:pt x="846" y="256"/>
                  </a:lnTo>
                  <a:lnTo>
                    <a:pt x="846" y="256"/>
                  </a:lnTo>
                  <a:lnTo>
                    <a:pt x="848" y="256"/>
                  </a:lnTo>
                  <a:lnTo>
                    <a:pt x="848" y="256"/>
                  </a:lnTo>
                  <a:lnTo>
                    <a:pt x="848" y="254"/>
                  </a:lnTo>
                  <a:lnTo>
                    <a:pt x="848" y="254"/>
                  </a:lnTo>
                  <a:lnTo>
                    <a:pt x="848" y="254"/>
                  </a:lnTo>
                  <a:lnTo>
                    <a:pt x="848" y="254"/>
                  </a:lnTo>
                  <a:lnTo>
                    <a:pt x="848" y="254"/>
                  </a:lnTo>
                  <a:lnTo>
                    <a:pt x="846" y="254"/>
                  </a:lnTo>
                  <a:lnTo>
                    <a:pt x="846" y="252"/>
                  </a:lnTo>
                  <a:lnTo>
                    <a:pt x="848" y="252"/>
                  </a:lnTo>
                  <a:lnTo>
                    <a:pt x="848" y="250"/>
                  </a:lnTo>
                  <a:lnTo>
                    <a:pt x="850" y="250"/>
                  </a:lnTo>
                  <a:lnTo>
                    <a:pt x="850" y="250"/>
                  </a:lnTo>
                  <a:lnTo>
                    <a:pt x="850" y="250"/>
                  </a:lnTo>
                  <a:lnTo>
                    <a:pt x="850" y="250"/>
                  </a:lnTo>
                  <a:lnTo>
                    <a:pt x="856" y="250"/>
                  </a:lnTo>
                  <a:lnTo>
                    <a:pt x="858" y="252"/>
                  </a:lnTo>
                  <a:lnTo>
                    <a:pt x="858" y="252"/>
                  </a:lnTo>
                  <a:lnTo>
                    <a:pt x="858" y="252"/>
                  </a:lnTo>
                  <a:lnTo>
                    <a:pt x="860" y="252"/>
                  </a:lnTo>
                  <a:lnTo>
                    <a:pt x="860" y="252"/>
                  </a:lnTo>
                  <a:lnTo>
                    <a:pt x="862" y="254"/>
                  </a:lnTo>
                  <a:lnTo>
                    <a:pt x="864" y="254"/>
                  </a:lnTo>
                  <a:lnTo>
                    <a:pt x="864" y="256"/>
                  </a:lnTo>
                  <a:lnTo>
                    <a:pt x="864" y="256"/>
                  </a:lnTo>
                  <a:lnTo>
                    <a:pt x="864" y="258"/>
                  </a:lnTo>
                  <a:lnTo>
                    <a:pt x="864" y="258"/>
                  </a:lnTo>
                  <a:lnTo>
                    <a:pt x="866" y="260"/>
                  </a:lnTo>
                  <a:lnTo>
                    <a:pt x="864" y="260"/>
                  </a:lnTo>
                  <a:lnTo>
                    <a:pt x="864" y="262"/>
                  </a:lnTo>
                  <a:lnTo>
                    <a:pt x="864" y="262"/>
                  </a:lnTo>
                  <a:lnTo>
                    <a:pt x="864" y="264"/>
                  </a:lnTo>
                  <a:lnTo>
                    <a:pt x="864" y="264"/>
                  </a:lnTo>
                  <a:lnTo>
                    <a:pt x="862" y="264"/>
                  </a:lnTo>
                  <a:lnTo>
                    <a:pt x="862" y="266"/>
                  </a:lnTo>
                  <a:lnTo>
                    <a:pt x="862" y="266"/>
                  </a:lnTo>
                  <a:lnTo>
                    <a:pt x="862" y="266"/>
                  </a:lnTo>
                  <a:lnTo>
                    <a:pt x="862" y="266"/>
                  </a:lnTo>
                  <a:lnTo>
                    <a:pt x="860" y="264"/>
                  </a:lnTo>
                  <a:lnTo>
                    <a:pt x="860" y="264"/>
                  </a:lnTo>
                  <a:lnTo>
                    <a:pt x="862" y="264"/>
                  </a:lnTo>
                  <a:lnTo>
                    <a:pt x="862" y="264"/>
                  </a:lnTo>
                  <a:lnTo>
                    <a:pt x="862" y="264"/>
                  </a:lnTo>
                  <a:lnTo>
                    <a:pt x="862" y="264"/>
                  </a:lnTo>
                  <a:lnTo>
                    <a:pt x="862" y="264"/>
                  </a:lnTo>
                  <a:lnTo>
                    <a:pt x="862" y="264"/>
                  </a:lnTo>
                  <a:lnTo>
                    <a:pt x="862" y="262"/>
                  </a:lnTo>
                  <a:lnTo>
                    <a:pt x="862" y="262"/>
                  </a:lnTo>
                  <a:lnTo>
                    <a:pt x="862" y="262"/>
                  </a:lnTo>
                  <a:lnTo>
                    <a:pt x="862" y="262"/>
                  </a:lnTo>
                  <a:lnTo>
                    <a:pt x="862" y="260"/>
                  </a:lnTo>
                  <a:lnTo>
                    <a:pt x="862" y="260"/>
                  </a:lnTo>
                  <a:lnTo>
                    <a:pt x="864" y="260"/>
                  </a:lnTo>
                  <a:lnTo>
                    <a:pt x="864" y="260"/>
                  </a:lnTo>
                  <a:lnTo>
                    <a:pt x="864" y="260"/>
                  </a:lnTo>
                  <a:lnTo>
                    <a:pt x="862" y="258"/>
                  </a:lnTo>
                  <a:lnTo>
                    <a:pt x="862" y="258"/>
                  </a:lnTo>
                  <a:lnTo>
                    <a:pt x="862" y="260"/>
                  </a:lnTo>
                  <a:lnTo>
                    <a:pt x="860" y="260"/>
                  </a:lnTo>
                  <a:lnTo>
                    <a:pt x="858" y="260"/>
                  </a:lnTo>
                  <a:lnTo>
                    <a:pt x="858" y="260"/>
                  </a:lnTo>
                  <a:lnTo>
                    <a:pt x="858" y="258"/>
                  </a:lnTo>
                  <a:lnTo>
                    <a:pt x="858" y="258"/>
                  </a:lnTo>
                  <a:lnTo>
                    <a:pt x="858" y="256"/>
                  </a:lnTo>
                  <a:lnTo>
                    <a:pt x="854" y="256"/>
                  </a:lnTo>
                  <a:lnTo>
                    <a:pt x="854" y="258"/>
                  </a:lnTo>
                  <a:lnTo>
                    <a:pt x="854" y="258"/>
                  </a:lnTo>
                  <a:lnTo>
                    <a:pt x="854" y="258"/>
                  </a:lnTo>
                  <a:lnTo>
                    <a:pt x="854" y="258"/>
                  </a:lnTo>
                  <a:lnTo>
                    <a:pt x="852" y="258"/>
                  </a:lnTo>
                  <a:lnTo>
                    <a:pt x="852" y="260"/>
                  </a:lnTo>
                  <a:lnTo>
                    <a:pt x="852" y="260"/>
                  </a:lnTo>
                  <a:lnTo>
                    <a:pt x="852" y="260"/>
                  </a:lnTo>
                  <a:lnTo>
                    <a:pt x="852" y="260"/>
                  </a:lnTo>
                  <a:lnTo>
                    <a:pt x="852" y="262"/>
                  </a:lnTo>
                  <a:lnTo>
                    <a:pt x="850" y="262"/>
                  </a:lnTo>
                  <a:lnTo>
                    <a:pt x="850" y="264"/>
                  </a:lnTo>
                  <a:lnTo>
                    <a:pt x="848" y="266"/>
                  </a:lnTo>
                  <a:lnTo>
                    <a:pt x="848" y="266"/>
                  </a:lnTo>
                  <a:lnTo>
                    <a:pt x="848" y="266"/>
                  </a:lnTo>
                  <a:lnTo>
                    <a:pt x="850" y="266"/>
                  </a:lnTo>
                  <a:lnTo>
                    <a:pt x="850" y="266"/>
                  </a:lnTo>
                  <a:lnTo>
                    <a:pt x="850" y="266"/>
                  </a:lnTo>
                  <a:lnTo>
                    <a:pt x="848" y="266"/>
                  </a:lnTo>
                  <a:lnTo>
                    <a:pt x="848" y="266"/>
                  </a:lnTo>
                  <a:lnTo>
                    <a:pt x="848" y="268"/>
                  </a:lnTo>
                  <a:lnTo>
                    <a:pt x="848" y="268"/>
                  </a:lnTo>
                  <a:lnTo>
                    <a:pt x="846" y="268"/>
                  </a:lnTo>
                  <a:lnTo>
                    <a:pt x="846" y="271"/>
                  </a:lnTo>
                  <a:lnTo>
                    <a:pt x="848" y="271"/>
                  </a:lnTo>
                  <a:lnTo>
                    <a:pt x="848" y="271"/>
                  </a:lnTo>
                  <a:lnTo>
                    <a:pt x="846" y="271"/>
                  </a:lnTo>
                  <a:lnTo>
                    <a:pt x="846" y="271"/>
                  </a:lnTo>
                  <a:lnTo>
                    <a:pt x="846" y="271"/>
                  </a:lnTo>
                  <a:lnTo>
                    <a:pt x="844" y="271"/>
                  </a:lnTo>
                  <a:lnTo>
                    <a:pt x="844" y="271"/>
                  </a:lnTo>
                  <a:lnTo>
                    <a:pt x="846" y="271"/>
                  </a:lnTo>
                  <a:lnTo>
                    <a:pt x="846" y="268"/>
                  </a:lnTo>
                  <a:lnTo>
                    <a:pt x="846" y="268"/>
                  </a:lnTo>
                  <a:lnTo>
                    <a:pt x="844" y="268"/>
                  </a:lnTo>
                  <a:lnTo>
                    <a:pt x="844" y="268"/>
                  </a:lnTo>
                  <a:lnTo>
                    <a:pt x="844" y="268"/>
                  </a:lnTo>
                  <a:lnTo>
                    <a:pt x="844" y="268"/>
                  </a:lnTo>
                  <a:lnTo>
                    <a:pt x="844" y="268"/>
                  </a:lnTo>
                  <a:lnTo>
                    <a:pt x="846" y="268"/>
                  </a:lnTo>
                  <a:lnTo>
                    <a:pt x="840" y="266"/>
                  </a:lnTo>
                  <a:lnTo>
                    <a:pt x="840" y="266"/>
                  </a:lnTo>
                  <a:lnTo>
                    <a:pt x="838" y="266"/>
                  </a:lnTo>
                  <a:lnTo>
                    <a:pt x="836" y="266"/>
                  </a:lnTo>
                  <a:lnTo>
                    <a:pt x="836" y="266"/>
                  </a:lnTo>
                  <a:lnTo>
                    <a:pt x="836" y="266"/>
                  </a:lnTo>
                  <a:lnTo>
                    <a:pt x="834" y="266"/>
                  </a:lnTo>
                  <a:lnTo>
                    <a:pt x="834" y="266"/>
                  </a:lnTo>
                  <a:lnTo>
                    <a:pt x="834" y="266"/>
                  </a:lnTo>
                  <a:lnTo>
                    <a:pt x="834" y="266"/>
                  </a:lnTo>
                  <a:lnTo>
                    <a:pt x="834" y="264"/>
                  </a:lnTo>
                  <a:lnTo>
                    <a:pt x="834" y="264"/>
                  </a:lnTo>
                  <a:lnTo>
                    <a:pt x="834" y="264"/>
                  </a:lnTo>
                  <a:lnTo>
                    <a:pt x="834" y="264"/>
                  </a:lnTo>
                  <a:lnTo>
                    <a:pt x="834" y="264"/>
                  </a:lnTo>
                  <a:lnTo>
                    <a:pt x="834" y="264"/>
                  </a:lnTo>
                  <a:lnTo>
                    <a:pt x="832" y="266"/>
                  </a:lnTo>
                  <a:lnTo>
                    <a:pt x="830" y="266"/>
                  </a:lnTo>
                  <a:lnTo>
                    <a:pt x="830" y="266"/>
                  </a:lnTo>
                  <a:lnTo>
                    <a:pt x="830" y="266"/>
                  </a:lnTo>
                  <a:lnTo>
                    <a:pt x="830" y="266"/>
                  </a:lnTo>
                  <a:lnTo>
                    <a:pt x="830" y="266"/>
                  </a:lnTo>
                  <a:lnTo>
                    <a:pt x="830" y="268"/>
                  </a:lnTo>
                  <a:lnTo>
                    <a:pt x="830" y="268"/>
                  </a:lnTo>
                  <a:lnTo>
                    <a:pt x="830" y="268"/>
                  </a:lnTo>
                  <a:lnTo>
                    <a:pt x="830" y="266"/>
                  </a:lnTo>
                  <a:lnTo>
                    <a:pt x="830" y="266"/>
                  </a:lnTo>
                  <a:lnTo>
                    <a:pt x="830" y="266"/>
                  </a:lnTo>
                  <a:lnTo>
                    <a:pt x="830" y="266"/>
                  </a:lnTo>
                  <a:lnTo>
                    <a:pt x="830" y="264"/>
                  </a:lnTo>
                  <a:lnTo>
                    <a:pt x="830" y="264"/>
                  </a:lnTo>
                  <a:lnTo>
                    <a:pt x="830" y="264"/>
                  </a:lnTo>
                  <a:lnTo>
                    <a:pt x="827" y="262"/>
                  </a:lnTo>
                  <a:lnTo>
                    <a:pt x="827" y="262"/>
                  </a:lnTo>
                  <a:lnTo>
                    <a:pt x="827" y="262"/>
                  </a:lnTo>
                  <a:lnTo>
                    <a:pt x="825" y="262"/>
                  </a:lnTo>
                  <a:lnTo>
                    <a:pt x="823" y="262"/>
                  </a:lnTo>
                  <a:lnTo>
                    <a:pt x="823" y="262"/>
                  </a:lnTo>
                  <a:lnTo>
                    <a:pt x="823" y="262"/>
                  </a:lnTo>
                  <a:lnTo>
                    <a:pt x="821" y="262"/>
                  </a:lnTo>
                  <a:lnTo>
                    <a:pt x="819" y="262"/>
                  </a:lnTo>
                  <a:lnTo>
                    <a:pt x="817" y="262"/>
                  </a:lnTo>
                  <a:lnTo>
                    <a:pt x="815" y="262"/>
                  </a:lnTo>
                  <a:lnTo>
                    <a:pt x="815" y="262"/>
                  </a:lnTo>
                  <a:lnTo>
                    <a:pt x="815" y="260"/>
                  </a:lnTo>
                  <a:lnTo>
                    <a:pt x="809" y="260"/>
                  </a:lnTo>
                  <a:lnTo>
                    <a:pt x="807" y="260"/>
                  </a:lnTo>
                  <a:lnTo>
                    <a:pt x="805" y="258"/>
                  </a:lnTo>
                  <a:lnTo>
                    <a:pt x="805" y="258"/>
                  </a:lnTo>
                  <a:lnTo>
                    <a:pt x="805" y="256"/>
                  </a:lnTo>
                  <a:lnTo>
                    <a:pt x="805" y="254"/>
                  </a:lnTo>
                  <a:lnTo>
                    <a:pt x="805" y="254"/>
                  </a:lnTo>
                  <a:lnTo>
                    <a:pt x="803" y="254"/>
                  </a:lnTo>
                  <a:lnTo>
                    <a:pt x="803" y="254"/>
                  </a:lnTo>
                  <a:lnTo>
                    <a:pt x="803" y="254"/>
                  </a:lnTo>
                  <a:lnTo>
                    <a:pt x="803" y="254"/>
                  </a:lnTo>
                  <a:lnTo>
                    <a:pt x="803" y="254"/>
                  </a:lnTo>
                  <a:lnTo>
                    <a:pt x="803" y="254"/>
                  </a:lnTo>
                  <a:lnTo>
                    <a:pt x="803" y="254"/>
                  </a:lnTo>
                  <a:lnTo>
                    <a:pt x="801" y="254"/>
                  </a:lnTo>
                  <a:lnTo>
                    <a:pt x="799" y="254"/>
                  </a:lnTo>
                  <a:lnTo>
                    <a:pt x="799" y="252"/>
                  </a:lnTo>
                  <a:lnTo>
                    <a:pt x="801" y="254"/>
                  </a:lnTo>
                  <a:lnTo>
                    <a:pt x="801" y="252"/>
                  </a:lnTo>
                  <a:lnTo>
                    <a:pt x="801" y="252"/>
                  </a:lnTo>
                  <a:lnTo>
                    <a:pt x="801" y="252"/>
                  </a:lnTo>
                  <a:lnTo>
                    <a:pt x="803" y="252"/>
                  </a:lnTo>
                  <a:lnTo>
                    <a:pt x="803" y="252"/>
                  </a:lnTo>
                  <a:lnTo>
                    <a:pt x="805" y="252"/>
                  </a:lnTo>
                  <a:lnTo>
                    <a:pt x="805" y="250"/>
                  </a:lnTo>
                  <a:lnTo>
                    <a:pt x="807" y="250"/>
                  </a:lnTo>
                  <a:lnTo>
                    <a:pt x="805" y="250"/>
                  </a:lnTo>
                  <a:lnTo>
                    <a:pt x="805" y="248"/>
                  </a:lnTo>
                  <a:lnTo>
                    <a:pt x="805" y="248"/>
                  </a:lnTo>
                  <a:lnTo>
                    <a:pt x="807" y="248"/>
                  </a:lnTo>
                  <a:lnTo>
                    <a:pt x="805" y="248"/>
                  </a:lnTo>
                  <a:lnTo>
                    <a:pt x="805" y="246"/>
                  </a:lnTo>
                  <a:lnTo>
                    <a:pt x="807" y="246"/>
                  </a:lnTo>
                  <a:lnTo>
                    <a:pt x="807" y="246"/>
                  </a:lnTo>
                  <a:lnTo>
                    <a:pt x="807" y="244"/>
                  </a:lnTo>
                  <a:lnTo>
                    <a:pt x="807" y="244"/>
                  </a:lnTo>
                  <a:lnTo>
                    <a:pt x="807" y="244"/>
                  </a:lnTo>
                  <a:lnTo>
                    <a:pt x="807" y="244"/>
                  </a:lnTo>
                  <a:lnTo>
                    <a:pt x="807" y="242"/>
                  </a:lnTo>
                  <a:lnTo>
                    <a:pt x="807" y="242"/>
                  </a:lnTo>
                  <a:lnTo>
                    <a:pt x="809" y="240"/>
                  </a:lnTo>
                  <a:lnTo>
                    <a:pt x="809" y="240"/>
                  </a:lnTo>
                  <a:lnTo>
                    <a:pt x="809" y="240"/>
                  </a:lnTo>
                  <a:lnTo>
                    <a:pt x="809" y="238"/>
                  </a:lnTo>
                  <a:lnTo>
                    <a:pt x="809" y="238"/>
                  </a:lnTo>
                  <a:lnTo>
                    <a:pt x="809" y="236"/>
                  </a:lnTo>
                  <a:lnTo>
                    <a:pt x="809" y="236"/>
                  </a:lnTo>
                  <a:lnTo>
                    <a:pt x="807" y="236"/>
                  </a:lnTo>
                  <a:lnTo>
                    <a:pt x="807" y="236"/>
                  </a:lnTo>
                  <a:lnTo>
                    <a:pt x="807" y="234"/>
                  </a:lnTo>
                  <a:lnTo>
                    <a:pt x="807" y="234"/>
                  </a:lnTo>
                  <a:lnTo>
                    <a:pt x="813" y="236"/>
                  </a:lnTo>
                  <a:lnTo>
                    <a:pt x="813" y="236"/>
                  </a:lnTo>
                  <a:lnTo>
                    <a:pt x="811" y="234"/>
                  </a:lnTo>
                  <a:lnTo>
                    <a:pt x="805" y="234"/>
                  </a:lnTo>
                  <a:lnTo>
                    <a:pt x="801" y="232"/>
                  </a:lnTo>
                  <a:lnTo>
                    <a:pt x="795" y="232"/>
                  </a:lnTo>
                  <a:lnTo>
                    <a:pt x="791" y="234"/>
                  </a:lnTo>
                  <a:lnTo>
                    <a:pt x="791" y="234"/>
                  </a:lnTo>
                  <a:lnTo>
                    <a:pt x="786" y="236"/>
                  </a:lnTo>
                  <a:lnTo>
                    <a:pt x="784" y="238"/>
                  </a:lnTo>
                  <a:lnTo>
                    <a:pt x="784" y="238"/>
                  </a:lnTo>
                  <a:lnTo>
                    <a:pt x="784" y="238"/>
                  </a:lnTo>
                  <a:lnTo>
                    <a:pt x="784" y="238"/>
                  </a:lnTo>
                  <a:lnTo>
                    <a:pt x="784" y="238"/>
                  </a:lnTo>
                  <a:lnTo>
                    <a:pt x="784" y="238"/>
                  </a:lnTo>
                  <a:lnTo>
                    <a:pt x="784" y="238"/>
                  </a:lnTo>
                  <a:lnTo>
                    <a:pt x="782" y="240"/>
                  </a:lnTo>
                  <a:lnTo>
                    <a:pt x="782" y="240"/>
                  </a:lnTo>
                  <a:lnTo>
                    <a:pt x="782" y="240"/>
                  </a:lnTo>
                  <a:lnTo>
                    <a:pt x="782" y="240"/>
                  </a:lnTo>
                  <a:lnTo>
                    <a:pt x="782" y="240"/>
                  </a:lnTo>
                  <a:lnTo>
                    <a:pt x="782" y="238"/>
                  </a:lnTo>
                  <a:lnTo>
                    <a:pt x="782" y="238"/>
                  </a:lnTo>
                  <a:lnTo>
                    <a:pt x="782" y="238"/>
                  </a:lnTo>
                  <a:lnTo>
                    <a:pt x="782" y="238"/>
                  </a:lnTo>
                  <a:lnTo>
                    <a:pt x="782" y="238"/>
                  </a:lnTo>
                  <a:lnTo>
                    <a:pt x="782" y="238"/>
                  </a:lnTo>
                  <a:lnTo>
                    <a:pt x="778" y="238"/>
                  </a:lnTo>
                  <a:lnTo>
                    <a:pt x="776" y="238"/>
                  </a:lnTo>
                  <a:lnTo>
                    <a:pt x="776" y="238"/>
                  </a:lnTo>
                  <a:lnTo>
                    <a:pt x="774" y="238"/>
                  </a:lnTo>
                  <a:lnTo>
                    <a:pt x="766" y="242"/>
                  </a:lnTo>
                  <a:lnTo>
                    <a:pt x="764" y="244"/>
                  </a:lnTo>
                  <a:lnTo>
                    <a:pt x="764" y="244"/>
                  </a:lnTo>
                  <a:lnTo>
                    <a:pt x="764" y="246"/>
                  </a:lnTo>
                  <a:lnTo>
                    <a:pt x="764" y="246"/>
                  </a:lnTo>
                  <a:lnTo>
                    <a:pt x="764" y="246"/>
                  </a:lnTo>
                  <a:lnTo>
                    <a:pt x="766" y="246"/>
                  </a:lnTo>
                  <a:lnTo>
                    <a:pt x="766" y="248"/>
                  </a:lnTo>
                  <a:lnTo>
                    <a:pt x="768" y="250"/>
                  </a:lnTo>
                  <a:lnTo>
                    <a:pt x="770" y="250"/>
                  </a:lnTo>
                  <a:lnTo>
                    <a:pt x="770" y="250"/>
                  </a:lnTo>
                  <a:lnTo>
                    <a:pt x="770" y="252"/>
                  </a:lnTo>
                  <a:lnTo>
                    <a:pt x="766" y="252"/>
                  </a:lnTo>
                  <a:lnTo>
                    <a:pt x="758" y="250"/>
                  </a:lnTo>
                  <a:lnTo>
                    <a:pt x="758" y="248"/>
                  </a:lnTo>
                  <a:lnTo>
                    <a:pt x="758" y="248"/>
                  </a:lnTo>
                  <a:lnTo>
                    <a:pt x="758" y="248"/>
                  </a:lnTo>
                  <a:lnTo>
                    <a:pt x="758" y="248"/>
                  </a:lnTo>
                  <a:lnTo>
                    <a:pt x="758" y="248"/>
                  </a:lnTo>
                  <a:lnTo>
                    <a:pt x="756" y="248"/>
                  </a:lnTo>
                  <a:lnTo>
                    <a:pt x="754" y="246"/>
                  </a:lnTo>
                  <a:lnTo>
                    <a:pt x="754" y="246"/>
                  </a:lnTo>
                  <a:lnTo>
                    <a:pt x="754" y="248"/>
                  </a:lnTo>
                  <a:lnTo>
                    <a:pt x="752" y="248"/>
                  </a:lnTo>
                  <a:lnTo>
                    <a:pt x="750" y="248"/>
                  </a:lnTo>
                  <a:lnTo>
                    <a:pt x="750" y="248"/>
                  </a:lnTo>
                  <a:lnTo>
                    <a:pt x="743" y="252"/>
                  </a:lnTo>
                  <a:lnTo>
                    <a:pt x="743" y="252"/>
                  </a:lnTo>
                  <a:lnTo>
                    <a:pt x="741" y="254"/>
                  </a:lnTo>
                  <a:lnTo>
                    <a:pt x="741" y="254"/>
                  </a:lnTo>
                  <a:lnTo>
                    <a:pt x="741" y="254"/>
                  </a:lnTo>
                  <a:lnTo>
                    <a:pt x="741" y="254"/>
                  </a:lnTo>
                  <a:lnTo>
                    <a:pt x="741" y="254"/>
                  </a:lnTo>
                  <a:lnTo>
                    <a:pt x="741" y="254"/>
                  </a:lnTo>
                  <a:lnTo>
                    <a:pt x="741" y="254"/>
                  </a:lnTo>
                  <a:lnTo>
                    <a:pt x="741" y="254"/>
                  </a:lnTo>
                  <a:lnTo>
                    <a:pt x="741" y="254"/>
                  </a:lnTo>
                  <a:lnTo>
                    <a:pt x="741" y="254"/>
                  </a:lnTo>
                  <a:lnTo>
                    <a:pt x="741" y="254"/>
                  </a:lnTo>
                  <a:lnTo>
                    <a:pt x="741" y="252"/>
                  </a:lnTo>
                  <a:lnTo>
                    <a:pt x="741" y="254"/>
                  </a:lnTo>
                  <a:lnTo>
                    <a:pt x="739" y="254"/>
                  </a:lnTo>
                  <a:lnTo>
                    <a:pt x="739" y="254"/>
                  </a:lnTo>
                  <a:lnTo>
                    <a:pt x="739" y="254"/>
                  </a:lnTo>
                  <a:lnTo>
                    <a:pt x="739" y="256"/>
                  </a:lnTo>
                  <a:lnTo>
                    <a:pt x="739" y="256"/>
                  </a:lnTo>
                  <a:lnTo>
                    <a:pt x="737" y="258"/>
                  </a:lnTo>
                  <a:lnTo>
                    <a:pt x="735" y="258"/>
                  </a:lnTo>
                  <a:lnTo>
                    <a:pt x="733" y="260"/>
                  </a:lnTo>
                  <a:lnTo>
                    <a:pt x="733" y="260"/>
                  </a:lnTo>
                  <a:lnTo>
                    <a:pt x="733" y="258"/>
                  </a:lnTo>
                  <a:lnTo>
                    <a:pt x="731" y="258"/>
                  </a:lnTo>
                  <a:lnTo>
                    <a:pt x="731" y="258"/>
                  </a:lnTo>
                  <a:lnTo>
                    <a:pt x="731" y="256"/>
                  </a:lnTo>
                  <a:lnTo>
                    <a:pt x="729" y="256"/>
                  </a:lnTo>
                  <a:lnTo>
                    <a:pt x="725" y="260"/>
                  </a:lnTo>
                  <a:lnTo>
                    <a:pt x="725" y="260"/>
                  </a:lnTo>
                  <a:lnTo>
                    <a:pt x="725" y="260"/>
                  </a:lnTo>
                  <a:lnTo>
                    <a:pt x="727" y="260"/>
                  </a:lnTo>
                  <a:lnTo>
                    <a:pt x="727" y="260"/>
                  </a:lnTo>
                  <a:lnTo>
                    <a:pt x="727" y="260"/>
                  </a:lnTo>
                  <a:lnTo>
                    <a:pt x="725" y="260"/>
                  </a:lnTo>
                  <a:lnTo>
                    <a:pt x="725" y="260"/>
                  </a:lnTo>
                  <a:lnTo>
                    <a:pt x="723" y="260"/>
                  </a:lnTo>
                  <a:lnTo>
                    <a:pt x="725" y="262"/>
                  </a:lnTo>
                  <a:lnTo>
                    <a:pt x="725" y="262"/>
                  </a:lnTo>
                  <a:lnTo>
                    <a:pt x="725" y="262"/>
                  </a:lnTo>
                  <a:lnTo>
                    <a:pt x="725" y="264"/>
                  </a:lnTo>
                  <a:lnTo>
                    <a:pt x="725" y="264"/>
                  </a:lnTo>
                  <a:lnTo>
                    <a:pt x="723" y="264"/>
                  </a:lnTo>
                  <a:lnTo>
                    <a:pt x="719" y="264"/>
                  </a:lnTo>
                  <a:lnTo>
                    <a:pt x="717" y="264"/>
                  </a:lnTo>
                  <a:lnTo>
                    <a:pt x="717" y="266"/>
                  </a:lnTo>
                  <a:lnTo>
                    <a:pt x="717" y="266"/>
                  </a:lnTo>
                  <a:lnTo>
                    <a:pt x="715" y="266"/>
                  </a:lnTo>
                  <a:lnTo>
                    <a:pt x="713" y="266"/>
                  </a:lnTo>
                  <a:lnTo>
                    <a:pt x="713" y="266"/>
                  </a:lnTo>
                  <a:lnTo>
                    <a:pt x="713" y="266"/>
                  </a:lnTo>
                  <a:lnTo>
                    <a:pt x="713" y="264"/>
                  </a:lnTo>
                  <a:lnTo>
                    <a:pt x="713" y="264"/>
                  </a:lnTo>
                  <a:lnTo>
                    <a:pt x="715" y="264"/>
                  </a:lnTo>
                  <a:lnTo>
                    <a:pt x="715" y="264"/>
                  </a:lnTo>
                  <a:lnTo>
                    <a:pt x="717" y="262"/>
                  </a:lnTo>
                  <a:lnTo>
                    <a:pt x="717" y="262"/>
                  </a:lnTo>
                  <a:lnTo>
                    <a:pt x="717" y="262"/>
                  </a:lnTo>
                  <a:lnTo>
                    <a:pt x="717" y="262"/>
                  </a:lnTo>
                  <a:lnTo>
                    <a:pt x="719" y="260"/>
                  </a:lnTo>
                  <a:lnTo>
                    <a:pt x="717" y="262"/>
                  </a:lnTo>
                  <a:lnTo>
                    <a:pt x="715" y="262"/>
                  </a:lnTo>
                  <a:lnTo>
                    <a:pt x="713" y="264"/>
                  </a:lnTo>
                  <a:lnTo>
                    <a:pt x="711" y="264"/>
                  </a:lnTo>
                  <a:lnTo>
                    <a:pt x="711" y="264"/>
                  </a:lnTo>
                  <a:lnTo>
                    <a:pt x="711" y="264"/>
                  </a:lnTo>
                  <a:lnTo>
                    <a:pt x="711" y="264"/>
                  </a:lnTo>
                  <a:lnTo>
                    <a:pt x="711" y="264"/>
                  </a:lnTo>
                  <a:lnTo>
                    <a:pt x="711" y="266"/>
                  </a:lnTo>
                  <a:lnTo>
                    <a:pt x="711" y="266"/>
                  </a:lnTo>
                  <a:lnTo>
                    <a:pt x="711" y="266"/>
                  </a:lnTo>
                  <a:lnTo>
                    <a:pt x="711" y="268"/>
                  </a:lnTo>
                  <a:lnTo>
                    <a:pt x="711" y="268"/>
                  </a:lnTo>
                  <a:lnTo>
                    <a:pt x="711" y="268"/>
                  </a:lnTo>
                  <a:lnTo>
                    <a:pt x="711" y="268"/>
                  </a:lnTo>
                  <a:lnTo>
                    <a:pt x="711" y="268"/>
                  </a:lnTo>
                  <a:lnTo>
                    <a:pt x="711" y="271"/>
                  </a:lnTo>
                  <a:lnTo>
                    <a:pt x="711" y="271"/>
                  </a:lnTo>
                  <a:lnTo>
                    <a:pt x="713" y="271"/>
                  </a:lnTo>
                  <a:lnTo>
                    <a:pt x="715" y="271"/>
                  </a:lnTo>
                  <a:lnTo>
                    <a:pt x="719" y="277"/>
                  </a:lnTo>
                  <a:lnTo>
                    <a:pt x="719" y="277"/>
                  </a:lnTo>
                  <a:lnTo>
                    <a:pt x="719" y="277"/>
                  </a:lnTo>
                  <a:lnTo>
                    <a:pt x="721" y="279"/>
                  </a:lnTo>
                  <a:lnTo>
                    <a:pt x="725" y="281"/>
                  </a:lnTo>
                  <a:lnTo>
                    <a:pt x="727" y="283"/>
                  </a:lnTo>
                  <a:lnTo>
                    <a:pt x="735" y="287"/>
                  </a:lnTo>
                  <a:lnTo>
                    <a:pt x="737" y="287"/>
                  </a:lnTo>
                  <a:lnTo>
                    <a:pt x="739" y="289"/>
                  </a:lnTo>
                  <a:lnTo>
                    <a:pt x="737" y="287"/>
                  </a:lnTo>
                  <a:lnTo>
                    <a:pt x="735" y="287"/>
                  </a:lnTo>
                  <a:lnTo>
                    <a:pt x="735" y="287"/>
                  </a:lnTo>
                  <a:lnTo>
                    <a:pt x="733" y="285"/>
                  </a:lnTo>
                  <a:lnTo>
                    <a:pt x="733" y="285"/>
                  </a:lnTo>
                  <a:lnTo>
                    <a:pt x="733" y="285"/>
                  </a:lnTo>
                  <a:lnTo>
                    <a:pt x="739" y="287"/>
                  </a:lnTo>
                  <a:lnTo>
                    <a:pt x="741" y="289"/>
                  </a:lnTo>
                  <a:lnTo>
                    <a:pt x="743" y="289"/>
                  </a:lnTo>
                  <a:lnTo>
                    <a:pt x="743" y="291"/>
                  </a:lnTo>
                  <a:lnTo>
                    <a:pt x="746" y="291"/>
                  </a:lnTo>
                  <a:lnTo>
                    <a:pt x="746" y="291"/>
                  </a:lnTo>
                  <a:lnTo>
                    <a:pt x="748" y="291"/>
                  </a:lnTo>
                  <a:lnTo>
                    <a:pt x="750" y="293"/>
                  </a:lnTo>
                  <a:lnTo>
                    <a:pt x="750" y="293"/>
                  </a:lnTo>
                  <a:lnTo>
                    <a:pt x="752" y="295"/>
                  </a:lnTo>
                  <a:lnTo>
                    <a:pt x="750" y="295"/>
                  </a:lnTo>
                  <a:lnTo>
                    <a:pt x="750" y="295"/>
                  </a:lnTo>
                  <a:lnTo>
                    <a:pt x="750" y="295"/>
                  </a:lnTo>
                  <a:lnTo>
                    <a:pt x="746" y="293"/>
                  </a:lnTo>
                  <a:lnTo>
                    <a:pt x="746" y="293"/>
                  </a:lnTo>
                  <a:lnTo>
                    <a:pt x="746" y="293"/>
                  </a:lnTo>
                  <a:lnTo>
                    <a:pt x="743" y="293"/>
                  </a:lnTo>
                  <a:lnTo>
                    <a:pt x="743" y="293"/>
                  </a:lnTo>
                  <a:lnTo>
                    <a:pt x="743" y="293"/>
                  </a:lnTo>
                  <a:lnTo>
                    <a:pt x="743" y="293"/>
                  </a:lnTo>
                  <a:lnTo>
                    <a:pt x="741" y="293"/>
                  </a:lnTo>
                  <a:lnTo>
                    <a:pt x="741" y="295"/>
                  </a:lnTo>
                  <a:lnTo>
                    <a:pt x="741" y="295"/>
                  </a:lnTo>
                  <a:lnTo>
                    <a:pt x="741" y="297"/>
                  </a:lnTo>
                  <a:lnTo>
                    <a:pt x="741" y="297"/>
                  </a:lnTo>
                  <a:lnTo>
                    <a:pt x="739" y="299"/>
                  </a:lnTo>
                  <a:lnTo>
                    <a:pt x="739" y="299"/>
                  </a:lnTo>
                  <a:lnTo>
                    <a:pt x="739" y="299"/>
                  </a:lnTo>
                  <a:lnTo>
                    <a:pt x="739" y="299"/>
                  </a:lnTo>
                  <a:lnTo>
                    <a:pt x="739" y="299"/>
                  </a:lnTo>
                  <a:lnTo>
                    <a:pt x="739" y="299"/>
                  </a:lnTo>
                  <a:lnTo>
                    <a:pt x="739" y="299"/>
                  </a:lnTo>
                  <a:lnTo>
                    <a:pt x="739" y="299"/>
                  </a:lnTo>
                  <a:lnTo>
                    <a:pt x="737" y="299"/>
                  </a:lnTo>
                  <a:lnTo>
                    <a:pt x="737" y="299"/>
                  </a:lnTo>
                  <a:lnTo>
                    <a:pt x="737" y="299"/>
                  </a:lnTo>
                  <a:lnTo>
                    <a:pt x="735" y="299"/>
                  </a:lnTo>
                  <a:lnTo>
                    <a:pt x="735" y="299"/>
                  </a:lnTo>
                  <a:lnTo>
                    <a:pt x="733" y="297"/>
                  </a:lnTo>
                  <a:lnTo>
                    <a:pt x="731" y="297"/>
                  </a:lnTo>
                  <a:lnTo>
                    <a:pt x="731" y="297"/>
                  </a:lnTo>
                  <a:lnTo>
                    <a:pt x="731" y="297"/>
                  </a:lnTo>
                  <a:lnTo>
                    <a:pt x="731" y="297"/>
                  </a:lnTo>
                  <a:lnTo>
                    <a:pt x="731" y="295"/>
                  </a:lnTo>
                  <a:lnTo>
                    <a:pt x="731" y="293"/>
                  </a:lnTo>
                  <a:lnTo>
                    <a:pt x="731" y="293"/>
                  </a:lnTo>
                  <a:lnTo>
                    <a:pt x="733" y="293"/>
                  </a:lnTo>
                  <a:lnTo>
                    <a:pt x="733" y="291"/>
                  </a:lnTo>
                  <a:lnTo>
                    <a:pt x="733" y="291"/>
                  </a:lnTo>
                  <a:lnTo>
                    <a:pt x="733" y="291"/>
                  </a:lnTo>
                  <a:lnTo>
                    <a:pt x="733" y="291"/>
                  </a:lnTo>
                  <a:lnTo>
                    <a:pt x="733" y="291"/>
                  </a:lnTo>
                  <a:lnTo>
                    <a:pt x="731" y="291"/>
                  </a:lnTo>
                  <a:lnTo>
                    <a:pt x="731" y="293"/>
                  </a:lnTo>
                  <a:lnTo>
                    <a:pt x="731" y="295"/>
                  </a:lnTo>
                  <a:lnTo>
                    <a:pt x="731" y="297"/>
                  </a:lnTo>
                  <a:lnTo>
                    <a:pt x="731" y="299"/>
                  </a:lnTo>
                  <a:lnTo>
                    <a:pt x="733" y="301"/>
                  </a:lnTo>
                  <a:lnTo>
                    <a:pt x="733" y="301"/>
                  </a:lnTo>
                  <a:lnTo>
                    <a:pt x="735" y="303"/>
                  </a:lnTo>
                  <a:lnTo>
                    <a:pt x="735" y="303"/>
                  </a:lnTo>
                  <a:lnTo>
                    <a:pt x="735" y="305"/>
                  </a:lnTo>
                  <a:lnTo>
                    <a:pt x="735" y="305"/>
                  </a:lnTo>
                  <a:lnTo>
                    <a:pt x="735" y="305"/>
                  </a:lnTo>
                  <a:lnTo>
                    <a:pt x="737" y="307"/>
                  </a:lnTo>
                  <a:lnTo>
                    <a:pt x="737" y="309"/>
                  </a:lnTo>
                  <a:lnTo>
                    <a:pt x="739" y="312"/>
                  </a:lnTo>
                  <a:lnTo>
                    <a:pt x="739" y="312"/>
                  </a:lnTo>
                  <a:lnTo>
                    <a:pt x="737" y="309"/>
                  </a:lnTo>
                  <a:lnTo>
                    <a:pt x="737" y="309"/>
                  </a:lnTo>
                  <a:lnTo>
                    <a:pt x="737" y="309"/>
                  </a:lnTo>
                  <a:lnTo>
                    <a:pt x="739" y="309"/>
                  </a:lnTo>
                  <a:lnTo>
                    <a:pt x="739" y="312"/>
                  </a:lnTo>
                  <a:lnTo>
                    <a:pt x="739" y="312"/>
                  </a:lnTo>
                  <a:lnTo>
                    <a:pt x="739" y="312"/>
                  </a:lnTo>
                  <a:lnTo>
                    <a:pt x="739" y="314"/>
                  </a:lnTo>
                  <a:lnTo>
                    <a:pt x="739" y="314"/>
                  </a:lnTo>
                  <a:lnTo>
                    <a:pt x="739" y="316"/>
                  </a:lnTo>
                  <a:lnTo>
                    <a:pt x="739" y="316"/>
                  </a:lnTo>
                  <a:lnTo>
                    <a:pt x="739" y="316"/>
                  </a:lnTo>
                  <a:lnTo>
                    <a:pt x="739" y="316"/>
                  </a:lnTo>
                  <a:lnTo>
                    <a:pt x="739" y="316"/>
                  </a:lnTo>
                  <a:lnTo>
                    <a:pt x="737" y="316"/>
                  </a:lnTo>
                  <a:lnTo>
                    <a:pt x="737" y="316"/>
                  </a:lnTo>
                  <a:lnTo>
                    <a:pt x="737" y="316"/>
                  </a:lnTo>
                  <a:lnTo>
                    <a:pt x="737" y="318"/>
                  </a:lnTo>
                  <a:lnTo>
                    <a:pt x="737" y="318"/>
                  </a:lnTo>
                  <a:lnTo>
                    <a:pt x="737" y="320"/>
                  </a:lnTo>
                  <a:lnTo>
                    <a:pt x="737" y="320"/>
                  </a:lnTo>
                  <a:lnTo>
                    <a:pt x="737" y="322"/>
                  </a:lnTo>
                  <a:lnTo>
                    <a:pt x="737" y="326"/>
                  </a:lnTo>
                  <a:lnTo>
                    <a:pt x="741" y="328"/>
                  </a:lnTo>
                  <a:lnTo>
                    <a:pt x="746" y="330"/>
                  </a:lnTo>
                  <a:lnTo>
                    <a:pt x="748" y="332"/>
                  </a:lnTo>
                  <a:lnTo>
                    <a:pt x="758" y="336"/>
                  </a:lnTo>
                  <a:lnTo>
                    <a:pt x="766" y="340"/>
                  </a:lnTo>
                  <a:lnTo>
                    <a:pt x="770" y="340"/>
                  </a:lnTo>
                  <a:lnTo>
                    <a:pt x="772" y="340"/>
                  </a:lnTo>
                  <a:lnTo>
                    <a:pt x="772" y="340"/>
                  </a:lnTo>
                  <a:lnTo>
                    <a:pt x="770" y="340"/>
                  </a:lnTo>
                  <a:lnTo>
                    <a:pt x="770" y="340"/>
                  </a:lnTo>
                  <a:lnTo>
                    <a:pt x="768" y="340"/>
                  </a:lnTo>
                  <a:lnTo>
                    <a:pt x="768" y="340"/>
                  </a:lnTo>
                  <a:lnTo>
                    <a:pt x="768" y="338"/>
                  </a:lnTo>
                  <a:lnTo>
                    <a:pt x="768" y="338"/>
                  </a:lnTo>
                  <a:lnTo>
                    <a:pt x="768" y="338"/>
                  </a:lnTo>
                  <a:lnTo>
                    <a:pt x="768" y="338"/>
                  </a:lnTo>
                  <a:lnTo>
                    <a:pt x="768" y="338"/>
                  </a:lnTo>
                  <a:lnTo>
                    <a:pt x="768" y="338"/>
                  </a:lnTo>
                  <a:lnTo>
                    <a:pt x="768" y="338"/>
                  </a:lnTo>
                  <a:lnTo>
                    <a:pt x="768" y="336"/>
                  </a:lnTo>
                  <a:lnTo>
                    <a:pt x="768" y="336"/>
                  </a:lnTo>
                  <a:lnTo>
                    <a:pt x="768" y="336"/>
                  </a:lnTo>
                  <a:lnTo>
                    <a:pt x="768" y="336"/>
                  </a:lnTo>
                  <a:lnTo>
                    <a:pt x="768" y="336"/>
                  </a:lnTo>
                  <a:lnTo>
                    <a:pt x="770" y="336"/>
                  </a:lnTo>
                  <a:lnTo>
                    <a:pt x="770" y="338"/>
                  </a:lnTo>
                  <a:lnTo>
                    <a:pt x="768" y="338"/>
                  </a:lnTo>
                  <a:lnTo>
                    <a:pt x="770" y="338"/>
                  </a:lnTo>
                  <a:lnTo>
                    <a:pt x="770" y="338"/>
                  </a:lnTo>
                  <a:lnTo>
                    <a:pt x="772" y="338"/>
                  </a:lnTo>
                  <a:lnTo>
                    <a:pt x="774" y="338"/>
                  </a:lnTo>
                  <a:lnTo>
                    <a:pt x="774" y="338"/>
                  </a:lnTo>
                  <a:lnTo>
                    <a:pt x="772" y="338"/>
                  </a:lnTo>
                  <a:lnTo>
                    <a:pt x="772" y="338"/>
                  </a:lnTo>
                  <a:lnTo>
                    <a:pt x="774" y="338"/>
                  </a:lnTo>
                  <a:lnTo>
                    <a:pt x="782" y="336"/>
                  </a:lnTo>
                  <a:lnTo>
                    <a:pt x="784" y="336"/>
                  </a:lnTo>
                  <a:lnTo>
                    <a:pt x="780" y="336"/>
                  </a:lnTo>
                  <a:lnTo>
                    <a:pt x="791" y="338"/>
                  </a:lnTo>
                  <a:lnTo>
                    <a:pt x="795" y="338"/>
                  </a:lnTo>
                  <a:lnTo>
                    <a:pt x="797" y="338"/>
                  </a:lnTo>
                  <a:lnTo>
                    <a:pt x="801" y="340"/>
                  </a:lnTo>
                  <a:lnTo>
                    <a:pt x="803" y="342"/>
                  </a:lnTo>
                  <a:lnTo>
                    <a:pt x="803" y="342"/>
                  </a:lnTo>
                  <a:lnTo>
                    <a:pt x="805" y="344"/>
                  </a:lnTo>
                  <a:lnTo>
                    <a:pt x="805" y="344"/>
                  </a:lnTo>
                  <a:lnTo>
                    <a:pt x="805" y="344"/>
                  </a:lnTo>
                  <a:lnTo>
                    <a:pt x="805" y="346"/>
                  </a:lnTo>
                  <a:lnTo>
                    <a:pt x="807" y="348"/>
                  </a:lnTo>
                  <a:lnTo>
                    <a:pt x="807" y="348"/>
                  </a:lnTo>
                  <a:lnTo>
                    <a:pt x="807" y="348"/>
                  </a:lnTo>
                  <a:lnTo>
                    <a:pt x="809" y="348"/>
                  </a:lnTo>
                  <a:lnTo>
                    <a:pt x="809" y="346"/>
                  </a:lnTo>
                  <a:lnTo>
                    <a:pt x="809" y="346"/>
                  </a:lnTo>
                  <a:lnTo>
                    <a:pt x="811" y="344"/>
                  </a:lnTo>
                  <a:lnTo>
                    <a:pt x="811" y="344"/>
                  </a:lnTo>
                  <a:lnTo>
                    <a:pt x="811" y="344"/>
                  </a:lnTo>
                  <a:lnTo>
                    <a:pt x="811" y="344"/>
                  </a:lnTo>
                  <a:lnTo>
                    <a:pt x="811" y="342"/>
                  </a:lnTo>
                  <a:lnTo>
                    <a:pt x="809" y="344"/>
                  </a:lnTo>
                  <a:lnTo>
                    <a:pt x="809" y="342"/>
                  </a:lnTo>
                  <a:lnTo>
                    <a:pt x="807" y="342"/>
                  </a:lnTo>
                  <a:lnTo>
                    <a:pt x="807" y="342"/>
                  </a:lnTo>
                  <a:lnTo>
                    <a:pt x="807" y="340"/>
                  </a:lnTo>
                  <a:lnTo>
                    <a:pt x="805" y="340"/>
                  </a:lnTo>
                  <a:lnTo>
                    <a:pt x="805" y="340"/>
                  </a:lnTo>
                  <a:lnTo>
                    <a:pt x="803" y="338"/>
                  </a:lnTo>
                  <a:lnTo>
                    <a:pt x="803" y="338"/>
                  </a:lnTo>
                  <a:lnTo>
                    <a:pt x="803" y="338"/>
                  </a:lnTo>
                  <a:lnTo>
                    <a:pt x="805" y="338"/>
                  </a:lnTo>
                  <a:lnTo>
                    <a:pt x="807" y="336"/>
                  </a:lnTo>
                  <a:lnTo>
                    <a:pt x="807" y="336"/>
                  </a:lnTo>
                  <a:lnTo>
                    <a:pt x="809" y="336"/>
                  </a:lnTo>
                  <a:lnTo>
                    <a:pt x="809" y="338"/>
                  </a:lnTo>
                  <a:lnTo>
                    <a:pt x="809" y="338"/>
                  </a:lnTo>
                  <a:lnTo>
                    <a:pt x="811" y="340"/>
                  </a:lnTo>
                  <a:lnTo>
                    <a:pt x="811" y="340"/>
                  </a:lnTo>
                  <a:lnTo>
                    <a:pt x="811" y="340"/>
                  </a:lnTo>
                  <a:lnTo>
                    <a:pt x="811" y="340"/>
                  </a:lnTo>
                  <a:lnTo>
                    <a:pt x="811" y="342"/>
                  </a:lnTo>
                  <a:lnTo>
                    <a:pt x="811" y="342"/>
                  </a:lnTo>
                  <a:lnTo>
                    <a:pt x="813" y="342"/>
                  </a:lnTo>
                  <a:lnTo>
                    <a:pt x="813" y="342"/>
                  </a:lnTo>
                  <a:lnTo>
                    <a:pt x="813" y="342"/>
                  </a:lnTo>
                  <a:lnTo>
                    <a:pt x="813" y="342"/>
                  </a:lnTo>
                  <a:lnTo>
                    <a:pt x="813" y="342"/>
                  </a:lnTo>
                  <a:lnTo>
                    <a:pt x="813" y="344"/>
                  </a:lnTo>
                  <a:lnTo>
                    <a:pt x="815" y="344"/>
                  </a:lnTo>
                  <a:lnTo>
                    <a:pt x="815" y="344"/>
                  </a:lnTo>
                  <a:lnTo>
                    <a:pt x="815" y="346"/>
                  </a:lnTo>
                  <a:lnTo>
                    <a:pt x="815" y="344"/>
                  </a:lnTo>
                  <a:lnTo>
                    <a:pt x="815" y="346"/>
                  </a:lnTo>
                  <a:lnTo>
                    <a:pt x="813" y="346"/>
                  </a:lnTo>
                  <a:lnTo>
                    <a:pt x="815" y="346"/>
                  </a:lnTo>
                  <a:lnTo>
                    <a:pt x="815" y="348"/>
                  </a:lnTo>
                  <a:lnTo>
                    <a:pt x="815" y="348"/>
                  </a:lnTo>
                  <a:lnTo>
                    <a:pt x="815" y="350"/>
                  </a:lnTo>
                  <a:lnTo>
                    <a:pt x="815" y="350"/>
                  </a:lnTo>
                  <a:lnTo>
                    <a:pt x="815" y="350"/>
                  </a:lnTo>
                  <a:lnTo>
                    <a:pt x="815" y="352"/>
                  </a:lnTo>
                  <a:lnTo>
                    <a:pt x="815" y="352"/>
                  </a:lnTo>
                  <a:lnTo>
                    <a:pt x="815" y="352"/>
                  </a:lnTo>
                  <a:lnTo>
                    <a:pt x="815" y="352"/>
                  </a:lnTo>
                  <a:lnTo>
                    <a:pt x="817" y="352"/>
                  </a:lnTo>
                  <a:lnTo>
                    <a:pt x="819" y="350"/>
                  </a:lnTo>
                  <a:lnTo>
                    <a:pt x="819" y="350"/>
                  </a:lnTo>
                  <a:lnTo>
                    <a:pt x="819" y="350"/>
                  </a:lnTo>
                  <a:lnTo>
                    <a:pt x="819" y="348"/>
                  </a:lnTo>
                  <a:lnTo>
                    <a:pt x="819" y="348"/>
                  </a:lnTo>
                  <a:lnTo>
                    <a:pt x="819" y="348"/>
                  </a:lnTo>
                  <a:lnTo>
                    <a:pt x="819" y="348"/>
                  </a:lnTo>
                  <a:lnTo>
                    <a:pt x="819" y="346"/>
                  </a:lnTo>
                  <a:lnTo>
                    <a:pt x="819" y="346"/>
                  </a:lnTo>
                  <a:lnTo>
                    <a:pt x="819" y="344"/>
                  </a:lnTo>
                  <a:lnTo>
                    <a:pt x="821" y="344"/>
                  </a:lnTo>
                  <a:lnTo>
                    <a:pt x="821" y="344"/>
                  </a:lnTo>
                  <a:lnTo>
                    <a:pt x="823" y="342"/>
                  </a:lnTo>
                  <a:lnTo>
                    <a:pt x="827" y="340"/>
                  </a:lnTo>
                  <a:lnTo>
                    <a:pt x="827" y="340"/>
                  </a:lnTo>
                  <a:lnTo>
                    <a:pt x="830" y="340"/>
                  </a:lnTo>
                  <a:lnTo>
                    <a:pt x="830" y="340"/>
                  </a:lnTo>
                  <a:lnTo>
                    <a:pt x="830" y="338"/>
                  </a:lnTo>
                  <a:lnTo>
                    <a:pt x="830" y="338"/>
                  </a:lnTo>
                  <a:lnTo>
                    <a:pt x="832" y="336"/>
                  </a:lnTo>
                  <a:lnTo>
                    <a:pt x="832" y="336"/>
                  </a:lnTo>
                  <a:lnTo>
                    <a:pt x="834" y="336"/>
                  </a:lnTo>
                  <a:lnTo>
                    <a:pt x="834" y="336"/>
                  </a:lnTo>
                  <a:lnTo>
                    <a:pt x="832" y="336"/>
                  </a:lnTo>
                  <a:lnTo>
                    <a:pt x="832" y="336"/>
                  </a:lnTo>
                  <a:lnTo>
                    <a:pt x="834" y="336"/>
                  </a:lnTo>
                  <a:lnTo>
                    <a:pt x="836" y="336"/>
                  </a:lnTo>
                  <a:lnTo>
                    <a:pt x="836" y="336"/>
                  </a:lnTo>
                  <a:lnTo>
                    <a:pt x="838" y="336"/>
                  </a:lnTo>
                  <a:lnTo>
                    <a:pt x="838" y="336"/>
                  </a:lnTo>
                  <a:lnTo>
                    <a:pt x="838" y="336"/>
                  </a:lnTo>
                  <a:lnTo>
                    <a:pt x="838" y="336"/>
                  </a:lnTo>
                  <a:lnTo>
                    <a:pt x="838" y="336"/>
                  </a:lnTo>
                  <a:lnTo>
                    <a:pt x="840" y="334"/>
                  </a:lnTo>
                  <a:lnTo>
                    <a:pt x="840" y="334"/>
                  </a:lnTo>
                  <a:lnTo>
                    <a:pt x="838" y="334"/>
                  </a:lnTo>
                  <a:lnTo>
                    <a:pt x="838" y="336"/>
                  </a:lnTo>
                  <a:lnTo>
                    <a:pt x="838" y="336"/>
                  </a:lnTo>
                  <a:lnTo>
                    <a:pt x="836" y="336"/>
                  </a:lnTo>
                  <a:lnTo>
                    <a:pt x="836" y="336"/>
                  </a:lnTo>
                  <a:lnTo>
                    <a:pt x="838" y="334"/>
                  </a:lnTo>
                  <a:lnTo>
                    <a:pt x="842" y="332"/>
                  </a:lnTo>
                  <a:lnTo>
                    <a:pt x="842" y="332"/>
                  </a:lnTo>
                  <a:lnTo>
                    <a:pt x="840" y="332"/>
                  </a:lnTo>
                  <a:lnTo>
                    <a:pt x="840" y="332"/>
                  </a:lnTo>
                  <a:lnTo>
                    <a:pt x="842" y="332"/>
                  </a:lnTo>
                  <a:lnTo>
                    <a:pt x="842" y="332"/>
                  </a:lnTo>
                  <a:lnTo>
                    <a:pt x="842" y="334"/>
                  </a:lnTo>
                  <a:lnTo>
                    <a:pt x="844" y="334"/>
                  </a:lnTo>
                  <a:lnTo>
                    <a:pt x="844" y="334"/>
                  </a:lnTo>
                  <a:lnTo>
                    <a:pt x="844" y="336"/>
                  </a:lnTo>
                  <a:lnTo>
                    <a:pt x="846" y="336"/>
                  </a:lnTo>
                  <a:lnTo>
                    <a:pt x="846" y="336"/>
                  </a:lnTo>
                  <a:lnTo>
                    <a:pt x="846" y="334"/>
                  </a:lnTo>
                  <a:lnTo>
                    <a:pt x="846" y="334"/>
                  </a:lnTo>
                  <a:lnTo>
                    <a:pt x="846" y="334"/>
                  </a:lnTo>
                  <a:lnTo>
                    <a:pt x="848" y="334"/>
                  </a:lnTo>
                  <a:lnTo>
                    <a:pt x="848" y="334"/>
                  </a:lnTo>
                  <a:lnTo>
                    <a:pt x="848" y="334"/>
                  </a:lnTo>
                  <a:lnTo>
                    <a:pt x="848" y="334"/>
                  </a:lnTo>
                  <a:lnTo>
                    <a:pt x="850" y="334"/>
                  </a:lnTo>
                  <a:lnTo>
                    <a:pt x="850" y="332"/>
                  </a:lnTo>
                  <a:lnTo>
                    <a:pt x="850" y="332"/>
                  </a:lnTo>
                  <a:lnTo>
                    <a:pt x="850" y="332"/>
                  </a:lnTo>
                  <a:lnTo>
                    <a:pt x="850" y="332"/>
                  </a:lnTo>
                  <a:lnTo>
                    <a:pt x="850" y="332"/>
                  </a:lnTo>
                  <a:lnTo>
                    <a:pt x="850" y="332"/>
                  </a:lnTo>
                  <a:lnTo>
                    <a:pt x="850" y="330"/>
                  </a:lnTo>
                  <a:lnTo>
                    <a:pt x="852" y="330"/>
                  </a:lnTo>
                  <a:lnTo>
                    <a:pt x="852" y="328"/>
                  </a:lnTo>
                  <a:lnTo>
                    <a:pt x="854" y="328"/>
                  </a:lnTo>
                  <a:lnTo>
                    <a:pt x="854" y="328"/>
                  </a:lnTo>
                  <a:lnTo>
                    <a:pt x="854" y="326"/>
                  </a:lnTo>
                  <a:lnTo>
                    <a:pt x="856" y="328"/>
                  </a:lnTo>
                  <a:lnTo>
                    <a:pt x="856" y="328"/>
                  </a:lnTo>
                  <a:lnTo>
                    <a:pt x="856" y="326"/>
                  </a:lnTo>
                  <a:lnTo>
                    <a:pt x="856" y="326"/>
                  </a:lnTo>
                  <a:lnTo>
                    <a:pt x="858" y="326"/>
                  </a:lnTo>
                  <a:lnTo>
                    <a:pt x="858" y="326"/>
                  </a:lnTo>
                  <a:lnTo>
                    <a:pt x="858" y="326"/>
                  </a:lnTo>
                  <a:lnTo>
                    <a:pt x="858" y="328"/>
                  </a:lnTo>
                  <a:lnTo>
                    <a:pt x="858" y="328"/>
                  </a:lnTo>
                  <a:lnTo>
                    <a:pt x="858" y="328"/>
                  </a:lnTo>
                  <a:lnTo>
                    <a:pt x="856" y="328"/>
                  </a:lnTo>
                  <a:lnTo>
                    <a:pt x="856" y="328"/>
                  </a:lnTo>
                  <a:lnTo>
                    <a:pt x="856" y="328"/>
                  </a:lnTo>
                  <a:lnTo>
                    <a:pt x="854" y="328"/>
                  </a:lnTo>
                  <a:lnTo>
                    <a:pt x="854" y="328"/>
                  </a:lnTo>
                  <a:lnTo>
                    <a:pt x="856" y="330"/>
                  </a:lnTo>
                  <a:lnTo>
                    <a:pt x="858" y="332"/>
                  </a:lnTo>
                  <a:lnTo>
                    <a:pt x="858" y="332"/>
                  </a:lnTo>
                  <a:lnTo>
                    <a:pt x="860" y="334"/>
                  </a:lnTo>
                  <a:lnTo>
                    <a:pt x="860" y="334"/>
                  </a:lnTo>
                  <a:lnTo>
                    <a:pt x="860" y="334"/>
                  </a:lnTo>
                  <a:lnTo>
                    <a:pt x="860" y="336"/>
                  </a:lnTo>
                  <a:lnTo>
                    <a:pt x="860" y="338"/>
                  </a:lnTo>
                  <a:lnTo>
                    <a:pt x="862" y="338"/>
                  </a:lnTo>
                  <a:lnTo>
                    <a:pt x="862" y="338"/>
                  </a:lnTo>
                  <a:lnTo>
                    <a:pt x="862" y="338"/>
                  </a:lnTo>
                  <a:lnTo>
                    <a:pt x="862" y="340"/>
                  </a:lnTo>
                  <a:lnTo>
                    <a:pt x="862" y="340"/>
                  </a:lnTo>
                  <a:lnTo>
                    <a:pt x="860" y="342"/>
                  </a:lnTo>
                  <a:lnTo>
                    <a:pt x="860" y="344"/>
                  </a:lnTo>
                  <a:lnTo>
                    <a:pt x="858" y="346"/>
                  </a:lnTo>
                  <a:lnTo>
                    <a:pt x="858" y="346"/>
                  </a:lnTo>
                  <a:lnTo>
                    <a:pt x="858" y="346"/>
                  </a:lnTo>
                  <a:lnTo>
                    <a:pt x="856" y="346"/>
                  </a:lnTo>
                  <a:lnTo>
                    <a:pt x="856" y="346"/>
                  </a:lnTo>
                  <a:lnTo>
                    <a:pt x="854" y="346"/>
                  </a:lnTo>
                  <a:lnTo>
                    <a:pt x="854" y="348"/>
                  </a:lnTo>
                  <a:lnTo>
                    <a:pt x="856" y="348"/>
                  </a:lnTo>
                  <a:lnTo>
                    <a:pt x="854" y="348"/>
                  </a:lnTo>
                  <a:lnTo>
                    <a:pt x="854" y="350"/>
                  </a:lnTo>
                  <a:lnTo>
                    <a:pt x="848" y="348"/>
                  </a:lnTo>
                  <a:lnTo>
                    <a:pt x="848" y="346"/>
                  </a:lnTo>
                  <a:lnTo>
                    <a:pt x="848" y="346"/>
                  </a:lnTo>
                  <a:lnTo>
                    <a:pt x="846" y="346"/>
                  </a:lnTo>
                  <a:lnTo>
                    <a:pt x="846" y="346"/>
                  </a:lnTo>
                  <a:lnTo>
                    <a:pt x="846" y="348"/>
                  </a:lnTo>
                  <a:lnTo>
                    <a:pt x="846" y="348"/>
                  </a:lnTo>
                  <a:lnTo>
                    <a:pt x="846" y="348"/>
                  </a:lnTo>
                  <a:lnTo>
                    <a:pt x="846" y="348"/>
                  </a:lnTo>
                  <a:lnTo>
                    <a:pt x="846" y="350"/>
                  </a:lnTo>
                  <a:lnTo>
                    <a:pt x="844" y="350"/>
                  </a:lnTo>
                  <a:lnTo>
                    <a:pt x="844" y="350"/>
                  </a:lnTo>
                  <a:lnTo>
                    <a:pt x="844" y="350"/>
                  </a:lnTo>
                  <a:lnTo>
                    <a:pt x="844" y="352"/>
                  </a:lnTo>
                  <a:lnTo>
                    <a:pt x="844" y="352"/>
                  </a:lnTo>
                  <a:lnTo>
                    <a:pt x="844" y="355"/>
                  </a:lnTo>
                  <a:lnTo>
                    <a:pt x="844" y="355"/>
                  </a:lnTo>
                  <a:lnTo>
                    <a:pt x="844" y="355"/>
                  </a:lnTo>
                  <a:lnTo>
                    <a:pt x="844" y="355"/>
                  </a:lnTo>
                  <a:lnTo>
                    <a:pt x="844" y="352"/>
                  </a:lnTo>
                  <a:lnTo>
                    <a:pt x="844" y="352"/>
                  </a:lnTo>
                  <a:lnTo>
                    <a:pt x="846" y="352"/>
                  </a:lnTo>
                  <a:lnTo>
                    <a:pt x="846" y="352"/>
                  </a:lnTo>
                  <a:lnTo>
                    <a:pt x="848" y="352"/>
                  </a:lnTo>
                  <a:lnTo>
                    <a:pt x="852" y="355"/>
                  </a:lnTo>
                  <a:lnTo>
                    <a:pt x="852" y="355"/>
                  </a:lnTo>
                  <a:lnTo>
                    <a:pt x="850" y="355"/>
                  </a:lnTo>
                  <a:lnTo>
                    <a:pt x="850" y="355"/>
                  </a:lnTo>
                  <a:lnTo>
                    <a:pt x="850" y="355"/>
                  </a:lnTo>
                  <a:lnTo>
                    <a:pt x="850" y="355"/>
                  </a:lnTo>
                  <a:lnTo>
                    <a:pt x="850" y="355"/>
                  </a:lnTo>
                  <a:lnTo>
                    <a:pt x="852" y="355"/>
                  </a:lnTo>
                  <a:lnTo>
                    <a:pt x="850" y="357"/>
                  </a:lnTo>
                  <a:lnTo>
                    <a:pt x="850" y="357"/>
                  </a:lnTo>
                  <a:lnTo>
                    <a:pt x="850" y="357"/>
                  </a:lnTo>
                  <a:lnTo>
                    <a:pt x="850" y="357"/>
                  </a:lnTo>
                  <a:lnTo>
                    <a:pt x="852" y="357"/>
                  </a:lnTo>
                  <a:lnTo>
                    <a:pt x="852" y="359"/>
                  </a:lnTo>
                  <a:lnTo>
                    <a:pt x="852" y="361"/>
                  </a:lnTo>
                  <a:lnTo>
                    <a:pt x="854" y="361"/>
                  </a:lnTo>
                  <a:lnTo>
                    <a:pt x="854" y="363"/>
                  </a:lnTo>
                  <a:lnTo>
                    <a:pt x="854" y="363"/>
                  </a:lnTo>
                  <a:lnTo>
                    <a:pt x="856" y="365"/>
                  </a:lnTo>
                  <a:lnTo>
                    <a:pt x="854" y="371"/>
                  </a:lnTo>
                  <a:lnTo>
                    <a:pt x="854" y="373"/>
                  </a:lnTo>
                  <a:lnTo>
                    <a:pt x="856" y="381"/>
                  </a:lnTo>
                  <a:lnTo>
                    <a:pt x="858" y="385"/>
                  </a:lnTo>
                  <a:lnTo>
                    <a:pt x="856" y="389"/>
                  </a:lnTo>
                  <a:lnTo>
                    <a:pt x="856" y="391"/>
                  </a:lnTo>
                  <a:lnTo>
                    <a:pt x="854" y="391"/>
                  </a:lnTo>
                  <a:lnTo>
                    <a:pt x="854" y="391"/>
                  </a:lnTo>
                  <a:lnTo>
                    <a:pt x="852" y="396"/>
                  </a:lnTo>
                  <a:lnTo>
                    <a:pt x="852" y="396"/>
                  </a:lnTo>
                  <a:lnTo>
                    <a:pt x="850" y="396"/>
                  </a:lnTo>
                  <a:lnTo>
                    <a:pt x="850" y="396"/>
                  </a:lnTo>
                  <a:lnTo>
                    <a:pt x="850" y="398"/>
                  </a:lnTo>
                  <a:lnTo>
                    <a:pt x="850" y="398"/>
                  </a:lnTo>
                  <a:lnTo>
                    <a:pt x="846" y="402"/>
                  </a:lnTo>
                  <a:lnTo>
                    <a:pt x="842" y="402"/>
                  </a:lnTo>
                  <a:lnTo>
                    <a:pt x="842" y="402"/>
                  </a:lnTo>
                  <a:lnTo>
                    <a:pt x="840" y="402"/>
                  </a:lnTo>
                  <a:lnTo>
                    <a:pt x="840" y="402"/>
                  </a:lnTo>
                  <a:lnTo>
                    <a:pt x="840" y="402"/>
                  </a:lnTo>
                  <a:lnTo>
                    <a:pt x="840" y="402"/>
                  </a:lnTo>
                  <a:lnTo>
                    <a:pt x="840" y="402"/>
                  </a:lnTo>
                  <a:lnTo>
                    <a:pt x="840" y="402"/>
                  </a:lnTo>
                  <a:lnTo>
                    <a:pt x="838" y="402"/>
                  </a:lnTo>
                  <a:lnTo>
                    <a:pt x="838" y="402"/>
                  </a:lnTo>
                  <a:lnTo>
                    <a:pt x="838" y="402"/>
                  </a:lnTo>
                  <a:lnTo>
                    <a:pt x="836" y="402"/>
                  </a:lnTo>
                  <a:lnTo>
                    <a:pt x="836" y="402"/>
                  </a:lnTo>
                  <a:lnTo>
                    <a:pt x="836" y="402"/>
                  </a:lnTo>
                  <a:lnTo>
                    <a:pt x="823" y="402"/>
                  </a:lnTo>
                  <a:lnTo>
                    <a:pt x="823" y="402"/>
                  </a:lnTo>
                  <a:lnTo>
                    <a:pt x="823" y="402"/>
                  </a:lnTo>
                  <a:lnTo>
                    <a:pt x="825" y="402"/>
                  </a:lnTo>
                  <a:lnTo>
                    <a:pt x="825" y="402"/>
                  </a:lnTo>
                  <a:lnTo>
                    <a:pt x="825" y="402"/>
                  </a:lnTo>
                  <a:lnTo>
                    <a:pt x="825" y="400"/>
                  </a:lnTo>
                  <a:lnTo>
                    <a:pt x="825" y="400"/>
                  </a:lnTo>
                  <a:lnTo>
                    <a:pt x="827" y="400"/>
                  </a:lnTo>
                  <a:lnTo>
                    <a:pt x="827" y="400"/>
                  </a:lnTo>
                  <a:lnTo>
                    <a:pt x="825" y="400"/>
                  </a:lnTo>
                  <a:lnTo>
                    <a:pt x="825" y="400"/>
                  </a:lnTo>
                  <a:lnTo>
                    <a:pt x="825" y="398"/>
                  </a:lnTo>
                  <a:lnTo>
                    <a:pt x="825" y="398"/>
                  </a:lnTo>
                  <a:lnTo>
                    <a:pt x="823" y="398"/>
                  </a:lnTo>
                  <a:lnTo>
                    <a:pt x="823" y="398"/>
                  </a:lnTo>
                  <a:lnTo>
                    <a:pt x="823" y="398"/>
                  </a:lnTo>
                  <a:lnTo>
                    <a:pt x="821" y="396"/>
                  </a:lnTo>
                  <a:lnTo>
                    <a:pt x="821" y="396"/>
                  </a:lnTo>
                  <a:lnTo>
                    <a:pt x="821" y="396"/>
                  </a:lnTo>
                  <a:lnTo>
                    <a:pt x="821" y="396"/>
                  </a:lnTo>
                  <a:lnTo>
                    <a:pt x="819" y="396"/>
                  </a:lnTo>
                  <a:lnTo>
                    <a:pt x="821" y="398"/>
                  </a:lnTo>
                  <a:lnTo>
                    <a:pt x="821" y="400"/>
                  </a:lnTo>
                  <a:lnTo>
                    <a:pt x="819" y="400"/>
                  </a:lnTo>
                  <a:lnTo>
                    <a:pt x="819" y="400"/>
                  </a:lnTo>
                  <a:lnTo>
                    <a:pt x="819" y="400"/>
                  </a:lnTo>
                  <a:lnTo>
                    <a:pt x="819" y="402"/>
                  </a:lnTo>
                  <a:lnTo>
                    <a:pt x="817" y="402"/>
                  </a:lnTo>
                  <a:lnTo>
                    <a:pt x="817" y="402"/>
                  </a:lnTo>
                  <a:lnTo>
                    <a:pt x="817" y="404"/>
                  </a:lnTo>
                  <a:lnTo>
                    <a:pt x="811" y="410"/>
                  </a:lnTo>
                  <a:lnTo>
                    <a:pt x="809" y="412"/>
                  </a:lnTo>
                  <a:lnTo>
                    <a:pt x="807" y="412"/>
                  </a:lnTo>
                  <a:lnTo>
                    <a:pt x="807" y="412"/>
                  </a:lnTo>
                  <a:lnTo>
                    <a:pt x="805" y="412"/>
                  </a:lnTo>
                  <a:lnTo>
                    <a:pt x="805" y="412"/>
                  </a:lnTo>
                  <a:lnTo>
                    <a:pt x="805" y="414"/>
                  </a:lnTo>
                  <a:lnTo>
                    <a:pt x="805" y="414"/>
                  </a:lnTo>
                  <a:lnTo>
                    <a:pt x="805" y="414"/>
                  </a:lnTo>
                  <a:lnTo>
                    <a:pt x="805" y="416"/>
                  </a:lnTo>
                  <a:lnTo>
                    <a:pt x="803" y="416"/>
                  </a:lnTo>
                  <a:lnTo>
                    <a:pt x="803" y="416"/>
                  </a:lnTo>
                  <a:lnTo>
                    <a:pt x="803" y="416"/>
                  </a:lnTo>
                  <a:lnTo>
                    <a:pt x="801" y="416"/>
                  </a:lnTo>
                  <a:lnTo>
                    <a:pt x="801" y="418"/>
                  </a:lnTo>
                  <a:lnTo>
                    <a:pt x="801" y="418"/>
                  </a:lnTo>
                  <a:lnTo>
                    <a:pt x="799" y="418"/>
                  </a:lnTo>
                  <a:lnTo>
                    <a:pt x="799" y="418"/>
                  </a:lnTo>
                  <a:lnTo>
                    <a:pt x="795" y="418"/>
                  </a:lnTo>
                  <a:lnTo>
                    <a:pt x="793" y="420"/>
                  </a:lnTo>
                  <a:lnTo>
                    <a:pt x="793" y="418"/>
                  </a:lnTo>
                  <a:lnTo>
                    <a:pt x="793" y="418"/>
                  </a:lnTo>
                  <a:lnTo>
                    <a:pt x="791" y="416"/>
                  </a:lnTo>
                  <a:lnTo>
                    <a:pt x="791" y="416"/>
                  </a:lnTo>
                  <a:lnTo>
                    <a:pt x="789" y="414"/>
                  </a:lnTo>
                  <a:lnTo>
                    <a:pt x="789" y="414"/>
                  </a:lnTo>
                  <a:lnTo>
                    <a:pt x="786" y="416"/>
                  </a:lnTo>
                  <a:lnTo>
                    <a:pt x="786" y="418"/>
                  </a:lnTo>
                  <a:lnTo>
                    <a:pt x="782" y="418"/>
                  </a:lnTo>
                  <a:lnTo>
                    <a:pt x="782" y="420"/>
                  </a:lnTo>
                  <a:lnTo>
                    <a:pt x="782" y="418"/>
                  </a:lnTo>
                  <a:lnTo>
                    <a:pt x="786" y="416"/>
                  </a:lnTo>
                  <a:lnTo>
                    <a:pt x="786" y="416"/>
                  </a:lnTo>
                  <a:lnTo>
                    <a:pt x="786" y="414"/>
                  </a:lnTo>
                  <a:lnTo>
                    <a:pt x="789" y="414"/>
                  </a:lnTo>
                  <a:lnTo>
                    <a:pt x="789" y="414"/>
                  </a:lnTo>
                  <a:lnTo>
                    <a:pt x="789" y="414"/>
                  </a:lnTo>
                  <a:lnTo>
                    <a:pt x="789" y="414"/>
                  </a:lnTo>
                  <a:lnTo>
                    <a:pt x="786" y="414"/>
                  </a:lnTo>
                  <a:lnTo>
                    <a:pt x="786" y="414"/>
                  </a:lnTo>
                  <a:lnTo>
                    <a:pt x="786" y="414"/>
                  </a:lnTo>
                  <a:lnTo>
                    <a:pt x="786" y="414"/>
                  </a:lnTo>
                  <a:lnTo>
                    <a:pt x="786" y="412"/>
                  </a:lnTo>
                  <a:lnTo>
                    <a:pt x="786" y="412"/>
                  </a:lnTo>
                  <a:lnTo>
                    <a:pt x="786" y="412"/>
                  </a:lnTo>
                  <a:lnTo>
                    <a:pt x="786" y="410"/>
                  </a:lnTo>
                  <a:lnTo>
                    <a:pt x="786" y="410"/>
                  </a:lnTo>
                  <a:lnTo>
                    <a:pt x="786" y="410"/>
                  </a:lnTo>
                  <a:lnTo>
                    <a:pt x="784" y="410"/>
                  </a:lnTo>
                  <a:lnTo>
                    <a:pt x="784" y="410"/>
                  </a:lnTo>
                  <a:lnTo>
                    <a:pt x="784" y="408"/>
                  </a:lnTo>
                  <a:lnTo>
                    <a:pt x="784" y="408"/>
                  </a:lnTo>
                  <a:lnTo>
                    <a:pt x="784" y="408"/>
                  </a:lnTo>
                  <a:lnTo>
                    <a:pt x="784" y="408"/>
                  </a:lnTo>
                  <a:lnTo>
                    <a:pt x="782" y="408"/>
                  </a:lnTo>
                  <a:lnTo>
                    <a:pt x="780" y="406"/>
                  </a:lnTo>
                  <a:lnTo>
                    <a:pt x="776" y="404"/>
                  </a:lnTo>
                  <a:lnTo>
                    <a:pt x="770" y="406"/>
                  </a:lnTo>
                  <a:lnTo>
                    <a:pt x="770" y="406"/>
                  </a:lnTo>
                  <a:lnTo>
                    <a:pt x="768" y="408"/>
                  </a:lnTo>
                  <a:lnTo>
                    <a:pt x="768" y="408"/>
                  </a:lnTo>
                  <a:lnTo>
                    <a:pt x="766" y="408"/>
                  </a:lnTo>
                  <a:lnTo>
                    <a:pt x="766" y="410"/>
                  </a:lnTo>
                  <a:lnTo>
                    <a:pt x="764" y="410"/>
                  </a:lnTo>
                  <a:lnTo>
                    <a:pt x="766" y="410"/>
                  </a:lnTo>
                  <a:lnTo>
                    <a:pt x="766" y="410"/>
                  </a:lnTo>
                  <a:lnTo>
                    <a:pt x="766" y="412"/>
                  </a:lnTo>
                  <a:lnTo>
                    <a:pt x="766" y="412"/>
                  </a:lnTo>
                  <a:lnTo>
                    <a:pt x="770" y="414"/>
                  </a:lnTo>
                  <a:lnTo>
                    <a:pt x="770" y="414"/>
                  </a:lnTo>
                  <a:lnTo>
                    <a:pt x="770" y="416"/>
                  </a:lnTo>
                  <a:lnTo>
                    <a:pt x="770" y="416"/>
                  </a:lnTo>
                  <a:lnTo>
                    <a:pt x="770" y="416"/>
                  </a:lnTo>
                  <a:lnTo>
                    <a:pt x="770" y="416"/>
                  </a:lnTo>
                  <a:lnTo>
                    <a:pt x="770" y="416"/>
                  </a:lnTo>
                  <a:lnTo>
                    <a:pt x="768" y="416"/>
                  </a:lnTo>
                  <a:lnTo>
                    <a:pt x="768" y="416"/>
                  </a:lnTo>
                  <a:lnTo>
                    <a:pt x="768" y="416"/>
                  </a:lnTo>
                  <a:lnTo>
                    <a:pt x="768" y="416"/>
                  </a:lnTo>
                  <a:lnTo>
                    <a:pt x="768" y="416"/>
                  </a:lnTo>
                  <a:lnTo>
                    <a:pt x="768" y="416"/>
                  </a:lnTo>
                  <a:lnTo>
                    <a:pt x="766" y="416"/>
                  </a:lnTo>
                  <a:lnTo>
                    <a:pt x="766" y="416"/>
                  </a:lnTo>
                  <a:lnTo>
                    <a:pt x="766" y="416"/>
                  </a:lnTo>
                  <a:lnTo>
                    <a:pt x="766" y="416"/>
                  </a:lnTo>
                  <a:lnTo>
                    <a:pt x="766" y="416"/>
                  </a:lnTo>
                  <a:lnTo>
                    <a:pt x="766" y="416"/>
                  </a:lnTo>
                  <a:lnTo>
                    <a:pt x="766" y="416"/>
                  </a:lnTo>
                  <a:lnTo>
                    <a:pt x="766" y="414"/>
                  </a:lnTo>
                  <a:lnTo>
                    <a:pt x="762" y="414"/>
                  </a:lnTo>
                  <a:lnTo>
                    <a:pt x="762" y="414"/>
                  </a:lnTo>
                  <a:lnTo>
                    <a:pt x="760" y="416"/>
                  </a:lnTo>
                  <a:lnTo>
                    <a:pt x="760" y="416"/>
                  </a:lnTo>
                  <a:lnTo>
                    <a:pt x="758" y="420"/>
                  </a:lnTo>
                  <a:lnTo>
                    <a:pt x="758" y="420"/>
                  </a:lnTo>
                  <a:lnTo>
                    <a:pt x="756" y="422"/>
                  </a:lnTo>
                  <a:lnTo>
                    <a:pt x="756" y="422"/>
                  </a:lnTo>
                  <a:lnTo>
                    <a:pt x="756" y="422"/>
                  </a:lnTo>
                  <a:lnTo>
                    <a:pt x="756" y="422"/>
                  </a:lnTo>
                  <a:lnTo>
                    <a:pt x="756" y="422"/>
                  </a:lnTo>
                  <a:lnTo>
                    <a:pt x="756" y="424"/>
                  </a:lnTo>
                  <a:lnTo>
                    <a:pt x="756" y="424"/>
                  </a:lnTo>
                  <a:lnTo>
                    <a:pt x="756" y="426"/>
                  </a:lnTo>
                  <a:lnTo>
                    <a:pt x="758" y="426"/>
                  </a:lnTo>
                  <a:lnTo>
                    <a:pt x="758" y="426"/>
                  </a:lnTo>
                  <a:lnTo>
                    <a:pt x="758" y="426"/>
                  </a:lnTo>
                  <a:lnTo>
                    <a:pt x="756" y="426"/>
                  </a:lnTo>
                  <a:lnTo>
                    <a:pt x="756" y="426"/>
                  </a:lnTo>
                  <a:lnTo>
                    <a:pt x="756" y="426"/>
                  </a:lnTo>
                  <a:lnTo>
                    <a:pt x="756" y="426"/>
                  </a:lnTo>
                  <a:lnTo>
                    <a:pt x="756" y="426"/>
                  </a:lnTo>
                  <a:lnTo>
                    <a:pt x="756" y="426"/>
                  </a:lnTo>
                  <a:lnTo>
                    <a:pt x="756" y="426"/>
                  </a:lnTo>
                  <a:lnTo>
                    <a:pt x="756" y="426"/>
                  </a:lnTo>
                  <a:lnTo>
                    <a:pt x="756" y="428"/>
                  </a:lnTo>
                  <a:lnTo>
                    <a:pt x="756" y="428"/>
                  </a:lnTo>
                  <a:lnTo>
                    <a:pt x="756" y="428"/>
                  </a:lnTo>
                  <a:lnTo>
                    <a:pt x="756" y="428"/>
                  </a:lnTo>
                  <a:lnTo>
                    <a:pt x="756" y="428"/>
                  </a:lnTo>
                  <a:lnTo>
                    <a:pt x="756" y="428"/>
                  </a:lnTo>
                  <a:lnTo>
                    <a:pt x="754" y="428"/>
                  </a:lnTo>
                  <a:lnTo>
                    <a:pt x="756" y="430"/>
                  </a:lnTo>
                  <a:lnTo>
                    <a:pt x="756" y="430"/>
                  </a:lnTo>
                  <a:lnTo>
                    <a:pt x="756" y="432"/>
                  </a:lnTo>
                  <a:lnTo>
                    <a:pt x="756" y="432"/>
                  </a:lnTo>
                  <a:lnTo>
                    <a:pt x="756" y="434"/>
                  </a:lnTo>
                  <a:lnTo>
                    <a:pt x="756" y="434"/>
                  </a:lnTo>
                  <a:lnTo>
                    <a:pt x="758" y="434"/>
                  </a:lnTo>
                  <a:lnTo>
                    <a:pt x="760" y="432"/>
                  </a:lnTo>
                  <a:lnTo>
                    <a:pt x="760" y="432"/>
                  </a:lnTo>
                  <a:lnTo>
                    <a:pt x="762" y="430"/>
                  </a:lnTo>
                  <a:lnTo>
                    <a:pt x="762" y="430"/>
                  </a:lnTo>
                  <a:lnTo>
                    <a:pt x="764" y="430"/>
                  </a:lnTo>
                  <a:lnTo>
                    <a:pt x="764" y="430"/>
                  </a:lnTo>
                  <a:lnTo>
                    <a:pt x="758" y="437"/>
                  </a:lnTo>
                  <a:lnTo>
                    <a:pt x="756" y="437"/>
                  </a:lnTo>
                  <a:lnTo>
                    <a:pt x="756" y="437"/>
                  </a:lnTo>
                  <a:lnTo>
                    <a:pt x="754" y="437"/>
                  </a:lnTo>
                  <a:lnTo>
                    <a:pt x="754" y="437"/>
                  </a:lnTo>
                  <a:lnTo>
                    <a:pt x="754" y="439"/>
                  </a:lnTo>
                  <a:lnTo>
                    <a:pt x="754" y="439"/>
                  </a:lnTo>
                  <a:lnTo>
                    <a:pt x="754" y="439"/>
                  </a:lnTo>
                  <a:lnTo>
                    <a:pt x="754" y="439"/>
                  </a:lnTo>
                  <a:lnTo>
                    <a:pt x="754" y="439"/>
                  </a:lnTo>
                  <a:lnTo>
                    <a:pt x="756" y="439"/>
                  </a:lnTo>
                  <a:lnTo>
                    <a:pt x="756" y="441"/>
                  </a:lnTo>
                  <a:lnTo>
                    <a:pt x="754" y="441"/>
                  </a:lnTo>
                  <a:lnTo>
                    <a:pt x="754" y="443"/>
                  </a:lnTo>
                  <a:lnTo>
                    <a:pt x="754" y="443"/>
                  </a:lnTo>
                  <a:lnTo>
                    <a:pt x="756" y="443"/>
                  </a:lnTo>
                  <a:lnTo>
                    <a:pt x="756" y="443"/>
                  </a:lnTo>
                  <a:lnTo>
                    <a:pt x="756" y="443"/>
                  </a:lnTo>
                  <a:lnTo>
                    <a:pt x="758" y="443"/>
                  </a:lnTo>
                  <a:lnTo>
                    <a:pt x="758" y="443"/>
                  </a:lnTo>
                  <a:lnTo>
                    <a:pt x="758" y="441"/>
                  </a:lnTo>
                  <a:lnTo>
                    <a:pt x="758" y="441"/>
                  </a:lnTo>
                  <a:lnTo>
                    <a:pt x="758" y="441"/>
                  </a:lnTo>
                  <a:lnTo>
                    <a:pt x="758" y="443"/>
                  </a:lnTo>
                  <a:lnTo>
                    <a:pt x="758" y="443"/>
                  </a:lnTo>
                  <a:lnTo>
                    <a:pt x="758" y="445"/>
                  </a:lnTo>
                  <a:lnTo>
                    <a:pt x="758" y="445"/>
                  </a:lnTo>
                  <a:lnTo>
                    <a:pt x="760" y="445"/>
                  </a:lnTo>
                  <a:lnTo>
                    <a:pt x="760" y="445"/>
                  </a:lnTo>
                  <a:lnTo>
                    <a:pt x="760" y="447"/>
                  </a:lnTo>
                  <a:lnTo>
                    <a:pt x="758" y="447"/>
                  </a:lnTo>
                  <a:lnTo>
                    <a:pt x="758" y="447"/>
                  </a:lnTo>
                  <a:lnTo>
                    <a:pt x="758" y="447"/>
                  </a:lnTo>
                  <a:lnTo>
                    <a:pt x="758" y="447"/>
                  </a:lnTo>
                  <a:lnTo>
                    <a:pt x="756" y="447"/>
                  </a:lnTo>
                  <a:lnTo>
                    <a:pt x="756" y="449"/>
                  </a:lnTo>
                  <a:lnTo>
                    <a:pt x="756" y="449"/>
                  </a:lnTo>
                  <a:lnTo>
                    <a:pt x="756" y="447"/>
                  </a:lnTo>
                  <a:lnTo>
                    <a:pt x="756" y="447"/>
                  </a:lnTo>
                  <a:lnTo>
                    <a:pt x="758" y="447"/>
                  </a:lnTo>
                  <a:lnTo>
                    <a:pt x="758" y="447"/>
                  </a:lnTo>
                  <a:lnTo>
                    <a:pt x="758" y="445"/>
                  </a:lnTo>
                  <a:lnTo>
                    <a:pt x="758" y="445"/>
                  </a:lnTo>
                  <a:lnTo>
                    <a:pt x="756" y="445"/>
                  </a:lnTo>
                  <a:lnTo>
                    <a:pt x="756" y="445"/>
                  </a:lnTo>
                  <a:lnTo>
                    <a:pt x="756" y="445"/>
                  </a:lnTo>
                  <a:lnTo>
                    <a:pt x="756" y="443"/>
                  </a:lnTo>
                  <a:lnTo>
                    <a:pt x="754" y="443"/>
                  </a:lnTo>
                  <a:lnTo>
                    <a:pt x="754" y="443"/>
                  </a:lnTo>
                  <a:lnTo>
                    <a:pt x="754" y="441"/>
                  </a:lnTo>
                  <a:lnTo>
                    <a:pt x="754" y="441"/>
                  </a:lnTo>
                  <a:lnTo>
                    <a:pt x="754" y="441"/>
                  </a:lnTo>
                  <a:lnTo>
                    <a:pt x="754" y="441"/>
                  </a:lnTo>
                  <a:lnTo>
                    <a:pt x="754" y="441"/>
                  </a:lnTo>
                  <a:lnTo>
                    <a:pt x="754" y="439"/>
                  </a:lnTo>
                  <a:lnTo>
                    <a:pt x="754" y="439"/>
                  </a:lnTo>
                  <a:lnTo>
                    <a:pt x="752" y="439"/>
                  </a:lnTo>
                  <a:lnTo>
                    <a:pt x="750" y="439"/>
                  </a:lnTo>
                  <a:lnTo>
                    <a:pt x="750" y="439"/>
                  </a:lnTo>
                  <a:lnTo>
                    <a:pt x="748" y="439"/>
                  </a:lnTo>
                  <a:lnTo>
                    <a:pt x="748" y="439"/>
                  </a:lnTo>
                  <a:lnTo>
                    <a:pt x="746" y="441"/>
                  </a:lnTo>
                  <a:lnTo>
                    <a:pt x="743" y="443"/>
                  </a:lnTo>
                  <a:lnTo>
                    <a:pt x="741" y="443"/>
                  </a:lnTo>
                  <a:lnTo>
                    <a:pt x="741" y="445"/>
                  </a:lnTo>
                  <a:lnTo>
                    <a:pt x="741" y="445"/>
                  </a:lnTo>
                  <a:lnTo>
                    <a:pt x="741" y="447"/>
                  </a:lnTo>
                  <a:lnTo>
                    <a:pt x="737" y="449"/>
                  </a:lnTo>
                  <a:lnTo>
                    <a:pt x="733" y="455"/>
                  </a:lnTo>
                  <a:lnTo>
                    <a:pt x="731" y="455"/>
                  </a:lnTo>
                  <a:lnTo>
                    <a:pt x="731" y="457"/>
                  </a:lnTo>
                  <a:lnTo>
                    <a:pt x="729" y="457"/>
                  </a:lnTo>
                  <a:lnTo>
                    <a:pt x="729" y="457"/>
                  </a:lnTo>
                  <a:lnTo>
                    <a:pt x="729" y="457"/>
                  </a:lnTo>
                  <a:lnTo>
                    <a:pt x="729" y="459"/>
                  </a:lnTo>
                  <a:lnTo>
                    <a:pt x="729" y="459"/>
                  </a:lnTo>
                  <a:lnTo>
                    <a:pt x="729" y="459"/>
                  </a:lnTo>
                  <a:lnTo>
                    <a:pt x="727" y="461"/>
                  </a:lnTo>
                  <a:lnTo>
                    <a:pt x="727" y="463"/>
                  </a:lnTo>
                  <a:lnTo>
                    <a:pt x="727" y="463"/>
                  </a:lnTo>
                  <a:lnTo>
                    <a:pt x="727" y="465"/>
                  </a:lnTo>
                  <a:lnTo>
                    <a:pt x="727" y="467"/>
                  </a:lnTo>
                  <a:lnTo>
                    <a:pt x="729" y="467"/>
                  </a:lnTo>
                  <a:lnTo>
                    <a:pt x="729" y="469"/>
                  </a:lnTo>
                  <a:lnTo>
                    <a:pt x="729" y="471"/>
                  </a:lnTo>
                  <a:lnTo>
                    <a:pt x="729" y="471"/>
                  </a:lnTo>
                  <a:lnTo>
                    <a:pt x="729" y="471"/>
                  </a:lnTo>
                  <a:lnTo>
                    <a:pt x="727" y="471"/>
                  </a:lnTo>
                  <a:lnTo>
                    <a:pt x="727" y="471"/>
                  </a:lnTo>
                  <a:lnTo>
                    <a:pt x="725" y="471"/>
                  </a:lnTo>
                  <a:lnTo>
                    <a:pt x="725" y="471"/>
                  </a:lnTo>
                  <a:lnTo>
                    <a:pt x="725" y="471"/>
                  </a:lnTo>
                  <a:lnTo>
                    <a:pt x="723" y="471"/>
                  </a:lnTo>
                  <a:lnTo>
                    <a:pt x="723" y="471"/>
                  </a:lnTo>
                  <a:lnTo>
                    <a:pt x="721" y="471"/>
                  </a:lnTo>
                  <a:lnTo>
                    <a:pt x="717" y="471"/>
                  </a:lnTo>
                  <a:lnTo>
                    <a:pt x="717" y="473"/>
                  </a:lnTo>
                  <a:lnTo>
                    <a:pt x="719" y="473"/>
                  </a:lnTo>
                  <a:lnTo>
                    <a:pt x="719" y="475"/>
                  </a:lnTo>
                  <a:lnTo>
                    <a:pt x="719" y="475"/>
                  </a:lnTo>
                  <a:lnTo>
                    <a:pt x="719" y="477"/>
                  </a:lnTo>
                  <a:lnTo>
                    <a:pt x="721" y="477"/>
                  </a:lnTo>
                  <a:lnTo>
                    <a:pt x="721" y="477"/>
                  </a:lnTo>
                  <a:lnTo>
                    <a:pt x="721" y="477"/>
                  </a:lnTo>
                  <a:lnTo>
                    <a:pt x="721" y="477"/>
                  </a:lnTo>
                  <a:lnTo>
                    <a:pt x="721" y="477"/>
                  </a:lnTo>
                  <a:lnTo>
                    <a:pt x="723" y="477"/>
                  </a:lnTo>
                  <a:lnTo>
                    <a:pt x="723" y="480"/>
                  </a:lnTo>
                  <a:lnTo>
                    <a:pt x="723" y="480"/>
                  </a:lnTo>
                  <a:lnTo>
                    <a:pt x="723" y="480"/>
                  </a:lnTo>
                  <a:lnTo>
                    <a:pt x="725" y="480"/>
                  </a:lnTo>
                  <a:lnTo>
                    <a:pt x="723" y="480"/>
                  </a:lnTo>
                  <a:lnTo>
                    <a:pt x="717" y="480"/>
                  </a:lnTo>
                  <a:lnTo>
                    <a:pt x="717" y="480"/>
                  </a:lnTo>
                  <a:lnTo>
                    <a:pt x="717" y="480"/>
                  </a:lnTo>
                  <a:lnTo>
                    <a:pt x="715" y="480"/>
                  </a:lnTo>
                  <a:lnTo>
                    <a:pt x="715" y="480"/>
                  </a:lnTo>
                  <a:lnTo>
                    <a:pt x="715" y="480"/>
                  </a:lnTo>
                  <a:lnTo>
                    <a:pt x="715" y="480"/>
                  </a:lnTo>
                  <a:lnTo>
                    <a:pt x="715" y="480"/>
                  </a:lnTo>
                  <a:lnTo>
                    <a:pt x="715" y="475"/>
                  </a:lnTo>
                  <a:lnTo>
                    <a:pt x="715" y="475"/>
                  </a:lnTo>
                  <a:lnTo>
                    <a:pt x="715" y="477"/>
                  </a:lnTo>
                  <a:lnTo>
                    <a:pt x="715" y="477"/>
                  </a:lnTo>
                  <a:lnTo>
                    <a:pt x="715" y="480"/>
                  </a:lnTo>
                  <a:lnTo>
                    <a:pt x="713" y="482"/>
                  </a:lnTo>
                  <a:lnTo>
                    <a:pt x="713" y="482"/>
                  </a:lnTo>
                  <a:lnTo>
                    <a:pt x="713" y="482"/>
                  </a:lnTo>
                  <a:lnTo>
                    <a:pt x="713" y="482"/>
                  </a:lnTo>
                  <a:lnTo>
                    <a:pt x="713" y="482"/>
                  </a:lnTo>
                  <a:lnTo>
                    <a:pt x="713" y="486"/>
                  </a:lnTo>
                  <a:lnTo>
                    <a:pt x="715" y="488"/>
                  </a:lnTo>
                  <a:lnTo>
                    <a:pt x="715" y="488"/>
                  </a:lnTo>
                  <a:lnTo>
                    <a:pt x="715" y="488"/>
                  </a:lnTo>
                  <a:lnTo>
                    <a:pt x="715" y="488"/>
                  </a:lnTo>
                  <a:lnTo>
                    <a:pt x="715" y="486"/>
                  </a:lnTo>
                  <a:lnTo>
                    <a:pt x="715" y="486"/>
                  </a:lnTo>
                  <a:lnTo>
                    <a:pt x="717" y="486"/>
                  </a:lnTo>
                  <a:lnTo>
                    <a:pt x="719" y="486"/>
                  </a:lnTo>
                  <a:lnTo>
                    <a:pt x="719" y="486"/>
                  </a:lnTo>
                  <a:lnTo>
                    <a:pt x="721" y="486"/>
                  </a:lnTo>
                  <a:lnTo>
                    <a:pt x="721" y="486"/>
                  </a:lnTo>
                  <a:lnTo>
                    <a:pt x="721" y="486"/>
                  </a:lnTo>
                  <a:lnTo>
                    <a:pt x="721" y="488"/>
                  </a:lnTo>
                  <a:lnTo>
                    <a:pt x="723" y="488"/>
                  </a:lnTo>
                  <a:lnTo>
                    <a:pt x="723" y="490"/>
                  </a:lnTo>
                  <a:lnTo>
                    <a:pt x="723" y="490"/>
                  </a:lnTo>
                  <a:lnTo>
                    <a:pt x="723" y="490"/>
                  </a:lnTo>
                  <a:lnTo>
                    <a:pt x="723" y="490"/>
                  </a:lnTo>
                  <a:lnTo>
                    <a:pt x="721" y="492"/>
                  </a:lnTo>
                  <a:lnTo>
                    <a:pt x="721" y="492"/>
                  </a:lnTo>
                  <a:lnTo>
                    <a:pt x="721" y="492"/>
                  </a:lnTo>
                  <a:lnTo>
                    <a:pt x="721" y="492"/>
                  </a:lnTo>
                  <a:lnTo>
                    <a:pt x="719" y="492"/>
                  </a:lnTo>
                  <a:lnTo>
                    <a:pt x="719" y="492"/>
                  </a:lnTo>
                  <a:lnTo>
                    <a:pt x="717" y="494"/>
                  </a:lnTo>
                  <a:lnTo>
                    <a:pt x="719" y="496"/>
                  </a:lnTo>
                  <a:lnTo>
                    <a:pt x="719" y="498"/>
                  </a:lnTo>
                  <a:lnTo>
                    <a:pt x="719" y="498"/>
                  </a:lnTo>
                  <a:lnTo>
                    <a:pt x="723" y="500"/>
                  </a:lnTo>
                  <a:lnTo>
                    <a:pt x="723" y="500"/>
                  </a:lnTo>
                  <a:lnTo>
                    <a:pt x="725" y="500"/>
                  </a:lnTo>
                  <a:lnTo>
                    <a:pt x="723" y="500"/>
                  </a:lnTo>
                  <a:lnTo>
                    <a:pt x="723" y="502"/>
                  </a:lnTo>
                  <a:lnTo>
                    <a:pt x="723" y="502"/>
                  </a:lnTo>
                  <a:lnTo>
                    <a:pt x="725" y="502"/>
                  </a:lnTo>
                  <a:lnTo>
                    <a:pt x="723" y="502"/>
                  </a:lnTo>
                  <a:lnTo>
                    <a:pt x="723" y="502"/>
                  </a:lnTo>
                  <a:lnTo>
                    <a:pt x="723" y="502"/>
                  </a:lnTo>
                  <a:lnTo>
                    <a:pt x="723" y="504"/>
                  </a:lnTo>
                  <a:lnTo>
                    <a:pt x="723" y="504"/>
                  </a:lnTo>
                  <a:lnTo>
                    <a:pt x="723" y="504"/>
                  </a:lnTo>
                  <a:lnTo>
                    <a:pt x="723" y="504"/>
                  </a:lnTo>
                  <a:lnTo>
                    <a:pt x="723" y="504"/>
                  </a:lnTo>
                  <a:lnTo>
                    <a:pt x="723" y="506"/>
                  </a:lnTo>
                  <a:lnTo>
                    <a:pt x="723" y="506"/>
                  </a:lnTo>
                  <a:lnTo>
                    <a:pt x="723" y="506"/>
                  </a:lnTo>
                  <a:lnTo>
                    <a:pt x="723" y="506"/>
                  </a:lnTo>
                  <a:lnTo>
                    <a:pt x="723" y="506"/>
                  </a:lnTo>
                  <a:lnTo>
                    <a:pt x="723" y="508"/>
                  </a:lnTo>
                  <a:lnTo>
                    <a:pt x="723" y="508"/>
                  </a:lnTo>
                  <a:lnTo>
                    <a:pt x="723" y="510"/>
                  </a:lnTo>
                  <a:lnTo>
                    <a:pt x="725" y="510"/>
                  </a:lnTo>
                  <a:lnTo>
                    <a:pt x="725" y="510"/>
                  </a:lnTo>
                  <a:lnTo>
                    <a:pt x="727" y="512"/>
                  </a:lnTo>
                  <a:lnTo>
                    <a:pt x="727" y="512"/>
                  </a:lnTo>
                  <a:lnTo>
                    <a:pt x="729" y="512"/>
                  </a:lnTo>
                  <a:lnTo>
                    <a:pt x="729" y="512"/>
                  </a:lnTo>
                  <a:lnTo>
                    <a:pt x="729" y="510"/>
                  </a:lnTo>
                  <a:lnTo>
                    <a:pt x="729" y="510"/>
                  </a:lnTo>
                  <a:lnTo>
                    <a:pt x="729" y="510"/>
                  </a:lnTo>
                  <a:lnTo>
                    <a:pt x="729" y="508"/>
                  </a:lnTo>
                  <a:lnTo>
                    <a:pt x="729" y="508"/>
                  </a:lnTo>
                  <a:lnTo>
                    <a:pt x="729" y="506"/>
                  </a:lnTo>
                  <a:lnTo>
                    <a:pt x="729" y="504"/>
                  </a:lnTo>
                  <a:lnTo>
                    <a:pt x="731" y="504"/>
                  </a:lnTo>
                  <a:lnTo>
                    <a:pt x="731" y="504"/>
                  </a:lnTo>
                  <a:lnTo>
                    <a:pt x="733" y="502"/>
                  </a:lnTo>
                  <a:lnTo>
                    <a:pt x="733" y="502"/>
                  </a:lnTo>
                  <a:lnTo>
                    <a:pt x="733" y="502"/>
                  </a:lnTo>
                  <a:lnTo>
                    <a:pt x="733" y="502"/>
                  </a:lnTo>
                  <a:lnTo>
                    <a:pt x="733" y="502"/>
                  </a:lnTo>
                  <a:lnTo>
                    <a:pt x="733" y="500"/>
                  </a:lnTo>
                  <a:lnTo>
                    <a:pt x="733" y="500"/>
                  </a:lnTo>
                  <a:lnTo>
                    <a:pt x="733" y="500"/>
                  </a:lnTo>
                  <a:lnTo>
                    <a:pt x="733" y="500"/>
                  </a:lnTo>
                  <a:lnTo>
                    <a:pt x="733" y="500"/>
                  </a:lnTo>
                  <a:lnTo>
                    <a:pt x="733" y="500"/>
                  </a:lnTo>
                  <a:lnTo>
                    <a:pt x="733" y="498"/>
                  </a:lnTo>
                  <a:lnTo>
                    <a:pt x="733" y="498"/>
                  </a:lnTo>
                  <a:lnTo>
                    <a:pt x="733" y="498"/>
                  </a:lnTo>
                  <a:lnTo>
                    <a:pt x="733" y="498"/>
                  </a:lnTo>
                  <a:lnTo>
                    <a:pt x="735" y="498"/>
                  </a:lnTo>
                  <a:lnTo>
                    <a:pt x="735" y="498"/>
                  </a:lnTo>
                  <a:lnTo>
                    <a:pt x="735" y="498"/>
                  </a:lnTo>
                  <a:lnTo>
                    <a:pt x="735" y="496"/>
                  </a:lnTo>
                  <a:lnTo>
                    <a:pt x="735" y="496"/>
                  </a:lnTo>
                  <a:lnTo>
                    <a:pt x="737" y="496"/>
                  </a:lnTo>
                  <a:lnTo>
                    <a:pt x="737" y="494"/>
                  </a:lnTo>
                  <a:lnTo>
                    <a:pt x="737" y="496"/>
                  </a:lnTo>
                  <a:lnTo>
                    <a:pt x="737" y="496"/>
                  </a:lnTo>
                  <a:lnTo>
                    <a:pt x="737" y="496"/>
                  </a:lnTo>
                  <a:lnTo>
                    <a:pt x="739" y="496"/>
                  </a:lnTo>
                  <a:lnTo>
                    <a:pt x="739" y="496"/>
                  </a:lnTo>
                  <a:lnTo>
                    <a:pt x="739" y="494"/>
                  </a:lnTo>
                  <a:lnTo>
                    <a:pt x="739" y="494"/>
                  </a:lnTo>
                  <a:lnTo>
                    <a:pt x="739" y="494"/>
                  </a:lnTo>
                  <a:lnTo>
                    <a:pt x="739" y="494"/>
                  </a:lnTo>
                  <a:lnTo>
                    <a:pt x="739" y="494"/>
                  </a:lnTo>
                  <a:lnTo>
                    <a:pt x="739" y="494"/>
                  </a:lnTo>
                  <a:lnTo>
                    <a:pt x="739" y="494"/>
                  </a:lnTo>
                  <a:lnTo>
                    <a:pt x="739" y="494"/>
                  </a:lnTo>
                  <a:lnTo>
                    <a:pt x="739" y="494"/>
                  </a:lnTo>
                  <a:lnTo>
                    <a:pt x="739" y="494"/>
                  </a:lnTo>
                  <a:lnTo>
                    <a:pt x="741" y="492"/>
                  </a:lnTo>
                  <a:lnTo>
                    <a:pt x="741" y="492"/>
                  </a:lnTo>
                  <a:lnTo>
                    <a:pt x="741" y="492"/>
                  </a:lnTo>
                  <a:lnTo>
                    <a:pt x="741" y="492"/>
                  </a:lnTo>
                  <a:lnTo>
                    <a:pt x="741" y="492"/>
                  </a:lnTo>
                  <a:lnTo>
                    <a:pt x="743" y="492"/>
                  </a:lnTo>
                  <a:lnTo>
                    <a:pt x="743" y="492"/>
                  </a:lnTo>
                  <a:lnTo>
                    <a:pt x="746" y="490"/>
                  </a:lnTo>
                  <a:lnTo>
                    <a:pt x="748" y="488"/>
                  </a:lnTo>
                  <a:lnTo>
                    <a:pt x="748" y="488"/>
                  </a:lnTo>
                  <a:lnTo>
                    <a:pt x="748" y="488"/>
                  </a:lnTo>
                  <a:lnTo>
                    <a:pt x="748" y="488"/>
                  </a:lnTo>
                  <a:lnTo>
                    <a:pt x="748" y="488"/>
                  </a:lnTo>
                  <a:lnTo>
                    <a:pt x="748" y="488"/>
                  </a:lnTo>
                  <a:lnTo>
                    <a:pt x="748" y="488"/>
                  </a:lnTo>
                  <a:lnTo>
                    <a:pt x="748" y="488"/>
                  </a:lnTo>
                  <a:lnTo>
                    <a:pt x="748" y="486"/>
                  </a:lnTo>
                  <a:lnTo>
                    <a:pt x="748" y="486"/>
                  </a:lnTo>
                  <a:lnTo>
                    <a:pt x="748" y="486"/>
                  </a:lnTo>
                  <a:lnTo>
                    <a:pt x="750" y="488"/>
                  </a:lnTo>
                  <a:lnTo>
                    <a:pt x="750" y="488"/>
                  </a:lnTo>
                  <a:lnTo>
                    <a:pt x="750" y="488"/>
                  </a:lnTo>
                  <a:lnTo>
                    <a:pt x="748" y="488"/>
                  </a:lnTo>
                  <a:lnTo>
                    <a:pt x="748" y="490"/>
                  </a:lnTo>
                  <a:lnTo>
                    <a:pt x="748" y="490"/>
                  </a:lnTo>
                  <a:lnTo>
                    <a:pt x="748" y="492"/>
                  </a:lnTo>
                  <a:lnTo>
                    <a:pt x="748" y="492"/>
                  </a:lnTo>
                  <a:lnTo>
                    <a:pt x="746" y="492"/>
                  </a:lnTo>
                  <a:lnTo>
                    <a:pt x="746" y="492"/>
                  </a:lnTo>
                  <a:lnTo>
                    <a:pt x="746" y="492"/>
                  </a:lnTo>
                  <a:lnTo>
                    <a:pt x="746" y="492"/>
                  </a:lnTo>
                  <a:lnTo>
                    <a:pt x="746" y="492"/>
                  </a:lnTo>
                  <a:lnTo>
                    <a:pt x="746" y="492"/>
                  </a:lnTo>
                  <a:lnTo>
                    <a:pt x="746" y="494"/>
                  </a:lnTo>
                  <a:lnTo>
                    <a:pt x="743" y="492"/>
                  </a:lnTo>
                  <a:lnTo>
                    <a:pt x="741" y="492"/>
                  </a:lnTo>
                  <a:lnTo>
                    <a:pt x="741" y="494"/>
                  </a:lnTo>
                  <a:lnTo>
                    <a:pt x="741" y="494"/>
                  </a:lnTo>
                  <a:lnTo>
                    <a:pt x="741" y="494"/>
                  </a:lnTo>
                  <a:lnTo>
                    <a:pt x="741" y="494"/>
                  </a:lnTo>
                  <a:lnTo>
                    <a:pt x="741" y="494"/>
                  </a:lnTo>
                  <a:lnTo>
                    <a:pt x="739" y="494"/>
                  </a:lnTo>
                  <a:lnTo>
                    <a:pt x="739" y="494"/>
                  </a:lnTo>
                  <a:lnTo>
                    <a:pt x="739" y="496"/>
                  </a:lnTo>
                  <a:lnTo>
                    <a:pt x="739" y="496"/>
                  </a:lnTo>
                  <a:lnTo>
                    <a:pt x="737" y="496"/>
                  </a:lnTo>
                  <a:lnTo>
                    <a:pt x="735" y="496"/>
                  </a:lnTo>
                  <a:lnTo>
                    <a:pt x="735" y="498"/>
                  </a:lnTo>
                  <a:lnTo>
                    <a:pt x="735" y="498"/>
                  </a:lnTo>
                  <a:lnTo>
                    <a:pt x="735" y="498"/>
                  </a:lnTo>
                  <a:lnTo>
                    <a:pt x="735" y="498"/>
                  </a:lnTo>
                  <a:lnTo>
                    <a:pt x="735" y="500"/>
                  </a:lnTo>
                  <a:lnTo>
                    <a:pt x="735" y="500"/>
                  </a:lnTo>
                  <a:lnTo>
                    <a:pt x="733" y="500"/>
                  </a:lnTo>
                  <a:lnTo>
                    <a:pt x="733" y="500"/>
                  </a:lnTo>
                  <a:lnTo>
                    <a:pt x="735" y="500"/>
                  </a:lnTo>
                  <a:lnTo>
                    <a:pt x="735" y="500"/>
                  </a:lnTo>
                  <a:lnTo>
                    <a:pt x="735" y="502"/>
                  </a:lnTo>
                  <a:lnTo>
                    <a:pt x="735" y="502"/>
                  </a:lnTo>
                  <a:lnTo>
                    <a:pt x="733" y="502"/>
                  </a:lnTo>
                  <a:lnTo>
                    <a:pt x="733" y="504"/>
                  </a:lnTo>
                  <a:lnTo>
                    <a:pt x="733" y="504"/>
                  </a:lnTo>
                  <a:lnTo>
                    <a:pt x="733" y="504"/>
                  </a:lnTo>
                  <a:lnTo>
                    <a:pt x="731" y="504"/>
                  </a:lnTo>
                  <a:lnTo>
                    <a:pt x="731" y="504"/>
                  </a:lnTo>
                  <a:lnTo>
                    <a:pt x="729" y="506"/>
                  </a:lnTo>
                  <a:lnTo>
                    <a:pt x="729" y="506"/>
                  </a:lnTo>
                  <a:lnTo>
                    <a:pt x="729" y="506"/>
                  </a:lnTo>
                  <a:lnTo>
                    <a:pt x="733" y="510"/>
                  </a:lnTo>
                  <a:lnTo>
                    <a:pt x="735" y="508"/>
                  </a:lnTo>
                  <a:lnTo>
                    <a:pt x="735" y="508"/>
                  </a:lnTo>
                  <a:lnTo>
                    <a:pt x="735" y="508"/>
                  </a:lnTo>
                  <a:lnTo>
                    <a:pt x="735" y="508"/>
                  </a:lnTo>
                  <a:lnTo>
                    <a:pt x="735" y="508"/>
                  </a:lnTo>
                  <a:lnTo>
                    <a:pt x="735" y="506"/>
                  </a:lnTo>
                  <a:lnTo>
                    <a:pt x="735" y="506"/>
                  </a:lnTo>
                  <a:lnTo>
                    <a:pt x="735" y="506"/>
                  </a:lnTo>
                  <a:lnTo>
                    <a:pt x="737" y="506"/>
                  </a:lnTo>
                  <a:lnTo>
                    <a:pt x="735" y="506"/>
                  </a:lnTo>
                  <a:lnTo>
                    <a:pt x="735" y="506"/>
                  </a:lnTo>
                  <a:lnTo>
                    <a:pt x="735" y="504"/>
                  </a:lnTo>
                  <a:lnTo>
                    <a:pt x="735" y="504"/>
                  </a:lnTo>
                  <a:lnTo>
                    <a:pt x="737" y="506"/>
                  </a:lnTo>
                  <a:lnTo>
                    <a:pt x="735" y="506"/>
                  </a:lnTo>
                  <a:lnTo>
                    <a:pt x="735" y="508"/>
                  </a:lnTo>
                  <a:lnTo>
                    <a:pt x="735" y="510"/>
                  </a:lnTo>
                  <a:lnTo>
                    <a:pt x="735" y="510"/>
                  </a:lnTo>
                  <a:lnTo>
                    <a:pt x="733" y="510"/>
                  </a:lnTo>
                  <a:lnTo>
                    <a:pt x="733" y="510"/>
                  </a:lnTo>
                  <a:lnTo>
                    <a:pt x="733" y="510"/>
                  </a:lnTo>
                  <a:lnTo>
                    <a:pt x="735" y="512"/>
                  </a:lnTo>
                  <a:lnTo>
                    <a:pt x="735" y="512"/>
                  </a:lnTo>
                  <a:lnTo>
                    <a:pt x="735" y="512"/>
                  </a:lnTo>
                  <a:lnTo>
                    <a:pt x="735" y="514"/>
                  </a:lnTo>
                  <a:lnTo>
                    <a:pt x="735" y="514"/>
                  </a:lnTo>
                  <a:lnTo>
                    <a:pt x="737" y="514"/>
                  </a:lnTo>
                  <a:lnTo>
                    <a:pt x="737" y="514"/>
                  </a:lnTo>
                  <a:lnTo>
                    <a:pt x="737" y="514"/>
                  </a:lnTo>
                  <a:lnTo>
                    <a:pt x="737" y="512"/>
                  </a:lnTo>
                  <a:lnTo>
                    <a:pt x="737" y="512"/>
                  </a:lnTo>
                  <a:lnTo>
                    <a:pt x="739" y="512"/>
                  </a:lnTo>
                  <a:lnTo>
                    <a:pt x="741" y="512"/>
                  </a:lnTo>
                  <a:lnTo>
                    <a:pt x="743" y="512"/>
                  </a:lnTo>
                  <a:lnTo>
                    <a:pt x="743" y="512"/>
                  </a:lnTo>
                  <a:lnTo>
                    <a:pt x="743" y="512"/>
                  </a:lnTo>
                  <a:lnTo>
                    <a:pt x="743" y="514"/>
                  </a:lnTo>
                  <a:lnTo>
                    <a:pt x="741" y="514"/>
                  </a:lnTo>
                  <a:lnTo>
                    <a:pt x="741" y="514"/>
                  </a:lnTo>
                  <a:lnTo>
                    <a:pt x="741" y="514"/>
                  </a:lnTo>
                  <a:lnTo>
                    <a:pt x="741" y="514"/>
                  </a:lnTo>
                  <a:lnTo>
                    <a:pt x="739" y="514"/>
                  </a:lnTo>
                  <a:lnTo>
                    <a:pt x="739" y="514"/>
                  </a:lnTo>
                  <a:lnTo>
                    <a:pt x="739" y="514"/>
                  </a:lnTo>
                  <a:lnTo>
                    <a:pt x="739" y="514"/>
                  </a:lnTo>
                  <a:lnTo>
                    <a:pt x="737" y="516"/>
                  </a:lnTo>
                  <a:lnTo>
                    <a:pt x="737" y="516"/>
                  </a:lnTo>
                  <a:lnTo>
                    <a:pt x="735" y="516"/>
                  </a:lnTo>
                  <a:lnTo>
                    <a:pt x="733" y="516"/>
                  </a:lnTo>
                  <a:lnTo>
                    <a:pt x="731" y="518"/>
                  </a:lnTo>
                  <a:lnTo>
                    <a:pt x="731" y="521"/>
                  </a:lnTo>
                  <a:lnTo>
                    <a:pt x="733" y="521"/>
                  </a:lnTo>
                  <a:lnTo>
                    <a:pt x="733" y="523"/>
                  </a:lnTo>
                  <a:lnTo>
                    <a:pt x="735" y="523"/>
                  </a:lnTo>
                  <a:lnTo>
                    <a:pt x="735" y="523"/>
                  </a:lnTo>
                  <a:lnTo>
                    <a:pt x="737" y="521"/>
                  </a:lnTo>
                  <a:lnTo>
                    <a:pt x="737" y="521"/>
                  </a:lnTo>
                  <a:lnTo>
                    <a:pt x="739" y="521"/>
                  </a:lnTo>
                  <a:lnTo>
                    <a:pt x="739" y="521"/>
                  </a:lnTo>
                  <a:lnTo>
                    <a:pt x="739" y="521"/>
                  </a:lnTo>
                  <a:lnTo>
                    <a:pt x="739" y="523"/>
                  </a:lnTo>
                  <a:lnTo>
                    <a:pt x="741" y="523"/>
                  </a:lnTo>
                  <a:lnTo>
                    <a:pt x="741" y="525"/>
                  </a:lnTo>
                  <a:lnTo>
                    <a:pt x="741" y="525"/>
                  </a:lnTo>
                  <a:lnTo>
                    <a:pt x="741" y="523"/>
                  </a:lnTo>
                  <a:lnTo>
                    <a:pt x="743" y="523"/>
                  </a:lnTo>
                  <a:lnTo>
                    <a:pt x="743" y="523"/>
                  </a:lnTo>
                  <a:lnTo>
                    <a:pt x="743" y="523"/>
                  </a:lnTo>
                  <a:lnTo>
                    <a:pt x="746" y="523"/>
                  </a:lnTo>
                  <a:lnTo>
                    <a:pt x="746" y="523"/>
                  </a:lnTo>
                  <a:lnTo>
                    <a:pt x="746" y="525"/>
                  </a:lnTo>
                  <a:lnTo>
                    <a:pt x="746" y="525"/>
                  </a:lnTo>
                  <a:lnTo>
                    <a:pt x="746" y="527"/>
                  </a:lnTo>
                  <a:lnTo>
                    <a:pt x="746" y="527"/>
                  </a:lnTo>
                  <a:lnTo>
                    <a:pt x="746" y="527"/>
                  </a:lnTo>
                  <a:lnTo>
                    <a:pt x="746" y="527"/>
                  </a:lnTo>
                  <a:lnTo>
                    <a:pt x="752" y="527"/>
                  </a:lnTo>
                  <a:lnTo>
                    <a:pt x="758" y="529"/>
                  </a:lnTo>
                  <a:lnTo>
                    <a:pt x="760" y="529"/>
                  </a:lnTo>
                  <a:lnTo>
                    <a:pt x="762" y="529"/>
                  </a:lnTo>
                  <a:lnTo>
                    <a:pt x="764" y="529"/>
                  </a:lnTo>
                  <a:lnTo>
                    <a:pt x="764" y="527"/>
                  </a:lnTo>
                  <a:lnTo>
                    <a:pt x="764" y="527"/>
                  </a:lnTo>
                  <a:lnTo>
                    <a:pt x="764" y="527"/>
                  </a:lnTo>
                  <a:lnTo>
                    <a:pt x="764" y="527"/>
                  </a:lnTo>
                  <a:lnTo>
                    <a:pt x="764" y="527"/>
                  </a:lnTo>
                  <a:lnTo>
                    <a:pt x="764" y="525"/>
                  </a:lnTo>
                  <a:lnTo>
                    <a:pt x="766" y="525"/>
                  </a:lnTo>
                  <a:lnTo>
                    <a:pt x="766" y="525"/>
                  </a:lnTo>
                  <a:lnTo>
                    <a:pt x="766" y="525"/>
                  </a:lnTo>
                  <a:lnTo>
                    <a:pt x="766" y="525"/>
                  </a:lnTo>
                  <a:lnTo>
                    <a:pt x="768" y="525"/>
                  </a:lnTo>
                  <a:lnTo>
                    <a:pt x="770" y="523"/>
                  </a:lnTo>
                  <a:lnTo>
                    <a:pt x="770" y="523"/>
                  </a:lnTo>
                  <a:lnTo>
                    <a:pt x="770" y="525"/>
                  </a:lnTo>
                  <a:lnTo>
                    <a:pt x="768" y="525"/>
                  </a:lnTo>
                  <a:lnTo>
                    <a:pt x="768" y="525"/>
                  </a:lnTo>
                  <a:lnTo>
                    <a:pt x="768" y="525"/>
                  </a:lnTo>
                  <a:lnTo>
                    <a:pt x="768" y="525"/>
                  </a:lnTo>
                  <a:lnTo>
                    <a:pt x="768" y="527"/>
                  </a:lnTo>
                  <a:lnTo>
                    <a:pt x="772" y="527"/>
                  </a:lnTo>
                  <a:lnTo>
                    <a:pt x="772" y="529"/>
                  </a:lnTo>
                  <a:lnTo>
                    <a:pt x="772" y="529"/>
                  </a:lnTo>
                  <a:lnTo>
                    <a:pt x="772" y="529"/>
                  </a:lnTo>
                  <a:lnTo>
                    <a:pt x="772" y="529"/>
                  </a:lnTo>
                  <a:lnTo>
                    <a:pt x="768" y="531"/>
                  </a:lnTo>
                  <a:lnTo>
                    <a:pt x="768" y="529"/>
                  </a:lnTo>
                  <a:lnTo>
                    <a:pt x="766" y="529"/>
                  </a:lnTo>
                  <a:lnTo>
                    <a:pt x="766" y="529"/>
                  </a:lnTo>
                  <a:lnTo>
                    <a:pt x="764" y="529"/>
                  </a:lnTo>
                  <a:lnTo>
                    <a:pt x="762" y="529"/>
                  </a:lnTo>
                  <a:lnTo>
                    <a:pt x="762" y="531"/>
                  </a:lnTo>
                  <a:lnTo>
                    <a:pt x="764" y="531"/>
                  </a:lnTo>
                  <a:lnTo>
                    <a:pt x="772" y="533"/>
                  </a:lnTo>
                  <a:lnTo>
                    <a:pt x="774" y="537"/>
                  </a:lnTo>
                  <a:lnTo>
                    <a:pt x="774" y="537"/>
                  </a:lnTo>
                  <a:lnTo>
                    <a:pt x="774" y="537"/>
                  </a:lnTo>
                  <a:lnTo>
                    <a:pt x="772" y="537"/>
                  </a:lnTo>
                  <a:lnTo>
                    <a:pt x="774" y="537"/>
                  </a:lnTo>
                  <a:lnTo>
                    <a:pt x="774" y="539"/>
                  </a:lnTo>
                  <a:lnTo>
                    <a:pt x="774" y="539"/>
                  </a:lnTo>
                  <a:lnTo>
                    <a:pt x="772" y="541"/>
                  </a:lnTo>
                  <a:lnTo>
                    <a:pt x="768" y="543"/>
                  </a:lnTo>
                  <a:lnTo>
                    <a:pt x="766" y="545"/>
                  </a:lnTo>
                  <a:lnTo>
                    <a:pt x="766" y="545"/>
                  </a:lnTo>
                  <a:lnTo>
                    <a:pt x="764" y="545"/>
                  </a:lnTo>
                  <a:lnTo>
                    <a:pt x="764" y="545"/>
                  </a:lnTo>
                  <a:lnTo>
                    <a:pt x="764" y="543"/>
                  </a:lnTo>
                  <a:lnTo>
                    <a:pt x="764" y="543"/>
                  </a:lnTo>
                  <a:lnTo>
                    <a:pt x="762" y="543"/>
                  </a:lnTo>
                  <a:lnTo>
                    <a:pt x="764" y="541"/>
                  </a:lnTo>
                  <a:lnTo>
                    <a:pt x="764" y="541"/>
                  </a:lnTo>
                  <a:lnTo>
                    <a:pt x="764" y="541"/>
                  </a:lnTo>
                  <a:lnTo>
                    <a:pt x="764" y="539"/>
                  </a:lnTo>
                  <a:lnTo>
                    <a:pt x="764" y="539"/>
                  </a:lnTo>
                  <a:lnTo>
                    <a:pt x="764" y="539"/>
                  </a:lnTo>
                  <a:lnTo>
                    <a:pt x="764" y="537"/>
                  </a:lnTo>
                  <a:lnTo>
                    <a:pt x="764" y="537"/>
                  </a:lnTo>
                  <a:lnTo>
                    <a:pt x="764" y="535"/>
                  </a:lnTo>
                  <a:lnTo>
                    <a:pt x="764" y="535"/>
                  </a:lnTo>
                  <a:lnTo>
                    <a:pt x="764" y="535"/>
                  </a:lnTo>
                  <a:lnTo>
                    <a:pt x="762" y="533"/>
                  </a:lnTo>
                  <a:lnTo>
                    <a:pt x="762" y="533"/>
                  </a:lnTo>
                  <a:lnTo>
                    <a:pt x="760" y="533"/>
                  </a:lnTo>
                  <a:lnTo>
                    <a:pt x="760" y="535"/>
                  </a:lnTo>
                  <a:lnTo>
                    <a:pt x="758" y="535"/>
                  </a:lnTo>
                  <a:lnTo>
                    <a:pt x="758" y="535"/>
                  </a:lnTo>
                  <a:lnTo>
                    <a:pt x="758" y="537"/>
                  </a:lnTo>
                  <a:lnTo>
                    <a:pt x="756" y="537"/>
                  </a:lnTo>
                  <a:lnTo>
                    <a:pt x="756" y="539"/>
                  </a:lnTo>
                  <a:lnTo>
                    <a:pt x="756" y="539"/>
                  </a:lnTo>
                  <a:lnTo>
                    <a:pt x="754" y="539"/>
                  </a:lnTo>
                  <a:lnTo>
                    <a:pt x="752" y="539"/>
                  </a:lnTo>
                  <a:lnTo>
                    <a:pt x="752" y="539"/>
                  </a:lnTo>
                  <a:lnTo>
                    <a:pt x="752" y="539"/>
                  </a:lnTo>
                  <a:lnTo>
                    <a:pt x="750" y="541"/>
                  </a:lnTo>
                  <a:lnTo>
                    <a:pt x="748" y="543"/>
                  </a:lnTo>
                  <a:lnTo>
                    <a:pt x="748" y="543"/>
                  </a:lnTo>
                  <a:lnTo>
                    <a:pt x="748" y="543"/>
                  </a:lnTo>
                  <a:lnTo>
                    <a:pt x="748" y="543"/>
                  </a:lnTo>
                  <a:lnTo>
                    <a:pt x="748" y="541"/>
                  </a:lnTo>
                  <a:lnTo>
                    <a:pt x="748" y="541"/>
                  </a:lnTo>
                  <a:lnTo>
                    <a:pt x="748" y="541"/>
                  </a:lnTo>
                  <a:lnTo>
                    <a:pt x="750" y="541"/>
                  </a:lnTo>
                  <a:lnTo>
                    <a:pt x="750" y="541"/>
                  </a:lnTo>
                  <a:lnTo>
                    <a:pt x="750" y="541"/>
                  </a:lnTo>
                  <a:lnTo>
                    <a:pt x="750" y="541"/>
                  </a:lnTo>
                  <a:lnTo>
                    <a:pt x="750" y="541"/>
                  </a:lnTo>
                  <a:lnTo>
                    <a:pt x="750" y="541"/>
                  </a:lnTo>
                  <a:lnTo>
                    <a:pt x="750" y="541"/>
                  </a:lnTo>
                  <a:lnTo>
                    <a:pt x="750" y="539"/>
                  </a:lnTo>
                  <a:lnTo>
                    <a:pt x="750" y="539"/>
                  </a:lnTo>
                  <a:lnTo>
                    <a:pt x="750" y="539"/>
                  </a:lnTo>
                  <a:lnTo>
                    <a:pt x="750" y="539"/>
                  </a:lnTo>
                  <a:lnTo>
                    <a:pt x="752" y="539"/>
                  </a:lnTo>
                  <a:lnTo>
                    <a:pt x="752" y="539"/>
                  </a:lnTo>
                  <a:lnTo>
                    <a:pt x="752" y="539"/>
                  </a:lnTo>
                  <a:lnTo>
                    <a:pt x="754" y="537"/>
                  </a:lnTo>
                  <a:lnTo>
                    <a:pt x="754" y="537"/>
                  </a:lnTo>
                  <a:lnTo>
                    <a:pt x="754" y="535"/>
                  </a:lnTo>
                  <a:lnTo>
                    <a:pt x="754" y="535"/>
                  </a:lnTo>
                  <a:lnTo>
                    <a:pt x="754" y="535"/>
                  </a:lnTo>
                  <a:lnTo>
                    <a:pt x="754" y="535"/>
                  </a:lnTo>
                  <a:lnTo>
                    <a:pt x="754" y="535"/>
                  </a:lnTo>
                  <a:lnTo>
                    <a:pt x="754" y="535"/>
                  </a:lnTo>
                  <a:lnTo>
                    <a:pt x="754" y="533"/>
                  </a:lnTo>
                  <a:lnTo>
                    <a:pt x="754" y="533"/>
                  </a:lnTo>
                  <a:lnTo>
                    <a:pt x="754" y="533"/>
                  </a:lnTo>
                  <a:lnTo>
                    <a:pt x="754" y="531"/>
                  </a:lnTo>
                  <a:lnTo>
                    <a:pt x="754" y="531"/>
                  </a:lnTo>
                  <a:lnTo>
                    <a:pt x="752" y="531"/>
                  </a:lnTo>
                  <a:lnTo>
                    <a:pt x="752" y="531"/>
                  </a:lnTo>
                  <a:lnTo>
                    <a:pt x="752" y="531"/>
                  </a:lnTo>
                  <a:lnTo>
                    <a:pt x="750" y="531"/>
                  </a:lnTo>
                  <a:lnTo>
                    <a:pt x="750" y="531"/>
                  </a:lnTo>
                  <a:lnTo>
                    <a:pt x="750" y="529"/>
                  </a:lnTo>
                  <a:lnTo>
                    <a:pt x="746" y="529"/>
                  </a:lnTo>
                  <a:lnTo>
                    <a:pt x="743" y="529"/>
                  </a:lnTo>
                  <a:lnTo>
                    <a:pt x="743" y="527"/>
                  </a:lnTo>
                  <a:lnTo>
                    <a:pt x="743" y="527"/>
                  </a:lnTo>
                  <a:lnTo>
                    <a:pt x="746" y="525"/>
                  </a:lnTo>
                  <a:lnTo>
                    <a:pt x="746" y="525"/>
                  </a:lnTo>
                  <a:lnTo>
                    <a:pt x="743" y="523"/>
                  </a:lnTo>
                  <a:lnTo>
                    <a:pt x="743" y="523"/>
                  </a:lnTo>
                  <a:lnTo>
                    <a:pt x="741" y="525"/>
                  </a:lnTo>
                  <a:lnTo>
                    <a:pt x="741" y="525"/>
                  </a:lnTo>
                  <a:lnTo>
                    <a:pt x="739" y="525"/>
                  </a:lnTo>
                  <a:lnTo>
                    <a:pt x="739" y="525"/>
                  </a:lnTo>
                  <a:lnTo>
                    <a:pt x="739" y="525"/>
                  </a:lnTo>
                  <a:lnTo>
                    <a:pt x="739" y="525"/>
                  </a:lnTo>
                  <a:lnTo>
                    <a:pt x="739" y="525"/>
                  </a:lnTo>
                  <a:lnTo>
                    <a:pt x="739" y="523"/>
                  </a:lnTo>
                  <a:lnTo>
                    <a:pt x="737" y="523"/>
                  </a:lnTo>
                  <a:lnTo>
                    <a:pt x="737" y="521"/>
                  </a:lnTo>
                  <a:lnTo>
                    <a:pt x="737" y="523"/>
                  </a:lnTo>
                  <a:lnTo>
                    <a:pt x="737" y="525"/>
                  </a:lnTo>
                  <a:lnTo>
                    <a:pt x="737" y="525"/>
                  </a:lnTo>
                  <a:lnTo>
                    <a:pt x="739" y="527"/>
                  </a:lnTo>
                  <a:lnTo>
                    <a:pt x="737" y="527"/>
                  </a:lnTo>
                  <a:lnTo>
                    <a:pt x="735" y="529"/>
                  </a:lnTo>
                  <a:lnTo>
                    <a:pt x="735" y="529"/>
                  </a:lnTo>
                  <a:lnTo>
                    <a:pt x="735" y="529"/>
                  </a:lnTo>
                  <a:lnTo>
                    <a:pt x="735" y="529"/>
                  </a:lnTo>
                  <a:lnTo>
                    <a:pt x="735" y="529"/>
                  </a:lnTo>
                  <a:lnTo>
                    <a:pt x="733" y="529"/>
                  </a:lnTo>
                  <a:lnTo>
                    <a:pt x="735" y="531"/>
                  </a:lnTo>
                  <a:lnTo>
                    <a:pt x="735" y="533"/>
                  </a:lnTo>
                  <a:lnTo>
                    <a:pt x="735" y="533"/>
                  </a:lnTo>
                  <a:lnTo>
                    <a:pt x="733" y="533"/>
                  </a:lnTo>
                  <a:lnTo>
                    <a:pt x="731" y="535"/>
                  </a:lnTo>
                  <a:lnTo>
                    <a:pt x="731" y="535"/>
                  </a:lnTo>
                  <a:lnTo>
                    <a:pt x="729" y="535"/>
                  </a:lnTo>
                  <a:lnTo>
                    <a:pt x="729" y="537"/>
                  </a:lnTo>
                  <a:lnTo>
                    <a:pt x="727" y="537"/>
                  </a:lnTo>
                  <a:lnTo>
                    <a:pt x="727" y="537"/>
                  </a:lnTo>
                  <a:lnTo>
                    <a:pt x="727" y="537"/>
                  </a:lnTo>
                  <a:lnTo>
                    <a:pt x="727" y="537"/>
                  </a:lnTo>
                  <a:lnTo>
                    <a:pt x="725" y="539"/>
                  </a:lnTo>
                  <a:lnTo>
                    <a:pt x="725" y="539"/>
                  </a:lnTo>
                  <a:lnTo>
                    <a:pt x="725" y="537"/>
                  </a:lnTo>
                  <a:lnTo>
                    <a:pt x="723" y="537"/>
                  </a:lnTo>
                  <a:lnTo>
                    <a:pt x="723" y="539"/>
                  </a:lnTo>
                  <a:lnTo>
                    <a:pt x="723" y="539"/>
                  </a:lnTo>
                  <a:lnTo>
                    <a:pt x="723" y="541"/>
                  </a:lnTo>
                  <a:lnTo>
                    <a:pt x="723" y="541"/>
                  </a:lnTo>
                  <a:lnTo>
                    <a:pt x="727" y="543"/>
                  </a:lnTo>
                  <a:lnTo>
                    <a:pt x="727" y="543"/>
                  </a:lnTo>
                  <a:lnTo>
                    <a:pt x="729" y="543"/>
                  </a:lnTo>
                  <a:lnTo>
                    <a:pt x="729" y="541"/>
                  </a:lnTo>
                  <a:lnTo>
                    <a:pt x="733" y="541"/>
                  </a:lnTo>
                  <a:lnTo>
                    <a:pt x="733" y="541"/>
                  </a:lnTo>
                  <a:lnTo>
                    <a:pt x="733" y="543"/>
                  </a:lnTo>
                  <a:lnTo>
                    <a:pt x="733" y="543"/>
                  </a:lnTo>
                  <a:lnTo>
                    <a:pt x="733" y="543"/>
                  </a:lnTo>
                  <a:lnTo>
                    <a:pt x="733" y="543"/>
                  </a:lnTo>
                  <a:lnTo>
                    <a:pt x="733" y="543"/>
                  </a:lnTo>
                  <a:lnTo>
                    <a:pt x="731" y="543"/>
                  </a:lnTo>
                  <a:lnTo>
                    <a:pt x="731" y="545"/>
                  </a:lnTo>
                  <a:lnTo>
                    <a:pt x="731" y="545"/>
                  </a:lnTo>
                  <a:lnTo>
                    <a:pt x="731" y="545"/>
                  </a:lnTo>
                  <a:lnTo>
                    <a:pt x="731" y="545"/>
                  </a:lnTo>
                  <a:lnTo>
                    <a:pt x="731" y="545"/>
                  </a:lnTo>
                  <a:lnTo>
                    <a:pt x="729" y="545"/>
                  </a:lnTo>
                  <a:lnTo>
                    <a:pt x="729" y="545"/>
                  </a:lnTo>
                  <a:lnTo>
                    <a:pt x="729" y="547"/>
                  </a:lnTo>
                  <a:lnTo>
                    <a:pt x="729" y="547"/>
                  </a:lnTo>
                  <a:lnTo>
                    <a:pt x="729" y="549"/>
                  </a:lnTo>
                  <a:lnTo>
                    <a:pt x="731" y="549"/>
                  </a:lnTo>
                  <a:lnTo>
                    <a:pt x="731" y="551"/>
                  </a:lnTo>
                  <a:lnTo>
                    <a:pt x="731" y="551"/>
                  </a:lnTo>
                  <a:lnTo>
                    <a:pt x="735" y="555"/>
                  </a:lnTo>
                  <a:lnTo>
                    <a:pt x="737" y="555"/>
                  </a:lnTo>
                  <a:lnTo>
                    <a:pt x="737" y="555"/>
                  </a:lnTo>
                  <a:lnTo>
                    <a:pt x="737" y="555"/>
                  </a:lnTo>
                  <a:lnTo>
                    <a:pt x="739" y="553"/>
                  </a:lnTo>
                  <a:lnTo>
                    <a:pt x="739" y="555"/>
                  </a:lnTo>
                  <a:lnTo>
                    <a:pt x="739" y="555"/>
                  </a:lnTo>
                  <a:lnTo>
                    <a:pt x="739" y="555"/>
                  </a:lnTo>
                  <a:lnTo>
                    <a:pt x="739" y="555"/>
                  </a:lnTo>
                  <a:lnTo>
                    <a:pt x="739" y="557"/>
                  </a:lnTo>
                  <a:lnTo>
                    <a:pt x="739" y="557"/>
                  </a:lnTo>
                  <a:lnTo>
                    <a:pt x="739" y="557"/>
                  </a:lnTo>
                  <a:lnTo>
                    <a:pt x="739" y="559"/>
                  </a:lnTo>
                  <a:lnTo>
                    <a:pt x="741" y="559"/>
                  </a:lnTo>
                  <a:lnTo>
                    <a:pt x="741" y="562"/>
                  </a:lnTo>
                  <a:lnTo>
                    <a:pt x="743" y="562"/>
                  </a:lnTo>
                  <a:lnTo>
                    <a:pt x="743" y="562"/>
                  </a:lnTo>
                  <a:lnTo>
                    <a:pt x="743" y="564"/>
                  </a:lnTo>
                  <a:lnTo>
                    <a:pt x="743" y="564"/>
                  </a:lnTo>
                  <a:lnTo>
                    <a:pt x="743" y="564"/>
                  </a:lnTo>
                  <a:lnTo>
                    <a:pt x="743" y="564"/>
                  </a:lnTo>
                  <a:lnTo>
                    <a:pt x="743" y="566"/>
                  </a:lnTo>
                  <a:lnTo>
                    <a:pt x="743" y="566"/>
                  </a:lnTo>
                  <a:lnTo>
                    <a:pt x="743" y="566"/>
                  </a:lnTo>
                  <a:lnTo>
                    <a:pt x="743" y="568"/>
                  </a:lnTo>
                  <a:lnTo>
                    <a:pt x="743" y="568"/>
                  </a:lnTo>
                  <a:lnTo>
                    <a:pt x="746" y="568"/>
                  </a:lnTo>
                  <a:lnTo>
                    <a:pt x="746" y="570"/>
                  </a:lnTo>
                  <a:lnTo>
                    <a:pt x="750" y="572"/>
                  </a:lnTo>
                  <a:lnTo>
                    <a:pt x="750" y="572"/>
                  </a:lnTo>
                  <a:lnTo>
                    <a:pt x="752" y="574"/>
                  </a:lnTo>
                  <a:lnTo>
                    <a:pt x="750" y="574"/>
                  </a:lnTo>
                  <a:lnTo>
                    <a:pt x="750" y="574"/>
                  </a:lnTo>
                  <a:lnTo>
                    <a:pt x="750" y="574"/>
                  </a:lnTo>
                  <a:lnTo>
                    <a:pt x="752" y="574"/>
                  </a:lnTo>
                  <a:lnTo>
                    <a:pt x="752" y="574"/>
                  </a:lnTo>
                  <a:lnTo>
                    <a:pt x="752" y="574"/>
                  </a:lnTo>
                  <a:lnTo>
                    <a:pt x="752" y="574"/>
                  </a:lnTo>
                  <a:lnTo>
                    <a:pt x="750" y="574"/>
                  </a:lnTo>
                  <a:lnTo>
                    <a:pt x="748" y="576"/>
                  </a:lnTo>
                  <a:lnTo>
                    <a:pt x="748" y="578"/>
                  </a:lnTo>
                  <a:lnTo>
                    <a:pt x="748" y="578"/>
                  </a:lnTo>
                  <a:lnTo>
                    <a:pt x="750" y="580"/>
                  </a:lnTo>
                  <a:lnTo>
                    <a:pt x="750" y="582"/>
                  </a:lnTo>
                  <a:lnTo>
                    <a:pt x="750" y="582"/>
                  </a:lnTo>
                  <a:lnTo>
                    <a:pt x="756" y="584"/>
                  </a:lnTo>
                  <a:lnTo>
                    <a:pt x="762" y="586"/>
                  </a:lnTo>
                  <a:lnTo>
                    <a:pt x="770" y="584"/>
                  </a:lnTo>
                  <a:lnTo>
                    <a:pt x="776" y="584"/>
                  </a:lnTo>
                  <a:lnTo>
                    <a:pt x="784" y="580"/>
                  </a:lnTo>
                  <a:lnTo>
                    <a:pt x="786" y="580"/>
                  </a:lnTo>
                  <a:lnTo>
                    <a:pt x="786" y="578"/>
                  </a:lnTo>
                  <a:lnTo>
                    <a:pt x="786" y="578"/>
                  </a:lnTo>
                  <a:lnTo>
                    <a:pt x="789" y="580"/>
                  </a:lnTo>
                  <a:lnTo>
                    <a:pt x="791" y="580"/>
                  </a:lnTo>
                  <a:lnTo>
                    <a:pt x="793" y="580"/>
                  </a:lnTo>
                  <a:lnTo>
                    <a:pt x="793" y="578"/>
                  </a:lnTo>
                  <a:lnTo>
                    <a:pt x="793" y="578"/>
                  </a:lnTo>
                  <a:lnTo>
                    <a:pt x="793" y="578"/>
                  </a:lnTo>
                  <a:lnTo>
                    <a:pt x="793" y="576"/>
                  </a:lnTo>
                  <a:lnTo>
                    <a:pt x="793" y="576"/>
                  </a:lnTo>
                  <a:lnTo>
                    <a:pt x="793" y="574"/>
                  </a:lnTo>
                  <a:lnTo>
                    <a:pt x="793" y="574"/>
                  </a:lnTo>
                  <a:lnTo>
                    <a:pt x="793" y="574"/>
                  </a:lnTo>
                  <a:lnTo>
                    <a:pt x="793" y="572"/>
                  </a:lnTo>
                  <a:lnTo>
                    <a:pt x="795" y="572"/>
                  </a:lnTo>
                  <a:lnTo>
                    <a:pt x="795" y="570"/>
                  </a:lnTo>
                  <a:lnTo>
                    <a:pt x="795" y="570"/>
                  </a:lnTo>
                  <a:lnTo>
                    <a:pt x="795" y="568"/>
                  </a:lnTo>
                  <a:lnTo>
                    <a:pt x="793" y="566"/>
                  </a:lnTo>
                  <a:lnTo>
                    <a:pt x="791" y="566"/>
                  </a:lnTo>
                  <a:lnTo>
                    <a:pt x="789" y="564"/>
                  </a:lnTo>
                  <a:lnTo>
                    <a:pt x="793" y="566"/>
                  </a:lnTo>
                  <a:lnTo>
                    <a:pt x="793" y="566"/>
                  </a:lnTo>
                  <a:lnTo>
                    <a:pt x="793" y="566"/>
                  </a:lnTo>
                  <a:lnTo>
                    <a:pt x="793" y="564"/>
                  </a:lnTo>
                  <a:lnTo>
                    <a:pt x="793" y="564"/>
                  </a:lnTo>
                  <a:lnTo>
                    <a:pt x="793" y="564"/>
                  </a:lnTo>
                  <a:lnTo>
                    <a:pt x="793" y="564"/>
                  </a:lnTo>
                  <a:lnTo>
                    <a:pt x="793" y="564"/>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5" y="562"/>
                  </a:lnTo>
                  <a:lnTo>
                    <a:pt x="795" y="562"/>
                  </a:lnTo>
                  <a:lnTo>
                    <a:pt x="795" y="559"/>
                  </a:lnTo>
                  <a:lnTo>
                    <a:pt x="795" y="559"/>
                  </a:lnTo>
                  <a:lnTo>
                    <a:pt x="795" y="559"/>
                  </a:lnTo>
                  <a:lnTo>
                    <a:pt x="797" y="559"/>
                  </a:lnTo>
                  <a:lnTo>
                    <a:pt x="797" y="559"/>
                  </a:lnTo>
                  <a:lnTo>
                    <a:pt x="797" y="559"/>
                  </a:lnTo>
                  <a:lnTo>
                    <a:pt x="797" y="559"/>
                  </a:lnTo>
                  <a:lnTo>
                    <a:pt x="797" y="559"/>
                  </a:lnTo>
                  <a:lnTo>
                    <a:pt x="797" y="557"/>
                  </a:lnTo>
                  <a:lnTo>
                    <a:pt x="797" y="557"/>
                  </a:lnTo>
                  <a:lnTo>
                    <a:pt x="797" y="557"/>
                  </a:lnTo>
                  <a:lnTo>
                    <a:pt x="797" y="557"/>
                  </a:lnTo>
                  <a:lnTo>
                    <a:pt x="799" y="557"/>
                  </a:lnTo>
                  <a:lnTo>
                    <a:pt x="799" y="557"/>
                  </a:lnTo>
                  <a:lnTo>
                    <a:pt x="799" y="555"/>
                  </a:lnTo>
                  <a:lnTo>
                    <a:pt x="799" y="555"/>
                  </a:lnTo>
                  <a:lnTo>
                    <a:pt x="799" y="555"/>
                  </a:lnTo>
                  <a:lnTo>
                    <a:pt x="799" y="555"/>
                  </a:lnTo>
                  <a:lnTo>
                    <a:pt x="801" y="551"/>
                  </a:lnTo>
                  <a:lnTo>
                    <a:pt x="801" y="551"/>
                  </a:lnTo>
                  <a:lnTo>
                    <a:pt x="801" y="551"/>
                  </a:lnTo>
                  <a:lnTo>
                    <a:pt x="801" y="549"/>
                  </a:lnTo>
                  <a:lnTo>
                    <a:pt x="803" y="549"/>
                  </a:lnTo>
                  <a:lnTo>
                    <a:pt x="803" y="547"/>
                  </a:lnTo>
                  <a:lnTo>
                    <a:pt x="803" y="547"/>
                  </a:lnTo>
                  <a:lnTo>
                    <a:pt x="803" y="547"/>
                  </a:lnTo>
                  <a:lnTo>
                    <a:pt x="805" y="547"/>
                  </a:lnTo>
                  <a:lnTo>
                    <a:pt x="807" y="547"/>
                  </a:lnTo>
                  <a:lnTo>
                    <a:pt x="807" y="545"/>
                  </a:lnTo>
                  <a:lnTo>
                    <a:pt x="807" y="545"/>
                  </a:lnTo>
                  <a:lnTo>
                    <a:pt x="807" y="545"/>
                  </a:lnTo>
                  <a:lnTo>
                    <a:pt x="807" y="543"/>
                  </a:lnTo>
                  <a:lnTo>
                    <a:pt x="805" y="543"/>
                  </a:lnTo>
                  <a:lnTo>
                    <a:pt x="807" y="543"/>
                  </a:lnTo>
                  <a:lnTo>
                    <a:pt x="807" y="543"/>
                  </a:lnTo>
                  <a:lnTo>
                    <a:pt x="807" y="545"/>
                  </a:lnTo>
                  <a:lnTo>
                    <a:pt x="807" y="545"/>
                  </a:lnTo>
                  <a:lnTo>
                    <a:pt x="807" y="545"/>
                  </a:lnTo>
                  <a:lnTo>
                    <a:pt x="811" y="545"/>
                  </a:lnTo>
                  <a:lnTo>
                    <a:pt x="811" y="543"/>
                  </a:lnTo>
                  <a:lnTo>
                    <a:pt x="811" y="543"/>
                  </a:lnTo>
                  <a:lnTo>
                    <a:pt x="813" y="545"/>
                  </a:lnTo>
                  <a:lnTo>
                    <a:pt x="811" y="545"/>
                  </a:lnTo>
                  <a:lnTo>
                    <a:pt x="811" y="545"/>
                  </a:lnTo>
                  <a:lnTo>
                    <a:pt x="811" y="545"/>
                  </a:lnTo>
                  <a:lnTo>
                    <a:pt x="811" y="545"/>
                  </a:lnTo>
                  <a:lnTo>
                    <a:pt x="811" y="547"/>
                  </a:lnTo>
                  <a:lnTo>
                    <a:pt x="807" y="547"/>
                  </a:lnTo>
                  <a:lnTo>
                    <a:pt x="807" y="547"/>
                  </a:lnTo>
                  <a:lnTo>
                    <a:pt x="807" y="547"/>
                  </a:lnTo>
                  <a:lnTo>
                    <a:pt x="805" y="549"/>
                  </a:lnTo>
                  <a:lnTo>
                    <a:pt x="803" y="549"/>
                  </a:lnTo>
                  <a:lnTo>
                    <a:pt x="803" y="549"/>
                  </a:lnTo>
                  <a:lnTo>
                    <a:pt x="803" y="549"/>
                  </a:lnTo>
                  <a:lnTo>
                    <a:pt x="803" y="551"/>
                  </a:lnTo>
                  <a:lnTo>
                    <a:pt x="803" y="551"/>
                  </a:lnTo>
                  <a:lnTo>
                    <a:pt x="803" y="551"/>
                  </a:lnTo>
                  <a:lnTo>
                    <a:pt x="803" y="551"/>
                  </a:lnTo>
                  <a:lnTo>
                    <a:pt x="803" y="553"/>
                  </a:lnTo>
                  <a:lnTo>
                    <a:pt x="803" y="553"/>
                  </a:lnTo>
                  <a:lnTo>
                    <a:pt x="803" y="553"/>
                  </a:lnTo>
                  <a:lnTo>
                    <a:pt x="801" y="555"/>
                  </a:lnTo>
                  <a:lnTo>
                    <a:pt x="801" y="555"/>
                  </a:lnTo>
                  <a:lnTo>
                    <a:pt x="801" y="555"/>
                  </a:lnTo>
                  <a:lnTo>
                    <a:pt x="801" y="557"/>
                  </a:lnTo>
                  <a:lnTo>
                    <a:pt x="799" y="559"/>
                  </a:lnTo>
                  <a:lnTo>
                    <a:pt x="797" y="562"/>
                  </a:lnTo>
                  <a:lnTo>
                    <a:pt x="797" y="562"/>
                  </a:lnTo>
                  <a:lnTo>
                    <a:pt x="795" y="564"/>
                  </a:lnTo>
                  <a:lnTo>
                    <a:pt x="795" y="564"/>
                  </a:lnTo>
                  <a:lnTo>
                    <a:pt x="797" y="566"/>
                  </a:lnTo>
                  <a:lnTo>
                    <a:pt x="797" y="566"/>
                  </a:lnTo>
                  <a:lnTo>
                    <a:pt x="797" y="568"/>
                  </a:lnTo>
                  <a:lnTo>
                    <a:pt x="799" y="568"/>
                  </a:lnTo>
                  <a:lnTo>
                    <a:pt x="799" y="568"/>
                  </a:lnTo>
                  <a:lnTo>
                    <a:pt x="799" y="568"/>
                  </a:lnTo>
                  <a:lnTo>
                    <a:pt x="797" y="570"/>
                  </a:lnTo>
                  <a:lnTo>
                    <a:pt x="797" y="570"/>
                  </a:lnTo>
                  <a:lnTo>
                    <a:pt x="797" y="570"/>
                  </a:lnTo>
                  <a:lnTo>
                    <a:pt x="797" y="570"/>
                  </a:lnTo>
                  <a:lnTo>
                    <a:pt x="797" y="570"/>
                  </a:lnTo>
                  <a:lnTo>
                    <a:pt x="797" y="570"/>
                  </a:lnTo>
                  <a:lnTo>
                    <a:pt x="797" y="572"/>
                  </a:lnTo>
                  <a:lnTo>
                    <a:pt x="797" y="572"/>
                  </a:lnTo>
                  <a:lnTo>
                    <a:pt x="797" y="572"/>
                  </a:lnTo>
                  <a:lnTo>
                    <a:pt x="799" y="572"/>
                  </a:lnTo>
                  <a:lnTo>
                    <a:pt x="799" y="572"/>
                  </a:lnTo>
                  <a:lnTo>
                    <a:pt x="799" y="572"/>
                  </a:lnTo>
                  <a:lnTo>
                    <a:pt x="799" y="572"/>
                  </a:lnTo>
                  <a:lnTo>
                    <a:pt x="799" y="572"/>
                  </a:lnTo>
                  <a:lnTo>
                    <a:pt x="799" y="572"/>
                  </a:lnTo>
                  <a:lnTo>
                    <a:pt x="799" y="572"/>
                  </a:lnTo>
                  <a:lnTo>
                    <a:pt x="799" y="570"/>
                  </a:lnTo>
                  <a:lnTo>
                    <a:pt x="799" y="570"/>
                  </a:lnTo>
                  <a:lnTo>
                    <a:pt x="799" y="570"/>
                  </a:lnTo>
                  <a:lnTo>
                    <a:pt x="799" y="570"/>
                  </a:lnTo>
                  <a:lnTo>
                    <a:pt x="799" y="570"/>
                  </a:lnTo>
                  <a:lnTo>
                    <a:pt x="799" y="570"/>
                  </a:lnTo>
                  <a:lnTo>
                    <a:pt x="799" y="570"/>
                  </a:lnTo>
                  <a:lnTo>
                    <a:pt x="799" y="568"/>
                  </a:lnTo>
                  <a:lnTo>
                    <a:pt x="799" y="570"/>
                  </a:lnTo>
                  <a:lnTo>
                    <a:pt x="799" y="568"/>
                  </a:lnTo>
                  <a:lnTo>
                    <a:pt x="799" y="568"/>
                  </a:lnTo>
                  <a:lnTo>
                    <a:pt x="799" y="568"/>
                  </a:lnTo>
                  <a:lnTo>
                    <a:pt x="799" y="568"/>
                  </a:lnTo>
                  <a:lnTo>
                    <a:pt x="799" y="568"/>
                  </a:lnTo>
                  <a:lnTo>
                    <a:pt x="799" y="568"/>
                  </a:lnTo>
                  <a:lnTo>
                    <a:pt x="801" y="568"/>
                  </a:lnTo>
                  <a:lnTo>
                    <a:pt x="799" y="568"/>
                  </a:lnTo>
                  <a:lnTo>
                    <a:pt x="801" y="568"/>
                  </a:lnTo>
                  <a:lnTo>
                    <a:pt x="801" y="568"/>
                  </a:lnTo>
                  <a:lnTo>
                    <a:pt x="803" y="568"/>
                  </a:lnTo>
                  <a:lnTo>
                    <a:pt x="801" y="568"/>
                  </a:lnTo>
                  <a:lnTo>
                    <a:pt x="801" y="568"/>
                  </a:lnTo>
                  <a:lnTo>
                    <a:pt x="801" y="568"/>
                  </a:lnTo>
                  <a:lnTo>
                    <a:pt x="801" y="568"/>
                  </a:lnTo>
                  <a:lnTo>
                    <a:pt x="803" y="568"/>
                  </a:lnTo>
                  <a:lnTo>
                    <a:pt x="803" y="568"/>
                  </a:lnTo>
                  <a:lnTo>
                    <a:pt x="803" y="568"/>
                  </a:lnTo>
                  <a:lnTo>
                    <a:pt x="803" y="568"/>
                  </a:lnTo>
                  <a:lnTo>
                    <a:pt x="803" y="568"/>
                  </a:lnTo>
                  <a:lnTo>
                    <a:pt x="803" y="568"/>
                  </a:lnTo>
                  <a:lnTo>
                    <a:pt x="803" y="570"/>
                  </a:lnTo>
                  <a:lnTo>
                    <a:pt x="801" y="570"/>
                  </a:lnTo>
                  <a:lnTo>
                    <a:pt x="801" y="570"/>
                  </a:lnTo>
                  <a:lnTo>
                    <a:pt x="801" y="570"/>
                  </a:lnTo>
                  <a:lnTo>
                    <a:pt x="801" y="572"/>
                  </a:lnTo>
                  <a:lnTo>
                    <a:pt x="801" y="572"/>
                  </a:lnTo>
                  <a:lnTo>
                    <a:pt x="801" y="572"/>
                  </a:lnTo>
                  <a:lnTo>
                    <a:pt x="801" y="572"/>
                  </a:lnTo>
                  <a:lnTo>
                    <a:pt x="801" y="574"/>
                  </a:lnTo>
                  <a:lnTo>
                    <a:pt x="801" y="574"/>
                  </a:lnTo>
                  <a:lnTo>
                    <a:pt x="801" y="574"/>
                  </a:lnTo>
                  <a:lnTo>
                    <a:pt x="801" y="574"/>
                  </a:lnTo>
                  <a:lnTo>
                    <a:pt x="799" y="576"/>
                  </a:lnTo>
                  <a:lnTo>
                    <a:pt x="799" y="576"/>
                  </a:lnTo>
                  <a:lnTo>
                    <a:pt x="801" y="578"/>
                  </a:lnTo>
                  <a:lnTo>
                    <a:pt x="801" y="580"/>
                  </a:lnTo>
                  <a:lnTo>
                    <a:pt x="801" y="580"/>
                  </a:lnTo>
                  <a:lnTo>
                    <a:pt x="801" y="582"/>
                  </a:lnTo>
                  <a:lnTo>
                    <a:pt x="803" y="582"/>
                  </a:lnTo>
                  <a:lnTo>
                    <a:pt x="803" y="582"/>
                  </a:lnTo>
                  <a:lnTo>
                    <a:pt x="803" y="584"/>
                  </a:lnTo>
                  <a:lnTo>
                    <a:pt x="803" y="586"/>
                  </a:lnTo>
                  <a:lnTo>
                    <a:pt x="803" y="586"/>
                  </a:lnTo>
                  <a:lnTo>
                    <a:pt x="805" y="590"/>
                  </a:lnTo>
                  <a:lnTo>
                    <a:pt x="805" y="596"/>
                  </a:lnTo>
                  <a:lnTo>
                    <a:pt x="807" y="596"/>
                  </a:lnTo>
                  <a:lnTo>
                    <a:pt x="807" y="596"/>
                  </a:lnTo>
                  <a:lnTo>
                    <a:pt x="807" y="596"/>
                  </a:lnTo>
                  <a:lnTo>
                    <a:pt x="807" y="598"/>
                  </a:lnTo>
                  <a:lnTo>
                    <a:pt x="807" y="598"/>
                  </a:lnTo>
                  <a:lnTo>
                    <a:pt x="807" y="598"/>
                  </a:lnTo>
                  <a:lnTo>
                    <a:pt x="807" y="600"/>
                  </a:lnTo>
                  <a:lnTo>
                    <a:pt x="809" y="607"/>
                  </a:lnTo>
                  <a:lnTo>
                    <a:pt x="809" y="607"/>
                  </a:lnTo>
                  <a:lnTo>
                    <a:pt x="809" y="609"/>
                  </a:lnTo>
                  <a:lnTo>
                    <a:pt x="809" y="609"/>
                  </a:lnTo>
                  <a:lnTo>
                    <a:pt x="809" y="609"/>
                  </a:lnTo>
                  <a:lnTo>
                    <a:pt x="809" y="609"/>
                  </a:lnTo>
                  <a:lnTo>
                    <a:pt x="807" y="609"/>
                  </a:lnTo>
                  <a:lnTo>
                    <a:pt x="807" y="609"/>
                  </a:lnTo>
                  <a:lnTo>
                    <a:pt x="807" y="611"/>
                  </a:lnTo>
                  <a:lnTo>
                    <a:pt x="805" y="611"/>
                  </a:lnTo>
                  <a:lnTo>
                    <a:pt x="805" y="611"/>
                  </a:lnTo>
                  <a:lnTo>
                    <a:pt x="805" y="611"/>
                  </a:lnTo>
                  <a:lnTo>
                    <a:pt x="805" y="611"/>
                  </a:lnTo>
                  <a:lnTo>
                    <a:pt x="805" y="613"/>
                  </a:lnTo>
                  <a:lnTo>
                    <a:pt x="803" y="613"/>
                  </a:lnTo>
                  <a:lnTo>
                    <a:pt x="803" y="613"/>
                  </a:lnTo>
                  <a:lnTo>
                    <a:pt x="803" y="613"/>
                  </a:lnTo>
                  <a:lnTo>
                    <a:pt x="803" y="615"/>
                  </a:lnTo>
                  <a:lnTo>
                    <a:pt x="803" y="615"/>
                  </a:lnTo>
                  <a:lnTo>
                    <a:pt x="803" y="615"/>
                  </a:lnTo>
                  <a:lnTo>
                    <a:pt x="803" y="617"/>
                  </a:lnTo>
                  <a:lnTo>
                    <a:pt x="801" y="617"/>
                  </a:lnTo>
                  <a:lnTo>
                    <a:pt x="801" y="619"/>
                  </a:lnTo>
                  <a:lnTo>
                    <a:pt x="801" y="619"/>
                  </a:lnTo>
                  <a:lnTo>
                    <a:pt x="801" y="621"/>
                  </a:lnTo>
                  <a:lnTo>
                    <a:pt x="799" y="619"/>
                  </a:lnTo>
                  <a:lnTo>
                    <a:pt x="799" y="619"/>
                  </a:lnTo>
                  <a:lnTo>
                    <a:pt x="801" y="617"/>
                  </a:lnTo>
                  <a:lnTo>
                    <a:pt x="801" y="617"/>
                  </a:lnTo>
                  <a:lnTo>
                    <a:pt x="801" y="617"/>
                  </a:lnTo>
                  <a:lnTo>
                    <a:pt x="801" y="617"/>
                  </a:lnTo>
                  <a:lnTo>
                    <a:pt x="799" y="619"/>
                  </a:lnTo>
                  <a:lnTo>
                    <a:pt x="799" y="619"/>
                  </a:lnTo>
                  <a:lnTo>
                    <a:pt x="799" y="621"/>
                  </a:lnTo>
                  <a:lnTo>
                    <a:pt x="801" y="625"/>
                  </a:lnTo>
                  <a:lnTo>
                    <a:pt x="801" y="627"/>
                  </a:lnTo>
                  <a:lnTo>
                    <a:pt x="803" y="629"/>
                  </a:lnTo>
                  <a:lnTo>
                    <a:pt x="803" y="629"/>
                  </a:lnTo>
                  <a:lnTo>
                    <a:pt x="803" y="629"/>
                  </a:lnTo>
                  <a:lnTo>
                    <a:pt x="803" y="629"/>
                  </a:lnTo>
                  <a:lnTo>
                    <a:pt x="803" y="627"/>
                  </a:lnTo>
                  <a:lnTo>
                    <a:pt x="803" y="627"/>
                  </a:lnTo>
                  <a:lnTo>
                    <a:pt x="805" y="627"/>
                  </a:lnTo>
                  <a:lnTo>
                    <a:pt x="807" y="627"/>
                  </a:lnTo>
                  <a:lnTo>
                    <a:pt x="809" y="627"/>
                  </a:lnTo>
                  <a:lnTo>
                    <a:pt x="809" y="627"/>
                  </a:lnTo>
                  <a:lnTo>
                    <a:pt x="809" y="627"/>
                  </a:lnTo>
                  <a:lnTo>
                    <a:pt x="809" y="627"/>
                  </a:lnTo>
                  <a:lnTo>
                    <a:pt x="809" y="627"/>
                  </a:lnTo>
                  <a:lnTo>
                    <a:pt x="809" y="627"/>
                  </a:lnTo>
                  <a:lnTo>
                    <a:pt x="811" y="627"/>
                  </a:lnTo>
                  <a:lnTo>
                    <a:pt x="811" y="627"/>
                  </a:lnTo>
                  <a:lnTo>
                    <a:pt x="811" y="627"/>
                  </a:lnTo>
                  <a:lnTo>
                    <a:pt x="811" y="627"/>
                  </a:lnTo>
                  <a:lnTo>
                    <a:pt x="811" y="629"/>
                  </a:lnTo>
                  <a:lnTo>
                    <a:pt x="811" y="629"/>
                  </a:lnTo>
                  <a:lnTo>
                    <a:pt x="811" y="629"/>
                  </a:lnTo>
                  <a:lnTo>
                    <a:pt x="811" y="629"/>
                  </a:lnTo>
                  <a:lnTo>
                    <a:pt x="811" y="629"/>
                  </a:lnTo>
                  <a:lnTo>
                    <a:pt x="809" y="629"/>
                  </a:lnTo>
                  <a:lnTo>
                    <a:pt x="809" y="629"/>
                  </a:lnTo>
                  <a:lnTo>
                    <a:pt x="807" y="631"/>
                  </a:lnTo>
                  <a:lnTo>
                    <a:pt x="807" y="631"/>
                  </a:lnTo>
                  <a:lnTo>
                    <a:pt x="807" y="631"/>
                  </a:lnTo>
                  <a:lnTo>
                    <a:pt x="805" y="631"/>
                  </a:lnTo>
                  <a:lnTo>
                    <a:pt x="805" y="631"/>
                  </a:lnTo>
                  <a:lnTo>
                    <a:pt x="805" y="631"/>
                  </a:lnTo>
                  <a:lnTo>
                    <a:pt x="805" y="631"/>
                  </a:lnTo>
                  <a:lnTo>
                    <a:pt x="805" y="631"/>
                  </a:lnTo>
                  <a:lnTo>
                    <a:pt x="805" y="631"/>
                  </a:lnTo>
                  <a:lnTo>
                    <a:pt x="805" y="631"/>
                  </a:lnTo>
                  <a:lnTo>
                    <a:pt x="805" y="631"/>
                  </a:lnTo>
                  <a:lnTo>
                    <a:pt x="805" y="631"/>
                  </a:lnTo>
                  <a:lnTo>
                    <a:pt x="805" y="631"/>
                  </a:lnTo>
                  <a:lnTo>
                    <a:pt x="803" y="631"/>
                  </a:lnTo>
                  <a:lnTo>
                    <a:pt x="803" y="631"/>
                  </a:lnTo>
                  <a:lnTo>
                    <a:pt x="803" y="631"/>
                  </a:lnTo>
                  <a:lnTo>
                    <a:pt x="803" y="631"/>
                  </a:lnTo>
                  <a:lnTo>
                    <a:pt x="803" y="631"/>
                  </a:lnTo>
                  <a:lnTo>
                    <a:pt x="803" y="631"/>
                  </a:lnTo>
                  <a:lnTo>
                    <a:pt x="803" y="633"/>
                  </a:lnTo>
                  <a:lnTo>
                    <a:pt x="803" y="633"/>
                  </a:lnTo>
                  <a:lnTo>
                    <a:pt x="805" y="633"/>
                  </a:lnTo>
                  <a:lnTo>
                    <a:pt x="805" y="633"/>
                  </a:lnTo>
                  <a:lnTo>
                    <a:pt x="805" y="635"/>
                  </a:lnTo>
                  <a:lnTo>
                    <a:pt x="805" y="635"/>
                  </a:lnTo>
                  <a:lnTo>
                    <a:pt x="803" y="639"/>
                  </a:lnTo>
                  <a:lnTo>
                    <a:pt x="803" y="639"/>
                  </a:lnTo>
                  <a:lnTo>
                    <a:pt x="805" y="641"/>
                  </a:lnTo>
                  <a:lnTo>
                    <a:pt x="805" y="641"/>
                  </a:lnTo>
                  <a:lnTo>
                    <a:pt x="805" y="641"/>
                  </a:lnTo>
                  <a:lnTo>
                    <a:pt x="805" y="641"/>
                  </a:lnTo>
                  <a:lnTo>
                    <a:pt x="805" y="643"/>
                  </a:lnTo>
                  <a:lnTo>
                    <a:pt x="805" y="643"/>
                  </a:lnTo>
                  <a:lnTo>
                    <a:pt x="803" y="643"/>
                  </a:lnTo>
                  <a:lnTo>
                    <a:pt x="805" y="643"/>
                  </a:lnTo>
                  <a:lnTo>
                    <a:pt x="805" y="643"/>
                  </a:lnTo>
                  <a:lnTo>
                    <a:pt x="805" y="641"/>
                  </a:lnTo>
                  <a:lnTo>
                    <a:pt x="807" y="641"/>
                  </a:lnTo>
                  <a:lnTo>
                    <a:pt x="807" y="643"/>
                  </a:lnTo>
                  <a:lnTo>
                    <a:pt x="805" y="646"/>
                  </a:lnTo>
                  <a:lnTo>
                    <a:pt x="805" y="646"/>
                  </a:lnTo>
                  <a:lnTo>
                    <a:pt x="805" y="646"/>
                  </a:lnTo>
                  <a:lnTo>
                    <a:pt x="803" y="646"/>
                  </a:lnTo>
                  <a:lnTo>
                    <a:pt x="803" y="646"/>
                  </a:lnTo>
                  <a:lnTo>
                    <a:pt x="803" y="646"/>
                  </a:lnTo>
                  <a:lnTo>
                    <a:pt x="803" y="648"/>
                  </a:lnTo>
                  <a:lnTo>
                    <a:pt x="801" y="648"/>
                  </a:lnTo>
                  <a:lnTo>
                    <a:pt x="801" y="648"/>
                  </a:lnTo>
                  <a:lnTo>
                    <a:pt x="801" y="650"/>
                  </a:lnTo>
                  <a:lnTo>
                    <a:pt x="801" y="650"/>
                  </a:lnTo>
                  <a:lnTo>
                    <a:pt x="801" y="652"/>
                  </a:lnTo>
                  <a:lnTo>
                    <a:pt x="799" y="652"/>
                  </a:lnTo>
                  <a:lnTo>
                    <a:pt x="799" y="652"/>
                  </a:lnTo>
                  <a:lnTo>
                    <a:pt x="799" y="650"/>
                  </a:lnTo>
                  <a:lnTo>
                    <a:pt x="799" y="650"/>
                  </a:lnTo>
                  <a:lnTo>
                    <a:pt x="799" y="650"/>
                  </a:lnTo>
                  <a:lnTo>
                    <a:pt x="799" y="650"/>
                  </a:lnTo>
                  <a:lnTo>
                    <a:pt x="799" y="650"/>
                  </a:lnTo>
                  <a:lnTo>
                    <a:pt x="799" y="650"/>
                  </a:lnTo>
                  <a:lnTo>
                    <a:pt x="799" y="650"/>
                  </a:lnTo>
                  <a:lnTo>
                    <a:pt x="799" y="650"/>
                  </a:lnTo>
                  <a:lnTo>
                    <a:pt x="797" y="650"/>
                  </a:lnTo>
                  <a:lnTo>
                    <a:pt x="797" y="650"/>
                  </a:lnTo>
                  <a:lnTo>
                    <a:pt x="797" y="650"/>
                  </a:lnTo>
                  <a:lnTo>
                    <a:pt x="795" y="650"/>
                  </a:lnTo>
                  <a:lnTo>
                    <a:pt x="795" y="650"/>
                  </a:lnTo>
                  <a:lnTo>
                    <a:pt x="793" y="650"/>
                  </a:lnTo>
                  <a:lnTo>
                    <a:pt x="793" y="652"/>
                  </a:lnTo>
                  <a:lnTo>
                    <a:pt x="795" y="652"/>
                  </a:lnTo>
                  <a:lnTo>
                    <a:pt x="801" y="652"/>
                  </a:lnTo>
                  <a:lnTo>
                    <a:pt x="803" y="652"/>
                  </a:lnTo>
                  <a:lnTo>
                    <a:pt x="803" y="654"/>
                  </a:lnTo>
                  <a:lnTo>
                    <a:pt x="803" y="654"/>
                  </a:lnTo>
                  <a:lnTo>
                    <a:pt x="803" y="654"/>
                  </a:lnTo>
                  <a:lnTo>
                    <a:pt x="803" y="652"/>
                  </a:lnTo>
                  <a:lnTo>
                    <a:pt x="803" y="652"/>
                  </a:lnTo>
                  <a:lnTo>
                    <a:pt x="803" y="652"/>
                  </a:lnTo>
                  <a:lnTo>
                    <a:pt x="803" y="652"/>
                  </a:lnTo>
                  <a:lnTo>
                    <a:pt x="803" y="652"/>
                  </a:lnTo>
                  <a:lnTo>
                    <a:pt x="805" y="652"/>
                  </a:lnTo>
                  <a:lnTo>
                    <a:pt x="805" y="654"/>
                  </a:lnTo>
                  <a:lnTo>
                    <a:pt x="805" y="654"/>
                  </a:lnTo>
                  <a:lnTo>
                    <a:pt x="803" y="656"/>
                  </a:lnTo>
                  <a:lnTo>
                    <a:pt x="803" y="656"/>
                  </a:lnTo>
                  <a:lnTo>
                    <a:pt x="803" y="656"/>
                  </a:lnTo>
                  <a:lnTo>
                    <a:pt x="805" y="656"/>
                  </a:lnTo>
                  <a:lnTo>
                    <a:pt x="805" y="656"/>
                  </a:lnTo>
                  <a:lnTo>
                    <a:pt x="805" y="656"/>
                  </a:lnTo>
                  <a:lnTo>
                    <a:pt x="805" y="656"/>
                  </a:lnTo>
                  <a:lnTo>
                    <a:pt x="805" y="654"/>
                  </a:lnTo>
                  <a:lnTo>
                    <a:pt x="807" y="654"/>
                  </a:lnTo>
                  <a:lnTo>
                    <a:pt x="807" y="654"/>
                  </a:lnTo>
                  <a:lnTo>
                    <a:pt x="807" y="654"/>
                  </a:lnTo>
                  <a:lnTo>
                    <a:pt x="807" y="654"/>
                  </a:lnTo>
                  <a:lnTo>
                    <a:pt x="809" y="654"/>
                  </a:lnTo>
                  <a:lnTo>
                    <a:pt x="809" y="654"/>
                  </a:lnTo>
                  <a:lnTo>
                    <a:pt x="809" y="654"/>
                  </a:lnTo>
                  <a:lnTo>
                    <a:pt x="809" y="652"/>
                  </a:lnTo>
                  <a:lnTo>
                    <a:pt x="813" y="652"/>
                  </a:lnTo>
                  <a:lnTo>
                    <a:pt x="815" y="652"/>
                  </a:lnTo>
                  <a:lnTo>
                    <a:pt x="815" y="652"/>
                  </a:lnTo>
                  <a:lnTo>
                    <a:pt x="815" y="652"/>
                  </a:lnTo>
                  <a:lnTo>
                    <a:pt x="813" y="652"/>
                  </a:lnTo>
                  <a:lnTo>
                    <a:pt x="813" y="652"/>
                  </a:lnTo>
                  <a:lnTo>
                    <a:pt x="813" y="650"/>
                  </a:lnTo>
                  <a:lnTo>
                    <a:pt x="813" y="650"/>
                  </a:lnTo>
                  <a:lnTo>
                    <a:pt x="815" y="650"/>
                  </a:lnTo>
                  <a:lnTo>
                    <a:pt x="815" y="648"/>
                  </a:lnTo>
                  <a:lnTo>
                    <a:pt x="817" y="646"/>
                  </a:lnTo>
                  <a:lnTo>
                    <a:pt x="817" y="646"/>
                  </a:lnTo>
                  <a:lnTo>
                    <a:pt x="819" y="646"/>
                  </a:lnTo>
                  <a:lnTo>
                    <a:pt x="817" y="646"/>
                  </a:lnTo>
                  <a:lnTo>
                    <a:pt x="815" y="646"/>
                  </a:lnTo>
                  <a:lnTo>
                    <a:pt x="815" y="646"/>
                  </a:lnTo>
                  <a:lnTo>
                    <a:pt x="817" y="646"/>
                  </a:lnTo>
                  <a:lnTo>
                    <a:pt x="817" y="643"/>
                  </a:lnTo>
                  <a:lnTo>
                    <a:pt x="817" y="643"/>
                  </a:lnTo>
                  <a:lnTo>
                    <a:pt x="817" y="643"/>
                  </a:lnTo>
                  <a:lnTo>
                    <a:pt x="817" y="643"/>
                  </a:lnTo>
                  <a:lnTo>
                    <a:pt x="817" y="643"/>
                  </a:lnTo>
                  <a:lnTo>
                    <a:pt x="817" y="646"/>
                  </a:lnTo>
                  <a:lnTo>
                    <a:pt x="817" y="646"/>
                  </a:lnTo>
                  <a:lnTo>
                    <a:pt x="819" y="646"/>
                  </a:lnTo>
                  <a:lnTo>
                    <a:pt x="819" y="646"/>
                  </a:lnTo>
                  <a:lnTo>
                    <a:pt x="819" y="646"/>
                  </a:lnTo>
                  <a:lnTo>
                    <a:pt x="821" y="646"/>
                  </a:lnTo>
                  <a:lnTo>
                    <a:pt x="823" y="643"/>
                  </a:lnTo>
                  <a:lnTo>
                    <a:pt x="823" y="643"/>
                  </a:lnTo>
                  <a:lnTo>
                    <a:pt x="825" y="643"/>
                  </a:lnTo>
                  <a:lnTo>
                    <a:pt x="825" y="641"/>
                  </a:lnTo>
                  <a:lnTo>
                    <a:pt x="825" y="641"/>
                  </a:lnTo>
                  <a:lnTo>
                    <a:pt x="827" y="641"/>
                  </a:lnTo>
                  <a:lnTo>
                    <a:pt x="827" y="641"/>
                  </a:lnTo>
                  <a:lnTo>
                    <a:pt x="830" y="641"/>
                  </a:lnTo>
                  <a:lnTo>
                    <a:pt x="830" y="643"/>
                  </a:lnTo>
                  <a:lnTo>
                    <a:pt x="830" y="643"/>
                  </a:lnTo>
                  <a:lnTo>
                    <a:pt x="830" y="643"/>
                  </a:lnTo>
                  <a:lnTo>
                    <a:pt x="830" y="646"/>
                  </a:lnTo>
                  <a:lnTo>
                    <a:pt x="832" y="641"/>
                  </a:lnTo>
                  <a:lnTo>
                    <a:pt x="834" y="639"/>
                  </a:lnTo>
                  <a:lnTo>
                    <a:pt x="842" y="633"/>
                  </a:lnTo>
                  <a:lnTo>
                    <a:pt x="842" y="633"/>
                  </a:lnTo>
                  <a:lnTo>
                    <a:pt x="844" y="633"/>
                  </a:lnTo>
                  <a:lnTo>
                    <a:pt x="844" y="633"/>
                  </a:lnTo>
                  <a:lnTo>
                    <a:pt x="844" y="635"/>
                  </a:lnTo>
                  <a:lnTo>
                    <a:pt x="844" y="635"/>
                  </a:lnTo>
                  <a:lnTo>
                    <a:pt x="844" y="635"/>
                  </a:lnTo>
                  <a:lnTo>
                    <a:pt x="844" y="635"/>
                  </a:lnTo>
                  <a:lnTo>
                    <a:pt x="844" y="635"/>
                  </a:lnTo>
                  <a:lnTo>
                    <a:pt x="844" y="635"/>
                  </a:lnTo>
                  <a:lnTo>
                    <a:pt x="844" y="637"/>
                  </a:lnTo>
                  <a:lnTo>
                    <a:pt x="846" y="637"/>
                  </a:lnTo>
                  <a:lnTo>
                    <a:pt x="846" y="637"/>
                  </a:lnTo>
                  <a:lnTo>
                    <a:pt x="846" y="637"/>
                  </a:lnTo>
                  <a:lnTo>
                    <a:pt x="846" y="637"/>
                  </a:lnTo>
                  <a:lnTo>
                    <a:pt x="846" y="637"/>
                  </a:lnTo>
                  <a:lnTo>
                    <a:pt x="846" y="637"/>
                  </a:lnTo>
                  <a:lnTo>
                    <a:pt x="844" y="637"/>
                  </a:lnTo>
                  <a:lnTo>
                    <a:pt x="844" y="637"/>
                  </a:lnTo>
                  <a:lnTo>
                    <a:pt x="844" y="639"/>
                  </a:lnTo>
                  <a:lnTo>
                    <a:pt x="844" y="639"/>
                  </a:lnTo>
                  <a:lnTo>
                    <a:pt x="844" y="639"/>
                  </a:lnTo>
                  <a:lnTo>
                    <a:pt x="844" y="639"/>
                  </a:lnTo>
                  <a:lnTo>
                    <a:pt x="844" y="639"/>
                  </a:lnTo>
                  <a:lnTo>
                    <a:pt x="844" y="639"/>
                  </a:lnTo>
                  <a:lnTo>
                    <a:pt x="846" y="639"/>
                  </a:lnTo>
                  <a:lnTo>
                    <a:pt x="846" y="641"/>
                  </a:lnTo>
                  <a:lnTo>
                    <a:pt x="846" y="641"/>
                  </a:lnTo>
                  <a:lnTo>
                    <a:pt x="846" y="641"/>
                  </a:lnTo>
                  <a:lnTo>
                    <a:pt x="846" y="641"/>
                  </a:lnTo>
                  <a:lnTo>
                    <a:pt x="848" y="641"/>
                  </a:lnTo>
                  <a:lnTo>
                    <a:pt x="848" y="643"/>
                  </a:lnTo>
                  <a:lnTo>
                    <a:pt x="848" y="643"/>
                  </a:lnTo>
                  <a:lnTo>
                    <a:pt x="848" y="643"/>
                  </a:lnTo>
                  <a:lnTo>
                    <a:pt x="848" y="646"/>
                  </a:lnTo>
                  <a:lnTo>
                    <a:pt x="848" y="646"/>
                  </a:lnTo>
                  <a:lnTo>
                    <a:pt x="848" y="646"/>
                  </a:lnTo>
                  <a:lnTo>
                    <a:pt x="848" y="643"/>
                  </a:lnTo>
                  <a:lnTo>
                    <a:pt x="848" y="643"/>
                  </a:lnTo>
                  <a:lnTo>
                    <a:pt x="850" y="643"/>
                  </a:lnTo>
                  <a:lnTo>
                    <a:pt x="850" y="643"/>
                  </a:lnTo>
                  <a:lnTo>
                    <a:pt x="850" y="643"/>
                  </a:lnTo>
                  <a:lnTo>
                    <a:pt x="850" y="643"/>
                  </a:lnTo>
                  <a:lnTo>
                    <a:pt x="852" y="643"/>
                  </a:lnTo>
                  <a:lnTo>
                    <a:pt x="852" y="646"/>
                  </a:lnTo>
                  <a:lnTo>
                    <a:pt x="852" y="646"/>
                  </a:lnTo>
                  <a:lnTo>
                    <a:pt x="852" y="646"/>
                  </a:lnTo>
                  <a:lnTo>
                    <a:pt x="852" y="646"/>
                  </a:lnTo>
                  <a:lnTo>
                    <a:pt x="852" y="648"/>
                  </a:lnTo>
                  <a:lnTo>
                    <a:pt x="852" y="648"/>
                  </a:lnTo>
                  <a:lnTo>
                    <a:pt x="852" y="650"/>
                  </a:lnTo>
                  <a:lnTo>
                    <a:pt x="854" y="650"/>
                  </a:lnTo>
                  <a:lnTo>
                    <a:pt x="854" y="650"/>
                  </a:lnTo>
                  <a:lnTo>
                    <a:pt x="854" y="650"/>
                  </a:lnTo>
                  <a:lnTo>
                    <a:pt x="856" y="650"/>
                  </a:lnTo>
                  <a:lnTo>
                    <a:pt x="856" y="650"/>
                  </a:lnTo>
                  <a:lnTo>
                    <a:pt x="856" y="648"/>
                  </a:lnTo>
                  <a:lnTo>
                    <a:pt x="856" y="648"/>
                  </a:lnTo>
                  <a:lnTo>
                    <a:pt x="856" y="648"/>
                  </a:lnTo>
                  <a:lnTo>
                    <a:pt x="856" y="648"/>
                  </a:lnTo>
                  <a:lnTo>
                    <a:pt x="856" y="648"/>
                  </a:lnTo>
                  <a:lnTo>
                    <a:pt x="856" y="646"/>
                  </a:lnTo>
                  <a:lnTo>
                    <a:pt x="856" y="646"/>
                  </a:lnTo>
                  <a:lnTo>
                    <a:pt x="856" y="646"/>
                  </a:lnTo>
                  <a:lnTo>
                    <a:pt x="858" y="646"/>
                  </a:lnTo>
                  <a:lnTo>
                    <a:pt x="858" y="646"/>
                  </a:lnTo>
                  <a:lnTo>
                    <a:pt x="858" y="646"/>
                  </a:lnTo>
                  <a:lnTo>
                    <a:pt x="858" y="646"/>
                  </a:lnTo>
                  <a:lnTo>
                    <a:pt x="858" y="646"/>
                  </a:lnTo>
                  <a:lnTo>
                    <a:pt x="858" y="643"/>
                  </a:lnTo>
                  <a:lnTo>
                    <a:pt x="858" y="643"/>
                  </a:lnTo>
                  <a:lnTo>
                    <a:pt x="858" y="643"/>
                  </a:lnTo>
                  <a:lnTo>
                    <a:pt x="858" y="641"/>
                  </a:lnTo>
                  <a:lnTo>
                    <a:pt x="858" y="641"/>
                  </a:lnTo>
                  <a:lnTo>
                    <a:pt x="862" y="641"/>
                  </a:lnTo>
                  <a:lnTo>
                    <a:pt x="862" y="641"/>
                  </a:lnTo>
                  <a:lnTo>
                    <a:pt x="862" y="641"/>
                  </a:lnTo>
                  <a:lnTo>
                    <a:pt x="862" y="641"/>
                  </a:lnTo>
                  <a:lnTo>
                    <a:pt x="862" y="643"/>
                  </a:lnTo>
                  <a:lnTo>
                    <a:pt x="862" y="646"/>
                  </a:lnTo>
                  <a:lnTo>
                    <a:pt x="860" y="646"/>
                  </a:lnTo>
                  <a:lnTo>
                    <a:pt x="860" y="648"/>
                  </a:lnTo>
                  <a:lnTo>
                    <a:pt x="860" y="648"/>
                  </a:lnTo>
                  <a:lnTo>
                    <a:pt x="862" y="648"/>
                  </a:lnTo>
                  <a:lnTo>
                    <a:pt x="862" y="648"/>
                  </a:lnTo>
                  <a:lnTo>
                    <a:pt x="864" y="648"/>
                  </a:lnTo>
                  <a:lnTo>
                    <a:pt x="864" y="648"/>
                  </a:lnTo>
                  <a:lnTo>
                    <a:pt x="864" y="648"/>
                  </a:lnTo>
                  <a:lnTo>
                    <a:pt x="864" y="648"/>
                  </a:lnTo>
                  <a:lnTo>
                    <a:pt x="864" y="650"/>
                  </a:lnTo>
                  <a:lnTo>
                    <a:pt x="866" y="652"/>
                  </a:lnTo>
                  <a:lnTo>
                    <a:pt x="870" y="656"/>
                  </a:lnTo>
                  <a:lnTo>
                    <a:pt x="873" y="662"/>
                  </a:lnTo>
                  <a:lnTo>
                    <a:pt x="873" y="664"/>
                  </a:lnTo>
                  <a:lnTo>
                    <a:pt x="875" y="666"/>
                  </a:lnTo>
                  <a:lnTo>
                    <a:pt x="875" y="666"/>
                  </a:lnTo>
                  <a:lnTo>
                    <a:pt x="875" y="668"/>
                  </a:lnTo>
                  <a:lnTo>
                    <a:pt x="875" y="668"/>
                  </a:lnTo>
                  <a:lnTo>
                    <a:pt x="875" y="668"/>
                  </a:lnTo>
                  <a:lnTo>
                    <a:pt x="877" y="668"/>
                  </a:lnTo>
                  <a:lnTo>
                    <a:pt x="877" y="668"/>
                  </a:lnTo>
                  <a:lnTo>
                    <a:pt x="875" y="670"/>
                  </a:lnTo>
                  <a:lnTo>
                    <a:pt x="875" y="670"/>
                  </a:lnTo>
                  <a:lnTo>
                    <a:pt x="875" y="668"/>
                  </a:lnTo>
                  <a:lnTo>
                    <a:pt x="875" y="670"/>
                  </a:lnTo>
                  <a:lnTo>
                    <a:pt x="877" y="670"/>
                  </a:lnTo>
                  <a:lnTo>
                    <a:pt x="881" y="672"/>
                  </a:lnTo>
                  <a:lnTo>
                    <a:pt x="881" y="672"/>
                  </a:lnTo>
                  <a:lnTo>
                    <a:pt x="883" y="670"/>
                  </a:lnTo>
                  <a:lnTo>
                    <a:pt x="881" y="670"/>
                  </a:lnTo>
                  <a:lnTo>
                    <a:pt x="881" y="670"/>
                  </a:lnTo>
                  <a:lnTo>
                    <a:pt x="883" y="670"/>
                  </a:lnTo>
                  <a:lnTo>
                    <a:pt x="883" y="670"/>
                  </a:lnTo>
                  <a:lnTo>
                    <a:pt x="883" y="670"/>
                  </a:lnTo>
                  <a:lnTo>
                    <a:pt x="885" y="668"/>
                  </a:lnTo>
                  <a:lnTo>
                    <a:pt x="885" y="668"/>
                  </a:lnTo>
                  <a:lnTo>
                    <a:pt x="885" y="668"/>
                  </a:lnTo>
                  <a:lnTo>
                    <a:pt x="885" y="666"/>
                  </a:lnTo>
                  <a:lnTo>
                    <a:pt x="885" y="666"/>
                  </a:lnTo>
                  <a:lnTo>
                    <a:pt x="885" y="666"/>
                  </a:lnTo>
                  <a:lnTo>
                    <a:pt x="883" y="666"/>
                  </a:lnTo>
                  <a:lnTo>
                    <a:pt x="883" y="666"/>
                  </a:lnTo>
                  <a:lnTo>
                    <a:pt x="883" y="666"/>
                  </a:lnTo>
                  <a:lnTo>
                    <a:pt x="883" y="664"/>
                  </a:lnTo>
                  <a:lnTo>
                    <a:pt x="883" y="664"/>
                  </a:lnTo>
                  <a:lnTo>
                    <a:pt x="883" y="664"/>
                  </a:lnTo>
                  <a:lnTo>
                    <a:pt x="883" y="664"/>
                  </a:lnTo>
                  <a:lnTo>
                    <a:pt x="883" y="664"/>
                  </a:lnTo>
                  <a:lnTo>
                    <a:pt x="881" y="656"/>
                  </a:lnTo>
                  <a:lnTo>
                    <a:pt x="881" y="654"/>
                  </a:lnTo>
                  <a:lnTo>
                    <a:pt x="881" y="654"/>
                  </a:lnTo>
                  <a:lnTo>
                    <a:pt x="881" y="652"/>
                  </a:lnTo>
                  <a:lnTo>
                    <a:pt x="881" y="652"/>
                  </a:lnTo>
                  <a:lnTo>
                    <a:pt x="881" y="652"/>
                  </a:lnTo>
                  <a:lnTo>
                    <a:pt x="883" y="652"/>
                  </a:lnTo>
                  <a:lnTo>
                    <a:pt x="881" y="652"/>
                  </a:lnTo>
                  <a:lnTo>
                    <a:pt x="881" y="650"/>
                  </a:lnTo>
                  <a:lnTo>
                    <a:pt x="883" y="650"/>
                  </a:lnTo>
                  <a:lnTo>
                    <a:pt x="883" y="650"/>
                  </a:lnTo>
                  <a:lnTo>
                    <a:pt x="883" y="650"/>
                  </a:lnTo>
                  <a:lnTo>
                    <a:pt x="883" y="652"/>
                  </a:lnTo>
                  <a:lnTo>
                    <a:pt x="883" y="652"/>
                  </a:lnTo>
                  <a:lnTo>
                    <a:pt x="883" y="652"/>
                  </a:lnTo>
                  <a:lnTo>
                    <a:pt x="881" y="652"/>
                  </a:lnTo>
                  <a:lnTo>
                    <a:pt x="881" y="654"/>
                  </a:lnTo>
                  <a:lnTo>
                    <a:pt x="881" y="654"/>
                  </a:lnTo>
                  <a:lnTo>
                    <a:pt x="881" y="654"/>
                  </a:lnTo>
                  <a:lnTo>
                    <a:pt x="881" y="654"/>
                  </a:lnTo>
                  <a:lnTo>
                    <a:pt x="881" y="654"/>
                  </a:lnTo>
                  <a:lnTo>
                    <a:pt x="881" y="654"/>
                  </a:lnTo>
                  <a:lnTo>
                    <a:pt x="883" y="654"/>
                  </a:lnTo>
                  <a:lnTo>
                    <a:pt x="883" y="654"/>
                  </a:lnTo>
                  <a:lnTo>
                    <a:pt x="883" y="654"/>
                  </a:lnTo>
                  <a:lnTo>
                    <a:pt x="883" y="654"/>
                  </a:lnTo>
                  <a:lnTo>
                    <a:pt x="883" y="652"/>
                  </a:lnTo>
                  <a:lnTo>
                    <a:pt x="885" y="652"/>
                  </a:lnTo>
                  <a:lnTo>
                    <a:pt x="885" y="652"/>
                  </a:lnTo>
                  <a:lnTo>
                    <a:pt x="883" y="650"/>
                  </a:lnTo>
                  <a:lnTo>
                    <a:pt x="885" y="646"/>
                  </a:lnTo>
                  <a:lnTo>
                    <a:pt x="885" y="646"/>
                  </a:lnTo>
                  <a:lnTo>
                    <a:pt x="885" y="641"/>
                  </a:lnTo>
                  <a:lnTo>
                    <a:pt x="883" y="641"/>
                  </a:lnTo>
                  <a:lnTo>
                    <a:pt x="885" y="641"/>
                  </a:lnTo>
                  <a:lnTo>
                    <a:pt x="885" y="641"/>
                  </a:lnTo>
                  <a:lnTo>
                    <a:pt x="885" y="641"/>
                  </a:lnTo>
                  <a:lnTo>
                    <a:pt x="885" y="643"/>
                  </a:lnTo>
                  <a:lnTo>
                    <a:pt x="885" y="643"/>
                  </a:lnTo>
                  <a:lnTo>
                    <a:pt x="885" y="643"/>
                  </a:lnTo>
                  <a:lnTo>
                    <a:pt x="887" y="643"/>
                  </a:lnTo>
                  <a:lnTo>
                    <a:pt x="885" y="646"/>
                  </a:lnTo>
                  <a:lnTo>
                    <a:pt x="885" y="646"/>
                  </a:lnTo>
                  <a:lnTo>
                    <a:pt x="885" y="646"/>
                  </a:lnTo>
                  <a:lnTo>
                    <a:pt x="885" y="648"/>
                  </a:lnTo>
                  <a:lnTo>
                    <a:pt x="885" y="648"/>
                  </a:lnTo>
                  <a:lnTo>
                    <a:pt x="887" y="648"/>
                  </a:lnTo>
                  <a:lnTo>
                    <a:pt x="887" y="646"/>
                  </a:lnTo>
                  <a:lnTo>
                    <a:pt x="889" y="646"/>
                  </a:lnTo>
                  <a:lnTo>
                    <a:pt x="889" y="643"/>
                  </a:lnTo>
                  <a:lnTo>
                    <a:pt x="891" y="643"/>
                  </a:lnTo>
                  <a:lnTo>
                    <a:pt x="891" y="641"/>
                  </a:lnTo>
                  <a:lnTo>
                    <a:pt x="891" y="641"/>
                  </a:lnTo>
                  <a:lnTo>
                    <a:pt x="891" y="641"/>
                  </a:lnTo>
                  <a:lnTo>
                    <a:pt x="891" y="641"/>
                  </a:lnTo>
                  <a:lnTo>
                    <a:pt x="891" y="641"/>
                  </a:lnTo>
                  <a:lnTo>
                    <a:pt x="891" y="639"/>
                  </a:lnTo>
                  <a:lnTo>
                    <a:pt x="891" y="639"/>
                  </a:lnTo>
                  <a:lnTo>
                    <a:pt x="891" y="639"/>
                  </a:lnTo>
                  <a:lnTo>
                    <a:pt x="891" y="639"/>
                  </a:lnTo>
                  <a:lnTo>
                    <a:pt x="893" y="639"/>
                  </a:lnTo>
                  <a:lnTo>
                    <a:pt x="893" y="639"/>
                  </a:lnTo>
                  <a:lnTo>
                    <a:pt x="893" y="637"/>
                  </a:lnTo>
                  <a:lnTo>
                    <a:pt x="893" y="635"/>
                  </a:lnTo>
                  <a:lnTo>
                    <a:pt x="893" y="633"/>
                  </a:lnTo>
                  <a:lnTo>
                    <a:pt x="891" y="633"/>
                  </a:lnTo>
                  <a:lnTo>
                    <a:pt x="891" y="633"/>
                  </a:lnTo>
                  <a:lnTo>
                    <a:pt x="891" y="633"/>
                  </a:lnTo>
                  <a:lnTo>
                    <a:pt x="891" y="631"/>
                  </a:lnTo>
                  <a:lnTo>
                    <a:pt x="891" y="633"/>
                  </a:lnTo>
                  <a:lnTo>
                    <a:pt x="891" y="633"/>
                  </a:lnTo>
                  <a:lnTo>
                    <a:pt x="893" y="633"/>
                  </a:lnTo>
                  <a:lnTo>
                    <a:pt x="893" y="633"/>
                  </a:lnTo>
                  <a:lnTo>
                    <a:pt x="893" y="633"/>
                  </a:lnTo>
                  <a:lnTo>
                    <a:pt x="893" y="633"/>
                  </a:lnTo>
                  <a:lnTo>
                    <a:pt x="893" y="633"/>
                  </a:lnTo>
                  <a:lnTo>
                    <a:pt x="893" y="635"/>
                  </a:lnTo>
                  <a:lnTo>
                    <a:pt x="893" y="635"/>
                  </a:lnTo>
                  <a:lnTo>
                    <a:pt x="893" y="635"/>
                  </a:lnTo>
                  <a:lnTo>
                    <a:pt x="895" y="637"/>
                  </a:lnTo>
                  <a:lnTo>
                    <a:pt x="895" y="637"/>
                  </a:lnTo>
                  <a:lnTo>
                    <a:pt x="897" y="637"/>
                  </a:lnTo>
                  <a:lnTo>
                    <a:pt x="899" y="639"/>
                  </a:lnTo>
                  <a:lnTo>
                    <a:pt x="901" y="639"/>
                  </a:lnTo>
                  <a:lnTo>
                    <a:pt x="903" y="641"/>
                  </a:lnTo>
                  <a:lnTo>
                    <a:pt x="903" y="643"/>
                  </a:lnTo>
                  <a:lnTo>
                    <a:pt x="905" y="646"/>
                  </a:lnTo>
                  <a:lnTo>
                    <a:pt x="903" y="646"/>
                  </a:lnTo>
                  <a:lnTo>
                    <a:pt x="903" y="648"/>
                  </a:lnTo>
                  <a:lnTo>
                    <a:pt x="905" y="648"/>
                  </a:lnTo>
                  <a:lnTo>
                    <a:pt x="905" y="648"/>
                  </a:lnTo>
                  <a:lnTo>
                    <a:pt x="905" y="648"/>
                  </a:lnTo>
                  <a:lnTo>
                    <a:pt x="905" y="648"/>
                  </a:lnTo>
                  <a:lnTo>
                    <a:pt x="905" y="648"/>
                  </a:lnTo>
                  <a:lnTo>
                    <a:pt x="905" y="648"/>
                  </a:lnTo>
                  <a:lnTo>
                    <a:pt x="905" y="648"/>
                  </a:lnTo>
                  <a:lnTo>
                    <a:pt x="905" y="648"/>
                  </a:lnTo>
                  <a:lnTo>
                    <a:pt x="903" y="648"/>
                  </a:lnTo>
                  <a:lnTo>
                    <a:pt x="903" y="648"/>
                  </a:lnTo>
                  <a:lnTo>
                    <a:pt x="903" y="648"/>
                  </a:lnTo>
                  <a:lnTo>
                    <a:pt x="903" y="646"/>
                  </a:lnTo>
                  <a:lnTo>
                    <a:pt x="903" y="646"/>
                  </a:lnTo>
                  <a:lnTo>
                    <a:pt x="903" y="643"/>
                  </a:lnTo>
                  <a:lnTo>
                    <a:pt x="903" y="643"/>
                  </a:lnTo>
                  <a:lnTo>
                    <a:pt x="901" y="641"/>
                  </a:lnTo>
                  <a:lnTo>
                    <a:pt x="901" y="641"/>
                  </a:lnTo>
                  <a:lnTo>
                    <a:pt x="895" y="639"/>
                  </a:lnTo>
                  <a:lnTo>
                    <a:pt x="895" y="639"/>
                  </a:lnTo>
                  <a:lnTo>
                    <a:pt x="895" y="639"/>
                  </a:lnTo>
                  <a:lnTo>
                    <a:pt x="893" y="639"/>
                  </a:lnTo>
                  <a:lnTo>
                    <a:pt x="893" y="641"/>
                  </a:lnTo>
                  <a:lnTo>
                    <a:pt x="893" y="641"/>
                  </a:lnTo>
                  <a:lnTo>
                    <a:pt x="893" y="641"/>
                  </a:lnTo>
                  <a:lnTo>
                    <a:pt x="893" y="641"/>
                  </a:lnTo>
                  <a:lnTo>
                    <a:pt x="893" y="641"/>
                  </a:lnTo>
                  <a:lnTo>
                    <a:pt x="893" y="641"/>
                  </a:lnTo>
                  <a:lnTo>
                    <a:pt x="893" y="641"/>
                  </a:lnTo>
                  <a:lnTo>
                    <a:pt x="893" y="641"/>
                  </a:lnTo>
                  <a:lnTo>
                    <a:pt x="893" y="641"/>
                  </a:lnTo>
                  <a:lnTo>
                    <a:pt x="893" y="641"/>
                  </a:lnTo>
                  <a:lnTo>
                    <a:pt x="893" y="641"/>
                  </a:lnTo>
                  <a:lnTo>
                    <a:pt x="895" y="643"/>
                  </a:lnTo>
                  <a:lnTo>
                    <a:pt x="893" y="643"/>
                  </a:lnTo>
                  <a:lnTo>
                    <a:pt x="893" y="643"/>
                  </a:lnTo>
                  <a:lnTo>
                    <a:pt x="893" y="646"/>
                  </a:lnTo>
                  <a:lnTo>
                    <a:pt x="893" y="646"/>
                  </a:lnTo>
                  <a:lnTo>
                    <a:pt x="891" y="648"/>
                  </a:lnTo>
                  <a:lnTo>
                    <a:pt x="891" y="648"/>
                  </a:lnTo>
                  <a:lnTo>
                    <a:pt x="891" y="648"/>
                  </a:lnTo>
                  <a:lnTo>
                    <a:pt x="891" y="648"/>
                  </a:lnTo>
                  <a:lnTo>
                    <a:pt x="891" y="650"/>
                  </a:lnTo>
                  <a:lnTo>
                    <a:pt x="891" y="650"/>
                  </a:lnTo>
                  <a:lnTo>
                    <a:pt x="889" y="650"/>
                  </a:lnTo>
                  <a:lnTo>
                    <a:pt x="889" y="650"/>
                  </a:lnTo>
                  <a:lnTo>
                    <a:pt x="891" y="652"/>
                  </a:lnTo>
                  <a:lnTo>
                    <a:pt x="891" y="652"/>
                  </a:lnTo>
                  <a:lnTo>
                    <a:pt x="893" y="654"/>
                  </a:lnTo>
                  <a:lnTo>
                    <a:pt x="895" y="654"/>
                  </a:lnTo>
                  <a:lnTo>
                    <a:pt x="895" y="654"/>
                  </a:lnTo>
                  <a:lnTo>
                    <a:pt x="895" y="656"/>
                  </a:lnTo>
                  <a:lnTo>
                    <a:pt x="895" y="658"/>
                  </a:lnTo>
                  <a:lnTo>
                    <a:pt x="895" y="658"/>
                  </a:lnTo>
                  <a:lnTo>
                    <a:pt x="895" y="660"/>
                  </a:lnTo>
                  <a:lnTo>
                    <a:pt x="897" y="662"/>
                  </a:lnTo>
                  <a:lnTo>
                    <a:pt x="899" y="662"/>
                  </a:lnTo>
                  <a:lnTo>
                    <a:pt x="901" y="662"/>
                  </a:lnTo>
                  <a:lnTo>
                    <a:pt x="905" y="660"/>
                  </a:lnTo>
                  <a:lnTo>
                    <a:pt x="909" y="658"/>
                  </a:lnTo>
                  <a:lnTo>
                    <a:pt x="916" y="656"/>
                  </a:lnTo>
                  <a:lnTo>
                    <a:pt x="918" y="654"/>
                  </a:lnTo>
                  <a:lnTo>
                    <a:pt x="920" y="654"/>
                  </a:lnTo>
                  <a:lnTo>
                    <a:pt x="920" y="654"/>
                  </a:lnTo>
                  <a:lnTo>
                    <a:pt x="922" y="654"/>
                  </a:lnTo>
                  <a:lnTo>
                    <a:pt x="922" y="652"/>
                  </a:lnTo>
                  <a:lnTo>
                    <a:pt x="922" y="652"/>
                  </a:lnTo>
                  <a:lnTo>
                    <a:pt x="922" y="652"/>
                  </a:lnTo>
                  <a:lnTo>
                    <a:pt x="926" y="652"/>
                  </a:lnTo>
                  <a:lnTo>
                    <a:pt x="928" y="650"/>
                  </a:lnTo>
                  <a:lnTo>
                    <a:pt x="930" y="650"/>
                  </a:lnTo>
                  <a:lnTo>
                    <a:pt x="930" y="648"/>
                  </a:lnTo>
                  <a:lnTo>
                    <a:pt x="930" y="648"/>
                  </a:lnTo>
                  <a:lnTo>
                    <a:pt x="932" y="646"/>
                  </a:lnTo>
                  <a:lnTo>
                    <a:pt x="932" y="646"/>
                  </a:lnTo>
                  <a:lnTo>
                    <a:pt x="932" y="643"/>
                  </a:lnTo>
                  <a:lnTo>
                    <a:pt x="934" y="643"/>
                  </a:lnTo>
                  <a:lnTo>
                    <a:pt x="934" y="643"/>
                  </a:lnTo>
                  <a:lnTo>
                    <a:pt x="936" y="643"/>
                  </a:lnTo>
                  <a:lnTo>
                    <a:pt x="936" y="641"/>
                  </a:lnTo>
                  <a:lnTo>
                    <a:pt x="936" y="641"/>
                  </a:lnTo>
                  <a:lnTo>
                    <a:pt x="936" y="641"/>
                  </a:lnTo>
                  <a:lnTo>
                    <a:pt x="936" y="639"/>
                  </a:lnTo>
                  <a:lnTo>
                    <a:pt x="936" y="639"/>
                  </a:lnTo>
                  <a:lnTo>
                    <a:pt x="936" y="637"/>
                  </a:lnTo>
                  <a:lnTo>
                    <a:pt x="936" y="637"/>
                  </a:lnTo>
                  <a:lnTo>
                    <a:pt x="936" y="637"/>
                  </a:lnTo>
                  <a:lnTo>
                    <a:pt x="938" y="635"/>
                  </a:lnTo>
                  <a:lnTo>
                    <a:pt x="938" y="637"/>
                  </a:lnTo>
                  <a:lnTo>
                    <a:pt x="938" y="637"/>
                  </a:lnTo>
                  <a:lnTo>
                    <a:pt x="936" y="637"/>
                  </a:lnTo>
                  <a:lnTo>
                    <a:pt x="936" y="639"/>
                  </a:lnTo>
                  <a:lnTo>
                    <a:pt x="936" y="643"/>
                  </a:lnTo>
                  <a:lnTo>
                    <a:pt x="936" y="643"/>
                  </a:lnTo>
                  <a:lnTo>
                    <a:pt x="936" y="643"/>
                  </a:lnTo>
                  <a:lnTo>
                    <a:pt x="934" y="646"/>
                  </a:lnTo>
                  <a:lnTo>
                    <a:pt x="934" y="646"/>
                  </a:lnTo>
                  <a:lnTo>
                    <a:pt x="932" y="646"/>
                  </a:lnTo>
                  <a:lnTo>
                    <a:pt x="932" y="646"/>
                  </a:lnTo>
                  <a:lnTo>
                    <a:pt x="932" y="648"/>
                  </a:lnTo>
                  <a:lnTo>
                    <a:pt x="932" y="648"/>
                  </a:lnTo>
                  <a:lnTo>
                    <a:pt x="932" y="648"/>
                  </a:lnTo>
                  <a:lnTo>
                    <a:pt x="932" y="648"/>
                  </a:lnTo>
                  <a:lnTo>
                    <a:pt x="932" y="650"/>
                  </a:lnTo>
                  <a:lnTo>
                    <a:pt x="932" y="650"/>
                  </a:lnTo>
                  <a:lnTo>
                    <a:pt x="932" y="650"/>
                  </a:lnTo>
                  <a:lnTo>
                    <a:pt x="932" y="650"/>
                  </a:lnTo>
                  <a:lnTo>
                    <a:pt x="932" y="652"/>
                  </a:lnTo>
                  <a:lnTo>
                    <a:pt x="930" y="656"/>
                  </a:lnTo>
                  <a:lnTo>
                    <a:pt x="930" y="656"/>
                  </a:lnTo>
                  <a:lnTo>
                    <a:pt x="930" y="658"/>
                  </a:lnTo>
                  <a:lnTo>
                    <a:pt x="932" y="658"/>
                  </a:lnTo>
                  <a:lnTo>
                    <a:pt x="932" y="658"/>
                  </a:lnTo>
                  <a:lnTo>
                    <a:pt x="934" y="658"/>
                  </a:lnTo>
                  <a:lnTo>
                    <a:pt x="934" y="658"/>
                  </a:lnTo>
                  <a:lnTo>
                    <a:pt x="932" y="658"/>
                  </a:lnTo>
                  <a:lnTo>
                    <a:pt x="932" y="658"/>
                  </a:lnTo>
                  <a:lnTo>
                    <a:pt x="930" y="658"/>
                  </a:lnTo>
                  <a:lnTo>
                    <a:pt x="928" y="660"/>
                  </a:lnTo>
                  <a:lnTo>
                    <a:pt x="928" y="660"/>
                  </a:lnTo>
                  <a:lnTo>
                    <a:pt x="924" y="662"/>
                  </a:lnTo>
                  <a:lnTo>
                    <a:pt x="922" y="666"/>
                  </a:lnTo>
                  <a:lnTo>
                    <a:pt x="922" y="668"/>
                  </a:lnTo>
                  <a:lnTo>
                    <a:pt x="920" y="668"/>
                  </a:lnTo>
                  <a:lnTo>
                    <a:pt x="920" y="668"/>
                  </a:lnTo>
                  <a:lnTo>
                    <a:pt x="918" y="670"/>
                  </a:lnTo>
                  <a:lnTo>
                    <a:pt x="916" y="676"/>
                  </a:lnTo>
                  <a:lnTo>
                    <a:pt x="916" y="678"/>
                  </a:lnTo>
                  <a:lnTo>
                    <a:pt x="916" y="680"/>
                  </a:lnTo>
                  <a:lnTo>
                    <a:pt x="916" y="680"/>
                  </a:lnTo>
                  <a:lnTo>
                    <a:pt x="916" y="682"/>
                  </a:lnTo>
                  <a:lnTo>
                    <a:pt x="918" y="682"/>
                  </a:lnTo>
                  <a:lnTo>
                    <a:pt x="918" y="684"/>
                  </a:lnTo>
                  <a:lnTo>
                    <a:pt x="918" y="682"/>
                  </a:lnTo>
                  <a:lnTo>
                    <a:pt x="920" y="682"/>
                  </a:lnTo>
                  <a:lnTo>
                    <a:pt x="922" y="682"/>
                  </a:lnTo>
                  <a:lnTo>
                    <a:pt x="926" y="684"/>
                  </a:lnTo>
                  <a:lnTo>
                    <a:pt x="926" y="684"/>
                  </a:lnTo>
                  <a:lnTo>
                    <a:pt x="926" y="687"/>
                  </a:lnTo>
                  <a:lnTo>
                    <a:pt x="926" y="687"/>
                  </a:lnTo>
                  <a:lnTo>
                    <a:pt x="926" y="687"/>
                  </a:lnTo>
                  <a:lnTo>
                    <a:pt x="926" y="687"/>
                  </a:lnTo>
                  <a:lnTo>
                    <a:pt x="926" y="684"/>
                  </a:lnTo>
                  <a:lnTo>
                    <a:pt x="926" y="684"/>
                  </a:lnTo>
                  <a:lnTo>
                    <a:pt x="922" y="684"/>
                  </a:lnTo>
                  <a:lnTo>
                    <a:pt x="920" y="684"/>
                  </a:lnTo>
                  <a:lnTo>
                    <a:pt x="920" y="684"/>
                  </a:lnTo>
                  <a:lnTo>
                    <a:pt x="920" y="684"/>
                  </a:lnTo>
                  <a:lnTo>
                    <a:pt x="918" y="687"/>
                  </a:lnTo>
                  <a:lnTo>
                    <a:pt x="918" y="687"/>
                  </a:lnTo>
                  <a:lnTo>
                    <a:pt x="918" y="687"/>
                  </a:lnTo>
                  <a:lnTo>
                    <a:pt x="916" y="687"/>
                  </a:lnTo>
                  <a:lnTo>
                    <a:pt x="916" y="687"/>
                  </a:lnTo>
                  <a:lnTo>
                    <a:pt x="916" y="687"/>
                  </a:lnTo>
                  <a:lnTo>
                    <a:pt x="913" y="687"/>
                  </a:lnTo>
                  <a:lnTo>
                    <a:pt x="913" y="689"/>
                  </a:lnTo>
                  <a:lnTo>
                    <a:pt x="913" y="689"/>
                  </a:lnTo>
                  <a:lnTo>
                    <a:pt x="913" y="691"/>
                  </a:lnTo>
                  <a:lnTo>
                    <a:pt x="913" y="693"/>
                  </a:lnTo>
                  <a:lnTo>
                    <a:pt x="913" y="697"/>
                  </a:lnTo>
                  <a:lnTo>
                    <a:pt x="911" y="699"/>
                  </a:lnTo>
                  <a:lnTo>
                    <a:pt x="911" y="701"/>
                  </a:lnTo>
                  <a:lnTo>
                    <a:pt x="911" y="705"/>
                  </a:lnTo>
                  <a:lnTo>
                    <a:pt x="909" y="707"/>
                  </a:lnTo>
                  <a:lnTo>
                    <a:pt x="909" y="709"/>
                  </a:lnTo>
                  <a:lnTo>
                    <a:pt x="909" y="709"/>
                  </a:lnTo>
                  <a:lnTo>
                    <a:pt x="909" y="711"/>
                  </a:lnTo>
                  <a:lnTo>
                    <a:pt x="909" y="711"/>
                  </a:lnTo>
                  <a:lnTo>
                    <a:pt x="909" y="713"/>
                  </a:lnTo>
                  <a:lnTo>
                    <a:pt x="909" y="713"/>
                  </a:lnTo>
                  <a:lnTo>
                    <a:pt x="909" y="713"/>
                  </a:lnTo>
                  <a:lnTo>
                    <a:pt x="909" y="715"/>
                  </a:lnTo>
                  <a:lnTo>
                    <a:pt x="911" y="715"/>
                  </a:lnTo>
                  <a:lnTo>
                    <a:pt x="911" y="715"/>
                  </a:lnTo>
                  <a:lnTo>
                    <a:pt x="911" y="713"/>
                  </a:lnTo>
                  <a:lnTo>
                    <a:pt x="911" y="713"/>
                  </a:lnTo>
                  <a:lnTo>
                    <a:pt x="911" y="713"/>
                  </a:lnTo>
                  <a:lnTo>
                    <a:pt x="911" y="713"/>
                  </a:lnTo>
                  <a:lnTo>
                    <a:pt x="911" y="713"/>
                  </a:lnTo>
                  <a:lnTo>
                    <a:pt x="911" y="713"/>
                  </a:lnTo>
                  <a:lnTo>
                    <a:pt x="911" y="713"/>
                  </a:lnTo>
                  <a:lnTo>
                    <a:pt x="911" y="715"/>
                  </a:lnTo>
                  <a:lnTo>
                    <a:pt x="911" y="715"/>
                  </a:lnTo>
                  <a:lnTo>
                    <a:pt x="911" y="715"/>
                  </a:lnTo>
                  <a:lnTo>
                    <a:pt x="911" y="715"/>
                  </a:lnTo>
                  <a:lnTo>
                    <a:pt x="911" y="715"/>
                  </a:lnTo>
                  <a:lnTo>
                    <a:pt x="913" y="717"/>
                  </a:lnTo>
                  <a:lnTo>
                    <a:pt x="913" y="717"/>
                  </a:lnTo>
                  <a:lnTo>
                    <a:pt x="911" y="719"/>
                  </a:lnTo>
                  <a:lnTo>
                    <a:pt x="911" y="721"/>
                  </a:lnTo>
                  <a:lnTo>
                    <a:pt x="911" y="721"/>
                  </a:lnTo>
                  <a:lnTo>
                    <a:pt x="913" y="721"/>
                  </a:lnTo>
                  <a:lnTo>
                    <a:pt x="913" y="721"/>
                  </a:lnTo>
                  <a:lnTo>
                    <a:pt x="913" y="721"/>
                  </a:lnTo>
                  <a:lnTo>
                    <a:pt x="913" y="721"/>
                  </a:lnTo>
                  <a:lnTo>
                    <a:pt x="913" y="721"/>
                  </a:lnTo>
                  <a:lnTo>
                    <a:pt x="913" y="721"/>
                  </a:lnTo>
                  <a:lnTo>
                    <a:pt x="918" y="721"/>
                  </a:lnTo>
                  <a:lnTo>
                    <a:pt x="918" y="721"/>
                  </a:lnTo>
                  <a:lnTo>
                    <a:pt x="916" y="719"/>
                  </a:lnTo>
                  <a:lnTo>
                    <a:pt x="916" y="719"/>
                  </a:lnTo>
                  <a:lnTo>
                    <a:pt x="918" y="717"/>
                  </a:lnTo>
                  <a:lnTo>
                    <a:pt x="918" y="717"/>
                  </a:lnTo>
                  <a:lnTo>
                    <a:pt x="918" y="717"/>
                  </a:lnTo>
                  <a:lnTo>
                    <a:pt x="918" y="717"/>
                  </a:lnTo>
                  <a:lnTo>
                    <a:pt x="918" y="719"/>
                  </a:lnTo>
                  <a:lnTo>
                    <a:pt x="918" y="719"/>
                  </a:lnTo>
                  <a:lnTo>
                    <a:pt x="918" y="719"/>
                  </a:lnTo>
                  <a:lnTo>
                    <a:pt x="918" y="719"/>
                  </a:lnTo>
                  <a:lnTo>
                    <a:pt x="918" y="721"/>
                  </a:lnTo>
                  <a:lnTo>
                    <a:pt x="918" y="721"/>
                  </a:lnTo>
                  <a:lnTo>
                    <a:pt x="918" y="721"/>
                  </a:lnTo>
                  <a:lnTo>
                    <a:pt x="918" y="721"/>
                  </a:lnTo>
                  <a:lnTo>
                    <a:pt x="916" y="721"/>
                  </a:lnTo>
                  <a:lnTo>
                    <a:pt x="916" y="721"/>
                  </a:lnTo>
                  <a:lnTo>
                    <a:pt x="913" y="723"/>
                  </a:lnTo>
                  <a:lnTo>
                    <a:pt x="913" y="723"/>
                  </a:lnTo>
                  <a:lnTo>
                    <a:pt x="913" y="721"/>
                  </a:lnTo>
                  <a:lnTo>
                    <a:pt x="909" y="721"/>
                  </a:lnTo>
                  <a:lnTo>
                    <a:pt x="909" y="721"/>
                  </a:lnTo>
                  <a:lnTo>
                    <a:pt x="911" y="721"/>
                  </a:lnTo>
                  <a:lnTo>
                    <a:pt x="909" y="719"/>
                  </a:lnTo>
                  <a:lnTo>
                    <a:pt x="909" y="717"/>
                  </a:lnTo>
                  <a:lnTo>
                    <a:pt x="909" y="717"/>
                  </a:lnTo>
                  <a:lnTo>
                    <a:pt x="909" y="717"/>
                  </a:lnTo>
                  <a:lnTo>
                    <a:pt x="909" y="717"/>
                  </a:lnTo>
                  <a:lnTo>
                    <a:pt x="909" y="717"/>
                  </a:lnTo>
                  <a:lnTo>
                    <a:pt x="907" y="717"/>
                  </a:lnTo>
                  <a:lnTo>
                    <a:pt x="907" y="717"/>
                  </a:lnTo>
                  <a:lnTo>
                    <a:pt x="905" y="719"/>
                  </a:lnTo>
                  <a:lnTo>
                    <a:pt x="903" y="721"/>
                  </a:lnTo>
                  <a:lnTo>
                    <a:pt x="901" y="721"/>
                  </a:lnTo>
                  <a:lnTo>
                    <a:pt x="901" y="723"/>
                  </a:lnTo>
                  <a:lnTo>
                    <a:pt x="899" y="723"/>
                  </a:lnTo>
                  <a:lnTo>
                    <a:pt x="899" y="725"/>
                  </a:lnTo>
                  <a:lnTo>
                    <a:pt x="897" y="725"/>
                  </a:lnTo>
                  <a:lnTo>
                    <a:pt x="897" y="725"/>
                  </a:lnTo>
                  <a:lnTo>
                    <a:pt x="899" y="725"/>
                  </a:lnTo>
                  <a:lnTo>
                    <a:pt x="899" y="725"/>
                  </a:lnTo>
                  <a:lnTo>
                    <a:pt x="899" y="728"/>
                  </a:lnTo>
                  <a:lnTo>
                    <a:pt x="895" y="728"/>
                  </a:lnTo>
                  <a:lnTo>
                    <a:pt x="893" y="730"/>
                  </a:lnTo>
                  <a:lnTo>
                    <a:pt x="891" y="730"/>
                  </a:lnTo>
                  <a:lnTo>
                    <a:pt x="891" y="730"/>
                  </a:lnTo>
                  <a:lnTo>
                    <a:pt x="883" y="740"/>
                  </a:lnTo>
                  <a:lnTo>
                    <a:pt x="881" y="742"/>
                  </a:lnTo>
                  <a:lnTo>
                    <a:pt x="881" y="744"/>
                  </a:lnTo>
                  <a:lnTo>
                    <a:pt x="881" y="744"/>
                  </a:lnTo>
                  <a:lnTo>
                    <a:pt x="879" y="746"/>
                  </a:lnTo>
                  <a:lnTo>
                    <a:pt x="879" y="746"/>
                  </a:lnTo>
                  <a:lnTo>
                    <a:pt x="879" y="748"/>
                  </a:lnTo>
                  <a:lnTo>
                    <a:pt x="879" y="750"/>
                  </a:lnTo>
                  <a:lnTo>
                    <a:pt x="879" y="752"/>
                  </a:lnTo>
                  <a:lnTo>
                    <a:pt x="881" y="754"/>
                  </a:lnTo>
                  <a:lnTo>
                    <a:pt x="881" y="754"/>
                  </a:lnTo>
                  <a:lnTo>
                    <a:pt x="881" y="754"/>
                  </a:lnTo>
                  <a:lnTo>
                    <a:pt x="881" y="754"/>
                  </a:lnTo>
                  <a:lnTo>
                    <a:pt x="881" y="758"/>
                  </a:lnTo>
                  <a:lnTo>
                    <a:pt x="881" y="756"/>
                  </a:lnTo>
                  <a:lnTo>
                    <a:pt x="879" y="756"/>
                  </a:lnTo>
                  <a:lnTo>
                    <a:pt x="879" y="756"/>
                  </a:lnTo>
                  <a:lnTo>
                    <a:pt x="879" y="756"/>
                  </a:lnTo>
                  <a:lnTo>
                    <a:pt x="877" y="756"/>
                  </a:lnTo>
                  <a:lnTo>
                    <a:pt x="877" y="756"/>
                  </a:lnTo>
                  <a:lnTo>
                    <a:pt x="877" y="756"/>
                  </a:lnTo>
                  <a:lnTo>
                    <a:pt x="875" y="756"/>
                  </a:lnTo>
                  <a:lnTo>
                    <a:pt x="875" y="756"/>
                  </a:lnTo>
                  <a:lnTo>
                    <a:pt x="875" y="754"/>
                  </a:lnTo>
                  <a:lnTo>
                    <a:pt x="873" y="754"/>
                  </a:lnTo>
                  <a:lnTo>
                    <a:pt x="873" y="752"/>
                  </a:lnTo>
                  <a:lnTo>
                    <a:pt x="873" y="752"/>
                  </a:lnTo>
                  <a:lnTo>
                    <a:pt x="870" y="754"/>
                  </a:lnTo>
                  <a:lnTo>
                    <a:pt x="870" y="754"/>
                  </a:lnTo>
                  <a:lnTo>
                    <a:pt x="870" y="756"/>
                  </a:lnTo>
                  <a:lnTo>
                    <a:pt x="870" y="756"/>
                  </a:lnTo>
                  <a:lnTo>
                    <a:pt x="870" y="756"/>
                  </a:lnTo>
                  <a:lnTo>
                    <a:pt x="870" y="754"/>
                  </a:lnTo>
                  <a:lnTo>
                    <a:pt x="868" y="754"/>
                  </a:lnTo>
                  <a:lnTo>
                    <a:pt x="870" y="754"/>
                  </a:lnTo>
                  <a:lnTo>
                    <a:pt x="870" y="754"/>
                  </a:lnTo>
                  <a:lnTo>
                    <a:pt x="873" y="752"/>
                  </a:lnTo>
                  <a:lnTo>
                    <a:pt x="875" y="750"/>
                  </a:lnTo>
                  <a:lnTo>
                    <a:pt x="875" y="750"/>
                  </a:lnTo>
                  <a:lnTo>
                    <a:pt x="875" y="750"/>
                  </a:lnTo>
                  <a:lnTo>
                    <a:pt x="873" y="752"/>
                  </a:lnTo>
                  <a:lnTo>
                    <a:pt x="870" y="752"/>
                  </a:lnTo>
                  <a:lnTo>
                    <a:pt x="868" y="754"/>
                  </a:lnTo>
                  <a:lnTo>
                    <a:pt x="868" y="756"/>
                  </a:lnTo>
                  <a:lnTo>
                    <a:pt x="864" y="756"/>
                  </a:lnTo>
                  <a:lnTo>
                    <a:pt x="864" y="756"/>
                  </a:lnTo>
                  <a:lnTo>
                    <a:pt x="862" y="758"/>
                  </a:lnTo>
                  <a:lnTo>
                    <a:pt x="862" y="758"/>
                  </a:lnTo>
                  <a:lnTo>
                    <a:pt x="862" y="758"/>
                  </a:lnTo>
                  <a:lnTo>
                    <a:pt x="864" y="760"/>
                  </a:lnTo>
                  <a:lnTo>
                    <a:pt x="864" y="760"/>
                  </a:lnTo>
                  <a:lnTo>
                    <a:pt x="862" y="760"/>
                  </a:lnTo>
                  <a:lnTo>
                    <a:pt x="862" y="760"/>
                  </a:lnTo>
                  <a:lnTo>
                    <a:pt x="860" y="760"/>
                  </a:lnTo>
                  <a:lnTo>
                    <a:pt x="860" y="760"/>
                  </a:lnTo>
                  <a:lnTo>
                    <a:pt x="856" y="762"/>
                  </a:lnTo>
                  <a:lnTo>
                    <a:pt x="856" y="762"/>
                  </a:lnTo>
                  <a:lnTo>
                    <a:pt x="854" y="762"/>
                  </a:lnTo>
                  <a:lnTo>
                    <a:pt x="854" y="762"/>
                  </a:lnTo>
                  <a:lnTo>
                    <a:pt x="854" y="762"/>
                  </a:lnTo>
                  <a:lnTo>
                    <a:pt x="856" y="762"/>
                  </a:lnTo>
                  <a:lnTo>
                    <a:pt x="848" y="764"/>
                  </a:lnTo>
                  <a:lnTo>
                    <a:pt x="846" y="766"/>
                  </a:lnTo>
                  <a:lnTo>
                    <a:pt x="842" y="768"/>
                  </a:lnTo>
                  <a:lnTo>
                    <a:pt x="840" y="771"/>
                  </a:lnTo>
                  <a:lnTo>
                    <a:pt x="834" y="773"/>
                  </a:lnTo>
                  <a:lnTo>
                    <a:pt x="834" y="775"/>
                  </a:lnTo>
                  <a:lnTo>
                    <a:pt x="830" y="779"/>
                  </a:lnTo>
                  <a:lnTo>
                    <a:pt x="827" y="781"/>
                  </a:lnTo>
                  <a:lnTo>
                    <a:pt x="827" y="781"/>
                  </a:lnTo>
                  <a:lnTo>
                    <a:pt x="827" y="783"/>
                  </a:lnTo>
                  <a:lnTo>
                    <a:pt x="825" y="783"/>
                  </a:lnTo>
                  <a:lnTo>
                    <a:pt x="825" y="783"/>
                  </a:lnTo>
                  <a:lnTo>
                    <a:pt x="825" y="785"/>
                  </a:lnTo>
                  <a:lnTo>
                    <a:pt x="825" y="787"/>
                  </a:lnTo>
                  <a:lnTo>
                    <a:pt x="825" y="787"/>
                  </a:lnTo>
                  <a:lnTo>
                    <a:pt x="823" y="789"/>
                  </a:lnTo>
                  <a:lnTo>
                    <a:pt x="823" y="791"/>
                  </a:lnTo>
                  <a:lnTo>
                    <a:pt x="821" y="791"/>
                  </a:lnTo>
                  <a:lnTo>
                    <a:pt x="821" y="793"/>
                  </a:lnTo>
                  <a:lnTo>
                    <a:pt x="821" y="793"/>
                  </a:lnTo>
                  <a:lnTo>
                    <a:pt x="821" y="793"/>
                  </a:lnTo>
                  <a:lnTo>
                    <a:pt x="823" y="793"/>
                  </a:lnTo>
                  <a:lnTo>
                    <a:pt x="823" y="793"/>
                  </a:lnTo>
                  <a:lnTo>
                    <a:pt x="821" y="795"/>
                  </a:lnTo>
                  <a:lnTo>
                    <a:pt x="821" y="795"/>
                  </a:lnTo>
                  <a:lnTo>
                    <a:pt x="821" y="795"/>
                  </a:lnTo>
                  <a:lnTo>
                    <a:pt x="821" y="795"/>
                  </a:lnTo>
                  <a:lnTo>
                    <a:pt x="821" y="795"/>
                  </a:lnTo>
                  <a:lnTo>
                    <a:pt x="823" y="795"/>
                  </a:lnTo>
                  <a:lnTo>
                    <a:pt x="827" y="799"/>
                  </a:lnTo>
                  <a:lnTo>
                    <a:pt x="830" y="801"/>
                  </a:lnTo>
                  <a:lnTo>
                    <a:pt x="830" y="801"/>
                  </a:lnTo>
                  <a:lnTo>
                    <a:pt x="830" y="801"/>
                  </a:lnTo>
                  <a:lnTo>
                    <a:pt x="827" y="801"/>
                  </a:lnTo>
                  <a:lnTo>
                    <a:pt x="827" y="803"/>
                  </a:lnTo>
                  <a:lnTo>
                    <a:pt x="830" y="803"/>
                  </a:lnTo>
                  <a:lnTo>
                    <a:pt x="830" y="803"/>
                  </a:lnTo>
                  <a:lnTo>
                    <a:pt x="830" y="805"/>
                  </a:lnTo>
                  <a:lnTo>
                    <a:pt x="830" y="805"/>
                  </a:lnTo>
                  <a:lnTo>
                    <a:pt x="830" y="805"/>
                  </a:lnTo>
                  <a:lnTo>
                    <a:pt x="827" y="805"/>
                  </a:lnTo>
                  <a:lnTo>
                    <a:pt x="825" y="803"/>
                  </a:lnTo>
                  <a:lnTo>
                    <a:pt x="825" y="803"/>
                  </a:lnTo>
                  <a:lnTo>
                    <a:pt x="825" y="803"/>
                  </a:lnTo>
                  <a:lnTo>
                    <a:pt x="825" y="803"/>
                  </a:lnTo>
                  <a:lnTo>
                    <a:pt x="825" y="803"/>
                  </a:lnTo>
                  <a:lnTo>
                    <a:pt x="825" y="803"/>
                  </a:lnTo>
                  <a:lnTo>
                    <a:pt x="823" y="803"/>
                  </a:lnTo>
                  <a:lnTo>
                    <a:pt x="823" y="803"/>
                  </a:lnTo>
                  <a:lnTo>
                    <a:pt x="823" y="803"/>
                  </a:lnTo>
                  <a:lnTo>
                    <a:pt x="823" y="801"/>
                  </a:lnTo>
                  <a:lnTo>
                    <a:pt x="823" y="801"/>
                  </a:lnTo>
                  <a:lnTo>
                    <a:pt x="823" y="801"/>
                  </a:lnTo>
                  <a:lnTo>
                    <a:pt x="823" y="799"/>
                  </a:lnTo>
                  <a:lnTo>
                    <a:pt x="823" y="799"/>
                  </a:lnTo>
                  <a:lnTo>
                    <a:pt x="817" y="799"/>
                  </a:lnTo>
                  <a:lnTo>
                    <a:pt x="817" y="799"/>
                  </a:lnTo>
                  <a:lnTo>
                    <a:pt x="815" y="797"/>
                  </a:lnTo>
                  <a:lnTo>
                    <a:pt x="815" y="797"/>
                  </a:lnTo>
                  <a:lnTo>
                    <a:pt x="815" y="797"/>
                  </a:lnTo>
                  <a:lnTo>
                    <a:pt x="815" y="797"/>
                  </a:lnTo>
                  <a:lnTo>
                    <a:pt x="815" y="797"/>
                  </a:lnTo>
                  <a:lnTo>
                    <a:pt x="815" y="797"/>
                  </a:lnTo>
                  <a:lnTo>
                    <a:pt x="815" y="797"/>
                  </a:lnTo>
                  <a:lnTo>
                    <a:pt x="815" y="797"/>
                  </a:lnTo>
                  <a:lnTo>
                    <a:pt x="815" y="799"/>
                  </a:lnTo>
                  <a:lnTo>
                    <a:pt x="815" y="799"/>
                  </a:lnTo>
                  <a:lnTo>
                    <a:pt x="815" y="801"/>
                  </a:lnTo>
                  <a:lnTo>
                    <a:pt x="815" y="803"/>
                  </a:lnTo>
                  <a:lnTo>
                    <a:pt x="815" y="803"/>
                  </a:lnTo>
                  <a:lnTo>
                    <a:pt x="817" y="803"/>
                  </a:lnTo>
                  <a:lnTo>
                    <a:pt x="817" y="805"/>
                  </a:lnTo>
                  <a:lnTo>
                    <a:pt x="817" y="805"/>
                  </a:lnTo>
                  <a:lnTo>
                    <a:pt x="817" y="805"/>
                  </a:lnTo>
                  <a:lnTo>
                    <a:pt x="817" y="805"/>
                  </a:lnTo>
                  <a:lnTo>
                    <a:pt x="817" y="805"/>
                  </a:lnTo>
                  <a:lnTo>
                    <a:pt x="817" y="805"/>
                  </a:lnTo>
                  <a:lnTo>
                    <a:pt x="817" y="807"/>
                  </a:lnTo>
                  <a:lnTo>
                    <a:pt x="817" y="807"/>
                  </a:lnTo>
                  <a:lnTo>
                    <a:pt x="817" y="807"/>
                  </a:lnTo>
                  <a:lnTo>
                    <a:pt x="817" y="807"/>
                  </a:lnTo>
                  <a:lnTo>
                    <a:pt x="815" y="805"/>
                  </a:lnTo>
                  <a:lnTo>
                    <a:pt x="815" y="805"/>
                  </a:lnTo>
                  <a:lnTo>
                    <a:pt x="815" y="803"/>
                  </a:lnTo>
                  <a:lnTo>
                    <a:pt x="815" y="805"/>
                  </a:lnTo>
                  <a:lnTo>
                    <a:pt x="813" y="805"/>
                  </a:lnTo>
                  <a:lnTo>
                    <a:pt x="813" y="805"/>
                  </a:lnTo>
                  <a:lnTo>
                    <a:pt x="811" y="801"/>
                  </a:lnTo>
                  <a:lnTo>
                    <a:pt x="811" y="801"/>
                  </a:lnTo>
                  <a:lnTo>
                    <a:pt x="809" y="799"/>
                  </a:lnTo>
                  <a:lnTo>
                    <a:pt x="809" y="799"/>
                  </a:lnTo>
                  <a:lnTo>
                    <a:pt x="809" y="799"/>
                  </a:lnTo>
                  <a:lnTo>
                    <a:pt x="811" y="797"/>
                  </a:lnTo>
                  <a:lnTo>
                    <a:pt x="809" y="797"/>
                  </a:lnTo>
                  <a:lnTo>
                    <a:pt x="809" y="797"/>
                  </a:lnTo>
                  <a:lnTo>
                    <a:pt x="809" y="797"/>
                  </a:lnTo>
                  <a:lnTo>
                    <a:pt x="809" y="797"/>
                  </a:lnTo>
                  <a:lnTo>
                    <a:pt x="809" y="797"/>
                  </a:lnTo>
                  <a:lnTo>
                    <a:pt x="807" y="797"/>
                  </a:lnTo>
                  <a:lnTo>
                    <a:pt x="807" y="795"/>
                  </a:lnTo>
                  <a:lnTo>
                    <a:pt x="809" y="795"/>
                  </a:lnTo>
                  <a:lnTo>
                    <a:pt x="809" y="795"/>
                  </a:lnTo>
                  <a:lnTo>
                    <a:pt x="811" y="795"/>
                  </a:lnTo>
                  <a:lnTo>
                    <a:pt x="811" y="795"/>
                  </a:lnTo>
                  <a:lnTo>
                    <a:pt x="813" y="795"/>
                  </a:lnTo>
                  <a:lnTo>
                    <a:pt x="813" y="795"/>
                  </a:lnTo>
                  <a:lnTo>
                    <a:pt x="813" y="793"/>
                  </a:lnTo>
                  <a:lnTo>
                    <a:pt x="813" y="791"/>
                  </a:lnTo>
                  <a:lnTo>
                    <a:pt x="811" y="791"/>
                  </a:lnTo>
                  <a:lnTo>
                    <a:pt x="811" y="791"/>
                  </a:lnTo>
                  <a:lnTo>
                    <a:pt x="811" y="793"/>
                  </a:lnTo>
                  <a:lnTo>
                    <a:pt x="809" y="793"/>
                  </a:lnTo>
                  <a:lnTo>
                    <a:pt x="807" y="793"/>
                  </a:lnTo>
                  <a:lnTo>
                    <a:pt x="807" y="793"/>
                  </a:lnTo>
                  <a:lnTo>
                    <a:pt x="807" y="793"/>
                  </a:lnTo>
                  <a:lnTo>
                    <a:pt x="805" y="793"/>
                  </a:lnTo>
                  <a:lnTo>
                    <a:pt x="805" y="793"/>
                  </a:lnTo>
                  <a:lnTo>
                    <a:pt x="805" y="793"/>
                  </a:lnTo>
                  <a:lnTo>
                    <a:pt x="805" y="793"/>
                  </a:lnTo>
                  <a:lnTo>
                    <a:pt x="803" y="793"/>
                  </a:lnTo>
                  <a:lnTo>
                    <a:pt x="799" y="793"/>
                  </a:lnTo>
                  <a:lnTo>
                    <a:pt x="801" y="791"/>
                  </a:lnTo>
                  <a:lnTo>
                    <a:pt x="801" y="791"/>
                  </a:lnTo>
                  <a:lnTo>
                    <a:pt x="803" y="791"/>
                  </a:lnTo>
                  <a:lnTo>
                    <a:pt x="805" y="789"/>
                  </a:lnTo>
                  <a:lnTo>
                    <a:pt x="799" y="791"/>
                  </a:lnTo>
                  <a:lnTo>
                    <a:pt x="799" y="791"/>
                  </a:lnTo>
                  <a:lnTo>
                    <a:pt x="797" y="791"/>
                  </a:lnTo>
                  <a:lnTo>
                    <a:pt x="795" y="791"/>
                  </a:lnTo>
                  <a:lnTo>
                    <a:pt x="793" y="793"/>
                  </a:lnTo>
                  <a:lnTo>
                    <a:pt x="791" y="793"/>
                  </a:lnTo>
                  <a:lnTo>
                    <a:pt x="789" y="793"/>
                  </a:lnTo>
                  <a:lnTo>
                    <a:pt x="786" y="793"/>
                  </a:lnTo>
                  <a:lnTo>
                    <a:pt x="784" y="793"/>
                  </a:lnTo>
                  <a:lnTo>
                    <a:pt x="784" y="795"/>
                  </a:lnTo>
                  <a:lnTo>
                    <a:pt x="782" y="797"/>
                  </a:lnTo>
                  <a:lnTo>
                    <a:pt x="782" y="797"/>
                  </a:lnTo>
                  <a:lnTo>
                    <a:pt x="778" y="799"/>
                  </a:lnTo>
                  <a:lnTo>
                    <a:pt x="776" y="799"/>
                  </a:lnTo>
                  <a:lnTo>
                    <a:pt x="776" y="799"/>
                  </a:lnTo>
                  <a:lnTo>
                    <a:pt x="774" y="801"/>
                  </a:lnTo>
                  <a:lnTo>
                    <a:pt x="774" y="801"/>
                  </a:lnTo>
                  <a:lnTo>
                    <a:pt x="772" y="803"/>
                  </a:lnTo>
                  <a:lnTo>
                    <a:pt x="760" y="814"/>
                  </a:lnTo>
                  <a:lnTo>
                    <a:pt x="760" y="814"/>
                  </a:lnTo>
                  <a:lnTo>
                    <a:pt x="760" y="814"/>
                  </a:lnTo>
                  <a:lnTo>
                    <a:pt x="760" y="816"/>
                  </a:lnTo>
                  <a:lnTo>
                    <a:pt x="758" y="816"/>
                  </a:lnTo>
                  <a:lnTo>
                    <a:pt x="760" y="816"/>
                  </a:lnTo>
                  <a:lnTo>
                    <a:pt x="760" y="816"/>
                  </a:lnTo>
                  <a:lnTo>
                    <a:pt x="760" y="814"/>
                  </a:lnTo>
                  <a:lnTo>
                    <a:pt x="762" y="814"/>
                  </a:lnTo>
                  <a:lnTo>
                    <a:pt x="762" y="816"/>
                  </a:lnTo>
                  <a:lnTo>
                    <a:pt x="762" y="816"/>
                  </a:lnTo>
                  <a:lnTo>
                    <a:pt x="762" y="816"/>
                  </a:lnTo>
                  <a:lnTo>
                    <a:pt x="762" y="818"/>
                  </a:lnTo>
                  <a:lnTo>
                    <a:pt x="762" y="818"/>
                  </a:lnTo>
                  <a:lnTo>
                    <a:pt x="762" y="818"/>
                  </a:lnTo>
                  <a:lnTo>
                    <a:pt x="762" y="818"/>
                  </a:lnTo>
                  <a:lnTo>
                    <a:pt x="762" y="818"/>
                  </a:lnTo>
                  <a:lnTo>
                    <a:pt x="762" y="818"/>
                  </a:lnTo>
                  <a:lnTo>
                    <a:pt x="762" y="818"/>
                  </a:lnTo>
                  <a:lnTo>
                    <a:pt x="762" y="818"/>
                  </a:lnTo>
                  <a:lnTo>
                    <a:pt x="762" y="818"/>
                  </a:lnTo>
                  <a:lnTo>
                    <a:pt x="760" y="820"/>
                  </a:lnTo>
                  <a:lnTo>
                    <a:pt x="760" y="820"/>
                  </a:lnTo>
                  <a:lnTo>
                    <a:pt x="760" y="820"/>
                  </a:lnTo>
                  <a:lnTo>
                    <a:pt x="760" y="820"/>
                  </a:lnTo>
                  <a:lnTo>
                    <a:pt x="758" y="820"/>
                  </a:lnTo>
                  <a:lnTo>
                    <a:pt x="758" y="818"/>
                  </a:lnTo>
                  <a:lnTo>
                    <a:pt x="758" y="818"/>
                  </a:lnTo>
                  <a:lnTo>
                    <a:pt x="758" y="818"/>
                  </a:lnTo>
                  <a:lnTo>
                    <a:pt x="756" y="820"/>
                  </a:lnTo>
                  <a:lnTo>
                    <a:pt x="754" y="820"/>
                  </a:lnTo>
                  <a:lnTo>
                    <a:pt x="752" y="822"/>
                  </a:lnTo>
                  <a:lnTo>
                    <a:pt x="752" y="822"/>
                  </a:lnTo>
                  <a:lnTo>
                    <a:pt x="750" y="822"/>
                  </a:lnTo>
                  <a:lnTo>
                    <a:pt x="750" y="824"/>
                  </a:lnTo>
                  <a:lnTo>
                    <a:pt x="750" y="824"/>
                  </a:lnTo>
                  <a:lnTo>
                    <a:pt x="752" y="824"/>
                  </a:lnTo>
                  <a:lnTo>
                    <a:pt x="750" y="826"/>
                  </a:lnTo>
                  <a:lnTo>
                    <a:pt x="750" y="826"/>
                  </a:lnTo>
                  <a:lnTo>
                    <a:pt x="748" y="828"/>
                  </a:lnTo>
                  <a:lnTo>
                    <a:pt x="746" y="828"/>
                  </a:lnTo>
                  <a:lnTo>
                    <a:pt x="746" y="826"/>
                  </a:lnTo>
                  <a:lnTo>
                    <a:pt x="746" y="826"/>
                  </a:lnTo>
                  <a:lnTo>
                    <a:pt x="746" y="826"/>
                  </a:lnTo>
                  <a:lnTo>
                    <a:pt x="746" y="826"/>
                  </a:lnTo>
                  <a:lnTo>
                    <a:pt x="746" y="826"/>
                  </a:lnTo>
                  <a:lnTo>
                    <a:pt x="743" y="826"/>
                  </a:lnTo>
                  <a:lnTo>
                    <a:pt x="743" y="826"/>
                  </a:lnTo>
                  <a:lnTo>
                    <a:pt x="743" y="826"/>
                  </a:lnTo>
                  <a:lnTo>
                    <a:pt x="743" y="824"/>
                  </a:lnTo>
                  <a:lnTo>
                    <a:pt x="746" y="824"/>
                  </a:lnTo>
                  <a:lnTo>
                    <a:pt x="746" y="824"/>
                  </a:lnTo>
                  <a:lnTo>
                    <a:pt x="746" y="824"/>
                  </a:lnTo>
                  <a:lnTo>
                    <a:pt x="746" y="822"/>
                  </a:lnTo>
                  <a:lnTo>
                    <a:pt x="741" y="826"/>
                  </a:lnTo>
                  <a:lnTo>
                    <a:pt x="735" y="828"/>
                  </a:lnTo>
                  <a:lnTo>
                    <a:pt x="735" y="828"/>
                  </a:lnTo>
                  <a:lnTo>
                    <a:pt x="735" y="828"/>
                  </a:lnTo>
                  <a:lnTo>
                    <a:pt x="735" y="828"/>
                  </a:lnTo>
                  <a:lnTo>
                    <a:pt x="735" y="828"/>
                  </a:lnTo>
                  <a:lnTo>
                    <a:pt x="735" y="828"/>
                  </a:lnTo>
                  <a:lnTo>
                    <a:pt x="735" y="830"/>
                  </a:lnTo>
                  <a:lnTo>
                    <a:pt x="735" y="830"/>
                  </a:lnTo>
                  <a:lnTo>
                    <a:pt x="735" y="830"/>
                  </a:lnTo>
                  <a:lnTo>
                    <a:pt x="735" y="832"/>
                  </a:lnTo>
                  <a:lnTo>
                    <a:pt x="735" y="834"/>
                  </a:lnTo>
                  <a:lnTo>
                    <a:pt x="735" y="834"/>
                  </a:lnTo>
                  <a:lnTo>
                    <a:pt x="737" y="836"/>
                  </a:lnTo>
                  <a:lnTo>
                    <a:pt x="737" y="836"/>
                  </a:lnTo>
                  <a:lnTo>
                    <a:pt x="735" y="838"/>
                  </a:lnTo>
                  <a:lnTo>
                    <a:pt x="735" y="836"/>
                  </a:lnTo>
                  <a:lnTo>
                    <a:pt x="735" y="836"/>
                  </a:lnTo>
                  <a:lnTo>
                    <a:pt x="733" y="836"/>
                  </a:lnTo>
                  <a:lnTo>
                    <a:pt x="733" y="838"/>
                  </a:lnTo>
                  <a:lnTo>
                    <a:pt x="735" y="838"/>
                  </a:lnTo>
                  <a:lnTo>
                    <a:pt x="735" y="838"/>
                  </a:lnTo>
                  <a:lnTo>
                    <a:pt x="735" y="838"/>
                  </a:lnTo>
                  <a:lnTo>
                    <a:pt x="735" y="838"/>
                  </a:lnTo>
                  <a:lnTo>
                    <a:pt x="735" y="838"/>
                  </a:lnTo>
                  <a:lnTo>
                    <a:pt x="733" y="838"/>
                  </a:lnTo>
                  <a:lnTo>
                    <a:pt x="733" y="840"/>
                  </a:lnTo>
                  <a:lnTo>
                    <a:pt x="733" y="840"/>
                  </a:lnTo>
                  <a:lnTo>
                    <a:pt x="733" y="840"/>
                  </a:lnTo>
                  <a:lnTo>
                    <a:pt x="733" y="840"/>
                  </a:lnTo>
                  <a:lnTo>
                    <a:pt x="731" y="840"/>
                  </a:lnTo>
                  <a:lnTo>
                    <a:pt x="731" y="842"/>
                  </a:lnTo>
                  <a:lnTo>
                    <a:pt x="733" y="842"/>
                  </a:lnTo>
                  <a:lnTo>
                    <a:pt x="733" y="844"/>
                  </a:lnTo>
                  <a:lnTo>
                    <a:pt x="733" y="844"/>
                  </a:lnTo>
                  <a:lnTo>
                    <a:pt x="733" y="844"/>
                  </a:lnTo>
                  <a:lnTo>
                    <a:pt x="735" y="842"/>
                  </a:lnTo>
                  <a:lnTo>
                    <a:pt x="735" y="842"/>
                  </a:lnTo>
                  <a:lnTo>
                    <a:pt x="737" y="842"/>
                  </a:lnTo>
                  <a:lnTo>
                    <a:pt x="737" y="842"/>
                  </a:lnTo>
                  <a:lnTo>
                    <a:pt x="739" y="840"/>
                  </a:lnTo>
                  <a:lnTo>
                    <a:pt x="739" y="840"/>
                  </a:lnTo>
                  <a:lnTo>
                    <a:pt x="741" y="838"/>
                  </a:lnTo>
                  <a:lnTo>
                    <a:pt x="743" y="838"/>
                  </a:lnTo>
                  <a:lnTo>
                    <a:pt x="743" y="838"/>
                  </a:lnTo>
                  <a:lnTo>
                    <a:pt x="741" y="836"/>
                  </a:lnTo>
                  <a:lnTo>
                    <a:pt x="741" y="836"/>
                  </a:lnTo>
                  <a:lnTo>
                    <a:pt x="741" y="836"/>
                  </a:lnTo>
                  <a:lnTo>
                    <a:pt x="739" y="834"/>
                  </a:lnTo>
                  <a:lnTo>
                    <a:pt x="739" y="834"/>
                  </a:lnTo>
                  <a:lnTo>
                    <a:pt x="737" y="832"/>
                  </a:lnTo>
                  <a:lnTo>
                    <a:pt x="739" y="830"/>
                  </a:lnTo>
                  <a:lnTo>
                    <a:pt x="739" y="830"/>
                  </a:lnTo>
                  <a:lnTo>
                    <a:pt x="737" y="830"/>
                  </a:lnTo>
                  <a:lnTo>
                    <a:pt x="737" y="830"/>
                  </a:lnTo>
                  <a:lnTo>
                    <a:pt x="737" y="830"/>
                  </a:lnTo>
                  <a:lnTo>
                    <a:pt x="739" y="830"/>
                  </a:lnTo>
                  <a:lnTo>
                    <a:pt x="739" y="830"/>
                  </a:lnTo>
                  <a:lnTo>
                    <a:pt x="739" y="830"/>
                  </a:lnTo>
                  <a:lnTo>
                    <a:pt x="739" y="830"/>
                  </a:lnTo>
                  <a:lnTo>
                    <a:pt x="739" y="830"/>
                  </a:lnTo>
                  <a:lnTo>
                    <a:pt x="739" y="828"/>
                  </a:lnTo>
                  <a:lnTo>
                    <a:pt x="739" y="828"/>
                  </a:lnTo>
                  <a:lnTo>
                    <a:pt x="739" y="828"/>
                  </a:lnTo>
                  <a:lnTo>
                    <a:pt x="741" y="828"/>
                  </a:lnTo>
                  <a:lnTo>
                    <a:pt x="741" y="828"/>
                  </a:lnTo>
                  <a:lnTo>
                    <a:pt x="741" y="828"/>
                  </a:lnTo>
                  <a:lnTo>
                    <a:pt x="741" y="830"/>
                  </a:lnTo>
                  <a:lnTo>
                    <a:pt x="741" y="830"/>
                  </a:lnTo>
                  <a:lnTo>
                    <a:pt x="739" y="830"/>
                  </a:lnTo>
                  <a:lnTo>
                    <a:pt x="741" y="830"/>
                  </a:lnTo>
                  <a:lnTo>
                    <a:pt x="741" y="830"/>
                  </a:lnTo>
                  <a:lnTo>
                    <a:pt x="741" y="830"/>
                  </a:lnTo>
                  <a:lnTo>
                    <a:pt x="741" y="830"/>
                  </a:lnTo>
                  <a:lnTo>
                    <a:pt x="743" y="830"/>
                  </a:lnTo>
                  <a:lnTo>
                    <a:pt x="743" y="830"/>
                  </a:lnTo>
                  <a:lnTo>
                    <a:pt x="743" y="830"/>
                  </a:lnTo>
                  <a:lnTo>
                    <a:pt x="743" y="832"/>
                  </a:lnTo>
                  <a:lnTo>
                    <a:pt x="746" y="832"/>
                  </a:lnTo>
                  <a:lnTo>
                    <a:pt x="746" y="834"/>
                  </a:lnTo>
                  <a:lnTo>
                    <a:pt x="746" y="834"/>
                  </a:lnTo>
                  <a:lnTo>
                    <a:pt x="748" y="834"/>
                  </a:lnTo>
                  <a:lnTo>
                    <a:pt x="748" y="834"/>
                  </a:lnTo>
                  <a:lnTo>
                    <a:pt x="746" y="834"/>
                  </a:lnTo>
                  <a:lnTo>
                    <a:pt x="746" y="836"/>
                  </a:lnTo>
                  <a:lnTo>
                    <a:pt x="746" y="836"/>
                  </a:lnTo>
                  <a:lnTo>
                    <a:pt x="746" y="836"/>
                  </a:lnTo>
                  <a:lnTo>
                    <a:pt x="746" y="838"/>
                  </a:lnTo>
                  <a:lnTo>
                    <a:pt x="746" y="838"/>
                  </a:lnTo>
                  <a:lnTo>
                    <a:pt x="746" y="838"/>
                  </a:lnTo>
                  <a:lnTo>
                    <a:pt x="748" y="838"/>
                  </a:lnTo>
                  <a:lnTo>
                    <a:pt x="748" y="840"/>
                  </a:lnTo>
                  <a:lnTo>
                    <a:pt x="750" y="840"/>
                  </a:lnTo>
                  <a:lnTo>
                    <a:pt x="752" y="840"/>
                  </a:lnTo>
                  <a:lnTo>
                    <a:pt x="752" y="840"/>
                  </a:lnTo>
                  <a:lnTo>
                    <a:pt x="752" y="838"/>
                  </a:lnTo>
                  <a:lnTo>
                    <a:pt x="752" y="838"/>
                  </a:lnTo>
                  <a:lnTo>
                    <a:pt x="752" y="838"/>
                  </a:lnTo>
                  <a:lnTo>
                    <a:pt x="752" y="838"/>
                  </a:lnTo>
                  <a:lnTo>
                    <a:pt x="752" y="838"/>
                  </a:lnTo>
                  <a:lnTo>
                    <a:pt x="754" y="836"/>
                  </a:lnTo>
                  <a:lnTo>
                    <a:pt x="754" y="836"/>
                  </a:lnTo>
                  <a:lnTo>
                    <a:pt x="754" y="834"/>
                  </a:lnTo>
                  <a:lnTo>
                    <a:pt x="754" y="834"/>
                  </a:lnTo>
                  <a:lnTo>
                    <a:pt x="756" y="834"/>
                  </a:lnTo>
                  <a:lnTo>
                    <a:pt x="756" y="834"/>
                  </a:lnTo>
                  <a:lnTo>
                    <a:pt x="756" y="836"/>
                  </a:lnTo>
                  <a:lnTo>
                    <a:pt x="756" y="836"/>
                  </a:lnTo>
                  <a:lnTo>
                    <a:pt x="756" y="836"/>
                  </a:lnTo>
                  <a:lnTo>
                    <a:pt x="754" y="836"/>
                  </a:lnTo>
                  <a:lnTo>
                    <a:pt x="756" y="836"/>
                  </a:lnTo>
                  <a:lnTo>
                    <a:pt x="756" y="838"/>
                  </a:lnTo>
                  <a:lnTo>
                    <a:pt x="756" y="838"/>
                  </a:lnTo>
                  <a:lnTo>
                    <a:pt x="758" y="840"/>
                  </a:lnTo>
                  <a:lnTo>
                    <a:pt x="756" y="834"/>
                  </a:lnTo>
                  <a:lnTo>
                    <a:pt x="756" y="832"/>
                  </a:lnTo>
                  <a:lnTo>
                    <a:pt x="756" y="834"/>
                  </a:lnTo>
                  <a:lnTo>
                    <a:pt x="756" y="834"/>
                  </a:lnTo>
                  <a:lnTo>
                    <a:pt x="756" y="832"/>
                  </a:lnTo>
                  <a:lnTo>
                    <a:pt x="756" y="832"/>
                  </a:lnTo>
                  <a:lnTo>
                    <a:pt x="756" y="830"/>
                  </a:lnTo>
                  <a:lnTo>
                    <a:pt x="756" y="830"/>
                  </a:lnTo>
                  <a:lnTo>
                    <a:pt x="756" y="830"/>
                  </a:lnTo>
                  <a:lnTo>
                    <a:pt x="756" y="830"/>
                  </a:lnTo>
                  <a:lnTo>
                    <a:pt x="756" y="830"/>
                  </a:lnTo>
                  <a:lnTo>
                    <a:pt x="756" y="830"/>
                  </a:lnTo>
                  <a:lnTo>
                    <a:pt x="756" y="830"/>
                  </a:lnTo>
                  <a:lnTo>
                    <a:pt x="756" y="830"/>
                  </a:lnTo>
                  <a:lnTo>
                    <a:pt x="758" y="830"/>
                  </a:lnTo>
                  <a:lnTo>
                    <a:pt x="758" y="830"/>
                  </a:lnTo>
                  <a:lnTo>
                    <a:pt x="758" y="830"/>
                  </a:lnTo>
                  <a:lnTo>
                    <a:pt x="758" y="830"/>
                  </a:lnTo>
                  <a:lnTo>
                    <a:pt x="758" y="828"/>
                  </a:lnTo>
                  <a:lnTo>
                    <a:pt x="756" y="828"/>
                  </a:lnTo>
                  <a:lnTo>
                    <a:pt x="756" y="828"/>
                  </a:lnTo>
                  <a:lnTo>
                    <a:pt x="754" y="826"/>
                  </a:lnTo>
                  <a:lnTo>
                    <a:pt x="754" y="826"/>
                  </a:lnTo>
                  <a:lnTo>
                    <a:pt x="754" y="824"/>
                  </a:lnTo>
                  <a:lnTo>
                    <a:pt x="756" y="824"/>
                  </a:lnTo>
                  <a:lnTo>
                    <a:pt x="756" y="822"/>
                  </a:lnTo>
                  <a:lnTo>
                    <a:pt x="756" y="822"/>
                  </a:lnTo>
                  <a:lnTo>
                    <a:pt x="758" y="822"/>
                  </a:lnTo>
                  <a:lnTo>
                    <a:pt x="758" y="822"/>
                  </a:lnTo>
                  <a:lnTo>
                    <a:pt x="758" y="822"/>
                  </a:lnTo>
                  <a:lnTo>
                    <a:pt x="760" y="822"/>
                  </a:lnTo>
                  <a:lnTo>
                    <a:pt x="760" y="822"/>
                  </a:lnTo>
                  <a:lnTo>
                    <a:pt x="758" y="824"/>
                  </a:lnTo>
                  <a:lnTo>
                    <a:pt x="760" y="824"/>
                  </a:lnTo>
                  <a:lnTo>
                    <a:pt x="760" y="824"/>
                  </a:lnTo>
                  <a:lnTo>
                    <a:pt x="760" y="828"/>
                  </a:lnTo>
                  <a:lnTo>
                    <a:pt x="762" y="828"/>
                  </a:lnTo>
                  <a:lnTo>
                    <a:pt x="762" y="830"/>
                  </a:lnTo>
                  <a:lnTo>
                    <a:pt x="762" y="832"/>
                  </a:lnTo>
                  <a:lnTo>
                    <a:pt x="764" y="832"/>
                  </a:lnTo>
                  <a:lnTo>
                    <a:pt x="764" y="832"/>
                  </a:lnTo>
                  <a:lnTo>
                    <a:pt x="762" y="832"/>
                  </a:lnTo>
                  <a:lnTo>
                    <a:pt x="762" y="832"/>
                  </a:lnTo>
                  <a:lnTo>
                    <a:pt x="760" y="832"/>
                  </a:lnTo>
                  <a:lnTo>
                    <a:pt x="760" y="832"/>
                  </a:lnTo>
                  <a:lnTo>
                    <a:pt x="760" y="832"/>
                  </a:lnTo>
                  <a:lnTo>
                    <a:pt x="760" y="834"/>
                  </a:lnTo>
                  <a:lnTo>
                    <a:pt x="760" y="834"/>
                  </a:lnTo>
                  <a:lnTo>
                    <a:pt x="760" y="834"/>
                  </a:lnTo>
                  <a:lnTo>
                    <a:pt x="762" y="836"/>
                  </a:lnTo>
                  <a:lnTo>
                    <a:pt x="762" y="836"/>
                  </a:lnTo>
                  <a:lnTo>
                    <a:pt x="764" y="836"/>
                  </a:lnTo>
                  <a:lnTo>
                    <a:pt x="764" y="836"/>
                  </a:lnTo>
                  <a:lnTo>
                    <a:pt x="764" y="836"/>
                  </a:lnTo>
                  <a:lnTo>
                    <a:pt x="764" y="834"/>
                  </a:lnTo>
                  <a:lnTo>
                    <a:pt x="766" y="834"/>
                  </a:lnTo>
                  <a:lnTo>
                    <a:pt x="766" y="836"/>
                  </a:lnTo>
                  <a:lnTo>
                    <a:pt x="766" y="836"/>
                  </a:lnTo>
                  <a:lnTo>
                    <a:pt x="766" y="836"/>
                  </a:lnTo>
                  <a:lnTo>
                    <a:pt x="766" y="838"/>
                  </a:lnTo>
                  <a:lnTo>
                    <a:pt x="766" y="838"/>
                  </a:lnTo>
                  <a:lnTo>
                    <a:pt x="766" y="836"/>
                  </a:lnTo>
                  <a:lnTo>
                    <a:pt x="768" y="836"/>
                  </a:lnTo>
                  <a:lnTo>
                    <a:pt x="768" y="836"/>
                  </a:lnTo>
                  <a:lnTo>
                    <a:pt x="768" y="836"/>
                  </a:lnTo>
                  <a:lnTo>
                    <a:pt x="768" y="834"/>
                  </a:lnTo>
                  <a:lnTo>
                    <a:pt x="768" y="832"/>
                  </a:lnTo>
                  <a:lnTo>
                    <a:pt x="770" y="832"/>
                  </a:lnTo>
                  <a:lnTo>
                    <a:pt x="772" y="830"/>
                  </a:lnTo>
                  <a:lnTo>
                    <a:pt x="772" y="830"/>
                  </a:lnTo>
                  <a:lnTo>
                    <a:pt x="772" y="832"/>
                  </a:lnTo>
                  <a:lnTo>
                    <a:pt x="772" y="832"/>
                  </a:lnTo>
                  <a:lnTo>
                    <a:pt x="772" y="832"/>
                  </a:lnTo>
                  <a:lnTo>
                    <a:pt x="772" y="832"/>
                  </a:lnTo>
                  <a:lnTo>
                    <a:pt x="772" y="832"/>
                  </a:lnTo>
                  <a:lnTo>
                    <a:pt x="770" y="832"/>
                  </a:lnTo>
                  <a:lnTo>
                    <a:pt x="770" y="834"/>
                  </a:lnTo>
                  <a:lnTo>
                    <a:pt x="772" y="834"/>
                  </a:lnTo>
                  <a:lnTo>
                    <a:pt x="772" y="834"/>
                  </a:lnTo>
                  <a:lnTo>
                    <a:pt x="772" y="834"/>
                  </a:lnTo>
                  <a:lnTo>
                    <a:pt x="774" y="834"/>
                  </a:lnTo>
                  <a:lnTo>
                    <a:pt x="774" y="834"/>
                  </a:lnTo>
                  <a:lnTo>
                    <a:pt x="776" y="834"/>
                  </a:lnTo>
                  <a:lnTo>
                    <a:pt x="776" y="832"/>
                  </a:lnTo>
                  <a:lnTo>
                    <a:pt x="776" y="832"/>
                  </a:lnTo>
                  <a:lnTo>
                    <a:pt x="776" y="832"/>
                  </a:lnTo>
                  <a:lnTo>
                    <a:pt x="776" y="832"/>
                  </a:lnTo>
                  <a:lnTo>
                    <a:pt x="776" y="832"/>
                  </a:lnTo>
                  <a:lnTo>
                    <a:pt x="774" y="830"/>
                  </a:lnTo>
                  <a:lnTo>
                    <a:pt x="774" y="830"/>
                  </a:lnTo>
                  <a:lnTo>
                    <a:pt x="774" y="828"/>
                  </a:lnTo>
                  <a:lnTo>
                    <a:pt x="774" y="828"/>
                  </a:lnTo>
                  <a:lnTo>
                    <a:pt x="774" y="828"/>
                  </a:lnTo>
                  <a:lnTo>
                    <a:pt x="774" y="826"/>
                  </a:lnTo>
                  <a:lnTo>
                    <a:pt x="776" y="828"/>
                  </a:lnTo>
                  <a:lnTo>
                    <a:pt x="776" y="828"/>
                  </a:lnTo>
                  <a:lnTo>
                    <a:pt x="778" y="828"/>
                  </a:lnTo>
                  <a:lnTo>
                    <a:pt x="778" y="828"/>
                  </a:lnTo>
                  <a:lnTo>
                    <a:pt x="776" y="828"/>
                  </a:lnTo>
                  <a:lnTo>
                    <a:pt x="776" y="828"/>
                  </a:lnTo>
                  <a:lnTo>
                    <a:pt x="776" y="828"/>
                  </a:lnTo>
                  <a:lnTo>
                    <a:pt x="778" y="828"/>
                  </a:lnTo>
                  <a:lnTo>
                    <a:pt x="778" y="828"/>
                  </a:lnTo>
                  <a:lnTo>
                    <a:pt x="778" y="828"/>
                  </a:lnTo>
                  <a:lnTo>
                    <a:pt x="778" y="828"/>
                  </a:lnTo>
                  <a:lnTo>
                    <a:pt x="778" y="828"/>
                  </a:lnTo>
                  <a:lnTo>
                    <a:pt x="778" y="828"/>
                  </a:lnTo>
                  <a:lnTo>
                    <a:pt x="780" y="826"/>
                  </a:lnTo>
                  <a:lnTo>
                    <a:pt x="780" y="824"/>
                  </a:lnTo>
                  <a:lnTo>
                    <a:pt x="782" y="824"/>
                  </a:lnTo>
                  <a:lnTo>
                    <a:pt x="784" y="820"/>
                  </a:lnTo>
                  <a:lnTo>
                    <a:pt x="784" y="820"/>
                  </a:lnTo>
                  <a:lnTo>
                    <a:pt x="784" y="820"/>
                  </a:lnTo>
                  <a:lnTo>
                    <a:pt x="784" y="818"/>
                  </a:lnTo>
                  <a:lnTo>
                    <a:pt x="784" y="818"/>
                  </a:lnTo>
                  <a:lnTo>
                    <a:pt x="786" y="816"/>
                  </a:lnTo>
                  <a:lnTo>
                    <a:pt x="786" y="816"/>
                  </a:lnTo>
                  <a:lnTo>
                    <a:pt x="786" y="816"/>
                  </a:lnTo>
                  <a:lnTo>
                    <a:pt x="786" y="816"/>
                  </a:lnTo>
                  <a:lnTo>
                    <a:pt x="786" y="814"/>
                  </a:lnTo>
                  <a:lnTo>
                    <a:pt x="786" y="814"/>
                  </a:lnTo>
                  <a:lnTo>
                    <a:pt x="786" y="814"/>
                  </a:lnTo>
                  <a:lnTo>
                    <a:pt x="789" y="812"/>
                  </a:lnTo>
                  <a:lnTo>
                    <a:pt x="789" y="809"/>
                  </a:lnTo>
                  <a:lnTo>
                    <a:pt x="789" y="809"/>
                  </a:lnTo>
                  <a:lnTo>
                    <a:pt x="789" y="809"/>
                  </a:lnTo>
                  <a:lnTo>
                    <a:pt x="789" y="809"/>
                  </a:lnTo>
                  <a:lnTo>
                    <a:pt x="789" y="809"/>
                  </a:lnTo>
                  <a:lnTo>
                    <a:pt x="795" y="807"/>
                  </a:lnTo>
                  <a:lnTo>
                    <a:pt x="795" y="809"/>
                  </a:lnTo>
                  <a:lnTo>
                    <a:pt x="797" y="809"/>
                  </a:lnTo>
                  <a:lnTo>
                    <a:pt x="797" y="812"/>
                  </a:lnTo>
                  <a:lnTo>
                    <a:pt x="799" y="812"/>
                  </a:lnTo>
                  <a:lnTo>
                    <a:pt x="799" y="812"/>
                  </a:lnTo>
                  <a:lnTo>
                    <a:pt x="799" y="812"/>
                  </a:lnTo>
                  <a:lnTo>
                    <a:pt x="799" y="814"/>
                  </a:lnTo>
                  <a:lnTo>
                    <a:pt x="799" y="814"/>
                  </a:lnTo>
                  <a:lnTo>
                    <a:pt x="803" y="814"/>
                  </a:lnTo>
                  <a:lnTo>
                    <a:pt x="803" y="814"/>
                  </a:lnTo>
                  <a:lnTo>
                    <a:pt x="803" y="816"/>
                  </a:lnTo>
                  <a:lnTo>
                    <a:pt x="801" y="816"/>
                  </a:lnTo>
                  <a:lnTo>
                    <a:pt x="799" y="814"/>
                  </a:lnTo>
                  <a:lnTo>
                    <a:pt x="797" y="814"/>
                  </a:lnTo>
                  <a:lnTo>
                    <a:pt x="797" y="812"/>
                  </a:lnTo>
                  <a:lnTo>
                    <a:pt x="797" y="812"/>
                  </a:lnTo>
                  <a:lnTo>
                    <a:pt x="795" y="812"/>
                  </a:lnTo>
                  <a:lnTo>
                    <a:pt x="795" y="814"/>
                  </a:lnTo>
                  <a:lnTo>
                    <a:pt x="793" y="814"/>
                  </a:lnTo>
                  <a:lnTo>
                    <a:pt x="793" y="816"/>
                  </a:lnTo>
                  <a:lnTo>
                    <a:pt x="793" y="816"/>
                  </a:lnTo>
                  <a:lnTo>
                    <a:pt x="793" y="816"/>
                  </a:lnTo>
                  <a:lnTo>
                    <a:pt x="793" y="818"/>
                  </a:lnTo>
                  <a:lnTo>
                    <a:pt x="793" y="820"/>
                  </a:lnTo>
                  <a:lnTo>
                    <a:pt x="791" y="822"/>
                  </a:lnTo>
                  <a:lnTo>
                    <a:pt x="791" y="822"/>
                  </a:lnTo>
                  <a:lnTo>
                    <a:pt x="791" y="822"/>
                  </a:lnTo>
                  <a:lnTo>
                    <a:pt x="791" y="822"/>
                  </a:lnTo>
                  <a:lnTo>
                    <a:pt x="795" y="822"/>
                  </a:lnTo>
                  <a:lnTo>
                    <a:pt x="797" y="822"/>
                  </a:lnTo>
                  <a:lnTo>
                    <a:pt x="797" y="824"/>
                  </a:lnTo>
                  <a:lnTo>
                    <a:pt x="797" y="824"/>
                  </a:lnTo>
                  <a:lnTo>
                    <a:pt x="797" y="824"/>
                  </a:lnTo>
                  <a:lnTo>
                    <a:pt x="803" y="822"/>
                  </a:lnTo>
                  <a:lnTo>
                    <a:pt x="805" y="820"/>
                  </a:lnTo>
                  <a:lnTo>
                    <a:pt x="807" y="820"/>
                  </a:lnTo>
                  <a:lnTo>
                    <a:pt x="807" y="818"/>
                  </a:lnTo>
                  <a:lnTo>
                    <a:pt x="809" y="816"/>
                  </a:lnTo>
                  <a:lnTo>
                    <a:pt x="811" y="816"/>
                  </a:lnTo>
                  <a:lnTo>
                    <a:pt x="811" y="816"/>
                  </a:lnTo>
                  <a:lnTo>
                    <a:pt x="811" y="818"/>
                  </a:lnTo>
                  <a:lnTo>
                    <a:pt x="811" y="818"/>
                  </a:lnTo>
                  <a:lnTo>
                    <a:pt x="811" y="818"/>
                  </a:lnTo>
                  <a:lnTo>
                    <a:pt x="811" y="820"/>
                  </a:lnTo>
                  <a:lnTo>
                    <a:pt x="811" y="820"/>
                  </a:lnTo>
                  <a:lnTo>
                    <a:pt x="811" y="820"/>
                  </a:lnTo>
                  <a:lnTo>
                    <a:pt x="811" y="820"/>
                  </a:lnTo>
                  <a:lnTo>
                    <a:pt x="811" y="820"/>
                  </a:lnTo>
                  <a:lnTo>
                    <a:pt x="813" y="820"/>
                  </a:lnTo>
                  <a:lnTo>
                    <a:pt x="815" y="820"/>
                  </a:lnTo>
                  <a:lnTo>
                    <a:pt x="815" y="820"/>
                  </a:lnTo>
                  <a:lnTo>
                    <a:pt x="817" y="818"/>
                  </a:lnTo>
                  <a:lnTo>
                    <a:pt x="815" y="818"/>
                  </a:lnTo>
                  <a:lnTo>
                    <a:pt x="815" y="816"/>
                  </a:lnTo>
                  <a:lnTo>
                    <a:pt x="815" y="816"/>
                  </a:lnTo>
                  <a:lnTo>
                    <a:pt x="813" y="816"/>
                  </a:lnTo>
                  <a:lnTo>
                    <a:pt x="813" y="816"/>
                  </a:lnTo>
                  <a:lnTo>
                    <a:pt x="815" y="816"/>
                  </a:lnTo>
                  <a:lnTo>
                    <a:pt x="815" y="816"/>
                  </a:lnTo>
                  <a:lnTo>
                    <a:pt x="817" y="816"/>
                  </a:lnTo>
                  <a:lnTo>
                    <a:pt x="817" y="814"/>
                  </a:lnTo>
                  <a:lnTo>
                    <a:pt x="817" y="814"/>
                  </a:lnTo>
                  <a:lnTo>
                    <a:pt x="819" y="812"/>
                  </a:lnTo>
                  <a:lnTo>
                    <a:pt x="819" y="812"/>
                  </a:lnTo>
                  <a:lnTo>
                    <a:pt x="819" y="814"/>
                  </a:lnTo>
                  <a:lnTo>
                    <a:pt x="819" y="816"/>
                  </a:lnTo>
                  <a:lnTo>
                    <a:pt x="819" y="816"/>
                  </a:lnTo>
                  <a:lnTo>
                    <a:pt x="819" y="820"/>
                  </a:lnTo>
                  <a:lnTo>
                    <a:pt x="819" y="820"/>
                  </a:lnTo>
                  <a:lnTo>
                    <a:pt x="821" y="820"/>
                  </a:lnTo>
                  <a:lnTo>
                    <a:pt x="821" y="818"/>
                  </a:lnTo>
                  <a:lnTo>
                    <a:pt x="821" y="818"/>
                  </a:lnTo>
                  <a:lnTo>
                    <a:pt x="821" y="818"/>
                  </a:lnTo>
                  <a:lnTo>
                    <a:pt x="821" y="818"/>
                  </a:lnTo>
                  <a:lnTo>
                    <a:pt x="823" y="816"/>
                  </a:lnTo>
                  <a:lnTo>
                    <a:pt x="823" y="816"/>
                  </a:lnTo>
                  <a:lnTo>
                    <a:pt x="823" y="816"/>
                  </a:lnTo>
                  <a:lnTo>
                    <a:pt x="823" y="816"/>
                  </a:lnTo>
                  <a:lnTo>
                    <a:pt x="823" y="814"/>
                  </a:lnTo>
                  <a:lnTo>
                    <a:pt x="823" y="814"/>
                  </a:lnTo>
                  <a:lnTo>
                    <a:pt x="825" y="814"/>
                  </a:lnTo>
                  <a:lnTo>
                    <a:pt x="825" y="814"/>
                  </a:lnTo>
                  <a:lnTo>
                    <a:pt x="825" y="814"/>
                  </a:lnTo>
                  <a:lnTo>
                    <a:pt x="823" y="812"/>
                  </a:lnTo>
                  <a:lnTo>
                    <a:pt x="823" y="812"/>
                  </a:lnTo>
                  <a:lnTo>
                    <a:pt x="823" y="812"/>
                  </a:lnTo>
                  <a:lnTo>
                    <a:pt x="825" y="812"/>
                  </a:lnTo>
                  <a:lnTo>
                    <a:pt x="825" y="812"/>
                  </a:lnTo>
                  <a:lnTo>
                    <a:pt x="830" y="812"/>
                  </a:lnTo>
                  <a:lnTo>
                    <a:pt x="830" y="812"/>
                  </a:lnTo>
                  <a:lnTo>
                    <a:pt x="830" y="812"/>
                  </a:lnTo>
                  <a:lnTo>
                    <a:pt x="832" y="812"/>
                  </a:lnTo>
                  <a:lnTo>
                    <a:pt x="834" y="809"/>
                  </a:lnTo>
                  <a:lnTo>
                    <a:pt x="832" y="809"/>
                  </a:lnTo>
                  <a:lnTo>
                    <a:pt x="832" y="807"/>
                  </a:lnTo>
                  <a:lnTo>
                    <a:pt x="832" y="807"/>
                  </a:lnTo>
                  <a:lnTo>
                    <a:pt x="834" y="807"/>
                  </a:lnTo>
                  <a:lnTo>
                    <a:pt x="834" y="807"/>
                  </a:lnTo>
                  <a:lnTo>
                    <a:pt x="834" y="807"/>
                  </a:lnTo>
                  <a:lnTo>
                    <a:pt x="834" y="807"/>
                  </a:lnTo>
                  <a:lnTo>
                    <a:pt x="834" y="809"/>
                  </a:lnTo>
                  <a:lnTo>
                    <a:pt x="834" y="809"/>
                  </a:lnTo>
                  <a:lnTo>
                    <a:pt x="836" y="809"/>
                  </a:lnTo>
                  <a:lnTo>
                    <a:pt x="834" y="807"/>
                  </a:lnTo>
                  <a:lnTo>
                    <a:pt x="834" y="807"/>
                  </a:lnTo>
                  <a:lnTo>
                    <a:pt x="834" y="807"/>
                  </a:lnTo>
                  <a:lnTo>
                    <a:pt x="834" y="807"/>
                  </a:lnTo>
                  <a:lnTo>
                    <a:pt x="836" y="807"/>
                  </a:lnTo>
                  <a:lnTo>
                    <a:pt x="836" y="807"/>
                  </a:lnTo>
                  <a:lnTo>
                    <a:pt x="836" y="807"/>
                  </a:lnTo>
                  <a:lnTo>
                    <a:pt x="836" y="805"/>
                  </a:lnTo>
                  <a:lnTo>
                    <a:pt x="836" y="805"/>
                  </a:lnTo>
                  <a:lnTo>
                    <a:pt x="836" y="805"/>
                  </a:lnTo>
                  <a:lnTo>
                    <a:pt x="836" y="803"/>
                  </a:lnTo>
                  <a:lnTo>
                    <a:pt x="836" y="803"/>
                  </a:lnTo>
                  <a:lnTo>
                    <a:pt x="836" y="805"/>
                  </a:lnTo>
                  <a:lnTo>
                    <a:pt x="838" y="805"/>
                  </a:lnTo>
                  <a:lnTo>
                    <a:pt x="838" y="805"/>
                  </a:lnTo>
                  <a:lnTo>
                    <a:pt x="838" y="805"/>
                  </a:lnTo>
                  <a:lnTo>
                    <a:pt x="838" y="805"/>
                  </a:lnTo>
                  <a:lnTo>
                    <a:pt x="838" y="803"/>
                  </a:lnTo>
                  <a:lnTo>
                    <a:pt x="838" y="803"/>
                  </a:lnTo>
                  <a:lnTo>
                    <a:pt x="838" y="803"/>
                  </a:lnTo>
                  <a:lnTo>
                    <a:pt x="838" y="803"/>
                  </a:lnTo>
                  <a:lnTo>
                    <a:pt x="838" y="803"/>
                  </a:lnTo>
                  <a:lnTo>
                    <a:pt x="840" y="805"/>
                  </a:lnTo>
                  <a:lnTo>
                    <a:pt x="840" y="805"/>
                  </a:lnTo>
                  <a:lnTo>
                    <a:pt x="842" y="805"/>
                  </a:lnTo>
                  <a:lnTo>
                    <a:pt x="842" y="805"/>
                  </a:lnTo>
                  <a:lnTo>
                    <a:pt x="842" y="803"/>
                  </a:lnTo>
                  <a:lnTo>
                    <a:pt x="842" y="803"/>
                  </a:lnTo>
                  <a:lnTo>
                    <a:pt x="842" y="803"/>
                  </a:lnTo>
                  <a:lnTo>
                    <a:pt x="842" y="801"/>
                  </a:lnTo>
                  <a:lnTo>
                    <a:pt x="842" y="801"/>
                  </a:lnTo>
                  <a:lnTo>
                    <a:pt x="846" y="803"/>
                  </a:lnTo>
                  <a:lnTo>
                    <a:pt x="848" y="803"/>
                  </a:lnTo>
                  <a:lnTo>
                    <a:pt x="848" y="803"/>
                  </a:lnTo>
                  <a:lnTo>
                    <a:pt x="848" y="805"/>
                  </a:lnTo>
                  <a:lnTo>
                    <a:pt x="848" y="805"/>
                  </a:lnTo>
                  <a:lnTo>
                    <a:pt x="848" y="805"/>
                  </a:lnTo>
                  <a:lnTo>
                    <a:pt x="846" y="807"/>
                  </a:lnTo>
                  <a:lnTo>
                    <a:pt x="846" y="807"/>
                  </a:lnTo>
                  <a:lnTo>
                    <a:pt x="846" y="807"/>
                  </a:lnTo>
                  <a:lnTo>
                    <a:pt x="846" y="807"/>
                  </a:lnTo>
                  <a:lnTo>
                    <a:pt x="846" y="807"/>
                  </a:lnTo>
                  <a:lnTo>
                    <a:pt x="846" y="809"/>
                  </a:lnTo>
                  <a:lnTo>
                    <a:pt x="848" y="809"/>
                  </a:lnTo>
                  <a:lnTo>
                    <a:pt x="848" y="809"/>
                  </a:lnTo>
                  <a:lnTo>
                    <a:pt x="846" y="812"/>
                  </a:lnTo>
                  <a:lnTo>
                    <a:pt x="846" y="812"/>
                  </a:lnTo>
                  <a:lnTo>
                    <a:pt x="846" y="812"/>
                  </a:lnTo>
                  <a:lnTo>
                    <a:pt x="846" y="814"/>
                  </a:lnTo>
                  <a:lnTo>
                    <a:pt x="848" y="814"/>
                  </a:lnTo>
                  <a:lnTo>
                    <a:pt x="848" y="814"/>
                  </a:lnTo>
                  <a:lnTo>
                    <a:pt x="848" y="814"/>
                  </a:lnTo>
                  <a:lnTo>
                    <a:pt x="848" y="814"/>
                  </a:lnTo>
                  <a:lnTo>
                    <a:pt x="848" y="814"/>
                  </a:lnTo>
                  <a:lnTo>
                    <a:pt x="846" y="814"/>
                  </a:lnTo>
                  <a:lnTo>
                    <a:pt x="846" y="816"/>
                  </a:lnTo>
                  <a:lnTo>
                    <a:pt x="846" y="816"/>
                  </a:lnTo>
                  <a:lnTo>
                    <a:pt x="846" y="814"/>
                  </a:lnTo>
                  <a:lnTo>
                    <a:pt x="844" y="814"/>
                  </a:lnTo>
                  <a:lnTo>
                    <a:pt x="844" y="814"/>
                  </a:lnTo>
                  <a:lnTo>
                    <a:pt x="844" y="816"/>
                  </a:lnTo>
                  <a:lnTo>
                    <a:pt x="844" y="816"/>
                  </a:lnTo>
                  <a:lnTo>
                    <a:pt x="846" y="816"/>
                  </a:lnTo>
                  <a:lnTo>
                    <a:pt x="844" y="816"/>
                  </a:lnTo>
                  <a:lnTo>
                    <a:pt x="844" y="816"/>
                  </a:lnTo>
                  <a:lnTo>
                    <a:pt x="844" y="818"/>
                  </a:lnTo>
                  <a:lnTo>
                    <a:pt x="844" y="818"/>
                  </a:lnTo>
                  <a:lnTo>
                    <a:pt x="848" y="816"/>
                  </a:lnTo>
                  <a:lnTo>
                    <a:pt x="848" y="816"/>
                  </a:lnTo>
                  <a:lnTo>
                    <a:pt x="848" y="816"/>
                  </a:lnTo>
                  <a:lnTo>
                    <a:pt x="848" y="814"/>
                  </a:lnTo>
                  <a:lnTo>
                    <a:pt x="848" y="814"/>
                  </a:lnTo>
                  <a:lnTo>
                    <a:pt x="848" y="814"/>
                  </a:lnTo>
                  <a:lnTo>
                    <a:pt x="850" y="814"/>
                  </a:lnTo>
                  <a:lnTo>
                    <a:pt x="850" y="814"/>
                  </a:lnTo>
                  <a:lnTo>
                    <a:pt x="850" y="814"/>
                  </a:lnTo>
                  <a:lnTo>
                    <a:pt x="850" y="814"/>
                  </a:lnTo>
                  <a:lnTo>
                    <a:pt x="850" y="814"/>
                  </a:lnTo>
                  <a:lnTo>
                    <a:pt x="850" y="812"/>
                  </a:lnTo>
                  <a:lnTo>
                    <a:pt x="850" y="812"/>
                  </a:lnTo>
                  <a:lnTo>
                    <a:pt x="850" y="812"/>
                  </a:lnTo>
                  <a:lnTo>
                    <a:pt x="850" y="812"/>
                  </a:lnTo>
                  <a:lnTo>
                    <a:pt x="850" y="809"/>
                  </a:lnTo>
                  <a:lnTo>
                    <a:pt x="850" y="809"/>
                  </a:lnTo>
                  <a:lnTo>
                    <a:pt x="850" y="809"/>
                  </a:lnTo>
                  <a:lnTo>
                    <a:pt x="852" y="807"/>
                  </a:lnTo>
                  <a:lnTo>
                    <a:pt x="852" y="807"/>
                  </a:lnTo>
                  <a:lnTo>
                    <a:pt x="852" y="807"/>
                  </a:lnTo>
                  <a:lnTo>
                    <a:pt x="852" y="807"/>
                  </a:lnTo>
                  <a:lnTo>
                    <a:pt x="852" y="807"/>
                  </a:lnTo>
                  <a:lnTo>
                    <a:pt x="852" y="807"/>
                  </a:lnTo>
                  <a:lnTo>
                    <a:pt x="852" y="807"/>
                  </a:lnTo>
                  <a:lnTo>
                    <a:pt x="852" y="805"/>
                  </a:lnTo>
                  <a:lnTo>
                    <a:pt x="852" y="805"/>
                  </a:lnTo>
                  <a:lnTo>
                    <a:pt x="852" y="805"/>
                  </a:lnTo>
                  <a:lnTo>
                    <a:pt x="852" y="803"/>
                  </a:lnTo>
                  <a:lnTo>
                    <a:pt x="852" y="803"/>
                  </a:lnTo>
                  <a:lnTo>
                    <a:pt x="850" y="801"/>
                  </a:lnTo>
                  <a:lnTo>
                    <a:pt x="850" y="801"/>
                  </a:lnTo>
                  <a:lnTo>
                    <a:pt x="850" y="801"/>
                  </a:lnTo>
                  <a:lnTo>
                    <a:pt x="852" y="801"/>
                  </a:lnTo>
                  <a:lnTo>
                    <a:pt x="852" y="801"/>
                  </a:lnTo>
                  <a:lnTo>
                    <a:pt x="854" y="801"/>
                  </a:lnTo>
                  <a:lnTo>
                    <a:pt x="852" y="801"/>
                  </a:lnTo>
                  <a:lnTo>
                    <a:pt x="852" y="801"/>
                  </a:lnTo>
                  <a:lnTo>
                    <a:pt x="852" y="803"/>
                  </a:lnTo>
                  <a:lnTo>
                    <a:pt x="852" y="803"/>
                  </a:lnTo>
                  <a:lnTo>
                    <a:pt x="852" y="805"/>
                  </a:lnTo>
                  <a:lnTo>
                    <a:pt x="852" y="805"/>
                  </a:lnTo>
                  <a:lnTo>
                    <a:pt x="854" y="805"/>
                  </a:lnTo>
                  <a:lnTo>
                    <a:pt x="854" y="805"/>
                  </a:lnTo>
                  <a:lnTo>
                    <a:pt x="854" y="805"/>
                  </a:lnTo>
                  <a:lnTo>
                    <a:pt x="854" y="803"/>
                  </a:lnTo>
                  <a:lnTo>
                    <a:pt x="854" y="803"/>
                  </a:lnTo>
                  <a:lnTo>
                    <a:pt x="856" y="801"/>
                  </a:lnTo>
                  <a:lnTo>
                    <a:pt x="856" y="801"/>
                  </a:lnTo>
                  <a:lnTo>
                    <a:pt x="856" y="801"/>
                  </a:lnTo>
                  <a:lnTo>
                    <a:pt x="858" y="803"/>
                  </a:lnTo>
                  <a:lnTo>
                    <a:pt x="858" y="801"/>
                  </a:lnTo>
                  <a:lnTo>
                    <a:pt x="858" y="801"/>
                  </a:lnTo>
                  <a:lnTo>
                    <a:pt x="860" y="801"/>
                  </a:lnTo>
                  <a:lnTo>
                    <a:pt x="862" y="801"/>
                  </a:lnTo>
                  <a:lnTo>
                    <a:pt x="862" y="801"/>
                  </a:lnTo>
                  <a:lnTo>
                    <a:pt x="862" y="801"/>
                  </a:lnTo>
                  <a:lnTo>
                    <a:pt x="862" y="799"/>
                  </a:lnTo>
                  <a:lnTo>
                    <a:pt x="864" y="799"/>
                  </a:lnTo>
                  <a:lnTo>
                    <a:pt x="864" y="799"/>
                  </a:lnTo>
                  <a:lnTo>
                    <a:pt x="864" y="799"/>
                  </a:lnTo>
                  <a:lnTo>
                    <a:pt x="864" y="799"/>
                  </a:lnTo>
                  <a:lnTo>
                    <a:pt x="866" y="801"/>
                  </a:lnTo>
                  <a:lnTo>
                    <a:pt x="866" y="801"/>
                  </a:lnTo>
                  <a:lnTo>
                    <a:pt x="866" y="801"/>
                  </a:lnTo>
                  <a:lnTo>
                    <a:pt x="866" y="801"/>
                  </a:lnTo>
                  <a:lnTo>
                    <a:pt x="866" y="801"/>
                  </a:lnTo>
                  <a:lnTo>
                    <a:pt x="866" y="801"/>
                  </a:lnTo>
                  <a:lnTo>
                    <a:pt x="866" y="801"/>
                  </a:lnTo>
                  <a:lnTo>
                    <a:pt x="866" y="801"/>
                  </a:lnTo>
                  <a:lnTo>
                    <a:pt x="866" y="801"/>
                  </a:lnTo>
                  <a:lnTo>
                    <a:pt x="866" y="801"/>
                  </a:lnTo>
                  <a:lnTo>
                    <a:pt x="866" y="801"/>
                  </a:lnTo>
                  <a:lnTo>
                    <a:pt x="866" y="799"/>
                  </a:lnTo>
                  <a:lnTo>
                    <a:pt x="866" y="799"/>
                  </a:lnTo>
                  <a:lnTo>
                    <a:pt x="866" y="799"/>
                  </a:lnTo>
                  <a:lnTo>
                    <a:pt x="868" y="799"/>
                  </a:lnTo>
                  <a:lnTo>
                    <a:pt x="868" y="799"/>
                  </a:lnTo>
                  <a:lnTo>
                    <a:pt x="868" y="799"/>
                  </a:lnTo>
                  <a:lnTo>
                    <a:pt x="868" y="801"/>
                  </a:lnTo>
                  <a:lnTo>
                    <a:pt x="868" y="801"/>
                  </a:lnTo>
                  <a:lnTo>
                    <a:pt x="870" y="797"/>
                  </a:lnTo>
                  <a:lnTo>
                    <a:pt x="870" y="795"/>
                  </a:lnTo>
                  <a:lnTo>
                    <a:pt x="873" y="795"/>
                  </a:lnTo>
                  <a:lnTo>
                    <a:pt x="873" y="797"/>
                  </a:lnTo>
                  <a:lnTo>
                    <a:pt x="873" y="797"/>
                  </a:lnTo>
                  <a:lnTo>
                    <a:pt x="873" y="797"/>
                  </a:lnTo>
                  <a:lnTo>
                    <a:pt x="873" y="797"/>
                  </a:lnTo>
                  <a:lnTo>
                    <a:pt x="873" y="797"/>
                  </a:lnTo>
                  <a:lnTo>
                    <a:pt x="873" y="795"/>
                  </a:lnTo>
                  <a:lnTo>
                    <a:pt x="875" y="797"/>
                  </a:lnTo>
                  <a:lnTo>
                    <a:pt x="875" y="797"/>
                  </a:lnTo>
                  <a:lnTo>
                    <a:pt x="875" y="797"/>
                  </a:lnTo>
                  <a:lnTo>
                    <a:pt x="875" y="797"/>
                  </a:lnTo>
                  <a:lnTo>
                    <a:pt x="875" y="797"/>
                  </a:lnTo>
                  <a:lnTo>
                    <a:pt x="875" y="797"/>
                  </a:lnTo>
                  <a:lnTo>
                    <a:pt x="875" y="799"/>
                  </a:lnTo>
                  <a:lnTo>
                    <a:pt x="875" y="799"/>
                  </a:lnTo>
                  <a:lnTo>
                    <a:pt x="875" y="799"/>
                  </a:lnTo>
                  <a:lnTo>
                    <a:pt x="875" y="799"/>
                  </a:lnTo>
                  <a:lnTo>
                    <a:pt x="875" y="799"/>
                  </a:lnTo>
                  <a:lnTo>
                    <a:pt x="877" y="799"/>
                  </a:lnTo>
                  <a:lnTo>
                    <a:pt x="877" y="799"/>
                  </a:lnTo>
                  <a:lnTo>
                    <a:pt x="877" y="799"/>
                  </a:lnTo>
                  <a:lnTo>
                    <a:pt x="877" y="797"/>
                  </a:lnTo>
                  <a:lnTo>
                    <a:pt x="877" y="797"/>
                  </a:lnTo>
                  <a:lnTo>
                    <a:pt x="877" y="797"/>
                  </a:lnTo>
                  <a:lnTo>
                    <a:pt x="877" y="797"/>
                  </a:lnTo>
                  <a:lnTo>
                    <a:pt x="877" y="797"/>
                  </a:lnTo>
                  <a:lnTo>
                    <a:pt x="877" y="795"/>
                  </a:lnTo>
                  <a:lnTo>
                    <a:pt x="877" y="795"/>
                  </a:lnTo>
                  <a:lnTo>
                    <a:pt x="877" y="795"/>
                  </a:lnTo>
                  <a:lnTo>
                    <a:pt x="877" y="795"/>
                  </a:lnTo>
                  <a:lnTo>
                    <a:pt x="875" y="795"/>
                  </a:lnTo>
                  <a:lnTo>
                    <a:pt x="875" y="795"/>
                  </a:lnTo>
                  <a:lnTo>
                    <a:pt x="877" y="793"/>
                  </a:lnTo>
                  <a:lnTo>
                    <a:pt x="877" y="793"/>
                  </a:lnTo>
                  <a:lnTo>
                    <a:pt x="877" y="793"/>
                  </a:lnTo>
                  <a:lnTo>
                    <a:pt x="877" y="791"/>
                  </a:lnTo>
                  <a:lnTo>
                    <a:pt x="877" y="791"/>
                  </a:lnTo>
                  <a:lnTo>
                    <a:pt x="877" y="791"/>
                  </a:lnTo>
                  <a:lnTo>
                    <a:pt x="877" y="791"/>
                  </a:lnTo>
                  <a:lnTo>
                    <a:pt x="877" y="789"/>
                  </a:lnTo>
                  <a:lnTo>
                    <a:pt x="877" y="789"/>
                  </a:lnTo>
                  <a:lnTo>
                    <a:pt x="877" y="789"/>
                  </a:lnTo>
                  <a:lnTo>
                    <a:pt x="877" y="789"/>
                  </a:lnTo>
                  <a:lnTo>
                    <a:pt x="877" y="791"/>
                  </a:lnTo>
                  <a:lnTo>
                    <a:pt x="877" y="791"/>
                  </a:lnTo>
                  <a:lnTo>
                    <a:pt x="879" y="791"/>
                  </a:lnTo>
                  <a:lnTo>
                    <a:pt x="879" y="791"/>
                  </a:lnTo>
                  <a:lnTo>
                    <a:pt x="879" y="789"/>
                  </a:lnTo>
                  <a:lnTo>
                    <a:pt x="881" y="789"/>
                  </a:lnTo>
                  <a:lnTo>
                    <a:pt x="879" y="787"/>
                  </a:lnTo>
                  <a:lnTo>
                    <a:pt x="879" y="787"/>
                  </a:lnTo>
                  <a:lnTo>
                    <a:pt x="879" y="787"/>
                  </a:lnTo>
                  <a:lnTo>
                    <a:pt x="881" y="787"/>
                  </a:lnTo>
                  <a:lnTo>
                    <a:pt x="883" y="787"/>
                  </a:lnTo>
                  <a:lnTo>
                    <a:pt x="883" y="787"/>
                  </a:lnTo>
                  <a:lnTo>
                    <a:pt x="883" y="787"/>
                  </a:lnTo>
                  <a:lnTo>
                    <a:pt x="883" y="789"/>
                  </a:lnTo>
                  <a:lnTo>
                    <a:pt x="883" y="789"/>
                  </a:lnTo>
                  <a:lnTo>
                    <a:pt x="883" y="789"/>
                  </a:lnTo>
                  <a:lnTo>
                    <a:pt x="883" y="789"/>
                  </a:lnTo>
                  <a:lnTo>
                    <a:pt x="883" y="789"/>
                  </a:lnTo>
                  <a:lnTo>
                    <a:pt x="881" y="789"/>
                  </a:lnTo>
                  <a:lnTo>
                    <a:pt x="881" y="789"/>
                  </a:lnTo>
                  <a:lnTo>
                    <a:pt x="881" y="789"/>
                  </a:lnTo>
                  <a:lnTo>
                    <a:pt x="881" y="789"/>
                  </a:lnTo>
                  <a:lnTo>
                    <a:pt x="881" y="789"/>
                  </a:lnTo>
                  <a:lnTo>
                    <a:pt x="881" y="789"/>
                  </a:lnTo>
                  <a:lnTo>
                    <a:pt x="881" y="791"/>
                  </a:lnTo>
                  <a:lnTo>
                    <a:pt x="881" y="791"/>
                  </a:lnTo>
                  <a:lnTo>
                    <a:pt x="879" y="791"/>
                  </a:lnTo>
                  <a:lnTo>
                    <a:pt x="879" y="791"/>
                  </a:lnTo>
                  <a:lnTo>
                    <a:pt x="879" y="793"/>
                  </a:lnTo>
                  <a:lnTo>
                    <a:pt x="879" y="793"/>
                  </a:lnTo>
                  <a:lnTo>
                    <a:pt x="879" y="793"/>
                  </a:lnTo>
                  <a:lnTo>
                    <a:pt x="879" y="793"/>
                  </a:lnTo>
                  <a:lnTo>
                    <a:pt x="879" y="795"/>
                  </a:lnTo>
                  <a:lnTo>
                    <a:pt x="879" y="795"/>
                  </a:lnTo>
                  <a:lnTo>
                    <a:pt x="879" y="795"/>
                  </a:lnTo>
                  <a:lnTo>
                    <a:pt x="881" y="795"/>
                  </a:lnTo>
                  <a:lnTo>
                    <a:pt x="881" y="795"/>
                  </a:lnTo>
                  <a:lnTo>
                    <a:pt x="881" y="795"/>
                  </a:lnTo>
                  <a:lnTo>
                    <a:pt x="879" y="795"/>
                  </a:lnTo>
                  <a:lnTo>
                    <a:pt x="881" y="797"/>
                  </a:lnTo>
                  <a:lnTo>
                    <a:pt x="881" y="797"/>
                  </a:lnTo>
                  <a:lnTo>
                    <a:pt x="881" y="797"/>
                  </a:lnTo>
                  <a:lnTo>
                    <a:pt x="881" y="797"/>
                  </a:lnTo>
                  <a:lnTo>
                    <a:pt x="881" y="797"/>
                  </a:lnTo>
                  <a:lnTo>
                    <a:pt x="881" y="795"/>
                  </a:lnTo>
                  <a:lnTo>
                    <a:pt x="881" y="795"/>
                  </a:lnTo>
                  <a:lnTo>
                    <a:pt x="883" y="795"/>
                  </a:lnTo>
                  <a:lnTo>
                    <a:pt x="883" y="795"/>
                  </a:lnTo>
                  <a:lnTo>
                    <a:pt x="883" y="797"/>
                  </a:lnTo>
                  <a:lnTo>
                    <a:pt x="883" y="797"/>
                  </a:lnTo>
                  <a:lnTo>
                    <a:pt x="883" y="797"/>
                  </a:lnTo>
                  <a:lnTo>
                    <a:pt x="885" y="797"/>
                  </a:lnTo>
                  <a:lnTo>
                    <a:pt x="883" y="795"/>
                  </a:lnTo>
                  <a:lnTo>
                    <a:pt x="883" y="795"/>
                  </a:lnTo>
                  <a:lnTo>
                    <a:pt x="883" y="795"/>
                  </a:lnTo>
                  <a:lnTo>
                    <a:pt x="883" y="795"/>
                  </a:lnTo>
                  <a:lnTo>
                    <a:pt x="883" y="795"/>
                  </a:lnTo>
                  <a:lnTo>
                    <a:pt x="883" y="795"/>
                  </a:lnTo>
                  <a:lnTo>
                    <a:pt x="883" y="795"/>
                  </a:lnTo>
                  <a:lnTo>
                    <a:pt x="883" y="795"/>
                  </a:lnTo>
                  <a:lnTo>
                    <a:pt x="883" y="793"/>
                  </a:lnTo>
                  <a:lnTo>
                    <a:pt x="883" y="793"/>
                  </a:lnTo>
                  <a:lnTo>
                    <a:pt x="883" y="791"/>
                  </a:lnTo>
                  <a:lnTo>
                    <a:pt x="883" y="791"/>
                  </a:lnTo>
                  <a:lnTo>
                    <a:pt x="883" y="791"/>
                  </a:lnTo>
                  <a:lnTo>
                    <a:pt x="883" y="791"/>
                  </a:lnTo>
                  <a:lnTo>
                    <a:pt x="883" y="793"/>
                  </a:lnTo>
                  <a:lnTo>
                    <a:pt x="883" y="793"/>
                  </a:lnTo>
                  <a:lnTo>
                    <a:pt x="885" y="793"/>
                  </a:lnTo>
                  <a:lnTo>
                    <a:pt x="885" y="793"/>
                  </a:lnTo>
                  <a:lnTo>
                    <a:pt x="885" y="793"/>
                  </a:lnTo>
                  <a:lnTo>
                    <a:pt x="885" y="791"/>
                  </a:lnTo>
                  <a:lnTo>
                    <a:pt x="885" y="791"/>
                  </a:lnTo>
                  <a:lnTo>
                    <a:pt x="885" y="791"/>
                  </a:lnTo>
                  <a:lnTo>
                    <a:pt x="885" y="791"/>
                  </a:lnTo>
                  <a:lnTo>
                    <a:pt x="885" y="789"/>
                  </a:lnTo>
                  <a:lnTo>
                    <a:pt x="885" y="789"/>
                  </a:lnTo>
                  <a:lnTo>
                    <a:pt x="885" y="789"/>
                  </a:lnTo>
                  <a:lnTo>
                    <a:pt x="885" y="789"/>
                  </a:lnTo>
                  <a:lnTo>
                    <a:pt x="885" y="789"/>
                  </a:lnTo>
                  <a:lnTo>
                    <a:pt x="885" y="789"/>
                  </a:lnTo>
                  <a:lnTo>
                    <a:pt x="885" y="791"/>
                  </a:lnTo>
                  <a:lnTo>
                    <a:pt x="887" y="791"/>
                  </a:lnTo>
                  <a:lnTo>
                    <a:pt x="887" y="789"/>
                  </a:lnTo>
                  <a:lnTo>
                    <a:pt x="887" y="789"/>
                  </a:lnTo>
                  <a:lnTo>
                    <a:pt x="889" y="789"/>
                  </a:lnTo>
                  <a:lnTo>
                    <a:pt x="889" y="789"/>
                  </a:lnTo>
                  <a:lnTo>
                    <a:pt x="889" y="789"/>
                  </a:lnTo>
                  <a:lnTo>
                    <a:pt x="889" y="789"/>
                  </a:lnTo>
                  <a:lnTo>
                    <a:pt x="889" y="789"/>
                  </a:lnTo>
                  <a:lnTo>
                    <a:pt x="891" y="789"/>
                  </a:lnTo>
                  <a:lnTo>
                    <a:pt x="891" y="789"/>
                  </a:lnTo>
                  <a:lnTo>
                    <a:pt x="891" y="789"/>
                  </a:lnTo>
                  <a:lnTo>
                    <a:pt x="891" y="787"/>
                  </a:lnTo>
                  <a:lnTo>
                    <a:pt x="891" y="787"/>
                  </a:lnTo>
                  <a:lnTo>
                    <a:pt x="891" y="787"/>
                  </a:lnTo>
                  <a:lnTo>
                    <a:pt x="893" y="787"/>
                  </a:lnTo>
                  <a:lnTo>
                    <a:pt x="893" y="787"/>
                  </a:lnTo>
                  <a:lnTo>
                    <a:pt x="893" y="787"/>
                  </a:lnTo>
                  <a:lnTo>
                    <a:pt x="893" y="785"/>
                  </a:lnTo>
                  <a:lnTo>
                    <a:pt x="893" y="785"/>
                  </a:lnTo>
                  <a:lnTo>
                    <a:pt x="891" y="785"/>
                  </a:lnTo>
                  <a:lnTo>
                    <a:pt x="891" y="787"/>
                  </a:lnTo>
                  <a:lnTo>
                    <a:pt x="889" y="787"/>
                  </a:lnTo>
                  <a:lnTo>
                    <a:pt x="889" y="789"/>
                  </a:lnTo>
                  <a:lnTo>
                    <a:pt x="887" y="789"/>
                  </a:lnTo>
                  <a:lnTo>
                    <a:pt x="887" y="789"/>
                  </a:lnTo>
                  <a:lnTo>
                    <a:pt x="887" y="787"/>
                  </a:lnTo>
                  <a:lnTo>
                    <a:pt x="887" y="787"/>
                  </a:lnTo>
                  <a:lnTo>
                    <a:pt x="887" y="787"/>
                  </a:lnTo>
                  <a:lnTo>
                    <a:pt x="885" y="787"/>
                  </a:lnTo>
                  <a:lnTo>
                    <a:pt x="885" y="787"/>
                  </a:lnTo>
                  <a:lnTo>
                    <a:pt x="885" y="787"/>
                  </a:lnTo>
                  <a:lnTo>
                    <a:pt x="885" y="787"/>
                  </a:lnTo>
                  <a:lnTo>
                    <a:pt x="885" y="787"/>
                  </a:lnTo>
                  <a:lnTo>
                    <a:pt x="885" y="785"/>
                  </a:lnTo>
                  <a:lnTo>
                    <a:pt x="885" y="785"/>
                  </a:lnTo>
                  <a:lnTo>
                    <a:pt x="885" y="785"/>
                  </a:lnTo>
                  <a:lnTo>
                    <a:pt x="887" y="785"/>
                  </a:lnTo>
                  <a:lnTo>
                    <a:pt x="887" y="785"/>
                  </a:lnTo>
                  <a:lnTo>
                    <a:pt x="887" y="785"/>
                  </a:lnTo>
                  <a:lnTo>
                    <a:pt x="889" y="785"/>
                  </a:lnTo>
                  <a:lnTo>
                    <a:pt x="889" y="785"/>
                  </a:lnTo>
                  <a:lnTo>
                    <a:pt x="889" y="785"/>
                  </a:lnTo>
                  <a:lnTo>
                    <a:pt x="891" y="783"/>
                  </a:lnTo>
                  <a:lnTo>
                    <a:pt x="891" y="783"/>
                  </a:lnTo>
                  <a:lnTo>
                    <a:pt x="891" y="783"/>
                  </a:lnTo>
                  <a:lnTo>
                    <a:pt x="889" y="783"/>
                  </a:lnTo>
                  <a:lnTo>
                    <a:pt x="889" y="781"/>
                  </a:lnTo>
                  <a:lnTo>
                    <a:pt x="887" y="781"/>
                  </a:lnTo>
                  <a:lnTo>
                    <a:pt x="887" y="781"/>
                  </a:lnTo>
                  <a:lnTo>
                    <a:pt x="887" y="781"/>
                  </a:lnTo>
                  <a:lnTo>
                    <a:pt x="887" y="781"/>
                  </a:lnTo>
                  <a:lnTo>
                    <a:pt x="885" y="783"/>
                  </a:lnTo>
                  <a:lnTo>
                    <a:pt x="885" y="781"/>
                  </a:lnTo>
                  <a:lnTo>
                    <a:pt x="885" y="781"/>
                  </a:lnTo>
                  <a:lnTo>
                    <a:pt x="885" y="781"/>
                  </a:lnTo>
                  <a:lnTo>
                    <a:pt x="885" y="781"/>
                  </a:lnTo>
                  <a:lnTo>
                    <a:pt x="885" y="781"/>
                  </a:lnTo>
                  <a:lnTo>
                    <a:pt x="885" y="781"/>
                  </a:lnTo>
                  <a:lnTo>
                    <a:pt x="885" y="779"/>
                  </a:lnTo>
                  <a:lnTo>
                    <a:pt x="883" y="779"/>
                  </a:lnTo>
                  <a:lnTo>
                    <a:pt x="881" y="781"/>
                  </a:lnTo>
                  <a:lnTo>
                    <a:pt x="881" y="781"/>
                  </a:lnTo>
                  <a:lnTo>
                    <a:pt x="881" y="783"/>
                  </a:lnTo>
                  <a:lnTo>
                    <a:pt x="881" y="783"/>
                  </a:lnTo>
                  <a:lnTo>
                    <a:pt x="881" y="783"/>
                  </a:lnTo>
                  <a:lnTo>
                    <a:pt x="881" y="783"/>
                  </a:lnTo>
                  <a:lnTo>
                    <a:pt x="881" y="785"/>
                  </a:lnTo>
                  <a:lnTo>
                    <a:pt x="879" y="783"/>
                  </a:lnTo>
                  <a:lnTo>
                    <a:pt x="879" y="783"/>
                  </a:lnTo>
                  <a:lnTo>
                    <a:pt x="879" y="781"/>
                  </a:lnTo>
                  <a:lnTo>
                    <a:pt x="879" y="781"/>
                  </a:lnTo>
                  <a:lnTo>
                    <a:pt x="881" y="781"/>
                  </a:lnTo>
                  <a:lnTo>
                    <a:pt x="881" y="779"/>
                  </a:lnTo>
                  <a:lnTo>
                    <a:pt x="883" y="779"/>
                  </a:lnTo>
                  <a:lnTo>
                    <a:pt x="883" y="779"/>
                  </a:lnTo>
                  <a:lnTo>
                    <a:pt x="883" y="779"/>
                  </a:lnTo>
                  <a:lnTo>
                    <a:pt x="883" y="777"/>
                  </a:lnTo>
                  <a:lnTo>
                    <a:pt x="885" y="777"/>
                  </a:lnTo>
                  <a:lnTo>
                    <a:pt x="885" y="777"/>
                  </a:lnTo>
                  <a:lnTo>
                    <a:pt x="885" y="775"/>
                  </a:lnTo>
                  <a:lnTo>
                    <a:pt x="885" y="775"/>
                  </a:lnTo>
                  <a:lnTo>
                    <a:pt x="885" y="775"/>
                  </a:lnTo>
                  <a:lnTo>
                    <a:pt x="887" y="773"/>
                  </a:lnTo>
                  <a:lnTo>
                    <a:pt x="889" y="773"/>
                  </a:lnTo>
                  <a:lnTo>
                    <a:pt x="889" y="773"/>
                  </a:lnTo>
                  <a:lnTo>
                    <a:pt x="889" y="773"/>
                  </a:lnTo>
                  <a:lnTo>
                    <a:pt x="889" y="773"/>
                  </a:lnTo>
                  <a:lnTo>
                    <a:pt x="891" y="775"/>
                  </a:lnTo>
                  <a:lnTo>
                    <a:pt x="891" y="775"/>
                  </a:lnTo>
                  <a:lnTo>
                    <a:pt x="891" y="775"/>
                  </a:lnTo>
                  <a:lnTo>
                    <a:pt x="893" y="775"/>
                  </a:lnTo>
                  <a:lnTo>
                    <a:pt x="893" y="775"/>
                  </a:lnTo>
                  <a:lnTo>
                    <a:pt x="895" y="773"/>
                  </a:lnTo>
                  <a:lnTo>
                    <a:pt x="893" y="773"/>
                  </a:lnTo>
                  <a:lnTo>
                    <a:pt x="893" y="773"/>
                  </a:lnTo>
                  <a:lnTo>
                    <a:pt x="893" y="773"/>
                  </a:lnTo>
                  <a:lnTo>
                    <a:pt x="893" y="771"/>
                  </a:lnTo>
                  <a:lnTo>
                    <a:pt x="893" y="771"/>
                  </a:lnTo>
                  <a:lnTo>
                    <a:pt x="895" y="771"/>
                  </a:lnTo>
                  <a:lnTo>
                    <a:pt x="895" y="771"/>
                  </a:lnTo>
                  <a:lnTo>
                    <a:pt x="899" y="773"/>
                  </a:lnTo>
                  <a:lnTo>
                    <a:pt x="901" y="775"/>
                  </a:lnTo>
                  <a:lnTo>
                    <a:pt x="901" y="775"/>
                  </a:lnTo>
                  <a:lnTo>
                    <a:pt x="901" y="773"/>
                  </a:lnTo>
                  <a:lnTo>
                    <a:pt x="901" y="773"/>
                  </a:lnTo>
                  <a:lnTo>
                    <a:pt x="903" y="773"/>
                  </a:lnTo>
                  <a:lnTo>
                    <a:pt x="903" y="773"/>
                  </a:lnTo>
                  <a:lnTo>
                    <a:pt x="903" y="771"/>
                  </a:lnTo>
                  <a:lnTo>
                    <a:pt x="901" y="771"/>
                  </a:lnTo>
                  <a:lnTo>
                    <a:pt x="901" y="771"/>
                  </a:lnTo>
                  <a:lnTo>
                    <a:pt x="901" y="771"/>
                  </a:lnTo>
                  <a:lnTo>
                    <a:pt x="901" y="768"/>
                  </a:lnTo>
                  <a:lnTo>
                    <a:pt x="901" y="768"/>
                  </a:lnTo>
                  <a:lnTo>
                    <a:pt x="901" y="768"/>
                  </a:lnTo>
                  <a:lnTo>
                    <a:pt x="899" y="768"/>
                  </a:lnTo>
                  <a:lnTo>
                    <a:pt x="895" y="771"/>
                  </a:lnTo>
                  <a:lnTo>
                    <a:pt x="893" y="771"/>
                  </a:lnTo>
                  <a:lnTo>
                    <a:pt x="895" y="768"/>
                  </a:lnTo>
                  <a:lnTo>
                    <a:pt x="895" y="768"/>
                  </a:lnTo>
                  <a:lnTo>
                    <a:pt x="895" y="768"/>
                  </a:lnTo>
                  <a:lnTo>
                    <a:pt x="895" y="768"/>
                  </a:lnTo>
                  <a:lnTo>
                    <a:pt x="897" y="768"/>
                  </a:lnTo>
                  <a:lnTo>
                    <a:pt x="897" y="768"/>
                  </a:lnTo>
                  <a:lnTo>
                    <a:pt x="897" y="768"/>
                  </a:lnTo>
                  <a:lnTo>
                    <a:pt x="897" y="766"/>
                  </a:lnTo>
                  <a:lnTo>
                    <a:pt x="897" y="766"/>
                  </a:lnTo>
                  <a:lnTo>
                    <a:pt x="897" y="766"/>
                  </a:lnTo>
                  <a:lnTo>
                    <a:pt x="899" y="766"/>
                  </a:lnTo>
                  <a:lnTo>
                    <a:pt x="899" y="766"/>
                  </a:lnTo>
                  <a:lnTo>
                    <a:pt x="899" y="764"/>
                  </a:lnTo>
                  <a:lnTo>
                    <a:pt x="901" y="764"/>
                  </a:lnTo>
                  <a:lnTo>
                    <a:pt x="901" y="764"/>
                  </a:lnTo>
                  <a:lnTo>
                    <a:pt x="901" y="764"/>
                  </a:lnTo>
                  <a:lnTo>
                    <a:pt x="903" y="764"/>
                  </a:lnTo>
                  <a:lnTo>
                    <a:pt x="903" y="764"/>
                  </a:lnTo>
                  <a:lnTo>
                    <a:pt x="903" y="762"/>
                  </a:lnTo>
                  <a:lnTo>
                    <a:pt x="905" y="762"/>
                  </a:lnTo>
                  <a:lnTo>
                    <a:pt x="905" y="764"/>
                  </a:lnTo>
                  <a:lnTo>
                    <a:pt x="905" y="766"/>
                  </a:lnTo>
                  <a:lnTo>
                    <a:pt x="907" y="766"/>
                  </a:lnTo>
                  <a:lnTo>
                    <a:pt x="907" y="766"/>
                  </a:lnTo>
                  <a:lnTo>
                    <a:pt x="909" y="766"/>
                  </a:lnTo>
                  <a:lnTo>
                    <a:pt x="909" y="766"/>
                  </a:lnTo>
                  <a:lnTo>
                    <a:pt x="909" y="766"/>
                  </a:lnTo>
                  <a:lnTo>
                    <a:pt x="911" y="766"/>
                  </a:lnTo>
                  <a:lnTo>
                    <a:pt x="913" y="766"/>
                  </a:lnTo>
                  <a:lnTo>
                    <a:pt x="913" y="766"/>
                  </a:lnTo>
                  <a:lnTo>
                    <a:pt x="913" y="766"/>
                  </a:lnTo>
                  <a:lnTo>
                    <a:pt x="913" y="766"/>
                  </a:lnTo>
                  <a:lnTo>
                    <a:pt x="913" y="764"/>
                  </a:lnTo>
                  <a:lnTo>
                    <a:pt x="913" y="764"/>
                  </a:lnTo>
                  <a:lnTo>
                    <a:pt x="913" y="764"/>
                  </a:lnTo>
                  <a:lnTo>
                    <a:pt x="913" y="764"/>
                  </a:lnTo>
                  <a:lnTo>
                    <a:pt x="911" y="764"/>
                  </a:lnTo>
                  <a:lnTo>
                    <a:pt x="911" y="762"/>
                  </a:lnTo>
                  <a:lnTo>
                    <a:pt x="911" y="762"/>
                  </a:lnTo>
                  <a:lnTo>
                    <a:pt x="909" y="762"/>
                  </a:lnTo>
                  <a:lnTo>
                    <a:pt x="909" y="762"/>
                  </a:lnTo>
                  <a:lnTo>
                    <a:pt x="909" y="762"/>
                  </a:lnTo>
                  <a:lnTo>
                    <a:pt x="909" y="762"/>
                  </a:lnTo>
                  <a:lnTo>
                    <a:pt x="909" y="760"/>
                  </a:lnTo>
                  <a:lnTo>
                    <a:pt x="909" y="760"/>
                  </a:lnTo>
                  <a:lnTo>
                    <a:pt x="911" y="762"/>
                  </a:lnTo>
                  <a:lnTo>
                    <a:pt x="911" y="760"/>
                  </a:lnTo>
                  <a:lnTo>
                    <a:pt x="911" y="760"/>
                  </a:lnTo>
                  <a:lnTo>
                    <a:pt x="913" y="758"/>
                  </a:lnTo>
                  <a:lnTo>
                    <a:pt x="913" y="760"/>
                  </a:lnTo>
                  <a:lnTo>
                    <a:pt x="913" y="760"/>
                  </a:lnTo>
                  <a:lnTo>
                    <a:pt x="913" y="760"/>
                  </a:lnTo>
                  <a:lnTo>
                    <a:pt x="913" y="760"/>
                  </a:lnTo>
                  <a:lnTo>
                    <a:pt x="916" y="758"/>
                  </a:lnTo>
                  <a:lnTo>
                    <a:pt x="916" y="758"/>
                  </a:lnTo>
                  <a:lnTo>
                    <a:pt x="916" y="758"/>
                  </a:lnTo>
                  <a:lnTo>
                    <a:pt x="916" y="758"/>
                  </a:lnTo>
                  <a:lnTo>
                    <a:pt x="916" y="758"/>
                  </a:lnTo>
                  <a:lnTo>
                    <a:pt x="916" y="760"/>
                  </a:lnTo>
                  <a:lnTo>
                    <a:pt x="916" y="758"/>
                  </a:lnTo>
                  <a:lnTo>
                    <a:pt x="916" y="758"/>
                  </a:lnTo>
                  <a:lnTo>
                    <a:pt x="916" y="758"/>
                  </a:lnTo>
                  <a:lnTo>
                    <a:pt x="916" y="756"/>
                  </a:lnTo>
                  <a:lnTo>
                    <a:pt x="916" y="756"/>
                  </a:lnTo>
                  <a:lnTo>
                    <a:pt x="913" y="756"/>
                  </a:lnTo>
                  <a:lnTo>
                    <a:pt x="913" y="756"/>
                  </a:lnTo>
                  <a:lnTo>
                    <a:pt x="913" y="756"/>
                  </a:lnTo>
                  <a:lnTo>
                    <a:pt x="913" y="756"/>
                  </a:lnTo>
                  <a:lnTo>
                    <a:pt x="913" y="754"/>
                  </a:lnTo>
                  <a:lnTo>
                    <a:pt x="916" y="754"/>
                  </a:lnTo>
                  <a:lnTo>
                    <a:pt x="916" y="754"/>
                  </a:lnTo>
                  <a:lnTo>
                    <a:pt x="916" y="754"/>
                  </a:lnTo>
                  <a:lnTo>
                    <a:pt x="918" y="754"/>
                  </a:lnTo>
                  <a:lnTo>
                    <a:pt x="918" y="756"/>
                  </a:lnTo>
                  <a:lnTo>
                    <a:pt x="920" y="758"/>
                  </a:lnTo>
                  <a:lnTo>
                    <a:pt x="920" y="758"/>
                  </a:lnTo>
                  <a:lnTo>
                    <a:pt x="922" y="758"/>
                  </a:lnTo>
                  <a:lnTo>
                    <a:pt x="922" y="758"/>
                  </a:lnTo>
                  <a:lnTo>
                    <a:pt x="922" y="758"/>
                  </a:lnTo>
                  <a:lnTo>
                    <a:pt x="924" y="756"/>
                  </a:lnTo>
                  <a:lnTo>
                    <a:pt x="922" y="756"/>
                  </a:lnTo>
                  <a:lnTo>
                    <a:pt x="922" y="756"/>
                  </a:lnTo>
                  <a:lnTo>
                    <a:pt x="922" y="756"/>
                  </a:lnTo>
                  <a:lnTo>
                    <a:pt x="922" y="754"/>
                  </a:lnTo>
                  <a:lnTo>
                    <a:pt x="924" y="756"/>
                  </a:lnTo>
                  <a:lnTo>
                    <a:pt x="924" y="756"/>
                  </a:lnTo>
                  <a:lnTo>
                    <a:pt x="926" y="756"/>
                  </a:lnTo>
                  <a:lnTo>
                    <a:pt x="926" y="754"/>
                  </a:lnTo>
                  <a:lnTo>
                    <a:pt x="926" y="754"/>
                  </a:lnTo>
                  <a:lnTo>
                    <a:pt x="926" y="754"/>
                  </a:lnTo>
                  <a:lnTo>
                    <a:pt x="928" y="752"/>
                  </a:lnTo>
                  <a:lnTo>
                    <a:pt x="928" y="752"/>
                  </a:lnTo>
                  <a:lnTo>
                    <a:pt x="930" y="752"/>
                  </a:lnTo>
                  <a:lnTo>
                    <a:pt x="930" y="752"/>
                  </a:lnTo>
                  <a:lnTo>
                    <a:pt x="928" y="752"/>
                  </a:lnTo>
                  <a:lnTo>
                    <a:pt x="928" y="752"/>
                  </a:lnTo>
                  <a:lnTo>
                    <a:pt x="930" y="750"/>
                  </a:lnTo>
                  <a:lnTo>
                    <a:pt x="930" y="750"/>
                  </a:lnTo>
                  <a:lnTo>
                    <a:pt x="928" y="750"/>
                  </a:lnTo>
                  <a:lnTo>
                    <a:pt x="928" y="748"/>
                  </a:lnTo>
                  <a:lnTo>
                    <a:pt x="930" y="748"/>
                  </a:lnTo>
                  <a:lnTo>
                    <a:pt x="930" y="750"/>
                  </a:lnTo>
                  <a:lnTo>
                    <a:pt x="930" y="750"/>
                  </a:lnTo>
                  <a:lnTo>
                    <a:pt x="930" y="750"/>
                  </a:lnTo>
                  <a:lnTo>
                    <a:pt x="932" y="752"/>
                  </a:lnTo>
                  <a:lnTo>
                    <a:pt x="932" y="754"/>
                  </a:lnTo>
                  <a:lnTo>
                    <a:pt x="932" y="752"/>
                  </a:lnTo>
                  <a:lnTo>
                    <a:pt x="934" y="752"/>
                  </a:lnTo>
                  <a:lnTo>
                    <a:pt x="934" y="750"/>
                  </a:lnTo>
                  <a:lnTo>
                    <a:pt x="934" y="750"/>
                  </a:lnTo>
                  <a:lnTo>
                    <a:pt x="934" y="750"/>
                  </a:lnTo>
                  <a:lnTo>
                    <a:pt x="934" y="750"/>
                  </a:lnTo>
                  <a:lnTo>
                    <a:pt x="934" y="748"/>
                  </a:lnTo>
                  <a:lnTo>
                    <a:pt x="934" y="748"/>
                  </a:lnTo>
                  <a:lnTo>
                    <a:pt x="934" y="748"/>
                  </a:lnTo>
                  <a:lnTo>
                    <a:pt x="934" y="748"/>
                  </a:lnTo>
                  <a:lnTo>
                    <a:pt x="934" y="748"/>
                  </a:lnTo>
                  <a:lnTo>
                    <a:pt x="934" y="748"/>
                  </a:lnTo>
                  <a:lnTo>
                    <a:pt x="934" y="746"/>
                  </a:lnTo>
                  <a:lnTo>
                    <a:pt x="934" y="746"/>
                  </a:lnTo>
                  <a:lnTo>
                    <a:pt x="934" y="746"/>
                  </a:lnTo>
                  <a:lnTo>
                    <a:pt x="934" y="746"/>
                  </a:lnTo>
                  <a:lnTo>
                    <a:pt x="934" y="746"/>
                  </a:lnTo>
                  <a:lnTo>
                    <a:pt x="934" y="746"/>
                  </a:lnTo>
                  <a:lnTo>
                    <a:pt x="936" y="746"/>
                  </a:lnTo>
                  <a:lnTo>
                    <a:pt x="936" y="746"/>
                  </a:lnTo>
                  <a:lnTo>
                    <a:pt x="936" y="746"/>
                  </a:lnTo>
                  <a:lnTo>
                    <a:pt x="936" y="746"/>
                  </a:lnTo>
                  <a:lnTo>
                    <a:pt x="936" y="748"/>
                  </a:lnTo>
                  <a:lnTo>
                    <a:pt x="936" y="748"/>
                  </a:lnTo>
                  <a:lnTo>
                    <a:pt x="936" y="748"/>
                  </a:lnTo>
                  <a:lnTo>
                    <a:pt x="936" y="748"/>
                  </a:lnTo>
                  <a:lnTo>
                    <a:pt x="938" y="748"/>
                  </a:lnTo>
                  <a:lnTo>
                    <a:pt x="940" y="750"/>
                  </a:lnTo>
                  <a:lnTo>
                    <a:pt x="940" y="750"/>
                  </a:lnTo>
                  <a:lnTo>
                    <a:pt x="940" y="748"/>
                  </a:lnTo>
                  <a:lnTo>
                    <a:pt x="938" y="746"/>
                  </a:lnTo>
                  <a:lnTo>
                    <a:pt x="938" y="746"/>
                  </a:lnTo>
                  <a:lnTo>
                    <a:pt x="938" y="744"/>
                  </a:lnTo>
                  <a:lnTo>
                    <a:pt x="938" y="744"/>
                  </a:lnTo>
                  <a:lnTo>
                    <a:pt x="940" y="746"/>
                  </a:lnTo>
                  <a:lnTo>
                    <a:pt x="940" y="746"/>
                  </a:lnTo>
                  <a:lnTo>
                    <a:pt x="940" y="746"/>
                  </a:lnTo>
                  <a:lnTo>
                    <a:pt x="940" y="746"/>
                  </a:lnTo>
                  <a:lnTo>
                    <a:pt x="940" y="746"/>
                  </a:lnTo>
                  <a:lnTo>
                    <a:pt x="942" y="746"/>
                  </a:lnTo>
                  <a:lnTo>
                    <a:pt x="942" y="746"/>
                  </a:lnTo>
                  <a:lnTo>
                    <a:pt x="942" y="744"/>
                  </a:lnTo>
                  <a:lnTo>
                    <a:pt x="942" y="744"/>
                  </a:lnTo>
                  <a:lnTo>
                    <a:pt x="942" y="744"/>
                  </a:lnTo>
                  <a:lnTo>
                    <a:pt x="942" y="744"/>
                  </a:lnTo>
                  <a:lnTo>
                    <a:pt x="942" y="744"/>
                  </a:lnTo>
                  <a:lnTo>
                    <a:pt x="942" y="744"/>
                  </a:lnTo>
                  <a:lnTo>
                    <a:pt x="942" y="744"/>
                  </a:lnTo>
                  <a:lnTo>
                    <a:pt x="942" y="742"/>
                  </a:lnTo>
                  <a:lnTo>
                    <a:pt x="942" y="742"/>
                  </a:lnTo>
                  <a:lnTo>
                    <a:pt x="946" y="742"/>
                  </a:lnTo>
                  <a:lnTo>
                    <a:pt x="946" y="740"/>
                  </a:lnTo>
                  <a:lnTo>
                    <a:pt x="946" y="740"/>
                  </a:lnTo>
                  <a:lnTo>
                    <a:pt x="946" y="740"/>
                  </a:lnTo>
                  <a:lnTo>
                    <a:pt x="946" y="740"/>
                  </a:lnTo>
                  <a:lnTo>
                    <a:pt x="946" y="738"/>
                  </a:lnTo>
                  <a:lnTo>
                    <a:pt x="946" y="738"/>
                  </a:lnTo>
                  <a:lnTo>
                    <a:pt x="946" y="738"/>
                  </a:lnTo>
                  <a:lnTo>
                    <a:pt x="946" y="738"/>
                  </a:lnTo>
                  <a:lnTo>
                    <a:pt x="944" y="738"/>
                  </a:lnTo>
                  <a:lnTo>
                    <a:pt x="944" y="738"/>
                  </a:lnTo>
                  <a:lnTo>
                    <a:pt x="944" y="736"/>
                  </a:lnTo>
                  <a:lnTo>
                    <a:pt x="944" y="736"/>
                  </a:lnTo>
                  <a:lnTo>
                    <a:pt x="944" y="736"/>
                  </a:lnTo>
                  <a:lnTo>
                    <a:pt x="946" y="736"/>
                  </a:lnTo>
                  <a:lnTo>
                    <a:pt x="946" y="736"/>
                  </a:lnTo>
                  <a:lnTo>
                    <a:pt x="946" y="734"/>
                  </a:lnTo>
                  <a:lnTo>
                    <a:pt x="946" y="734"/>
                  </a:lnTo>
                  <a:lnTo>
                    <a:pt x="946" y="734"/>
                  </a:lnTo>
                  <a:lnTo>
                    <a:pt x="946" y="734"/>
                  </a:lnTo>
                  <a:lnTo>
                    <a:pt x="946" y="734"/>
                  </a:lnTo>
                  <a:lnTo>
                    <a:pt x="946" y="734"/>
                  </a:lnTo>
                  <a:lnTo>
                    <a:pt x="946" y="734"/>
                  </a:lnTo>
                  <a:lnTo>
                    <a:pt x="946" y="732"/>
                  </a:lnTo>
                  <a:lnTo>
                    <a:pt x="946" y="732"/>
                  </a:lnTo>
                  <a:lnTo>
                    <a:pt x="946" y="732"/>
                  </a:lnTo>
                  <a:lnTo>
                    <a:pt x="942" y="734"/>
                  </a:lnTo>
                  <a:lnTo>
                    <a:pt x="940" y="734"/>
                  </a:lnTo>
                  <a:lnTo>
                    <a:pt x="940" y="732"/>
                  </a:lnTo>
                  <a:lnTo>
                    <a:pt x="940" y="732"/>
                  </a:lnTo>
                  <a:lnTo>
                    <a:pt x="942" y="732"/>
                  </a:lnTo>
                  <a:lnTo>
                    <a:pt x="942" y="732"/>
                  </a:lnTo>
                  <a:lnTo>
                    <a:pt x="942" y="732"/>
                  </a:lnTo>
                  <a:lnTo>
                    <a:pt x="946" y="728"/>
                  </a:lnTo>
                  <a:lnTo>
                    <a:pt x="948" y="725"/>
                  </a:lnTo>
                  <a:lnTo>
                    <a:pt x="948" y="725"/>
                  </a:lnTo>
                  <a:lnTo>
                    <a:pt x="950" y="725"/>
                  </a:lnTo>
                  <a:lnTo>
                    <a:pt x="950" y="725"/>
                  </a:lnTo>
                  <a:lnTo>
                    <a:pt x="950" y="725"/>
                  </a:lnTo>
                  <a:lnTo>
                    <a:pt x="950" y="723"/>
                  </a:lnTo>
                  <a:lnTo>
                    <a:pt x="950" y="723"/>
                  </a:lnTo>
                  <a:lnTo>
                    <a:pt x="952" y="723"/>
                  </a:lnTo>
                  <a:lnTo>
                    <a:pt x="952" y="725"/>
                  </a:lnTo>
                  <a:lnTo>
                    <a:pt x="954" y="725"/>
                  </a:lnTo>
                  <a:lnTo>
                    <a:pt x="956" y="725"/>
                  </a:lnTo>
                  <a:lnTo>
                    <a:pt x="956" y="725"/>
                  </a:lnTo>
                  <a:lnTo>
                    <a:pt x="954" y="723"/>
                  </a:lnTo>
                  <a:lnTo>
                    <a:pt x="954" y="723"/>
                  </a:lnTo>
                  <a:lnTo>
                    <a:pt x="954" y="721"/>
                  </a:lnTo>
                  <a:lnTo>
                    <a:pt x="954" y="721"/>
                  </a:lnTo>
                  <a:lnTo>
                    <a:pt x="954" y="721"/>
                  </a:lnTo>
                  <a:lnTo>
                    <a:pt x="954" y="721"/>
                  </a:lnTo>
                  <a:lnTo>
                    <a:pt x="954" y="721"/>
                  </a:lnTo>
                  <a:lnTo>
                    <a:pt x="956" y="721"/>
                  </a:lnTo>
                  <a:lnTo>
                    <a:pt x="956" y="721"/>
                  </a:lnTo>
                  <a:lnTo>
                    <a:pt x="956" y="719"/>
                  </a:lnTo>
                  <a:lnTo>
                    <a:pt x="956" y="719"/>
                  </a:lnTo>
                  <a:lnTo>
                    <a:pt x="956" y="719"/>
                  </a:lnTo>
                  <a:lnTo>
                    <a:pt x="956" y="719"/>
                  </a:lnTo>
                  <a:lnTo>
                    <a:pt x="959" y="721"/>
                  </a:lnTo>
                  <a:lnTo>
                    <a:pt x="959" y="721"/>
                  </a:lnTo>
                  <a:lnTo>
                    <a:pt x="959" y="719"/>
                  </a:lnTo>
                  <a:lnTo>
                    <a:pt x="959" y="719"/>
                  </a:lnTo>
                  <a:lnTo>
                    <a:pt x="961" y="719"/>
                  </a:lnTo>
                  <a:lnTo>
                    <a:pt x="961" y="719"/>
                  </a:lnTo>
                  <a:lnTo>
                    <a:pt x="961" y="719"/>
                  </a:lnTo>
                  <a:lnTo>
                    <a:pt x="961" y="719"/>
                  </a:lnTo>
                  <a:lnTo>
                    <a:pt x="963" y="719"/>
                  </a:lnTo>
                  <a:lnTo>
                    <a:pt x="963" y="719"/>
                  </a:lnTo>
                  <a:lnTo>
                    <a:pt x="963" y="719"/>
                  </a:lnTo>
                  <a:lnTo>
                    <a:pt x="963" y="721"/>
                  </a:lnTo>
                  <a:lnTo>
                    <a:pt x="963" y="721"/>
                  </a:lnTo>
                  <a:lnTo>
                    <a:pt x="965" y="719"/>
                  </a:lnTo>
                  <a:lnTo>
                    <a:pt x="965" y="719"/>
                  </a:lnTo>
                  <a:lnTo>
                    <a:pt x="965" y="719"/>
                  </a:lnTo>
                  <a:lnTo>
                    <a:pt x="965" y="717"/>
                  </a:lnTo>
                  <a:lnTo>
                    <a:pt x="965" y="717"/>
                  </a:lnTo>
                  <a:lnTo>
                    <a:pt x="965" y="717"/>
                  </a:lnTo>
                  <a:lnTo>
                    <a:pt x="965" y="717"/>
                  </a:lnTo>
                  <a:lnTo>
                    <a:pt x="965" y="717"/>
                  </a:lnTo>
                  <a:lnTo>
                    <a:pt x="965" y="717"/>
                  </a:lnTo>
                  <a:lnTo>
                    <a:pt x="963" y="715"/>
                  </a:lnTo>
                  <a:lnTo>
                    <a:pt x="963" y="715"/>
                  </a:lnTo>
                  <a:lnTo>
                    <a:pt x="963" y="715"/>
                  </a:lnTo>
                  <a:lnTo>
                    <a:pt x="965" y="715"/>
                  </a:lnTo>
                  <a:lnTo>
                    <a:pt x="967" y="715"/>
                  </a:lnTo>
                  <a:lnTo>
                    <a:pt x="969" y="713"/>
                  </a:lnTo>
                  <a:lnTo>
                    <a:pt x="969" y="713"/>
                  </a:lnTo>
                  <a:lnTo>
                    <a:pt x="967" y="711"/>
                  </a:lnTo>
                  <a:lnTo>
                    <a:pt x="967" y="711"/>
                  </a:lnTo>
                  <a:lnTo>
                    <a:pt x="967" y="711"/>
                  </a:lnTo>
                  <a:lnTo>
                    <a:pt x="967" y="709"/>
                  </a:lnTo>
                  <a:lnTo>
                    <a:pt x="967" y="709"/>
                  </a:lnTo>
                  <a:lnTo>
                    <a:pt x="969" y="707"/>
                  </a:lnTo>
                  <a:lnTo>
                    <a:pt x="969" y="707"/>
                  </a:lnTo>
                  <a:lnTo>
                    <a:pt x="969" y="707"/>
                  </a:lnTo>
                  <a:lnTo>
                    <a:pt x="971" y="709"/>
                  </a:lnTo>
                  <a:lnTo>
                    <a:pt x="971" y="709"/>
                  </a:lnTo>
                  <a:lnTo>
                    <a:pt x="971" y="709"/>
                  </a:lnTo>
                  <a:lnTo>
                    <a:pt x="973" y="711"/>
                  </a:lnTo>
                  <a:lnTo>
                    <a:pt x="973" y="711"/>
                  </a:lnTo>
                  <a:lnTo>
                    <a:pt x="973" y="711"/>
                  </a:lnTo>
                  <a:lnTo>
                    <a:pt x="975" y="711"/>
                  </a:lnTo>
                  <a:lnTo>
                    <a:pt x="975" y="711"/>
                  </a:lnTo>
                  <a:lnTo>
                    <a:pt x="975" y="711"/>
                  </a:lnTo>
                  <a:lnTo>
                    <a:pt x="975" y="711"/>
                  </a:lnTo>
                  <a:lnTo>
                    <a:pt x="977" y="711"/>
                  </a:lnTo>
                  <a:lnTo>
                    <a:pt x="977" y="709"/>
                  </a:lnTo>
                  <a:lnTo>
                    <a:pt x="977" y="709"/>
                  </a:lnTo>
                  <a:lnTo>
                    <a:pt x="975" y="707"/>
                  </a:lnTo>
                  <a:lnTo>
                    <a:pt x="975" y="707"/>
                  </a:lnTo>
                  <a:lnTo>
                    <a:pt x="975" y="707"/>
                  </a:lnTo>
                  <a:lnTo>
                    <a:pt x="975" y="707"/>
                  </a:lnTo>
                  <a:lnTo>
                    <a:pt x="977" y="707"/>
                  </a:lnTo>
                  <a:lnTo>
                    <a:pt x="975" y="707"/>
                  </a:lnTo>
                  <a:lnTo>
                    <a:pt x="975" y="705"/>
                  </a:lnTo>
                  <a:lnTo>
                    <a:pt x="975" y="705"/>
                  </a:lnTo>
                  <a:lnTo>
                    <a:pt x="977" y="705"/>
                  </a:lnTo>
                  <a:lnTo>
                    <a:pt x="977" y="705"/>
                  </a:lnTo>
                  <a:lnTo>
                    <a:pt x="979" y="705"/>
                  </a:lnTo>
                  <a:lnTo>
                    <a:pt x="979" y="705"/>
                  </a:lnTo>
                  <a:lnTo>
                    <a:pt x="979" y="705"/>
                  </a:lnTo>
                  <a:lnTo>
                    <a:pt x="979" y="705"/>
                  </a:lnTo>
                  <a:lnTo>
                    <a:pt x="977" y="703"/>
                  </a:lnTo>
                  <a:lnTo>
                    <a:pt x="981" y="703"/>
                  </a:lnTo>
                  <a:lnTo>
                    <a:pt x="983" y="703"/>
                  </a:lnTo>
                  <a:lnTo>
                    <a:pt x="983" y="703"/>
                  </a:lnTo>
                  <a:lnTo>
                    <a:pt x="983" y="701"/>
                  </a:lnTo>
                  <a:lnTo>
                    <a:pt x="981" y="699"/>
                  </a:lnTo>
                  <a:lnTo>
                    <a:pt x="983" y="699"/>
                  </a:lnTo>
                  <a:lnTo>
                    <a:pt x="983" y="699"/>
                  </a:lnTo>
                  <a:lnTo>
                    <a:pt x="983" y="699"/>
                  </a:lnTo>
                  <a:lnTo>
                    <a:pt x="983" y="697"/>
                  </a:lnTo>
                  <a:lnTo>
                    <a:pt x="983" y="697"/>
                  </a:lnTo>
                  <a:lnTo>
                    <a:pt x="985" y="697"/>
                  </a:lnTo>
                  <a:lnTo>
                    <a:pt x="985" y="695"/>
                  </a:lnTo>
                  <a:lnTo>
                    <a:pt x="987" y="695"/>
                  </a:lnTo>
                  <a:lnTo>
                    <a:pt x="989" y="697"/>
                  </a:lnTo>
                  <a:lnTo>
                    <a:pt x="989" y="697"/>
                  </a:lnTo>
                  <a:lnTo>
                    <a:pt x="991" y="697"/>
                  </a:lnTo>
                  <a:lnTo>
                    <a:pt x="991" y="697"/>
                  </a:lnTo>
                  <a:lnTo>
                    <a:pt x="991" y="697"/>
                  </a:lnTo>
                  <a:lnTo>
                    <a:pt x="991" y="697"/>
                  </a:lnTo>
                  <a:lnTo>
                    <a:pt x="991" y="697"/>
                  </a:lnTo>
                  <a:lnTo>
                    <a:pt x="991" y="697"/>
                  </a:lnTo>
                  <a:lnTo>
                    <a:pt x="991" y="695"/>
                  </a:lnTo>
                  <a:lnTo>
                    <a:pt x="991" y="695"/>
                  </a:lnTo>
                  <a:lnTo>
                    <a:pt x="993" y="695"/>
                  </a:lnTo>
                  <a:lnTo>
                    <a:pt x="993" y="695"/>
                  </a:lnTo>
                  <a:lnTo>
                    <a:pt x="993" y="693"/>
                  </a:lnTo>
                  <a:lnTo>
                    <a:pt x="995" y="695"/>
                  </a:lnTo>
                  <a:lnTo>
                    <a:pt x="995" y="695"/>
                  </a:lnTo>
                  <a:lnTo>
                    <a:pt x="995" y="695"/>
                  </a:lnTo>
                  <a:lnTo>
                    <a:pt x="995" y="695"/>
                  </a:lnTo>
                  <a:lnTo>
                    <a:pt x="995" y="695"/>
                  </a:lnTo>
                  <a:lnTo>
                    <a:pt x="995" y="697"/>
                  </a:lnTo>
                  <a:lnTo>
                    <a:pt x="997" y="695"/>
                  </a:lnTo>
                  <a:lnTo>
                    <a:pt x="997" y="695"/>
                  </a:lnTo>
                  <a:lnTo>
                    <a:pt x="997" y="693"/>
                  </a:lnTo>
                  <a:lnTo>
                    <a:pt x="997" y="693"/>
                  </a:lnTo>
                  <a:lnTo>
                    <a:pt x="997" y="693"/>
                  </a:lnTo>
                  <a:lnTo>
                    <a:pt x="995" y="691"/>
                  </a:lnTo>
                  <a:lnTo>
                    <a:pt x="995" y="691"/>
                  </a:lnTo>
                  <a:lnTo>
                    <a:pt x="997" y="691"/>
                  </a:lnTo>
                  <a:lnTo>
                    <a:pt x="999" y="693"/>
                  </a:lnTo>
                  <a:lnTo>
                    <a:pt x="999" y="693"/>
                  </a:lnTo>
                  <a:lnTo>
                    <a:pt x="999" y="691"/>
                  </a:lnTo>
                  <a:lnTo>
                    <a:pt x="999" y="691"/>
                  </a:lnTo>
                  <a:lnTo>
                    <a:pt x="999" y="687"/>
                  </a:lnTo>
                  <a:lnTo>
                    <a:pt x="999" y="687"/>
                  </a:lnTo>
                  <a:lnTo>
                    <a:pt x="999" y="689"/>
                  </a:lnTo>
                  <a:lnTo>
                    <a:pt x="999" y="689"/>
                  </a:lnTo>
                  <a:lnTo>
                    <a:pt x="999" y="689"/>
                  </a:lnTo>
                  <a:lnTo>
                    <a:pt x="999" y="689"/>
                  </a:lnTo>
                  <a:lnTo>
                    <a:pt x="999" y="689"/>
                  </a:lnTo>
                  <a:lnTo>
                    <a:pt x="999" y="691"/>
                  </a:lnTo>
                  <a:lnTo>
                    <a:pt x="1002" y="691"/>
                  </a:lnTo>
                  <a:lnTo>
                    <a:pt x="1002" y="691"/>
                  </a:lnTo>
                  <a:lnTo>
                    <a:pt x="1002" y="691"/>
                  </a:lnTo>
                  <a:lnTo>
                    <a:pt x="1002" y="693"/>
                  </a:lnTo>
                  <a:lnTo>
                    <a:pt x="1004" y="693"/>
                  </a:lnTo>
                  <a:lnTo>
                    <a:pt x="1004" y="693"/>
                  </a:lnTo>
                  <a:lnTo>
                    <a:pt x="1004" y="693"/>
                  </a:lnTo>
                  <a:lnTo>
                    <a:pt x="1004" y="691"/>
                  </a:lnTo>
                  <a:lnTo>
                    <a:pt x="1004" y="691"/>
                  </a:lnTo>
                  <a:lnTo>
                    <a:pt x="1004" y="691"/>
                  </a:lnTo>
                  <a:lnTo>
                    <a:pt x="1004" y="689"/>
                  </a:lnTo>
                  <a:lnTo>
                    <a:pt x="1006" y="691"/>
                  </a:lnTo>
                  <a:lnTo>
                    <a:pt x="1006" y="691"/>
                  </a:lnTo>
                  <a:lnTo>
                    <a:pt x="1006" y="691"/>
                  </a:lnTo>
                  <a:lnTo>
                    <a:pt x="1006" y="689"/>
                  </a:lnTo>
                  <a:lnTo>
                    <a:pt x="1004" y="689"/>
                  </a:lnTo>
                  <a:lnTo>
                    <a:pt x="1004" y="687"/>
                  </a:lnTo>
                  <a:lnTo>
                    <a:pt x="1004" y="687"/>
                  </a:lnTo>
                  <a:lnTo>
                    <a:pt x="1006" y="687"/>
                  </a:lnTo>
                  <a:lnTo>
                    <a:pt x="1006" y="687"/>
                  </a:lnTo>
                  <a:lnTo>
                    <a:pt x="1006" y="687"/>
                  </a:lnTo>
                  <a:lnTo>
                    <a:pt x="1008" y="687"/>
                  </a:lnTo>
                  <a:lnTo>
                    <a:pt x="1008" y="687"/>
                  </a:lnTo>
                  <a:lnTo>
                    <a:pt x="1008" y="684"/>
                  </a:lnTo>
                  <a:lnTo>
                    <a:pt x="1008" y="684"/>
                  </a:lnTo>
                  <a:lnTo>
                    <a:pt x="1006" y="684"/>
                  </a:lnTo>
                  <a:lnTo>
                    <a:pt x="1008" y="684"/>
                  </a:lnTo>
                  <a:lnTo>
                    <a:pt x="1008" y="682"/>
                  </a:lnTo>
                  <a:lnTo>
                    <a:pt x="1010" y="682"/>
                  </a:lnTo>
                  <a:lnTo>
                    <a:pt x="1008" y="680"/>
                  </a:lnTo>
                  <a:lnTo>
                    <a:pt x="1008" y="680"/>
                  </a:lnTo>
                  <a:lnTo>
                    <a:pt x="1008" y="680"/>
                  </a:lnTo>
                  <a:lnTo>
                    <a:pt x="1008" y="680"/>
                  </a:lnTo>
                  <a:lnTo>
                    <a:pt x="1008" y="680"/>
                  </a:lnTo>
                  <a:lnTo>
                    <a:pt x="1008" y="680"/>
                  </a:lnTo>
                  <a:lnTo>
                    <a:pt x="1008" y="682"/>
                  </a:lnTo>
                  <a:lnTo>
                    <a:pt x="1008" y="682"/>
                  </a:lnTo>
                  <a:lnTo>
                    <a:pt x="1006" y="682"/>
                  </a:lnTo>
                  <a:lnTo>
                    <a:pt x="1006" y="682"/>
                  </a:lnTo>
                  <a:lnTo>
                    <a:pt x="1006" y="682"/>
                  </a:lnTo>
                  <a:lnTo>
                    <a:pt x="1006" y="682"/>
                  </a:lnTo>
                  <a:lnTo>
                    <a:pt x="1004" y="682"/>
                  </a:lnTo>
                  <a:lnTo>
                    <a:pt x="1004" y="682"/>
                  </a:lnTo>
                  <a:lnTo>
                    <a:pt x="1004" y="684"/>
                  </a:lnTo>
                  <a:lnTo>
                    <a:pt x="1004" y="684"/>
                  </a:lnTo>
                  <a:lnTo>
                    <a:pt x="1004" y="684"/>
                  </a:lnTo>
                  <a:lnTo>
                    <a:pt x="1002" y="684"/>
                  </a:lnTo>
                  <a:lnTo>
                    <a:pt x="1004" y="684"/>
                  </a:lnTo>
                  <a:lnTo>
                    <a:pt x="1004" y="682"/>
                  </a:lnTo>
                  <a:lnTo>
                    <a:pt x="1004" y="682"/>
                  </a:lnTo>
                  <a:lnTo>
                    <a:pt x="1002" y="682"/>
                  </a:lnTo>
                  <a:lnTo>
                    <a:pt x="1004" y="682"/>
                  </a:lnTo>
                  <a:lnTo>
                    <a:pt x="1004" y="680"/>
                  </a:lnTo>
                  <a:lnTo>
                    <a:pt x="1004" y="680"/>
                  </a:lnTo>
                  <a:lnTo>
                    <a:pt x="1006" y="680"/>
                  </a:lnTo>
                  <a:lnTo>
                    <a:pt x="1006" y="680"/>
                  </a:lnTo>
                  <a:lnTo>
                    <a:pt x="1008" y="680"/>
                  </a:lnTo>
                  <a:lnTo>
                    <a:pt x="1008" y="680"/>
                  </a:lnTo>
                  <a:lnTo>
                    <a:pt x="1008" y="678"/>
                  </a:lnTo>
                  <a:lnTo>
                    <a:pt x="1008" y="678"/>
                  </a:lnTo>
                  <a:lnTo>
                    <a:pt x="1008" y="678"/>
                  </a:lnTo>
                  <a:lnTo>
                    <a:pt x="1010" y="678"/>
                  </a:lnTo>
                  <a:lnTo>
                    <a:pt x="1010" y="678"/>
                  </a:lnTo>
                  <a:lnTo>
                    <a:pt x="1012" y="678"/>
                  </a:lnTo>
                  <a:lnTo>
                    <a:pt x="1012" y="678"/>
                  </a:lnTo>
                  <a:lnTo>
                    <a:pt x="1012" y="678"/>
                  </a:lnTo>
                  <a:lnTo>
                    <a:pt x="1012" y="676"/>
                  </a:lnTo>
                  <a:lnTo>
                    <a:pt x="1012" y="676"/>
                  </a:lnTo>
                  <a:lnTo>
                    <a:pt x="1012" y="676"/>
                  </a:lnTo>
                  <a:lnTo>
                    <a:pt x="1010" y="676"/>
                  </a:lnTo>
                  <a:lnTo>
                    <a:pt x="1010" y="676"/>
                  </a:lnTo>
                  <a:lnTo>
                    <a:pt x="1010" y="676"/>
                  </a:lnTo>
                  <a:lnTo>
                    <a:pt x="1010" y="676"/>
                  </a:lnTo>
                  <a:lnTo>
                    <a:pt x="1010" y="676"/>
                  </a:lnTo>
                  <a:lnTo>
                    <a:pt x="1010" y="674"/>
                  </a:lnTo>
                  <a:lnTo>
                    <a:pt x="1010" y="672"/>
                  </a:lnTo>
                  <a:lnTo>
                    <a:pt x="1010" y="672"/>
                  </a:lnTo>
                  <a:lnTo>
                    <a:pt x="1010" y="672"/>
                  </a:lnTo>
                  <a:lnTo>
                    <a:pt x="1012" y="672"/>
                  </a:lnTo>
                  <a:lnTo>
                    <a:pt x="1012" y="672"/>
                  </a:lnTo>
                  <a:lnTo>
                    <a:pt x="1014" y="672"/>
                  </a:lnTo>
                  <a:lnTo>
                    <a:pt x="1014" y="672"/>
                  </a:lnTo>
                  <a:lnTo>
                    <a:pt x="1014" y="672"/>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68"/>
                  </a:lnTo>
                  <a:lnTo>
                    <a:pt x="1014" y="668"/>
                  </a:lnTo>
                  <a:lnTo>
                    <a:pt x="1016" y="668"/>
                  </a:lnTo>
                  <a:lnTo>
                    <a:pt x="1016" y="666"/>
                  </a:lnTo>
                  <a:lnTo>
                    <a:pt x="1016" y="666"/>
                  </a:lnTo>
                  <a:lnTo>
                    <a:pt x="1014" y="666"/>
                  </a:lnTo>
                  <a:lnTo>
                    <a:pt x="1014" y="666"/>
                  </a:lnTo>
                  <a:lnTo>
                    <a:pt x="1016" y="666"/>
                  </a:lnTo>
                  <a:lnTo>
                    <a:pt x="1016" y="666"/>
                  </a:lnTo>
                  <a:lnTo>
                    <a:pt x="1018" y="666"/>
                  </a:lnTo>
                  <a:lnTo>
                    <a:pt x="1020" y="664"/>
                  </a:lnTo>
                  <a:lnTo>
                    <a:pt x="1022" y="664"/>
                  </a:lnTo>
                  <a:lnTo>
                    <a:pt x="1022" y="664"/>
                  </a:lnTo>
                  <a:lnTo>
                    <a:pt x="1024" y="664"/>
                  </a:lnTo>
                  <a:lnTo>
                    <a:pt x="1024" y="662"/>
                  </a:lnTo>
                  <a:lnTo>
                    <a:pt x="1024" y="662"/>
                  </a:lnTo>
                  <a:lnTo>
                    <a:pt x="1024" y="662"/>
                  </a:lnTo>
                  <a:lnTo>
                    <a:pt x="1026" y="662"/>
                  </a:lnTo>
                  <a:lnTo>
                    <a:pt x="1028" y="660"/>
                  </a:lnTo>
                  <a:lnTo>
                    <a:pt x="1028" y="658"/>
                  </a:lnTo>
                  <a:lnTo>
                    <a:pt x="1028" y="658"/>
                  </a:lnTo>
                  <a:lnTo>
                    <a:pt x="1028" y="656"/>
                  </a:lnTo>
                  <a:lnTo>
                    <a:pt x="1028" y="654"/>
                  </a:lnTo>
                  <a:lnTo>
                    <a:pt x="1030" y="654"/>
                  </a:lnTo>
                  <a:lnTo>
                    <a:pt x="1030" y="654"/>
                  </a:lnTo>
                  <a:lnTo>
                    <a:pt x="1032" y="654"/>
                  </a:lnTo>
                  <a:lnTo>
                    <a:pt x="1032" y="652"/>
                  </a:lnTo>
                  <a:lnTo>
                    <a:pt x="1032" y="652"/>
                  </a:lnTo>
                  <a:lnTo>
                    <a:pt x="1032" y="652"/>
                  </a:lnTo>
                  <a:lnTo>
                    <a:pt x="1030" y="652"/>
                  </a:lnTo>
                  <a:lnTo>
                    <a:pt x="1030" y="652"/>
                  </a:lnTo>
                  <a:lnTo>
                    <a:pt x="1030" y="652"/>
                  </a:lnTo>
                  <a:lnTo>
                    <a:pt x="1030" y="652"/>
                  </a:lnTo>
                  <a:lnTo>
                    <a:pt x="1032" y="652"/>
                  </a:lnTo>
                  <a:lnTo>
                    <a:pt x="1032" y="652"/>
                  </a:lnTo>
                  <a:lnTo>
                    <a:pt x="1030" y="652"/>
                  </a:lnTo>
                  <a:lnTo>
                    <a:pt x="1030" y="652"/>
                  </a:lnTo>
                  <a:lnTo>
                    <a:pt x="1030" y="650"/>
                  </a:lnTo>
                  <a:lnTo>
                    <a:pt x="1030" y="650"/>
                  </a:lnTo>
                  <a:lnTo>
                    <a:pt x="1030" y="650"/>
                  </a:lnTo>
                  <a:lnTo>
                    <a:pt x="1030" y="650"/>
                  </a:lnTo>
                  <a:lnTo>
                    <a:pt x="1030" y="648"/>
                  </a:lnTo>
                  <a:lnTo>
                    <a:pt x="1030" y="648"/>
                  </a:lnTo>
                  <a:lnTo>
                    <a:pt x="1028" y="648"/>
                  </a:lnTo>
                  <a:lnTo>
                    <a:pt x="1028" y="646"/>
                  </a:lnTo>
                  <a:lnTo>
                    <a:pt x="1028" y="646"/>
                  </a:lnTo>
                  <a:lnTo>
                    <a:pt x="1026" y="646"/>
                  </a:lnTo>
                  <a:lnTo>
                    <a:pt x="1026" y="646"/>
                  </a:lnTo>
                  <a:lnTo>
                    <a:pt x="1026" y="646"/>
                  </a:lnTo>
                  <a:lnTo>
                    <a:pt x="1026" y="646"/>
                  </a:lnTo>
                  <a:lnTo>
                    <a:pt x="1026" y="646"/>
                  </a:lnTo>
                  <a:lnTo>
                    <a:pt x="1024" y="646"/>
                  </a:lnTo>
                  <a:lnTo>
                    <a:pt x="1024" y="646"/>
                  </a:lnTo>
                  <a:lnTo>
                    <a:pt x="1024" y="646"/>
                  </a:lnTo>
                  <a:lnTo>
                    <a:pt x="1024" y="646"/>
                  </a:lnTo>
                  <a:lnTo>
                    <a:pt x="1022" y="646"/>
                  </a:lnTo>
                  <a:lnTo>
                    <a:pt x="1022" y="643"/>
                  </a:lnTo>
                  <a:lnTo>
                    <a:pt x="1022" y="643"/>
                  </a:lnTo>
                  <a:lnTo>
                    <a:pt x="1022" y="643"/>
                  </a:lnTo>
                  <a:lnTo>
                    <a:pt x="1020" y="641"/>
                  </a:lnTo>
                  <a:lnTo>
                    <a:pt x="1020" y="641"/>
                  </a:lnTo>
                  <a:lnTo>
                    <a:pt x="1018" y="641"/>
                  </a:lnTo>
                  <a:lnTo>
                    <a:pt x="1018" y="641"/>
                  </a:lnTo>
                  <a:lnTo>
                    <a:pt x="1016" y="641"/>
                  </a:lnTo>
                  <a:lnTo>
                    <a:pt x="1016" y="641"/>
                  </a:lnTo>
                  <a:lnTo>
                    <a:pt x="1012" y="641"/>
                  </a:lnTo>
                  <a:lnTo>
                    <a:pt x="1010" y="641"/>
                  </a:lnTo>
                  <a:lnTo>
                    <a:pt x="1010" y="641"/>
                  </a:lnTo>
                  <a:lnTo>
                    <a:pt x="1010" y="643"/>
                  </a:lnTo>
                  <a:lnTo>
                    <a:pt x="1008" y="643"/>
                  </a:lnTo>
                  <a:lnTo>
                    <a:pt x="1008" y="643"/>
                  </a:lnTo>
                  <a:lnTo>
                    <a:pt x="1008" y="643"/>
                  </a:lnTo>
                  <a:lnTo>
                    <a:pt x="1008" y="641"/>
                  </a:lnTo>
                  <a:lnTo>
                    <a:pt x="1008" y="641"/>
                  </a:lnTo>
                  <a:lnTo>
                    <a:pt x="1008" y="641"/>
                  </a:lnTo>
                  <a:lnTo>
                    <a:pt x="1008" y="639"/>
                  </a:lnTo>
                  <a:lnTo>
                    <a:pt x="1008" y="639"/>
                  </a:lnTo>
                  <a:lnTo>
                    <a:pt x="1008" y="639"/>
                  </a:lnTo>
                  <a:lnTo>
                    <a:pt x="1008" y="639"/>
                  </a:lnTo>
                  <a:lnTo>
                    <a:pt x="1008" y="639"/>
                  </a:lnTo>
                  <a:lnTo>
                    <a:pt x="1008" y="639"/>
                  </a:lnTo>
                  <a:lnTo>
                    <a:pt x="1008" y="637"/>
                  </a:lnTo>
                  <a:lnTo>
                    <a:pt x="1006" y="639"/>
                  </a:lnTo>
                  <a:lnTo>
                    <a:pt x="1006" y="639"/>
                  </a:lnTo>
                  <a:lnTo>
                    <a:pt x="1006" y="637"/>
                  </a:lnTo>
                  <a:lnTo>
                    <a:pt x="1006" y="637"/>
                  </a:lnTo>
                  <a:lnTo>
                    <a:pt x="1006" y="637"/>
                  </a:lnTo>
                  <a:lnTo>
                    <a:pt x="1006" y="637"/>
                  </a:lnTo>
                  <a:lnTo>
                    <a:pt x="1006" y="637"/>
                  </a:lnTo>
                  <a:lnTo>
                    <a:pt x="1006" y="637"/>
                  </a:lnTo>
                  <a:lnTo>
                    <a:pt x="1006" y="637"/>
                  </a:lnTo>
                  <a:lnTo>
                    <a:pt x="1006" y="637"/>
                  </a:lnTo>
                  <a:lnTo>
                    <a:pt x="1008" y="635"/>
                  </a:lnTo>
                  <a:lnTo>
                    <a:pt x="1008" y="635"/>
                  </a:lnTo>
                  <a:lnTo>
                    <a:pt x="1008" y="635"/>
                  </a:lnTo>
                  <a:lnTo>
                    <a:pt x="1008" y="635"/>
                  </a:lnTo>
                  <a:lnTo>
                    <a:pt x="1010" y="635"/>
                  </a:lnTo>
                  <a:lnTo>
                    <a:pt x="1010" y="633"/>
                  </a:lnTo>
                  <a:lnTo>
                    <a:pt x="1008" y="633"/>
                  </a:lnTo>
                  <a:lnTo>
                    <a:pt x="1008" y="633"/>
                  </a:lnTo>
                  <a:lnTo>
                    <a:pt x="1008" y="631"/>
                  </a:lnTo>
                  <a:lnTo>
                    <a:pt x="1008" y="631"/>
                  </a:lnTo>
                  <a:lnTo>
                    <a:pt x="1010" y="629"/>
                  </a:lnTo>
                  <a:lnTo>
                    <a:pt x="1010" y="629"/>
                  </a:lnTo>
                  <a:lnTo>
                    <a:pt x="1012" y="627"/>
                  </a:lnTo>
                  <a:lnTo>
                    <a:pt x="1014" y="627"/>
                  </a:lnTo>
                  <a:lnTo>
                    <a:pt x="1014" y="625"/>
                  </a:lnTo>
                  <a:lnTo>
                    <a:pt x="1014" y="627"/>
                  </a:lnTo>
                  <a:lnTo>
                    <a:pt x="1014" y="625"/>
                  </a:lnTo>
                  <a:lnTo>
                    <a:pt x="1012" y="625"/>
                  </a:lnTo>
                  <a:lnTo>
                    <a:pt x="1012" y="625"/>
                  </a:lnTo>
                  <a:lnTo>
                    <a:pt x="1012" y="627"/>
                  </a:lnTo>
                  <a:lnTo>
                    <a:pt x="1010" y="627"/>
                  </a:lnTo>
                  <a:lnTo>
                    <a:pt x="1010" y="627"/>
                  </a:lnTo>
                  <a:lnTo>
                    <a:pt x="1008" y="625"/>
                  </a:lnTo>
                  <a:lnTo>
                    <a:pt x="1010" y="625"/>
                  </a:lnTo>
                  <a:lnTo>
                    <a:pt x="1010" y="625"/>
                  </a:lnTo>
                  <a:lnTo>
                    <a:pt x="1010" y="625"/>
                  </a:lnTo>
                  <a:lnTo>
                    <a:pt x="1012" y="625"/>
                  </a:lnTo>
                  <a:lnTo>
                    <a:pt x="1012" y="625"/>
                  </a:lnTo>
                  <a:lnTo>
                    <a:pt x="1012" y="625"/>
                  </a:lnTo>
                  <a:lnTo>
                    <a:pt x="1012" y="625"/>
                  </a:lnTo>
                  <a:lnTo>
                    <a:pt x="1012" y="625"/>
                  </a:lnTo>
                  <a:lnTo>
                    <a:pt x="1014" y="625"/>
                  </a:lnTo>
                  <a:lnTo>
                    <a:pt x="1014" y="623"/>
                  </a:lnTo>
                  <a:lnTo>
                    <a:pt x="1014" y="623"/>
                  </a:lnTo>
                  <a:lnTo>
                    <a:pt x="1014" y="623"/>
                  </a:lnTo>
                  <a:lnTo>
                    <a:pt x="1016" y="623"/>
                  </a:lnTo>
                  <a:lnTo>
                    <a:pt x="1016" y="623"/>
                  </a:lnTo>
                  <a:lnTo>
                    <a:pt x="1018" y="623"/>
                  </a:lnTo>
                  <a:lnTo>
                    <a:pt x="1020" y="623"/>
                  </a:lnTo>
                  <a:lnTo>
                    <a:pt x="1020" y="621"/>
                  </a:lnTo>
                  <a:lnTo>
                    <a:pt x="1020" y="621"/>
                  </a:lnTo>
                  <a:lnTo>
                    <a:pt x="1020" y="621"/>
                  </a:lnTo>
                  <a:lnTo>
                    <a:pt x="1020" y="619"/>
                  </a:lnTo>
                  <a:lnTo>
                    <a:pt x="1018" y="617"/>
                  </a:lnTo>
                  <a:lnTo>
                    <a:pt x="1018" y="617"/>
                  </a:lnTo>
                  <a:lnTo>
                    <a:pt x="1016" y="617"/>
                  </a:lnTo>
                  <a:lnTo>
                    <a:pt x="1016" y="617"/>
                  </a:lnTo>
                  <a:lnTo>
                    <a:pt x="1016" y="617"/>
                  </a:lnTo>
                  <a:lnTo>
                    <a:pt x="1016" y="617"/>
                  </a:lnTo>
                  <a:lnTo>
                    <a:pt x="1018" y="617"/>
                  </a:lnTo>
                  <a:lnTo>
                    <a:pt x="1018" y="617"/>
                  </a:lnTo>
                  <a:lnTo>
                    <a:pt x="1022" y="617"/>
                  </a:lnTo>
                  <a:lnTo>
                    <a:pt x="1024" y="615"/>
                  </a:lnTo>
                  <a:lnTo>
                    <a:pt x="1024" y="615"/>
                  </a:lnTo>
                  <a:lnTo>
                    <a:pt x="1024" y="613"/>
                  </a:lnTo>
                  <a:lnTo>
                    <a:pt x="1024" y="613"/>
                  </a:lnTo>
                  <a:lnTo>
                    <a:pt x="1022" y="613"/>
                  </a:lnTo>
                  <a:lnTo>
                    <a:pt x="1022" y="613"/>
                  </a:lnTo>
                  <a:lnTo>
                    <a:pt x="1020" y="613"/>
                  </a:lnTo>
                  <a:lnTo>
                    <a:pt x="1020" y="611"/>
                  </a:lnTo>
                  <a:lnTo>
                    <a:pt x="1022" y="611"/>
                  </a:lnTo>
                  <a:lnTo>
                    <a:pt x="1022" y="611"/>
                  </a:lnTo>
                  <a:lnTo>
                    <a:pt x="1022" y="611"/>
                  </a:lnTo>
                  <a:lnTo>
                    <a:pt x="1022" y="609"/>
                  </a:lnTo>
                  <a:lnTo>
                    <a:pt x="1022" y="609"/>
                  </a:lnTo>
                  <a:lnTo>
                    <a:pt x="1022" y="609"/>
                  </a:lnTo>
                  <a:lnTo>
                    <a:pt x="1022" y="609"/>
                  </a:lnTo>
                  <a:lnTo>
                    <a:pt x="1022" y="609"/>
                  </a:lnTo>
                  <a:lnTo>
                    <a:pt x="1022" y="609"/>
                  </a:lnTo>
                  <a:lnTo>
                    <a:pt x="1022" y="609"/>
                  </a:lnTo>
                  <a:lnTo>
                    <a:pt x="1022" y="611"/>
                  </a:lnTo>
                  <a:lnTo>
                    <a:pt x="1024" y="611"/>
                  </a:lnTo>
                  <a:lnTo>
                    <a:pt x="1024" y="613"/>
                  </a:lnTo>
                  <a:lnTo>
                    <a:pt x="1024" y="613"/>
                  </a:lnTo>
                  <a:lnTo>
                    <a:pt x="1026" y="611"/>
                  </a:lnTo>
                  <a:lnTo>
                    <a:pt x="1026" y="611"/>
                  </a:lnTo>
                  <a:lnTo>
                    <a:pt x="1026" y="611"/>
                  </a:lnTo>
                  <a:lnTo>
                    <a:pt x="1026" y="611"/>
                  </a:lnTo>
                  <a:lnTo>
                    <a:pt x="1026" y="609"/>
                  </a:lnTo>
                  <a:lnTo>
                    <a:pt x="1026" y="607"/>
                  </a:lnTo>
                  <a:lnTo>
                    <a:pt x="1026" y="607"/>
                  </a:lnTo>
                  <a:lnTo>
                    <a:pt x="1026" y="605"/>
                  </a:lnTo>
                  <a:lnTo>
                    <a:pt x="1026" y="605"/>
                  </a:lnTo>
                  <a:lnTo>
                    <a:pt x="1026" y="605"/>
                  </a:lnTo>
                  <a:lnTo>
                    <a:pt x="1028" y="607"/>
                  </a:lnTo>
                  <a:lnTo>
                    <a:pt x="1030" y="607"/>
                  </a:lnTo>
                  <a:lnTo>
                    <a:pt x="1030" y="609"/>
                  </a:lnTo>
                  <a:lnTo>
                    <a:pt x="1030" y="607"/>
                  </a:lnTo>
                  <a:lnTo>
                    <a:pt x="1028" y="607"/>
                  </a:lnTo>
                  <a:lnTo>
                    <a:pt x="1028" y="611"/>
                  </a:lnTo>
                  <a:lnTo>
                    <a:pt x="1028" y="611"/>
                  </a:lnTo>
                  <a:lnTo>
                    <a:pt x="1028" y="611"/>
                  </a:lnTo>
                  <a:lnTo>
                    <a:pt x="1028" y="611"/>
                  </a:lnTo>
                  <a:lnTo>
                    <a:pt x="1028" y="611"/>
                  </a:lnTo>
                  <a:lnTo>
                    <a:pt x="1028" y="611"/>
                  </a:lnTo>
                  <a:lnTo>
                    <a:pt x="1030" y="613"/>
                  </a:lnTo>
                  <a:lnTo>
                    <a:pt x="1030" y="613"/>
                  </a:lnTo>
                  <a:lnTo>
                    <a:pt x="1030" y="613"/>
                  </a:lnTo>
                  <a:lnTo>
                    <a:pt x="1030" y="611"/>
                  </a:lnTo>
                  <a:lnTo>
                    <a:pt x="1030" y="611"/>
                  </a:lnTo>
                  <a:lnTo>
                    <a:pt x="1030" y="611"/>
                  </a:lnTo>
                  <a:lnTo>
                    <a:pt x="1030" y="611"/>
                  </a:lnTo>
                  <a:lnTo>
                    <a:pt x="1030" y="611"/>
                  </a:lnTo>
                  <a:lnTo>
                    <a:pt x="1030" y="609"/>
                  </a:lnTo>
                  <a:lnTo>
                    <a:pt x="1030" y="609"/>
                  </a:lnTo>
                  <a:lnTo>
                    <a:pt x="1032" y="611"/>
                  </a:lnTo>
                  <a:lnTo>
                    <a:pt x="1032" y="611"/>
                  </a:lnTo>
                  <a:lnTo>
                    <a:pt x="1032" y="611"/>
                  </a:lnTo>
                  <a:lnTo>
                    <a:pt x="1032" y="611"/>
                  </a:lnTo>
                  <a:lnTo>
                    <a:pt x="1034" y="611"/>
                  </a:lnTo>
                  <a:lnTo>
                    <a:pt x="1034" y="611"/>
                  </a:lnTo>
                  <a:lnTo>
                    <a:pt x="1034" y="611"/>
                  </a:lnTo>
                  <a:lnTo>
                    <a:pt x="1034" y="609"/>
                  </a:lnTo>
                  <a:lnTo>
                    <a:pt x="1036" y="609"/>
                  </a:lnTo>
                  <a:lnTo>
                    <a:pt x="1036" y="609"/>
                  </a:lnTo>
                  <a:lnTo>
                    <a:pt x="1038" y="607"/>
                  </a:lnTo>
                  <a:lnTo>
                    <a:pt x="1038" y="605"/>
                  </a:lnTo>
                  <a:lnTo>
                    <a:pt x="1038" y="605"/>
                  </a:lnTo>
                  <a:lnTo>
                    <a:pt x="1038" y="605"/>
                  </a:lnTo>
                  <a:lnTo>
                    <a:pt x="1038" y="603"/>
                  </a:lnTo>
                  <a:lnTo>
                    <a:pt x="1038" y="603"/>
                  </a:lnTo>
                  <a:lnTo>
                    <a:pt x="1038" y="603"/>
                  </a:lnTo>
                  <a:lnTo>
                    <a:pt x="1038" y="603"/>
                  </a:lnTo>
                  <a:lnTo>
                    <a:pt x="1036" y="603"/>
                  </a:lnTo>
                  <a:lnTo>
                    <a:pt x="1034" y="603"/>
                  </a:lnTo>
                  <a:lnTo>
                    <a:pt x="1034" y="603"/>
                  </a:lnTo>
                  <a:lnTo>
                    <a:pt x="1034" y="603"/>
                  </a:lnTo>
                  <a:lnTo>
                    <a:pt x="1034" y="603"/>
                  </a:lnTo>
                  <a:lnTo>
                    <a:pt x="1032" y="603"/>
                  </a:lnTo>
                  <a:lnTo>
                    <a:pt x="1032" y="603"/>
                  </a:lnTo>
                  <a:lnTo>
                    <a:pt x="1030" y="603"/>
                  </a:lnTo>
                  <a:lnTo>
                    <a:pt x="1030" y="603"/>
                  </a:lnTo>
                  <a:lnTo>
                    <a:pt x="1032" y="600"/>
                  </a:lnTo>
                  <a:lnTo>
                    <a:pt x="1032" y="600"/>
                  </a:lnTo>
                  <a:lnTo>
                    <a:pt x="1032" y="600"/>
                  </a:lnTo>
                  <a:lnTo>
                    <a:pt x="1036" y="598"/>
                  </a:lnTo>
                  <a:lnTo>
                    <a:pt x="1036" y="598"/>
                  </a:lnTo>
                  <a:lnTo>
                    <a:pt x="1038" y="598"/>
                  </a:lnTo>
                  <a:lnTo>
                    <a:pt x="1040" y="598"/>
                  </a:lnTo>
                  <a:lnTo>
                    <a:pt x="1040" y="598"/>
                  </a:lnTo>
                  <a:lnTo>
                    <a:pt x="1040" y="598"/>
                  </a:lnTo>
                  <a:lnTo>
                    <a:pt x="1043" y="598"/>
                  </a:lnTo>
                  <a:lnTo>
                    <a:pt x="1043" y="598"/>
                  </a:lnTo>
                  <a:lnTo>
                    <a:pt x="1043" y="598"/>
                  </a:lnTo>
                  <a:lnTo>
                    <a:pt x="1043" y="598"/>
                  </a:lnTo>
                  <a:lnTo>
                    <a:pt x="1045" y="598"/>
                  </a:lnTo>
                  <a:lnTo>
                    <a:pt x="1047" y="596"/>
                  </a:lnTo>
                  <a:lnTo>
                    <a:pt x="1047" y="596"/>
                  </a:lnTo>
                  <a:lnTo>
                    <a:pt x="1047" y="594"/>
                  </a:lnTo>
                  <a:lnTo>
                    <a:pt x="1047" y="594"/>
                  </a:lnTo>
                  <a:lnTo>
                    <a:pt x="1047" y="592"/>
                  </a:lnTo>
                  <a:lnTo>
                    <a:pt x="1049" y="592"/>
                  </a:lnTo>
                  <a:lnTo>
                    <a:pt x="1049" y="592"/>
                  </a:lnTo>
                  <a:lnTo>
                    <a:pt x="1049" y="592"/>
                  </a:lnTo>
                  <a:lnTo>
                    <a:pt x="1049" y="590"/>
                  </a:lnTo>
                  <a:lnTo>
                    <a:pt x="1049" y="590"/>
                  </a:lnTo>
                  <a:lnTo>
                    <a:pt x="1049" y="590"/>
                  </a:lnTo>
                  <a:lnTo>
                    <a:pt x="1049" y="588"/>
                  </a:lnTo>
                  <a:lnTo>
                    <a:pt x="1049" y="588"/>
                  </a:lnTo>
                  <a:lnTo>
                    <a:pt x="1049" y="588"/>
                  </a:lnTo>
                  <a:lnTo>
                    <a:pt x="1047" y="586"/>
                  </a:lnTo>
                  <a:lnTo>
                    <a:pt x="1047" y="586"/>
                  </a:lnTo>
                  <a:lnTo>
                    <a:pt x="1047" y="586"/>
                  </a:lnTo>
                  <a:lnTo>
                    <a:pt x="1047" y="586"/>
                  </a:lnTo>
                  <a:lnTo>
                    <a:pt x="1047" y="584"/>
                  </a:lnTo>
                  <a:lnTo>
                    <a:pt x="1047" y="584"/>
                  </a:lnTo>
                  <a:lnTo>
                    <a:pt x="1047" y="584"/>
                  </a:lnTo>
                  <a:lnTo>
                    <a:pt x="1047" y="584"/>
                  </a:lnTo>
                  <a:lnTo>
                    <a:pt x="1047" y="584"/>
                  </a:lnTo>
                  <a:lnTo>
                    <a:pt x="1047" y="584"/>
                  </a:lnTo>
                  <a:lnTo>
                    <a:pt x="1045" y="584"/>
                  </a:lnTo>
                  <a:lnTo>
                    <a:pt x="1045" y="584"/>
                  </a:lnTo>
                  <a:lnTo>
                    <a:pt x="1045" y="584"/>
                  </a:lnTo>
                  <a:lnTo>
                    <a:pt x="1045" y="582"/>
                  </a:lnTo>
                  <a:lnTo>
                    <a:pt x="1043" y="582"/>
                  </a:lnTo>
                  <a:lnTo>
                    <a:pt x="1040" y="580"/>
                  </a:lnTo>
                  <a:lnTo>
                    <a:pt x="1040" y="580"/>
                  </a:lnTo>
                  <a:lnTo>
                    <a:pt x="1040" y="580"/>
                  </a:lnTo>
                  <a:lnTo>
                    <a:pt x="1040" y="580"/>
                  </a:lnTo>
                  <a:lnTo>
                    <a:pt x="1040" y="578"/>
                  </a:lnTo>
                  <a:lnTo>
                    <a:pt x="1040" y="578"/>
                  </a:lnTo>
                  <a:lnTo>
                    <a:pt x="1038" y="578"/>
                  </a:lnTo>
                  <a:lnTo>
                    <a:pt x="1038" y="578"/>
                  </a:lnTo>
                  <a:lnTo>
                    <a:pt x="1036" y="578"/>
                  </a:lnTo>
                  <a:lnTo>
                    <a:pt x="1036" y="578"/>
                  </a:lnTo>
                  <a:lnTo>
                    <a:pt x="1036" y="578"/>
                  </a:lnTo>
                  <a:lnTo>
                    <a:pt x="1036" y="578"/>
                  </a:lnTo>
                  <a:lnTo>
                    <a:pt x="1036" y="578"/>
                  </a:lnTo>
                  <a:lnTo>
                    <a:pt x="1036" y="578"/>
                  </a:lnTo>
                  <a:lnTo>
                    <a:pt x="1036" y="576"/>
                  </a:lnTo>
                  <a:lnTo>
                    <a:pt x="1038" y="576"/>
                  </a:lnTo>
                  <a:lnTo>
                    <a:pt x="1040" y="576"/>
                  </a:lnTo>
                  <a:lnTo>
                    <a:pt x="1040" y="576"/>
                  </a:lnTo>
                  <a:lnTo>
                    <a:pt x="1040" y="578"/>
                  </a:lnTo>
                  <a:lnTo>
                    <a:pt x="1040" y="578"/>
                  </a:lnTo>
                  <a:lnTo>
                    <a:pt x="1040" y="580"/>
                  </a:lnTo>
                  <a:lnTo>
                    <a:pt x="1043" y="578"/>
                  </a:lnTo>
                  <a:lnTo>
                    <a:pt x="1043" y="578"/>
                  </a:lnTo>
                  <a:lnTo>
                    <a:pt x="1045" y="580"/>
                  </a:lnTo>
                  <a:lnTo>
                    <a:pt x="1045" y="580"/>
                  </a:lnTo>
                  <a:lnTo>
                    <a:pt x="1043" y="580"/>
                  </a:lnTo>
                  <a:lnTo>
                    <a:pt x="1043" y="580"/>
                  </a:lnTo>
                  <a:lnTo>
                    <a:pt x="1043" y="580"/>
                  </a:lnTo>
                  <a:lnTo>
                    <a:pt x="1043" y="580"/>
                  </a:lnTo>
                  <a:lnTo>
                    <a:pt x="1043" y="580"/>
                  </a:lnTo>
                  <a:lnTo>
                    <a:pt x="1047" y="580"/>
                  </a:lnTo>
                  <a:lnTo>
                    <a:pt x="1047" y="580"/>
                  </a:lnTo>
                  <a:lnTo>
                    <a:pt x="1047" y="580"/>
                  </a:lnTo>
                  <a:lnTo>
                    <a:pt x="1049" y="580"/>
                  </a:lnTo>
                  <a:lnTo>
                    <a:pt x="1049" y="580"/>
                  </a:lnTo>
                  <a:lnTo>
                    <a:pt x="1051" y="578"/>
                  </a:lnTo>
                  <a:lnTo>
                    <a:pt x="1051" y="578"/>
                  </a:lnTo>
                  <a:lnTo>
                    <a:pt x="1053" y="578"/>
                  </a:lnTo>
                  <a:lnTo>
                    <a:pt x="1053" y="578"/>
                  </a:lnTo>
                  <a:lnTo>
                    <a:pt x="1053" y="576"/>
                  </a:lnTo>
                  <a:lnTo>
                    <a:pt x="1053" y="576"/>
                  </a:lnTo>
                  <a:lnTo>
                    <a:pt x="1053" y="576"/>
                  </a:lnTo>
                  <a:lnTo>
                    <a:pt x="1053" y="576"/>
                  </a:lnTo>
                  <a:lnTo>
                    <a:pt x="1055" y="574"/>
                  </a:lnTo>
                  <a:lnTo>
                    <a:pt x="1057" y="572"/>
                  </a:lnTo>
                  <a:lnTo>
                    <a:pt x="1057" y="572"/>
                  </a:lnTo>
                  <a:lnTo>
                    <a:pt x="1057" y="572"/>
                  </a:lnTo>
                  <a:lnTo>
                    <a:pt x="1055" y="570"/>
                  </a:lnTo>
                  <a:lnTo>
                    <a:pt x="1055" y="570"/>
                  </a:lnTo>
                  <a:lnTo>
                    <a:pt x="1055" y="568"/>
                  </a:lnTo>
                  <a:lnTo>
                    <a:pt x="1055" y="568"/>
                  </a:lnTo>
                  <a:lnTo>
                    <a:pt x="1055" y="568"/>
                  </a:lnTo>
                  <a:lnTo>
                    <a:pt x="1055" y="566"/>
                  </a:lnTo>
                  <a:lnTo>
                    <a:pt x="1057" y="564"/>
                  </a:lnTo>
                  <a:lnTo>
                    <a:pt x="1059" y="562"/>
                  </a:lnTo>
                  <a:lnTo>
                    <a:pt x="1059" y="562"/>
                  </a:lnTo>
                  <a:lnTo>
                    <a:pt x="1061" y="562"/>
                  </a:lnTo>
                  <a:lnTo>
                    <a:pt x="1061" y="562"/>
                  </a:lnTo>
                  <a:lnTo>
                    <a:pt x="1061" y="559"/>
                  </a:lnTo>
                  <a:lnTo>
                    <a:pt x="1061" y="557"/>
                  </a:lnTo>
                  <a:lnTo>
                    <a:pt x="1061" y="557"/>
                  </a:lnTo>
                  <a:lnTo>
                    <a:pt x="1061" y="557"/>
                  </a:lnTo>
                  <a:lnTo>
                    <a:pt x="1063" y="557"/>
                  </a:lnTo>
                  <a:lnTo>
                    <a:pt x="1063" y="557"/>
                  </a:lnTo>
                  <a:lnTo>
                    <a:pt x="1063" y="557"/>
                  </a:lnTo>
                  <a:lnTo>
                    <a:pt x="1065" y="555"/>
                  </a:lnTo>
                  <a:lnTo>
                    <a:pt x="1065" y="553"/>
                  </a:lnTo>
                  <a:lnTo>
                    <a:pt x="1065" y="553"/>
                  </a:lnTo>
                  <a:lnTo>
                    <a:pt x="1067" y="553"/>
                  </a:lnTo>
                  <a:lnTo>
                    <a:pt x="1067" y="553"/>
                  </a:lnTo>
                  <a:lnTo>
                    <a:pt x="1067" y="553"/>
                  </a:lnTo>
                  <a:lnTo>
                    <a:pt x="1067" y="553"/>
                  </a:lnTo>
                  <a:lnTo>
                    <a:pt x="1067" y="553"/>
                  </a:lnTo>
                  <a:lnTo>
                    <a:pt x="1069" y="553"/>
                  </a:lnTo>
                  <a:lnTo>
                    <a:pt x="1069" y="555"/>
                  </a:lnTo>
                  <a:lnTo>
                    <a:pt x="1071" y="553"/>
                  </a:lnTo>
                  <a:lnTo>
                    <a:pt x="1071" y="553"/>
                  </a:lnTo>
                  <a:lnTo>
                    <a:pt x="1067" y="549"/>
                  </a:lnTo>
                  <a:lnTo>
                    <a:pt x="1067" y="549"/>
                  </a:lnTo>
                  <a:lnTo>
                    <a:pt x="1067" y="547"/>
                  </a:lnTo>
                  <a:lnTo>
                    <a:pt x="1067" y="547"/>
                  </a:lnTo>
                  <a:lnTo>
                    <a:pt x="1069" y="545"/>
                  </a:lnTo>
                  <a:lnTo>
                    <a:pt x="1069" y="545"/>
                  </a:lnTo>
                  <a:lnTo>
                    <a:pt x="1069" y="543"/>
                  </a:lnTo>
                  <a:lnTo>
                    <a:pt x="1071" y="543"/>
                  </a:lnTo>
                  <a:lnTo>
                    <a:pt x="1071" y="543"/>
                  </a:lnTo>
                  <a:lnTo>
                    <a:pt x="1073" y="541"/>
                  </a:lnTo>
                  <a:lnTo>
                    <a:pt x="1073" y="539"/>
                  </a:lnTo>
                  <a:lnTo>
                    <a:pt x="1075" y="539"/>
                  </a:lnTo>
                  <a:lnTo>
                    <a:pt x="1075" y="539"/>
                  </a:lnTo>
                  <a:lnTo>
                    <a:pt x="1077" y="539"/>
                  </a:lnTo>
                  <a:lnTo>
                    <a:pt x="1079" y="539"/>
                  </a:lnTo>
                  <a:lnTo>
                    <a:pt x="1079" y="539"/>
                  </a:lnTo>
                  <a:lnTo>
                    <a:pt x="1079" y="537"/>
                  </a:lnTo>
                  <a:lnTo>
                    <a:pt x="1079" y="537"/>
                  </a:lnTo>
                  <a:lnTo>
                    <a:pt x="1081" y="537"/>
                  </a:lnTo>
                  <a:lnTo>
                    <a:pt x="1083" y="537"/>
                  </a:lnTo>
                  <a:lnTo>
                    <a:pt x="1083" y="535"/>
                  </a:lnTo>
                  <a:lnTo>
                    <a:pt x="1083" y="535"/>
                  </a:lnTo>
                  <a:lnTo>
                    <a:pt x="1083" y="535"/>
                  </a:lnTo>
                  <a:lnTo>
                    <a:pt x="1086" y="531"/>
                  </a:lnTo>
                  <a:lnTo>
                    <a:pt x="1086" y="531"/>
                  </a:lnTo>
                  <a:lnTo>
                    <a:pt x="1088" y="529"/>
                  </a:lnTo>
                  <a:lnTo>
                    <a:pt x="1088" y="529"/>
                  </a:lnTo>
                  <a:lnTo>
                    <a:pt x="1088" y="529"/>
                  </a:lnTo>
                  <a:lnTo>
                    <a:pt x="1088" y="529"/>
                  </a:lnTo>
                  <a:lnTo>
                    <a:pt x="1088" y="529"/>
                  </a:lnTo>
                  <a:lnTo>
                    <a:pt x="1090" y="529"/>
                  </a:lnTo>
                  <a:lnTo>
                    <a:pt x="1090" y="529"/>
                  </a:lnTo>
                  <a:lnTo>
                    <a:pt x="1094" y="525"/>
                  </a:lnTo>
                  <a:lnTo>
                    <a:pt x="1096" y="525"/>
                  </a:lnTo>
                  <a:lnTo>
                    <a:pt x="1096" y="523"/>
                  </a:lnTo>
                  <a:lnTo>
                    <a:pt x="1096" y="523"/>
                  </a:lnTo>
                  <a:lnTo>
                    <a:pt x="1098" y="523"/>
                  </a:lnTo>
                  <a:lnTo>
                    <a:pt x="1098" y="523"/>
                  </a:lnTo>
                  <a:lnTo>
                    <a:pt x="1098" y="521"/>
                  </a:lnTo>
                  <a:lnTo>
                    <a:pt x="1098" y="521"/>
                  </a:lnTo>
                  <a:lnTo>
                    <a:pt x="1098" y="518"/>
                  </a:lnTo>
                  <a:lnTo>
                    <a:pt x="1098" y="518"/>
                  </a:lnTo>
                  <a:lnTo>
                    <a:pt x="1098" y="523"/>
                  </a:lnTo>
                  <a:lnTo>
                    <a:pt x="1098" y="523"/>
                  </a:lnTo>
                  <a:lnTo>
                    <a:pt x="1100" y="525"/>
                  </a:lnTo>
                  <a:lnTo>
                    <a:pt x="1102" y="525"/>
                  </a:lnTo>
                  <a:lnTo>
                    <a:pt x="1104" y="525"/>
                  </a:lnTo>
                  <a:lnTo>
                    <a:pt x="1104" y="525"/>
                  </a:lnTo>
                  <a:lnTo>
                    <a:pt x="1104" y="525"/>
                  </a:lnTo>
                  <a:lnTo>
                    <a:pt x="1104" y="525"/>
                  </a:lnTo>
                  <a:lnTo>
                    <a:pt x="1104" y="525"/>
                  </a:lnTo>
                  <a:lnTo>
                    <a:pt x="1104" y="525"/>
                  </a:lnTo>
                  <a:lnTo>
                    <a:pt x="1104" y="523"/>
                  </a:lnTo>
                  <a:lnTo>
                    <a:pt x="1104" y="523"/>
                  </a:lnTo>
                  <a:lnTo>
                    <a:pt x="1104" y="525"/>
                  </a:lnTo>
                  <a:lnTo>
                    <a:pt x="1104" y="525"/>
                  </a:lnTo>
                  <a:lnTo>
                    <a:pt x="1106" y="525"/>
                  </a:lnTo>
                  <a:lnTo>
                    <a:pt x="1112" y="525"/>
                  </a:lnTo>
                  <a:lnTo>
                    <a:pt x="1114" y="525"/>
                  </a:lnTo>
                  <a:lnTo>
                    <a:pt x="1114" y="523"/>
                  </a:lnTo>
                  <a:lnTo>
                    <a:pt x="1114" y="523"/>
                  </a:lnTo>
                  <a:lnTo>
                    <a:pt x="1114" y="521"/>
                  </a:lnTo>
                  <a:lnTo>
                    <a:pt x="1114" y="518"/>
                  </a:lnTo>
                  <a:lnTo>
                    <a:pt x="1114" y="518"/>
                  </a:lnTo>
                  <a:lnTo>
                    <a:pt x="1114" y="516"/>
                  </a:lnTo>
                  <a:lnTo>
                    <a:pt x="1114" y="516"/>
                  </a:lnTo>
                  <a:lnTo>
                    <a:pt x="1116" y="516"/>
                  </a:lnTo>
                  <a:lnTo>
                    <a:pt x="1116" y="514"/>
                  </a:lnTo>
                  <a:lnTo>
                    <a:pt x="1118" y="514"/>
                  </a:lnTo>
                  <a:lnTo>
                    <a:pt x="1120" y="512"/>
                  </a:lnTo>
                  <a:lnTo>
                    <a:pt x="1126" y="510"/>
                  </a:lnTo>
                  <a:lnTo>
                    <a:pt x="1126" y="510"/>
                  </a:lnTo>
                  <a:lnTo>
                    <a:pt x="1126" y="510"/>
                  </a:lnTo>
                  <a:lnTo>
                    <a:pt x="1129" y="510"/>
                  </a:lnTo>
                  <a:lnTo>
                    <a:pt x="1131" y="510"/>
                  </a:lnTo>
                  <a:lnTo>
                    <a:pt x="1131" y="510"/>
                  </a:lnTo>
                  <a:lnTo>
                    <a:pt x="1129" y="512"/>
                  </a:lnTo>
                  <a:lnTo>
                    <a:pt x="1129" y="512"/>
                  </a:lnTo>
                  <a:lnTo>
                    <a:pt x="1120" y="516"/>
                  </a:lnTo>
                  <a:lnTo>
                    <a:pt x="1120" y="516"/>
                  </a:lnTo>
                  <a:lnTo>
                    <a:pt x="1118" y="516"/>
                  </a:lnTo>
                  <a:lnTo>
                    <a:pt x="1118" y="518"/>
                  </a:lnTo>
                  <a:lnTo>
                    <a:pt x="1118" y="521"/>
                  </a:lnTo>
                  <a:lnTo>
                    <a:pt x="1118" y="521"/>
                  </a:lnTo>
                  <a:lnTo>
                    <a:pt x="1118" y="521"/>
                  </a:lnTo>
                  <a:lnTo>
                    <a:pt x="1116" y="521"/>
                  </a:lnTo>
                  <a:lnTo>
                    <a:pt x="1116" y="521"/>
                  </a:lnTo>
                  <a:lnTo>
                    <a:pt x="1116" y="523"/>
                  </a:lnTo>
                  <a:lnTo>
                    <a:pt x="1116" y="523"/>
                  </a:lnTo>
                  <a:lnTo>
                    <a:pt x="1114" y="525"/>
                  </a:lnTo>
                  <a:lnTo>
                    <a:pt x="1114" y="525"/>
                  </a:lnTo>
                  <a:lnTo>
                    <a:pt x="1114" y="527"/>
                  </a:lnTo>
                  <a:lnTo>
                    <a:pt x="1114" y="527"/>
                  </a:lnTo>
                  <a:lnTo>
                    <a:pt x="1112" y="527"/>
                  </a:lnTo>
                  <a:lnTo>
                    <a:pt x="1112" y="527"/>
                  </a:lnTo>
                  <a:lnTo>
                    <a:pt x="1112" y="527"/>
                  </a:lnTo>
                  <a:lnTo>
                    <a:pt x="1112" y="529"/>
                  </a:lnTo>
                  <a:lnTo>
                    <a:pt x="1110" y="529"/>
                  </a:lnTo>
                  <a:lnTo>
                    <a:pt x="1110" y="529"/>
                  </a:lnTo>
                  <a:lnTo>
                    <a:pt x="1114" y="533"/>
                  </a:lnTo>
                  <a:lnTo>
                    <a:pt x="1116" y="533"/>
                  </a:lnTo>
                  <a:lnTo>
                    <a:pt x="1118" y="535"/>
                  </a:lnTo>
                  <a:lnTo>
                    <a:pt x="1122" y="537"/>
                  </a:lnTo>
                  <a:lnTo>
                    <a:pt x="1124" y="537"/>
                  </a:lnTo>
                  <a:lnTo>
                    <a:pt x="1126" y="537"/>
                  </a:lnTo>
                  <a:lnTo>
                    <a:pt x="1129" y="539"/>
                  </a:lnTo>
                  <a:lnTo>
                    <a:pt x="1129" y="541"/>
                  </a:lnTo>
                  <a:lnTo>
                    <a:pt x="1131" y="541"/>
                  </a:lnTo>
                  <a:lnTo>
                    <a:pt x="1133" y="539"/>
                  </a:lnTo>
                  <a:lnTo>
                    <a:pt x="1135" y="539"/>
                  </a:lnTo>
                  <a:lnTo>
                    <a:pt x="1135" y="539"/>
                  </a:lnTo>
                  <a:lnTo>
                    <a:pt x="1137" y="541"/>
                  </a:lnTo>
                  <a:lnTo>
                    <a:pt x="1139" y="543"/>
                  </a:lnTo>
                  <a:lnTo>
                    <a:pt x="1137" y="543"/>
                  </a:lnTo>
                  <a:lnTo>
                    <a:pt x="1137" y="543"/>
                  </a:lnTo>
                  <a:lnTo>
                    <a:pt x="1137" y="543"/>
                  </a:lnTo>
                  <a:lnTo>
                    <a:pt x="1137" y="543"/>
                  </a:lnTo>
                  <a:lnTo>
                    <a:pt x="1137" y="543"/>
                  </a:lnTo>
                  <a:lnTo>
                    <a:pt x="1135" y="543"/>
                  </a:lnTo>
                  <a:lnTo>
                    <a:pt x="1126" y="541"/>
                  </a:lnTo>
                  <a:lnTo>
                    <a:pt x="1126" y="541"/>
                  </a:lnTo>
                  <a:lnTo>
                    <a:pt x="1124" y="541"/>
                  </a:lnTo>
                  <a:lnTo>
                    <a:pt x="1122" y="541"/>
                  </a:lnTo>
                  <a:lnTo>
                    <a:pt x="1122" y="541"/>
                  </a:lnTo>
                  <a:lnTo>
                    <a:pt x="1120" y="539"/>
                  </a:lnTo>
                  <a:lnTo>
                    <a:pt x="1120" y="539"/>
                  </a:lnTo>
                  <a:lnTo>
                    <a:pt x="1118" y="539"/>
                  </a:lnTo>
                  <a:lnTo>
                    <a:pt x="1118" y="539"/>
                  </a:lnTo>
                  <a:lnTo>
                    <a:pt x="1116" y="539"/>
                  </a:lnTo>
                  <a:lnTo>
                    <a:pt x="1114" y="541"/>
                  </a:lnTo>
                  <a:lnTo>
                    <a:pt x="1114" y="541"/>
                  </a:lnTo>
                  <a:lnTo>
                    <a:pt x="1112" y="543"/>
                  </a:lnTo>
                  <a:lnTo>
                    <a:pt x="1108" y="541"/>
                  </a:lnTo>
                  <a:lnTo>
                    <a:pt x="1108" y="541"/>
                  </a:lnTo>
                  <a:lnTo>
                    <a:pt x="1106" y="541"/>
                  </a:lnTo>
                  <a:lnTo>
                    <a:pt x="1106" y="539"/>
                  </a:lnTo>
                  <a:lnTo>
                    <a:pt x="1106" y="539"/>
                  </a:lnTo>
                  <a:lnTo>
                    <a:pt x="1104" y="537"/>
                  </a:lnTo>
                  <a:lnTo>
                    <a:pt x="1104" y="537"/>
                  </a:lnTo>
                  <a:lnTo>
                    <a:pt x="1104" y="535"/>
                  </a:lnTo>
                  <a:lnTo>
                    <a:pt x="1102" y="537"/>
                  </a:lnTo>
                  <a:lnTo>
                    <a:pt x="1098" y="539"/>
                  </a:lnTo>
                  <a:lnTo>
                    <a:pt x="1094" y="543"/>
                  </a:lnTo>
                  <a:lnTo>
                    <a:pt x="1088" y="549"/>
                  </a:lnTo>
                  <a:lnTo>
                    <a:pt x="1088" y="549"/>
                  </a:lnTo>
                  <a:lnTo>
                    <a:pt x="1088" y="551"/>
                  </a:lnTo>
                  <a:lnTo>
                    <a:pt x="1081" y="551"/>
                  </a:lnTo>
                  <a:lnTo>
                    <a:pt x="1081" y="551"/>
                  </a:lnTo>
                  <a:lnTo>
                    <a:pt x="1081" y="553"/>
                  </a:lnTo>
                  <a:lnTo>
                    <a:pt x="1079" y="553"/>
                  </a:lnTo>
                  <a:lnTo>
                    <a:pt x="1079" y="553"/>
                  </a:lnTo>
                  <a:lnTo>
                    <a:pt x="1077" y="553"/>
                  </a:lnTo>
                  <a:lnTo>
                    <a:pt x="1077" y="555"/>
                  </a:lnTo>
                  <a:lnTo>
                    <a:pt x="1079" y="555"/>
                  </a:lnTo>
                  <a:lnTo>
                    <a:pt x="1079" y="557"/>
                  </a:lnTo>
                  <a:lnTo>
                    <a:pt x="1079" y="557"/>
                  </a:lnTo>
                  <a:lnTo>
                    <a:pt x="1079" y="562"/>
                  </a:lnTo>
                  <a:lnTo>
                    <a:pt x="1081" y="562"/>
                  </a:lnTo>
                  <a:lnTo>
                    <a:pt x="1081" y="564"/>
                  </a:lnTo>
                  <a:lnTo>
                    <a:pt x="1081" y="564"/>
                  </a:lnTo>
                  <a:lnTo>
                    <a:pt x="1081" y="566"/>
                  </a:lnTo>
                  <a:lnTo>
                    <a:pt x="1081" y="566"/>
                  </a:lnTo>
                  <a:lnTo>
                    <a:pt x="1081" y="570"/>
                  </a:lnTo>
                  <a:lnTo>
                    <a:pt x="1081" y="572"/>
                  </a:lnTo>
                  <a:lnTo>
                    <a:pt x="1081" y="572"/>
                  </a:lnTo>
                  <a:lnTo>
                    <a:pt x="1081" y="572"/>
                  </a:lnTo>
                  <a:lnTo>
                    <a:pt x="1079" y="572"/>
                  </a:lnTo>
                  <a:lnTo>
                    <a:pt x="1079" y="572"/>
                  </a:lnTo>
                  <a:lnTo>
                    <a:pt x="1079" y="572"/>
                  </a:lnTo>
                  <a:lnTo>
                    <a:pt x="1079" y="574"/>
                  </a:lnTo>
                  <a:lnTo>
                    <a:pt x="1079" y="574"/>
                  </a:lnTo>
                  <a:lnTo>
                    <a:pt x="1079" y="576"/>
                  </a:lnTo>
                  <a:lnTo>
                    <a:pt x="1079" y="578"/>
                  </a:lnTo>
                  <a:lnTo>
                    <a:pt x="1079" y="580"/>
                  </a:lnTo>
                  <a:lnTo>
                    <a:pt x="1077" y="582"/>
                  </a:lnTo>
                  <a:lnTo>
                    <a:pt x="1071" y="590"/>
                  </a:lnTo>
                  <a:lnTo>
                    <a:pt x="1071" y="590"/>
                  </a:lnTo>
                  <a:lnTo>
                    <a:pt x="1071" y="592"/>
                  </a:lnTo>
                  <a:lnTo>
                    <a:pt x="1071" y="592"/>
                  </a:lnTo>
                  <a:lnTo>
                    <a:pt x="1069" y="600"/>
                  </a:lnTo>
                  <a:lnTo>
                    <a:pt x="1069" y="600"/>
                  </a:lnTo>
                  <a:lnTo>
                    <a:pt x="1069" y="603"/>
                  </a:lnTo>
                  <a:lnTo>
                    <a:pt x="1067" y="603"/>
                  </a:lnTo>
                  <a:lnTo>
                    <a:pt x="1067" y="603"/>
                  </a:lnTo>
                  <a:lnTo>
                    <a:pt x="1067" y="605"/>
                  </a:lnTo>
                  <a:lnTo>
                    <a:pt x="1069" y="607"/>
                  </a:lnTo>
                  <a:lnTo>
                    <a:pt x="1071" y="609"/>
                  </a:lnTo>
                  <a:lnTo>
                    <a:pt x="1071" y="609"/>
                  </a:lnTo>
                  <a:lnTo>
                    <a:pt x="1079" y="613"/>
                  </a:lnTo>
                  <a:lnTo>
                    <a:pt x="1079" y="613"/>
                  </a:lnTo>
                  <a:lnTo>
                    <a:pt x="1079" y="611"/>
                  </a:lnTo>
                  <a:lnTo>
                    <a:pt x="1079" y="611"/>
                  </a:lnTo>
                  <a:lnTo>
                    <a:pt x="1079" y="611"/>
                  </a:lnTo>
                  <a:lnTo>
                    <a:pt x="1079" y="609"/>
                  </a:lnTo>
                  <a:lnTo>
                    <a:pt x="1079" y="609"/>
                  </a:lnTo>
                  <a:lnTo>
                    <a:pt x="1079" y="609"/>
                  </a:lnTo>
                  <a:lnTo>
                    <a:pt x="1081" y="609"/>
                  </a:lnTo>
                  <a:lnTo>
                    <a:pt x="1086" y="605"/>
                  </a:lnTo>
                  <a:lnTo>
                    <a:pt x="1088" y="605"/>
                  </a:lnTo>
                  <a:lnTo>
                    <a:pt x="1088" y="603"/>
                  </a:lnTo>
                  <a:lnTo>
                    <a:pt x="1090" y="603"/>
                  </a:lnTo>
                  <a:lnTo>
                    <a:pt x="1090" y="603"/>
                  </a:lnTo>
                  <a:lnTo>
                    <a:pt x="1092" y="603"/>
                  </a:lnTo>
                  <a:lnTo>
                    <a:pt x="1090" y="605"/>
                  </a:lnTo>
                  <a:lnTo>
                    <a:pt x="1088" y="607"/>
                  </a:lnTo>
                  <a:lnTo>
                    <a:pt x="1088" y="607"/>
                  </a:lnTo>
                  <a:lnTo>
                    <a:pt x="1088" y="609"/>
                  </a:lnTo>
                  <a:lnTo>
                    <a:pt x="1088" y="609"/>
                  </a:lnTo>
                  <a:lnTo>
                    <a:pt x="1088" y="609"/>
                  </a:lnTo>
                  <a:lnTo>
                    <a:pt x="1086" y="609"/>
                  </a:lnTo>
                  <a:lnTo>
                    <a:pt x="1086" y="609"/>
                  </a:lnTo>
                  <a:lnTo>
                    <a:pt x="1086" y="611"/>
                  </a:lnTo>
                  <a:lnTo>
                    <a:pt x="1086" y="611"/>
                  </a:lnTo>
                  <a:lnTo>
                    <a:pt x="1088" y="613"/>
                  </a:lnTo>
                  <a:lnTo>
                    <a:pt x="1088" y="613"/>
                  </a:lnTo>
                  <a:lnTo>
                    <a:pt x="1086" y="613"/>
                  </a:lnTo>
                  <a:lnTo>
                    <a:pt x="1086" y="613"/>
                  </a:lnTo>
                  <a:lnTo>
                    <a:pt x="1083" y="613"/>
                  </a:lnTo>
                  <a:lnTo>
                    <a:pt x="1083" y="613"/>
                  </a:lnTo>
                  <a:lnTo>
                    <a:pt x="1083" y="615"/>
                  </a:lnTo>
                  <a:lnTo>
                    <a:pt x="1083" y="615"/>
                  </a:lnTo>
                  <a:lnTo>
                    <a:pt x="1083" y="615"/>
                  </a:lnTo>
                  <a:lnTo>
                    <a:pt x="1081" y="615"/>
                  </a:lnTo>
                  <a:lnTo>
                    <a:pt x="1081" y="615"/>
                  </a:lnTo>
                  <a:lnTo>
                    <a:pt x="1079" y="615"/>
                  </a:lnTo>
                  <a:lnTo>
                    <a:pt x="1079" y="617"/>
                  </a:lnTo>
                  <a:lnTo>
                    <a:pt x="1079" y="617"/>
                  </a:lnTo>
                  <a:lnTo>
                    <a:pt x="1079" y="619"/>
                  </a:lnTo>
                  <a:lnTo>
                    <a:pt x="1081" y="619"/>
                  </a:lnTo>
                  <a:lnTo>
                    <a:pt x="1081" y="621"/>
                  </a:lnTo>
                  <a:lnTo>
                    <a:pt x="1081" y="621"/>
                  </a:lnTo>
                  <a:lnTo>
                    <a:pt x="1081" y="621"/>
                  </a:lnTo>
                  <a:lnTo>
                    <a:pt x="1079" y="621"/>
                  </a:lnTo>
                  <a:lnTo>
                    <a:pt x="1079" y="619"/>
                  </a:lnTo>
                  <a:lnTo>
                    <a:pt x="1079" y="619"/>
                  </a:lnTo>
                  <a:lnTo>
                    <a:pt x="1075" y="619"/>
                  </a:lnTo>
                  <a:lnTo>
                    <a:pt x="1073" y="619"/>
                  </a:lnTo>
                  <a:lnTo>
                    <a:pt x="1073" y="619"/>
                  </a:lnTo>
                  <a:lnTo>
                    <a:pt x="1073" y="621"/>
                  </a:lnTo>
                  <a:lnTo>
                    <a:pt x="1071" y="621"/>
                  </a:lnTo>
                  <a:lnTo>
                    <a:pt x="1071" y="621"/>
                  </a:lnTo>
                  <a:lnTo>
                    <a:pt x="1069" y="623"/>
                  </a:lnTo>
                  <a:lnTo>
                    <a:pt x="1067" y="623"/>
                  </a:lnTo>
                  <a:lnTo>
                    <a:pt x="1067" y="623"/>
                  </a:lnTo>
                  <a:lnTo>
                    <a:pt x="1069" y="625"/>
                  </a:lnTo>
                  <a:lnTo>
                    <a:pt x="1069" y="625"/>
                  </a:lnTo>
                  <a:lnTo>
                    <a:pt x="1071" y="625"/>
                  </a:lnTo>
                  <a:lnTo>
                    <a:pt x="1067" y="625"/>
                  </a:lnTo>
                  <a:lnTo>
                    <a:pt x="1067" y="625"/>
                  </a:lnTo>
                  <a:lnTo>
                    <a:pt x="1067" y="627"/>
                  </a:lnTo>
                  <a:lnTo>
                    <a:pt x="1065" y="627"/>
                  </a:lnTo>
                  <a:lnTo>
                    <a:pt x="1065" y="627"/>
                  </a:lnTo>
                  <a:lnTo>
                    <a:pt x="1065" y="629"/>
                  </a:lnTo>
                  <a:lnTo>
                    <a:pt x="1065" y="629"/>
                  </a:lnTo>
                  <a:lnTo>
                    <a:pt x="1067" y="631"/>
                  </a:lnTo>
                  <a:lnTo>
                    <a:pt x="1067" y="631"/>
                  </a:lnTo>
                  <a:lnTo>
                    <a:pt x="1067" y="631"/>
                  </a:lnTo>
                  <a:lnTo>
                    <a:pt x="1069" y="631"/>
                  </a:lnTo>
                  <a:lnTo>
                    <a:pt x="1069" y="631"/>
                  </a:lnTo>
                  <a:lnTo>
                    <a:pt x="1069" y="631"/>
                  </a:lnTo>
                  <a:lnTo>
                    <a:pt x="1069" y="631"/>
                  </a:lnTo>
                  <a:lnTo>
                    <a:pt x="1067" y="631"/>
                  </a:lnTo>
                  <a:lnTo>
                    <a:pt x="1069" y="633"/>
                  </a:lnTo>
                  <a:lnTo>
                    <a:pt x="1069" y="633"/>
                  </a:lnTo>
                  <a:lnTo>
                    <a:pt x="1069" y="633"/>
                  </a:lnTo>
                  <a:lnTo>
                    <a:pt x="1071" y="633"/>
                  </a:lnTo>
                  <a:lnTo>
                    <a:pt x="1071" y="633"/>
                  </a:lnTo>
                  <a:lnTo>
                    <a:pt x="1071" y="633"/>
                  </a:lnTo>
                  <a:lnTo>
                    <a:pt x="1071" y="633"/>
                  </a:lnTo>
                  <a:lnTo>
                    <a:pt x="1073" y="635"/>
                  </a:lnTo>
                  <a:lnTo>
                    <a:pt x="1073" y="635"/>
                  </a:lnTo>
                  <a:lnTo>
                    <a:pt x="1077" y="635"/>
                  </a:lnTo>
                  <a:lnTo>
                    <a:pt x="1077" y="633"/>
                  </a:lnTo>
                  <a:lnTo>
                    <a:pt x="1075" y="635"/>
                  </a:lnTo>
                  <a:lnTo>
                    <a:pt x="1075" y="633"/>
                  </a:lnTo>
                  <a:lnTo>
                    <a:pt x="1075" y="633"/>
                  </a:lnTo>
                  <a:lnTo>
                    <a:pt x="1075" y="633"/>
                  </a:lnTo>
                  <a:lnTo>
                    <a:pt x="1077" y="633"/>
                  </a:lnTo>
                  <a:lnTo>
                    <a:pt x="1079" y="633"/>
                  </a:lnTo>
                  <a:lnTo>
                    <a:pt x="1079" y="633"/>
                  </a:lnTo>
                  <a:lnTo>
                    <a:pt x="1079" y="633"/>
                  </a:lnTo>
                  <a:lnTo>
                    <a:pt x="1079" y="633"/>
                  </a:lnTo>
                  <a:lnTo>
                    <a:pt x="1079" y="633"/>
                  </a:lnTo>
                  <a:lnTo>
                    <a:pt x="1077" y="633"/>
                  </a:lnTo>
                  <a:lnTo>
                    <a:pt x="1079" y="631"/>
                  </a:lnTo>
                  <a:lnTo>
                    <a:pt x="1081" y="631"/>
                  </a:lnTo>
                  <a:lnTo>
                    <a:pt x="1081" y="631"/>
                  </a:lnTo>
                  <a:lnTo>
                    <a:pt x="1081" y="631"/>
                  </a:lnTo>
                  <a:lnTo>
                    <a:pt x="1081" y="631"/>
                  </a:lnTo>
                  <a:lnTo>
                    <a:pt x="1081" y="631"/>
                  </a:lnTo>
                  <a:lnTo>
                    <a:pt x="1083" y="631"/>
                  </a:lnTo>
                  <a:lnTo>
                    <a:pt x="1083" y="631"/>
                  </a:lnTo>
                  <a:lnTo>
                    <a:pt x="1086" y="631"/>
                  </a:lnTo>
                  <a:lnTo>
                    <a:pt x="1086" y="631"/>
                  </a:lnTo>
                  <a:lnTo>
                    <a:pt x="1086" y="631"/>
                  </a:lnTo>
                  <a:lnTo>
                    <a:pt x="1088" y="633"/>
                  </a:lnTo>
                  <a:lnTo>
                    <a:pt x="1088" y="633"/>
                  </a:lnTo>
                  <a:lnTo>
                    <a:pt x="1088" y="633"/>
                  </a:lnTo>
                  <a:lnTo>
                    <a:pt x="1090" y="631"/>
                  </a:lnTo>
                  <a:lnTo>
                    <a:pt x="1090" y="631"/>
                  </a:lnTo>
                  <a:lnTo>
                    <a:pt x="1090" y="631"/>
                  </a:lnTo>
                  <a:lnTo>
                    <a:pt x="1090" y="631"/>
                  </a:lnTo>
                  <a:lnTo>
                    <a:pt x="1090" y="631"/>
                  </a:lnTo>
                  <a:lnTo>
                    <a:pt x="1090" y="631"/>
                  </a:lnTo>
                  <a:lnTo>
                    <a:pt x="1088" y="629"/>
                  </a:lnTo>
                  <a:lnTo>
                    <a:pt x="1088" y="629"/>
                  </a:lnTo>
                  <a:lnTo>
                    <a:pt x="1088" y="629"/>
                  </a:lnTo>
                  <a:lnTo>
                    <a:pt x="1086" y="629"/>
                  </a:lnTo>
                  <a:lnTo>
                    <a:pt x="1086" y="629"/>
                  </a:lnTo>
                  <a:lnTo>
                    <a:pt x="1086" y="629"/>
                  </a:lnTo>
                  <a:lnTo>
                    <a:pt x="1086" y="627"/>
                  </a:lnTo>
                  <a:lnTo>
                    <a:pt x="1086" y="627"/>
                  </a:lnTo>
                  <a:lnTo>
                    <a:pt x="1086" y="627"/>
                  </a:lnTo>
                  <a:lnTo>
                    <a:pt x="1086" y="627"/>
                  </a:lnTo>
                  <a:lnTo>
                    <a:pt x="1088" y="627"/>
                  </a:lnTo>
                  <a:lnTo>
                    <a:pt x="1090" y="629"/>
                  </a:lnTo>
                  <a:lnTo>
                    <a:pt x="1090" y="629"/>
                  </a:lnTo>
                  <a:lnTo>
                    <a:pt x="1090" y="629"/>
                  </a:lnTo>
                  <a:lnTo>
                    <a:pt x="1090" y="627"/>
                  </a:lnTo>
                  <a:lnTo>
                    <a:pt x="1090" y="627"/>
                  </a:lnTo>
                  <a:lnTo>
                    <a:pt x="1092" y="627"/>
                  </a:lnTo>
                  <a:lnTo>
                    <a:pt x="1092" y="629"/>
                  </a:lnTo>
                  <a:lnTo>
                    <a:pt x="1092" y="629"/>
                  </a:lnTo>
                  <a:lnTo>
                    <a:pt x="1092" y="629"/>
                  </a:lnTo>
                  <a:lnTo>
                    <a:pt x="1092" y="629"/>
                  </a:lnTo>
                  <a:lnTo>
                    <a:pt x="1092" y="629"/>
                  </a:lnTo>
                  <a:lnTo>
                    <a:pt x="1092" y="629"/>
                  </a:lnTo>
                  <a:lnTo>
                    <a:pt x="1092" y="631"/>
                  </a:lnTo>
                  <a:lnTo>
                    <a:pt x="1092" y="631"/>
                  </a:lnTo>
                  <a:lnTo>
                    <a:pt x="1094" y="633"/>
                  </a:lnTo>
                  <a:lnTo>
                    <a:pt x="1094" y="631"/>
                  </a:lnTo>
                  <a:lnTo>
                    <a:pt x="1094" y="631"/>
                  </a:lnTo>
                  <a:lnTo>
                    <a:pt x="1096" y="629"/>
                  </a:lnTo>
                  <a:lnTo>
                    <a:pt x="1096" y="629"/>
                  </a:lnTo>
                  <a:lnTo>
                    <a:pt x="1094" y="627"/>
                  </a:lnTo>
                  <a:lnTo>
                    <a:pt x="1094" y="627"/>
                  </a:lnTo>
                  <a:lnTo>
                    <a:pt x="1094" y="627"/>
                  </a:lnTo>
                  <a:lnTo>
                    <a:pt x="1096" y="625"/>
                  </a:lnTo>
                  <a:lnTo>
                    <a:pt x="1096" y="625"/>
                  </a:lnTo>
                  <a:lnTo>
                    <a:pt x="1096" y="625"/>
                  </a:lnTo>
                  <a:lnTo>
                    <a:pt x="1098" y="623"/>
                  </a:lnTo>
                  <a:lnTo>
                    <a:pt x="1098" y="623"/>
                  </a:lnTo>
                  <a:lnTo>
                    <a:pt x="1098" y="623"/>
                  </a:lnTo>
                  <a:lnTo>
                    <a:pt x="1098" y="623"/>
                  </a:lnTo>
                  <a:lnTo>
                    <a:pt x="1098" y="621"/>
                  </a:lnTo>
                  <a:lnTo>
                    <a:pt x="1098" y="621"/>
                  </a:lnTo>
                  <a:lnTo>
                    <a:pt x="1100" y="621"/>
                  </a:lnTo>
                  <a:lnTo>
                    <a:pt x="1102" y="621"/>
                  </a:lnTo>
                  <a:lnTo>
                    <a:pt x="1102" y="621"/>
                  </a:lnTo>
                  <a:lnTo>
                    <a:pt x="1102" y="619"/>
                  </a:lnTo>
                  <a:lnTo>
                    <a:pt x="1102" y="619"/>
                  </a:lnTo>
                  <a:lnTo>
                    <a:pt x="1102" y="619"/>
                  </a:lnTo>
                  <a:lnTo>
                    <a:pt x="1102" y="619"/>
                  </a:lnTo>
                  <a:lnTo>
                    <a:pt x="1102" y="619"/>
                  </a:lnTo>
                  <a:lnTo>
                    <a:pt x="1102" y="617"/>
                  </a:lnTo>
                  <a:lnTo>
                    <a:pt x="1102" y="617"/>
                  </a:lnTo>
                  <a:lnTo>
                    <a:pt x="1102" y="617"/>
                  </a:lnTo>
                  <a:lnTo>
                    <a:pt x="1102" y="615"/>
                  </a:lnTo>
                  <a:lnTo>
                    <a:pt x="1100" y="615"/>
                  </a:lnTo>
                  <a:lnTo>
                    <a:pt x="1100" y="615"/>
                  </a:lnTo>
                  <a:lnTo>
                    <a:pt x="1100" y="615"/>
                  </a:lnTo>
                  <a:lnTo>
                    <a:pt x="1102" y="613"/>
                  </a:lnTo>
                  <a:lnTo>
                    <a:pt x="1104" y="611"/>
                  </a:lnTo>
                  <a:lnTo>
                    <a:pt x="1104" y="611"/>
                  </a:lnTo>
                  <a:lnTo>
                    <a:pt x="1104" y="613"/>
                  </a:lnTo>
                  <a:lnTo>
                    <a:pt x="1104" y="615"/>
                  </a:lnTo>
                  <a:lnTo>
                    <a:pt x="1104" y="615"/>
                  </a:lnTo>
                  <a:lnTo>
                    <a:pt x="1104" y="617"/>
                  </a:lnTo>
                  <a:lnTo>
                    <a:pt x="1104" y="617"/>
                  </a:lnTo>
                  <a:lnTo>
                    <a:pt x="1104" y="619"/>
                  </a:lnTo>
                  <a:lnTo>
                    <a:pt x="1104" y="619"/>
                  </a:lnTo>
                  <a:lnTo>
                    <a:pt x="1106" y="619"/>
                  </a:lnTo>
                  <a:lnTo>
                    <a:pt x="1106" y="617"/>
                  </a:lnTo>
                  <a:lnTo>
                    <a:pt x="1106" y="617"/>
                  </a:lnTo>
                  <a:lnTo>
                    <a:pt x="1106" y="615"/>
                  </a:lnTo>
                  <a:lnTo>
                    <a:pt x="1108" y="613"/>
                  </a:lnTo>
                  <a:lnTo>
                    <a:pt x="1108" y="613"/>
                  </a:lnTo>
                  <a:lnTo>
                    <a:pt x="1108" y="611"/>
                  </a:lnTo>
                  <a:lnTo>
                    <a:pt x="1110" y="607"/>
                  </a:lnTo>
                  <a:lnTo>
                    <a:pt x="1110" y="605"/>
                  </a:lnTo>
                  <a:lnTo>
                    <a:pt x="1112" y="605"/>
                  </a:lnTo>
                  <a:lnTo>
                    <a:pt x="1110" y="607"/>
                  </a:lnTo>
                  <a:lnTo>
                    <a:pt x="1110" y="607"/>
                  </a:lnTo>
                  <a:lnTo>
                    <a:pt x="1110" y="609"/>
                  </a:lnTo>
                  <a:lnTo>
                    <a:pt x="1110" y="609"/>
                  </a:lnTo>
                  <a:lnTo>
                    <a:pt x="1110" y="611"/>
                  </a:lnTo>
                  <a:lnTo>
                    <a:pt x="1110" y="611"/>
                  </a:lnTo>
                  <a:lnTo>
                    <a:pt x="1110" y="611"/>
                  </a:lnTo>
                  <a:lnTo>
                    <a:pt x="1110" y="611"/>
                  </a:lnTo>
                  <a:lnTo>
                    <a:pt x="1110" y="613"/>
                  </a:lnTo>
                  <a:lnTo>
                    <a:pt x="1110" y="613"/>
                  </a:lnTo>
                  <a:lnTo>
                    <a:pt x="1110" y="613"/>
                  </a:lnTo>
                  <a:lnTo>
                    <a:pt x="1108" y="613"/>
                  </a:lnTo>
                  <a:lnTo>
                    <a:pt x="1108" y="615"/>
                  </a:lnTo>
                  <a:lnTo>
                    <a:pt x="1108" y="615"/>
                  </a:lnTo>
                  <a:lnTo>
                    <a:pt x="1108" y="615"/>
                  </a:lnTo>
                  <a:lnTo>
                    <a:pt x="1108" y="615"/>
                  </a:lnTo>
                  <a:lnTo>
                    <a:pt x="1108" y="615"/>
                  </a:lnTo>
                  <a:lnTo>
                    <a:pt x="1108" y="617"/>
                  </a:lnTo>
                  <a:lnTo>
                    <a:pt x="1108" y="617"/>
                  </a:lnTo>
                  <a:lnTo>
                    <a:pt x="1108" y="617"/>
                  </a:lnTo>
                  <a:lnTo>
                    <a:pt x="1108" y="617"/>
                  </a:lnTo>
                  <a:lnTo>
                    <a:pt x="1108" y="617"/>
                  </a:lnTo>
                  <a:lnTo>
                    <a:pt x="1108" y="617"/>
                  </a:lnTo>
                  <a:lnTo>
                    <a:pt x="1108" y="617"/>
                  </a:lnTo>
                  <a:lnTo>
                    <a:pt x="1108" y="617"/>
                  </a:lnTo>
                  <a:lnTo>
                    <a:pt x="1108" y="617"/>
                  </a:lnTo>
                  <a:lnTo>
                    <a:pt x="1108" y="619"/>
                  </a:lnTo>
                  <a:lnTo>
                    <a:pt x="1108" y="619"/>
                  </a:lnTo>
                  <a:lnTo>
                    <a:pt x="1110" y="617"/>
                  </a:lnTo>
                  <a:lnTo>
                    <a:pt x="1110" y="617"/>
                  </a:lnTo>
                  <a:lnTo>
                    <a:pt x="1110" y="617"/>
                  </a:lnTo>
                  <a:lnTo>
                    <a:pt x="1112" y="617"/>
                  </a:lnTo>
                  <a:lnTo>
                    <a:pt x="1110" y="615"/>
                  </a:lnTo>
                  <a:lnTo>
                    <a:pt x="1112" y="615"/>
                  </a:lnTo>
                  <a:lnTo>
                    <a:pt x="1112" y="615"/>
                  </a:lnTo>
                  <a:lnTo>
                    <a:pt x="1112" y="613"/>
                  </a:lnTo>
                  <a:lnTo>
                    <a:pt x="1112" y="613"/>
                  </a:lnTo>
                  <a:lnTo>
                    <a:pt x="1112" y="613"/>
                  </a:lnTo>
                  <a:lnTo>
                    <a:pt x="1112" y="611"/>
                  </a:lnTo>
                  <a:lnTo>
                    <a:pt x="1112" y="611"/>
                  </a:lnTo>
                  <a:lnTo>
                    <a:pt x="1114" y="613"/>
                  </a:lnTo>
                  <a:lnTo>
                    <a:pt x="1114" y="613"/>
                  </a:lnTo>
                  <a:lnTo>
                    <a:pt x="1114" y="613"/>
                  </a:lnTo>
                  <a:lnTo>
                    <a:pt x="1114" y="613"/>
                  </a:lnTo>
                  <a:lnTo>
                    <a:pt x="1114" y="611"/>
                  </a:lnTo>
                  <a:lnTo>
                    <a:pt x="1114" y="611"/>
                  </a:lnTo>
                  <a:lnTo>
                    <a:pt x="1114" y="611"/>
                  </a:lnTo>
                  <a:lnTo>
                    <a:pt x="1114" y="609"/>
                  </a:lnTo>
                  <a:lnTo>
                    <a:pt x="1114" y="609"/>
                  </a:lnTo>
                  <a:lnTo>
                    <a:pt x="1114" y="609"/>
                  </a:lnTo>
                  <a:lnTo>
                    <a:pt x="1114" y="607"/>
                  </a:lnTo>
                  <a:lnTo>
                    <a:pt x="1114" y="607"/>
                  </a:lnTo>
                  <a:lnTo>
                    <a:pt x="1114" y="607"/>
                  </a:lnTo>
                  <a:lnTo>
                    <a:pt x="1114" y="607"/>
                  </a:lnTo>
                  <a:lnTo>
                    <a:pt x="1114" y="607"/>
                  </a:lnTo>
                  <a:lnTo>
                    <a:pt x="1114" y="607"/>
                  </a:lnTo>
                  <a:lnTo>
                    <a:pt x="1116" y="607"/>
                  </a:lnTo>
                  <a:lnTo>
                    <a:pt x="1116" y="609"/>
                  </a:lnTo>
                  <a:lnTo>
                    <a:pt x="1116" y="609"/>
                  </a:lnTo>
                  <a:lnTo>
                    <a:pt x="1116" y="609"/>
                  </a:lnTo>
                  <a:lnTo>
                    <a:pt x="1116" y="609"/>
                  </a:lnTo>
                  <a:lnTo>
                    <a:pt x="1118" y="607"/>
                  </a:lnTo>
                  <a:lnTo>
                    <a:pt x="1118" y="605"/>
                  </a:lnTo>
                  <a:lnTo>
                    <a:pt x="1118" y="605"/>
                  </a:lnTo>
                  <a:lnTo>
                    <a:pt x="1118" y="605"/>
                  </a:lnTo>
                  <a:lnTo>
                    <a:pt x="1118" y="605"/>
                  </a:lnTo>
                  <a:lnTo>
                    <a:pt x="1118" y="603"/>
                  </a:lnTo>
                  <a:lnTo>
                    <a:pt x="1118" y="603"/>
                  </a:lnTo>
                  <a:lnTo>
                    <a:pt x="1116" y="603"/>
                  </a:lnTo>
                  <a:lnTo>
                    <a:pt x="1116" y="600"/>
                  </a:lnTo>
                  <a:lnTo>
                    <a:pt x="1116" y="600"/>
                  </a:lnTo>
                  <a:lnTo>
                    <a:pt x="1116" y="600"/>
                  </a:lnTo>
                  <a:lnTo>
                    <a:pt x="1118" y="600"/>
                  </a:lnTo>
                  <a:lnTo>
                    <a:pt x="1118" y="600"/>
                  </a:lnTo>
                  <a:lnTo>
                    <a:pt x="1118" y="603"/>
                  </a:lnTo>
                  <a:lnTo>
                    <a:pt x="1120" y="603"/>
                  </a:lnTo>
                  <a:lnTo>
                    <a:pt x="1120" y="605"/>
                  </a:lnTo>
                  <a:lnTo>
                    <a:pt x="1122" y="605"/>
                  </a:lnTo>
                  <a:lnTo>
                    <a:pt x="1122" y="605"/>
                  </a:lnTo>
                  <a:lnTo>
                    <a:pt x="1122" y="605"/>
                  </a:lnTo>
                  <a:lnTo>
                    <a:pt x="1122" y="607"/>
                  </a:lnTo>
                  <a:lnTo>
                    <a:pt x="1122" y="607"/>
                  </a:lnTo>
                  <a:lnTo>
                    <a:pt x="1122" y="607"/>
                  </a:lnTo>
                  <a:lnTo>
                    <a:pt x="1122" y="607"/>
                  </a:lnTo>
                  <a:lnTo>
                    <a:pt x="1124" y="607"/>
                  </a:lnTo>
                  <a:lnTo>
                    <a:pt x="1124" y="607"/>
                  </a:lnTo>
                  <a:lnTo>
                    <a:pt x="1124" y="607"/>
                  </a:lnTo>
                  <a:lnTo>
                    <a:pt x="1124" y="605"/>
                  </a:lnTo>
                  <a:lnTo>
                    <a:pt x="1122" y="600"/>
                  </a:lnTo>
                  <a:lnTo>
                    <a:pt x="1122" y="600"/>
                  </a:lnTo>
                  <a:lnTo>
                    <a:pt x="1120" y="598"/>
                  </a:lnTo>
                  <a:lnTo>
                    <a:pt x="1120" y="598"/>
                  </a:lnTo>
                  <a:lnTo>
                    <a:pt x="1120" y="598"/>
                  </a:lnTo>
                  <a:lnTo>
                    <a:pt x="1120" y="596"/>
                  </a:lnTo>
                  <a:lnTo>
                    <a:pt x="1120" y="596"/>
                  </a:lnTo>
                  <a:lnTo>
                    <a:pt x="1122" y="598"/>
                  </a:lnTo>
                  <a:lnTo>
                    <a:pt x="1122" y="598"/>
                  </a:lnTo>
                  <a:lnTo>
                    <a:pt x="1122" y="598"/>
                  </a:lnTo>
                  <a:lnTo>
                    <a:pt x="1122" y="596"/>
                  </a:lnTo>
                  <a:lnTo>
                    <a:pt x="1122" y="594"/>
                  </a:lnTo>
                  <a:lnTo>
                    <a:pt x="1122" y="592"/>
                  </a:lnTo>
                  <a:lnTo>
                    <a:pt x="1122" y="592"/>
                  </a:lnTo>
                  <a:lnTo>
                    <a:pt x="1124" y="592"/>
                  </a:lnTo>
                  <a:lnTo>
                    <a:pt x="1124" y="592"/>
                  </a:lnTo>
                  <a:lnTo>
                    <a:pt x="1126" y="594"/>
                  </a:lnTo>
                  <a:lnTo>
                    <a:pt x="1126" y="594"/>
                  </a:lnTo>
                  <a:lnTo>
                    <a:pt x="1126" y="596"/>
                  </a:lnTo>
                  <a:lnTo>
                    <a:pt x="1126" y="598"/>
                  </a:lnTo>
                  <a:lnTo>
                    <a:pt x="1124" y="598"/>
                  </a:lnTo>
                  <a:lnTo>
                    <a:pt x="1124" y="598"/>
                  </a:lnTo>
                  <a:lnTo>
                    <a:pt x="1126" y="600"/>
                  </a:lnTo>
                  <a:lnTo>
                    <a:pt x="1126" y="600"/>
                  </a:lnTo>
                  <a:lnTo>
                    <a:pt x="1126" y="600"/>
                  </a:lnTo>
                  <a:lnTo>
                    <a:pt x="1126" y="600"/>
                  </a:lnTo>
                  <a:lnTo>
                    <a:pt x="1126" y="600"/>
                  </a:lnTo>
                  <a:lnTo>
                    <a:pt x="1126" y="600"/>
                  </a:lnTo>
                  <a:lnTo>
                    <a:pt x="1126" y="600"/>
                  </a:lnTo>
                  <a:lnTo>
                    <a:pt x="1126" y="603"/>
                  </a:lnTo>
                  <a:lnTo>
                    <a:pt x="1129" y="603"/>
                  </a:lnTo>
                  <a:lnTo>
                    <a:pt x="1129" y="603"/>
                  </a:lnTo>
                  <a:lnTo>
                    <a:pt x="1129" y="605"/>
                  </a:lnTo>
                  <a:lnTo>
                    <a:pt x="1129" y="605"/>
                  </a:lnTo>
                  <a:lnTo>
                    <a:pt x="1129" y="605"/>
                  </a:lnTo>
                  <a:lnTo>
                    <a:pt x="1129" y="603"/>
                  </a:lnTo>
                  <a:lnTo>
                    <a:pt x="1129" y="603"/>
                  </a:lnTo>
                  <a:lnTo>
                    <a:pt x="1129" y="603"/>
                  </a:lnTo>
                  <a:lnTo>
                    <a:pt x="1129" y="603"/>
                  </a:lnTo>
                  <a:lnTo>
                    <a:pt x="1129" y="600"/>
                  </a:lnTo>
                  <a:lnTo>
                    <a:pt x="1129" y="600"/>
                  </a:lnTo>
                  <a:lnTo>
                    <a:pt x="1129" y="600"/>
                  </a:lnTo>
                  <a:lnTo>
                    <a:pt x="1129" y="600"/>
                  </a:lnTo>
                  <a:lnTo>
                    <a:pt x="1129" y="600"/>
                  </a:lnTo>
                  <a:lnTo>
                    <a:pt x="1129" y="600"/>
                  </a:lnTo>
                  <a:lnTo>
                    <a:pt x="1126" y="600"/>
                  </a:lnTo>
                  <a:lnTo>
                    <a:pt x="1126" y="598"/>
                  </a:lnTo>
                  <a:lnTo>
                    <a:pt x="1126" y="598"/>
                  </a:lnTo>
                  <a:lnTo>
                    <a:pt x="1126" y="598"/>
                  </a:lnTo>
                  <a:lnTo>
                    <a:pt x="1126" y="598"/>
                  </a:lnTo>
                  <a:lnTo>
                    <a:pt x="1126" y="596"/>
                  </a:lnTo>
                  <a:lnTo>
                    <a:pt x="1126" y="594"/>
                  </a:lnTo>
                  <a:lnTo>
                    <a:pt x="1129" y="594"/>
                  </a:lnTo>
                  <a:lnTo>
                    <a:pt x="1129" y="594"/>
                  </a:lnTo>
                  <a:lnTo>
                    <a:pt x="1129" y="592"/>
                  </a:lnTo>
                  <a:lnTo>
                    <a:pt x="1129" y="592"/>
                  </a:lnTo>
                  <a:lnTo>
                    <a:pt x="1129" y="592"/>
                  </a:lnTo>
                  <a:lnTo>
                    <a:pt x="1131" y="592"/>
                  </a:lnTo>
                  <a:lnTo>
                    <a:pt x="1131" y="592"/>
                  </a:lnTo>
                  <a:lnTo>
                    <a:pt x="1131" y="592"/>
                  </a:lnTo>
                  <a:lnTo>
                    <a:pt x="1131" y="592"/>
                  </a:lnTo>
                  <a:lnTo>
                    <a:pt x="1131" y="590"/>
                  </a:lnTo>
                  <a:lnTo>
                    <a:pt x="1131" y="590"/>
                  </a:lnTo>
                  <a:lnTo>
                    <a:pt x="1131" y="590"/>
                  </a:lnTo>
                  <a:lnTo>
                    <a:pt x="1131" y="590"/>
                  </a:lnTo>
                  <a:lnTo>
                    <a:pt x="1133" y="588"/>
                  </a:lnTo>
                  <a:lnTo>
                    <a:pt x="1131" y="588"/>
                  </a:lnTo>
                  <a:lnTo>
                    <a:pt x="1131" y="588"/>
                  </a:lnTo>
                  <a:lnTo>
                    <a:pt x="1131" y="586"/>
                  </a:lnTo>
                  <a:lnTo>
                    <a:pt x="1131" y="586"/>
                  </a:lnTo>
                  <a:lnTo>
                    <a:pt x="1131" y="584"/>
                  </a:lnTo>
                  <a:lnTo>
                    <a:pt x="1131" y="584"/>
                  </a:lnTo>
                  <a:lnTo>
                    <a:pt x="1131" y="582"/>
                  </a:lnTo>
                  <a:lnTo>
                    <a:pt x="1131" y="582"/>
                  </a:lnTo>
                  <a:lnTo>
                    <a:pt x="1133" y="582"/>
                  </a:lnTo>
                  <a:lnTo>
                    <a:pt x="1133" y="582"/>
                  </a:lnTo>
                  <a:lnTo>
                    <a:pt x="1133" y="584"/>
                  </a:lnTo>
                  <a:lnTo>
                    <a:pt x="1133" y="588"/>
                  </a:lnTo>
                  <a:lnTo>
                    <a:pt x="1135" y="588"/>
                  </a:lnTo>
                  <a:lnTo>
                    <a:pt x="1135" y="588"/>
                  </a:lnTo>
                  <a:lnTo>
                    <a:pt x="1135" y="588"/>
                  </a:lnTo>
                  <a:lnTo>
                    <a:pt x="1135" y="588"/>
                  </a:lnTo>
                  <a:lnTo>
                    <a:pt x="1135" y="588"/>
                  </a:lnTo>
                  <a:lnTo>
                    <a:pt x="1133" y="588"/>
                  </a:lnTo>
                  <a:lnTo>
                    <a:pt x="1133" y="590"/>
                  </a:lnTo>
                  <a:lnTo>
                    <a:pt x="1135" y="590"/>
                  </a:lnTo>
                  <a:lnTo>
                    <a:pt x="1135" y="590"/>
                  </a:lnTo>
                  <a:lnTo>
                    <a:pt x="1135" y="590"/>
                  </a:lnTo>
                  <a:lnTo>
                    <a:pt x="1135" y="590"/>
                  </a:lnTo>
                  <a:lnTo>
                    <a:pt x="1135" y="592"/>
                  </a:lnTo>
                  <a:lnTo>
                    <a:pt x="1135" y="592"/>
                  </a:lnTo>
                  <a:lnTo>
                    <a:pt x="1135" y="594"/>
                  </a:lnTo>
                  <a:lnTo>
                    <a:pt x="1135" y="594"/>
                  </a:lnTo>
                  <a:lnTo>
                    <a:pt x="1135" y="594"/>
                  </a:lnTo>
                  <a:lnTo>
                    <a:pt x="1137" y="594"/>
                  </a:lnTo>
                  <a:lnTo>
                    <a:pt x="1137" y="594"/>
                  </a:lnTo>
                  <a:lnTo>
                    <a:pt x="1137" y="592"/>
                  </a:lnTo>
                  <a:lnTo>
                    <a:pt x="1137" y="592"/>
                  </a:lnTo>
                  <a:lnTo>
                    <a:pt x="1137" y="592"/>
                  </a:lnTo>
                  <a:lnTo>
                    <a:pt x="1137" y="590"/>
                  </a:lnTo>
                  <a:lnTo>
                    <a:pt x="1137" y="590"/>
                  </a:lnTo>
                  <a:lnTo>
                    <a:pt x="1137" y="590"/>
                  </a:lnTo>
                  <a:lnTo>
                    <a:pt x="1137" y="590"/>
                  </a:lnTo>
                  <a:lnTo>
                    <a:pt x="1137" y="588"/>
                  </a:lnTo>
                  <a:lnTo>
                    <a:pt x="1137" y="588"/>
                  </a:lnTo>
                  <a:lnTo>
                    <a:pt x="1137" y="588"/>
                  </a:lnTo>
                  <a:lnTo>
                    <a:pt x="1139" y="586"/>
                  </a:lnTo>
                  <a:lnTo>
                    <a:pt x="1139" y="586"/>
                  </a:lnTo>
                  <a:lnTo>
                    <a:pt x="1141" y="586"/>
                  </a:lnTo>
                  <a:lnTo>
                    <a:pt x="1141" y="586"/>
                  </a:lnTo>
                  <a:lnTo>
                    <a:pt x="1141" y="586"/>
                  </a:lnTo>
                  <a:lnTo>
                    <a:pt x="1139" y="588"/>
                  </a:lnTo>
                  <a:lnTo>
                    <a:pt x="1139" y="588"/>
                  </a:lnTo>
                  <a:lnTo>
                    <a:pt x="1139" y="590"/>
                  </a:lnTo>
                  <a:lnTo>
                    <a:pt x="1141" y="590"/>
                  </a:lnTo>
                  <a:lnTo>
                    <a:pt x="1141" y="588"/>
                  </a:lnTo>
                  <a:lnTo>
                    <a:pt x="1141" y="590"/>
                  </a:lnTo>
                  <a:lnTo>
                    <a:pt x="1143" y="590"/>
                  </a:lnTo>
                  <a:lnTo>
                    <a:pt x="1143" y="590"/>
                  </a:lnTo>
                  <a:lnTo>
                    <a:pt x="1145" y="590"/>
                  </a:lnTo>
                  <a:lnTo>
                    <a:pt x="1145" y="590"/>
                  </a:lnTo>
                  <a:lnTo>
                    <a:pt x="1145" y="590"/>
                  </a:lnTo>
                  <a:lnTo>
                    <a:pt x="1147" y="590"/>
                  </a:lnTo>
                  <a:lnTo>
                    <a:pt x="1147" y="590"/>
                  </a:lnTo>
                  <a:lnTo>
                    <a:pt x="1149" y="590"/>
                  </a:lnTo>
                  <a:lnTo>
                    <a:pt x="1149" y="590"/>
                  </a:lnTo>
                  <a:lnTo>
                    <a:pt x="1149" y="590"/>
                  </a:lnTo>
                  <a:lnTo>
                    <a:pt x="1149" y="590"/>
                  </a:lnTo>
                  <a:lnTo>
                    <a:pt x="1151" y="590"/>
                  </a:lnTo>
                  <a:lnTo>
                    <a:pt x="1151" y="590"/>
                  </a:lnTo>
                  <a:lnTo>
                    <a:pt x="1151" y="590"/>
                  </a:lnTo>
                  <a:lnTo>
                    <a:pt x="1151" y="590"/>
                  </a:lnTo>
                  <a:lnTo>
                    <a:pt x="1151" y="590"/>
                  </a:lnTo>
                  <a:lnTo>
                    <a:pt x="1151" y="590"/>
                  </a:lnTo>
                  <a:lnTo>
                    <a:pt x="1151" y="590"/>
                  </a:lnTo>
                  <a:lnTo>
                    <a:pt x="1151" y="592"/>
                  </a:lnTo>
                  <a:lnTo>
                    <a:pt x="1151" y="592"/>
                  </a:lnTo>
                  <a:lnTo>
                    <a:pt x="1153" y="590"/>
                  </a:lnTo>
                  <a:lnTo>
                    <a:pt x="1153" y="588"/>
                  </a:lnTo>
                  <a:lnTo>
                    <a:pt x="1153" y="588"/>
                  </a:lnTo>
                  <a:lnTo>
                    <a:pt x="1153" y="588"/>
                  </a:lnTo>
                  <a:lnTo>
                    <a:pt x="1153" y="588"/>
                  </a:lnTo>
                  <a:lnTo>
                    <a:pt x="1153" y="586"/>
                  </a:lnTo>
                  <a:lnTo>
                    <a:pt x="1153" y="586"/>
                  </a:lnTo>
                  <a:lnTo>
                    <a:pt x="1155" y="586"/>
                  </a:lnTo>
                  <a:lnTo>
                    <a:pt x="1155" y="586"/>
                  </a:lnTo>
                  <a:lnTo>
                    <a:pt x="1155" y="588"/>
                  </a:lnTo>
                  <a:lnTo>
                    <a:pt x="1157" y="590"/>
                  </a:lnTo>
                  <a:lnTo>
                    <a:pt x="1157" y="588"/>
                  </a:lnTo>
                  <a:lnTo>
                    <a:pt x="1157" y="588"/>
                  </a:lnTo>
                  <a:lnTo>
                    <a:pt x="1157" y="586"/>
                  </a:lnTo>
                  <a:lnTo>
                    <a:pt x="1157" y="586"/>
                  </a:lnTo>
                  <a:lnTo>
                    <a:pt x="1157" y="586"/>
                  </a:lnTo>
                  <a:lnTo>
                    <a:pt x="1157" y="586"/>
                  </a:lnTo>
                  <a:lnTo>
                    <a:pt x="1157" y="586"/>
                  </a:lnTo>
                  <a:lnTo>
                    <a:pt x="1157" y="586"/>
                  </a:lnTo>
                  <a:lnTo>
                    <a:pt x="1157" y="586"/>
                  </a:lnTo>
                  <a:lnTo>
                    <a:pt x="1157" y="584"/>
                  </a:lnTo>
                  <a:lnTo>
                    <a:pt x="1157" y="584"/>
                  </a:lnTo>
                  <a:lnTo>
                    <a:pt x="1157" y="582"/>
                  </a:lnTo>
                  <a:lnTo>
                    <a:pt x="1157" y="580"/>
                  </a:lnTo>
                  <a:lnTo>
                    <a:pt x="1159" y="578"/>
                  </a:lnTo>
                  <a:lnTo>
                    <a:pt x="1159" y="578"/>
                  </a:lnTo>
                  <a:lnTo>
                    <a:pt x="1159" y="578"/>
                  </a:lnTo>
                  <a:lnTo>
                    <a:pt x="1159" y="578"/>
                  </a:lnTo>
                  <a:lnTo>
                    <a:pt x="1159" y="580"/>
                  </a:lnTo>
                  <a:lnTo>
                    <a:pt x="1159" y="580"/>
                  </a:lnTo>
                  <a:lnTo>
                    <a:pt x="1161" y="580"/>
                  </a:lnTo>
                  <a:lnTo>
                    <a:pt x="1163" y="580"/>
                  </a:lnTo>
                  <a:lnTo>
                    <a:pt x="1163" y="578"/>
                  </a:lnTo>
                  <a:lnTo>
                    <a:pt x="1163" y="576"/>
                  </a:lnTo>
                  <a:lnTo>
                    <a:pt x="1163" y="576"/>
                  </a:lnTo>
                  <a:lnTo>
                    <a:pt x="1163" y="574"/>
                  </a:lnTo>
                  <a:lnTo>
                    <a:pt x="1163" y="574"/>
                  </a:lnTo>
                  <a:lnTo>
                    <a:pt x="1163" y="574"/>
                  </a:lnTo>
                  <a:lnTo>
                    <a:pt x="1163" y="574"/>
                  </a:lnTo>
                  <a:lnTo>
                    <a:pt x="1163" y="574"/>
                  </a:lnTo>
                  <a:lnTo>
                    <a:pt x="1163" y="576"/>
                  </a:lnTo>
                  <a:lnTo>
                    <a:pt x="1161" y="578"/>
                  </a:lnTo>
                  <a:lnTo>
                    <a:pt x="1161" y="578"/>
                  </a:lnTo>
                  <a:lnTo>
                    <a:pt x="1161" y="576"/>
                  </a:lnTo>
                  <a:lnTo>
                    <a:pt x="1161" y="576"/>
                  </a:lnTo>
                  <a:lnTo>
                    <a:pt x="1161" y="576"/>
                  </a:lnTo>
                  <a:lnTo>
                    <a:pt x="1161" y="576"/>
                  </a:lnTo>
                  <a:lnTo>
                    <a:pt x="1161" y="574"/>
                  </a:lnTo>
                  <a:lnTo>
                    <a:pt x="1159" y="574"/>
                  </a:lnTo>
                  <a:lnTo>
                    <a:pt x="1161" y="574"/>
                  </a:lnTo>
                  <a:lnTo>
                    <a:pt x="1161" y="574"/>
                  </a:lnTo>
                  <a:lnTo>
                    <a:pt x="1161" y="574"/>
                  </a:lnTo>
                  <a:lnTo>
                    <a:pt x="1161" y="574"/>
                  </a:lnTo>
                  <a:lnTo>
                    <a:pt x="1159" y="574"/>
                  </a:lnTo>
                  <a:lnTo>
                    <a:pt x="1159" y="576"/>
                  </a:lnTo>
                  <a:lnTo>
                    <a:pt x="1157" y="576"/>
                  </a:lnTo>
                  <a:lnTo>
                    <a:pt x="1157" y="576"/>
                  </a:lnTo>
                  <a:lnTo>
                    <a:pt x="1157" y="578"/>
                  </a:lnTo>
                  <a:lnTo>
                    <a:pt x="1155" y="578"/>
                  </a:lnTo>
                  <a:lnTo>
                    <a:pt x="1155" y="576"/>
                  </a:lnTo>
                  <a:lnTo>
                    <a:pt x="1157" y="576"/>
                  </a:lnTo>
                  <a:lnTo>
                    <a:pt x="1157" y="576"/>
                  </a:lnTo>
                  <a:lnTo>
                    <a:pt x="1157" y="576"/>
                  </a:lnTo>
                  <a:lnTo>
                    <a:pt x="1157" y="576"/>
                  </a:lnTo>
                  <a:lnTo>
                    <a:pt x="1157" y="574"/>
                  </a:lnTo>
                  <a:lnTo>
                    <a:pt x="1157" y="574"/>
                  </a:lnTo>
                  <a:lnTo>
                    <a:pt x="1157" y="574"/>
                  </a:lnTo>
                  <a:lnTo>
                    <a:pt x="1157" y="574"/>
                  </a:lnTo>
                  <a:lnTo>
                    <a:pt x="1157" y="572"/>
                  </a:lnTo>
                  <a:lnTo>
                    <a:pt x="1157" y="572"/>
                  </a:lnTo>
                  <a:lnTo>
                    <a:pt x="1157" y="572"/>
                  </a:lnTo>
                  <a:lnTo>
                    <a:pt x="1157" y="572"/>
                  </a:lnTo>
                  <a:lnTo>
                    <a:pt x="1157" y="574"/>
                  </a:lnTo>
                  <a:lnTo>
                    <a:pt x="1157" y="574"/>
                  </a:lnTo>
                  <a:lnTo>
                    <a:pt x="1159" y="574"/>
                  </a:lnTo>
                  <a:lnTo>
                    <a:pt x="1159" y="572"/>
                  </a:lnTo>
                  <a:lnTo>
                    <a:pt x="1159" y="572"/>
                  </a:lnTo>
                  <a:lnTo>
                    <a:pt x="1161" y="572"/>
                  </a:lnTo>
                  <a:lnTo>
                    <a:pt x="1161" y="570"/>
                  </a:lnTo>
                  <a:lnTo>
                    <a:pt x="1161" y="568"/>
                  </a:lnTo>
                  <a:lnTo>
                    <a:pt x="1161" y="568"/>
                  </a:lnTo>
                  <a:lnTo>
                    <a:pt x="1159" y="568"/>
                  </a:lnTo>
                  <a:lnTo>
                    <a:pt x="1159" y="568"/>
                  </a:lnTo>
                  <a:lnTo>
                    <a:pt x="1159" y="568"/>
                  </a:lnTo>
                  <a:lnTo>
                    <a:pt x="1159" y="568"/>
                  </a:lnTo>
                  <a:lnTo>
                    <a:pt x="1159" y="566"/>
                  </a:lnTo>
                  <a:lnTo>
                    <a:pt x="1161" y="568"/>
                  </a:lnTo>
                  <a:lnTo>
                    <a:pt x="1161" y="568"/>
                  </a:lnTo>
                  <a:lnTo>
                    <a:pt x="1161" y="568"/>
                  </a:lnTo>
                  <a:lnTo>
                    <a:pt x="1161" y="568"/>
                  </a:lnTo>
                  <a:lnTo>
                    <a:pt x="1163" y="568"/>
                  </a:lnTo>
                  <a:lnTo>
                    <a:pt x="1163" y="568"/>
                  </a:lnTo>
                  <a:lnTo>
                    <a:pt x="1163" y="566"/>
                  </a:lnTo>
                  <a:lnTo>
                    <a:pt x="1161" y="566"/>
                  </a:lnTo>
                  <a:lnTo>
                    <a:pt x="1161" y="566"/>
                  </a:lnTo>
                  <a:lnTo>
                    <a:pt x="1161" y="566"/>
                  </a:lnTo>
                  <a:lnTo>
                    <a:pt x="1163" y="566"/>
                  </a:lnTo>
                  <a:lnTo>
                    <a:pt x="1163" y="566"/>
                  </a:lnTo>
                  <a:lnTo>
                    <a:pt x="1163" y="564"/>
                  </a:lnTo>
                  <a:lnTo>
                    <a:pt x="1163" y="564"/>
                  </a:lnTo>
                  <a:lnTo>
                    <a:pt x="1165" y="566"/>
                  </a:lnTo>
                  <a:lnTo>
                    <a:pt x="1165" y="566"/>
                  </a:lnTo>
                  <a:lnTo>
                    <a:pt x="1165" y="566"/>
                  </a:lnTo>
                  <a:lnTo>
                    <a:pt x="1165" y="564"/>
                  </a:lnTo>
                  <a:lnTo>
                    <a:pt x="1165" y="564"/>
                  </a:lnTo>
                  <a:lnTo>
                    <a:pt x="1167" y="564"/>
                  </a:lnTo>
                  <a:lnTo>
                    <a:pt x="1167" y="564"/>
                  </a:lnTo>
                  <a:lnTo>
                    <a:pt x="1167" y="562"/>
                  </a:lnTo>
                  <a:lnTo>
                    <a:pt x="1167" y="562"/>
                  </a:lnTo>
                  <a:lnTo>
                    <a:pt x="1167" y="562"/>
                  </a:lnTo>
                  <a:lnTo>
                    <a:pt x="1165" y="562"/>
                  </a:lnTo>
                  <a:lnTo>
                    <a:pt x="1165" y="562"/>
                  </a:lnTo>
                  <a:lnTo>
                    <a:pt x="1165" y="562"/>
                  </a:lnTo>
                  <a:lnTo>
                    <a:pt x="1165" y="562"/>
                  </a:lnTo>
                  <a:lnTo>
                    <a:pt x="1167" y="559"/>
                  </a:lnTo>
                  <a:lnTo>
                    <a:pt x="1167" y="559"/>
                  </a:lnTo>
                  <a:lnTo>
                    <a:pt x="1167" y="559"/>
                  </a:lnTo>
                  <a:lnTo>
                    <a:pt x="1165" y="559"/>
                  </a:lnTo>
                  <a:lnTo>
                    <a:pt x="1165" y="559"/>
                  </a:lnTo>
                  <a:lnTo>
                    <a:pt x="1165" y="559"/>
                  </a:lnTo>
                  <a:lnTo>
                    <a:pt x="1165" y="557"/>
                  </a:lnTo>
                  <a:lnTo>
                    <a:pt x="1165" y="557"/>
                  </a:lnTo>
                  <a:lnTo>
                    <a:pt x="1165" y="557"/>
                  </a:lnTo>
                  <a:lnTo>
                    <a:pt x="1165" y="557"/>
                  </a:lnTo>
                  <a:lnTo>
                    <a:pt x="1165" y="557"/>
                  </a:lnTo>
                  <a:lnTo>
                    <a:pt x="1163" y="557"/>
                  </a:lnTo>
                  <a:lnTo>
                    <a:pt x="1163" y="557"/>
                  </a:lnTo>
                  <a:lnTo>
                    <a:pt x="1163" y="555"/>
                  </a:lnTo>
                  <a:lnTo>
                    <a:pt x="1163" y="555"/>
                  </a:lnTo>
                  <a:lnTo>
                    <a:pt x="1163" y="555"/>
                  </a:lnTo>
                  <a:lnTo>
                    <a:pt x="1163" y="555"/>
                  </a:lnTo>
                  <a:lnTo>
                    <a:pt x="1163" y="555"/>
                  </a:lnTo>
                  <a:lnTo>
                    <a:pt x="1161" y="555"/>
                  </a:lnTo>
                  <a:lnTo>
                    <a:pt x="1161" y="555"/>
                  </a:lnTo>
                  <a:lnTo>
                    <a:pt x="1161" y="557"/>
                  </a:lnTo>
                  <a:lnTo>
                    <a:pt x="1161" y="559"/>
                  </a:lnTo>
                  <a:lnTo>
                    <a:pt x="1161" y="559"/>
                  </a:lnTo>
                  <a:lnTo>
                    <a:pt x="1161" y="559"/>
                  </a:lnTo>
                  <a:lnTo>
                    <a:pt x="1161" y="559"/>
                  </a:lnTo>
                  <a:lnTo>
                    <a:pt x="1161" y="559"/>
                  </a:lnTo>
                  <a:lnTo>
                    <a:pt x="1161" y="557"/>
                  </a:lnTo>
                  <a:lnTo>
                    <a:pt x="1161" y="557"/>
                  </a:lnTo>
                  <a:lnTo>
                    <a:pt x="1161" y="557"/>
                  </a:lnTo>
                  <a:lnTo>
                    <a:pt x="1161" y="557"/>
                  </a:lnTo>
                  <a:lnTo>
                    <a:pt x="1159" y="557"/>
                  </a:lnTo>
                  <a:lnTo>
                    <a:pt x="1159" y="559"/>
                  </a:lnTo>
                  <a:lnTo>
                    <a:pt x="1159" y="559"/>
                  </a:lnTo>
                  <a:lnTo>
                    <a:pt x="1159" y="559"/>
                  </a:lnTo>
                  <a:lnTo>
                    <a:pt x="1159" y="559"/>
                  </a:lnTo>
                  <a:lnTo>
                    <a:pt x="1159" y="559"/>
                  </a:lnTo>
                  <a:lnTo>
                    <a:pt x="1159" y="559"/>
                  </a:lnTo>
                  <a:lnTo>
                    <a:pt x="1159" y="559"/>
                  </a:lnTo>
                  <a:lnTo>
                    <a:pt x="1159" y="559"/>
                  </a:lnTo>
                  <a:lnTo>
                    <a:pt x="1159" y="562"/>
                  </a:lnTo>
                  <a:lnTo>
                    <a:pt x="1159" y="562"/>
                  </a:lnTo>
                  <a:lnTo>
                    <a:pt x="1159" y="562"/>
                  </a:lnTo>
                  <a:lnTo>
                    <a:pt x="1159" y="564"/>
                  </a:lnTo>
                  <a:lnTo>
                    <a:pt x="1159" y="564"/>
                  </a:lnTo>
                  <a:lnTo>
                    <a:pt x="1159" y="562"/>
                  </a:lnTo>
                  <a:lnTo>
                    <a:pt x="1159" y="562"/>
                  </a:lnTo>
                  <a:lnTo>
                    <a:pt x="1157" y="562"/>
                  </a:lnTo>
                  <a:lnTo>
                    <a:pt x="1157" y="562"/>
                  </a:lnTo>
                  <a:lnTo>
                    <a:pt x="1157" y="562"/>
                  </a:lnTo>
                  <a:lnTo>
                    <a:pt x="1157" y="562"/>
                  </a:lnTo>
                  <a:lnTo>
                    <a:pt x="1157" y="562"/>
                  </a:lnTo>
                  <a:lnTo>
                    <a:pt x="1157" y="559"/>
                  </a:lnTo>
                  <a:lnTo>
                    <a:pt x="1157" y="559"/>
                  </a:lnTo>
                  <a:lnTo>
                    <a:pt x="1155" y="562"/>
                  </a:lnTo>
                  <a:lnTo>
                    <a:pt x="1155" y="559"/>
                  </a:lnTo>
                  <a:lnTo>
                    <a:pt x="1155" y="559"/>
                  </a:lnTo>
                  <a:lnTo>
                    <a:pt x="1155" y="559"/>
                  </a:lnTo>
                  <a:lnTo>
                    <a:pt x="1155" y="559"/>
                  </a:lnTo>
                  <a:lnTo>
                    <a:pt x="1155" y="559"/>
                  </a:lnTo>
                  <a:lnTo>
                    <a:pt x="1153" y="559"/>
                  </a:lnTo>
                  <a:lnTo>
                    <a:pt x="1153" y="559"/>
                  </a:lnTo>
                  <a:lnTo>
                    <a:pt x="1151" y="562"/>
                  </a:lnTo>
                  <a:lnTo>
                    <a:pt x="1149" y="562"/>
                  </a:lnTo>
                  <a:lnTo>
                    <a:pt x="1149" y="564"/>
                  </a:lnTo>
                  <a:lnTo>
                    <a:pt x="1149" y="564"/>
                  </a:lnTo>
                  <a:lnTo>
                    <a:pt x="1149" y="564"/>
                  </a:lnTo>
                  <a:lnTo>
                    <a:pt x="1149" y="564"/>
                  </a:lnTo>
                  <a:lnTo>
                    <a:pt x="1149" y="562"/>
                  </a:lnTo>
                  <a:lnTo>
                    <a:pt x="1149" y="562"/>
                  </a:lnTo>
                  <a:lnTo>
                    <a:pt x="1151" y="559"/>
                  </a:lnTo>
                  <a:lnTo>
                    <a:pt x="1151" y="557"/>
                  </a:lnTo>
                  <a:lnTo>
                    <a:pt x="1153" y="557"/>
                  </a:lnTo>
                  <a:lnTo>
                    <a:pt x="1153" y="555"/>
                  </a:lnTo>
                  <a:lnTo>
                    <a:pt x="1153" y="557"/>
                  </a:lnTo>
                  <a:lnTo>
                    <a:pt x="1155" y="557"/>
                  </a:lnTo>
                  <a:lnTo>
                    <a:pt x="1155" y="557"/>
                  </a:lnTo>
                  <a:lnTo>
                    <a:pt x="1155" y="557"/>
                  </a:lnTo>
                  <a:lnTo>
                    <a:pt x="1155" y="557"/>
                  </a:lnTo>
                  <a:lnTo>
                    <a:pt x="1155" y="557"/>
                  </a:lnTo>
                  <a:lnTo>
                    <a:pt x="1157" y="559"/>
                  </a:lnTo>
                  <a:lnTo>
                    <a:pt x="1157" y="557"/>
                  </a:lnTo>
                  <a:lnTo>
                    <a:pt x="1159" y="555"/>
                  </a:lnTo>
                  <a:lnTo>
                    <a:pt x="1159" y="555"/>
                  </a:lnTo>
                  <a:lnTo>
                    <a:pt x="1159" y="555"/>
                  </a:lnTo>
                  <a:lnTo>
                    <a:pt x="1159" y="553"/>
                  </a:lnTo>
                  <a:lnTo>
                    <a:pt x="1159" y="553"/>
                  </a:lnTo>
                  <a:lnTo>
                    <a:pt x="1159" y="553"/>
                  </a:lnTo>
                  <a:lnTo>
                    <a:pt x="1159" y="553"/>
                  </a:lnTo>
                  <a:lnTo>
                    <a:pt x="1159" y="553"/>
                  </a:lnTo>
                  <a:lnTo>
                    <a:pt x="1159" y="551"/>
                  </a:lnTo>
                  <a:lnTo>
                    <a:pt x="1159" y="551"/>
                  </a:lnTo>
                  <a:lnTo>
                    <a:pt x="1159" y="551"/>
                  </a:lnTo>
                  <a:lnTo>
                    <a:pt x="1159" y="551"/>
                  </a:lnTo>
                  <a:lnTo>
                    <a:pt x="1157" y="549"/>
                  </a:lnTo>
                  <a:lnTo>
                    <a:pt x="1157" y="547"/>
                  </a:lnTo>
                  <a:lnTo>
                    <a:pt x="1157" y="547"/>
                  </a:lnTo>
                  <a:lnTo>
                    <a:pt x="1159" y="547"/>
                  </a:lnTo>
                  <a:lnTo>
                    <a:pt x="1159" y="547"/>
                  </a:lnTo>
                  <a:lnTo>
                    <a:pt x="1157" y="547"/>
                  </a:lnTo>
                  <a:lnTo>
                    <a:pt x="1157" y="549"/>
                  </a:lnTo>
                  <a:lnTo>
                    <a:pt x="1155" y="549"/>
                  </a:lnTo>
                  <a:lnTo>
                    <a:pt x="1155" y="551"/>
                  </a:lnTo>
                  <a:lnTo>
                    <a:pt x="1155" y="551"/>
                  </a:lnTo>
                  <a:lnTo>
                    <a:pt x="1155" y="551"/>
                  </a:lnTo>
                  <a:lnTo>
                    <a:pt x="1155" y="553"/>
                  </a:lnTo>
                  <a:lnTo>
                    <a:pt x="1155" y="553"/>
                  </a:lnTo>
                  <a:lnTo>
                    <a:pt x="1155" y="553"/>
                  </a:lnTo>
                  <a:lnTo>
                    <a:pt x="1153" y="553"/>
                  </a:lnTo>
                  <a:lnTo>
                    <a:pt x="1153" y="551"/>
                  </a:lnTo>
                  <a:lnTo>
                    <a:pt x="1153" y="551"/>
                  </a:lnTo>
                  <a:lnTo>
                    <a:pt x="1155" y="551"/>
                  </a:lnTo>
                  <a:lnTo>
                    <a:pt x="1155" y="551"/>
                  </a:lnTo>
                  <a:lnTo>
                    <a:pt x="1155" y="549"/>
                  </a:lnTo>
                  <a:lnTo>
                    <a:pt x="1155" y="549"/>
                  </a:lnTo>
                  <a:lnTo>
                    <a:pt x="1155" y="549"/>
                  </a:lnTo>
                  <a:lnTo>
                    <a:pt x="1155" y="549"/>
                  </a:lnTo>
                  <a:lnTo>
                    <a:pt x="1155" y="547"/>
                  </a:lnTo>
                  <a:lnTo>
                    <a:pt x="1155" y="547"/>
                  </a:lnTo>
                  <a:lnTo>
                    <a:pt x="1155" y="547"/>
                  </a:lnTo>
                  <a:lnTo>
                    <a:pt x="1155" y="547"/>
                  </a:lnTo>
                  <a:lnTo>
                    <a:pt x="1155" y="547"/>
                  </a:lnTo>
                  <a:lnTo>
                    <a:pt x="1155" y="547"/>
                  </a:lnTo>
                  <a:lnTo>
                    <a:pt x="1155" y="547"/>
                  </a:lnTo>
                  <a:lnTo>
                    <a:pt x="1155" y="547"/>
                  </a:lnTo>
                  <a:lnTo>
                    <a:pt x="1153" y="547"/>
                  </a:lnTo>
                  <a:lnTo>
                    <a:pt x="1153" y="547"/>
                  </a:lnTo>
                  <a:lnTo>
                    <a:pt x="1153" y="547"/>
                  </a:lnTo>
                  <a:lnTo>
                    <a:pt x="1153" y="547"/>
                  </a:lnTo>
                  <a:lnTo>
                    <a:pt x="1151" y="547"/>
                  </a:lnTo>
                  <a:lnTo>
                    <a:pt x="1151" y="547"/>
                  </a:lnTo>
                  <a:lnTo>
                    <a:pt x="1151" y="547"/>
                  </a:lnTo>
                  <a:lnTo>
                    <a:pt x="1151" y="549"/>
                  </a:lnTo>
                  <a:lnTo>
                    <a:pt x="1151" y="549"/>
                  </a:lnTo>
                  <a:lnTo>
                    <a:pt x="1149" y="549"/>
                  </a:lnTo>
                  <a:lnTo>
                    <a:pt x="1149" y="549"/>
                  </a:lnTo>
                  <a:lnTo>
                    <a:pt x="1149" y="549"/>
                  </a:lnTo>
                  <a:lnTo>
                    <a:pt x="1149" y="549"/>
                  </a:lnTo>
                  <a:lnTo>
                    <a:pt x="1149" y="551"/>
                  </a:lnTo>
                  <a:lnTo>
                    <a:pt x="1149" y="551"/>
                  </a:lnTo>
                  <a:lnTo>
                    <a:pt x="1149" y="551"/>
                  </a:lnTo>
                  <a:lnTo>
                    <a:pt x="1149" y="551"/>
                  </a:lnTo>
                  <a:lnTo>
                    <a:pt x="1149" y="551"/>
                  </a:lnTo>
                  <a:lnTo>
                    <a:pt x="1147" y="553"/>
                  </a:lnTo>
                  <a:lnTo>
                    <a:pt x="1147" y="553"/>
                  </a:lnTo>
                  <a:lnTo>
                    <a:pt x="1147" y="551"/>
                  </a:lnTo>
                  <a:lnTo>
                    <a:pt x="1147" y="551"/>
                  </a:lnTo>
                  <a:lnTo>
                    <a:pt x="1147" y="551"/>
                  </a:lnTo>
                  <a:lnTo>
                    <a:pt x="1147" y="549"/>
                  </a:lnTo>
                  <a:lnTo>
                    <a:pt x="1147" y="549"/>
                  </a:lnTo>
                  <a:lnTo>
                    <a:pt x="1149" y="549"/>
                  </a:lnTo>
                  <a:lnTo>
                    <a:pt x="1149" y="547"/>
                  </a:lnTo>
                  <a:lnTo>
                    <a:pt x="1149" y="547"/>
                  </a:lnTo>
                  <a:lnTo>
                    <a:pt x="1151" y="545"/>
                  </a:lnTo>
                  <a:lnTo>
                    <a:pt x="1153" y="545"/>
                  </a:lnTo>
                  <a:lnTo>
                    <a:pt x="1153" y="545"/>
                  </a:lnTo>
                  <a:lnTo>
                    <a:pt x="1151" y="545"/>
                  </a:lnTo>
                  <a:lnTo>
                    <a:pt x="1151" y="545"/>
                  </a:lnTo>
                  <a:lnTo>
                    <a:pt x="1151" y="545"/>
                  </a:lnTo>
                  <a:lnTo>
                    <a:pt x="1151" y="545"/>
                  </a:lnTo>
                  <a:lnTo>
                    <a:pt x="1149" y="545"/>
                  </a:lnTo>
                  <a:lnTo>
                    <a:pt x="1149" y="545"/>
                  </a:lnTo>
                  <a:lnTo>
                    <a:pt x="1149" y="545"/>
                  </a:lnTo>
                  <a:lnTo>
                    <a:pt x="1149" y="545"/>
                  </a:lnTo>
                  <a:lnTo>
                    <a:pt x="1147" y="547"/>
                  </a:lnTo>
                  <a:lnTo>
                    <a:pt x="1147" y="547"/>
                  </a:lnTo>
                  <a:lnTo>
                    <a:pt x="1149" y="543"/>
                  </a:lnTo>
                  <a:lnTo>
                    <a:pt x="1151" y="543"/>
                  </a:lnTo>
                  <a:lnTo>
                    <a:pt x="1153" y="543"/>
                  </a:lnTo>
                  <a:lnTo>
                    <a:pt x="1153" y="543"/>
                  </a:lnTo>
                  <a:lnTo>
                    <a:pt x="1155" y="545"/>
                  </a:lnTo>
                  <a:lnTo>
                    <a:pt x="1155" y="545"/>
                  </a:lnTo>
                  <a:lnTo>
                    <a:pt x="1155" y="545"/>
                  </a:lnTo>
                  <a:lnTo>
                    <a:pt x="1155" y="543"/>
                  </a:lnTo>
                  <a:lnTo>
                    <a:pt x="1153" y="543"/>
                  </a:lnTo>
                  <a:lnTo>
                    <a:pt x="1155" y="543"/>
                  </a:lnTo>
                  <a:lnTo>
                    <a:pt x="1155" y="543"/>
                  </a:lnTo>
                  <a:lnTo>
                    <a:pt x="1155" y="543"/>
                  </a:lnTo>
                  <a:lnTo>
                    <a:pt x="1155" y="543"/>
                  </a:lnTo>
                  <a:lnTo>
                    <a:pt x="1155" y="541"/>
                  </a:lnTo>
                  <a:lnTo>
                    <a:pt x="1155" y="541"/>
                  </a:lnTo>
                  <a:lnTo>
                    <a:pt x="1155" y="541"/>
                  </a:lnTo>
                  <a:lnTo>
                    <a:pt x="1155" y="539"/>
                  </a:lnTo>
                  <a:lnTo>
                    <a:pt x="1157" y="539"/>
                  </a:lnTo>
                  <a:lnTo>
                    <a:pt x="1157" y="539"/>
                  </a:lnTo>
                  <a:lnTo>
                    <a:pt x="1157" y="539"/>
                  </a:lnTo>
                  <a:lnTo>
                    <a:pt x="1155" y="537"/>
                  </a:lnTo>
                  <a:lnTo>
                    <a:pt x="1155" y="537"/>
                  </a:lnTo>
                  <a:lnTo>
                    <a:pt x="1155" y="537"/>
                  </a:lnTo>
                  <a:lnTo>
                    <a:pt x="1157" y="537"/>
                  </a:lnTo>
                  <a:lnTo>
                    <a:pt x="1157" y="537"/>
                  </a:lnTo>
                  <a:lnTo>
                    <a:pt x="1157" y="537"/>
                  </a:lnTo>
                  <a:lnTo>
                    <a:pt x="1157" y="535"/>
                  </a:lnTo>
                  <a:lnTo>
                    <a:pt x="1157" y="535"/>
                  </a:lnTo>
                  <a:lnTo>
                    <a:pt x="1159" y="533"/>
                  </a:lnTo>
                  <a:lnTo>
                    <a:pt x="1159" y="533"/>
                  </a:lnTo>
                  <a:lnTo>
                    <a:pt x="1159" y="533"/>
                  </a:lnTo>
                  <a:lnTo>
                    <a:pt x="1159" y="531"/>
                  </a:lnTo>
                  <a:lnTo>
                    <a:pt x="1159" y="531"/>
                  </a:lnTo>
                  <a:lnTo>
                    <a:pt x="1159" y="531"/>
                  </a:lnTo>
                  <a:lnTo>
                    <a:pt x="1157" y="531"/>
                  </a:lnTo>
                  <a:lnTo>
                    <a:pt x="1155" y="531"/>
                  </a:lnTo>
                  <a:lnTo>
                    <a:pt x="1155" y="533"/>
                  </a:lnTo>
                  <a:lnTo>
                    <a:pt x="1153" y="535"/>
                  </a:lnTo>
                  <a:lnTo>
                    <a:pt x="1153" y="535"/>
                  </a:lnTo>
                  <a:lnTo>
                    <a:pt x="1151" y="535"/>
                  </a:lnTo>
                  <a:lnTo>
                    <a:pt x="1151" y="535"/>
                  </a:lnTo>
                  <a:lnTo>
                    <a:pt x="1153" y="535"/>
                  </a:lnTo>
                  <a:lnTo>
                    <a:pt x="1153" y="535"/>
                  </a:lnTo>
                  <a:lnTo>
                    <a:pt x="1153" y="533"/>
                  </a:lnTo>
                  <a:lnTo>
                    <a:pt x="1153" y="533"/>
                  </a:lnTo>
                  <a:lnTo>
                    <a:pt x="1153" y="533"/>
                  </a:lnTo>
                  <a:lnTo>
                    <a:pt x="1153" y="533"/>
                  </a:lnTo>
                  <a:lnTo>
                    <a:pt x="1153" y="533"/>
                  </a:lnTo>
                  <a:lnTo>
                    <a:pt x="1153" y="531"/>
                  </a:lnTo>
                  <a:lnTo>
                    <a:pt x="1153" y="531"/>
                  </a:lnTo>
                  <a:lnTo>
                    <a:pt x="1155" y="531"/>
                  </a:lnTo>
                  <a:lnTo>
                    <a:pt x="1155" y="531"/>
                  </a:lnTo>
                  <a:lnTo>
                    <a:pt x="1157" y="529"/>
                  </a:lnTo>
                  <a:lnTo>
                    <a:pt x="1157" y="529"/>
                  </a:lnTo>
                  <a:lnTo>
                    <a:pt x="1159" y="529"/>
                  </a:lnTo>
                  <a:lnTo>
                    <a:pt x="1159" y="529"/>
                  </a:lnTo>
                  <a:lnTo>
                    <a:pt x="1159" y="529"/>
                  </a:lnTo>
                  <a:lnTo>
                    <a:pt x="1159" y="529"/>
                  </a:lnTo>
                  <a:lnTo>
                    <a:pt x="1159" y="529"/>
                  </a:lnTo>
                  <a:lnTo>
                    <a:pt x="1159" y="531"/>
                  </a:lnTo>
                  <a:lnTo>
                    <a:pt x="1159" y="531"/>
                  </a:lnTo>
                  <a:lnTo>
                    <a:pt x="1161" y="533"/>
                  </a:lnTo>
                  <a:lnTo>
                    <a:pt x="1161" y="533"/>
                  </a:lnTo>
                  <a:lnTo>
                    <a:pt x="1161" y="533"/>
                  </a:lnTo>
                  <a:lnTo>
                    <a:pt x="1161" y="533"/>
                  </a:lnTo>
                  <a:lnTo>
                    <a:pt x="1161" y="533"/>
                  </a:lnTo>
                  <a:lnTo>
                    <a:pt x="1163" y="533"/>
                  </a:lnTo>
                  <a:lnTo>
                    <a:pt x="1163" y="531"/>
                  </a:lnTo>
                  <a:lnTo>
                    <a:pt x="1163" y="529"/>
                  </a:lnTo>
                  <a:lnTo>
                    <a:pt x="1165" y="525"/>
                  </a:lnTo>
                  <a:lnTo>
                    <a:pt x="1165" y="525"/>
                  </a:lnTo>
                  <a:lnTo>
                    <a:pt x="1165" y="525"/>
                  </a:lnTo>
                  <a:lnTo>
                    <a:pt x="1165" y="523"/>
                  </a:lnTo>
                  <a:lnTo>
                    <a:pt x="1167" y="521"/>
                  </a:lnTo>
                  <a:lnTo>
                    <a:pt x="1167" y="521"/>
                  </a:lnTo>
                  <a:lnTo>
                    <a:pt x="1167" y="518"/>
                  </a:lnTo>
                  <a:lnTo>
                    <a:pt x="1169" y="518"/>
                  </a:lnTo>
                  <a:lnTo>
                    <a:pt x="1169" y="518"/>
                  </a:lnTo>
                  <a:lnTo>
                    <a:pt x="1169" y="521"/>
                  </a:lnTo>
                  <a:lnTo>
                    <a:pt x="1167" y="523"/>
                  </a:lnTo>
                  <a:lnTo>
                    <a:pt x="1167" y="523"/>
                  </a:lnTo>
                  <a:lnTo>
                    <a:pt x="1169" y="523"/>
                  </a:lnTo>
                  <a:lnTo>
                    <a:pt x="1169" y="521"/>
                  </a:lnTo>
                  <a:lnTo>
                    <a:pt x="1169" y="523"/>
                  </a:lnTo>
                  <a:lnTo>
                    <a:pt x="1169" y="523"/>
                  </a:lnTo>
                  <a:lnTo>
                    <a:pt x="1167" y="523"/>
                  </a:lnTo>
                  <a:lnTo>
                    <a:pt x="1167" y="525"/>
                  </a:lnTo>
                  <a:lnTo>
                    <a:pt x="1167" y="525"/>
                  </a:lnTo>
                  <a:lnTo>
                    <a:pt x="1167" y="527"/>
                  </a:lnTo>
                  <a:lnTo>
                    <a:pt x="1165" y="527"/>
                  </a:lnTo>
                  <a:lnTo>
                    <a:pt x="1165" y="527"/>
                  </a:lnTo>
                  <a:lnTo>
                    <a:pt x="1165" y="529"/>
                  </a:lnTo>
                  <a:lnTo>
                    <a:pt x="1165" y="531"/>
                  </a:lnTo>
                  <a:lnTo>
                    <a:pt x="1165" y="531"/>
                  </a:lnTo>
                  <a:lnTo>
                    <a:pt x="1165" y="531"/>
                  </a:lnTo>
                  <a:lnTo>
                    <a:pt x="1165" y="531"/>
                  </a:lnTo>
                  <a:lnTo>
                    <a:pt x="1165" y="533"/>
                  </a:lnTo>
                  <a:lnTo>
                    <a:pt x="1163" y="533"/>
                  </a:lnTo>
                  <a:lnTo>
                    <a:pt x="1163" y="533"/>
                  </a:lnTo>
                  <a:lnTo>
                    <a:pt x="1163" y="533"/>
                  </a:lnTo>
                  <a:lnTo>
                    <a:pt x="1163" y="535"/>
                  </a:lnTo>
                  <a:lnTo>
                    <a:pt x="1163" y="535"/>
                  </a:lnTo>
                  <a:lnTo>
                    <a:pt x="1163" y="535"/>
                  </a:lnTo>
                  <a:lnTo>
                    <a:pt x="1163" y="535"/>
                  </a:lnTo>
                  <a:lnTo>
                    <a:pt x="1163" y="535"/>
                  </a:lnTo>
                  <a:lnTo>
                    <a:pt x="1163" y="537"/>
                  </a:lnTo>
                  <a:lnTo>
                    <a:pt x="1161" y="537"/>
                  </a:lnTo>
                  <a:lnTo>
                    <a:pt x="1163" y="537"/>
                  </a:lnTo>
                  <a:lnTo>
                    <a:pt x="1163" y="537"/>
                  </a:lnTo>
                  <a:lnTo>
                    <a:pt x="1165" y="539"/>
                  </a:lnTo>
                  <a:lnTo>
                    <a:pt x="1165" y="539"/>
                  </a:lnTo>
                  <a:lnTo>
                    <a:pt x="1165" y="539"/>
                  </a:lnTo>
                  <a:lnTo>
                    <a:pt x="1165" y="539"/>
                  </a:lnTo>
                  <a:lnTo>
                    <a:pt x="1165" y="541"/>
                  </a:lnTo>
                  <a:lnTo>
                    <a:pt x="1165" y="541"/>
                  </a:lnTo>
                  <a:lnTo>
                    <a:pt x="1167" y="541"/>
                  </a:lnTo>
                  <a:lnTo>
                    <a:pt x="1167" y="543"/>
                  </a:lnTo>
                  <a:lnTo>
                    <a:pt x="1169" y="543"/>
                  </a:lnTo>
                  <a:lnTo>
                    <a:pt x="1169" y="543"/>
                  </a:lnTo>
                  <a:lnTo>
                    <a:pt x="1169" y="541"/>
                  </a:lnTo>
                  <a:lnTo>
                    <a:pt x="1169" y="541"/>
                  </a:lnTo>
                  <a:lnTo>
                    <a:pt x="1169" y="541"/>
                  </a:lnTo>
                  <a:lnTo>
                    <a:pt x="1169" y="541"/>
                  </a:lnTo>
                  <a:lnTo>
                    <a:pt x="1169" y="541"/>
                  </a:lnTo>
                  <a:lnTo>
                    <a:pt x="1169" y="541"/>
                  </a:lnTo>
                  <a:lnTo>
                    <a:pt x="1169" y="541"/>
                  </a:lnTo>
                  <a:lnTo>
                    <a:pt x="1167" y="541"/>
                  </a:lnTo>
                  <a:lnTo>
                    <a:pt x="1169" y="539"/>
                  </a:lnTo>
                  <a:lnTo>
                    <a:pt x="1169" y="539"/>
                  </a:lnTo>
                  <a:lnTo>
                    <a:pt x="1169" y="537"/>
                  </a:lnTo>
                  <a:lnTo>
                    <a:pt x="1169" y="537"/>
                  </a:lnTo>
                  <a:lnTo>
                    <a:pt x="1169" y="537"/>
                  </a:lnTo>
                  <a:lnTo>
                    <a:pt x="1169" y="537"/>
                  </a:lnTo>
                  <a:lnTo>
                    <a:pt x="1169" y="537"/>
                  </a:lnTo>
                  <a:lnTo>
                    <a:pt x="1169" y="537"/>
                  </a:lnTo>
                  <a:lnTo>
                    <a:pt x="1172" y="535"/>
                  </a:lnTo>
                  <a:lnTo>
                    <a:pt x="1172" y="537"/>
                  </a:lnTo>
                  <a:lnTo>
                    <a:pt x="1172" y="537"/>
                  </a:lnTo>
                  <a:lnTo>
                    <a:pt x="1169" y="537"/>
                  </a:lnTo>
                  <a:lnTo>
                    <a:pt x="1169" y="539"/>
                  </a:lnTo>
                  <a:lnTo>
                    <a:pt x="1169" y="539"/>
                  </a:lnTo>
                  <a:lnTo>
                    <a:pt x="1172" y="539"/>
                  </a:lnTo>
                  <a:lnTo>
                    <a:pt x="1172" y="539"/>
                  </a:lnTo>
                  <a:lnTo>
                    <a:pt x="1172" y="539"/>
                  </a:lnTo>
                  <a:lnTo>
                    <a:pt x="1172" y="541"/>
                  </a:lnTo>
                  <a:lnTo>
                    <a:pt x="1172" y="541"/>
                  </a:lnTo>
                  <a:lnTo>
                    <a:pt x="1174" y="541"/>
                  </a:lnTo>
                  <a:lnTo>
                    <a:pt x="1174" y="539"/>
                  </a:lnTo>
                  <a:lnTo>
                    <a:pt x="1174" y="539"/>
                  </a:lnTo>
                  <a:lnTo>
                    <a:pt x="1174" y="537"/>
                  </a:lnTo>
                  <a:lnTo>
                    <a:pt x="1174" y="537"/>
                  </a:lnTo>
                  <a:lnTo>
                    <a:pt x="1174" y="535"/>
                  </a:lnTo>
                  <a:lnTo>
                    <a:pt x="1174" y="535"/>
                  </a:lnTo>
                  <a:lnTo>
                    <a:pt x="1174" y="535"/>
                  </a:lnTo>
                  <a:lnTo>
                    <a:pt x="1174" y="535"/>
                  </a:lnTo>
                  <a:lnTo>
                    <a:pt x="1174" y="535"/>
                  </a:lnTo>
                  <a:lnTo>
                    <a:pt x="1172" y="535"/>
                  </a:lnTo>
                  <a:lnTo>
                    <a:pt x="1172" y="535"/>
                  </a:lnTo>
                  <a:lnTo>
                    <a:pt x="1174" y="533"/>
                  </a:lnTo>
                  <a:lnTo>
                    <a:pt x="1174" y="533"/>
                  </a:lnTo>
                  <a:lnTo>
                    <a:pt x="1174" y="533"/>
                  </a:lnTo>
                  <a:lnTo>
                    <a:pt x="1174" y="533"/>
                  </a:lnTo>
                  <a:lnTo>
                    <a:pt x="1174" y="533"/>
                  </a:lnTo>
                  <a:lnTo>
                    <a:pt x="1174" y="533"/>
                  </a:lnTo>
                  <a:lnTo>
                    <a:pt x="1174" y="533"/>
                  </a:lnTo>
                  <a:lnTo>
                    <a:pt x="1172" y="533"/>
                  </a:lnTo>
                  <a:lnTo>
                    <a:pt x="1172" y="533"/>
                  </a:lnTo>
                  <a:lnTo>
                    <a:pt x="1172" y="533"/>
                  </a:lnTo>
                  <a:lnTo>
                    <a:pt x="1172" y="533"/>
                  </a:lnTo>
                  <a:lnTo>
                    <a:pt x="1172" y="531"/>
                  </a:lnTo>
                  <a:lnTo>
                    <a:pt x="1174" y="531"/>
                  </a:lnTo>
                  <a:lnTo>
                    <a:pt x="1174" y="531"/>
                  </a:lnTo>
                  <a:lnTo>
                    <a:pt x="1174" y="529"/>
                  </a:lnTo>
                  <a:lnTo>
                    <a:pt x="1174" y="527"/>
                  </a:lnTo>
                  <a:lnTo>
                    <a:pt x="1174" y="527"/>
                  </a:lnTo>
                  <a:lnTo>
                    <a:pt x="1174" y="527"/>
                  </a:lnTo>
                  <a:lnTo>
                    <a:pt x="1174" y="527"/>
                  </a:lnTo>
                  <a:lnTo>
                    <a:pt x="1174" y="525"/>
                  </a:lnTo>
                  <a:lnTo>
                    <a:pt x="1174" y="525"/>
                  </a:lnTo>
                  <a:lnTo>
                    <a:pt x="1174" y="525"/>
                  </a:lnTo>
                  <a:lnTo>
                    <a:pt x="1174" y="525"/>
                  </a:lnTo>
                  <a:lnTo>
                    <a:pt x="1176" y="525"/>
                  </a:lnTo>
                  <a:lnTo>
                    <a:pt x="1174" y="525"/>
                  </a:lnTo>
                  <a:lnTo>
                    <a:pt x="1174" y="527"/>
                  </a:lnTo>
                  <a:lnTo>
                    <a:pt x="1174" y="527"/>
                  </a:lnTo>
                  <a:lnTo>
                    <a:pt x="1176" y="529"/>
                  </a:lnTo>
                  <a:lnTo>
                    <a:pt x="1176" y="529"/>
                  </a:lnTo>
                  <a:lnTo>
                    <a:pt x="1176" y="529"/>
                  </a:lnTo>
                  <a:lnTo>
                    <a:pt x="1176" y="529"/>
                  </a:lnTo>
                  <a:lnTo>
                    <a:pt x="1176" y="529"/>
                  </a:lnTo>
                  <a:lnTo>
                    <a:pt x="1176" y="529"/>
                  </a:lnTo>
                  <a:lnTo>
                    <a:pt x="1176" y="529"/>
                  </a:lnTo>
                  <a:lnTo>
                    <a:pt x="1174" y="531"/>
                  </a:lnTo>
                  <a:lnTo>
                    <a:pt x="1176" y="531"/>
                  </a:lnTo>
                  <a:lnTo>
                    <a:pt x="1176" y="533"/>
                  </a:lnTo>
                  <a:lnTo>
                    <a:pt x="1176" y="533"/>
                  </a:lnTo>
                  <a:lnTo>
                    <a:pt x="1176" y="533"/>
                  </a:lnTo>
                  <a:lnTo>
                    <a:pt x="1176" y="537"/>
                  </a:lnTo>
                  <a:lnTo>
                    <a:pt x="1176" y="537"/>
                  </a:lnTo>
                  <a:lnTo>
                    <a:pt x="1176" y="537"/>
                  </a:lnTo>
                  <a:lnTo>
                    <a:pt x="1176" y="535"/>
                  </a:lnTo>
                  <a:lnTo>
                    <a:pt x="1176" y="533"/>
                  </a:lnTo>
                  <a:lnTo>
                    <a:pt x="1178" y="533"/>
                  </a:lnTo>
                  <a:lnTo>
                    <a:pt x="1178" y="533"/>
                  </a:lnTo>
                  <a:lnTo>
                    <a:pt x="1178" y="533"/>
                  </a:lnTo>
                  <a:lnTo>
                    <a:pt x="1178" y="533"/>
                  </a:lnTo>
                  <a:lnTo>
                    <a:pt x="1178" y="535"/>
                  </a:lnTo>
                  <a:lnTo>
                    <a:pt x="1178" y="535"/>
                  </a:lnTo>
                  <a:lnTo>
                    <a:pt x="1178" y="535"/>
                  </a:lnTo>
                  <a:lnTo>
                    <a:pt x="1178" y="533"/>
                  </a:lnTo>
                  <a:lnTo>
                    <a:pt x="1178" y="533"/>
                  </a:lnTo>
                  <a:lnTo>
                    <a:pt x="1180" y="533"/>
                  </a:lnTo>
                  <a:lnTo>
                    <a:pt x="1178" y="537"/>
                  </a:lnTo>
                  <a:lnTo>
                    <a:pt x="1178" y="537"/>
                  </a:lnTo>
                  <a:lnTo>
                    <a:pt x="1178" y="537"/>
                  </a:lnTo>
                  <a:lnTo>
                    <a:pt x="1178" y="537"/>
                  </a:lnTo>
                  <a:lnTo>
                    <a:pt x="1180" y="537"/>
                  </a:lnTo>
                  <a:lnTo>
                    <a:pt x="1180" y="537"/>
                  </a:lnTo>
                  <a:lnTo>
                    <a:pt x="1180" y="539"/>
                  </a:lnTo>
                  <a:lnTo>
                    <a:pt x="1180" y="537"/>
                  </a:lnTo>
                  <a:lnTo>
                    <a:pt x="1182" y="537"/>
                  </a:lnTo>
                  <a:lnTo>
                    <a:pt x="1180" y="537"/>
                  </a:lnTo>
                  <a:lnTo>
                    <a:pt x="1182" y="535"/>
                  </a:lnTo>
                  <a:lnTo>
                    <a:pt x="1182" y="535"/>
                  </a:lnTo>
                  <a:lnTo>
                    <a:pt x="1182" y="535"/>
                  </a:lnTo>
                  <a:lnTo>
                    <a:pt x="1182" y="535"/>
                  </a:lnTo>
                  <a:lnTo>
                    <a:pt x="1182" y="533"/>
                  </a:lnTo>
                  <a:lnTo>
                    <a:pt x="1182" y="533"/>
                  </a:lnTo>
                  <a:lnTo>
                    <a:pt x="1182" y="533"/>
                  </a:lnTo>
                  <a:lnTo>
                    <a:pt x="1182" y="533"/>
                  </a:lnTo>
                  <a:lnTo>
                    <a:pt x="1182" y="533"/>
                  </a:lnTo>
                  <a:lnTo>
                    <a:pt x="1182" y="533"/>
                  </a:lnTo>
                  <a:lnTo>
                    <a:pt x="1184" y="531"/>
                  </a:lnTo>
                  <a:lnTo>
                    <a:pt x="1184" y="531"/>
                  </a:lnTo>
                  <a:lnTo>
                    <a:pt x="1184" y="531"/>
                  </a:lnTo>
                  <a:lnTo>
                    <a:pt x="1184" y="533"/>
                  </a:lnTo>
                  <a:lnTo>
                    <a:pt x="1184" y="533"/>
                  </a:lnTo>
                  <a:lnTo>
                    <a:pt x="1184" y="535"/>
                  </a:lnTo>
                  <a:lnTo>
                    <a:pt x="1184" y="535"/>
                  </a:lnTo>
                  <a:lnTo>
                    <a:pt x="1184" y="535"/>
                  </a:lnTo>
                  <a:lnTo>
                    <a:pt x="1184" y="535"/>
                  </a:lnTo>
                  <a:lnTo>
                    <a:pt x="1184" y="533"/>
                  </a:lnTo>
                  <a:lnTo>
                    <a:pt x="1184" y="533"/>
                  </a:lnTo>
                  <a:lnTo>
                    <a:pt x="1184" y="533"/>
                  </a:lnTo>
                  <a:lnTo>
                    <a:pt x="1186" y="531"/>
                  </a:lnTo>
                  <a:lnTo>
                    <a:pt x="1186" y="531"/>
                  </a:lnTo>
                  <a:lnTo>
                    <a:pt x="1186" y="531"/>
                  </a:lnTo>
                  <a:lnTo>
                    <a:pt x="1188" y="531"/>
                  </a:lnTo>
                  <a:lnTo>
                    <a:pt x="1188" y="531"/>
                  </a:lnTo>
                  <a:lnTo>
                    <a:pt x="1188" y="533"/>
                  </a:lnTo>
                  <a:lnTo>
                    <a:pt x="1186" y="533"/>
                  </a:lnTo>
                  <a:lnTo>
                    <a:pt x="1188" y="533"/>
                  </a:lnTo>
                  <a:lnTo>
                    <a:pt x="1188" y="533"/>
                  </a:lnTo>
                  <a:lnTo>
                    <a:pt x="1188" y="533"/>
                  </a:lnTo>
                  <a:lnTo>
                    <a:pt x="1188" y="533"/>
                  </a:lnTo>
                  <a:lnTo>
                    <a:pt x="1188" y="531"/>
                  </a:lnTo>
                  <a:lnTo>
                    <a:pt x="1188" y="531"/>
                  </a:lnTo>
                  <a:lnTo>
                    <a:pt x="1188" y="531"/>
                  </a:lnTo>
                  <a:lnTo>
                    <a:pt x="1188" y="531"/>
                  </a:lnTo>
                  <a:lnTo>
                    <a:pt x="1188" y="531"/>
                  </a:lnTo>
                  <a:lnTo>
                    <a:pt x="1188" y="531"/>
                  </a:lnTo>
                  <a:lnTo>
                    <a:pt x="1188" y="533"/>
                  </a:lnTo>
                  <a:lnTo>
                    <a:pt x="1188" y="533"/>
                  </a:lnTo>
                  <a:lnTo>
                    <a:pt x="1188" y="535"/>
                  </a:lnTo>
                  <a:lnTo>
                    <a:pt x="1190" y="535"/>
                  </a:lnTo>
                  <a:lnTo>
                    <a:pt x="1190" y="535"/>
                  </a:lnTo>
                  <a:lnTo>
                    <a:pt x="1190" y="533"/>
                  </a:lnTo>
                  <a:lnTo>
                    <a:pt x="1192" y="533"/>
                  </a:lnTo>
                  <a:lnTo>
                    <a:pt x="1192" y="533"/>
                  </a:lnTo>
                  <a:lnTo>
                    <a:pt x="1192" y="531"/>
                  </a:lnTo>
                  <a:lnTo>
                    <a:pt x="1192" y="529"/>
                  </a:lnTo>
                  <a:lnTo>
                    <a:pt x="1194" y="527"/>
                  </a:lnTo>
                  <a:lnTo>
                    <a:pt x="1196" y="527"/>
                  </a:lnTo>
                  <a:lnTo>
                    <a:pt x="1196" y="525"/>
                  </a:lnTo>
                  <a:lnTo>
                    <a:pt x="1198" y="525"/>
                  </a:lnTo>
                  <a:lnTo>
                    <a:pt x="1198" y="523"/>
                  </a:lnTo>
                  <a:lnTo>
                    <a:pt x="1200" y="523"/>
                  </a:lnTo>
                  <a:lnTo>
                    <a:pt x="1202" y="523"/>
                  </a:lnTo>
                  <a:lnTo>
                    <a:pt x="1202" y="523"/>
                  </a:lnTo>
                  <a:lnTo>
                    <a:pt x="1204" y="523"/>
                  </a:lnTo>
                  <a:lnTo>
                    <a:pt x="1204" y="523"/>
                  </a:lnTo>
                  <a:lnTo>
                    <a:pt x="1206" y="523"/>
                  </a:lnTo>
                  <a:lnTo>
                    <a:pt x="1206" y="525"/>
                  </a:lnTo>
                  <a:lnTo>
                    <a:pt x="1206" y="525"/>
                  </a:lnTo>
                  <a:lnTo>
                    <a:pt x="1198" y="527"/>
                  </a:lnTo>
                  <a:lnTo>
                    <a:pt x="1196" y="527"/>
                  </a:lnTo>
                  <a:lnTo>
                    <a:pt x="1196" y="527"/>
                  </a:lnTo>
                  <a:lnTo>
                    <a:pt x="1198" y="527"/>
                  </a:lnTo>
                  <a:lnTo>
                    <a:pt x="1198" y="529"/>
                  </a:lnTo>
                  <a:lnTo>
                    <a:pt x="1198" y="529"/>
                  </a:lnTo>
                  <a:lnTo>
                    <a:pt x="1198" y="529"/>
                  </a:lnTo>
                  <a:lnTo>
                    <a:pt x="1198" y="529"/>
                  </a:lnTo>
                  <a:lnTo>
                    <a:pt x="1198" y="529"/>
                  </a:lnTo>
                  <a:lnTo>
                    <a:pt x="1196" y="529"/>
                  </a:lnTo>
                  <a:lnTo>
                    <a:pt x="1196" y="529"/>
                  </a:lnTo>
                  <a:lnTo>
                    <a:pt x="1196" y="529"/>
                  </a:lnTo>
                  <a:lnTo>
                    <a:pt x="1196" y="531"/>
                  </a:lnTo>
                  <a:lnTo>
                    <a:pt x="1196" y="531"/>
                  </a:lnTo>
                  <a:lnTo>
                    <a:pt x="1196" y="533"/>
                  </a:lnTo>
                  <a:lnTo>
                    <a:pt x="1196" y="533"/>
                  </a:lnTo>
                  <a:lnTo>
                    <a:pt x="1198" y="533"/>
                  </a:lnTo>
                  <a:lnTo>
                    <a:pt x="1198" y="533"/>
                  </a:lnTo>
                  <a:lnTo>
                    <a:pt x="1198" y="533"/>
                  </a:lnTo>
                  <a:lnTo>
                    <a:pt x="1196" y="533"/>
                  </a:lnTo>
                  <a:lnTo>
                    <a:pt x="1196" y="533"/>
                  </a:lnTo>
                  <a:lnTo>
                    <a:pt x="1196" y="533"/>
                  </a:lnTo>
                  <a:lnTo>
                    <a:pt x="1194" y="533"/>
                  </a:lnTo>
                  <a:lnTo>
                    <a:pt x="1194" y="533"/>
                  </a:lnTo>
                  <a:lnTo>
                    <a:pt x="1196" y="535"/>
                  </a:lnTo>
                  <a:lnTo>
                    <a:pt x="1196" y="535"/>
                  </a:lnTo>
                  <a:lnTo>
                    <a:pt x="1196" y="535"/>
                  </a:lnTo>
                  <a:lnTo>
                    <a:pt x="1196" y="535"/>
                  </a:lnTo>
                  <a:lnTo>
                    <a:pt x="1196" y="535"/>
                  </a:lnTo>
                  <a:lnTo>
                    <a:pt x="1196" y="537"/>
                  </a:lnTo>
                  <a:lnTo>
                    <a:pt x="1196" y="537"/>
                  </a:lnTo>
                  <a:lnTo>
                    <a:pt x="1196" y="537"/>
                  </a:lnTo>
                  <a:lnTo>
                    <a:pt x="1198" y="537"/>
                  </a:lnTo>
                  <a:lnTo>
                    <a:pt x="1198" y="537"/>
                  </a:lnTo>
                  <a:lnTo>
                    <a:pt x="1198" y="537"/>
                  </a:lnTo>
                  <a:lnTo>
                    <a:pt x="1198" y="537"/>
                  </a:lnTo>
                  <a:lnTo>
                    <a:pt x="1198" y="537"/>
                  </a:lnTo>
                  <a:lnTo>
                    <a:pt x="1198" y="537"/>
                  </a:lnTo>
                  <a:lnTo>
                    <a:pt x="1198" y="537"/>
                  </a:lnTo>
                  <a:lnTo>
                    <a:pt x="1198" y="537"/>
                  </a:lnTo>
                  <a:lnTo>
                    <a:pt x="1198" y="539"/>
                  </a:lnTo>
                  <a:lnTo>
                    <a:pt x="1198" y="539"/>
                  </a:lnTo>
                  <a:lnTo>
                    <a:pt x="1198" y="539"/>
                  </a:lnTo>
                  <a:lnTo>
                    <a:pt x="1198" y="539"/>
                  </a:lnTo>
                  <a:lnTo>
                    <a:pt x="1198" y="539"/>
                  </a:lnTo>
                  <a:lnTo>
                    <a:pt x="1200" y="539"/>
                  </a:lnTo>
                  <a:lnTo>
                    <a:pt x="1200" y="537"/>
                  </a:lnTo>
                  <a:lnTo>
                    <a:pt x="1200" y="539"/>
                  </a:lnTo>
                  <a:lnTo>
                    <a:pt x="1200" y="539"/>
                  </a:lnTo>
                  <a:lnTo>
                    <a:pt x="1202" y="539"/>
                  </a:lnTo>
                  <a:lnTo>
                    <a:pt x="1204" y="537"/>
                  </a:lnTo>
                  <a:lnTo>
                    <a:pt x="1204" y="539"/>
                  </a:lnTo>
                  <a:lnTo>
                    <a:pt x="1204" y="539"/>
                  </a:lnTo>
                  <a:lnTo>
                    <a:pt x="1204" y="539"/>
                  </a:lnTo>
                  <a:lnTo>
                    <a:pt x="1204" y="539"/>
                  </a:lnTo>
                  <a:lnTo>
                    <a:pt x="1204" y="539"/>
                  </a:lnTo>
                  <a:lnTo>
                    <a:pt x="1206" y="539"/>
                  </a:lnTo>
                  <a:lnTo>
                    <a:pt x="1206" y="537"/>
                  </a:lnTo>
                  <a:lnTo>
                    <a:pt x="1208" y="535"/>
                  </a:lnTo>
                  <a:lnTo>
                    <a:pt x="1208" y="535"/>
                  </a:lnTo>
                  <a:lnTo>
                    <a:pt x="1212" y="537"/>
                  </a:lnTo>
                  <a:lnTo>
                    <a:pt x="1208" y="537"/>
                  </a:lnTo>
                  <a:lnTo>
                    <a:pt x="1208" y="537"/>
                  </a:lnTo>
                  <a:lnTo>
                    <a:pt x="1208" y="537"/>
                  </a:lnTo>
                  <a:lnTo>
                    <a:pt x="1208" y="539"/>
                  </a:lnTo>
                  <a:lnTo>
                    <a:pt x="1208" y="539"/>
                  </a:lnTo>
                  <a:lnTo>
                    <a:pt x="1208" y="539"/>
                  </a:lnTo>
                  <a:lnTo>
                    <a:pt x="1208" y="539"/>
                  </a:lnTo>
                  <a:lnTo>
                    <a:pt x="1206" y="541"/>
                  </a:lnTo>
                  <a:lnTo>
                    <a:pt x="1204" y="541"/>
                  </a:lnTo>
                  <a:lnTo>
                    <a:pt x="1204" y="541"/>
                  </a:lnTo>
                  <a:lnTo>
                    <a:pt x="1204" y="541"/>
                  </a:lnTo>
                  <a:lnTo>
                    <a:pt x="1202" y="541"/>
                  </a:lnTo>
                  <a:lnTo>
                    <a:pt x="1202" y="541"/>
                  </a:lnTo>
                  <a:lnTo>
                    <a:pt x="1200" y="543"/>
                  </a:lnTo>
                  <a:lnTo>
                    <a:pt x="1202" y="541"/>
                  </a:lnTo>
                  <a:lnTo>
                    <a:pt x="1202" y="543"/>
                  </a:lnTo>
                  <a:lnTo>
                    <a:pt x="1202" y="543"/>
                  </a:lnTo>
                  <a:lnTo>
                    <a:pt x="1202" y="543"/>
                  </a:lnTo>
                  <a:lnTo>
                    <a:pt x="1202" y="543"/>
                  </a:lnTo>
                  <a:lnTo>
                    <a:pt x="1202" y="543"/>
                  </a:lnTo>
                  <a:lnTo>
                    <a:pt x="1200" y="543"/>
                  </a:lnTo>
                  <a:lnTo>
                    <a:pt x="1200" y="543"/>
                  </a:lnTo>
                  <a:lnTo>
                    <a:pt x="1200" y="543"/>
                  </a:lnTo>
                  <a:lnTo>
                    <a:pt x="1200" y="543"/>
                  </a:lnTo>
                  <a:lnTo>
                    <a:pt x="1198" y="543"/>
                  </a:lnTo>
                  <a:lnTo>
                    <a:pt x="1198" y="545"/>
                  </a:lnTo>
                  <a:lnTo>
                    <a:pt x="1198" y="543"/>
                  </a:lnTo>
                  <a:lnTo>
                    <a:pt x="1198" y="543"/>
                  </a:lnTo>
                  <a:lnTo>
                    <a:pt x="1198" y="543"/>
                  </a:lnTo>
                  <a:lnTo>
                    <a:pt x="1198" y="543"/>
                  </a:lnTo>
                  <a:lnTo>
                    <a:pt x="1198" y="545"/>
                  </a:lnTo>
                  <a:lnTo>
                    <a:pt x="1198" y="545"/>
                  </a:lnTo>
                  <a:lnTo>
                    <a:pt x="1198" y="545"/>
                  </a:lnTo>
                  <a:lnTo>
                    <a:pt x="1198" y="545"/>
                  </a:lnTo>
                  <a:lnTo>
                    <a:pt x="1198" y="545"/>
                  </a:lnTo>
                  <a:lnTo>
                    <a:pt x="1198" y="547"/>
                  </a:lnTo>
                  <a:lnTo>
                    <a:pt x="1200" y="545"/>
                  </a:lnTo>
                  <a:lnTo>
                    <a:pt x="1202" y="545"/>
                  </a:lnTo>
                  <a:lnTo>
                    <a:pt x="1202" y="547"/>
                  </a:lnTo>
                  <a:lnTo>
                    <a:pt x="1202" y="547"/>
                  </a:lnTo>
                  <a:lnTo>
                    <a:pt x="1204" y="545"/>
                  </a:lnTo>
                  <a:lnTo>
                    <a:pt x="1204" y="545"/>
                  </a:lnTo>
                  <a:lnTo>
                    <a:pt x="1204" y="545"/>
                  </a:lnTo>
                  <a:lnTo>
                    <a:pt x="1204" y="545"/>
                  </a:lnTo>
                  <a:lnTo>
                    <a:pt x="1206" y="543"/>
                  </a:lnTo>
                  <a:lnTo>
                    <a:pt x="1206" y="541"/>
                  </a:lnTo>
                  <a:lnTo>
                    <a:pt x="1208" y="541"/>
                  </a:lnTo>
                  <a:lnTo>
                    <a:pt x="1206" y="541"/>
                  </a:lnTo>
                  <a:lnTo>
                    <a:pt x="1206" y="541"/>
                  </a:lnTo>
                  <a:lnTo>
                    <a:pt x="1206" y="543"/>
                  </a:lnTo>
                  <a:lnTo>
                    <a:pt x="1206" y="543"/>
                  </a:lnTo>
                  <a:lnTo>
                    <a:pt x="1206" y="543"/>
                  </a:lnTo>
                  <a:lnTo>
                    <a:pt x="1208" y="543"/>
                  </a:lnTo>
                  <a:lnTo>
                    <a:pt x="1208" y="543"/>
                  </a:lnTo>
                  <a:lnTo>
                    <a:pt x="1208" y="543"/>
                  </a:lnTo>
                  <a:lnTo>
                    <a:pt x="1208" y="543"/>
                  </a:lnTo>
                  <a:lnTo>
                    <a:pt x="1208" y="543"/>
                  </a:lnTo>
                  <a:lnTo>
                    <a:pt x="1208" y="541"/>
                  </a:lnTo>
                  <a:lnTo>
                    <a:pt x="1210" y="541"/>
                  </a:lnTo>
                  <a:lnTo>
                    <a:pt x="1210" y="541"/>
                  </a:lnTo>
                  <a:lnTo>
                    <a:pt x="1210" y="541"/>
                  </a:lnTo>
                  <a:lnTo>
                    <a:pt x="1210" y="543"/>
                  </a:lnTo>
                  <a:lnTo>
                    <a:pt x="1210" y="543"/>
                  </a:lnTo>
                  <a:lnTo>
                    <a:pt x="1210" y="543"/>
                  </a:lnTo>
                  <a:lnTo>
                    <a:pt x="1212" y="541"/>
                  </a:lnTo>
                  <a:lnTo>
                    <a:pt x="1212" y="541"/>
                  </a:lnTo>
                  <a:lnTo>
                    <a:pt x="1212" y="539"/>
                  </a:lnTo>
                  <a:lnTo>
                    <a:pt x="1212" y="539"/>
                  </a:lnTo>
                  <a:lnTo>
                    <a:pt x="1212" y="539"/>
                  </a:lnTo>
                  <a:lnTo>
                    <a:pt x="1212" y="539"/>
                  </a:lnTo>
                  <a:lnTo>
                    <a:pt x="1212" y="539"/>
                  </a:lnTo>
                  <a:lnTo>
                    <a:pt x="1215" y="539"/>
                  </a:lnTo>
                  <a:lnTo>
                    <a:pt x="1215" y="539"/>
                  </a:lnTo>
                  <a:lnTo>
                    <a:pt x="1215" y="541"/>
                  </a:lnTo>
                  <a:lnTo>
                    <a:pt x="1215" y="541"/>
                  </a:lnTo>
                  <a:lnTo>
                    <a:pt x="1215" y="541"/>
                  </a:lnTo>
                  <a:lnTo>
                    <a:pt x="1215" y="541"/>
                  </a:lnTo>
                  <a:lnTo>
                    <a:pt x="1212" y="541"/>
                  </a:lnTo>
                  <a:lnTo>
                    <a:pt x="1212" y="541"/>
                  </a:lnTo>
                  <a:lnTo>
                    <a:pt x="1212" y="543"/>
                  </a:lnTo>
                  <a:lnTo>
                    <a:pt x="1212" y="543"/>
                  </a:lnTo>
                  <a:lnTo>
                    <a:pt x="1212" y="543"/>
                  </a:lnTo>
                  <a:lnTo>
                    <a:pt x="1212" y="543"/>
                  </a:lnTo>
                  <a:lnTo>
                    <a:pt x="1210" y="547"/>
                  </a:lnTo>
                  <a:lnTo>
                    <a:pt x="1208" y="547"/>
                  </a:lnTo>
                  <a:lnTo>
                    <a:pt x="1208" y="547"/>
                  </a:lnTo>
                  <a:lnTo>
                    <a:pt x="1208" y="547"/>
                  </a:lnTo>
                  <a:lnTo>
                    <a:pt x="1208" y="547"/>
                  </a:lnTo>
                  <a:lnTo>
                    <a:pt x="1208" y="547"/>
                  </a:lnTo>
                  <a:lnTo>
                    <a:pt x="1208" y="547"/>
                  </a:lnTo>
                  <a:lnTo>
                    <a:pt x="1208" y="547"/>
                  </a:lnTo>
                  <a:lnTo>
                    <a:pt x="1208" y="547"/>
                  </a:lnTo>
                  <a:lnTo>
                    <a:pt x="1210" y="549"/>
                  </a:lnTo>
                  <a:lnTo>
                    <a:pt x="1210" y="547"/>
                  </a:lnTo>
                  <a:lnTo>
                    <a:pt x="1215" y="545"/>
                  </a:lnTo>
                  <a:lnTo>
                    <a:pt x="1215" y="545"/>
                  </a:lnTo>
                  <a:lnTo>
                    <a:pt x="1215" y="545"/>
                  </a:lnTo>
                  <a:lnTo>
                    <a:pt x="1217" y="545"/>
                  </a:lnTo>
                  <a:lnTo>
                    <a:pt x="1217" y="543"/>
                  </a:lnTo>
                  <a:lnTo>
                    <a:pt x="1217" y="543"/>
                  </a:lnTo>
                  <a:lnTo>
                    <a:pt x="1217" y="545"/>
                  </a:lnTo>
                  <a:lnTo>
                    <a:pt x="1217" y="545"/>
                  </a:lnTo>
                  <a:lnTo>
                    <a:pt x="1217" y="545"/>
                  </a:lnTo>
                  <a:lnTo>
                    <a:pt x="1217" y="547"/>
                  </a:lnTo>
                  <a:lnTo>
                    <a:pt x="1215" y="547"/>
                  </a:lnTo>
                  <a:lnTo>
                    <a:pt x="1215" y="547"/>
                  </a:lnTo>
                  <a:lnTo>
                    <a:pt x="1217" y="547"/>
                  </a:lnTo>
                  <a:lnTo>
                    <a:pt x="1217" y="547"/>
                  </a:lnTo>
                  <a:lnTo>
                    <a:pt x="1219" y="545"/>
                  </a:lnTo>
                  <a:lnTo>
                    <a:pt x="1219" y="545"/>
                  </a:lnTo>
                  <a:lnTo>
                    <a:pt x="1219" y="543"/>
                  </a:lnTo>
                  <a:lnTo>
                    <a:pt x="1219" y="543"/>
                  </a:lnTo>
                  <a:lnTo>
                    <a:pt x="1219" y="545"/>
                  </a:lnTo>
                  <a:lnTo>
                    <a:pt x="1219" y="545"/>
                  </a:lnTo>
                  <a:lnTo>
                    <a:pt x="1219" y="545"/>
                  </a:lnTo>
                  <a:lnTo>
                    <a:pt x="1219" y="545"/>
                  </a:lnTo>
                  <a:lnTo>
                    <a:pt x="1221" y="545"/>
                  </a:lnTo>
                  <a:lnTo>
                    <a:pt x="1221" y="545"/>
                  </a:lnTo>
                  <a:lnTo>
                    <a:pt x="1221" y="547"/>
                  </a:lnTo>
                  <a:lnTo>
                    <a:pt x="1219" y="547"/>
                  </a:lnTo>
                  <a:lnTo>
                    <a:pt x="1219" y="547"/>
                  </a:lnTo>
                  <a:lnTo>
                    <a:pt x="1219" y="547"/>
                  </a:lnTo>
                  <a:lnTo>
                    <a:pt x="1223" y="545"/>
                  </a:lnTo>
                  <a:lnTo>
                    <a:pt x="1225" y="545"/>
                  </a:lnTo>
                  <a:lnTo>
                    <a:pt x="1225" y="545"/>
                  </a:lnTo>
                  <a:lnTo>
                    <a:pt x="1225" y="545"/>
                  </a:lnTo>
                  <a:lnTo>
                    <a:pt x="1225" y="545"/>
                  </a:lnTo>
                  <a:lnTo>
                    <a:pt x="1225" y="545"/>
                  </a:lnTo>
                  <a:lnTo>
                    <a:pt x="1225" y="547"/>
                  </a:lnTo>
                  <a:lnTo>
                    <a:pt x="1225" y="547"/>
                  </a:lnTo>
                  <a:lnTo>
                    <a:pt x="1223" y="547"/>
                  </a:lnTo>
                  <a:lnTo>
                    <a:pt x="1223" y="551"/>
                  </a:lnTo>
                  <a:lnTo>
                    <a:pt x="1221" y="553"/>
                  </a:lnTo>
                  <a:lnTo>
                    <a:pt x="1221" y="555"/>
                  </a:lnTo>
                  <a:lnTo>
                    <a:pt x="1219" y="555"/>
                  </a:lnTo>
                  <a:lnTo>
                    <a:pt x="1219" y="555"/>
                  </a:lnTo>
                  <a:lnTo>
                    <a:pt x="1219" y="555"/>
                  </a:lnTo>
                  <a:lnTo>
                    <a:pt x="1221" y="555"/>
                  </a:lnTo>
                  <a:lnTo>
                    <a:pt x="1223" y="555"/>
                  </a:lnTo>
                  <a:lnTo>
                    <a:pt x="1225" y="555"/>
                  </a:lnTo>
                  <a:lnTo>
                    <a:pt x="1227" y="555"/>
                  </a:lnTo>
                  <a:lnTo>
                    <a:pt x="1227" y="555"/>
                  </a:lnTo>
                  <a:lnTo>
                    <a:pt x="1229" y="555"/>
                  </a:lnTo>
                  <a:lnTo>
                    <a:pt x="1229" y="555"/>
                  </a:lnTo>
                  <a:lnTo>
                    <a:pt x="1229" y="557"/>
                  </a:lnTo>
                  <a:lnTo>
                    <a:pt x="1229" y="557"/>
                  </a:lnTo>
                  <a:lnTo>
                    <a:pt x="1231" y="557"/>
                  </a:lnTo>
                  <a:lnTo>
                    <a:pt x="1231" y="557"/>
                  </a:lnTo>
                  <a:lnTo>
                    <a:pt x="1231" y="559"/>
                  </a:lnTo>
                  <a:lnTo>
                    <a:pt x="1231" y="559"/>
                  </a:lnTo>
                  <a:lnTo>
                    <a:pt x="1233" y="559"/>
                  </a:lnTo>
                  <a:lnTo>
                    <a:pt x="1233" y="559"/>
                  </a:lnTo>
                  <a:lnTo>
                    <a:pt x="1233" y="559"/>
                  </a:lnTo>
                  <a:lnTo>
                    <a:pt x="1235" y="559"/>
                  </a:lnTo>
                  <a:lnTo>
                    <a:pt x="1235" y="559"/>
                  </a:lnTo>
                  <a:lnTo>
                    <a:pt x="1237" y="559"/>
                  </a:lnTo>
                  <a:lnTo>
                    <a:pt x="1239" y="555"/>
                  </a:lnTo>
                  <a:lnTo>
                    <a:pt x="1239" y="555"/>
                  </a:lnTo>
                  <a:lnTo>
                    <a:pt x="1239" y="555"/>
                  </a:lnTo>
                  <a:lnTo>
                    <a:pt x="1239" y="553"/>
                  </a:lnTo>
                  <a:lnTo>
                    <a:pt x="1241" y="551"/>
                  </a:lnTo>
                  <a:lnTo>
                    <a:pt x="1241" y="549"/>
                  </a:lnTo>
                  <a:lnTo>
                    <a:pt x="1241" y="549"/>
                  </a:lnTo>
                  <a:lnTo>
                    <a:pt x="1241" y="549"/>
                  </a:lnTo>
                  <a:lnTo>
                    <a:pt x="1243" y="547"/>
                  </a:lnTo>
                  <a:lnTo>
                    <a:pt x="1243" y="547"/>
                  </a:lnTo>
                  <a:lnTo>
                    <a:pt x="1243" y="547"/>
                  </a:lnTo>
                  <a:lnTo>
                    <a:pt x="1243" y="545"/>
                  </a:lnTo>
                  <a:lnTo>
                    <a:pt x="1245" y="545"/>
                  </a:lnTo>
                  <a:lnTo>
                    <a:pt x="1245" y="543"/>
                  </a:lnTo>
                  <a:lnTo>
                    <a:pt x="1245" y="543"/>
                  </a:lnTo>
                  <a:lnTo>
                    <a:pt x="1245" y="541"/>
                  </a:lnTo>
                  <a:lnTo>
                    <a:pt x="1247" y="541"/>
                  </a:lnTo>
                  <a:lnTo>
                    <a:pt x="1247" y="541"/>
                  </a:lnTo>
                  <a:lnTo>
                    <a:pt x="1247" y="539"/>
                  </a:lnTo>
                  <a:lnTo>
                    <a:pt x="1249" y="539"/>
                  </a:lnTo>
                  <a:lnTo>
                    <a:pt x="1249" y="539"/>
                  </a:lnTo>
                  <a:lnTo>
                    <a:pt x="1249" y="539"/>
                  </a:lnTo>
                  <a:lnTo>
                    <a:pt x="1249" y="539"/>
                  </a:lnTo>
                  <a:lnTo>
                    <a:pt x="1249" y="541"/>
                  </a:lnTo>
                  <a:lnTo>
                    <a:pt x="1249" y="541"/>
                  </a:lnTo>
                  <a:lnTo>
                    <a:pt x="1249" y="541"/>
                  </a:lnTo>
                  <a:lnTo>
                    <a:pt x="1249" y="541"/>
                  </a:lnTo>
                  <a:lnTo>
                    <a:pt x="1249" y="541"/>
                  </a:lnTo>
                  <a:lnTo>
                    <a:pt x="1247" y="541"/>
                  </a:lnTo>
                  <a:lnTo>
                    <a:pt x="1247" y="541"/>
                  </a:lnTo>
                  <a:lnTo>
                    <a:pt x="1247" y="541"/>
                  </a:lnTo>
                  <a:lnTo>
                    <a:pt x="1247" y="543"/>
                  </a:lnTo>
                  <a:lnTo>
                    <a:pt x="1247" y="543"/>
                  </a:lnTo>
                  <a:lnTo>
                    <a:pt x="1247" y="543"/>
                  </a:lnTo>
                  <a:lnTo>
                    <a:pt x="1247" y="543"/>
                  </a:lnTo>
                  <a:lnTo>
                    <a:pt x="1247" y="543"/>
                  </a:lnTo>
                  <a:lnTo>
                    <a:pt x="1245" y="545"/>
                  </a:lnTo>
                  <a:lnTo>
                    <a:pt x="1245" y="545"/>
                  </a:lnTo>
                  <a:lnTo>
                    <a:pt x="1245" y="545"/>
                  </a:lnTo>
                  <a:lnTo>
                    <a:pt x="1245" y="547"/>
                  </a:lnTo>
                  <a:lnTo>
                    <a:pt x="1245" y="547"/>
                  </a:lnTo>
                  <a:lnTo>
                    <a:pt x="1245" y="547"/>
                  </a:lnTo>
                  <a:lnTo>
                    <a:pt x="1245" y="549"/>
                  </a:lnTo>
                  <a:lnTo>
                    <a:pt x="1245" y="549"/>
                  </a:lnTo>
                  <a:lnTo>
                    <a:pt x="1245" y="549"/>
                  </a:lnTo>
                  <a:lnTo>
                    <a:pt x="1245" y="549"/>
                  </a:lnTo>
                  <a:lnTo>
                    <a:pt x="1245" y="549"/>
                  </a:lnTo>
                  <a:lnTo>
                    <a:pt x="1245" y="549"/>
                  </a:lnTo>
                  <a:lnTo>
                    <a:pt x="1245" y="549"/>
                  </a:lnTo>
                  <a:lnTo>
                    <a:pt x="1245" y="551"/>
                  </a:lnTo>
                  <a:lnTo>
                    <a:pt x="1245" y="551"/>
                  </a:lnTo>
                  <a:lnTo>
                    <a:pt x="1245" y="551"/>
                  </a:lnTo>
                  <a:lnTo>
                    <a:pt x="1245" y="551"/>
                  </a:lnTo>
                  <a:lnTo>
                    <a:pt x="1245" y="553"/>
                  </a:lnTo>
                  <a:lnTo>
                    <a:pt x="1245" y="553"/>
                  </a:lnTo>
                  <a:lnTo>
                    <a:pt x="1245" y="551"/>
                  </a:lnTo>
                  <a:lnTo>
                    <a:pt x="1247" y="551"/>
                  </a:lnTo>
                  <a:lnTo>
                    <a:pt x="1247" y="551"/>
                  </a:lnTo>
                  <a:lnTo>
                    <a:pt x="1247" y="551"/>
                  </a:lnTo>
                  <a:lnTo>
                    <a:pt x="1247" y="553"/>
                  </a:lnTo>
                  <a:lnTo>
                    <a:pt x="1245" y="553"/>
                  </a:lnTo>
                  <a:lnTo>
                    <a:pt x="1245" y="555"/>
                  </a:lnTo>
                  <a:lnTo>
                    <a:pt x="1247" y="555"/>
                  </a:lnTo>
                  <a:lnTo>
                    <a:pt x="1247" y="555"/>
                  </a:lnTo>
                  <a:lnTo>
                    <a:pt x="1245" y="555"/>
                  </a:lnTo>
                  <a:lnTo>
                    <a:pt x="1245" y="555"/>
                  </a:lnTo>
                  <a:lnTo>
                    <a:pt x="1245" y="555"/>
                  </a:lnTo>
                  <a:lnTo>
                    <a:pt x="1245" y="557"/>
                  </a:lnTo>
                  <a:lnTo>
                    <a:pt x="1245" y="557"/>
                  </a:lnTo>
                  <a:lnTo>
                    <a:pt x="1245" y="557"/>
                  </a:lnTo>
                  <a:lnTo>
                    <a:pt x="1245" y="557"/>
                  </a:lnTo>
                  <a:lnTo>
                    <a:pt x="1245" y="557"/>
                  </a:lnTo>
                  <a:lnTo>
                    <a:pt x="1245" y="557"/>
                  </a:lnTo>
                  <a:lnTo>
                    <a:pt x="1245" y="559"/>
                  </a:lnTo>
                  <a:lnTo>
                    <a:pt x="1245" y="559"/>
                  </a:lnTo>
                  <a:lnTo>
                    <a:pt x="1245" y="559"/>
                  </a:lnTo>
                  <a:lnTo>
                    <a:pt x="1245" y="562"/>
                  </a:lnTo>
                  <a:lnTo>
                    <a:pt x="1245" y="562"/>
                  </a:lnTo>
                  <a:lnTo>
                    <a:pt x="1245" y="562"/>
                  </a:lnTo>
                  <a:lnTo>
                    <a:pt x="1245" y="562"/>
                  </a:lnTo>
                  <a:lnTo>
                    <a:pt x="1245" y="562"/>
                  </a:lnTo>
                  <a:lnTo>
                    <a:pt x="1245" y="562"/>
                  </a:lnTo>
                  <a:lnTo>
                    <a:pt x="1247" y="562"/>
                  </a:lnTo>
                  <a:lnTo>
                    <a:pt x="1247" y="562"/>
                  </a:lnTo>
                  <a:lnTo>
                    <a:pt x="1247" y="562"/>
                  </a:lnTo>
                  <a:lnTo>
                    <a:pt x="1247" y="562"/>
                  </a:lnTo>
                  <a:lnTo>
                    <a:pt x="1247" y="562"/>
                  </a:lnTo>
                  <a:lnTo>
                    <a:pt x="1247" y="562"/>
                  </a:lnTo>
                  <a:lnTo>
                    <a:pt x="1247" y="562"/>
                  </a:lnTo>
                  <a:lnTo>
                    <a:pt x="1247" y="562"/>
                  </a:lnTo>
                  <a:lnTo>
                    <a:pt x="1249" y="562"/>
                  </a:lnTo>
                  <a:lnTo>
                    <a:pt x="1249" y="562"/>
                  </a:lnTo>
                  <a:lnTo>
                    <a:pt x="1249" y="562"/>
                  </a:lnTo>
                  <a:lnTo>
                    <a:pt x="1249" y="562"/>
                  </a:lnTo>
                  <a:lnTo>
                    <a:pt x="1249" y="562"/>
                  </a:lnTo>
                  <a:lnTo>
                    <a:pt x="1251" y="562"/>
                  </a:lnTo>
                  <a:lnTo>
                    <a:pt x="1251" y="564"/>
                  </a:lnTo>
                  <a:lnTo>
                    <a:pt x="1253" y="564"/>
                  </a:lnTo>
                  <a:lnTo>
                    <a:pt x="1253" y="566"/>
                  </a:lnTo>
                  <a:lnTo>
                    <a:pt x="1253" y="564"/>
                  </a:lnTo>
                  <a:lnTo>
                    <a:pt x="1251" y="564"/>
                  </a:lnTo>
                  <a:lnTo>
                    <a:pt x="1251" y="564"/>
                  </a:lnTo>
                  <a:lnTo>
                    <a:pt x="1251" y="564"/>
                  </a:lnTo>
                  <a:lnTo>
                    <a:pt x="1251" y="566"/>
                  </a:lnTo>
                  <a:lnTo>
                    <a:pt x="1253" y="566"/>
                  </a:lnTo>
                  <a:lnTo>
                    <a:pt x="1256" y="566"/>
                  </a:lnTo>
                  <a:lnTo>
                    <a:pt x="1256" y="566"/>
                  </a:lnTo>
                  <a:lnTo>
                    <a:pt x="1256" y="566"/>
                  </a:lnTo>
                  <a:lnTo>
                    <a:pt x="1258" y="564"/>
                  </a:lnTo>
                  <a:lnTo>
                    <a:pt x="1258" y="566"/>
                  </a:lnTo>
                  <a:lnTo>
                    <a:pt x="1258" y="566"/>
                  </a:lnTo>
                  <a:lnTo>
                    <a:pt x="1258" y="566"/>
                  </a:lnTo>
                  <a:lnTo>
                    <a:pt x="1258" y="566"/>
                  </a:lnTo>
                  <a:lnTo>
                    <a:pt x="1258" y="566"/>
                  </a:lnTo>
                  <a:lnTo>
                    <a:pt x="1260" y="566"/>
                  </a:lnTo>
                  <a:lnTo>
                    <a:pt x="1260" y="566"/>
                  </a:lnTo>
                  <a:lnTo>
                    <a:pt x="1260" y="564"/>
                  </a:lnTo>
                  <a:lnTo>
                    <a:pt x="1264" y="566"/>
                  </a:lnTo>
                  <a:lnTo>
                    <a:pt x="1264" y="564"/>
                  </a:lnTo>
                  <a:lnTo>
                    <a:pt x="1264" y="564"/>
                  </a:lnTo>
                  <a:lnTo>
                    <a:pt x="1264" y="564"/>
                  </a:lnTo>
                  <a:lnTo>
                    <a:pt x="1264" y="564"/>
                  </a:lnTo>
                  <a:lnTo>
                    <a:pt x="1264" y="564"/>
                  </a:lnTo>
                  <a:lnTo>
                    <a:pt x="1264" y="566"/>
                  </a:lnTo>
                  <a:lnTo>
                    <a:pt x="1264" y="566"/>
                  </a:lnTo>
                  <a:lnTo>
                    <a:pt x="1264" y="566"/>
                  </a:lnTo>
                  <a:lnTo>
                    <a:pt x="1264" y="566"/>
                  </a:lnTo>
                  <a:lnTo>
                    <a:pt x="1264" y="566"/>
                  </a:lnTo>
                  <a:lnTo>
                    <a:pt x="1264" y="568"/>
                  </a:lnTo>
                  <a:lnTo>
                    <a:pt x="1264" y="568"/>
                  </a:lnTo>
                  <a:lnTo>
                    <a:pt x="1264" y="568"/>
                  </a:lnTo>
                  <a:lnTo>
                    <a:pt x="1270" y="570"/>
                  </a:lnTo>
                  <a:lnTo>
                    <a:pt x="1270" y="570"/>
                  </a:lnTo>
                  <a:lnTo>
                    <a:pt x="1270" y="572"/>
                  </a:lnTo>
                  <a:lnTo>
                    <a:pt x="1270" y="572"/>
                  </a:lnTo>
                  <a:lnTo>
                    <a:pt x="1268" y="572"/>
                  </a:lnTo>
                  <a:lnTo>
                    <a:pt x="1264" y="574"/>
                  </a:lnTo>
                  <a:lnTo>
                    <a:pt x="1268" y="572"/>
                  </a:lnTo>
                  <a:lnTo>
                    <a:pt x="1270" y="572"/>
                  </a:lnTo>
                  <a:lnTo>
                    <a:pt x="1274" y="574"/>
                  </a:lnTo>
                  <a:lnTo>
                    <a:pt x="1274" y="574"/>
                  </a:lnTo>
                  <a:lnTo>
                    <a:pt x="1278" y="572"/>
                  </a:lnTo>
                  <a:lnTo>
                    <a:pt x="1280" y="570"/>
                  </a:lnTo>
                  <a:lnTo>
                    <a:pt x="1284" y="568"/>
                  </a:lnTo>
                  <a:lnTo>
                    <a:pt x="1290" y="568"/>
                  </a:lnTo>
                  <a:lnTo>
                    <a:pt x="1296" y="564"/>
                  </a:lnTo>
                  <a:lnTo>
                    <a:pt x="1301" y="564"/>
                  </a:lnTo>
                  <a:lnTo>
                    <a:pt x="1305" y="564"/>
                  </a:lnTo>
                  <a:lnTo>
                    <a:pt x="1309" y="564"/>
                  </a:lnTo>
                  <a:lnTo>
                    <a:pt x="1313" y="564"/>
                  </a:lnTo>
                  <a:lnTo>
                    <a:pt x="1317" y="564"/>
                  </a:lnTo>
                  <a:lnTo>
                    <a:pt x="1319" y="564"/>
                  </a:lnTo>
                  <a:lnTo>
                    <a:pt x="1323" y="564"/>
                  </a:lnTo>
                  <a:lnTo>
                    <a:pt x="1325" y="564"/>
                  </a:lnTo>
                  <a:lnTo>
                    <a:pt x="1329" y="566"/>
                  </a:lnTo>
                  <a:lnTo>
                    <a:pt x="1331" y="566"/>
                  </a:lnTo>
                  <a:lnTo>
                    <a:pt x="1331" y="566"/>
                  </a:lnTo>
                  <a:lnTo>
                    <a:pt x="1335" y="562"/>
                  </a:lnTo>
                  <a:lnTo>
                    <a:pt x="1337" y="562"/>
                  </a:lnTo>
                  <a:lnTo>
                    <a:pt x="1337" y="562"/>
                  </a:lnTo>
                  <a:lnTo>
                    <a:pt x="1337" y="559"/>
                  </a:lnTo>
                  <a:lnTo>
                    <a:pt x="1337" y="559"/>
                  </a:lnTo>
                  <a:lnTo>
                    <a:pt x="1335" y="559"/>
                  </a:lnTo>
                  <a:lnTo>
                    <a:pt x="1335" y="559"/>
                  </a:lnTo>
                  <a:lnTo>
                    <a:pt x="1335" y="559"/>
                  </a:lnTo>
                  <a:lnTo>
                    <a:pt x="1335" y="557"/>
                  </a:lnTo>
                  <a:lnTo>
                    <a:pt x="1333" y="557"/>
                  </a:lnTo>
                  <a:lnTo>
                    <a:pt x="1333" y="555"/>
                  </a:lnTo>
                  <a:lnTo>
                    <a:pt x="1335" y="555"/>
                  </a:lnTo>
                  <a:lnTo>
                    <a:pt x="1337" y="555"/>
                  </a:lnTo>
                  <a:lnTo>
                    <a:pt x="1337" y="555"/>
                  </a:lnTo>
                  <a:lnTo>
                    <a:pt x="1337" y="557"/>
                  </a:lnTo>
                  <a:lnTo>
                    <a:pt x="1339" y="557"/>
                  </a:lnTo>
                  <a:lnTo>
                    <a:pt x="1339" y="557"/>
                  </a:lnTo>
                  <a:lnTo>
                    <a:pt x="1339" y="557"/>
                  </a:lnTo>
                  <a:lnTo>
                    <a:pt x="1339" y="557"/>
                  </a:lnTo>
                  <a:lnTo>
                    <a:pt x="1339" y="559"/>
                  </a:lnTo>
                  <a:lnTo>
                    <a:pt x="1339" y="559"/>
                  </a:lnTo>
                  <a:lnTo>
                    <a:pt x="1339" y="559"/>
                  </a:lnTo>
                  <a:lnTo>
                    <a:pt x="1342" y="562"/>
                  </a:lnTo>
                  <a:lnTo>
                    <a:pt x="1342" y="562"/>
                  </a:lnTo>
                  <a:lnTo>
                    <a:pt x="1342" y="564"/>
                  </a:lnTo>
                  <a:lnTo>
                    <a:pt x="1342" y="564"/>
                  </a:lnTo>
                  <a:lnTo>
                    <a:pt x="1342" y="564"/>
                  </a:lnTo>
                  <a:lnTo>
                    <a:pt x="1342" y="566"/>
                  </a:lnTo>
                  <a:lnTo>
                    <a:pt x="1339" y="566"/>
                  </a:lnTo>
                  <a:lnTo>
                    <a:pt x="1339" y="566"/>
                  </a:lnTo>
                  <a:lnTo>
                    <a:pt x="1339" y="566"/>
                  </a:lnTo>
                  <a:lnTo>
                    <a:pt x="1339" y="566"/>
                  </a:lnTo>
                  <a:lnTo>
                    <a:pt x="1337" y="568"/>
                  </a:lnTo>
                  <a:lnTo>
                    <a:pt x="1337" y="568"/>
                  </a:lnTo>
                  <a:lnTo>
                    <a:pt x="1337" y="568"/>
                  </a:lnTo>
                  <a:lnTo>
                    <a:pt x="1337" y="568"/>
                  </a:lnTo>
                  <a:lnTo>
                    <a:pt x="1337" y="566"/>
                  </a:lnTo>
                  <a:lnTo>
                    <a:pt x="1337" y="566"/>
                  </a:lnTo>
                  <a:lnTo>
                    <a:pt x="1337" y="566"/>
                  </a:lnTo>
                  <a:lnTo>
                    <a:pt x="1337" y="568"/>
                  </a:lnTo>
                  <a:lnTo>
                    <a:pt x="1337" y="568"/>
                  </a:lnTo>
                  <a:lnTo>
                    <a:pt x="1337" y="568"/>
                  </a:lnTo>
                  <a:lnTo>
                    <a:pt x="1337" y="570"/>
                  </a:lnTo>
                  <a:lnTo>
                    <a:pt x="1339" y="570"/>
                  </a:lnTo>
                  <a:lnTo>
                    <a:pt x="1342" y="570"/>
                  </a:lnTo>
                  <a:lnTo>
                    <a:pt x="1346" y="570"/>
                  </a:lnTo>
                  <a:lnTo>
                    <a:pt x="1350" y="572"/>
                  </a:lnTo>
                  <a:lnTo>
                    <a:pt x="1354" y="572"/>
                  </a:lnTo>
                  <a:lnTo>
                    <a:pt x="1356" y="574"/>
                  </a:lnTo>
                  <a:lnTo>
                    <a:pt x="1358" y="574"/>
                  </a:lnTo>
                  <a:lnTo>
                    <a:pt x="1360" y="574"/>
                  </a:lnTo>
                  <a:lnTo>
                    <a:pt x="1364" y="572"/>
                  </a:lnTo>
                  <a:lnTo>
                    <a:pt x="1368" y="572"/>
                  </a:lnTo>
                  <a:lnTo>
                    <a:pt x="1370" y="572"/>
                  </a:lnTo>
                  <a:lnTo>
                    <a:pt x="1372" y="570"/>
                  </a:lnTo>
                  <a:lnTo>
                    <a:pt x="1374" y="568"/>
                  </a:lnTo>
                  <a:lnTo>
                    <a:pt x="1376" y="566"/>
                  </a:lnTo>
                  <a:lnTo>
                    <a:pt x="1378" y="564"/>
                  </a:lnTo>
                  <a:lnTo>
                    <a:pt x="1380" y="562"/>
                  </a:lnTo>
                  <a:lnTo>
                    <a:pt x="1380" y="559"/>
                  </a:lnTo>
                  <a:lnTo>
                    <a:pt x="1380" y="557"/>
                  </a:lnTo>
                  <a:lnTo>
                    <a:pt x="1382" y="555"/>
                  </a:lnTo>
                  <a:lnTo>
                    <a:pt x="1382" y="555"/>
                  </a:lnTo>
                  <a:lnTo>
                    <a:pt x="1385" y="555"/>
                  </a:lnTo>
                  <a:lnTo>
                    <a:pt x="1385" y="555"/>
                  </a:lnTo>
                  <a:lnTo>
                    <a:pt x="1385" y="555"/>
                  </a:lnTo>
                  <a:lnTo>
                    <a:pt x="1382" y="553"/>
                  </a:lnTo>
                  <a:lnTo>
                    <a:pt x="1385" y="551"/>
                  </a:lnTo>
                  <a:lnTo>
                    <a:pt x="1385" y="551"/>
                  </a:lnTo>
                  <a:lnTo>
                    <a:pt x="1385" y="549"/>
                  </a:lnTo>
                  <a:lnTo>
                    <a:pt x="1385" y="549"/>
                  </a:lnTo>
                  <a:lnTo>
                    <a:pt x="1385" y="549"/>
                  </a:lnTo>
                  <a:lnTo>
                    <a:pt x="1387" y="551"/>
                  </a:lnTo>
                  <a:lnTo>
                    <a:pt x="1387" y="551"/>
                  </a:lnTo>
                  <a:lnTo>
                    <a:pt x="1389" y="551"/>
                  </a:lnTo>
                  <a:lnTo>
                    <a:pt x="1389" y="551"/>
                  </a:lnTo>
                  <a:lnTo>
                    <a:pt x="1389" y="553"/>
                  </a:lnTo>
                  <a:lnTo>
                    <a:pt x="1389" y="553"/>
                  </a:lnTo>
                  <a:lnTo>
                    <a:pt x="1391" y="553"/>
                  </a:lnTo>
                  <a:lnTo>
                    <a:pt x="1391" y="553"/>
                  </a:lnTo>
                  <a:lnTo>
                    <a:pt x="1393" y="557"/>
                  </a:lnTo>
                  <a:lnTo>
                    <a:pt x="1395" y="557"/>
                  </a:lnTo>
                  <a:lnTo>
                    <a:pt x="1399" y="557"/>
                  </a:lnTo>
                  <a:lnTo>
                    <a:pt x="1399" y="557"/>
                  </a:lnTo>
                  <a:lnTo>
                    <a:pt x="1401" y="557"/>
                  </a:lnTo>
                  <a:lnTo>
                    <a:pt x="1403" y="557"/>
                  </a:lnTo>
                  <a:lnTo>
                    <a:pt x="1403" y="557"/>
                  </a:lnTo>
                  <a:lnTo>
                    <a:pt x="1403" y="557"/>
                  </a:lnTo>
                  <a:lnTo>
                    <a:pt x="1403" y="559"/>
                  </a:lnTo>
                  <a:lnTo>
                    <a:pt x="1403" y="559"/>
                  </a:lnTo>
                  <a:lnTo>
                    <a:pt x="1401" y="557"/>
                  </a:lnTo>
                  <a:lnTo>
                    <a:pt x="1399" y="557"/>
                  </a:lnTo>
                  <a:lnTo>
                    <a:pt x="1399" y="557"/>
                  </a:lnTo>
                  <a:lnTo>
                    <a:pt x="1395" y="557"/>
                  </a:lnTo>
                  <a:lnTo>
                    <a:pt x="1393" y="559"/>
                  </a:lnTo>
                  <a:lnTo>
                    <a:pt x="1393" y="559"/>
                  </a:lnTo>
                  <a:lnTo>
                    <a:pt x="1393" y="559"/>
                  </a:lnTo>
                  <a:lnTo>
                    <a:pt x="1395" y="562"/>
                  </a:lnTo>
                  <a:lnTo>
                    <a:pt x="1395" y="562"/>
                  </a:lnTo>
                  <a:lnTo>
                    <a:pt x="1395" y="562"/>
                  </a:lnTo>
                  <a:lnTo>
                    <a:pt x="1393" y="564"/>
                  </a:lnTo>
                  <a:lnTo>
                    <a:pt x="1393" y="564"/>
                  </a:lnTo>
                  <a:lnTo>
                    <a:pt x="1395" y="564"/>
                  </a:lnTo>
                  <a:lnTo>
                    <a:pt x="1395" y="564"/>
                  </a:lnTo>
                  <a:lnTo>
                    <a:pt x="1395" y="564"/>
                  </a:lnTo>
                  <a:lnTo>
                    <a:pt x="1395" y="564"/>
                  </a:lnTo>
                  <a:lnTo>
                    <a:pt x="1395" y="566"/>
                  </a:lnTo>
                  <a:lnTo>
                    <a:pt x="1395" y="566"/>
                  </a:lnTo>
                  <a:lnTo>
                    <a:pt x="1395" y="568"/>
                  </a:lnTo>
                  <a:lnTo>
                    <a:pt x="1395" y="568"/>
                  </a:lnTo>
                  <a:lnTo>
                    <a:pt x="1397" y="570"/>
                  </a:lnTo>
                  <a:lnTo>
                    <a:pt x="1397" y="570"/>
                  </a:lnTo>
                  <a:lnTo>
                    <a:pt x="1397" y="572"/>
                  </a:lnTo>
                  <a:lnTo>
                    <a:pt x="1397" y="572"/>
                  </a:lnTo>
                  <a:lnTo>
                    <a:pt x="1397" y="572"/>
                  </a:lnTo>
                  <a:lnTo>
                    <a:pt x="1395" y="572"/>
                  </a:lnTo>
                  <a:lnTo>
                    <a:pt x="1395" y="572"/>
                  </a:lnTo>
                  <a:lnTo>
                    <a:pt x="1395" y="570"/>
                  </a:lnTo>
                  <a:lnTo>
                    <a:pt x="1395" y="570"/>
                  </a:lnTo>
                  <a:lnTo>
                    <a:pt x="1397" y="570"/>
                  </a:lnTo>
                  <a:lnTo>
                    <a:pt x="1395" y="570"/>
                  </a:lnTo>
                  <a:lnTo>
                    <a:pt x="1395" y="568"/>
                  </a:lnTo>
                  <a:lnTo>
                    <a:pt x="1395" y="566"/>
                  </a:lnTo>
                  <a:lnTo>
                    <a:pt x="1395" y="566"/>
                  </a:lnTo>
                  <a:lnTo>
                    <a:pt x="1393" y="566"/>
                  </a:lnTo>
                  <a:lnTo>
                    <a:pt x="1393" y="566"/>
                  </a:lnTo>
                  <a:lnTo>
                    <a:pt x="1393" y="566"/>
                  </a:lnTo>
                  <a:lnTo>
                    <a:pt x="1393" y="566"/>
                  </a:lnTo>
                  <a:lnTo>
                    <a:pt x="1393" y="564"/>
                  </a:lnTo>
                  <a:lnTo>
                    <a:pt x="1393" y="564"/>
                  </a:lnTo>
                  <a:lnTo>
                    <a:pt x="1393" y="562"/>
                  </a:lnTo>
                  <a:lnTo>
                    <a:pt x="1393" y="562"/>
                  </a:lnTo>
                  <a:lnTo>
                    <a:pt x="1393" y="559"/>
                  </a:lnTo>
                  <a:lnTo>
                    <a:pt x="1393" y="557"/>
                  </a:lnTo>
                  <a:lnTo>
                    <a:pt x="1391" y="555"/>
                  </a:lnTo>
                  <a:lnTo>
                    <a:pt x="1389" y="553"/>
                  </a:lnTo>
                  <a:lnTo>
                    <a:pt x="1387" y="553"/>
                  </a:lnTo>
                  <a:lnTo>
                    <a:pt x="1387" y="551"/>
                  </a:lnTo>
                  <a:lnTo>
                    <a:pt x="1387" y="553"/>
                  </a:lnTo>
                  <a:lnTo>
                    <a:pt x="1387" y="555"/>
                  </a:lnTo>
                  <a:lnTo>
                    <a:pt x="1385" y="555"/>
                  </a:lnTo>
                  <a:lnTo>
                    <a:pt x="1385" y="555"/>
                  </a:lnTo>
                  <a:lnTo>
                    <a:pt x="1385" y="555"/>
                  </a:lnTo>
                  <a:lnTo>
                    <a:pt x="1385" y="555"/>
                  </a:lnTo>
                  <a:lnTo>
                    <a:pt x="1385" y="557"/>
                  </a:lnTo>
                  <a:lnTo>
                    <a:pt x="1385" y="557"/>
                  </a:lnTo>
                  <a:lnTo>
                    <a:pt x="1385" y="557"/>
                  </a:lnTo>
                  <a:lnTo>
                    <a:pt x="1385" y="559"/>
                  </a:lnTo>
                  <a:lnTo>
                    <a:pt x="1385" y="562"/>
                  </a:lnTo>
                  <a:lnTo>
                    <a:pt x="1387" y="564"/>
                  </a:lnTo>
                  <a:lnTo>
                    <a:pt x="1387" y="564"/>
                  </a:lnTo>
                  <a:lnTo>
                    <a:pt x="1387" y="564"/>
                  </a:lnTo>
                  <a:lnTo>
                    <a:pt x="1387" y="566"/>
                  </a:lnTo>
                  <a:lnTo>
                    <a:pt x="1389" y="566"/>
                  </a:lnTo>
                  <a:lnTo>
                    <a:pt x="1389" y="568"/>
                  </a:lnTo>
                  <a:lnTo>
                    <a:pt x="1389" y="568"/>
                  </a:lnTo>
                  <a:lnTo>
                    <a:pt x="1389" y="572"/>
                  </a:lnTo>
                  <a:lnTo>
                    <a:pt x="1387" y="572"/>
                  </a:lnTo>
                  <a:lnTo>
                    <a:pt x="1389" y="572"/>
                  </a:lnTo>
                  <a:lnTo>
                    <a:pt x="1387" y="574"/>
                  </a:lnTo>
                  <a:lnTo>
                    <a:pt x="1387" y="574"/>
                  </a:lnTo>
                  <a:lnTo>
                    <a:pt x="1387" y="574"/>
                  </a:lnTo>
                  <a:lnTo>
                    <a:pt x="1387" y="574"/>
                  </a:lnTo>
                  <a:lnTo>
                    <a:pt x="1387" y="574"/>
                  </a:lnTo>
                  <a:lnTo>
                    <a:pt x="1387" y="574"/>
                  </a:lnTo>
                  <a:lnTo>
                    <a:pt x="1387" y="574"/>
                  </a:lnTo>
                  <a:lnTo>
                    <a:pt x="1385" y="574"/>
                  </a:lnTo>
                  <a:lnTo>
                    <a:pt x="1385" y="576"/>
                  </a:lnTo>
                  <a:lnTo>
                    <a:pt x="1385" y="576"/>
                  </a:lnTo>
                  <a:lnTo>
                    <a:pt x="1385" y="576"/>
                  </a:lnTo>
                  <a:lnTo>
                    <a:pt x="1385" y="576"/>
                  </a:lnTo>
                  <a:lnTo>
                    <a:pt x="1385" y="576"/>
                  </a:lnTo>
                  <a:lnTo>
                    <a:pt x="1385" y="576"/>
                  </a:lnTo>
                  <a:lnTo>
                    <a:pt x="1382" y="576"/>
                  </a:lnTo>
                  <a:lnTo>
                    <a:pt x="1382" y="578"/>
                  </a:lnTo>
                  <a:lnTo>
                    <a:pt x="1389" y="580"/>
                  </a:lnTo>
                  <a:lnTo>
                    <a:pt x="1391" y="580"/>
                  </a:lnTo>
                  <a:lnTo>
                    <a:pt x="1391" y="580"/>
                  </a:lnTo>
                  <a:lnTo>
                    <a:pt x="1393" y="582"/>
                  </a:lnTo>
                  <a:lnTo>
                    <a:pt x="1393" y="582"/>
                  </a:lnTo>
                  <a:lnTo>
                    <a:pt x="1395" y="582"/>
                  </a:lnTo>
                  <a:lnTo>
                    <a:pt x="1395" y="582"/>
                  </a:lnTo>
                  <a:lnTo>
                    <a:pt x="1395" y="582"/>
                  </a:lnTo>
                  <a:lnTo>
                    <a:pt x="1395" y="582"/>
                  </a:lnTo>
                  <a:lnTo>
                    <a:pt x="1397" y="582"/>
                  </a:lnTo>
                  <a:lnTo>
                    <a:pt x="1397" y="582"/>
                  </a:lnTo>
                  <a:lnTo>
                    <a:pt x="1397" y="582"/>
                  </a:lnTo>
                  <a:lnTo>
                    <a:pt x="1397" y="582"/>
                  </a:lnTo>
                  <a:lnTo>
                    <a:pt x="1395" y="582"/>
                  </a:lnTo>
                  <a:lnTo>
                    <a:pt x="1395" y="582"/>
                  </a:lnTo>
                  <a:lnTo>
                    <a:pt x="1393" y="582"/>
                  </a:lnTo>
                  <a:lnTo>
                    <a:pt x="1393" y="582"/>
                  </a:lnTo>
                  <a:lnTo>
                    <a:pt x="1395" y="582"/>
                  </a:lnTo>
                  <a:lnTo>
                    <a:pt x="1395" y="584"/>
                  </a:lnTo>
                  <a:lnTo>
                    <a:pt x="1397" y="584"/>
                  </a:lnTo>
                  <a:lnTo>
                    <a:pt x="1397" y="584"/>
                  </a:lnTo>
                  <a:lnTo>
                    <a:pt x="1397" y="584"/>
                  </a:lnTo>
                  <a:lnTo>
                    <a:pt x="1399" y="584"/>
                  </a:lnTo>
                  <a:lnTo>
                    <a:pt x="1399" y="584"/>
                  </a:lnTo>
                  <a:lnTo>
                    <a:pt x="1399" y="582"/>
                  </a:lnTo>
                  <a:lnTo>
                    <a:pt x="1399" y="582"/>
                  </a:lnTo>
                  <a:lnTo>
                    <a:pt x="1399" y="582"/>
                  </a:lnTo>
                  <a:lnTo>
                    <a:pt x="1399" y="582"/>
                  </a:lnTo>
                  <a:lnTo>
                    <a:pt x="1399" y="582"/>
                  </a:lnTo>
                  <a:lnTo>
                    <a:pt x="1399" y="582"/>
                  </a:lnTo>
                  <a:lnTo>
                    <a:pt x="1399" y="584"/>
                  </a:lnTo>
                  <a:lnTo>
                    <a:pt x="1399" y="584"/>
                  </a:lnTo>
                  <a:lnTo>
                    <a:pt x="1401" y="584"/>
                  </a:lnTo>
                  <a:lnTo>
                    <a:pt x="1401" y="584"/>
                  </a:lnTo>
                  <a:lnTo>
                    <a:pt x="1401" y="584"/>
                  </a:lnTo>
                  <a:lnTo>
                    <a:pt x="1401" y="584"/>
                  </a:lnTo>
                  <a:lnTo>
                    <a:pt x="1403" y="584"/>
                  </a:lnTo>
                  <a:lnTo>
                    <a:pt x="1403" y="584"/>
                  </a:lnTo>
                  <a:lnTo>
                    <a:pt x="1403" y="586"/>
                  </a:lnTo>
                  <a:lnTo>
                    <a:pt x="1401" y="584"/>
                  </a:lnTo>
                  <a:lnTo>
                    <a:pt x="1401" y="584"/>
                  </a:lnTo>
                  <a:lnTo>
                    <a:pt x="1407" y="586"/>
                  </a:lnTo>
                  <a:lnTo>
                    <a:pt x="1411" y="588"/>
                  </a:lnTo>
                  <a:lnTo>
                    <a:pt x="1413" y="588"/>
                  </a:lnTo>
                  <a:lnTo>
                    <a:pt x="1413" y="588"/>
                  </a:lnTo>
                  <a:lnTo>
                    <a:pt x="1415" y="588"/>
                  </a:lnTo>
                  <a:lnTo>
                    <a:pt x="1415" y="590"/>
                  </a:lnTo>
                  <a:lnTo>
                    <a:pt x="1417" y="590"/>
                  </a:lnTo>
                  <a:lnTo>
                    <a:pt x="1417" y="590"/>
                  </a:lnTo>
                  <a:lnTo>
                    <a:pt x="1417" y="590"/>
                  </a:lnTo>
                  <a:lnTo>
                    <a:pt x="1417" y="590"/>
                  </a:lnTo>
                  <a:lnTo>
                    <a:pt x="1417" y="590"/>
                  </a:lnTo>
                  <a:lnTo>
                    <a:pt x="1417" y="590"/>
                  </a:lnTo>
                  <a:lnTo>
                    <a:pt x="1419" y="588"/>
                  </a:lnTo>
                  <a:lnTo>
                    <a:pt x="1419" y="588"/>
                  </a:lnTo>
                  <a:lnTo>
                    <a:pt x="1419" y="588"/>
                  </a:lnTo>
                  <a:lnTo>
                    <a:pt x="1421" y="586"/>
                  </a:lnTo>
                  <a:lnTo>
                    <a:pt x="1421" y="588"/>
                  </a:lnTo>
                  <a:lnTo>
                    <a:pt x="1421" y="588"/>
                  </a:lnTo>
                  <a:lnTo>
                    <a:pt x="1421" y="588"/>
                  </a:lnTo>
                  <a:lnTo>
                    <a:pt x="1421" y="588"/>
                  </a:lnTo>
                  <a:lnTo>
                    <a:pt x="1421" y="590"/>
                  </a:lnTo>
                  <a:lnTo>
                    <a:pt x="1421" y="590"/>
                  </a:lnTo>
                  <a:lnTo>
                    <a:pt x="1421" y="590"/>
                  </a:lnTo>
                  <a:lnTo>
                    <a:pt x="1421" y="590"/>
                  </a:lnTo>
                  <a:lnTo>
                    <a:pt x="1421" y="590"/>
                  </a:lnTo>
                  <a:lnTo>
                    <a:pt x="1419" y="592"/>
                  </a:lnTo>
                  <a:lnTo>
                    <a:pt x="1419" y="592"/>
                  </a:lnTo>
                  <a:lnTo>
                    <a:pt x="1423" y="590"/>
                  </a:lnTo>
                  <a:lnTo>
                    <a:pt x="1425" y="590"/>
                  </a:lnTo>
                  <a:lnTo>
                    <a:pt x="1425" y="592"/>
                  </a:lnTo>
                  <a:lnTo>
                    <a:pt x="1425" y="592"/>
                  </a:lnTo>
                  <a:lnTo>
                    <a:pt x="1423" y="592"/>
                  </a:lnTo>
                  <a:lnTo>
                    <a:pt x="1425" y="592"/>
                  </a:lnTo>
                  <a:lnTo>
                    <a:pt x="1425" y="592"/>
                  </a:lnTo>
                  <a:lnTo>
                    <a:pt x="1428" y="592"/>
                  </a:lnTo>
                  <a:lnTo>
                    <a:pt x="1428" y="592"/>
                  </a:lnTo>
                  <a:lnTo>
                    <a:pt x="1430" y="592"/>
                  </a:lnTo>
                  <a:lnTo>
                    <a:pt x="1432" y="594"/>
                  </a:lnTo>
                  <a:lnTo>
                    <a:pt x="1438" y="598"/>
                  </a:lnTo>
                  <a:lnTo>
                    <a:pt x="1440" y="598"/>
                  </a:lnTo>
                  <a:lnTo>
                    <a:pt x="1440" y="600"/>
                  </a:lnTo>
                  <a:lnTo>
                    <a:pt x="1440" y="603"/>
                  </a:lnTo>
                  <a:lnTo>
                    <a:pt x="1440" y="603"/>
                  </a:lnTo>
                  <a:lnTo>
                    <a:pt x="1440" y="603"/>
                  </a:lnTo>
                  <a:lnTo>
                    <a:pt x="1440" y="605"/>
                  </a:lnTo>
                  <a:lnTo>
                    <a:pt x="1440" y="605"/>
                  </a:lnTo>
                  <a:lnTo>
                    <a:pt x="1442" y="605"/>
                  </a:lnTo>
                  <a:lnTo>
                    <a:pt x="1442" y="605"/>
                  </a:lnTo>
                  <a:lnTo>
                    <a:pt x="1442" y="605"/>
                  </a:lnTo>
                  <a:lnTo>
                    <a:pt x="1448" y="609"/>
                  </a:lnTo>
                  <a:lnTo>
                    <a:pt x="1448" y="609"/>
                  </a:lnTo>
                  <a:lnTo>
                    <a:pt x="1448" y="611"/>
                  </a:lnTo>
                  <a:lnTo>
                    <a:pt x="1450" y="611"/>
                  </a:lnTo>
                  <a:lnTo>
                    <a:pt x="1450" y="611"/>
                  </a:lnTo>
                  <a:lnTo>
                    <a:pt x="1452" y="609"/>
                  </a:lnTo>
                  <a:lnTo>
                    <a:pt x="1452" y="609"/>
                  </a:lnTo>
                  <a:lnTo>
                    <a:pt x="1452" y="609"/>
                  </a:lnTo>
                  <a:lnTo>
                    <a:pt x="1454" y="607"/>
                  </a:lnTo>
                  <a:lnTo>
                    <a:pt x="1454" y="607"/>
                  </a:lnTo>
                  <a:lnTo>
                    <a:pt x="1454" y="607"/>
                  </a:lnTo>
                  <a:lnTo>
                    <a:pt x="1454" y="607"/>
                  </a:lnTo>
                  <a:lnTo>
                    <a:pt x="1454" y="609"/>
                  </a:lnTo>
                  <a:lnTo>
                    <a:pt x="1454" y="609"/>
                  </a:lnTo>
                  <a:lnTo>
                    <a:pt x="1454" y="609"/>
                  </a:lnTo>
                  <a:lnTo>
                    <a:pt x="1454" y="609"/>
                  </a:lnTo>
                  <a:lnTo>
                    <a:pt x="1454" y="609"/>
                  </a:lnTo>
                  <a:lnTo>
                    <a:pt x="1452" y="611"/>
                  </a:lnTo>
                  <a:lnTo>
                    <a:pt x="1452" y="611"/>
                  </a:lnTo>
                  <a:lnTo>
                    <a:pt x="1450" y="611"/>
                  </a:lnTo>
                  <a:lnTo>
                    <a:pt x="1450" y="611"/>
                  </a:lnTo>
                  <a:lnTo>
                    <a:pt x="1450" y="611"/>
                  </a:lnTo>
                  <a:lnTo>
                    <a:pt x="1450" y="611"/>
                  </a:lnTo>
                  <a:lnTo>
                    <a:pt x="1452" y="611"/>
                  </a:lnTo>
                  <a:lnTo>
                    <a:pt x="1452" y="613"/>
                  </a:lnTo>
                  <a:lnTo>
                    <a:pt x="1454" y="613"/>
                  </a:lnTo>
                  <a:lnTo>
                    <a:pt x="1456" y="613"/>
                  </a:lnTo>
                  <a:lnTo>
                    <a:pt x="1458" y="615"/>
                  </a:lnTo>
                  <a:lnTo>
                    <a:pt x="1460" y="615"/>
                  </a:lnTo>
                  <a:lnTo>
                    <a:pt x="1460" y="615"/>
                  </a:lnTo>
                  <a:lnTo>
                    <a:pt x="1460" y="615"/>
                  </a:lnTo>
                  <a:lnTo>
                    <a:pt x="1460" y="617"/>
                  </a:lnTo>
                  <a:lnTo>
                    <a:pt x="1462" y="617"/>
                  </a:lnTo>
                  <a:lnTo>
                    <a:pt x="1464" y="617"/>
                  </a:lnTo>
                  <a:lnTo>
                    <a:pt x="1466" y="619"/>
                  </a:lnTo>
                  <a:lnTo>
                    <a:pt x="1466" y="619"/>
                  </a:lnTo>
                  <a:lnTo>
                    <a:pt x="1468" y="619"/>
                  </a:lnTo>
                  <a:lnTo>
                    <a:pt x="1468" y="619"/>
                  </a:lnTo>
                  <a:lnTo>
                    <a:pt x="1468" y="617"/>
                  </a:lnTo>
                  <a:lnTo>
                    <a:pt x="1471" y="617"/>
                  </a:lnTo>
                  <a:lnTo>
                    <a:pt x="1471" y="617"/>
                  </a:lnTo>
                  <a:lnTo>
                    <a:pt x="1471" y="617"/>
                  </a:lnTo>
                  <a:lnTo>
                    <a:pt x="1473" y="617"/>
                  </a:lnTo>
                  <a:lnTo>
                    <a:pt x="1473" y="619"/>
                  </a:lnTo>
                  <a:lnTo>
                    <a:pt x="1473" y="619"/>
                  </a:lnTo>
                  <a:lnTo>
                    <a:pt x="1473" y="619"/>
                  </a:lnTo>
                  <a:lnTo>
                    <a:pt x="1473" y="619"/>
                  </a:lnTo>
                  <a:lnTo>
                    <a:pt x="1473" y="617"/>
                  </a:lnTo>
                  <a:lnTo>
                    <a:pt x="1475" y="617"/>
                  </a:lnTo>
                  <a:lnTo>
                    <a:pt x="1475" y="619"/>
                  </a:lnTo>
                  <a:lnTo>
                    <a:pt x="1475" y="619"/>
                  </a:lnTo>
                  <a:lnTo>
                    <a:pt x="1475" y="619"/>
                  </a:lnTo>
                  <a:lnTo>
                    <a:pt x="1475" y="619"/>
                  </a:lnTo>
                  <a:lnTo>
                    <a:pt x="1475" y="621"/>
                  </a:lnTo>
                  <a:lnTo>
                    <a:pt x="1475" y="621"/>
                  </a:lnTo>
                  <a:lnTo>
                    <a:pt x="1475" y="621"/>
                  </a:lnTo>
                  <a:lnTo>
                    <a:pt x="1477" y="619"/>
                  </a:lnTo>
                  <a:lnTo>
                    <a:pt x="1477" y="619"/>
                  </a:lnTo>
                  <a:lnTo>
                    <a:pt x="1477" y="621"/>
                  </a:lnTo>
                  <a:lnTo>
                    <a:pt x="1477" y="621"/>
                  </a:lnTo>
                  <a:lnTo>
                    <a:pt x="1477" y="621"/>
                  </a:lnTo>
                  <a:lnTo>
                    <a:pt x="1477" y="621"/>
                  </a:lnTo>
                  <a:lnTo>
                    <a:pt x="1477" y="621"/>
                  </a:lnTo>
                  <a:lnTo>
                    <a:pt x="1479" y="621"/>
                  </a:lnTo>
                  <a:lnTo>
                    <a:pt x="1479" y="621"/>
                  </a:lnTo>
                  <a:lnTo>
                    <a:pt x="1479" y="621"/>
                  </a:lnTo>
                  <a:lnTo>
                    <a:pt x="1479" y="621"/>
                  </a:lnTo>
                  <a:lnTo>
                    <a:pt x="1479" y="621"/>
                  </a:lnTo>
                  <a:lnTo>
                    <a:pt x="1479" y="621"/>
                  </a:lnTo>
                  <a:lnTo>
                    <a:pt x="1479" y="621"/>
                  </a:lnTo>
                  <a:lnTo>
                    <a:pt x="1479" y="621"/>
                  </a:lnTo>
                  <a:lnTo>
                    <a:pt x="1481" y="621"/>
                  </a:lnTo>
                  <a:lnTo>
                    <a:pt x="1481" y="621"/>
                  </a:lnTo>
                  <a:lnTo>
                    <a:pt x="1479" y="621"/>
                  </a:lnTo>
                  <a:lnTo>
                    <a:pt x="1479" y="623"/>
                  </a:lnTo>
                  <a:lnTo>
                    <a:pt x="1479" y="623"/>
                  </a:lnTo>
                  <a:lnTo>
                    <a:pt x="1481" y="625"/>
                  </a:lnTo>
                  <a:lnTo>
                    <a:pt x="1481" y="625"/>
                  </a:lnTo>
                  <a:lnTo>
                    <a:pt x="1481" y="625"/>
                  </a:lnTo>
                  <a:lnTo>
                    <a:pt x="1481" y="625"/>
                  </a:lnTo>
                  <a:lnTo>
                    <a:pt x="1481" y="623"/>
                  </a:lnTo>
                  <a:lnTo>
                    <a:pt x="1481" y="623"/>
                  </a:lnTo>
                  <a:lnTo>
                    <a:pt x="1483" y="623"/>
                  </a:lnTo>
                  <a:lnTo>
                    <a:pt x="1483" y="623"/>
                  </a:lnTo>
                  <a:lnTo>
                    <a:pt x="1483" y="623"/>
                  </a:lnTo>
                  <a:lnTo>
                    <a:pt x="1483" y="621"/>
                  </a:lnTo>
                  <a:lnTo>
                    <a:pt x="1483" y="621"/>
                  </a:lnTo>
                  <a:lnTo>
                    <a:pt x="1483" y="621"/>
                  </a:lnTo>
                  <a:lnTo>
                    <a:pt x="1483" y="621"/>
                  </a:lnTo>
                  <a:lnTo>
                    <a:pt x="1479" y="619"/>
                  </a:lnTo>
                  <a:lnTo>
                    <a:pt x="1481" y="617"/>
                  </a:lnTo>
                  <a:lnTo>
                    <a:pt x="1481" y="617"/>
                  </a:lnTo>
                  <a:lnTo>
                    <a:pt x="1481" y="617"/>
                  </a:lnTo>
                  <a:lnTo>
                    <a:pt x="1481" y="617"/>
                  </a:lnTo>
                  <a:lnTo>
                    <a:pt x="1483" y="617"/>
                  </a:lnTo>
                  <a:lnTo>
                    <a:pt x="1483" y="617"/>
                  </a:lnTo>
                  <a:lnTo>
                    <a:pt x="1483" y="617"/>
                  </a:lnTo>
                  <a:lnTo>
                    <a:pt x="1483" y="617"/>
                  </a:lnTo>
                  <a:lnTo>
                    <a:pt x="1483" y="617"/>
                  </a:lnTo>
                  <a:lnTo>
                    <a:pt x="1483" y="619"/>
                  </a:lnTo>
                  <a:lnTo>
                    <a:pt x="1483" y="619"/>
                  </a:lnTo>
                  <a:lnTo>
                    <a:pt x="1485" y="619"/>
                  </a:lnTo>
                  <a:lnTo>
                    <a:pt x="1485" y="617"/>
                  </a:lnTo>
                  <a:lnTo>
                    <a:pt x="1487" y="619"/>
                  </a:lnTo>
                  <a:lnTo>
                    <a:pt x="1487" y="619"/>
                  </a:lnTo>
                  <a:lnTo>
                    <a:pt x="1487" y="617"/>
                  </a:lnTo>
                  <a:lnTo>
                    <a:pt x="1487" y="617"/>
                  </a:lnTo>
                  <a:lnTo>
                    <a:pt x="1487" y="615"/>
                  </a:lnTo>
                  <a:lnTo>
                    <a:pt x="1487" y="615"/>
                  </a:lnTo>
                  <a:lnTo>
                    <a:pt x="1487" y="615"/>
                  </a:lnTo>
                  <a:lnTo>
                    <a:pt x="1485" y="615"/>
                  </a:lnTo>
                  <a:lnTo>
                    <a:pt x="1485" y="615"/>
                  </a:lnTo>
                  <a:lnTo>
                    <a:pt x="1485" y="615"/>
                  </a:lnTo>
                  <a:lnTo>
                    <a:pt x="1485" y="615"/>
                  </a:lnTo>
                  <a:lnTo>
                    <a:pt x="1485" y="615"/>
                  </a:lnTo>
                  <a:lnTo>
                    <a:pt x="1485" y="615"/>
                  </a:lnTo>
                  <a:lnTo>
                    <a:pt x="1485" y="615"/>
                  </a:lnTo>
                  <a:lnTo>
                    <a:pt x="1483" y="615"/>
                  </a:lnTo>
                  <a:lnTo>
                    <a:pt x="1483" y="617"/>
                  </a:lnTo>
                  <a:lnTo>
                    <a:pt x="1485" y="617"/>
                  </a:lnTo>
                  <a:lnTo>
                    <a:pt x="1485" y="617"/>
                  </a:lnTo>
                  <a:lnTo>
                    <a:pt x="1483" y="617"/>
                  </a:lnTo>
                  <a:lnTo>
                    <a:pt x="1483" y="617"/>
                  </a:lnTo>
                  <a:lnTo>
                    <a:pt x="1483" y="617"/>
                  </a:lnTo>
                  <a:lnTo>
                    <a:pt x="1483" y="617"/>
                  </a:lnTo>
                  <a:lnTo>
                    <a:pt x="1483" y="617"/>
                  </a:lnTo>
                  <a:lnTo>
                    <a:pt x="1483" y="617"/>
                  </a:lnTo>
                  <a:lnTo>
                    <a:pt x="1483" y="617"/>
                  </a:lnTo>
                  <a:lnTo>
                    <a:pt x="1481" y="617"/>
                  </a:lnTo>
                  <a:lnTo>
                    <a:pt x="1483" y="615"/>
                  </a:lnTo>
                  <a:lnTo>
                    <a:pt x="1483" y="615"/>
                  </a:lnTo>
                  <a:lnTo>
                    <a:pt x="1483" y="615"/>
                  </a:lnTo>
                  <a:lnTo>
                    <a:pt x="1483" y="613"/>
                  </a:lnTo>
                  <a:lnTo>
                    <a:pt x="1483" y="613"/>
                  </a:lnTo>
                  <a:lnTo>
                    <a:pt x="1483" y="613"/>
                  </a:lnTo>
                  <a:lnTo>
                    <a:pt x="1483" y="613"/>
                  </a:lnTo>
                  <a:lnTo>
                    <a:pt x="1483" y="613"/>
                  </a:lnTo>
                  <a:lnTo>
                    <a:pt x="1483" y="613"/>
                  </a:lnTo>
                  <a:lnTo>
                    <a:pt x="1483" y="613"/>
                  </a:lnTo>
                  <a:lnTo>
                    <a:pt x="1483" y="613"/>
                  </a:lnTo>
                  <a:lnTo>
                    <a:pt x="1485" y="615"/>
                  </a:lnTo>
                  <a:lnTo>
                    <a:pt x="1487" y="615"/>
                  </a:lnTo>
                  <a:lnTo>
                    <a:pt x="1487" y="615"/>
                  </a:lnTo>
                  <a:lnTo>
                    <a:pt x="1487" y="613"/>
                  </a:lnTo>
                  <a:lnTo>
                    <a:pt x="1489" y="615"/>
                  </a:lnTo>
                  <a:lnTo>
                    <a:pt x="1489" y="615"/>
                  </a:lnTo>
                  <a:lnTo>
                    <a:pt x="1489" y="615"/>
                  </a:lnTo>
                  <a:lnTo>
                    <a:pt x="1489" y="617"/>
                  </a:lnTo>
                  <a:lnTo>
                    <a:pt x="1489" y="617"/>
                  </a:lnTo>
                  <a:lnTo>
                    <a:pt x="1491" y="617"/>
                  </a:lnTo>
                  <a:lnTo>
                    <a:pt x="1493" y="617"/>
                  </a:lnTo>
                  <a:lnTo>
                    <a:pt x="1493" y="615"/>
                  </a:lnTo>
                  <a:lnTo>
                    <a:pt x="1495" y="615"/>
                  </a:lnTo>
                  <a:lnTo>
                    <a:pt x="1495" y="615"/>
                  </a:lnTo>
                  <a:lnTo>
                    <a:pt x="1495" y="613"/>
                  </a:lnTo>
                  <a:lnTo>
                    <a:pt x="1495" y="611"/>
                  </a:lnTo>
                  <a:lnTo>
                    <a:pt x="1495" y="611"/>
                  </a:lnTo>
                  <a:lnTo>
                    <a:pt x="1493" y="609"/>
                  </a:lnTo>
                  <a:lnTo>
                    <a:pt x="1493" y="609"/>
                  </a:lnTo>
                  <a:lnTo>
                    <a:pt x="1493" y="609"/>
                  </a:lnTo>
                  <a:lnTo>
                    <a:pt x="1493" y="607"/>
                  </a:lnTo>
                  <a:lnTo>
                    <a:pt x="1493" y="607"/>
                  </a:lnTo>
                  <a:lnTo>
                    <a:pt x="1493" y="607"/>
                  </a:lnTo>
                  <a:lnTo>
                    <a:pt x="1493" y="607"/>
                  </a:lnTo>
                  <a:lnTo>
                    <a:pt x="1493" y="607"/>
                  </a:lnTo>
                  <a:lnTo>
                    <a:pt x="1493" y="607"/>
                  </a:lnTo>
                  <a:lnTo>
                    <a:pt x="1493" y="607"/>
                  </a:lnTo>
                  <a:lnTo>
                    <a:pt x="1493" y="605"/>
                  </a:lnTo>
                  <a:lnTo>
                    <a:pt x="1493" y="605"/>
                  </a:lnTo>
                  <a:lnTo>
                    <a:pt x="1491" y="605"/>
                  </a:lnTo>
                  <a:lnTo>
                    <a:pt x="1491" y="607"/>
                  </a:lnTo>
                  <a:lnTo>
                    <a:pt x="1489" y="607"/>
                  </a:lnTo>
                  <a:lnTo>
                    <a:pt x="1489" y="607"/>
                  </a:lnTo>
                  <a:lnTo>
                    <a:pt x="1489" y="607"/>
                  </a:lnTo>
                  <a:lnTo>
                    <a:pt x="1489" y="607"/>
                  </a:lnTo>
                  <a:lnTo>
                    <a:pt x="1491" y="605"/>
                  </a:lnTo>
                  <a:lnTo>
                    <a:pt x="1491" y="605"/>
                  </a:lnTo>
                  <a:lnTo>
                    <a:pt x="1491" y="605"/>
                  </a:lnTo>
                  <a:lnTo>
                    <a:pt x="1491" y="605"/>
                  </a:lnTo>
                  <a:lnTo>
                    <a:pt x="1491" y="605"/>
                  </a:lnTo>
                  <a:lnTo>
                    <a:pt x="1491" y="605"/>
                  </a:lnTo>
                  <a:lnTo>
                    <a:pt x="1491" y="603"/>
                  </a:lnTo>
                  <a:lnTo>
                    <a:pt x="1489" y="603"/>
                  </a:lnTo>
                  <a:lnTo>
                    <a:pt x="1489" y="603"/>
                  </a:lnTo>
                  <a:lnTo>
                    <a:pt x="1489" y="603"/>
                  </a:lnTo>
                  <a:lnTo>
                    <a:pt x="1489" y="603"/>
                  </a:lnTo>
                  <a:lnTo>
                    <a:pt x="1487" y="603"/>
                  </a:lnTo>
                  <a:lnTo>
                    <a:pt x="1489" y="603"/>
                  </a:lnTo>
                  <a:lnTo>
                    <a:pt x="1489" y="603"/>
                  </a:lnTo>
                  <a:lnTo>
                    <a:pt x="1489" y="603"/>
                  </a:lnTo>
                  <a:lnTo>
                    <a:pt x="1489" y="600"/>
                  </a:lnTo>
                  <a:lnTo>
                    <a:pt x="1485" y="600"/>
                  </a:lnTo>
                  <a:lnTo>
                    <a:pt x="1485" y="598"/>
                  </a:lnTo>
                  <a:lnTo>
                    <a:pt x="1485" y="600"/>
                  </a:lnTo>
                  <a:lnTo>
                    <a:pt x="1485" y="600"/>
                  </a:lnTo>
                  <a:lnTo>
                    <a:pt x="1485" y="600"/>
                  </a:lnTo>
                  <a:lnTo>
                    <a:pt x="1485" y="600"/>
                  </a:lnTo>
                  <a:lnTo>
                    <a:pt x="1485" y="600"/>
                  </a:lnTo>
                  <a:lnTo>
                    <a:pt x="1485" y="600"/>
                  </a:lnTo>
                  <a:lnTo>
                    <a:pt x="1485" y="600"/>
                  </a:lnTo>
                  <a:lnTo>
                    <a:pt x="1485" y="600"/>
                  </a:lnTo>
                  <a:lnTo>
                    <a:pt x="1483" y="600"/>
                  </a:lnTo>
                  <a:lnTo>
                    <a:pt x="1483" y="600"/>
                  </a:lnTo>
                  <a:lnTo>
                    <a:pt x="1483" y="603"/>
                  </a:lnTo>
                  <a:lnTo>
                    <a:pt x="1483" y="603"/>
                  </a:lnTo>
                  <a:lnTo>
                    <a:pt x="1485" y="603"/>
                  </a:lnTo>
                  <a:lnTo>
                    <a:pt x="1485" y="603"/>
                  </a:lnTo>
                  <a:lnTo>
                    <a:pt x="1485" y="603"/>
                  </a:lnTo>
                  <a:lnTo>
                    <a:pt x="1483" y="603"/>
                  </a:lnTo>
                  <a:lnTo>
                    <a:pt x="1483" y="603"/>
                  </a:lnTo>
                  <a:lnTo>
                    <a:pt x="1481" y="603"/>
                  </a:lnTo>
                  <a:lnTo>
                    <a:pt x="1481" y="605"/>
                  </a:lnTo>
                  <a:lnTo>
                    <a:pt x="1481" y="605"/>
                  </a:lnTo>
                  <a:lnTo>
                    <a:pt x="1481" y="605"/>
                  </a:lnTo>
                  <a:lnTo>
                    <a:pt x="1479" y="605"/>
                  </a:lnTo>
                  <a:lnTo>
                    <a:pt x="1479" y="603"/>
                  </a:lnTo>
                  <a:lnTo>
                    <a:pt x="1481" y="603"/>
                  </a:lnTo>
                  <a:lnTo>
                    <a:pt x="1481" y="603"/>
                  </a:lnTo>
                  <a:lnTo>
                    <a:pt x="1483" y="600"/>
                  </a:lnTo>
                  <a:lnTo>
                    <a:pt x="1483" y="600"/>
                  </a:lnTo>
                  <a:lnTo>
                    <a:pt x="1483" y="598"/>
                  </a:lnTo>
                  <a:lnTo>
                    <a:pt x="1483" y="598"/>
                  </a:lnTo>
                  <a:lnTo>
                    <a:pt x="1483" y="598"/>
                  </a:lnTo>
                  <a:lnTo>
                    <a:pt x="1483" y="598"/>
                  </a:lnTo>
                  <a:lnTo>
                    <a:pt x="1483" y="596"/>
                  </a:lnTo>
                  <a:lnTo>
                    <a:pt x="1481" y="596"/>
                  </a:lnTo>
                  <a:lnTo>
                    <a:pt x="1479" y="596"/>
                  </a:lnTo>
                  <a:lnTo>
                    <a:pt x="1479" y="596"/>
                  </a:lnTo>
                  <a:lnTo>
                    <a:pt x="1479" y="598"/>
                  </a:lnTo>
                  <a:lnTo>
                    <a:pt x="1479" y="598"/>
                  </a:lnTo>
                  <a:lnTo>
                    <a:pt x="1481" y="598"/>
                  </a:lnTo>
                  <a:lnTo>
                    <a:pt x="1481" y="600"/>
                  </a:lnTo>
                  <a:lnTo>
                    <a:pt x="1481" y="600"/>
                  </a:lnTo>
                  <a:lnTo>
                    <a:pt x="1479" y="598"/>
                  </a:lnTo>
                  <a:lnTo>
                    <a:pt x="1479" y="598"/>
                  </a:lnTo>
                  <a:lnTo>
                    <a:pt x="1479" y="598"/>
                  </a:lnTo>
                  <a:lnTo>
                    <a:pt x="1479" y="598"/>
                  </a:lnTo>
                  <a:lnTo>
                    <a:pt x="1479" y="598"/>
                  </a:lnTo>
                  <a:lnTo>
                    <a:pt x="1479" y="598"/>
                  </a:lnTo>
                  <a:lnTo>
                    <a:pt x="1479" y="598"/>
                  </a:lnTo>
                  <a:lnTo>
                    <a:pt x="1479" y="598"/>
                  </a:lnTo>
                  <a:lnTo>
                    <a:pt x="1479" y="596"/>
                  </a:lnTo>
                  <a:lnTo>
                    <a:pt x="1477" y="596"/>
                  </a:lnTo>
                  <a:lnTo>
                    <a:pt x="1477" y="596"/>
                  </a:lnTo>
                  <a:lnTo>
                    <a:pt x="1477" y="596"/>
                  </a:lnTo>
                  <a:lnTo>
                    <a:pt x="1477" y="596"/>
                  </a:lnTo>
                  <a:lnTo>
                    <a:pt x="1475" y="596"/>
                  </a:lnTo>
                  <a:lnTo>
                    <a:pt x="1475" y="596"/>
                  </a:lnTo>
                  <a:lnTo>
                    <a:pt x="1475" y="596"/>
                  </a:lnTo>
                  <a:lnTo>
                    <a:pt x="1477" y="596"/>
                  </a:lnTo>
                  <a:lnTo>
                    <a:pt x="1477" y="596"/>
                  </a:lnTo>
                  <a:lnTo>
                    <a:pt x="1475" y="594"/>
                  </a:lnTo>
                  <a:lnTo>
                    <a:pt x="1475" y="594"/>
                  </a:lnTo>
                  <a:lnTo>
                    <a:pt x="1473" y="594"/>
                  </a:lnTo>
                  <a:lnTo>
                    <a:pt x="1475" y="594"/>
                  </a:lnTo>
                  <a:lnTo>
                    <a:pt x="1475" y="594"/>
                  </a:lnTo>
                  <a:lnTo>
                    <a:pt x="1477" y="594"/>
                  </a:lnTo>
                  <a:lnTo>
                    <a:pt x="1477" y="596"/>
                  </a:lnTo>
                  <a:lnTo>
                    <a:pt x="1477" y="596"/>
                  </a:lnTo>
                  <a:lnTo>
                    <a:pt x="1477" y="594"/>
                  </a:lnTo>
                  <a:lnTo>
                    <a:pt x="1477" y="594"/>
                  </a:lnTo>
                  <a:lnTo>
                    <a:pt x="1479" y="594"/>
                  </a:lnTo>
                  <a:lnTo>
                    <a:pt x="1479" y="594"/>
                  </a:lnTo>
                  <a:lnTo>
                    <a:pt x="1477" y="592"/>
                  </a:lnTo>
                  <a:lnTo>
                    <a:pt x="1475" y="592"/>
                  </a:lnTo>
                  <a:lnTo>
                    <a:pt x="1475" y="592"/>
                  </a:lnTo>
                  <a:lnTo>
                    <a:pt x="1475" y="592"/>
                  </a:lnTo>
                  <a:lnTo>
                    <a:pt x="1475" y="592"/>
                  </a:lnTo>
                  <a:lnTo>
                    <a:pt x="1475" y="592"/>
                  </a:lnTo>
                  <a:lnTo>
                    <a:pt x="1475" y="592"/>
                  </a:lnTo>
                  <a:lnTo>
                    <a:pt x="1473" y="592"/>
                  </a:lnTo>
                  <a:lnTo>
                    <a:pt x="1473" y="592"/>
                  </a:lnTo>
                  <a:lnTo>
                    <a:pt x="1473" y="592"/>
                  </a:lnTo>
                  <a:lnTo>
                    <a:pt x="1473" y="592"/>
                  </a:lnTo>
                  <a:lnTo>
                    <a:pt x="1473" y="592"/>
                  </a:lnTo>
                  <a:lnTo>
                    <a:pt x="1471" y="592"/>
                  </a:lnTo>
                  <a:lnTo>
                    <a:pt x="1471" y="592"/>
                  </a:lnTo>
                  <a:lnTo>
                    <a:pt x="1471" y="592"/>
                  </a:lnTo>
                  <a:lnTo>
                    <a:pt x="1468" y="592"/>
                  </a:lnTo>
                  <a:lnTo>
                    <a:pt x="1468" y="594"/>
                  </a:lnTo>
                  <a:lnTo>
                    <a:pt x="1468" y="594"/>
                  </a:lnTo>
                  <a:lnTo>
                    <a:pt x="1468" y="594"/>
                  </a:lnTo>
                  <a:lnTo>
                    <a:pt x="1468" y="594"/>
                  </a:lnTo>
                  <a:lnTo>
                    <a:pt x="1468" y="592"/>
                  </a:lnTo>
                  <a:lnTo>
                    <a:pt x="1468" y="592"/>
                  </a:lnTo>
                  <a:lnTo>
                    <a:pt x="1468" y="592"/>
                  </a:lnTo>
                  <a:lnTo>
                    <a:pt x="1468" y="592"/>
                  </a:lnTo>
                  <a:lnTo>
                    <a:pt x="1466" y="592"/>
                  </a:lnTo>
                  <a:lnTo>
                    <a:pt x="1464" y="592"/>
                  </a:lnTo>
                  <a:lnTo>
                    <a:pt x="1462" y="592"/>
                  </a:lnTo>
                  <a:lnTo>
                    <a:pt x="1462" y="594"/>
                  </a:lnTo>
                  <a:lnTo>
                    <a:pt x="1462" y="596"/>
                  </a:lnTo>
                  <a:lnTo>
                    <a:pt x="1462" y="596"/>
                  </a:lnTo>
                  <a:lnTo>
                    <a:pt x="1462" y="596"/>
                  </a:lnTo>
                  <a:lnTo>
                    <a:pt x="1460" y="596"/>
                  </a:lnTo>
                  <a:lnTo>
                    <a:pt x="1460" y="596"/>
                  </a:lnTo>
                  <a:lnTo>
                    <a:pt x="1460" y="594"/>
                  </a:lnTo>
                  <a:lnTo>
                    <a:pt x="1462" y="594"/>
                  </a:lnTo>
                  <a:lnTo>
                    <a:pt x="1462" y="594"/>
                  </a:lnTo>
                  <a:lnTo>
                    <a:pt x="1462" y="592"/>
                  </a:lnTo>
                  <a:lnTo>
                    <a:pt x="1462" y="592"/>
                  </a:lnTo>
                  <a:lnTo>
                    <a:pt x="1464" y="590"/>
                  </a:lnTo>
                  <a:lnTo>
                    <a:pt x="1464" y="590"/>
                  </a:lnTo>
                  <a:lnTo>
                    <a:pt x="1464" y="588"/>
                  </a:lnTo>
                  <a:lnTo>
                    <a:pt x="1464" y="588"/>
                  </a:lnTo>
                  <a:lnTo>
                    <a:pt x="1462" y="588"/>
                  </a:lnTo>
                  <a:lnTo>
                    <a:pt x="1462" y="586"/>
                  </a:lnTo>
                  <a:lnTo>
                    <a:pt x="1460" y="586"/>
                  </a:lnTo>
                  <a:lnTo>
                    <a:pt x="1460" y="586"/>
                  </a:lnTo>
                  <a:lnTo>
                    <a:pt x="1460" y="586"/>
                  </a:lnTo>
                  <a:lnTo>
                    <a:pt x="1460" y="584"/>
                  </a:lnTo>
                  <a:lnTo>
                    <a:pt x="1460" y="584"/>
                  </a:lnTo>
                  <a:lnTo>
                    <a:pt x="1460" y="584"/>
                  </a:lnTo>
                  <a:lnTo>
                    <a:pt x="1460" y="584"/>
                  </a:lnTo>
                  <a:lnTo>
                    <a:pt x="1460" y="584"/>
                  </a:lnTo>
                  <a:lnTo>
                    <a:pt x="1462" y="586"/>
                  </a:lnTo>
                  <a:lnTo>
                    <a:pt x="1464" y="586"/>
                  </a:lnTo>
                  <a:lnTo>
                    <a:pt x="1464" y="588"/>
                  </a:lnTo>
                  <a:lnTo>
                    <a:pt x="1466" y="588"/>
                  </a:lnTo>
                  <a:lnTo>
                    <a:pt x="1466" y="588"/>
                  </a:lnTo>
                  <a:lnTo>
                    <a:pt x="1468" y="588"/>
                  </a:lnTo>
                  <a:lnTo>
                    <a:pt x="1468" y="588"/>
                  </a:lnTo>
                  <a:lnTo>
                    <a:pt x="1471" y="590"/>
                  </a:lnTo>
                  <a:lnTo>
                    <a:pt x="1471" y="590"/>
                  </a:lnTo>
                  <a:lnTo>
                    <a:pt x="1471" y="590"/>
                  </a:lnTo>
                  <a:lnTo>
                    <a:pt x="1471" y="590"/>
                  </a:lnTo>
                  <a:lnTo>
                    <a:pt x="1473" y="590"/>
                  </a:lnTo>
                  <a:lnTo>
                    <a:pt x="1473" y="590"/>
                  </a:lnTo>
                  <a:lnTo>
                    <a:pt x="1473" y="590"/>
                  </a:lnTo>
                  <a:lnTo>
                    <a:pt x="1468" y="584"/>
                  </a:lnTo>
                  <a:lnTo>
                    <a:pt x="1471" y="584"/>
                  </a:lnTo>
                  <a:lnTo>
                    <a:pt x="1471" y="584"/>
                  </a:lnTo>
                  <a:lnTo>
                    <a:pt x="1473" y="586"/>
                  </a:lnTo>
                  <a:lnTo>
                    <a:pt x="1475" y="588"/>
                  </a:lnTo>
                  <a:lnTo>
                    <a:pt x="1475" y="586"/>
                  </a:lnTo>
                  <a:lnTo>
                    <a:pt x="1475" y="586"/>
                  </a:lnTo>
                  <a:lnTo>
                    <a:pt x="1475" y="586"/>
                  </a:lnTo>
                  <a:lnTo>
                    <a:pt x="1475" y="586"/>
                  </a:lnTo>
                  <a:lnTo>
                    <a:pt x="1475" y="586"/>
                  </a:lnTo>
                  <a:lnTo>
                    <a:pt x="1477" y="588"/>
                  </a:lnTo>
                  <a:lnTo>
                    <a:pt x="1477" y="590"/>
                  </a:lnTo>
                  <a:lnTo>
                    <a:pt x="1477" y="592"/>
                  </a:lnTo>
                  <a:lnTo>
                    <a:pt x="1479" y="592"/>
                  </a:lnTo>
                  <a:lnTo>
                    <a:pt x="1479" y="592"/>
                  </a:lnTo>
                  <a:lnTo>
                    <a:pt x="1481" y="592"/>
                  </a:lnTo>
                  <a:lnTo>
                    <a:pt x="1483" y="590"/>
                  </a:lnTo>
                  <a:lnTo>
                    <a:pt x="1483" y="590"/>
                  </a:lnTo>
                  <a:lnTo>
                    <a:pt x="1483" y="592"/>
                  </a:lnTo>
                  <a:lnTo>
                    <a:pt x="1483" y="592"/>
                  </a:lnTo>
                  <a:lnTo>
                    <a:pt x="1481" y="592"/>
                  </a:lnTo>
                  <a:lnTo>
                    <a:pt x="1481" y="592"/>
                  </a:lnTo>
                  <a:lnTo>
                    <a:pt x="1485" y="594"/>
                  </a:lnTo>
                  <a:lnTo>
                    <a:pt x="1485" y="594"/>
                  </a:lnTo>
                  <a:lnTo>
                    <a:pt x="1487" y="592"/>
                  </a:lnTo>
                  <a:lnTo>
                    <a:pt x="1487" y="592"/>
                  </a:lnTo>
                  <a:lnTo>
                    <a:pt x="1487" y="592"/>
                  </a:lnTo>
                  <a:lnTo>
                    <a:pt x="1487" y="592"/>
                  </a:lnTo>
                  <a:lnTo>
                    <a:pt x="1487" y="592"/>
                  </a:lnTo>
                  <a:lnTo>
                    <a:pt x="1487" y="590"/>
                  </a:lnTo>
                  <a:lnTo>
                    <a:pt x="1487" y="590"/>
                  </a:lnTo>
                  <a:lnTo>
                    <a:pt x="1487" y="588"/>
                  </a:lnTo>
                  <a:lnTo>
                    <a:pt x="1487" y="588"/>
                  </a:lnTo>
                  <a:lnTo>
                    <a:pt x="1487" y="586"/>
                  </a:lnTo>
                  <a:lnTo>
                    <a:pt x="1487" y="586"/>
                  </a:lnTo>
                  <a:lnTo>
                    <a:pt x="1485" y="586"/>
                  </a:lnTo>
                  <a:lnTo>
                    <a:pt x="1487" y="586"/>
                  </a:lnTo>
                  <a:lnTo>
                    <a:pt x="1487" y="586"/>
                  </a:lnTo>
                  <a:lnTo>
                    <a:pt x="1485" y="584"/>
                  </a:lnTo>
                  <a:lnTo>
                    <a:pt x="1485" y="584"/>
                  </a:lnTo>
                  <a:lnTo>
                    <a:pt x="1483" y="586"/>
                  </a:lnTo>
                  <a:lnTo>
                    <a:pt x="1483" y="586"/>
                  </a:lnTo>
                  <a:lnTo>
                    <a:pt x="1485" y="584"/>
                  </a:lnTo>
                  <a:lnTo>
                    <a:pt x="1485" y="584"/>
                  </a:lnTo>
                  <a:lnTo>
                    <a:pt x="1485" y="582"/>
                  </a:lnTo>
                  <a:lnTo>
                    <a:pt x="1485" y="582"/>
                  </a:lnTo>
                  <a:lnTo>
                    <a:pt x="1485" y="582"/>
                  </a:lnTo>
                  <a:lnTo>
                    <a:pt x="1483" y="580"/>
                  </a:lnTo>
                  <a:lnTo>
                    <a:pt x="1483" y="580"/>
                  </a:lnTo>
                  <a:lnTo>
                    <a:pt x="1483" y="580"/>
                  </a:lnTo>
                  <a:lnTo>
                    <a:pt x="1483" y="580"/>
                  </a:lnTo>
                  <a:lnTo>
                    <a:pt x="1485" y="580"/>
                  </a:lnTo>
                  <a:lnTo>
                    <a:pt x="1485" y="580"/>
                  </a:lnTo>
                  <a:lnTo>
                    <a:pt x="1485" y="580"/>
                  </a:lnTo>
                  <a:lnTo>
                    <a:pt x="1485" y="580"/>
                  </a:lnTo>
                  <a:lnTo>
                    <a:pt x="1485" y="582"/>
                  </a:lnTo>
                  <a:lnTo>
                    <a:pt x="1485" y="582"/>
                  </a:lnTo>
                  <a:lnTo>
                    <a:pt x="1485" y="582"/>
                  </a:lnTo>
                  <a:lnTo>
                    <a:pt x="1487" y="584"/>
                  </a:lnTo>
                  <a:lnTo>
                    <a:pt x="1487" y="584"/>
                  </a:lnTo>
                  <a:lnTo>
                    <a:pt x="1487" y="584"/>
                  </a:lnTo>
                  <a:lnTo>
                    <a:pt x="1487" y="584"/>
                  </a:lnTo>
                  <a:lnTo>
                    <a:pt x="1487" y="586"/>
                  </a:lnTo>
                  <a:lnTo>
                    <a:pt x="1487" y="586"/>
                  </a:lnTo>
                  <a:lnTo>
                    <a:pt x="1489" y="586"/>
                  </a:lnTo>
                  <a:lnTo>
                    <a:pt x="1489" y="586"/>
                  </a:lnTo>
                  <a:lnTo>
                    <a:pt x="1489" y="588"/>
                  </a:lnTo>
                  <a:lnTo>
                    <a:pt x="1489" y="588"/>
                  </a:lnTo>
                  <a:lnTo>
                    <a:pt x="1489" y="588"/>
                  </a:lnTo>
                  <a:lnTo>
                    <a:pt x="1489" y="588"/>
                  </a:lnTo>
                  <a:lnTo>
                    <a:pt x="1491" y="586"/>
                  </a:lnTo>
                  <a:lnTo>
                    <a:pt x="1491" y="584"/>
                  </a:lnTo>
                  <a:lnTo>
                    <a:pt x="1491" y="584"/>
                  </a:lnTo>
                  <a:lnTo>
                    <a:pt x="1489" y="584"/>
                  </a:lnTo>
                  <a:lnTo>
                    <a:pt x="1489" y="584"/>
                  </a:lnTo>
                  <a:lnTo>
                    <a:pt x="1491" y="584"/>
                  </a:lnTo>
                  <a:lnTo>
                    <a:pt x="1495" y="584"/>
                  </a:lnTo>
                  <a:lnTo>
                    <a:pt x="1495" y="584"/>
                  </a:lnTo>
                  <a:lnTo>
                    <a:pt x="1495" y="584"/>
                  </a:lnTo>
                  <a:lnTo>
                    <a:pt x="1491" y="586"/>
                  </a:lnTo>
                  <a:lnTo>
                    <a:pt x="1491" y="586"/>
                  </a:lnTo>
                  <a:lnTo>
                    <a:pt x="1491" y="586"/>
                  </a:lnTo>
                  <a:lnTo>
                    <a:pt x="1491" y="586"/>
                  </a:lnTo>
                  <a:lnTo>
                    <a:pt x="1491" y="586"/>
                  </a:lnTo>
                  <a:lnTo>
                    <a:pt x="1489" y="590"/>
                  </a:lnTo>
                  <a:lnTo>
                    <a:pt x="1489" y="590"/>
                  </a:lnTo>
                  <a:lnTo>
                    <a:pt x="1489" y="590"/>
                  </a:lnTo>
                  <a:lnTo>
                    <a:pt x="1491" y="592"/>
                  </a:lnTo>
                  <a:lnTo>
                    <a:pt x="1491" y="592"/>
                  </a:lnTo>
                  <a:lnTo>
                    <a:pt x="1491" y="592"/>
                  </a:lnTo>
                  <a:lnTo>
                    <a:pt x="1491" y="592"/>
                  </a:lnTo>
                  <a:lnTo>
                    <a:pt x="1493" y="594"/>
                  </a:lnTo>
                  <a:lnTo>
                    <a:pt x="1493" y="594"/>
                  </a:lnTo>
                  <a:lnTo>
                    <a:pt x="1493" y="594"/>
                  </a:lnTo>
                  <a:lnTo>
                    <a:pt x="1493" y="594"/>
                  </a:lnTo>
                  <a:lnTo>
                    <a:pt x="1493" y="596"/>
                  </a:lnTo>
                  <a:lnTo>
                    <a:pt x="1493" y="596"/>
                  </a:lnTo>
                  <a:lnTo>
                    <a:pt x="1493" y="596"/>
                  </a:lnTo>
                  <a:lnTo>
                    <a:pt x="1495" y="598"/>
                  </a:lnTo>
                  <a:lnTo>
                    <a:pt x="1497" y="598"/>
                  </a:lnTo>
                  <a:lnTo>
                    <a:pt x="1497" y="598"/>
                  </a:lnTo>
                  <a:lnTo>
                    <a:pt x="1497" y="598"/>
                  </a:lnTo>
                  <a:lnTo>
                    <a:pt x="1497" y="598"/>
                  </a:lnTo>
                  <a:lnTo>
                    <a:pt x="1497" y="600"/>
                  </a:lnTo>
                  <a:lnTo>
                    <a:pt x="1497" y="600"/>
                  </a:lnTo>
                  <a:lnTo>
                    <a:pt x="1497" y="600"/>
                  </a:lnTo>
                  <a:lnTo>
                    <a:pt x="1497" y="603"/>
                  </a:lnTo>
                  <a:lnTo>
                    <a:pt x="1497" y="603"/>
                  </a:lnTo>
                  <a:lnTo>
                    <a:pt x="1499" y="603"/>
                  </a:lnTo>
                  <a:lnTo>
                    <a:pt x="1499" y="605"/>
                  </a:lnTo>
                  <a:lnTo>
                    <a:pt x="1499" y="605"/>
                  </a:lnTo>
                  <a:lnTo>
                    <a:pt x="1499" y="605"/>
                  </a:lnTo>
                  <a:lnTo>
                    <a:pt x="1499" y="607"/>
                  </a:lnTo>
                  <a:lnTo>
                    <a:pt x="1497" y="607"/>
                  </a:lnTo>
                  <a:lnTo>
                    <a:pt x="1497" y="607"/>
                  </a:lnTo>
                  <a:lnTo>
                    <a:pt x="1497" y="607"/>
                  </a:lnTo>
                  <a:lnTo>
                    <a:pt x="1497" y="607"/>
                  </a:lnTo>
                  <a:lnTo>
                    <a:pt x="1497" y="607"/>
                  </a:lnTo>
                  <a:lnTo>
                    <a:pt x="1497" y="607"/>
                  </a:lnTo>
                  <a:lnTo>
                    <a:pt x="1497" y="607"/>
                  </a:lnTo>
                  <a:lnTo>
                    <a:pt x="1497" y="607"/>
                  </a:lnTo>
                  <a:lnTo>
                    <a:pt x="1499" y="607"/>
                  </a:lnTo>
                  <a:lnTo>
                    <a:pt x="1499" y="607"/>
                  </a:lnTo>
                  <a:lnTo>
                    <a:pt x="1499" y="609"/>
                  </a:lnTo>
                  <a:lnTo>
                    <a:pt x="1499" y="611"/>
                  </a:lnTo>
                  <a:lnTo>
                    <a:pt x="1499" y="611"/>
                  </a:lnTo>
                  <a:lnTo>
                    <a:pt x="1499" y="611"/>
                  </a:lnTo>
                  <a:lnTo>
                    <a:pt x="1505" y="609"/>
                  </a:lnTo>
                  <a:lnTo>
                    <a:pt x="1505" y="607"/>
                  </a:lnTo>
                  <a:lnTo>
                    <a:pt x="1505" y="607"/>
                  </a:lnTo>
                  <a:lnTo>
                    <a:pt x="1507" y="607"/>
                  </a:lnTo>
                  <a:lnTo>
                    <a:pt x="1507" y="607"/>
                  </a:lnTo>
                  <a:lnTo>
                    <a:pt x="1509" y="609"/>
                  </a:lnTo>
                  <a:lnTo>
                    <a:pt x="1509" y="609"/>
                  </a:lnTo>
                  <a:lnTo>
                    <a:pt x="1509" y="609"/>
                  </a:lnTo>
                  <a:lnTo>
                    <a:pt x="1509" y="609"/>
                  </a:lnTo>
                  <a:lnTo>
                    <a:pt x="1509" y="607"/>
                  </a:lnTo>
                  <a:lnTo>
                    <a:pt x="1509" y="607"/>
                  </a:lnTo>
                  <a:lnTo>
                    <a:pt x="1509" y="605"/>
                  </a:lnTo>
                  <a:lnTo>
                    <a:pt x="1509" y="605"/>
                  </a:lnTo>
                  <a:lnTo>
                    <a:pt x="1507" y="605"/>
                  </a:lnTo>
                  <a:lnTo>
                    <a:pt x="1507" y="603"/>
                  </a:lnTo>
                  <a:lnTo>
                    <a:pt x="1507" y="603"/>
                  </a:lnTo>
                  <a:lnTo>
                    <a:pt x="1509" y="603"/>
                  </a:lnTo>
                  <a:lnTo>
                    <a:pt x="1509" y="605"/>
                  </a:lnTo>
                  <a:lnTo>
                    <a:pt x="1509" y="605"/>
                  </a:lnTo>
                  <a:lnTo>
                    <a:pt x="1512" y="607"/>
                  </a:lnTo>
                  <a:lnTo>
                    <a:pt x="1512" y="607"/>
                  </a:lnTo>
                  <a:lnTo>
                    <a:pt x="1512" y="609"/>
                  </a:lnTo>
                  <a:lnTo>
                    <a:pt x="1514" y="611"/>
                  </a:lnTo>
                  <a:lnTo>
                    <a:pt x="1516" y="613"/>
                  </a:lnTo>
                  <a:lnTo>
                    <a:pt x="1516" y="613"/>
                  </a:lnTo>
                  <a:lnTo>
                    <a:pt x="1520" y="613"/>
                  </a:lnTo>
                  <a:lnTo>
                    <a:pt x="1522" y="613"/>
                  </a:lnTo>
                  <a:lnTo>
                    <a:pt x="1522" y="613"/>
                  </a:lnTo>
                  <a:lnTo>
                    <a:pt x="1522" y="613"/>
                  </a:lnTo>
                  <a:lnTo>
                    <a:pt x="1522" y="613"/>
                  </a:lnTo>
                  <a:lnTo>
                    <a:pt x="1522" y="611"/>
                  </a:lnTo>
                  <a:lnTo>
                    <a:pt x="1522" y="611"/>
                  </a:lnTo>
                  <a:lnTo>
                    <a:pt x="1522" y="611"/>
                  </a:lnTo>
                  <a:lnTo>
                    <a:pt x="1522" y="611"/>
                  </a:lnTo>
                  <a:lnTo>
                    <a:pt x="1522" y="609"/>
                  </a:lnTo>
                  <a:lnTo>
                    <a:pt x="1522" y="609"/>
                  </a:lnTo>
                  <a:lnTo>
                    <a:pt x="1522" y="609"/>
                  </a:lnTo>
                  <a:lnTo>
                    <a:pt x="1522" y="609"/>
                  </a:lnTo>
                  <a:lnTo>
                    <a:pt x="1522" y="609"/>
                  </a:lnTo>
                  <a:lnTo>
                    <a:pt x="1522" y="609"/>
                  </a:lnTo>
                  <a:lnTo>
                    <a:pt x="1522" y="607"/>
                  </a:lnTo>
                  <a:lnTo>
                    <a:pt x="1522" y="607"/>
                  </a:lnTo>
                  <a:lnTo>
                    <a:pt x="1520" y="603"/>
                  </a:lnTo>
                  <a:lnTo>
                    <a:pt x="1518" y="600"/>
                  </a:lnTo>
                  <a:lnTo>
                    <a:pt x="1518" y="600"/>
                  </a:lnTo>
                  <a:lnTo>
                    <a:pt x="1518" y="600"/>
                  </a:lnTo>
                  <a:lnTo>
                    <a:pt x="1518" y="598"/>
                  </a:lnTo>
                  <a:lnTo>
                    <a:pt x="1518" y="598"/>
                  </a:lnTo>
                  <a:lnTo>
                    <a:pt x="1518" y="598"/>
                  </a:lnTo>
                  <a:lnTo>
                    <a:pt x="1518" y="598"/>
                  </a:lnTo>
                  <a:lnTo>
                    <a:pt x="1516" y="598"/>
                  </a:lnTo>
                  <a:lnTo>
                    <a:pt x="1516" y="596"/>
                  </a:lnTo>
                  <a:lnTo>
                    <a:pt x="1514" y="594"/>
                  </a:lnTo>
                  <a:lnTo>
                    <a:pt x="1514" y="594"/>
                  </a:lnTo>
                  <a:lnTo>
                    <a:pt x="1514" y="594"/>
                  </a:lnTo>
                  <a:lnTo>
                    <a:pt x="1514" y="592"/>
                  </a:lnTo>
                  <a:lnTo>
                    <a:pt x="1514" y="592"/>
                  </a:lnTo>
                  <a:lnTo>
                    <a:pt x="1514" y="592"/>
                  </a:lnTo>
                  <a:lnTo>
                    <a:pt x="1512" y="588"/>
                  </a:lnTo>
                  <a:lnTo>
                    <a:pt x="1512" y="588"/>
                  </a:lnTo>
                  <a:lnTo>
                    <a:pt x="1512" y="588"/>
                  </a:lnTo>
                  <a:lnTo>
                    <a:pt x="1512" y="586"/>
                  </a:lnTo>
                  <a:lnTo>
                    <a:pt x="1507" y="584"/>
                  </a:lnTo>
                  <a:lnTo>
                    <a:pt x="1507" y="582"/>
                  </a:lnTo>
                  <a:lnTo>
                    <a:pt x="1507" y="582"/>
                  </a:lnTo>
                  <a:lnTo>
                    <a:pt x="1507" y="580"/>
                  </a:lnTo>
                  <a:lnTo>
                    <a:pt x="1507" y="580"/>
                  </a:lnTo>
                  <a:lnTo>
                    <a:pt x="1505" y="580"/>
                  </a:lnTo>
                  <a:lnTo>
                    <a:pt x="1505" y="580"/>
                  </a:lnTo>
                  <a:lnTo>
                    <a:pt x="1505" y="580"/>
                  </a:lnTo>
                  <a:lnTo>
                    <a:pt x="1503" y="578"/>
                  </a:lnTo>
                  <a:lnTo>
                    <a:pt x="1503" y="578"/>
                  </a:lnTo>
                  <a:lnTo>
                    <a:pt x="1503" y="576"/>
                  </a:lnTo>
                  <a:lnTo>
                    <a:pt x="1503" y="576"/>
                  </a:lnTo>
                  <a:lnTo>
                    <a:pt x="1503" y="576"/>
                  </a:lnTo>
                  <a:lnTo>
                    <a:pt x="1503" y="576"/>
                  </a:lnTo>
                  <a:lnTo>
                    <a:pt x="1503" y="574"/>
                  </a:lnTo>
                  <a:lnTo>
                    <a:pt x="1503" y="574"/>
                  </a:lnTo>
                  <a:lnTo>
                    <a:pt x="1503" y="574"/>
                  </a:lnTo>
                  <a:lnTo>
                    <a:pt x="1503" y="572"/>
                  </a:lnTo>
                  <a:lnTo>
                    <a:pt x="1503" y="572"/>
                  </a:lnTo>
                  <a:lnTo>
                    <a:pt x="1501" y="572"/>
                  </a:lnTo>
                  <a:lnTo>
                    <a:pt x="1501" y="570"/>
                  </a:lnTo>
                  <a:lnTo>
                    <a:pt x="1501" y="570"/>
                  </a:lnTo>
                  <a:lnTo>
                    <a:pt x="1499" y="570"/>
                  </a:lnTo>
                  <a:lnTo>
                    <a:pt x="1499" y="568"/>
                  </a:lnTo>
                  <a:lnTo>
                    <a:pt x="1499" y="568"/>
                  </a:lnTo>
                  <a:lnTo>
                    <a:pt x="1497" y="566"/>
                  </a:lnTo>
                  <a:lnTo>
                    <a:pt x="1495" y="566"/>
                  </a:lnTo>
                  <a:lnTo>
                    <a:pt x="1497" y="566"/>
                  </a:lnTo>
                  <a:lnTo>
                    <a:pt x="1497" y="566"/>
                  </a:lnTo>
                  <a:lnTo>
                    <a:pt x="1499" y="566"/>
                  </a:lnTo>
                  <a:lnTo>
                    <a:pt x="1501" y="568"/>
                  </a:lnTo>
                  <a:lnTo>
                    <a:pt x="1501" y="568"/>
                  </a:lnTo>
                  <a:lnTo>
                    <a:pt x="1501" y="570"/>
                  </a:lnTo>
                  <a:lnTo>
                    <a:pt x="1501" y="570"/>
                  </a:lnTo>
                  <a:lnTo>
                    <a:pt x="1503" y="570"/>
                  </a:lnTo>
                  <a:lnTo>
                    <a:pt x="1503" y="570"/>
                  </a:lnTo>
                  <a:lnTo>
                    <a:pt x="1503" y="572"/>
                  </a:lnTo>
                  <a:lnTo>
                    <a:pt x="1503" y="570"/>
                  </a:lnTo>
                  <a:lnTo>
                    <a:pt x="1503" y="570"/>
                  </a:lnTo>
                  <a:lnTo>
                    <a:pt x="1503" y="570"/>
                  </a:lnTo>
                  <a:lnTo>
                    <a:pt x="1503" y="570"/>
                  </a:lnTo>
                  <a:lnTo>
                    <a:pt x="1503" y="568"/>
                  </a:lnTo>
                  <a:lnTo>
                    <a:pt x="1503" y="568"/>
                  </a:lnTo>
                  <a:lnTo>
                    <a:pt x="1503" y="568"/>
                  </a:lnTo>
                  <a:lnTo>
                    <a:pt x="1503" y="568"/>
                  </a:lnTo>
                  <a:lnTo>
                    <a:pt x="1503" y="568"/>
                  </a:lnTo>
                  <a:lnTo>
                    <a:pt x="1503" y="568"/>
                  </a:lnTo>
                  <a:lnTo>
                    <a:pt x="1501" y="566"/>
                  </a:lnTo>
                  <a:lnTo>
                    <a:pt x="1501" y="566"/>
                  </a:lnTo>
                  <a:lnTo>
                    <a:pt x="1501" y="566"/>
                  </a:lnTo>
                  <a:lnTo>
                    <a:pt x="1501" y="566"/>
                  </a:lnTo>
                  <a:lnTo>
                    <a:pt x="1499" y="564"/>
                  </a:lnTo>
                  <a:lnTo>
                    <a:pt x="1499" y="564"/>
                  </a:lnTo>
                  <a:lnTo>
                    <a:pt x="1499" y="564"/>
                  </a:lnTo>
                  <a:lnTo>
                    <a:pt x="1499" y="564"/>
                  </a:lnTo>
                  <a:lnTo>
                    <a:pt x="1499" y="564"/>
                  </a:lnTo>
                  <a:lnTo>
                    <a:pt x="1499" y="564"/>
                  </a:lnTo>
                  <a:lnTo>
                    <a:pt x="1497" y="562"/>
                  </a:lnTo>
                  <a:lnTo>
                    <a:pt x="1497" y="562"/>
                  </a:lnTo>
                  <a:lnTo>
                    <a:pt x="1495" y="562"/>
                  </a:lnTo>
                  <a:lnTo>
                    <a:pt x="1495" y="562"/>
                  </a:lnTo>
                  <a:lnTo>
                    <a:pt x="1495" y="562"/>
                  </a:lnTo>
                  <a:lnTo>
                    <a:pt x="1497" y="562"/>
                  </a:lnTo>
                  <a:lnTo>
                    <a:pt x="1497" y="562"/>
                  </a:lnTo>
                  <a:lnTo>
                    <a:pt x="1499" y="562"/>
                  </a:lnTo>
                  <a:lnTo>
                    <a:pt x="1499" y="559"/>
                  </a:lnTo>
                  <a:lnTo>
                    <a:pt x="1497" y="557"/>
                  </a:lnTo>
                  <a:lnTo>
                    <a:pt x="1497" y="553"/>
                  </a:lnTo>
                  <a:lnTo>
                    <a:pt x="1497" y="551"/>
                  </a:lnTo>
                  <a:lnTo>
                    <a:pt x="1499" y="553"/>
                  </a:lnTo>
                  <a:lnTo>
                    <a:pt x="1499" y="555"/>
                  </a:lnTo>
                  <a:lnTo>
                    <a:pt x="1499" y="559"/>
                  </a:lnTo>
                  <a:lnTo>
                    <a:pt x="1499" y="562"/>
                  </a:lnTo>
                  <a:lnTo>
                    <a:pt x="1501" y="564"/>
                  </a:lnTo>
                  <a:lnTo>
                    <a:pt x="1503" y="566"/>
                  </a:lnTo>
                  <a:lnTo>
                    <a:pt x="1503" y="566"/>
                  </a:lnTo>
                  <a:lnTo>
                    <a:pt x="1505" y="568"/>
                  </a:lnTo>
                  <a:lnTo>
                    <a:pt x="1505" y="570"/>
                  </a:lnTo>
                  <a:lnTo>
                    <a:pt x="1505" y="570"/>
                  </a:lnTo>
                  <a:lnTo>
                    <a:pt x="1507" y="572"/>
                  </a:lnTo>
                  <a:lnTo>
                    <a:pt x="1507" y="572"/>
                  </a:lnTo>
                  <a:lnTo>
                    <a:pt x="1507" y="574"/>
                  </a:lnTo>
                  <a:lnTo>
                    <a:pt x="1507" y="574"/>
                  </a:lnTo>
                  <a:lnTo>
                    <a:pt x="1509" y="574"/>
                  </a:lnTo>
                  <a:lnTo>
                    <a:pt x="1509" y="574"/>
                  </a:lnTo>
                  <a:lnTo>
                    <a:pt x="1509" y="576"/>
                  </a:lnTo>
                  <a:lnTo>
                    <a:pt x="1509" y="578"/>
                  </a:lnTo>
                  <a:lnTo>
                    <a:pt x="1512" y="578"/>
                  </a:lnTo>
                  <a:lnTo>
                    <a:pt x="1512" y="578"/>
                  </a:lnTo>
                  <a:lnTo>
                    <a:pt x="1512" y="580"/>
                  </a:lnTo>
                  <a:lnTo>
                    <a:pt x="1512" y="582"/>
                  </a:lnTo>
                  <a:lnTo>
                    <a:pt x="1512" y="582"/>
                  </a:lnTo>
                  <a:lnTo>
                    <a:pt x="1512" y="582"/>
                  </a:lnTo>
                  <a:lnTo>
                    <a:pt x="1514" y="584"/>
                  </a:lnTo>
                  <a:lnTo>
                    <a:pt x="1516" y="586"/>
                  </a:lnTo>
                  <a:lnTo>
                    <a:pt x="1516" y="586"/>
                  </a:lnTo>
                  <a:lnTo>
                    <a:pt x="1516" y="586"/>
                  </a:lnTo>
                  <a:lnTo>
                    <a:pt x="1516" y="586"/>
                  </a:lnTo>
                  <a:lnTo>
                    <a:pt x="1516" y="586"/>
                  </a:lnTo>
                  <a:lnTo>
                    <a:pt x="1516" y="584"/>
                  </a:lnTo>
                  <a:lnTo>
                    <a:pt x="1516" y="584"/>
                  </a:lnTo>
                  <a:lnTo>
                    <a:pt x="1516" y="584"/>
                  </a:lnTo>
                  <a:lnTo>
                    <a:pt x="1516" y="584"/>
                  </a:lnTo>
                  <a:lnTo>
                    <a:pt x="1516" y="582"/>
                  </a:lnTo>
                  <a:lnTo>
                    <a:pt x="1516" y="582"/>
                  </a:lnTo>
                  <a:lnTo>
                    <a:pt x="1516" y="582"/>
                  </a:lnTo>
                  <a:lnTo>
                    <a:pt x="1518" y="582"/>
                  </a:lnTo>
                  <a:lnTo>
                    <a:pt x="1518" y="582"/>
                  </a:lnTo>
                  <a:lnTo>
                    <a:pt x="1518" y="582"/>
                  </a:lnTo>
                  <a:lnTo>
                    <a:pt x="1518" y="582"/>
                  </a:lnTo>
                  <a:lnTo>
                    <a:pt x="1518" y="584"/>
                  </a:lnTo>
                  <a:lnTo>
                    <a:pt x="1520" y="584"/>
                  </a:lnTo>
                  <a:lnTo>
                    <a:pt x="1520" y="586"/>
                  </a:lnTo>
                  <a:lnTo>
                    <a:pt x="1520" y="588"/>
                  </a:lnTo>
                  <a:lnTo>
                    <a:pt x="1520" y="588"/>
                  </a:lnTo>
                  <a:lnTo>
                    <a:pt x="1520" y="590"/>
                  </a:lnTo>
                  <a:lnTo>
                    <a:pt x="1520" y="590"/>
                  </a:lnTo>
                  <a:lnTo>
                    <a:pt x="1520" y="590"/>
                  </a:lnTo>
                  <a:lnTo>
                    <a:pt x="1520" y="588"/>
                  </a:lnTo>
                  <a:lnTo>
                    <a:pt x="1520" y="590"/>
                  </a:lnTo>
                  <a:lnTo>
                    <a:pt x="1520" y="590"/>
                  </a:lnTo>
                  <a:lnTo>
                    <a:pt x="1518" y="588"/>
                  </a:lnTo>
                  <a:lnTo>
                    <a:pt x="1520" y="590"/>
                  </a:lnTo>
                  <a:lnTo>
                    <a:pt x="1520" y="592"/>
                  </a:lnTo>
                  <a:lnTo>
                    <a:pt x="1522" y="594"/>
                  </a:lnTo>
                  <a:lnTo>
                    <a:pt x="1524" y="594"/>
                  </a:lnTo>
                  <a:lnTo>
                    <a:pt x="1524" y="594"/>
                  </a:lnTo>
                  <a:lnTo>
                    <a:pt x="1526" y="596"/>
                  </a:lnTo>
                  <a:lnTo>
                    <a:pt x="1526" y="596"/>
                  </a:lnTo>
                  <a:lnTo>
                    <a:pt x="1526" y="596"/>
                  </a:lnTo>
                  <a:lnTo>
                    <a:pt x="1526" y="596"/>
                  </a:lnTo>
                  <a:lnTo>
                    <a:pt x="1526" y="596"/>
                  </a:lnTo>
                  <a:lnTo>
                    <a:pt x="1526" y="596"/>
                  </a:lnTo>
                  <a:lnTo>
                    <a:pt x="1526" y="596"/>
                  </a:lnTo>
                  <a:lnTo>
                    <a:pt x="1526" y="596"/>
                  </a:lnTo>
                  <a:lnTo>
                    <a:pt x="1528" y="598"/>
                  </a:lnTo>
                  <a:lnTo>
                    <a:pt x="1528" y="600"/>
                  </a:lnTo>
                  <a:lnTo>
                    <a:pt x="1528" y="600"/>
                  </a:lnTo>
                  <a:lnTo>
                    <a:pt x="1528" y="603"/>
                  </a:lnTo>
                  <a:lnTo>
                    <a:pt x="1530" y="603"/>
                  </a:lnTo>
                  <a:lnTo>
                    <a:pt x="1530" y="603"/>
                  </a:lnTo>
                  <a:lnTo>
                    <a:pt x="1530" y="603"/>
                  </a:lnTo>
                  <a:lnTo>
                    <a:pt x="1532" y="600"/>
                  </a:lnTo>
                  <a:lnTo>
                    <a:pt x="1532" y="600"/>
                  </a:lnTo>
                  <a:lnTo>
                    <a:pt x="1532" y="603"/>
                  </a:lnTo>
                  <a:lnTo>
                    <a:pt x="1532" y="603"/>
                  </a:lnTo>
                  <a:lnTo>
                    <a:pt x="1532" y="603"/>
                  </a:lnTo>
                  <a:lnTo>
                    <a:pt x="1532" y="603"/>
                  </a:lnTo>
                  <a:lnTo>
                    <a:pt x="1532" y="603"/>
                  </a:lnTo>
                  <a:lnTo>
                    <a:pt x="1532" y="603"/>
                  </a:lnTo>
                  <a:lnTo>
                    <a:pt x="1532" y="603"/>
                  </a:lnTo>
                  <a:lnTo>
                    <a:pt x="1534" y="603"/>
                  </a:lnTo>
                  <a:lnTo>
                    <a:pt x="1534" y="603"/>
                  </a:lnTo>
                  <a:lnTo>
                    <a:pt x="1534" y="603"/>
                  </a:lnTo>
                  <a:lnTo>
                    <a:pt x="1536" y="603"/>
                  </a:lnTo>
                  <a:lnTo>
                    <a:pt x="1536" y="603"/>
                  </a:lnTo>
                  <a:lnTo>
                    <a:pt x="1536" y="603"/>
                  </a:lnTo>
                  <a:lnTo>
                    <a:pt x="1538" y="603"/>
                  </a:lnTo>
                  <a:lnTo>
                    <a:pt x="1538" y="603"/>
                  </a:lnTo>
                  <a:lnTo>
                    <a:pt x="1544" y="607"/>
                  </a:lnTo>
                  <a:lnTo>
                    <a:pt x="1546" y="607"/>
                  </a:lnTo>
                  <a:lnTo>
                    <a:pt x="1546" y="607"/>
                  </a:lnTo>
                  <a:lnTo>
                    <a:pt x="1546" y="607"/>
                  </a:lnTo>
                  <a:lnTo>
                    <a:pt x="1548" y="607"/>
                  </a:lnTo>
                  <a:lnTo>
                    <a:pt x="1548" y="605"/>
                  </a:lnTo>
                  <a:lnTo>
                    <a:pt x="1548" y="605"/>
                  </a:lnTo>
                  <a:lnTo>
                    <a:pt x="1548" y="605"/>
                  </a:lnTo>
                  <a:lnTo>
                    <a:pt x="1548" y="603"/>
                  </a:lnTo>
                  <a:lnTo>
                    <a:pt x="1546" y="603"/>
                  </a:lnTo>
                  <a:lnTo>
                    <a:pt x="1546" y="603"/>
                  </a:lnTo>
                  <a:lnTo>
                    <a:pt x="1546" y="600"/>
                  </a:lnTo>
                  <a:lnTo>
                    <a:pt x="1546" y="600"/>
                  </a:lnTo>
                  <a:lnTo>
                    <a:pt x="1546" y="598"/>
                  </a:lnTo>
                  <a:lnTo>
                    <a:pt x="1548" y="598"/>
                  </a:lnTo>
                  <a:lnTo>
                    <a:pt x="1548" y="596"/>
                  </a:lnTo>
                  <a:lnTo>
                    <a:pt x="1546" y="596"/>
                  </a:lnTo>
                  <a:lnTo>
                    <a:pt x="1546" y="594"/>
                  </a:lnTo>
                  <a:lnTo>
                    <a:pt x="1546" y="594"/>
                  </a:lnTo>
                  <a:lnTo>
                    <a:pt x="1546" y="594"/>
                  </a:lnTo>
                  <a:lnTo>
                    <a:pt x="1546" y="594"/>
                  </a:lnTo>
                  <a:lnTo>
                    <a:pt x="1548" y="594"/>
                  </a:lnTo>
                  <a:lnTo>
                    <a:pt x="1548" y="592"/>
                  </a:lnTo>
                  <a:lnTo>
                    <a:pt x="1548" y="592"/>
                  </a:lnTo>
                  <a:lnTo>
                    <a:pt x="1548" y="590"/>
                  </a:lnTo>
                  <a:lnTo>
                    <a:pt x="1546" y="590"/>
                  </a:lnTo>
                  <a:lnTo>
                    <a:pt x="1548" y="590"/>
                  </a:lnTo>
                  <a:lnTo>
                    <a:pt x="1548" y="588"/>
                  </a:lnTo>
                  <a:lnTo>
                    <a:pt x="1548" y="588"/>
                  </a:lnTo>
                  <a:lnTo>
                    <a:pt x="1552" y="588"/>
                  </a:lnTo>
                  <a:lnTo>
                    <a:pt x="1552" y="588"/>
                  </a:lnTo>
                  <a:lnTo>
                    <a:pt x="1550" y="588"/>
                  </a:lnTo>
                  <a:lnTo>
                    <a:pt x="1548" y="590"/>
                  </a:lnTo>
                  <a:lnTo>
                    <a:pt x="1548" y="592"/>
                  </a:lnTo>
                  <a:lnTo>
                    <a:pt x="1548" y="592"/>
                  </a:lnTo>
                  <a:lnTo>
                    <a:pt x="1548" y="592"/>
                  </a:lnTo>
                  <a:lnTo>
                    <a:pt x="1548" y="592"/>
                  </a:lnTo>
                  <a:lnTo>
                    <a:pt x="1548" y="594"/>
                  </a:lnTo>
                  <a:lnTo>
                    <a:pt x="1548" y="594"/>
                  </a:lnTo>
                  <a:lnTo>
                    <a:pt x="1548" y="594"/>
                  </a:lnTo>
                  <a:lnTo>
                    <a:pt x="1548" y="594"/>
                  </a:lnTo>
                  <a:lnTo>
                    <a:pt x="1548" y="596"/>
                  </a:lnTo>
                  <a:lnTo>
                    <a:pt x="1548" y="596"/>
                  </a:lnTo>
                  <a:lnTo>
                    <a:pt x="1550" y="598"/>
                  </a:lnTo>
                  <a:lnTo>
                    <a:pt x="1550" y="598"/>
                  </a:lnTo>
                  <a:lnTo>
                    <a:pt x="1550" y="598"/>
                  </a:lnTo>
                  <a:lnTo>
                    <a:pt x="1550" y="598"/>
                  </a:lnTo>
                  <a:lnTo>
                    <a:pt x="1550" y="600"/>
                  </a:lnTo>
                  <a:lnTo>
                    <a:pt x="1550" y="600"/>
                  </a:lnTo>
                  <a:lnTo>
                    <a:pt x="1548" y="600"/>
                  </a:lnTo>
                  <a:lnTo>
                    <a:pt x="1548" y="600"/>
                  </a:lnTo>
                  <a:lnTo>
                    <a:pt x="1548" y="603"/>
                  </a:lnTo>
                  <a:lnTo>
                    <a:pt x="1548" y="603"/>
                  </a:lnTo>
                  <a:lnTo>
                    <a:pt x="1548" y="603"/>
                  </a:lnTo>
                  <a:lnTo>
                    <a:pt x="1548" y="603"/>
                  </a:lnTo>
                  <a:lnTo>
                    <a:pt x="1548" y="603"/>
                  </a:lnTo>
                  <a:lnTo>
                    <a:pt x="1548" y="603"/>
                  </a:lnTo>
                  <a:lnTo>
                    <a:pt x="1548" y="603"/>
                  </a:lnTo>
                  <a:lnTo>
                    <a:pt x="1548" y="605"/>
                  </a:lnTo>
                  <a:lnTo>
                    <a:pt x="1548" y="605"/>
                  </a:lnTo>
                  <a:lnTo>
                    <a:pt x="1548" y="605"/>
                  </a:lnTo>
                  <a:lnTo>
                    <a:pt x="1548" y="605"/>
                  </a:lnTo>
                  <a:lnTo>
                    <a:pt x="1548" y="605"/>
                  </a:lnTo>
                  <a:lnTo>
                    <a:pt x="1548" y="607"/>
                  </a:lnTo>
                  <a:lnTo>
                    <a:pt x="1548" y="607"/>
                  </a:lnTo>
                  <a:lnTo>
                    <a:pt x="1550" y="607"/>
                  </a:lnTo>
                  <a:lnTo>
                    <a:pt x="1550" y="609"/>
                  </a:lnTo>
                  <a:lnTo>
                    <a:pt x="1550" y="609"/>
                  </a:lnTo>
                  <a:lnTo>
                    <a:pt x="1550" y="609"/>
                  </a:lnTo>
                  <a:lnTo>
                    <a:pt x="1550" y="609"/>
                  </a:lnTo>
                  <a:lnTo>
                    <a:pt x="1550" y="609"/>
                  </a:lnTo>
                  <a:lnTo>
                    <a:pt x="1552" y="609"/>
                  </a:lnTo>
                  <a:lnTo>
                    <a:pt x="1550" y="611"/>
                  </a:lnTo>
                  <a:lnTo>
                    <a:pt x="1550" y="611"/>
                  </a:lnTo>
                  <a:lnTo>
                    <a:pt x="1550" y="611"/>
                  </a:lnTo>
                  <a:lnTo>
                    <a:pt x="1552" y="611"/>
                  </a:lnTo>
                  <a:lnTo>
                    <a:pt x="1552" y="613"/>
                  </a:lnTo>
                  <a:lnTo>
                    <a:pt x="1552" y="613"/>
                  </a:lnTo>
                  <a:lnTo>
                    <a:pt x="1552" y="613"/>
                  </a:lnTo>
                  <a:lnTo>
                    <a:pt x="1552" y="613"/>
                  </a:lnTo>
                  <a:lnTo>
                    <a:pt x="1552" y="613"/>
                  </a:lnTo>
                  <a:lnTo>
                    <a:pt x="1552" y="613"/>
                  </a:lnTo>
                  <a:lnTo>
                    <a:pt x="1555" y="613"/>
                  </a:lnTo>
                  <a:lnTo>
                    <a:pt x="1555" y="613"/>
                  </a:lnTo>
                  <a:lnTo>
                    <a:pt x="1555" y="613"/>
                  </a:lnTo>
                  <a:lnTo>
                    <a:pt x="1555" y="613"/>
                  </a:lnTo>
                  <a:lnTo>
                    <a:pt x="1555" y="613"/>
                  </a:lnTo>
                  <a:lnTo>
                    <a:pt x="1555" y="615"/>
                  </a:lnTo>
                  <a:lnTo>
                    <a:pt x="1555" y="615"/>
                  </a:lnTo>
                  <a:lnTo>
                    <a:pt x="1555" y="615"/>
                  </a:lnTo>
                  <a:lnTo>
                    <a:pt x="1557" y="615"/>
                  </a:lnTo>
                  <a:lnTo>
                    <a:pt x="1557" y="615"/>
                  </a:lnTo>
                  <a:lnTo>
                    <a:pt x="1557" y="615"/>
                  </a:lnTo>
                  <a:lnTo>
                    <a:pt x="1557" y="615"/>
                  </a:lnTo>
                  <a:lnTo>
                    <a:pt x="1557" y="615"/>
                  </a:lnTo>
                  <a:lnTo>
                    <a:pt x="1557" y="615"/>
                  </a:lnTo>
                  <a:lnTo>
                    <a:pt x="1557" y="615"/>
                  </a:lnTo>
                  <a:lnTo>
                    <a:pt x="1559" y="615"/>
                  </a:lnTo>
                  <a:lnTo>
                    <a:pt x="1559" y="615"/>
                  </a:lnTo>
                  <a:lnTo>
                    <a:pt x="1559" y="613"/>
                  </a:lnTo>
                  <a:lnTo>
                    <a:pt x="1559" y="613"/>
                  </a:lnTo>
                  <a:lnTo>
                    <a:pt x="1559" y="611"/>
                  </a:lnTo>
                  <a:lnTo>
                    <a:pt x="1559" y="609"/>
                  </a:lnTo>
                  <a:lnTo>
                    <a:pt x="1559" y="607"/>
                  </a:lnTo>
                  <a:lnTo>
                    <a:pt x="1559" y="607"/>
                  </a:lnTo>
                  <a:lnTo>
                    <a:pt x="1559" y="607"/>
                  </a:lnTo>
                  <a:lnTo>
                    <a:pt x="1561" y="605"/>
                  </a:lnTo>
                  <a:lnTo>
                    <a:pt x="1561" y="605"/>
                  </a:lnTo>
                  <a:lnTo>
                    <a:pt x="1561" y="605"/>
                  </a:lnTo>
                  <a:lnTo>
                    <a:pt x="1561" y="605"/>
                  </a:lnTo>
                  <a:lnTo>
                    <a:pt x="1561" y="607"/>
                  </a:lnTo>
                  <a:lnTo>
                    <a:pt x="1561" y="607"/>
                  </a:lnTo>
                  <a:lnTo>
                    <a:pt x="1561" y="607"/>
                  </a:lnTo>
                  <a:lnTo>
                    <a:pt x="1561" y="607"/>
                  </a:lnTo>
                  <a:lnTo>
                    <a:pt x="1561" y="609"/>
                  </a:lnTo>
                  <a:lnTo>
                    <a:pt x="1561" y="609"/>
                  </a:lnTo>
                  <a:lnTo>
                    <a:pt x="1561" y="611"/>
                  </a:lnTo>
                  <a:lnTo>
                    <a:pt x="1561" y="611"/>
                  </a:lnTo>
                  <a:lnTo>
                    <a:pt x="1561" y="613"/>
                  </a:lnTo>
                  <a:lnTo>
                    <a:pt x="1563" y="611"/>
                  </a:lnTo>
                  <a:lnTo>
                    <a:pt x="1563" y="613"/>
                  </a:lnTo>
                  <a:lnTo>
                    <a:pt x="1563" y="613"/>
                  </a:lnTo>
                  <a:lnTo>
                    <a:pt x="1563" y="613"/>
                  </a:lnTo>
                  <a:lnTo>
                    <a:pt x="1563" y="615"/>
                  </a:lnTo>
                  <a:lnTo>
                    <a:pt x="1563" y="615"/>
                  </a:lnTo>
                  <a:lnTo>
                    <a:pt x="1563" y="615"/>
                  </a:lnTo>
                  <a:lnTo>
                    <a:pt x="1563" y="615"/>
                  </a:lnTo>
                  <a:lnTo>
                    <a:pt x="1563" y="615"/>
                  </a:lnTo>
                  <a:lnTo>
                    <a:pt x="1561" y="615"/>
                  </a:lnTo>
                  <a:lnTo>
                    <a:pt x="1561" y="615"/>
                  </a:lnTo>
                  <a:lnTo>
                    <a:pt x="1561" y="615"/>
                  </a:lnTo>
                  <a:lnTo>
                    <a:pt x="1561" y="615"/>
                  </a:lnTo>
                  <a:lnTo>
                    <a:pt x="1561" y="615"/>
                  </a:lnTo>
                  <a:lnTo>
                    <a:pt x="1559" y="617"/>
                  </a:lnTo>
                  <a:lnTo>
                    <a:pt x="1561" y="617"/>
                  </a:lnTo>
                  <a:lnTo>
                    <a:pt x="1561" y="617"/>
                  </a:lnTo>
                  <a:lnTo>
                    <a:pt x="1561" y="619"/>
                  </a:lnTo>
                  <a:lnTo>
                    <a:pt x="1561" y="619"/>
                  </a:lnTo>
                  <a:lnTo>
                    <a:pt x="1561" y="619"/>
                  </a:lnTo>
                  <a:lnTo>
                    <a:pt x="1563" y="621"/>
                  </a:lnTo>
                  <a:lnTo>
                    <a:pt x="1565" y="623"/>
                  </a:lnTo>
                  <a:lnTo>
                    <a:pt x="1567" y="623"/>
                  </a:lnTo>
                  <a:lnTo>
                    <a:pt x="1567" y="623"/>
                  </a:lnTo>
                  <a:lnTo>
                    <a:pt x="1567" y="621"/>
                  </a:lnTo>
                  <a:lnTo>
                    <a:pt x="1567" y="621"/>
                  </a:lnTo>
                  <a:lnTo>
                    <a:pt x="1567" y="619"/>
                  </a:lnTo>
                  <a:lnTo>
                    <a:pt x="1567" y="617"/>
                  </a:lnTo>
                  <a:lnTo>
                    <a:pt x="1567" y="619"/>
                  </a:lnTo>
                  <a:lnTo>
                    <a:pt x="1567" y="619"/>
                  </a:lnTo>
                  <a:lnTo>
                    <a:pt x="1567" y="619"/>
                  </a:lnTo>
                  <a:lnTo>
                    <a:pt x="1567" y="619"/>
                  </a:lnTo>
                  <a:lnTo>
                    <a:pt x="1567" y="619"/>
                  </a:lnTo>
                  <a:lnTo>
                    <a:pt x="1567" y="617"/>
                  </a:lnTo>
                  <a:lnTo>
                    <a:pt x="1567" y="617"/>
                  </a:lnTo>
                  <a:lnTo>
                    <a:pt x="1567" y="617"/>
                  </a:lnTo>
                  <a:lnTo>
                    <a:pt x="1567" y="615"/>
                  </a:lnTo>
                  <a:lnTo>
                    <a:pt x="1567" y="615"/>
                  </a:lnTo>
                  <a:lnTo>
                    <a:pt x="1577" y="613"/>
                  </a:lnTo>
                  <a:lnTo>
                    <a:pt x="1577" y="615"/>
                  </a:lnTo>
                  <a:lnTo>
                    <a:pt x="1579" y="615"/>
                  </a:lnTo>
                  <a:lnTo>
                    <a:pt x="1579" y="615"/>
                  </a:lnTo>
                  <a:lnTo>
                    <a:pt x="1579" y="615"/>
                  </a:lnTo>
                  <a:lnTo>
                    <a:pt x="1577" y="615"/>
                  </a:lnTo>
                  <a:lnTo>
                    <a:pt x="1575" y="615"/>
                  </a:lnTo>
                  <a:lnTo>
                    <a:pt x="1575" y="615"/>
                  </a:lnTo>
                  <a:lnTo>
                    <a:pt x="1575" y="615"/>
                  </a:lnTo>
                  <a:lnTo>
                    <a:pt x="1575" y="615"/>
                  </a:lnTo>
                  <a:lnTo>
                    <a:pt x="1575" y="615"/>
                  </a:lnTo>
                  <a:lnTo>
                    <a:pt x="1573" y="615"/>
                  </a:lnTo>
                  <a:lnTo>
                    <a:pt x="1571" y="615"/>
                  </a:lnTo>
                  <a:lnTo>
                    <a:pt x="1571" y="615"/>
                  </a:lnTo>
                  <a:lnTo>
                    <a:pt x="1569" y="615"/>
                  </a:lnTo>
                  <a:lnTo>
                    <a:pt x="1569" y="615"/>
                  </a:lnTo>
                  <a:lnTo>
                    <a:pt x="1567" y="615"/>
                  </a:lnTo>
                  <a:lnTo>
                    <a:pt x="1567" y="617"/>
                  </a:lnTo>
                  <a:lnTo>
                    <a:pt x="1569" y="621"/>
                  </a:lnTo>
                  <a:lnTo>
                    <a:pt x="1571" y="623"/>
                  </a:lnTo>
                  <a:lnTo>
                    <a:pt x="1571" y="623"/>
                  </a:lnTo>
                  <a:lnTo>
                    <a:pt x="1571" y="625"/>
                  </a:lnTo>
                  <a:lnTo>
                    <a:pt x="1573" y="625"/>
                  </a:lnTo>
                  <a:lnTo>
                    <a:pt x="1575" y="625"/>
                  </a:lnTo>
                  <a:lnTo>
                    <a:pt x="1575" y="625"/>
                  </a:lnTo>
                  <a:lnTo>
                    <a:pt x="1577" y="625"/>
                  </a:lnTo>
                  <a:lnTo>
                    <a:pt x="1579" y="627"/>
                  </a:lnTo>
                  <a:lnTo>
                    <a:pt x="1581" y="627"/>
                  </a:lnTo>
                  <a:lnTo>
                    <a:pt x="1581" y="627"/>
                  </a:lnTo>
                  <a:lnTo>
                    <a:pt x="1581" y="627"/>
                  </a:lnTo>
                  <a:lnTo>
                    <a:pt x="1583" y="627"/>
                  </a:lnTo>
                  <a:lnTo>
                    <a:pt x="1583" y="627"/>
                  </a:lnTo>
                  <a:lnTo>
                    <a:pt x="1583" y="627"/>
                  </a:lnTo>
                  <a:lnTo>
                    <a:pt x="1583" y="629"/>
                  </a:lnTo>
                  <a:lnTo>
                    <a:pt x="1585" y="629"/>
                  </a:lnTo>
                  <a:lnTo>
                    <a:pt x="1585" y="631"/>
                  </a:lnTo>
                  <a:lnTo>
                    <a:pt x="1587" y="631"/>
                  </a:lnTo>
                  <a:lnTo>
                    <a:pt x="1589" y="631"/>
                  </a:lnTo>
                  <a:lnTo>
                    <a:pt x="1589" y="631"/>
                  </a:lnTo>
                  <a:lnTo>
                    <a:pt x="1587" y="631"/>
                  </a:lnTo>
                  <a:lnTo>
                    <a:pt x="1587" y="631"/>
                  </a:lnTo>
                  <a:lnTo>
                    <a:pt x="1587" y="631"/>
                  </a:lnTo>
                  <a:lnTo>
                    <a:pt x="1587" y="631"/>
                  </a:lnTo>
                  <a:lnTo>
                    <a:pt x="1585" y="631"/>
                  </a:lnTo>
                  <a:lnTo>
                    <a:pt x="1585" y="629"/>
                  </a:lnTo>
                  <a:lnTo>
                    <a:pt x="1585" y="629"/>
                  </a:lnTo>
                  <a:lnTo>
                    <a:pt x="1583" y="629"/>
                  </a:lnTo>
                  <a:lnTo>
                    <a:pt x="1583" y="629"/>
                  </a:lnTo>
                  <a:lnTo>
                    <a:pt x="1581" y="629"/>
                  </a:lnTo>
                  <a:lnTo>
                    <a:pt x="1575" y="627"/>
                  </a:lnTo>
                  <a:lnTo>
                    <a:pt x="1573" y="627"/>
                  </a:lnTo>
                  <a:lnTo>
                    <a:pt x="1573" y="627"/>
                  </a:lnTo>
                  <a:lnTo>
                    <a:pt x="1571" y="627"/>
                  </a:lnTo>
                  <a:lnTo>
                    <a:pt x="1571" y="627"/>
                  </a:lnTo>
                  <a:lnTo>
                    <a:pt x="1571" y="627"/>
                  </a:lnTo>
                  <a:lnTo>
                    <a:pt x="1571" y="625"/>
                  </a:lnTo>
                  <a:lnTo>
                    <a:pt x="1571" y="625"/>
                  </a:lnTo>
                  <a:lnTo>
                    <a:pt x="1571" y="625"/>
                  </a:lnTo>
                  <a:lnTo>
                    <a:pt x="1571" y="627"/>
                  </a:lnTo>
                  <a:lnTo>
                    <a:pt x="1569" y="627"/>
                  </a:lnTo>
                  <a:lnTo>
                    <a:pt x="1569" y="627"/>
                  </a:lnTo>
                  <a:lnTo>
                    <a:pt x="1569" y="627"/>
                  </a:lnTo>
                  <a:lnTo>
                    <a:pt x="1569" y="627"/>
                  </a:lnTo>
                  <a:lnTo>
                    <a:pt x="1569" y="627"/>
                  </a:lnTo>
                  <a:lnTo>
                    <a:pt x="1569" y="631"/>
                  </a:lnTo>
                  <a:lnTo>
                    <a:pt x="1569" y="631"/>
                  </a:lnTo>
                  <a:lnTo>
                    <a:pt x="1569" y="631"/>
                  </a:lnTo>
                  <a:lnTo>
                    <a:pt x="1571" y="633"/>
                  </a:lnTo>
                  <a:lnTo>
                    <a:pt x="1571" y="633"/>
                  </a:lnTo>
                  <a:lnTo>
                    <a:pt x="1573" y="633"/>
                  </a:lnTo>
                  <a:lnTo>
                    <a:pt x="1575" y="631"/>
                  </a:lnTo>
                  <a:lnTo>
                    <a:pt x="1575" y="631"/>
                  </a:lnTo>
                  <a:lnTo>
                    <a:pt x="1577" y="631"/>
                  </a:lnTo>
                  <a:lnTo>
                    <a:pt x="1579" y="629"/>
                  </a:lnTo>
                  <a:lnTo>
                    <a:pt x="1579" y="629"/>
                  </a:lnTo>
                  <a:lnTo>
                    <a:pt x="1579" y="631"/>
                  </a:lnTo>
                  <a:lnTo>
                    <a:pt x="1577" y="631"/>
                  </a:lnTo>
                  <a:lnTo>
                    <a:pt x="1575" y="633"/>
                  </a:lnTo>
                  <a:lnTo>
                    <a:pt x="1575" y="633"/>
                  </a:lnTo>
                  <a:lnTo>
                    <a:pt x="1575" y="635"/>
                  </a:lnTo>
                  <a:lnTo>
                    <a:pt x="1575" y="635"/>
                  </a:lnTo>
                  <a:lnTo>
                    <a:pt x="1575" y="637"/>
                  </a:lnTo>
                  <a:lnTo>
                    <a:pt x="1575" y="637"/>
                  </a:lnTo>
                  <a:lnTo>
                    <a:pt x="1577" y="639"/>
                  </a:lnTo>
                  <a:lnTo>
                    <a:pt x="1577" y="639"/>
                  </a:lnTo>
                  <a:lnTo>
                    <a:pt x="1579" y="639"/>
                  </a:lnTo>
                  <a:lnTo>
                    <a:pt x="1579" y="639"/>
                  </a:lnTo>
                  <a:lnTo>
                    <a:pt x="1579" y="639"/>
                  </a:lnTo>
                  <a:lnTo>
                    <a:pt x="1579" y="639"/>
                  </a:lnTo>
                  <a:lnTo>
                    <a:pt x="1579" y="639"/>
                  </a:lnTo>
                  <a:lnTo>
                    <a:pt x="1581" y="637"/>
                  </a:lnTo>
                  <a:lnTo>
                    <a:pt x="1581" y="637"/>
                  </a:lnTo>
                  <a:lnTo>
                    <a:pt x="1581" y="637"/>
                  </a:lnTo>
                  <a:lnTo>
                    <a:pt x="1581" y="637"/>
                  </a:lnTo>
                  <a:lnTo>
                    <a:pt x="1581" y="637"/>
                  </a:lnTo>
                  <a:lnTo>
                    <a:pt x="1581" y="639"/>
                  </a:lnTo>
                  <a:lnTo>
                    <a:pt x="1581" y="639"/>
                  </a:lnTo>
                  <a:lnTo>
                    <a:pt x="1581" y="639"/>
                  </a:lnTo>
                  <a:lnTo>
                    <a:pt x="1579" y="639"/>
                  </a:lnTo>
                  <a:lnTo>
                    <a:pt x="1579" y="641"/>
                  </a:lnTo>
                  <a:lnTo>
                    <a:pt x="1579" y="641"/>
                  </a:lnTo>
                  <a:lnTo>
                    <a:pt x="1579" y="641"/>
                  </a:lnTo>
                  <a:lnTo>
                    <a:pt x="1581" y="643"/>
                  </a:lnTo>
                  <a:lnTo>
                    <a:pt x="1581" y="643"/>
                  </a:lnTo>
                  <a:lnTo>
                    <a:pt x="1583" y="641"/>
                  </a:lnTo>
                  <a:lnTo>
                    <a:pt x="1585" y="641"/>
                  </a:lnTo>
                  <a:lnTo>
                    <a:pt x="1585" y="643"/>
                  </a:lnTo>
                  <a:lnTo>
                    <a:pt x="1585" y="643"/>
                  </a:lnTo>
                  <a:lnTo>
                    <a:pt x="1585" y="641"/>
                  </a:lnTo>
                  <a:lnTo>
                    <a:pt x="1587" y="641"/>
                  </a:lnTo>
                  <a:lnTo>
                    <a:pt x="1587" y="641"/>
                  </a:lnTo>
                  <a:lnTo>
                    <a:pt x="1587" y="641"/>
                  </a:lnTo>
                  <a:lnTo>
                    <a:pt x="1589" y="639"/>
                  </a:lnTo>
                  <a:lnTo>
                    <a:pt x="1589" y="639"/>
                  </a:lnTo>
                  <a:lnTo>
                    <a:pt x="1589" y="639"/>
                  </a:lnTo>
                  <a:lnTo>
                    <a:pt x="1589" y="639"/>
                  </a:lnTo>
                  <a:lnTo>
                    <a:pt x="1589" y="641"/>
                  </a:lnTo>
                  <a:lnTo>
                    <a:pt x="1589" y="641"/>
                  </a:lnTo>
                  <a:lnTo>
                    <a:pt x="1589" y="641"/>
                  </a:lnTo>
                  <a:lnTo>
                    <a:pt x="1587" y="641"/>
                  </a:lnTo>
                  <a:lnTo>
                    <a:pt x="1587" y="641"/>
                  </a:lnTo>
                  <a:lnTo>
                    <a:pt x="1587" y="643"/>
                  </a:lnTo>
                  <a:lnTo>
                    <a:pt x="1587" y="643"/>
                  </a:lnTo>
                  <a:lnTo>
                    <a:pt x="1585" y="646"/>
                  </a:lnTo>
                  <a:lnTo>
                    <a:pt x="1581" y="646"/>
                  </a:lnTo>
                  <a:lnTo>
                    <a:pt x="1579" y="646"/>
                  </a:lnTo>
                  <a:lnTo>
                    <a:pt x="1579" y="648"/>
                  </a:lnTo>
                  <a:lnTo>
                    <a:pt x="1579" y="648"/>
                  </a:lnTo>
                  <a:lnTo>
                    <a:pt x="1579" y="648"/>
                  </a:lnTo>
                  <a:lnTo>
                    <a:pt x="1579" y="648"/>
                  </a:lnTo>
                  <a:lnTo>
                    <a:pt x="1579" y="648"/>
                  </a:lnTo>
                  <a:lnTo>
                    <a:pt x="1579" y="650"/>
                  </a:lnTo>
                  <a:lnTo>
                    <a:pt x="1581" y="650"/>
                  </a:lnTo>
                  <a:lnTo>
                    <a:pt x="1579" y="650"/>
                  </a:lnTo>
                  <a:lnTo>
                    <a:pt x="1579" y="652"/>
                  </a:lnTo>
                  <a:lnTo>
                    <a:pt x="1579" y="652"/>
                  </a:lnTo>
                  <a:lnTo>
                    <a:pt x="1579" y="652"/>
                  </a:lnTo>
                  <a:lnTo>
                    <a:pt x="1579" y="652"/>
                  </a:lnTo>
                  <a:lnTo>
                    <a:pt x="1581" y="652"/>
                  </a:lnTo>
                  <a:lnTo>
                    <a:pt x="1581" y="652"/>
                  </a:lnTo>
                  <a:lnTo>
                    <a:pt x="1581" y="652"/>
                  </a:lnTo>
                  <a:lnTo>
                    <a:pt x="1583" y="654"/>
                  </a:lnTo>
                  <a:lnTo>
                    <a:pt x="1583" y="654"/>
                  </a:lnTo>
                  <a:lnTo>
                    <a:pt x="1583" y="654"/>
                  </a:lnTo>
                  <a:lnTo>
                    <a:pt x="1585" y="654"/>
                  </a:lnTo>
                  <a:lnTo>
                    <a:pt x="1587" y="654"/>
                  </a:lnTo>
                  <a:lnTo>
                    <a:pt x="1587" y="654"/>
                  </a:lnTo>
                  <a:lnTo>
                    <a:pt x="1587" y="654"/>
                  </a:lnTo>
                  <a:lnTo>
                    <a:pt x="1587" y="652"/>
                  </a:lnTo>
                  <a:lnTo>
                    <a:pt x="1587" y="650"/>
                  </a:lnTo>
                  <a:lnTo>
                    <a:pt x="1587" y="650"/>
                  </a:lnTo>
                  <a:lnTo>
                    <a:pt x="1587" y="650"/>
                  </a:lnTo>
                  <a:lnTo>
                    <a:pt x="1589" y="650"/>
                  </a:lnTo>
                  <a:lnTo>
                    <a:pt x="1589" y="650"/>
                  </a:lnTo>
                  <a:lnTo>
                    <a:pt x="1589" y="652"/>
                  </a:lnTo>
                  <a:lnTo>
                    <a:pt x="1589" y="652"/>
                  </a:lnTo>
                  <a:lnTo>
                    <a:pt x="1589" y="652"/>
                  </a:lnTo>
                  <a:lnTo>
                    <a:pt x="1589" y="650"/>
                  </a:lnTo>
                  <a:lnTo>
                    <a:pt x="1589" y="652"/>
                  </a:lnTo>
                  <a:lnTo>
                    <a:pt x="1589" y="650"/>
                  </a:lnTo>
                  <a:lnTo>
                    <a:pt x="1591" y="650"/>
                  </a:lnTo>
                  <a:lnTo>
                    <a:pt x="1591" y="650"/>
                  </a:lnTo>
                  <a:lnTo>
                    <a:pt x="1591" y="650"/>
                  </a:lnTo>
                  <a:lnTo>
                    <a:pt x="1591" y="652"/>
                  </a:lnTo>
                  <a:lnTo>
                    <a:pt x="1591" y="652"/>
                  </a:lnTo>
                  <a:lnTo>
                    <a:pt x="1591" y="652"/>
                  </a:lnTo>
                  <a:lnTo>
                    <a:pt x="1591" y="652"/>
                  </a:lnTo>
                  <a:lnTo>
                    <a:pt x="1591" y="654"/>
                  </a:lnTo>
                  <a:lnTo>
                    <a:pt x="1591" y="654"/>
                  </a:lnTo>
                  <a:lnTo>
                    <a:pt x="1591" y="654"/>
                  </a:lnTo>
                  <a:lnTo>
                    <a:pt x="1591" y="654"/>
                  </a:lnTo>
                  <a:lnTo>
                    <a:pt x="1591" y="654"/>
                  </a:lnTo>
                  <a:lnTo>
                    <a:pt x="1591" y="654"/>
                  </a:lnTo>
                  <a:lnTo>
                    <a:pt x="1591" y="654"/>
                  </a:lnTo>
                  <a:lnTo>
                    <a:pt x="1591" y="654"/>
                  </a:lnTo>
                  <a:lnTo>
                    <a:pt x="1593" y="654"/>
                  </a:lnTo>
                  <a:lnTo>
                    <a:pt x="1593" y="654"/>
                  </a:lnTo>
                  <a:lnTo>
                    <a:pt x="1593" y="654"/>
                  </a:lnTo>
                  <a:lnTo>
                    <a:pt x="1593" y="654"/>
                  </a:lnTo>
                  <a:lnTo>
                    <a:pt x="1595" y="654"/>
                  </a:lnTo>
                  <a:lnTo>
                    <a:pt x="1595" y="654"/>
                  </a:lnTo>
                  <a:lnTo>
                    <a:pt x="1598" y="654"/>
                  </a:lnTo>
                  <a:lnTo>
                    <a:pt x="1598" y="654"/>
                  </a:lnTo>
                  <a:lnTo>
                    <a:pt x="1598" y="654"/>
                  </a:lnTo>
                  <a:lnTo>
                    <a:pt x="1600" y="654"/>
                  </a:lnTo>
                  <a:lnTo>
                    <a:pt x="1600" y="654"/>
                  </a:lnTo>
                  <a:lnTo>
                    <a:pt x="1600" y="654"/>
                  </a:lnTo>
                  <a:lnTo>
                    <a:pt x="1600" y="652"/>
                  </a:lnTo>
                  <a:lnTo>
                    <a:pt x="1600" y="652"/>
                  </a:lnTo>
                  <a:lnTo>
                    <a:pt x="1602" y="650"/>
                  </a:lnTo>
                  <a:lnTo>
                    <a:pt x="1602" y="650"/>
                  </a:lnTo>
                  <a:lnTo>
                    <a:pt x="1602" y="650"/>
                  </a:lnTo>
                  <a:lnTo>
                    <a:pt x="1602" y="650"/>
                  </a:lnTo>
                  <a:lnTo>
                    <a:pt x="1602" y="652"/>
                  </a:lnTo>
                  <a:lnTo>
                    <a:pt x="1602" y="652"/>
                  </a:lnTo>
                  <a:lnTo>
                    <a:pt x="1602" y="652"/>
                  </a:lnTo>
                  <a:lnTo>
                    <a:pt x="1604" y="654"/>
                  </a:lnTo>
                  <a:lnTo>
                    <a:pt x="1604" y="656"/>
                  </a:lnTo>
                  <a:lnTo>
                    <a:pt x="1604" y="656"/>
                  </a:lnTo>
                  <a:lnTo>
                    <a:pt x="1602" y="656"/>
                  </a:lnTo>
                  <a:lnTo>
                    <a:pt x="1602" y="656"/>
                  </a:lnTo>
                  <a:lnTo>
                    <a:pt x="1602" y="656"/>
                  </a:lnTo>
                  <a:lnTo>
                    <a:pt x="1602" y="656"/>
                  </a:lnTo>
                  <a:lnTo>
                    <a:pt x="1602" y="656"/>
                  </a:lnTo>
                  <a:lnTo>
                    <a:pt x="1600" y="656"/>
                  </a:lnTo>
                  <a:lnTo>
                    <a:pt x="1600" y="656"/>
                  </a:lnTo>
                  <a:lnTo>
                    <a:pt x="1600" y="656"/>
                  </a:lnTo>
                  <a:lnTo>
                    <a:pt x="1600" y="658"/>
                  </a:lnTo>
                  <a:lnTo>
                    <a:pt x="1600" y="658"/>
                  </a:lnTo>
                  <a:lnTo>
                    <a:pt x="1602" y="658"/>
                  </a:lnTo>
                  <a:lnTo>
                    <a:pt x="1602" y="658"/>
                  </a:lnTo>
                  <a:lnTo>
                    <a:pt x="1602" y="658"/>
                  </a:lnTo>
                  <a:lnTo>
                    <a:pt x="1602" y="660"/>
                  </a:lnTo>
                  <a:lnTo>
                    <a:pt x="1602" y="660"/>
                  </a:lnTo>
                  <a:lnTo>
                    <a:pt x="1602" y="660"/>
                  </a:lnTo>
                  <a:lnTo>
                    <a:pt x="1604" y="660"/>
                  </a:lnTo>
                  <a:lnTo>
                    <a:pt x="1604" y="660"/>
                  </a:lnTo>
                  <a:lnTo>
                    <a:pt x="1606" y="660"/>
                  </a:lnTo>
                  <a:lnTo>
                    <a:pt x="1606" y="662"/>
                  </a:lnTo>
                  <a:lnTo>
                    <a:pt x="1606" y="662"/>
                  </a:lnTo>
                  <a:lnTo>
                    <a:pt x="1606" y="662"/>
                  </a:lnTo>
                  <a:lnTo>
                    <a:pt x="1610" y="664"/>
                  </a:lnTo>
                  <a:lnTo>
                    <a:pt x="1614" y="664"/>
                  </a:lnTo>
                  <a:lnTo>
                    <a:pt x="1614" y="664"/>
                  </a:lnTo>
                  <a:lnTo>
                    <a:pt x="1614" y="664"/>
                  </a:lnTo>
                  <a:lnTo>
                    <a:pt x="1614" y="662"/>
                  </a:lnTo>
                  <a:lnTo>
                    <a:pt x="1614" y="662"/>
                  </a:lnTo>
                  <a:lnTo>
                    <a:pt x="1616" y="662"/>
                  </a:lnTo>
                  <a:lnTo>
                    <a:pt x="1616" y="662"/>
                  </a:lnTo>
                  <a:lnTo>
                    <a:pt x="1616" y="662"/>
                  </a:lnTo>
                  <a:lnTo>
                    <a:pt x="1616" y="660"/>
                  </a:lnTo>
                  <a:lnTo>
                    <a:pt x="1616" y="660"/>
                  </a:lnTo>
                  <a:lnTo>
                    <a:pt x="1616" y="660"/>
                  </a:lnTo>
                  <a:lnTo>
                    <a:pt x="1618" y="660"/>
                  </a:lnTo>
                  <a:lnTo>
                    <a:pt x="1616" y="660"/>
                  </a:lnTo>
                  <a:lnTo>
                    <a:pt x="1616" y="660"/>
                  </a:lnTo>
                  <a:lnTo>
                    <a:pt x="1616" y="660"/>
                  </a:lnTo>
                  <a:lnTo>
                    <a:pt x="1616" y="660"/>
                  </a:lnTo>
                  <a:lnTo>
                    <a:pt x="1616" y="662"/>
                  </a:lnTo>
                  <a:lnTo>
                    <a:pt x="1616" y="662"/>
                  </a:lnTo>
                  <a:lnTo>
                    <a:pt x="1616" y="662"/>
                  </a:lnTo>
                  <a:lnTo>
                    <a:pt x="1616" y="664"/>
                  </a:lnTo>
                  <a:lnTo>
                    <a:pt x="1616" y="664"/>
                  </a:lnTo>
                  <a:lnTo>
                    <a:pt x="1616" y="664"/>
                  </a:lnTo>
                  <a:lnTo>
                    <a:pt x="1614" y="666"/>
                  </a:lnTo>
                  <a:lnTo>
                    <a:pt x="1616" y="666"/>
                  </a:lnTo>
                  <a:lnTo>
                    <a:pt x="1616" y="666"/>
                  </a:lnTo>
                  <a:lnTo>
                    <a:pt x="1616" y="666"/>
                  </a:lnTo>
                  <a:lnTo>
                    <a:pt x="1616" y="668"/>
                  </a:lnTo>
                  <a:lnTo>
                    <a:pt x="1616" y="668"/>
                  </a:lnTo>
                  <a:lnTo>
                    <a:pt x="1616" y="668"/>
                  </a:lnTo>
                  <a:lnTo>
                    <a:pt x="1614" y="668"/>
                  </a:lnTo>
                  <a:lnTo>
                    <a:pt x="1616" y="670"/>
                  </a:lnTo>
                  <a:lnTo>
                    <a:pt x="1616" y="670"/>
                  </a:lnTo>
                  <a:lnTo>
                    <a:pt x="1616" y="670"/>
                  </a:lnTo>
                  <a:lnTo>
                    <a:pt x="1618" y="672"/>
                  </a:lnTo>
                  <a:lnTo>
                    <a:pt x="1618" y="670"/>
                  </a:lnTo>
                  <a:lnTo>
                    <a:pt x="1620" y="670"/>
                  </a:lnTo>
                  <a:lnTo>
                    <a:pt x="1620" y="668"/>
                  </a:lnTo>
                  <a:lnTo>
                    <a:pt x="1622" y="668"/>
                  </a:lnTo>
                  <a:lnTo>
                    <a:pt x="1622" y="670"/>
                  </a:lnTo>
                  <a:lnTo>
                    <a:pt x="1622" y="672"/>
                  </a:lnTo>
                  <a:lnTo>
                    <a:pt x="1622" y="672"/>
                  </a:lnTo>
                  <a:lnTo>
                    <a:pt x="1622" y="674"/>
                  </a:lnTo>
                  <a:lnTo>
                    <a:pt x="1622" y="674"/>
                  </a:lnTo>
                  <a:lnTo>
                    <a:pt x="1622" y="674"/>
                  </a:lnTo>
                  <a:lnTo>
                    <a:pt x="1624" y="674"/>
                  </a:lnTo>
                  <a:lnTo>
                    <a:pt x="1624" y="674"/>
                  </a:lnTo>
                  <a:lnTo>
                    <a:pt x="1626" y="674"/>
                  </a:lnTo>
                  <a:lnTo>
                    <a:pt x="1626" y="676"/>
                  </a:lnTo>
                  <a:lnTo>
                    <a:pt x="1628" y="676"/>
                  </a:lnTo>
                  <a:lnTo>
                    <a:pt x="1628" y="676"/>
                  </a:lnTo>
                  <a:lnTo>
                    <a:pt x="1630" y="680"/>
                  </a:lnTo>
                  <a:lnTo>
                    <a:pt x="1630" y="678"/>
                  </a:lnTo>
                  <a:lnTo>
                    <a:pt x="1630" y="678"/>
                  </a:lnTo>
                  <a:lnTo>
                    <a:pt x="1632" y="678"/>
                  </a:lnTo>
                  <a:lnTo>
                    <a:pt x="1632" y="678"/>
                  </a:lnTo>
                  <a:lnTo>
                    <a:pt x="1632" y="678"/>
                  </a:lnTo>
                  <a:lnTo>
                    <a:pt x="1632" y="678"/>
                  </a:lnTo>
                  <a:lnTo>
                    <a:pt x="1634" y="678"/>
                  </a:lnTo>
                  <a:lnTo>
                    <a:pt x="1634" y="678"/>
                  </a:lnTo>
                  <a:lnTo>
                    <a:pt x="1634" y="678"/>
                  </a:lnTo>
                  <a:lnTo>
                    <a:pt x="1636" y="680"/>
                  </a:lnTo>
                  <a:lnTo>
                    <a:pt x="1636" y="682"/>
                  </a:lnTo>
                  <a:lnTo>
                    <a:pt x="1638" y="684"/>
                  </a:lnTo>
                  <a:lnTo>
                    <a:pt x="1641" y="684"/>
                  </a:lnTo>
                  <a:lnTo>
                    <a:pt x="1645" y="682"/>
                  </a:lnTo>
                  <a:lnTo>
                    <a:pt x="1647" y="682"/>
                  </a:lnTo>
                  <a:lnTo>
                    <a:pt x="1649" y="682"/>
                  </a:lnTo>
                  <a:lnTo>
                    <a:pt x="1649" y="682"/>
                  </a:lnTo>
                  <a:lnTo>
                    <a:pt x="1649" y="680"/>
                  </a:lnTo>
                  <a:lnTo>
                    <a:pt x="1651" y="680"/>
                  </a:lnTo>
                  <a:lnTo>
                    <a:pt x="1651" y="680"/>
                  </a:lnTo>
                  <a:lnTo>
                    <a:pt x="1651" y="680"/>
                  </a:lnTo>
                  <a:lnTo>
                    <a:pt x="1651" y="682"/>
                  </a:lnTo>
                  <a:lnTo>
                    <a:pt x="1649" y="682"/>
                  </a:lnTo>
                  <a:lnTo>
                    <a:pt x="1649" y="684"/>
                  </a:lnTo>
                  <a:lnTo>
                    <a:pt x="1649" y="684"/>
                  </a:lnTo>
                  <a:lnTo>
                    <a:pt x="1645" y="684"/>
                  </a:lnTo>
                  <a:lnTo>
                    <a:pt x="1643" y="684"/>
                  </a:lnTo>
                  <a:lnTo>
                    <a:pt x="1641" y="687"/>
                  </a:lnTo>
                  <a:lnTo>
                    <a:pt x="1638" y="689"/>
                  </a:lnTo>
                  <a:lnTo>
                    <a:pt x="1638" y="689"/>
                  </a:lnTo>
                  <a:lnTo>
                    <a:pt x="1641" y="693"/>
                  </a:lnTo>
                  <a:lnTo>
                    <a:pt x="1643" y="695"/>
                  </a:lnTo>
                  <a:lnTo>
                    <a:pt x="1643" y="697"/>
                  </a:lnTo>
                  <a:lnTo>
                    <a:pt x="1643" y="697"/>
                  </a:lnTo>
                  <a:lnTo>
                    <a:pt x="1643" y="697"/>
                  </a:lnTo>
                  <a:lnTo>
                    <a:pt x="1643" y="699"/>
                  </a:lnTo>
                  <a:lnTo>
                    <a:pt x="1643" y="699"/>
                  </a:lnTo>
                  <a:lnTo>
                    <a:pt x="1641" y="699"/>
                  </a:lnTo>
                  <a:lnTo>
                    <a:pt x="1641" y="699"/>
                  </a:lnTo>
                  <a:lnTo>
                    <a:pt x="1641" y="701"/>
                  </a:lnTo>
                  <a:lnTo>
                    <a:pt x="1641" y="701"/>
                  </a:lnTo>
                  <a:lnTo>
                    <a:pt x="1641" y="701"/>
                  </a:lnTo>
                  <a:lnTo>
                    <a:pt x="1641" y="703"/>
                  </a:lnTo>
                  <a:lnTo>
                    <a:pt x="1641" y="703"/>
                  </a:lnTo>
                  <a:lnTo>
                    <a:pt x="1641" y="705"/>
                  </a:lnTo>
                  <a:lnTo>
                    <a:pt x="1641" y="705"/>
                  </a:lnTo>
                  <a:lnTo>
                    <a:pt x="1643" y="705"/>
                  </a:lnTo>
                  <a:lnTo>
                    <a:pt x="1643" y="707"/>
                  </a:lnTo>
                  <a:lnTo>
                    <a:pt x="1643" y="707"/>
                  </a:lnTo>
                  <a:lnTo>
                    <a:pt x="1643" y="707"/>
                  </a:lnTo>
                  <a:lnTo>
                    <a:pt x="1641" y="707"/>
                  </a:lnTo>
                  <a:lnTo>
                    <a:pt x="1638" y="707"/>
                  </a:lnTo>
                  <a:lnTo>
                    <a:pt x="1638" y="709"/>
                  </a:lnTo>
                  <a:lnTo>
                    <a:pt x="1638" y="709"/>
                  </a:lnTo>
                  <a:lnTo>
                    <a:pt x="1641" y="711"/>
                  </a:lnTo>
                  <a:lnTo>
                    <a:pt x="1641" y="711"/>
                  </a:lnTo>
                  <a:lnTo>
                    <a:pt x="1641" y="711"/>
                  </a:lnTo>
                  <a:lnTo>
                    <a:pt x="1638" y="711"/>
                  </a:lnTo>
                  <a:lnTo>
                    <a:pt x="1638" y="711"/>
                  </a:lnTo>
                  <a:lnTo>
                    <a:pt x="1636" y="711"/>
                  </a:lnTo>
                  <a:lnTo>
                    <a:pt x="1638" y="711"/>
                  </a:lnTo>
                  <a:lnTo>
                    <a:pt x="1638" y="713"/>
                  </a:lnTo>
                  <a:lnTo>
                    <a:pt x="1638" y="713"/>
                  </a:lnTo>
                  <a:lnTo>
                    <a:pt x="1641" y="713"/>
                  </a:lnTo>
                  <a:lnTo>
                    <a:pt x="1643" y="717"/>
                  </a:lnTo>
                  <a:lnTo>
                    <a:pt x="1643" y="719"/>
                  </a:lnTo>
                  <a:lnTo>
                    <a:pt x="1645" y="719"/>
                  </a:lnTo>
                  <a:lnTo>
                    <a:pt x="1649" y="721"/>
                  </a:lnTo>
                  <a:lnTo>
                    <a:pt x="1651" y="721"/>
                  </a:lnTo>
                  <a:lnTo>
                    <a:pt x="1651" y="721"/>
                  </a:lnTo>
                  <a:lnTo>
                    <a:pt x="1651" y="721"/>
                  </a:lnTo>
                  <a:lnTo>
                    <a:pt x="1651" y="719"/>
                  </a:lnTo>
                  <a:lnTo>
                    <a:pt x="1651" y="719"/>
                  </a:lnTo>
                  <a:lnTo>
                    <a:pt x="1651" y="719"/>
                  </a:lnTo>
                  <a:lnTo>
                    <a:pt x="1651" y="719"/>
                  </a:lnTo>
                  <a:lnTo>
                    <a:pt x="1651" y="717"/>
                  </a:lnTo>
                  <a:lnTo>
                    <a:pt x="1651" y="717"/>
                  </a:lnTo>
                  <a:lnTo>
                    <a:pt x="1649" y="717"/>
                  </a:lnTo>
                  <a:lnTo>
                    <a:pt x="1649" y="717"/>
                  </a:lnTo>
                  <a:lnTo>
                    <a:pt x="1649" y="715"/>
                  </a:lnTo>
                  <a:lnTo>
                    <a:pt x="1649" y="715"/>
                  </a:lnTo>
                  <a:lnTo>
                    <a:pt x="1649" y="715"/>
                  </a:lnTo>
                  <a:lnTo>
                    <a:pt x="1649" y="715"/>
                  </a:lnTo>
                  <a:lnTo>
                    <a:pt x="1649" y="715"/>
                  </a:lnTo>
                  <a:lnTo>
                    <a:pt x="1649" y="715"/>
                  </a:lnTo>
                  <a:lnTo>
                    <a:pt x="1647" y="713"/>
                  </a:lnTo>
                  <a:lnTo>
                    <a:pt x="1647" y="713"/>
                  </a:lnTo>
                  <a:lnTo>
                    <a:pt x="1651" y="715"/>
                  </a:lnTo>
                  <a:lnTo>
                    <a:pt x="1651" y="715"/>
                  </a:lnTo>
                  <a:lnTo>
                    <a:pt x="1651" y="715"/>
                  </a:lnTo>
                  <a:lnTo>
                    <a:pt x="1651" y="715"/>
                  </a:lnTo>
                  <a:lnTo>
                    <a:pt x="1651" y="713"/>
                  </a:lnTo>
                  <a:lnTo>
                    <a:pt x="1651" y="711"/>
                  </a:lnTo>
                  <a:lnTo>
                    <a:pt x="1651" y="709"/>
                  </a:lnTo>
                  <a:lnTo>
                    <a:pt x="1649" y="709"/>
                  </a:lnTo>
                  <a:lnTo>
                    <a:pt x="1651" y="709"/>
                  </a:lnTo>
                  <a:lnTo>
                    <a:pt x="1651" y="709"/>
                  </a:lnTo>
                  <a:lnTo>
                    <a:pt x="1651" y="707"/>
                  </a:lnTo>
                  <a:lnTo>
                    <a:pt x="1651" y="707"/>
                  </a:lnTo>
                  <a:lnTo>
                    <a:pt x="1651" y="705"/>
                  </a:lnTo>
                  <a:lnTo>
                    <a:pt x="1651" y="705"/>
                  </a:lnTo>
                  <a:lnTo>
                    <a:pt x="1651" y="703"/>
                  </a:lnTo>
                  <a:lnTo>
                    <a:pt x="1651" y="703"/>
                  </a:lnTo>
                  <a:lnTo>
                    <a:pt x="1649" y="703"/>
                  </a:lnTo>
                  <a:lnTo>
                    <a:pt x="1647" y="703"/>
                  </a:lnTo>
                  <a:lnTo>
                    <a:pt x="1645" y="703"/>
                  </a:lnTo>
                  <a:lnTo>
                    <a:pt x="1647" y="703"/>
                  </a:lnTo>
                  <a:lnTo>
                    <a:pt x="1647" y="703"/>
                  </a:lnTo>
                  <a:lnTo>
                    <a:pt x="1647" y="703"/>
                  </a:lnTo>
                  <a:lnTo>
                    <a:pt x="1647" y="701"/>
                  </a:lnTo>
                  <a:lnTo>
                    <a:pt x="1647" y="701"/>
                  </a:lnTo>
                  <a:lnTo>
                    <a:pt x="1647" y="701"/>
                  </a:lnTo>
                  <a:lnTo>
                    <a:pt x="1649" y="701"/>
                  </a:lnTo>
                  <a:lnTo>
                    <a:pt x="1649" y="701"/>
                  </a:lnTo>
                  <a:lnTo>
                    <a:pt x="1649" y="701"/>
                  </a:lnTo>
                  <a:lnTo>
                    <a:pt x="1651" y="699"/>
                  </a:lnTo>
                  <a:lnTo>
                    <a:pt x="1651" y="699"/>
                  </a:lnTo>
                  <a:lnTo>
                    <a:pt x="1651" y="699"/>
                  </a:lnTo>
                  <a:lnTo>
                    <a:pt x="1651" y="699"/>
                  </a:lnTo>
                  <a:lnTo>
                    <a:pt x="1651" y="697"/>
                  </a:lnTo>
                  <a:lnTo>
                    <a:pt x="1653" y="697"/>
                  </a:lnTo>
                  <a:lnTo>
                    <a:pt x="1653" y="697"/>
                  </a:lnTo>
                  <a:lnTo>
                    <a:pt x="1653" y="697"/>
                  </a:lnTo>
                  <a:lnTo>
                    <a:pt x="1653" y="697"/>
                  </a:lnTo>
                  <a:lnTo>
                    <a:pt x="1653" y="697"/>
                  </a:lnTo>
                  <a:lnTo>
                    <a:pt x="1653" y="695"/>
                  </a:lnTo>
                  <a:lnTo>
                    <a:pt x="1653" y="695"/>
                  </a:lnTo>
                  <a:lnTo>
                    <a:pt x="1655" y="693"/>
                  </a:lnTo>
                  <a:lnTo>
                    <a:pt x="1655" y="693"/>
                  </a:lnTo>
                  <a:lnTo>
                    <a:pt x="1655" y="693"/>
                  </a:lnTo>
                  <a:lnTo>
                    <a:pt x="1657" y="691"/>
                  </a:lnTo>
                  <a:lnTo>
                    <a:pt x="1657" y="691"/>
                  </a:lnTo>
                  <a:lnTo>
                    <a:pt x="1657" y="691"/>
                  </a:lnTo>
                  <a:lnTo>
                    <a:pt x="1659" y="693"/>
                  </a:lnTo>
                  <a:lnTo>
                    <a:pt x="1659" y="693"/>
                  </a:lnTo>
                  <a:lnTo>
                    <a:pt x="1659" y="691"/>
                  </a:lnTo>
                  <a:lnTo>
                    <a:pt x="1661" y="691"/>
                  </a:lnTo>
                  <a:lnTo>
                    <a:pt x="1661" y="691"/>
                  </a:lnTo>
                  <a:lnTo>
                    <a:pt x="1663" y="689"/>
                  </a:lnTo>
                  <a:lnTo>
                    <a:pt x="1663" y="687"/>
                  </a:lnTo>
                  <a:lnTo>
                    <a:pt x="1663" y="687"/>
                  </a:lnTo>
                  <a:lnTo>
                    <a:pt x="1663" y="687"/>
                  </a:lnTo>
                  <a:lnTo>
                    <a:pt x="1663" y="684"/>
                  </a:lnTo>
                  <a:lnTo>
                    <a:pt x="1665" y="684"/>
                  </a:lnTo>
                  <a:lnTo>
                    <a:pt x="1665" y="682"/>
                  </a:lnTo>
                  <a:lnTo>
                    <a:pt x="1665" y="682"/>
                  </a:lnTo>
                  <a:lnTo>
                    <a:pt x="1665" y="684"/>
                  </a:lnTo>
                  <a:lnTo>
                    <a:pt x="1665" y="684"/>
                  </a:lnTo>
                  <a:lnTo>
                    <a:pt x="1665" y="684"/>
                  </a:lnTo>
                  <a:lnTo>
                    <a:pt x="1665" y="684"/>
                  </a:lnTo>
                  <a:lnTo>
                    <a:pt x="1663" y="687"/>
                  </a:lnTo>
                  <a:lnTo>
                    <a:pt x="1663" y="689"/>
                  </a:lnTo>
                  <a:lnTo>
                    <a:pt x="1663" y="691"/>
                  </a:lnTo>
                  <a:lnTo>
                    <a:pt x="1663" y="691"/>
                  </a:lnTo>
                  <a:lnTo>
                    <a:pt x="1665" y="691"/>
                  </a:lnTo>
                  <a:lnTo>
                    <a:pt x="1665" y="691"/>
                  </a:lnTo>
                  <a:lnTo>
                    <a:pt x="1665" y="691"/>
                  </a:lnTo>
                  <a:lnTo>
                    <a:pt x="1665" y="691"/>
                  </a:lnTo>
                  <a:lnTo>
                    <a:pt x="1665" y="693"/>
                  </a:lnTo>
                  <a:lnTo>
                    <a:pt x="1665" y="693"/>
                  </a:lnTo>
                  <a:lnTo>
                    <a:pt x="1667" y="693"/>
                  </a:lnTo>
                  <a:lnTo>
                    <a:pt x="1669" y="693"/>
                  </a:lnTo>
                  <a:lnTo>
                    <a:pt x="1671" y="695"/>
                  </a:lnTo>
                  <a:lnTo>
                    <a:pt x="1671" y="697"/>
                  </a:lnTo>
                  <a:lnTo>
                    <a:pt x="1671" y="697"/>
                  </a:lnTo>
                  <a:lnTo>
                    <a:pt x="1671" y="697"/>
                  </a:lnTo>
                  <a:lnTo>
                    <a:pt x="1671" y="697"/>
                  </a:lnTo>
                  <a:lnTo>
                    <a:pt x="1673" y="697"/>
                  </a:lnTo>
                  <a:lnTo>
                    <a:pt x="1673" y="695"/>
                  </a:lnTo>
                  <a:lnTo>
                    <a:pt x="1673" y="695"/>
                  </a:lnTo>
                  <a:lnTo>
                    <a:pt x="1673" y="695"/>
                  </a:lnTo>
                  <a:lnTo>
                    <a:pt x="1673" y="697"/>
                  </a:lnTo>
                  <a:lnTo>
                    <a:pt x="1673" y="697"/>
                  </a:lnTo>
                  <a:lnTo>
                    <a:pt x="1673" y="697"/>
                  </a:lnTo>
                  <a:lnTo>
                    <a:pt x="1675" y="699"/>
                  </a:lnTo>
                  <a:lnTo>
                    <a:pt x="1675" y="699"/>
                  </a:lnTo>
                  <a:lnTo>
                    <a:pt x="1675" y="699"/>
                  </a:lnTo>
                  <a:lnTo>
                    <a:pt x="1675" y="701"/>
                  </a:lnTo>
                  <a:lnTo>
                    <a:pt x="1677" y="701"/>
                  </a:lnTo>
                  <a:lnTo>
                    <a:pt x="1675" y="701"/>
                  </a:lnTo>
                  <a:lnTo>
                    <a:pt x="1675" y="701"/>
                  </a:lnTo>
                  <a:lnTo>
                    <a:pt x="1677" y="703"/>
                  </a:lnTo>
                  <a:lnTo>
                    <a:pt x="1677" y="703"/>
                  </a:lnTo>
                  <a:lnTo>
                    <a:pt x="1677" y="705"/>
                  </a:lnTo>
                  <a:lnTo>
                    <a:pt x="1679" y="707"/>
                  </a:lnTo>
                  <a:lnTo>
                    <a:pt x="1679" y="709"/>
                  </a:lnTo>
                  <a:lnTo>
                    <a:pt x="1681" y="713"/>
                  </a:lnTo>
                  <a:lnTo>
                    <a:pt x="1684" y="717"/>
                  </a:lnTo>
                  <a:lnTo>
                    <a:pt x="1684" y="719"/>
                  </a:lnTo>
                  <a:lnTo>
                    <a:pt x="1686" y="719"/>
                  </a:lnTo>
                  <a:lnTo>
                    <a:pt x="1688" y="717"/>
                  </a:lnTo>
                  <a:lnTo>
                    <a:pt x="1688" y="717"/>
                  </a:lnTo>
                  <a:lnTo>
                    <a:pt x="1690" y="715"/>
                  </a:lnTo>
                  <a:lnTo>
                    <a:pt x="1690" y="715"/>
                  </a:lnTo>
                  <a:lnTo>
                    <a:pt x="1690" y="715"/>
                  </a:lnTo>
                  <a:lnTo>
                    <a:pt x="1690" y="717"/>
                  </a:lnTo>
                  <a:lnTo>
                    <a:pt x="1690" y="717"/>
                  </a:lnTo>
                  <a:lnTo>
                    <a:pt x="1692" y="717"/>
                  </a:lnTo>
                  <a:lnTo>
                    <a:pt x="1692" y="717"/>
                  </a:lnTo>
                  <a:lnTo>
                    <a:pt x="1692" y="717"/>
                  </a:lnTo>
                  <a:lnTo>
                    <a:pt x="1684" y="721"/>
                  </a:lnTo>
                  <a:lnTo>
                    <a:pt x="1684" y="721"/>
                  </a:lnTo>
                  <a:lnTo>
                    <a:pt x="1684" y="721"/>
                  </a:lnTo>
                  <a:lnTo>
                    <a:pt x="1681" y="721"/>
                  </a:lnTo>
                  <a:lnTo>
                    <a:pt x="1681" y="723"/>
                  </a:lnTo>
                  <a:lnTo>
                    <a:pt x="1681" y="723"/>
                  </a:lnTo>
                  <a:lnTo>
                    <a:pt x="1681" y="723"/>
                  </a:lnTo>
                  <a:lnTo>
                    <a:pt x="1681" y="723"/>
                  </a:lnTo>
                  <a:lnTo>
                    <a:pt x="1681" y="728"/>
                  </a:lnTo>
                  <a:lnTo>
                    <a:pt x="1681" y="728"/>
                  </a:lnTo>
                  <a:lnTo>
                    <a:pt x="1681" y="730"/>
                  </a:lnTo>
                  <a:lnTo>
                    <a:pt x="1681" y="730"/>
                  </a:lnTo>
                  <a:lnTo>
                    <a:pt x="1684" y="732"/>
                  </a:lnTo>
                  <a:lnTo>
                    <a:pt x="1684" y="732"/>
                  </a:lnTo>
                  <a:lnTo>
                    <a:pt x="1684" y="732"/>
                  </a:lnTo>
                  <a:lnTo>
                    <a:pt x="1686" y="732"/>
                  </a:lnTo>
                  <a:lnTo>
                    <a:pt x="1688" y="730"/>
                  </a:lnTo>
                  <a:lnTo>
                    <a:pt x="1688" y="730"/>
                  </a:lnTo>
                  <a:lnTo>
                    <a:pt x="1688" y="728"/>
                  </a:lnTo>
                  <a:lnTo>
                    <a:pt x="1688" y="728"/>
                  </a:lnTo>
                  <a:lnTo>
                    <a:pt x="1688" y="728"/>
                  </a:lnTo>
                  <a:lnTo>
                    <a:pt x="1690" y="728"/>
                  </a:lnTo>
                  <a:lnTo>
                    <a:pt x="1690" y="728"/>
                  </a:lnTo>
                  <a:lnTo>
                    <a:pt x="1690" y="730"/>
                  </a:lnTo>
                  <a:lnTo>
                    <a:pt x="1690" y="730"/>
                  </a:lnTo>
                  <a:lnTo>
                    <a:pt x="1692" y="730"/>
                  </a:lnTo>
                  <a:lnTo>
                    <a:pt x="1692" y="725"/>
                  </a:lnTo>
                  <a:lnTo>
                    <a:pt x="1692" y="723"/>
                  </a:lnTo>
                  <a:lnTo>
                    <a:pt x="1694" y="721"/>
                  </a:lnTo>
                  <a:lnTo>
                    <a:pt x="1694" y="721"/>
                  </a:lnTo>
                  <a:lnTo>
                    <a:pt x="1694" y="717"/>
                  </a:lnTo>
                  <a:lnTo>
                    <a:pt x="1694" y="717"/>
                  </a:lnTo>
                  <a:lnTo>
                    <a:pt x="1694" y="715"/>
                  </a:lnTo>
                  <a:lnTo>
                    <a:pt x="1694" y="715"/>
                  </a:lnTo>
                  <a:lnTo>
                    <a:pt x="1694" y="715"/>
                  </a:lnTo>
                  <a:lnTo>
                    <a:pt x="1694" y="715"/>
                  </a:lnTo>
                  <a:lnTo>
                    <a:pt x="1696" y="713"/>
                  </a:lnTo>
                  <a:lnTo>
                    <a:pt x="1696" y="715"/>
                  </a:lnTo>
                  <a:lnTo>
                    <a:pt x="1694" y="721"/>
                  </a:lnTo>
                  <a:lnTo>
                    <a:pt x="1692" y="723"/>
                  </a:lnTo>
                  <a:lnTo>
                    <a:pt x="1692" y="725"/>
                  </a:lnTo>
                  <a:lnTo>
                    <a:pt x="1692" y="728"/>
                  </a:lnTo>
                  <a:lnTo>
                    <a:pt x="1692" y="728"/>
                  </a:lnTo>
                  <a:lnTo>
                    <a:pt x="1692" y="730"/>
                  </a:lnTo>
                  <a:lnTo>
                    <a:pt x="1692" y="730"/>
                  </a:lnTo>
                  <a:lnTo>
                    <a:pt x="1692" y="730"/>
                  </a:lnTo>
                  <a:lnTo>
                    <a:pt x="1692" y="730"/>
                  </a:lnTo>
                  <a:lnTo>
                    <a:pt x="1692" y="730"/>
                  </a:lnTo>
                  <a:lnTo>
                    <a:pt x="1690" y="730"/>
                  </a:lnTo>
                  <a:lnTo>
                    <a:pt x="1690" y="730"/>
                  </a:lnTo>
                  <a:lnTo>
                    <a:pt x="1690" y="730"/>
                  </a:lnTo>
                  <a:lnTo>
                    <a:pt x="1690" y="730"/>
                  </a:lnTo>
                  <a:lnTo>
                    <a:pt x="1690" y="730"/>
                  </a:lnTo>
                  <a:lnTo>
                    <a:pt x="1688" y="730"/>
                  </a:lnTo>
                  <a:lnTo>
                    <a:pt x="1688" y="730"/>
                  </a:lnTo>
                  <a:lnTo>
                    <a:pt x="1688" y="732"/>
                  </a:lnTo>
                  <a:lnTo>
                    <a:pt x="1686" y="732"/>
                  </a:lnTo>
                  <a:lnTo>
                    <a:pt x="1686" y="732"/>
                  </a:lnTo>
                  <a:lnTo>
                    <a:pt x="1686" y="734"/>
                  </a:lnTo>
                  <a:lnTo>
                    <a:pt x="1686" y="736"/>
                  </a:lnTo>
                  <a:lnTo>
                    <a:pt x="1686" y="736"/>
                  </a:lnTo>
                  <a:lnTo>
                    <a:pt x="1686" y="736"/>
                  </a:lnTo>
                  <a:lnTo>
                    <a:pt x="1686" y="736"/>
                  </a:lnTo>
                  <a:lnTo>
                    <a:pt x="1686" y="736"/>
                  </a:lnTo>
                  <a:lnTo>
                    <a:pt x="1688" y="736"/>
                  </a:lnTo>
                  <a:lnTo>
                    <a:pt x="1688" y="738"/>
                  </a:lnTo>
                  <a:lnTo>
                    <a:pt x="1688" y="738"/>
                  </a:lnTo>
                  <a:lnTo>
                    <a:pt x="1690" y="738"/>
                  </a:lnTo>
                  <a:lnTo>
                    <a:pt x="1690" y="740"/>
                  </a:lnTo>
                  <a:lnTo>
                    <a:pt x="1688" y="740"/>
                  </a:lnTo>
                  <a:lnTo>
                    <a:pt x="1688" y="740"/>
                  </a:lnTo>
                  <a:lnTo>
                    <a:pt x="1690" y="740"/>
                  </a:lnTo>
                  <a:lnTo>
                    <a:pt x="1690" y="742"/>
                  </a:lnTo>
                  <a:lnTo>
                    <a:pt x="1690" y="742"/>
                  </a:lnTo>
                  <a:lnTo>
                    <a:pt x="1690" y="742"/>
                  </a:lnTo>
                  <a:lnTo>
                    <a:pt x="1690" y="742"/>
                  </a:lnTo>
                  <a:lnTo>
                    <a:pt x="1690" y="744"/>
                  </a:lnTo>
                  <a:lnTo>
                    <a:pt x="1692" y="744"/>
                  </a:lnTo>
                  <a:lnTo>
                    <a:pt x="1694" y="746"/>
                  </a:lnTo>
                  <a:lnTo>
                    <a:pt x="1694" y="746"/>
                  </a:lnTo>
                  <a:lnTo>
                    <a:pt x="1696" y="744"/>
                  </a:lnTo>
                  <a:lnTo>
                    <a:pt x="1696" y="744"/>
                  </a:lnTo>
                  <a:lnTo>
                    <a:pt x="1696" y="742"/>
                  </a:lnTo>
                  <a:lnTo>
                    <a:pt x="1696" y="742"/>
                  </a:lnTo>
                  <a:lnTo>
                    <a:pt x="1696" y="742"/>
                  </a:lnTo>
                  <a:lnTo>
                    <a:pt x="1696" y="742"/>
                  </a:lnTo>
                  <a:lnTo>
                    <a:pt x="1696" y="742"/>
                  </a:lnTo>
                  <a:lnTo>
                    <a:pt x="1696" y="740"/>
                  </a:lnTo>
                  <a:lnTo>
                    <a:pt x="1696" y="740"/>
                  </a:lnTo>
                  <a:lnTo>
                    <a:pt x="1696" y="740"/>
                  </a:lnTo>
                  <a:lnTo>
                    <a:pt x="1694" y="738"/>
                  </a:lnTo>
                  <a:lnTo>
                    <a:pt x="1694" y="736"/>
                  </a:lnTo>
                  <a:lnTo>
                    <a:pt x="1694" y="736"/>
                  </a:lnTo>
                  <a:lnTo>
                    <a:pt x="1694" y="736"/>
                  </a:lnTo>
                  <a:lnTo>
                    <a:pt x="1694" y="736"/>
                  </a:lnTo>
                  <a:lnTo>
                    <a:pt x="1694" y="736"/>
                  </a:lnTo>
                  <a:lnTo>
                    <a:pt x="1694" y="736"/>
                  </a:lnTo>
                  <a:lnTo>
                    <a:pt x="1696" y="738"/>
                  </a:lnTo>
                  <a:lnTo>
                    <a:pt x="1696" y="738"/>
                  </a:lnTo>
                  <a:lnTo>
                    <a:pt x="1696" y="738"/>
                  </a:lnTo>
                  <a:lnTo>
                    <a:pt x="1696" y="740"/>
                  </a:lnTo>
                  <a:lnTo>
                    <a:pt x="1696" y="740"/>
                  </a:lnTo>
                  <a:lnTo>
                    <a:pt x="1698" y="740"/>
                  </a:lnTo>
                  <a:lnTo>
                    <a:pt x="1698" y="742"/>
                  </a:lnTo>
                  <a:lnTo>
                    <a:pt x="1698" y="742"/>
                  </a:lnTo>
                  <a:lnTo>
                    <a:pt x="1698" y="742"/>
                  </a:lnTo>
                  <a:lnTo>
                    <a:pt x="1698" y="744"/>
                  </a:lnTo>
                  <a:lnTo>
                    <a:pt x="1698" y="744"/>
                  </a:lnTo>
                  <a:lnTo>
                    <a:pt x="1698" y="744"/>
                  </a:lnTo>
                  <a:lnTo>
                    <a:pt x="1698" y="744"/>
                  </a:lnTo>
                  <a:lnTo>
                    <a:pt x="1698" y="744"/>
                  </a:lnTo>
                  <a:lnTo>
                    <a:pt x="1698" y="744"/>
                  </a:lnTo>
                  <a:lnTo>
                    <a:pt x="1700" y="744"/>
                  </a:lnTo>
                  <a:lnTo>
                    <a:pt x="1700" y="740"/>
                  </a:lnTo>
                  <a:lnTo>
                    <a:pt x="1700" y="740"/>
                  </a:lnTo>
                  <a:lnTo>
                    <a:pt x="1700" y="738"/>
                  </a:lnTo>
                  <a:lnTo>
                    <a:pt x="1700" y="738"/>
                  </a:lnTo>
                  <a:lnTo>
                    <a:pt x="1700" y="738"/>
                  </a:lnTo>
                  <a:lnTo>
                    <a:pt x="1700" y="740"/>
                  </a:lnTo>
                  <a:lnTo>
                    <a:pt x="1700" y="742"/>
                  </a:lnTo>
                  <a:lnTo>
                    <a:pt x="1700" y="742"/>
                  </a:lnTo>
                  <a:lnTo>
                    <a:pt x="1702" y="742"/>
                  </a:lnTo>
                  <a:lnTo>
                    <a:pt x="1702" y="738"/>
                  </a:lnTo>
                  <a:lnTo>
                    <a:pt x="1704" y="736"/>
                  </a:lnTo>
                  <a:lnTo>
                    <a:pt x="1704" y="734"/>
                  </a:lnTo>
                  <a:lnTo>
                    <a:pt x="1706" y="734"/>
                  </a:lnTo>
                  <a:lnTo>
                    <a:pt x="1706" y="732"/>
                  </a:lnTo>
                  <a:lnTo>
                    <a:pt x="1706" y="732"/>
                  </a:lnTo>
                  <a:lnTo>
                    <a:pt x="1706" y="730"/>
                  </a:lnTo>
                  <a:lnTo>
                    <a:pt x="1706" y="730"/>
                  </a:lnTo>
                  <a:lnTo>
                    <a:pt x="1706" y="728"/>
                  </a:lnTo>
                  <a:lnTo>
                    <a:pt x="1706" y="728"/>
                  </a:lnTo>
                  <a:lnTo>
                    <a:pt x="1706" y="728"/>
                  </a:lnTo>
                  <a:lnTo>
                    <a:pt x="1706" y="725"/>
                  </a:lnTo>
                  <a:lnTo>
                    <a:pt x="1706" y="725"/>
                  </a:lnTo>
                  <a:lnTo>
                    <a:pt x="1706" y="723"/>
                  </a:lnTo>
                  <a:lnTo>
                    <a:pt x="1706" y="723"/>
                  </a:lnTo>
                  <a:lnTo>
                    <a:pt x="1706" y="721"/>
                  </a:lnTo>
                  <a:lnTo>
                    <a:pt x="1706" y="721"/>
                  </a:lnTo>
                  <a:lnTo>
                    <a:pt x="1706" y="719"/>
                  </a:lnTo>
                  <a:lnTo>
                    <a:pt x="1706" y="719"/>
                  </a:lnTo>
                  <a:lnTo>
                    <a:pt x="1706" y="717"/>
                  </a:lnTo>
                  <a:lnTo>
                    <a:pt x="1706" y="717"/>
                  </a:lnTo>
                  <a:lnTo>
                    <a:pt x="1706" y="717"/>
                  </a:lnTo>
                  <a:lnTo>
                    <a:pt x="1706" y="717"/>
                  </a:lnTo>
                  <a:lnTo>
                    <a:pt x="1706" y="715"/>
                  </a:lnTo>
                  <a:lnTo>
                    <a:pt x="1706" y="715"/>
                  </a:lnTo>
                  <a:lnTo>
                    <a:pt x="1708" y="715"/>
                  </a:lnTo>
                  <a:lnTo>
                    <a:pt x="1708" y="715"/>
                  </a:lnTo>
                  <a:lnTo>
                    <a:pt x="1708" y="713"/>
                  </a:lnTo>
                  <a:lnTo>
                    <a:pt x="1708" y="713"/>
                  </a:lnTo>
                  <a:lnTo>
                    <a:pt x="1708" y="711"/>
                  </a:lnTo>
                  <a:lnTo>
                    <a:pt x="1706" y="709"/>
                  </a:lnTo>
                  <a:close/>
                  <a:moveTo>
                    <a:pt x="1681" y="742"/>
                  </a:moveTo>
                  <a:lnTo>
                    <a:pt x="1679" y="742"/>
                  </a:lnTo>
                  <a:lnTo>
                    <a:pt x="1679" y="742"/>
                  </a:lnTo>
                  <a:lnTo>
                    <a:pt x="1679" y="740"/>
                  </a:lnTo>
                  <a:lnTo>
                    <a:pt x="1679" y="740"/>
                  </a:lnTo>
                  <a:lnTo>
                    <a:pt x="1679" y="740"/>
                  </a:lnTo>
                  <a:lnTo>
                    <a:pt x="1679" y="740"/>
                  </a:lnTo>
                  <a:lnTo>
                    <a:pt x="1679" y="738"/>
                  </a:lnTo>
                  <a:lnTo>
                    <a:pt x="1677" y="738"/>
                  </a:lnTo>
                  <a:lnTo>
                    <a:pt x="1677" y="742"/>
                  </a:lnTo>
                  <a:lnTo>
                    <a:pt x="1675" y="740"/>
                  </a:lnTo>
                  <a:lnTo>
                    <a:pt x="1675" y="742"/>
                  </a:lnTo>
                  <a:lnTo>
                    <a:pt x="1675" y="742"/>
                  </a:lnTo>
                  <a:lnTo>
                    <a:pt x="1673" y="742"/>
                  </a:lnTo>
                  <a:lnTo>
                    <a:pt x="1673" y="744"/>
                  </a:lnTo>
                  <a:lnTo>
                    <a:pt x="1673" y="744"/>
                  </a:lnTo>
                  <a:lnTo>
                    <a:pt x="1673" y="744"/>
                  </a:lnTo>
                  <a:lnTo>
                    <a:pt x="1675" y="744"/>
                  </a:lnTo>
                  <a:lnTo>
                    <a:pt x="1675" y="744"/>
                  </a:lnTo>
                  <a:lnTo>
                    <a:pt x="1677" y="746"/>
                  </a:lnTo>
                  <a:lnTo>
                    <a:pt x="1677" y="746"/>
                  </a:lnTo>
                  <a:lnTo>
                    <a:pt x="1677" y="746"/>
                  </a:lnTo>
                  <a:lnTo>
                    <a:pt x="1677" y="746"/>
                  </a:lnTo>
                  <a:lnTo>
                    <a:pt x="1679" y="746"/>
                  </a:lnTo>
                  <a:lnTo>
                    <a:pt x="1679" y="746"/>
                  </a:lnTo>
                  <a:lnTo>
                    <a:pt x="1679" y="744"/>
                  </a:lnTo>
                  <a:lnTo>
                    <a:pt x="1679" y="744"/>
                  </a:lnTo>
                  <a:lnTo>
                    <a:pt x="1681" y="744"/>
                  </a:lnTo>
                  <a:lnTo>
                    <a:pt x="1681" y="744"/>
                  </a:lnTo>
                  <a:lnTo>
                    <a:pt x="1681" y="742"/>
                  </a:lnTo>
                  <a:lnTo>
                    <a:pt x="1681" y="742"/>
                  </a:lnTo>
                  <a:lnTo>
                    <a:pt x="1681" y="742"/>
                  </a:lnTo>
                  <a:lnTo>
                    <a:pt x="1681" y="742"/>
                  </a:lnTo>
                  <a:close/>
                  <a:moveTo>
                    <a:pt x="1675" y="740"/>
                  </a:moveTo>
                  <a:lnTo>
                    <a:pt x="1675" y="738"/>
                  </a:lnTo>
                  <a:lnTo>
                    <a:pt x="1675" y="736"/>
                  </a:lnTo>
                  <a:lnTo>
                    <a:pt x="1675" y="736"/>
                  </a:lnTo>
                  <a:lnTo>
                    <a:pt x="1675" y="736"/>
                  </a:lnTo>
                  <a:lnTo>
                    <a:pt x="1673" y="736"/>
                  </a:lnTo>
                  <a:lnTo>
                    <a:pt x="1673" y="736"/>
                  </a:lnTo>
                  <a:lnTo>
                    <a:pt x="1673" y="734"/>
                  </a:lnTo>
                  <a:lnTo>
                    <a:pt x="1673" y="734"/>
                  </a:lnTo>
                  <a:lnTo>
                    <a:pt x="1673" y="734"/>
                  </a:lnTo>
                  <a:lnTo>
                    <a:pt x="1673" y="732"/>
                  </a:lnTo>
                  <a:lnTo>
                    <a:pt x="1673" y="732"/>
                  </a:lnTo>
                  <a:lnTo>
                    <a:pt x="1671" y="732"/>
                  </a:lnTo>
                  <a:lnTo>
                    <a:pt x="1671" y="730"/>
                  </a:lnTo>
                  <a:lnTo>
                    <a:pt x="1671" y="730"/>
                  </a:lnTo>
                  <a:lnTo>
                    <a:pt x="1669" y="730"/>
                  </a:lnTo>
                  <a:lnTo>
                    <a:pt x="1667" y="728"/>
                  </a:lnTo>
                  <a:lnTo>
                    <a:pt x="1667" y="728"/>
                  </a:lnTo>
                  <a:lnTo>
                    <a:pt x="1665" y="728"/>
                  </a:lnTo>
                  <a:lnTo>
                    <a:pt x="1665" y="728"/>
                  </a:lnTo>
                  <a:lnTo>
                    <a:pt x="1665" y="728"/>
                  </a:lnTo>
                  <a:lnTo>
                    <a:pt x="1665" y="730"/>
                  </a:lnTo>
                  <a:lnTo>
                    <a:pt x="1665" y="730"/>
                  </a:lnTo>
                  <a:lnTo>
                    <a:pt x="1665" y="730"/>
                  </a:lnTo>
                  <a:lnTo>
                    <a:pt x="1665" y="730"/>
                  </a:lnTo>
                  <a:lnTo>
                    <a:pt x="1665" y="732"/>
                  </a:lnTo>
                  <a:lnTo>
                    <a:pt x="1665" y="732"/>
                  </a:lnTo>
                  <a:lnTo>
                    <a:pt x="1667" y="732"/>
                  </a:lnTo>
                  <a:lnTo>
                    <a:pt x="1667" y="732"/>
                  </a:lnTo>
                  <a:lnTo>
                    <a:pt x="1667" y="732"/>
                  </a:lnTo>
                  <a:lnTo>
                    <a:pt x="1667" y="734"/>
                  </a:lnTo>
                  <a:lnTo>
                    <a:pt x="1667" y="734"/>
                  </a:lnTo>
                  <a:lnTo>
                    <a:pt x="1667" y="734"/>
                  </a:lnTo>
                  <a:lnTo>
                    <a:pt x="1667" y="734"/>
                  </a:lnTo>
                  <a:lnTo>
                    <a:pt x="1669" y="734"/>
                  </a:lnTo>
                  <a:lnTo>
                    <a:pt x="1669" y="736"/>
                  </a:lnTo>
                  <a:lnTo>
                    <a:pt x="1669" y="736"/>
                  </a:lnTo>
                  <a:lnTo>
                    <a:pt x="1667" y="736"/>
                  </a:lnTo>
                  <a:lnTo>
                    <a:pt x="1667" y="736"/>
                  </a:lnTo>
                  <a:lnTo>
                    <a:pt x="1667" y="738"/>
                  </a:lnTo>
                  <a:lnTo>
                    <a:pt x="1667" y="738"/>
                  </a:lnTo>
                  <a:lnTo>
                    <a:pt x="1667" y="738"/>
                  </a:lnTo>
                  <a:lnTo>
                    <a:pt x="1667" y="740"/>
                  </a:lnTo>
                  <a:lnTo>
                    <a:pt x="1667" y="742"/>
                  </a:lnTo>
                  <a:lnTo>
                    <a:pt x="1669" y="742"/>
                  </a:lnTo>
                  <a:lnTo>
                    <a:pt x="1669" y="742"/>
                  </a:lnTo>
                  <a:lnTo>
                    <a:pt x="1669" y="742"/>
                  </a:lnTo>
                  <a:lnTo>
                    <a:pt x="1669" y="742"/>
                  </a:lnTo>
                  <a:lnTo>
                    <a:pt x="1669" y="742"/>
                  </a:lnTo>
                  <a:lnTo>
                    <a:pt x="1669" y="742"/>
                  </a:lnTo>
                  <a:lnTo>
                    <a:pt x="1669" y="742"/>
                  </a:lnTo>
                  <a:lnTo>
                    <a:pt x="1669" y="742"/>
                  </a:lnTo>
                  <a:lnTo>
                    <a:pt x="1669" y="742"/>
                  </a:lnTo>
                  <a:lnTo>
                    <a:pt x="1669" y="740"/>
                  </a:lnTo>
                  <a:lnTo>
                    <a:pt x="1669" y="740"/>
                  </a:lnTo>
                  <a:lnTo>
                    <a:pt x="1671" y="740"/>
                  </a:lnTo>
                  <a:lnTo>
                    <a:pt x="1669" y="738"/>
                  </a:lnTo>
                  <a:lnTo>
                    <a:pt x="1669" y="738"/>
                  </a:lnTo>
                  <a:lnTo>
                    <a:pt x="1669" y="738"/>
                  </a:lnTo>
                  <a:lnTo>
                    <a:pt x="1669" y="738"/>
                  </a:lnTo>
                  <a:lnTo>
                    <a:pt x="1669" y="738"/>
                  </a:lnTo>
                  <a:lnTo>
                    <a:pt x="1669" y="738"/>
                  </a:lnTo>
                  <a:lnTo>
                    <a:pt x="1671" y="738"/>
                  </a:lnTo>
                  <a:lnTo>
                    <a:pt x="1671" y="738"/>
                  </a:lnTo>
                  <a:lnTo>
                    <a:pt x="1671" y="740"/>
                  </a:lnTo>
                  <a:lnTo>
                    <a:pt x="1671" y="740"/>
                  </a:lnTo>
                  <a:lnTo>
                    <a:pt x="1671" y="740"/>
                  </a:lnTo>
                  <a:lnTo>
                    <a:pt x="1671" y="740"/>
                  </a:lnTo>
                  <a:lnTo>
                    <a:pt x="1673" y="740"/>
                  </a:lnTo>
                  <a:lnTo>
                    <a:pt x="1673" y="740"/>
                  </a:lnTo>
                  <a:lnTo>
                    <a:pt x="1675" y="740"/>
                  </a:lnTo>
                  <a:close/>
                  <a:moveTo>
                    <a:pt x="1079" y="613"/>
                  </a:moveTo>
                  <a:lnTo>
                    <a:pt x="1079" y="613"/>
                  </a:lnTo>
                  <a:lnTo>
                    <a:pt x="1079" y="613"/>
                  </a:lnTo>
                  <a:lnTo>
                    <a:pt x="1079" y="613"/>
                  </a:lnTo>
                  <a:close/>
                  <a:moveTo>
                    <a:pt x="743" y="814"/>
                  </a:moveTo>
                  <a:lnTo>
                    <a:pt x="743" y="814"/>
                  </a:lnTo>
                  <a:lnTo>
                    <a:pt x="743" y="814"/>
                  </a:lnTo>
                  <a:lnTo>
                    <a:pt x="743" y="814"/>
                  </a:lnTo>
                  <a:lnTo>
                    <a:pt x="743" y="814"/>
                  </a:lnTo>
                  <a:lnTo>
                    <a:pt x="743" y="812"/>
                  </a:lnTo>
                  <a:lnTo>
                    <a:pt x="743" y="812"/>
                  </a:lnTo>
                  <a:lnTo>
                    <a:pt x="741" y="814"/>
                  </a:lnTo>
                  <a:lnTo>
                    <a:pt x="741" y="814"/>
                  </a:lnTo>
                  <a:lnTo>
                    <a:pt x="741" y="814"/>
                  </a:lnTo>
                  <a:lnTo>
                    <a:pt x="741" y="814"/>
                  </a:lnTo>
                  <a:lnTo>
                    <a:pt x="743" y="814"/>
                  </a:lnTo>
                  <a:close/>
                  <a:moveTo>
                    <a:pt x="811" y="791"/>
                  </a:moveTo>
                  <a:lnTo>
                    <a:pt x="811" y="791"/>
                  </a:lnTo>
                  <a:lnTo>
                    <a:pt x="811" y="791"/>
                  </a:lnTo>
                  <a:lnTo>
                    <a:pt x="813" y="791"/>
                  </a:lnTo>
                  <a:lnTo>
                    <a:pt x="813" y="789"/>
                  </a:lnTo>
                  <a:lnTo>
                    <a:pt x="811" y="789"/>
                  </a:lnTo>
                  <a:lnTo>
                    <a:pt x="811" y="789"/>
                  </a:lnTo>
                  <a:lnTo>
                    <a:pt x="811" y="791"/>
                  </a:lnTo>
                  <a:lnTo>
                    <a:pt x="811" y="791"/>
                  </a:lnTo>
                  <a:lnTo>
                    <a:pt x="811" y="791"/>
                  </a:lnTo>
                  <a:lnTo>
                    <a:pt x="811" y="791"/>
                  </a:lnTo>
                  <a:close/>
                  <a:moveTo>
                    <a:pt x="815" y="791"/>
                  </a:moveTo>
                  <a:lnTo>
                    <a:pt x="815" y="791"/>
                  </a:lnTo>
                  <a:lnTo>
                    <a:pt x="815" y="791"/>
                  </a:lnTo>
                  <a:lnTo>
                    <a:pt x="815" y="789"/>
                  </a:lnTo>
                  <a:lnTo>
                    <a:pt x="813" y="789"/>
                  </a:lnTo>
                  <a:lnTo>
                    <a:pt x="813" y="791"/>
                  </a:lnTo>
                  <a:lnTo>
                    <a:pt x="813" y="791"/>
                  </a:lnTo>
                  <a:lnTo>
                    <a:pt x="813" y="791"/>
                  </a:lnTo>
                  <a:lnTo>
                    <a:pt x="815" y="791"/>
                  </a:lnTo>
                  <a:close/>
                  <a:moveTo>
                    <a:pt x="821" y="658"/>
                  </a:moveTo>
                  <a:lnTo>
                    <a:pt x="821" y="658"/>
                  </a:lnTo>
                  <a:lnTo>
                    <a:pt x="823" y="658"/>
                  </a:lnTo>
                  <a:lnTo>
                    <a:pt x="825" y="658"/>
                  </a:lnTo>
                  <a:lnTo>
                    <a:pt x="825" y="658"/>
                  </a:lnTo>
                  <a:lnTo>
                    <a:pt x="825" y="656"/>
                  </a:lnTo>
                  <a:lnTo>
                    <a:pt x="827" y="654"/>
                  </a:lnTo>
                  <a:lnTo>
                    <a:pt x="827" y="654"/>
                  </a:lnTo>
                  <a:lnTo>
                    <a:pt x="830" y="654"/>
                  </a:lnTo>
                  <a:lnTo>
                    <a:pt x="830" y="654"/>
                  </a:lnTo>
                  <a:lnTo>
                    <a:pt x="830" y="652"/>
                  </a:lnTo>
                  <a:lnTo>
                    <a:pt x="832" y="648"/>
                  </a:lnTo>
                  <a:lnTo>
                    <a:pt x="832" y="648"/>
                  </a:lnTo>
                  <a:lnTo>
                    <a:pt x="832" y="646"/>
                  </a:lnTo>
                  <a:lnTo>
                    <a:pt x="834" y="646"/>
                  </a:lnTo>
                  <a:lnTo>
                    <a:pt x="834" y="646"/>
                  </a:lnTo>
                  <a:lnTo>
                    <a:pt x="834" y="646"/>
                  </a:lnTo>
                  <a:lnTo>
                    <a:pt x="827" y="650"/>
                  </a:lnTo>
                  <a:lnTo>
                    <a:pt x="825" y="650"/>
                  </a:lnTo>
                  <a:lnTo>
                    <a:pt x="825" y="650"/>
                  </a:lnTo>
                  <a:lnTo>
                    <a:pt x="823" y="650"/>
                  </a:lnTo>
                  <a:lnTo>
                    <a:pt x="823" y="650"/>
                  </a:lnTo>
                  <a:lnTo>
                    <a:pt x="821" y="652"/>
                  </a:lnTo>
                  <a:lnTo>
                    <a:pt x="821" y="654"/>
                  </a:lnTo>
                  <a:lnTo>
                    <a:pt x="821" y="654"/>
                  </a:lnTo>
                  <a:lnTo>
                    <a:pt x="821" y="654"/>
                  </a:lnTo>
                  <a:lnTo>
                    <a:pt x="819" y="652"/>
                  </a:lnTo>
                  <a:lnTo>
                    <a:pt x="821" y="654"/>
                  </a:lnTo>
                  <a:lnTo>
                    <a:pt x="821" y="654"/>
                  </a:lnTo>
                  <a:lnTo>
                    <a:pt x="821" y="656"/>
                  </a:lnTo>
                  <a:lnTo>
                    <a:pt x="821" y="656"/>
                  </a:lnTo>
                  <a:lnTo>
                    <a:pt x="821" y="656"/>
                  </a:lnTo>
                  <a:lnTo>
                    <a:pt x="821" y="656"/>
                  </a:lnTo>
                  <a:lnTo>
                    <a:pt x="821" y="658"/>
                  </a:lnTo>
                  <a:lnTo>
                    <a:pt x="821" y="658"/>
                  </a:lnTo>
                  <a:close/>
                  <a:moveTo>
                    <a:pt x="840" y="654"/>
                  </a:moveTo>
                  <a:lnTo>
                    <a:pt x="840" y="654"/>
                  </a:lnTo>
                  <a:lnTo>
                    <a:pt x="840" y="652"/>
                  </a:lnTo>
                  <a:lnTo>
                    <a:pt x="840" y="652"/>
                  </a:lnTo>
                  <a:lnTo>
                    <a:pt x="840" y="652"/>
                  </a:lnTo>
                  <a:lnTo>
                    <a:pt x="840" y="652"/>
                  </a:lnTo>
                  <a:lnTo>
                    <a:pt x="840" y="652"/>
                  </a:lnTo>
                  <a:lnTo>
                    <a:pt x="840" y="652"/>
                  </a:lnTo>
                  <a:lnTo>
                    <a:pt x="840" y="650"/>
                  </a:lnTo>
                  <a:lnTo>
                    <a:pt x="840" y="650"/>
                  </a:lnTo>
                  <a:lnTo>
                    <a:pt x="840" y="652"/>
                  </a:lnTo>
                  <a:lnTo>
                    <a:pt x="840" y="654"/>
                  </a:lnTo>
                  <a:lnTo>
                    <a:pt x="840" y="654"/>
                  </a:lnTo>
                  <a:lnTo>
                    <a:pt x="840" y="654"/>
                  </a:lnTo>
                  <a:lnTo>
                    <a:pt x="840" y="654"/>
                  </a:lnTo>
                  <a:close/>
                  <a:moveTo>
                    <a:pt x="844" y="656"/>
                  </a:moveTo>
                  <a:lnTo>
                    <a:pt x="844" y="656"/>
                  </a:lnTo>
                  <a:lnTo>
                    <a:pt x="844" y="656"/>
                  </a:lnTo>
                  <a:lnTo>
                    <a:pt x="844" y="656"/>
                  </a:lnTo>
                  <a:lnTo>
                    <a:pt x="844" y="656"/>
                  </a:lnTo>
                  <a:lnTo>
                    <a:pt x="844" y="654"/>
                  </a:lnTo>
                  <a:lnTo>
                    <a:pt x="844" y="654"/>
                  </a:lnTo>
                  <a:lnTo>
                    <a:pt x="844" y="654"/>
                  </a:lnTo>
                  <a:lnTo>
                    <a:pt x="844" y="654"/>
                  </a:lnTo>
                  <a:lnTo>
                    <a:pt x="844" y="654"/>
                  </a:lnTo>
                  <a:lnTo>
                    <a:pt x="844" y="652"/>
                  </a:lnTo>
                  <a:lnTo>
                    <a:pt x="844" y="652"/>
                  </a:lnTo>
                  <a:lnTo>
                    <a:pt x="842" y="652"/>
                  </a:lnTo>
                  <a:lnTo>
                    <a:pt x="842" y="652"/>
                  </a:lnTo>
                  <a:lnTo>
                    <a:pt x="842" y="654"/>
                  </a:lnTo>
                  <a:lnTo>
                    <a:pt x="842" y="654"/>
                  </a:lnTo>
                  <a:lnTo>
                    <a:pt x="842" y="654"/>
                  </a:lnTo>
                  <a:lnTo>
                    <a:pt x="844" y="654"/>
                  </a:lnTo>
                  <a:lnTo>
                    <a:pt x="844" y="656"/>
                  </a:lnTo>
                  <a:close/>
                  <a:moveTo>
                    <a:pt x="748" y="822"/>
                  </a:moveTo>
                  <a:lnTo>
                    <a:pt x="748" y="822"/>
                  </a:lnTo>
                  <a:lnTo>
                    <a:pt x="748" y="822"/>
                  </a:lnTo>
                  <a:lnTo>
                    <a:pt x="750" y="820"/>
                  </a:lnTo>
                  <a:lnTo>
                    <a:pt x="750" y="820"/>
                  </a:lnTo>
                  <a:lnTo>
                    <a:pt x="750" y="820"/>
                  </a:lnTo>
                  <a:lnTo>
                    <a:pt x="750" y="820"/>
                  </a:lnTo>
                  <a:lnTo>
                    <a:pt x="750" y="820"/>
                  </a:lnTo>
                  <a:lnTo>
                    <a:pt x="750" y="820"/>
                  </a:lnTo>
                  <a:lnTo>
                    <a:pt x="748" y="822"/>
                  </a:lnTo>
                  <a:lnTo>
                    <a:pt x="748" y="822"/>
                  </a:lnTo>
                  <a:lnTo>
                    <a:pt x="748" y="822"/>
                  </a:lnTo>
                  <a:lnTo>
                    <a:pt x="748" y="822"/>
                  </a:lnTo>
                  <a:lnTo>
                    <a:pt x="748" y="822"/>
                  </a:lnTo>
                  <a:close/>
                  <a:moveTo>
                    <a:pt x="813" y="795"/>
                  </a:moveTo>
                  <a:lnTo>
                    <a:pt x="811" y="797"/>
                  </a:lnTo>
                  <a:lnTo>
                    <a:pt x="811" y="795"/>
                  </a:lnTo>
                  <a:lnTo>
                    <a:pt x="811" y="795"/>
                  </a:lnTo>
                  <a:lnTo>
                    <a:pt x="811" y="797"/>
                  </a:lnTo>
                  <a:lnTo>
                    <a:pt x="813" y="795"/>
                  </a:lnTo>
                  <a:lnTo>
                    <a:pt x="815" y="797"/>
                  </a:lnTo>
                  <a:lnTo>
                    <a:pt x="815" y="795"/>
                  </a:lnTo>
                  <a:lnTo>
                    <a:pt x="815" y="795"/>
                  </a:lnTo>
                  <a:lnTo>
                    <a:pt x="813" y="795"/>
                  </a:lnTo>
                  <a:lnTo>
                    <a:pt x="813" y="795"/>
                  </a:lnTo>
                  <a:lnTo>
                    <a:pt x="813" y="795"/>
                  </a:lnTo>
                  <a:lnTo>
                    <a:pt x="813" y="795"/>
                  </a:lnTo>
                  <a:lnTo>
                    <a:pt x="813" y="795"/>
                  </a:lnTo>
                  <a:close/>
                  <a:moveTo>
                    <a:pt x="1665" y="725"/>
                  </a:moveTo>
                  <a:lnTo>
                    <a:pt x="1665" y="725"/>
                  </a:lnTo>
                  <a:lnTo>
                    <a:pt x="1667" y="723"/>
                  </a:lnTo>
                  <a:lnTo>
                    <a:pt x="1667" y="721"/>
                  </a:lnTo>
                  <a:lnTo>
                    <a:pt x="1665" y="721"/>
                  </a:lnTo>
                  <a:lnTo>
                    <a:pt x="1665" y="719"/>
                  </a:lnTo>
                  <a:lnTo>
                    <a:pt x="1663" y="719"/>
                  </a:lnTo>
                  <a:lnTo>
                    <a:pt x="1663" y="719"/>
                  </a:lnTo>
                  <a:lnTo>
                    <a:pt x="1663" y="717"/>
                  </a:lnTo>
                  <a:lnTo>
                    <a:pt x="1663" y="717"/>
                  </a:lnTo>
                  <a:lnTo>
                    <a:pt x="1663" y="715"/>
                  </a:lnTo>
                  <a:lnTo>
                    <a:pt x="1663" y="715"/>
                  </a:lnTo>
                  <a:lnTo>
                    <a:pt x="1665" y="715"/>
                  </a:lnTo>
                  <a:lnTo>
                    <a:pt x="1665" y="713"/>
                  </a:lnTo>
                  <a:lnTo>
                    <a:pt x="1665" y="717"/>
                  </a:lnTo>
                  <a:lnTo>
                    <a:pt x="1665" y="717"/>
                  </a:lnTo>
                  <a:lnTo>
                    <a:pt x="1665" y="719"/>
                  </a:lnTo>
                  <a:lnTo>
                    <a:pt x="1665" y="719"/>
                  </a:lnTo>
                  <a:lnTo>
                    <a:pt x="1667" y="721"/>
                  </a:lnTo>
                  <a:lnTo>
                    <a:pt x="1667" y="721"/>
                  </a:lnTo>
                  <a:lnTo>
                    <a:pt x="1667" y="721"/>
                  </a:lnTo>
                  <a:lnTo>
                    <a:pt x="1667" y="721"/>
                  </a:lnTo>
                  <a:lnTo>
                    <a:pt x="1667" y="723"/>
                  </a:lnTo>
                  <a:lnTo>
                    <a:pt x="1667" y="723"/>
                  </a:lnTo>
                  <a:lnTo>
                    <a:pt x="1667" y="723"/>
                  </a:lnTo>
                  <a:lnTo>
                    <a:pt x="1667" y="723"/>
                  </a:lnTo>
                  <a:lnTo>
                    <a:pt x="1669" y="721"/>
                  </a:lnTo>
                  <a:lnTo>
                    <a:pt x="1669" y="721"/>
                  </a:lnTo>
                  <a:lnTo>
                    <a:pt x="1669" y="721"/>
                  </a:lnTo>
                  <a:lnTo>
                    <a:pt x="1669" y="719"/>
                  </a:lnTo>
                  <a:lnTo>
                    <a:pt x="1669" y="719"/>
                  </a:lnTo>
                  <a:lnTo>
                    <a:pt x="1669" y="717"/>
                  </a:lnTo>
                  <a:lnTo>
                    <a:pt x="1669" y="715"/>
                  </a:lnTo>
                  <a:lnTo>
                    <a:pt x="1667" y="715"/>
                  </a:lnTo>
                  <a:lnTo>
                    <a:pt x="1665" y="711"/>
                  </a:lnTo>
                  <a:lnTo>
                    <a:pt x="1665" y="709"/>
                  </a:lnTo>
                  <a:lnTo>
                    <a:pt x="1665" y="707"/>
                  </a:lnTo>
                  <a:lnTo>
                    <a:pt x="1665" y="707"/>
                  </a:lnTo>
                  <a:lnTo>
                    <a:pt x="1665" y="709"/>
                  </a:lnTo>
                  <a:lnTo>
                    <a:pt x="1667" y="711"/>
                  </a:lnTo>
                  <a:lnTo>
                    <a:pt x="1667" y="711"/>
                  </a:lnTo>
                  <a:lnTo>
                    <a:pt x="1667" y="713"/>
                  </a:lnTo>
                  <a:lnTo>
                    <a:pt x="1669" y="713"/>
                  </a:lnTo>
                  <a:lnTo>
                    <a:pt x="1669" y="715"/>
                  </a:lnTo>
                  <a:lnTo>
                    <a:pt x="1669" y="715"/>
                  </a:lnTo>
                  <a:lnTo>
                    <a:pt x="1671" y="717"/>
                  </a:lnTo>
                  <a:lnTo>
                    <a:pt x="1671" y="717"/>
                  </a:lnTo>
                  <a:lnTo>
                    <a:pt x="1669" y="719"/>
                  </a:lnTo>
                  <a:lnTo>
                    <a:pt x="1669" y="719"/>
                  </a:lnTo>
                  <a:lnTo>
                    <a:pt x="1669" y="721"/>
                  </a:lnTo>
                  <a:lnTo>
                    <a:pt x="1669" y="721"/>
                  </a:lnTo>
                  <a:lnTo>
                    <a:pt x="1669" y="721"/>
                  </a:lnTo>
                  <a:lnTo>
                    <a:pt x="1669" y="721"/>
                  </a:lnTo>
                  <a:lnTo>
                    <a:pt x="1669" y="721"/>
                  </a:lnTo>
                  <a:lnTo>
                    <a:pt x="1669" y="723"/>
                  </a:lnTo>
                  <a:lnTo>
                    <a:pt x="1669" y="723"/>
                  </a:lnTo>
                  <a:lnTo>
                    <a:pt x="1669" y="723"/>
                  </a:lnTo>
                  <a:lnTo>
                    <a:pt x="1667" y="725"/>
                  </a:lnTo>
                  <a:lnTo>
                    <a:pt x="1667" y="725"/>
                  </a:lnTo>
                  <a:lnTo>
                    <a:pt x="1667" y="725"/>
                  </a:lnTo>
                  <a:lnTo>
                    <a:pt x="1669" y="728"/>
                  </a:lnTo>
                  <a:lnTo>
                    <a:pt x="1669" y="728"/>
                  </a:lnTo>
                  <a:lnTo>
                    <a:pt x="1669" y="728"/>
                  </a:lnTo>
                  <a:lnTo>
                    <a:pt x="1671" y="728"/>
                  </a:lnTo>
                  <a:lnTo>
                    <a:pt x="1671" y="725"/>
                  </a:lnTo>
                  <a:lnTo>
                    <a:pt x="1673" y="725"/>
                  </a:lnTo>
                  <a:lnTo>
                    <a:pt x="1673" y="723"/>
                  </a:lnTo>
                  <a:lnTo>
                    <a:pt x="1673" y="723"/>
                  </a:lnTo>
                  <a:lnTo>
                    <a:pt x="1673" y="723"/>
                  </a:lnTo>
                  <a:lnTo>
                    <a:pt x="1671" y="721"/>
                  </a:lnTo>
                  <a:lnTo>
                    <a:pt x="1671" y="721"/>
                  </a:lnTo>
                  <a:lnTo>
                    <a:pt x="1671" y="719"/>
                  </a:lnTo>
                  <a:lnTo>
                    <a:pt x="1671" y="719"/>
                  </a:lnTo>
                  <a:lnTo>
                    <a:pt x="1673" y="719"/>
                  </a:lnTo>
                  <a:lnTo>
                    <a:pt x="1671" y="717"/>
                  </a:lnTo>
                  <a:lnTo>
                    <a:pt x="1673" y="717"/>
                  </a:lnTo>
                  <a:lnTo>
                    <a:pt x="1673" y="719"/>
                  </a:lnTo>
                  <a:lnTo>
                    <a:pt x="1673" y="719"/>
                  </a:lnTo>
                  <a:lnTo>
                    <a:pt x="1673" y="719"/>
                  </a:lnTo>
                  <a:lnTo>
                    <a:pt x="1673" y="719"/>
                  </a:lnTo>
                  <a:lnTo>
                    <a:pt x="1673" y="721"/>
                  </a:lnTo>
                  <a:lnTo>
                    <a:pt x="1673" y="721"/>
                  </a:lnTo>
                  <a:lnTo>
                    <a:pt x="1673" y="721"/>
                  </a:lnTo>
                  <a:lnTo>
                    <a:pt x="1673" y="721"/>
                  </a:lnTo>
                  <a:lnTo>
                    <a:pt x="1673" y="723"/>
                  </a:lnTo>
                  <a:lnTo>
                    <a:pt x="1673" y="723"/>
                  </a:lnTo>
                  <a:lnTo>
                    <a:pt x="1673" y="725"/>
                  </a:lnTo>
                  <a:lnTo>
                    <a:pt x="1673" y="728"/>
                  </a:lnTo>
                  <a:lnTo>
                    <a:pt x="1673" y="728"/>
                  </a:lnTo>
                  <a:lnTo>
                    <a:pt x="1675" y="728"/>
                  </a:lnTo>
                  <a:lnTo>
                    <a:pt x="1677" y="730"/>
                  </a:lnTo>
                  <a:lnTo>
                    <a:pt x="1677" y="728"/>
                  </a:lnTo>
                  <a:lnTo>
                    <a:pt x="1677" y="728"/>
                  </a:lnTo>
                  <a:lnTo>
                    <a:pt x="1677" y="725"/>
                  </a:lnTo>
                  <a:lnTo>
                    <a:pt x="1677" y="725"/>
                  </a:lnTo>
                  <a:lnTo>
                    <a:pt x="1677" y="725"/>
                  </a:lnTo>
                  <a:lnTo>
                    <a:pt x="1677" y="725"/>
                  </a:lnTo>
                  <a:lnTo>
                    <a:pt x="1679" y="725"/>
                  </a:lnTo>
                  <a:lnTo>
                    <a:pt x="1679" y="725"/>
                  </a:lnTo>
                  <a:lnTo>
                    <a:pt x="1679" y="723"/>
                  </a:lnTo>
                  <a:lnTo>
                    <a:pt x="1679" y="723"/>
                  </a:lnTo>
                  <a:lnTo>
                    <a:pt x="1679" y="721"/>
                  </a:lnTo>
                  <a:lnTo>
                    <a:pt x="1679" y="719"/>
                  </a:lnTo>
                  <a:lnTo>
                    <a:pt x="1679" y="719"/>
                  </a:lnTo>
                  <a:lnTo>
                    <a:pt x="1679" y="719"/>
                  </a:lnTo>
                  <a:lnTo>
                    <a:pt x="1679" y="717"/>
                  </a:lnTo>
                  <a:lnTo>
                    <a:pt x="1677" y="717"/>
                  </a:lnTo>
                  <a:lnTo>
                    <a:pt x="1677" y="717"/>
                  </a:lnTo>
                  <a:lnTo>
                    <a:pt x="1677" y="717"/>
                  </a:lnTo>
                  <a:lnTo>
                    <a:pt x="1677" y="715"/>
                  </a:lnTo>
                  <a:lnTo>
                    <a:pt x="1677" y="715"/>
                  </a:lnTo>
                  <a:lnTo>
                    <a:pt x="1677" y="715"/>
                  </a:lnTo>
                  <a:lnTo>
                    <a:pt x="1679" y="715"/>
                  </a:lnTo>
                  <a:lnTo>
                    <a:pt x="1679" y="717"/>
                  </a:lnTo>
                  <a:lnTo>
                    <a:pt x="1679" y="717"/>
                  </a:lnTo>
                  <a:lnTo>
                    <a:pt x="1679" y="715"/>
                  </a:lnTo>
                  <a:lnTo>
                    <a:pt x="1679" y="715"/>
                  </a:lnTo>
                  <a:lnTo>
                    <a:pt x="1679" y="715"/>
                  </a:lnTo>
                  <a:lnTo>
                    <a:pt x="1679" y="713"/>
                  </a:lnTo>
                  <a:lnTo>
                    <a:pt x="1677" y="713"/>
                  </a:lnTo>
                  <a:lnTo>
                    <a:pt x="1677" y="713"/>
                  </a:lnTo>
                  <a:lnTo>
                    <a:pt x="1677" y="711"/>
                  </a:lnTo>
                  <a:lnTo>
                    <a:pt x="1677" y="711"/>
                  </a:lnTo>
                  <a:lnTo>
                    <a:pt x="1677" y="711"/>
                  </a:lnTo>
                  <a:lnTo>
                    <a:pt x="1677" y="711"/>
                  </a:lnTo>
                  <a:lnTo>
                    <a:pt x="1677" y="709"/>
                  </a:lnTo>
                  <a:lnTo>
                    <a:pt x="1675" y="707"/>
                  </a:lnTo>
                  <a:lnTo>
                    <a:pt x="1677" y="707"/>
                  </a:lnTo>
                  <a:lnTo>
                    <a:pt x="1677" y="707"/>
                  </a:lnTo>
                  <a:lnTo>
                    <a:pt x="1677" y="707"/>
                  </a:lnTo>
                  <a:lnTo>
                    <a:pt x="1677" y="707"/>
                  </a:lnTo>
                  <a:lnTo>
                    <a:pt x="1677" y="707"/>
                  </a:lnTo>
                  <a:lnTo>
                    <a:pt x="1677" y="705"/>
                  </a:lnTo>
                  <a:lnTo>
                    <a:pt x="1675" y="703"/>
                  </a:lnTo>
                  <a:lnTo>
                    <a:pt x="1675" y="703"/>
                  </a:lnTo>
                  <a:lnTo>
                    <a:pt x="1675" y="703"/>
                  </a:lnTo>
                  <a:lnTo>
                    <a:pt x="1675" y="703"/>
                  </a:lnTo>
                  <a:lnTo>
                    <a:pt x="1675" y="701"/>
                  </a:lnTo>
                  <a:lnTo>
                    <a:pt x="1673" y="701"/>
                  </a:lnTo>
                  <a:lnTo>
                    <a:pt x="1671" y="699"/>
                  </a:lnTo>
                  <a:lnTo>
                    <a:pt x="1671" y="699"/>
                  </a:lnTo>
                  <a:lnTo>
                    <a:pt x="1671" y="697"/>
                  </a:lnTo>
                  <a:lnTo>
                    <a:pt x="1665" y="693"/>
                  </a:lnTo>
                  <a:lnTo>
                    <a:pt x="1663" y="693"/>
                  </a:lnTo>
                  <a:lnTo>
                    <a:pt x="1663" y="691"/>
                  </a:lnTo>
                  <a:lnTo>
                    <a:pt x="1661" y="691"/>
                  </a:lnTo>
                  <a:lnTo>
                    <a:pt x="1661" y="693"/>
                  </a:lnTo>
                  <a:lnTo>
                    <a:pt x="1659" y="693"/>
                  </a:lnTo>
                  <a:lnTo>
                    <a:pt x="1659" y="695"/>
                  </a:lnTo>
                  <a:lnTo>
                    <a:pt x="1657" y="695"/>
                  </a:lnTo>
                  <a:lnTo>
                    <a:pt x="1657" y="695"/>
                  </a:lnTo>
                  <a:lnTo>
                    <a:pt x="1657" y="695"/>
                  </a:lnTo>
                  <a:lnTo>
                    <a:pt x="1657" y="695"/>
                  </a:lnTo>
                  <a:lnTo>
                    <a:pt x="1657" y="697"/>
                  </a:lnTo>
                  <a:lnTo>
                    <a:pt x="1655" y="697"/>
                  </a:lnTo>
                  <a:lnTo>
                    <a:pt x="1653" y="697"/>
                  </a:lnTo>
                  <a:lnTo>
                    <a:pt x="1655" y="697"/>
                  </a:lnTo>
                  <a:lnTo>
                    <a:pt x="1655" y="699"/>
                  </a:lnTo>
                  <a:lnTo>
                    <a:pt x="1655" y="699"/>
                  </a:lnTo>
                  <a:lnTo>
                    <a:pt x="1657" y="699"/>
                  </a:lnTo>
                  <a:lnTo>
                    <a:pt x="1659" y="699"/>
                  </a:lnTo>
                  <a:lnTo>
                    <a:pt x="1659" y="699"/>
                  </a:lnTo>
                  <a:lnTo>
                    <a:pt x="1659" y="699"/>
                  </a:lnTo>
                  <a:lnTo>
                    <a:pt x="1653" y="701"/>
                  </a:lnTo>
                  <a:lnTo>
                    <a:pt x="1653" y="701"/>
                  </a:lnTo>
                  <a:lnTo>
                    <a:pt x="1653" y="703"/>
                  </a:lnTo>
                  <a:lnTo>
                    <a:pt x="1653" y="703"/>
                  </a:lnTo>
                  <a:lnTo>
                    <a:pt x="1655" y="703"/>
                  </a:lnTo>
                  <a:lnTo>
                    <a:pt x="1655" y="703"/>
                  </a:lnTo>
                  <a:lnTo>
                    <a:pt x="1655" y="703"/>
                  </a:lnTo>
                  <a:lnTo>
                    <a:pt x="1655" y="703"/>
                  </a:lnTo>
                  <a:lnTo>
                    <a:pt x="1657" y="703"/>
                  </a:lnTo>
                  <a:lnTo>
                    <a:pt x="1657" y="701"/>
                  </a:lnTo>
                  <a:lnTo>
                    <a:pt x="1657" y="701"/>
                  </a:lnTo>
                  <a:lnTo>
                    <a:pt x="1657" y="701"/>
                  </a:lnTo>
                  <a:lnTo>
                    <a:pt x="1657" y="701"/>
                  </a:lnTo>
                  <a:lnTo>
                    <a:pt x="1657" y="701"/>
                  </a:lnTo>
                  <a:lnTo>
                    <a:pt x="1657" y="701"/>
                  </a:lnTo>
                  <a:lnTo>
                    <a:pt x="1659" y="703"/>
                  </a:lnTo>
                  <a:lnTo>
                    <a:pt x="1659" y="703"/>
                  </a:lnTo>
                  <a:lnTo>
                    <a:pt x="1657" y="703"/>
                  </a:lnTo>
                  <a:lnTo>
                    <a:pt x="1655" y="705"/>
                  </a:lnTo>
                  <a:lnTo>
                    <a:pt x="1655" y="705"/>
                  </a:lnTo>
                  <a:lnTo>
                    <a:pt x="1653" y="705"/>
                  </a:lnTo>
                  <a:lnTo>
                    <a:pt x="1653" y="707"/>
                  </a:lnTo>
                  <a:lnTo>
                    <a:pt x="1653" y="709"/>
                  </a:lnTo>
                  <a:lnTo>
                    <a:pt x="1655" y="709"/>
                  </a:lnTo>
                  <a:lnTo>
                    <a:pt x="1655" y="707"/>
                  </a:lnTo>
                  <a:lnTo>
                    <a:pt x="1655" y="707"/>
                  </a:lnTo>
                  <a:lnTo>
                    <a:pt x="1657" y="705"/>
                  </a:lnTo>
                  <a:lnTo>
                    <a:pt x="1659" y="705"/>
                  </a:lnTo>
                  <a:lnTo>
                    <a:pt x="1659" y="705"/>
                  </a:lnTo>
                  <a:lnTo>
                    <a:pt x="1659" y="705"/>
                  </a:lnTo>
                  <a:lnTo>
                    <a:pt x="1659" y="705"/>
                  </a:lnTo>
                  <a:lnTo>
                    <a:pt x="1657" y="707"/>
                  </a:lnTo>
                  <a:lnTo>
                    <a:pt x="1657" y="707"/>
                  </a:lnTo>
                  <a:lnTo>
                    <a:pt x="1657" y="707"/>
                  </a:lnTo>
                  <a:lnTo>
                    <a:pt x="1657" y="707"/>
                  </a:lnTo>
                  <a:lnTo>
                    <a:pt x="1655" y="707"/>
                  </a:lnTo>
                  <a:lnTo>
                    <a:pt x="1655" y="707"/>
                  </a:lnTo>
                  <a:lnTo>
                    <a:pt x="1657" y="709"/>
                  </a:lnTo>
                  <a:lnTo>
                    <a:pt x="1657" y="709"/>
                  </a:lnTo>
                  <a:lnTo>
                    <a:pt x="1657" y="709"/>
                  </a:lnTo>
                  <a:lnTo>
                    <a:pt x="1655" y="709"/>
                  </a:lnTo>
                  <a:lnTo>
                    <a:pt x="1655" y="709"/>
                  </a:lnTo>
                  <a:lnTo>
                    <a:pt x="1655" y="709"/>
                  </a:lnTo>
                  <a:lnTo>
                    <a:pt x="1655" y="709"/>
                  </a:lnTo>
                  <a:lnTo>
                    <a:pt x="1655" y="709"/>
                  </a:lnTo>
                  <a:lnTo>
                    <a:pt x="1655" y="711"/>
                  </a:lnTo>
                  <a:lnTo>
                    <a:pt x="1655" y="711"/>
                  </a:lnTo>
                  <a:lnTo>
                    <a:pt x="1655" y="711"/>
                  </a:lnTo>
                  <a:lnTo>
                    <a:pt x="1655" y="713"/>
                  </a:lnTo>
                  <a:lnTo>
                    <a:pt x="1657" y="713"/>
                  </a:lnTo>
                  <a:lnTo>
                    <a:pt x="1657" y="713"/>
                  </a:lnTo>
                  <a:lnTo>
                    <a:pt x="1659" y="713"/>
                  </a:lnTo>
                  <a:lnTo>
                    <a:pt x="1659" y="715"/>
                  </a:lnTo>
                  <a:lnTo>
                    <a:pt x="1659" y="715"/>
                  </a:lnTo>
                  <a:lnTo>
                    <a:pt x="1657" y="715"/>
                  </a:lnTo>
                  <a:lnTo>
                    <a:pt x="1657" y="715"/>
                  </a:lnTo>
                  <a:lnTo>
                    <a:pt x="1657" y="715"/>
                  </a:lnTo>
                  <a:lnTo>
                    <a:pt x="1657" y="717"/>
                  </a:lnTo>
                  <a:lnTo>
                    <a:pt x="1657" y="717"/>
                  </a:lnTo>
                  <a:lnTo>
                    <a:pt x="1655" y="721"/>
                  </a:lnTo>
                  <a:lnTo>
                    <a:pt x="1655" y="721"/>
                  </a:lnTo>
                  <a:lnTo>
                    <a:pt x="1655" y="721"/>
                  </a:lnTo>
                  <a:lnTo>
                    <a:pt x="1657" y="723"/>
                  </a:lnTo>
                  <a:lnTo>
                    <a:pt x="1659" y="723"/>
                  </a:lnTo>
                  <a:lnTo>
                    <a:pt x="1659" y="723"/>
                  </a:lnTo>
                  <a:lnTo>
                    <a:pt x="1659" y="723"/>
                  </a:lnTo>
                  <a:lnTo>
                    <a:pt x="1659" y="723"/>
                  </a:lnTo>
                  <a:lnTo>
                    <a:pt x="1661" y="725"/>
                  </a:lnTo>
                  <a:lnTo>
                    <a:pt x="1661" y="725"/>
                  </a:lnTo>
                  <a:lnTo>
                    <a:pt x="1663" y="725"/>
                  </a:lnTo>
                  <a:lnTo>
                    <a:pt x="1665" y="728"/>
                  </a:lnTo>
                  <a:lnTo>
                    <a:pt x="1665" y="728"/>
                  </a:lnTo>
                  <a:lnTo>
                    <a:pt x="1665" y="725"/>
                  </a:lnTo>
                  <a:close/>
                  <a:moveTo>
                    <a:pt x="756" y="816"/>
                  </a:moveTo>
                  <a:lnTo>
                    <a:pt x="756" y="816"/>
                  </a:lnTo>
                  <a:lnTo>
                    <a:pt x="756" y="816"/>
                  </a:lnTo>
                  <a:lnTo>
                    <a:pt x="754" y="816"/>
                  </a:lnTo>
                  <a:lnTo>
                    <a:pt x="752" y="818"/>
                  </a:lnTo>
                  <a:lnTo>
                    <a:pt x="750" y="818"/>
                  </a:lnTo>
                  <a:lnTo>
                    <a:pt x="750" y="820"/>
                  </a:lnTo>
                  <a:lnTo>
                    <a:pt x="750" y="818"/>
                  </a:lnTo>
                  <a:lnTo>
                    <a:pt x="756" y="816"/>
                  </a:lnTo>
                  <a:lnTo>
                    <a:pt x="756" y="816"/>
                  </a:lnTo>
                  <a:close/>
                  <a:moveTo>
                    <a:pt x="1602" y="725"/>
                  </a:moveTo>
                  <a:lnTo>
                    <a:pt x="1604" y="725"/>
                  </a:lnTo>
                  <a:lnTo>
                    <a:pt x="1604" y="725"/>
                  </a:lnTo>
                  <a:lnTo>
                    <a:pt x="1604" y="723"/>
                  </a:lnTo>
                  <a:lnTo>
                    <a:pt x="1604" y="721"/>
                  </a:lnTo>
                  <a:lnTo>
                    <a:pt x="1604" y="721"/>
                  </a:lnTo>
                  <a:lnTo>
                    <a:pt x="1604" y="721"/>
                  </a:lnTo>
                  <a:lnTo>
                    <a:pt x="1604" y="721"/>
                  </a:lnTo>
                  <a:lnTo>
                    <a:pt x="1606" y="723"/>
                  </a:lnTo>
                  <a:lnTo>
                    <a:pt x="1606" y="721"/>
                  </a:lnTo>
                  <a:lnTo>
                    <a:pt x="1606" y="721"/>
                  </a:lnTo>
                  <a:lnTo>
                    <a:pt x="1608" y="719"/>
                  </a:lnTo>
                  <a:lnTo>
                    <a:pt x="1608" y="719"/>
                  </a:lnTo>
                  <a:lnTo>
                    <a:pt x="1608" y="717"/>
                  </a:lnTo>
                  <a:lnTo>
                    <a:pt x="1608" y="717"/>
                  </a:lnTo>
                  <a:lnTo>
                    <a:pt x="1608" y="719"/>
                  </a:lnTo>
                  <a:lnTo>
                    <a:pt x="1608" y="719"/>
                  </a:lnTo>
                  <a:lnTo>
                    <a:pt x="1606" y="719"/>
                  </a:lnTo>
                  <a:lnTo>
                    <a:pt x="1604" y="721"/>
                  </a:lnTo>
                  <a:lnTo>
                    <a:pt x="1604" y="721"/>
                  </a:lnTo>
                  <a:lnTo>
                    <a:pt x="1604" y="719"/>
                  </a:lnTo>
                  <a:lnTo>
                    <a:pt x="1604" y="719"/>
                  </a:lnTo>
                  <a:lnTo>
                    <a:pt x="1602" y="719"/>
                  </a:lnTo>
                  <a:lnTo>
                    <a:pt x="1602" y="719"/>
                  </a:lnTo>
                  <a:lnTo>
                    <a:pt x="1602" y="719"/>
                  </a:lnTo>
                  <a:lnTo>
                    <a:pt x="1600" y="719"/>
                  </a:lnTo>
                  <a:lnTo>
                    <a:pt x="1600" y="719"/>
                  </a:lnTo>
                  <a:lnTo>
                    <a:pt x="1600" y="721"/>
                  </a:lnTo>
                  <a:lnTo>
                    <a:pt x="1600" y="721"/>
                  </a:lnTo>
                  <a:lnTo>
                    <a:pt x="1600" y="719"/>
                  </a:lnTo>
                  <a:lnTo>
                    <a:pt x="1600" y="719"/>
                  </a:lnTo>
                  <a:lnTo>
                    <a:pt x="1598" y="719"/>
                  </a:lnTo>
                  <a:lnTo>
                    <a:pt x="1598" y="721"/>
                  </a:lnTo>
                  <a:lnTo>
                    <a:pt x="1600" y="721"/>
                  </a:lnTo>
                  <a:lnTo>
                    <a:pt x="1600" y="721"/>
                  </a:lnTo>
                  <a:lnTo>
                    <a:pt x="1598" y="721"/>
                  </a:lnTo>
                  <a:lnTo>
                    <a:pt x="1598" y="721"/>
                  </a:lnTo>
                  <a:lnTo>
                    <a:pt x="1598" y="723"/>
                  </a:lnTo>
                  <a:lnTo>
                    <a:pt x="1600" y="725"/>
                  </a:lnTo>
                  <a:lnTo>
                    <a:pt x="1602" y="725"/>
                  </a:lnTo>
                  <a:close/>
                  <a:moveTo>
                    <a:pt x="1606" y="717"/>
                  </a:moveTo>
                  <a:lnTo>
                    <a:pt x="1606" y="717"/>
                  </a:lnTo>
                  <a:lnTo>
                    <a:pt x="1606" y="717"/>
                  </a:lnTo>
                  <a:lnTo>
                    <a:pt x="1608" y="717"/>
                  </a:lnTo>
                  <a:lnTo>
                    <a:pt x="1608" y="717"/>
                  </a:lnTo>
                  <a:lnTo>
                    <a:pt x="1608" y="717"/>
                  </a:lnTo>
                  <a:lnTo>
                    <a:pt x="1608" y="719"/>
                  </a:lnTo>
                  <a:lnTo>
                    <a:pt x="1610" y="719"/>
                  </a:lnTo>
                  <a:lnTo>
                    <a:pt x="1610" y="719"/>
                  </a:lnTo>
                  <a:lnTo>
                    <a:pt x="1610" y="719"/>
                  </a:lnTo>
                  <a:lnTo>
                    <a:pt x="1610" y="719"/>
                  </a:lnTo>
                  <a:lnTo>
                    <a:pt x="1610" y="719"/>
                  </a:lnTo>
                  <a:lnTo>
                    <a:pt x="1610" y="719"/>
                  </a:lnTo>
                  <a:lnTo>
                    <a:pt x="1610" y="717"/>
                  </a:lnTo>
                  <a:lnTo>
                    <a:pt x="1610" y="717"/>
                  </a:lnTo>
                  <a:lnTo>
                    <a:pt x="1610" y="715"/>
                  </a:lnTo>
                  <a:lnTo>
                    <a:pt x="1610" y="715"/>
                  </a:lnTo>
                  <a:lnTo>
                    <a:pt x="1608" y="715"/>
                  </a:lnTo>
                  <a:lnTo>
                    <a:pt x="1608" y="715"/>
                  </a:lnTo>
                  <a:lnTo>
                    <a:pt x="1608" y="715"/>
                  </a:lnTo>
                  <a:lnTo>
                    <a:pt x="1608" y="713"/>
                  </a:lnTo>
                  <a:lnTo>
                    <a:pt x="1608" y="713"/>
                  </a:lnTo>
                  <a:lnTo>
                    <a:pt x="1606" y="713"/>
                  </a:lnTo>
                  <a:lnTo>
                    <a:pt x="1606" y="713"/>
                  </a:lnTo>
                  <a:lnTo>
                    <a:pt x="1606" y="715"/>
                  </a:lnTo>
                  <a:lnTo>
                    <a:pt x="1606" y="715"/>
                  </a:lnTo>
                  <a:lnTo>
                    <a:pt x="1606" y="715"/>
                  </a:lnTo>
                  <a:lnTo>
                    <a:pt x="1606" y="715"/>
                  </a:lnTo>
                  <a:lnTo>
                    <a:pt x="1608" y="715"/>
                  </a:lnTo>
                  <a:lnTo>
                    <a:pt x="1606" y="717"/>
                  </a:lnTo>
                  <a:lnTo>
                    <a:pt x="1606" y="717"/>
                  </a:lnTo>
                  <a:close/>
                  <a:moveTo>
                    <a:pt x="1606" y="738"/>
                  </a:moveTo>
                  <a:lnTo>
                    <a:pt x="1606" y="738"/>
                  </a:lnTo>
                  <a:lnTo>
                    <a:pt x="1606" y="738"/>
                  </a:lnTo>
                  <a:lnTo>
                    <a:pt x="1606" y="738"/>
                  </a:lnTo>
                  <a:lnTo>
                    <a:pt x="1608" y="740"/>
                  </a:lnTo>
                  <a:lnTo>
                    <a:pt x="1608" y="740"/>
                  </a:lnTo>
                  <a:lnTo>
                    <a:pt x="1608" y="738"/>
                  </a:lnTo>
                  <a:lnTo>
                    <a:pt x="1610" y="738"/>
                  </a:lnTo>
                  <a:lnTo>
                    <a:pt x="1610" y="738"/>
                  </a:lnTo>
                  <a:lnTo>
                    <a:pt x="1610" y="738"/>
                  </a:lnTo>
                  <a:lnTo>
                    <a:pt x="1610" y="736"/>
                  </a:lnTo>
                  <a:lnTo>
                    <a:pt x="1610" y="736"/>
                  </a:lnTo>
                  <a:lnTo>
                    <a:pt x="1610" y="736"/>
                  </a:lnTo>
                  <a:lnTo>
                    <a:pt x="1610" y="734"/>
                  </a:lnTo>
                  <a:lnTo>
                    <a:pt x="1608" y="734"/>
                  </a:lnTo>
                  <a:lnTo>
                    <a:pt x="1606" y="734"/>
                  </a:lnTo>
                  <a:lnTo>
                    <a:pt x="1606" y="734"/>
                  </a:lnTo>
                  <a:lnTo>
                    <a:pt x="1606" y="736"/>
                  </a:lnTo>
                  <a:lnTo>
                    <a:pt x="1606" y="736"/>
                  </a:lnTo>
                  <a:lnTo>
                    <a:pt x="1606" y="738"/>
                  </a:lnTo>
                  <a:close/>
                  <a:moveTo>
                    <a:pt x="1598" y="713"/>
                  </a:moveTo>
                  <a:lnTo>
                    <a:pt x="1598" y="713"/>
                  </a:lnTo>
                  <a:lnTo>
                    <a:pt x="1600" y="711"/>
                  </a:lnTo>
                  <a:lnTo>
                    <a:pt x="1600" y="711"/>
                  </a:lnTo>
                  <a:lnTo>
                    <a:pt x="1600" y="709"/>
                  </a:lnTo>
                  <a:lnTo>
                    <a:pt x="1600" y="709"/>
                  </a:lnTo>
                  <a:lnTo>
                    <a:pt x="1602" y="709"/>
                  </a:lnTo>
                  <a:lnTo>
                    <a:pt x="1602" y="709"/>
                  </a:lnTo>
                  <a:lnTo>
                    <a:pt x="1602" y="709"/>
                  </a:lnTo>
                  <a:lnTo>
                    <a:pt x="1604" y="709"/>
                  </a:lnTo>
                  <a:lnTo>
                    <a:pt x="1604" y="709"/>
                  </a:lnTo>
                  <a:lnTo>
                    <a:pt x="1604" y="709"/>
                  </a:lnTo>
                  <a:lnTo>
                    <a:pt x="1604" y="707"/>
                  </a:lnTo>
                  <a:lnTo>
                    <a:pt x="1604" y="707"/>
                  </a:lnTo>
                  <a:lnTo>
                    <a:pt x="1604" y="705"/>
                  </a:lnTo>
                  <a:lnTo>
                    <a:pt x="1604" y="705"/>
                  </a:lnTo>
                  <a:lnTo>
                    <a:pt x="1604" y="705"/>
                  </a:lnTo>
                  <a:lnTo>
                    <a:pt x="1604" y="705"/>
                  </a:lnTo>
                  <a:lnTo>
                    <a:pt x="1604" y="703"/>
                  </a:lnTo>
                  <a:lnTo>
                    <a:pt x="1604" y="701"/>
                  </a:lnTo>
                  <a:lnTo>
                    <a:pt x="1604" y="701"/>
                  </a:lnTo>
                  <a:lnTo>
                    <a:pt x="1602" y="701"/>
                  </a:lnTo>
                  <a:lnTo>
                    <a:pt x="1602" y="701"/>
                  </a:lnTo>
                  <a:lnTo>
                    <a:pt x="1600" y="701"/>
                  </a:lnTo>
                  <a:lnTo>
                    <a:pt x="1600" y="701"/>
                  </a:lnTo>
                  <a:lnTo>
                    <a:pt x="1600" y="703"/>
                  </a:lnTo>
                  <a:lnTo>
                    <a:pt x="1600" y="703"/>
                  </a:lnTo>
                  <a:lnTo>
                    <a:pt x="1598" y="703"/>
                  </a:lnTo>
                  <a:lnTo>
                    <a:pt x="1598" y="705"/>
                  </a:lnTo>
                  <a:lnTo>
                    <a:pt x="1598" y="705"/>
                  </a:lnTo>
                  <a:lnTo>
                    <a:pt x="1598" y="705"/>
                  </a:lnTo>
                  <a:lnTo>
                    <a:pt x="1595" y="705"/>
                  </a:lnTo>
                  <a:lnTo>
                    <a:pt x="1593" y="705"/>
                  </a:lnTo>
                  <a:lnTo>
                    <a:pt x="1593" y="705"/>
                  </a:lnTo>
                  <a:lnTo>
                    <a:pt x="1595" y="707"/>
                  </a:lnTo>
                  <a:lnTo>
                    <a:pt x="1598" y="705"/>
                  </a:lnTo>
                  <a:lnTo>
                    <a:pt x="1598" y="705"/>
                  </a:lnTo>
                  <a:lnTo>
                    <a:pt x="1598" y="707"/>
                  </a:lnTo>
                  <a:lnTo>
                    <a:pt x="1598" y="707"/>
                  </a:lnTo>
                  <a:lnTo>
                    <a:pt x="1595" y="707"/>
                  </a:lnTo>
                  <a:lnTo>
                    <a:pt x="1593" y="709"/>
                  </a:lnTo>
                  <a:lnTo>
                    <a:pt x="1593" y="709"/>
                  </a:lnTo>
                  <a:lnTo>
                    <a:pt x="1593" y="709"/>
                  </a:lnTo>
                  <a:lnTo>
                    <a:pt x="1593" y="709"/>
                  </a:lnTo>
                  <a:lnTo>
                    <a:pt x="1591" y="713"/>
                  </a:lnTo>
                  <a:lnTo>
                    <a:pt x="1591" y="715"/>
                  </a:lnTo>
                  <a:lnTo>
                    <a:pt x="1593" y="717"/>
                  </a:lnTo>
                  <a:lnTo>
                    <a:pt x="1593" y="717"/>
                  </a:lnTo>
                  <a:lnTo>
                    <a:pt x="1593" y="717"/>
                  </a:lnTo>
                  <a:lnTo>
                    <a:pt x="1595" y="717"/>
                  </a:lnTo>
                  <a:lnTo>
                    <a:pt x="1595" y="717"/>
                  </a:lnTo>
                  <a:lnTo>
                    <a:pt x="1595" y="717"/>
                  </a:lnTo>
                  <a:lnTo>
                    <a:pt x="1595" y="715"/>
                  </a:lnTo>
                  <a:lnTo>
                    <a:pt x="1598" y="715"/>
                  </a:lnTo>
                  <a:lnTo>
                    <a:pt x="1598" y="715"/>
                  </a:lnTo>
                  <a:lnTo>
                    <a:pt x="1598" y="715"/>
                  </a:lnTo>
                  <a:lnTo>
                    <a:pt x="1595" y="715"/>
                  </a:lnTo>
                  <a:lnTo>
                    <a:pt x="1595" y="713"/>
                  </a:lnTo>
                  <a:lnTo>
                    <a:pt x="1595" y="713"/>
                  </a:lnTo>
                  <a:lnTo>
                    <a:pt x="1598" y="713"/>
                  </a:lnTo>
                  <a:close/>
                  <a:moveTo>
                    <a:pt x="1606" y="736"/>
                  </a:moveTo>
                  <a:lnTo>
                    <a:pt x="1606" y="736"/>
                  </a:lnTo>
                  <a:lnTo>
                    <a:pt x="1604" y="734"/>
                  </a:lnTo>
                  <a:lnTo>
                    <a:pt x="1604" y="734"/>
                  </a:lnTo>
                  <a:lnTo>
                    <a:pt x="1604" y="734"/>
                  </a:lnTo>
                  <a:lnTo>
                    <a:pt x="1602" y="734"/>
                  </a:lnTo>
                  <a:lnTo>
                    <a:pt x="1602" y="734"/>
                  </a:lnTo>
                  <a:lnTo>
                    <a:pt x="1600" y="734"/>
                  </a:lnTo>
                  <a:lnTo>
                    <a:pt x="1600" y="734"/>
                  </a:lnTo>
                  <a:lnTo>
                    <a:pt x="1600" y="736"/>
                  </a:lnTo>
                  <a:lnTo>
                    <a:pt x="1600" y="736"/>
                  </a:lnTo>
                  <a:lnTo>
                    <a:pt x="1600" y="736"/>
                  </a:lnTo>
                  <a:lnTo>
                    <a:pt x="1600" y="736"/>
                  </a:lnTo>
                  <a:lnTo>
                    <a:pt x="1600" y="736"/>
                  </a:lnTo>
                  <a:lnTo>
                    <a:pt x="1602" y="736"/>
                  </a:lnTo>
                  <a:lnTo>
                    <a:pt x="1602" y="736"/>
                  </a:lnTo>
                  <a:lnTo>
                    <a:pt x="1602" y="736"/>
                  </a:lnTo>
                  <a:lnTo>
                    <a:pt x="1600" y="738"/>
                  </a:lnTo>
                  <a:lnTo>
                    <a:pt x="1600" y="740"/>
                  </a:lnTo>
                  <a:lnTo>
                    <a:pt x="1600" y="740"/>
                  </a:lnTo>
                  <a:lnTo>
                    <a:pt x="1600" y="740"/>
                  </a:lnTo>
                  <a:lnTo>
                    <a:pt x="1600" y="740"/>
                  </a:lnTo>
                  <a:lnTo>
                    <a:pt x="1602" y="740"/>
                  </a:lnTo>
                  <a:lnTo>
                    <a:pt x="1602" y="738"/>
                  </a:lnTo>
                  <a:lnTo>
                    <a:pt x="1602" y="738"/>
                  </a:lnTo>
                  <a:lnTo>
                    <a:pt x="1604" y="740"/>
                  </a:lnTo>
                  <a:lnTo>
                    <a:pt x="1604" y="740"/>
                  </a:lnTo>
                  <a:lnTo>
                    <a:pt x="1604" y="738"/>
                  </a:lnTo>
                  <a:lnTo>
                    <a:pt x="1604" y="738"/>
                  </a:lnTo>
                  <a:lnTo>
                    <a:pt x="1604" y="736"/>
                  </a:lnTo>
                  <a:lnTo>
                    <a:pt x="1606" y="736"/>
                  </a:lnTo>
                  <a:close/>
                  <a:moveTo>
                    <a:pt x="1616" y="672"/>
                  </a:moveTo>
                  <a:lnTo>
                    <a:pt x="1616" y="672"/>
                  </a:lnTo>
                  <a:lnTo>
                    <a:pt x="1616" y="672"/>
                  </a:lnTo>
                  <a:lnTo>
                    <a:pt x="1616" y="672"/>
                  </a:lnTo>
                  <a:lnTo>
                    <a:pt x="1614" y="672"/>
                  </a:lnTo>
                  <a:lnTo>
                    <a:pt x="1614" y="672"/>
                  </a:lnTo>
                  <a:lnTo>
                    <a:pt x="1614" y="672"/>
                  </a:lnTo>
                  <a:lnTo>
                    <a:pt x="1614" y="670"/>
                  </a:lnTo>
                  <a:lnTo>
                    <a:pt x="1614" y="670"/>
                  </a:lnTo>
                  <a:lnTo>
                    <a:pt x="1612" y="670"/>
                  </a:lnTo>
                  <a:lnTo>
                    <a:pt x="1612" y="670"/>
                  </a:lnTo>
                  <a:lnTo>
                    <a:pt x="1612" y="670"/>
                  </a:lnTo>
                  <a:lnTo>
                    <a:pt x="1612" y="670"/>
                  </a:lnTo>
                  <a:lnTo>
                    <a:pt x="1612" y="668"/>
                  </a:lnTo>
                  <a:lnTo>
                    <a:pt x="1610" y="668"/>
                  </a:lnTo>
                  <a:lnTo>
                    <a:pt x="1610" y="668"/>
                  </a:lnTo>
                  <a:lnTo>
                    <a:pt x="1610" y="668"/>
                  </a:lnTo>
                  <a:lnTo>
                    <a:pt x="1608" y="668"/>
                  </a:lnTo>
                  <a:lnTo>
                    <a:pt x="1608" y="666"/>
                  </a:lnTo>
                  <a:lnTo>
                    <a:pt x="1608" y="666"/>
                  </a:lnTo>
                  <a:lnTo>
                    <a:pt x="1606" y="664"/>
                  </a:lnTo>
                  <a:lnTo>
                    <a:pt x="1604" y="664"/>
                  </a:lnTo>
                  <a:lnTo>
                    <a:pt x="1604" y="666"/>
                  </a:lnTo>
                  <a:lnTo>
                    <a:pt x="1604" y="666"/>
                  </a:lnTo>
                  <a:lnTo>
                    <a:pt x="1602" y="664"/>
                  </a:lnTo>
                  <a:lnTo>
                    <a:pt x="1602" y="666"/>
                  </a:lnTo>
                  <a:lnTo>
                    <a:pt x="1602" y="666"/>
                  </a:lnTo>
                  <a:lnTo>
                    <a:pt x="1602" y="666"/>
                  </a:lnTo>
                  <a:lnTo>
                    <a:pt x="1604" y="668"/>
                  </a:lnTo>
                  <a:lnTo>
                    <a:pt x="1604" y="668"/>
                  </a:lnTo>
                  <a:lnTo>
                    <a:pt x="1604" y="668"/>
                  </a:lnTo>
                  <a:lnTo>
                    <a:pt x="1604" y="670"/>
                  </a:lnTo>
                  <a:lnTo>
                    <a:pt x="1604" y="670"/>
                  </a:lnTo>
                  <a:lnTo>
                    <a:pt x="1604" y="670"/>
                  </a:lnTo>
                  <a:lnTo>
                    <a:pt x="1606" y="672"/>
                  </a:lnTo>
                  <a:lnTo>
                    <a:pt x="1606" y="672"/>
                  </a:lnTo>
                  <a:lnTo>
                    <a:pt x="1606" y="674"/>
                  </a:lnTo>
                  <a:lnTo>
                    <a:pt x="1606" y="674"/>
                  </a:lnTo>
                  <a:lnTo>
                    <a:pt x="1606" y="674"/>
                  </a:lnTo>
                  <a:lnTo>
                    <a:pt x="1604" y="676"/>
                  </a:lnTo>
                  <a:lnTo>
                    <a:pt x="1606" y="676"/>
                  </a:lnTo>
                  <a:lnTo>
                    <a:pt x="1606" y="678"/>
                  </a:lnTo>
                  <a:lnTo>
                    <a:pt x="1606" y="680"/>
                  </a:lnTo>
                  <a:lnTo>
                    <a:pt x="1608" y="680"/>
                  </a:lnTo>
                  <a:lnTo>
                    <a:pt x="1610" y="680"/>
                  </a:lnTo>
                  <a:lnTo>
                    <a:pt x="1612" y="678"/>
                  </a:lnTo>
                  <a:lnTo>
                    <a:pt x="1612" y="678"/>
                  </a:lnTo>
                  <a:lnTo>
                    <a:pt x="1612" y="678"/>
                  </a:lnTo>
                  <a:lnTo>
                    <a:pt x="1612" y="678"/>
                  </a:lnTo>
                  <a:lnTo>
                    <a:pt x="1610" y="676"/>
                  </a:lnTo>
                  <a:lnTo>
                    <a:pt x="1612" y="676"/>
                  </a:lnTo>
                  <a:lnTo>
                    <a:pt x="1612" y="676"/>
                  </a:lnTo>
                  <a:lnTo>
                    <a:pt x="1612" y="676"/>
                  </a:lnTo>
                  <a:lnTo>
                    <a:pt x="1612" y="676"/>
                  </a:lnTo>
                  <a:lnTo>
                    <a:pt x="1614" y="676"/>
                  </a:lnTo>
                  <a:lnTo>
                    <a:pt x="1614" y="676"/>
                  </a:lnTo>
                  <a:lnTo>
                    <a:pt x="1614" y="676"/>
                  </a:lnTo>
                  <a:lnTo>
                    <a:pt x="1614" y="676"/>
                  </a:lnTo>
                  <a:lnTo>
                    <a:pt x="1614" y="674"/>
                  </a:lnTo>
                  <a:lnTo>
                    <a:pt x="1616" y="674"/>
                  </a:lnTo>
                  <a:lnTo>
                    <a:pt x="1616" y="674"/>
                  </a:lnTo>
                  <a:lnTo>
                    <a:pt x="1616" y="674"/>
                  </a:lnTo>
                  <a:lnTo>
                    <a:pt x="1616" y="672"/>
                  </a:lnTo>
                  <a:lnTo>
                    <a:pt x="1616" y="672"/>
                  </a:lnTo>
                  <a:lnTo>
                    <a:pt x="1616" y="672"/>
                  </a:lnTo>
                  <a:lnTo>
                    <a:pt x="1616" y="672"/>
                  </a:lnTo>
                  <a:close/>
                  <a:moveTo>
                    <a:pt x="1589" y="717"/>
                  </a:moveTo>
                  <a:lnTo>
                    <a:pt x="1589" y="717"/>
                  </a:lnTo>
                  <a:lnTo>
                    <a:pt x="1589" y="717"/>
                  </a:lnTo>
                  <a:lnTo>
                    <a:pt x="1589" y="719"/>
                  </a:lnTo>
                  <a:lnTo>
                    <a:pt x="1589" y="719"/>
                  </a:lnTo>
                  <a:lnTo>
                    <a:pt x="1589" y="719"/>
                  </a:lnTo>
                  <a:lnTo>
                    <a:pt x="1589" y="721"/>
                  </a:lnTo>
                  <a:lnTo>
                    <a:pt x="1591" y="721"/>
                  </a:lnTo>
                  <a:lnTo>
                    <a:pt x="1591" y="719"/>
                  </a:lnTo>
                  <a:lnTo>
                    <a:pt x="1591" y="717"/>
                  </a:lnTo>
                  <a:lnTo>
                    <a:pt x="1589" y="717"/>
                  </a:lnTo>
                  <a:close/>
                  <a:moveTo>
                    <a:pt x="1661" y="725"/>
                  </a:moveTo>
                  <a:lnTo>
                    <a:pt x="1655" y="723"/>
                  </a:lnTo>
                  <a:lnTo>
                    <a:pt x="1655" y="723"/>
                  </a:lnTo>
                  <a:lnTo>
                    <a:pt x="1655" y="723"/>
                  </a:lnTo>
                  <a:lnTo>
                    <a:pt x="1655" y="725"/>
                  </a:lnTo>
                  <a:lnTo>
                    <a:pt x="1655" y="725"/>
                  </a:lnTo>
                  <a:lnTo>
                    <a:pt x="1655" y="725"/>
                  </a:lnTo>
                  <a:lnTo>
                    <a:pt x="1655" y="725"/>
                  </a:lnTo>
                  <a:lnTo>
                    <a:pt x="1655" y="728"/>
                  </a:lnTo>
                  <a:lnTo>
                    <a:pt x="1657" y="728"/>
                  </a:lnTo>
                  <a:lnTo>
                    <a:pt x="1657" y="730"/>
                  </a:lnTo>
                  <a:lnTo>
                    <a:pt x="1659" y="734"/>
                  </a:lnTo>
                  <a:lnTo>
                    <a:pt x="1661" y="736"/>
                  </a:lnTo>
                  <a:lnTo>
                    <a:pt x="1661" y="736"/>
                  </a:lnTo>
                  <a:lnTo>
                    <a:pt x="1663" y="736"/>
                  </a:lnTo>
                  <a:lnTo>
                    <a:pt x="1663" y="736"/>
                  </a:lnTo>
                  <a:lnTo>
                    <a:pt x="1663" y="736"/>
                  </a:lnTo>
                  <a:lnTo>
                    <a:pt x="1663" y="736"/>
                  </a:lnTo>
                  <a:lnTo>
                    <a:pt x="1663" y="734"/>
                  </a:lnTo>
                  <a:lnTo>
                    <a:pt x="1663" y="734"/>
                  </a:lnTo>
                  <a:lnTo>
                    <a:pt x="1661" y="734"/>
                  </a:lnTo>
                  <a:lnTo>
                    <a:pt x="1661" y="732"/>
                  </a:lnTo>
                  <a:lnTo>
                    <a:pt x="1661" y="732"/>
                  </a:lnTo>
                  <a:lnTo>
                    <a:pt x="1661" y="732"/>
                  </a:lnTo>
                  <a:lnTo>
                    <a:pt x="1661" y="732"/>
                  </a:lnTo>
                  <a:lnTo>
                    <a:pt x="1663" y="732"/>
                  </a:lnTo>
                  <a:lnTo>
                    <a:pt x="1663" y="730"/>
                  </a:lnTo>
                  <a:lnTo>
                    <a:pt x="1661" y="728"/>
                  </a:lnTo>
                  <a:lnTo>
                    <a:pt x="1661" y="728"/>
                  </a:lnTo>
                  <a:lnTo>
                    <a:pt x="1663" y="728"/>
                  </a:lnTo>
                  <a:lnTo>
                    <a:pt x="1663" y="728"/>
                  </a:lnTo>
                  <a:lnTo>
                    <a:pt x="1663" y="730"/>
                  </a:lnTo>
                  <a:lnTo>
                    <a:pt x="1663" y="730"/>
                  </a:lnTo>
                  <a:lnTo>
                    <a:pt x="1663" y="728"/>
                  </a:lnTo>
                  <a:lnTo>
                    <a:pt x="1661" y="725"/>
                  </a:lnTo>
                  <a:close/>
                  <a:moveTo>
                    <a:pt x="1610" y="740"/>
                  </a:moveTo>
                  <a:lnTo>
                    <a:pt x="1610" y="740"/>
                  </a:lnTo>
                  <a:lnTo>
                    <a:pt x="1610" y="740"/>
                  </a:lnTo>
                  <a:lnTo>
                    <a:pt x="1608" y="740"/>
                  </a:lnTo>
                  <a:lnTo>
                    <a:pt x="1606" y="740"/>
                  </a:lnTo>
                  <a:lnTo>
                    <a:pt x="1606" y="740"/>
                  </a:lnTo>
                  <a:lnTo>
                    <a:pt x="1606" y="740"/>
                  </a:lnTo>
                  <a:lnTo>
                    <a:pt x="1606" y="742"/>
                  </a:lnTo>
                  <a:lnTo>
                    <a:pt x="1606" y="742"/>
                  </a:lnTo>
                  <a:lnTo>
                    <a:pt x="1606" y="742"/>
                  </a:lnTo>
                  <a:lnTo>
                    <a:pt x="1606" y="742"/>
                  </a:lnTo>
                  <a:lnTo>
                    <a:pt x="1606" y="744"/>
                  </a:lnTo>
                  <a:lnTo>
                    <a:pt x="1606" y="744"/>
                  </a:lnTo>
                  <a:lnTo>
                    <a:pt x="1606" y="744"/>
                  </a:lnTo>
                  <a:lnTo>
                    <a:pt x="1606" y="744"/>
                  </a:lnTo>
                  <a:lnTo>
                    <a:pt x="1606" y="746"/>
                  </a:lnTo>
                  <a:lnTo>
                    <a:pt x="1606" y="746"/>
                  </a:lnTo>
                  <a:lnTo>
                    <a:pt x="1606" y="746"/>
                  </a:lnTo>
                  <a:lnTo>
                    <a:pt x="1606" y="746"/>
                  </a:lnTo>
                  <a:lnTo>
                    <a:pt x="1606" y="746"/>
                  </a:lnTo>
                  <a:lnTo>
                    <a:pt x="1606" y="746"/>
                  </a:lnTo>
                  <a:lnTo>
                    <a:pt x="1606" y="746"/>
                  </a:lnTo>
                  <a:lnTo>
                    <a:pt x="1606" y="746"/>
                  </a:lnTo>
                  <a:lnTo>
                    <a:pt x="1606" y="748"/>
                  </a:lnTo>
                  <a:lnTo>
                    <a:pt x="1606" y="748"/>
                  </a:lnTo>
                  <a:lnTo>
                    <a:pt x="1608" y="748"/>
                  </a:lnTo>
                  <a:lnTo>
                    <a:pt x="1608" y="750"/>
                  </a:lnTo>
                  <a:lnTo>
                    <a:pt x="1608" y="750"/>
                  </a:lnTo>
                  <a:lnTo>
                    <a:pt x="1608" y="748"/>
                  </a:lnTo>
                  <a:lnTo>
                    <a:pt x="1608" y="748"/>
                  </a:lnTo>
                  <a:lnTo>
                    <a:pt x="1608" y="746"/>
                  </a:lnTo>
                  <a:lnTo>
                    <a:pt x="1608" y="744"/>
                  </a:lnTo>
                  <a:lnTo>
                    <a:pt x="1608" y="744"/>
                  </a:lnTo>
                  <a:lnTo>
                    <a:pt x="1608" y="744"/>
                  </a:lnTo>
                  <a:lnTo>
                    <a:pt x="1608" y="744"/>
                  </a:lnTo>
                  <a:lnTo>
                    <a:pt x="1608" y="744"/>
                  </a:lnTo>
                  <a:lnTo>
                    <a:pt x="1608" y="744"/>
                  </a:lnTo>
                  <a:lnTo>
                    <a:pt x="1610" y="744"/>
                  </a:lnTo>
                  <a:lnTo>
                    <a:pt x="1610" y="744"/>
                  </a:lnTo>
                  <a:lnTo>
                    <a:pt x="1610" y="744"/>
                  </a:lnTo>
                  <a:lnTo>
                    <a:pt x="1610" y="742"/>
                  </a:lnTo>
                  <a:lnTo>
                    <a:pt x="1610" y="742"/>
                  </a:lnTo>
                  <a:lnTo>
                    <a:pt x="1610" y="742"/>
                  </a:lnTo>
                  <a:lnTo>
                    <a:pt x="1610" y="742"/>
                  </a:lnTo>
                  <a:lnTo>
                    <a:pt x="1610" y="742"/>
                  </a:lnTo>
                  <a:lnTo>
                    <a:pt x="1610" y="742"/>
                  </a:lnTo>
                  <a:lnTo>
                    <a:pt x="1610" y="742"/>
                  </a:lnTo>
                  <a:lnTo>
                    <a:pt x="1610" y="742"/>
                  </a:lnTo>
                  <a:lnTo>
                    <a:pt x="1610" y="740"/>
                  </a:lnTo>
                  <a:lnTo>
                    <a:pt x="1610" y="740"/>
                  </a:lnTo>
                  <a:lnTo>
                    <a:pt x="1610" y="740"/>
                  </a:lnTo>
                  <a:close/>
                  <a:moveTo>
                    <a:pt x="1643" y="762"/>
                  </a:moveTo>
                  <a:lnTo>
                    <a:pt x="1643" y="762"/>
                  </a:lnTo>
                  <a:lnTo>
                    <a:pt x="1643" y="760"/>
                  </a:lnTo>
                  <a:lnTo>
                    <a:pt x="1643" y="760"/>
                  </a:lnTo>
                  <a:lnTo>
                    <a:pt x="1643" y="760"/>
                  </a:lnTo>
                  <a:lnTo>
                    <a:pt x="1641" y="760"/>
                  </a:lnTo>
                  <a:lnTo>
                    <a:pt x="1641" y="760"/>
                  </a:lnTo>
                  <a:lnTo>
                    <a:pt x="1641" y="760"/>
                  </a:lnTo>
                  <a:lnTo>
                    <a:pt x="1641" y="760"/>
                  </a:lnTo>
                  <a:lnTo>
                    <a:pt x="1641" y="760"/>
                  </a:lnTo>
                  <a:lnTo>
                    <a:pt x="1643" y="760"/>
                  </a:lnTo>
                  <a:lnTo>
                    <a:pt x="1643" y="760"/>
                  </a:lnTo>
                  <a:lnTo>
                    <a:pt x="1643" y="760"/>
                  </a:lnTo>
                  <a:lnTo>
                    <a:pt x="1643" y="758"/>
                  </a:lnTo>
                  <a:lnTo>
                    <a:pt x="1643" y="758"/>
                  </a:lnTo>
                  <a:lnTo>
                    <a:pt x="1643" y="758"/>
                  </a:lnTo>
                  <a:lnTo>
                    <a:pt x="1643" y="758"/>
                  </a:lnTo>
                  <a:lnTo>
                    <a:pt x="1643" y="758"/>
                  </a:lnTo>
                  <a:lnTo>
                    <a:pt x="1643" y="758"/>
                  </a:lnTo>
                  <a:lnTo>
                    <a:pt x="1643" y="756"/>
                  </a:lnTo>
                  <a:lnTo>
                    <a:pt x="1641" y="756"/>
                  </a:lnTo>
                  <a:lnTo>
                    <a:pt x="1641" y="756"/>
                  </a:lnTo>
                  <a:lnTo>
                    <a:pt x="1641" y="756"/>
                  </a:lnTo>
                  <a:lnTo>
                    <a:pt x="1641" y="756"/>
                  </a:lnTo>
                  <a:lnTo>
                    <a:pt x="1641" y="756"/>
                  </a:lnTo>
                  <a:lnTo>
                    <a:pt x="1641"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6" y="756"/>
                  </a:lnTo>
                  <a:lnTo>
                    <a:pt x="1636" y="756"/>
                  </a:lnTo>
                  <a:lnTo>
                    <a:pt x="1636" y="756"/>
                  </a:lnTo>
                  <a:lnTo>
                    <a:pt x="1636" y="756"/>
                  </a:lnTo>
                  <a:lnTo>
                    <a:pt x="1636" y="756"/>
                  </a:lnTo>
                  <a:lnTo>
                    <a:pt x="1636" y="758"/>
                  </a:lnTo>
                  <a:lnTo>
                    <a:pt x="1636" y="758"/>
                  </a:lnTo>
                  <a:lnTo>
                    <a:pt x="1636" y="758"/>
                  </a:lnTo>
                  <a:lnTo>
                    <a:pt x="1636" y="758"/>
                  </a:lnTo>
                  <a:lnTo>
                    <a:pt x="1638" y="758"/>
                  </a:lnTo>
                  <a:lnTo>
                    <a:pt x="1638" y="760"/>
                  </a:lnTo>
                  <a:lnTo>
                    <a:pt x="1638" y="760"/>
                  </a:lnTo>
                  <a:lnTo>
                    <a:pt x="1638" y="760"/>
                  </a:lnTo>
                  <a:lnTo>
                    <a:pt x="1638" y="760"/>
                  </a:lnTo>
                  <a:lnTo>
                    <a:pt x="1638" y="760"/>
                  </a:lnTo>
                  <a:lnTo>
                    <a:pt x="1638" y="760"/>
                  </a:lnTo>
                  <a:lnTo>
                    <a:pt x="1641" y="760"/>
                  </a:lnTo>
                  <a:lnTo>
                    <a:pt x="1641" y="760"/>
                  </a:lnTo>
                  <a:lnTo>
                    <a:pt x="1641" y="762"/>
                  </a:lnTo>
                  <a:lnTo>
                    <a:pt x="1641" y="762"/>
                  </a:lnTo>
                  <a:lnTo>
                    <a:pt x="1641" y="762"/>
                  </a:lnTo>
                  <a:lnTo>
                    <a:pt x="1641" y="762"/>
                  </a:lnTo>
                  <a:lnTo>
                    <a:pt x="1641" y="762"/>
                  </a:lnTo>
                  <a:lnTo>
                    <a:pt x="1643" y="762"/>
                  </a:lnTo>
                  <a:lnTo>
                    <a:pt x="1643" y="762"/>
                  </a:lnTo>
                  <a:lnTo>
                    <a:pt x="1643" y="764"/>
                  </a:lnTo>
                  <a:lnTo>
                    <a:pt x="1643" y="764"/>
                  </a:lnTo>
                  <a:lnTo>
                    <a:pt x="1645" y="764"/>
                  </a:lnTo>
                  <a:lnTo>
                    <a:pt x="1645" y="762"/>
                  </a:lnTo>
                  <a:lnTo>
                    <a:pt x="1643" y="762"/>
                  </a:lnTo>
                  <a:close/>
                  <a:moveTo>
                    <a:pt x="1663" y="760"/>
                  </a:moveTo>
                  <a:lnTo>
                    <a:pt x="1663" y="760"/>
                  </a:lnTo>
                  <a:lnTo>
                    <a:pt x="1663" y="758"/>
                  </a:lnTo>
                  <a:lnTo>
                    <a:pt x="1661" y="758"/>
                  </a:lnTo>
                  <a:lnTo>
                    <a:pt x="1661" y="758"/>
                  </a:lnTo>
                  <a:lnTo>
                    <a:pt x="1661" y="758"/>
                  </a:lnTo>
                  <a:lnTo>
                    <a:pt x="1661" y="756"/>
                  </a:lnTo>
                  <a:lnTo>
                    <a:pt x="1661" y="756"/>
                  </a:lnTo>
                  <a:lnTo>
                    <a:pt x="1661" y="756"/>
                  </a:lnTo>
                  <a:lnTo>
                    <a:pt x="1663" y="756"/>
                  </a:lnTo>
                  <a:lnTo>
                    <a:pt x="1663" y="756"/>
                  </a:lnTo>
                  <a:lnTo>
                    <a:pt x="1663" y="754"/>
                  </a:lnTo>
                  <a:lnTo>
                    <a:pt x="1661" y="754"/>
                  </a:lnTo>
                  <a:lnTo>
                    <a:pt x="1661" y="754"/>
                  </a:lnTo>
                  <a:lnTo>
                    <a:pt x="1661" y="754"/>
                  </a:lnTo>
                  <a:lnTo>
                    <a:pt x="1661" y="754"/>
                  </a:lnTo>
                  <a:lnTo>
                    <a:pt x="1661" y="754"/>
                  </a:lnTo>
                  <a:lnTo>
                    <a:pt x="1661" y="754"/>
                  </a:lnTo>
                  <a:lnTo>
                    <a:pt x="1661" y="754"/>
                  </a:lnTo>
                  <a:lnTo>
                    <a:pt x="1661" y="752"/>
                  </a:lnTo>
                  <a:lnTo>
                    <a:pt x="1661" y="752"/>
                  </a:lnTo>
                  <a:lnTo>
                    <a:pt x="1659" y="752"/>
                  </a:lnTo>
                  <a:lnTo>
                    <a:pt x="1659" y="752"/>
                  </a:lnTo>
                  <a:lnTo>
                    <a:pt x="1659" y="752"/>
                  </a:lnTo>
                  <a:lnTo>
                    <a:pt x="1659" y="750"/>
                  </a:lnTo>
                  <a:lnTo>
                    <a:pt x="1659" y="750"/>
                  </a:lnTo>
                  <a:lnTo>
                    <a:pt x="1659" y="750"/>
                  </a:lnTo>
                  <a:lnTo>
                    <a:pt x="1659" y="750"/>
                  </a:lnTo>
                  <a:lnTo>
                    <a:pt x="1659" y="748"/>
                  </a:lnTo>
                  <a:lnTo>
                    <a:pt x="1659" y="748"/>
                  </a:lnTo>
                  <a:lnTo>
                    <a:pt x="1659" y="748"/>
                  </a:lnTo>
                  <a:lnTo>
                    <a:pt x="1659" y="748"/>
                  </a:lnTo>
                  <a:lnTo>
                    <a:pt x="1659" y="748"/>
                  </a:lnTo>
                  <a:lnTo>
                    <a:pt x="1659" y="748"/>
                  </a:lnTo>
                  <a:lnTo>
                    <a:pt x="1657" y="748"/>
                  </a:lnTo>
                  <a:lnTo>
                    <a:pt x="1657" y="746"/>
                  </a:lnTo>
                  <a:lnTo>
                    <a:pt x="1657" y="746"/>
                  </a:lnTo>
                  <a:lnTo>
                    <a:pt x="1659" y="746"/>
                  </a:lnTo>
                  <a:lnTo>
                    <a:pt x="1659" y="746"/>
                  </a:lnTo>
                  <a:lnTo>
                    <a:pt x="1657" y="744"/>
                  </a:lnTo>
                  <a:lnTo>
                    <a:pt x="1657" y="744"/>
                  </a:lnTo>
                  <a:lnTo>
                    <a:pt x="1659" y="744"/>
                  </a:lnTo>
                  <a:lnTo>
                    <a:pt x="1657" y="744"/>
                  </a:lnTo>
                  <a:lnTo>
                    <a:pt x="1657" y="746"/>
                  </a:lnTo>
                  <a:lnTo>
                    <a:pt x="1655" y="746"/>
                  </a:lnTo>
                  <a:lnTo>
                    <a:pt x="1655" y="748"/>
                  </a:lnTo>
                  <a:lnTo>
                    <a:pt x="1655" y="748"/>
                  </a:lnTo>
                  <a:lnTo>
                    <a:pt x="1655" y="748"/>
                  </a:lnTo>
                  <a:lnTo>
                    <a:pt x="1655" y="748"/>
                  </a:lnTo>
                  <a:lnTo>
                    <a:pt x="1655" y="748"/>
                  </a:lnTo>
                  <a:lnTo>
                    <a:pt x="1655" y="748"/>
                  </a:lnTo>
                  <a:lnTo>
                    <a:pt x="1653" y="748"/>
                  </a:lnTo>
                  <a:lnTo>
                    <a:pt x="1653" y="748"/>
                  </a:lnTo>
                  <a:lnTo>
                    <a:pt x="1653" y="748"/>
                  </a:lnTo>
                  <a:lnTo>
                    <a:pt x="1653" y="748"/>
                  </a:lnTo>
                  <a:lnTo>
                    <a:pt x="1651" y="748"/>
                  </a:lnTo>
                  <a:lnTo>
                    <a:pt x="1651" y="748"/>
                  </a:lnTo>
                  <a:lnTo>
                    <a:pt x="1653" y="746"/>
                  </a:lnTo>
                  <a:lnTo>
                    <a:pt x="1653" y="746"/>
                  </a:lnTo>
                  <a:lnTo>
                    <a:pt x="1655" y="746"/>
                  </a:lnTo>
                  <a:lnTo>
                    <a:pt x="1655" y="744"/>
                  </a:lnTo>
                  <a:lnTo>
                    <a:pt x="1655" y="744"/>
                  </a:lnTo>
                  <a:lnTo>
                    <a:pt x="1655" y="744"/>
                  </a:lnTo>
                  <a:lnTo>
                    <a:pt x="1653" y="744"/>
                  </a:lnTo>
                  <a:lnTo>
                    <a:pt x="1653" y="744"/>
                  </a:lnTo>
                  <a:lnTo>
                    <a:pt x="1653" y="744"/>
                  </a:lnTo>
                  <a:lnTo>
                    <a:pt x="1653" y="744"/>
                  </a:lnTo>
                  <a:lnTo>
                    <a:pt x="1655" y="744"/>
                  </a:lnTo>
                  <a:lnTo>
                    <a:pt x="1655" y="742"/>
                  </a:lnTo>
                  <a:lnTo>
                    <a:pt x="1653" y="742"/>
                  </a:lnTo>
                  <a:lnTo>
                    <a:pt x="1653" y="742"/>
                  </a:lnTo>
                  <a:lnTo>
                    <a:pt x="1653" y="742"/>
                  </a:lnTo>
                  <a:lnTo>
                    <a:pt x="1653" y="742"/>
                  </a:lnTo>
                  <a:lnTo>
                    <a:pt x="1653" y="742"/>
                  </a:lnTo>
                  <a:lnTo>
                    <a:pt x="1655" y="742"/>
                  </a:lnTo>
                  <a:lnTo>
                    <a:pt x="1655" y="742"/>
                  </a:lnTo>
                  <a:lnTo>
                    <a:pt x="1655" y="742"/>
                  </a:lnTo>
                  <a:lnTo>
                    <a:pt x="1655" y="742"/>
                  </a:lnTo>
                  <a:lnTo>
                    <a:pt x="1655" y="740"/>
                  </a:lnTo>
                  <a:lnTo>
                    <a:pt x="1655" y="740"/>
                  </a:lnTo>
                  <a:lnTo>
                    <a:pt x="1655" y="740"/>
                  </a:lnTo>
                  <a:lnTo>
                    <a:pt x="1655" y="740"/>
                  </a:lnTo>
                  <a:lnTo>
                    <a:pt x="1655" y="738"/>
                  </a:lnTo>
                  <a:lnTo>
                    <a:pt x="1655" y="738"/>
                  </a:lnTo>
                  <a:lnTo>
                    <a:pt x="1655" y="736"/>
                  </a:lnTo>
                  <a:lnTo>
                    <a:pt x="1655" y="736"/>
                  </a:lnTo>
                  <a:lnTo>
                    <a:pt x="1655" y="734"/>
                  </a:lnTo>
                  <a:lnTo>
                    <a:pt x="1655" y="734"/>
                  </a:lnTo>
                  <a:lnTo>
                    <a:pt x="1653" y="734"/>
                  </a:lnTo>
                  <a:lnTo>
                    <a:pt x="1653" y="732"/>
                  </a:lnTo>
                  <a:lnTo>
                    <a:pt x="1653" y="732"/>
                  </a:lnTo>
                  <a:lnTo>
                    <a:pt x="1653" y="734"/>
                  </a:lnTo>
                  <a:lnTo>
                    <a:pt x="1651" y="734"/>
                  </a:lnTo>
                  <a:lnTo>
                    <a:pt x="1651" y="736"/>
                  </a:lnTo>
                  <a:lnTo>
                    <a:pt x="1651" y="738"/>
                  </a:lnTo>
                  <a:lnTo>
                    <a:pt x="1649" y="736"/>
                  </a:lnTo>
                  <a:lnTo>
                    <a:pt x="1649" y="736"/>
                  </a:lnTo>
                  <a:lnTo>
                    <a:pt x="1649" y="738"/>
                  </a:lnTo>
                  <a:lnTo>
                    <a:pt x="1649" y="738"/>
                  </a:lnTo>
                  <a:lnTo>
                    <a:pt x="1649" y="738"/>
                  </a:lnTo>
                  <a:lnTo>
                    <a:pt x="1647" y="738"/>
                  </a:lnTo>
                  <a:lnTo>
                    <a:pt x="1647" y="738"/>
                  </a:lnTo>
                  <a:lnTo>
                    <a:pt x="1647" y="738"/>
                  </a:lnTo>
                  <a:lnTo>
                    <a:pt x="1647" y="736"/>
                  </a:lnTo>
                  <a:lnTo>
                    <a:pt x="1647" y="736"/>
                  </a:lnTo>
                  <a:lnTo>
                    <a:pt x="1647" y="736"/>
                  </a:lnTo>
                  <a:lnTo>
                    <a:pt x="1647" y="736"/>
                  </a:lnTo>
                  <a:lnTo>
                    <a:pt x="1649" y="736"/>
                  </a:lnTo>
                  <a:lnTo>
                    <a:pt x="1649" y="736"/>
                  </a:lnTo>
                  <a:lnTo>
                    <a:pt x="1651" y="734"/>
                  </a:lnTo>
                  <a:lnTo>
                    <a:pt x="1651" y="734"/>
                  </a:lnTo>
                  <a:lnTo>
                    <a:pt x="1651" y="734"/>
                  </a:lnTo>
                  <a:lnTo>
                    <a:pt x="1651" y="732"/>
                  </a:lnTo>
                  <a:lnTo>
                    <a:pt x="1649" y="732"/>
                  </a:lnTo>
                  <a:lnTo>
                    <a:pt x="1649" y="732"/>
                  </a:lnTo>
                  <a:lnTo>
                    <a:pt x="1649" y="732"/>
                  </a:lnTo>
                  <a:lnTo>
                    <a:pt x="1649" y="732"/>
                  </a:lnTo>
                  <a:lnTo>
                    <a:pt x="1649" y="732"/>
                  </a:lnTo>
                  <a:lnTo>
                    <a:pt x="1649" y="732"/>
                  </a:lnTo>
                  <a:lnTo>
                    <a:pt x="1647" y="730"/>
                  </a:lnTo>
                  <a:lnTo>
                    <a:pt x="1647" y="730"/>
                  </a:lnTo>
                  <a:lnTo>
                    <a:pt x="1647" y="730"/>
                  </a:lnTo>
                  <a:lnTo>
                    <a:pt x="1647" y="730"/>
                  </a:lnTo>
                  <a:lnTo>
                    <a:pt x="1647" y="730"/>
                  </a:lnTo>
                  <a:lnTo>
                    <a:pt x="1647" y="730"/>
                  </a:lnTo>
                  <a:lnTo>
                    <a:pt x="1647" y="730"/>
                  </a:lnTo>
                  <a:lnTo>
                    <a:pt x="1647" y="730"/>
                  </a:lnTo>
                  <a:lnTo>
                    <a:pt x="1645" y="730"/>
                  </a:lnTo>
                  <a:lnTo>
                    <a:pt x="1645" y="728"/>
                  </a:lnTo>
                  <a:lnTo>
                    <a:pt x="1643" y="728"/>
                  </a:lnTo>
                  <a:lnTo>
                    <a:pt x="1643" y="730"/>
                  </a:lnTo>
                  <a:lnTo>
                    <a:pt x="1643" y="730"/>
                  </a:lnTo>
                  <a:lnTo>
                    <a:pt x="1641" y="730"/>
                  </a:lnTo>
                  <a:lnTo>
                    <a:pt x="1641" y="730"/>
                  </a:lnTo>
                  <a:lnTo>
                    <a:pt x="1641" y="730"/>
                  </a:lnTo>
                  <a:lnTo>
                    <a:pt x="1641" y="730"/>
                  </a:lnTo>
                  <a:lnTo>
                    <a:pt x="1641" y="732"/>
                  </a:lnTo>
                  <a:lnTo>
                    <a:pt x="1641" y="730"/>
                  </a:lnTo>
                  <a:lnTo>
                    <a:pt x="1641" y="730"/>
                  </a:lnTo>
                  <a:lnTo>
                    <a:pt x="1638" y="730"/>
                  </a:lnTo>
                  <a:lnTo>
                    <a:pt x="1638" y="730"/>
                  </a:lnTo>
                  <a:lnTo>
                    <a:pt x="1638" y="732"/>
                  </a:lnTo>
                  <a:lnTo>
                    <a:pt x="1638" y="732"/>
                  </a:lnTo>
                  <a:lnTo>
                    <a:pt x="1636" y="730"/>
                  </a:lnTo>
                  <a:lnTo>
                    <a:pt x="1636" y="730"/>
                  </a:lnTo>
                  <a:lnTo>
                    <a:pt x="1638" y="730"/>
                  </a:lnTo>
                  <a:lnTo>
                    <a:pt x="1641" y="728"/>
                  </a:lnTo>
                  <a:lnTo>
                    <a:pt x="1641" y="728"/>
                  </a:lnTo>
                  <a:lnTo>
                    <a:pt x="1641" y="728"/>
                  </a:lnTo>
                  <a:lnTo>
                    <a:pt x="1641" y="728"/>
                  </a:lnTo>
                  <a:lnTo>
                    <a:pt x="1641" y="728"/>
                  </a:lnTo>
                  <a:lnTo>
                    <a:pt x="1641" y="728"/>
                  </a:lnTo>
                  <a:lnTo>
                    <a:pt x="1643" y="728"/>
                  </a:lnTo>
                  <a:lnTo>
                    <a:pt x="1643" y="728"/>
                  </a:lnTo>
                  <a:lnTo>
                    <a:pt x="1643" y="728"/>
                  </a:lnTo>
                  <a:lnTo>
                    <a:pt x="1643" y="725"/>
                  </a:lnTo>
                  <a:lnTo>
                    <a:pt x="1641" y="725"/>
                  </a:lnTo>
                  <a:lnTo>
                    <a:pt x="1638" y="725"/>
                  </a:lnTo>
                  <a:lnTo>
                    <a:pt x="1638" y="725"/>
                  </a:lnTo>
                  <a:lnTo>
                    <a:pt x="1638" y="725"/>
                  </a:lnTo>
                  <a:lnTo>
                    <a:pt x="1638" y="723"/>
                  </a:lnTo>
                  <a:lnTo>
                    <a:pt x="1636" y="725"/>
                  </a:lnTo>
                  <a:lnTo>
                    <a:pt x="1636" y="725"/>
                  </a:lnTo>
                  <a:lnTo>
                    <a:pt x="1636" y="725"/>
                  </a:lnTo>
                  <a:lnTo>
                    <a:pt x="1636" y="725"/>
                  </a:lnTo>
                  <a:lnTo>
                    <a:pt x="1634" y="725"/>
                  </a:lnTo>
                  <a:lnTo>
                    <a:pt x="1634" y="725"/>
                  </a:lnTo>
                  <a:lnTo>
                    <a:pt x="1634" y="725"/>
                  </a:lnTo>
                  <a:lnTo>
                    <a:pt x="1634" y="725"/>
                  </a:lnTo>
                  <a:lnTo>
                    <a:pt x="1634" y="725"/>
                  </a:lnTo>
                  <a:lnTo>
                    <a:pt x="1634" y="725"/>
                  </a:lnTo>
                  <a:lnTo>
                    <a:pt x="1634" y="728"/>
                  </a:lnTo>
                  <a:lnTo>
                    <a:pt x="1634" y="728"/>
                  </a:lnTo>
                  <a:lnTo>
                    <a:pt x="1634" y="728"/>
                  </a:lnTo>
                  <a:lnTo>
                    <a:pt x="1634" y="728"/>
                  </a:lnTo>
                  <a:lnTo>
                    <a:pt x="1634" y="728"/>
                  </a:lnTo>
                  <a:lnTo>
                    <a:pt x="1632" y="730"/>
                  </a:lnTo>
                  <a:lnTo>
                    <a:pt x="1632" y="730"/>
                  </a:lnTo>
                  <a:lnTo>
                    <a:pt x="1632" y="732"/>
                  </a:lnTo>
                  <a:lnTo>
                    <a:pt x="1632" y="732"/>
                  </a:lnTo>
                  <a:lnTo>
                    <a:pt x="1632" y="730"/>
                  </a:lnTo>
                  <a:lnTo>
                    <a:pt x="1632" y="730"/>
                  </a:lnTo>
                  <a:lnTo>
                    <a:pt x="1630" y="730"/>
                  </a:lnTo>
                  <a:lnTo>
                    <a:pt x="1630" y="730"/>
                  </a:lnTo>
                  <a:lnTo>
                    <a:pt x="1630" y="730"/>
                  </a:lnTo>
                  <a:lnTo>
                    <a:pt x="1632" y="728"/>
                  </a:lnTo>
                  <a:lnTo>
                    <a:pt x="1632" y="725"/>
                  </a:lnTo>
                  <a:lnTo>
                    <a:pt x="1634" y="723"/>
                  </a:lnTo>
                  <a:lnTo>
                    <a:pt x="1634" y="723"/>
                  </a:lnTo>
                  <a:lnTo>
                    <a:pt x="1632" y="723"/>
                  </a:lnTo>
                  <a:lnTo>
                    <a:pt x="1632" y="723"/>
                  </a:lnTo>
                  <a:lnTo>
                    <a:pt x="1632" y="723"/>
                  </a:lnTo>
                  <a:lnTo>
                    <a:pt x="1632" y="723"/>
                  </a:lnTo>
                  <a:lnTo>
                    <a:pt x="1632" y="721"/>
                  </a:lnTo>
                  <a:lnTo>
                    <a:pt x="1632" y="721"/>
                  </a:lnTo>
                  <a:lnTo>
                    <a:pt x="1632" y="721"/>
                  </a:lnTo>
                  <a:lnTo>
                    <a:pt x="1632" y="721"/>
                  </a:lnTo>
                  <a:lnTo>
                    <a:pt x="1632" y="721"/>
                  </a:lnTo>
                  <a:lnTo>
                    <a:pt x="1632" y="721"/>
                  </a:lnTo>
                  <a:lnTo>
                    <a:pt x="1632" y="719"/>
                  </a:lnTo>
                  <a:lnTo>
                    <a:pt x="1634" y="721"/>
                  </a:lnTo>
                  <a:lnTo>
                    <a:pt x="1636" y="723"/>
                  </a:lnTo>
                  <a:lnTo>
                    <a:pt x="1636" y="723"/>
                  </a:lnTo>
                  <a:lnTo>
                    <a:pt x="1638" y="723"/>
                  </a:lnTo>
                  <a:lnTo>
                    <a:pt x="1641" y="723"/>
                  </a:lnTo>
                  <a:lnTo>
                    <a:pt x="1643" y="723"/>
                  </a:lnTo>
                  <a:lnTo>
                    <a:pt x="1643" y="725"/>
                  </a:lnTo>
                  <a:lnTo>
                    <a:pt x="1645" y="725"/>
                  </a:lnTo>
                  <a:lnTo>
                    <a:pt x="1647" y="725"/>
                  </a:lnTo>
                  <a:lnTo>
                    <a:pt x="1647" y="723"/>
                  </a:lnTo>
                  <a:lnTo>
                    <a:pt x="1645" y="723"/>
                  </a:lnTo>
                  <a:lnTo>
                    <a:pt x="1645" y="723"/>
                  </a:lnTo>
                  <a:lnTo>
                    <a:pt x="1643" y="721"/>
                  </a:lnTo>
                  <a:lnTo>
                    <a:pt x="1643" y="721"/>
                  </a:lnTo>
                  <a:lnTo>
                    <a:pt x="1641" y="721"/>
                  </a:lnTo>
                  <a:lnTo>
                    <a:pt x="1641" y="721"/>
                  </a:lnTo>
                  <a:lnTo>
                    <a:pt x="1638" y="719"/>
                  </a:lnTo>
                  <a:lnTo>
                    <a:pt x="1638" y="719"/>
                  </a:lnTo>
                  <a:lnTo>
                    <a:pt x="1638" y="719"/>
                  </a:lnTo>
                  <a:lnTo>
                    <a:pt x="1636" y="717"/>
                  </a:lnTo>
                  <a:lnTo>
                    <a:pt x="1636" y="717"/>
                  </a:lnTo>
                  <a:lnTo>
                    <a:pt x="1636" y="717"/>
                  </a:lnTo>
                  <a:lnTo>
                    <a:pt x="1636" y="717"/>
                  </a:lnTo>
                  <a:lnTo>
                    <a:pt x="1634" y="717"/>
                  </a:lnTo>
                  <a:lnTo>
                    <a:pt x="1634" y="719"/>
                  </a:lnTo>
                  <a:lnTo>
                    <a:pt x="1634" y="719"/>
                  </a:lnTo>
                  <a:lnTo>
                    <a:pt x="1634" y="719"/>
                  </a:lnTo>
                  <a:lnTo>
                    <a:pt x="1634" y="717"/>
                  </a:lnTo>
                  <a:lnTo>
                    <a:pt x="1634" y="717"/>
                  </a:lnTo>
                  <a:lnTo>
                    <a:pt x="1634" y="717"/>
                  </a:lnTo>
                  <a:lnTo>
                    <a:pt x="1634" y="715"/>
                  </a:lnTo>
                  <a:lnTo>
                    <a:pt x="1632" y="715"/>
                  </a:lnTo>
                  <a:lnTo>
                    <a:pt x="1632" y="715"/>
                  </a:lnTo>
                  <a:lnTo>
                    <a:pt x="1632" y="713"/>
                  </a:lnTo>
                  <a:lnTo>
                    <a:pt x="1632" y="713"/>
                  </a:lnTo>
                  <a:lnTo>
                    <a:pt x="1632" y="713"/>
                  </a:lnTo>
                  <a:lnTo>
                    <a:pt x="1632" y="711"/>
                  </a:lnTo>
                  <a:lnTo>
                    <a:pt x="1630" y="709"/>
                  </a:lnTo>
                  <a:lnTo>
                    <a:pt x="1628" y="709"/>
                  </a:lnTo>
                  <a:lnTo>
                    <a:pt x="1628" y="709"/>
                  </a:lnTo>
                  <a:lnTo>
                    <a:pt x="1628" y="709"/>
                  </a:lnTo>
                  <a:lnTo>
                    <a:pt x="1626" y="707"/>
                  </a:lnTo>
                  <a:lnTo>
                    <a:pt x="1626" y="707"/>
                  </a:lnTo>
                  <a:lnTo>
                    <a:pt x="1626" y="707"/>
                  </a:lnTo>
                  <a:lnTo>
                    <a:pt x="1626" y="707"/>
                  </a:lnTo>
                  <a:lnTo>
                    <a:pt x="1624" y="707"/>
                  </a:lnTo>
                  <a:lnTo>
                    <a:pt x="1624" y="705"/>
                  </a:lnTo>
                  <a:lnTo>
                    <a:pt x="1622" y="705"/>
                  </a:lnTo>
                  <a:lnTo>
                    <a:pt x="1622" y="705"/>
                  </a:lnTo>
                  <a:lnTo>
                    <a:pt x="1622" y="705"/>
                  </a:lnTo>
                  <a:lnTo>
                    <a:pt x="1620" y="703"/>
                  </a:lnTo>
                  <a:lnTo>
                    <a:pt x="1618" y="703"/>
                  </a:lnTo>
                  <a:lnTo>
                    <a:pt x="1618" y="703"/>
                  </a:lnTo>
                  <a:lnTo>
                    <a:pt x="1618" y="703"/>
                  </a:lnTo>
                  <a:lnTo>
                    <a:pt x="1618" y="703"/>
                  </a:lnTo>
                  <a:lnTo>
                    <a:pt x="1616" y="703"/>
                  </a:lnTo>
                  <a:lnTo>
                    <a:pt x="1616" y="703"/>
                  </a:lnTo>
                  <a:lnTo>
                    <a:pt x="1616" y="703"/>
                  </a:lnTo>
                  <a:lnTo>
                    <a:pt x="1616" y="703"/>
                  </a:lnTo>
                  <a:lnTo>
                    <a:pt x="1616" y="703"/>
                  </a:lnTo>
                  <a:lnTo>
                    <a:pt x="1616" y="703"/>
                  </a:lnTo>
                  <a:lnTo>
                    <a:pt x="1616" y="703"/>
                  </a:lnTo>
                  <a:lnTo>
                    <a:pt x="1616" y="703"/>
                  </a:lnTo>
                  <a:lnTo>
                    <a:pt x="1614" y="703"/>
                  </a:lnTo>
                  <a:lnTo>
                    <a:pt x="1614" y="703"/>
                  </a:lnTo>
                  <a:lnTo>
                    <a:pt x="1614" y="701"/>
                  </a:lnTo>
                  <a:lnTo>
                    <a:pt x="1614" y="701"/>
                  </a:lnTo>
                  <a:lnTo>
                    <a:pt x="1614" y="703"/>
                  </a:lnTo>
                  <a:lnTo>
                    <a:pt x="1614" y="703"/>
                  </a:lnTo>
                  <a:lnTo>
                    <a:pt x="1614" y="703"/>
                  </a:lnTo>
                  <a:lnTo>
                    <a:pt x="1614" y="703"/>
                  </a:lnTo>
                  <a:lnTo>
                    <a:pt x="1612" y="703"/>
                  </a:lnTo>
                  <a:lnTo>
                    <a:pt x="1612" y="703"/>
                  </a:lnTo>
                  <a:lnTo>
                    <a:pt x="1612" y="703"/>
                  </a:lnTo>
                  <a:lnTo>
                    <a:pt x="1610" y="703"/>
                  </a:lnTo>
                  <a:lnTo>
                    <a:pt x="1610" y="703"/>
                  </a:lnTo>
                  <a:lnTo>
                    <a:pt x="1610" y="703"/>
                  </a:lnTo>
                  <a:lnTo>
                    <a:pt x="1608" y="701"/>
                  </a:lnTo>
                  <a:lnTo>
                    <a:pt x="1608" y="701"/>
                  </a:lnTo>
                  <a:lnTo>
                    <a:pt x="1608" y="701"/>
                  </a:lnTo>
                  <a:lnTo>
                    <a:pt x="1610" y="701"/>
                  </a:lnTo>
                  <a:lnTo>
                    <a:pt x="1610" y="701"/>
                  </a:lnTo>
                  <a:lnTo>
                    <a:pt x="1610" y="699"/>
                  </a:lnTo>
                  <a:lnTo>
                    <a:pt x="1610" y="699"/>
                  </a:lnTo>
                  <a:lnTo>
                    <a:pt x="1610" y="699"/>
                  </a:lnTo>
                  <a:lnTo>
                    <a:pt x="1610" y="697"/>
                  </a:lnTo>
                  <a:lnTo>
                    <a:pt x="1610" y="697"/>
                  </a:lnTo>
                  <a:lnTo>
                    <a:pt x="1610" y="697"/>
                  </a:lnTo>
                  <a:lnTo>
                    <a:pt x="1610" y="697"/>
                  </a:lnTo>
                  <a:lnTo>
                    <a:pt x="1608" y="697"/>
                  </a:lnTo>
                  <a:lnTo>
                    <a:pt x="1608" y="697"/>
                  </a:lnTo>
                  <a:lnTo>
                    <a:pt x="1608" y="697"/>
                  </a:lnTo>
                  <a:lnTo>
                    <a:pt x="1608" y="697"/>
                  </a:lnTo>
                  <a:lnTo>
                    <a:pt x="1608" y="697"/>
                  </a:lnTo>
                  <a:lnTo>
                    <a:pt x="1608" y="697"/>
                  </a:lnTo>
                  <a:lnTo>
                    <a:pt x="1608" y="695"/>
                  </a:lnTo>
                  <a:lnTo>
                    <a:pt x="1608" y="695"/>
                  </a:lnTo>
                  <a:lnTo>
                    <a:pt x="1608" y="695"/>
                  </a:lnTo>
                  <a:lnTo>
                    <a:pt x="1608" y="695"/>
                  </a:lnTo>
                  <a:lnTo>
                    <a:pt x="1608" y="695"/>
                  </a:lnTo>
                  <a:lnTo>
                    <a:pt x="1606" y="695"/>
                  </a:lnTo>
                  <a:lnTo>
                    <a:pt x="1606" y="695"/>
                  </a:lnTo>
                  <a:lnTo>
                    <a:pt x="1606" y="695"/>
                  </a:lnTo>
                  <a:lnTo>
                    <a:pt x="1606" y="695"/>
                  </a:lnTo>
                  <a:lnTo>
                    <a:pt x="1606" y="695"/>
                  </a:lnTo>
                  <a:lnTo>
                    <a:pt x="1606" y="693"/>
                  </a:lnTo>
                  <a:lnTo>
                    <a:pt x="1606" y="693"/>
                  </a:lnTo>
                  <a:lnTo>
                    <a:pt x="1606" y="693"/>
                  </a:lnTo>
                  <a:lnTo>
                    <a:pt x="1604" y="693"/>
                  </a:lnTo>
                  <a:lnTo>
                    <a:pt x="1604" y="693"/>
                  </a:lnTo>
                  <a:lnTo>
                    <a:pt x="1604" y="691"/>
                  </a:lnTo>
                  <a:lnTo>
                    <a:pt x="1604" y="691"/>
                  </a:lnTo>
                  <a:lnTo>
                    <a:pt x="1602" y="691"/>
                  </a:lnTo>
                  <a:lnTo>
                    <a:pt x="1602" y="693"/>
                  </a:lnTo>
                  <a:lnTo>
                    <a:pt x="1600" y="693"/>
                  </a:lnTo>
                  <a:lnTo>
                    <a:pt x="1600" y="695"/>
                  </a:lnTo>
                  <a:lnTo>
                    <a:pt x="1600" y="695"/>
                  </a:lnTo>
                  <a:lnTo>
                    <a:pt x="1600" y="695"/>
                  </a:lnTo>
                  <a:lnTo>
                    <a:pt x="1600" y="695"/>
                  </a:lnTo>
                  <a:lnTo>
                    <a:pt x="1602" y="695"/>
                  </a:lnTo>
                  <a:lnTo>
                    <a:pt x="1600" y="695"/>
                  </a:lnTo>
                  <a:lnTo>
                    <a:pt x="1600" y="695"/>
                  </a:lnTo>
                  <a:lnTo>
                    <a:pt x="1600" y="693"/>
                  </a:lnTo>
                  <a:lnTo>
                    <a:pt x="1600" y="693"/>
                  </a:lnTo>
                  <a:lnTo>
                    <a:pt x="1600" y="693"/>
                  </a:lnTo>
                  <a:lnTo>
                    <a:pt x="1598" y="693"/>
                  </a:lnTo>
                  <a:lnTo>
                    <a:pt x="1595" y="693"/>
                  </a:lnTo>
                  <a:lnTo>
                    <a:pt x="1591" y="693"/>
                  </a:lnTo>
                  <a:lnTo>
                    <a:pt x="1591" y="695"/>
                  </a:lnTo>
                  <a:lnTo>
                    <a:pt x="1591" y="695"/>
                  </a:lnTo>
                  <a:lnTo>
                    <a:pt x="1591" y="695"/>
                  </a:lnTo>
                  <a:lnTo>
                    <a:pt x="1591" y="695"/>
                  </a:lnTo>
                  <a:lnTo>
                    <a:pt x="1593" y="697"/>
                  </a:lnTo>
                  <a:lnTo>
                    <a:pt x="1593" y="697"/>
                  </a:lnTo>
                  <a:lnTo>
                    <a:pt x="1591" y="697"/>
                  </a:lnTo>
                  <a:lnTo>
                    <a:pt x="1591" y="697"/>
                  </a:lnTo>
                  <a:lnTo>
                    <a:pt x="1591" y="699"/>
                  </a:lnTo>
                  <a:lnTo>
                    <a:pt x="1591" y="699"/>
                  </a:lnTo>
                  <a:lnTo>
                    <a:pt x="1591" y="699"/>
                  </a:lnTo>
                  <a:lnTo>
                    <a:pt x="1591" y="699"/>
                  </a:lnTo>
                  <a:lnTo>
                    <a:pt x="1591" y="699"/>
                  </a:lnTo>
                  <a:lnTo>
                    <a:pt x="1593" y="701"/>
                  </a:lnTo>
                  <a:lnTo>
                    <a:pt x="1593" y="701"/>
                  </a:lnTo>
                  <a:lnTo>
                    <a:pt x="1593" y="701"/>
                  </a:lnTo>
                  <a:lnTo>
                    <a:pt x="1593" y="701"/>
                  </a:lnTo>
                  <a:lnTo>
                    <a:pt x="1593" y="701"/>
                  </a:lnTo>
                  <a:lnTo>
                    <a:pt x="1593" y="701"/>
                  </a:lnTo>
                  <a:lnTo>
                    <a:pt x="1593" y="701"/>
                  </a:lnTo>
                  <a:lnTo>
                    <a:pt x="1593" y="701"/>
                  </a:lnTo>
                  <a:lnTo>
                    <a:pt x="1595" y="701"/>
                  </a:lnTo>
                  <a:lnTo>
                    <a:pt x="1595" y="701"/>
                  </a:lnTo>
                  <a:lnTo>
                    <a:pt x="1595" y="701"/>
                  </a:lnTo>
                  <a:lnTo>
                    <a:pt x="1598" y="701"/>
                  </a:lnTo>
                  <a:lnTo>
                    <a:pt x="1598" y="701"/>
                  </a:lnTo>
                  <a:lnTo>
                    <a:pt x="1600" y="701"/>
                  </a:lnTo>
                  <a:lnTo>
                    <a:pt x="1602" y="701"/>
                  </a:lnTo>
                  <a:lnTo>
                    <a:pt x="1602" y="701"/>
                  </a:lnTo>
                  <a:lnTo>
                    <a:pt x="1604" y="701"/>
                  </a:lnTo>
                  <a:lnTo>
                    <a:pt x="1604" y="703"/>
                  </a:lnTo>
                  <a:lnTo>
                    <a:pt x="1604" y="705"/>
                  </a:lnTo>
                  <a:lnTo>
                    <a:pt x="1606" y="705"/>
                  </a:lnTo>
                  <a:lnTo>
                    <a:pt x="1606" y="707"/>
                  </a:lnTo>
                  <a:lnTo>
                    <a:pt x="1606" y="709"/>
                  </a:lnTo>
                  <a:lnTo>
                    <a:pt x="1608" y="709"/>
                  </a:lnTo>
                  <a:lnTo>
                    <a:pt x="1608" y="709"/>
                  </a:lnTo>
                  <a:lnTo>
                    <a:pt x="1608" y="709"/>
                  </a:lnTo>
                  <a:lnTo>
                    <a:pt x="1608" y="711"/>
                  </a:lnTo>
                  <a:lnTo>
                    <a:pt x="1608" y="711"/>
                  </a:lnTo>
                  <a:lnTo>
                    <a:pt x="1608" y="711"/>
                  </a:lnTo>
                  <a:lnTo>
                    <a:pt x="1608" y="711"/>
                  </a:lnTo>
                  <a:lnTo>
                    <a:pt x="1608" y="713"/>
                  </a:lnTo>
                  <a:lnTo>
                    <a:pt x="1608" y="713"/>
                  </a:lnTo>
                  <a:lnTo>
                    <a:pt x="1608" y="713"/>
                  </a:lnTo>
                  <a:lnTo>
                    <a:pt x="1610" y="713"/>
                  </a:lnTo>
                  <a:lnTo>
                    <a:pt x="1610" y="713"/>
                  </a:lnTo>
                  <a:lnTo>
                    <a:pt x="1610" y="713"/>
                  </a:lnTo>
                  <a:lnTo>
                    <a:pt x="1610" y="713"/>
                  </a:lnTo>
                  <a:lnTo>
                    <a:pt x="1610" y="713"/>
                  </a:lnTo>
                  <a:lnTo>
                    <a:pt x="1610" y="713"/>
                  </a:lnTo>
                  <a:lnTo>
                    <a:pt x="1610" y="713"/>
                  </a:lnTo>
                  <a:lnTo>
                    <a:pt x="1612" y="713"/>
                  </a:lnTo>
                  <a:lnTo>
                    <a:pt x="1612" y="713"/>
                  </a:lnTo>
                  <a:lnTo>
                    <a:pt x="1612" y="715"/>
                  </a:lnTo>
                  <a:lnTo>
                    <a:pt x="1612" y="715"/>
                  </a:lnTo>
                  <a:lnTo>
                    <a:pt x="1612" y="715"/>
                  </a:lnTo>
                  <a:lnTo>
                    <a:pt x="1612" y="717"/>
                  </a:lnTo>
                  <a:lnTo>
                    <a:pt x="1612" y="717"/>
                  </a:lnTo>
                  <a:lnTo>
                    <a:pt x="1610" y="719"/>
                  </a:lnTo>
                  <a:lnTo>
                    <a:pt x="1610" y="719"/>
                  </a:lnTo>
                  <a:lnTo>
                    <a:pt x="1610" y="721"/>
                  </a:lnTo>
                  <a:lnTo>
                    <a:pt x="1610" y="721"/>
                  </a:lnTo>
                  <a:lnTo>
                    <a:pt x="1610" y="721"/>
                  </a:lnTo>
                  <a:lnTo>
                    <a:pt x="1608" y="719"/>
                  </a:lnTo>
                  <a:lnTo>
                    <a:pt x="1608" y="721"/>
                  </a:lnTo>
                  <a:lnTo>
                    <a:pt x="1608" y="721"/>
                  </a:lnTo>
                  <a:lnTo>
                    <a:pt x="1608" y="723"/>
                  </a:lnTo>
                  <a:lnTo>
                    <a:pt x="1608" y="723"/>
                  </a:lnTo>
                  <a:lnTo>
                    <a:pt x="1608" y="723"/>
                  </a:lnTo>
                  <a:lnTo>
                    <a:pt x="1608" y="723"/>
                  </a:lnTo>
                  <a:lnTo>
                    <a:pt x="1608" y="723"/>
                  </a:lnTo>
                  <a:lnTo>
                    <a:pt x="1608" y="723"/>
                  </a:lnTo>
                  <a:lnTo>
                    <a:pt x="1608" y="723"/>
                  </a:lnTo>
                  <a:lnTo>
                    <a:pt x="1608" y="723"/>
                  </a:lnTo>
                  <a:lnTo>
                    <a:pt x="1608" y="723"/>
                  </a:lnTo>
                  <a:lnTo>
                    <a:pt x="1608" y="723"/>
                  </a:lnTo>
                  <a:lnTo>
                    <a:pt x="1608" y="725"/>
                  </a:lnTo>
                  <a:lnTo>
                    <a:pt x="1608" y="725"/>
                  </a:lnTo>
                  <a:lnTo>
                    <a:pt x="1608" y="725"/>
                  </a:lnTo>
                  <a:lnTo>
                    <a:pt x="1608" y="725"/>
                  </a:lnTo>
                  <a:lnTo>
                    <a:pt x="1608" y="725"/>
                  </a:lnTo>
                  <a:lnTo>
                    <a:pt x="1608" y="728"/>
                  </a:lnTo>
                  <a:lnTo>
                    <a:pt x="1608" y="728"/>
                  </a:lnTo>
                  <a:lnTo>
                    <a:pt x="1610" y="728"/>
                  </a:lnTo>
                  <a:lnTo>
                    <a:pt x="1612" y="730"/>
                  </a:lnTo>
                  <a:lnTo>
                    <a:pt x="1614" y="728"/>
                  </a:lnTo>
                  <a:lnTo>
                    <a:pt x="1618" y="725"/>
                  </a:lnTo>
                  <a:lnTo>
                    <a:pt x="1618" y="725"/>
                  </a:lnTo>
                  <a:lnTo>
                    <a:pt x="1620" y="723"/>
                  </a:lnTo>
                  <a:lnTo>
                    <a:pt x="1620" y="723"/>
                  </a:lnTo>
                  <a:lnTo>
                    <a:pt x="1620" y="723"/>
                  </a:lnTo>
                  <a:lnTo>
                    <a:pt x="1622" y="723"/>
                  </a:lnTo>
                  <a:lnTo>
                    <a:pt x="1622" y="723"/>
                  </a:lnTo>
                  <a:lnTo>
                    <a:pt x="1622" y="723"/>
                  </a:lnTo>
                  <a:lnTo>
                    <a:pt x="1620" y="723"/>
                  </a:lnTo>
                  <a:lnTo>
                    <a:pt x="1620" y="725"/>
                  </a:lnTo>
                  <a:lnTo>
                    <a:pt x="1620" y="725"/>
                  </a:lnTo>
                  <a:lnTo>
                    <a:pt x="1618" y="725"/>
                  </a:lnTo>
                  <a:lnTo>
                    <a:pt x="1618" y="728"/>
                  </a:lnTo>
                  <a:lnTo>
                    <a:pt x="1618" y="728"/>
                  </a:lnTo>
                  <a:lnTo>
                    <a:pt x="1618" y="728"/>
                  </a:lnTo>
                  <a:lnTo>
                    <a:pt x="1618" y="730"/>
                  </a:lnTo>
                  <a:lnTo>
                    <a:pt x="1618" y="730"/>
                  </a:lnTo>
                  <a:lnTo>
                    <a:pt x="1618" y="732"/>
                  </a:lnTo>
                  <a:lnTo>
                    <a:pt x="1618" y="732"/>
                  </a:lnTo>
                  <a:lnTo>
                    <a:pt x="1618" y="732"/>
                  </a:lnTo>
                  <a:lnTo>
                    <a:pt x="1618" y="734"/>
                  </a:lnTo>
                  <a:lnTo>
                    <a:pt x="1620" y="734"/>
                  </a:lnTo>
                  <a:lnTo>
                    <a:pt x="1622" y="734"/>
                  </a:lnTo>
                  <a:lnTo>
                    <a:pt x="1622" y="734"/>
                  </a:lnTo>
                  <a:lnTo>
                    <a:pt x="1622" y="734"/>
                  </a:lnTo>
                  <a:lnTo>
                    <a:pt x="1622" y="734"/>
                  </a:lnTo>
                  <a:lnTo>
                    <a:pt x="1620" y="734"/>
                  </a:lnTo>
                  <a:lnTo>
                    <a:pt x="1620" y="736"/>
                  </a:lnTo>
                  <a:lnTo>
                    <a:pt x="1620" y="734"/>
                  </a:lnTo>
                  <a:lnTo>
                    <a:pt x="1622" y="734"/>
                  </a:lnTo>
                  <a:lnTo>
                    <a:pt x="1622" y="736"/>
                  </a:lnTo>
                  <a:lnTo>
                    <a:pt x="1622" y="736"/>
                  </a:lnTo>
                  <a:lnTo>
                    <a:pt x="1622" y="736"/>
                  </a:lnTo>
                  <a:lnTo>
                    <a:pt x="1622" y="736"/>
                  </a:lnTo>
                  <a:lnTo>
                    <a:pt x="1624" y="736"/>
                  </a:lnTo>
                  <a:lnTo>
                    <a:pt x="1626" y="736"/>
                  </a:lnTo>
                  <a:lnTo>
                    <a:pt x="1628" y="736"/>
                  </a:lnTo>
                  <a:lnTo>
                    <a:pt x="1626" y="736"/>
                  </a:lnTo>
                  <a:lnTo>
                    <a:pt x="1622" y="738"/>
                  </a:lnTo>
                  <a:lnTo>
                    <a:pt x="1622" y="738"/>
                  </a:lnTo>
                  <a:lnTo>
                    <a:pt x="1622" y="738"/>
                  </a:lnTo>
                  <a:lnTo>
                    <a:pt x="1622" y="738"/>
                  </a:lnTo>
                  <a:lnTo>
                    <a:pt x="1622" y="738"/>
                  </a:lnTo>
                  <a:lnTo>
                    <a:pt x="1620" y="738"/>
                  </a:lnTo>
                  <a:lnTo>
                    <a:pt x="1618" y="738"/>
                  </a:lnTo>
                  <a:lnTo>
                    <a:pt x="1618" y="738"/>
                  </a:lnTo>
                  <a:lnTo>
                    <a:pt x="1618" y="738"/>
                  </a:lnTo>
                  <a:lnTo>
                    <a:pt x="1618" y="738"/>
                  </a:lnTo>
                  <a:lnTo>
                    <a:pt x="1618" y="738"/>
                  </a:lnTo>
                  <a:lnTo>
                    <a:pt x="1618" y="738"/>
                  </a:lnTo>
                  <a:lnTo>
                    <a:pt x="1618" y="738"/>
                  </a:lnTo>
                  <a:lnTo>
                    <a:pt x="1618" y="738"/>
                  </a:lnTo>
                  <a:lnTo>
                    <a:pt x="1618" y="738"/>
                  </a:lnTo>
                  <a:lnTo>
                    <a:pt x="1616" y="740"/>
                  </a:lnTo>
                  <a:lnTo>
                    <a:pt x="1616" y="740"/>
                  </a:lnTo>
                  <a:lnTo>
                    <a:pt x="1616" y="740"/>
                  </a:lnTo>
                  <a:lnTo>
                    <a:pt x="1616" y="740"/>
                  </a:lnTo>
                  <a:lnTo>
                    <a:pt x="1616" y="740"/>
                  </a:lnTo>
                  <a:lnTo>
                    <a:pt x="1616" y="742"/>
                  </a:lnTo>
                  <a:lnTo>
                    <a:pt x="1618" y="742"/>
                  </a:lnTo>
                  <a:lnTo>
                    <a:pt x="1618" y="742"/>
                  </a:lnTo>
                  <a:lnTo>
                    <a:pt x="1618" y="742"/>
                  </a:lnTo>
                  <a:lnTo>
                    <a:pt x="1618" y="742"/>
                  </a:lnTo>
                  <a:lnTo>
                    <a:pt x="1618" y="744"/>
                  </a:lnTo>
                  <a:lnTo>
                    <a:pt x="1618" y="744"/>
                  </a:lnTo>
                  <a:lnTo>
                    <a:pt x="1620" y="744"/>
                  </a:lnTo>
                  <a:lnTo>
                    <a:pt x="1620" y="744"/>
                  </a:lnTo>
                  <a:lnTo>
                    <a:pt x="1620" y="742"/>
                  </a:lnTo>
                  <a:lnTo>
                    <a:pt x="1620" y="742"/>
                  </a:lnTo>
                  <a:lnTo>
                    <a:pt x="1622" y="742"/>
                  </a:lnTo>
                  <a:lnTo>
                    <a:pt x="1622" y="742"/>
                  </a:lnTo>
                  <a:lnTo>
                    <a:pt x="1622" y="742"/>
                  </a:lnTo>
                  <a:lnTo>
                    <a:pt x="1622" y="744"/>
                  </a:lnTo>
                  <a:lnTo>
                    <a:pt x="1622" y="742"/>
                  </a:lnTo>
                  <a:lnTo>
                    <a:pt x="1622" y="742"/>
                  </a:lnTo>
                  <a:lnTo>
                    <a:pt x="1626" y="742"/>
                  </a:lnTo>
                  <a:lnTo>
                    <a:pt x="1626" y="740"/>
                  </a:lnTo>
                  <a:lnTo>
                    <a:pt x="1626" y="740"/>
                  </a:lnTo>
                  <a:lnTo>
                    <a:pt x="1628" y="740"/>
                  </a:lnTo>
                  <a:lnTo>
                    <a:pt x="1628" y="742"/>
                  </a:lnTo>
                  <a:lnTo>
                    <a:pt x="1628" y="742"/>
                  </a:lnTo>
                  <a:lnTo>
                    <a:pt x="1626" y="744"/>
                  </a:lnTo>
                  <a:lnTo>
                    <a:pt x="1624" y="744"/>
                  </a:lnTo>
                  <a:lnTo>
                    <a:pt x="1624" y="744"/>
                  </a:lnTo>
                  <a:lnTo>
                    <a:pt x="1624" y="746"/>
                  </a:lnTo>
                  <a:lnTo>
                    <a:pt x="1628" y="744"/>
                  </a:lnTo>
                  <a:lnTo>
                    <a:pt x="1628" y="744"/>
                  </a:lnTo>
                  <a:lnTo>
                    <a:pt x="1628" y="744"/>
                  </a:lnTo>
                  <a:lnTo>
                    <a:pt x="1630" y="742"/>
                  </a:lnTo>
                  <a:lnTo>
                    <a:pt x="1630" y="742"/>
                  </a:lnTo>
                  <a:lnTo>
                    <a:pt x="1630" y="742"/>
                  </a:lnTo>
                  <a:lnTo>
                    <a:pt x="1630" y="742"/>
                  </a:lnTo>
                  <a:lnTo>
                    <a:pt x="1630" y="740"/>
                  </a:lnTo>
                  <a:lnTo>
                    <a:pt x="1630" y="740"/>
                  </a:lnTo>
                  <a:lnTo>
                    <a:pt x="1630" y="740"/>
                  </a:lnTo>
                  <a:lnTo>
                    <a:pt x="1630" y="740"/>
                  </a:lnTo>
                  <a:lnTo>
                    <a:pt x="1630" y="742"/>
                  </a:lnTo>
                  <a:lnTo>
                    <a:pt x="1630" y="742"/>
                  </a:lnTo>
                  <a:lnTo>
                    <a:pt x="1632" y="744"/>
                  </a:lnTo>
                  <a:lnTo>
                    <a:pt x="1632" y="744"/>
                  </a:lnTo>
                  <a:lnTo>
                    <a:pt x="1632" y="744"/>
                  </a:lnTo>
                  <a:lnTo>
                    <a:pt x="1634" y="744"/>
                  </a:lnTo>
                  <a:lnTo>
                    <a:pt x="1634" y="746"/>
                  </a:lnTo>
                  <a:lnTo>
                    <a:pt x="1636" y="746"/>
                  </a:lnTo>
                  <a:lnTo>
                    <a:pt x="1636" y="744"/>
                  </a:lnTo>
                  <a:lnTo>
                    <a:pt x="1638" y="744"/>
                  </a:lnTo>
                  <a:lnTo>
                    <a:pt x="1636" y="744"/>
                  </a:lnTo>
                  <a:lnTo>
                    <a:pt x="1636" y="742"/>
                  </a:lnTo>
                  <a:lnTo>
                    <a:pt x="1636" y="742"/>
                  </a:lnTo>
                  <a:lnTo>
                    <a:pt x="1636" y="742"/>
                  </a:lnTo>
                  <a:lnTo>
                    <a:pt x="1636" y="742"/>
                  </a:lnTo>
                  <a:lnTo>
                    <a:pt x="1634" y="740"/>
                  </a:lnTo>
                  <a:lnTo>
                    <a:pt x="1634" y="740"/>
                  </a:lnTo>
                  <a:lnTo>
                    <a:pt x="1636" y="740"/>
                  </a:lnTo>
                  <a:lnTo>
                    <a:pt x="1636" y="740"/>
                  </a:lnTo>
                  <a:lnTo>
                    <a:pt x="1636" y="742"/>
                  </a:lnTo>
                  <a:lnTo>
                    <a:pt x="1638" y="742"/>
                  </a:lnTo>
                  <a:lnTo>
                    <a:pt x="1638" y="742"/>
                  </a:lnTo>
                  <a:lnTo>
                    <a:pt x="1638" y="744"/>
                  </a:lnTo>
                  <a:lnTo>
                    <a:pt x="1638" y="744"/>
                  </a:lnTo>
                  <a:lnTo>
                    <a:pt x="1638" y="746"/>
                  </a:lnTo>
                  <a:lnTo>
                    <a:pt x="1638" y="748"/>
                  </a:lnTo>
                  <a:lnTo>
                    <a:pt x="1638" y="748"/>
                  </a:lnTo>
                  <a:lnTo>
                    <a:pt x="1638" y="748"/>
                  </a:lnTo>
                  <a:lnTo>
                    <a:pt x="1638" y="746"/>
                  </a:lnTo>
                  <a:lnTo>
                    <a:pt x="1641" y="746"/>
                  </a:lnTo>
                  <a:lnTo>
                    <a:pt x="1641" y="746"/>
                  </a:lnTo>
                  <a:lnTo>
                    <a:pt x="1641" y="746"/>
                  </a:lnTo>
                  <a:lnTo>
                    <a:pt x="1641" y="746"/>
                  </a:lnTo>
                  <a:lnTo>
                    <a:pt x="1641" y="746"/>
                  </a:lnTo>
                  <a:lnTo>
                    <a:pt x="1641" y="748"/>
                  </a:lnTo>
                  <a:lnTo>
                    <a:pt x="1643" y="748"/>
                  </a:lnTo>
                  <a:lnTo>
                    <a:pt x="1643" y="748"/>
                  </a:lnTo>
                  <a:lnTo>
                    <a:pt x="1643" y="748"/>
                  </a:lnTo>
                  <a:lnTo>
                    <a:pt x="1643" y="748"/>
                  </a:lnTo>
                  <a:lnTo>
                    <a:pt x="1643" y="748"/>
                  </a:lnTo>
                  <a:lnTo>
                    <a:pt x="1641" y="748"/>
                  </a:lnTo>
                  <a:lnTo>
                    <a:pt x="1641" y="750"/>
                  </a:lnTo>
                  <a:lnTo>
                    <a:pt x="1641" y="750"/>
                  </a:lnTo>
                  <a:lnTo>
                    <a:pt x="1641" y="750"/>
                  </a:lnTo>
                  <a:lnTo>
                    <a:pt x="1643" y="750"/>
                  </a:lnTo>
                  <a:lnTo>
                    <a:pt x="1643" y="750"/>
                  </a:lnTo>
                  <a:lnTo>
                    <a:pt x="1643" y="750"/>
                  </a:lnTo>
                  <a:lnTo>
                    <a:pt x="1643" y="750"/>
                  </a:lnTo>
                  <a:lnTo>
                    <a:pt x="1643" y="752"/>
                  </a:lnTo>
                  <a:lnTo>
                    <a:pt x="1643" y="752"/>
                  </a:lnTo>
                  <a:lnTo>
                    <a:pt x="1643" y="752"/>
                  </a:lnTo>
                  <a:lnTo>
                    <a:pt x="1641" y="752"/>
                  </a:lnTo>
                  <a:lnTo>
                    <a:pt x="1641" y="752"/>
                  </a:lnTo>
                  <a:lnTo>
                    <a:pt x="1641" y="752"/>
                  </a:lnTo>
                  <a:lnTo>
                    <a:pt x="1641" y="752"/>
                  </a:lnTo>
                  <a:lnTo>
                    <a:pt x="1643" y="754"/>
                  </a:lnTo>
                  <a:lnTo>
                    <a:pt x="1643" y="754"/>
                  </a:lnTo>
                  <a:lnTo>
                    <a:pt x="1645" y="754"/>
                  </a:lnTo>
                  <a:lnTo>
                    <a:pt x="1645" y="752"/>
                  </a:lnTo>
                  <a:lnTo>
                    <a:pt x="1645" y="750"/>
                  </a:lnTo>
                  <a:lnTo>
                    <a:pt x="1645" y="750"/>
                  </a:lnTo>
                  <a:lnTo>
                    <a:pt x="1645" y="752"/>
                  </a:lnTo>
                  <a:lnTo>
                    <a:pt x="1645" y="752"/>
                  </a:lnTo>
                  <a:lnTo>
                    <a:pt x="1645" y="752"/>
                  </a:lnTo>
                  <a:lnTo>
                    <a:pt x="1645" y="754"/>
                  </a:lnTo>
                  <a:lnTo>
                    <a:pt x="1645" y="754"/>
                  </a:lnTo>
                  <a:lnTo>
                    <a:pt x="1645" y="754"/>
                  </a:lnTo>
                  <a:lnTo>
                    <a:pt x="1645" y="754"/>
                  </a:lnTo>
                  <a:lnTo>
                    <a:pt x="1645" y="754"/>
                  </a:lnTo>
                  <a:lnTo>
                    <a:pt x="1645" y="754"/>
                  </a:lnTo>
                  <a:lnTo>
                    <a:pt x="1645" y="754"/>
                  </a:lnTo>
                  <a:lnTo>
                    <a:pt x="1647" y="754"/>
                  </a:lnTo>
                  <a:lnTo>
                    <a:pt x="1647" y="754"/>
                  </a:lnTo>
                  <a:lnTo>
                    <a:pt x="1647" y="754"/>
                  </a:lnTo>
                  <a:lnTo>
                    <a:pt x="1647" y="754"/>
                  </a:lnTo>
                  <a:lnTo>
                    <a:pt x="1647" y="752"/>
                  </a:lnTo>
                  <a:lnTo>
                    <a:pt x="1647" y="752"/>
                  </a:lnTo>
                  <a:lnTo>
                    <a:pt x="1647" y="752"/>
                  </a:lnTo>
                  <a:lnTo>
                    <a:pt x="1647" y="752"/>
                  </a:lnTo>
                  <a:lnTo>
                    <a:pt x="1647" y="750"/>
                  </a:lnTo>
                  <a:lnTo>
                    <a:pt x="1647" y="748"/>
                  </a:lnTo>
                  <a:lnTo>
                    <a:pt x="1647" y="748"/>
                  </a:lnTo>
                  <a:lnTo>
                    <a:pt x="1647" y="750"/>
                  </a:lnTo>
                  <a:lnTo>
                    <a:pt x="1647" y="750"/>
                  </a:lnTo>
                  <a:lnTo>
                    <a:pt x="1647" y="750"/>
                  </a:lnTo>
                  <a:lnTo>
                    <a:pt x="1647" y="752"/>
                  </a:lnTo>
                  <a:lnTo>
                    <a:pt x="1649" y="752"/>
                  </a:lnTo>
                  <a:lnTo>
                    <a:pt x="1649" y="752"/>
                  </a:lnTo>
                  <a:lnTo>
                    <a:pt x="1649" y="752"/>
                  </a:lnTo>
                  <a:lnTo>
                    <a:pt x="1649" y="752"/>
                  </a:lnTo>
                  <a:lnTo>
                    <a:pt x="1647" y="752"/>
                  </a:lnTo>
                  <a:lnTo>
                    <a:pt x="1649" y="752"/>
                  </a:lnTo>
                  <a:lnTo>
                    <a:pt x="1649" y="754"/>
                  </a:lnTo>
                  <a:lnTo>
                    <a:pt x="1649" y="754"/>
                  </a:lnTo>
                  <a:lnTo>
                    <a:pt x="1649" y="754"/>
                  </a:lnTo>
                  <a:lnTo>
                    <a:pt x="1649" y="754"/>
                  </a:lnTo>
                  <a:lnTo>
                    <a:pt x="1649" y="754"/>
                  </a:lnTo>
                  <a:lnTo>
                    <a:pt x="1649" y="754"/>
                  </a:lnTo>
                  <a:lnTo>
                    <a:pt x="1649" y="754"/>
                  </a:lnTo>
                  <a:lnTo>
                    <a:pt x="1651" y="754"/>
                  </a:lnTo>
                  <a:lnTo>
                    <a:pt x="1651" y="754"/>
                  </a:lnTo>
                  <a:lnTo>
                    <a:pt x="1651" y="754"/>
                  </a:lnTo>
                  <a:lnTo>
                    <a:pt x="1653" y="754"/>
                  </a:lnTo>
                  <a:lnTo>
                    <a:pt x="1651" y="754"/>
                  </a:lnTo>
                  <a:lnTo>
                    <a:pt x="1651" y="756"/>
                  </a:lnTo>
                  <a:lnTo>
                    <a:pt x="1651" y="756"/>
                  </a:lnTo>
                  <a:lnTo>
                    <a:pt x="1651" y="756"/>
                  </a:lnTo>
                  <a:lnTo>
                    <a:pt x="1653" y="756"/>
                  </a:lnTo>
                  <a:lnTo>
                    <a:pt x="1653" y="756"/>
                  </a:lnTo>
                  <a:lnTo>
                    <a:pt x="1653" y="756"/>
                  </a:lnTo>
                  <a:lnTo>
                    <a:pt x="1651" y="758"/>
                  </a:lnTo>
                  <a:lnTo>
                    <a:pt x="1651" y="758"/>
                  </a:lnTo>
                  <a:lnTo>
                    <a:pt x="1651" y="758"/>
                  </a:lnTo>
                  <a:lnTo>
                    <a:pt x="1653" y="758"/>
                  </a:lnTo>
                  <a:lnTo>
                    <a:pt x="1653" y="758"/>
                  </a:lnTo>
                  <a:lnTo>
                    <a:pt x="1653" y="758"/>
                  </a:lnTo>
                  <a:lnTo>
                    <a:pt x="1653" y="758"/>
                  </a:lnTo>
                  <a:lnTo>
                    <a:pt x="1653" y="758"/>
                  </a:lnTo>
                  <a:lnTo>
                    <a:pt x="1653" y="756"/>
                  </a:lnTo>
                  <a:lnTo>
                    <a:pt x="1655" y="756"/>
                  </a:lnTo>
                  <a:lnTo>
                    <a:pt x="1655" y="756"/>
                  </a:lnTo>
                  <a:lnTo>
                    <a:pt x="1655" y="758"/>
                  </a:lnTo>
                  <a:lnTo>
                    <a:pt x="1655" y="758"/>
                  </a:lnTo>
                  <a:lnTo>
                    <a:pt x="1655" y="758"/>
                  </a:lnTo>
                  <a:lnTo>
                    <a:pt x="1653" y="758"/>
                  </a:lnTo>
                  <a:lnTo>
                    <a:pt x="1653" y="760"/>
                  </a:lnTo>
                  <a:lnTo>
                    <a:pt x="1653" y="760"/>
                  </a:lnTo>
                  <a:lnTo>
                    <a:pt x="1653" y="760"/>
                  </a:lnTo>
                  <a:lnTo>
                    <a:pt x="1655" y="762"/>
                  </a:lnTo>
                  <a:lnTo>
                    <a:pt x="1655" y="762"/>
                  </a:lnTo>
                  <a:lnTo>
                    <a:pt x="1655" y="760"/>
                  </a:lnTo>
                  <a:lnTo>
                    <a:pt x="1657" y="760"/>
                  </a:lnTo>
                  <a:lnTo>
                    <a:pt x="1659" y="762"/>
                  </a:lnTo>
                  <a:lnTo>
                    <a:pt x="1659" y="762"/>
                  </a:lnTo>
                  <a:lnTo>
                    <a:pt x="1659" y="760"/>
                  </a:lnTo>
                  <a:lnTo>
                    <a:pt x="1659" y="760"/>
                  </a:lnTo>
                  <a:lnTo>
                    <a:pt x="1659" y="760"/>
                  </a:lnTo>
                  <a:lnTo>
                    <a:pt x="1661" y="760"/>
                  </a:lnTo>
                  <a:lnTo>
                    <a:pt x="1661" y="760"/>
                  </a:lnTo>
                  <a:lnTo>
                    <a:pt x="1663" y="760"/>
                  </a:lnTo>
                  <a:lnTo>
                    <a:pt x="1663" y="760"/>
                  </a:lnTo>
                  <a:lnTo>
                    <a:pt x="1663" y="760"/>
                  </a:lnTo>
                  <a:close/>
                  <a:moveTo>
                    <a:pt x="1630" y="746"/>
                  </a:moveTo>
                  <a:lnTo>
                    <a:pt x="1630" y="746"/>
                  </a:lnTo>
                  <a:lnTo>
                    <a:pt x="1630" y="746"/>
                  </a:lnTo>
                  <a:lnTo>
                    <a:pt x="1630" y="746"/>
                  </a:lnTo>
                  <a:lnTo>
                    <a:pt x="1630" y="748"/>
                  </a:lnTo>
                  <a:lnTo>
                    <a:pt x="1630" y="748"/>
                  </a:lnTo>
                  <a:lnTo>
                    <a:pt x="1632" y="748"/>
                  </a:lnTo>
                  <a:lnTo>
                    <a:pt x="1632" y="750"/>
                  </a:lnTo>
                  <a:lnTo>
                    <a:pt x="1632" y="748"/>
                  </a:lnTo>
                  <a:lnTo>
                    <a:pt x="1632" y="750"/>
                  </a:lnTo>
                  <a:lnTo>
                    <a:pt x="1634" y="750"/>
                  </a:lnTo>
                  <a:lnTo>
                    <a:pt x="1634" y="750"/>
                  </a:lnTo>
                  <a:lnTo>
                    <a:pt x="1632" y="750"/>
                  </a:lnTo>
                  <a:lnTo>
                    <a:pt x="1632" y="750"/>
                  </a:lnTo>
                  <a:lnTo>
                    <a:pt x="1632" y="750"/>
                  </a:lnTo>
                  <a:lnTo>
                    <a:pt x="1632" y="752"/>
                  </a:lnTo>
                  <a:lnTo>
                    <a:pt x="1632" y="752"/>
                  </a:lnTo>
                  <a:lnTo>
                    <a:pt x="1632" y="752"/>
                  </a:lnTo>
                  <a:lnTo>
                    <a:pt x="1634" y="752"/>
                  </a:lnTo>
                  <a:lnTo>
                    <a:pt x="1634" y="752"/>
                  </a:lnTo>
                  <a:lnTo>
                    <a:pt x="1634" y="752"/>
                  </a:lnTo>
                  <a:lnTo>
                    <a:pt x="1636" y="752"/>
                  </a:lnTo>
                  <a:lnTo>
                    <a:pt x="1636" y="752"/>
                  </a:lnTo>
                  <a:lnTo>
                    <a:pt x="1636" y="754"/>
                  </a:lnTo>
                  <a:lnTo>
                    <a:pt x="1638" y="750"/>
                  </a:lnTo>
                  <a:lnTo>
                    <a:pt x="1638" y="750"/>
                  </a:lnTo>
                  <a:lnTo>
                    <a:pt x="1634" y="746"/>
                  </a:lnTo>
                  <a:lnTo>
                    <a:pt x="1634" y="746"/>
                  </a:lnTo>
                  <a:lnTo>
                    <a:pt x="1632" y="744"/>
                  </a:lnTo>
                  <a:lnTo>
                    <a:pt x="1632" y="744"/>
                  </a:lnTo>
                  <a:lnTo>
                    <a:pt x="1630" y="744"/>
                  </a:lnTo>
                  <a:lnTo>
                    <a:pt x="1630" y="744"/>
                  </a:lnTo>
                  <a:lnTo>
                    <a:pt x="1630" y="746"/>
                  </a:lnTo>
                  <a:lnTo>
                    <a:pt x="1630" y="746"/>
                  </a:lnTo>
                  <a:lnTo>
                    <a:pt x="1630" y="746"/>
                  </a:lnTo>
                  <a:lnTo>
                    <a:pt x="1630" y="746"/>
                  </a:lnTo>
                  <a:close/>
                  <a:moveTo>
                    <a:pt x="1643" y="766"/>
                  </a:moveTo>
                  <a:lnTo>
                    <a:pt x="1643" y="766"/>
                  </a:lnTo>
                  <a:lnTo>
                    <a:pt x="1641" y="766"/>
                  </a:lnTo>
                  <a:lnTo>
                    <a:pt x="1641" y="766"/>
                  </a:lnTo>
                  <a:lnTo>
                    <a:pt x="1641" y="766"/>
                  </a:lnTo>
                  <a:lnTo>
                    <a:pt x="1641" y="764"/>
                  </a:lnTo>
                  <a:lnTo>
                    <a:pt x="1641" y="764"/>
                  </a:lnTo>
                  <a:lnTo>
                    <a:pt x="1641" y="764"/>
                  </a:lnTo>
                  <a:lnTo>
                    <a:pt x="1641" y="764"/>
                  </a:lnTo>
                  <a:lnTo>
                    <a:pt x="1641" y="762"/>
                  </a:lnTo>
                  <a:lnTo>
                    <a:pt x="1638" y="762"/>
                  </a:lnTo>
                  <a:lnTo>
                    <a:pt x="1638" y="762"/>
                  </a:lnTo>
                  <a:lnTo>
                    <a:pt x="1638" y="762"/>
                  </a:lnTo>
                  <a:lnTo>
                    <a:pt x="1638" y="762"/>
                  </a:lnTo>
                  <a:lnTo>
                    <a:pt x="1638" y="762"/>
                  </a:lnTo>
                  <a:lnTo>
                    <a:pt x="1636" y="762"/>
                  </a:lnTo>
                  <a:lnTo>
                    <a:pt x="1636" y="762"/>
                  </a:lnTo>
                  <a:lnTo>
                    <a:pt x="1636" y="760"/>
                  </a:lnTo>
                  <a:lnTo>
                    <a:pt x="1636" y="760"/>
                  </a:lnTo>
                  <a:lnTo>
                    <a:pt x="1636" y="760"/>
                  </a:lnTo>
                  <a:lnTo>
                    <a:pt x="1636" y="760"/>
                  </a:lnTo>
                  <a:lnTo>
                    <a:pt x="1636" y="760"/>
                  </a:lnTo>
                  <a:lnTo>
                    <a:pt x="1634" y="758"/>
                  </a:lnTo>
                  <a:lnTo>
                    <a:pt x="1634" y="758"/>
                  </a:lnTo>
                  <a:lnTo>
                    <a:pt x="1634" y="758"/>
                  </a:lnTo>
                  <a:lnTo>
                    <a:pt x="1634" y="758"/>
                  </a:lnTo>
                  <a:lnTo>
                    <a:pt x="1632" y="758"/>
                  </a:lnTo>
                  <a:lnTo>
                    <a:pt x="1632" y="758"/>
                  </a:lnTo>
                  <a:lnTo>
                    <a:pt x="1632" y="758"/>
                  </a:lnTo>
                  <a:lnTo>
                    <a:pt x="1632" y="756"/>
                  </a:lnTo>
                  <a:lnTo>
                    <a:pt x="1632" y="756"/>
                  </a:lnTo>
                  <a:lnTo>
                    <a:pt x="1632" y="758"/>
                  </a:lnTo>
                  <a:lnTo>
                    <a:pt x="1632" y="758"/>
                  </a:lnTo>
                  <a:lnTo>
                    <a:pt x="1632" y="756"/>
                  </a:lnTo>
                  <a:lnTo>
                    <a:pt x="1630" y="754"/>
                  </a:lnTo>
                  <a:lnTo>
                    <a:pt x="1630" y="754"/>
                  </a:lnTo>
                  <a:lnTo>
                    <a:pt x="1628" y="754"/>
                  </a:lnTo>
                  <a:lnTo>
                    <a:pt x="1628" y="754"/>
                  </a:lnTo>
                  <a:lnTo>
                    <a:pt x="1628" y="754"/>
                  </a:lnTo>
                  <a:lnTo>
                    <a:pt x="1626" y="754"/>
                  </a:lnTo>
                  <a:lnTo>
                    <a:pt x="1628" y="754"/>
                  </a:lnTo>
                  <a:lnTo>
                    <a:pt x="1628" y="752"/>
                  </a:lnTo>
                  <a:lnTo>
                    <a:pt x="1628" y="752"/>
                  </a:lnTo>
                  <a:lnTo>
                    <a:pt x="1626" y="752"/>
                  </a:lnTo>
                  <a:lnTo>
                    <a:pt x="1626" y="750"/>
                  </a:lnTo>
                  <a:lnTo>
                    <a:pt x="1626" y="750"/>
                  </a:lnTo>
                  <a:lnTo>
                    <a:pt x="1628" y="752"/>
                  </a:lnTo>
                  <a:lnTo>
                    <a:pt x="1630" y="752"/>
                  </a:lnTo>
                  <a:lnTo>
                    <a:pt x="1628" y="750"/>
                  </a:lnTo>
                  <a:lnTo>
                    <a:pt x="1628" y="750"/>
                  </a:lnTo>
                  <a:lnTo>
                    <a:pt x="1628" y="750"/>
                  </a:lnTo>
                  <a:lnTo>
                    <a:pt x="1628" y="750"/>
                  </a:lnTo>
                  <a:lnTo>
                    <a:pt x="1626" y="748"/>
                  </a:lnTo>
                  <a:lnTo>
                    <a:pt x="1626" y="748"/>
                  </a:lnTo>
                  <a:lnTo>
                    <a:pt x="1624" y="748"/>
                  </a:lnTo>
                  <a:lnTo>
                    <a:pt x="1624" y="746"/>
                  </a:lnTo>
                  <a:lnTo>
                    <a:pt x="1624" y="746"/>
                  </a:lnTo>
                  <a:lnTo>
                    <a:pt x="1624" y="746"/>
                  </a:lnTo>
                  <a:lnTo>
                    <a:pt x="1622" y="746"/>
                  </a:lnTo>
                  <a:lnTo>
                    <a:pt x="1622" y="746"/>
                  </a:lnTo>
                  <a:lnTo>
                    <a:pt x="1622" y="744"/>
                  </a:lnTo>
                  <a:lnTo>
                    <a:pt x="1622" y="744"/>
                  </a:lnTo>
                  <a:lnTo>
                    <a:pt x="1622" y="744"/>
                  </a:lnTo>
                  <a:lnTo>
                    <a:pt x="1622" y="744"/>
                  </a:lnTo>
                  <a:lnTo>
                    <a:pt x="1620" y="744"/>
                  </a:lnTo>
                  <a:lnTo>
                    <a:pt x="1620" y="746"/>
                  </a:lnTo>
                  <a:lnTo>
                    <a:pt x="1620" y="746"/>
                  </a:lnTo>
                  <a:lnTo>
                    <a:pt x="1620" y="746"/>
                  </a:lnTo>
                  <a:lnTo>
                    <a:pt x="1622" y="748"/>
                  </a:lnTo>
                  <a:lnTo>
                    <a:pt x="1620" y="748"/>
                  </a:lnTo>
                  <a:lnTo>
                    <a:pt x="1620" y="748"/>
                  </a:lnTo>
                  <a:lnTo>
                    <a:pt x="1620" y="748"/>
                  </a:lnTo>
                  <a:lnTo>
                    <a:pt x="1622" y="748"/>
                  </a:lnTo>
                  <a:lnTo>
                    <a:pt x="1622" y="748"/>
                  </a:lnTo>
                  <a:lnTo>
                    <a:pt x="1622" y="750"/>
                  </a:lnTo>
                  <a:lnTo>
                    <a:pt x="1622" y="750"/>
                  </a:lnTo>
                  <a:lnTo>
                    <a:pt x="1620" y="750"/>
                  </a:lnTo>
                  <a:lnTo>
                    <a:pt x="1620" y="750"/>
                  </a:lnTo>
                  <a:lnTo>
                    <a:pt x="1622" y="750"/>
                  </a:lnTo>
                  <a:lnTo>
                    <a:pt x="1622" y="750"/>
                  </a:lnTo>
                  <a:lnTo>
                    <a:pt x="1622" y="750"/>
                  </a:lnTo>
                  <a:lnTo>
                    <a:pt x="1624" y="750"/>
                  </a:lnTo>
                  <a:lnTo>
                    <a:pt x="1624" y="752"/>
                  </a:lnTo>
                  <a:lnTo>
                    <a:pt x="1622" y="752"/>
                  </a:lnTo>
                  <a:lnTo>
                    <a:pt x="1622" y="752"/>
                  </a:lnTo>
                  <a:lnTo>
                    <a:pt x="1622" y="752"/>
                  </a:lnTo>
                  <a:lnTo>
                    <a:pt x="1622" y="754"/>
                  </a:lnTo>
                  <a:lnTo>
                    <a:pt x="1622" y="754"/>
                  </a:lnTo>
                  <a:lnTo>
                    <a:pt x="1622" y="754"/>
                  </a:lnTo>
                  <a:lnTo>
                    <a:pt x="1624" y="756"/>
                  </a:lnTo>
                  <a:lnTo>
                    <a:pt x="1626" y="756"/>
                  </a:lnTo>
                  <a:lnTo>
                    <a:pt x="1624" y="758"/>
                  </a:lnTo>
                  <a:lnTo>
                    <a:pt x="1626" y="758"/>
                  </a:lnTo>
                  <a:lnTo>
                    <a:pt x="1626" y="758"/>
                  </a:lnTo>
                  <a:lnTo>
                    <a:pt x="1626" y="758"/>
                  </a:lnTo>
                  <a:lnTo>
                    <a:pt x="1626" y="758"/>
                  </a:lnTo>
                  <a:lnTo>
                    <a:pt x="1626" y="760"/>
                  </a:lnTo>
                  <a:lnTo>
                    <a:pt x="1626" y="760"/>
                  </a:lnTo>
                  <a:lnTo>
                    <a:pt x="1626" y="758"/>
                  </a:lnTo>
                  <a:lnTo>
                    <a:pt x="1628" y="758"/>
                  </a:lnTo>
                  <a:lnTo>
                    <a:pt x="1628" y="758"/>
                  </a:lnTo>
                  <a:lnTo>
                    <a:pt x="1628" y="758"/>
                  </a:lnTo>
                  <a:lnTo>
                    <a:pt x="1628" y="758"/>
                  </a:lnTo>
                  <a:lnTo>
                    <a:pt x="1628" y="760"/>
                  </a:lnTo>
                  <a:lnTo>
                    <a:pt x="1628" y="760"/>
                  </a:lnTo>
                  <a:lnTo>
                    <a:pt x="1628" y="760"/>
                  </a:lnTo>
                  <a:lnTo>
                    <a:pt x="1628" y="760"/>
                  </a:lnTo>
                  <a:lnTo>
                    <a:pt x="1628" y="760"/>
                  </a:lnTo>
                  <a:lnTo>
                    <a:pt x="1630" y="760"/>
                  </a:lnTo>
                  <a:lnTo>
                    <a:pt x="1630" y="760"/>
                  </a:lnTo>
                  <a:lnTo>
                    <a:pt x="1630" y="760"/>
                  </a:lnTo>
                  <a:lnTo>
                    <a:pt x="1630" y="762"/>
                  </a:lnTo>
                  <a:lnTo>
                    <a:pt x="1630" y="762"/>
                  </a:lnTo>
                  <a:lnTo>
                    <a:pt x="1630" y="762"/>
                  </a:lnTo>
                  <a:lnTo>
                    <a:pt x="1632" y="762"/>
                  </a:lnTo>
                  <a:lnTo>
                    <a:pt x="1632" y="764"/>
                  </a:lnTo>
                  <a:lnTo>
                    <a:pt x="1634" y="762"/>
                  </a:lnTo>
                  <a:lnTo>
                    <a:pt x="1634" y="762"/>
                  </a:lnTo>
                  <a:lnTo>
                    <a:pt x="1634" y="762"/>
                  </a:lnTo>
                  <a:lnTo>
                    <a:pt x="1634" y="762"/>
                  </a:lnTo>
                  <a:lnTo>
                    <a:pt x="1634" y="764"/>
                  </a:lnTo>
                  <a:lnTo>
                    <a:pt x="1634" y="764"/>
                  </a:lnTo>
                  <a:lnTo>
                    <a:pt x="1634" y="764"/>
                  </a:lnTo>
                  <a:lnTo>
                    <a:pt x="1634" y="764"/>
                  </a:lnTo>
                  <a:lnTo>
                    <a:pt x="1638" y="766"/>
                  </a:lnTo>
                  <a:lnTo>
                    <a:pt x="1638" y="766"/>
                  </a:lnTo>
                  <a:lnTo>
                    <a:pt x="1636" y="766"/>
                  </a:lnTo>
                  <a:lnTo>
                    <a:pt x="1636" y="766"/>
                  </a:lnTo>
                  <a:lnTo>
                    <a:pt x="1638" y="768"/>
                  </a:lnTo>
                  <a:lnTo>
                    <a:pt x="1638" y="768"/>
                  </a:lnTo>
                  <a:lnTo>
                    <a:pt x="1638" y="768"/>
                  </a:lnTo>
                  <a:lnTo>
                    <a:pt x="1641" y="768"/>
                  </a:lnTo>
                  <a:lnTo>
                    <a:pt x="1641" y="768"/>
                  </a:lnTo>
                  <a:lnTo>
                    <a:pt x="1641" y="768"/>
                  </a:lnTo>
                  <a:lnTo>
                    <a:pt x="1643" y="768"/>
                  </a:lnTo>
                  <a:lnTo>
                    <a:pt x="1643" y="768"/>
                  </a:lnTo>
                  <a:lnTo>
                    <a:pt x="1645" y="768"/>
                  </a:lnTo>
                  <a:lnTo>
                    <a:pt x="1643" y="766"/>
                  </a:lnTo>
                  <a:lnTo>
                    <a:pt x="1643" y="766"/>
                  </a:lnTo>
                  <a:close/>
                  <a:moveTo>
                    <a:pt x="1612" y="736"/>
                  </a:moveTo>
                  <a:lnTo>
                    <a:pt x="1612" y="736"/>
                  </a:lnTo>
                  <a:lnTo>
                    <a:pt x="1614" y="734"/>
                  </a:lnTo>
                  <a:lnTo>
                    <a:pt x="1614" y="734"/>
                  </a:lnTo>
                  <a:lnTo>
                    <a:pt x="1614" y="734"/>
                  </a:lnTo>
                  <a:lnTo>
                    <a:pt x="1614" y="734"/>
                  </a:lnTo>
                  <a:lnTo>
                    <a:pt x="1614" y="732"/>
                  </a:lnTo>
                  <a:lnTo>
                    <a:pt x="1614" y="732"/>
                  </a:lnTo>
                  <a:lnTo>
                    <a:pt x="1612" y="732"/>
                  </a:lnTo>
                  <a:lnTo>
                    <a:pt x="1612" y="732"/>
                  </a:lnTo>
                  <a:lnTo>
                    <a:pt x="1612" y="732"/>
                  </a:lnTo>
                  <a:lnTo>
                    <a:pt x="1610" y="732"/>
                  </a:lnTo>
                  <a:lnTo>
                    <a:pt x="1608" y="732"/>
                  </a:lnTo>
                  <a:lnTo>
                    <a:pt x="1608" y="732"/>
                  </a:lnTo>
                  <a:lnTo>
                    <a:pt x="1608" y="734"/>
                  </a:lnTo>
                  <a:lnTo>
                    <a:pt x="1610" y="734"/>
                  </a:lnTo>
                  <a:lnTo>
                    <a:pt x="1610" y="734"/>
                  </a:lnTo>
                  <a:lnTo>
                    <a:pt x="1612" y="736"/>
                  </a:lnTo>
                  <a:lnTo>
                    <a:pt x="1612" y="736"/>
                  </a:lnTo>
                  <a:lnTo>
                    <a:pt x="1612" y="736"/>
                  </a:lnTo>
                  <a:close/>
                  <a:moveTo>
                    <a:pt x="1618" y="744"/>
                  </a:moveTo>
                  <a:lnTo>
                    <a:pt x="1618" y="744"/>
                  </a:lnTo>
                  <a:lnTo>
                    <a:pt x="1618" y="744"/>
                  </a:lnTo>
                  <a:lnTo>
                    <a:pt x="1616" y="744"/>
                  </a:lnTo>
                  <a:lnTo>
                    <a:pt x="1616" y="746"/>
                  </a:lnTo>
                  <a:lnTo>
                    <a:pt x="1616" y="744"/>
                  </a:lnTo>
                  <a:lnTo>
                    <a:pt x="1616" y="744"/>
                  </a:lnTo>
                  <a:lnTo>
                    <a:pt x="1616" y="742"/>
                  </a:lnTo>
                  <a:lnTo>
                    <a:pt x="1616" y="742"/>
                  </a:lnTo>
                  <a:lnTo>
                    <a:pt x="1614" y="742"/>
                  </a:lnTo>
                  <a:lnTo>
                    <a:pt x="1614" y="742"/>
                  </a:lnTo>
                  <a:lnTo>
                    <a:pt x="1614" y="742"/>
                  </a:lnTo>
                  <a:lnTo>
                    <a:pt x="1614" y="742"/>
                  </a:lnTo>
                  <a:lnTo>
                    <a:pt x="1614" y="744"/>
                  </a:lnTo>
                  <a:lnTo>
                    <a:pt x="1614" y="744"/>
                  </a:lnTo>
                  <a:lnTo>
                    <a:pt x="1612" y="744"/>
                  </a:lnTo>
                  <a:lnTo>
                    <a:pt x="1612" y="744"/>
                  </a:lnTo>
                  <a:lnTo>
                    <a:pt x="1612" y="744"/>
                  </a:lnTo>
                  <a:lnTo>
                    <a:pt x="1612" y="746"/>
                  </a:lnTo>
                  <a:lnTo>
                    <a:pt x="1614" y="746"/>
                  </a:lnTo>
                  <a:lnTo>
                    <a:pt x="1614" y="746"/>
                  </a:lnTo>
                  <a:lnTo>
                    <a:pt x="1614" y="746"/>
                  </a:lnTo>
                  <a:lnTo>
                    <a:pt x="1612" y="746"/>
                  </a:lnTo>
                  <a:lnTo>
                    <a:pt x="1612" y="746"/>
                  </a:lnTo>
                  <a:lnTo>
                    <a:pt x="1612" y="748"/>
                  </a:lnTo>
                  <a:lnTo>
                    <a:pt x="1614" y="748"/>
                  </a:lnTo>
                  <a:lnTo>
                    <a:pt x="1614" y="748"/>
                  </a:lnTo>
                  <a:lnTo>
                    <a:pt x="1614" y="750"/>
                  </a:lnTo>
                  <a:lnTo>
                    <a:pt x="1614" y="750"/>
                  </a:lnTo>
                  <a:lnTo>
                    <a:pt x="1614" y="748"/>
                  </a:lnTo>
                  <a:lnTo>
                    <a:pt x="1614" y="748"/>
                  </a:lnTo>
                  <a:lnTo>
                    <a:pt x="1614" y="748"/>
                  </a:lnTo>
                  <a:lnTo>
                    <a:pt x="1614" y="748"/>
                  </a:lnTo>
                  <a:lnTo>
                    <a:pt x="1616" y="748"/>
                  </a:lnTo>
                  <a:lnTo>
                    <a:pt x="1616" y="748"/>
                  </a:lnTo>
                  <a:lnTo>
                    <a:pt x="1616" y="748"/>
                  </a:lnTo>
                  <a:lnTo>
                    <a:pt x="1616" y="748"/>
                  </a:lnTo>
                  <a:lnTo>
                    <a:pt x="1616" y="748"/>
                  </a:lnTo>
                  <a:lnTo>
                    <a:pt x="1618" y="748"/>
                  </a:lnTo>
                  <a:lnTo>
                    <a:pt x="1618" y="748"/>
                  </a:lnTo>
                  <a:lnTo>
                    <a:pt x="1618" y="748"/>
                  </a:lnTo>
                  <a:lnTo>
                    <a:pt x="1618" y="746"/>
                  </a:lnTo>
                  <a:lnTo>
                    <a:pt x="1618" y="746"/>
                  </a:lnTo>
                  <a:lnTo>
                    <a:pt x="1618" y="746"/>
                  </a:lnTo>
                  <a:lnTo>
                    <a:pt x="1618" y="744"/>
                  </a:lnTo>
                  <a:lnTo>
                    <a:pt x="1618" y="744"/>
                  </a:lnTo>
                  <a:close/>
                  <a:moveTo>
                    <a:pt x="1106" y="531"/>
                  </a:moveTo>
                  <a:lnTo>
                    <a:pt x="1108" y="531"/>
                  </a:lnTo>
                  <a:lnTo>
                    <a:pt x="1108" y="529"/>
                  </a:lnTo>
                  <a:lnTo>
                    <a:pt x="1108" y="529"/>
                  </a:lnTo>
                  <a:lnTo>
                    <a:pt x="1108" y="529"/>
                  </a:lnTo>
                  <a:lnTo>
                    <a:pt x="1106" y="529"/>
                  </a:lnTo>
                  <a:lnTo>
                    <a:pt x="1106" y="529"/>
                  </a:lnTo>
                  <a:lnTo>
                    <a:pt x="1106" y="531"/>
                  </a:lnTo>
                  <a:lnTo>
                    <a:pt x="1106" y="531"/>
                  </a:lnTo>
                  <a:lnTo>
                    <a:pt x="1106" y="531"/>
                  </a:lnTo>
                  <a:lnTo>
                    <a:pt x="1106" y="531"/>
                  </a:lnTo>
                  <a:lnTo>
                    <a:pt x="1106" y="531"/>
                  </a:lnTo>
                  <a:close/>
                  <a:moveTo>
                    <a:pt x="780" y="236"/>
                  </a:moveTo>
                  <a:lnTo>
                    <a:pt x="780" y="236"/>
                  </a:lnTo>
                  <a:lnTo>
                    <a:pt x="782" y="236"/>
                  </a:lnTo>
                  <a:lnTo>
                    <a:pt x="782" y="236"/>
                  </a:lnTo>
                  <a:lnTo>
                    <a:pt x="786" y="236"/>
                  </a:lnTo>
                  <a:lnTo>
                    <a:pt x="786" y="236"/>
                  </a:lnTo>
                  <a:lnTo>
                    <a:pt x="786" y="236"/>
                  </a:lnTo>
                  <a:lnTo>
                    <a:pt x="786" y="236"/>
                  </a:lnTo>
                  <a:lnTo>
                    <a:pt x="786" y="236"/>
                  </a:lnTo>
                  <a:lnTo>
                    <a:pt x="786" y="236"/>
                  </a:lnTo>
                  <a:lnTo>
                    <a:pt x="789" y="234"/>
                  </a:lnTo>
                  <a:lnTo>
                    <a:pt x="789" y="234"/>
                  </a:lnTo>
                  <a:lnTo>
                    <a:pt x="789" y="234"/>
                  </a:lnTo>
                  <a:lnTo>
                    <a:pt x="789" y="234"/>
                  </a:lnTo>
                  <a:lnTo>
                    <a:pt x="789" y="234"/>
                  </a:lnTo>
                  <a:lnTo>
                    <a:pt x="789" y="234"/>
                  </a:lnTo>
                  <a:lnTo>
                    <a:pt x="789" y="234"/>
                  </a:lnTo>
                  <a:lnTo>
                    <a:pt x="791" y="234"/>
                  </a:lnTo>
                  <a:lnTo>
                    <a:pt x="791" y="234"/>
                  </a:lnTo>
                  <a:lnTo>
                    <a:pt x="789" y="234"/>
                  </a:lnTo>
                  <a:lnTo>
                    <a:pt x="776" y="238"/>
                  </a:lnTo>
                  <a:lnTo>
                    <a:pt x="778" y="238"/>
                  </a:lnTo>
                  <a:lnTo>
                    <a:pt x="780" y="236"/>
                  </a:lnTo>
                  <a:close/>
                  <a:moveTo>
                    <a:pt x="776" y="238"/>
                  </a:moveTo>
                  <a:lnTo>
                    <a:pt x="776" y="238"/>
                  </a:lnTo>
                  <a:lnTo>
                    <a:pt x="776" y="238"/>
                  </a:lnTo>
                  <a:lnTo>
                    <a:pt x="776" y="238"/>
                  </a:lnTo>
                  <a:close/>
                  <a:moveTo>
                    <a:pt x="776" y="238"/>
                  </a:moveTo>
                  <a:lnTo>
                    <a:pt x="776" y="238"/>
                  </a:lnTo>
                  <a:lnTo>
                    <a:pt x="774" y="238"/>
                  </a:lnTo>
                  <a:lnTo>
                    <a:pt x="776" y="238"/>
                  </a:lnTo>
                  <a:lnTo>
                    <a:pt x="776" y="238"/>
                  </a:lnTo>
                  <a:close/>
                  <a:moveTo>
                    <a:pt x="774" y="238"/>
                  </a:moveTo>
                  <a:lnTo>
                    <a:pt x="774" y="238"/>
                  </a:lnTo>
                  <a:lnTo>
                    <a:pt x="774" y="238"/>
                  </a:lnTo>
                  <a:lnTo>
                    <a:pt x="774" y="238"/>
                  </a:lnTo>
                  <a:lnTo>
                    <a:pt x="774" y="238"/>
                  </a:lnTo>
                  <a:close/>
                  <a:moveTo>
                    <a:pt x="770" y="240"/>
                  </a:moveTo>
                  <a:lnTo>
                    <a:pt x="770" y="240"/>
                  </a:lnTo>
                  <a:lnTo>
                    <a:pt x="770" y="240"/>
                  </a:lnTo>
                  <a:lnTo>
                    <a:pt x="770" y="240"/>
                  </a:lnTo>
                  <a:lnTo>
                    <a:pt x="772" y="238"/>
                  </a:lnTo>
                  <a:lnTo>
                    <a:pt x="772" y="238"/>
                  </a:lnTo>
                  <a:lnTo>
                    <a:pt x="774" y="238"/>
                  </a:lnTo>
                  <a:lnTo>
                    <a:pt x="768" y="240"/>
                  </a:lnTo>
                  <a:lnTo>
                    <a:pt x="768" y="240"/>
                  </a:lnTo>
                  <a:lnTo>
                    <a:pt x="768" y="240"/>
                  </a:lnTo>
                  <a:lnTo>
                    <a:pt x="768" y="240"/>
                  </a:lnTo>
                  <a:lnTo>
                    <a:pt x="770" y="240"/>
                  </a:lnTo>
                  <a:close/>
                  <a:moveTo>
                    <a:pt x="758" y="246"/>
                  </a:moveTo>
                  <a:lnTo>
                    <a:pt x="760" y="244"/>
                  </a:lnTo>
                  <a:lnTo>
                    <a:pt x="760" y="244"/>
                  </a:lnTo>
                  <a:lnTo>
                    <a:pt x="760" y="244"/>
                  </a:lnTo>
                  <a:lnTo>
                    <a:pt x="760" y="244"/>
                  </a:lnTo>
                  <a:lnTo>
                    <a:pt x="760" y="244"/>
                  </a:lnTo>
                  <a:lnTo>
                    <a:pt x="758" y="244"/>
                  </a:lnTo>
                  <a:lnTo>
                    <a:pt x="758" y="244"/>
                  </a:lnTo>
                  <a:lnTo>
                    <a:pt x="758" y="246"/>
                  </a:lnTo>
                  <a:lnTo>
                    <a:pt x="758" y="246"/>
                  </a:lnTo>
                  <a:lnTo>
                    <a:pt x="758" y="246"/>
                  </a:lnTo>
                  <a:close/>
                  <a:moveTo>
                    <a:pt x="762" y="244"/>
                  </a:moveTo>
                  <a:lnTo>
                    <a:pt x="764" y="242"/>
                  </a:lnTo>
                  <a:lnTo>
                    <a:pt x="764" y="242"/>
                  </a:lnTo>
                  <a:lnTo>
                    <a:pt x="766" y="242"/>
                  </a:lnTo>
                  <a:lnTo>
                    <a:pt x="766" y="242"/>
                  </a:lnTo>
                  <a:lnTo>
                    <a:pt x="764" y="242"/>
                  </a:lnTo>
                  <a:lnTo>
                    <a:pt x="762" y="242"/>
                  </a:lnTo>
                  <a:lnTo>
                    <a:pt x="762" y="242"/>
                  </a:lnTo>
                  <a:lnTo>
                    <a:pt x="762" y="244"/>
                  </a:lnTo>
                  <a:lnTo>
                    <a:pt x="762" y="244"/>
                  </a:lnTo>
                  <a:lnTo>
                    <a:pt x="762" y="244"/>
                  </a:lnTo>
                  <a:lnTo>
                    <a:pt x="762" y="244"/>
                  </a:lnTo>
                  <a:close/>
                  <a:moveTo>
                    <a:pt x="844" y="84"/>
                  </a:moveTo>
                  <a:lnTo>
                    <a:pt x="844" y="82"/>
                  </a:lnTo>
                  <a:lnTo>
                    <a:pt x="844" y="80"/>
                  </a:lnTo>
                  <a:lnTo>
                    <a:pt x="844" y="78"/>
                  </a:lnTo>
                  <a:lnTo>
                    <a:pt x="846" y="78"/>
                  </a:lnTo>
                  <a:lnTo>
                    <a:pt x="846" y="78"/>
                  </a:lnTo>
                  <a:lnTo>
                    <a:pt x="844" y="78"/>
                  </a:lnTo>
                  <a:lnTo>
                    <a:pt x="844" y="80"/>
                  </a:lnTo>
                  <a:lnTo>
                    <a:pt x="844" y="82"/>
                  </a:lnTo>
                  <a:lnTo>
                    <a:pt x="844" y="84"/>
                  </a:lnTo>
                  <a:lnTo>
                    <a:pt x="844" y="86"/>
                  </a:lnTo>
                  <a:lnTo>
                    <a:pt x="844" y="86"/>
                  </a:lnTo>
                  <a:lnTo>
                    <a:pt x="844" y="88"/>
                  </a:lnTo>
                  <a:lnTo>
                    <a:pt x="844" y="84"/>
                  </a:lnTo>
                  <a:lnTo>
                    <a:pt x="844" y="84"/>
                  </a:lnTo>
                  <a:close/>
                  <a:moveTo>
                    <a:pt x="846" y="646"/>
                  </a:moveTo>
                  <a:lnTo>
                    <a:pt x="846" y="648"/>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close/>
                  <a:moveTo>
                    <a:pt x="1235" y="64"/>
                  </a:moveTo>
                  <a:lnTo>
                    <a:pt x="1235" y="64"/>
                  </a:lnTo>
                  <a:lnTo>
                    <a:pt x="1235" y="64"/>
                  </a:lnTo>
                  <a:lnTo>
                    <a:pt x="1237" y="64"/>
                  </a:lnTo>
                  <a:lnTo>
                    <a:pt x="1239" y="64"/>
                  </a:lnTo>
                  <a:lnTo>
                    <a:pt x="1241" y="66"/>
                  </a:lnTo>
                  <a:lnTo>
                    <a:pt x="1241" y="68"/>
                  </a:lnTo>
                  <a:lnTo>
                    <a:pt x="1243" y="68"/>
                  </a:lnTo>
                  <a:lnTo>
                    <a:pt x="1243" y="68"/>
                  </a:lnTo>
                  <a:lnTo>
                    <a:pt x="1241" y="66"/>
                  </a:lnTo>
                  <a:lnTo>
                    <a:pt x="1241" y="66"/>
                  </a:lnTo>
                  <a:lnTo>
                    <a:pt x="1239" y="64"/>
                  </a:lnTo>
                  <a:lnTo>
                    <a:pt x="1233" y="61"/>
                  </a:lnTo>
                  <a:lnTo>
                    <a:pt x="1233" y="61"/>
                  </a:lnTo>
                  <a:lnTo>
                    <a:pt x="1233" y="64"/>
                  </a:lnTo>
                  <a:lnTo>
                    <a:pt x="1235" y="64"/>
                  </a:lnTo>
                  <a:close/>
                  <a:moveTo>
                    <a:pt x="873" y="47"/>
                  </a:moveTo>
                  <a:lnTo>
                    <a:pt x="879" y="49"/>
                  </a:lnTo>
                  <a:lnTo>
                    <a:pt x="873" y="47"/>
                  </a:lnTo>
                  <a:lnTo>
                    <a:pt x="870" y="47"/>
                  </a:lnTo>
                  <a:lnTo>
                    <a:pt x="870" y="49"/>
                  </a:lnTo>
                  <a:lnTo>
                    <a:pt x="870" y="49"/>
                  </a:lnTo>
                  <a:lnTo>
                    <a:pt x="870" y="47"/>
                  </a:lnTo>
                  <a:lnTo>
                    <a:pt x="873" y="47"/>
                  </a:lnTo>
                  <a:close/>
                  <a:moveTo>
                    <a:pt x="856" y="64"/>
                  </a:moveTo>
                  <a:lnTo>
                    <a:pt x="856" y="61"/>
                  </a:lnTo>
                  <a:lnTo>
                    <a:pt x="858" y="59"/>
                  </a:lnTo>
                  <a:lnTo>
                    <a:pt x="858" y="59"/>
                  </a:lnTo>
                  <a:lnTo>
                    <a:pt x="858" y="59"/>
                  </a:lnTo>
                  <a:lnTo>
                    <a:pt x="858" y="59"/>
                  </a:lnTo>
                  <a:lnTo>
                    <a:pt x="856" y="59"/>
                  </a:lnTo>
                  <a:lnTo>
                    <a:pt x="856" y="61"/>
                  </a:lnTo>
                  <a:lnTo>
                    <a:pt x="856" y="61"/>
                  </a:lnTo>
                  <a:lnTo>
                    <a:pt x="854" y="64"/>
                  </a:lnTo>
                  <a:lnTo>
                    <a:pt x="852" y="66"/>
                  </a:lnTo>
                  <a:lnTo>
                    <a:pt x="854" y="64"/>
                  </a:lnTo>
                  <a:lnTo>
                    <a:pt x="856" y="64"/>
                  </a:lnTo>
                  <a:close/>
                  <a:moveTo>
                    <a:pt x="860" y="57"/>
                  </a:moveTo>
                  <a:lnTo>
                    <a:pt x="860" y="55"/>
                  </a:lnTo>
                  <a:lnTo>
                    <a:pt x="862" y="53"/>
                  </a:lnTo>
                  <a:lnTo>
                    <a:pt x="866" y="51"/>
                  </a:lnTo>
                  <a:lnTo>
                    <a:pt x="864" y="51"/>
                  </a:lnTo>
                  <a:lnTo>
                    <a:pt x="860" y="55"/>
                  </a:lnTo>
                  <a:lnTo>
                    <a:pt x="860" y="55"/>
                  </a:lnTo>
                  <a:lnTo>
                    <a:pt x="858" y="57"/>
                  </a:lnTo>
                  <a:lnTo>
                    <a:pt x="858" y="57"/>
                  </a:lnTo>
                  <a:lnTo>
                    <a:pt x="860" y="57"/>
                  </a:lnTo>
                  <a:close/>
                  <a:moveTo>
                    <a:pt x="848" y="72"/>
                  </a:moveTo>
                  <a:lnTo>
                    <a:pt x="848" y="72"/>
                  </a:lnTo>
                  <a:lnTo>
                    <a:pt x="852" y="68"/>
                  </a:lnTo>
                  <a:lnTo>
                    <a:pt x="852" y="66"/>
                  </a:lnTo>
                  <a:lnTo>
                    <a:pt x="848" y="70"/>
                  </a:lnTo>
                  <a:lnTo>
                    <a:pt x="848" y="72"/>
                  </a:lnTo>
                  <a:lnTo>
                    <a:pt x="848" y="72"/>
                  </a:lnTo>
                  <a:lnTo>
                    <a:pt x="846" y="78"/>
                  </a:lnTo>
                  <a:lnTo>
                    <a:pt x="846" y="76"/>
                  </a:lnTo>
                  <a:lnTo>
                    <a:pt x="848" y="72"/>
                  </a:lnTo>
                  <a:close/>
                  <a:moveTo>
                    <a:pt x="746" y="250"/>
                  </a:moveTo>
                  <a:lnTo>
                    <a:pt x="748" y="250"/>
                  </a:lnTo>
                  <a:lnTo>
                    <a:pt x="750" y="248"/>
                  </a:lnTo>
                  <a:lnTo>
                    <a:pt x="750" y="248"/>
                  </a:lnTo>
                  <a:lnTo>
                    <a:pt x="750" y="248"/>
                  </a:lnTo>
                  <a:lnTo>
                    <a:pt x="750" y="248"/>
                  </a:lnTo>
                  <a:lnTo>
                    <a:pt x="752" y="248"/>
                  </a:lnTo>
                  <a:lnTo>
                    <a:pt x="754" y="246"/>
                  </a:lnTo>
                  <a:lnTo>
                    <a:pt x="756" y="246"/>
                  </a:lnTo>
                  <a:lnTo>
                    <a:pt x="756" y="246"/>
                  </a:lnTo>
                  <a:lnTo>
                    <a:pt x="756" y="246"/>
                  </a:lnTo>
                  <a:lnTo>
                    <a:pt x="758" y="246"/>
                  </a:lnTo>
                  <a:lnTo>
                    <a:pt x="756" y="246"/>
                  </a:lnTo>
                  <a:lnTo>
                    <a:pt x="754" y="246"/>
                  </a:lnTo>
                  <a:lnTo>
                    <a:pt x="743" y="250"/>
                  </a:lnTo>
                  <a:lnTo>
                    <a:pt x="743" y="250"/>
                  </a:lnTo>
                  <a:lnTo>
                    <a:pt x="743" y="252"/>
                  </a:lnTo>
                  <a:lnTo>
                    <a:pt x="743" y="250"/>
                  </a:lnTo>
                  <a:lnTo>
                    <a:pt x="746" y="250"/>
                  </a:lnTo>
                  <a:close/>
                  <a:moveTo>
                    <a:pt x="1098" y="43"/>
                  </a:moveTo>
                  <a:lnTo>
                    <a:pt x="1100" y="45"/>
                  </a:lnTo>
                  <a:lnTo>
                    <a:pt x="1102" y="45"/>
                  </a:lnTo>
                  <a:lnTo>
                    <a:pt x="1102" y="45"/>
                  </a:lnTo>
                  <a:lnTo>
                    <a:pt x="1102" y="45"/>
                  </a:lnTo>
                  <a:lnTo>
                    <a:pt x="1104" y="45"/>
                  </a:lnTo>
                  <a:lnTo>
                    <a:pt x="1104" y="45"/>
                  </a:lnTo>
                  <a:lnTo>
                    <a:pt x="1102" y="45"/>
                  </a:lnTo>
                  <a:lnTo>
                    <a:pt x="1102" y="45"/>
                  </a:lnTo>
                  <a:lnTo>
                    <a:pt x="1102" y="45"/>
                  </a:lnTo>
                  <a:lnTo>
                    <a:pt x="1102" y="45"/>
                  </a:lnTo>
                  <a:lnTo>
                    <a:pt x="1102" y="45"/>
                  </a:lnTo>
                  <a:lnTo>
                    <a:pt x="1096" y="43"/>
                  </a:lnTo>
                  <a:lnTo>
                    <a:pt x="1096" y="43"/>
                  </a:lnTo>
                  <a:lnTo>
                    <a:pt x="1096" y="43"/>
                  </a:lnTo>
                  <a:lnTo>
                    <a:pt x="1096" y="43"/>
                  </a:lnTo>
                  <a:lnTo>
                    <a:pt x="1096" y="43"/>
                  </a:lnTo>
                  <a:lnTo>
                    <a:pt x="1098" y="43"/>
                  </a:lnTo>
                  <a:close/>
                  <a:moveTo>
                    <a:pt x="723" y="459"/>
                  </a:moveTo>
                  <a:lnTo>
                    <a:pt x="723" y="459"/>
                  </a:lnTo>
                  <a:lnTo>
                    <a:pt x="723" y="459"/>
                  </a:lnTo>
                  <a:lnTo>
                    <a:pt x="723" y="459"/>
                  </a:lnTo>
                  <a:lnTo>
                    <a:pt x="721" y="461"/>
                  </a:lnTo>
                  <a:lnTo>
                    <a:pt x="721" y="461"/>
                  </a:lnTo>
                  <a:lnTo>
                    <a:pt x="721" y="461"/>
                  </a:lnTo>
                  <a:lnTo>
                    <a:pt x="721" y="461"/>
                  </a:lnTo>
                  <a:lnTo>
                    <a:pt x="723" y="461"/>
                  </a:lnTo>
                  <a:lnTo>
                    <a:pt x="723" y="461"/>
                  </a:lnTo>
                  <a:lnTo>
                    <a:pt x="723" y="461"/>
                  </a:lnTo>
                  <a:lnTo>
                    <a:pt x="723" y="461"/>
                  </a:lnTo>
                  <a:lnTo>
                    <a:pt x="723" y="461"/>
                  </a:lnTo>
                  <a:lnTo>
                    <a:pt x="723" y="461"/>
                  </a:lnTo>
                  <a:lnTo>
                    <a:pt x="723" y="461"/>
                  </a:lnTo>
                  <a:lnTo>
                    <a:pt x="723" y="461"/>
                  </a:lnTo>
                  <a:lnTo>
                    <a:pt x="723" y="461"/>
                  </a:lnTo>
                  <a:lnTo>
                    <a:pt x="723" y="461"/>
                  </a:lnTo>
                  <a:lnTo>
                    <a:pt x="723" y="461"/>
                  </a:lnTo>
                  <a:lnTo>
                    <a:pt x="723" y="459"/>
                  </a:lnTo>
                  <a:lnTo>
                    <a:pt x="723" y="459"/>
                  </a:lnTo>
                  <a:lnTo>
                    <a:pt x="723" y="459"/>
                  </a:lnTo>
                  <a:close/>
                  <a:moveTo>
                    <a:pt x="721" y="467"/>
                  </a:moveTo>
                  <a:lnTo>
                    <a:pt x="721" y="467"/>
                  </a:lnTo>
                  <a:lnTo>
                    <a:pt x="721" y="469"/>
                  </a:lnTo>
                  <a:lnTo>
                    <a:pt x="721" y="469"/>
                  </a:lnTo>
                  <a:lnTo>
                    <a:pt x="721" y="469"/>
                  </a:lnTo>
                  <a:lnTo>
                    <a:pt x="721" y="467"/>
                  </a:lnTo>
                  <a:lnTo>
                    <a:pt x="721" y="465"/>
                  </a:lnTo>
                  <a:lnTo>
                    <a:pt x="721" y="463"/>
                  </a:lnTo>
                  <a:lnTo>
                    <a:pt x="723" y="463"/>
                  </a:lnTo>
                  <a:lnTo>
                    <a:pt x="721" y="463"/>
                  </a:lnTo>
                  <a:lnTo>
                    <a:pt x="721" y="465"/>
                  </a:lnTo>
                  <a:lnTo>
                    <a:pt x="721" y="467"/>
                  </a:lnTo>
                  <a:close/>
                  <a:moveTo>
                    <a:pt x="750" y="434"/>
                  </a:moveTo>
                  <a:lnTo>
                    <a:pt x="750" y="434"/>
                  </a:lnTo>
                  <a:lnTo>
                    <a:pt x="750" y="434"/>
                  </a:lnTo>
                  <a:lnTo>
                    <a:pt x="752" y="434"/>
                  </a:lnTo>
                  <a:lnTo>
                    <a:pt x="750" y="434"/>
                  </a:lnTo>
                  <a:close/>
                  <a:moveTo>
                    <a:pt x="858" y="760"/>
                  </a:moveTo>
                  <a:lnTo>
                    <a:pt x="858" y="760"/>
                  </a:lnTo>
                  <a:lnTo>
                    <a:pt x="858" y="760"/>
                  </a:lnTo>
                  <a:lnTo>
                    <a:pt x="858" y="760"/>
                  </a:lnTo>
                  <a:lnTo>
                    <a:pt x="858" y="760"/>
                  </a:lnTo>
                  <a:lnTo>
                    <a:pt x="858" y="760"/>
                  </a:lnTo>
                  <a:lnTo>
                    <a:pt x="858" y="760"/>
                  </a:lnTo>
                  <a:close/>
                  <a:moveTo>
                    <a:pt x="852" y="660"/>
                  </a:moveTo>
                  <a:lnTo>
                    <a:pt x="852" y="660"/>
                  </a:lnTo>
                  <a:lnTo>
                    <a:pt x="852" y="658"/>
                  </a:lnTo>
                  <a:lnTo>
                    <a:pt x="850" y="658"/>
                  </a:lnTo>
                  <a:lnTo>
                    <a:pt x="850" y="658"/>
                  </a:lnTo>
                  <a:lnTo>
                    <a:pt x="850" y="658"/>
                  </a:lnTo>
                  <a:lnTo>
                    <a:pt x="850" y="658"/>
                  </a:lnTo>
                  <a:lnTo>
                    <a:pt x="850" y="658"/>
                  </a:lnTo>
                  <a:lnTo>
                    <a:pt x="850" y="660"/>
                  </a:lnTo>
                  <a:lnTo>
                    <a:pt x="852" y="660"/>
                  </a:lnTo>
                  <a:close/>
                  <a:moveTo>
                    <a:pt x="860" y="758"/>
                  </a:moveTo>
                  <a:lnTo>
                    <a:pt x="860" y="758"/>
                  </a:lnTo>
                  <a:lnTo>
                    <a:pt x="860" y="758"/>
                  </a:lnTo>
                  <a:lnTo>
                    <a:pt x="860" y="758"/>
                  </a:lnTo>
                  <a:lnTo>
                    <a:pt x="860" y="758"/>
                  </a:lnTo>
                  <a:lnTo>
                    <a:pt x="860" y="760"/>
                  </a:lnTo>
                  <a:lnTo>
                    <a:pt x="860" y="760"/>
                  </a:lnTo>
                  <a:lnTo>
                    <a:pt x="860" y="760"/>
                  </a:lnTo>
                  <a:lnTo>
                    <a:pt x="860" y="758"/>
                  </a:lnTo>
                  <a:close/>
                  <a:moveTo>
                    <a:pt x="754" y="434"/>
                  </a:moveTo>
                  <a:lnTo>
                    <a:pt x="754" y="434"/>
                  </a:lnTo>
                  <a:lnTo>
                    <a:pt x="752" y="434"/>
                  </a:lnTo>
                  <a:lnTo>
                    <a:pt x="752" y="434"/>
                  </a:lnTo>
                  <a:lnTo>
                    <a:pt x="752" y="434"/>
                  </a:lnTo>
                  <a:lnTo>
                    <a:pt x="752" y="434"/>
                  </a:lnTo>
                  <a:lnTo>
                    <a:pt x="752" y="434"/>
                  </a:lnTo>
                  <a:lnTo>
                    <a:pt x="752" y="434"/>
                  </a:lnTo>
                  <a:lnTo>
                    <a:pt x="754" y="437"/>
                  </a:lnTo>
                  <a:lnTo>
                    <a:pt x="754" y="437"/>
                  </a:lnTo>
                  <a:lnTo>
                    <a:pt x="754" y="434"/>
                  </a:lnTo>
                  <a:lnTo>
                    <a:pt x="754" y="434"/>
                  </a:lnTo>
                  <a:lnTo>
                    <a:pt x="754" y="434"/>
                  </a:lnTo>
                  <a:close/>
                  <a:moveTo>
                    <a:pt x="754" y="434"/>
                  </a:moveTo>
                  <a:lnTo>
                    <a:pt x="754" y="434"/>
                  </a:lnTo>
                  <a:lnTo>
                    <a:pt x="754" y="434"/>
                  </a:lnTo>
                  <a:lnTo>
                    <a:pt x="754" y="434"/>
                  </a:lnTo>
                  <a:lnTo>
                    <a:pt x="754" y="434"/>
                  </a:lnTo>
                  <a:lnTo>
                    <a:pt x="754" y="434"/>
                  </a:lnTo>
                  <a:lnTo>
                    <a:pt x="754" y="434"/>
                  </a:lnTo>
                  <a:close/>
                  <a:moveTo>
                    <a:pt x="754" y="439"/>
                  </a:moveTo>
                  <a:lnTo>
                    <a:pt x="752" y="439"/>
                  </a:lnTo>
                  <a:lnTo>
                    <a:pt x="752" y="439"/>
                  </a:lnTo>
                  <a:lnTo>
                    <a:pt x="752" y="439"/>
                  </a:lnTo>
                  <a:lnTo>
                    <a:pt x="752" y="439"/>
                  </a:lnTo>
                  <a:lnTo>
                    <a:pt x="754" y="439"/>
                  </a:lnTo>
                  <a:lnTo>
                    <a:pt x="754" y="439"/>
                  </a:lnTo>
                  <a:lnTo>
                    <a:pt x="754" y="439"/>
                  </a:lnTo>
                  <a:lnTo>
                    <a:pt x="754" y="439"/>
                  </a:lnTo>
                  <a:lnTo>
                    <a:pt x="754" y="439"/>
                  </a:lnTo>
                  <a:lnTo>
                    <a:pt x="754" y="439"/>
                  </a:lnTo>
                  <a:close/>
                  <a:moveTo>
                    <a:pt x="926" y="771"/>
                  </a:moveTo>
                  <a:lnTo>
                    <a:pt x="926" y="771"/>
                  </a:lnTo>
                  <a:lnTo>
                    <a:pt x="926" y="768"/>
                  </a:lnTo>
                  <a:lnTo>
                    <a:pt x="924" y="768"/>
                  </a:lnTo>
                  <a:lnTo>
                    <a:pt x="922" y="768"/>
                  </a:lnTo>
                  <a:lnTo>
                    <a:pt x="920" y="768"/>
                  </a:lnTo>
                  <a:lnTo>
                    <a:pt x="920" y="768"/>
                  </a:lnTo>
                  <a:lnTo>
                    <a:pt x="918" y="771"/>
                  </a:lnTo>
                  <a:lnTo>
                    <a:pt x="918" y="771"/>
                  </a:lnTo>
                  <a:lnTo>
                    <a:pt x="918" y="771"/>
                  </a:lnTo>
                  <a:lnTo>
                    <a:pt x="918" y="771"/>
                  </a:lnTo>
                  <a:lnTo>
                    <a:pt x="918" y="771"/>
                  </a:lnTo>
                  <a:lnTo>
                    <a:pt x="918" y="773"/>
                  </a:lnTo>
                  <a:lnTo>
                    <a:pt x="918" y="773"/>
                  </a:lnTo>
                  <a:lnTo>
                    <a:pt x="920" y="773"/>
                  </a:lnTo>
                  <a:lnTo>
                    <a:pt x="922" y="771"/>
                  </a:lnTo>
                  <a:lnTo>
                    <a:pt x="922" y="773"/>
                  </a:lnTo>
                  <a:lnTo>
                    <a:pt x="922" y="773"/>
                  </a:lnTo>
                  <a:lnTo>
                    <a:pt x="922" y="773"/>
                  </a:lnTo>
                  <a:lnTo>
                    <a:pt x="922" y="773"/>
                  </a:lnTo>
                  <a:lnTo>
                    <a:pt x="922" y="771"/>
                  </a:lnTo>
                  <a:lnTo>
                    <a:pt x="922" y="771"/>
                  </a:lnTo>
                  <a:lnTo>
                    <a:pt x="926" y="771"/>
                  </a:lnTo>
                  <a:lnTo>
                    <a:pt x="926" y="771"/>
                  </a:lnTo>
                  <a:lnTo>
                    <a:pt x="926" y="773"/>
                  </a:lnTo>
                  <a:lnTo>
                    <a:pt x="926" y="773"/>
                  </a:lnTo>
                  <a:lnTo>
                    <a:pt x="928" y="773"/>
                  </a:lnTo>
                  <a:lnTo>
                    <a:pt x="926" y="771"/>
                  </a:lnTo>
                  <a:lnTo>
                    <a:pt x="926" y="771"/>
                  </a:lnTo>
                  <a:close/>
                  <a:moveTo>
                    <a:pt x="764" y="414"/>
                  </a:moveTo>
                  <a:lnTo>
                    <a:pt x="764" y="414"/>
                  </a:lnTo>
                  <a:lnTo>
                    <a:pt x="764" y="414"/>
                  </a:lnTo>
                  <a:lnTo>
                    <a:pt x="764" y="414"/>
                  </a:lnTo>
                  <a:lnTo>
                    <a:pt x="764" y="414"/>
                  </a:lnTo>
                  <a:lnTo>
                    <a:pt x="764" y="414"/>
                  </a:lnTo>
                  <a:lnTo>
                    <a:pt x="764" y="414"/>
                  </a:lnTo>
                  <a:lnTo>
                    <a:pt x="764" y="414"/>
                  </a:lnTo>
                  <a:lnTo>
                    <a:pt x="764" y="414"/>
                  </a:lnTo>
                  <a:lnTo>
                    <a:pt x="764" y="414"/>
                  </a:lnTo>
                  <a:close/>
                  <a:moveTo>
                    <a:pt x="815" y="391"/>
                  </a:moveTo>
                  <a:lnTo>
                    <a:pt x="813" y="391"/>
                  </a:lnTo>
                  <a:lnTo>
                    <a:pt x="813" y="391"/>
                  </a:lnTo>
                  <a:lnTo>
                    <a:pt x="813" y="391"/>
                  </a:lnTo>
                  <a:lnTo>
                    <a:pt x="813" y="391"/>
                  </a:lnTo>
                  <a:lnTo>
                    <a:pt x="813" y="391"/>
                  </a:lnTo>
                  <a:lnTo>
                    <a:pt x="811" y="393"/>
                  </a:lnTo>
                  <a:lnTo>
                    <a:pt x="813" y="393"/>
                  </a:lnTo>
                  <a:lnTo>
                    <a:pt x="813" y="393"/>
                  </a:lnTo>
                  <a:lnTo>
                    <a:pt x="813" y="396"/>
                  </a:lnTo>
                  <a:lnTo>
                    <a:pt x="813" y="396"/>
                  </a:lnTo>
                  <a:lnTo>
                    <a:pt x="815" y="396"/>
                  </a:lnTo>
                  <a:lnTo>
                    <a:pt x="819" y="396"/>
                  </a:lnTo>
                  <a:lnTo>
                    <a:pt x="819" y="396"/>
                  </a:lnTo>
                  <a:lnTo>
                    <a:pt x="819" y="396"/>
                  </a:lnTo>
                  <a:lnTo>
                    <a:pt x="819" y="396"/>
                  </a:lnTo>
                  <a:lnTo>
                    <a:pt x="819" y="396"/>
                  </a:lnTo>
                  <a:lnTo>
                    <a:pt x="819" y="396"/>
                  </a:lnTo>
                  <a:lnTo>
                    <a:pt x="819" y="393"/>
                  </a:lnTo>
                  <a:lnTo>
                    <a:pt x="819" y="393"/>
                  </a:lnTo>
                  <a:lnTo>
                    <a:pt x="819" y="393"/>
                  </a:lnTo>
                  <a:lnTo>
                    <a:pt x="819" y="393"/>
                  </a:lnTo>
                  <a:lnTo>
                    <a:pt x="819" y="393"/>
                  </a:lnTo>
                  <a:lnTo>
                    <a:pt x="819" y="393"/>
                  </a:lnTo>
                  <a:lnTo>
                    <a:pt x="819" y="393"/>
                  </a:lnTo>
                  <a:lnTo>
                    <a:pt x="819" y="393"/>
                  </a:lnTo>
                  <a:lnTo>
                    <a:pt x="819" y="393"/>
                  </a:lnTo>
                  <a:lnTo>
                    <a:pt x="819" y="391"/>
                  </a:lnTo>
                  <a:lnTo>
                    <a:pt x="819" y="391"/>
                  </a:lnTo>
                  <a:lnTo>
                    <a:pt x="819" y="391"/>
                  </a:lnTo>
                  <a:lnTo>
                    <a:pt x="819" y="391"/>
                  </a:lnTo>
                  <a:lnTo>
                    <a:pt x="817" y="391"/>
                  </a:lnTo>
                  <a:lnTo>
                    <a:pt x="817" y="391"/>
                  </a:lnTo>
                  <a:lnTo>
                    <a:pt x="817" y="391"/>
                  </a:lnTo>
                  <a:lnTo>
                    <a:pt x="817" y="391"/>
                  </a:lnTo>
                  <a:lnTo>
                    <a:pt x="815" y="391"/>
                  </a:lnTo>
                  <a:lnTo>
                    <a:pt x="815" y="391"/>
                  </a:lnTo>
                  <a:lnTo>
                    <a:pt x="815" y="391"/>
                  </a:lnTo>
                  <a:lnTo>
                    <a:pt x="815" y="391"/>
                  </a:lnTo>
                  <a:lnTo>
                    <a:pt x="815" y="391"/>
                  </a:lnTo>
                  <a:close/>
                  <a:moveTo>
                    <a:pt x="764" y="410"/>
                  </a:moveTo>
                  <a:lnTo>
                    <a:pt x="764" y="412"/>
                  </a:lnTo>
                  <a:lnTo>
                    <a:pt x="764" y="412"/>
                  </a:lnTo>
                  <a:lnTo>
                    <a:pt x="764" y="412"/>
                  </a:lnTo>
                  <a:lnTo>
                    <a:pt x="764" y="412"/>
                  </a:lnTo>
                  <a:lnTo>
                    <a:pt x="764" y="412"/>
                  </a:lnTo>
                  <a:lnTo>
                    <a:pt x="764" y="412"/>
                  </a:lnTo>
                  <a:lnTo>
                    <a:pt x="764" y="412"/>
                  </a:lnTo>
                  <a:lnTo>
                    <a:pt x="764" y="412"/>
                  </a:lnTo>
                  <a:lnTo>
                    <a:pt x="764" y="412"/>
                  </a:lnTo>
                  <a:lnTo>
                    <a:pt x="764" y="410"/>
                  </a:lnTo>
                  <a:close/>
                  <a:moveTo>
                    <a:pt x="752" y="439"/>
                  </a:moveTo>
                  <a:lnTo>
                    <a:pt x="752" y="439"/>
                  </a:lnTo>
                  <a:lnTo>
                    <a:pt x="752" y="439"/>
                  </a:lnTo>
                  <a:lnTo>
                    <a:pt x="752" y="439"/>
                  </a:lnTo>
                  <a:lnTo>
                    <a:pt x="752" y="439"/>
                  </a:lnTo>
                  <a:lnTo>
                    <a:pt x="752" y="439"/>
                  </a:lnTo>
                  <a:lnTo>
                    <a:pt x="752" y="439"/>
                  </a:lnTo>
                  <a:lnTo>
                    <a:pt x="752" y="439"/>
                  </a:lnTo>
                  <a:lnTo>
                    <a:pt x="752" y="439"/>
                  </a:lnTo>
                  <a:close/>
                  <a:moveTo>
                    <a:pt x="733" y="256"/>
                  </a:moveTo>
                  <a:lnTo>
                    <a:pt x="733" y="256"/>
                  </a:lnTo>
                  <a:lnTo>
                    <a:pt x="735" y="256"/>
                  </a:lnTo>
                  <a:lnTo>
                    <a:pt x="735" y="256"/>
                  </a:lnTo>
                  <a:lnTo>
                    <a:pt x="735" y="256"/>
                  </a:lnTo>
                  <a:lnTo>
                    <a:pt x="735" y="256"/>
                  </a:lnTo>
                  <a:lnTo>
                    <a:pt x="737" y="254"/>
                  </a:lnTo>
                  <a:lnTo>
                    <a:pt x="737" y="254"/>
                  </a:lnTo>
                  <a:lnTo>
                    <a:pt x="741" y="252"/>
                  </a:lnTo>
                  <a:lnTo>
                    <a:pt x="741" y="252"/>
                  </a:lnTo>
                  <a:lnTo>
                    <a:pt x="741" y="252"/>
                  </a:lnTo>
                  <a:lnTo>
                    <a:pt x="741" y="252"/>
                  </a:lnTo>
                  <a:lnTo>
                    <a:pt x="741" y="252"/>
                  </a:lnTo>
                  <a:lnTo>
                    <a:pt x="733" y="256"/>
                  </a:lnTo>
                  <a:lnTo>
                    <a:pt x="731" y="256"/>
                  </a:lnTo>
                  <a:lnTo>
                    <a:pt x="733" y="256"/>
                  </a:lnTo>
                  <a:lnTo>
                    <a:pt x="733" y="256"/>
                  </a:lnTo>
                  <a:close/>
                  <a:moveTo>
                    <a:pt x="721" y="264"/>
                  </a:moveTo>
                  <a:lnTo>
                    <a:pt x="721" y="262"/>
                  </a:lnTo>
                  <a:lnTo>
                    <a:pt x="723" y="262"/>
                  </a:lnTo>
                  <a:lnTo>
                    <a:pt x="721" y="262"/>
                  </a:lnTo>
                  <a:lnTo>
                    <a:pt x="721" y="262"/>
                  </a:lnTo>
                  <a:lnTo>
                    <a:pt x="723" y="260"/>
                  </a:lnTo>
                  <a:lnTo>
                    <a:pt x="725" y="260"/>
                  </a:lnTo>
                  <a:lnTo>
                    <a:pt x="725" y="260"/>
                  </a:lnTo>
                  <a:lnTo>
                    <a:pt x="725" y="260"/>
                  </a:lnTo>
                  <a:lnTo>
                    <a:pt x="721" y="260"/>
                  </a:lnTo>
                  <a:lnTo>
                    <a:pt x="721" y="260"/>
                  </a:lnTo>
                  <a:lnTo>
                    <a:pt x="721" y="262"/>
                  </a:lnTo>
                  <a:lnTo>
                    <a:pt x="721" y="262"/>
                  </a:lnTo>
                  <a:lnTo>
                    <a:pt x="721" y="262"/>
                  </a:lnTo>
                  <a:lnTo>
                    <a:pt x="721" y="262"/>
                  </a:lnTo>
                  <a:lnTo>
                    <a:pt x="721" y="264"/>
                  </a:lnTo>
                  <a:close/>
                  <a:moveTo>
                    <a:pt x="1055" y="664"/>
                  </a:moveTo>
                  <a:lnTo>
                    <a:pt x="1055" y="664"/>
                  </a:lnTo>
                  <a:lnTo>
                    <a:pt x="1055" y="664"/>
                  </a:lnTo>
                  <a:lnTo>
                    <a:pt x="1053" y="664"/>
                  </a:lnTo>
                  <a:lnTo>
                    <a:pt x="1053" y="666"/>
                  </a:lnTo>
                  <a:lnTo>
                    <a:pt x="1053" y="666"/>
                  </a:lnTo>
                  <a:lnTo>
                    <a:pt x="1051" y="666"/>
                  </a:lnTo>
                  <a:lnTo>
                    <a:pt x="1051" y="666"/>
                  </a:lnTo>
                  <a:lnTo>
                    <a:pt x="1051" y="668"/>
                  </a:lnTo>
                  <a:lnTo>
                    <a:pt x="1051" y="668"/>
                  </a:lnTo>
                  <a:lnTo>
                    <a:pt x="1049" y="668"/>
                  </a:lnTo>
                  <a:lnTo>
                    <a:pt x="1049" y="668"/>
                  </a:lnTo>
                  <a:lnTo>
                    <a:pt x="1049" y="668"/>
                  </a:lnTo>
                  <a:lnTo>
                    <a:pt x="1049" y="670"/>
                  </a:lnTo>
                  <a:lnTo>
                    <a:pt x="1049" y="670"/>
                  </a:lnTo>
                  <a:lnTo>
                    <a:pt x="1049" y="670"/>
                  </a:lnTo>
                  <a:lnTo>
                    <a:pt x="1053" y="672"/>
                  </a:lnTo>
                  <a:lnTo>
                    <a:pt x="1053" y="672"/>
                  </a:lnTo>
                  <a:lnTo>
                    <a:pt x="1053" y="672"/>
                  </a:lnTo>
                  <a:lnTo>
                    <a:pt x="1055" y="670"/>
                  </a:lnTo>
                  <a:lnTo>
                    <a:pt x="1057" y="668"/>
                  </a:lnTo>
                  <a:lnTo>
                    <a:pt x="1057" y="668"/>
                  </a:lnTo>
                  <a:lnTo>
                    <a:pt x="1057" y="666"/>
                  </a:lnTo>
                  <a:lnTo>
                    <a:pt x="1057" y="666"/>
                  </a:lnTo>
                  <a:lnTo>
                    <a:pt x="1057" y="666"/>
                  </a:lnTo>
                  <a:lnTo>
                    <a:pt x="1057" y="664"/>
                  </a:lnTo>
                  <a:lnTo>
                    <a:pt x="1057" y="664"/>
                  </a:lnTo>
                  <a:lnTo>
                    <a:pt x="1057" y="664"/>
                  </a:lnTo>
                  <a:lnTo>
                    <a:pt x="1057" y="664"/>
                  </a:lnTo>
                  <a:lnTo>
                    <a:pt x="1057" y="664"/>
                  </a:lnTo>
                  <a:lnTo>
                    <a:pt x="1055" y="664"/>
                  </a:lnTo>
                  <a:close/>
                  <a:moveTo>
                    <a:pt x="1618" y="691"/>
                  </a:moveTo>
                  <a:lnTo>
                    <a:pt x="1618" y="693"/>
                  </a:lnTo>
                  <a:lnTo>
                    <a:pt x="1618" y="693"/>
                  </a:lnTo>
                  <a:lnTo>
                    <a:pt x="1618" y="693"/>
                  </a:lnTo>
                  <a:lnTo>
                    <a:pt x="1618" y="695"/>
                  </a:lnTo>
                  <a:lnTo>
                    <a:pt x="1618" y="695"/>
                  </a:lnTo>
                  <a:lnTo>
                    <a:pt x="1618" y="695"/>
                  </a:lnTo>
                  <a:lnTo>
                    <a:pt x="1618" y="697"/>
                  </a:lnTo>
                  <a:lnTo>
                    <a:pt x="1620" y="697"/>
                  </a:lnTo>
                  <a:lnTo>
                    <a:pt x="1620" y="699"/>
                  </a:lnTo>
                  <a:lnTo>
                    <a:pt x="1620" y="699"/>
                  </a:lnTo>
                  <a:lnTo>
                    <a:pt x="1622" y="699"/>
                  </a:lnTo>
                  <a:lnTo>
                    <a:pt x="1622" y="701"/>
                  </a:lnTo>
                  <a:lnTo>
                    <a:pt x="1622" y="699"/>
                  </a:lnTo>
                  <a:lnTo>
                    <a:pt x="1622" y="699"/>
                  </a:lnTo>
                  <a:lnTo>
                    <a:pt x="1622" y="699"/>
                  </a:lnTo>
                  <a:lnTo>
                    <a:pt x="1622" y="699"/>
                  </a:lnTo>
                  <a:lnTo>
                    <a:pt x="1622" y="699"/>
                  </a:lnTo>
                  <a:lnTo>
                    <a:pt x="1624" y="699"/>
                  </a:lnTo>
                  <a:lnTo>
                    <a:pt x="1624" y="699"/>
                  </a:lnTo>
                  <a:lnTo>
                    <a:pt x="1624" y="699"/>
                  </a:lnTo>
                  <a:lnTo>
                    <a:pt x="1628" y="697"/>
                  </a:lnTo>
                  <a:lnTo>
                    <a:pt x="1628" y="699"/>
                  </a:lnTo>
                  <a:lnTo>
                    <a:pt x="1628" y="699"/>
                  </a:lnTo>
                  <a:lnTo>
                    <a:pt x="1628" y="699"/>
                  </a:lnTo>
                  <a:lnTo>
                    <a:pt x="1630" y="699"/>
                  </a:lnTo>
                  <a:lnTo>
                    <a:pt x="1630" y="699"/>
                  </a:lnTo>
                  <a:lnTo>
                    <a:pt x="1630" y="699"/>
                  </a:lnTo>
                  <a:lnTo>
                    <a:pt x="1630" y="701"/>
                  </a:lnTo>
                  <a:lnTo>
                    <a:pt x="1630" y="701"/>
                  </a:lnTo>
                  <a:lnTo>
                    <a:pt x="1630" y="701"/>
                  </a:lnTo>
                  <a:lnTo>
                    <a:pt x="1630" y="703"/>
                  </a:lnTo>
                  <a:lnTo>
                    <a:pt x="1630" y="703"/>
                  </a:lnTo>
                  <a:lnTo>
                    <a:pt x="1630" y="703"/>
                  </a:lnTo>
                  <a:lnTo>
                    <a:pt x="1632" y="703"/>
                  </a:lnTo>
                  <a:lnTo>
                    <a:pt x="1632" y="703"/>
                  </a:lnTo>
                  <a:lnTo>
                    <a:pt x="1632" y="703"/>
                  </a:lnTo>
                  <a:lnTo>
                    <a:pt x="1632" y="703"/>
                  </a:lnTo>
                  <a:lnTo>
                    <a:pt x="1634" y="703"/>
                  </a:lnTo>
                  <a:lnTo>
                    <a:pt x="1634" y="703"/>
                  </a:lnTo>
                  <a:lnTo>
                    <a:pt x="1634" y="703"/>
                  </a:lnTo>
                  <a:lnTo>
                    <a:pt x="1634" y="703"/>
                  </a:lnTo>
                  <a:lnTo>
                    <a:pt x="1634" y="703"/>
                  </a:lnTo>
                  <a:lnTo>
                    <a:pt x="1634" y="703"/>
                  </a:lnTo>
                  <a:lnTo>
                    <a:pt x="1636" y="703"/>
                  </a:lnTo>
                  <a:lnTo>
                    <a:pt x="1636" y="701"/>
                  </a:lnTo>
                  <a:lnTo>
                    <a:pt x="1636" y="701"/>
                  </a:lnTo>
                  <a:lnTo>
                    <a:pt x="1636" y="701"/>
                  </a:lnTo>
                  <a:lnTo>
                    <a:pt x="1636" y="701"/>
                  </a:lnTo>
                  <a:lnTo>
                    <a:pt x="1636" y="701"/>
                  </a:lnTo>
                  <a:lnTo>
                    <a:pt x="1636" y="701"/>
                  </a:lnTo>
                  <a:lnTo>
                    <a:pt x="1638" y="701"/>
                  </a:lnTo>
                  <a:lnTo>
                    <a:pt x="1638" y="701"/>
                  </a:lnTo>
                  <a:lnTo>
                    <a:pt x="1638" y="699"/>
                  </a:lnTo>
                  <a:lnTo>
                    <a:pt x="1636" y="699"/>
                  </a:lnTo>
                  <a:lnTo>
                    <a:pt x="1636" y="699"/>
                  </a:lnTo>
                  <a:lnTo>
                    <a:pt x="1636" y="699"/>
                  </a:lnTo>
                  <a:lnTo>
                    <a:pt x="1636" y="699"/>
                  </a:lnTo>
                  <a:lnTo>
                    <a:pt x="1636" y="697"/>
                  </a:lnTo>
                  <a:lnTo>
                    <a:pt x="1636" y="697"/>
                  </a:lnTo>
                  <a:lnTo>
                    <a:pt x="1634" y="697"/>
                  </a:lnTo>
                  <a:lnTo>
                    <a:pt x="1634" y="697"/>
                  </a:lnTo>
                  <a:lnTo>
                    <a:pt x="1634" y="697"/>
                  </a:lnTo>
                  <a:lnTo>
                    <a:pt x="1634" y="695"/>
                  </a:lnTo>
                  <a:lnTo>
                    <a:pt x="1634" y="695"/>
                  </a:lnTo>
                  <a:lnTo>
                    <a:pt x="1634" y="695"/>
                  </a:lnTo>
                  <a:lnTo>
                    <a:pt x="1634" y="695"/>
                  </a:lnTo>
                  <a:lnTo>
                    <a:pt x="1634" y="695"/>
                  </a:lnTo>
                  <a:lnTo>
                    <a:pt x="1634" y="695"/>
                  </a:lnTo>
                  <a:lnTo>
                    <a:pt x="1634" y="695"/>
                  </a:lnTo>
                  <a:lnTo>
                    <a:pt x="1636" y="695"/>
                  </a:lnTo>
                  <a:lnTo>
                    <a:pt x="1634" y="693"/>
                  </a:lnTo>
                  <a:lnTo>
                    <a:pt x="1636" y="693"/>
                  </a:lnTo>
                  <a:lnTo>
                    <a:pt x="1636" y="693"/>
                  </a:lnTo>
                  <a:lnTo>
                    <a:pt x="1636" y="693"/>
                  </a:lnTo>
                  <a:lnTo>
                    <a:pt x="1636" y="693"/>
                  </a:lnTo>
                  <a:lnTo>
                    <a:pt x="1636" y="693"/>
                  </a:lnTo>
                  <a:lnTo>
                    <a:pt x="1636" y="693"/>
                  </a:lnTo>
                  <a:lnTo>
                    <a:pt x="1634" y="691"/>
                  </a:lnTo>
                  <a:lnTo>
                    <a:pt x="1634" y="691"/>
                  </a:lnTo>
                  <a:lnTo>
                    <a:pt x="1632" y="691"/>
                  </a:lnTo>
                  <a:lnTo>
                    <a:pt x="1632" y="691"/>
                  </a:lnTo>
                  <a:lnTo>
                    <a:pt x="1630" y="691"/>
                  </a:lnTo>
                  <a:lnTo>
                    <a:pt x="1628" y="691"/>
                  </a:lnTo>
                  <a:lnTo>
                    <a:pt x="1628" y="689"/>
                  </a:lnTo>
                  <a:lnTo>
                    <a:pt x="1626" y="689"/>
                  </a:lnTo>
                  <a:lnTo>
                    <a:pt x="1626" y="691"/>
                  </a:lnTo>
                  <a:lnTo>
                    <a:pt x="1626" y="691"/>
                  </a:lnTo>
                  <a:lnTo>
                    <a:pt x="1624" y="693"/>
                  </a:lnTo>
                  <a:lnTo>
                    <a:pt x="1624" y="691"/>
                  </a:lnTo>
                  <a:lnTo>
                    <a:pt x="1624" y="691"/>
                  </a:lnTo>
                  <a:lnTo>
                    <a:pt x="1626" y="691"/>
                  </a:lnTo>
                  <a:lnTo>
                    <a:pt x="1626" y="689"/>
                  </a:lnTo>
                  <a:lnTo>
                    <a:pt x="1626" y="689"/>
                  </a:lnTo>
                  <a:lnTo>
                    <a:pt x="1626" y="689"/>
                  </a:lnTo>
                  <a:lnTo>
                    <a:pt x="1626" y="689"/>
                  </a:lnTo>
                  <a:lnTo>
                    <a:pt x="1626" y="687"/>
                  </a:lnTo>
                  <a:lnTo>
                    <a:pt x="1626" y="687"/>
                  </a:lnTo>
                  <a:lnTo>
                    <a:pt x="1626" y="687"/>
                  </a:lnTo>
                  <a:lnTo>
                    <a:pt x="1624" y="687"/>
                  </a:lnTo>
                  <a:lnTo>
                    <a:pt x="1624" y="684"/>
                  </a:lnTo>
                  <a:lnTo>
                    <a:pt x="1624" y="684"/>
                  </a:lnTo>
                  <a:lnTo>
                    <a:pt x="1624" y="684"/>
                  </a:lnTo>
                  <a:lnTo>
                    <a:pt x="1624" y="684"/>
                  </a:lnTo>
                  <a:lnTo>
                    <a:pt x="1624" y="682"/>
                  </a:lnTo>
                  <a:lnTo>
                    <a:pt x="1622" y="682"/>
                  </a:lnTo>
                  <a:lnTo>
                    <a:pt x="1620" y="684"/>
                  </a:lnTo>
                  <a:lnTo>
                    <a:pt x="1620" y="684"/>
                  </a:lnTo>
                  <a:lnTo>
                    <a:pt x="1620" y="684"/>
                  </a:lnTo>
                  <a:lnTo>
                    <a:pt x="1620" y="687"/>
                  </a:lnTo>
                  <a:lnTo>
                    <a:pt x="1620" y="687"/>
                  </a:lnTo>
                  <a:lnTo>
                    <a:pt x="1620" y="687"/>
                  </a:lnTo>
                  <a:lnTo>
                    <a:pt x="1620" y="687"/>
                  </a:lnTo>
                  <a:lnTo>
                    <a:pt x="1620" y="691"/>
                  </a:lnTo>
                  <a:lnTo>
                    <a:pt x="1620" y="691"/>
                  </a:lnTo>
                  <a:lnTo>
                    <a:pt x="1618" y="691"/>
                  </a:lnTo>
                  <a:close/>
                  <a:moveTo>
                    <a:pt x="1045" y="682"/>
                  </a:moveTo>
                  <a:lnTo>
                    <a:pt x="1047" y="682"/>
                  </a:lnTo>
                  <a:lnTo>
                    <a:pt x="1045" y="682"/>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3" y="680"/>
                  </a:lnTo>
                  <a:lnTo>
                    <a:pt x="1043" y="680"/>
                  </a:lnTo>
                  <a:lnTo>
                    <a:pt x="1043" y="680"/>
                  </a:lnTo>
                  <a:lnTo>
                    <a:pt x="1043" y="680"/>
                  </a:lnTo>
                  <a:lnTo>
                    <a:pt x="1043" y="680"/>
                  </a:lnTo>
                  <a:lnTo>
                    <a:pt x="1043" y="680"/>
                  </a:lnTo>
                  <a:lnTo>
                    <a:pt x="1043" y="680"/>
                  </a:lnTo>
                  <a:lnTo>
                    <a:pt x="1043" y="680"/>
                  </a:lnTo>
                  <a:lnTo>
                    <a:pt x="1045" y="682"/>
                  </a:lnTo>
                  <a:lnTo>
                    <a:pt x="1045" y="682"/>
                  </a:lnTo>
                  <a:lnTo>
                    <a:pt x="1045" y="682"/>
                  </a:lnTo>
                  <a:lnTo>
                    <a:pt x="1045" y="682"/>
                  </a:lnTo>
                  <a:lnTo>
                    <a:pt x="1045" y="682"/>
                  </a:lnTo>
                  <a:close/>
                  <a:moveTo>
                    <a:pt x="1071" y="682"/>
                  </a:moveTo>
                  <a:lnTo>
                    <a:pt x="1071" y="682"/>
                  </a:lnTo>
                  <a:lnTo>
                    <a:pt x="1069" y="687"/>
                  </a:lnTo>
                  <a:lnTo>
                    <a:pt x="1069" y="687"/>
                  </a:lnTo>
                  <a:lnTo>
                    <a:pt x="1071" y="687"/>
                  </a:lnTo>
                  <a:lnTo>
                    <a:pt x="1071" y="687"/>
                  </a:lnTo>
                  <a:lnTo>
                    <a:pt x="1071" y="687"/>
                  </a:lnTo>
                  <a:lnTo>
                    <a:pt x="1071" y="687"/>
                  </a:lnTo>
                  <a:lnTo>
                    <a:pt x="1071" y="687"/>
                  </a:lnTo>
                  <a:lnTo>
                    <a:pt x="1073" y="684"/>
                  </a:lnTo>
                  <a:lnTo>
                    <a:pt x="1073" y="684"/>
                  </a:lnTo>
                  <a:lnTo>
                    <a:pt x="1073" y="682"/>
                  </a:lnTo>
                  <a:lnTo>
                    <a:pt x="1071" y="682"/>
                  </a:lnTo>
                  <a:close/>
                  <a:moveTo>
                    <a:pt x="1063" y="574"/>
                  </a:moveTo>
                  <a:lnTo>
                    <a:pt x="1061" y="574"/>
                  </a:lnTo>
                  <a:lnTo>
                    <a:pt x="1061" y="574"/>
                  </a:lnTo>
                  <a:lnTo>
                    <a:pt x="1061" y="574"/>
                  </a:lnTo>
                  <a:lnTo>
                    <a:pt x="1061" y="574"/>
                  </a:lnTo>
                  <a:lnTo>
                    <a:pt x="1063" y="574"/>
                  </a:lnTo>
                  <a:lnTo>
                    <a:pt x="1063" y="574"/>
                  </a:lnTo>
                  <a:lnTo>
                    <a:pt x="1065" y="572"/>
                  </a:lnTo>
                  <a:lnTo>
                    <a:pt x="1065" y="572"/>
                  </a:lnTo>
                  <a:lnTo>
                    <a:pt x="1065" y="572"/>
                  </a:lnTo>
                  <a:lnTo>
                    <a:pt x="1065" y="570"/>
                  </a:lnTo>
                  <a:lnTo>
                    <a:pt x="1065" y="570"/>
                  </a:lnTo>
                  <a:lnTo>
                    <a:pt x="1065" y="570"/>
                  </a:lnTo>
                  <a:lnTo>
                    <a:pt x="1065" y="570"/>
                  </a:lnTo>
                  <a:lnTo>
                    <a:pt x="1065" y="570"/>
                  </a:lnTo>
                  <a:lnTo>
                    <a:pt x="1067" y="568"/>
                  </a:lnTo>
                  <a:lnTo>
                    <a:pt x="1067" y="568"/>
                  </a:lnTo>
                  <a:lnTo>
                    <a:pt x="1067" y="568"/>
                  </a:lnTo>
                  <a:lnTo>
                    <a:pt x="1067" y="568"/>
                  </a:lnTo>
                  <a:lnTo>
                    <a:pt x="1067" y="568"/>
                  </a:lnTo>
                  <a:lnTo>
                    <a:pt x="1067" y="566"/>
                  </a:lnTo>
                  <a:lnTo>
                    <a:pt x="1067" y="566"/>
                  </a:lnTo>
                  <a:lnTo>
                    <a:pt x="1065" y="566"/>
                  </a:lnTo>
                  <a:lnTo>
                    <a:pt x="1065" y="566"/>
                  </a:lnTo>
                  <a:lnTo>
                    <a:pt x="1065" y="566"/>
                  </a:lnTo>
                  <a:lnTo>
                    <a:pt x="1065" y="566"/>
                  </a:lnTo>
                  <a:lnTo>
                    <a:pt x="1065" y="568"/>
                  </a:lnTo>
                  <a:lnTo>
                    <a:pt x="1065" y="568"/>
                  </a:lnTo>
                  <a:lnTo>
                    <a:pt x="1065" y="568"/>
                  </a:lnTo>
                  <a:lnTo>
                    <a:pt x="1065" y="570"/>
                  </a:lnTo>
                  <a:lnTo>
                    <a:pt x="1063" y="570"/>
                  </a:lnTo>
                  <a:lnTo>
                    <a:pt x="1063" y="570"/>
                  </a:lnTo>
                  <a:lnTo>
                    <a:pt x="1063" y="572"/>
                  </a:lnTo>
                  <a:lnTo>
                    <a:pt x="1063" y="572"/>
                  </a:lnTo>
                  <a:lnTo>
                    <a:pt x="1063" y="572"/>
                  </a:lnTo>
                  <a:lnTo>
                    <a:pt x="1063" y="572"/>
                  </a:lnTo>
                  <a:lnTo>
                    <a:pt x="1063" y="572"/>
                  </a:lnTo>
                  <a:lnTo>
                    <a:pt x="1063" y="574"/>
                  </a:lnTo>
                  <a:lnTo>
                    <a:pt x="1063" y="574"/>
                  </a:lnTo>
                  <a:close/>
                  <a:moveTo>
                    <a:pt x="1067" y="680"/>
                  </a:moveTo>
                  <a:lnTo>
                    <a:pt x="1067" y="678"/>
                  </a:lnTo>
                  <a:lnTo>
                    <a:pt x="1067" y="678"/>
                  </a:lnTo>
                  <a:lnTo>
                    <a:pt x="1067" y="678"/>
                  </a:lnTo>
                  <a:lnTo>
                    <a:pt x="1067" y="678"/>
                  </a:lnTo>
                  <a:lnTo>
                    <a:pt x="1067" y="678"/>
                  </a:lnTo>
                  <a:lnTo>
                    <a:pt x="1067" y="680"/>
                  </a:lnTo>
                  <a:lnTo>
                    <a:pt x="1067" y="680"/>
                  </a:lnTo>
                  <a:lnTo>
                    <a:pt x="1065" y="682"/>
                  </a:lnTo>
                  <a:lnTo>
                    <a:pt x="1065" y="682"/>
                  </a:lnTo>
                  <a:lnTo>
                    <a:pt x="1065" y="680"/>
                  </a:lnTo>
                  <a:lnTo>
                    <a:pt x="1065" y="680"/>
                  </a:lnTo>
                  <a:lnTo>
                    <a:pt x="1065" y="680"/>
                  </a:lnTo>
                  <a:lnTo>
                    <a:pt x="1063" y="680"/>
                  </a:lnTo>
                  <a:lnTo>
                    <a:pt x="1063" y="682"/>
                  </a:lnTo>
                  <a:lnTo>
                    <a:pt x="1063" y="682"/>
                  </a:lnTo>
                  <a:lnTo>
                    <a:pt x="1063" y="684"/>
                  </a:lnTo>
                  <a:lnTo>
                    <a:pt x="1063" y="684"/>
                  </a:lnTo>
                  <a:lnTo>
                    <a:pt x="1063" y="682"/>
                  </a:lnTo>
                  <a:lnTo>
                    <a:pt x="1063" y="680"/>
                  </a:lnTo>
                  <a:lnTo>
                    <a:pt x="1065" y="678"/>
                  </a:lnTo>
                  <a:lnTo>
                    <a:pt x="1065" y="676"/>
                  </a:lnTo>
                  <a:lnTo>
                    <a:pt x="1065" y="676"/>
                  </a:lnTo>
                  <a:lnTo>
                    <a:pt x="1063" y="676"/>
                  </a:lnTo>
                  <a:lnTo>
                    <a:pt x="1063" y="676"/>
                  </a:lnTo>
                  <a:lnTo>
                    <a:pt x="1063" y="676"/>
                  </a:lnTo>
                  <a:lnTo>
                    <a:pt x="1063" y="676"/>
                  </a:lnTo>
                  <a:lnTo>
                    <a:pt x="1061" y="678"/>
                  </a:lnTo>
                  <a:lnTo>
                    <a:pt x="1061" y="678"/>
                  </a:lnTo>
                  <a:lnTo>
                    <a:pt x="1061" y="678"/>
                  </a:lnTo>
                  <a:lnTo>
                    <a:pt x="1059" y="678"/>
                  </a:lnTo>
                  <a:lnTo>
                    <a:pt x="1059" y="676"/>
                  </a:lnTo>
                  <a:lnTo>
                    <a:pt x="1059" y="676"/>
                  </a:lnTo>
                  <a:lnTo>
                    <a:pt x="1061" y="676"/>
                  </a:lnTo>
                  <a:lnTo>
                    <a:pt x="1059" y="676"/>
                  </a:lnTo>
                  <a:lnTo>
                    <a:pt x="1059" y="676"/>
                  </a:lnTo>
                  <a:lnTo>
                    <a:pt x="1059" y="676"/>
                  </a:lnTo>
                  <a:lnTo>
                    <a:pt x="1059" y="676"/>
                  </a:lnTo>
                  <a:lnTo>
                    <a:pt x="1059" y="674"/>
                  </a:lnTo>
                  <a:lnTo>
                    <a:pt x="1059" y="674"/>
                  </a:lnTo>
                  <a:lnTo>
                    <a:pt x="1059" y="674"/>
                  </a:lnTo>
                  <a:lnTo>
                    <a:pt x="1059" y="674"/>
                  </a:lnTo>
                  <a:lnTo>
                    <a:pt x="1059" y="676"/>
                  </a:lnTo>
                  <a:lnTo>
                    <a:pt x="1057" y="674"/>
                  </a:lnTo>
                  <a:lnTo>
                    <a:pt x="1057" y="674"/>
                  </a:lnTo>
                  <a:lnTo>
                    <a:pt x="1057" y="676"/>
                  </a:lnTo>
                  <a:lnTo>
                    <a:pt x="1057" y="676"/>
                  </a:lnTo>
                  <a:lnTo>
                    <a:pt x="1057" y="678"/>
                  </a:lnTo>
                  <a:lnTo>
                    <a:pt x="1057" y="678"/>
                  </a:lnTo>
                  <a:lnTo>
                    <a:pt x="1057" y="678"/>
                  </a:lnTo>
                  <a:lnTo>
                    <a:pt x="1057" y="680"/>
                  </a:lnTo>
                  <a:lnTo>
                    <a:pt x="1055" y="680"/>
                  </a:lnTo>
                  <a:lnTo>
                    <a:pt x="1057" y="678"/>
                  </a:lnTo>
                  <a:lnTo>
                    <a:pt x="1055" y="678"/>
                  </a:lnTo>
                  <a:lnTo>
                    <a:pt x="1055" y="678"/>
                  </a:lnTo>
                  <a:lnTo>
                    <a:pt x="1055" y="678"/>
                  </a:lnTo>
                  <a:lnTo>
                    <a:pt x="1055" y="676"/>
                  </a:lnTo>
                  <a:lnTo>
                    <a:pt x="1055" y="678"/>
                  </a:lnTo>
                  <a:lnTo>
                    <a:pt x="1055" y="678"/>
                  </a:lnTo>
                  <a:lnTo>
                    <a:pt x="1055" y="678"/>
                  </a:lnTo>
                  <a:lnTo>
                    <a:pt x="1055" y="678"/>
                  </a:lnTo>
                  <a:lnTo>
                    <a:pt x="1053" y="678"/>
                  </a:lnTo>
                  <a:lnTo>
                    <a:pt x="1053" y="676"/>
                  </a:lnTo>
                  <a:lnTo>
                    <a:pt x="1055" y="676"/>
                  </a:lnTo>
                  <a:lnTo>
                    <a:pt x="1055" y="676"/>
                  </a:lnTo>
                  <a:lnTo>
                    <a:pt x="1053" y="676"/>
                  </a:lnTo>
                  <a:lnTo>
                    <a:pt x="1053" y="676"/>
                  </a:lnTo>
                  <a:lnTo>
                    <a:pt x="1053" y="674"/>
                  </a:lnTo>
                  <a:lnTo>
                    <a:pt x="1053" y="674"/>
                  </a:lnTo>
                  <a:lnTo>
                    <a:pt x="1053" y="672"/>
                  </a:lnTo>
                  <a:lnTo>
                    <a:pt x="1051" y="672"/>
                  </a:lnTo>
                  <a:lnTo>
                    <a:pt x="1051" y="672"/>
                  </a:lnTo>
                  <a:lnTo>
                    <a:pt x="1051" y="674"/>
                  </a:lnTo>
                  <a:lnTo>
                    <a:pt x="1051" y="672"/>
                  </a:lnTo>
                  <a:lnTo>
                    <a:pt x="1051" y="672"/>
                  </a:lnTo>
                  <a:lnTo>
                    <a:pt x="1049" y="672"/>
                  </a:lnTo>
                  <a:lnTo>
                    <a:pt x="1049" y="672"/>
                  </a:lnTo>
                  <a:lnTo>
                    <a:pt x="1049" y="672"/>
                  </a:lnTo>
                  <a:lnTo>
                    <a:pt x="1049" y="672"/>
                  </a:lnTo>
                  <a:lnTo>
                    <a:pt x="1049" y="674"/>
                  </a:lnTo>
                  <a:lnTo>
                    <a:pt x="1049" y="674"/>
                  </a:lnTo>
                  <a:lnTo>
                    <a:pt x="1049" y="674"/>
                  </a:lnTo>
                  <a:lnTo>
                    <a:pt x="1049" y="674"/>
                  </a:lnTo>
                  <a:lnTo>
                    <a:pt x="1049" y="674"/>
                  </a:lnTo>
                  <a:lnTo>
                    <a:pt x="1047" y="674"/>
                  </a:lnTo>
                  <a:lnTo>
                    <a:pt x="1047" y="674"/>
                  </a:lnTo>
                  <a:lnTo>
                    <a:pt x="1047" y="674"/>
                  </a:lnTo>
                  <a:lnTo>
                    <a:pt x="1047" y="674"/>
                  </a:lnTo>
                  <a:lnTo>
                    <a:pt x="1047" y="674"/>
                  </a:lnTo>
                  <a:lnTo>
                    <a:pt x="1047" y="676"/>
                  </a:lnTo>
                  <a:lnTo>
                    <a:pt x="1045" y="676"/>
                  </a:lnTo>
                  <a:lnTo>
                    <a:pt x="1043" y="676"/>
                  </a:lnTo>
                  <a:lnTo>
                    <a:pt x="1043" y="676"/>
                  </a:lnTo>
                  <a:lnTo>
                    <a:pt x="1043" y="676"/>
                  </a:lnTo>
                  <a:lnTo>
                    <a:pt x="1045" y="678"/>
                  </a:lnTo>
                  <a:lnTo>
                    <a:pt x="1047" y="678"/>
                  </a:lnTo>
                  <a:lnTo>
                    <a:pt x="1047" y="678"/>
                  </a:lnTo>
                  <a:lnTo>
                    <a:pt x="1047" y="678"/>
                  </a:lnTo>
                  <a:lnTo>
                    <a:pt x="1045" y="678"/>
                  </a:lnTo>
                  <a:lnTo>
                    <a:pt x="1045" y="678"/>
                  </a:lnTo>
                  <a:lnTo>
                    <a:pt x="1045" y="678"/>
                  </a:lnTo>
                  <a:lnTo>
                    <a:pt x="1047" y="680"/>
                  </a:lnTo>
                  <a:lnTo>
                    <a:pt x="1047" y="680"/>
                  </a:lnTo>
                  <a:lnTo>
                    <a:pt x="1047" y="680"/>
                  </a:lnTo>
                  <a:lnTo>
                    <a:pt x="1047" y="682"/>
                  </a:lnTo>
                  <a:lnTo>
                    <a:pt x="1047" y="682"/>
                  </a:lnTo>
                  <a:lnTo>
                    <a:pt x="1047" y="682"/>
                  </a:lnTo>
                  <a:lnTo>
                    <a:pt x="1047" y="684"/>
                  </a:lnTo>
                  <a:lnTo>
                    <a:pt x="1045" y="682"/>
                  </a:lnTo>
                  <a:lnTo>
                    <a:pt x="1045" y="682"/>
                  </a:lnTo>
                  <a:lnTo>
                    <a:pt x="1045" y="682"/>
                  </a:lnTo>
                  <a:lnTo>
                    <a:pt x="1045" y="682"/>
                  </a:lnTo>
                  <a:lnTo>
                    <a:pt x="1043" y="682"/>
                  </a:lnTo>
                  <a:lnTo>
                    <a:pt x="1040" y="682"/>
                  </a:lnTo>
                  <a:lnTo>
                    <a:pt x="1040" y="682"/>
                  </a:lnTo>
                  <a:lnTo>
                    <a:pt x="1040" y="680"/>
                  </a:lnTo>
                  <a:lnTo>
                    <a:pt x="1038" y="680"/>
                  </a:lnTo>
                  <a:lnTo>
                    <a:pt x="1038" y="680"/>
                  </a:lnTo>
                  <a:lnTo>
                    <a:pt x="1038" y="682"/>
                  </a:lnTo>
                  <a:lnTo>
                    <a:pt x="1036" y="682"/>
                  </a:lnTo>
                  <a:lnTo>
                    <a:pt x="1038" y="684"/>
                  </a:lnTo>
                  <a:lnTo>
                    <a:pt x="1038" y="684"/>
                  </a:lnTo>
                  <a:lnTo>
                    <a:pt x="1038" y="684"/>
                  </a:lnTo>
                  <a:lnTo>
                    <a:pt x="1038" y="684"/>
                  </a:lnTo>
                  <a:lnTo>
                    <a:pt x="1038" y="687"/>
                  </a:lnTo>
                  <a:lnTo>
                    <a:pt x="1040" y="687"/>
                  </a:lnTo>
                  <a:lnTo>
                    <a:pt x="1043" y="689"/>
                  </a:lnTo>
                  <a:lnTo>
                    <a:pt x="1043" y="689"/>
                  </a:lnTo>
                  <a:lnTo>
                    <a:pt x="1043" y="689"/>
                  </a:lnTo>
                  <a:lnTo>
                    <a:pt x="1040" y="689"/>
                  </a:lnTo>
                  <a:lnTo>
                    <a:pt x="1040" y="687"/>
                  </a:lnTo>
                  <a:lnTo>
                    <a:pt x="1040" y="687"/>
                  </a:lnTo>
                  <a:lnTo>
                    <a:pt x="1040" y="689"/>
                  </a:lnTo>
                  <a:lnTo>
                    <a:pt x="1040" y="689"/>
                  </a:lnTo>
                  <a:lnTo>
                    <a:pt x="1040" y="689"/>
                  </a:lnTo>
                  <a:lnTo>
                    <a:pt x="1038" y="689"/>
                  </a:lnTo>
                  <a:lnTo>
                    <a:pt x="1038" y="687"/>
                  </a:lnTo>
                  <a:lnTo>
                    <a:pt x="1038" y="687"/>
                  </a:lnTo>
                  <a:lnTo>
                    <a:pt x="1034" y="687"/>
                  </a:lnTo>
                  <a:lnTo>
                    <a:pt x="1034" y="687"/>
                  </a:lnTo>
                  <a:lnTo>
                    <a:pt x="1034" y="689"/>
                  </a:lnTo>
                  <a:lnTo>
                    <a:pt x="1034" y="689"/>
                  </a:lnTo>
                  <a:lnTo>
                    <a:pt x="1034" y="691"/>
                  </a:lnTo>
                  <a:lnTo>
                    <a:pt x="1034" y="691"/>
                  </a:lnTo>
                  <a:lnTo>
                    <a:pt x="1036" y="691"/>
                  </a:lnTo>
                  <a:lnTo>
                    <a:pt x="1038" y="691"/>
                  </a:lnTo>
                  <a:lnTo>
                    <a:pt x="1038" y="693"/>
                  </a:lnTo>
                  <a:lnTo>
                    <a:pt x="1038" y="693"/>
                  </a:lnTo>
                  <a:lnTo>
                    <a:pt x="1038" y="693"/>
                  </a:lnTo>
                  <a:lnTo>
                    <a:pt x="1038" y="695"/>
                  </a:lnTo>
                  <a:lnTo>
                    <a:pt x="1040" y="695"/>
                  </a:lnTo>
                  <a:lnTo>
                    <a:pt x="1043" y="697"/>
                  </a:lnTo>
                  <a:lnTo>
                    <a:pt x="1045" y="697"/>
                  </a:lnTo>
                  <a:lnTo>
                    <a:pt x="1047" y="697"/>
                  </a:lnTo>
                  <a:lnTo>
                    <a:pt x="1047" y="697"/>
                  </a:lnTo>
                  <a:lnTo>
                    <a:pt x="1047" y="695"/>
                  </a:lnTo>
                  <a:lnTo>
                    <a:pt x="1047" y="693"/>
                  </a:lnTo>
                  <a:lnTo>
                    <a:pt x="1047" y="695"/>
                  </a:lnTo>
                  <a:lnTo>
                    <a:pt x="1047" y="695"/>
                  </a:lnTo>
                  <a:lnTo>
                    <a:pt x="1049" y="695"/>
                  </a:lnTo>
                  <a:lnTo>
                    <a:pt x="1049" y="693"/>
                  </a:lnTo>
                  <a:lnTo>
                    <a:pt x="1049" y="693"/>
                  </a:lnTo>
                  <a:lnTo>
                    <a:pt x="1049" y="693"/>
                  </a:lnTo>
                  <a:lnTo>
                    <a:pt x="1051" y="693"/>
                  </a:lnTo>
                  <a:lnTo>
                    <a:pt x="1051" y="693"/>
                  </a:lnTo>
                  <a:lnTo>
                    <a:pt x="1051" y="693"/>
                  </a:lnTo>
                  <a:lnTo>
                    <a:pt x="1051" y="693"/>
                  </a:lnTo>
                  <a:lnTo>
                    <a:pt x="1051" y="691"/>
                  </a:lnTo>
                  <a:lnTo>
                    <a:pt x="1051" y="691"/>
                  </a:lnTo>
                  <a:lnTo>
                    <a:pt x="1051" y="689"/>
                  </a:lnTo>
                  <a:lnTo>
                    <a:pt x="1051" y="687"/>
                  </a:lnTo>
                  <a:lnTo>
                    <a:pt x="1051" y="687"/>
                  </a:lnTo>
                  <a:lnTo>
                    <a:pt x="1051" y="687"/>
                  </a:lnTo>
                  <a:lnTo>
                    <a:pt x="1053" y="687"/>
                  </a:lnTo>
                  <a:lnTo>
                    <a:pt x="1053" y="687"/>
                  </a:lnTo>
                  <a:lnTo>
                    <a:pt x="1053" y="689"/>
                  </a:lnTo>
                  <a:lnTo>
                    <a:pt x="1053" y="691"/>
                  </a:lnTo>
                  <a:lnTo>
                    <a:pt x="1053" y="693"/>
                  </a:lnTo>
                  <a:lnTo>
                    <a:pt x="1053" y="693"/>
                  </a:lnTo>
                  <a:lnTo>
                    <a:pt x="1053" y="691"/>
                  </a:lnTo>
                  <a:lnTo>
                    <a:pt x="1055" y="691"/>
                  </a:lnTo>
                  <a:lnTo>
                    <a:pt x="1055" y="691"/>
                  </a:lnTo>
                  <a:lnTo>
                    <a:pt x="1055" y="691"/>
                  </a:lnTo>
                  <a:lnTo>
                    <a:pt x="1057" y="691"/>
                  </a:lnTo>
                  <a:lnTo>
                    <a:pt x="1057" y="691"/>
                  </a:lnTo>
                  <a:lnTo>
                    <a:pt x="1057" y="691"/>
                  </a:lnTo>
                  <a:lnTo>
                    <a:pt x="1057" y="691"/>
                  </a:lnTo>
                  <a:lnTo>
                    <a:pt x="1057" y="691"/>
                  </a:lnTo>
                  <a:lnTo>
                    <a:pt x="1057" y="691"/>
                  </a:lnTo>
                  <a:lnTo>
                    <a:pt x="1059" y="691"/>
                  </a:lnTo>
                  <a:lnTo>
                    <a:pt x="1059" y="691"/>
                  </a:lnTo>
                  <a:lnTo>
                    <a:pt x="1059" y="691"/>
                  </a:lnTo>
                  <a:lnTo>
                    <a:pt x="1059" y="691"/>
                  </a:lnTo>
                  <a:lnTo>
                    <a:pt x="1059" y="691"/>
                  </a:lnTo>
                  <a:lnTo>
                    <a:pt x="1059" y="691"/>
                  </a:lnTo>
                  <a:lnTo>
                    <a:pt x="1059" y="689"/>
                  </a:lnTo>
                  <a:lnTo>
                    <a:pt x="1059" y="689"/>
                  </a:lnTo>
                  <a:lnTo>
                    <a:pt x="1059" y="689"/>
                  </a:lnTo>
                  <a:lnTo>
                    <a:pt x="1059" y="687"/>
                  </a:lnTo>
                  <a:lnTo>
                    <a:pt x="1057" y="687"/>
                  </a:lnTo>
                  <a:lnTo>
                    <a:pt x="1057" y="687"/>
                  </a:lnTo>
                  <a:lnTo>
                    <a:pt x="1057" y="687"/>
                  </a:lnTo>
                  <a:lnTo>
                    <a:pt x="1057" y="687"/>
                  </a:lnTo>
                  <a:lnTo>
                    <a:pt x="1057" y="687"/>
                  </a:lnTo>
                  <a:lnTo>
                    <a:pt x="1059" y="687"/>
                  </a:lnTo>
                  <a:lnTo>
                    <a:pt x="1059" y="687"/>
                  </a:lnTo>
                  <a:lnTo>
                    <a:pt x="1059" y="687"/>
                  </a:lnTo>
                  <a:lnTo>
                    <a:pt x="1059" y="687"/>
                  </a:lnTo>
                  <a:lnTo>
                    <a:pt x="1059" y="687"/>
                  </a:lnTo>
                  <a:lnTo>
                    <a:pt x="1059" y="687"/>
                  </a:lnTo>
                  <a:lnTo>
                    <a:pt x="1059" y="684"/>
                  </a:lnTo>
                  <a:lnTo>
                    <a:pt x="1059" y="684"/>
                  </a:lnTo>
                  <a:lnTo>
                    <a:pt x="1059" y="682"/>
                  </a:lnTo>
                  <a:lnTo>
                    <a:pt x="1059" y="684"/>
                  </a:lnTo>
                  <a:lnTo>
                    <a:pt x="1059" y="682"/>
                  </a:lnTo>
                  <a:lnTo>
                    <a:pt x="1059" y="682"/>
                  </a:lnTo>
                  <a:lnTo>
                    <a:pt x="1059" y="682"/>
                  </a:lnTo>
                  <a:lnTo>
                    <a:pt x="1061" y="682"/>
                  </a:lnTo>
                  <a:lnTo>
                    <a:pt x="1061" y="682"/>
                  </a:lnTo>
                  <a:lnTo>
                    <a:pt x="1061" y="684"/>
                  </a:lnTo>
                  <a:lnTo>
                    <a:pt x="1061" y="687"/>
                  </a:lnTo>
                  <a:lnTo>
                    <a:pt x="1061" y="687"/>
                  </a:lnTo>
                  <a:lnTo>
                    <a:pt x="1063" y="689"/>
                  </a:lnTo>
                  <a:lnTo>
                    <a:pt x="1063" y="689"/>
                  </a:lnTo>
                  <a:lnTo>
                    <a:pt x="1065" y="689"/>
                  </a:lnTo>
                  <a:lnTo>
                    <a:pt x="1065" y="687"/>
                  </a:lnTo>
                  <a:lnTo>
                    <a:pt x="1065" y="687"/>
                  </a:lnTo>
                  <a:lnTo>
                    <a:pt x="1065" y="687"/>
                  </a:lnTo>
                  <a:lnTo>
                    <a:pt x="1065" y="687"/>
                  </a:lnTo>
                  <a:lnTo>
                    <a:pt x="1065" y="687"/>
                  </a:lnTo>
                  <a:lnTo>
                    <a:pt x="1067" y="687"/>
                  </a:lnTo>
                  <a:lnTo>
                    <a:pt x="1067" y="684"/>
                  </a:lnTo>
                  <a:lnTo>
                    <a:pt x="1067" y="684"/>
                  </a:lnTo>
                  <a:lnTo>
                    <a:pt x="1067" y="682"/>
                  </a:lnTo>
                  <a:lnTo>
                    <a:pt x="1067" y="682"/>
                  </a:lnTo>
                  <a:lnTo>
                    <a:pt x="1067" y="680"/>
                  </a:lnTo>
                  <a:lnTo>
                    <a:pt x="1067" y="680"/>
                  </a:lnTo>
                  <a:lnTo>
                    <a:pt x="1067" y="680"/>
                  </a:lnTo>
                  <a:close/>
                  <a:moveTo>
                    <a:pt x="1057" y="650"/>
                  </a:moveTo>
                  <a:lnTo>
                    <a:pt x="1057" y="650"/>
                  </a:lnTo>
                  <a:lnTo>
                    <a:pt x="1057" y="650"/>
                  </a:lnTo>
                  <a:lnTo>
                    <a:pt x="1057" y="650"/>
                  </a:lnTo>
                  <a:lnTo>
                    <a:pt x="1059" y="650"/>
                  </a:lnTo>
                  <a:lnTo>
                    <a:pt x="1059" y="648"/>
                  </a:lnTo>
                  <a:lnTo>
                    <a:pt x="1061" y="648"/>
                  </a:lnTo>
                  <a:lnTo>
                    <a:pt x="1061" y="648"/>
                  </a:lnTo>
                  <a:lnTo>
                    <a:pt x="1061" y="648"/>
                  </a:lnTo>
                  <a:lnTo>
                    <a:pt x="1061" y="648"/>
                  </a:lnTo>
                  <a:lnTo>
                    <a:pt x="1061" y="648"/>
                  </a:lnTo>
                  <a:lnTo>
                    <a:pt x="1061" y="648"/>
                  </a:lnTo>
                  <a:lnTo>
                    <a:pt x="1061" y="648"/>
                  </a:lnTo>
                  <a:lnTo>
                    <a:pt x="1061" y="648"/>
                  </a:lnTo>
                  <a:lnTo>
                    <a:pt x="1059" y="648"/>
                  </a:lnTo>
                  <a:lnTo>
                    <a:pt x="1059" y="648"/>
                  </a:lnTo>
                  <a:lnTo>
                    <a:pt x="1057" y="646"/>
                  </a:lnTo>
                  <a:lnTo>
                    <a:pt x="1057" y="646"/>
                  </a:lnTo>
                  <a:lnTo>
                    <a:pt x="1057" y="648"/>
                  </a:lnTo>
                  <a:lnTo>
                    <a:pt x="1057" y="648"/>
                  </a:lnTo>
                  <a:lnTo>
                    <a:pt x="1057" y="650"/>
                  </a:lnTo>
                  <a:close/>
                  <a:moveTo>
                    <a:pt x="1065" y="648"/>
                  </a:moveTo>
                  <a:lnTo>
                    <a:pt x="1063" y="650"/>
                  </a:lnTo>
                  <a:lnTo>
                    <a:pt x="1065" y="650"/>
                  </a:lnTo>
                  <a:lnTo>
                    <a:pt x="1065" y="650"/>
                  </a:lnTo>
                  <a:lnTo>
                    <a:pt x="1065" y="650"/>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close/>
                  <a:moveTo>
                    <a:pt x="1110" y="619"/>
                  </a:moveTo>
                  <a:lnTo>
                    <a:pt x="1110" y="619"/>
                  </a:lnTo>
                  <a:lnTo>
                    <a:pt x="1108" y="619"/>
                  </a:lnTo>
                  <a:lnTo>
                    <a:pt x="1108" y="619"/>
                  </a:lnTo>
                  <a:lnTo>
                    <a:pt x="1106" y="621"/>
                  </a:lnTo>
                  <a:lnTo>
                    <a:pt x="1106" y="621"/>
                  </a:lnTo>
                  <a:lnTo>
                    <a:pt x="1106" y="621"/>
                  </a:lnTo>
                  <a:lnTo>
                    <a:pt x="1108" y="621"/>
                  </a:lnTo>
                  <a:lnTo>
                    <a:pt x="1108" y="621"/>
                  </a:lnTo>
                  <a:lnTo>
                    <a:pt x="1108" y="621"/>
                  </a:lnTo>
                  <a:lnTo>
                    <a:pt x="1108" y="621"/>
                  </a:lnTo>
                  <a:lnTo>
                    <a:pt x="1108" y="621"/>
                  </a:lnTo>
                  <a:lnTo>
                    <a:pt x="1108" y="621"/>
                  </a:lnTo>
                  <a:lnTo>
                    <a:pt x="1108" y="619"/>
                  </a:lnTo>
                  <a:lnTo>
                    <a:pt x="1110" y="619"/>
                  </a:lnTo>
                  <a:lnTo>
                    <a:pt x="1110" y="621"/>
                  </a:lnTo>
                  <a:lnTo>
                    <a:pt x="1110" y="621"/>
                  </a:lnTo>
                  <a:lnTo>
                    <a:pt x="1110" y="621"/>
                  </a:lnTo>
                  <a:lnTo>
                    <a:pt x="1110" y="621"/>
                  </a:lnTo>
                  <a:lnTo>
                    <a:pt x="1110" y="621"/>
                  </a:lnTo>
                  <a:lnTo>
                    <a:pt x="1110" y="619"/>
                  </a:lnTo>
                  <a:lnTo>
                    <a:pt x="1110" y="619"/>
                  </a:lnTo>
                  <a:lnTo>
                    <a:pt x="1110" y="619"/>
                  </a:lnTo>
                  <a:close/>
                  <a:moveTo>
                    <a:pt x="1165" y="551"/>
                  </a:moveTo>
                  <a:lnTo>
                    <a:pt x="1165" y="551"/>
                  </a:lnTo>
                  <a:lnTo>
                    <a:pt x="1167" y="551"/>
                  </a:lnTo>
                  <a:lnTo>
                    <a:pt x="1167" y="551"/>
                  </a:lnTo>
                  <a:lnTo>
                    <a:pt x="1167" y="551"/>
                  </a:lnTo>
                  <a:lnTo>
                    <a:pt x="1167" y="549"/>
                  </a:lnTo>
                  <a:lnTo>
                    <a:pt x="1167" y="549"/>
                  </a:lnTo>
                  <a:lnTo>
                    <a:pt x="1169" y="549"/>
                  </a:lnTo>
                  <a:lnTo>
                    <a:pt x="1167" y="549"/>
                  </a:lnTo>
                  <a:lnTo>
                    <a:pt x="1167" y="549"/>
                  </a:lnTo>
                  <a:lnTo>
                    <a:pt x="1167" y="547"/>
                  </a:lnTo>
                  <a:lnTo>
                    <a:pt x="1167" y="547"/>
                  </a:lnTo>
                  <a:lnTo>
                    <a:pt x="1167" y="547"/>
                  </a:lnTo>
                  <a:lnTo>
                    <a:pt x="1165" y="547"/>
                  </a:lnTo>
                  <a:lnTo>
                    <a:pt x="1165" y="549"/>
                  </a:lnTo>
                  <a:lnTo>
                    <a:pt x="1165" y="547"/>
                  </a:lnTo>
                  <a:lnTo>
                    <a:pt x="1165" y="547"/>
                  </a:lnTo>
                  <a:lnTo>
                    <a:pt x="1165" y="547"/>
                  </a:lnTo>
                  <a:lnTo>
                    <a:pt x="1165" y="547"/>
                  </a:lnTo>
                  <a:lnTo>
                    <a:pt x="1165" y="547"/>
                  </a:lnTo>
                  <a:lnTo>
                    <a:pt x="1165" y="547"/>
                  </a:lnTo>
                  <a:lnTo>
                    <a:pt x="1165" y="549"/>
                  </a:lnTo>
                  <a:lnTo>
                    <a:pt x="1165" y="549"/>
                  </a:lnTo>
                  <a:lnTo>
                    <a:pt x="1165" y="547"/>
                  </a:lnTo>
                  <a:lnTo>
                    <a:pt x="1165" y="547"/>
                  </a:lnTo>
                  <a:lnTo>
                    <a:pt x="1163" y="549"/>
                  </a:lnTo>
                  <a:lnTo>
                    <a:pt x="1165" y="551"/>
                  </a:lnTo>
                  <a:lnTo>
                    <a:pt x="1165" y="551"/>
                  </a:lnTo>
                  <a:close/>
                  <a:moveTo>
                    <a:pt x="1172" y="570"/>
                  </a:moveTo>
                  <a:lnTo>
                    <a:pt x="1169" y="570"/>
                  </a:lnTo>
                  <a:lnTo>
                    <a:pt x="1169" y="570"/>
                  </a:lnTo>
                  <a:lnTo>
                    <a:pt x="1169" y="572"/>
                  </a:lnTo>
                  <a:lnTo>
                    <a:pt x="1169" y="572"/>
                  </a:lnTo>
                  <a:lnTo>
                    <a:pt x="1169" y="572"/>
                  </a:lnTo>
                  <a:lnTo>
                    <a:pt x="1169" y="572"/>
                  </a:lnTo>
                  <a:lnTo>
                    <a:pt x="1169" y="572"/>
                  </a:lnTo>
                  <a:lnTo>
                    <a:pt x="1169" y="574"/>
                  </a:lnTo>
                  <a:lnTo>
                    <a:pt x="1169" y="574"/>
                  </a:lnTo>
                  <a:lnTo>
                    <a:pt x="1172" y="574"/>
                  </a:lnTo>
                  <a:lnTo>
                    <a:pt x="1172" y="574"/>
                  </a:lnTo>
                  <a:lnTo>
                    <a:pt x="1172" y="572"/>
                  </a:lnTo>
                  <a:lnTo>
                    <a:pt x="1172" y="574"/>
                  </a:lnTo>
                  <a:lnTo>
                    <a:pt x="1172" y="576"/>
                  </a:lnTo>
                  <a:lnTo>
                    <a:pt x="1172" y="576"/>
                  </a:lnTo>
                  <a:lnTo>
                    <a:pt x="1172" y="576"/>
                  </a:lnTo>
                  <a:lnTo>
                    <a:pt x="1172" y="576"/>
                  </a:lnTo>
                  <a:lnTo>
                    <a:pt x="1172" y="576"/>
                  </a:lnTo>
                  <a:lnTo>
                    <a:pt x="1174" y="576"/>
                  </a:lnTo>
                  <a:lnTo>
                    <a:pt x="1174" y="576"/>
                  </a:lnTo>
                  <a:lnTo>
                    <a:pt x="1174" y="574"/>
                  </a:lnTo>
                  <a:lnTo>
                    <a:pt x="1174" y="572"/>
                  </a:lnTo>
                  <a:lnTo>
                    <a:pt x="1174" y="572"/>
                  </a:lnTo>
                  <a:lnTo>
                    <a:pt x="1174" y="572"/>
                  </a:lnTo>
                  <a:lnTo>
                    <a:pt x="1174" y="570"/>
                  </a:lnTo>
                  <a:lnTo>
                    <a:pt x="1176" y="568"/>
                  </a:lnTo>
                  <a:lnTo>
                    <a:pt x="1176" y="566"/>
                  </a:lnTo>
                  <a:lnTo>
                    <a:pt x="1176" y="566"/>
                  </a:lnTo>
                  <a:lnTo>
                    <a:pt x="1176" y="564"/>
                  </a:lnTo>
                  <a:lnTo>
                    <a:pt x="1174" y="566"/>
                  </a:lnTo>
                  <a:lnTo>
                    <a:pt x="1174" y="566"/>
                  </a:lnTo>
                  <a:lnTo>
                    <a:pt x="1174" y="566"/>
                  </a:lnTo>
                  <a:lnTo>
                    <a:pt x="1174" y="566"/>
                  </a:lnTo>
                  <a:lnTo>
                    <a:pt x="1174" y="564"/>
                  </a:lnTo>
                  <a:lnTo>
                    <a:pt x="1174" y="564"/>
                  </a:lnTo>
                  <a:lnTo>
                    <a:pt x="1176" y="564"/>
                  </a:lnTo>
                  <a:lnTo>
                    <a:pt x="1176" y="564"/>
                  </a:lnTo>
                  <a:lnTo>
                    <a:pt x="1176" y="562"/>
                  </a:lnTo>
                  <a:lnTo>
                    <a:pt x="1176" y="562"/>
                  </a:lnTo>
                  <a:lnTo>
                    <a:pt x="1176" y="562"/>
                  </a:lnTo>
                  <a:lnTo>
                    <a:pt x="1176" y="562"/>
                  </a:lnTo>
                  <a:lnTo>
                    <a:pt x="1176" y="562"/>
                  </a:lnTo>
                  <a:lnTo>
                    <a:pt x="1176" y="562"/>
                  </a:lnTo>
                  <a:lnTo>
                    <a:pt x="1176" y="559"/>
                  </a:lnTo>
                  <a:lnTo>
                    <a:pt x="1176" y="559"/>
                  </a:lnTo>
                  <a:lnTo>
                    <a:pt x="1176" y="559"/>
                  </a:lnTo>
                  <a:lnTo>
                    <a:pt x="1174" y="559"/>
                  </a:lnTo>
                  <a:lnTo>
                    <a:pt x="1174" y="562"/>
                  </a:lnTo>
                  <a:lnTo>
                    <a:pt x="1174" y="559"/>
                  </a:lnTo>
                  <a:lnTo>
                    <a:pt x="1174" y="559"/>
                  </a:lnTo>
                  <a:lnTo>
                    <a:pt x="1174" y="559"/>
                  </a:lnTo>
                  <a:lnTo>
                    <a:pt x="1174" y="562"/>
                  </a:lnTo>
                  <a:lnTo>
                    <a:pt x="1174" y="562"/>
                  </a:lnTo>
                  <a:lnTo>
                    <a:pt x="1174" y="562"/>
                  </a:lnTo>
                  <a:lnTo>
                    <a:pt x="1172" y="564"/>
                  </a:lnTo>
                  <a:lnTo>
                    <a:pt x="1172" y="562"/>
                  </a:lnTo>
                  <a:lnTo>
                    <a:pt x="1172" y="562"/>
                  </a:lnTo>
                  <a:lnTo>
                    <a:pt x="1172" y="559"/>
                  </a:lnTo>
                  <a:lnTo>
                    <a:pt x="1172" y="562"/>
                  </a:lnTo>
                  <a:lnTo>
                    <a:pt x="1172" y="562"/>
                  </a:lnTo>
                  <a:lnTo>
                    <a:pt x="1169" y="566"/>
                  </a:lnTo>
                  <a:lnTo>
                    <a:pt x="1172" y="566"/>
                  </a:lnTo>
                  <a:lnTo>
                    <a:pt x="1172" y="564"/>
                  </a:lnTo>
                  <a:lnTo>
                    <a:pt x="1172" y="564"/>
                  </a:lnTo>
                  <a:lnTo>
                    <a:pt x="1172" y="566"/>
                  </a:lnTo>
                  <a:lnTo>
                    <a:pt x="1172" y="566"/>
                  </a:lnTo>
                  <a:lnTo>
                    <a:pt x="1172" y="566"/>
                  </a:lnTo>
                  <a:lnTo>
                    <a:pt x="1169" y="566"/>
                  </a:lnTo>
                  <a:lnTo>
                    <a:pt x="1169" y="566"/>
                  </a:lnTo>
                  <a:lnTo>
                    <a:pt x="1169" y="566"/>
                  </a:lnTo>
                  <a:lnTo>
                    <a:pt x="1172" y="568"/>
                  </a:lnTo>
                  <a:lnTo>
                    <a:pt x="1172" y="568"/>
                  </a:lnTo>
                  <a:lnTo>
                    <a:pt x="1169" y="568"/>
                  </a:lnTo>
                  <a:lnTo>
                    <a:pt x="1169" y="568"/>
                  </a:lnTo>
                  <a:lnTo>
                    <a:pt x="1169" y="568"/>
                  </a:lnTo>
                  <a:lnTo>
                    <a:pt x="1169" y="568"/>
                  </a:lnTo>
                  <a:lnTo>
                    <a:pt x="1169" y="568"/>
                  </a:lnTo>
                  <a:lnTo>
                    <a:pt x="1169" y="568"/>
                  </a:lnTo>
                  <a:lnTo>
                    <a:pt x="1172" y="568"/>
                  </a:lnTo>
                  <a:lnTo>
                    <a:pt x="1172" y="568"/>
                  </a:lnTo>
                  <a:lnTo>
                    <a:pt x="1172" y="568"/>
                  </a:lnTo>
                  <a:lnTo>
                    <a:pt x="1172" y="570"/>
                  </a:lnTo>
                  <a:lnTo>
                    <a:pt x="1172" y="570"/>
                  </a:lnTo>
                  <a:close/>
                  <a:moveTo>
                    <a:pt x="1167" y="580"/>
                  </a:moveTo>
                  <a:lnTo>
                    <a:pt x="1167" y="580"/>
                  </a:lnTo>
                  <a:lnTo>
                    <a:pt x="1165" y="582"/>
                  </a:lnTo>
                  <a:lnTo>
                    <a:pt x="1165" y="582"/>
                  </a:lnTo>
                  <a:lnTo>
                    <a:pt x="1165" y="584"/>
                  </a:lnTo>
                  <a:lnTo>
                    <a:pt x="1163" y="584"/>
                  </a:lnTo>
                  <a:lnTo>
                    <a:pt x="1163" y="586"/>
                  </a:lnTo>
                  <a:lnTo>
                    <a:pt x="1165" y="586"/>
                  </a:lnTo>
                  <a:lnTo>
                    <a:pt x="1165" y="586"/>
                  </a:lnTo>
                  <a:lnTo>
                    <a:pt x="1167" y="584"/>
                  </a:lnTo>
                  <a:lnTo>
                    <a:pt x="1165" y="584"/>
                  </a:lnTo>
                  <a:lnTo>
                    <a:pt x="1165" y="584"/>
                  </a:lnTo>
                  <a:lnTo>
                    <a:pt x="1165" y="582"/>
                  </a:lnTo>
                  <a:lnTo>
                    <a:pt x="1167" y="582"/>
                  </a:lnTo>
                  <a:lnTo>
                    <a:pt x="1167" y="582"/>
                  </a:lnTo>
                  <a:lnTo>
                    <a:pt x="1169" y="582"/>
                  </a:lnTo>
                  <a:lnTo>
                    <a:pt x="1169" y="580"/>
                  </a:lnTo>
                  <a:lnTo>
                    <a:pt x="1169" y="580"/>
                  </a:lnTo>
                  <a:lnTo>
                    <a:pt x="1169" y="580"/>
                  </a:lnTo>
                  <a:lnTo>
                    <a:pt x="1169" y="580"/>
                  </a:lnTo>
                  <a:lnTo>
                    <a:pt x="1169" y="580"/>
                  </a:lnTo>
                  <a:lnTo>
                    <a:pt x="1169" y="580"/>
                  </a:lnTo>
                  <a:lnTo>
                    <a:pt x="1167" y="578"/>
                  </a:lnTo>
                  <a:lnTo>
                    <a:pt x="1167" y="578"/>
                  </a:lnTo>
                  <a:lnTo>
                    <a:pt x="1167" y="578"/>
                  </a:lnTo>
                  <a:lnTo>
                    <a:pt x="1167" y="578"/>
                  </a:lnTo>
                  <a:lnTo>
                    <a:pt x="1167" y="580"/>
                  </a:lnTo>
                  <a:lnTo>
                    <a:pt x="1167" y="580"/>
                  </a:lnTo>
                  <a:close/>
                  <a:moveTo>
                    <a:pt x="1163" y="584"/>
                  </a:moveTo>
                  <a:lnTo>
                    <a:pt x="1163" y="582"/>
                  </a:lnTo>
                  <a:lnTo>
                    <a:pt x="1163" y="582"/>
                  </a:lnTo>
                  <a:lnTo>
                    <a:pt x="1165" y="582"/>
                  </a:lnTo>
                  <a:lnTo>
                    <a:pt x="1165" y="582"/>
                  </a:lnTo>
                  <a:lnTo>
                    <a:pt x="1165" y="582"/>
                  </a:lnTo>
                  <a:lnTo>
                    <a:pt x="1165" y="580"/>
                  </a:lnTo>
                  <a:lnTo>
                    <a:pt x="1165" y="580"/>
                  </a:lnTo>
                  <a:lnTo>
                    <a:pt x="1165" y="578"/>
                  </a:lnTo>
                  <a:lnTo>
                    <a:pt x="1165" y="576"/>
                  </a:lnTo>
                  <a:lnTo>
                    <a:pt x="1165" y="576"/>
                  </a:lnTo>
                  <a:lnTo>
                    <a:pt x="1165" y="576"/>
                  </a:lnTo>
                  <a:lnTo>
                    <a:pt x="1165" y="576"/>
                  </a:lnTo>
                  <a:lnTo>
                    <a:pt x="1165" y="578"/>
                  </a:lnTo>
                  <a:lnTo>
                    <a:pt x="1165" y="578"/>
                  </a:lnTo>
                  <a:lnTo>
                    <a:pt x="1165" y="580"/>
                  </a:lnTo>
                  <a:lnTo>
                    <a:pt x="1163" y="580"/>
                  </a:lnTo>
                  <a:lnTo>
                    <a:pt x="1163" y="578"/>
                  </a:lnTo>
                  <a:lnTo>
                    <a:pt x="1163" y="578"/>
                  </a:lnTo>
                  <a:lnTo>
                    <a:pt x="1161" y="582"/>
                  </a:lnTo>
                  <a:lnTo>
                    <a:pt x="1159" y="582"/>
                  </a:lnTo>
                  <a:lnTo>
                    <a:pt x="1161" y="582"/>
                  </a:lnTo>
                  <a:lnTo>
                    <a:pt x="1163" y="582"/>
                  </a:lnTo>
                  <a:lnTo>
                    <a:pt x="1161" y="582"/>
                  </a:lnTo>
                  <a:lnTo>
                    <a:pt x="1161" y="584"/>
                  </a:lnTo>
                  <a:lnTo>
                    <a:pt x="1159" y="584"/>
                  </a:lnTo>
                  <a:lnTo>
                    <a:pt x="1159" y="584"/>
                  </a:lnTo>
                  <a:lnTo>
                    <a:pt x="1161" y="584"/>
                  </a:lnTo>
                  <a:lnTo>
                    <a:pt x="1163" y="584"/>
                  </a:lnTo>
                  <a:lnTo>
                    <a:pt x="1161" y="584"/>
                  </a:lnTo>
                  <a:lnTo>
                    <a:pt x="1159" y="584"/>
                  </a:lnTo>
                  <a:lnTo>
                    <a:pt x="1159" y="584"/>
                  </a:lnTo>
                  <a:lnTo>
                    <a:pt x="1161" y="586"/>
                  </a:lnTo>
                  <a:lnTo>
                    <a:pt x="1161" y="586"/>
                  </a:lnTo>
                  <a:lnTo>
                    <a:pt x="1163" y="584"/>
                  </a:lnTo>
                  <a:lnTo>
                    <a:pt x="1163" y="584"/>
                  </a:lnTo>
                  <a:close/>
                  <a:moveTo>
                    <a:pt x="1163" y="545"/>
                  </a:moveTo>
                  <a:lnTo>
                    <a:pt x="1165" y="543"/>
                  </a:lnTo>
                  <a:lnTo>
                    <a:pt x="1165" y="543"/>
                  </a:lnTo>
                  <a:lnTo>
                    <a:pt x="1165" y="543"/>
                  </a:lnTo>
                  <a:lnTo>
                    <a:pt x="1165" y="543"/>
                  </a:lnTo>
                  <a:lnTo>
                    <a:pt x="1165" y="543"/>
                  </a:lnTo>
                  <a:lnTo>
                    <a:pt x="1165" y="543"/>
                  </a:lnTo>
                  <a:lnTo>
                    <a:pt x="1165" y="543"/>
                  </a:lnTo>
                  <a:lnTo>
                    <a:pt x="1165" y="541"/>
                  </a:lnTo>
                  <a:lnTo>
                    <a:pt x="1165" y="539"/>
                  </a:lnTo>
                  <a:lnTo>
                    <a:pt x="1165" y="539"/>
                  </a:lnTo>
                  <a:lnTo>
                    <a:pt x="1163" y="537"/>
                  </a:lnTo>
                  <a:lnTo>
                    <a:pt x="1161" y="539"/>
                  </a:lnTo>
                  <a:lnTo>
                    <a:pt x="1161" y="539"/>
                  </a:lnTo>
                  <a:lnTo>
                    <a:pt x="1161" y="539"/>
                  </a:lnTo>
                  <a:lnTo>
                    <a:pt x="1161" y="539"/>
                  </a:lnTo>
                  <a:lnTo>
                    <a:pt x="1161" y="539"/>
                  </a:lnTo>
                  <a:lnTo>
                    <a:pt x="1161" y="541"/>
                  </a:lnTo>
                  <a:lnTo>
                    <a:pt x="1161" y="541"/>
                  </a:lnTo>
                  <a:lnTo>
                    <a:pt x="1161" y="543"/>
                  </a:lnTo>
                  <a:lnTo>
                    <a:pt x="1161" y="543"/>
                  </a:lnTo>
                  <a:lnTo>
                    <a:pt x="1161" y="543"/>
                  </a:lnTo>
                  <a:lnTo>
                    <a:pt x="1161" y="543"/>
                  </a:lnTo>
                  <a:lnTo>
                    <a:pt x="1161" y="545"/>
                  </a:lnTo>
                  <a:lnTo>
                    <a:pt x="1161" y="545"/>
                  </a:lnTo>
                  <a:lnTo>
                    <a:pt x="1161" y="545"/>
                  </a:lnTo>
                  <a:lnTo>
                    <a:pt x="1163" y="545"/>
                  </a:lnTo>
                  <a:lnTo>
                    <a:pt x="1163" y="545"/>
                  </a:lnTo>
                  <a:close/>
                  <a:moveTo>
                    <a:pt x="1159" y="549"/>
                  </a:moveTo>
                  <a:lnTo>
                    <a:pt x="1159" y="551"/>
                  </a:lnTo>
                  <a:lnTo>
                    <a:pt x="1161" y="551"/>
                  </a:lnTo>
                  <a:lnTo>
                    <a:pt x="1161" y="553"/>
                  </a:lnTo>
                  <a:lnTo>
                    <a:pt x="1161" y="553"/>
                  </a:lnTo>
                  <a:lnTo>
                    <a:pt x="1161" y="553"/>
                  </a:lnTo>
                  <a:lnTo>
                    <a:pt x="1161" y="551"/>
                  </a:lnTo>
                  <a:lnTo>
                    <a:pt x="1161" y="551"/>
                  </a:lnTo>
                  <a:lnTo>
                    <a:pt x="1161" y="549"/>
                  </a:lnTo>
                  <a:lnTo>
                    <a:pt x="1161" y="549"/>
                  </a:lnTo>
                  <a:lnTo>
                    <a:pt x="1161" y="549"/>
                  </a:lnTo>
                  <a:lnTo>
                    <a:pt x="1161" y="549"/>
                  </a:lnTo>
                  <a:lnTo>
                    <a:pt x="1161" y="549"/>
                  </a:lnTo>
                  <a:lnTo>
                    <a:pt x="1161" y="547"/>
                  </a:lnTo>
                  <a:lnTo>
                    <a:pt x="1161" y="547"/>
                  </a:lnTo>
                  <a:lnTo>
                    <a:pt x="1161" y="547"/>
                  </a:lnTo>
                  <a:lnTo>
                    <a:pt x="1159" y="547"/>
                  </a:lnTo>
                  <a:lnTo>
                    <a:pt x="1159" y="547"/>
                  </a:lnTo>
                  <a:lnTo>
                    <a:pt x="1159" y="547"/>
                  </a:lnTo>
                  <a:lnTo>
                    <a:pt x="1159" y="547"/>
                  </a:lnTo>
                  <a:lnTo>
                    <a:pt x="1159" y="549"/>
                  </a:lnTo>
                  <a:lnTo>
                    <a:pt x="1159" y="549"/>
                  </a:lnTo>
                  <a:close/>
                  <a:moveTo>
                    <a:pt x="1012" y="773"/>
                  </a:moveTo>
                  <a:lnTo>
                    <a:pt x="1012" y="775"/>
                  </a:lnTo>
                  <a:lnTo>
                    <a:pt x="1010" y="773"/>
                  </a:lnTo>
                  <a:lnTo>
                    <a:pt x="1010" y="775"/>
                  </a:lnTo>
                  <a:lnTo>
                    <a:pt x="1010" y="775"/>
                  </a:lnTo>
                  <a:lnTo>
                    <a:pt x="1008" y="775"/>
                  </a:lnTo>
                  <a:lnTo>
                    <a:pt x="1010" y="775"/>
                  </a:lnTo>
                  <a:lnTo>
                    <a:pt x="1010" y="775"/>
                  </a:lnTo>
                  <a:lnTo>
                    <a:pt x="1010" y="775"/>
                  </a:lnTo>
                  <a:lnTo>
                    <a:pt x="1012" y="775"/>
                  </a:lnTo>
                  <a:lnTo>
                    <a:pt x="1012" y="775"/>
                  </a:lnTo>
                  <a:lnTo>
                    <a:pt x="1012" y="775"/>
                  </a:lnTo>
                  <a:lnTo>
                    <a:pt x="1014" y="775"/>
                  </a:lnTo>
                  <a:lnTo>
                    <a:pt x="1014" y="775"/>
                  </a:lnTo>
                  <a:lnTo>
                    <a:pt x="1016" y="775"/>
                  </a:lnTo>
                  <a:lnTo>
                    <a:pt x="1016" y="773"/>
                  </a:lnTo>
                  <a:lnTo>
                    <a:pt x="1016" y="773"/>
                  </a:lnTo>
                  <a:lnTo>
                    <a:pt x="1012" y="773"/>
                  </a:lnTo>
                  <a:lnTo>
                    <a:pt x="1012" y="773"/>
                  </a:lnTo>
                  <a:close/>
                  <a:moveTo>
                    <a:pt x="1053" y="701"/>
                  </a:moveTo>
                  <a:lnTo>
                    <a:pt x="1055" y="701"/>
                  </a:lnTo>
                  <a:lnTo>
                    <a:pt x="1057" y="703"/>
                  </a:lnTo>
                  <a:lnTo>
                    <a:pt x="1057" y="703"/>
                  </a:lnTo>
                  <a:lnTo>
                    <a:pt x="1057" y="703"/>
                  </a:lnTo>
                  <a:lnTo>
                    <a:pt x="1057" y="703"/>
                  </a:lnTo>
                  <a:lnTo>
                    <a:pt x="1057" y="703"/>
                  </a:lnTo>
                  <a:lnTo>
                    <a:pt x="1059" y="701"/>
                  </a:lnTo>
                  <a:lnTo>
                    <a:pt x="1059" y="701"/>
                  </a:lnTo>
                  <a:lnTo>
                    <a:pt x="1059" y="701"/>
                  </a:lnTo>
                  <a:lnTo>
                    <a:pt x="1059" y="701"/>
                  </a:lnTo>
                  <a:lnTo>
                    <a:pt x="1057" y="701"/>
                  </a:lnTo>
                  <a:lnTo>
                    <a:pt x="1057" y="701"/>
                  </a:lnTo>
                  <a:lnTo>
                    <a:pt x="1057" y="701"/>
                  </a:lnTo>
                  <a:lnTo>
                    <a:pt x="1057" y="701"/>
                  </a:lnTo>
                  <a:lnTo>
                    <a:pt x="1057" y="701"/>
                  </a:lnTo>
                  <a:lnTo>
                    <a:pt x="1057" y="701"/>
                  </a:lnTo>
                  <a:lnTo>
                    <a:pt x="1057" y="701"/>
                  </a:lnTo>
                  <a:lnTo>
                    <a:pt x="1055" y="699"/>
                  </a:lnTo>
                  <a:lnTo>
                    <a:pt x="1057" y="699"/>
                  </a:lnTo>
                  <a:lnTo>
                    <a:pt x="1055" y="699"/>
                  </a:lnTo>
                  <a:lnTo>
                    <a:pt x="1055" y="699"/>
                  </a:lnTo>
                  <a:lnTo>
                    <a:pt x="1055" y="699"/>
                  </a:lnTo>
                  <a:lnTo>
                    <a:pt x="1055" y="699"/>
                  </a:lnTo>
                  <a:lnTo>
                    <a:pt x="1055" y="699"/>
                  </a:lnTo>
                  <a:lnTo>
                    <a:pt x="1055" y="699"/>
                  </a:lnTo>
                  <a:lnTo>
                    <a:pt x="1055" y="699"/>
                  </a:lnTo>
                  <a:lnTo>
                    <a:pt x="1055" y="699"/>
                  </a:lnTo>
                  <a:lnTo>
                    <a:pt x="1055" y="699"/>
                  </a:lnTo>
                  <a:lnTo>
                    <a:pt x="1055" y="699"/>
                  </a:lnTo>
                  <a:lnTo>
                    <a:pt x="1055" y="699"/>
                  </a:lnTo>
                  <a:lnTo>
                    <a:pt x="1055" y="701"/>
                  </a:lnTo>
                  <a:lnTo>
                    <a:pt x="1053" y="701"/>
                  </a:lnTo>
                  <a:close/>
                  <a:moveTo>
                    <a:pt x="1002" y="771"/>
                  </a:moveTo>
                  <a:lnTo>
                    <a:pt x="999" y="771"/>
                  </a:lnTo>
                  <a:lnTo>
                    <a:pt x="999" y="771"/>
                  </a:lnTo>
                  <a:lnTo>
                    <a:pt x="999" y="771"/>
                  </a:lnTo>
                  <a:lnTo>
                    <a:pt x="997" y="771"/>
                  </a:lnTo>
                  <a:lnTo>
                    <a:pt x="997" y="771"/>
                  </a:lnTo>
                  <a:lnTo>
                    <a:pt x="991" y="775"/>
                  </a:lnTo>
                  <a:lnTo>
                    <a:pt x="991" y="775"/>
                  </a:lnTo>
                  <a:lnTo>
                    <a:pt x="989" y="777"/>
                  </a:lnTo>
                  <a:lnTo>
                    <a:pt x="989" y="779"/>
                  </a:lnTo>
                  <a:lnTo>
                    <a:pt x="991" y="781"/>
                  </a:lnTo>
                  <a:lnTo>
                    <a:pt x="991" y="781"/>
                  </a:lnTo>
                  <a:lnTo>
                    <a:pt x="991" y="781"/>
                  </a:lnTo>
                  <a:lnTo>
                    <a:pt x="991" y="779"/>
                  </a:lnTo>
                  <a:lnTo>
                    <a:pt x="993" y="779"/>
                  </a:lnTo>
                  <a:lnTo>
                    <a:pt x="995" y="777"/>
                  </a:lnTo>
                  <a:lnTo>
                    <a:pt x="995" y="775"/>
                  </a:lnTo>
                  <a:lnTo>
                    <a:pt x="997" y="775"/>
                  </a:lnTo>
                  <a:lnTo>
                    <a:pt x="997" y="775"/>
                  </a:lnTo>
                  <a:lnTo>
                    <a:pt x="997" y="775"/>
                  </a:lnTo>
                  <a:lnTo>
                    <a:pt x="997" y="775"/>
                  </a:lnTo>
                  <a:lnTo>
                    <a:pt x="997" y="773"/>
                  </a:lnTo>
                  <a:lnTo>
                    <a:pt x="997" y="771"/>
                  </a:lnTo>
                  <a:lnTo>
                    <a:pt x="999" y="771"/>
                  </a:lnTo>
                  <a:lnTo>
                    <a:pt x="999" y="771"/>
                  </a:lnTo>
                  <a:lnTo>
                    <a:pt x="999" y="773"/>
                  </a:lnTo>
                  <a:lnTo>
                    <a:pt x="999" y="773"/>
                  </a:lnTo>
                  <a:lnTo>
                    <a:pt x="999" y="773"/>
                  </a:lnTo>
                  <a:lnTo>
                    <a:pt x="999" y="773"/>
                  </a:lnTo>
                  <a:lnTo>
                    <a:pt x="999" y="773"/>
                  </a:lnTo>
                  <a:lnTo>
                    <a:pt x="999" y="773"/>
                  </a:lnTo>
                  <a:lnTo>
                    <a:pt x="999" y="773"/>
                  </a:lnTo>
                  <a:lnTo>
                    <a:pt x="999" y="773"/>
                  </a:lnTo>
                  <a:lnTo>
                    <a:pt x="999" y="773"/>
                  </a:lnTo>
                  <a:lnTo>
                    <a:pt x="999" y="773"/>
                  </a:lnTo>
                  <a:lnTo>
                    <a:pt x="1002" y="773"/>
                  </a:lnTo>
                  <a:lnTo>
                    <a:pt x="1002" y="773"/>
                  </a:lnTo>
                  <a:lnTo>
                    <a:pt x="1002" y="773"/>
                  </a:lnTo>
                  <a:lnTo>
                    <a:pt x="1002" y="771"/>
                  </a:lnTo>
                  <a:close/>
                  <a:moveTo>
                    <a:pt x="1010" y="773"/>
                  </a:moveTo>
                  <a:lnTo>
                    <a:pt x="1010" y="773"/>
                  </a:lnTo>
                  <a:lnTo>
                    <a:pt x="1010" y="773"/>
                  </a:lnTo>
                  <a:lnTo>
                    <a:pt x="1010" y="773"/>
                  </a:lnTo>
                  <a:lnTo>
                    <a:pt x="1010" y="771"/>
                  </a:lnTo>
                  <a:lnTo>
                    <a:pt x="1010" y="773"/>
                  </a:lnTo>
                  <a:lnTo>
                    <a:pt x="1012" y="773"/>
                  </a:lnTo>
                  <a:lnTo>
                    <a:pt x="1010" y="773"/>
                  </a:lnTo>
                  <a:lnTo>
                    <a:pt x="1010" y="771"/>
                  </a:lnTo>
                  <a:lnTo>
                    <a:pt x="1010" y="771"/>
                  </a:lnTo>
                  <a:lnTo>
                    <a:pt x="1010" y="771"/>
                  </a:lnTo>
                  <a:lnTo>
                    <a:pt x="1010" y="771"/>
                  </a:lnTo>
                  <a:lnTo>
                    <a:pt x="1010" y="771"/>
                  </a:lnTo>
                  <a:lnTo>
                    <a:pt x="1008" y="771"/>
                  </a:lnTo>
                  <a:lnTo>
                    <a:pt x="1006" y="771"/>
                  </a:lnTo>
                  <a:lnTo>
                    <a:pt x="1006" y="771"/>
                  </a:lnTo>
                  <a:lnTo>
                    <a:pt x="1004" y="771"/>
                  </a:lnTo>
                  <a:lnTo>
                    <a:pt x="1004" y="771"/>
                  </a:lnTo>
                  <a:lnTo>
                    <a:pt x="1004" y="773"/>
                  </a:lnTo>
                  <a:lnTo>
                    <a:pt x="1002" y="773"/>
                  </a:lnTo>
                  <a:lnTo>
                    <a:pt x="1004" y="775"/>
                  </a:lnTo>
                  <a:lnTo>
                    <a:pt x="1004" y="775"/>
                  </a:lnTo>
                  <a:lnTo>
                    <a:pt x="1004" y="775"/>
                  </a:lnTo>
                  <a:lnTo>
                    <a:pt x="1004" y="775"/>
                  </a:lnTo>
                  <a:lnTo>
                    <a:pt x="1006" y="775"/>
                  </a:lnTo>
                  <a:lnTo>
                    <a:pt x="1008" y="775"/>
                  </a:lnTo>
                  <a:lnTo>
                    <a:pt x="1008" y="775"/>
                  </a:lnTo>
                  <a:lnTo>
                    <a:pt x="1008" y="775"/>
                  </a:lnTo>
                  <a:lnTo>
                    <a:pt x="1008" y="775"/>
                  </a:lnTo>
                  <a:lnTo>
                    <a:pt x="1010" y="773"/>
                  </a:lnTo>
                  <a:lnTo>
                    <a:pt x="1010" y="773"/>
                  </a:lnTo>
                  <a:close/>
                  <a:moveTo>
                    <a:pt x="1010" y="764"/>
                  </a:moveTo>
                  <a:lnTo>
                    <a:pt x="1010" y="766"/>
                  </a:lnTo>
                  <a:lnTo>
                    <a:pt x="1012" y="766"/>
                  </a:lnTo>
                  <a:lnTo>
                    <a:pt x="1012" y="766"/>
                  </a:lnTo>
                  <a:lnTo>
                    <a:pt x="1012" y="764"/>
                  </a:lnTo>
                  <a:lnTo>
                    <a:pt x="1012" y="764"/>
                  </a:lnTo>
                  <a:lnTo>
                    <a:pt x="1012" y="764"/>
                  </a:lnTo>
                  <a:lnTo>
                    <a:pt x="1012" y="764"/>
                  </a:lnTo>
                  <a:lnTo>
                    <a:pt x="1012" y="764"/>
                  </a:lnTo>
                  <a:lnTo>
                    <a:pt x="1010" y="764"/>
                  </a:lnTo>
                  <a:lnTo>
                    <a:pt x="1010" y="764"/>
                  </a:lnTo>
                  <a:lnTo>
                    <a:pt x="1010" y="764"/>
                  </a:lnTo>
                  <a:lnTo>
                    <a:pt x="1010" y="764"/>
                  </a:lnTo>
                  <a:lnTo>
                    <a:pt x="1008" y="764"/>
                  </a:lnTo>
                  <a:lnTo>
                    <a:pt x="1010" y="764"/>
                  </a:lnTo>
                  <a:lnTo>
                    <a:pt x="1010" y="764"/>
                  </a:lnTo>
                  <a:lnTo>
                    <a:pt x="1010" y="764"/>
                  </a:lnTo>
                  <a:lnTo>
                    <a:pt x="1010" y="764"/>
                  </a:lnTo>
                  <a:lnTo>
                    <a:pt x="1010" y="764"/>
                  </a:lnTo>
                  <a:close/>
                  <a:moveTo>
                    <a:pt x="932" y="789"/>
                  </a:moveTo>
                  <a:lnTo>
                    <a:pt x="932" y="789"/>
                  </a:lnTo>
                  <a:lnTo>
                    <a:pt x="932" y="789"/>
                  </a:lnTo>
                  <a:lnTo>
                    <a:pt x="932" y="789"/>
                  </a:lnTo>
                  <a:lnTo>
                    <a:pt x="932" y="789"/>
                  </a:lnTo>
                  <a:lnTo>
                    <a:pt x="932" y="789"/>
                  </a:lnTo>
                  <a:lnTo>
                    <a:pt x="932" y="789"/>
                  </a:lnTo>
                  <a:lnTo>
                    <a:pt x="932" y="789"/>
                  </a:lnTo>
                  <a:lnTo>
                    <a:pt x="932" y="789"/>
                  </a:lnTo>
                  <a:lnTo>
                    <a:pt x="932" y="789"/>
                  </a:lnTo>
                  <a:lnTo>
                    <a:pt x="932" y="791"/>
                  </a:lnTo>
                  <a:lnTo>
                    <a:pt x="932" y="791"/>
                  </a:lnTo>
                  <a:lnTo>
                    <a:pt x="932" y="791"/>
                  </a:lnTo>
                  <a:lnTo>
                    <a:pt x="932" y="791"/>
                  </a:lnTo>
                  <a:lnTo>
                    <a:pt x="932" y="791"/>
                  </a:lnTo>
                  <a:lnTo>
                    <a:pt x="932" y="791"/>
                  </a:lnTo>
                  <a:lnTo>
                    <a:pt x="932" y="791"/>
                  </a:lnTo>
                  <a:lnTo>
                    <a:pt x="932" y="791"/>
                  </a:lnTo>
                  <a:lnTo>
                    <a:pt x="932" y="789"/>
                  </a:lnTo>
                  <a:close/>
                  <a:moveTo>
                    <a:pt x="934" y="797"/>
                  </a:moveTo>
                  <a:lnTo>
                    <a:pt x="934" y="797"/>
                  </a:lnTo>
                  <a:lnTo>
                    <a:pt x="934" y="797"/>
                  </a:lnTo>
                  <a:lnTo>
                    <a:pt x="934" y="797"/>
                  </a:lnTo>
                  <a:lnTo>
                    <a:pt x="934" y="797"/>
                  </a:lnTo>
                  <a:lnTo>
                    <a:pt x="934" y="797"/>
                  </a:lnTo>
                  <a:lnTo>
                    <a:pt x="934" y="797"/>
                  </a:lnTo>
                  <a:lnTo>
                    <a:pt x="934" y="797"/>
                  </a:lnTo>
                  <a:lnTo>
                    <a:pt x="934" y="797"/>
                  </a:lnTo>
                  <a:lnTo>
                    <a:pt x="932" y="797"/>
                  </a:lnTo>
                  <a:lnTo>
                    <a:pt x="932" y="799"/>
                  </a:lnTo>
                  <a:lnTo>
                    <a:pt x="934" y="799"/>
                  </a:lnTo>
                  <a:lnTo>
                    <a:pt x="934" y="799"/>
                  </a:lnTo>
                  <a:lnTo>
                    <a:pt x="934" y="799"/>
                  </a:lnTo>
                  <a:lnTo>
                    <a:pt x="934" y="799"/>
                  </a:lnTo>
                  <a:lnTo>
                    <a:pt x="934" y="799"/>
                  </a:lnTo>
                  <a:lnTo>
                    <a:pt x="934" y="799"/>
                  </a:lnTo>
                  <a:lnTo>
                    <a:pt x="934" y="799"/>
                  </a:lnTo>
                  <a:lnTo>
                    <a:pt x="934" y="799"/>
                  </a:lnTo>
                  <a:lnTo>
                    <a:pt x="934" y="799"/>
                  </a:lnTo>
                  <a:lnTo>
                    <a:pt x="934" y="799"/>
                  </a:lnTo>
                  <a:lnTo>
                    <a:pt x="934" y="799"/>
                  </a:lnTo>
                  <a:lnTo>
                    <a:pt x="934" y="797"/>
                  </a:lnTo>
                  <a:lnTo>
                    <a:pt x="934" y="797"/>
                  </a:lnTo>
                  <a:lnTo>
                    <a:pt x="934" y="797"/>
                  </a:lnTo>
                  <a:close/>
                  <a:moveTo>
                    <a:pt x="948" y="730"/>
                  </a:moveTo>
                  <a:lnTo>
                    <a:pt x="948" y="730"/>
                  </a:lnTo>
                  <a:lnTo>
                    <a:pt x="948" y="730"/>
                  </a:lnTo>
                  <a:lnTo>
                    <a:pt x="948" y="730"/>
                  </a:lnTo>
                  <a:lnTo>
                    <a:pt x="948" y="730"/>
                  </a:lnTo>
                  <a:lnTo>
                    <a:pt x="948" y="730"/>
                  </a:lnTo>
                  <a:lnTo>
                    <a:pt x="948" y="730"/>
                  </a:lnTo>
                  <a:lnTo>
                    <a:pt x="948" y="730"/>
                  </a:lnTo>
                  <a:lnTo>
                    <a:pt x="948" y="730"/>
                  </a:lnTo>
                  <a:lnTo>
                    <a:pt x="948" y="730"/>
                  </a:lnTo>
                  <a:close/>
                  <a:moveTo>
                    <a:pt x="965" y="805"/>
                  </a:moveTo>
                  <a:lnTo>
                    <a:pt x="965" y="805"/>
                  </a:lnTo>
                  <a:lnTo>
                    <a:pt x="965" y="807"/>
                  </a:lnTo>
                  <a:lnTo>
                    <a:pt x="963" y="807"/>
                  </a:lnTo>
                  <a:lnTo>
                    <a:pt x="963" y="809"/>
                  </a:lnTo>
                  <a:lnTo>
                    <a:pt x="961" y="809"/>
                  </a:lnTo>
                  <a:lnTo>
                    <a:pt x="963" y="809"/>
                  </a:lnTo>
                  <a:lnTo>
                    <a:pt x="963" y="809"/>
                  </a:lnTo>
                  <a:lnTo>
                    <a:pt x="963" y="812"/>
                  </a:lnTo>
                  <a:lnTo>
                    <a:pt x="963" y="812"/>
                  </a:lnTo>
                  <a:lnTo>
                    <a:pt x="963" y="812"/>
                  </a:lnTo>
                  <a:lnTo>
                    <a:pt x="963" y="812"/>
                  </a:lnTo>
                  <a:lnTo>
                    <a:pt x="965" y="812"/>
                  </a:lnTo>
                  <a:lnTo>
                    <a:pt x="965" y="814"/>
                  </a:lnTo>
                  <a:lnTo>
                    <a:pt x="967" y="814"/>
                  </a:lnTo>
                  <a:lnTo>
                    <a:pt x="967" y="812"/>
                  </a:lnTo>
                  <a:lnTo>
                    <a:pt x="967" y="812"/>
                  </a:lnTo>
                  <a:lnTo>
                    <a:pt x="967" y="812"/>
                  </a:lnTo>
                  <a:lnTo>
                    <a:pt x="967" y="809"/>
                  </a:lnTo>
                  <a:lnTo>
                    <a:pt x="967" y="807"/>
                  </a:lnTo>
                  <a:lnTo>
                    <a:pt x="967" y="807"/>
                  </a:lnTo>
                  <a:lnTo>
                    <a:pt x="967" y="805"/>
                  </a:lnTo>
                  <a:lnTo>
                    <a:pt x="967" y="805"/>
                  </a:lnTo>
                  <a:lnTo>
                    <a:pt x="965" y="805"/>
                  </a:lnTo>
                  <a:close/>
                  <a:moveTo>
                    <a:pt x="1030" y="695"/>
                  </a:moveTo>
                  <a:lnTo>
                    <a:pt x="1030" y="695"/>
                  </a:lnTo>
                  <a:lnTo>
                    <a:pt x="1032" y="695"/>
                  </a:lnTo>
                  <a:lnTo>
                    <a:pt x="1032" y="695"/>
                  </a:lnTo>
                  <a:lnTo>
                    <a:pt x="1032" y="693"/>
                  </a:lnTo>
                  <a:lnTo>
                    <a:pt x="1032" y="693"/>
                  </a:lnTo>
                  <a:lnTo>
                    <a:pt x="1032" y="693"/>
                  </a:lnTo>
                  <a:lnTo>
                    <a:pt x="1034" y="695"/>
                  </a:lnTo>
                  <a:lnTo>
                    <a:pt x="1034" y="697"/>
                  </a:lnTo>
                  <a:lnTo>
                    <a:pt x="1034" y="695"/>
                  </a:lnTo>
                  <a:lnTo>
                    <a:pt x="1036" y="697"/>
                  </a:lnTo>
                  <a:lnTo>
                    <a:pt x="1038" y="697"/>
                  </a:lnTo>
                  <a:lnTo>
                    <a:pt x="1038" y="699"/>
                  </a:lnTo>
                  <a:lnTo>
                    <a:pt x="1040" y="699"/>
                  </a:lnTo>
                  <a:lnTo>
                    <a:pt x="1040" y="699"/>
                  </a:lnTo>
                  <a:lnTo>
                    <a:pt x="1040" y="697"/>
                  </a:lnTo>
                  <a:lnTo>
                    <a:pt x="1043" y="697"/>
                  </a:lnTo>
                  <a:lnTo>
                    <a:pt x="1043" y="697"/>
                  </a:lnTo>
                  <a:lnTo>
                    <a:pt x="1043" y="697"/>
                  </a:lnTo>
                  <a:lnTo>
                    <a:pt x="1043" y="697"/>
                  </a:lnTo>
                  <a:lnTo>
                    <a:pt x="1040" y="695"/>
                  </a:lnTo>
                  <a:lnTo>
                    <a:pt x="1038" y="695"/>
                  </a:lnTo>
                  <a:lnTo>
                    <a:pt x="1038" y="695"/>
                  </a:lnTo>
                  <a:lnTo>
                    <a:pt x="1038" y="695"/>
                  </a:lnTo>
                  <a:lnTo>
                    <a:pt x="1038" y="693"/>
                  </a:lnTo>
                  <a:lnTo>
                    <a:pt x="1038" y="693"/>
                  </a:lnTo>
                  <a:lnTo>
                    <a:pt x="1036" y="693"/>
                  </a:lnTo>
                  <a:lnTo>
                    <a:pt x="1036" y="693"/>
                  </a:lnTo>
                  <a:lnTo>
                    <a:pt x="1036" y="693"/>
                  </a:lnTo>
                  <a:lnTo>
                    <a:pt x="1034" y="693"/>
                  </a:lnTo>
                  <a:lnTo>
                    <a:pt x="1034" y="693"/>
                  </a:lnTo>
                  <a:lnTo>
                    <a:pt x="1034" y="691"/>
                  </a:lnTo>
                  <a:lnTo>
                    <a:pt x="1032" y="691"/>
                  </a:lnTo>
                  <a:lnTo>
                    <a:pt x="1032" y="691"/>
                  </a:lnTo>
                  <a:lnTo>
                    <a:pt x="1032" y="691"/>
                  </a:lnTo>
                  <a:lnTo>
                    <a:pt x="1030" y="691"/>
                  </a:lnTo>
                  <a:lnTo>
                    <a:pt x="1030" y="691"/>
                  </a:lnTo>
                  <a:lnTo>
                    <a:pt x="1030" y="691"/>
                  </a:lnTo>
                  <a:lnTo>
                    <a:pt x="1028" y="695"/>
                  </a:lnTo>
                  <a:lnTo>
                    <a:pt x="1030" y="695"/>
                  </a:lnTo>
                  <a:close/>
                  <a:moveTo>
                    <a:pt x="1028" y="699"/>
                  </a:moveTo>
                  <a:lnTo>
                    <a:pt x="1026" y="699"/>
                  </a:lnTo>
                  <a:lnTo>
                    <a:pt x="1026" y="699"/>
                  </a:lnTo>
                  <a:lnTo>
                    <a:pt x="1026" y="699"/>
                  </a:lnTo>
                  <a:lnTo>
                    <a:pt x="1024" y="701"/>
                  </a:lnTo>
                  <a:lnTo>
                    <a:pt x="1026" y="701"/>
                  </a:lnTo>
                  <a:lnTo>
                    <a:pt x="1028" y="705"/>
                  </a:lnTo>
                  <a:lnTo>
                    <a:pt x="1030" y="705"/>
                  </a:lnTo>
                  <a:lnTo>
                    <a:pt x="1030" y="705"/>
                  </a:lnTo>
                  <a:lnTo>
                    <a:pt x="1030" y="705"/>
                  </a:lnTo>
                  <a:lnTo>
                    <a:pt x="1032" y="705"/>
                  </a:lnTo>
                  <a:lnTo>
                    <a:pt x="1030" y="705"/>
                  </a:lnTo>
                  <a:lnTo>
                    <a:pt x="1030" y="705"/>
                  </a:lnTo>
                  <a:lnTo>
                    <a:pt x="1030" y="705"/>
                  </a:lnTo>
                  <a:lnTo>
                    <a:pt x="1030" y="705"/>
                  </a:lnTo>
                  <a:lnTo>
                    <a:pt x="1030" y="705"/>
                  </a:lnTo>
                  <a:lnTo>
                    <a:pt x="1030" y="705"/>
                  </a:lnTo>
                  <a:lnTo>
                    <a:pt x="1032" y="707"/>
                  </a:lnTo>
                  <a:lnTo>
                    <a:pt x="1032" y="707"/>
                  </a:lnTo>
                  <a:lnTo>
                    <a:pt x="1032" y="707"/>
                  </a:lnTo>
                  <a:lnTo>
                    <a:pt x="1032" y="707"/>
                  </a:lnTo>
                  <a:lnTo>
                    <a:pt x="1032" y="707"/>
                  </a:lnTo>
                  <a:lnTo>
                    <a:pt x="1034" y="707"/>
                  </a:lnTo>
                  <a:lnTo>
                    <a:pt x="1034" y="707"/>
                  </a:lnTo>
                  <a:lnTo>
                    <a:pt x="1034" y="707"/>
                  </a:lnTo>
                  <a:lnTo>
                    <a:pt x="1034" y="705"/>
                  </a:lnTo>
                  <a:lnTo>
                    <a:pt x="1032" y="703"/>
                  </a:lnTo>
                  <a:lnTo>
                    <a:pt x="1032" y="703"/>
                  </a:lnTo>
                  <a:lnTo>
                    <a:pt x="1030" y="701"/>
                  </a:lnTo>
                  <a:lnTo>
                    <a:pt x="1028" y="699"/>
                  </a:lnTo>
                  <a:lnTo>
                    <a:pt x="1028" y="699"/>
                  </a:lnTo>
                  <a:close/>
                  <a:moveTo>
                    <a:pt x="1047" y="699"/>
                  </a:moveTo>
                  <a:lnTo>
                    <a:pt x="1047" y="699"/>
                  </a:lnTo>
                  <a:lnTo>
                    <a:pt x="1047" y="699"/>
                  </a:lnTo>
                  <a:lnTo>
                    <a:pt x="1047" y="699"/>
                  </a:lnTo>
                  <a:lnTo>
                    <a:pt x="1045" y="699"/>
                  </a:lnTo>
                  <a:lnTo>
                    <a:pt x="1045" y="699"/>
                  </a:lnTo>
                  <a:lnTo>
                    <a:pt x="1045" y="699"/>
                  </a:lnTo>
                  <a:lnTo>
                    <a:pt x="1045" y="701"/>
                  </a:lnTo>
                  <a:lnTo>
                    <a:pt x="1045" y="701"/>
                  </a:lnTo>
                  <a:lnTo>
                    <a:pt x="1045" y="701"/>
                  </a:lnTo>
                  <a:lnTo>
                    <a:pt x="1047" y="701"/>
                  </a:lnTo>
                  <a:lnTo>
                    <a:pt x="1047" y="701"/>
                  </a:lnTo>
                  <a:lnTo>
                    <a:pt x="1047" y="701"/>
                  </a:lnTo>
                  <a:lnTo>
                    <a:pt x="1047" y="699"/>
                  </a:lnTo>
                  <a:lnTo>
                    <a:pt x="1047" y="699"/>
                  </a:lnTo>
                  <a:lnTo>
                    <a:pt x="1047" y="699"/>
                  </a:lnTo>
                  <a:lnTo>
                    <a:pt x="1047" y="699"/>
                  </a:lnTo>
                  <a:close/>
                  <a:moveTo>
                    <a:pt x="1163" y="568"/>
                  </a:moveTo>
                  <a:lnTo>
                    <a:pt x="1163" y="570"/>
                  </a:lnTo>
                  <a:lnTo>
                    <a:pt x="1163" y="570"/>
                  </a:lnTo>
                  <a:lnTo>
                    <a:pt x="1163" y="570"/>
                  </a:lnTo>
                  <a:lnTo>
                    <a:pt x="1163" y="572"/>
                  </a:lnTo>
                  <a:lnTo>
                    <a:pt x="1165" y="572"/>
                  </a:lnTo>
                  <a:lnTo>
                    <a:pt x="1165" y="572"/>
                  </a:lnTo>
                  <a:lnTo>
                    <a:pt x="1165" y="570"/>
                  </a:lnTo>
                  <a:lnTo>
                    <a:pt x="1165" y="570"/>
                  </a:lnTo>
                  <a:lnTo>
                    <a:pt x="1165" y="568"/>
                  </a:lnTo>
                  <a:lnTo>
                    <a:pt x="1165" y="568"/>
                  </a:lnTo>
                  <a:lnTo>
                    <a:pt x="1167" y="568"/>
                  </a:lnTo>
                  <a:lnTo>
                    <a:pt x="1167" y="566"/>
                  </a:lnTo>
                  <a:lnTo>
                    <a:pt x="1165" y="566"/>
                  </a:lnTo>
                  <a:lnTo>
                    <a:pt x="1163" y="568"/>
                  </a:lnTo>
                  <a:close/>
                  <a:moveTo>
                    <a:pt x="1043" y="740"/>
                  </a:moveTo>
                  <a:lnTo>
                    <a:pt x="1043" y="740"/>
                  </a:lnTo>
                  <a:lnTo>
                    <a:pt x="1043" y="742"/>
                  </a:lnTo>
                  <a:lnTo>
                    <a:pt x="1043" y="742"/>
                  </a:lnTo>
                  <a:lnTo>
                    <a:pt x="1043" y="740"/>
                  </a:lnTo>
                  <a:lnTo>
                    <a:pt x="1040" y="740"/>
                  </a:lnTo>
                  <a:lnTo>
                    <a:pt x="1038" y="740"/>
                  </a:lnTo>
                  <a:lnTo>
                    <a:pt x="1038" y="740"/>
                  </a:lnTo>
                  <a:lnTo>
                    <a:pt x="1038" y="740"/>
                  </a:lnTo>
                  <a:lnTo>
                    <a:pt x="1038" y="740"/>
                  </a:lnTo>
                  <a:lnTo>
                    <a:pt x="1038" y="740"/>
                  </a:lnTo>
                  <a:lnTo>
                    <a:pt x="1036" y="740"/>
                  </a:lnTo>
                  <a:lnTo>
                    <a:pt x="1036" y="742"/>
                  </a:lnTo>
                  <a:lnTo>
                    <a:pt x="1034" y="742"/>
                  </a:lnTo>
                  <a:lnTo>
                    <a:pt x="1036" y="740"/>
                  </a:lnTo>
                  <a:lnTo>
                    <a:pt x="1034" y="740"/>
                  </a:lnTo>
                  <a:lnTo>
                    <a:pt x="1034" y="740"/>
                  </a:lnTo>
                  <a:lnTo>
                    <a:pt x="1034" y="740"/>
                  </a:lnTo>
                  <a:lnTo>
                    <a:pt x="1034" y="738"/>
                  </a:lnTo>
                  <a:lnTo>
                    <a:pt x="1034" y="738"/>
                  </a:lnTo>
                  <a:lnTo>
                    <a:pt x="1032" y="738"/>
                  </a:lnTo>
                  <a:lnTo>
                    <a:pt x="1032" y="740"/>
                  </a:lnTo>
                  <a:lnTo>
                    <a:pt x="1032" y="740"/>
                  </a:lnTo>
                  <a:lnTo>
                    <a:pt x="1032" y="740"/>
                  </a:lnTo>
                  <a:lnTo>
                    <a:pt x="1032" y="740"/>
                  </a:lnTo>
                  <a:lnTo>
                    <a:pt x="1030" y="742"/>
                  </a:lnTo>
                  <a:lnTo>
                    <a:pt x="1030" y="744"/>
                  </a:lnTo>
                  <a:lnTo>
                    <a:pt x="1030" y="744"/>
                  </a:lnTo>
                  <a:lnTo>
                    <a:pt x="1030" y="744"/>
                  </a:lnTo>
                  <a:lnTo>
                    <a:pt x="1030" y="744"/>
                  </a:lnTo>
                  <a:lnTo>
                    <a:pt x="1030" y="744"/>
                  </a:lnTo>
                  <a:lnTo>
                    <a:pt x="1030" y="744"/>
                  </a:lnTo>
                  <a:lnTo>
                    <a:pt x="1030" y="744"/>
                  </a:lnTo>
                  <a:lnTo>
                    <a:pt x="1030" y="744"/>
                  </a:lnTo>
                  <a:lnTo>
                    <a:pt x="1030" y="744"/>
                  </a:lnTo>
                  <a:lnTo>
                    <a:pt x="1030" y="746"/>
                  </a:lnTo>
                  <a:lnTo>
                    <a:pt x="1028" y="746"/>
                  </a:lnTo>
                  <a:lnTo>
                    <a:pt x="1030" y="746"/>
                  </a:lnTo>
                  <a:lnTo>
                    <a:pt x="1030" y="746"/>
                  </a:lnTo>
                  <a:lnTo>
                    <a:pt x="1032" y="746"/>
                  </a:lnTo>
                  <a:lnTo>
                    <a:pt x="1032" y="746"/>
                  </a:lnTo>
                  <a:lnTo>
                    <a:pt x="1032" y="746"/>
                  </a:lnTo>
                  <a:lnTo>
                    <a:pt x="1032" y="746"/>
                  </a:lnTo>
                  <a:lnTo>
                    <a:pt x="1030" y="746"/>
                  </a:lnTo>
                  <a:lnTo>
                    <a:pt x="1030" y="748"/>
                  </a:lnTo>
                  <a:lnTo>
                    <a:pt x="1032" y="748"/>
                  </a:lnTo>
                  <a:lnTo>
                    <a:pt x="1032" y="748"/>
                  </a:lnTo>
                  <a:lnTo>
                    <a:pt x="1032" y="748"/>
                  </a:lnTo>
                  <a:lnTo>
                    <a:pt x="1032" y="748"/>
                  </a:lnTo>
                  <a:lnTo>
                    <a:pt x="1030" y="750"/>
                  </a:lnTo>
                  <a:lnTo>
                    <a:pt x="1032" y="750"/>
                  </a:lnTo>
                  <a:lnTo>
                    <a:pt x="1032" y="750"/>
                  </a:lnTo>
                  <a:lnTo>
                    <a:pt x="1034" y="748"/>
                  </a:lnTo>
                  <a:lnTo>
                    <a:pt x="1034" y="748"/>
                  </a:lnTo>
                  <a:lnTo>
                    <a:pt x="1034" y="746"/>
                  </a:lnTo>
                  <a:lnTo>
                    <a:pt x="1034" y="746"/>
                  </a:lnTo>
                  <a:lnTo>
                    <a:pt x="1034" y="746"/>
                  </a:lnTo>
                  <a:lnTo>
                    <a:pt x="1034" y="746"/>
                  </a:lnTo>
                  <a:lnTo>
                    <a:pt x="1036" y="744"/>
                  </a:lnTo>
                  <a:lnTo>
                    <a:pt x="1036" y="744"/>
                  </a:lnTo>
                  <a:lnTo>
                    <a:pt x="1038" y="744"/>
                  </a:lnTo>
                  <a:lnTo>
                    <a:pt x="1038" y="744"/>
                  </a:lnTo>
                  <a:lnTo>
                    <a:pt x="1038" y="744"/>
                  </a:lnTo>
                  <a:lnTo>
                    <a:pt x="1040" y="742"/>
                  </a:lnTo>
                  <a:lnTo>
                    <a:pt x="1040" y="742"/>
                  </a:lnTo>
                  <a:lnTo>
                    <a:pt x="1040" y="744"/>
                  </a:lnTo>
                  <a:lnTo>
                    <a:pt x="1040" y="744"/>
                  </a:lnTo>
                  <a:lnTo>
                    <a:pt x="1040" y="744"/>
                  </a:lnTo>
                  <a:lnTo>
                    <a:pt x="1043" y="742"/>
                  </a:lnTo>
                  <a:lnTo>
                    <a:pt x="1043" y="742"/>
                  </a:lnTo>
                  <a:lnTo>
                    <a:pt x="1045" y="742"/>
                  </a:lnTo>
                  <a:lnTo>
                    <a:pt x="1045" y="742"/>
                  </a:lnTo>
                  <a:lnTo>
                    <a:pt x="1043" y="740"/>
                  </a:lnTo>
                  <a:close/>
                  <a:moveTo>
                    <a:pt x="1018" y="721"/>
                  </a:moveTo>
                  <a:lnTo>
                    <a:pt x="1016" y="721"/>
                  </a:lnTo>
                  <a:lnTo>
                    <a:pt x="1016" y="721"/>
                  </a:lnTo>
                  <a:lnTo>
                    <a:pt x="1016" y="721"/>
                  </a:lnTo>
                  <a:lnTo>
                    <a:pt x="1016" y="723"/>
                  </a:lnTo>
                  <a:lnTo>
                    <a:pt x="1016" y="723"/>
                  </a:lnTo>
                  <a:lnTo>
                    <a:pt x="1016" y="723"/>
                  </a:lnTo>
                  <a:lnTo>
                    <a:pt x="1016" y="723"/>
                  </a:lnTo>
                  <a:lnTo>
                    <a:pt x="1016" y="725"/>
                  </a:lnTo>
                  <a:lnTo>
                    <a:pt x="1016" y="725"/>
                  </a:lnTo>
                  <a:lnTo>
                    <a:pt x="1016" y="728"/>
                  </a:lnTo>
                  <a:lnTo>
                    <a:pt x="1018" y="725"/>
                  </a:lnTo>
                  <a:lnTo>
                    <a:pt x="1018" y="723"/>
                  </a:lnTo>
                  <a:lnTo>
                    <a:pt x="1018" y="723"/>
                  </a:lnTo>
                  <a:lnTo>
                    <a:pt x="1018" y="723"/>
                  </a:lnTo>
                  <a:lnTo>
                    <a:pt x="1018" y="721"/>
                  </a:lnTo>
                  <a:close/>
                  <a:moveTo>
                    <a:pt x="1059" y="715"/>
                  </a:moveTo>
                  <a:lnTo>
                    <a:pt x="1057" y="717"/>
                  </a:lnTo>
                  <a:lnTo>
                    <a:pt x="1057" y="717"/>
                  </a:lnTo>
                  <a:lnTo>
                    <a:pt x="1057" y="715"/>
                  </a:lnTo>
                  <a:lnTo>
                    <a:pt x="1057" y="715"/>
                  </a:lnTo>
                  <a:lnTo>
                    <a:pt x="1057" y="713"/>
                  </a:lnTo>
                  <a:lnTo>
                    <a:pt x="1057" y="713"/>
                  </a:lnTo>
                  <a:lnTo>
                    <a:pt x="1057" y="713"/>
                  </a:lnTo>
                  <a:lnTo>
                    <a:pt x="1055" y="715"/>
                  </a:lnTo>
                  <a:lnTo>
                    <a:pt x="1055" y="715"/>
                  </a:lnTo>
                  <a:lnTo>
                    <a:pt x="1055" y="715"/>
                  </a:lnTo>
                  <a:lnTo>
                    <a:pt x="1055" y="713"/>
                  </a:lnTo>
                  <a:lnTo>
                    <a:pt x="1055" y="713"/>
                  </a:lnTo>
                  <a:lnTo>
                    <a:pt x="1055" y="713"/>
                  </a:lnTo>
                  <a:lnTo>
                    <a:pt x="1055" y="711"/>
                  </a:lnTo>
                  <a:lnTo>
                    <a:pt x="1055" y="711"/>
                  </a:lnTo>
                  <a:lnTo>
                    <a:pt x="1055" y="711"/>
                  </a:lnTo>
                  <a:lnTo>
                    <a:pt x="1055" y="711"/>
                  </a:lnTo>
                  <a:lnTo>
                    <a:pt x="1053" y="713"/>
                  </a:lnTo>
                  <a:lnTo>
                    <a:pt x="1053" y="713"/>
                  </a:lnTo>
                  <a:lnTo>
                    <a:pt x="1053" y="713"/>
                  </a:lnTo>
                  <a:lnTo>
                    <a:pt x="1053" y="711"/>
                  </a:lnTo>
                  <a:lnTo>
                    <a:pt x="1055" y="711"/>
                  </a:lnTo>
                  <a:lnTo>
                    <a:pt x="1055" y="709"/>
                  </a:lnTo>
                  <a:lnTo>
                    <a:pt x="1057" y="707"/>
                  </a:lnTo>
                  <a:lnTo>
                    <a:pt x="1059" y="705"/>
                  </a:lnTo>
                  <a:lnTo>
                    <a:pt x="1059" y="705"/>
                  </a:lnTo>
                  <a:lnTo>
                    <a:pt x="1059" y="705"/>
                  </a:lnTo>
                  <a:lnTo>
                    <a:pt x="1057" y="705"/>
                  </a:lnTo>
                  <a:lnTo>
                    <a:pt x="1057" y="705"/>
                  </a:lnTo>
                  <a:lnTo>
                    <a:pt x="1057" y="705"/>
                  </a:lnTo>
                  <a:lnTo>
                    <a:pt x="1057" y="707"/>
                  </a:lnTo>
                  <a:lnTo>
                    <a:pt x="1057" y="707"/>
                  </a:lnTo>
                  <a:lnTo>
                    <a:pt x="1055" y="705"/>
                  </a:lnTo>
                  <a:lnTo>
                    <a:pt x="1057" y="705"/>
                  </a:lnTo>
                  <a:lnTo>
                    <a:pt x="1057" y="705"/>
                  </a:lnTo>
                  <a:lnTo>
                    <a:pt x="1055" y="703"/>
                  </a:lnTo>
                  <a:lnTo>
                    <a:pt x="1055" y="703"/>
                  </a:lnTo>
                  <a:lnTo>
                    <a:pt x="1055" y="703"/>
                  </a:lnTo>
                  <a:lnTo>
                    <a:pt x="1055" y="703"/>
                  </a:lnTo>
                  <a:lnTo>
                    <a:pt x="1055" y="701"/>
                  </a:lnTo>
                  <a:lnTo>
                    <a:pt x="1053" y="701"/>
                  </a:lnTo>
                  <a:lnTo>
                    <a:pt x="1053" y="701"/>
                  </a:lnTo>
                  <a:lnTo>
                    <a:pt x="1053" y="701"/>
                  </a:lnTo>
                  <a:lnTo>
                    <a:pt x="1053" y="703"/>
                  </a:lnTo>
                  <a:lnTo>
                    <a:pt x="1053" y="703"/>
                  </a:lnTo>
                  <a:lnTo>
                    <a:pt x="1053" y="701"/>
                  </a:lnTo>
                  <a:lnTo>
                    <a:pt x="1053" y="701"/>
                  </a:lnTo>
                  <a:lnTo>
                    <a:pt x="1051" y="701"/>
                  </a:lnTo>
                  <a:lnTo>
                    <a:pt x="1051" y="701"/>
                  </a:lnTo>
                  <a:lnTo>
                    <a:pt x="1051" y="701"/>
                  </a:lnTo>
                  <a:lnTo>
                    <a:pt x="1051" y="701"/>
                  </a:lnTo>
                  <a:lnTo>
                    <a:pt x="1051" y="701"/>
                  </a:lnTo>
                  <a:lnTo>
                    <a:pt x="1051" y="703"/>
                  </a:lnTo>
                  <a:lnTo>
                    <a:pt x="1051" y="703"/>
                  </a:lnTo>
                  <a:lnTo>
                    <a:pt x="1051" y="703"/>
                  </a:lnTo>
                  <a:lnTo>
                    <a:pt x="1051" y="705"/>
                  </a:lnTo>
                  <a:lnTo>
                    <a:pt x="1051" y="703"/>
                  </a:lnTo>
                  <a:lnTo>
                    <a:pt x="1049" y="703"/>
                  </a:lnTo>
                  <a:lnTo>
                    <a:pt x="1049" y="703"/>
                  </a:lnTo>
                  <a:lnTo>
                    <a:pt x="1049" y="703"/>
                  </a:lnTo>
                  <a:lnTo>
                    <a:pt x="1049" y="705"/>
                  </a:lnTo>
                  <a:lnTo>
                    <a:pt x="1047" y="705"/>
                  </a:lnTo>
                  <a:lnTo>
                    <a:pt x="1047" y="707"/>
                  </a:lnTo>
                  <a:lnTo>
                    <a:pt x="1047" y="705"/>
                  </a:lnTo>
                  <a:lnTo>
                    <a:pt x="1047" y="705"/>
                  </a:lnTo>
                  <a:lnTo>
                    <a:pt x="1047" y="705"/>
                  </a:lnTo>
                  <a:lnTo>
                    <a:pt x="1045" y="705"/>
                  </a:lnTo>
                  <a:lnTo>
                    <a:pt x="1045" y="705"/>
                  </a:lnTo>
                  <a:lnTo>
                    <a:pt x="1045" y="707"/>
                  </a:lnTo>
                  <a:lnTo>
                    <a:pt x="1045" y="709"/>
                  </a:lnTo>
                  <a:lnTo>
                    <a:pt x="1045" y="709"/>
                  </a:lnTo>
                  <a:lnTo>
                    <a:pt x="1045" y="711"/>
                  </a:lnTo>
                  <a:lnTo>
                    <a:pt x="1045" y="711"/>
                  </a:lnTo>
                  <a:lnTo>
                    <a:pt x="1045" y="711"/>
                  </a:lnTo>
                  <a:lnTo>
                    <a:pt x="1045" y="711"/>
                  </a:lnTo>
                  <a:lnTo>
                    <a:pt x="1043" y="711"/>
                  </a:lnTo>
                  <a:lnTo>
                    <a:pt x="1043" y="711"/>
                  </a:lnTo>
                  <a:lnTo>
                    <a:pt x="1043" y="711"/>
                  </a:lnTo>
                  <a:lnTo>
                    <a:pt x="1043" y="709"/>
                  </a:lnTo>
                  <a:lnTo>
                    <a:pt x="1043" y="709"/>
                  </a:lnTo>
                  <a:lnTo>
                    <a:pt x="1043" y="707"/>
                  </a:lnTo>
                  <a:lnTo>
                    <a:pt x="1043" y="705"/>
                  </a:lnTo>
                  <a:lnTo>
                    <a:pt x="1043" y="705"/>
                  </a:lnTo>
                  <a:lnTo>
                    <a:pt x="1045" y="703"/>
                  </a:lnTo>
                  <a:lnTo>
                    <a:pt x="1045" y="703"/>
                  </a:lnTo>
                  <a:lnTo>
                    <a:pt x="1045" y="703"/>
                  </a:lnTo>
                  <a:lnTo>
                    <a:pt x="1043" y="703"/>
                  </a:lnTo>
                  <a:lnTo>
                    <a:pt x="1043" y="703"/>
                  </a:lnTo>
                  <a:lnTo>
                    <a:pt x="1045" y="703"/>
                  </a:lnTo>
                  <a:lnTo>
                    <a:pt x="1045" y="703"/>
                  </a:lnTo>
                  <a:lnTo>
                    <a:pt x="1045" y="701"/>
                  </a:lnTo>
                  <a:lnTo>
                    <a:pt x="1045" y="701"/>
                  </a:lnTo>
                  <a:lnTo>
                    <a:pt x="1040" y="699"/>
                  </a:lnTo>
                  <a:lnTo>
                    <a:pt x="1040" y="701"/>
                  </a:lnTo>
                  <a:lnTo>
                    <a:pt x="1040" y="701"/>
                  </a:lnTo>
                  <a:lnTo>
                    <a:pt x="1040" y="701"/>
                  </a:lnTo>
                  <a:lnTo>
                    <a:pt x="1038" y="701"/>
                  </a:lnTo>
                  <a:lnTo>
                    <a:pt x="1038" y="701"/>
                  </a:lnTo>
                  <a:lnTo>
                    <a:pt x="1036" y="699"/>
                  </a:lnTo>
                  <a:lnTo>
                    <a:pt x="1036" y="699"/>
                  </a:lnTo>
                  <a:lnTo>
                    <a:pt x="1034" y="697"/>
                  </a:lnTo>
                  <a:lnTo>
                    <a:pt x="1032" y="697"/>
                  </a:lnTo>
                  <a:lnTo>
                    <a:pt x="1032" y="697"/>
                  </a:lnTo>
                  <a:lnTo>
                    <a:pt x="1032" y="697"/>
                  </a:lnTo>
                  <a:lnTo>
                    <a:pt x="1032" y="697"/>
                  </a:lnTo>
                  <a:lnTo>
                    <a:pt x="1032" y="697"/>
                  </a:lnTo>
                  <a:lnTo>
                    <a:pt x="1032" y="697"/>
                  </a:lnTo>
                  <a:lnTo>
                    <a:pt x="1032" y="699"/>
                  </a:lnTo>
                  <a:lnTo>
                    <a:pt x="1032" y="699"/>
                  </a:lnTo>
                  <a:lnTo>
                    <a:pt x="1034" y="699"/>
                  </a:lnTo>
                  <a:lnTo>
                    <a:pt x="1034" y="701"/>
                  </a:lnTo>
                  <a:lnTo>
                    <a:pt x="1036" y="703"/>
                  </a:lnTo>
                  <a:lnTo>
                    <a:pt x="1036" y="703"/>
                  </a:lnTo>
                  <a:lnTo>
                    <a:pt x="1036" y="703"/>
                  </a:lnTo>
                  <a:lnTo>
                    <a:pt x="1036" y="705"/>
                  </a:lnTo>
                  <a:lnTo>
                    <a:pt x="1036" y="705"/>
                  </a:lnTo>
                  <a:lnTo>
                    <a:pt x="1038" y="705"/>
                  </a:lnTo>
                  <a:lnTo>
                    <a:pt x="1038" y="705"/>
                  </a:lnTo>
                  <a:lnTo>
                    <a:pt x="1038" y="705"/>
                  </a:lnTo>
                  <a:lnTo>
                    <a:pt x="1038" y="707"/>
                  </a:lnTo>
                  <a:lnTo>
                    <a:pt x="1038" y="705"/>
                  </a:lnTo>
                  <a:lnTo>
                    <a:pt x="1036" y="705"/>
                  </a:lnTo>
                  <a:lnTo>
                    <a:pt x="1034" y="703"/>
                  </a:lnTo>
                  <a:lnTo>
                    <a:pt x="1034" y="703"/>
                  </a:lnTo>
                  <a:lnTo>
                    <a:pt x="1034" y="703"/>
                  </a:lnTo>
                  <a:lnTo>
                    <a:pt x="1034" y="703"/>
                  </a:lnTo>
                  <a:lnTo>
                    <a:pt x="1034" y="705"/>
                  </a:lnTo>
                  <a:lnTo>
                    <a:pt x="1034" y="705"/>
                  </a:lnTo>
                  <a:lnTo>
                    <a:pt x="1034" y="707"/>
                  </a:lnTo>
                  <a:lnTo>
                    <a:pt x="1034" y="711"/>
                  </a:lnTo>
                  <a:lnTo>
                    <a:pt x="1034" y="711"/>
                  </a:lnTo>
                  <a:lnTo>
                    <a:pt x="1034" y="713"/>
                  </a:lnTo>
                  <a:lnTo>
                    <a:pt x="1034" y="713"/>
                  </a:lnTo>
                  <a:lnTo>
                    <a:pt x="1034" y="713"/>
                  </a:lnTo>
                  <a:lnTo>
                    <a:pt x="1034" y="711"/>
                  </a:lnTo>
                  <a:lnTo>
                    <a:pt x="1034" y="711"/>
                  </a:lnTo>
                  <a:lnTo>
                    <a:pt x="1034" y="711"/>
                  </a:lnTo>
                  <a:lnTo>
                    <a:pt x="1034" y="709"/>
                  </a:lnTo>
                  <a:lnTo>
                    <a:pt x="1034" y="709"/>
                  </a:lnTo>
                  <a:lnTo>
                    <a:pt x="1034" y="709"/>
                  </a:lnTo>
                  <a:lnTo>
                    <a:pt x="1032" y="707"/>
                  </a:lnTo>
                  <a:lnTo>
                    <a:pt x="1030" y="707"/>
                  </a:lnTo>
                  <a:lnTo>
                    <a:pt x="1028" y="705"/>
                  </a:lnTo>
                  <a:lnTo>
                    <a:pt x="1028" y="705"/>
                  </a:lnTo>
                  <a:lnTo>
                    <a:pt x="1026" y="705"/>
                  </a:lnTo>
                  <a:lnTo>
                    <a:pt x="1026" y="707"/>
                  </a:lnTo>
                  <a:lnTo>
                    <a:pt x="1028" y="707"/>
                  </a:lnTo>
                  <a:lnTo>
                    <a:pt x="1028" y="709"/>
                  </a:lnTo>
                  <a:lnTo>
                    <a:pt x="1028" y="709"/>
                  </a:lnTo>
                  <a:lnTo>
                    <a:pt x="1028" y="709"/>
                  </a:lnTo>
                  <a:lnTo>
                    <a:pt x="1028" y="709"/>
                  </a:lnTo>
                  <a:lnTo>
                    <a:pt x="1030" y="709"/>
                  </a:lnTo>
                  <a:lnTo>
                    <a:pt x="1030" y="709"/>
                  </a:lnTo>
                  <a:lnTo>
                    <a:pt x="1030" y="709"/>
                  </a:lnTo>
                  <a:lnTo>
                    <a:pt x="1030" y="709"/>
                  </a:lnTo>
                  <a:lnTo>
                    <a:pt x="1030" y="711"/>
                  </a:lnTo>
                  <a:lnTo>
                    <a:pt x="1030" y="711"/>
                  </a:lnTo>
                  <a:lnTo>
                    <a:pt x="1030" y="713"/>
                  </a:lnTo>
                  <a:lnTo>
                    <a:pt x="1030" y="713"/>
                  </a:lnTo>
                  <a:lnTo>
                    <a:pt x="1030" y="711"/>
                  </a:lnTo>
                  <a:lnTo>
                    <a:pt x="1028" y="711"/>
                  </a:lnTo>
                  <a:lnTo>
                    <a:pt x="1028" y="711"/>
                  </a:lnTo>
                  <a:lnTo>
                    <a:pt x="1028" y="709"/>
                  </a:lnTo>
                  <a:lnTo>
                    <a:pt x="1028" y="709"/>
                  </a:lnTo>
                  <a:lnTo>
                    <a:pt x="1026" y="709"/>
                  </a:lnTo>
                  <a:lnTo>
                    <a:pt x="1026" y="709"/>
                  </a:lnTo>
                  <a:lnTo>
                    <a:pt x="1026" y="711"/>
                  </a:lnTo>
                  <a:lnTo>
                    <a:pt x="1026" y="711"/>
                  </a:lnTo>
                  <a:lnTo>
                    <a:pt x="1028" y="713"/>
                  </a:lnTo>
                  <a:lnTo>
                    <a:pt x="1028" y="713"/>
                  </a:lnTo>
                  <a:lnTo>
                    <a:pt x="1028" y="713"/>
                  </a:lnTo>
                  <a:lnTo>
                    <a:pt x="1026" y="713"/>
                  </a:lnTo>
                  <a:lnTo>
                    <a:pt x="1026" y="711"/>
                  </a:lnTo>
                  <a:lnTo>
                    <a:pt x="1026" y="713"/>
                  </a:lnTo>
                  <a:lnTo>
                    <a:pt x="1026" y="715"/>
                  </a:lnTo>
                  <a:lnTo>
                    <a:pt x="1026" y="717"/>
                  </a:lnTo>
                  <a:lnTo>
                    <a:pt x="1026" y="715"/>
                  </a:lnTo>
                  <a:lnTo>
                    <a:pt x="1024" y="713"/>
                  </a:lnTo>
                  <a:lnTo>
                    <a:pt x="1024" y="711"/>
                  </a:lnTo>
                  <a:lnTo>
                    <a:pt x="1024" y="709"/>
                  </a:lnTo>
                  <a:lnTo>
                    <a:pt x="1024" y="707"/>
                  </a:lnTo>
                  <a:lnTo>
                    <a:pt x="1024" y="707"/>
                  </a:lnTo>
                  <a:lnTo>
                    <a:pt x="1024" y="705"/>
                  </a:lnTo>
                  <a:lnTo>
                    <a:pt x="1024" y="705"/>
                  </a:lnTo>
                  <a:lnTo>
                    <a:pt x="1022" y="705"/>
                  </a:lnTo>
                  <a:lnTo>
                    <a:pt x="1022" y="705"/>
                  </a:lnTo>
                  <a:lnTo>
                    <a:pt x="1022" y="703"/>
                  </a:lnTo>
                  <a:lnTo>
                    <a:pt x="1022" y="703"/>
                  </a:lnTo>
                  <a:lnTo>
                    <a:pt x="1022" y="703"/>
                  </a:lnTo>
                  <a:lnTo>
                    <a:pt x="1022" y="703"/>
                  </a:lnTo>
                  <a:lnTo>
                    <a:pt x="1020" y="703"/>
                  </a:lnTo>
                  <a:lnTo>
                    <a:pt x="1020" y="703"/>
                  </a:lnTo>
                  <a:lnTo>
                    <a:pt x="1020" y="703"/>
                  </a:lnTo>
                  <a:lnTo>
                    <a:pt x="1020" y="703"/>
                  </a:lnTo>
                  <a:lnTo>
                    <a:pt x="1018" y="703"/>
                  </a:lnTo>
                  <a:lnTo>
                    <a:pt x="1018" y="703"/>
                  </a:lnTo>
                  <a:lnTo>
                    <a:pt x="1018" y="705"/>
                  </a:lnTo>
                  <a:lnTo>
                    <a:pt x="1018" y="705"/>
                  </a:lnTo>
                  <a:lnTo>
                    <a:pt x="1018" y="703"/>
                  </a:lnTo>
                  <a:lnTo>
                    <a:pt x="1018" y="705"/>
                  </a:lnTo>
                  <a:lnTo>
                    <a:pt x="1016" y="705"/>
                  </a:lnTo>
                  <a:lnTo>
                    <a:pt x="1016" y="705"/>
                  </a:lnTo>
                  <a:lnTo>
                    <a:pt x="1014" y="707"/>
                  </a:lnTo>
                  <a:lnTo>
                    <a:pt x="1014" y="709"/>
                  </a:lnTo>
                  <a:lnTo>
                    <a:pt x="1014" y="711"/>
                  </a:lnTo>
                  <a:lnTo>
                    <a:pt x="1016" y="713"/>
                  </a:lnTo>
                  <a:lnTo>
                    <a:pt x="1016" y="713"/>
                  </a:lnTo>
                  <a:lnTo>
                    <a:pt x="1020" y="713"/>
                  </a:lnTo>
                  <a:lnTo>
                    <a:pt x="1020" y="713"/>
                  </a:lnTo>
                  <a:lnTo>
                    <a:pt x="1022" y="715"/>
                  </a:lnTo>
                  <a:lnTo>
                    <a:pt x="1024" y="717"/>
                  </a:lnTo>
                  <a:lnTo>
                    <a:pt x="1024" y="717"/>
                  </a:lnTo>
                  <a:lnTo>
                    <a:pt x="1024" y="717"/>
                  </a:lnTo>
                  <a:lnTo>
                    <a:pt x="1024" y="717"/>
                  </a:lnTo>
                  <a:lnTo>
                    <a:pt x="1024" y="717"/>
                  </a:lnTo>
                  <a:lnTo>
                    <a:pt x="1024" y="717"/>
                  </a:lnTo>
                  <a:lnTo>
                    <a:pt x="1022" y="719"/>
                  </a:lnTo>
                  <a:lnTo>
                    <a:pt x="1022" y="717"/>
                  </a:lnTo>
                  <a:lnTo>
                    <a:pt x="1022" y="715"/>
                  </a:lnTo>
                  <a:lnTo>
                    <a:pt x="1018" y="715"/>
                  </a:lnTo>
                  <a:lnTo>
                    <a:pt x="1016" y="715"/>
                  </a:lnTo>
                  <a:lnTo>
                    <a:pt x="1016" y="715"/>
                  </a:lnTo>
                  <a:lnTo>
                    <a:pt x="1016" y="717"/>
                  </a:lnTo>
                  <a:lnTo>
                    <a:pt x="1020" y="719"/>
                  </a:lnTo>
                  <a:lnTo>
                    <a:pt x="1020" y="721"/>
                  </a:lnTo>
                  <a:lnTo>
                    <a:pt x="1020" y="721"/>
                  </a:lnTo>
                  <a:lnTo>
                    <a:pt x="1022" y="721"/>
                  </a:lnTo>
                  <a:lnTo>
                    <a:pt x="1022" y="721"/>
                  </a:lnTo>
                  <a:lnTo>
                    <a:pt x="1020" y="721"/>
                  </a:lnTo>
                  <a:lnTo>
                    <a:pt x="1020" y="721"/>
                  </a:lnTo>
                  <a:lnTo>
                    <a:pt x="1018" y="721"/>
                  </a:lnTo>
                  <a:lnTo>
                    <a:pt x="1018" y="719"/>
                  </a:lnTo>
                  <a:lnTo>
                    <a:pt x="1018" y="719"/>
                  </a:lnTo>
                  <a:lnTo>
                    <a:pt x="1016" y="719"/>
                  </a:lnTo>
                  <a:lnTo>
                    <a:pt x="1016" y="719"/>
                  </a:lnTo>
                  <a:lnTo>
                    <a:pt x="1016" y="721"/>
                  </a:lnTo>
                  <a:lnTo>
                    <a:pt x="1016" y="721"/>
                  </a:lnTo>
                  <a:lnTo>
                    <a:pt x="1018" y="723"/>
                  </a:lnTo>
                  <a:lnTo>
                    <a:pt x="1018" y="723"/>
                  </a:lnTo>
                  <a:lnTo>
                    <a:pt x="1018" y="723"/>
                  </a:lnTo>
                  <a:lnTo>
                    <a:pt x="1018" y="728"/>
                  </a:lnTo>
                  <a:lnTo>
                    <a:pt x="1018" y="730"/>
                  </a:lnTo>
                  <a:lnTo>
                    <a:pt x="1018" y="730"/>
                  </a:lnTo>
                  <a:lnTo>
                    <a:pt x="1018" y="730"/>
                  </a:lnTo>
                  <a:lnTo>
                    <a:pt x="1020" y="732"/>
                  </a:lnTo>
                  <a:lnTo>
                    <a:pt x="1020" y="732"/>
                  </a:lnTo>
                  <a:lnTo>
                    <a:pt x="1020" y="734"/>
                  </a:lnTo>
                  <a:lnTo>
                    <a:pt x="1020" y="734"/>
                  </a:lnTo>
                  <a:lnTo>
                    <a:pt x="1022" y="734"/>
                  </a:lnTo>
                  <a:lnTo>
                    <a:pt x="1022" y="736"/>
                  </a:lnTo>
                  <a:lnTo>
                    <a:pt x="1022" y="736"/>
                  </a:lnTo>
                  <a:lnTo>
                    <a:pt x="1020" y="734"/>
                  </a:lnTo>
                  <a:lnTo>
                    <a:pt x="1018" y="734"/>
                  </a:lnTo>
                  <a:lnTo>
                    <a:pt x="1018" y="730"/>
                  </a:lnTo>
                  <a:lnTo>
                    <a:pt x="1016" y="730"/>
                  </a:lnTo>
                  <a:lnTo>
                    <a:pt x="1016" y="730"/>
                  </a:lnTo>
                  <a:lnTo>
                    <a:pt x="1016" y="728"/>
                  </a:lnTo>
                  <a:lnTo>
                    <a:pt x="1016" y="728"/>
                  </a:lnTo>
                  <a:lnTo>
                    <a:pt x="1014" y="723"/>
                  </a:lnTo>
                  <a:lnTo>
                    <a:pt x="1014" y="721"/>
                  </a:lnTo>
                  <a:lnTo>
                    <a:pt x="1014" y="721"/>
                  </a:lnTo>
                  <a:lnTo>
                    <a:pt x="1010" y="721"/>
                  </a:lnTo>
                  <a:lnTo>
                    <a:pt x="1010" y="721"/>
                  </a:lnTo>
                  <a:lnTo>
                    <a:pt x="1012" y="721"/>
                  </a:lnTo>
                  <a:lnTo>
                    <a:pt x="1014" y="719"/>
                  </a:lnTo>
                  <a:lnTo>
                    <a:pt x="1012" y="717"/>
                  </a:lnTo>
                  <a:lnTo>
                    <a:pt x="1012" y="715"/>
                  </a:lnTo>
                  <a:lnTo>
                    <a:pt x="1012" y="715"/>
                  </a:lnTo>
                  <a:lnTo>
                    <a:pt x="1008" y="715"/>
                  </a:lnTo>
                  <a:lnTo>
                    <a:pt x="1008" y="715"/>
                  </a:lnTo>
                  <a:lnTo>
                    <a:pt x="1008" y="715"/>
                  </a:lnTo>
                  <a:lnTo>
                    <a:pt x="1006" y="715"/>
                  </a:lnTo>
                  <a:lnTo>
                    <a:pt x="1006" y="715"/>
                  </a:lnTo>
                  <a:lnTo>
                    <a:pt x="1006" y="715"/>
                  </a:lnTo>
                  <a:lnTo>
                    <a:pt x="1006" y="715"/>
                  </a:lnTo>
                  <a:lnTo>
                    <a:pt x="1004" y="715"/>
                  </a:lnTo>
                  <a:lnTo>
                    <a:pt x="1004" y="715"/>
                  </a:lnTo>
                  <a:lnTo>
                    <a:pt x="1004" y="715"/>
                  </a:lnTo>
                  <a:lnTo>
                    <a:pt x="1002" y="715"/>
                  </a:lnTo>
                  <a:lnTo>
                    <a:pt x="1002" y="715"/>
                  </a:lnTo>
                  <a:lnTo>
                    <a:pt x="1002" y="717"/>
                  </a:lnTo>
                  <a:lnTo>
                    <a:pt x="1002" y="717"/>
                  </a:lnTo>
                  <a:lnTo>
                    <a:pt x="1002" y="717"/>
                  </a:lnTo>
                  <a:lnTo>
                    <a:pt x="999" y="719"/>
                  </a:lnTo>
                  <a:lnTo>
                    <a:pt x="1002" y="719"/>
                  </a:lnTo>
                  <a:lnTo>
                    <a:pt x="1002" y="719"/>
                  </a:lnTo>
                  <a:lnTo>
                    <a:pt x="999" y="719"/>
                  </a:lnTo>
                  <a:lnTo>
                    <a:pt x="997" y="719"/>
                  </a:lnTo>
                  <a:lnTo>
                    <a:pt x="997" y="719"/>
                  </a:lnTo>
                  <a:lnTo>
                    <a:pt x="997" y="721"/>
                  </a:lnTo>
                  <a:lnTo>
                    <a:pt x="997" y="723"/>
                  </a:lnTo>
                  <a:lnTo>
                    <a:pt x="997" y="721"/>
                  </a:lnTo>
                  <a:lnTo>
                    <a:pt x="997" y="721"/>
                  </a:lnTo>
                  <a:lnTo>
                    <a:pt x="997" y="721"/>
                  </a:lnTo>
                  <a:lnTo>
                    <a:pt x="995" y="721"/>
                  </a:lnTo>
                  <a:lnTo>
                    <a:pt x="995" y="721"/>
                  </a:lnTo>
                  <a:lnTo>
                    <a:pt x="995" y="723"/>
                  </a:lnTo>
                  <a:lnTo>
                    <a:pt x="993" y="723"/>
                  </a:lnTo>
                  <a:lnTo>
                    <a:pt x="993" y="725"/>
                  </a:lnTo>
                  <a:lnTo>
                    <a:pt x="995" y="725"/>
                  </a:lnTo>
                  <a:lnTo>
                    <a:pt x="993" y="725"/>
                  </a:lnTo>
                  <a:lnTo>
                    <a:pt x="993" y="725"/>
                  </a:lnTo>
                  <a:lnTo>
                    <a:pt x="991" y="728"/>
                  </a:lnTo>
                  <a:lnTo>
                    <a:pt x="993" y="728"/>
                  </a:lnTo>
                  <a:lnTo>
                    <a:pt x="993" y="730"/>
                  </a:lnTo>
                  <a:lnTo>
                    <a:pt x="993" y="730"/>
                  </a:lnTo>
                  <a:lnTo>
                    <a:pt x="991" y="730"/>
                  </a:lnTo>
                  <a:lnTo>
                    <a:pt x="991" y="732"/>
                  </a:lnTo>
                  <a:lnTo>
                    <a:pt x="991" y="732"/>
                  </a:lnTo>
                  <a:lnTo>
                    <a:pt x="991" y="732"/>
                  </a:lnTo>
                  <a:lnTo>
                    <a:pt x="993" y="732"/>
                  </a:lnTo>
                  <a:lnTo>
                    <a:pt x="993" y="732"/>
                  </a:lnTo>
                  <a:lnTo>
                    <a:pt x="991" y="732"/>
                  </a:lnTo>
                  <a:lnTo>
                    <a:pt x="991" y="732"/>
                  </a:lnTo>
                  <a:lnTo>
                    <a:pt x="991" y="732"/>
                  </a:lnTo>
                  <a:lnTo>
                    <a:pt x="989" y="732"/>
                  </a:lnTo>
                  <a:lnTo>
                    <a:pt x="989" y="732"/>
                  </a:lnTo>
                  <a:lnTo>
                    <a:pt x="991" y="732"/>
                  </a:lnTo>
                  <a:lnTo>
                    <a:pt x="991" y="734"/>
                  </a:lnTo>
                  <a:lnTo>
                    <a:pt x="991" y="734"/>
                  </a:lnTo>
                  <a:lnTo>
                    <a:pt x="991" y="734"/>
                  </a:lnTo>
                  <a:lnTo>
                    <a:pt x="991" y="734"/>
                  </a:lnTo>
                  <a:lnTo>
                    <a:pt x="989" y="734"/>
                  </a:lnTo>
                  <a:lnTo>
                    <a:pt x="991" y="736"/>
                  </a:lnTo>
                  <a:lnTo>
                    <a:pt x="991" y="736"/>
                  </a:lnTo>
                  <a:lnTo>
                    <a:pt x="991" y="736"/>
                  </a:lnTo>
                  <a:lnTo>
                    <a:pt x="993" y="734"/>
                  </a:lnTo>
                  <a:lnTo>
                    <a:pt x="993" y="736"/>
                  </a:lnTo>
                  <a:lnTo>
                    <a:pt x="993" y="736"/>
                  </a:lnTo>
                  <a:lnTo>
                    <a:pt x="993" y="736"/>
                  </a:lnTo>
                  <a:lnTo>
                    <a:pt x="993" y="736"/>
                  </a:lnTo>
                  <a:lnTo>
                    <a:pt x="995" y="736"/>
                  </a:lnTo>
                  <a:lnTo>
                    <a:pt x="995" y="736"/>
                  </a:lnTo>
                  <a:lnTo>
                    <a:pt x="995" y="736"/>
                  </a:lnTo>
                  <a:lnTo>
                    <a:pt x="995" y="736"/>
                  </a:lnTo>
                  <a:lnTo>
                    <a:pt x="995" y="738"/>
                  </a:lnTo>
                  <a:lnTo>
                    <a:pt x="997" y="740"/>
                  </a:lnTo>
                  <a:lnTo>
                    <a:pt x="997" y="740"/>
                  </a:lnTo>
                  <a:lnTo>
                    <a:pt x="997" y="742"/>
                  </a:lnTo>
                  <a:lnTo>
                    <a:pt x="997" y="744"/>
                  </a:lnTo>
                  <a:lnTo>
                    <a:pt x="997" y="746"/>
                  </a:lnTo>
                  <a:lnTo>
                    <a:pt x="997" y="746"/>
                  </a:lnTo>
                  <a:lnTo>
                    <a:pt x="997" y="748"/>
                  </a:lnTo>
                  <a:lnTo>
                    <a:pt x="997" y="750"/>
                  </a:lnTo>
                  <a:lnTo>
                    <a:pt x="997" y="750"/>
                  </a:lnTo>
                  <a:lnTo>
                    <a:pt x="997" y="750"/>
                  </a:lnTo>
                  <a:lnTo>
                    <a:pt x="997" y="750"/>
                  </a:lnTo>
                  <a:lnTo>
                    <a:pt x="999" y="750"/>
                  </a:lnTo>
                  <a:lnTo>
                    <a:pt x="999" y="750"/>
                  </a:lnTo>
                  <a:lnTo>
                    <a:pt x="999" y="750"/>
                  </a:lnTo>
                  <a:lnTo>
                    <a:pt x="1002" y="750"/>
                  </a:lnTo>
                  <a:lnTo>
                    <a:pt x="1002" y="752"/>
                  </a:lnTo>
                  <a:lnTo>
                    <a:pt x="1004" y="754"/>
                  </a:lnTo>
                  <a:lnTo>
                    <a:pt x="1004" y="754"/>
                  </a:lnTo>
                  <a:lnTo>
                    <a:pt x="1004" y="754"/>
                  </a:lnTo>
                  <a:lnTo>
                    <a:pt x="1004" y="756"/>
                  </a:lnTo>
                  <a:lnTo>
                    <a:pt x="1004" y="756"/>
                  </a:lnTo>
                  <a:lnTo>
                    <a:pt x="1004" y="756"/>
                  </a:lnTo>
                  <a:lnTo>
                    <a:pt x="1004" y="756"/>
                  </a:lnTo>
                  <a:lnTo>
                    <a:pt x="1006" y="756"/>
                  </a:lnTo>
                  <a:lnTo>
                    <a:pt x="1006" y="756"/>
                  </a:lnTo>
                  <a:lnTo>
                    <a:pt x="1006" y="756"/>
                  </a:lnTo>
                  <a:lnTo>
                    <a:pt x="1006" y="756"/>
                  </a:lnTo>
                  <a:lnTo>
                    <a:pt x="1004" y="756"/>
                  </a:lnTo>
                  <a:lnTo>
                    <a:pt x="1004" y="756"/>
                  </a:lnTo>
                  <a:lnTo>
                    <a:pt x="1004" y="756"/>
                  </a:lnTo>
                  <a:lnTo>
                    <a:pt x="1004" y="754"/>
                  </a:lnTo>
                  <a:lnTo>
                    <a:pt x="1004" y="754"/>
                  </a:lnTo>
                  <a:lnTo>
                    <a:pt x="1004" y="754"/>
                  </a:lnTo>
                  <a:lnTo>
                    <a:pt x="1004" y="754"/>
                  </a:lnTo>
                  <a:lnTo>
                    <a:pt x="1004" y="756"/>
                  </a:lnTo>
                  <a:lnTo>
                    <a:pt x="1006" y="754"/>
                  </a:lnTo>
                  <a:lnTo>
                    <a:pt x="1006" y="754"/>
                  </a:lnTo>
                  <a:lnTo>
                    <a:pt x="1006" y="754"/>
                  </a:lnTo>
                  <a:lnTo>
                    <a:pt x="1006" y="754"/>
                  </a:lnTo>
                  <a:lnTo>
                    <a:pt x="1006" y="754"/>
                  </a:lnTo>
                  <a:lnTo>
                    <a:pt x="1006" y="754"/>
                  </a:lnTo>
                  <a:lnTo>
                    <a:pt x="1006" y="754"/>
                  </a:lnTo>
                  <a:lnTo>
                    <a:pt x="1006" y="752"/>
                  </a:lnTo>
                  <a:lnTo>
                    <a:pt x="1006" y="752"/>
                  </a:lnTo>
                  <a:lnTo>
                    <a:pt x="1008" y="752"/>
                  </a:lnTo>
                  <a:lnTo>
                    <a:pt x="1008" y="752"/>
                  </a:lnTo>
                  <a:lnTo>
                    <a:pt x="1008" y="752"/>
                  </a:lnTo>
                  <a:lnTo>
                    <a:pt x="1008" y="750"/>
                  </a:lnTo>
                  <a:lnTo>
                    <a:pt x="1008" y="750"/>
                  </a:lnTo>
                  <a:lnTo>
                    <a:pt x="1008" y="750"/>
                  </a:lnTo>
                  <a:lnTo>
                    <a:pt x="1008" y="748"/>
                  </a:lnTo>
                  <a:lnTo>
                    <a:pt x="1008" y="748"/>
                  </a:lnTo>
                  <a:lnTo>
                    <a:pt x="1010" y="746"/>
                  </a:lnTo>
                  <a:lnTo>
                    <a:pt x="1010" y="744"/>
                  </a:lnTo>
                  <a:lnTo>
                    <a:pt x="1010" y="744"/>
                  </a:lnTo>
                  <a:lnTo>
                    <a:pt x="1010" y="744"/>
                  </a:lnTo>
                  <a:lnTo>
                    <a:pt x="1006" y="744"/>
                  </a:lnTo>
                  <a:lnTo>
                    <a:pt x="1004" y="744"/>
                  </a:lnTo>
                  <a:lnTo>
                    <a:pt x="1004" y="744"/>
                  </a:lnTo>
                  <a:lnTo>
                    <a:pt x="1004" y="746"/>
                  </a:lnTo>
                  <a:lnTo>
                    <a:pt x="1002" y="746"/>
                  </a:lnTo>
                  <a:lnTo>
                    <a:pt x="1002" y="746"/>
                  </a:lnTo>
                  <a:lnTo>
                    <a:pt x="1002" y="746"/>
                  </a:lnTo>
                  <a:lnTo>
                    <a:pt x="999" y="746"/>
                  </a:lnTo>
                  <a:lnTo>
                    <a:pt x="999" y="746"/>
                  </a:lnTo>
                  <a:lnTo>
                    <a:pt x="999" y="744"/>
                  </a:lnTo>
                  <a:lnTo>
                    <a:pt x="997" y="744"/>
                  </a:lnTo>
                  <a:lnTo>
                    <a:pt x="999" y="744"/>
                  </a:lnTo>
                  <a:lnTo>
                    <a:pt x="1002" y="744"/>
                  </a:lnTo>
                  <a:lnTo>
                    <a:pt x="1002" y="742"/>
                  </a:lnTo>
                  <a:lnTo>
                    <a:pt x="1002" y="742"/>
                  </a:lnTo>
                  <a:lnTo>
                    <a:pt x="1002" y="742"/>
                  </a:lnTo>
                  <a:lnTo>
                    <a:pt x="1004" y="742"/>
                  </a:lnTo>
                  <a:lnTo>
                    <a:pt x="1006" y="742"/>
                  </a:lnTo>
                  <a:lnTo>
                    <a:pt x="1008" y="742"/>
                  </a:lnTo>
                  <a:lnTo>
                    <a:pt x="1010" y="742"/>
                  </a:lnTo>
                  <a:lnTo>
                    <a:pt x="1010" y="742"/>
                  </a:lnTo>
                  <a:lnTo>
                    <a:pt x="1010" y="742"/>
                  </a:lnTo>
                  <a:lnTo>
                    <a:pt x="1010" y="744"/>
                  </a:lnTo>
                  <a:lnTo>
                    <a:pt x="1014" y="744"/>
                  </a:lnTo>
                  <a:lnTo>
                    <a:pt x="1010" y="746"/>
                  </a:lnTo>
                  <a:lnTo>
                    <a:pt x="1010" y="748"/>
                  </a:lnTo>
                  <a:lnTo>
                    <a:pt x="1010" y="748"/>
                  </a:lnTo>
                  <a:lnTo>
                    <a:pt x="1010" y="748"/>
                  </a:lnTo>
                  <a:lnTo>
                    <a:pt x="1008" y="750"/>
                  </a:lnTo>
                  <a:lnTo>
                    <a:pt x="1008" y="750"/>
                  </a:lnTo>
                  <a:lnTo>
                    <a:pt x="1008" y="750"/>
                  </a:lnTo>
                  <a:lnTo>
                    <a:pt x="1010" y="750"/>
                  </a:lnTo>
                  <a:lnTo>
                    <a:pt x="1010" y="752"/>
                  </a:lnTo>
                  <a:lnTo>
                    <a:pt x="1010" y="750"/>
                  </a:lnTo>
                  <a:lnTo>
                    <a:pt x="1012" y="750"/>
                  </a:lnTo>
                  <a:lnTo>
                    <a:pt x="1012" y="748"/>
                  </a:lnTo>
                  <a:lnTo>
                    <a:pt x="1014" y="746"/>
                  </a:lnTo>
                  <a:lnTo>
                    <a:pt x="1016" y="744"/>
                  </a:lnTo>
                  <a:lnTo>
                    <a:pt x="1018" y="744"/>
                  </a:lnTo>
                  <a:lnTo>
                    <a:pt x="1018" y="742"/>
                  </a:lnTo>
                  <a:lnTo>
                    <a:pt x="1018" y="742"/>
                  </a:lnTo>
                  <a:lnTo>
                    <a:pt x="1018" y="742"/>
                  </a:lnTo>
                  <a:lnTo>
                    <a:pt x="1018" y="742"/>
                  </a:lnTo>
                  <a:lnTo>
                    <a:pt x="1020" y="742"/>
                  </a:lnTo>
                  <a:lnTo>
                    <a:pt x="1020" y="744"/>
                  </a:lnTo>
                  <a:lnTo>
                    <a:pt x="1020" y="744"/>
                  </a:lnTo>
                  <a:lnTo>
                    <a:pt x="1018" y="744"/>
                  </a:lnTo>
                  <a:lnTo>
                    <a:pt x="1018" y="744"/>
                  </a:lnTo>
                  <a:lnTo>
                    <a:pt x="1018" y="744"/>
                  </a:lnTo>
                  <a:lnTo>
                    <a:pt x="1018" y="744"/>
                  </a:lnTo>
                  <a:lnTo>
                    <a:pt x="1018" y="744"/>
                  </a:lnTo>
                  <a:lnTo>
                    <a:pt x="1018" y="744"/>
                  </a:lnTo>
                  <a:lnTo>
                    <a:pt x="1016" y="746"/>
                  </a:lnTo>
                  <a:lnTo>
                    <a:pt x="1016" y="746"/>
                  </a:lnTo>
                  <a:lnTo>
                    <a:pt x="1016" y="746"/>
                  </a:lnTo>
                  <a:lnTo>
                    <a:pt x="1014" y="748"/>
                  </a:lnTo>
                  <a:lnTo>
                    <a:pt x="1014" y="750"/>
                  </a:lnTo>
                  <a:lnTo>
                    <a:pt x="1014" y="750"/>
                  </a:lnTo>
                  <a:lnTo>
                    <a:pt x="1014" y="750"/>
                  </a:lnTo>
                  <a:lnTo>
                    <a:pt x="1014" y="752"/>
                  </a:lnTo>
                  <a:lnTo>
                    <a:pt x="1014" y="752"/>
                  </a:lnTo>
                  <a:lnTo>
                    <a:pt x="1016" y="752"/>
                  </a:lnTo>
                  <a:lnTo>
                    <a:pt x="1016" y="750"/>
                  </a:lnTo>
                  <a:lnTo>
                    <a:pt x="1016" y="750"/>
                  </a:lnTo>
                  <a:lnTo>
                    <a:pt x="1016" y="748"/>
                  </a:lnTo>
                  <a:lnTo>
                    <a:pt x="1016" y="748"/>
                  </a:lnTo>
                  <a:lnTo>
                    <a:pt x="1018" y="748"/>
                  </a:lnTo>
                  <a:lnTo>
                    <a:pt x="1018" y="750"/>
                  </a:lnTo>
                  <a:lnTo>
                    <a:pt x="1016" y="750"/>
                  </a:lnTo>
                  <a:lnTo>
                    <a:pt x="1016" y="752"/>
                  </a:lnTo>
                  <a:lnTo>
                    <a:pt x="1018" y="750"/>
                  </a:lnTo>
                  <a:lnTo>
                    <a:pt x="1018" y="750"/>
                  </a:lnTo>
                  <a:lnTo>
                    <a:pt x="1018" y="750"/>
                  </a:lnTo>
                  <a:lnTo>
                    <a:pt x="1018" y="752"/>
                  </a:lnTo>
                  <a:lnTo>
                    <a:pt x="1016" y="754"/>
                  </a:lnTo>
                  <a:lnTo>
                    <a:pt x="1014" y="754"/>
                  </a:lnTo>
                  <a:lnTo>
                    <a:pt x="1014" y="754"/>
                  </a:lnTo>
                  <a:lnTo>
                    <a:pt x="1014" y="754"/>
                  </a:lnTo>
                  <a:lnTo>
                    <a:pt x="1014" y="756"/>
                  </a:lnTo>
                  <a:lnTo>
                    <a:pt x="1012" y="756"/>
                  </a:lnTo>
                  <a:lnTo>
                    <a:pt x="1010" y="758"/>
                  </a:lnTo>
                  <a:lnTo>
                    <a:pt x="1008" y="760"/>
                  </a:lnTo>
                  <a:lnTo>
                    <a:pt x="1008" y="762"/>
                  </a:lnTo>
                  <a:lnTo>
                    <a:pt x="1008" y="762"/>
                  </a:lnTo>
                  <a:lnTo>
                    <a:pt x="1008" y="762"/>
                  </a:lnTo>
                  <a:lnTo>
                    <a:pt x="1008" y="762"/>
                  </a:lnTo>
                  <a:lnTo>
                    <a:pt x="1008" y="762"/>
                  </a:lnTo>
                  <a:lnTo>
                    <a:pt x="1010" y="762"/>
                  </a:lnTo>
                  <a:lnTo>
                    <a:pt x="1010" y="762"/>
                  </a:lnTo>
                  <a:lnTo>
                    <a:pt x="1010" y="762"/>
                  </a:lnTo>
                  <a:lnTo>
                    <a:pt x="1012" y="762"/>
                  </a:lnTo>
                  <a:lnTo>
                    <a:pt x="1012" y="762"/>
                  </a:lnTo>
                  <a:lnTo>
                    <a:pt x="1012" y="762"/>
                  </a:lnTo>
                  <a:lnTo>
                    <a:pt x="1012" y="762"/>
                  </a:lnTo>
                  <a:lnTo>
                    <a:pt x="1014" y="762"/>
                  </a:lnTo>
                  <a:lnTo>
                    <a:pt x="1014" y="762"/>
                  </a:lnTo>
                  <a:lnTo>
                    <a:pt x="1016" y="760"/>
                  </a:lnTo>
                  <a:lnTo>
                    <a:pt x="1016" y="760"/>
                  </a:lnTo>
                  <a:lnTo>
                    <a:pt x="1016" y="758"/>
                  </a:lnTo>
                  <a:lnTo>
                    <a:pt x="1016" y="758"/>
                  </a:lnTo>
                  <a:lnTo>
                    <a:pt x="1018" y="758"/>
                  </a:lnTo>
                  <a:lnTo>
                    <a:pt x="1018" y="758"/>
                  </a:lnTo>
                  <a:lnTo>
                    <a:pt x="1018" y="758"/>
                  </a:lnTo>
                  <a:lnTo>
                    <a:pt x="1018" y="758"/>
                  </a:lnTo>
                  <a:lnTo>
                    <a:pt x="1018" y="758"/>
                  </a:lnTo>
                  <a:lnTo>
                    <a:pt x="1018" y="758"/>
                  </a:lnTo>
                  <a:lnTo>
                    <a:pt x="1018" y="758"/>
                  </a:lnTo>
                  <a:lnTo>
                    <a:pt x="1020" y="758"/>
                  </a:lnTo>
                  <a:lnTo>
                    <a:pt x="1020" y="756"/>
                  </a:lnTo>
                  <a:lnTo>
                    <a:pt x="1020" y="756"/>
                  </a:lnTo>
                  <a:lnTo>
                    <a:pt x="1022" y="756"/>
                  </a:lnTo>
                  <a:lnTo>
                    <a:pt x="1022" y="756"/>
                  </a:lnTo>
                  <a:lnTo>
                    <a:pt x="1020" y="756"/>
                  </a:lnTo>
                  <a:lnTo>
                    <a:pt x="1020" y="756"/>
                  </a:lnTo>
                  <a:lnTo>
                    <a:pt x="1018" y="756"/>
                  </a:lnTo>
                  <a:lnTo>
                    <a:pt x="1020" y="754"/>
                  </a:lnTo>
                  <a:lnTo>
                    <a:pt x="1020" y="756"/>
                  </a:lnTo>
                  <a:lnTo>
                    <a:pt x="1020" y="754"/>
                  </a:lnTo>
                  <a:lnTo>
                    <a:pt x="1022" y="750"/>
                  </a:lnTo>
                  <a:lnTo>
                    <a:pt x="1022" y="752"/>
                  </a:lnTo>
                  <a:lnTo>
                    <a:pt x="1022" y="752"/>
                  </a:lnTo>
                  <a:lnTo>
                    <a:pt x="1022" y="752"/>
                  </a:lnTo>
                  <a:lnTo>
                    <a:pt x="1022" y="752"/>
                  </a:lnTo>
                  <a:lnTo>
                    <a:pt x="1022" y="752"/>
                  </a:lnTo>
                  <a:lnTo>
                    <a:pt x="1024" y="752"/>
                  </a:lnTo>
                  <a:lnTo>
                    <a:pt x="1024" y="752"/>
                  </a:lnTo>
                  <a:lnTo>
                    <a:pt x="1024" y="752"/>
                  </a:lnTo>
                  <a:lnTo>
                    <a:pt x="1024" y="752"/>
                  </a:lnTo>
                  <a:lnTo>
                    <a:pt x="1024" y="752"/>
                  </a:lnTo>
                  <a:lnTo>
                    <a:pt x="1024" y="752"/>
                  </a:lnTo>
                  <a:lnTo>
                    <a:pt x="1024" y="752"/>
                  </a:lnTo>
                  <a:lnTo>
                    <a:pt x="1024" y="752"/>
                  </a:lnTo>
                  <a:lnTo>
                    <a:pt x="1024" y="750"/>
                  </a:lnTo>
                  <a:lnTo>
                    <a:pt x="1024" y="750"/>
                  </a:lnTo>
                  <a:lnTo>
                    <a:pt x="1024" y="750"/>
                  </a:lnTo>
                  <a:lnTo>
                    <a:pt x="1022" y="750"/>
                  </a:lnTo>
                  <a:lnTo>
                    <a:pt x="1022" y="748"/>
                  </a:lnTo>
                  <a:lnTo>
                    <a:pt x="1022" y="748"/>
                  </a:lnTo>
                  <a:lnTo>
                    <a:pt x="1022" y="748"/>
                  </a:lnTo>
                  <a:lnTo>
                    <a:pt x="1024" y="748"/>
                  </a:lnTo>
                  <a:lnTo>
                    <a:pt x="1024" y="748"/>
                  </a:lnTo>
                  <a:lnTo>
                    <a:pt x="1024" y="748"/>
                  </a:lnTo>
                  <a:lnTo>
                    <a:pt x="1024" y="748"/>
                  </a:lnTo>
                  <a:lnTo>
                    <a:pt x="1024" y="746"/>
                  </a:lnTo>
                  <a:lnTo>
                    <a:pt x="1020" y="748"/>
                  </a:lnTo>
                  <a:lnTo>
                    <a:pt x="1020" y="746"/>
                  </a:lnTo>
                  <a:lnTo>
                    <a:pt x="1020" y="746"/>
                  </a:lnTo>
                  <a:lnTo>
                    <a:pt x="1024" y="746"/>
                  </a:lnTo>
                  <a:lnTo>
                    <a:pt x="1026" y="746"/>
                  </a:lnTo>
                  <a:lnTo>
                    <a:pt x="1026" y="746"/>
                  </a:lnTo>
                  <a:lnTo>
                    <a:pt x="1026" y="744"/>
                  </a:lnTo>
                  <a:lnTo>
                    <a:pt x="1026" y="744"/>
                  </a:lnTo>
                  <a:lnTo>
                    <a:pt x="1026" y="744"/>
                  </a:lnTo>
                  <a:lnTo>
                    <a:pt x="1026" y="744"/>
                  </a:lnTo>
                  <a:lnTo>
                    <a:pt x="1026" y="742"/>
                  </a:lnTo>
                  <a:lnTo>
                    <a:pt x="1026" y="740"/>
                  </a:lnTo>
                  <a:lnTo>
                    <a:pt x="1026" y="740"/>
                  </a:lnTo>
                  <a:lnTo>
                    <a:pt x="1026" y="742"/>
                  </a:lnTo>
                  <a:lnTo>
                    <a:pt x="1026" y="740"/>
                  </a:lnTo>
                  <a:lnTo>
                    <a:pt x="1026" y="740"/>
                  </a:lnTo>
                  <a:lnTo>
                    <a:pt x="1026" y="740"/>
                  </a:lnTo>
                  <a:lnTo>
                    <a:pt x="1026" y="740"/>
                  </a:lnTo>
                  <a:lnTo>
                    <a:pt x="1026" y="740"/>
                  </a:lnTo>
                  <a:lnTo>
                    <a:pt x="1026" y="742"/>
                  </a:lnTo>
                  <a:lnTo>
                    <a:pt x="1026" y="742"/>
                  </a:lnTo>
                  <a:lnTo>
                    <a:pt x="1028" y="744"/>
                  </a:lnTo>
                  <a:lnTo>
                    <a:pt x="1028" y="744"/>
                  </a:lnTo>
                  <a:lnTo>
                    <a:pt x="1028" y="744"/>
                  </a:lnTo>
                  <a:lnTo>
                    <a:pt x="1028" y="742"/>
                  </a:lnTo>
                  <a:lnTo>
                    <a:pt x="1028" y="742"/>
                  </a:lnTo>
                  <a:lnTo>
                    <a:pt x="1030" y="740"/>
                  </a:lnTo>
                  <a:lnTo>
                    <a:pt x="1030" y="740"/>
                  </a:lnTo>
                  <a:lnTo>
                    <a:pt x="1030" y="740"/>
                  </a:lnTo>
                  <a:lnTo>
                    <a:pt x="1030" y="738"/>
                  </a:lnTo>
                  <a:lnTo>
                    <a:pt x="1030" y="740"/>
                  </a:lnTo>
                  <a:lnTo>
                    <a:pt x="1030" y="740"/>
                  </a:lnTo>
                  <a:lnTo>
                    <a:pt x="1030" y="740"/>
                  </a:lnTo>
                  <a:lnTo>
                    <a:pt x="1032" y="740"/>
                  </a:lnTo>
                  <a:lnTo>
                    <a:pt x="1032" y="738"/>
                  </a:lnTo>
                  <a:lnTo>
                    <a:pt x="1032" y="738"/>
                  </a:lnTo>
                  <a:lnTo>
                    <a:pt x="1032" y="738"/>
                  </a:lnTo>
                  <a:lnTo>
                    <a:pt x="1032" y="738"/>
                  </a:lnTo>
                  <a:lnTo>
                    <a:pt x="1034" y="738"/>
                  </a:lnTo>
                  <a:lnTo>
                    <a:pt x="1034" y="738"/>
                  </a:lnTo>
                  <a:lnTo>
                    <a:pt x="1034" y="738"/>
                  </a:lnTo>
                  <a:lnTo>
                    <a:pt x="1034" y="738"/>
                  </a:lnTo>
                  <a:lnTo>
                    <a:pt x="1034" y="738"/>
                  </a:lnTo>
                  <a:lnTo>
                    <a:pt x="1034" y="738"/>
                  </a:lnTo>
                  <a:lnTo>
                    <a:pt x="1038" y="738"/>
                  </a:lnTo>
                  <a:lnTo>
                    <a:pt x="1038" y="738"/>
                  </a:lnTo>
                  <a:lnTo>
                    <a:pt x="1043" y="736"/>
                  </a:lnTo>
                  <a:lnTo>
                    <a:pt x="1040" y="736"/>
                  </a:lnTo>
                  <a:lnTo>
                    <a:pt x="1040" y="734"/>
                  </a:lnTo>
                  <a:lnTo>
                    <a:pt x="1040" y="734"/>
                  </a:lnTo>
                  <a:lnTo>
                    <a:pt x="1038" y="734"/>
                  </a:lnTo>
                  <a:lnTo>
                    <a:pt x="1038" y="734"/>
                  </a:lnTo>
                  <a:lnTo>
                    <a:pt x="1036" y="734"/>
                  </a:lnTo>
                  <a:lnTo>
                    <a:pt x="1034" y="734"/>
                  </a:lnTo>
                  <a:lnTo>
                    <a:pt x="1036" y="734"/>
                  </a:lnTo>
                  <a:lnTo>
                    <a:pt x="1036" y="732"/>
                  </a:lnTo>
                  <a:lnTo>
                    <a:pt x="1036" y="732"/>
                  </a:lnTo>
                  <a:lnTo>
                    <a:pt x="1036" y="732"/>
                  </a:lnTo>
                  <a:lnTo>
                    <a:pt x="1036" y="732"/>
                  </a:lnTo>
                  <a:lnTo>
                    <a:pt x="1036" y="732"/>
                  </a:lnTo>
                  <a:lnTo>
                    <a:pt x="1036" y="732"/>
                  </a:lnTo>
                  <a:lnTo>
                    <a:pt x="1036" y="734"/>
                  </a:lnTo>
                  <a:lnTo>
                    <a:pt x="1036" y="734"/>
                  </a:lnTo>
                  <a:lnTo>
                    <a:pt x="1038" y="734"/>
                  </a:lnTo>
                  <a:lnTo>
                    <a:pt x="1038" y="732"/>
                  </a:lnTo>
                  <a:lnTo>
                    <a:pt x="1040" y="732"/>
                  </a:lnTo>
                  <a:lnTo>
                    <a:pt x="1040" y="732"/>
                  </a:lnTo>
                  <a:lnTo>
                    <a:pt x="1040" y="732"/>
                  </a:lnTo>
                  <a:lnTo>
                    <a:pt x="1043" y="732"/>
                  </a:lnTo>
                  <a:lnTo>
                    <a:pt x="1043" y="732"/>
                  </a:lnTo>
                  <a:lnTo>
                    <a:pt x="1045" y="732"/>
                  </a:lnTo>
                  <a:lnTo>
                    <a:pt x="1045" y="732"/>
                  </a:lnTo>
                  <a:lnTo>
                    <a:pt x="1045" y="732"/>
                  </a:lnTo>
                  <a:lnTo>
                    <a:pt x="1043" y="734"/>
                  </a:lnTo>
                  <a:lnTo>
                    <a:pt x="1043" y="734"/>
                  </a:lnTo>
                  <a:lnTo>
                    <a:pt x="1045" y="734"/>
                  </a:lnTo>
                  <a:lnTo>
                    <a:pt x="1045" y="734"/>
                  </a:lnTo>
                  <a:lnTo>
                    <a:pt x="1045" y="736"/>
                  </a:lnTo>
                  <a:lnTo>
                    <a:pt x="1045" y="736"/>
                  </a:lnTo>
                  <a:lnTo>
                    <a:pt x="1047" y="736"/>
                  </a:lnTo>
                  <a:lnTo>
                    <a:pt x="1047" y="734"/>
                  </a:lnTo>
                  <a:lnTo>
                    <a:pt x="1049" y="734"/>
                  </a:lnTo>
                  <a:lnTo>
                    <a:pt x="1049" y="734"/>
                  </a:lnTo>
                  <a:lnTo>
                    <a:pt x="1049" y="736"/>
                  </a:lnTo>
                  <a:lnTo>
                    <a:pt x="1049" y="734"/>
                  </a:lnTo>
                  <a:lnTo>
                    <a:pt x="1051" y="734"/>
                  </a:lnTo>
                  <a:lnTo>
                    <a:pt x="1051" y="732"/>
                  </a:lnTo>
                  <a:lnTo>
                    <a:pt x="1051" y="732"/>
                  </a:lnTo>
                  <a:lnTo>
                    <a:pt x="1051" y="732"/>
                  </a:lnTo>
                  <a:lnTo>
                    <a:pt x="1051" y="730"/>
                  </a:lnTo>
                  <a:lnTo>
                    <a:pt x="1053" y="730"/>
                  </a:lnTo>
                  <a:lnTo>
                    <a:pt x="1051" y="730"/>
                  </a:lnTo>
                  <a:lnTo>
                    <a:pt x="1051" y="730"/>
                  </a:lnTo>
                  <a:lnTo>
                    <a:pt x="1051" y="730"/>
                  </a:lnTo>
                  <a:lnTo>
                    <a:pt x="1051" y="730"/>
                  </a:lnTo>
                  <a:lnTo>
                    <a:pt x="1051" y="728"/>
                  </a:lnTo>
                  <a:lnTo>
                    <a:pt x="1049" y="728"/>
                  </a:lnTo>
                  <a:lnTo>
                    <a:pt x="1047" y="725"/>
                  </a:lnTo>
                  <a:lnTo>
                    <a:pt x="1045" y="725"/>
                  </a:lnTo>
                  <a:lnTo>
                    <a:pt x="1040" y="725"/>
                  </a:lnTo>
                  <a:lnTo>
                    <a:pt x="1040" y="725"/>
                  </a:lnTo>
                  <a:lnTo>
                    <a:pt x="1040" y="728"/>
                  </a:lnTo>
                  <a:lnTo>
                    <a:pt x="1038" y="728"/>
                  </a:lnTo>
                  <a:lnTo>
                    <a:pt x="1038" y="728"/>
                  </a:lnTo>
                  <a:lnTo>
                    <a:pt x="1038" y="725"/>
                  </a:lnTo>
                  <a:lnTo>
                    <a:pt x="1040" y="725"/>
                  </a:lnTo>
                  <a:lnTo>
                    <a:pt x="1040" y="725"/>
                  </a:lnTo>
                  <a:lnTo>
                    <a:pt x="1040" y="725"/>
                  </a:lnTo>
                  <a:lnTo>
                    <a:pt x="1040" y="725"/>
                  </a:lnTo>
                  <a:lnTo>
                    <a:pt x="1040" y="725"/>
                  </a:lnTo>
                  <a:lnTo>
                    <a:pt x="1043" y="723"/>
                  </a:lnTo>
                  <a:lnTo>
                    <a:pt x="1043" y="723"/>
                  </a:lnTo>
                  <a:lnTo>
                    <a:pt x="1043" y="723"/>
                  </a:lnTo>
                  <a:lnTo>
                    <a:pt x="1040" y="723"/>
                  </a:lnTo>
                  <a:lnTo>
                    <a:pt x="1040" y="721"/>
                  </a:lnTo>
                  <a:lnTo>
                    <a:pt x="1043" y="721"/>
                  </a:lnTo>
                  <a:lnTo>
                    <a:pt x="1043" y="721"/>
                  </a:lnTo>
                  <a:lnTo>
                    <a:pt x="1043" y="723"/>
                  </a:lnTo>
                  <a:lnTo>
                    <a:pt x="1043" y="723"/>
                  </a:lnTo>
                  <a:lnTo>
                    <a:pt x="1045" y="721"/>
                  </a:lnTo>
                  <a:lnTo>
                    <a:pt x="1045" y="721"/>
                  </a:lnTo>
                  <a:lnTo>
                    <a:pt x="1045" y="723"/>
                  </a:lnTo>
                  <a:lnTo>
                    <a:pt x="1045" y="723"/>
                  </a:lnTo>
                  <a:lnTo>
                    <a:pt x="1047" y="723"/>
                  </a:lnTo>
                  <a:lnTo>
                    <a:pt x="1047" y="723"/>
                  </a:lnTo>
                  <a:lnTo>
                    <a:pt x="1047" y="723"/>
                  </a:lnTo>
                  <a:lnTo>
                    <a:pt x="1049" y="723"/>
                  </a:lnTo>
                  <a:lnTo>
                    <a:pt x="1049" y="723"/>
                  </a:lnTo>
                  <a:lnTo>
                    <a:pt x="1049" y="723"/>
                  </a:lnTo>
                  <a:lnTo>
                    <a:pt x="1049" y="723"/>
                  </a:lnTo>
                  <a:lnTo>
                    <a:pt x="1049" y="725"/>
                  </a:lnTo>
                  <a:lnTo>
                    <a:pt x="1049" y="725"/>
                  </a:lnTo>
                  <a:lnTo>
                    <a:pt x="1049" y="725"/>
                  </a:lnTo>
                  <a:lnTo>
                    <a:pt x="1051" y="725"/>
                  </a:lnTo>
                  <a:lnTo>
                    <a:pt x="1051" y="725"/>
                  </a:lnTo>
                  <a:lnTo>
                    <a:pt x="1051" y="723"/>
                  </a:lnTo>
                  <a:lnTo>
                    <a:pt x="1051" y="723"/>
                  </a:lnTo>
                  <a:lnTo>
                    <a:pt x="1051" y="723"/>
                  </a:lnTo>
                  <a:lnTo>
                    <a:pt x="1051" y="725"/>
                  </a:lnTo>
                  <a:lnTo>
                    <a:pt x="1051" y="725"/>
                  </a:lnTo>
                  <a:lnTo>
                    <a:pt x="1051" y="725"/>
                  </a:lnTo>
                  <a:lnTo>
                    <a:pt x="1051" y="725"/>
                  </a:lnTo>
                  <a:lnTo>
                    <a:pt x="1051" y="725"/>
                  </a:lnTo>
                  <a:lnTo>
                    <a:pt x="1053" y="725"/>
                  </a:lnTo>
                  <a:lnTo>
                    <a:pt x="1053" y="725"/>
                  </a:lnTo>
                  <a:lnTo>
                    <a:pt x="1053" y="725"/>
                  </a:lnTo>
                  <a:lnTo>
                    <a:pt x="1053" y="725"/>
                  </a:lnTo>
                  <a:lnTo>
                    <a:pt x="1053" y="725"/>
                  </a:lnTo>
                  <a:lnTo>
                    <a:pt x="1053" y="725"/>
                  </a:lnTo>
                  <a:lnTo>
                    <a:pt x="1053" y="725"/>
                  </a:lnTo>
                  <a:lnTo>
                    <a:pt x="1053" y="725"/>
                  </a:lnTo>
                  <a:lnTo>
                    <a:pt x="1053" y="725"/>
                  </a:lnTo>
                  <a:lnTo>
                    <a:pt x="1053" y="725"/>
                  </a:lnTo>
                  <a:lnTo>
                    <a:pt x="1055" y="725"/>
                  </a:lnTo>
                  <a:lnTo>
                    <a:pt x="1055" y="725"/>
                  </a:lnTo>
                  <a:lnTo>
                    <a:pt x="1055" y="725"/>
                  </a:lnTo>
                  <a:lnTo>
                    <a:pt x="1055" y="725"/>
                  </a:lnTo>
                  <a:lnTo>
                    <a:pt x="1055" y="725"/>
                  </a:lnTo>
                  <a:lnTo>
                    <a:pt x="1055" y="725"/>
                  </a:lnTo>
                  <a:lnTo>
                    <a:pt x="1055" y="725"/>
                  </a:lnTo>
                  <a:lnTo>
                    <a:pt x="1055" y="725"/>
                  </a:lnTo>
                  <a:lnTo>
                    <a:pt x="1055" y="725"/>
                  </a:lnTo>
                  <a:lnTo>
                    <a:pt x="1055" y="728"/>
                  </a:lnTo>
                  <a:lnTo>
                    <a:pt x="1055" y="728"/>
                  </a:lnTo>
                  <a:lnTo>
                    <a:pt x="1055" y="728"/>
                  </a:lnTo>
                  <a:lnTo>
                    <a:pt x="1055" y="728"/>
                  </a:lnTo>
                  <a:lnTo>
                    <a:pt x="1055" y="725"/>
                  </a:lnTo>
                  <a:lnTo>
                    <a:pt x="1055" y="725"/>
                  </a:lnTo>
                  <a:lnTo>
                    <a:pt x="1057" y="725"/>
                  </a:lnTo>
                  <a:lnTo>
                    <a:pt x="1057" y="725"/>
                  </a:lnTo>
                  <a:lnTo>
                    <a:pt x="1057" y="725"/>
                  </a:lnTo>
                  <a:lnTo>
                    <a:pt x="1057" y="725"/>
                  </a:lnTo>
                  <a:lnTo>
                    <a:pt x="1059" y="728"/>
                  </a:lnTo>
                  <a:lnTo>
                    <a:pt x="1059" y="725"/>
                  </a:lnTo>
                  <a:lnTo>
                    <a:pt x="1059" y="725"/>
                  </a:lnTo>
                  <a:lnTo>
                    <a:pt x="1059" y="725"/>
                  </a:lnTo>
                  <a:lnTo>
                    <a:pt x="1059" y="723"/>
                  </a:lnTo>
                  <a:lnTo>
                    <a:pt x="1059" y="723"/>
                  </a:lnTo>
                  <a:lnTo>
                    <a:pt x="1061" y="721"/>
                  </a:lnTo>
                  <a:lnTo>
                    <a:pt x="1061" y="721"/>
                  </a:lnTo>
                  <a:lnTo>
                    <a:pt x="1061" y="721"/>
                  </a:lnTo>
                  <a:lnTo>
                    <a:pt x="1063" y="717"/>
                  </a:lnTo>
                  <a:lnTo>
                    <a:pt x="1063" y="717"/>
                  </a:lnTo>
                  <a:lnTo>
                    <a:pt x="1063" y="717"/>
                  </a:lnTo>
                  <a:lnTo>
                    <a:pt x="1063" y="715"/>
                  </a:lnTo>
                  <a:lnTo>
                    <a:pt x="1059" y="715"/>
                  </a:lnTo>
                  <a:close/>
                  <a:moveTo>
                    <a:pt x="1100" y="621"/>
                  </a:moveTo>
                  <a:lnTo>
                    <a:pt x="1100" y="621"/>
                  </a:lnTo>
                  <a:lnTo>
                    <a:pt x="1100" y="623"/>
                  </a:lnTo>
                  <a:lnTo>
                    <a:pt x="1100" y="623"/>
                  </a:lnTo>
                  <a:lnTo>
                    <a:pt x="1100" y="623"/>
                  </a:lnTo>
                  <a:lnTo>
                    <a:pt x="1098" y="625"/>
                  </a:lnTo>
                  <a:lnTo>
                    <a:pt x="1098" y="625"/>
                  </a:lnTo>
                  <a:lnTo>
                    <a:pt x="1098" y="627"/>
                  </a:lnTo>
                  <a:lnTo>
                    <a:pt x="1100" y="627"/>
                  </a:lnTo>
                  <a:lnTo>
                    <a:pt x="1100" y="627"/>
                  </a:lnTo>
                  <a:lnTo>
                    <a:pt x="1100" y="627"/>
                  </a:lnTo>
                  <a:lnTo>
                    <a:pt x="1102" y="625"/>
                  </a:lnTo>
                  <a:lnTo>
                    <a:pt x="1102" y="623"/>
                  </a:lnTo>
                  <a:lnTo>
                    <a:pt x="1102" y="623"/>
                  </a:lnTo>
                  <a:lnTo>
                    <a:pt x="1100" y="621"/>
                  </a:lnTo>
                  <a:close/>
                  <a:moveTo>
                    <a:pt x="1491" y="635"/>
                  </a:moveTo>
                  <a:lnTo>
                    <a:pt x="1491" y="633"/>
                  </a:lnTo>
                  <a:lnTo>
                    <a:pt x="1491" y="633"/>
                  </a:lnTo>
                  <a:lnTo>
                    <a:pt x="1493" y="633"/>
                  </a:lnTo>
                  <a:lnTo>
                    <a:pt x="1493" y="633"/>
                  </a:lnTo>
                  <a:lnTo>
                    <a:pt x="1491" y="631"/>
                  </a:lnTo>
                  <a:lnTo>
                    <a:pt x="1489" y="631"/>
                  </a:lnTo>
                  <a:lnTo>
                    <a:pt x="1489" y="629"/>
                  </a:lnTo>
                  <a:lnTo>
                    <a:pt x="1487" y="629"/>
                  </a:lnTo>
                  <a:lnTo>
                    <a:pt x="1487" y="629"/>
                  </a:lnTo>
                  <a:lnTo>
                    <a:pt x="1487" y="629"/>
                  </a:lnTo>
                  <a:lnTo>
                    <a:pt x="1487" y="631"/>
                  </a:lnTo>
                  <a:lnTo>
                    <a:pt x="1487" y="631"/>
                  </a:lnTo>
                  <a:lnTo>
                    <a:pt x="1487" y="633"/>
                  </a:lnTo>
                  <a:lnTo>
                    <a:pt x="1487" y="633"/>
                  </a:lnTo>
                  <a:lnTo>
                    <a:pt x="1487" y="633"/>
                  </a:lnTo>
                  <a:lnTo>
                    <a:pt x="1487" y="633"/>
                  </a:lnTo>
                  <a:lnTo>
                    <a:pt x="1487" y="633"/>
                  </a:lnTo>
                  <a:lnTo>
                    <a:pt x="1487" y="633"/>
                  </a:lnTo>
                  <a:lnTo>
                    <a:pt x="1489" y="633"/>
                  </a:lnTo>
                  <a:lnTo>
                    <a:pt x="1487" y="635"/>
                  </a:lnTo>
                  <a:lnTo>
                    <a:pt x="1487" y="635"/>
                  </a:lnTo>
                  <a:lnTo>
                    <a:pt x="1487" y="637"/>
                  </a:lnTo>
                  <a:lnTo>
                    <a:pt x="1489" y="637"/>
                  </a:lnTo>
                  <a:lnTo>
                    <a:pt x="1489" y="637"/>
                  </a:lnTo>
                  <a:lnTo>
                    <a:pt x="1487" y="637"/>
                  </a:lnTo>
                  <a:lnTo>
                    <a:pt x="1489" y="639"/>
                  </a:lnTo>
                  <a:lnTo>
                    <a:pt x="1489" y="639"/>
                  </a:lnTo>
                  <a:lnTo>
                    <a:pt x="1489" y="637"/>
                  </a:lnTo>
                  <a:lnTo>
                    <a:pt x="1489" y="637"/>
                  </a:lnTo>
                  <a:lnTo>
                    <a:pt x="1489" y="637"/>
                  </a:lnTo>
                  <a:lnTo>
                    <a:pt x="1489" y="637"/>
                  </a:lnTo>
                  <a:lnTo>
                    <a:pt x="1489" y="637"/>
                  </a:lnTo>
                  <a:lnTo>
                    <a:pt x="1489" y="637"/>
                  </a:lnTo>
                  <a:lnTo>
                    <a:pt x="1489" y="639"/>
                  </a:lnTo>
                  <a:lnTo>
                    <a:pt x="1489" y="639"/>
                  </a:lnTo>
                  <a:lnTo>
                    <a:pt x="1489" y="639"/>
                  </a:lnTo>
                  <a:lnTo>
                    <a:pt x="1489" y="639"/>
                  </a:lnTo>
                  <a:lnTo>
                    <a:pt x="1491" y="639"/>
                  </a:lnTo>
                  <a:lnTo>
                    <a:pt x="1491" y="639"/>
                  </a:lnTo>
                  <a:lnTo>
                    <a:pt x="1491" y="639"/>
                  </a:lnTo>
                  <a:lnTo>
                    <a:pt x="1491" y="639"/>
                  </a:lnTo>
                  <a:lnTo>
                    <a:pt x="1491" y="641"/>
                  </a:lnTo>
                  <a:lnTo>
                    <a:pt x="1491" y="641"/>
                  </a:lnTo>
                  <a:lnTo>
                    <a:pt x="1491" y="641"/>
                  </a:lnTo>
                  <a:lnTo>
                    <a:pt x="1493" y="641"/>
                  </a:lnTo>
                  <a:lnTo>
                    <a:pt x="1493" y="639"/>
                  </a:lnTo>
                  <a:lnTo>
                    <a:pt x="1493" y="637"/>
                  </a:lnTo>
                  <a:lnTo>
                    <a:pt x="1491" y="635"/>
                  </a:lnTo>
                  <a:close/>
                  <a:moveTo>
                    <a:pt x="1262" y="576"/>
                  </a:moveTo>
                  <a:lnTo>
                    <a:pt x="1262" y="576"/>
                  </a:lnTo>
                  <a:lnTo>
                    <a:pt x="1262" y="576"/>
                  </a:lnTo>
                  <a:lnTo>
                    <a:pt x="1262" y="576"/>
                  </a:lnTo>
                  <a:lnTo>
                    <a:pt x="1262" y="576"/>
                  </a:lnTo>
                  <a:lnTo>
                    <a:pt x="1262" y="574"/>
                  </a:lnTo>
                  <a:lnTo>
                    <a:pt x="1262" y="574"/>
                  </a:lnTo>
                  <a:lnTo>
                    <a:pt x="1262" y="574"/>
                  </a:lnTo>
                  <a:lnTo>
                    <a:pt x="1262" y="572"/>
                  </a:lnTo>
                  <a:lnTo>
                    <a:pt x="1262" y="572"/>
                  </a:lnTo>
                  <a:lnTo>
                    <a:pt x="1260" y="572"/>
                  </a:lnTo>
                  <a:lnTo>
                    <a:pt x="1260" y="572"/>
                  </a:lnTo>
                  <a:lnTo>
                    <a:pt x="1260" y="572"/>
                  </a:lnTo>
                  <a:lnTo>
                    <a:pt x="1260" y="574"/>
                  </a:lnTo>
                  <a:lnTo>
                    <a:pt x="1262" y="574"/>
                  </a:lnTo>
                  <a:lnTo>
                    <a:pt x="1262" y="574"/>
                  </a:lnTo>
                  <a:lnTo>
                    <a:pt x="1262" y="574"/>
                  </a:lnTo>
                  <a:lnTo>
                    <a:pt x="1262" y="576"/>
                  </a:lnTo>
                  <a:lnTo>
                    <a:pt x="1262" y="576"/>
                  </a:lnTo>
                  <a:close/>
                  <a:moveTo>
                    <a:pt x="1520" y="660"/>
                  </a:moveTo>
                  <a:lnTo>
                    <a:pt x="1520" y="660"/>
                  </a:lnTo>
                  <a:lnTo>
                    <a:pt x="1520" y="660"/>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6"/>
                  </a:lnTo>
                  <a:lnTo>
                    <a:pt x="1520" y="656"/>
                  </a:lnTo>
                  <a:lnTo>
                    <a:pt x="1520" y="656"/>
                  </a:lnTo>
                  <a:lnTo>
                    <a:pt x="1522" y="656"/>
                  </a:lnTo>
                  <a:lnTo>
                    <a:pt x="1522" y="654"/>
                  </a:lnTo>
                  <a:lnTo>
                    <a:pt x="1522" y="654"/>
                  </a:lnTo>
                  <a:lnTo>
                    <a:pt x="1520" y="652"/>
                  </a:lnTo>
                  <a:lnTo>
                    <a:pt x="1520" y="652"/>
                  </a:lnTo>
                  <a:lnTo>
                    <a:pt x="1520" y="652"/>
                  </a:lnTo>
                  <a:lnTo>
                    <a:pt x="1520" y="652"/>
                  </a:lnTo>
                  <a:lnTo>
                    <a:pt x="1520" y="652"/>
                  </a:lnTo>
                  <a:lnTo>
                    <a:pt x="1520" y="652"/>
                  </a:lnTo>
                  <a:lnTo>
                    <a:pt x="1520" y="650"/>
                  </a:lnTo>
                  <a:lnTo>
                    <a:pt x="1520" y="650"/>
                  </a:lnTo>
                  <a:lnTo>
                    <a:pt x="1518" y="650"/>
                  </a:lnTo>
                  <a:lnTo>
                    <a:pt x="1518" y="650"/>
                  </a:lnTo>
                  <a:lnTo>
                    <a:pt x="1518" y="650"/>
                  </a:lnTo>
                  <a:lnTo>
                    <a:pt x="1518" y="650"/>
                  </a:lnTo>
                  <a:lnTo>
                    <a:pt x="1518" y="650"/>
                  </a:lnTo>
                  <a:lnTo>
                    <a:pt x="1520" y="650"/>
                  </a:lnTo>
                  <a:lnTo>
                    <a:pt x="1520" y="650"/>
                  </a:lnTo>
                  <a:lnTo>
                    <a:pt x="1518" y="648"/>
                  </a:lnTo>
                  <a:lnTo>
                    <a:pt x="1518" y="648"/>
                  </a:lnTo>
                  <a:lnTo>
                    <a:pt x="1518" y="648"/>
                  </a:lnTo>
                  <a:lnTo>
                    <a:pt x="1516" y="648"/>
                  </a:lnTo>
                  <a:lnTo>
                    <a:pt x="1514" y="646"/>
                  </a:lnTo>
                  <a:lnTo>
                    <a:pt x="1514" y="646"/>
                  </a:lnTo>
                  <a:lnTo>
                    <a:pt x="1512" y="648"/>
                  </a:lnTo>
                  <a:lnTo>
                    <a:pt x="1512" y="646"/>
                  </a:lnTo>
                  <a:lnTo>
                    <a:pt x="1514" y="646"/>
                  </a:lnTo>
                  <a:lnTo>
                    <a:pt x="1514" y="646"/>
                  </a:lnTo>
                  <a:lnTo>
                    <a:pt x="1514" y="643"/>
                  </a:lnTo>
                  <a:lnTo>
                    <a:pt x="1514" y="643"/>
                  </a:lnTo>
                  <a:lnTo>
                    <a:pt x="1514" y="643"/>
                  </a:lnTo>
                  <a:lnTo>
                    <a:pt x="1514" y="643"/>
                  </a:lnTo>
                  <a:lnTo>
                    <a:pt x="1514" y="641"/>
                  </a:lnTo>
                  <a:lnTo>
                    <a:pt x="1512" y="641"/>
                  </a:lnTo>
                  <a:lnTo>
                    <a:pt x="1512" y="643"/>
                  </a:lnTo>
                  <a:lnTo>
                    <a:pt x="1512" y="643"/>
                  </a:lnTo>
                  <a:lnTo>
                    <a:pt x="1512" y="641"/>
                  </a:lnTo>
                  <a:lnTo>
                    <a:pt x="1512" y="641"/>
                  </a:lnTo>
                  <a:lnTo>
                    <a:pt x="1509" y="641"/>
                  </a:lnTo>
                  <a:lnTo>
                    <a:pt x="1509" y="641"/>
                  </a:lnTo>
                  <a:lnTo>
                    <a:pt x="1512" y="641"/>
                  </a:lnTo>
                  <a:lnTo>
                    <a:pt x="1516" y="643"/>
                  </a:lnTo>
                  <a:lnTo>
                    <a:pt x="1518" y="643"/>
                  </a:lnTo>
                  <a:lnTo>
                    <a:pt x="1518" y="643"/>
                  </a:lnTo>
                  <a:lnTo>
                    <a:pt x="1518" y="643"/>
                  </a:lnTo>
                  <a:lnTo>
                    <a:pt x="1520" y="646"/>
                  </a:lnTo>
                  <a:lnTo>
                    <a:pt x="1522" y="646"/>
                  </a:lnTo>
                  <a:lnTo>
                    <a:pt x="1526" y="646"/>
                  </a:lnTo>
                  <a:lnTo>
                    <a:pt x="1530" y="650"/>
                  </a:lnTo>
                  <a:lnTo>
                    <a:pt x="1534" y="650"/>
                  </a:lnTo>
                  <a:lnTo>
                    <a:pt x="1536" y="650"/>
                  </a:lnTo>
                  <a:lnTo>
                    <a:pt x="1538" y="650"/>
                  </a:lnTo>
                  <a:lnTo>
                    <a:pt x="1540" y="650"/>
                  </a:lnTo>
                  <a:lnTo>
                    <a:pt x="1540" y="648"/>
                  </a:lnTo>
                  <a:lnTo>
                    <a:pt x="1538" y="648"/>
                  </a:lnTo>
                  <a:lnTo>
                    <a:pt x="1540" y="648"/>
                  </a:lnTo>
                  <a:lnTo>
                    <a:pt x="1540" y="648"/>
                  </a:lnTo>
                  <a:lnTo>
                    <a:pt x="1540" y="648"/>
                  </a:lnTo>
                  <a:lnTo>
                    <a:pt x="1540" y="646"/>
                  </a:lnTo>
                  <a:lnTo>
                    <a:pt x="1540" y="646"/>
                  </a:lnTo>
                  <a:lnTo>
                    <a:pt x="1540" y="646"/>
                  </a:lnTo>
                  <a:lnTo>
                    <a:pt x="1540" y="646"/>
                  </a:lnTo>
                  <a:lnTo>
                    <a:pt x="1538" y="643"/>
                  </a:lnTo>
                  <a:lnTo>
                    <a:pt x="1538" y="643"/>
                  </a:lnTo>
                  <a:lnTo>
                    <a:pt x="1538" y="643"/>
                  </a:lnTo>
                  <a:lnTo>
                    <a:pt x="1538" y="641"/>
                  </a:lnTo>
                  <a:lnTo>
                    <a:pt x="1536" y="639"/>
                  </a:lnTo>
                  <a:lnTo>
                    <a:pt x="1536" y="639"/>
                  </a:lnTo>
                  <a:lnTo>
                    <a:pt x="1536" y="637"/>
                  </a:lnTo>
                  <a:lnTo>
                    <a:pt x="1536" y="637"/>
                  </a:lnTo>
                  <a:lnTo>
                    <a:pt x="1534" y="635"/>
                  </a:lnTo>
                  <a:lnTo>
                    <a:pt x="1534" y="635"/>
                  </a:lnTo>
                  <a:lnTo>
                    <a:pt x="1534" y="635"/>
                  </a:lnTo>
                  <a:lnTo>
                    <a:pt x="1532" y="635"/>
                  </a:lnTo>
                  <a:lnTo>
                    <a:pt x="1532" y="635"/>
                  </a:lnTo>
                  <a:lnTo>
                    <a:pt x="1532" y="635"/>
                  </a:lnTo>
                  <a:lnTo>
                    <a:pt x="1532" y="635"/>
                  </a:lnTo>
                  <a:lnTo>
                    <a:pt x="1530" y="635"/>
                  </a:lnTo>
                  <a:lnTo>
                    <a:pt x="1530" y="635"/>
                  </a:lnTo>
                  <a:lnTo>
                    <a:pt x="1530" y="635"/>
                  </a:lnTo>
                  <a:lnTo>
                    <a:pt x="1530" y="635"/>
                  </a:lnTo>
                  <a:lnTo>
                    <a:pt x="1530" y="635"/>
                  </a:lnTo>
                  <a:lnTo>
                    <a:pt x="1530" y="637"/>
                  </a:lnTo>
                  <a:lnTo>
                    <a:pt x="1530" y="637"/>
                  </a:lnTo>
                  <a:lnTo>
                    <a:pt x="1528" y="637"/>
                  </a:lnTo>
                  <a:lnTo>
                    <a:pt x="1528" y="637"/>
                  </a:lnTo>
                  <a:lnTo>
                    <a:pt x="1528" y="639"/>
                  </a:lnTo>
                  <a:lnTo>
                    <a:pt x="1526" y="639"/>
                  </a:lnTo>
                  <a:lnTo>
                    <a:pt x="1526" y="639"/>
                  </a:lnTo>
                  <a:lnTo>
                    <a:pt x="1526" y="639"/>
                  </a:lnTo>
                  <a:lnTo>
                    <a:pt x="1526" y="639"/>
                  </a:lnTo>
                  <a:lnTo>
                    <a:pt x="1526" y="639"/>
                  </a:lnTo>
                  <a:lnTo>
                    <a:pt x="1524" y="639"/>
                  </a:lnTo>
                  <a:lnTo>
                    <a:pt x="1524" y="639"/>
                  </a:lnTo>
                  <a:lnTo>
                    <a:pt x="1522" y="639"/>
                  </a:lnTo>
                  <a:lnTo>
                    <a:pt x="1522" y="639"/>
                  </a:lnTo>
                  <a:lnTo>
                    <a:pt x="1522" y="639"/>
                  </a:lnTo>
                  <a:lnTo>
                    <a:pt x="1522" y="639"/>
                  </a:lnTo>
                  <a:lnTo>
                    <a:pt x="1524" y="637"/>
                  </a:lnTo>
                  <a:lnTo>
                    <a:pt x="1524" y="637"/>
                  </a:lnTo>
                  <a:lnTo>
                    <a:pt x="1522" y="637"/>
                  </a:lnTo>
                  <a:lnTo>
                    <a:pt x="1522" y="635"/>
                  </a:lnTo>
                  <a:lnTo>
                    <a:pt x="1520" y="635"/>
                  </a:lnTo>
                  <a:lnTo>
                    <a:pt x="1520" y="635"/>
                  </a:lnTo>
                  <a:lnTo>
                    <a:pt x="1518" y="635"/>
                  </a:lnTo>
                  <a:lnTo>
                    <a:pt x="1518" y="635"/>
                  </a:lnTo>
                  <a:lnTo>
                    <a:pt x="1518" y="635"/>
                  </a:lnTo>
                  <a:lnTo>
                    <a:pt x="1516" y="633"/>
                  </a:lnTo>
                  <a:lnTo>
                    <a:pt x="1516" y="633"/>
                  </a:lnTo>
                  <a:lnTo>
                    <a:pt x="1516" y="633"/>
                  </a:lnTo>
                  <a:lnTo>
                    <a:pt x="1516" y="633"/>
                  </a:lnTo>
                  <a:lnTo>
                    <a:pt x="1516" y="633"/>
                  </a:lnTo>
                  <a:lnTo>
                    <a:pt x="1514" y="633"/>
                  </a:lnTo>
                  <a:lnTo>
                    <a:pt x="1514" y="633"/>
                  </a:lnTo>
                  <a:lnTo>
                    <a:pt x="1507" y="633"/>
                  </a:lnTo>
                  <a:lnTo>
                    <a:pt x="1507" y="631"/>
                  </a:lnTo>
                  <a:lnTo>
                    <a:pt x="1507" y="631"/>
                  </a:lnTo>
                  <a:lnTo>
                    <a:pt x="1505" y="631"/>
                  </a:lnTo>
                  <a:lnTo>
                    <a:pt x="1505" y="631"/>
                  </a:lnTo>
                  <a:lnTo>
                    <a:pt x="1505" y="629"/>
                  </a:lnTo>
                  <a:lnTo>
                    <a:pt x="1505" y="629"/>
                  </a:lnTo>
                  <a:lnTo>
                    <a:pt x="1505" y="629"/>
                  </a:lnTo>
                  <a:lnTo>
                    <a:pt x="1512" y="631"/>
                  </a:lnTo>
                  <a:lnTo>
                    <a:pt x="1516" y="633"/>
                  </a:lnTo>
                  <a:lnTo>
                    <a:pt x="1518" y="633"/>
                  </a:lnTo>
                  <a:lnTo>
                    <a:pt x="1518" y="633"/>
                  </a:lnTo>
                  <a:lnTo>
                    <a:pt x="1518" y="633"/>
                  </a:lnTo>
                  <a:lnTo>
                    <a:pt x="1520" y="633"/>
                  </a:lnTo>
                  <a:lnTo>
                    <a:pt x="1524" y="635"/>
                  </a:lnTo>
                  <a:lnTo>
                    <a:pt x="1526" y="635"/>
                  </a:lnTo>
                  <a:lnTo>
                    <a:pt x="1530" y="633"/>
                  </a:lnTo>
                  <a:lnTo>
                    <a:pt x="1532" y="633"/>
                  </a:lnTo>
                  <a:lnTo>
                    <a:pt x="1532" y="633"/>
                  </a:lnTo>
                  <a:lnTo>
                    <a:pt x="1532" y="633"/>
                  </a:lnTo>
                  <a:lnTo>
                    <a:pt x="1532" y="633"/>
                  </a:lnTo>
                  <a:lnTo>
                    <a:pt x="1532" y="631"/>
                  </a:lnTo>
                  <a:lnTo>
                    <a:pt x="1532" y="631"/>
                  </a:lnTo>
                  <a:lnTo>
                    <a:pt x="1532" y="631"/>
                  </a:lnTo>
                  <a:lnTo>
                    <a:pt x="1530" y="631"/>
                  </a:lnTo>
                  <a:lnTo>
                    <a:pt x="1530" y="631"/>
                  </a:lnTo>
                  <a:lnTo>
                    <a:pt x="1530" y="631"/>
                  </a:lnTo>
                  <a:lnTo>
                    <a:pt x="1530" y="629"/>
                  </a:lnTo>
                  <a:lnTo>
                    <a:pt x="1528" y="629"/>
                  </a:lnTo>
                  <a:lnTo>
                    <a:pt x="1528" y="629"/>
                  </a:lnTo>
                  <a:lnTo>
                    <a:pt x="1526" y="629"/>
                  </a:lnTo>
                  <a:lnTo>
                    <a:pt x="1526" y="629"/>
                  </a:lnTo>
                  <a:lnTo>
                    <a:pt x="1524" y="629"/>
                  </a:lnTo>
                  <a:lnTo>
                    <a:pt x="1524" y="627"/>
                  </a:lnTo>
                  <a:lnTo>
                    <a:pt x="1524" y="627"/>
                  </a:lnTo>
                  <a:lnTo>
                    <a:pt x="1526" y="627"/>
                  </a:lnTo>
                  <a:lnTo>
                    <a:pt x="1526" y="627"/>
                  </a:lnTo>
                  <a:lnTo>
                    <a:pt x="1526" y="627"/>
                  </a:lnTo>
                  <a:lnTo>
                    <a:pt x="1528" y="629"/>
                  </a:lnTo>
                  <a:lnTo>
                    <a:pt x="1532" y="629"/>
                  </a:lnTo>
                  <a:lnTo>
                    <a:pt x="1532" y="629"/>
                  </a:lnTo>
                  <a:lnTo>
                    <a:pt x="1532" y="629"/>
                  </a:lnTo>
                  <a:lnTo>
                    <a:pt x="1532" y="629"/>
                  </a:lnTo>
                  <a:lnTo>
                    <a:pt x="1530" y="629"/>
                  </a:lnTo>
                  <a:lnTo>
                    <a:pt x="1530" y="627"/>
                  </a:lnTo>
                  <a:lnTo>
                    <a:pt x="1532" y="627"/>
                  </a:lnTo>
                  <a:lnTo>
                    <a:pt x="1532" y="627"/>
                  </a:lnTo>
                  <a:lnTo>
                    <a:pt x="1532" y="625"/>
                  </a:lnTo>
                  <a:lnTo>
                    <a:pt x="1532" y="625"/>
                  </a:lnTo>
                  <a:lnTo>
                    <a:pt x="1530" y="625"/>
                  </a:lnTo>
                  <a:lnTo>
                    <a:pt x="1530" y="625"/>
                  </a:lnTo>
                  <a:lnTo>
                    <a:pt x="1530" y="625"/>
                  </a:lnTo>
                  <a:lnTo>
                    <a:pt x="1530" y="623"/>
                  </a:lnTo>
                  <a:lnTo>
                    <a:pt x="1532" y="623"/>
                  </a:lnTo>
                  <a:lnTo>
                    <a:pt x="1532" y="623"/>
                  </a:lnTo>
                  <a:lnTo>
                    <a:pt x="1530" y="621"/>
                  </a:lnTo>
                  <a:lnTo>
                    <a:pt x="1528" y="621"/>
                  </a:lnTo>
                  <a:lnTo>
                    <a:pt x="1524" y="621"/>
                  </a:lnTo>
                  <a:lnTo>
                    <a:pt x="1524" y="621"/>
                  </a:lnTo>
                  <a:lnTo>
                    <a:pt x="1524" y="619"/>
                  </a:lnTo>
                  <a:lnTo>
                    <a:pt x="1524" y="619"/>
                  </a:lnTo>
                  <a:lnTo>
                    <a:pt x="1524" y="619"/>
                  </a:lnTo>
                  <a:lnTo>
                    <a:pt x="1524" y="619"/>
                  </a:lnTo>
                  <a:lnTo>
                    <a:pt x="1522" y="619"/>
                  </a:lnTo>
                  <a:lnTo>
                    <a:pt x="1522" y="621"/>
                  </a:lnTo>
                  <a:lnTo>
                    <a:pt x="1520" y="619"/>
                  </a:lnTo>
                  <a:lnTo>
                    <a:pt x="1520" y="619"/>
                  </a:lnTo>
                  <a:lnTo>
                    <a:pt x="1520" y="621"/>
                  </a:lnTo>
                  <a:lnTo>
                    <a:pt x="1518" y="621"/>
                  </a:lnTo>
                  <a:lnTo>
                    <a:pt x="1518" y="621"/>
                  </a:lnTo>
                  <a:lnTo>
                    <a:pt x="1518" y="619"/>
                  </a:lnTo>
                  <a:lnTo>
                    <a:pt x="1518" y="619"/>
                  </a:lnTo>
                  <a:lnTo>
                    <a:pt x="1518" y="619"/>
                  </a:lnTo>
                  <a:lnTo>
                    <a:pt x="1516" y="619"/>
                  </a:lnTo>
                  <a:lnTo>
                    <a:pt x="1516" y="619"/>
                  </a:lnTo>
                  <a:lnTo>
                    <a:pt x="1516" y="619"/>
                  </a:lnTo>
                  <a:lnTo>
                    <a:pt x="1516" y="621"/>
                  </a:lnTo>
                  <a:lnTo>
                    <a:pt x="1514" y="621"/>
                  </a:lnTo>
                  <a:lnTo>
                    <a:pt x="1516" y="621"/>
                  </a:lnTo>
                  <a:lnTo>
                    <a:pt x="1516" y="621"/>
                  </a:lnTo>
                  <a:lnTo>
                    <a:pt x="1516" y="621"/>
                  </a:lnTo>
                  <a:lnTo>
                    <a:pt x="1516" y="623"/>
                  </a:lnTo>
                  <a:lnTo>
                    <a:pt x="1514" y="625"/>
                  </a:lnTo>
                  <a:lnTo>
                    <a:pt x="1514" y="627"/>
                  </a:lnTo>
                  <a:lnTo>
                    <a:pt x="1514" y="627"/>
                  </a:lnTo>
                  <a:lnTo>
                    <a:pt x="1514" y="629"/>
                  </a:lnTo>
                  <a:lnTo>
                    <a:pt x="1512" y="629"/>
                  </a:lnTo>
                  <a:lnTo>
                    <a:pt x="1512" y="629"/>
                  </a:lnTo>
                  <a:lnTo>
                    <a:pt x="1512" y="629"/>
                  </a:lnTo>
                  <a:lnTo>
                    <a:pt x="1512" y="629"/>
                  </a:lnTo>
                  <a:lnTo>
                    <a:pt x="1512" y="629"/>
                  </a:lnTo>
                  <a:lnTo>
                    <a:pt x="1512" y="631"/>
                  </a:lnTo>
                  <a:lnTo>
                    <a:pt x="1512" y="631"/>
                  </a:lnTo>
                  <a:lnTo>
                    <a:pt x="1512" y="629"/>
                  </a:lnTo>
                  <a:lnTo>
                    <a:pt x="1509" y="629"/>
                  </a:lnTo>
                  <a:lnTo>
                    <a:pt x="1507" y="629"/>
                  </a:lnTo>
                  <a:lnTo>
                    <a:pt x="1507" y="629"/>
                  </a:lnTo>
                  <a:lnTo>
                    <a:pt x="1509" y="629"/>
                  </a:lnTo>
                  <a:lnTo>
                    <a:pt x="1512" y="629"/>
                  </a:lnTo>
                  <a:lnTo>
                    <a:pt x="1512" y="627"/>
                  </a:lnTo>
                  <a:lnTo>
                    <a:pt x="1512" y="627"/>
                  </a:lnTo>
                  <a:lnTo>
                    <a:pt x="1512" y="627"/>
                  </a:lnTo>
                  <a:lnTo>
                    <a:pt x="1512" y="627"/>
                  </a:lnTo>
                  <a:lnTo>
                    <a:pt x="1509" y="627"/>
                  </a:lnTo>
                  <a:lnTo>
                    <a:pt x="1509" y="627"/>
                  </a:lnTo>
                  <a:lnTo>
                    <a:pt x="1509" y="627"/>
                  </a:lnTo>
                  <a:lnTo>
                    <a:pt x="1509" y="627"/>
                  </a:lnTo>
                  <a:lnTo>
                    <a:pt x="1507" y="627"/>
                  </a:lnTo>
                  <a:lnTo>
                    <a:pt x="1507" y="627"/>
                  </a:lnTo>
                  <a:lnTo>
                    <a:pt x="1507" y="627"/>
                  </a:lnTo>
                  <a:lnTo>
                    <a:pt x="1509" y="625"/>
                  </a:lnTo>
                  <a:lnTo>
                    <a:pt x="1512" y="625"/>
                  </a:lnTo>
                  <a:lnTo>
                    <a:pt x="1512" y="625"/>
                  </a:lnTo>
                  <a:lnTo>
                    <a:pt x="1512" y="623"/>
                  </a:lnTo>
                  <a:lnTo>
                    <a:pt x="1512" y="623"/>
                  </a:lnTo>
                  <a:lnTo>
                    <a:pt x="1512" y="623"/>
                  </a:lnTo>
                  <a:lnTo>
                    <a:pt x="1514" y="623"/>
                  </a:lnTo>
                  <a:lnTo>
                    <a:pt x="1514" y="623"/>
                  </a:lnTo>
                  <a:lnTo>
                    <a:pt x="1514" y="621"/>
                  </a:lnTo>
                  <a:lnTo>
                    <a:pt x="1514" y="621"/>
                  </a:lnTo>
                  <a:lnTo>
                    <a:pt x="1514" y="621"/>
                  </a:lnTo>
                  <a:lnTo>
                    <a:pt x="1514" y="619"/>
                  </a:lnTo>
                  <a:lnTo>
                    <a:pt x="1514" y="619"/>
                  </a:lnTo>
                  <a:lnTo>
                    <a:pt x="1512" y="619"/>
                  </a:lnTo>
                  <a:lnTo>
                    <a:pt x="1512" y="619"/>
                  </a:lnTo>
                  <a:lnTo>
                    <a:pt x="1512" y="617"/>
                  </a:lnTo>
                  <a:lnTo>
                    <a:pt x="1512" y="617"/>
                  </a:lnTo>
                  <a:lnTo>
                    <a:pt x="1512" y="617"/>
                  </a:lnTo>
                  <a:lnTo>
                    <a:pt x="1509" y="617"/>
                  </a:lnTo>
                  <a:lnTo>
                    <a:pt x="1509" y="617"/>
                  </a:lnTo>
                  <a:lnTo>
                    <a:pt x="1507" y="617"/>
                  </a:lnTo>
                  <a:lnTo>
                    <a:pt x="1507" y="617"/>
                  </a:lnTo>
                  <a:lnTo>
                    <a:pt x="1507" y="617"/>
                  </a:lnTo>
                  <a:lnTo>
                    <a:pt x="1507" y="617"/>
                  </a:lnTo>
                  <a:lnTo>
                    <a:pt x="1505" y="617"/>
                  </a:lnTo>
                  <a:lnTo>
                    <a:pt x="1503" y="615"/>
                  </a:lnTo>
                  <a:lnTo>
                    <a:pt x="1503" y="615"/>
                  </a:lnTo>
                  <a:lnTo>
                    <a:pt x="1503" y="615"/>
                  </a:lnTo>
                  <a:lnTo>
                    <a:pt x="1501" y="619"/>
                  </a:lnTo>
                  <a:lnTo>
                    <a:pt x="1499" y="619"/>
                  </a:lnTo>
                  <a:lnTo>
                    <a:pt x="1499" y="621"/>
                  </a:lnTo>
                  <a:lnTo>
                    <a:pt x="1499" y="621"/>
                  </a:lnTo>
                  <a:lnTo>
                    <a:pt x="1501" y="621"/>
                  </a:lnTo>
                  <a:lnTo>
                    <a:pt x="1501" y="623"/>
                  </a:lnTo>
                  <a:lnTo>
                    <a:pt x="1499" y="623"/>
                  </a:lnTo>
                  <a:lnTo>
                    <a:pt x="1497" y="621"/>
                  </a:lnTo>
                  <a:lnTo>
                    <a:pt x="1495" y="621"/>
                  </a:lnTo>
                  <a:lnTo>
                    <a:pt x="1495" y="621"/>
                  </a:lnTo>
                  <a:lnTo>
                    <a:pt x="1495" y="621"/>
                  </a:lnTo>
                  <a:lnTo>
                    <a:pt x="1495" y="621"/>
                  </a:lnTo>
                  <a:lnTo>
                    <a:pt x="1495" y="621"/>
                  </a:lnTo>
                  <a:lnTo>
                    <a:pt x="1495" y="623"/>
                  </a:lnTo>
                  <a:lnTo>
                    <a:pt x="1495" y="623"/>
                  </a:lnTo>
                  <a:lnTo>
                    <a:pt x="1495" y="623"/>
                  </a:lnTo>
                  <a:lnTo>
                    <a:pt x="1495" y="623"/>
                  </a:lnTo>
                  <a:lnTo>
                    <a:pt x="1495" y="625"/>
                  </a:lnTo>
                  <a:lnTo>
                    <a:pt x="1495" y="625"/>
                  </a:lnTo>
                  <a:lnTo>
                    <a:pt x="1495" y="625"/>
                  </a:lnTo>
                  <a:lnTo>
                    <a:pt x="1495" y="625"/>
                  </a:lnTo>
                  <a:lnTo>
                    <a:pt x="1495" y="627"/>
                  </a:lnTo>
                  <a:lnTo>
                    <a:pt x="1497" y="627"/>
                  </a:lnTo>
                  <a:lnTo>
                    <a:pt x="1497" y="627"/>
                  </a:lnTo>
                  <a:lnTo>
                    <a:pt x="1497" y="629"/>
                  </a:lnTo>
                  <a:lnTo>
                    <a:pt x="1497" y="629"/>
                  </a:lnTo>
                  <a:lnTo>
                    <a:pt x="1495" y="627"/>
                  </a:lnTo>
                  <a:lnTo>
                    <a:pt x="1495" y="627"/>
                  </a:lnTo>
                  <a:lnTo>
                    <a:pt x="1495" y="627"/>
                  </a:lnTo>
                  <a:lnTo>
                    <a:pt x="1495" y="625"/>
                  </a:lnTo>
                  <a:lnTo>
                    <a:pt x="1495" y="625"/>
                  </a:lnTo>
                  <a:lnTo>
                    <a:pt x="1493" y="625"/>
                  </a:lnTo>
                  <a:lnTo>
                    <a:pt x="1493" y="625"/>
                  </a:lnTo>
                  <a:lnTo>
                    <a:pt x="1493" y="623"/>
                  </a:lnTo>
                  <a:lnTo>
                    <a:pt x="1493" y="623"/>
                  </a:lnTo>
                  <a:lnTo>
                    <a:pt x="1491" y="623"/>
                  </a:lnTo>
                  <a:lnTo>
                    <a:pt x="1491" y="621"/>
                  </a:lnTo>
                  <a:lnTo>
                    <a:pt x="1491" y="621"/>
                  </a:lnTo>
                  <a:lnTo>
                    <a:pt x="1491" y="621"/>
                  </a:lnTo>
                  <a:lnTo>
                    <a:pt x="1489" y="623"/>
                  </a:lnTo>
                  <a:lnTo>
                    <a:pt x="1489" y="623"/>
                  </a:lnTo>
                  <a:lnTo>
                    <a:pt x="1491" y="625"/>
                  </a:lnTo>
                  <a:lnTo>
                    <a:pt x="1491" y="625"/>
                  </a:lnTo>
                  <a:lnTo>
                    <a:pt x="1491" y="627"/>
                  </a:lnTo>
                  <a:lnTo>
                    <a:pt x="1493" y="627"/>
                  </a:lnTo>
                  <a:lnTo>
                    <a:pt x="1493" y="627"/>
                  </a:lnTo>
                  <a:lnTo>
                    <a:pt x="1493" y="627"/>
                  </a:lnTo>
                  <a:lnTo>
                    <a:pt x="1493" y="627"/>
                  </a:lnTo>
                  <a:lnTo>
                    <a:pt x="1491" y="627"/>
                  </a:lnTo>
                  <a:lnTo>
                    <a:pt x="1491" y="627"/>
                  </a:lnTo>
                  <a:lnTo>
                    <a:pt x="1489" y="627"/>
                  </a:lnTo>
                  <a:lnTo>
                    <a:pt x="1489" y="627"/>
                  </a:lnTo>
                  <a:lnTo>
                    <a:pt x="1489" y="627"/>
                  </a:lnTo>
                  <a:lnTo>
                    <a:pt x="1489" y="629"/>
                  </a:lnTo>
                  <a:lnTo>
                    <a:pt x="1489" y="629"/>
                  </a:lnTo>
                  <a:lnTo>
                    <a:pt x="1493" y="631"/>
                  </a:lnTo>
                  <a:lnTo>
                    <a:pt x="1493" y="633"/>
                  </a:lnTo>
                  <a:lnTo>
                    <a:pt x="1495" y="633"/>
                  </a:lnTo>
                  <a:lnTo>
                    <a:pt x="1495" y="633"/>
                  </a:lnTo>
                  <a:lnTo>
                    <a:pt x="1497" y="633"/>
                  </a:lnTo>
                  <a:lnTo>
                    <a:pt x="1499" y="637"/>
                  </a:lnTo>
                  <a:lnTo>
                    <a:pt x="1501" y="637"/>
                  </a:lnTo>
                  <a:lnTo>
                    <a:pt x="1503" y="639"/>
                  </a:lnTo>
                  <a:lnTo>
                    <a:pt x="1503" y="639"/>
                  </a:lnTo>
                  <a:lnTo>
                    <a:pt x="1501" y="639"/>
                  </a:lnTo>
                  <a:lnTo>
                    <a:pt x="1499" y="637"/>
                  </a:lnTo>
                  <a:lnTo>
                    <a:pt x="1495" y="633"/>
                  </a:lnTo>
                  <a:lnTo>
                    <a:pt x="1493" y="633"/>
                  </a:lnTo>
                  <a:lnTo>
                    <a:pt x="1493" y="633"/>
                  </a:lnTo>
                  <a:lnTo>
                    <a:pt x="1493" y="633"/>
                  </a:lnTo>
                  <a:lnTo>
                    <a:pt x="1493" y="633"/>
                  </a:lnTo>
                  <a:lnTo>
                    <a:pt x="1493" y="635"/>
                  </a:lnTo>
                  <a:lnTo>
                    <a:pt x="1493" y="635"/>
                  </a:lnTo>
                  <a:lnTo>
                    <a:pt x="1493" y="635"/>
                  </a:lnTo>
                  <a:lnTo>
                    <a:pt x="1493" y="637"/>
                  </a:lnTo>
                  <a:lnTo>
                    <a:pt x="1493" y="637"/>
                  </a:lnTo>
                  <a:lnTo>
                    <a:pt x="1493" y="637"/>
                  </a:lnTo>
                  <a:lnTo>
                    <a:pt x="1493" y="639"/>
                  </a:lnTo>
                  <a:lnTo>
                    <a:pt x="1493" y="641"/>
                  </a:lnTo>
                  <a:lnTo>
                    <a:pt x="1493" y="641"/>
                  </a:lnTo>
                  <a:lnTo>
                    <a:pt x="1493" y="643"/>
                  </a:lnTo>
                  <a:lnTo>
                    <a:pt x="1493" y="643"/>
                  </a:lnTo>
                  <a:lnTo>
                    <a:pt x="1493" y="643"/>
                  </a:lnTo>
                  <a:lnTo>
                    <a:pt x="1493" y="641"/>
                  </a:lnTo>
                  <a:lnTo>
                    <a:pt x="1493" y="641"/>
                  </a:lnTo>
                  <a:lnTo>
                    <a:pt x="1495" y="641"/>
                  </a:lnTo>
                  <a:lnTo>
                    <a:pt x="1495" y="641"/>
                  </a:lnTo>
                  <a:lnTo>
                    <a:pt x="1495" y="641"/>
                  </a:lnTo>
                  <a:lnTo>
                    <a:pt x="1495" y="643"/>
                  </a:lnTo>
                  <a:lnTo>
                    <a:pt x="1495" y="643"/>
                  </a:lnTo>
                  <a:lnTo>
                    <a:pt x="1497" y="643"/>
                  </a:lnTo>
                  <a:lnTo>
                    <a:pt x="1497" y="643"/>
                  </a:lnTo>
                  <a:lnTo>
                    <a:pt x="1497" y="643"/>
                  </a:lnTo>
                  <a:lnTo>
                    <a:pt x="1497" y="643"/>
                  </a:lnTo>
                  <a:lnTo>
                    <a:pt x="1499" y="643"/>
                  </a:lnTo>
                  <a:lnTo>
                    <a:pt x="1499" y="643"/>
                  </a:lnTo>
                  <a:lnTo>
                    <a:pt x="1499" y="643"/>
                  </a:lnTo>
                  <a:lnTo>
                    <a:pt x="1499" y="646"/>
                  </a:lnTo>
                  <a:lnTo>
                    <a:pt x="1503" y="648"/>
                  </a:lnTo>
                  <a:lnTo>
                    <a:pt x="1503" y="648"/>
                  </a:lnTo>
                  <a:lnTo>
                    <a:pt x="1503" y="648"/>
                  </a:lnTo>
                  <a:lnTo>
                    <a:pt x="1503" y="648"/>
                  </a:lnTo>
                  <a:lnTo>
                    <a:pt x="1503" y="650"/>
                  </a:lnTo>
                  <a:lnTo>
                    <a:pt x="1503" y="650"/>
                  </a:lnTo>
                  <a:lnTo>
                    <a:pt x="1503" y="650"/>
                  </a:lnTo>
                  <a:lnTo>
                    <a:pt x="1503" y="650"/>
                  </a:lnTo>
                  <a:lnTo>
                    <a:pt x="1505" y="650"/>
                  </a:lnTo>
                  <a:lnTo>
                    <a:pt x="1505" y="650"/>
                  </a:lnTo>
                  <a:lnTo>
                    <a:pt x="1503" y="650"/>
                  </a:lnTo>
                  <a:lnTo>
                    <a:pt x="1505" y="650"/>
                  </a:lnTo>
                  <a:lnTo>
                    <a:pt x="1505" y="650"/>
                  </a:lnTo>
                  <a:lnTo>
                    <a:pt x="1505" y="650"/>
                  </a:lnTo>
                  <a:lnTo>
                    <a:pt x="1505" y="650"/>
                  </a:lnTo>
                  <a:lnTo>
                    <a:pt x="1505" y="650"/>
                  </a:lnTo>
                  <a:lnTo>
                    <a:pt x="1507" y="650"/>
                  </a:lnTo>
                  <a:lnTo>
                    <a:pt x="1507" y="650"/>
                  </a:lnTo>
                  <a:lnTo>
                    <a:pt x="1507" y="650"/>
                  </a:lnTo>
                  <a:lnTo>
                    <a:pt x="1507" y="650"/>
                  </a:lnTo>
                  <a:lnTo>
                    <a:pt x="1507" y="650"/>
                  </a:lnTo>
                  <a:lnTo>
                    <a:pt x="1507" y="650"/>
                  </a:lnTo>
                  <a:lnTo>
                    <a:pt x="1507" y="652"/>
                  </a:lnTo>
                  <a:lnTo>
                    <a:pt x="1507" y="652"/>
                  </a:lnTo>
                  <a:lnTo>
                    <a:pt x="1507" y="652"/>
                  </a:lnTo>
                  <a:lnTo>
                    <a:pt x="1507" y="652"/>
                  </a:lnTo>
                  <a:lnTo>
                    <a:pt x="1507" y="650"/>
                  </a:lnTo>
                  <a:lnTo>
                    <a:pt x="1505" y="650"/>
                  </a:lnTo>
                  <a:lnTo>
                    <a:pt x="1505" y="652"/>
                  </a:lnTo>
                  <a:lnTo>
                    <a:pt x="1505" y="652"/>
                  </a:lnTo>
                  <a:lnTo>
                    <a:pt x="1507" y="652"/>
                  </a:lnTo>
                  <a:lnTo>
                    <a:pt x="1514" y="656"/>
                  </a:lnTo>
                  <a:lnTo>
                    <a:pt x="1514" y="656"/>
                  </a:lnTo>
                  <a:lnTo>
                    <a:pt x="1516" y="658"/>
                  </a:lnTo>
                  <a:lnTo>
                    <a:pt x="1516" y="658"/>
                  </a:lnTo>
                  <a:lnTo>
                    <a:pt x="1514" y="658"/>
                  </a:lnTo>
                  <a:lnTo>
                    <a:pt x="1512" y="656"/>
                  </a:lnTo>
                  <a:lnTo>
                    <a:pt x="1509" y="654"/>
                  </a:lnTo>
                  <a:lnTo>
                    <a:pt x="1509" y="654"/>
                  </a:lnTo>
                  <a:lnTo>
                    <a:pt x="1507" y="656"/>
                  </a:lnTo>
                  <a:lnTo>
                    <a:pt x="1509" y="656"/>
                  </a:lnTo>
                  <a:lnTo>
                    <a:pt x="1509" y="656"/>
                  </a:lnTo>
                  <a:lnTo>
                    <a:pt x="1509" y="658"/>
                  </a:lnTo>
                  <a:lnTo>
                    <a:pt x="1512" y="658"/>
                  </a:lnTo>
                  <a:lnTo>
                    <a:pt x="1512" y="658"/>
                  </a:lnTo>
                  <a:lnTo>
                    <a:pt x="1512" y="658"/>
                  </a:lnTo>
                  <a:lnTo>
                    <a:pt x="1514" y="658"/>
                  </a:lnTo>
                  <a:lnTo>
                    <a:pt x="1514" y="660"/>
                  </a:lnTo>
                  <a:lnTo>
                    <a:pt x="1514" y="660"/>
                  </a:lnTo>
                  <a:lnTo>
                    <a:pt x="1516" y="660"/>
                  </a:lnTo>
                  <a:lnTo>
                    <a:pt x="1518" y="660"/>
                  </a:lnTo>
                  <a:lnTo>
                    <a:pt x="1520" y="660"/>
                  </a:lnTo>
                  <a:close/>
                  <a:moveTo>
                    <a:pt x="1245" y="566"/>
                  </a:moveTo>
                  <a:lnTo>
                    <a:pt x="1245" y="566"/>
                  </a:lnTo>
                  <a:lnTo>
                    <a:pt x="1245" y="566"/>
                  </a:lnTo>
                  <a:lnTo>
                    <a:pt x="1245" y="566"/>
                  </a:lnTo>
                  <a:lnTo>
                    <a:pt x="1243" y="566"/>
                  </a:lnTo>
                  <a:lnTo>
                    <a:pt x="1243" y="566"/>
                  </a:lnTo>
                  <a:lnTo>
                    <a:pt x="1243" y="566"/>
                  </a:lnTo>
                  <a:lnTo>
                    <a:pt x="1243" y="566"/>
                  </a:lnTo>
                  <a:lnTo>
                    <a:pt x="1243" y="566"/>
                  </a:lnTo>
                  <a:lnTo>
                    <a:pt x="1245" y="566"/>
                  </a:lnTo>
                  <a:lnTo>
                    <a:pt x="1245" y="566"/>
                  </a:lnTo>
                  <a:lnTo>
                    <a:pt x="1245" y="566"/>
                  </a:lnTo>
                  <a:lnTo>
                    <a:pt x="1245" y="566"/>
                  </a:lnTo>
                  <a:lnTo>
                    <a:pt x="1245" y="566"/>
                  </a:lnTo>
                  <a:close/>
                  <a:moveTo>
                    <a:pt x="1167" y="584"/>
                  </a:moveTo>
                  <a:lnTo>
                    <a:pt x="1167" y="584"/>
                  </a:lnTo>
                  <a:lnTo>
                    <a:pt x="1167" y="584"/>
                  </a:lnTo>
                  <a:lnTo>
                    <a:pt x="1167" y="584"/>
                  </a:lnTo>
                  <a:lnTo>
                    <a:pt x="1167" y="584"/>
                  </a:lnTo>
                  <a:lnTo>
                    <a:pt x="1167" y="584"/>
                  </a:lnTo>
                  <a:lnTo>
                    <a:pt x="1167" y="584"/>
                  </a:lnTo>
                  <a:lnTo>
                    <a:pt x="1165" y="586"/>
                  </a:lnTo>
                  <a:lnTo>
                    <a:pt x="1165" y="586"/>
                  </a:lnTo>
                  <a:lnTo>
                    <a:pt x="1163" y="588"/>
                  </a:lnTo>
                  <a:lnTo>
                    <a:pt x="1163" y="588"/>
                  </a:lnTo>
                  <a:lnTo>
                    <a:pt x="1163" y="588"/>
                  </a:lnTo>
                  <a:lnTo>
                    <a:pt x="1163" y="586"/>
                  </a:lnTo>
                  <a:lnTo>
                    <a:pt x="1163" y="586"/>
                  </a:lnTo>
                  <a:lnTo>
                    <a:pt x="1161" y="586"/>
                  </a:lnTo>
                  <a:lnTo>
                    <a:pt x="1161"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1" y="588"/>
                  </a:lnTo>
                  <a:lnTo>
                    <a:pt x="1161" y="590"/>
                  </a:lnTo>
                  <a:lnTo>
                    <a:pt x="1163" y="590"/>
                  </a:lnTo>
                  <a:lnTo>
                    <a:pt x="1165" y="588"/>
                  </a:lnTo>
                  <a:lnTo>
                    <a:pt x="1165" y="588"/>
                  </a:lnTo>
                  <a:lnTo>
                    <a:pt x="1165" y="588"/>
                  </a:lnTo>
                  <a:lnTo>
                    <a:pt x="1167" y="584"/>
                  </a:lnTo>
                  <a:lnTo>
                    <a:pt x="1167" y="584"/>
                  </a:lnTo>
                  <a:close/>
                  <a:moveTo>
                    <a:pt x="1532" y="609"/>
                  </a:moveTo>
                  <a:lnTo>
                    <a:pt x="1530" y="607"/>
                  </a:lnTo>
                  <a:lnTo>
                    <a:pt x="1530" y="607"/>
                  </a:lnTo>
                  <a:lnTo>
                    <a:pt x="1530" y="607"/>
                  </a:lnTo>
                  <a:lnTo>
                    <a:pt x="1530" y="607"/>
                  </a:lnTo>
                  <a:lnTo>
                    <a:pt x="1528" y="607"/>
                  </a:lnTo>
                  <a:lnTo>
                    <a:pt x="1528" y="605"/>
                  </a:lnTo>
                  <a:lnTo>
                    <a:pt x="1528" y="605"/>
                  </a:lnTo>
                  <a:lnTo>
                    <a:pt x="1526" y="605"/>
                  </a:lnTo>
                  <a:lnTo>
                    <a:pt x="1526" y="605"/>
                  </a:lnTo>
                  <a:lnTo>
                    <a:pt x="1526" y="605"/>
                  </a:lnTo>
                  <a:lnTo>
                    <a:pt x="1526" y="605"/>
                  </a:lnTo>
                  <a:lnTo>
                    <a:pt x="1524" y="605"/>
                  </a:lnTo>
                  <a:lnTo>
                    <a:pt x="1524" y="603"/>
                  </a:lnTo>
                  <a:lnTo>
                    <a:pt x="1524" y="603"/>
                  </a:lnTo>
                  <a:lnTo>
                    <a:pt x="1524" y="603"/>
                  </a:lnTo>
                  <a:lnTo>
                    <a:pt x="1524" y="603"/>
                  </a:lnTo>
                  <a:lnTo>
                    <a:pt x="1524" y="603"/>
                  </a:lnTo>
                  <a:lnTo>
                    <a:pt x="1524" y="605"/>
                  </a:lnTo>
                  <a:lnTo>
                    <a:pt x="1524" y="605"/>
                  </a:lnTo>
                  <a:lnTo>
                    <a:pt x="1526" y="609"/>
                  </a:lnTo>
                  <a:lnTo>
                    <a:pt x="1526" y="609"/>
                  </a:lnTo>
                  <a:lnTo>
                    <a:pt x="1526" y="609"/>
                  </a:lnTo>
                  <a:lnTo>
                    <a:pt x="1526" y="609"/>
                  </a:lnTo>
                  <a:lnTo>
                    <a:pt x="1528" y="609"/>
                  </a:lnTo>
                  <a:lnTo>
                    <a:pt x="1528" y="611"/>
                  </a:lnTo>
                  <a:lnTo>
                    <a:pt x="1528" y="611"/>
                  </a:lnTo>
                  <a:lnTo>
                    <a:pt x="1528" y="613"/>
                  </a:lnTo>
                  <a:lnTo>
                    <a:pt x="1528" y="613"/>
                  </a:lnTo>
                  <a:lnTo>
                    <a:pt x="1528" y="613"/>
                  </a:lnTo>
                  <a:lnTo>
                    <a:pt x="1528" y="613"/>
                  </a:lnTo>
                  <a:lnTo>
                    <a:pt x="1530" y="613"/>
                  </a:lnTo>
                  <a:lnTo>
                    <a:pt x="1530" y="613"/>
                  </a:lnTo>
                  <a:lnTo>
                    <a:pt x="1530" y="615"/>
                  </a:lnTo>
                  <a:lnTo>
                    <a:pt x="1532" y="617"/>
                  </a:lnTo>
                  <a:lnTo>
                    <a:pt x="1532" y="617"/>
                  </a:lnTo>
                  <a:lnTo>
                    <a:pt x="1532" y="615"/>
                  </a:lnTo>
                  <a:lnTo>
                    <a:pt x="1532" y="615"/>
                  </a:lnTo>
                  <a:lnTo>
                    <a:pt x="1532" y="613"/>
                  </a:lnTo>
                  <a:lnTo>
                    <a:pt x="1532" y="613"/>
                  </a:lnTo>
                  <a:lnTo>
                    <a:pt x="1532" y="613"/>
                  </a:lnTo>
                  <a:lnTo>
                    <a:pt x="1532" y="613"/>
                  </a:lnTo>
                  <a:lnTo>
                    <a:pt x="1532" y="611"/>
                  </a:lnTo>
                  <a:lnTo>
                    <a:pt x="1532" y="613"/>
                  </a:lnTo>
                  <a:lnTo>
                    <a:pt x="1532" y="613"/>
                  </a:lnTo>
                  <a:lnTo>
                    <a:pt x="1532" y="613"/>
                  </a:lnTo>
                  <a:lnTo>
                    <a:pt x="1532" y="613"/>
                  </a:lnTo>
                  <a:lnTo>
                    <a:pt x="1532" y="615"/>
                  </a:lnTo>
                  <a:lnTo>
                    <a:pt x="1532" y="615"/>
                  </a:lnTo>
                  <a:lnTo>
                    <a:pt x="1532" y="615"/>
                  </a:lnTo>
                  <a:lnTo>
                    <a:pt x="1532" y="615"/>
                  </a:lnTo>
                  <a:lnTo>
                    <a:pt x="1534" y="615"/>
                  </a:lnTo>
                  <a:lnTo>
                    <a:pt x="1534" y="617"/>
                  </a:lnTo>
                  <a:lnTo>
                    <a:pt x="1532" y="619"/>
                  </a:lnTo>
                  <a:lnTo>
                    <a:pt x="1532" y="619"/>
                  </a:lnTo>
                  <a:lnTo>
                    <a:pt x="1532" y="619"/>
                  </a:lnTo>
                  <a:lnTo>
                    <a:pt x="1534" y="621"/>
                  </a:lnTo>
                  <a:lnTo>
                    <a:pt x="1534" y="621"/>
                  </a:lnTo>
                  <a:lnTo>
                    <a:pt x="1534" y="621"/>
                  </a:lnTo>
                  <a:lnTo>
                    <a:pt x="1534" y="623"/>
                  </a:lnTo>
                  <a:lnTo>
                    <a:pt x="1534" y="623"/>
                  </a:lnTo>
                  <a:lnTo>
                    <a:pt x="1536" y="623"/>
                  </a:lnTo>
                  <a:lnTo>
                    <a:pt x="1536" y="627"/>
                  </a:lnTo>
                  <a:lnTo>
                    <a:pt x="1538" y="627"/>
                  </a:lnTo>
                  <a:lnTo>
                    <a:pt x="1538" y="629"/>
                  </a:lnTo>
                  <a:lnTo>
                    <a:pt x="1540" y="631"/>
                  </a:lnTo>
                  <a:lnTo>
                    <a:pt x="1540" y="633"/>
                  </a:lnTo>
                  <a:lnTo>
                    <a:pt x="1540" y="633"/>
                  </a:lnTo>
                  <a:lnTo>
                    <a:pt x="1540" y="633"/>
                  </a:lnTo>
                  <a:lnTo>
                    <a:pt x="1540" y="633"/>
                  </a:lnTo>
                  <a:lnTo>
                    <a:pt x="1540" y="635"/>
                  </a:lnTo>
                  <a:lnTo>
                    <a:pt x="1540" y="635"/>
                  </a:lnTo>
                  <a:lnTo>
                    <a:pt x="1542" y="637"/>
                  </a:lnTo>
                  <a:lnTo>
                    <a:pt x="1542" y="637"/>
                  </a:lnTo>
                  <a:lnTo>
                    <a:pt x="1542" y="639"/>
                  </a:lnTo>
                  <a:lnTo>
                    <a:pt x="1542" y="639"/>
                  </a:lnTo>
                  <a:lnTo>
                    <a:pt x="1544" y="641"/>
                  </a:lnTo>
                  <a:lnTo>
                    <a:pt x="1544" y="641"/>
                  </a:lnTo>
                  <a:lnTo>
                    <a:pt x="1544" y="641"/>
                  </a:lnTo>
                  <a:lnTo>
                    <a:pt x="1544" y="641"/>
                  </a:lnTo>
                  <a:lnTo>
                    <a:pt x="1546" y="643"/>
                  </a:lnTo>
                  <a:lnTo>
                    <a:pt x="1546" y="643"/>
                  </a:lnTo>
                  <a:lnTo>
                    <a:pt x="1548" y="643"/>
                  </a:lnTo>
                  <a:lnTo>
                    <a:pt x="1548" y="641"/>
                  </a:lnTo>
                  <a:lnTo>
                    <a:pt x="1550" y="641"/>
                  </a:lnTo>
                  <a:lnTo>
                    <a:pt x="1552" y="641"/>
                  </a:lnTo>
                  <a:lnTo>
                    <a:pt x="1550" y="641"/>
                  </a:lnTo>
                  <a:lnTo>
                    <a:pt x="1550" y="643"/>
                  </a:lnTo>
                  <a:lnTo>
                    <a:pt x="1550" y="643"/>
                  </a:lnTo>
                  <a:lnTo>
                    <a:pt x="1548" y="643"/>
                  </a:lnTo>
                  <a:lnTo>
                    <a:pt x="1548" y="646"/>
                  </a:lnTo>
                  <a:lnTo>
                    <a:pt x="1548" y="646"/>
                  </a:lnTo>
                  <a:lnTo>
                    <a:pt x="1548" y="646"/>
                  </a:lnTo>
                  <a:lnTo>
                    <a:pt x="1548" y="646"/>
                  </a:lnTo>
                  <a:lnTo>
                    <a:pt x="1546" y="646"/>
                  </a:lnTo>
                  <a:lnTo>
                    <a:pt x="1546" y="646"/>
                  </a:lnTo>
                  <a:lnTo>
                    <a:pt x="1548" y="646"/>
                  </a:lnTo>
                  <a:lnTo>
                    <a:pt x="1548" y="646"/>
                  </a:lnTo>
                  <a:lnTo>
                    <a:pt x="1548" y="646"/>
                  </a:lnTo>
                  <a:lnTo>
                    <a:pt x="1548" y="646"/>
                  </a:lnTo>
                  <a:lnTo>
                    <a:pt x="1550" y="648"/>
                  </a:lnTo>
                  <a:lnTo>
                    <a:pt x="1550" y="650"/>
                  </a:lnTo>
                  <a:lnTo>
                    <a:pt x="1550" y="650"/>
                  </a:lnTo>
                  <a:lnTo>
                    <a:pt x="1552" y="650"/>
                  </a:lnTo>
                  <a:lnTo>
                    <a:pt x="1555" y="648"/>
                  </a:lnTo>
                  <a:lnTo>
                    <a:pt x="1557" y="648"/>
                  </a:lnTo>
                  <a:lnTo>
                    <a:pt x="1555" y="648"/>
                  </a:lnTo>
                  <a:lnTo>
                    <a:pt x="1555" y="650"/>
                  </a:lnTo>
                  <a:lnTo>
                    <a:pt x="1555" y="650"/>
                  </a:lnTo>
                  <a:lnTo>
                    <a:pt x="1555" y="650"/>
                  </a:lnTo>
                  <a:lnTo>
                    <a:pt x="1555" y="650"/>
                  </a:lnTo>
                  <a:lnTo>
                    <a:pt x="1555" y="650"/>
                  </a:lnTo>
                  <a:lnTo>
                    <a:pt x="1557" y="650"/>
                  </a:lnTo>
                  <a:lnTo>
                    <a:pt x="1557" y="652"/>
                  </a:lnTo>
                  <a:lnTo>
                    <a:pt x="1557" y="652"/>
                  </a:lnTo>
                  <a:lnTo>
                    <a:pt x="1555" y="650"/>
                  </a:lnTo>
                  <a:lnTo>
                    <a:pt x="1550" y="650"/>
                  </a:lnTo>
                  <a:lnTo>
                    <a:pt x="1550" y="650"/>
                  </a:lnTo>
                  <a:lnTo>
                    <a:pt x="1550" y="650"/>
                  </a:lnTo>
                  <a:lnTo>
                    <a:pt x="1548" y="650"/>
                  </a:lnTo>
                  <a:lnTo>
                    <a:pt x="1548" y="650"/>
                  </a:lnTo>
                  <a:lnTo>
                    <a:pt x="1548" y="650"/>
                  </a:lnTo>
                  <a:lnTo>
                    <a:pt x="1550" y="652"/>
                  </a:lnTo>
                  <a:lnTo>
                    <a:pt x="1550" y="652"/>
                  </a:lnTo>
                  <a:lnTo>
                    <a:pt x="1550" y="652"/>
                  </a:lnTo>
                  <a:lnTo>
                    <a:pt x="1550" y="652"/>
                  </a:lnTo>
                  <a:lnTo>
                    <a:pt x="1550" y="652"/>
                  </a:lnTo>
                  <a:lnTo>
                    <a:pt x="1552" y="652"/>
                  </a:lnTo>
                  <a:lnTo>
                    <a:pt x="1552" y="654"/>
                  </a:lnTo>
                  <a:lnTo>
                    <a:pt x="1552" y="654"/>
                  </a:lnTo>
                  <a:lnTo>
                    <a:pt x="1550" y="654"/>
                  </a:lnTo>
                  <a:lnTo>
                    <a:pt x="1550" y="654"/>
                  </a:lnTo>
                  <a:lnTo>
                    <a:pt x="1550" y="656"/>
                  </a:lnTo>
                  <a:lnTo>
                    <a:pt x="1550" y="656"/>
                  </a:lnTo>
                  <a:lnTo>
                    <a:pt x="1550" y="656"/>
                  </a:lnTo>
                  <a:lnTo>
                    <a:pt x="1550" y="658"/>
                  </a:lnTo>
                  <a:lnTo>
                    <a:pt x="1550" y="658"/>
                  </a:lnTo>
                  <a:lnTo>
                    <a:pt x="1552" y="658"/>
                  </a:lnTo>
                  <a:lnTo>
                    <a:pt x="1552" y="658"/>
                  </a:lnTo>
                  <a:lnTo>
                    <a:pt x="1552" y="658"/>
                  </a:lnTo>
                  <a:lnTo>
                    <a:pt x="1552" y="658"/>
                  </a:lnTo>
                  <a:lnTo>
                    <a:pt x="1550" y="658"/>
                  </a:lnTo>
                  <a:lnTo>
                    <a:pt x="1550" y="660"/>
                  </a:lnTo>
                  <a:lnTo>
                    <a:pt x="1550" y="660"/>
                  </a:lnTo>
                  <a:lnTo>
                    <a:pt x="1550" y="660"/>
                  </a:lnTo>
                  <a:lnTo>
                    <a:pt x="1550" y="660"/>
                  </a:lnTo>
                  <a:lnTo>
                    <a:pt x="1550" y="662"/>
                  </a:lnTo>
                  <a:lnTo>
                    <a:pt x="1552" y="662"/>
                  </a:lnTo>
                  <a:lnTo>
                    <a:pt x="1552" y="662"/>
                  </a:lnTo>
                  <a:lnTo>
                    <a:pt x="1550" y="664"/>
                  </a:lnTo>
                  <a:lnTo>
                    <a:pt x="1550" y="664"/>
                  </a:lnTo>
                  <a:lnTo>
                    <a:pt x="1552" y="666"/>
                  </a:lnTo>
                  <a:lnTo>
                    <a:pt x="1552" y="668"/>
                  </a:lnTo>
                  <a:lnTo>
                    <a:pt x="1552" y="670"/>
                  </a:lnTo>
                  <a:lnTo>
                    <a:pt x="1555" y="668"/>
                  </a:lnTo>
                  <a:lnTo>
                    <a:pt x="1555" y="668"/>
                  </a:lnTo>
                  <a:lnTo>
                    <a:pt x="1557" y="668"/>
                  </a:lnTo>
                  <a:lnTo>
                    <a:pt x="1557" y="668"/>
                  </a:lnTo>
                  <a:lnTo>
                    <a:pt x="1557" y="666"/>
                  </a:lnTo>
                  <a:lnTo>
                    <a:pt x="1557" y="666"/>
                  </a:lnTo>
                  <a:lnTo>
                    <a:pt x="1559" y="664"/>
                  </a:lnTo>
                  <a:lnTo>
                    <a:pt x="1559" y="664"/>
                  </a:lnTo>
                  <a:lnTo>
                    <a:pt x="1559" y="664"/>
                  </a:lnTo>
                  <a:lnTo>
                    <a:pt x="1559" y="664"/>
                  </a:lnTo>
                  <a:lnTo>
                    <a:pt x="1559" y="664"/>
                  </a:lnTo>
                  <a:lnTo>
                    <a:pt x="1559" y="664"/>
                  </a:lnTo>
                  <a:lnTo>
                    <a:pt x="1559" y="662"/>
                  </a:lnTo>
                  <a:lnTo>
                    <a:pt x="1559" y="662"/>
                  </a:lnTo>
                  <a:lnTo>
                    <a:pt x="1559" y="662"/>
                  </a:lnTo>
                  <a:lnTo>
                    <a:pt x="1559" y="662"/>
                  </a:lnTo>
                  <a:lnTo>
                    <a:pt x="1559" y="662"/>
                  </a:lnTo>
                  <a:lnTo>
                    <a:pt x="1559" y="662"/>
                  </a:lnTo>
                  <a:lnTo>
                    <a:pt x="1559" y="662"/>
                  </a:lnTo>
                  <a:lnTo>
                    <a:pt x="1559" y="662"/>
                  </a:lnTo>
                  <a:lnTo>
                    <a:pt x="1559" y="662"/>
                  </a:lnTo>
                  <a:lnTo>
                    <a:pt x="1559" y="662"/>
                  </a:lnTo>
                  <a:lnTo>
                    <a:pt x="1559" y="660"/>
                  </a:lnTo>
                  <a:lnTo>
                    <a:pt x="1561" y="660"/>
                  </a:lnTo>
                  <a:lnTo>
                    <a:pt x="1561" y="660"/>
                  </a:lnTo>
                  <a:lnTo>
                    <a:pt x="1561" y="660"/>
                  </a:lnTo>
                  <a:lnTo>
                    <a:pt x="1561" y="658"/>
                  </a:lnTo>
                  <a:lnTo>
                    <a:pt x="1561" y="658"/>
                  </a:lnTo>
                  <a:lnTo>
                    <a:pt x="1561" y="658"/>
                  </a:lnTo>
                  <a:lnTo>
                    <a:pt x="1561" y="658"/>
                  </a:lnTo>
                  <a:lnTo>
                    <a:pt x="1561" y="658"/>
                  </a:lnTo>
                  <a:lnTo>
                    <a:pt x="1561" y="658"/>
                  </a:lnTo>
                  <a:lnTo>
                    <a:pt x="1563" y="658"/>
                  </a:lnTo>
                  <a:lnTo>
                    <a:pt x="1563" y="658"/>
                  </a:lnTo>
                  <a:lnTo>
                    <a:pt x="1563" y="658"/>
                  </a:lnTo>
                  <a:lnTo>
                    <a:pt x="1563" y="656"/>
                  </a:lnTo>
                  <a:lnTo>
                    <a:pt x="1563" y="656"/>
                  </a:lnTo>
                  <a:lnTo>
                    <a:pt x="1563" y="654"/>
                  </a:lnTo>
                  <a:lnTo>
                    <a:pt x="1563" y="654"/>
                  </a:lnTo>
                  <a:lnTo>
                    <a:pt x="1563" y="654"/>
                  </a:lnTo>
                  <a:lnTo>
                    <a:pt x="1563" y="654"/>
                  </a:lnTo>
                  <a:lnTo>
                    <a:pt x="1563" y="654"/>
                  </a:lnTo>
                  <a:lnTo>
                    <a:pt x="1563" y="652"/>
                  </a:lnTo>
                  <a:lnTo>
                    <a:pt x="1563" y="652"/>
                  </a:lnTo>
                  <a:lnTo>
                    <a:pt x="1563" y="652"/>
                  </a:lnTo>
                  <a:lnTo>
                    <a:pt x="1563" y="652"/>
                  </a:lnTo>
                  <a:lnTo>
                    <a:pt x="1561" y="652"/>
                  </a:lnTo>
                  <a:lnTo>
                    <a:pt x="1561" y="652"/>
                  </a:lnTo>
                  <a:lnTo>
                    <a:pt x="1561" y="650"/>
                  </a:lnTo>
                  <a:lnTo>
                    <a:pt x="1561" y="650"/>
                  </a:lnTo>
                  <a:lnTo>
                    <a:pt x="1559" y="648"/>
                  </a:lnTo>
                  <a:lnTo>
                    <a:pt x="1561" y="648"/>
                  </a:lnTo>
                  <a:lnTo>
                    <a:pt x="1561" y="648"/>
                  </a:lnTo>
                  <a:lnTo>
                    <a:pt x="1561" y="648"/>
                  </a:lnTo>
                  <a:lnTo>
                    <a:pt x="1561" y="648"/>
                  </a:lnTo>
                  <a:lnTo>
                    <a:pt x="1563" y="650"/>
                  </a:lnTo>
                  <a:lnTo>
                    <a:pt x="1563" y="650"/>
                  </a:lnTo>
                  <a:lnTo>
                    <a:pt x="1563" y="650"/>
                  </a:lnTo>
                  <a:lnTo>
                    <a:pt x="1563" y="650"/>
                  </a:lnTo>
                  <a:lnTo>
                    <a:pt x="1563" y="650"/>
                  </a:lnTo>
                  <a:lnTo>
                    <a:pt x="1563" y="648"/>
                  </a:lnTo>
                  <a:lnTo>
                    <a:pt x="1563" y="648"/>
                  </a:lnTo>
                  <a:lnTo>
                    <a:pt x="1563" y="648"/>
                  </a:lnTo>
                  <a:lnTo>
                    <a:pt x="1563" y="648"/>
                  </a:lnTo>
                  <a:lnTo>
                    <a:pt x="1563" y="648"/>
                  </a:lnTo>
                  <a:lnTo>
                    <a:pt x="1563" y="648"/>
                  </a:lnTo>
                  <a:lnTo>
                    <a:pt x="1565" y="650"/>
                  </a:lnTo>
                  <a:lnTo>
                    <a:pt x="1567" y="650"/>
                  </a:lnTo>
                  <a:lnTo>
                    <a:pt x="1567" y="650"/>
                  </a:lnTo>
                  <a:lnTo>
                    <a:pt x="1567" y="648"/>
                  </a:lnTo>
                  <a:lnTo>
                    <a:pt x="1567" y="648"/>
                  </a:lnTo>
                  <a:lnTo>
                    <a:pt x="1569" y="648"/>
                  </a:lnTo>
                  <a:lnTo>
                    <a:pt x="1569" y="646"/>
                  </a:lnTo>
                  <a:lnTo>
                    <a:pt x="1567" y="646"/>
                  </a:lnTo>
                  <a:lnTo>
                    <a:pt x="1567" y="643"/>
                  </a:lnTo>
                  <a:lnTo>
                    <a:pt x="1567" y="643"/>
                  </a:lnTo>
                  <a:lnTo>
                    <a:pt x="1567" y="643"/>
                  </a:lnTo>
                  <a:lnTo>
                    <a:pt x="1567" y="643"/>
                  </a:lnTo>
                  <a:lnTo>
                    <a:pt x="1567" y="643"/>
                  </a:lnTo>
                  <a:lnTo>
                    <a:pt x="1567" y="641"/>
                  </a:lnTo>
                  <a:lnTo>
                    <a:pt x="1565" y="643"/>
                  </a:lnTo>
                  <a:lnTo>
                    <a:pt x="1565" y="643"/>
                  </a:lnTo>
                  <a:lnTo>
                    <a:pt x="1565" y="643"/>
                  </a:lnTo>
                  <a:lnTo>
                    <a:pt x="1565" y="643"/>
                  </a:lnTo>
                  <a:lnTo>
                    <a:pt x="1565" y="643"/>
                  </a:lnTo>
                  <a:lnTo>
                    <a:pt x="1563" y="643"/>
                  </a:lnTo>
                  <a:lnTo>
                    <a:pt x="1563" y="641"/>
                  </a:lnTo>
                  <a:lnTo>
                    <a:pt x="1563" y="641"/>
                  </a:lnTo>
                  <a:lnTo>
                    <a:pt x="1561" y="643"/>
                  </a:lnTo>
                  <a:lnTo>
                    <a:pt x="1561" y="641"/>
                  </a:lnTo>
                  <a:lnTo>
                    <a:pt x="1561" y="641"/>
                  </a:lnTo>
                  <a:lnTo>
                    <a:pt x="1561" y="641"/>
                  </a:lnTo>
                  <a:lnTo>
                    <a:pt x="1561" y="641"/>
                  </a:lnTo>
                  <a:lnTo>
                    <a:pt x="1561" y="641"/>
                  </a:lnTo>
                  <a:lnTo>
                    <a:pt x="1561" y="641"/>
                  </a:lnTo>
                  <a:lnTo>
                    <a:pt x="1561" y="639"/>
                  </a:lnTo>
                  <a:lnTo>
                    <a:pt x="1561" y="639"/>
                  </a:lnTo>
                  <a:lnTo>
                    <a:pt x="1561" y="641"/>
                  </a:lnTo>
                  <a:lnTo>
                    <a:pt x="1561" y="641"/>
                  </a:lnTo>
                  <a:lnTo>
                    <a:pt x="1563" y="641"/>
                  </a:lnTo>
                  <a:lnTo>
                    <a:pt x="1565" y="641"/>
                  </a:lnTo>
                  <a:lnTo>
                    <a:pt x="1565" y="641"/>
                  </a:lnTo>
                  <a:lnTo>
                    <a:pt x="1565" y="641"/>
                  </a:lnTo>
                  <a:lnTo>
                    <a:pt x="1565" y="639"/>
                  </a:lnTo>
                  <a:lnTo>
                    <a:pt x="1565" y="639"/>
                  </a:lnTo>
                  <a:lnTo>
                    <a:pt x="1565" y="639"/>
                  </a:lnTo>
                  <a:lnTo>
                    <a:pt x="1565" y="639"/>
                  </a:lnTo>
                  <a:lnTo>
                    <a:pt x="1565" y="639"/>
                  </a:lnTo>
                  <a:lnTo>
                    <a:pt x="1565" y="639"/>
                  </a:lnTo>
                  <a:lnTo>
                    <a:pt x="1565" y="639"/>
                  </a:lnTo>
                  <a:lnTo>
                    <a:pt x="1567" y="641"/>
                  </a:lnTo>
                  <a:lnTo>
                    <a:pt x="1567" y="641"/>
                  </a:lnTo>
                  <a:lnTo>
                    <a:pt x="1567" y="641"/>
                  </a:lnTo>
                  <a:lnTo>
                    <a:pt x="1567" y="639"/>
                  </a:lnTo>
                  <a:lnTo>
                    <a:pt x="1565" y="639"/>
                  </a:lnTo>
                  <a:lnTo>
                    <a:pt x="1563" y="637"/>
                  </a:lnTo>
                  <a:lnTo>
                    <a:pt x="1563" y="637"/>
                  </a:lnTo>
                  <a:lnTo>
                    <a:pt x="1563" y="635"/>
                  </a:lnTo>
                  <a:lnTo>
                    <a:pt x="1563" y="633"/>
                  </a:lnTo>
                  <a:lnTo>
                    <a:pt x="1561" y="633"/>
                  </a:lnTo>
                  <a:lnTo>
                    <a:pt x="1561" y="633"/>
                  </a:lnTo>
                  <a:lnTo>
                    <a:pt x="1561" y="633"/>
                  </a:lnTo>
                  <a:lnTo>
                    <a:pt x="1559" y="633"/>
                  </a:lnTo>
                  <a:lnTo>
                    <a:pt x="1559" y="633"/>
                  </a:lnTo>
                  <a:lnTo>
                    <a:pt x="1557" y="633"/>
                  </a:lnTo>
                  <a:lnTo>
                    <a:pt x="1559" y="631"/>
                  </a:lnTo>
                  <a:lnTo>
                    <a:pt x="1559" y="631"/>
                  </a:lnTo>
                  <a:lnTo>
                    <a:pt x="1559" y="631"/>
                  </a:lnTo>
                  <a:lnTo>
                    <a:pt x="1550" y="625"/>
                  </a:lnTo>
                  <a:lnTo>
                    <a:pt x="1550" y="625"/>
                  </a:lnTo>
                  <a:lnTo>
                    <a:pt x="1550" y="627"/>
                  </a:lnTo>
                  <a:lnTo>
                    <a:pt x="1548" y="625"/>
                  </a:lnTo>
                  <a:lnTo>
                    <a:pt x="1548" y="625"/>
                  </a:lnTo>
                  <a:lnTo>
                    <a:pt x="1548" y="623"/>
                  </a:lnTo>
                  <a:lnTo>
                    <a:pt x="1548" y="623"/>
                  </a:lnTo>
                  <a:lnTo>
                    <a:pt x="1548" y="623"/>
                  </a:lnTo>
                  <a:lnTo>
                    <a:pt x="1548" y="621"/>
                  </a:lnTo>
                  <a:lnTo>
                    <a:pt x="1548" y="621"/>
                  </a:lnTo>
                  <a:lnTo>
                    <a:pt x="1546" y="619"/>
                  </a:lnTo>
                  <a:lnTo>
                    <a:pt x="1546" y="619"/>
                  </a:lnTo>
                  <a:lnTo>
                    <a:pt x="1546" y="619"/>
                  </a:lnTo>
                  <a:lnTo>
                    <a:pt x="1548" y="619"/>
                  </a:lnTo>
                  <a:lnTo>
                    <a:pt x="1548" y="619"/>
                  </a:lnTo>
                  <a:lnTo>
                    <a:pt x="1548" y="619"/>
                  </a:lnTo>
                  <a:lnTo>
                    <a:pt x="1548" y="617"/>
                  </a:lnTo>
                  <a:lnTo>
                    <a:pt x="1548" y="617"/>
                  </a:lnTo>
                  <a:lnTo>
                    <a:pt x="1546" y="617"/>
                  </a:lnTo>
                  <a:lnTo>
                    <a:pt x="1546" y="615"/>
                  </a:lnTo>
                  <a:lnTo>
                    <a:pt x="1546" y="615"/>
                  </a:lnTo>
                  <a:lnTo>
                    <a:pt x="1546" y="615"/>
                  </a:lnTo>
                  <a:lnTo>
                    <a:pt x="1546" y="617"/>
                  </a:lnTo>
                  <a:lnTo>
                    <a:pt x="1546" y="615"/>
                  </a:lnTo>
                  <a:lnTo>
                    <a:pt x="1546" y="615"/>
                  </a:lnTo>
                  <a:lnTo>
                    <a:pt x="1546" y="615"/>
                  </a:lnTo>
                  <a:lnTo>
                    <a:pt x="1546" y="613"/>
                  </a:lnTo>
                  <a:lnTo>
                    <a:pt x="1544" y="613"/>
                  </a:lnTo>
                  <a:lnTo>
                    <a:pt x="1544" y="613"/>
                  </a:lnTo>
                  <a:lnTo>
                    <a:pt x="1544" y="613"/>
                  </a:lnTo>
                  <a:lnTo>
                    <a:pt x="1546" y="613"/>
                  </a:lnTo>
                  <a:lnTo>
                    <a:pt x="1546" y="613"/>
                  </a:lnTo>
                  <a:lnTo>
                    <a:pt x="1546" y="613"/>
                  </a:lnTo>
                  <a:lnTo>
                    <a:pt x="1546" y="613"/>
                  </a:lnTo>
                  <a:lnTo>
                    <a:pt x="1546" y="613"/>
                  </a:lnTo>
                  <a:lnTo>
                    <a:pt x="1548" y="615"/>
                  </a:lnTo>
                  <a:lnTo>
                    <a:pt x="1548" y="615"/>
                  </a:lnTo>
                  <a:lnTo>
                    <a:pt x="1550" y="617"/>
                  </a:lnTo>
                  <a:lnTo>
                    <a:pt x="1550" y="617"/>
                  </a:lnTo>
                  <a:lnTo>
                    <a:pt x="1548" y="617"/>
                  </a:lnTo>
                  <a:lnTo>
                    <a:pt x="1548" y="615"/>
                  </a:lnTo>
                  <a:lnTo>
                    <a:pt x="1548" y="615"/>
                  </a:lnTo>
                  <a:lnTo>
                    <a:pt x="1548" y="615"/>
                  </a:lnTo>
                  <a:lnTo>
                    <a:pt x="1550" y="617"/>
                  </a:lnTo>
                  <a:lnTo>
                    <a:pt x="1550" y="617"/>
                  </a:lnTo>
                  <a:lnTo>
                    <a:pt x="1550" y="619"/>
                  </a:lnTo>
                  <a:lnTo>
                    <a:pt x="1552" y="619"/>
                  </a:lnTo>
                  <a:lnTo>
                    <a:pt x="1552" y="623"/>
                  </a:lnTo>
                  <a:lnTo>
                    <a:pt x="1555" y="623"/>
                  </a:lnTo>
                  <a:lnTo>
                    <a:pt x="1555" y="623"/>
                  </a:lnTo>
                  <a:lnTo>
                    <a:pt x="1555" y="625"/>
                  </a:lnTo>
                  <a:lnTo>
                    <a:pt x="1557" y="625"/>
                  </a:lnTo>
                  <a:lnTo>
                    <a:pt x="1557" y="625"/>
                  </a:lnTo>
                  <a:lnTo>
                    <a:pt x="1559" y="627"/>
                  </a:lnTo>
                  <a:lnTo>
                    <a:pt x="1559" y="627"/>
                  </a:lnTo>
                  <a:lnTo>
                    <a:pt x="1559" y="627"/>
                  </a:lnTo>
                  <a:lnTo>
                    <a:pt x="1559" y="627"/>
                  </a:lnTo>
                  <a:lnTo>
                    <a:pt x="1559" y="629"/>
                  </a:lnTo>
                  <a:lnTo>
                    <a:pt x="1559" y="629"/>
                  </a:lnTo>
                  <a:lnTo>
                    <a:pt x="1561" y="629"/>
                  </a:lnTo>
                  <a:lnTo>
                    <a:pt x="1561" y="631"/>
                  </a:lnTo>
                  <a:lnTo>
                    <a:pt x="1563" y="631"/>
                  </a:lnTo>
                  <a:lnTo>
                    <a:pt x="1565" y="633"/>
                  </a:lnTo>
                  <a:lnTo>
                    <a:pt x="1565" y="633"/>
                  </a:lnTo>
                  <a:lnTo>
                    <a:pt x="1565" y="635"/>
                  </a:lnTo>
                  <a:lnTo>
                    <a:pt x="1567" y="635"/>
                  </a:lnTo>
                  <a:lnTo>
                    <a:pt x="1567" y="633"/>
                  </a:lnTo>
                  <a:lnTo>
                    <a:pt x="1565" y="633"/>
                  </a:lnTo>
                  <a:lnTo>
                    <a:pt x="1563" y="631"/>
                  </a:lnTo>
                  <a:lnTo>
                    <a:pt x="1563" y="631"/>
                  </a:lnTo>
                  <a:lnTo>
                    <a:pt x="1563" y="629"/>
                  </a:lnTo>
                  <a:lnTo>
                    <a:pt x="1563" y="629"/>
                  </a:lnTo>
                  <a:lnTo>
                    <a:pt x="1563" y="627"/>
                  </a:lnTo>
                  <a:lnTo>
                    <a:pt x="1561" y="627"/>
                  </a:lnTo>
                  <a:lnTo>
                    <a:pt x="1561" y="627"/>
                  </a:lnTo>
                  <a:lnTo>
                    <a:pt x="1561" y="625"/>
                  </a:lnTo>
                  <a:lnTo>
                    <a:pt x="1561" y="625"/>
                  </a:lnTo>
                  <a:lnTo>
                    <a:pt x="1561" y="625"/>
                  </a:lnTo>
                  <a:lnTo>
                    <a:pt x="1561" y="625"/>
                  </a:lnTo>
                  <a:lnTo>
                    <a:pt x="1559" y="623"/>
                  </a:lnTo>
                  <a:lnTo>
                    <a:pt x="1559" y="623"/>
                  </a:lnTo>
                  <a:lnTo>
                    <a:pt x="1557" y="621"/>
                  </a:lnTo>
                  <a:lnTo>
                    <a:pt x="1555" y="619"/>
                  </a:lnTo>
                  <a:lnTo>
                    <a:pt x="1555" y="617"/>
                  </a:lnTo>
                  <a:lnTo>
                    <a:pt x="1552" y="617"/>
                  </a:lnTo>
                  <a:lnTo>
                    <a:pt x="1552" y="615"/>
                  </a:lnTo>
                  <a:lnTo>
                    <a:pt x="1548" y="613"/>
                  </a:lnTo>
                  <a:lnTo>
                    <a:pt x="1548" y="611"/>
                  </a:lnTo>
                  <a:lnTo>
                    <a:pt x="1548" y="611"/>
                  </a:lnTo>
                  <a:lnTo>
                    <a:pt x="1546" y="611"/>
                  </a:lnTo>
                  <a:lnTo>
                    <a:pt x="1548" y="611"/>
                  </a:lnTo>
                  <a:lnTo>
                    <a:pt x="1548" y="611"/>
                  </a:lnTo>
                  <a:lnTo>
                    <a:pt x="1548" y="611"/>
                  </a:lnTo>
                  <a:lnTo>
                    <a:pt x="1548" y="609"/>
                  </a:lnTo>
                  <a:lnTo>
                    <a:pt x="1548" y="609"/>
                  </a:lnTo>
                  <a:lnTo>
                    <a:pt x="1546" y="609"/>
                  </a:lnTo>
                  <a:lnTo>
                    <a:pt x="1546" y="609"/>
                  </a:lnTo>
                  <a:lnTo>
                    <a:pt x="1544" y="611"/>
                  </a:lnTo>
                  <a:lnTo>
                    <a:pt x="1542" y="611"/>
                  </a:lnTo>
                  <a:lnTo>
                    <a:pt x="1542" y="611"/>
                  </a:lnTo>
                  <a:lnTo>
                    <a:pt x="1540" y="611"/>
                  </a:lnTo>
                  <a:lnTo>
                    <a:pt x="1540" y="611"/>
                  </a:lnTo>
                  <a:lnTo>
                    <a:pt x="1538" y="611"/>
                  </a:lnTo>
                  <a:lnTo>
                    <a:pt x="1536" y="611"/>
                  </a:lnTo>
                  <a:lnTo>
                    <a:pt x="1536" y="611"/>
                  </a:lnTo>
                  <a:lnTo>
                    <a:pt x="1536" y="611"/>
                  </a:lnTo>
                  <a:lnTo>
                    <a:pt x="1534" y="613"/>
                  </a:lnTo>
                  <a:lnTo>
                    <a:pt x="1534" y="613"/>
                  </a:lnTo>
                  <a:lnTo>
                    <a:pt x="1532" y="611"/>
                  </a:lnTo>
                  <a:lnTo>
                    <a:pt x="1532" y="611"/>
                  </a:lnTo>
                  <a:lnTo>
                    <a:pt x="1532" y="609"/>
                  </a:lnTo>
                  <a:lnTo>
                    <a:pt x="1532" y="609"/>
                  </a:lnTo>
                  <a:lnTo>
                    <a:pt x="1532" y="609"/>
                  </a:lnTo>
                  <a:close/>
                  <a:moveTo>
                    <a:pt x="1249" y="566"/>
                  </a:moveTo>
                  <a:lnTo>
                    <a:pt x="1247" y="566"/>
                  </a:lnTo>
                  <a:lnTo>
                    <a:pt x="1247" y="566"/>
                  </a:lnTo>
                  <a:lnTo>
                    <a:pt x="1247" y="566"/>
                  </a:lnTo>
                  <a:lnTo>
                    <a:pt x="1247" y="566"/>
                  </a:lnTo>
                  <a:lnTo>
                    <a:pt x="1247" y="566"/>
                  </a:lnTo>
                  <a:lnTo>
                    <a:pt x="1247" y="566"/>
                  </a:lnTo>
                  <a:lnTo>
                    <a:pt x="1249" y="566"/>
                  </a:lnTo>
                  <a:lnTo>
                    <a:pt x="1249" y="566"/>
                  </a:lnTo>
                  <a:lnTo>
                    <a:pt x="1249" y="566"/>
                  </a:lnTo>
                  <a:lnTo>
                    <a:pt x="1249" y="566"/>
                  </a:lnTo>
                  <a:lnTo>
                    <a:pt x="1249" y="566"/>
                  </a:lnTo>
                  <a:lnTo>
                    <a:pt x="1249" y="566"/>
                  </a:lnTo>
                  <a:close/>
                  <a:moveTo>
                    <a:pt x="1581" y="721"/>
                  </a:moveTo>
                  <a:lnTo>
                    <a:pt x="1581" y="721"/>
                  </a:lnTo>
                  <a:lnTo>
                    <a:pt x="1579" y="721"/>
                  </a:lnTo>
                  <a:lnTo>
                    <a:pt x="1579" y="721"/>
                  </a:lnTo>
                  <a:lnTo>
                    <a:pt x="1579" y="721"/>
                  </a:lnTo>
                  <a:lnTo>
                    <a:pt x="1579" y="721"/>
                  </a:lnTo>
                  <a:lnTo>
                    <a:pt x="1577" y="721"/>
                  </a:lnTo>
                  <a:lnTo>
                    <a:pt x="1577" y="721"/>
                  </a:lnTo>
                  <a:lnTo>
                    <a:pt x="1577" y="723"/>
                  </a:lnTo>
                  <a:lnTo>
                    <a:pt x="1579" y="723"/>
                  </a:lnTo>
                  <a:lnTo>
                    <a:pt x="1579" y="723"/>
                  </a:lnTo>
                  <a:lnTo>
                    <a:pt x="1579" y="725"/>
                  </a:lnTo>
                  <a:lnTo>
                    <a:pt x="1579" y="725"/>
                  </a:lnTo>
                  <a:lnTo>
                    <a:pt x="1579" y="725"/>
                  </a:lnTo>
                  <a:lnTo>
                    <a:pt x="1581" y="725"/>
                  </a:lnTo>
                  <a:lnTo>
                    <a:pt x="1581" y="725"/>
                  </a:lnTo>
                  <a:lnTo>
                    <a:pt x="1581" y="723"/>
                  </a:lnTo>
                  <a:lnTo>
                    <a:pt x="1581" y="723"/>
                  </a:lnTo>
                  <a:lnTo>
                    <a:pt x="1583" y="721"/>
                  </a:lnTo>
                  <a:lnTo>
                    <a:pt x="1583" y="721"/>
                  </a:lnTo>
                  <a:lnTo>
                    <a:pt x="1583" y="719"/>
                  </a:lnTo>
                  <a:lnTo>
                    <a:pt x="1583" y="719"/>
                  </a:lnTo>
                  <a:lnTo>
                    <a:pt x="1581" y="721"/>
                  </a:lnTo>
                  <a:close/>
                  <a:moveTo>
                    <a:pt x="1591" y="689"/>
                  </a:moveTo>
                  <a:lnTo>
                    <a:pt x="1593" y="687"/>
                  </a:lnTo>
                  <a:lnTo>
                    <a:pt x="1593" y="687"/>
                  </a:lnTo>
                  <a:lnTo>
                    <a:pt x="1593" y="687"/>
                  </a:lnTo>
                  <a:lnTo>
                    <a:pt x="1593" y="687"/>
                  </a:lnTo>
                  <a:lnTo>
                    <a:pt x="1593" y="684"/>
                  </a:lnTo>
                  <a:lnTo>
                    <a:pt x="1593" y="684"/>
                  </a:lnTo>
                  <a:lnTo>
                    <a:pt x="1593" y="684"/>
                  </a:lnTo>
                  <a:lnTo>
                    <a:pt x="1593" y="684"/>
                  </a:lnTo>
                  <a:lnTo>
                    <a:pt x="1593" y="684"/>
                  </a:lnTo>
                  <a:lnTo>
                    <a:pt x="1595" y="684"/>
                  </a:lnTo>
                  <a:lnTo>
                    <a:pt x="1595" y="684"/>
                  </a:lnTo>
                  <a:lnTo>
                    <a:pt x="1595" y="684"/>
                  </a:lnTo>
                  <a:lnTo>
                    <a:pt x="1595" y="684"/>
                  </a:lnTo>
                  <a:lnTo>
                    <a:pt x="1598" y="684"/>
                  </a:lnTo>
                  <a:lnTo>
                    <a:pt x="1598" y="684"/>
                  </a:lnTo>
                  <a:lnTo>
                    <a:pt x="1600" y="684"/>
                  </a:lnTo>
                  <a:lnTo>
                    <a:pt x="1600" y="684"/>
                  </a:lnTo>
                  <a:lnTo>
                    <a:pt x="1600" y="684"/>
                  </a:lnTo>
                  <a:lnTo>
                    <a:pt x="1600" y="684"/>
                  </a:lnTo>
                  <a:lnTo>
                    <a:pt x="1600" y="684"/>
                  </a:lnTo>
                  <a:lnTo>
                    <a:pt x="1602" y="684"/>
                  </a:lnTo>
                  <a:lnTo>
                    <a:pt x="1602" y="684"/>
                  </a:lnTo>
                  <a:lnTo>
                    <a:pt x="1602" y="684"/>
                  </a:lnTo>
                  <a:lnTo>
                    <a:pt x="1602" y="684"/>
                  </a:lnTo>
                  <a:lnTo>
                    <a:pt x="1602" y="682"/>
                  </a:lnTo>
                  <a:lnTo>
                    <a:pt x="1602" y="682"/>
                  </a:lnTo>
                  <a:lnTo>
                    <a:pt x="1602" y="680"/>
                  </a:lnTo>
                  <a:lnTo>
                    <a:pt x="1602" y="680"/>
                  </a:lnTo>
                  <a:lnTo>
                    <a:pt x="1602" y="680"/>
                  </a:lnTo>
                  <a:lnTo>
                    <a:pt x="1602" y="678"/>
                  </a:lnTo>
                  <a:lnTo>
                    <a:pt x="1602" y="678"/>
                  </a:lnTo>
                  <a:lnTo>
                    <a:pt x="1600" y="678"/>
                  </a:lnTo>
                  <a:lnTo>
                    <a:pt x="1600" y="678"/>
                  </a:lnTo>
                  <a:lnTo>
                    <a:pt x="1600" y="676"/>
                  </a:lnTo>
                  <a:lnTo>
                    <a:pt x="1600" y="676"/>
                  </a:lnTo>
                  <a:lnTo>
                    <a:pt x="1600" y="676"/>
                  </a:lnTo>
                  <a:lnTo>
                    <a:pt x="1600" y="676"/>
                  </a:lnTo>
                  <a:lnTo>
                    <a:pt x="1600" y="676"/>
                  </a:lnTo>
                  <a:lnTo>
                    <a:pt x="1602" y="676"/>
                  </a:lnTo>
                  <a:lnTo>
                    <a:pt x="1600" y="676"/>
                  </a:lnTo>
                  <a:lnTo>
                    <a:pt x="1600" y="676"/>
                  </a:lnTo>
                  <a:lnTo>
                    <a:pt x="1598" y="676"/>
                  </a:lnTo>
                  <a:lnTo>
                    <a:pt x="1598" y="676"/>
                  </a:lnTo>
                  <a:lnTo>
                    <a:pt x="1598" y="676"/>
                  </a:lnTo>
                  <a:lnTo>
                    <a:pt x="1598" y="676"/>
                  </a:lnTo>
                  <a:lnTo>
                    <a:pt x="1598" y="676"/>
                  </a:lnTo>
                  <a:lnTo>
                    <a:pt x="1595" y="676"/>
                  </a:lnTo>
                  <a:lnTo>
                    <a:pt x="1595" y="676"/>
                  </a:lnTo>
                  <a:lnTo>
                    <a:pt x="1595" y="676"/>
                  </a:lnTo>
                  <a:lnTo>
                    <a:pt x="1595" y="676"/>
                  </a:lnTo>
                  <a:lnTo>
                    <a:pt x="1595" y="674"/>
                  </a:lnTo>
                  <a:lnTo>
                    <a:pt x="1595" y="674"/>
                  </a:lnTo>
                  <a:lnTo>
                    <a:pt x="1595" y="672"/>
                  </a:lnTo>
                  <a:lnTo>
                    <a:pt x="1595" y="672"/>
                  </a:lnTo>
                  <a:lnTo>
                    <a:pt x="1595" y="672"/>
                  </a:lnTo>
                  <a:lnTo>
                    <a:pt x="1593" y="672"/>
                  </a:lnTo>
                  <a:lnTo>
                    <a:pt x="1593" y="672"/>
                  </a:lnTo>
                  <a:lnTo>
                    <a:pt x="1593" y="672"/>
                  </a:lnTo>
                  <a:lnTo>
                    <a:pt x="1593" y="672"/>
                  </a:lnTo>
                  <a:lnTo>
                    <a:pt x="1591" y="672"/>
                  </a:lnTo>
                  <a:lnTo>
                    <a:pt x="1591" y="670"/>
                  </a:lnTo>
                  <a:lnTo>
                    <a:pt x="1591" y="670"/>
                  </a:lnTo>
                  <a:lnTo>
                    <a:pt x="1591" y="670"/>
                  </a:lnTo>
                  <a:lnTo>
                    <a:pt x="1591" y="670"/>
                  </a:lnTo>
                  <a:lnTo>
                    <a:pt x="1589" y="668"/>
                  </a:lnTo>
                  <a:lnTo>
                    <a:pt x="1589" y="668"/>
                  </a:lnTo>
                  <a:lnTo>
                    <a:pt x="1591" y="668"/>
                  </a:lnTo>
                  <a:lnTo>
                    <a:pt x="1593" y="668"/>
                  </a:lnTo>
                  <a:lnTo>
                    <a:pt x="1593" y="668"/>
                  </a:lnTo>
                  <a:lnTo>
                    <a:pt x="1593" y="668"/>
                  </a:lnTo>
                  <a:lnTo>
                    <a:pt x="1593" y="668"/>
                  </a:lnTo>
                  <a:lnTo>
                    <a:pt x="1593" y="668"/>
                  </a:lnTo>
                  <a:lnTo>
                    <a:pt x="1595" y="670"/>
                  </a:lnTo>
                  <a:lnTo>
                    <a:pt x="1595" y="670"/>
                  </a:lnTo>
                  <a:lnTo>
                    <a:pt x="1595" y="672"/>
                  </a:lnTo>
                  <a:lnTo>
                    <a:pt x="1600" y="674"/>
                  </a:lnTo>
                  <a:lnTo>
                    <a:pt x="1600" y="674"/>
                  </a:lnTo>
                  <a:lnTo>
                    <a:pt x="1602" y="674"/>
                  </a:lnTo>
                  <a:lnTo>
                    <a:pt x="1602" y="674"/>
                  </a:lnTo>
                  <a:lnTo>
                    <a:pt x="1602" y="676"/>
                  </a:lnTo>
                  <a:lnTo>
                    <a:pt x="1604" y="676"/>
                  </a:lnTo>
                  <a:lnTo>
                    <a:pt x="1604" y="676"/>
                  </a:lnTo>
                  <a:lnTo>
                    <a:pt x="1604" y="676"/>
                  </a:lnTo>
                  <a:lnTo>
                    <a:pt x="1604" y="674"/>
                  </a:lnTo>
                  <a:lnTo>
                    <a:pt x="1604" y="674"/>
                  </a:lnTo>
                  <a:lnTo>
                    <a:pt x="1604" y="674"/>
                  </a:lnTo>
                  <a:lnTo>
                    <a:pt x="1604" y="672"/>
                  </a:lnTo>
                  <a:lnTo>
                    <a:pt x="1604" y="672"/>
                  </a:lnTo>
                  <a:lnTo>
                    <a:pt x="1604" y="672"/>
                  </a:lnTo>
                  <a:lnTo>
                    <a:pt x="1604" y="672"/>
                  </a:lnTo>
                  <a:lnTo>
                    <a:pt x="1604" y="670"/>
                  </a:lnTo>
                  <a:lnTo>
                    <a:pt x="1604" y="670"/>
                  </a:lnTo>
                  <a:lnTo>
                    <a:pt x="1604" y="670"/>
                  </a:lnTo>
                  <a:lnTo>
                    <a:pt x="1602" y="668"/>
                  </a:lnTo>
                  <a:lnTo>
                    <a:pt x="1602" y="668"/>
                  </a:lnTo>
                  <a:lnTo>
                    <a:pt x="1602" y="666"/>
                  </a:lnTo>
                  <a:lnTo>
                    <a:pt x="1600" y="666"/>
                  </a:lnTo>
                  <a:lnTo>
                    <a:pt x="1600" y="666"/>
                  </a:lnTo>
                  <a:lnTo>
                    <a:pt x="1602" y="664"/>
                  </a:lnTo>
                  <a:lnTo>
                    <a:pt x="1602" y="664"/>
                  </a:lnTo>
                  <a:lnTo>
                    <a:pt x="1602" y="664"/>
                  </a:lnTo>
                  <a:lnTo>
                    <a:pt x="1602" y="662"/>
                  </a:lnTo>
                  <a:lnTo>
                    <a:pt x="1600" y="660"/>
                  </a:lnTo>
                  <a:lnTo>
                    <a:pt x="1600" y="660"/>
                  </a:lnTo>
                  <a:lnTo>
                    <a:pt x="1598" y="660"/>
                  </a:lnTo>
                  <a:lnTo>
                    <a:pt x="1598" y="660"/>
                  </a:lnTo>
                  <a:lnTo>
                    <a:pt x="1598" y="660"/>
                  </a:lnTo>
                  <a:lnTo>
                    <a:pt x="1595" y="658"/>
                  </a:lnTo>
                  <a:lnTo>
                    <a:pt x="1595" y="658"/>
                  </a:lnTo>
                  <a:lnTo>
                    <a:pt x="1593" y="658"/>
                  </a:lnTo>
                  <a:lnTo>
                    <a:pt x="1591" y="658"/>
                  </a:lnTo>
                  <a:lnTo>
                    <a:pt x="1589" y="658"/>
                  </a:lnTo>
                  <a:lnTo>
                    <a:pt x="1589" y="660"/>
                  </a:lnTo>
                  <a:lnTo>
                    <a:pt x="1589" y="660"/>
                  </a:lnTo>
                  <a:lnTo>
                    <a:pt x="1591" y="662"/>
                  </a:lnTo>
                  <a:lnTo>
                    <a:pt x="1591" y="662"/>
                  </a:lnTo>
                  <a:lnTo>
                    <a:pt x="1591" y="662"/>
                  </a:lnTo>
                  <a:lnTo>
                    <a:pt x="1589" y="662"/>
                  </a:lnTo>
                  <a:lnTo>
                    <a:pt x="1589" y="660"/>
                  </a:lnTo>
                  <a:lnTo>
                    <a:pt x="1589" y="660"/>
                  </a:lnTo>
                  <a:lnTo>
                    <a:pt x="1587" y="660"/>
                  </a:lnTo>
                  <a:lnTo>
                    <a:pt x="1587" y="660"/>
                  </a:lnTo>
                  <a:lnTo>
                    <a:pt x="1585" y="660"/>
                  </a:lnTo>
                  <a:lnTo>
                    <a:pt x="1583" y="660"/>
                  </a:lnTo>
                  <a:lnTo>
                    <a:pt x="1583" y="660"/>
                  </a:lnTo>
                  <a:lnTo>
                    <a:pt x="1581" y="660"/>
                  </a:lnTo>
                  <a:lnTo>
                    <a:pt x="1581" y="660"/>
                  </a:lnTo>
                  <a:lnTo>
                    <a:pt x="1577" y="660"/>
                  </a:lnTo>
                  <a:lnTo>
                    <a:pt x="1575" y="660"/>
                  </a:lnTo>
                  <a:lnTo>
                    <a:pt x="1571" y="660"/>
                  </a:lnTo>
                  <a:lnTo>
                    <a:pt x="1571" y="660"/>
                  </a:lnTo>
                  <a:lnTo>
                    <a:pt x="1571" y="660"/>
                  </a:lnTo>
                  <a:lnTo>
                    <a:pt x="1571" y="660"/>
                  </a:lnTo>
                  <a:lnTo>
                    <a:pt x="1571" y="660"/>
                  </a:lnTo>
                  <a:lnTo>
                    <a:pt x="1571" y="662"/>
                  </a:lnTo>
                  <a:lnTo>
                    <a:pt x="1571" y="662"/>
                  </a:lnTo>
                  <a:lnTo>
                    <a:pt x="1569" y="662"/>
                  </a:lnTo>
                  <a:lnTo>
                    <a:pt x="1569" y="662"/>
                  </a:lnTo>
                  <a:lnTo>
                    <a:pt x="1569" y="662"/>
                  </a:lnTo>
                  <a:lnTo>
                    <a:pt x="1569" y="664"/>
                  </a:lnTo>
                  <a:lnTo>
                    <a:pt x="1569" y="664"/>
                  </a:lnTo>
                  <a:lnTo>
                    <a:pt x="1569" y="664"/>
                  </a:lnTo>
                  <a:lnTo>
                    <a:pt x="1569" y="664"/>
                  </a:lnTo>
                  <a:lnTo>
                    <a:pt x="1573" y="666"/>
                  </a:lnTo>
                  <a:lnTo>
                    <a:pt x="1575" y="668"/>
                  </a:lnTo>
                  <a:lnTo>
                    <a:pt x="1579" y="668"/>
                  </a:lnTo>
                  <a:lnTo>
                    <a:pt x="1579" y="668"/>
                  </a:lnTo>
                  <a:lnTo>
                    <a:pt x="1579" y="668"/>
                  </a:lnTo>
                  <a:lnTo>
                    <a:pt x="1577" y="670"/>
                  </a:lnTo>
                  <a:lnTo>
                    <a:pt x="1575" y="668"/>
                  </a:lnTo>
                  <a:lnTo>
                    <a:pt x="1575" y="668"/>
                  </a:lnTo>
                  <a:lnTo>
                    <a:pt x="1575" y="668"/>
                  </a:lnTo>
                  <a:lnTo>
                    <a:pt x="1575" y="670"/>
                  </a:lnTo>
                  <a:lnTo>
                    <a:pt x="1575" y="670"/>
                  </a:lnTo>
                  <a:lnTo>
                    <a:pt x="1575" y="670"/>
                  </a:lnTo>
                  <a:lnTo>
                    <a:pt x="1577" y="670"/>
                  </a:lnTo>
                  <a:lnTo>
                    <a:pt x="1577" y="670"/>
                  </a:lnTo>
                  <a:lnTo>
                    <a:pt x="1577" y="670"/>
                  </a:lnTo>
                  <a:lnTo>
                    <a:pt x="1577" y="670"/>
                  </a:lnTo>
                  <a:lnTo>
                    <a:pt x="1577" y="670"/>
                  </a:lnTo>
                  <a:lnTo>
                    <a:pt x="1577" y="670"/>
                  </a:lnTo>
                  <a:lnTo>
                    <a:pt x="1577" y="670"/>
                  </a:lnTo>
                  <a:lnTo>
                    <a:pt x="1577" y="670"/>
                  </a:lnTo>
                  <a:lnTo>
                    <a:pt x="1577" y="672"/>
                  </a:lnTo>
                  <a:lnTo>
                    <a:pt x="1579" y="672"/>
                  </a:lnTo>
                  <a:lnTo>
                    <a:pt x="1579" y="672"/>
                  </a:lnTo>
                  <a:lnTo>
                    <a:pt x="1579" y="672"/>
                  </a:lnTo>
                  <a:lnTo>
                    <a:pt x="1579" y="672"/>
                  </a:lnTo>
                  <a:lnTo>
                    <a:pt x="1579" y="672"/>
                  </a:lnTo>
                  <a:lnTo>
                    <a:pt x="1579" y="672"/>
                  </a:lnTo>
                  <a:lnTo>
                    <a:pt x="1579" y="672"/>
                  </a:lnTo>
                  <a:lnTo>
                    <a:pt x="1579" y="672"/>
                  </a:lnTo>
                  <a:lnTo>
                    <a:pt x="1581" y="672"/>
                  </a:lnTo>
                  <a:lnTo>
                    <a:pt x="1581" y="672"/>
                  </a:lnTo>
                  <a:lnTo>
                    <a:pt x="1581" y="672"/>
                  </a:lnTo>
                  <a:lnTo>
                    <a:pt x="1581" y="670"/>
                  </a:lnTo>
                  <a:lnTo>
                    <a:pt x="1581" y="670"/>
                  </a:lnTo>
                  <a:lnTo>
                    <a:pt x="1581" y="670"/>
                  </a:lnTo>
                  <a:lnTo>
                    <a:pt x="1581" y="670"/>
                  </a:lnTo>
                  <a:lnTo>
                    <a:pt x="1581" y="670"/>
                  </a:lnTo>
                  <a:lnTo>
                    <a:pt x="1581" y="670"/>
                  </a:lnTo>
                  <a:lnTo>
                    <a:pt x="1581" y="670"/>
                  </a:lnTo>
                  <a:lnTo>
                    <a:pt x="1581" y="672"/>
                  </a:lnTo>
                  <a:lnTo>
                    <a:pt x="1583" y="672"/>
                  </a:lnTo>
                  <a:lnTo>
                    <a:pt x="1581" y="672"/>
                  </a:lnTo>
                  <a:lnTo>
                    <a:pt x="1581" y="672"/>
                  </a:lnTo>
                  <a:lnTo>
                    <a:pt x="1581" y="672"/>
                  </a:lnTo>
                  <a:lnTo>
                    <a:pt x="1581" y="672"/>
                  </a:lnTo>
                  <a:lnTo>
                    <a:pt x="1581" y="674"/>
                  </a:lnTo>
                  <a:lnTo>
                    <a:pt x="1583" y="674"/>
                  </a:lnTo>
                  <a:lnTo>
                    <a:pt x="1583" y="674"/>
                  </a:lnTo>
                  <a:lnTo>
                    <a:pt x="1581" y="674"/>
                  </a:lnTo>
                  <a:lnTo>
                    <a:pt x="1583" y="676"/>
                  </a:lnTo>
                  <a:lnTo>
                    <a:pt x="1583" y="676"/>
                  </a:lnTo>
                  <a:lnTo>
                    <a:pt x="1583" y="678"/>
                  </a:lnTo>
                  <a:lnTo>
                    <a:pt x="1583" y="678"/>
                  </a:lnTo>
                  <a:lnTo>
                    <a:pt x="1583" y="678"/>
                  </a:lnTo>
                  <a:lnTo>
                    <a:pt x="1583" y="680"/>
                  </a:lnTo>
                  <a:lnTo>
                    <a:pt x="1585" y="680"/>
                  </a:lnTo>
                  <a:lnTo>
                    <a:pt x="1585" y="680"/>
                  </a:lnTo>
                  <a:lnTo>
                    <a:pt x="1585" y="680"/>
                  </a:lnTo>
                  <a:lnTo>
                    <a:pt x="1585" y="680"/>
                  </a:lnTo>
                  <a:lnTo>
                    <a:pt x="1585" y="682"/>
                  </a:lnTo>
                  <a:lnTo>
                    <a:pt x="1585" y="682"/>
                  </a:lnTo>
                  <a:lnTo>
                    <a:pt x="1585" y="682"/>
                  </a:lnTo>
                  <a:lnTo>
                    <a:pt x="1585" y="682"/>
                  </a:lnTo>
                  <a:lnTo>
                    <a:pt x="1585" y="684"/>
                  </a:lnTo>
                  <a:lnTo>
                    <a:pt x="1585" y="684"/>
                  </a:lnTo>
                  <a:lnTo>
                    <a:pt x="1587" y="689"/>
                  </a:lnTo>
                  <a:lnTo>
                    <a:pt x="1589" y="689"/>
                  </a:lnTo>
                  <a:lnTo>
                    <a:pt x="1591" y="689"/>
                  </a:lnTo>
                  <a:close/>
                  <a:moveTo>
                    <a:pt x="1585" y="707"/>
                  </a:moveTo>
                  <a:lnTo>
                    <a:pt x="1585" y="707"/>
                  </a:lnTo>
                  <a:lnTo>
                    <a:pt x="1585" y="707"/>
                  </a:lnTo>
                  <a:lnTo>
                    <a:pt x="1585" y="707"/>
                  </a:lnTo>
                  <a:lnTo>
                    <a:pt x="1585" y="705"/>
                  </a:lnTo>
                  <a:lnTo>
                    <a:pt x="1585" y="705"/>
                  </a:lnTo>
                  <a:lnTo>
                    <a:pt x="1583" y="705"/>
                  </a:lnTo>
                  <a:lnTo>
                    <a:pt x="1583" y="703"/>
                  </a:lnTo>
                  <a:lnTo>
                    <a:pt x="1585" y="703"/>
                  </a:lnTo>
                  <a:lnTo>
                    <a:pt x="1585" y="703"/>
                  </a:lnTo>
                  <a:lnTo>
                    <a:pt x="1583" y="701"/>
                  </a:lnTo>
                  <a:lnTo>
                    <a:pt x="1583" y="701"/>
                  </a:lnTo>
                  <a:lnTo>
                    <a:pt x="1583" y="701"/>
                  </a:lnTo>
                  <a:lnTo>
                    <a:pt x="1581" y="701"/>
                  </a:lnTo>
                  <a:lnTo>
                    <a:pt x="1581" y="701"/>
                  </a:lnTo>
                  <a:lnTo>
                    <a:pt x="1581" y="699"/>
                  </a:lnTo>
                  <a:lnTo>
                    <a:pt x="1581" y="699"/>
                  </a:lnTo>
                  <a:lnTo>
                    <a:pt x="1581" y="697"/>
                  </a:lnTo>
                  <a:lnTo>
                    <a:pt x="1581" y="697"/>
                  </a:lnTo>
                  <a:lnTo>
                    <a:pt x="1581" y="697"/>
                  </a:lnTo>
                  <a:lnTo>
                    <a:pt x="1581" y="697"/>
                  </a:lnTo>
                  <a:lnTo>
                    <a:pt x="1581" y="697"/>
                  </a:lnTo>
                  <a:lnTo>
                    <a:pt x="1583" y="699"/>
                  </a:lnTo>
                  <a:lnTo>
                    <a:pt x="1585" y="699"/>
                  </a:lnTo>
                  <a:lnTo>
                    <a:pt x="1585" y="699"/>
                  </a:lnTo>
                  <a:lnTo>
                    <a:pt x="1585" y="699"/>
                  </a:lnTo>
                  <a:lnTo>
                    <a:pt x="1585" y="697"/>
                  </a:lnTo>
                  <a:lnTo>
                    <a:pt x="1585" y="697"/>
                  </a:lnTo>
                  <a:lnTo>
                    <a:pt x="1583" y="695"/>
                  </a:lnTo>
                  <a:lnTo>
                    <a:pt x="1581" y="695"/>
                  </a:lnTo>
                  <a:lnTo>
                    <a:pt x="1581" y="695"/>
                  </a:lnTo>
                  <a:lnTo>
                    <a:pt x="1581" y="695"/>
                  </a:lnTo>
                  <a:lnTo>
                    <a:pt x="1583" y="695"/>
                  </a:lnTo>
                  <a:lnTo>
                    <a:pt x="1583" y="695"/>
                  </a:lnTo>
                  <a:lnTo>
                    <a:pt x="1583" y="693"/>
                  </a:lnTo>
                  <a:lnTo>
                    <a:pt x="1581" y="693"/>
                  </a:lnTo>
                  <a:lnTo>
                    <a:pt x="1581" y="693"/>
                  </a:lnTo>
                  <a:lnTo>
                    <a:pt x="1581" y="693"/>
                  </a:lnTo>
                  <a:lnTo>
                    <a:pt x="1581" y="693"/>
                  </a:lnTo>
                  <a:lnTo>
                    <a:pt x="1583" y="693"/>
                  </a:lnTo>
                  <a:lnTo>
                    <a:pt x="1583" y="691"/>
                  </a:lnTo>
                  <a:lnTo>
                    <a:pt x="1583" y="691"/>
                  </a:lnTo>
                  <a:lnTo>
                    <a:pt x="1583" y="691"/>
                  </a:lnTo>
                  <a:lnTo>
                    <a:pt x="1581" y="691"/>
                  </a:lnTo>
                  <a:lnTo>
                    <a:pt x="1581" y="691"/>
                  </a:lnTo>
                  <a:lnTo>
                    <a:pt x="1581" y="689"/>
                  </a:lnTo>
                  <a:lnTo>
                    <a:pt x="1581" y="689"/>
                  </a:lnTo>
                  <a:lnTo>
                    <a:pt x="1581" y="689"/>
                  </a:lnTo>
                  <a:lnTo>
                    <a:pt x="1581" y="689"/>
                  </a:lnTo>
                  <a:lnTo>
                    <a:pt x="1579" y="689"/>
                  </a:lnTo>
                  <a:lnTo>
                    <a:pt x="1579" y="689"/>
                  </a:lnTo>
                  <a:lnTo>
                    <a:pt x="1579" y="689"/>
                  </a:lnTo>
                  <a:lnTo>
                    <a:pt x="1581" y="689"/>
                  </a:lnTo>
                  <a:lnTo>
                    <a:pt x="1581" y="687"/>
                  </a:lnTo>
                  <a:lnTo>
                    <a:pt x="1581" y="687"/>
                  </a:lnTo>
                  <a:lnTo>
                    <a:pt x="1581" y="684"/>
                  </a:lnTo>
                  <a:lnTo>
                    <a:pt x="1581" y="684"/>
                  </a:lnTo>
                  <a:lnTo>
                    <a:pt x="1581" y="684"/>
                  </a:lnTo>
                  <a:lnTo>
                    <a:pt x="1579" y="684"/>
                  </a:lnTo>
                  <a:lnTo>
                    <a:pt x="1577" y="682"/>
                  </a:lnTo>
                  <a:lnTo>
                    <a:pt x="1579" y="682"/>
                  </a:lnTo>
                  <a:lnTo>
                    <a:pt x="1581" y="682"/>
                  </a:lnTo>
                  <a:lnTo>
                    <a:pt x="1581" y="682"/>
                  </a:lnTo>
                  <a:lnTo>
                    <a:pt x="1581" y="684"/>
                  </a:lnTo>
                  <a:lnTo>
                    <a:pt x="1583" y="684"/>
                  </a:lnTo>
                  <a:lnTo>
                    <a:pt x="1583" y="684"/>
                  </a:lnTo>
                  <a:lnTo>
                    <a:pt x="1583" y="684"/>
                  </a:lnTo>
                  <a:lnTo>
                    <a:pt x="1583" y="684"/>
                  </a:lnTo>
                  <a:lnTo>
                    <a:pt x="1583" y="684"/>
                  </a:lnTo>
                  <a:lnTo>
                    <a:pt x="1583" y="682"/>
                  </a:lnTo>
                  <a:lnTo>
                    <a:pt x="1583" y="682"/>
                  </a:lnTo>
                  <a:lnTo>
                    <a:pt x="1583" y="680"/>
                  </a:lnTo>
                  <a:lnTo>
                    <a:pt x="1583" y="680"/>
                  </a:lnTo>
                  <a:lnTo>
                    <a:pt x="1583" y="680"/>
                  </a:lnTo>
                  <a:lnTo>
                    <a:pt x="1583" y="680"/>
                  </a:lnTo>
                  <a:lnTo>
                    <a:pt x="1581" y="678"/>
                  </a:lnTo>
                  <a:lnTo>
                    <a:pt x="1581" y="678"/>
                  </a:lnTo>
                  <a:lnTo>
                    <a:pt x="1581" y="678"/>
                  </a:lnTo>
                  <a:lnTo>
                    <a:pt x="1581" y="678"/>
                  </a:lnTo>
                  <a:lnTo>
                    <a:pt x="1581" y="674"/>
                  </a:lnTo>
                  <a:lnTo>
                    <a:pt x="1581" y="674"/>
                  </a:lnTo>
                  <a:lnTo>
                    <a:pt x="1579" y="674"/>
                  </a:lnTo>
                  <a:lnTo>
                    <a:pt x="1579" y="674"/>
                  </a:lnTo>
                  <a:lnTo>
                    <a:pt x="1579" y="674"/>
                  </a:lnTo>
                  <a:lnTo>
                    <a:pt x="1579" y="674"/>
                  </a:lnTo>
                  <a:lnTo>
                    <a:pt x="1577" y="674"/>
                  </a:lnTo>
                  <a:lnTo>
                    <a:pt x="1577" y="674"/>
                  </a:lnTo>
                  <a:lnTo>
                    <a:pt x="1577" y="674"/>
                  </a:lnTo>
                  <a:lnTo>
                    <a:pt x="1577" y="674"/>
                  </a:lnTo>
                  <a:lnTo>
                    <a:pt x="1577" y="676"/>
                  </a:lnTo>
                  <a:lnTo>
                    <a:pt x="1577" y="676"/>
                  </a:lnTo>
                  <a:lnTo>
                    <a:pt x="1577" y="676"/>
                  </a:lnTo>
                  <a:lnTo>
                    <a:pt x="1577" y="678"/>
                  </a:lnTo>
                  <a:lnTo>
                    <a:pt x="1577" y="678"/>
                  </a:lnTo>
                  <a:lnTo>
                    <a:pt x="1577" y="678"/>
                  </a:lnTo>
                  <a:lnTo>
                    <a:pt x="1577" y="678"/>
                  </a:lnTo>
                  <a:lnTo>
                    <a:pt x="1577" y="678"/>
                  </a:lnTo>
                  <a:lnTo>
                    <a:pt x="1577" y="678"/>
                  </a:lnTo>
                  <a:lnTo>
                    <a:pt x="1577" y="680"/>
                  </a:lnTo>
                  <a:lnTo>
                    <a:pt x="1577" y="680"/>
                  </a:lnTo>
                  <a:lnTo>
                    <a:pt x="1577" y="680"/>
                  </a:lnTo>
                  <a:lnTo>
                    <a:pt x="1577" y="680"/>
                  </a:lnTo>
                  <a:lnTo>
                    <a:pt x="1577" y="682"/>
                  </a:lnTo>
                  <a:lnTo>
                    <a:pt x="1575" y="682"/>
                  </a:lnTo>
                  <a:lnTo>
                    <a:pt x="1575" y="682"/>
                  </a:lnTo>
                  <a:lnTo>
                    <a:pt x="1575" y="682"/>
                  </a:lnTo>
                  <a:lnTo>
                    <a:pt x="1575" y="682"/>
                  </a:lnTo>
                  <a:lnTo>
                    <a:pt x="1577" y="680"/>
                  </a:lnTo>
                  <a:lnTo>
                    <a:pt x="1577" y="680"/>
                  </a:lnTo>
                  <a:lnTo>
                    <a:pt x="1577" y="678"/>
                  </a:lnTo>
                  <a:lnTo>
                    <a:pt x="1577" y="678"/>
                  </a:lnTo>
                  <a:lnTo>
                    <a:pt x="1577" y="678"/>
                  </a:lnTo>
                  <a:lnTo>
                    <a:pt x="1577" y="678"/>
                  </a:lnTo>
                  <a:lnTo>
                    <a:pt x="1577" y="678"/>
                  </a:lnTo>
                  <a:lnTo>
                    <a:pt x="1577" y="678"/>
                  </a:lnTo>
                  <a:lnTo>
                    <a:pt x="1577" y="676"/>
                  </a:lnTo>
                  <a:lnTo>
                    <a:pt x="1577" y="676"/>
                  </a:lnTo>
                  <a:lnTo>
                    <a:pt x="1577" y="676"/>
                  </a:lnTo>
                  <a:lnTo>
                    <a:pt x="1577" y="676"/>
                  </a:lnTo>
                  <a:lnTo>
                    <a:pt x="1575" y="676"/>
                  </a:lnTo>
                  <a:lnTo>
                    <a:pt x="1575" y="676"/>
                  </a:lnTo>
                  <a:lnTo>
                    <a:pt x="1575" y="674"/>
                  </a:lnTo>
                  <a:lnTo>
                    <a:pt x="1575" y="674"/>
                  </a:lnTo>
                  <a:lnTo>
                    <a:pt x="1575" y="674"/>
                  </a:lnTo>
                  <a:lnTo>
                    <a:pt x="1575" y="674"/>
                  </a:lnTo>
                  <a:lnTo>
                    <a:pt x="1575" y="674"/>
                  </a:lnTo>
                  <a:lnTo>
                    <a:pt x="1573" y="672"/>
                  </a:lnTo>
                  <a:lnTo>
                    <a:pt x="1573" y="672"/>
                  </a:lnTo>
                  <a:lnTo>
                    <a:pt x="1573" y="674"/>
                  </a:lnTo>
                  <a:lnTo>
                    <a:pt x="1573" y="672"/>
                  </a:lnTo>
                  <a:lnTo>
                    <a:pt x="1571" y="670"/>
                  </a:lnTo>
                  <a:lnTo>
                    <a:pt x="1571" y="670"/>
                  </a:lnTo>
                  <a:lnTo>
                    <a:pt x="1569" y="670"/>
                  </a:lnTo>
                  <a:lnTo>
                    <a:pt x="1569" y="670"/>
                  </a:lnTo>
                  <a:lnTo>
                    <a:pt x="1567" y="670"/>
                  </a:lnTo>
                  <a:lnTo>
                    <a:pt x="1567" y="670"/>
                  </a:lnTo>
                  <a:lnTo>
                    <a:pt x="1565" y="670"/>
                  </a:lnTo>
                  <a:lnTo>
                    <a:pt x="1563" y="670"/>
                  </a:lnTo>
                  <a:lnTo>
                    <a:pt x="1565" y="670"/>
                  </a:lnTo>
                  <a:lnTo>
                    <a:pt x="1565" y="670"/>
                  </a:lnTo>
                  <a:lnTo>
                    <a:pt x="1565" y="672"/>
                  </a:lnTo>
                  <a:lnTo>
                    <a:pt x="1567" y="672"/>
                  </a:lnTo>
                  <a:lnTo>
                    <a:pt x="1567" y="672"/>
                  </a:lnTo>
                  <a:lnTo>
                    <a:pt x="1569" y="672"/>
                  </a:lnTo>
                  <a:lnTo>
                    <a:pt x="1569" y="672"/>
                  </a:lnTo>
                  <a:lnTo>
                    <a:pt x="1569" y="672"/>
                  </a:lnTo>
                  <a:lnTo>
                    <a:pt x="1569" y="674"/>
                  </a:lnTo>
                  <a:lnTo>
                    <a:pt x="1569" y="674"/>
                  </a:lnTo>
                  <a:lnTo>
                    <a:pt x="1569" y="674"/>
                  </a:lnTo>
                  <a:lnTo>
                    <a:pt x="1567" y="674"/>
                  </a:lnTo>
                  <a:lnTo>
                    <a:pt x="1567" y="674"/>
                  </a:lnTo>
                  <a:lnTo>
                    <a:pt x="1565" y="672"/>
                  </a:lnTo>
                  <a:lnTo>
                    <a:pt x="1565" y="672"/>
                  </a:lnTo>
                  <a:lnTo>
                    <a:pt x="1563" y="672"/>
                  </a:lnTo>
                  <a:lnTo>
                    <a:pt x="1563" y="674"/>
                  </a:lnTo>
                  <a:lnTo>
                    <a:pt x="1563" y="674"/>
                  </a:lnTo>
                  <a:lnTo>
                    <a:pt x="1565" y="674"/>
                  </a:lnTo>
                  <a:lnTo>
                    <a:pt x="1565" y="676"/>
                  </a:lnTo>
                  <a:lnTo>
                    <a:pt x="1565" y="676"/>
                  </a:lnTo>
                  <a:lnTo>
                    <a:pt x="1565" y="676"/>
                  </a:lnTo>
                  <a:lnTo>
                    <a:pt x="1565" y="678"/>
                  </a:lnTo>
                  <a:lnTo>
                    <a:pt x="1565" y="676"/>
                  </a:lnTo>
                  <a:lnTo>
                    <a:pt x="1563" y="676"/>
                  </a:lnTo>
                  <a:lnTo>
                    <a:pt x="1563" y="674"/>
                  </a:lnTo>
                  <a:lnTo>
                    <a:pt x="1563" y="674"/>
                  </a:lnTo>
                  <a:lnTo>
                    <a:pt x="1563" y="674"/>
                  </a:lnTo>
                  <a:lnTo>
                    <a:pt x="1561" y="674"/>
                  </a:lnTo>
                  <a:lnTo>
                    <a:pt x="1561" y="674"/>
                  </a:lnTo>
                  <a:lnTo>
                    <a:pt x="1561" y="676"/>
                  </a:lnTo>
                  <a:lnTo>
                    <a:pt x="1561" y="676"/>
                  </a:lnTo>
                  <a:lnTo>
                    <a:pt x="1563" y="678"/>
                  </a:lnTo>
                  <a:lnTo>
                    <a:pt x="1563" y="678"/>
                  </a:lnTo>
                  <a:lnTo>
                    <a:pt x="1563" y="680"/>
                  </a:lnTo>
                  <a:lnTo>
                    <a:pt x="1563" y="680"/>
                  </a:lnTo>
                  <a:lnTo>
                    <a:pt x="1563" y="682"/>
                  </a:lnTo>
                  <a:lnTo>
                    <a:pt x="1563" y="682"/>
                  </a:lnTo>
                  <a:lnTo>
                    <a:pt x="1565" y="682"/>
                  </a:lnTo>
                  <a:lnTo>
                    <a:pt x="1565" y="684"/>
                  </a:lnTo>
                  <a:lnTo>
                    <a:pt x="1567" y="684"/>
                  </a:lnTo>
                  <a:lnTo>
                    <a:pt x="1567" y="684"/>
                  </a:lnTo>
                  <a:lnTo>
                    <a:pt x="1569" y="684"/>
                  </a:lnTo>
                  <a:lnTo>
                    <a:pt x="1569" y="682"/>
                  </a:lnTo>
                  <a:lnTo>
                    <a:pt x="1567" y="682"/>
                  </a:lnTo>
                  <a:lnTo>
                    <a:pt x="1569" y="682"/>
                  </a:lnTo>
                  <a:lnTo>
                    <a:pt x="1569" y="682"/>
                  </a:lnTo>
                  <a:lnTo>
                    <a:pt x="1569" y="682"/>
                  </a:lnTo>
                  <a:lnTo>
                    <a:pt x="1569" y="682"/>
                  </a:lnTo>
                  <a:lnTo>
                    <a:pt x="1569" y="684"/>
                  </a:lnTo>
                  <a:lnTo>
                    <a:pt x="1569" y="684"/>
                  </a:lnTo>
                  <a:lnTo>
                    <a:pt x="1569" y="684"/>
                  </a:lnTo>
                  <a:lnTo>
                    <a:pt x="1567" y="684"/>
                  </a:lnTo>
                  <a:lnTo>
                    <a:pt x="1569" y="687"/>
                  </a:lnTo>
                  <a:lnTo>
                    <a:pt x="1569" y="687"/>
                  </a:lnTo>
                  <a:lnTo>
                    <a:pt x="1569" y="687"/>
                  </a:lnTo>
                  <a:lnTo>
                    <a:pt x="1571" y="684"/>
                  </a:lnTo>
                  <a:lnTo>
                    <a:pt x="1573" y="682"/>
                  </a:lnTo>
                  <a:lnTo>
                    <a:pt x="1573" y="682"/>
                  </a:lnTo>
                  <a:lnTo>
                    <a:pt x="1573" y="684"/>
                  </a:lnTo>
                  <a:lnTo>
                    <a:pt x="1573" y="684"/>
                  </a:lnTo>
                  <a:lnTo>
                    <a:pt x="1571" y="684"/>
                  </a:lnTo>
                  <a:lnTo>
                    <a:pt x="1571" y="684"/>
                  </a:lnTo>
                  <a:lnTo>
                    <a:pt x="1571" y="687"/>
                  </a:lnTo>
                  <a:lnTo>
                    <a:pt x="1569" y="687"/>
                  </a:lnTo>
                  <a:lnTo>
                    <a:pt x="1569" y="689"/>
                  </a:lnTo>
                  <a:lnTo>
                    <a:pt x="1569" y="689"/>
                  </a:lnTo>
                  <a:lnTo>
                    <a:pt x="1569" y="689"/>
                  </a:lnTo>
                  <a:lnTo>
                    <a:pt x="1571" y="689"/>
                  </a:lnTo>
                  <a:lnTo>
                    <a:pt x="1571" y="689"/>
                  </a:lnTo>
                  <a:lnTo>
                    <a:pt x="1571" y="689"/>
                  </a:lnTo>
                  <a:lnTo>
                    <a:pt x="1573" y="691"/>
                  </a:lnTo>
                  <a:lnTo>
                    <a:pt x="1573" y="691"/>
                  </a:lnTo>
                  <a:lnTo>
                    <a:pt x="1573" y="691"/>
                  </a:lnTo>
                  <a:lnTo>
                    <a:pt x="1575" y="691"/>
                  </a:lnTo>
                  <a:lnTo>
                    <a:pt x="1575" y="691"/>
                  </a:lnTo>
                  <a:lnTo>
                    <a:pt x="1575" y="689"/>
                  </a:lnTo>
                  <a:lnTo>
                    <a:pt x="1575" y="689"/>
                  </a:lnTo>
                  <a:lnTo>
                    <a:pt x="1575" y="689"/>
                  </a:lnTo>
                  <a:lnTo>
                    <a:pt x="1575" y="689"/>
                  </a:lnTo>
                  <a:lnTo>
                    <a:pt x="1575" y="689"/>
                  </a:lnTo>
                  <a:lnTo>
                    <a:pt x="1575" y="691"/>
                  </a:lnTo>
                  <a:lnTo>
                    <a:pt x="1577" y="691"/>
                  </a:lnTo>
                  <a:lnTo>
                    <a:pt x="1577" y="691"/>
                  </a:lnTo>
                  <a:lnTo>
                    <a:pt x="1577" y="691"/>
                  </a:lnTo>
                  <a:lnTo>
                    <a:pt x="1577" y="691"/>
                  </a:lnTo>
                  <a:lnTo>
                    <a:pt x="1577" y="691"/>
                  </a:lnTo>
                  <a:lnTo>
                    <a:pt x="1577" y="691"/>
                  </a:lnTo>
                  <a:lnTo>
                    <a:pt x="1577" y="691"/>
                  </a:lnTo>
                  <a:lnTo>
                    <a:pt x="1577" y="693"/>
                  </a:lnTo>
                  <a:lnTo>
                    <a:pt x="1577" y="693"/>
                  </a:lnTo>
                  <a:lnTo>
                    <a:pt x="1577" y="693"/>
                  </a:lnTo>
                  <a:lnTo>
                    <a:pt x="1577" y="695"/>
                  </a:lnTo>
                  <a:lnTo>
                    <a:pt x="1577" y="695"/>
                  </a:lnTo>
                  <a:lnTo>
                    <a:pt x="1579" y="697"/>
                  </a:lnTo>
                  <a:lnTo>
                    <a:pt x="1579" y="697"/>
                  </a:lnTo>
                  <a:lnTo>
                    <a:pt x="1579" y="697"/>
                  </a:lnTo>
                  <a:lnTo>
                    <a:pt x="1577" y="697"/>
                  </a:lnTo>
                  <a:lnTo>
                    <a:pt x="1577" y="697"/>
                  </a:lnTo>
                  <a:lnTo>
                    <a:pt x="1577" y="695"/>
                  </a:lnTo>
                  <a:lnTo>
                    <a:pt x="1577" y="695"/>
                  </a:lnTo>
                  <a:lnTo>
                    <a:pt x="1575" y="695"/>
                  </a:lnTo>
                  <a:lnTo>
                    <a:pt x="1575" y="697"/>
                  </a:lnTo>
                  <a:lnTo>
                    <a:pt x="1577" y="697"/>
                  </a:lnTo>
                  <a:lnTo>
                    <a:pt x="1577" y="697"/>
                  </a:lnTo>
                  <a:lnTo>
                    <a:pt x="1575" y="697"/>
                  </a:lnTo>
                  <a:lnTo>
                    <a:pt x="1575" y="699"/>
                  </a:lnTo>
                  <a:lnTo>
                    <a:pt x="1575" y="695"/>
                  </a:lnTo>
                  <a:lnTo>
                    <a:pt x="1575" y="695"/>
                  </a:lnTo>
                  <a:lnTo>
                    <a:pt x="1575" y="695"/>
                  </a:lnTo>
                  <a:lnTo>
                    <a:pt x="1573" y="695"/>
                  </a:lnTo>
                  <a:lnTo>
                    <a:pt x="1573" y="695"/>
                  </a:lnTo>
                  <a:lnTo>
                    <a:pt x="1573" y="695"/>
                  </a:lnTo>
                  <a:lnTo>
                    <a:pt x="1575" y="695"/>
                  </a:lnTo>
                  <a:lnTo>
                    <a:pt x="1575" y="695"/>
                  </a:lnTo>
                  <a:lnTo>
                    <a:pt x="1573" y="697"/>
                  </a:lnTo>
                  <a:lnTo>
                    <a:pt x="1573" y="697"/>
                  </a:lnTo>
                  <a:lnTo>
                    <a:pt x="1573" y="697"/>
                  </a:lnTo>
                  <a:lnTo>
                    <a:pt x="1573" y="695"/>
                  </a:lnTo>
                  <a:lnTo>
                    <a:pt x="1573" y="697"/>
                  </a:lnTo>
                  <a:lnTo>
                    <a:pt x="1573" y="697"/>
                  </a:lnTo>
                  <a:lnTo>
                    <a:pt x="1573" y="699"/>
                  </a:lnTo>
                  <a:lnTo>
                    <a:pt x="1573" y="699"/>
                  </a:lnTo>
                  <a:lnTo>
                    <a:pt x="1573" y="699"/>
                  </a:lnTo>
                  <a:lnTo>
                    <a:pt x="1573" y="699"/>
                  </a:lnTo>
                  <a:lnTo>
                    <a:pt x="1573" y="701"/>
                  </a:lnTo>
                  <a:lnTo>
                    <a:pt x="1573" y="701"/>
                  </a:lnTo>
                  <a:lnTo>
                    <a:pt x="1573" y="701"/>
                  </a:lnTo>
                  <a:lnTo>
                    <a:pt x="1573" y="703"/>
                  </a:lnTo>
                  <a:lnTo>
                    <a:pt x="1573" y="703"/>
                  </a:lnTo>
                  <a:lnTo>
                    <a:pt x="1573" y="703"/>
                  </a:lnTo>
                  <a:lnTo>
                    <a:pt x="1573" y="703"/>
                  </a:lnTo>
                  <a:lnTo>
                    <a:pt x="1573" y="703"/>
                  </a:lnTo>
                  <a:lnTo>
                    <a:pt x="1573" y="703"/>
                  </a:lnTo>
                  <a:lnTo>
                    <a:pt x="1575" y="701"/>
                  </a:lnTo>
                  <a:lnTo>
                    <a:pt x="1575" y="701"/>
                  </a:lnTo>
                  <a:lnTo>
                    <a:pt x="1575" y="701"/>
                  </a:lnTo>
                  <a:lnTo>
                    <a:pt x="1575" y="699"/>
                  </a:lnTo>
                  <a:lnTo>
                    <a:pt x="1577" y="701"/>
                  </a:lnTo>
                  <a:lnTo>
                    <a:pt x="1577" y="701"/>
                  </a:lnTo>
                  <a:lnTo>
                    <a:pt x="1575" y="701"/>
                  </a:lnTo>
                  <a:lnTo>
                    <a:pt x="1575" y="701"/>
                  </a:lnTo>
                  <a:lnTo>
                    <a:pt x="1575" y="703"/>
                  </a:lnTo>
                  <a:lnTo>
                    <a:pt x="1575" y="703"/>
                  </a:lnTo>
                  <a:lnTo>
                    <a:pt x="1575" y="703"/>
                  </a:lnTo>
                  <a:lnTo>
                    <a:pt x="1575" y="703"/>
                  </a:lnTo>
                  <a:lnTo>
                    <a:pt x="1575" y="703"/>
                  </a:lnTo>
                  <a:lnTo>
                    <a:pt x="1575" y="705"/>
                  </a:lnTo>
                  <a:lnTo>
                    <a:pt x="1575" y="705"/>
                  </a:lnTo>
                  <a:lnTo>
                    <a:pt x="1575" y="705"/>
                  </a:lnTo>
                  <a:lnTo>
                    <a:pt x="1575" y="707"/>
                  </a:lnTo>
                  <a:lnTo>
                    <a:pt x="1575" y="707"/>
                  </a:lnTo>
                  <a:lnTo>
                    <a:pt x="1575" y="707"/>
                  </a:lnTo>
                  <a:lnTo>
                    <a:pt x="1577" y="709"/>
                  </a:lnTo>
                  <a:lnTo>
                    <a:pt x="1577" y="709"/>
                  </a:lnTo>
                  <a:lnTo>
                    <a:pt x="1577" y="709"/>
                  </a:lnTo>
                  <a:lnTo>
                    <a:pt x="1577" y="709"/>
                  </a:lnTo>
                  <a:lnTo>
                    <a:pt x="1577" y="709"/>
                  </a:lnTo>
                  <a:lnTo>
                    <a:pt x="1577" y="711"/>
                  </a:lnTo>
                  <a:lnTo>
                    <a:pt x="1577" y="711"/>
                  </a:lnTo>
                  <a:lnTo>
                    <a:pt x="1577" y="711"/>
                  </a:lnTo>
                  <a:lnTo>
                    <a:pt x="1577" y="711"/>
                  </a:lnTo>
                  <a:lnTo>
                    <a:pt x="1579" y="711"/>
                  </a:lnTo>
                  <a:lnTo>
                    <a:pt x="1579" y="713"/>
                  </a:lnTo>
                  <a:lnTo>
                    <a:pt x="1577" y="713"/>
                  </a:lnTo>
                  <a:lnTo>
                    <a:pt x="1579" y="713"/>
                  </a:lnTo>
                  <a:lnTo>
                    <a:pt x="1579" y="713"/>
                  </a:lnTo>
                  <a:lnTo>
                    <a:pt x="1581" y="713"/>
                  </a:lnTo>
                  <a:lnTo>
                    <a:pt x="1581" y="715"/>
                  </a:lnTo>
                  <a:lnTo>
                    <a:pt x="1581" y="715"/>
                  </a:lnTo>
                  <a:lnTo>
                    <a:pt x="1581" y="715"/>
                  </a:lnTo>
                  <a:lnTo>
                    <a:pt x="1583" y="715"/>
                  </a:lnTo>
                  <a:lnTo>
                    <a:pt x="1583" y="715"/>
                  </a:lnTo>
                  <a:lnTo>
                    <a:pt x="1581" y="713"/>
                  </a:lnTo>
                  <a:lnTo>
                    <a:pt x="1581" y="713"/>
                  </a:lnTo>
                  <a:lnTo>
                    <a:pt x="1581" y="713"/>
                  </a:lnTo>
                  <a:lnTo>
                    <a:pt x="1581" y="711"/>
                  </a:lnTo>
                  <a:lnTo>
                    <a:pt x="1581" y="711"/>
                  </a:lnTo>
                  <a:lnTo>
                    <a:pt x="1581" y="711"/>
                  </a:lnTo>
                  <a:lnTo>
                    <a:pt x="1581" y="711"/>
                  </a:lnTo>
                  <a:lnTo>
                    <a:pt x="1581" y="709"/>
                  </a:lnTo>
                  <a:lnTo>
                    <a:pt x="1581" y="709"/>
                  </a:lnTo>
                  <a:lnTo>
                    <a:pt x="1579" y="709"/>
                  </a:lnTo>
                  <a:lnTo>
                    <a:pt x="1579" y="709"/>
                  </a:lnTo>
                  <a:lnTo>
                    <a:pt x="1579" y="709"/>
                  </a:lnTo>
                  <a:lnTo>
                    <a:pt x="1579" y="709"/>
                  </a:lnTo>
                  <a:lnTo>
                    <a:pt x="1579" y="709"/>
                  </a:lnTo>
                  <a:lnTo>
                    <a:pt x="1577" y="707"/>
                  </a:lnTo>
                  <a:lnTo>
                    <a:pt x="1577" y="707"/>
                  </a:lnTo>
                  <a:lnTo>
                    <a:pt x="1579" y="707"/>
                  </a:lnTo>
                  <a:lnTo>
                    <a:pt x="1579" y="705"/>
                  </a:lnTo>
                  <a:lnTo>
                    <a:pt x="1579" y="703"/>
                  </a:lnTo>
                  <a:lnTo>
                    <a:pt x="1579" y="703"/>
                  </a:lnTo>
                  <a:lnTo>
                    <a:pt x="1579" y="701"/>
                  </a:lnTo>
                  <a:lnTo>
                    <a:pt x="1579" y="701"/>
                  </a:lnTo>
                  <a:lnTo>
                    <a:pt x="1579" y="699"/>
                  </a:lnTo>
                  <a:lnTo>
                    <a:pt x="1579" y="699"/>
                  </a:lnTo>
                  <a:lnTo>
                    <a:pt x="1581" y="701"/>
                  </a:lnTo>
                  <a:lnTo>
                    <a:pt x="1581" y="703"/>
                  </a:lnTo>
                  <a:lnTo>
                    <a:pt x="1581" y="705"/>
                  </a:lnTo>
                  <a:lnTo>
                    <a:pt x="1581" y="705"/>
                  </a:lnTo>
                  <a:lnTo>
                    <a:pt x="1581" y="705"/>
                  </a:lnTo>
                  <a:lnTo>
                    <a:pt x="1583" y="705"/>
                  </a:lnTo>
                  <a:lnTo>
                    <a:pt x="1583" y="709"/>
                  </a:lnTo>
                  <a:lnTo>
                    <a:pt x="1583" y="709"/>
                  </a:lnTo>
                  <a:lnTo>
                    <a:pt x="1583" y="709"/>
                  </a:lnTo>
                  <a:lnTo>
                    <a:pt x="1583" y="711"/>
                  </a:lnTo>
                  <a:lnTo>
                    <a:pt x="1585" y="711"/>
                  </a:lnTo>
                  <a:lnTo>
                    <a:pt x="1585" y="709"/>
                  </a:lnTo>
                  <a:lnTo>
                    <a:pt x="1585" y="709"/>
                  </a:lnTo>
                  <a:lnTo>
                    <a:pt x="1585" y="709"/>
                  </a:lnTo>
                  <a:lnTo>
                    <a:pt x="1585" y="709"/>
                  </a:lnTo>
                  <a:lnTo>
                    <a:pt x="1585" y="707"/>
                  </a:lnTo>
                  <a:close/>
                  <a:moveTo>
                    <a:pt x="1618" y="682"/>
                  </a:moveTo>
                  <a:lnTo>
                    <a:pt x="1616" y="682"/>
                  </a:lnTo>
                  <a:lnTo>
                    <a:pt x="1616" y="680"/>
                  </a:lnTo>
                  <a:lnTo>
                    <a:pt x="1616" y="680"/>
                  </a:lnTo>
                  <a:lnTo>
                    <a:pt x="1616" y="680"/>
                  </a:lnTo>
                  <a:lnTo>
                    <a:pt x="1614" y="680"/>
                  </a:lnTo>
                  <a:lnTo>
                    <a:pt x="1612" y="680"/>
                  </a:lnTo>
                  <a:lnTo>
                    <a:pt x="1612" y="682"/>
                  </a:lnTo>
                  <a:lnTo>
                    <a:pt x="1612" y="682"/>
                  </a:lnTo>
                  <a:lnTo>
                    <a:pt x="1610" y="682"/>
                  </a:lnTo>
                  <a:lnTo>
                    <a:pt x="1610" y="682"/>
                  </a:lnTo>
                  <a:lnTo>
                    <a:pt x="1610" y="682"/>
                  </a:lnTo>
                  <a:lnTo>
                    <a:pt x="1608" y="682"/>
                  </a:lnTo>
                  <a:lnTo>
                    <a:pt x="1608" y="682"/>
                  </a:lnTo>
                  <a:lnTo>
                    <a:pt x="1608" y="684"/>
                  </a:lnTo>
                  <a:lnTo>
                    <a:pt x="1606" y="684"/>
                  </a:lnTo>
                  <a:lnTo>
                    <a:pt x="1606" y="689"/>
                  </a:lnTo>
                  <a:lnTo>
                    <a:pt x="1606" y="689"/>
                  </a:lnTo>
                  <a:lnTo>
                    <a:pt x="1606" y="691"/>
                  </a:lnTo>
                  <a:lnTo>
                    <a:pt x="1608" y="691"/>
                  </a:lnTo>
                  <a:lnTo>
                    <a:pt x="1612" y="693"/>
                  </a:lnTo>
                  <a:lnTo>
                    <a:pt x="1614" y="693"/>
                  </a:lnTo>
                  <a:lnTo>
                    <a:pt x="1616" y="691"/>
                  </a:lnTo>
                  <a:lnTo>
                    <a:pt x="1618" y="691"/>
                  </a:lnTo>
                  <a:lnTo>
                    <a:pt x="1618" y="689"/>
                  </a:lnTo>
                  <a:lnTo>
                    <a:pt x="1618" y="689"/>
                  </a:lnTo>
                  <a:lnTo>
                    <a:pt x="1618" y="687"/>
                  </a:lnTo>
                  <a:lnTo>
                    <a:pt x="1616" y="687"/>
                  </a:lnTo>
                  <a:lnTo>
                    <a:pt x="1616" y="684"/>
                  </a:lnTo>
                  <a:lnTo>
                    <a:pt x="1616" y="684"/>
                  </a:lnTo>
                  <a:lnTo>
                    <a:pt x="1618" y="682"/>
                  </a:lnTo>
                  <a:lnTo>
                    <a:pt x="1618" y="682"/>
                  </a:lnTo>
                  <a:close/>
                  <a:moveTo>
                    <a:pt x="1526" y="670"/>
                  </a:moveTo>
                  <a:lnTo>
                    <a:pt x="1526" y="670"/>
                  </a:lnTo>
                  <a:lnTo>
                    <a:pt x="1524" y="670"/>
                  </a:lnTo>
                  <a:lnTo>
                    <a:pt x="1524" y="670"/>
                  </a:lnTo>
                  <a:lnTo>
                    <a:pt x="1524" y="668"/>
                  </a:lnTo>
                  <a:lnTo>
                    <a:pt x="1524" y="668"/>
                  </a:lnTo>
                  <a:lnTo>
                    <a:pt x="1524" y="666"/>
                  </a:lnTo>
                  <a:lnTo>
                    <a:pt x="1522" y="666"/>
                  </a:lnTo>
                  <a:lnTo>
                    <a:pt x="1524" y="666"/>
                  </a:lnTo>
                  <a:lnTo>
                    <a:pt x="1524" y="666"/>
                  </a:lnTo>
                  <a:lnTo>
                    <a:pt x="1524" y="666"/>
                  </a:lnTo>
                  <a:lnTo>
                    <a:pt x="1524" y="666"/>
                  </a:lnTo>
                  <a:lnTo>
                    <a:pt x="1522" y="664"/>
                  </a:lnTo>
                  <a:lnTo>
                    <a:pt x="1522" y="664"/>
                  </a:lnTo>
                  <a:lnTo>
                    <a:pt x="1518" y="662"/>
                  </a:lnTo>
                  <a:lnTo>
                    <a:pt x="1516" y="662"/>
                  </a:lnTo>
                  <a:lnTo>
                    <a:pt x="1516" y="664"/>
                  </a:lnTo>
                  <a:lnTo>
                    <a:pt x="1516" y="664"/>
                  </a:lnTo>
                  <a:lnTo>
                    <a:pt x="1516" y="666"/>
                  </a:lnTo>
                  <a:lnTo>
                    <a:pt x="1516" y="666"/>
                  </a:lnTo>
                  <a:lnTo>
                    <a:pt x="1516" y="666"/>
                  </a:lnTo>
                  <a:lnTo>
                    <a:pt x="1516" y="668"/>
                  </a:lnTo>
                  <a:lnTo>
                    <a:pt x="1516" y="668"/>
                  </a:lnTo>
                  <a:lnTo>
                    <a:pt x="1518" y="668"/>
                  </a:lnTo>
                  <a:lnTo>
                    <a:pt x="1518" y="668"/>
                  </a:lnTo>
                  <a:lnTo>
                    <a:pt x="1518" y="668"/>
                  </a:lnTo>
                  <a:lnTo>
                    <a:pt x="1518" y="668"/>
                  </a:lnTo>
                  <a:lnTo>
                    <a:pt x="1518" y="670"/>
                  </a:lnTo>
                  <a:lnTo>
                    <a:pt x="1518" y="670"/>
                  </a:lnTo>
                  <a:lnTo>
                    <a:pt x="1518" y="670"/>
                  </a:lnTo>
                  <a:lnTo>
                    <a:pt x="1520" y="670"/>
                  </a:lnTo>
                  <a:lnTo>
                    <a:pt x="1522" y="670"/>
                  </a:lnTo>
                  <a:lnTo>
                    <a:pt x="1522" y="670"/>
                  </a:lnTo>
                  <a:lnTo>
                    <a:pt x="1522" y="672"/>
                  </a:lnTo>
                  <a:lnTo>
                    <a:pt x="1520" y="674"/>
                  </a:lnTo>
                  <a:lnTo>
                    <a:pt x="1520" y="674"/>
                  </a:lnTo>
                  <a:lnTo>
                    <a:pt x="1520" y="674"/>
                  </a:lnTo>
                  <a:lnTo>
                    <a:pt x="1520" y="676"/>
                  </a:lnTo>
                  <a:lnTo>
                    <a:pt x="1520" y="676"/>
                  </a:lnTo>
                  <a:lnTo>
                    <a:pt x="1520" y="680"/>
                  </a:lnTo>
                  <a:lnTo>
                    <a:pt x="1524" y="678"/>
                  </a:lnTo>
                  <a:lnTo>
                    <a:pt x="1524" y="678"/>
                  </a:lnTo>
                  <a:lnTo>
                    <a:pt x="1524" y="678"/>
                  </a:lnTo>
                  <a:lnTo>
                    <a:pt x="1524" y="678"/>
                  </a:lnTo>
                  <a:lnTo>
                    <a:pt x="1526" y="678"/>
                  </a:lnTo>
                  <a:lnTo>
                    <a:pt x="1526" y="678"/>
                  </a:lnTo>
                  <a:lnTo>
                    <a:pt x="1526" y="676"/>
                  </a:lnTo>
                  <a:lnTo>
                    <a:pt x="1526" y="672"/>
                  </a:lnTo>
                  <a:lnTo>
                    <a:pt x="1526" y="670"/>
                  </a:lnTo>
                  <a:lnTo>
                    <a:pt x="1526" y="670"/>
                  </a:lnTo>
                  <a:close/>
                  <a:moveTo>
                    <a:pt x="1239" y="566"/>
                  </a:moveTo>
                  <a:lnTo>
                    <a:pt x="1239" y="566"/>
                  </a:lnTo>
                  <a:lnTo>
                    <a:pt x="1239" y="566"/>
                  </a:lnTo>
                  <a:lnTo>
                    <a:pt x="1239" y="566"/>
                  </a:lnTo>
                  <a:lnTo>
                    <a:pt x="1239" y="566"/>
                  </a:lnTo>
                  <a:lnTo>
                    <a:pt x="1237" y="566"/>
                  </a:lnTo>
                  <a:lnTo>
                    <a:pt x="1239" y="566"/>
                  </a:lnTo>
                  <a:lnTo>
                    <a:pt x="1239" y="566"/>
                  </a:lnTo>
                  <a:lnTo>
                    <a:pt x="1239" y="566"/>
                  </a:lnTo>
                  <a:lnTo>
                    <a:pt x="1239" y="566"/>
                  </a:lnTo>
                  <a:lnTo>
                    <a:pt x="1239" y="566"/>
                  </a:lnTo>
                  <a:lnTo>
                    <a:pt x="1239" y="566"/>
                  </a:lnTo>
                  <a:lnTo>
                    <a:pt x="1239" y="566"/>
                  </a:lnTo>
                  <a:lnTo>
                    <a:pt x="1239" y="566"/>
                  </a:lnTo>
                  <a:close/>
                  <a:moveTo>
                    <a:pt x="1534" y="607"/>
                  </a:moveTo>
                  <a:lnTo>
                    <a:pt x="1534" y="609"/>
                  </a:lnTo>
                  <a:lnTo>
                    <a:pt x="1536" y="609"/>
                  </a:lnTo>
                  <a:lnTo>
                    <a:pt x="1536" y="609"/>
                  </a:lnTo>
                  <a:lnTo>
                    <a:pt x="1536" y="609"/>
                  </a:lnTo>
                  <a:lnTo>
                    <a:pt x="1538" y="609"/>
                  </a:lnTo>
                  <a:lnTo>
                    <a:pt x="1538" y="609"/>
                  </a:lnTo>
                  <a:lnTo>
                    <a:pt x="1544" y="607"/>
                  </a:lnTo>
                  <a:lnTo>
                    <a:pt x="1544" y="607"/>
                  </a:lnTo>
                  <a:lnTo>
                    <a:pt x="1540" y="605"/>
                  </a:lnTo>
                  <a:lnTo>
                    <a:pt x="1538" y="603"/>
                  </a:lnTo>
                  <a:lnTo>
                    <a:pt x="1536" y="603"/>
                  </a:lnTo>
                  <a:lnTo>
                    <a:pt x="1534" y="603"/>
                  </a:lnTo>
                  <a:lnTo>
                    <a:pt x="1534" y="603"/>
                  </a:lnTo>
                  <a:lnTo>
                    <a:pt x="1534" y="605"/>
                  </a:lnTo>
                  <a:lnTo>
                    <a:pt x="1534" y="605"/>
                  </a:lnTo>
                  <a:lnTo>
                    <a:pt x="1532" y="605"/>
                  </a:lnTo>
                  <a:lnTo>
                    <a:pt x="1532" y="605"/>
                  </a:lnTo>
                  <a:lnTo>
                    <a:pt x="1532" y="607"/>
                  </a:lnTo>
                  <a:lnTo>
                    <a:pt x="1534" y="607"/>
                  </a:lnTo>
                  <a:close/>
                  <a:moveTo>
                    <a:pt x="1565" y="709"/>
                  </a:moveTo>
                  <a:lnTo>
                    <a:pt x="1565" y="709"/>
                  </a:lnTo>
                  <a:lnTo>
                    <a:pt x="1565" y="707"/>
                  </a:lnTo>
                  <a:lnTo>
                    <a:pt x="1563" y="707"/>
                  </a:lnTo>
                  <a:lnTo>
                    <a:pt x="1563" y="707"/>
                  </a:lnTo>
                  <a:lnTo>
                    <a:pt x="1563" y="705"/>
                  </a:lnTo>
                  <a:lnTo>
                    <a:pt x="1563" y="703"/>
                  </a:lnTo>
                  <a:lnTo>
                    <a:pt x="1563" y="703"/>
                  </a:lnTo>
                  <a:lnTo>
                    <a:pt x="1563" y="703"/>
                  </a:lnTo>
                  <a:lnTo>
                    <a:pt x="1563" y="701"/>
                  </a:lnTo>
                  <a:lnTo>
                    <a:pt x="1563" y="701"/>
                  </a:lnTo>
                  <a:lnTo>
                    <a:pt x="1563" y="699"/>
                  </a:lnTo>
                  <a:lnTo>
                    <a:pt x="1561" y="699"/>
                  </a:lnTo>
                  <a:lnTo>
                    <a:pt x="1561" y="699"/>
                  </a:lnTo>
                  <a:lnTo>
                    <a:pt x="1561" y="697"/>
                  </a:lnTo>
                  <a:lnTo>
                    <a:pt x="1561" y="697"/>
                  </a:lnTo>
                  <a:lnTo>
                    <a:pt x="1561" y="697"/>
                  </a:lnTo>
                  <a:lnTo>
                    <a:pt x="1559" y="693"/>
                  </a:lnTo>
                  <a:lnTo>
                    <a:pt x="1559" y="691"/>
                  </a:lnTo>
                  <a:lnTo>
                    <a:pt x="1559" y="691"/>
                  </a:lnTo>
                  <a:lnTo>
                    <a:pt x="1559" y="691"/>
                  </a:lnTo>
                  <a:lnTo>
                    <a:pt x="1559" y="693"/>
                  </a:lnTo>
                  <a:lnTo>
                    <a:pt x="1559" y="693"/>
                  </a:lnTo>
                  <a:lnTo>
                    <a:pt x="1559" y="693"/>
                  </a:lnTo>
                  <a:lnTo>
                    <a:pt x="1561" y="693"/>
                  </a:lnTo>
                  <a:lnTo>
                    <a:pt x="1561" y="693"/>
                  </a:lnTo>
                  <a:lnTo>
                    <a:pt x="1561" y="693"/>
                  </a:lnTo>
                  <a:lnTo>
                    <a:pt x="1561" y="693"/>
                  </a:lnTo>
                  <a:lnTo>
                    <a:pt x="1559" y="691"/>
                  </a:lnTo>
                  <a:lnTo>
                    <a:pt x="1557" y="684"/>
                  </a:lnTo>
                  <a:lnTo>
                    <a:pt x="1557" y="682"/>
                  </a:lnTo>
                  <a:lnTo>
                    <a:pt x="1557" y="682"/>
                  </a:lnTo>
                  <a:lnTo>
                    <a:pt x="1557" y="682"/>
                  </a:lnTo>
                  <a:lnTo>
                    <a:pt x="1557" y="682"/>
                  </a:lnTo>
                  <a:lnTo>
                    <a:pt x="1557" y="680"/>
                  </a:lnTo>
                  <a:lnTo>
                    <a:pt x="1555" y="678"/>
                  </a:lnTo>
                  <a:lnTo>
                    <a:pt x="1555" y="678"/>
                  </a:lnTo>
                  <a:lnTo>
                    <a:pt x="1552" y="676"/>
                  </a:lnTo>
                  <a:lnTo>
                    <a:pt x="1552" y="676"/>
                  </a:lnTo>
                  <a:lnTo>
                    <a:pt x="1552" y="674"/>
                  </a:lnTo>
                  <a:lnTo>
                    <a:pt x="1552" y="674"/>
                  </a:lnTo>
                  <a:lnTo>
                    <a:pt x="1550" y="674"/>
                  </a:lnTo>
                  <a:lnTo>
                    <a:pt x="1550" y="674"/>
                  </a:lnTo>
                  <a:lnTo>
                    <a:pt x="1550" y="672"/>
                  </a:lnTo>
                  <a:lnTo>
                    <a:pt x="1550" y="672"/>
                  </a:lnTo>
                  <a:lnTo>
                    <a:pt x="1550" y="670"/>
                  </a:lnTo>
                  <a:lnTo>
                    <a:pt x="1550" y="670"/>
                  </a:lnTo>
                  <a:lnTo>
                    <a:pt x="1550" y="670"/>
                  </a:lnTo>
                  <a:lnTo>
                    <a:pt x="1550" y="670"/>
                  </a:lnTo>
                  <a:lnTo>
                    <a:pt x="1550" y="670"/>
                  </a:lnTo>
                  <a:lnTo>
                    <a:pt x="1550" y="670"/>
                  </a:lnTo>
                  <a:lnTo>
                    <a:pt x="1548" y="670"/>
                  </a:lnTo>
                  <a:lnTo>
                    <a:pt x="1548" y="668"/>
                  </a:lnTo>
                  <a:lnTo>
                    <a:pt x="1548" y="668"/>
                  </a:lnTo>
                  <a:lnTo>
                    <a:pt x="1548" y="668"/>
                  </a:lnTo>
                  <a:lnTo>
                    <a:pt x="1548" y="668"/>
                  </a:lnTo>
                  <a:lnTo>
                    <a:pt x="1548" y="668"/>
                  </a:lnTo>
                  <a:lnTo>
                    <a:pt x="1546" y="668"/>
                  </a:lnTo>
                  <a:lnTo>
                    <a:pt x="1548" y="666"/>
                  </a:lnTo>
                  <a:lnTo>
                    <a:pt x="1546" y="666"/>
                  </a:lnTo>
                  <a:lnTo>
                    <a:pt x="1546" y="664"/>
                  </a:lnTo>
                  <a:lnTo>
                    <a:pt x="1544" y="664"/>
                  </a:lnTo>
                  <a:lnTo>
                    <a:pt x="1546" y="664"/>
                  </a:lnTo>
                  <a:lnTo>
                    <a:pt x="1546" y="662"/>
                  </a:lnTo>
                  <a:lnTo>
                    <a:pt x="1544" y="662"/>
                  </a:lnTo>
                  <a:lnTo>
                    <a:pt x="1544" y="662"/>
                  </a:lnTo>
                  <a:lnTo>
                    <a:pt x="1544" y="662"/>
                  </a:lnTo>
                  <a:lnTo>
                    <a:pt x="1544" y="660"/>
                  </a:lnTo>
                  <a:lnTo>
                    <a:pt x="1544" y="660"/>
                  </a:lnTo>
                  <a:lnTo>
                    <a:pt x="1544" y="660"/>
                  </a:lnTo>
                  <a:lnTo>
                    <a:pt x="1544" y="660"/>
                  </a:lnTo>
                  <a:lnTo>
                    <a:pt x="1542" y="660"/>
                  </a:lnTo>
                  <a:lnTo>
                    <a:pt x="1542" y="660"/>
                  </a:lnTo>
                  <a:lnTo>
                    <a:pt x="1540" y="660"/>
                  </a:lnTo>
                  <a:lnTo>
                    <a:pt x="1540" y="660"/>
                  </a:lnTo>
                  <a:lnTo>
                    <a:pt x="1540" y="658"/>
                  </a:lnTo>
                  <a:lnTo>
                    <a:pt x="1540" y="658"/>
                  </a:lnTo>
                  <a:lnTo>
                    <a:pt x="1540" y="658"/>
                  </a:lnTo>
                  <a:lnTo>
                    <a:pt x="1540" y="658"/>
                  </a:lnTo>
                  <a:lnTo>
                    <a:pt x="1540" y="658"/>
                  </a:lnTo>
                  <a:lnTo>
                    <a:pt x="1540" y="658"/>
                  </a:lnTo>
                  <a:lnTo>
                    <a:pt x="1538" y="658"/>
                  </a:lnTo>
                  <a:lnTo>
                    <a:pt x="1538" y="658"/>
                  </a:lnTo>
                  <a:lnTo>
                    <a:pt x="1538" y="658"/>
                  </a:lnTo>
                  <a:lnTo>
                    <a:pt x="1540" y="656"/>
                  </a:lnTo>
                  <a:lnTo>
                    <a:pt x="1540" y="656"/>
                  </a:lnTo>
                  <a:lnTo>
                    <a:pt x="1538" y="656"/>
                  </a:lnTo>
                  <a:lnTo>
                    <a:pt x="1538" y="656"/>
                  </a:lnTo>
                  <a:lnTo>
                    <a:pt x="1538" y="656"/>
                  </a:lnTo>
                  <a:lnTo>
                    <a:pt x="1540" y="656"/>
                  </a:lnTo>
                  <a:lnTo>
                    <a:pt x="1540" y="656"/>
                  </a:lnTo>
                  <a:lnTo>
                    <a:pt x="1538" y="654"/>
                  </a:lnTo>
                  <a:lnTo>
                    <a:pt x="1536" y="654"/>
                  </a:lnTo>
                  <a:lnTo>
                    <a:pt x="1536" y="654"/>
                  </a:lnTo>
                  <a:lnTo>
                    <a:pt x="1536" y="652"/>
                  </a:lnTo>
                  <a:lnTo>
                    <a:pt x="1534" y="652"/>
                  </a:lnTo>
                  <a:lnTo>
                    <a:pt x="1532" y="652"/>
                  </a:lnTo>
                  <a:lnTo>
                    <a:pt x="1532" y="652"/>
                  </a:lnTo>
                  <a:lnTo>
                    <a:pt x="1532" y="654"/>
                  </a:lnTo>
                  <a:lnTo>
                    <a:pt x="1532" y="654"/>
                  </a:lnTo>
                  <a:lnTo>
                    <a:pt x="1532" y="652"/>
                  </a:lnTo>
                  <a:lnTo>
                    <a:pt x="1532" y="652"/>
                  </a:lnTo>
                  <a:lnTo>
                    <a:pt x="1532" y="652"/>
                  </a:lnTo>
                  <a:lnTo>
                    <a:pt x="1530" y="650"/>
                  </a:lnTo>
                  <a:lnTo>
                    <a:pt x="1530" y="652"/>
                  </a:lnTo>
                  <a:lnTo>
                    <a:pt x="1530" y="652"/>
                  </a:lnTo>
                  <a:lnTo>
                    <a:pt x="1530" y="652"/>
                  </a:lnTo>
                  <a:lnTo>
                    <a:pt x="1528" y="652"/>
                  </a:lnTo>
                  <a:lnTo>
                    <a:pt x="1528" y="652"/>
                  </a:lnTo>
                  <a:lnTo>
                    <a:pt x="1528" y="652"/>
                  </a:lnTo>
                  <a:lnTo>
                    <a:pt x="1528" y="652"/>
                  </a:lnTo>
                  <a:lnTo>
                    <a:pt x="1526" y="654"/>
                  </a:lnTo>
                  <a:lnTo>
                    <a:pt x="1526" y="654"/>
                  </a:lnTo>
                  <a:lnTo>
                    <a:pt x="1526" y="654"/>
                  </a:lnTo>
                  <a:lnTo>
                    <a:pt x="1526" y="654"/>
                  </a:lnTo>
                  <a:lnTo>
                    <a:pt x="1526" y="652"/>
                  </a:lnTo>
                  <a:lnTo>
                    <a:pt x="1528" y="652"/>
                  </a:lnTo>
                  <a:lnTo>
                    <a:pt x="1528" y="650"/>
                  </a:lnTo>
                  <a:lnTo>
                    <a:pt x="1526" y="650"/>
                  </a:lnTo>
                  <a:lnTo>
                    <a:pt x="1524" y="648"/>
                  </a:lnTo>
                  <a:lnTo>
                    <a:pt x="1524" y="650"/>
                  </a:lnTo>
                  <a:lnTo>
                    <a:pt x="1522" y="652"/>
                  </a:lnTo>
                  <a:lnTo>
                    <a:pt x="1522" y="652"/>
                  </a:lnTo>
                  <a:lnTo>
                    <a:pt x="1522" y="652"/>
                  </a:lnTo>
                  <a:lnTo>
                    <a:pt x="1522" y="652"/>
                  </a:lnTo>
                  <a:lnTo>
                    <a:pt x="1522" y="652"/>
                  </a:lnTo>
                  <a:lnTo>
                    <a:pt x="1522" y="652"/>
                  </a:lnTo>
                  <a:lnTo>
                    <a:pt x="1522" y="652"/>
                  </a:lnTo>
                  <a:lnTo>
                    <a:pt x="1522" y="654"/>
                  </a:lnTo>
                  <a:lnTo>
                    <a:pt x="1522" y="654"/>
                  </a:lnTo>
                  <a:lnTo>
                    <a:pt x="1522" y="654"/>
                  </a:lnTo>
                  <a:lnTo>
                    <a:pt x="1522" y="654"/>
                  </a:lnTo>
                  <a:lnTo>
                    <a:pt x="1522" y="654"/>
                  </a:lnTo>
                  <a:lnTo>
                    <a:pt x="1522" y="654"/>
                  </a:lnTo>
                  <a:lnTo>
                    <a:pt x="1522" y="656"/>
                  </a:lnTo>
                  <a:lnTo>
                    <a:pt x="1522" y="656"/>
                  </a:lnTo>
                  <a:lnTo>
                    <a:pt x="1522" y="656"/>
                  </a:lnTo>
                  <a:lnTo>
                    <a:pt x="1522" y="656"/>
                  </a:lnTo>
                  <a:lnTo>
                    <a:pt x="1522" y="656"/>
                  </a:lnTo>
                  <a:lnTo>
                    <a:pt x="1522" y="658"/>
                  </a:lnTo>
                  <a:lnTo>
                    <a:pt x="1522" y="658"/>
                  </a:lnTo>
                  <a:lnTo>
                    <a:pt x="1522" y="658"/>
                  </a:lnTo>
                  <a:lnTo>
                    <a:pt x="1522" y="658"/>
                  </a:lnTo>
                  <a:lnTo>
                    <a:pt x="1522" y="658"/>
                  </a:lnTo>
                  <a:lnTo>
                    <a:pt x="1524" y="658"/>
                  </a:lnTo>
                  <a:lnTo>
                    <a:pt x="1524" y="658"/>
                  </a:lnTo>
                  <a:lnTo>
                    <a:pt x="1524" y="658"/>
                  </a:lnTo>
                  <a:lnTo>
                    <a:pt x="1526" y="660"/>
                  </a:lnTo>
                  <a:lnTo>
                    <a:pt x="1524" y="660"/>
                  </a:lnTo>
                  <a:lnTo>
                    <a:pt x="1522" y="660"/>
                  </a:lnTo>
                  <a:lnTo>
                    <a:pt x="1520" y="660"/>
                  </a:lnTo>
                  <a:lnTo>
                    <a:pt x="1520" y="660"/>
                  </a:lnTo>
                  <a:lnTo>
                    <a:pt x="1520" y="660"/>
                  </a:lnTo>
                  <a:lnTo>
                    <a:pt x="1520" y="660"/>
                  </a:lnTo>
                  <a:lnTo>
                    <a:pt x="1520" y="662"/>
                  </a:lnTo>
                  <a:lnTo>
                    <a:pt x="1522" y="662"/>
                  </a:lnTo>
                  <a:lnTo>
                    <a:pt x="1524" y="664"/>
                  </a:lnTo>
                  <a:lnTo>
                    <a:pt x="1524" y="666"/>
                  </a:lnTo>
                  <a:lnTo>
                    <a:pt x="1526" y="666"/>
                  </a:lnTo>
                  <a:lnTo>
                    <a:pt x="1526" y="666"/>
                  </a:lnTo>
                  <a:lnTo>
                    <a:pt x="1526" y="664"/>
                  </a:lnTo>
                  <a:lnTo>
                    <a:pt x="1526" y="664"/>
                  </a:lnTo>
                  <a:lnTo>
                    <a:pt x="1528" y="664"/>
                  </a:lnTo>
                  <a:lnTo>
                    <a:pt x="1528" y="664"/>
                  </a:lnTo>
                  <a:lnTo>
                    <a:pt x="1530" y="664"/>
                  </a:lnTo>
                  <a:lnTo>
                    <a:pt x="1530" y="666"/>
                  </a:lnTo>
                  <a:lnTo>
                    <a:pt x="1530" y="666"/>
                  </a:lnTo>
                  <a:lnTo>
                    <a:pt x="1530" y="666"/>
                  </a:lnTo>
                  <a:lnTo>
                    <a:pt x="1530" y="668"/>
                  </a:lnTo>
                  <a:lnTo>
                    <a:pt x="1530" y="668"/>
                  </a:lnTo>
                  <a:lnTo>
                    <a:pt x="1530" y="668"/>
                  </a:lnTo>
                  <a:lnTo>
                    <a:pt x="1530" y="668"/>
                  </a:lnTo>
                  <a:lnTo>
                    <a:pt x="1530" y="668"/>
                  </a:lnTo>
                  <a:lnTo>
                    <a:pt x="1530" y="668"/>
                  </a:lnTo>
                  <a:lnTo>
                    <a:pt x="1532" y="666"/>
                  </a:lnTo>
                  <a:lnTo>
                    <a:pt x="1532" y="666"/>
                  </a:lnTo>
                  <a:lnTo>
                    <a:pt x="1532" y="666"/>
                  </a:lnTo>
                  <a:lnTo>
                    <a:pt x="1534" y="666"/>
                  </a:lnTo>
                  <a:lnTo>
                    <a:pt x="1534" y="668"/>
                  </a:lnTo>
                  <a:lnTo>
                    <a:pt x="1532" y="668"/>
                  </a:lnTo>
                  <a:lnTo>
                    <a:pt x="1532" y="668"/>
                  </a:lnTo>
                  <a:lnTo>
                    <a:pt x="1530" y="670"/>
                  </a:lnTo>
                  <a:lnTo>
                    <a:pt x="1532" y="672"/>
                  </a:lnTo>
                  <a:lnTo>
                    <a:pt x="1532" y="672"/>
                  </a:lnTo>
                  <a:lnTo>
                    <a:pt x="1534" y="674"/>
                  </a:lnTo>
                  <a:lnTo>
                    <a:pt x="1534" y="674"/>
                  </a:lnTo>
                  <a:lnTo>
                    <a:pt x="1536" y="672"/>
                  </a:lnTo>
                  <a:lnTo>
                    <a:pt x="1538" y="672"/>
                  </a:lnTo>
                  <a:lnTo>
                    <a:pt x="1538" y="672"/>
                  </a:lnTo>
                  <a:lnTo>
                    <a:pt x="1538" y="674"/>
                  </a:lnTo>
                  <a:lnTo>
                    <a:pt x="1538" y="674"/>
                  </a:lnTo>
                  <a:lnTo>
                    <a:pt x="1538" y="674"/>
                  </a:lnTo>
                  <a:lnTo>
                    <a:pt x="1536" y="674"/>
                  </a:lnTo>
                  <a:lnTo>
                    <a:pt x="1536" y="674"/>
                  </a:lnTo>
                  <a:lnTo>
                    <a:pt x="1536" y="674"/>
                  </a:lnTo>
                  <a:lnTo>
                    <a:pt x="1536" y="676"/>
                  </a:lnTo>
                  <a:lnTo>
                    <a:pt x="1536" y="676"/>
                  </a:lnTo>
                  <a:lnTo>
                    <a:pt x="1536" y="676"/>
                  </a:lnTo>
                  <a:lnTo>
                    <a:pt x="1534" y="676"/>
                  </a:lnTo>
                  <a:lnTo>
                    <a:pt x="1534" y="676"/>
                  </a:lnTo>
                  <a:lnTo>
                    <a:pt x="1534" y="678"/>
                  </a:lnTo>
                  <a:lnTo>
                    <a:pt x="1534" y="678"/>
                  </a:lnTo>
                  <a:lnTo>
                    <a:pt x="1534" y="678"/>
                  </a:lnTo>
                  <a:lnTo>
                    <a:pt x="1534" y="678"/>
                  </a:lnTo>
                  <a:lnTo>
                    <a:pt x="1534" y="678"/>
                  </a:lnTo>
                  <a:lnTo>
                    <a:pt x="1534" y="678"/>
                  </a:lnTo>
                  <a:lnTo>
                    <a:pt x="1534" y="678"/>
                  </a:lnTo>
                  <a:lnTo>
                    <a:pt x="1536" y="680"/>
                  </a:lnTo>
                  <a:lnTo>
                    <a:pt x="1536" y="680"/>
                  </a:lnTo>
                  <a:lnTo>
                    <a:pt x="1536" y="680"/>
                  </a:lnTo>
                  <a:lnTo>
                    <a:pt x="1536" y="680"/>
                  </a:lnTo>
                  <a:lnTo>
                    <a:pt x="1536" y="680"/>
                  </a:lnTo>
                  <a:lnTo>
                    <a:pt x="1536" y="682"/>
                  </a:lnTo>
                  <a:lnTo>
                    <a:pt x="1534" y="682"/>
                  </a:lnTo>
                  <a:lnTo>
                    <a:pt x="1534" y="682"/>
                  </a:lnTo>
                  <a:lnTo>
                    <a:pt x="1536" y="684"/>
                  </a:lnTo>
                  <a:lnTo>
                    <a:pt x="1536" y="684"/>
                  </a:lnTo>
                  <a:lnTo>
                    <a:pt x="1536" y="684"/>
                  </a:lnTo>
                  <a:lnTo>
                    <a:pt x="1536" y="684"/>
                  </a:lnTo>
                  <a:lnTo>
                    <a:pt x="1536" y="687"/>
                  </a:lnTo>
                  <a:lnTo>
                    <a:pt x="1538" y="687"/>
                  </a:lnTo>
                  <a:lnTo>
                    <a:pt x="1540" y="682"/>
                  </a:lnTo>
                  <a:lnTo>
                    <a:pt x="1542" y="682"/>
                  </a:lnTo>
                  <a:lnTo>
                    <a:pt x="1542" y="682"/>
                  </a:lnTo>
                  <a:lnTo>
                    <a:pt x="1542" y="682"/>
                  </a:lnTo>
                  <a:lnTo>
                    <a:pt x="1542" y="684"/>
                  </a:lnTo>
                  <a:lnTo>
                    <a:pt x="1542" y="684"/>
                  </a:lnTo>
                  <a:lnTo>
                    <a:pt x="1542" y="684"/>
                  </a:lnTo>
                  <a:lnTo>
                    <a:pt x="1542" y="684"/>
                  </a:lnTo>
                  <a:lnTo>
                    <a:pt x="1542" y="687"/>
                  </a:lnTo>
                  <a:lnTo>
                    <a:pt x="1542" y="687"/>
                  </a:lnTo>
                  <a:lnTo>
                    <a:pt x="1542" y="687"/>
                  </a:lnTo>
                  <a:lnTo>
                    <a:pt x="1542" y="689"/>
                  </a:lnTo>
                  <a:lnTo>
                    <a:pt x="1542" y="689"/>
                  </a:lnTo>
                  <a:lnTo>
                    <a:pt x="1542" y="689"/>
                  </a:lnTo>
                  <a:lnTo>
                    <a:pt x="1542" y="689"/>
                  </a:lnTo>
                  <a:lnTo>
                    <a:pt x="1542" y="689"/>
                  </a:lnTo>
                  <a:lnTo>
                    <a:pt x="1542" y="689"/>
                  </a:lnTo>
                  <a:lnTo>
                    <a:pt x="1542" y="691"/>
                  </a:lnTo>
                  <a:lnTo>
                    <a:pt x="1542" y="691"/>
                  </a:lnTo>
                  <a:lnTo>
                    <a:pt x="1542" y="691"/>
                  </a:lnTo>
                  <a:lnTo>
                    <a:pt x="1542" y="691"/>
                  </a:lnTo>
                  <a:lnTo>
                    <a:pt x="1542" y="691"/>
                  </a:lnTo>
                  <a:lnTo>
                    <a:pt x="1544" y="689"/>
                  </a:lnTo>
                  <a:lnTo>
                    <a:pt x="1544" y="687"/>
                  </a:lnTo>
                  <a:lnTo>
                    <a:pt x="1544" y="684"/>
                  </a:lnTo>
                  <a:lnTo>
                    <a:pt x="1544" y="684"/>
                  </a:lnTo>
                  <a:lnTo>
                    <a:pt x="1546" y="684"/>
                  </a:lnTo>
                  <a:lnTo>
                    <a:pt x="1546" y="684"/>
                  </a:lnTo>
                  <a:lnTo>
                    <a:pt x="1546" y="684"/>
                  </a:lnTo>
                  <a:lnTo>
                    <a:pt x="1546" y="687"/>
                  </a:lnTo>
                  <a:lnTo>
                    <a:pt x="1544" y="689"/>
                  </a:lnTo>
                  <a:lnTo>
                    <a:pt x="1544" y="689"/>
                  </a:lnTo>
                  <a:lnTo>
                    <a:pt x="1544" y="691"/>
                  </a:lnTo>
                  <a:lnTo>
                    <a:pt x="1544" y="691"/>
                  </a:lnTo>
                  <a:lnTo>
                    <a:pt x="1544" y="693"/>
                  </a:lnTo>
                  <a:lnTo>
                    <a:pt x="1544" y="693"/>
                  </a:lnTo>
                  <a:lnTo>
                    <a:pt x="1546" y="695"/>
                  </a:lnTo>
                  <a:lnTo>
                    <a:pt x="1546" y="695"/>
                  </a:lnTo>
                  <a:lnTo>
                    <a:pt x="1546" y="693"/>
                  </a:lnTo>
                  <a:lnTo>
                    <a:pt x="1546" y="693"/>
                  </a:lnTo>
                  <a:lnTo>
                    <a:pt x="1548" y="693"/>
                  </a:lnTo>
                  <a:lnTo>
                    <a:pt x="1548" y="691"/>
                  </a:lnTo>
                  <a:lnTo>
                    <a:pt x="1546" y="689"/>
                  </a:lnTo>
                  <a:lnTo>
                    <a:pt x="1548" y="687"/>
                  </a:lnTo>
                  <a:lnTo>
                    <a:pt x="1548" y="687"/>
                  </a:lnTo>
                  <a:lnTo>
                    <a:pt x="1548" y="687"/>
                  </a:lnTo>
                  <a:lnTo>
                    <a:pt x="1548" y="687"/>
                  </a:lnTo>
                  <a:lnTo>
                    <a:pt x="1548" y="689"/>
                  </a:lnTo>
                  <a:lnTo>
                    <a:pt x="1548" y="689"/>
                  </a:lnTo>
                  <a:lnTo>
                    <a:pt x="1548" y="691"/>
                  </a:lnTo>
                  <a:lnTo>
                    <a:pt x="1548" y="691"/>
                  </a:lnTo>
                  <a:lnTo>
                    <a:pt x="1548" y="691"/>
                  </a:lnTo>
                  <a:lnTo>
                    <a:pt x="1550" y="691"/>
                  </a:lnTo>
                  <a:lnTo>
                    <a:pt x="1550" y="691"/>
                  </a:lnTo>
                  <a:lnTo>
                    <a:pt x="1550" y="691"/>
                  </a:lnTo>
                  <a:lnTo>
                    <a:pt x="1550" y="689"/>
                  </a:lnTo>
                  <a:lnTo>
                    <a:pt x="1550" y="689"/>
                  </a:lnTo>
                  <a:lnTo>
                    <a:pt x="1550" y="689"/>
                  </a:lnTo>
                  <a:lnTo>
                    <a:pt x="1550" y="689"/>
                  </a:lnTo>
                  <a:lnTo>
                    <a:pt x="1552" y="687"/>
                  </a:lnTo>
                  <a:lnTo>
                    <a:pt x="1550" y="691"/>
                  </a:lnTo>
                  <a:lnTo>
                    <a:pt x="1550" y="691"/>
                  </a:lnTo>
                  <a:lnTo>
                    <a:pt x="1550" y="693"/>
                  </a:lnTo>
                  <a:lnTo>
                    <a:pt x="1550" y="693"/>
                  </a:lnTo>
                  <a:lnTo>
                    <a:pt x="1548" y="695"/>
                  </a:lnTo>
                  <a:lnTo>
                    <a:pt x="1548" y="695"/>
                  </a:lnTo>
                  <a:lnTo>
                    <a:pt x="1548" y="695"/>
                  </a:lnTo>
                  <a:lnTo>
                    <a:pt x="1548" y="695"/>
                  </a:lnTo>
                  <a:lnTo>
                    <a:pt x="1548" y="695"/>
                  </a:lnTo>
                  <a:lnTo>
                    <a:pt x="1548" y="695"/>
                  </a:lnTo>
                  <a:lnTo>
                    <a:pt x="1548" y="697"/>
                  </a:lnTo>
                  <a:lnTo>
                    <a:pt x="1548" y="697"/>
                  </a:lnTo>
                  <a:lnTo>
                    <a:pt x="1548" y="697"/>
                  </a:lnTo>
                  <a:lnTo>
                    <a:pt x="1548" y="697"/>
                  </a:lnTo>
                  <a:lnTo>
                    <a:pt x="1548" y="697"/>
                  </a:lnTo>
                  <a:lnTo>
                    <a:pt x="1550" y="699"/>
                  </a:lnTo>
                  <a:lnTo>
                    <a:pt x="1550" y="699"/>
                  </a:lnTo>
                  <a:lnTo>
                    <a:pt x="1550" y="699"/>
                  </a:lnTo>
                  <a:lnTo>
                    <a:pt x="1552" y="701"/>
                  </a:lnTo>
                  <a:lnTo>
                    <a:pt x="1552" y="703"/>
                  </a:lnTo>
                  <a:lnTo>
                    <a:pt x="1555" y="703"/>
                  </a:lnTo>
                  <a:lnTo>
                    <a:pt x="1555" y="703"/>
                  </a:lnTo>
                  <a:lnTo>
                    <a:pt x="1555" y="703"/>
                  </a:lnTo>
                  <a:lnTo>
                    <a:pt x="1555" y="703"/>
                  </a:lnTo>
                  <a:lnTo>
                    <a:pt x="1555" y="705"/>
                  </a:lnTo>
                  <a:lnTo>
                    <a:pt x="1555" y="705"/>
                  </a:lnTo>
                  <a:lnTo>
                    <a:pt x="1557" y="705"/>
                  </a:lnTo>
                  <a:lnTo>
                    <a:pt x="1557" y="705"/>
                  </a:lnTo>
                  <a:lnTo>
                    <a:pt x="1557" y="705"/>
                  </a:lnTo>
                  <a:lnTo>
                    <a:pt x="1557" y="705"/>
                  </a:lnTo>
                  <a:lnTo>
                    <a:pt x="1559" y="707"/>
                  </a:lnTo>
                  <a:lnTo>
                    <a:pt x="1559" y="707"/>
                  </a:lnTo>
                  <a:lnTo>
                    <a:pt x="1559" y="707"/>
                  </a:lnTo>
                  <a:lnTo>
                    <a:pt x="1559" y="707"/>
                  </a:lnTo>
                  <a:lnTo>
                    <a:pt x="1559" y="707"/>
                  </a:lnTo>
                  <a:lnTo>
                    <a:pt x="1559" y="707"/>
                  </a:lnTo>
                  <a:lnTo>
                    <a:pt x="1559" y="707"/>
                  </a:lnTo>
                  <a:lnTo>
                    <a:pt x="1559" y="709"/>
                  </a:lnTo>
                  <a:lnTo>
                    <a:pt x="1561" y="709"/>
                  </a:lnTo>
                  <a:lnTo>
                    <a:pt x="1561" y="709"/>
                  </a:lnTo>
                  <a:lnTo>
                    <a:pt x="1561" y="709"/>
                  </a:lnTo>
                  <a:lnTo>
                    <a:pt x="1561" y="709"/>
                  </a:lnTo>
                  <a:lnTo>
                    <a:pt x="1561" y="711"/>
                  </a:lnTo>
                  <a:lnTo>
                    <a:pt x="1561" y="709"/>
                  </a:lnTo>
                  <a:lnTo>
                    <a:pt x="1563" y="709"/>
                  </a:lnTo>
                  <a:lnTo>
                    <a:pt x="1563" y="709"/>
                  </a:lnTo>
                  <a:lnTo>
                    <a:pt x="1563" y="709"/>
                  </a:lnTo>
                  <a:lnTo>
                    <a:pt x="1563" y="709"/>
                  </a:lnTo>
                  <a:lnTo>
                    <a:pt x="1563" y="709"/>
                  </a:lnTo>
                  <a:lnTo>
                    <a:pt x="1563" y="709"/>
                  </a:lnTo>
                  <a:lnTo>
                    <a:pt x="1563" y="709"/>
                  </a:lnTo>
                  <a:lnTo>
                    <a:pt x="1563" y="711"/>
                  </a:lnTo>
                  <a:lnTo>
                    <a:pt x="1563" y="711"/>
                  </a:lnTo>
                  <a:lnTo>
                    <a:pt x="1565" y="711"/>
                  </a:lnTo>
                  <a:lnTo>
                    <a:pt x="1565" y="711"/>
                  </a:lnTo>
                  <a:lnTo>
                    <a:pt x="1565" y="709"/>
                  </a:lnTo>
                  <a:lnTo>
                    <a:pt x="1565" y="709"/>
                  </a:lnTo>
                  <a:close/>
                  <a:moveTo>
                    <a:pt x="1264" y="576"/>
                  </a:moveTo>
                  <a:lnTo>
                    <a:pt x="1262" y="576"/>
                  </a:lnTo>
                  <a:lnTo>
                    <a:pt x="1262" y="578"/>
                  </a:lnTo>
                  <a:lnTo>
                    <a:pt x="1260" y="578"/>
                  </a:lnTo>
                  <a:lnTo>
                    <a:pt x="1260" y="582"/>
                  </a:lnTo>
                  <a:lnTo>
                    <a:pt x="1258" y="582"/>
                  </a:lnTo>
                  <a:lnTo>
                    <a:pt x="1258" y="582"/>
                  </a:lnTo>
                  <a:lnTo>
                    <a:pt x="1258" y="586"/>
                  </a:lnTo>
                  <a:lnTo>
                    <a:pt x="1258" y="586"/>
                  </a:lnTo>
                  <a:lnTo>
                    <a:pt x="1258" y="584"/>
                  </a:lnTo>
                  <a:lnTo>
                    <a:pt x="1262" y="580"/>
                  </a:lnTo>
                  <a:lnTo>
                    <a:pt x="1262" y="580"/>
                  </a:lnTo>
                  <a:lnTo>
                    <a:pt x="1262" y="580"/>
                  </a:lnTo>
                  <a:lnTo>
                    <a:pt x="1262" y="578"/>
                  </a:lnTo>
                  <a:lnTo>
                    <a:pt x="1262" y="578"/>
                  </a:lnTo>
                  <a:lnTo>
                    <a:pt x="1266" y="576"/>
                  </a:lnTo>
                  <a:lnTo>
                    <a:pt x="1266" y="574"/>
                  </a:lnTo>
                  <a:lnTo>
                    <a:pt x="1266" y="574"/>
                  </a:lnTo>
                  <a:lnTo>
                    <a:pt x="1266" y="574"/>
                  </a:lnTo>
                  <a:lnTo>
                    <a:pt x="1266" y="574"/>
                  </a:lnTo>
                  <a:lnTo>
                    <a:pt x="1264" y="574"/>
                  </a:lnTo>
                  <a:lnTo>
                    <a:pt x="1264" y="576"/>
                  </a:lnTo>
                  <a:close/>
                  <a:moveTo>
                    <a:pt x="1239" y="562"/>
                  </a:moveTo>
                  <a:lnTo>
                    <a:pt x="1239" y="562"/>
                  </a:lnTo>
                  <a:lnTo>
                    <a:pt x="1239" y="562"/>
                  </a:lnTo>
                  <a:lnTo>
                    <a:pt x="1239" y="562"/>
                  </a:lnTo>
                  <a:lnTo>
                    <a:pt x="1239" y="562"/>
                  </a:lnTo>
                  <a:lnTo>
                    <a:pt x="1239" y="559"/>
                  </a:lnTo>
                  <a:lnTo>
                    <a:pt x="1239" y="559"/>
                  </a:lnTo>
                  <a:lnTo>
                    <a:pt x="1239" y="557"/>
                  </a:lnTo>
                  <a:lnTo>
                    <a:pt x="1239" y="557"/>
                  </a:lnTo>
                  <a:lnTo>
                    <a:pt x="1239" y="555"/>
                  </a:lnTo>
                  <a:lnTo>
                    <a:pt x="1239" y="557"/>
                  </a:lnTo>
                  <a:lnTo>
                    <a:pt x="1237" y="557"/>
                  </a:lnTo>
                  <a:lnTo>
                    <a:pt x="1235" y="562"/>
                  </a:lnTo>
                  <a:lnTo>
                    <a:pt x="1235" y="562"/>
                  </a:lnTo>
                  <a:lnTo>
                    <a:pt x="1237" y="562"/>
                  </a:lnTo>
                  <a:lnTo>
                    <a:pt x="1237" y="562"/>
                  </a:lnTo>
                  <a:lnTo>
                    <a:pt x="1237" y="562"/>
                  </a:lnTo>
                  <a:lnTo>
                    <a:pt x="1237" y="562"/>
                  </a:lnTo>
                  <a:lnTo>
                    <a:pt x="1239" y="562"/>
                  </a:lnTo>
                  <a:lnTo>
                    <a:pt x="1239" y="562"/>
                  </a:lnTo>
                  <a:close/>
                  <a:moveTo>
                    <a:pt x="1184" y="570"/>
                  </a:moveTo>
                  <a:lnTo>
                    <a:pt x="1182" y="570"/>
                  </a:lnTo>
                  <a:lnTo>
                    <a:pt x="1182" y="570"/>
                  </a:lnTo>
                  <a:lnTo>
                    <a:pt x="1180" y="570"/>
                  </a:lnTo>
                  <a:lnTo>
                    <a:pt x="1180" y="572"/>
                  </a:lnTo>
                  <a:lnTo>
                    <a:pt x="1180" y="572"/>
                  </a:lnTo>
                  <a:lnTo>
                    <a:pt x="1180" y="572"/>
                  </a:lnTo>
                  <a:lnTo>
                    <a:pt x="1180" y="572"/>
                  </a:lnTo>
                  <a:lnTo>
                    <a:pt x="1180" y="572"/>
                  </a:lnTo>
                  <a:lnTo>
                    <a:pt x="1180" y="574"/>
                  </a:lnTo>
                  <a:lnTo>
                    <a:pt x="1180" y="572"/>
                  </a:lnTo>
                  <a:lnTo>
                    <a:pt x="1182" y="572"/>
                  </a:lnTo>
                  <a:lnTo>
                    <a:pt x="1184" y="570"/>
                  </a:lnTo>
                  <a:lnTo>
                    <a:pt x="1184" y="570"/>
                  </a:lnTo>
                  <a:lnTo>
                    <a:pt x="1184" y="570"/>
                  </a:lnTo>
                  <a:lnTo>
                    <a:pt x="1184" y="570"/>
                  </a:lnTo>
                  <a:lnTo>
                    <a:pt x="1184" y="570"/>
                  </a:lnTo>
                  <a:close/>
                  <a:moveTo>
                    <a:pt x="1194" y="537"/>
                  </a:move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close/>
                  <a:moveTo>
                    <a:pt x="1172" y="584"/>
                  </a:moveTo>
                  <a:lnTo>
                    <a:pt x="1172" y="582"/>
                  </a:lnTo>
                  <a:lnTo>
                    <a:pt x="1172" y="582"/>
                  </a:lnTo>
                  <a:lnTo>
                    <a:pt x="1172" y="582"/>
                  </a:lnTo>
                  <a:lnTo>
                    <a:pt x="1172" y="582"/>
                  </a:lnTo>
                  <a:lnTo>
                    <a:pt x="1172" y="582"/>
                  </a:lnTo>
                  <a:lnTo>
                    <a:pt x="1172" y="582"/>
                  </a:lnTo>
                  <a:lnTo>
                    <a:pt x="1169" y="582"/>
                  </a:lnTo>
                  <a:lnTo>
                    <a:pt x="1169" y="584"/>
                  </a:lnTo>
                  <a:lnTo>
                    <a:pt x="1167" y="586"/>
                  </a:lnTo>
                  <a:lnTo>
                    <a:pt x="1167" y="588"/>
                  </a:lnTo>
                  <a:lnTo>
                    <a:pt x="1167" y="588"/>
                  </a:lnTo>
                  <a:lnTo>
                    <a:pt x="1167" y="588"/>
                  </a:lnTo>
                  <a:lnTo>
                    <a:pt x="1169" y="588"/>
                  </a:lnTo>
                  <a:lnTo>
                    <a:pt x="1169" y="588"/>
                  </a:lnTo>
                  <a:lnTo>
                    <a:pt x="1172" y="586"/>
                  </a:lnTo>
                  <a:lnTo>
                    <a:pt x="1172" y="586"/>
                  </a:lnTo>
                  <a:lnTo>
                    <a:pt x="1172" y="584"/>
                  </a:lnTo>
                  <a:close/>
                  <a:moveTo>
                    <a:pt x="1178" y="551"/>
                  </a:moveTo>
                  <a:lnTo>
                    <a:pt x="1178" y="551"/>
                  </a:lnTo>
                  <a:lnTo>
                    <a:pt x="1178" y="549"/>
                  </a:lnTo>
                  <a:lnTo>
                    <a:pt x="1178" y="551"/>
                  </a:lnTo>
                  <a:lnTo>
                    <a:pt x="1178" y="551"/>
                  </a:lnTo>
                  <a:lnTo>
                    <a:pt x="1178" y="551"/>
                  </a:lnTo>
                  <a:lnTo>
                    <a:pt x="1180" y="551"/>
                  </a:lnTo>
                  <a:lnTo>
                    <a:pt x="1180" y="551"/>
                  </a:lnTo>
                  <a:lnTo>
                    <a:pt x="1180" y="551"/>
                  </a:lnTo>
                  <a:lnTo>
                    <a:pt x="1182" y="551"/>
                  </a:lnTo>
                  <a:lnTo>
                    <a:pt x="1182" y="551"/>
                  </a:lnTo>
                  <a:lnTo>
                    <a:pt x="1182" y="549"/>
                  </a:lnTo>
                  <a:lnTo>
                    <a:pt x="1182" y="549"/>
                  </a:lnTo>
                  <a:lnTo>
                    <a:pt x="1182" y="549"/>
                  </a:lnTo>
                  <a:lnTo>
                    <a:pt x="1182" y="549"/>
                  </a:lnTo>
                  <a:lnTo>
                    <a:pt x="1182" y="549"/>
                  </a:lnTo>
                  <a:lnTo>
                    <a:pt x="1182" y="549"/>
                  </a:lnTo>
                  <a:lnTo>
                    <a:pt x="1180" y="549"/>
                  </a:lnTo>
                  <a:lnTo>
                    <a:pt x="1180" y="549"/>
                  </a:lnTo>
                  <a:lnTo>
                    <a:pt x="1180" y="549"/>
                  </a:lnTo>
                  <a:lnTo>
                    <a:pt x="1180" y="547"/>
                  </a:lnTo>
                  <a:lnTo>
                    <a:pt x="1180" y="547"/>
                  </a:lnTo>
                  <a:lnTo>
                    <a:pt x="1180" y="547"/>
                  </a:lnTo>
                  <a:lnTo>
                    <a:pt x="1178" y="549"/>
                  </a:lnTo>
                  <a:lnTo>
                    <a:pt x="1178" y="549"/>
                  </a:lnTo>
                  <a:lnTo>
                    <a:pt x="1178" y="549"/>
                  </a:lnTo>
                  <a:lnTo>
                    <a:pt x="1178" y="549"/>
                  </a:lnTo>
                  <a:lnTo>
                    <a:pt x="1178" y="549"/>
                  </a:lnTo>
                  <a:lnTo>
                    <a:pt x="1178" y="549"/>
                  </a:lnTo>
                  <a:lnTo>
                    <a:pt x="1178" y="551"/>
                  </a:lnTo>
                  <a:lnTo>
                    <a:pt x="1178" y="551"/>
                  </a:lnTo>
                  <a:close/>
                  <a:moveTo>
                    <a:pt x="1215" y="611"/>
                  </a:moveTo>
                  <a:lnTo>
                    <a:pt x="1215" y="611"/>
                  </a:lnTo>
                  <a:lnTo>
                    <a:pt x="1215" y="613"/>
                  </a:lnTo>
                  <a:lnTo>
                    <a:pt x="1215" y="613"/>
                  </a:lnTo>
                  <a:lnTo>
                    <a:pt x="1215" y="611"/>
                  </a:lnTo>
                  <a:lnTo>
                    <a:pt x="1215" y="611"/>
                  </a:lnTo>
                  <a:lnTo>
                    <a:pt x="1215" y="611"/>
                  </a:lnTo>
                  <a:lnTo>
                    <a:pt x="1215" y="611"/>
                  </a:lnTo>
                  <a:close/>
                  <a:moveTo>
                    <a:pt x="1190" y="570"/>
                  </a:moveTo>
                  <a:lnTo>
                    <a:pt x="1190" y="570"/>
                  </a:lnTo>
                  <a:lnTo>
                    <a:pt x="1192" y="566"/>
                  </a:lnTo>
                  <a:lnTo>
                    <a:pt x="1192" y="566"/>
                  </a:lnTo>
                  <a:lnTo>
                    <a:pt x="1188" y="566"/>
                  </a:lnTo>
                  <a:lnTo>
                    <a:pt x="1188" y="566"/>
                  </a:lnTo>
                  <a:lnTo>
                    <a:pt x="1190" y="566"/>
                  </a:lnTo>
                  <a:lnTo>
                    <a:pt x="1190" y="564"/>
                  </a:lnTo>
                  <a:lnTo>
                    <a:pt x="1188" y="564"/>
                  </a:lnTo>
                  <a:lnTo>
                    <a:pt x="1188" y="564"/>
                  </a:lnTo>
                  <a:lnTo>
                    <a:pt x="1186" y="566"/>
                  </a:lnTo>
                  <a:lnTo>
                    <a:pt x="1186" y="566"/>
                  </a:lnTo>
                  <a:lnTo>
                    <a:pt x="1186" y="566"/>
                  </a:lnTo>
                  <a:lnTo>
                    <a:pt x="1188" y="568"/>
                  </a:lnTo>
                  <a:lnTo>
                    <a:pt x="1188" y="568"/>
                  </a:lnTo>
                  <a:lnTo>
                    <a:pt x="1188" y="568"/>
                  </a:lnTo>
                  <a:lnTo>
                    <a:pt x="1188" y="568"/>
                  </a:lnTo>
                  <a:lnTo>
                    <a:pt x="1188" y="568"/>
                  </a:lnTo>
                  <a:lnTo>
                    <a:pt x="1188" y="568"/>
                  </a:lnTo>
                  <a:lnTo>
                    <a:pt x="1188" y="568"/>
                  </a:lnTo>
                  <a:lnTo>
                    <a:pt x="1186" y="568"/>
                  </a:lnTo>
                  <a:lnTo>
                    <a:pt x="1186" y="570"/>
                  </a:lnTo>
                  <a:lnTo>
                    <a:pt x="1186" y="570"/>
                  </a:lnTo>
                  <a:lnTo>
                    <a:pt x="1186" y="570"/>
                  </a:lnTo>
                  <a:lnTo>
                    <a:pt x="1186" y="570"/>
                  </a:lnTo>
                  <a:lnTo>
                    <a:pt x="1188" y="570"/>
                  </a:lnTo>
                  <a:lnTo>
                    <a:pt x="1188" y="570"/>
                  </a:lnTo>
                  <a:lnTo>
                    <a:pt x="1188" y="572"/>
                  </a:lnTo>
                  <a:lnTo>
                    <a:pt x="1188" y="572"/>
                  </a:lnTo>
                  <a:lnTo>
                    <a:pt x="1186" y="572"/>
                  </a:lnTo>
                  <a:lnTo>
                    <a:pt x="1186" y="572"/>
                  </a:lnTo>
                  <a:lnTo>
                    <a:pt x="1186" y="572"/>
                  </a:lnTo>
                  <a:lnTo>
                    <a:pt x="1186" y="572"/>
                  </a:lnTo>
                  <a:lnTo>
                    <a:pt x="1186" y="572"/>
                  </a:lnTo>
                  <a:lnTo>
                    <a:pt x="1184" y="572"/>
                  </a:lnTo>
                  <a:lnTo>
                    <a:pt x="1184" y="572"/>
                  </a:lnTo>
                  <a:lnTo>
                    <a:pt x="1184" y="574"/>
                  </a:lnTo>
                  <a:lnTo>
                    <a:pt x="1184" y="576"/>
                  </a:lnTo>
                  <a:lnTo>
                    <a:pt x="1184" y="576"/>
                  </a:lnTo>
                  <a:lnTo>
                    <a:pt x="1184" y="576"/>
                  </a:lnTo>
                  <a:lnTo>
                    <a:pt x="1184" y="578"/>
                  </a:lnTo>
                  <a:lnTo>
                    <a:pt x="1182" y="578"/>
                  </a:lnTo>
                  <a:lnTo>
                    <a:pt x="1180" y="582"/>
                  </a:lnTo>
                  <a:lnTo>
                    <a:pt x="1180" y="582"/>
                  </a:lnTo>
                  <a:lnTo>
                    <a:pt x="1176" y="584"/>
                  </a:lnTo>
                  <a:lnTo>
                    <a:pt x="1176" y="586"/>
                  </a:lnTo>
                  <a:lnTo>
                    <a:pt x="1176" y="586"/>
                  </a:lnTo>
                  <a:lnTo>
                    <a:pt x="1176" y="586"/>
                  </a:lnTo>
                  <a:lnTo>
                    <a:pt x="1176" y="586"/>
                  </a:lnTo>
                  <a:lnTo>
                    <a:pt x="1176" y="588"/>
                  </a:lnTo>
                  <a:lnTo>
                    <a:pt x="1174" y="588"/>
                  </a:lnTo>
                  <a:lnTo>
                    <a:pt x="1174" y="588"/>
                  </a:lnTo>
                  <a:lnTo>
                    <a:pt x="1174" y="590"/>
                  </a:lnTo>
                  <a:lnTo>
                    <a:pt x="1174" y="590"/>
                  </a:lnTo>
                  <a:lnTo>
                    <a:pt x="1174" y="590"/>
                  </a:lnTo>
                  <a:lnTo>
                    <a:pt x="1176" y="590"/>
                  </a:lnTo>
                  <a:lnTo>
                    <a:pt x="1174" y="592"/>
                  </a:lnTo>
                  <a:lnTo>
                    <a:pt x="1174" y="592"/>
                  </a:lnTo>
                  <a:lnTo>
                    <a:pt x="1174" y="592"/>
                  </a:lnTo>
                  <a:lnTo>
                    <a:pt x="1172" y="592"/>
                  </a:lnTo>
                  <a:lnTo>
                    <a:pt x="1172" y="592"/>
                  </a:lnTo>
                  <a:lnTo>
                    <a:pt x="1172" y="594"/>
                  </a:lnTo>
                  <a:lnTo>
                    <a:pt x="1172" y="596"/>
                  </a:lnTo>
                  <a:lnTo>
                    <a:pt x="1172" y="596"/>
                  </a:lnTo>
                  <a:lnTo>
                    <a:pt x="1172" y="596"/>
                  </a:lnTo>
                  <a:lnTo>
                    <a:pt x="1172" y="596"/>
                  </a:lnTo>
                  <a:lnTo>
                    <a:pt x="1172" y="596"/>
                  </a:lnTo>
                  <a:lnTo>
                    <a:pt x="1174" y="596"/>
                  </a:lnTo>
                  <a:lnTo>
                    <a:pt x="1174" y="596"/>
                  </a:lnTo>
                  <a:lnTo>
                    <a:pt x="1176" y="594"/>
                  </a:lnTo>
                  <a:lnTo>
                    <a:pt x="1178" y="594"/>
                  </a:lnTo>
                  <a:lnTo>
                    <a:pt x="1178" y="594"/>
                  </a:lnTo>
                  <a:lnTo>
                    <a:pt x="1178" y="592"/>
                  </a:lnTo>
                  <a:lnTo>
                    <a:pt x="1180" y="592"/>
                  </a:lnTo>
                  <a:lnTo>
                    <a:pt x="1182" y="592"/>
                  </a:lnTo>
                  <a:lnTo>
                    <a:pt x="1182" y="592"/>
                  </a:lnTo>
                  <a:lnTo>
                    <a:pt x="1182" y="590"/>
                  </a:lnTo>
                  <a:lnTo>
                    <a:pt x="1182" y="590"/>
                  </a:lnTo>
                  <a:lnTo>
                    <a:pt x="1182" y="588"/>
                  </a:lnTo>
                  <a:lnTo>
                    <a:pt x="1182" y="588"/>
                  </a:lnTo>
                  <a:lnTo>
                    <a:pt x="1182" y="588"/>
                  </a:lnTo>
                  <a:lnTo>
                    <a:pt x="1182" y="588"/>
                  </a:lnTo>
                  <a:lnTo>
                    <a:pt x="1182" y="588"/>
                  </a:lnTo>
                  <a:lnTo>
                    <a:pt x="1182" y="586"/>
                  </a:lnTo>
                  <a:lnTo>
                    <a:pt x="1182" y="586"/>
                  </a:lnTo>
                  <a:lnTo>
                    <a:pt x="1184" y="586"/>
                  </a:lnTo>
                  <a:lnTo>
                    <a:pt x="1184" y="584"/>
                  </a:lnTo>
                  <a:lnTo>
                    <a:pt x="1184" y="584"/>
                  </a:lnTo>
                  <a:lnTo>
                    <a:pt x="1184" y="584"/>
                  </a:lnTo>
                  <a:lnTo>
                    <a:pt x="1184" y="584"/>
                  </a:lnTo>
                  <a:lnTo>
                    <a:pt x="1184" y="582"/>
                  </a:lnTo>
                  <a:lnTo>
                    <a:pt x="1186" y="580"/>
                  </a:lnTo>
                  <a:lnTo>
                    <a:pt x="1188" y="578"/>
                  </a:lnTo>
                  <a:lnTo>
                    <a:pt x="1192" y="572"/>
                  </a:lnTo>
                  <a:lnTo>
                    <a:pt x="1192" y="570"/>
                  </a:lnTo>
                  <a:lnTo>
                    <a:pt x="1194" y="568"/>
                  </a:lnTo>
                  <a:lnTo>
                    <a:pt x="1194" y="568"/>
                  </a:lnTo>
                  <a:lnTo>
                    <a:pt x="1194" y="568"/>
                  </a:lnTo>
                  <a:lnTo>
                    <a:pt x="1194" y="568"/>
                  </a:lnTo>
                  <a:lnTo>
                    <a:pt x="1194" y="568"/>
                  </a:lnTo>
                  <a:lnTo>
                    <a:pt x="1194" y="568"/>
                  </a:lnTo>
                  <a:lnTo>
                    <a:pt x="1190" y="570"/>
                  </a:lnTo>
                  <a:close/>
                  <a:moveTo>
                    <a:pt x="1184" y="537"/>
                  </a:moveTo>
                  <a:lnTo>
                    <a:pt x="1184" y="537"/>
                  </a:lnTo>
                  <a:lnTo>
                    <a:pt x="1184" y="537"/>
                  </a:lnTo>
                  <a:lnTo>
                    <a:pt x="1182" y="537"/>
                  </a:lnTo>
                  <a:lnTo>
                    <a:pt x="1182" y="537"/>
                  </a:lnTo>
                  <a:lnTo>
                    <a:pt x="1182" y="539"/>
                  </a:lnTo>
                  <a:lnTo>
                    <a:pt x="1182" y="539"/>
                  </a:lnTo>
                  <a:lnTo>
                    <a:pt x="1182" y="539"/>
                  </a:lnTo>
                  <a:lnTo>
                    <a:pt x="1182" y="539"/>
                  </a:lnTo>
                  <a:lnTo>
                    <a:pt x="1182" y="539"/>
                  </a:lnTo>
                  <a:lnTo>
                    <a:pt x="1182" y="539"/>
                  </a:lnTo>
                  <a:lnTo>
                    <a:pt x="1182" y="539"/>
                  </a:lnTo>
                  <a:lnTo>
                    <a:pt x="1182" y="539"/>
                  </a:lnTo>
                  <a:lnTo>
                    <a:pt x="1182" y="539"/>
                  </a:lnTo>
                  <a:lnTo>
                    <a:pt x="1182" y="539"/>
                  </a:lnTo>
                  <a:lnTo>
                    <a:pt x="1184" y="539"/>
                  </a:lnTo>
                  <a:lnTo>
                    <a:pt x="1184" y="539"/>
                  </a:lnTo>
                  <a:lnTo>
                    <a:pt x="1184" y="539"/>
                  </a:lnTo>
                  <a:lnTo>
                    <a:pt x="1184" y="539"/>
                  </a:lnTo>
                  <a:lnTo>
                    <a:pt x="1184" y="539"/>
                  </a:lnTo>
                  <a:lnTo>
                    <a:pt x="1184" y="539"/>
                  </a:lnTo>
                  <a:lnTo>
                    <a:pt x="1184" y="539"/>
                  </a:lnTo>
                  <a:lnTo>
                    <a:pt x="1184" y="539"/>
                  </a:lnTo>
                  <a:lnTo>
                    <a:pt x="1184" y="539"/>
                  </a:lnTo>
                  <a:lnTo>
                    <a:pt x="1184" y="539"/>
                  </a:lnTo>
                  <a:lnTo>
                    <a:pt x="1184" y="539"/>
                  </a:lnTo>
                  <a:lnTo>
                    <a:pt x="1186" y="539"/>
                  </a:lnTo>
                  <a:lnTo>
                    <a:pt x="1186" y="539"/>
                  </a:lnTo>
                  <a:lnTo>
                    <a:pt x="1186" y="539"/>
                  </a:lnTo>
                  <a:lnTo>
                    <a:pt x="1188" y="537"/>
                  </a:lnTo>
                  <a:lnTo>
                    <a:pt x="1186" y="537"/>
                  </a:lnTo>
                  <a:lnTo>
                    <a:pt x="1186" y="537"/>
                  </a:lnTo>
                  <a:lnTo>
                    <a:pt x="1186" y="537"/>
                  </a:lnTo>
                  <a:lnTo>
                    <a:pt x="1186" y="537"/>
                  </a:lnTo>
                  <a:lnTo>
                    <a:pt x="1186" y="537"/>
                  </a:lnTo>
                  <a:lnTo>
                    <a:pt x="1186" y="537"/>
                  </a:lnTo>
                  <a:lnTo>
                    <a:pt x="1186" y="539"/>
                  </a:lnTo>
                  <a:lnTo>
                    <a:pt x="1186" y="539"/>
                  </a:lnTo>
                  <a:lnTo>
                    <a:pt x="1186" y="539"/>
                  </a:lnTo>
                  <a:lnTo>
                    <a:pt x="1186" y="539"/>
                  </a:lnTo>
                  <a:lnTo>
                    <a:pt x="1186" y="537"/>
                  </a:lnTo>
                  <a:lnTo>
                    <a:pt x="1186" y="537"/>
                  </a:lnTo>
                  <a:lnTo>
                    <a:pt x="1186" y="537"/>
                  </a:lnTo>
                  <a:lnTo>
                    <a:pt x="1186" y="537"/>
                  </a:lnTo>
                  <a:lnTo>
                    <a:pt x="1186" y="537"/>
                  </a:lnTo>
                  <a:lnTo>
                    <a:pt x="1186" y="537"/>
                  </a:lnTo>
                  <a:lnTo>
                    <a:pt x="1186" y="537"/>
                  </a:lnTo>
                  <a:lnTo>
                    <a:pt x="1184" y="537"/>
                  </a:lnTo>
                  <a:lnTo>
                    <a:pt x="1184" y="537"/>
                  </a:lnTo>
                  <a:lnTo>
                    <a:pt x="1184" y="537"/>
                  </a:lnTo>
                  <a:lnTo>
                    <a:pt x="1184" y="537"/>
                  </a:lnTo>
                  <a:lnTo>
                    <a:pt x="1184" y="537"/>
                  </a:lnTo>
                  <a:lnTo>
                    <a:pt x="1184" y="537"/>
                  </a:lnTo>
                  <a:lnTo>
                    <a:pt x="1184" y="537"/>
                  </a:lnTo>
                  <a:lnTo>
                    <a:pt x="1184" y="537"/>
                  </a:lnTo>
                  <a:lnTo>
                    <a:pt x="1184" y="537"/>
                  </a:lnTo>
                  <a:lnTo>
                    <a:pt x="1184" y="537"/>
                  </a:lnTo>
                  <a:lnTo>
                    <a:pt x="1184" y="537"/>
                  </a:lnTo>
                  <a:close/>
                  <a:moveTo>
                    <a:pt x="1231" y="564"/>
                  </a:moveTo>
                  <a:lnTo>
                    <a:pt x="1229" y="564"/>
                  </a:lnTo>
                  <a:lnTo>
                    <a:pt x="1229" y="564"/>
                  </a:lnTo>
                  <a:lnTo>
                    <a:pt x="1229" y="564"/>
                  </a:lnTo>
                  <a:lnTo>
                    <a:pt x="1229" y="564"/>
                  </a:lnTo>
                  <a:lnTo>
                    <a:pt x="1229" y="564"/>
                  </a:lnTo>
                  <a:lnTo>
                    <a:pt x="1229" y="564"/>
                  </a:lnTo>
                  <a:lnTo>
                    <a:pt x="1229" y="564"/>
                  </a:lnTo>
                  <a:lnTo>
                    <a:pt x="1229" y="562"/>
                  </a:lnTo>
                  <a:lnTo>
                    <a:pt x="1229" y="562"/>
                  </a:lnTo>
                  <a:lnTo>
                    <a:pt x="1227" y="562"/>
                  </a:lnTo>
                  <a:lnTo>
                    <a:pt x="1227" y="562"/>
                  </a:lnTo>
                  <a:lnTo>
                    <a:pt x="1227" y="562"/>
                  </a:lnTo>
                  <a:lnTo>
                    <a:pt x="1227" y="562"/>
                  </a:lnTo>
                  <a:lnTo>
                    <a:pt x="1227" y="562"/>
                  </a:lnTo>
                  <a:lnTo>
                    <a:pt x="1229" y="564"/>
                  </a:lnTo>
                  <a:lnTo>
                    <a:pt x="1229" y="564"/>
                  </a:lnTo>
                  <a:lnTo>
                    <a:pt x="1229" y="564"/>
                  </a:lnTo>
                  <a:lnTo>
                    <a:pt x="1229" y="564"/>
                  </a:lnTo>
                  <a:lnTo>
                    <a:pt x="1229" y="564"/>
                  </a:lnTo>
                  <a:lnTo>
                    <a:pt x="1229" y="564"/>
                  </a:lnTo>
                  <a:lnTo>
                    <a:pt x="1229" y="564"/>
                  </a:lnTo>
                  <a:lnTo>
                    <a:pt x="1231" y="564"/>
                  </a:lnTo>
                  <a:lnTo>
                    <a:pt x="1231" y="564"/>
                  </a:lnTo>
                  <a:lnTo>
                    <a:pt x="1231" y="564"/>
                  </a:lnTo>
                  <a:lnTo>
                    <a:pt x="1231" y="564"/>
                  </a:lnTo>
                  <a:close/>
                  <a:moveTo>
                    <a:pt x="1237" y="566"/>
                  </a:moveTo>
                  <a:lnTo>
                    <a:pt x="1235" y="566"/>
                  </a:lnTo>
                  <a:lnTo>
                    <a:pt x="1235" y="564"/>
                  </a:lnTo>
                  <a:lnTo>
                    <a:pt x="1233" y="564"/>
                  </a:lnTo>
                  <a:lnTo>
                    <a:pt x="1233" y="564"/>
                  </a:lnTo>
                  <a:lnTo>
                    <a:pt x="1233" y="564"/>
                  </a:lnTo>
                  <a:lnTo>
                    <a:pt x="1233" y="564"/>
                  </a:lnTo>
                  <a:lnTo>
                    <a:pt x="1235" y="566"/>
                  </a:lnTo>
                  <a:lnTo>
                    <a:pt x="1235" y="566"/>
                  </a:lnTo>
                  <a:lnTo>
                    <a:pt x="1235" y="566"/>
                  </a:lnTo>
                  <a:lnTo>
                    <a:pt x="1237" y="566"/>
                  </a:lnTo>
                  <a:lnTo>
                    <a:pt x="1237" y="566"/>
                  </a:lnTo>
                  <a:lnTo>
                    <a:pt x="1237" y="566"/>
                  </a:lnTo>
                  <a:lnTo>
                    <a:pt x="1237" y="566"/>
                  </a:lnTo>
                  <a:lnTo>
                    <a:pt x="1237" y="566"/>
                  </a:lnTo>
                  <a:close/>
                  <a:moveTo>
                    <a:pt x="1223" y="562"/>
                  </a:moveTo>
                  <a:lnTo>
                    <a:pt x="1225" y="562"/>
                  </a:lnTo>
                  <a:lnTo>
                    <a:pt x="1225" y="562"/>
                  </a:lnTo>
                  <a:lnTo>
                    <a:pt x="1225" y="562"/>
                  </a:lnTo>
                  <a:lnTo>
                    <a:pt x="1225" y="562"/>
                  </a:lnTo>
                  <a:lnTo>
                    <a:pt x="1223" y="562"/>
                  </a:lnTo>
                  <a:close/>
                  <a:moveTo>
                    <a:pt x="1223" y="562"/>
                  </a:moveTo>
                  <a:lnTo>
                    <a:pt x="1223" y="562"/>
                  </a:lnTo>
                  <a:lnTo>
                    <a:pt x="1223" y="562"/>
                  </a:lnTo>
                  <a:lnTo>
                    <a:pt x="1223" y="562"/>
                  </a:lnTo>
                  <a:lnTo>
                    <a:pt x="1223" y="562"/>
                  </a:lnTo>
                  <a:close/>
                  <a:moveTo>
                    <a:pt x="1219" y="551"/>
                  </a:moveTo>
                  <a:lnTo>
                    <a:pt x="1221" y="549"/>
                  </a:lnTo>
                  <a:lnTo>
                    <a:pt x="1221" y="549"/>
                  </a:lnTo>
                  <a:lnTo>
                    <a:pt x="1223" y="549"/>
                  </a:lnTo>
                  <a:lnTo>
                    <a:pt x="1223" y="549"/>
                  </a:lnTo>
                  <a:lnTo>
                    <a:pt x="1223" y="549"/>
                  </a:lnTo>
                  <a:lnTo>
                    <a:pt x="1223" y="549"/>
                  </a:lnTo>
                  <a:lnTo>
                    <a:pt x="1221" y="549"/>
                  </a:lnTo>
                  <a:lnTo>
                    <a:pt x="1221" y="547"/>
                  </a:lnTo>
                  <a:lnTo>
                    <a:pt x="1223" y="547"/>
                  </a:lnTo>
                  <a:lnTo>
                    <a:pt x="1221" y="547"/>
                  </a:lnTo>
                  <a:lnTo>
                    <a:pt x="1221" y="549"/>
                  </a:lnTo>
                  <a:lnTo>
                    <a:pt x="1219" y="549"/>
                  </a:lnTo>
                  <a:lnTo>
                    <a:pt x="1217" y="549"/>
                  </a:lnTo>
                  <a:lnTo>
                    <a:pt x="1217" y="551"/>
                  </a:lnTo>
                  <a:lnTo>
                    <a:pt x="1217" y="551"/>
                  </a:lnTo>
                  <a:lnTo>
                    <a:pt x="1217" y="551"/>
                  </a:lnTo>
                  <a:lnTo>
                    <a:pt x="1217" y="551"/>
                  </a:lnTo>
                  <a:lnTo>
                    <a:pt x="1215" y="551"/>
                  </a:lnTo>
                  <a:lnTo>
                    <a:pt x="1212" y="553"/>
                  </a:lnTo>
                  <a:lnTo>
                    <a:pt x="1215" y="553"/>
                  </a:lnTo>
                  <a:lnTo>
                    <a:pt x="1215" y="553"/>
                  </a:lnTo>
                  <a:lnTo>
                    <a:pt x="1212" y="553"/>
                  </a:lnTo>
                  <a:lnTo>
                    <a:pt x="1208" y="555"/>
                  </a:lnTo>
                  <a:lnTo>
                    <a:pt x="1208" y="555"/>
                  </a:lnTo>
                  <a:lnTo>
                    <a:pt x="1208" y="555"/>
                  </a:lnTo>
                  <a:lnTo>
                    <a:pt x="1208" y="557"/>
                  </a:lnTo>
                  <a:lnTo>
                    <a:pt x="1208" y="557"/>
                  </a:lnTo>
                  <a:lnTo>
                    <a:pt x="1215" y="555"/>
                  </a:lnTo>
                  <a:lnTo>
                    <a:pt x="1215" y="555"/>
                  </a:lnTo>
                  <a:lnTo>
                    <a:pt x="1217" y="553"/>
                  </a:lnTo>
                  <a:lnTo>
                    <a:pt x="1217" y="553"/>
                  </a:lnTo>
                  <a:lnTo>
                    <a:pt x="1219" y="553"/>
                  </a:lnTo>
                  <a:lnTo>
                    <a:pt x="1219" y="551"/>
                  </a:lnTo>
                  <a:close/>
                  <a:moveTo>
                    <a:pt x="1221" y="559"/>
                  </a:moveTo>
                  <a:lnTo>
                    <a:pt x="1221" y="559"/>
                  </a:lnTo>
                  <a:lnTo>
                    <a:pt x="1221" y="559"/>
                  </a:lnTo>
                  <a:lnTo>
                    <a:pt x="1221" y="559"/>
                  </a:lnTo>
                  <a:lnTo>
                    <a:pt x="1221" y="559"/>
                  </a:lnTo>
                  <a:lnTo>
                    <a:pt x="1221" y="559"/>
                  </a:lnTo>
                  <a:lnTo>
                    <a:pt x="1221" y="559"/>
                  </a:lnTo>
                  <a:close/>
                  <a:moveTo>
                    <a:pt x="1212" y="559"/>
                  </a:moveTo>
                  <a:lnTo>
                    <a:pt x="1212" y="559"/>
                  </a:lnTo>
                  <a:lnTo>
                    <a:pt x="1215" y="559"/>
                  </a:lnTo>
                  <a:lnTo>
                    <a:pt x="1215" y="559"/>
                  </a:lnTo>
                  <a:lnTo>
                    <a:pt x="1212" y="557"/>
                  </a:lnTo>
                  <a:lnTo>
                    <a:pt x="1212" y="557"/>
                  </a:lnTo>
                  <a:lnTo>
                    <a:pt x="1210" y="559"/>
                  </a:lnTo>
                  <a:lnTo>
                    <a:pt x="1208" y="559"/>
                  </a:lnTo>
                  <a:lnTo>
                    <a:pt x="1208" y="559"/>
                  </a:lnTo>
                  <a:lnTo>
                    <a:pt x="1208" y="559"/>
                  </a:lnTo>
                  <a:lnTo>
                    <a:pt x="1208" y="557"/>
                  </a:lnTo>
                  <a:lnTo>
                    <a:pt x="1208" y="557"/>
                  </a:lnTo>
                  <a:lnTo>
                    <a:pt x="1206" y="557"/>
                  </a:lnTo>
                  <a:lnTo>
                    <a:pt x="1206" y="557"/>
                  </a:lnTo>
                  <a:lnTo>
                    <a:pt x="1206" y="557"/>
                  </a:lnTo>
                  <a:lnTo>
                    <a:pt x="1204" y="557"/>
                  </a:lnTo>
                  <a:lnTo>
                    <a:pt x="1202" y="557"/>
                  </a:lnTo>
                  <a:lnTo>
                    <a:pt x="1202" y="557"/>
                  </a:lnTo>
                  <a:lnTo>
                    <a:pt x="1202" y="557"/>
                  </a:lnTo>
                  <a:lnTo>
                    <a:pt x="1202" y="557"/>
                  </a:lnTo>
                  <a:lnTo>
                    <a:pt x="1202" y="557"/>
                  </a:lnTo>
                  <a:lnTo>
                    <a:pt x="1202" y="557"/>
                  </a:lnTo>
                  <a:lnTo>
                    <a:pt x="1202" y="557"/>
                  </a:lnTo>
                  <a:lnTo>
                    <a:pt x="1200" y="557"/>
                  </a:lnTo>
                  <a:lnTo>
                    <a:pt x="1200" y="557"/>
                  </a:lnTo>
                  <a:lnTo>
                    <a:pt x="1200" y="559"/>
                  </a:lnTo>
                  <a:lnTo>
                    <a:pt x="1200" y="559"/>
                  </a:lnTo>
                  <a:lnTo>
                    <a:pt x="1200" y="559"/>
                  </a:lnTo>
                  <a:lnTo>
                    <a:pt x="1200" y="559"/>
                  </a:lnTo>
                  <a:lnTo>
                    <a:pt x="1198" y="562"/>
                  </a:lnTo>
                  <a:lnTo>
                    <a:pt x="1198" y="564"/>
                  </a:lnTo>
                  <a:lnTo>
                    <a:pt x="1200" y="564"/>
                  </a:lnTo>
                  <a:lnTo>
                    <a:pt x="1200" y="566"/>
                  </a:lnTo>
                  <a:lnTo>
                    <a:pt x="1202" y="564"/>
                  </a:lnTo>
                  <a:lnTo>
                    <a:pt x="1200" y="564"/>
                  </a:lnTo>
                  <a:lnTo>
                    <a:pt x="1202" y="564"/>
                  </a:lnTo>
                  <a:lnTo>
                    <a:pt x="1202" y="564"/>
                  </a:lnTo>
                  <a:lnTo>
                    <a:pt x="1202" y="564"/>
                  </a:lnTo>
                  <a:lnTo>
                    <a:pt x="1202" y="564"/>
                  </a:lnTo>
                  <a:lnTo>
                    <a:pt x="1202" y="564"/>
                  </a:lnTo>
                  <a:lnTo>
                    <a:pt x="1204" y="564"/>
                  </a:lnTo>
                  <a:lnTo>
                    <a:pt x="1204" y="564"/>
                  </a:lnTo>
                  <a:lnTo>
                    <a:pt x="1200" y="566"/>
                  </a:lnTo>
                  <a:lnTo>
                    <a:pt x="1200" y="568"/>
                  </a:lnTo>
                  <a:lnTo>
                    <a:pt x="1200" y="568"/>
                  </a:lnTo>
                  <a:lnTo>
                    <a:pt x="1202" y="570"/>
                  </a:lnTo>
                  <a:lnTo>
                    <a:pt x="1202" y="570"/>
                  </a:lnTo>
                  <a:lnTo>
                    <a:pt x="1202" y="570"/>
                  </a:lnTo>
                  <a:lnTo>
                    <a:pt x="1202" y="570"/>
                  </a:lnTo>
                  <a:lnTo>
                    <a:pt x="1204" y="568"/>
                  </a:lnTo>
                  <a:lnTo>
                    <a:pt x="1204" y="566"/>
                  </a:lnTo>
                  <a:lnTo>
                    <a:pt x="1208" y="564"/>
                  </a:lnTo>
                  <a:lnTo>
                    <a:pt x="1210" y="564"/>
                  </a:lnTo>
                  <a:lnTo>
                    <a:pt x="1210" y="564"/>
                  </a:lnTo>
                  <a:lnTo>
                    <a:pt x="1212" y="564"/>
                  </a:lnTo>
                  <a:lnTo>
                    <a:pt x="1212" y="562"/>
                  </a:lnTo>
                  <a:lnTo>
                    <a:pt x="1212" y="562"/>
                  </a:lnTo>
                  <a:lnTo>
                    <a:pt x="1212" y="562"/>
                  </a:lnTo>
                  <a:lnTo>
                    <a:pt x="1212" y="562"/>
                  </a:lnTo>
                  <a:lnTo>
                    <a:pt x="1212" y="562"/>
                  </a:lnTo>
                  <a:lnTo>
                    <a:pt x="1212" y="562"/>
                  </a:lnTo>
                  <a:lnTo>
                    <a:pt x="1215" y="559"/>
                  </a:lnTo>
                  <a:lnTo>
                    <a:pt x="1215" y="559"/>
                  </a:lnTo>
                  <a:lnTo>
                    <a:pt x="1215" y="559"/>
                  </a:lnTo>
                  <a:lnTo>
                    <a:pt x="1215" y="559"/>
                  </a:lnTo>
                  <a:lnTo>
                    <a:pt x="1215" y="559"/>
                  </a:lnTo>
                  <a:lnTo>
                    <a:pt x="1215" y="559"/>
                  </a:lnTo>
                  <a:lnTo>
                    <a:pt x="1212" y="559"/>
                  </a:lnTo>
                  <a:close/>
                </a:path>
              </a:pathLst>
            </a:custGeom>
            <a:solidFill>
              <a:schemeClr val="tx1"/>
            </a:solidFill>
            <a:ln w="3175" cap="flat">
              <a:solidFill>
                <a:schemeClr val="bg1"/>
              </a:solidFill>
              <a:prstDash val="solid"/>
              <a:miter lim="800000"/>
              <a:headEnd/>
              <a:tailEnd/>
            </a:ln>
          </p:spPr>
          <p:txBody>
            <a:bodyPr vert="horz" wrap="square" lIns="816000" tIns="0" rIns="0" bIns="480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AK</a:t>
              </a:r>
            </a:p>
          </p:txBody>
        </p:sp>
        <p:sp>
          <p:nvSpPr>
            <p:cNvPr id="345" name="Freeform 25">
              <a:extLst>
                <a:ext uri="{FF2B5EF4-FFF2-40B4-BE49-F238E27FC236}">
                  <a16:creationId xmlns:a16="http://schemas.microsoft.com/office/drawing/2014/main" id="{60C4A970-F1BE-1EE0-47A1-693D0D4A3B37}"/>
                </a:ext>
              </a:extLst>
            </p:cNvPr>
            <p:cNvSpPr>
              <a:spLocks/>
            </p:cNvSpPr>
            <p:nvPr/>
          </p:nvSpPr>
          <p:spPr bwMode="auto">
            <a:xfrm>
              <a:off x="4928" y="264"/>
              <a:ext cx="145" cy="291"/>
            </a:xfrm>
            <a:custGeom>
              <a:avLst/>
              <a:gdLst>
                <a:gd name="T0" fmla="*/ 145 w 145"/>
                <a:gd name="T1" fmla="*/ 222 h 291"/>
                <a:gd name="T2" fmla="*/ 141 w 145"/>
                <a:gd name="T3" fmla="*/ 234 h 291"/>
                <a:gd name="T4" fmla="*/ 137 w 145"/>
                <a:gd name="T5" fmla="*/ 244 h 291"/>
                <a:gd name="T6" fmla="*/ 125 w 145"/>
                <a:gd name="T7" fmla="*/ 250 h 291"/>
                <a:gd name="T8" fmla="*/ 121 w 145"/>
                <a:gd name="T9" fmla="*/ 255 h 291"/>
                <a:gd name="T10" fmla="*/ 117 w 145"/>
                <a:gd name="T11" fmla="*/ 255 h 291"/>
                <a:gd name="T12" fmla="*/ 115 w 145"/>
                <a:gd name="T13" fmla="*/ 259 h 291"/>
                <a:gd name="T14" fmla="*/ 113 w 145"/>
                <a:gd name="T15" fmla="*/ 265 h 291"/>
                <a:gd name="T16" fmla="*/ 109 w 145"/>
                <a:gd name="T17" fmla="*/ 269 h 291"/>
                <a:gd name="T18" fmla="*/ 94 w 145"/>
                <a:gd name="T19" fmla="*/ 273 h 291"/>
                <a:gd name="T20" fmla="*/ 66 w 145"/>
                <a:gd name="T21" fmla="*/ 279 h 291"/>
                <a:gd name="T22" fmla="*/ 39 w 145"/>
                <a:gd name="T23" fmla="*/ 285 h 291"/>
                <a:gd name="T24" fmla="*/ 16 w 145"/>
                <a:gd name="T25" fmla="*/ 291 h 291"/>
                <a:gd name="T26" fmla="*/ 16 w 145"/>
                <a:gd name="T27" fmla="*/ 291 h 291"/>
                <a:gd name="T28" fmla="*/ 16 w 145"/>
                <a:gd name="T29" fmla="*/ 291 h 291"/>
                <a:gd name="T30" fmla="*/ 16 w 145"/>
                <a:gd name="T31" fmla="*/ 291 h 291"/>
                <a:gd name="T32" fmla="*/ 6 w 145"/>
                <a:gd name="T33" fmla="*/ 283 h 291"/>
                <a:gd name="T34" fmla="*/ 4 w 145"/>
                <a:gd name="T35" fmla="*/ 277 h 291"/>
                <a:gd name="T36" fmla="*/ 6 w 145"/>
                <a:gd name="T37" fmla="*/ 267 h 291"/>
                <a:gd name="T38" fmla="*/ 6 w 145"/>
                <a:gd name="T39" fmla="*/ 250 h 291"/>
                <a:gd name="T40" fmla="*/ 4 w 145"/>
                <a:gd name="T41" fmla="*/ 240 h 291"/>
                <a:gd name="T42" fmla="*/ 4 w 145"/>
                <a:gd name="T43" fmla="*/ 238 h 291"/>
                <a:gd name="T44" fmla="*/ 6 w 145"/>
                <a:gd name="T45" fmla="*/ 232 h 291"/>
                <a:gd name="T46" fmla="*/ 0 w 145"/>
                <a:gd name="T47" fmla="*/ 203 h 291"/>
                <a:gd name="T48" fmla="*/ 2 w 145"/>
                <a:gd name="T49" fmla="*/ 187 h 291"/>
                <a:gd name="T50" fmla="*/ 8 w 145"/>
                <a:gd name="T51" fmla="*/ 177 h 291"/>
                <a:gd name="T52" fmla="*/ 8 w 145"/>
                <a:gd name="T53" fmla="*/ 164 h 291"/>
                <a:gd name="T54" fmla="*/ 10 w 145"/>
                <a:gd name="T55" fmla="*/ 154 h 291"/>
                <a:gd name="T56" fmla="*/ 8 w 145"/>
                <a:gd name="T57" fmla="*/ 130 h 291"/>
                <a:gd name="T58" fmla="*/ 18 w 145"/>
                <a:gd name="T59" fmla="*/ 115 h 291"/>
                <a:gd name="T60" fmla="*/ 31 w 145"/>
                <a:gd name="T61" fmla="*/ 101 h 291"/>
                <a:gd name="T62" fmla="*/ 37 w 145"/>
                <a:gd name="T63" fmla="*/ 91 h 291"/>
                <a:gd name="T64" fmla="*/ 37 w 145"/>
                <a:gd name="T65" fmla="*/ 84 h 291"/>
                <a:gd name="T66" fmla="*/ 35 w 145"/>
                <a:gd name="T67" fmla="*/ 80 h 291"/>
                <a:gd name="T68" fmla="*/ 27 w 145"/>
                <a:gd name="T69" fmla="*/ 70 h 291"/>
                <a:gd name="T70" fmla="*/ 33 w 145"/>
                <a:gd name="T71" fmla="*/ 50 h 291"/>
                <a:gd name="T72" fmla="*/ 29 w 145"/>
                <a:gd name="T73" fmla="*/ 39 h 291"/>
                <a:gd name="T74" fmla="*/ 29 w 145"/>
                <a:gd name="T75" fmla="*/ 33 h 291"/>
                <a:gd name="T76" fmla="*/ 33 w 145"/>
                <a:gd name="T77" fmla="*/ 19 h 291"/>
                <a:gd name="T78" fmla="*/ 33 w 145"/>
                <a:gd name="T79" fmla="*/ 15 h 291"/>
                <a:gd name="T80" fmla="*/ 39 w 145"/>
                <a:gd name="T81" fmla="*/ 7 h 291"/>
                <a:gd name="T82" fmla="*/ 53 w 145"/>
                <a:gd name="T83" fmla="*/ 2 h 291"/>
                <a:gd name="T84" fmla="*/ 57 w 145"/>
                <a:gd name="T85" fmla="*/ 13 h 291"/>
                <a:gd name="T86" fmla="*/ 66 w 145"/>
                <a:gd name="T87" fmla="*/ 39 h 291"/>
                <a:gd name="T88" fmla="*/ 76 w 145"/>
                <a:gd name="T89" fmla="*/ 66 h 291"/>
                <a:gd name="T90" fmla="*/ 84 w 145"/>
                <a:gd name="T91" fmla="*/ 93 h 291"/>
                <a:gd name="T92" fmla="*/ 92 w 145"/>
                <a:gd name="T93" fmla="*/ 119 h 291"/>
                <a:gd name="T94" fmla="*/ 100 w 145"/>
                <a:gd name="T95" fmla="*/ 146 h 291"/>
                <a:gd name="T96" fmla="*/ 111 w 145"/>
                <a:gd name="T97" fmla="*/ 173 h 291"/>
                <a:gd name="T98" fmla="*/ 113 w 145"/>
                <a:gd name="T99" fmla="*/ 183 h 291"/>
                <a:gd name="T100" fmla="*/ 115 w 145"/>
                <a:gd name="T101" fmla="*/ 187 h 291"/>
                <a:gd name="T102" fmla="*/ 115 w 145"/>
                <a:gd name="T103" fmla="*/ 193 h 291"/>
                <a:gd name="T104" fmla="*/ 127 w 145"/>
                <a:gd name="T105" fmla="*/ 203 h 291"/>
                <a:gd name="T106" fmla="*/ 131 w 145"/>
                <a:gd name="T107" fmla="*/ 207 h 291"/>
                <a:gd name="T108" fmla="*/ 135 w 145"/>
                <a:gd name="T10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91">
                  <a:moveTo>
                    <a:pt x="141" y="220"/>
                  </a:moveTo>
                  <a:lnTo>
                    <a:pt x="141" y="222"/>
                  </a:lnTo>
                  <a:lnTo>
                    <a:pt x="143" y="222"/>
                  </a:lnTo>
                  <a:lnTo>
                    <a:pt x="143" y="220"/>
                  </a:lnTo>
                  <a:lnTo>
                    <a:pt x="145" y="222"/>
                  </a:lnTo>
                  <a:lnTo>
                    <a:pt x="145" y="222"/>
                  </a:lnTo>
                  <a:lnTo>
                    <a:pt x="145" y="224"/>
                  </a:lnTo>
                  <a:lnTo>
                    <a:pt x="145" y="224"/>
                  </a:lnTo>
                  <a:lnTo>
                    <a:pt x="143" y="226"/>
                  </a:lnTo>
                  <a:lnTo>
                    <a:pt x="141" y="234"/>
                  </a:lnTo>
                  <a:lnTo>
                    <a:pt x="141" y="238"/>
                  </a:lnTo>
                  <a:lnTo>
                    <a:pt x="141" y="240"/>
                  </a:lnTo>
                  <a:lnTo>
                    <a:pt x="141" y="242"/>
                  </a:lnTo>
                  <a:lnTo>
                    <a:pt x="139" y="244"/>
                  </a:lnTo>
                  <a:lnTo>
                    <a:pt x="137" y="244"/>
                  </a:lnTo>
                  <a:lnTo>
                    <a:pt x="133" y="242"/>
                  </a:lnTo>
                  <a:lnTo>
                    <a:pt x="133" y="242"/>
                  </a:lnTo>
                  <a:lnTo>
                    <a:pt x="133" y="244"/>
                  </a:lnTo>
                  <a:lnTo>
                    <a:pt x="125" y="248"/>
                  </a:lnTo>
                  <a:lnTo>
                    <a:pt x="125" y="250"/>
                  </a:lnTo>
                  <a:lnTo>
                    <a:pt x="125" y="250"/>
                  </a:lnTo>
                  <a:lnTo>
                    <a:pt x="123" y="253"/>
                  </a:lnTo>
                  <a:lnTo>
                    <a:pt x="123" y="253"/>
                  </a:lnTo>
                  <a:lnTo>
                    <a:pt x="123" y="253"/>
                  </a:lnTo>
                  <a:lnTo>
                    <a:pt x="121" y="255"/>
                  </a:lnTo>
                  <a:lnTo>
                    <a:pt x="121" y="255"/>
                  </a:lnTo>
                  <a:lnTo>
                    <a:pt x="121" y="255"/>
                  </a:lnTo>
                  <a:lnTo>
                    <a:pt x="119" y="255"/>
                  </a:lnTo>
                  <a:lnTo>
                    <a:pt x="119" y="255"/>
                  </a:lnTo>
                  <a:lnTo>
                    <a:pt x="117" y="255"/>
                  </a:lnTo>
                  <a:lnTo>
                    <a:pt x="117" y="255"/>
                  </a:lnTo>
                  <a:lnTo>
                    <a:pt x="117" y="257"/>
                  </a:lnTo>
                  <a:lnTo>
                    <a:pt x="117" y="257"/>
                  </a:lnTo>
                  <a:lnTo>
                    <a:pt x="117" y="257"/>
                  </a:lnTo>
                  <a:lnTo>
                    <a:pt x="115" y="259"/>
                  </a:lnTo>
                  <a:lnTo>
                    <a:pt x="115" y="261"/>
                  </a:lnTo>
                  <a:lnTo>
                    <a:pt x="115" y="261"/>
                  </a:lnTo>
                  <a:lnTo>
                    <a:pt x="115" y="263"/>
                  </a:lnTo>
                  <a:lnTo>
                    <a:pt x="115" y="263"/>
                  </a:lnTo>
                  <a:lnTo>
                    <a:pt x="113" y="265"/>
                  </a:lnTo>
                  <a:lnTo>
                    <a:pt x="113" y="265"/>
                  </a:lnTo>
                  <a:lnTo>
                    <a:pt x="111" y="265"/>
                  </a:lnTo>
                  <a:lnTo>
                    <a:pt x="111" y="267"/>
                  </a:lnTo>
                  <a:lnTo>
                    <a:pt x="111" y="269"/>
                  </a:lnTo>
                  <a:lnTo>
                    <a:pt x="109" y="269"/>
                  </a:lnTo>
                  <a:lnTo>
                    <a:pt x="109" y="271"/>
                  </a:lnTo>
                  <a:lnTo>
                    <a:pt x="107" y="271"/>
                  </a:lnTo>
                  <a:lnTo>
                    <a:pt x="107" y="271"/>
                  </a:lnTo>
                  <a:lnTo>
                    <a:pt x="100" y="273"/>
                  </a:lnTo>
                  <a:lnTo>
                    <a:pt x="94" y="273"/>
                  </a:lnTo>
                  <a:lnTo>
                    <a:pt x="88" y="275"/>
                  </a:lnTo>
                  <a:lnTo>
                    <a:pt x="84" y="275"/>
                  </a:lnTo>
                  <a:lnTo>
                    <a:pt x="78" y="277"/>
                  </a:lnTo>
                  <a:lnTo>
                    <a:pt x="72" y="279"/>
                  </a:lnTo>
                  <a:lnTo>
                    <a:pt x="66" y="279"/>
                  </a:lnTo>
                  <a:lnTo>
                    <a:pt x="61" y="281"/>
                  </a:lnTo>
                  <a:lnTo>
                    <a:pt x="55" y="283"/>
                  </a:lnTo>
                  <a:lnTo>
                    <a:pt x="49" y="283"/>
                  </a:lnTo>
                  <a:lnTo>
                    <a:pt x="43" y="285"/>
                  </a:lnTo>
                  <a:lnTo>
                    <a:pt x="39" y="285"/>
                  </a:lnTo>
                  <a:lnTo>
                    <a:pt x="33" y="287"/>
                  </a:lnTo>
                  <a:lnTo>
                    <a:pt x="27" y="289"/>
                  </a:lnTo>
                  <a:lnTo>
                    <a:pt x="20" y="289"/>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4" y="287"/>
                  </a:lnTo>
                  <a:lnTo>
                    <a:pt x="12" y="287"/>
                  </a:lnTo>
                  <a:lnTo>
                    <a:pt x="8" y="283"/>
                  </a:lnTo>
                  <a:lnTo>
                    <a:pt x="6" y="283"/>
                  </a:lnTo>
                  <a:lnTo>
                    <a:pt x="6" y="281"/>
                  </a:lnTo>
                  <a:lnTo>
                    <a:pt x="6" y="281"/>
                  </a:lnTo>
                  <a:lnTo>
                    <a:pt x="4" y="279"/>
                  </a:lnTo>
                  <a:lnTo>
                    <a:pt x="4" y="277"/>
                  </a:lnTo>
                  <a:lnTo>
                    <a:pt x="4" y="277"/>
                  </a:lnTo>
                  <a:lnTo>
                    <a:pt x="4" y="275"/>
                  </a:lnTo>
                  <a:lnTo>
                    <a:pt x="6" y="273"/>
                  </a:lnTo>
                  <a:lnTo>
                    <a:pt x="4" y="269"/>
                  </a:lnTo>
                  <a:lnTo>
                    <a:pt x="4" y="267"/>
                  </a:lnTo>
                  <a:lnTo>
                    <a:pt x="6" y="267"/>
                  </a:lnTo>
                  <a:lnTo>
                    <a:pt x="8" y="265"/>
                  </a:lnTo>
                  <a:lnTo>
                    <a:pt x="8" y="263"/>
                  </a:lnTo>
                  <a:lnTo>
                    <a:pt x="6" y="259"/>
                  </a:lnTo>
                  <a:lnTo>
                    <a:pt x="6" y="253"/>
                  </a:lnTo>
                  <a:lnTo>
                    <a:pt x="6" y="250"/>
                  </a:lnTo>
                  <a:lnTo>
                    <a:pt x="6" y="246"/>
                  </a:lnTo>
                  <a:lnTo>
                    <a:pt x="4" y="246"/>
                  </a:lnTo>
                  <a:lnTo>
                    <a:pt x="4" y="242"/>
                  </a:lnTo>
                  <a:lnTo>
                    <a:pt x="4" y="240"/>
                  </a:lnTo>
                  <a:lnTo>
                    <a:pt x="4" y="240"/>
                  </a:lnTo>
                  <a:lnTo>
                    <a:pt x="4" y="240"/>
                  </a:lnTo>
                  <a:lnTo>
                    <a:pt x="4" y="238"/>
                  </a:lnTo>
                  <a:lnTo>
                    <a:pt x="4" y="238"/>
                  </a:lnTo>
                  <a:lnTo>
                    <a:pt x="4" y="238"/>
                  </a:lnTo>
                  <a:lnTo>
                    <a:pt x="4" y="238"/>
                  </a:lnTo>
                  <a:lnTo>
                    <a:pt x="4" y="236"/>
                  </a:lnTo>
                  <a:lnTo>
                    <a:pt x="4" y="236"/>
                  </a:lnTo>
                  <a:lnTo>
                    <a:pt x="4" y="234"/>
                  </a:lnTo>
                  <a:lnTo>
                    <a:pt x="4" y="234"/>
                  </a:lnTo>
                  <a:lnTo>
                    <a:pt x="6" y="232"/>
                  </a:lnTo>
                  <a:lnTo>
                    <a:pt x="4" y="230"/>
                  </a:lnTo>
                  <a:lnTo>
                    <a:pt x="4" y="226"/>
                  </a:lnTo>
                  <a:lnTo>
                    <a:pt x="0" y="207"/>
                  </a:lnTo>
                  <a:lnTo>
                    <a:pt x="0" y="205"/>
                  </a:lnTo>
                  <a:lnTo>
                    <a:pt x="0" y="203"/>
                  </a:lnTo>
                  <a:lnTo>
                    <a:pt x="2" y="199"/>
                  </a:lnTo>
                  <a:lnTo>
                    <a:pt x="2" y="197"/>
                  </a:lnTo>
                  <a:lnTo>
                    <a:pt x="2" y="195"/>
                  </a:lnTo>
                  <a:lnTo>
                    <a:pt x="2" y="191"/>
                  </a:lnTo>
                  <a:lnTo>
                    <a:pt x="2" y="187"/>
                  </a:lnTo>
                  <a:lnTo>
                    <a:pt x="2" y="187"/>
                  </a:lnTo>
                  <a:lnTo>
                    <a:pt x="4" y="185"/>
                  </a:lnTo>
                  <a:lnTo>
                    <a:pt x="4" y="183"/>
                  </a:lnTo>
                  <a:lnTo>
                    <a:pt x="8" y="179"/>
                  </a:lnTo>
                  <a:lnTo>
                    <a:pt x="8" y="177"/>
                  </a:lnTo>
                  <a:lnTo>
                    <a:pt x="8" y="175"/>
                  </a:lnTo>
                  <a:lnTo>
                    <a:pt x="8" y="173"/>
                  </a:lnTo>
                  <a:lnTo>
                    <a:pt x="8" y="171"/>
                  </a:lnTo>
                  <a:lnTo>
                    <a:pt x="8" y="166"/>
                  </a:lnTo>
                  <a:lnTo>
                    <a:pt x="8" y="164"/>
                  </a:lnTo>
                  <a:lnTo>
                    <a:pt x="12" y="156"/>
                  </a:lnTo>
                  <a:lnTo>
                    <a:pt x="12" y="156"/>
                  </a:lnTo>
                  <a:lnTo>
                    <a:pt x="10" y="156"/>
                  </a:lnTo>
                  <a:lnTo>
                    <a:pt x="10" y="154"/>
                  </a:lnTo>
                  <a:lnTo>
                    <a:pt x="10" y="154"/>
                  </a:lnTo>
                  <a:lnTo>
                    <a:pt x="10" y="152"/>
                  </a:lnTo>
                  <a:lnTo>
                    <a:pt x="12" y="146"/>
                  </a:lnTo>
                  <a:lnTo>
                    <a:pt x="12" y="142"/>
                  </a:lnTo>
                  <a:lnTo>
                    <a:pt x="10" y="138"/>
                  </a:lnTo>
                  <a:lnTo>
                    <a:pt x="8" y="130"/>
                  </a:lnTo>
                  <a:lnTo>
                    <a:pt x="8" y="123"/>
                  </a:lnTo>
                  <a:lnTo>
                    <a:pt x="8" y="119"/>
                  </a:lnTo>
                  <a:lnTo>
                    <a:pt x="10" y="117"/>
                  </a:lnTo>
                  <a:lnTo>
                    <a:pt x="14" y="115"/>
                  </a:lnTo>
                  <a:lnTo>
                    <a:pt x="18" y="115"/>
                  </a:lnTo>
                  <a:lnTo>
                    <a:pt x="20" y="113"/>
                  </a:lnTo>
                  <a:lnTo>
                    <a:pt x="23" y="113"/>
                  </a:lnTo>
                  <a:lnTo>
                    <a:pt x="23" y="109"/>
                  </a:lnTo>
                  <a:lnTo>
                    <a:pt x="25" y="107"/>
                  </a:lnTo>
                  <a:lnTo>
                    <a:pt x="31" y="101"/>
                  </a:lnTo>
                  <a:lnTo>
                    <a:pt x="31" y="101"/>
                  </a:lnTo>
                  <a:lnTo>
                    <a:pt x="33" y="99"/>
                  </a:lnTo>
                  <a:lnTo>
                    <a:pt x="33" y="97"/>
                  </a:lnTo>
                  <a:lnTo>
                    <a:pt x="35" y="95"/>
                  </a:lnTo>
                  <a:lnTo>
                    <a:pt x="37" y="91"/>
                  </a:lnTo>
                  <a:lnTo>
                    <a:pt x="35" y="91"/>
                  </a:lnTo>
                  <a:lnTo>
                    <a:pt x="35" y="89"/>
                  </a:lnTo>
                  <a:lnTo>
                    <a:pt x="35" y="87"/>
                  </a:lnTo>
                  <a:lnTo>
                    <a:pt x="35" y="84"/>
                  </a:lnTo>
                  <a:lnTo>
                    <a:pt x="37" y="84"/>
                  </a:lnTo>
                  <a:lnTo>
                    <a:pt x="37" y="84"/>
                  </a:lnTo>
                  <a:lnTo>
                    <a:pt x="37" y="82"/>
                  </a:lnTo>
                  <a:lnTo>
                    <a:pt x="37" y="82"/>
                  </a:lnTo>
                  <a:lnTo>
                    <a:pt x="37" y="80"/>
                  </a:lnTo>
                  <a:lnTo>
                    <a:pt x="35" y="80"/>
                  </a:lnTo>
                  <a:lnTo>
                    <a:pt x="31" y="74"/>
                  </a:lnTo>
                  <a:lnTo>
                    <a:pt x="31" y="74"/>
                  </a:lnTo>
                  <a:lnTo>
                    <a:pt x="31" y="72"/>
                  </a:lnTo>
                  <a:lnTo>
                    <a:pt x="29" y="70"/>
                  </a:lnTo>
                  <a:lnTo>
                    <a:pt x="27" y="70"/>
                  </a:lnTo>
                  <a:lnTo>
                    <a:pt x="27" y="66"/>
                  </a:lnTo>
                  <a:lnTo>
                    <a:pt x="29" y="62"/>
                  </a:lnTo>
                  <a:lnTo>
                    <a:pt x="31" y="58"/>
                  </a:lnTo>
                  <a:lnTo>
                    <a:pt x="33" y="52"/>
                  </a:lnTo>
                  <a:lnTo>
                    <a:pt x="33" y="50"/>
                  </a:lnTo>
                  <a:lnTo>
                    <a:pt x="31" y="48"/>
                  </a:lnTo>
                  <a:lnTo>
                    <a:pt x="31" y="46"/>
                  </a:lnTo>
                  <a:lnTo>
                    <a:pt x="29" y="43"/>
                  </a:lnTo>
                  <a:lnTo>
                    <a:pt x="29" y="41"/>
                  </a:lnTo>
                  <a:lnTo>
                    <a:pt x="29" y="39"/>
                  </a:lnTo>
                  <a:lnTo>
                    <a:pt x="31" y="39"/>
                  </a:lnTo>
                  <a:lnTo>
                    <a:pt x="31" y="39"/>
                  </a:lnTo>
                  <a:lnTo>
                    <a:pt x="29" y="37"/>
                  </a:lnTo>
                  <a:lnTo>
                    <a:pt x="29" y="35"/>
                  </a:lnTo>
                  <a:lnTo>
                    <a:pt x="29" y="33"/>
                  </a:lnTo>
                  <a:lnTo>
                    <a:pt x="31" y="29"/>
                  </a:lnTo>
                  <a:lnTo>
                    <a:pt x="31" y="27"/>
                  </a:lnTo>
                  <a:lnTo>
                    <a:pt x="31" y="25"/>
                  </a:lnTo>
                  <a:lnTo>
                    <a:pt x="31" y="23"/>
                  </a:lnTo>
                  <a:lnTo>
                    <a:pt x="33" y="19"/>
                  </a:lnTo>
                  <a:lnTo>
                    <a:pt x="33" y="17"/>
                  </a:lnTo>
                  <a:lnTo>
                    <a:pt x="31" y="17"/>
                  </a:lnTo>
                  <a:lnTo>
                    <a:pt x="29" y="17"/>
                  </a:lnTo>
                  <a:lnTo>
                    <a:pt x="29" y="15"/>
                  </a:lnTo>
                  <a:lnTo>
                    <a:pt x="33" y="15"/>
                  </a:lnTo>
                  <a:lnTo>
                    <a:pt x="33" y="13"/>
                  </a:lnTo>
                  <a:lnTo>
                    <a:pt x="35" y="9"/>
                  </a:lnTo>
                  <a:lnTo>
                    <a:pt x="35" y="9"/>
                  </a:lnTo>
                  <a:lnTo>
                    <a:pt x="37" y="7"/>
                  </a:lnTo>
                  <a:lnTo>
                    <a:pt x="39" y="7"/>
                  </a:lnTo>
                  <a:lnTo>
                    <a:pt x="45" y="9"/>
                  </a:lnTo>
                  <a:lnTo>
                    <a:pt x="47" y="9"/>
                  </a:lnTo>
                  <a:lnTo>
                    <a:pt x="49" y="9"/>
                  </a:lnTo>
                  <a:lnTo>
                    <a:pt x="51" y="7"/>
                  </a:lnTo>
                  <a:lnTo>
                    <a:pt x="53" y="2"/>
                  </a:lnTo>
                  <a:lnTo>
                    <a:pt x="53" y="2"/>
                  </a:lnTo>
                  <a:lnTo>
                    <a:pt x="53" y="0"/>
                  </a:lnTo>
                  <a:lnTo>
                    <a:pt x="53" y="0"/>
                  </a:lnTo>
                  <a:lnTo>
                    <a:pt x="55" y="7"/>
                  </a:lnTo>
                  <a:lnTo>
                    <a:pt x="57" y="13"/>
                  </a:lnTo>
                  <a:lnTo>
                    <a:pt x="59" y="17"/>
                  </a:lnTo>
                  <a:lnTo>
                    <a:pt x="61" y="23"/>
                  </a:lnTo>
                  <a:lnTo>
                    <a:pt x="63" y="27"/>
                  </a:lnTo>
                  <a:lnTo>
                    <a:pt x="66" y="33"/>
                  </a:lnTo>
                  <a:lnTo>
                    <a:pt x="66" y="39"/>
                  </a:lnTo>
                  <a:lnTo>
                    <a:pt x="68" y="43"/>
                  </a:lnTo>
                  <a:lnTo>
                    <a:pt x="70" y="50"/>
                  </a:lnTo>
                  <a:lnTo>
                    <a:pt x="72" y="54"/>
                  </a:lnTo>
                  <a:lnTo>
                    <a:pt x="74" y="60"/>
                  </a:lnTo>
                  <a:lnTo>
                    <a:pt x="76" y="66"/>
                  </a:lnTo>
                  <a:lnTo>
                    <a:pt x="76" y="70"/>
                  </a:lnTo>
                  <a:lnTo>
                    <a:pt x="78" y="76"/>
                  </a:lnTo>
                  <a:lnTo>
                    <a:pt x="80" y="80"/>
                  </a:lnTo>
                  <a:lnTo>
                    <a:pt x="82" y="87"/>
                  </a:lnTo>
                  <a:lnTo>
                    <a:pt x="84" y="93"/>
                  </a:lnTo>
                  <a:lnTo>
                    <a:pt x="86" y="97"/>
                  </a:lnTo>
                  <a:lnTo>
                    <a:pt x="88" y="103"/>
                  </a:lnTo>
                  <a:lnTo>
                    <a:pt x="88" y="107"/>
                  </a:lnTo>
                  <a:lnTo>
                    <a:pt x="90" y="113"/>
                  </a:lnTo>
                  <a:lnTo>
                    <a:pt x="92" y="119"/>
                  </a:lnTo>
                  <a:lnTo>
                    <a:pt x="94" y="123"/>
                  </a:lnTo>
                  <a:lnTo>
                    <a:pt x="96" y="130"/>
                  </a:lnTo>
                  <a:lnTo>
                    <a:pt x="98" y="136"/>
                  </a:lnTo>
                  <a:lnTo>
                    <a:pt x="100" y="140"/>
                  </a:lnTo>
                  <a:lnTo>
                    <a:pt x="100" y="146"/>
                  </a:lnTo>
                  <a:lnTo>
                    <a:pt x="102" y="150"/>
                  </a:lnTo>
                  <a:lnTo>
                    <a:pt x="104" y="156"/>
                  </a:lnTo>
                  <a:lnTo>
                    <a:pt x="107" y="162"/>
                  </a:lnTo>
                  <a:lnTo>
                    <a:pt x="109" y="166"/>
                  </a:lnTo>
                  <a:lnTo>
                    <a:pt x="111" y="173"/>
                  </a:lnTo>
                  <a:lnTo>
                    <a:pt x="111" y="175"/>
                  </a:lnTo>
                  <a:lnTo>
                    <a:pt x="113" y="179"/>
                  </a:lnTo>
                  <a:lnTo>
                    <a:pt x="113" y="181"/>
                  </a:lnTo>
                  <a:lnTo>
                    <a:pt x="113" y="181"/>
                  </a:lnTo>
                  <a:lnTo>
                    <a:pt x="113" y="183"/>
                  </a:lnTo>
                  <a:lnTo>
                    <a:pt x="113" y="183"/>
                  </a:lnTo>
                  <a:lnTo>
                    <a:pt x="113" y="183"/>
                  </a:lnTo>
                  <a:lnTo>
                    <a:pt x="113" y="185"/>
                  </a:lnTo>
                  <a:lnTo>
                    <a:pt x="115" y="187"/>
                  </a:lnTo>
                  <a:lnTo>
                    <a:pt x="115" y="187"/>
                  </a:lnTo>
                  <a:lnTo>
                    <a:pt x="115" y="191"/>
                  </a:lnTo>
                  <a:lnTo>
                    <a:pt x="115" y="191"/>
                  </a:lnTo>
                  <a:lnTo>
                    <a:pt x="115" y="191"/>
                  </a:lnTo>
                  <a:lnTo>
                    <a:pt x="115" y="193"/>
                  </a:lnTo>
                  <a:lnTo>
                    <a:pt x="115" y="193"/>
                  </a:lnTo>
                  <a:lnTo>
                    <a:pt x="115" y="195"/>
                  </a:lnTo>
                  <a:lnTo>
                    <a:pt x="117" y="195"/>
                  </a:lnTo>
                  <a:lnTo>
                    <a:pt x="119" y="197"/>
                  </a:lnTo>
                  <a:lnTo>
                    <a:pt x="123" y="199"/>
                  </a:lnTo>
                  <a:lnTo>
                    <a:pt x="127" y="203"/>
                  </a:lnTo>
                  <a:lnTo>
                    <a:pt x="129" y="203"/>
                  </a:lnTo>
                  <a:lnTo>
                    <a:pt x="131" y="205"/>
                  </a:lnTo>
                  <a:lnTo>
                    <a:pt x="131" y="205"/>
                  </a:lnTo>
                  <a:lnTo>
                    <a:pt x="131" y="207"/>
                  </a:lnTo>
                  <a:lnTo>
                    <a:pt x="131" y="207"/>
                  </a:lnTo>
                  <a:lnTo>
                    <a:pt x="131" y="207"/>
                  </a:lnTo>
                  <a:lnTo>
                    <a:pt x="131" y="212"/>
                  </a:lnTo>
                  <a:lnTo>
                    <a:pt x="133" y="214"/>
                  </a:lnTo>
                  <a:lnTo>
                    <a:pt x="133" y="214"/>
                  </a:lnTo>
                  <a:lnTo>
                    <a:pt x="135" y="216"/>
                  </a:lnTo>
                  <a:lnTo>
                    <a:pt x="137" y="218"/>
                  </a:lnTo>
                  <a:lnTo>
                    <a:pt x="141" y="220"/>
                  </a:lnTo>
                  <a:lnTo>
                    <a:pt x="141" y="220"/>
                  </a:lnTo>
                  <a:close/>
                </a:path>
              </a:pathLst>
            </a:custGeom>
            <a:solidFill>
              <a:schemeClr val="tx1"/>
            </a:solidFill>
            <a:ln w="3175" cap="rnd">
              <a:solidFill>
                <a:schemeClr val="bg1"/>
              </a:solidFill>
              <a:prstDash val="solid"/>
              <a:round/>
              <a:headEnd/>
              <a:tailEnd/>
            </a:ln>
          </p:spPr>
          <p:txBody>
            <a:bodyPr vert="horz" wrap="square" lIns="0" tIns="0" rIns="0" bIns="96000" numCol="1" anchor="b"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H</a:t>
              </a:r>
            </a:p>
          </p:txBody>
        </p:sp>
      </p:grpSp>
    </p:spTree>
    <p:extLst>
      <p:ext uri="{BB962C8B-B14F-4D97-AF65-F5344CB8AC3E}">
        <p14:creationId xmlns:p14="http://schemas.microsoft.com/office/powerpoint/2010/main" val="3547370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4F2983-7A0A-9F3C-FFDA-D8960ED2EA37}"/>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7F4419D1-AA11-24A0-F3BB-721658BFADB9}"/>
              </a:ext>
            </a:extLst>
          </p:cNvPr>
          <p:cNvSpPr/>
          <p:nvPr/>
        </p:nvSpPr>
        <p:spPr>
          <a:xfrm>
            <a:off x="0" y="1877290"/>
            <a:ext cx="12192000" cy="3844059"/>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5" name="Title 74">
            <a:extLst>
              <a:ext uri="{FF2B5EF4-FFF2-40B4-BE49-F238E27FC236}">
                <a16:creationId xmlns:a16="http://schemas.microsoft.com/office/drawing/2014/main" id="{D7BD6104-6F93-C0E1-664B-D58FB71D75DE}"/>
              </a:ext>
            </a:extLst>
          </p:cNvPr>
          <p:cNvSpPr>
            <a:spLocks noGrp="1"/>
          </p:cNvSpPr>
          <p:nvPr>
            <p:ph type="title"/>
          </p:nvPr>
        </p:nvSpPr>
        <p:spPr>
          <a:xfrm>
            <a:off x="536575" y="414338"/>
            <a:ext cx="10895013" cy="1082675"/>
          </a:xfrm>
        </p:spPr>
        <p:txBody>
          <a:bodyPr/>
          <a:lstStyle/>
          <a:p>
            <a:r>
              <a:rPr lang="en-US" sz="3000" noProof="0"/>
              <a:t>Estimated age-standardized prevalence of overweight and obesity in the US in 2021, for adolescents (15–24 years), by sex</a:t>
            </a:r>
          </a:p>
        </p:txBody>
      </p:sp>
      <p:sp>
        <p:nvSpPr>
          <p:cNvPr id="65" name="Text Placeholder 64">
            <a:extLst>
              <a:ext uri="{FF2B5EF4-FFF2-40B4-BE49-F238E27FC236}">
                <a16:creationId xmlns:a16="http://schemas.microsoft.com/office/drawing/2014/main" id="{1C5E114D-6176-93AE-8ACB-21C2EBBC9292}"/>
              </a:ext>
            </a:extLst>
          </p:cNvPr>
          <p:cNvSpPr>
            <a:spLocks noGrp="1"/>
          </p:cNvSpPr>
          <p:nvPr>
            <p:ph type="body" sz="quarter" idx="13"/>
          </p:nvPr>
        </p:nvSpPr>
        <p:spPr>
          <a:xfrm>
            <a:off x="536240" y="6013923"/>
            <a:ext cx="10896000" cy="324000"/>
          </a:xfrm>
        </p:spPr>
        <p:txBody>
          <a:bodyPr/>
          <a:lstStyle/>
          <a:p>
            <a:r>
              <a:rPr lang="en-US" noProof="0"/>
              <a:t>GBD 2021 US Obesity Forecasting Collaborators. Lancet 2024;404:2278–2298.</a:t>
            </a:r>
          </a:p>
        </p:txBody>
      </p:sp>
      <p:grpSp>
        <p:nvGrpSpPr>
          <p:cNvPr id="76" name="Group 75">
            <a:extLst>
              <a:ext uri="{FF2B5EF4-FFF2-40B4-BE49-F238E27FC236}">
                <a16:creationId xmlns:a16="http://schemas.microsoft.com/office/drawing/2014/main" id="{64D18129-3A7D-E5EE-A487-A6472E780803}"/>
              </a:ext>
            </a:extLst>
          </p:cNvPr>
          <p:cNvGrpSpPr/>
          <p:nvPr/>
        </p:nvGrpSpPr>
        <p:grpSpPr>
          <a:xfrm>
            <a:off x="3345873" y="5520163"/>
            <a:ext cx="5500254" cy="361950"/>
            <a:chOff x="3118193" y="5520163"/>
            <a:chExt cx="5500254" cy="361950"/>
          </a:xfrm>
        </p:grpSpPr>
        <p:sp>
          <p:nvSpPr>
            <p:cNvPr id="77" name="Rectangle: Rounded Corners 76">
              <a:extLst>
                <a:ext uri="{FF2B5EF4-FFF2-40B4-BE49-F238E27FC236}">
                  <a16:creationId xmlns:a16="http://schemas.microsoft.com/office/drawing/2014/main" id="{51A1BD42-2657-3B47-7BFC-7402CEEFA125}"/>
                </a:ext>
              </a:extLst>
            </p:cNvPr>
            <p:cNvSpPr/>
            <p:nvPr/>
          </p:nvSpPr>
          <p:spPr>
            <a:xfrm>
              <a:off x="3118193" y="5520163"/>
              <a:ext cx="5500254" cy="361950"/>
            </a:xfrm>
            <a:prstGeom prst="roundRect">
              <a:avLst>
                <a:gd name="adj" fmla="val 50000"/>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200" noProof="0">
                <a:latin typeface="+mj-lt"/>
              </a:endParaRPr>
            </a:p>
          </p:txBody>
        </p:sp>
        <p:sp>
          <p:nvSpPr>
            <p:cNvPr id="78" name="TextBox 77">
              <a:extLst>
                <a:ext uri="{FF2B5EF4-FFF2-40B4-BE49-F238E27FC236}">
                  <a16:creationId xmlns:a16="http://schemas.microsoft.com/office/drawing/2014/main" id="{5D16B3A6-7509-089A-3C08-5FF6AA9AEF4B}"/>
                </a:ext>
              </a:extLst>
            </p:cNvPr>
            <p:cNvSpPr txBox="1"/>
            <p:nvPr/>
          </p:nvSpPr>
          <p:spPr>
            <a:xfrm>
              <a:off x="7449377" y="5567035"/>
              <a:ext cx="1060346" cy="268207"/>
            </a:xfrm>
            <a:prstGeom prst="roundRect">
              <a:avLst>
                <a:gd name="adj" fmla="val 50000"/>
              </a:avLst>
            </a:prstGeom>
            <a:solidFill>
              <a:schemeClr val="tx1"/>
            </a:solidFill>
          </p:spPr>
          <p:txBody>
            <a:bodyPr wrap="square" lIns="96000" tIns="0" rIns="0" bIns="0" rtlCol="0" anchor="ctr" anchorCtr="0">
              <a:noAutofit/>
            </a:bodyPr>
            <a:lstStyle/>
            <a:p>
              <a:pPr lvl="0" algn="ctr" defTabSz="914377">
                <a:defRPr/>
              </a:pPr>
              <a:r>
                <a:rPr lang="en-US" sz="1200" b="1" noProof="0">
                  <a:solidFill>
                    <a:srgbClr val="FFFFFF"/>
                  </a:solidFill>
                  <a:latin typeface="Arial" panose="020B0604020202020204" pitchFamily="34" charset="0"/>
                </a:rPr>
                <a:t>55–59.9</a:t>
              </a:r>
              <a:r>
                <a:rPr lang="en-US" sz="1200" noProof="0">
                  <a:solidFill>
                    <a:srgbClr val="FFFFFF"/>
                  </a:solidFill>
                  <a:latin typeface="Arial" panose="020B0604020202020204" pitchFamily="34" charset="0"/>
                </a:rPr>
                <a:t>%</a:t>
              </a:r>
            </a:p>
          </p:txBody>
        </p:sp>
        <p:sp>
          <p:nvSpPr>
            <p:cNvPr id="79" name="TextBox 78">
              <a:extLst>
                <a:ext uri="{FF2B5EF4-FFF2-40B4-BE49-F238E27FC236}">
                  <a16:creationId xmlns:a16="http://schemas.microsoft.com/office/drawing/2014/main" id="{4BFBF6B0-7030-1762-6F2A-6C540BF20DDA}"/>
                </a:ext>
              </a:extLst>
            </p:cNvPr>
            <p:cNvSpPr txBox="1"/>
            <p:nvPr/>
          </p:nvSpPr>
          <p:spPr>
            <a:xfrm>
              <a:off x="5222382" y="5567035"/>
              <a:ext cx="1060346" cy="268207"/>
            </a:xfrm>
            <a:prstGeom prst="roundRect">
              <a:avLst>
                <a:gd name="adj" fmla="val 50000"/>
              </a:avLst>
            </a:prstGeom>
            <a:solidFill>
              <a:schemeClr val="accent1">
                <a:lumMod val="60000"/>
                <a:lumOff val="40000"/>
              </a:schemeClr>
            </a:solidFill>
          </p:spPr>
          <p:txBody>
            <a:bodyPr wrap="square" lIns="96000" tIns="0" rIns="0" bIns="0" rtlCol="0" anchor="ctr" anchorCtr="0">
              <a:noAutofit/>
            </a:bodyPr>
            <a:lstStyle/>
            <a:p>
              <a:pPr lvl="0" algn="ctr" defTabSz="914377">
                <a:defRPr/>
              </a:pPr>
              <a:r>
                <a:rPr lang="en-US" sz="1200" b="1" noProof="0">
                  <a:solidFill>
                    <a:schemeClr val="bg1"/>
                  </a:solidFill>
                  <a:latin typeface="Arial" panose="020B0604020202020204" pitchFamily="34" charset="0"/>
                </a:rPr>
                <a:t>45–49.9</a:t>
              </a:r>
              <a:r>
                <a:rPr lang="en-US" sz="1200" noProof="0">
                  <a:solidFill>
                    <a:schemeClr val="bg1"/>
                  </a:solidFill>
                  <a:latin typeface="Arial" panose="020B0604020202020204" pitchFamily="34" charset="0"/>
                </a:rPr>
                <a:t>%</a:t>
              </a:r>
            </a:p>
          </p:txBody>
        </p:sp>
        <p:sp>
          <p:nvSpPr>
            <p:cNvPr id="80" name="TextBox 79">
              <a:extLst>
                <a:ext uri="{FF2B5EF4-FFF2-40B4-BE49-F238E27FC236}">
                  <a16:creationId xmlns:a16="http://schemas.microsoft.com/office/drawing/2014/main" id="{DB987269-B7B3-2FF6-7DE3-0CC8FF388E30}"/>
                </a:ext>
              </a:extLst>
            </p:cNvPr>
            <p:cNvSpPr txBox="1"/>
            <p:nvPr/>
          </p:nvSpPr>
          <p:spPr>
            <a:xfrm>
              <a:off x="6335880" y="5567035"/>
              <a:ext cx="1060346" cy="268207"/>
            </a:xfrm>
            <a:prstGeom prst="roundRect">
              <a:avLst>
                <a:gd name="adj" fmla="val 50000"/>
              </a:avLst>
            </a:prstGeom>
            <a:solidFill>
              <a:schemeClr val="accent1"/>
            </a:solidFill>
          </p:spPr>
          <p:txBody>
            <a:bodyPr wrap="square" lIns="96000" tIns="0" rIns="0" bIns="0" rtlCol="0" anchor="ctr" anchorCtr="0">
              <a:noAutofit/>
            </a:bodyPr>
            <a:lstStyle/>
            <a:p>
              <a:pPr lvl="0" algn="ctr" defTabSz="914377">
                <a:defRPr/>
              </a:pPr>
              <a:r>
                <a:rPr lang="en-US" sz="1200" b="1" noProof="0">
                  <a:solidFill>
                    <a:srgbClr val="FFFFFF"/>
                  </a:solidFill>
                  <a:latin typeface="Arial" panose="020B0604020202020204" pitchFamily="34" charset="0"/>
                </a:rPr>
                <a:t>50–54.9</a:t>
              </a:r>
              <a:r>
                <a:rPr lang="en-US" sz="1200" noProof="0">
                  <a:solidFill>
                    <a:srgbClr val="FFFFFF"/>
                  </a:solidFill>
                  <a:latin typeface="Arial" panose="020B0604020202020204" pitchFamily="34" charset="0"/>
                </a:rPr>
                <a:t>%</a:t>
              </a:r>
            </a:p>
          </p:txBody>
        </p:sp>
        <p:sp>
          <p:nvSpPr>
            <p:cNvPr id="81" name="TextBox 80">
              <a:extLst>
                <a:ext uri="{FF2B5EF4-FFF2-40B4-BE49-F238E27FC236}">
                  <a16:creationId xmlns:a16="http://schemas.microsoft.com/office/drawing/2014/main" id="{A0EFF7F2-8534-3EAC-5F05-D1E36732B9E6}"/>
                </a:ext>
              </a:extLst>
            </p:cNvPr>
            <p:cNvSpPr txBox="1"/>
            <p:nvPr/>
          </p:nvSpPr>
          <p:spPr>
            <a:xfrm>
              <a:off x="3132533" y="5562639"/>
              <a:ext cx="994182" cy="276999"/>
            </a:xfrm>
            <a:prstGeom prst="rect">
              <a:avLst/>
            </a:prstGeom>
            <a:noFill/>
          </p:spPr>
          <p:txBody>
            <a:bodyPr wrap="none" rtlCol="0">
              <a:spAutoFit/>
            </a:bodyPr>
            <a:lstStyle/>
            <a:p>
              <a:pPr algn="ctr"/>
              <a:r>
                <a:rPr lang="en-US" sz="1200" b="1" noProof="0">
                  <a:latin typeface="+mj-lt"/>
                </a:rPr>
                <a:t>Prevalence</a:t>
              </a:r>
            </a:p>
          </p:txBody>
        </p:sp>
        <p:sp>
          <p:nvSpPr>
            <p:cNvPr id="82" name="TextBox 81">
              <a:extLst>
                <a:ext uri="{FF2B5EF4-FFF2-40B4-BE49-F238E27FC236}">
                  <a16:creationId xmlns:a16="http://schemas.microsoft.com/office/drawing/2014/main" id="{1E0A2509-9DDF-9969-C324-ECA43E8A514F}"/>
                </a:ext>
              </a:extLst>
            </p:cNvPr>
            <p:cNvSpPr txBox="1"/>
            <p:nvPr/>
          </p:nvSpPr>
          <p:spPr>
            <a:xfrm>
              <a:off x="4108884" y="5567035"/>
              <a:ext cx="1060346" cy="268207"/>
            </a:xfrm>
            <a:prstGeom prst="roundRect">
              <a:avLst>
                <a:gd name="adj" fmla="val 50000"/>
              </a:avLst>
            </a:prstGeom>
            <a:solidFill>
              <a:schemeClr val="bg1">
                <a:lumMod val="50000"/>
              </a:schemeClr>
            </a:solidFill>
          </p:spPr>
          <p:txBody>
            <a:bodyPr wrap="square" lIns="96000" tIns="0" rIns="0" bIns="0" rtlCol="0" anchor="ctr" anchorCtr="0">
              <a:noAutofit/>
            </a:bodyPr>
            <a:lstStyle/>
            <a:p>
              <a:pPr lvl="0" algn="ctr" defTabSz="914377">
                <a:defRPr/>
              </a:pPr>
              <a:r>
                <a:rPr lang="en-US" sz="1200" b="1" noProof="0">
                  <a:solidFill>
                    <a:schemeClr val="bg1"/>
                  </a:solidFill>
                  <a:latin typeface="Arial" panose="020B0604020202020204" pitchFamily="34" charset="0"/>
                </a:rPr>
                <a:t>39–44.9</a:t>
              </a:r>
              <a:r>
                <a:rPr lang="en-US" sz="1200" noProof="0">
                  <a:solidFill>
                    <a:schemeClr val="bg1"/>
                  </a:solidFill>
                  <a:latin typeface="Arial" panose="020B0604020202020204" pitchFamily="34" charset="0"/>
                </a:rPr>
                <a:t>%</a:t>
              </a:r>
            </a:p>
          </p:txBody>
        </p:sp>
      </p:grpSp>
      <p:grpSp>
        <p:nvGrpSpPr>
          <p:cNvPr id="83" name="Group 82">
            <a:extLst>
              <a:ext uri="{FF2B5EF4-FFF2-40B4-BE49-F238E27FC236}">
                <a16:creationId xmlns:a16="http://schemas.microsoft.com/office/drawing/2014/main" id="{447DAA07-1AC9-854A-2FD0-D07EEBCFD022}"/>
              </a:ext>
            </a:extLst>
          </p:cNvPr>
          <p:cNvGrpSpPr>
            <a:grpSpLocks noChangeAspect="1"/>
          </p:cNvGrpSpPr>
          <p:nvPr/>
        </p:nvGrpSpPr>
        <p:grpSpPr bwMode="auto">
          <a:xfrm>
            <a:off x="5329989" y="2313430"/>
            <a:ext cx="6638614" cy="3239494"/>
            <a:chOff x="-261" y="0"/>
            <a:chExt cx="5570" cy="2922"/>
          </a:xfrm>
        </p:grpSpPr>
        <p:sp>
          <p:nvSpPr>
            <p:cNvPr id="84" name="Freeform 5">
              <a:extLst>
                <a:ext uri="{FF2B5EF4-FFF2-40B4-BE49-F238E27FC236}">
                  <a16:creationId xmlns:a16="http://schemas.microsoft.com/office/drawing/2014/main" id="{65B929B2-6C2B-AB82-2494-CE8D4CDA66FE}"/>
                </a:ext>
              </a:extLst>
            </p:cNvPr>
            <p:cNvSpPr>
              <a:spLocks/>
            </p:cNvSpPr>
            <p:nvPr/>
          </p:nvSpPr>
          <p:spPr bwMode="auto">
            <a:xfrm>
              <a:off x="1812" y="549"/>
              <a:ext cx="594" cy="461"/>
            </a:xfrm>
            <a:custGeom>
              <a:avLst/>
              <a:gdLst>
                <a:gd name="T0" fmla="*/ 586 w 594"/>
                <a:gd name="T1" fmla="*/ 287 h 461"/>
                <a:gd name="T2" fmla="*/ 584 w 594"/>
                <a:gd name="T3" fmla="*/ 340 h 461"/>
                <a:gd name="T4" fmla="*/ 584 w 594"/>
                <a:gd name="T5" fmla="*/ 394 h 461"/>
                <a:gd name="T6" fmla="*/ 582 w 594"/>
                <a:gd name="T7" fmla="*/ 447 h 461"/>
                <a:gd name="T8" fmla="*/ 543 w 594"/>
                <a:gd name="T9" fmla="*/ 459 h 461"/>
                <a:gd name="T10" fmla="*/ 489 w 594"/>
                <a:gd name="T11" fmla="*/ 457 h 461"/>
                <a:gd name="T12" fmla="*/ 438 w 594"/>
                <a:gd name="T13" fmla="*/ 453 h 461"/>
                <a:gd name="T14" fmla="*/ 385 w 594"/>
                <a:gd name="T15" fmla="*/ 451 h 461"/>
                <a:gd name="T16" fmla="*/ 334 w 594"/>
                <a:gd name="T17" fmla="*/ 449 h 461"/>
                <a:gd name="T18" fmla="*/ 283 w 594"/>
                <a:gd name="T19" fmla="*/ 445 h 461"/>
                <a:gd name="T20" fmla="*/ 229 w 594"/>
                <a:gd name="T21" fmla="*/ 441 h 461"/>
                <a:gd name="T22" fmla="*/ 178 w 594"/>
                <a:gd name="T23" fmla="*/ 437 h 461"/>
                <a:gd name="T24" fmla="*/ 135 w 594"/>
                <a:gd name="T25" fmla="*/ 433 h 461"/>
                <a:gd name="T26" fmla="*/ 92 w 594"/>
                <a:gd name="T27" fmla="*/ 429 h 461"/>
                <a:gd name="T28" fmla="*/ 51 w 594"/>
                <a:gd name="T29" fmla="*/ 427 h 461"/>
                <a:gd name="T30" fmla="*/ 10 w 594"/>
                <a:gd name="T31" fmla="*/ 422 h 461"/>
                <a:gd name="T32" fmla="*/ 0 w 594"/>
                <a:gd name="T33" fmla="*/ 420 h 461"/>
                <a:gd name="T34" fmla="*/ 0 w 594"/>
                <a:gd name="T35" fmla="*/ 420 h 461"/>
                <a:gd name="T36" fmla="*/ 2 w 594"/>
                <a:gd name="T37" fmla="*/ 394 h 461"/>
                <a:gd name="T38" fmla="*/ 6 w 594"/>
                <a:gd name="T39" fmla="*/ 367 h 461"/>
                <a:gd name="T40" fmla="*/ 8 w 594"/>
                <a:gd name="T41" fmla="*/ 340 h 461"/>
                <a:gd name="T42" fmla="*/ 10 w 594"/>
                <a:gd name="T43" fmla="*/ 316 h 461"/>
                <a:gd name="T44" fmla="*/ 16 w 594"/>
                <a:gd name="T45" fmla="*/ 248 h 461"/>
                <a:gd name="T46" fmla="*/ 23 w 594"/>
                <a:gd name="T47" fmla="*/ 183 h 461"/>
                <a:gd name="T48" fmla="*/ 31 w 594"/>
                <a:gd name="T49" fmla="*/ 117 h 461"/>
                <a:gd name="T50" fmla="*/ 37 w 594"/>
                <a:gd name="T51" fmla="*/ 54 h 461"/>
                <a:gd name="T52" fmla="*/ 37 w 594"/>
                <a:gd name="T53" fmla="*/ 39 h 461"/>
                <a:gd name="T54" fmla="*/ 39 w 594"/>
                <a:gd name="T55" fmla="*/ 27 h 461"/>
                <a:gd name="T56" fmla="*/ 41 w 594"/>
                <a:gd name="T57" fmla="*/ 15 h 461"/>
                <a:gd name="T58" fmla="*/ 41 w 594"/>
                <a:gd name="T59" fmla="*/ 2 h 461"/>
                <a:gd name="T60" fmla="*/ 63 w 594"/>
                <a:gd name="T61" fmla="*/ 2 h 461"/>
                <a:gd name="T62" fmla="*/ 96 w 594"/>
                <a:gd name="T63" fmla="*/ 6 h 461"/>
                <a:gd name="T64" fmla="*/ 131 w 594"/>
                <a:gd name="T65" fmla="*/ 8 h 461"/>
                <a:gd name="T66" fmla="*/ 166 w 594"/>
                <a:gd name="T67" fmla="*/ 13 h 461"/>
                <a:gd name="T68" fmla="*/ 201 w 594"/>
                <a:gd name="T69" fmla="*/ 15 h 461"/>
                <a:gd name="T70" fmla="*/ 233 w 594"/>
                <a:gd name="T71" fmla="*/ 17 h 461"/>
                <a:gd name="T72" fmla="*/ 268 w 594"/>
                <a:gd name="T73" fmla="*/ 21 h 461"/>
                <a:gd name="T74" fmla="*/ 303 w 594"/>
                <a:gd name="T75" fmla="*/ 23 h 461"/>
                <a:gd name="T76" fmla="*/ 338 w 594"/>
                <a:gd name="T77" fmla="*/ 25 h 461"/>
                <a:gd name="T78" fmla="*/ 371 w 594"/>
                <a:gd name="T79" fmla="*/ 27 h 461"/>
                <a:gd name="T80" fmla="*/ 406 w 594"/>
                <a:gd name="T81" fmla="*/ 29 h 461"/>
                <a:gd name="T82" fmla="*/ 440 w 594"/>
                <a:gd name="T83" fmla="*/ 31 h 461"/>
                <a:gd name="T84" fmla="*/ 475 w 594"/>
                <a:gd name="T85" fmla="*/ 33 h 461"/>
                <a:gd name="T86" fmla="*/ 510 w 594"/>
                <a:gd name="T87" fmla="*/ 35 h 461"/>
                <a:gd name="T88" fmla="*/ 543 w 594"/>
                <a:gd name="T89" fmla="*/ 35 h 461"/>
                <a:gd name="T90" fmla="*/ 578 w 594"/>
                <a:gd name="T91" fmla="*/ 37 h 461"/>
                <a:gd name="T92" fmla="*/ 594 w 594"/>
                <a:gd name="T93" fmla="*/ 64 h 461"/>
                <a:gd name="T94" fmla="*/ 592 w 594"/>
                <a:gd name="T95" fmla="*/ 117 h 461"/>
                <a:gd name="T96" fmla="*/ 590 w 594"/>
                <a:gd name="T97" fmla="*/ 168 h 461"/>
                <a:gd name="T98" fmla="*/ 588 w 594"/>
                <a:gd name="T99" fmla="*/ 222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4" h="461">
                  <a:moveTo>
                    <a:pt x="588" y="248"/>
                  </a:moveTo>
                  <a:lnTo>
                    <a:pt x="588" y="261"/>
                  </a:lnTo>
                  <a:lnTo>
                    <a:pt x="588" y="275"/>
                  </a:lnTo>
                  <a:lnTo>
                    <a:pt x="586" y="287"/>
                  </a:lnTo>
                  <a:lnTo>
                    <a:pt x="586" y="302"/>
                  </a:lnTo>
                  <a:lnTo>
                    <a:pt x="586" y="314"/>
                  </a:lnTo>
                  <a:lnTo>
                    <a:pt x="586" y="328"/>
                  </a:lnTo>
                  <a:lnTo>
                    <a:pt x="584" y="340"/>
                  </a:lnTo>
                  <a:lnTo>
                    <a:pt x="584" y="355"/>
                  </a:lnTo>
                  <a:lnTo>
                    <a:pt x="584" y="367"/>
                  </a:lnTo>
                  <a:lnTo>
                    <a:pt x="584" y="381"/>
                  </a:lnTo>
                  <a:lnTo>
                    <a:pt x="584" y="394"/>
                  </a:lnTo>
                  <a:lnTo>
                    <a:pt x="582" y="408"/>
                  </a:lnTo>
                  <a:lnTo>
                    <a:pt x="582" y="420"/>
                  </a:lnTo>
                  <a:lnTo>
                    <a:pt x="582" y="435"/>
                  </a:lnTo>
                  <a:lnTo>
                    <a:pt x="582" y="447"/>
                  </a:lnTo>
                  <a:lnTo>
                    <a:pt x="582" y="461"/>
                  </a:lnTo>
                  <a:lnTo>
                    <a:pt x="567" y="459"/>
                  </a:lnTo>
                  <a:lnTo>
                    <a:pt x="555" y="459"/>
                  </a:lnTo>
                  <a:lnTo>
                    <a:pt x="543" y="459"/>
                  </a:lnTo>
                  <a:lnTo>
                    <a:pt x="528" y="459"/>
                  </a:lnTo>
                  <a:lnTo>
                    <a:pt x="516" y="457"/>
                  </a:lnTo>
                  <a:lnTo>
                    <a:pt x="502" y="457"/>
                  </a:lnTo>
                  <a:lnTo>
                    <a:pt x="489" y="457"/>
                  </a:lnTo>
                  <a:lnTo>
                    <a:pt x="477" y="455"/>
                  </a:lnTo>
                  <a:lnTo>
                    <a:pt x="463" y="455"/>
                  </a:lnTo>
                  <a:lnTo>
                    <a:pt x="451" y="455"/>
                  </a:lnTo>
                  <a:lnTo>
                    <a:pt x="438" y="453"/>
                  </a:lnTo>
                  <a:lnTo>
                    <a:pt x="424" y="453"/>
                  </a:lnTo>
                  <a:lnTo>
                    <a:pt x="412" y="453"/>
                  </a:lnTo>
                  <a:lnTo>
                    <a:pt x="399" y="451"/>
                  </a:lnTo>
                  <a:lnTo>
                    <a:pt x="385" y="451"/>
                  </a:lnTo>
                  <a:lnTo>
                    <a:pt x="373" y="451"/>
                  </a:lnTo>
                  <a:lnTo>
                    <a:pt x="360" y="449"/>
                  </a:lnTo>
                  <a:lnTo>
                    <a:pt x="346" y="449"/>
                  </a:lnTo>
                  <a:lnTo>
                    <a:pt x="334" y="449"/>
                  </a:lnTo>
                  <a:lnTo>
                    <a:pt x="322" y="447"/>
                  </a:lnTo>
                  <a:lnTo>
                    <a:pt x="307" y="447"/>
                  </a:lnTo>
                  <a:lnTo>
                    <a:pt x="295" y="445"/>
                  </a:lnTo>
                  <a:lnTo>
                    <a:pt x="283" y="445"/>
                  </a:lnTo>
                  <a:lnTo>
                    <a:pt x="268" y="443"/>
                  </a:lnTo>
                  <a:lnTo>
                    <a:pt x="256" y="443"/>
                  </a:lnTo>
                  <a:lnTo>
                    <a:pt x="244" y="441"/>
                  </a:lnTo>
                  <a:lnTo>
                    <a:pt x="229" y="441"/>
                  </a:lnTo>
                  <a:lnTo>
                    <a:pt x="217" y="441"/>
                  </a:lnTo>
                  <a:lnTo>
                    <a:pt x="205" y="439"/>
                  </a:lnTo>
                  <a:lnTo>
                    <a:pt x="190" y="439"/>
                  </a:lnTo>
                  <a:lnTo>
                    <a:pt x="178" y="437"/>
                  </a:lnTo>
                  <a:lnTo>
                    <a:pt x="166" y="437"/>
                  </a:lnTo>
                  <a:lnTo>
                    <a:pt x="156" y="435"/>
                  </a:lnTo>
                  <a:lnTo>
                    <a:pt x="145" y="435"/>
                  </a:lnTo>
                  <a:lnTo>
                    <a:pt x="135" y="433"/>
                  </a:lnTo>
                  <a:lnTo>
                    <a:pt x="123" y="433"/>
                  </a:lnTo>
                  <a:lnTo>
                    <a:pt x="113" y="431"/>
                  </a:lnTo>
                  <a:lnTo>
                    <a:pt x="102" y="431"/>
                  </a:lnTo>
                  <a:lnTo>
                    <a:pt x="92" y="429"/>
                  </a:lnTo>
                  <a:lnTo>
                    <a:pt x="82" y="429"/>
                  </a:lnTo>
                  <a:lnTo>
                    <a:pt x="72" y="429"/>
                  </a:lnTo>
                  <a:lnTo>
                    <a:pt x="61" y="427"/>
                  </a:lnTo>
                  <a:lnTo>
                    <a:pt x="51" y="427"/>
                  </a:lnTo>
                  <a:lnTo>
                    <a:pt x="41" y="424"/>
                  </a:lnTo>
                  <a:lnTo>
                    <a:pt x="31" y="424"/>
                  </a:lnTo>
                  <a:lnTo>
                    <a:pt x="20" y="422"/>
                  </a:lnTo>
                  <a:lnTo>
                    <a:pt x="10" y="422"/>
                  </a:lnTo>
                  <a:lnTo>
                    <a:pt x="0" y="420"/>
                  </a:lnTo>
                  <a:lnTo>
                    <a:pt x="0" y="420"/>
                  </a:lnTo>
                  <a:lnTo>
                    <a:pt x="0" y="420"/>
                  </a:lnTo>
                  <a:lnTo>
                    <a:pt x="0" y="420"/>
                  </a:lnTo>
                  <a:lnTo>
                    <a:pt x="0" y="420"/>
                  </a:lnTo>
                  <a:lnTo>
                    <a:pt x="0" y="420"/>
                  </a:lnTo>
                  <a:lnTo>
                    <a:pt x="0" y="420"/>
                  </a:lnTo>
                  <a:lnTo>
                    <a:pt x="0" y="420"/>
                  </a:lnTo>
                  <a:lnTo>
                    <a:pt x="0" y="414"/>
                  </a:lnTo>
                  <a:lnTo>
                    <a:pt x="2" y="408"/>
                  </a:lnTo>
                  <a:lnTo>
                    <a:pt x="2" y="400"/>
                  </a:lnTo>
                  <a:lnTo>
                    <a:pt x="2" y="394"/>
                  </a:lnTo>
                  <a:lnTo>
                    <a:pt x="4" y="388"/>
                  </a:lnTo>
                  <a:lnTo>
                    <a:pt x="4" y="381"/>
                  </a:lnTo>
                  <a:lnTo>
                    <a:pt x="4" y="375"/>
                  </a:lnTo>
                  <a:lnTo>
                    <a:pt x="6" y="367"/>
                  </a:lnTo>
                  <a:lnTo>
                    <a:pt x="6" y="361"/>
                  </a:lnTo>
                  <a:lnTo>
                    <a:pt x="6" y="355"/>
                  </a:lnTo>
                  <a:lnTo>
                    <a:pt x="6" y="349"/>
                  </a:lnTo>
                  <a:lnTo>
                    <a:pt x="8" y="340"/>
                  </a:lnTo>
                  <a:lnTo>
                    <a:pt x="8" y="334"/>
                  </a:lnTo>
                  <a:lnTo>
                    <a:pt x="8" y="328"/>
                  </a:lnTo>
                  <a:lnTo>
                    <a:pt x="10" y="322"/>
                  </a:lnTo>
                  <a:lnTo>
                    <a:pt x="10" y="316"/>
                  </a:lnTo>
                  <a:lnTo>
                    <a:pt x="12" y="299"/>
                  </a:lnTo>
                  <a:lnTo>
                    <a:pt x="14" y="283"/>
                  </a:lnTo>
                  <a:lnTo>
                    <a:pt x="16" y="265"/>
                  </a:lnTo>
                  <a:lnTo>
                    <a:pt x="16" y="248"/>
                  </a:lnTo>
                  <a:lnTo>
                    <a:pt x="18" y="232"/>
                  </a:lnTo>
                  <a:lnTo>
                    <a:pt x="20" y="215"/>
                  </a:lnTo>
                  <a:lnTo>
                    <a:pt x="23" y="199"/>
                  </a:lnTo>
                  <a:lnTo>
                    <a:pt x="23" y="183"/>
                  </a:lnTo>
                  <a:lnTo>
                    <a:pt x="25" y="166"/>
                  </a:lnTo>
                  <a:lnTo>
                    <a:pt x="27" y="150"/>
                  </a:lnTo>
                  <a:lnTo>
                    <a:pt x="29" y="133"/>
                  </a:lnTo>
                  <a:lnTo>
                    <a:pt x="31" y="117"/>
                  </a:lnTo>
                  <a:lnTo>
                    <a:pt x="31" y="101"/>
                  </a:lnTo>
                  <a:lnTo>
                    <a:pt x="33" y="86"/>
                  </a:lnTo>
                  <a:lnTo>
                    <a:pt x="35" y="70"/>
                  </a:lnTo>
                  <a:lnTo>
                    <a:pt x="37" y="54"/>
                  </a:lnTo>
                  <a:lnTo>
                    <a:pt x="37" y="49"/>
                  </a:lnTo>
                  <a:lnTo>
                    <a:pt x="37" y="47"/>
                  </a:lnTo>
                  <a:lnTo>
                    <a:pt x="37" y="43"/>
                  </a:lnTo>
                  <a:lnTo>
                    <a:pt x="37" y="39"/>
                  </a:lnTo>
                  <a:lnTo>
                    <a:pt x="39" y="37"/>
                  </a:lnTo>
                  <a:lnTo>
                    <a:pt x="39" y="33"/>
                  </a:lnTo>
                  <a:lnTo>
                    <a:pt x="39" y="31"/>
                  </a:lnTo>
                  <a:lnTo>
                    <a:pt x="39" y="27"/>
                  </a:lnTo>
                  <a:lnTo>
                    <a:pt x="39" y="25"/>
                  </a:lnTo>
                  <a:lnTo>
                    <a:pt x="39" y="21"/>
                  </a:lnTo>
                  <a:lnTo>
                    <a:pt x="41" y="19"/>
                  </a:lnTo>
                  <a:lnTo>
                    <a:pt x="41" y="15"/>
                  </a:lnTo>
                  <a:lnTo>
                    <a:pt x="41" y="13"/>
                  </a:lnTo>
                  <a:lnTo>
                    <a:pt x="41" y="8"/>
                  </a:lnTo>
                  <a:lnTo>
                    <a:pt x="41" y="4"/>
                  </a:lnTo>
                  <a:lnTo>
                    <a:pt x="41" y="2"/>
                  </a:lnTo>
                  <a:lnTo>
                    <a:pt x="41" y="0"/>
                  </a:lnTo>
                  <a:lnTo>
                    <a:pt x="45" y="0"/>
                  </a:lnTo>
                  <a:lnTo>
                    <a:pt x="55" y="2"/>
                  </a:lnTo>
                  <a:lnTo>
                    <a:pt x="63" y="2"/>
                  </a:lnTo>
                  <a:lnTo>
                    <a:pt x="72" y="2"/>
                  </a:lnTo>
                  <a:lnTo>
                    <a:pt x="80" y="4"/>
                  </a:lnTo>
                  <a:lnTo>
                    <a:pt x="88" y="4"/>
                  </a:lnTo>
                  <a:lnTo>
                    <a:pt x="96" y="6"/>
                  </a:lnTo>
                  <a:lnTo>
                    <a:pt x="106" y="6"/>
                  </a:lnTo>
                  <a:lnTo>
                    <a:pt x="115" y="6"/>
                  </a:lnTo>
                  <a:lnTo>
                    <a:pt x="123" y="8"/>
                  </a:lnTo>
                  <a:lnTo>
                    <a:pt x="131" y="8"/>
                  </a:lnTo>
                  <a:lnTo>
                    <a:pt x="139" y="11"/>
                  </a:lnTo>
                  <a:lnTo>
                    <a:pt x="150" y="11"/>
                  </a:lnTo>
                  <a:lnTo>
                    <a:pt x="158" y="11"/>
                  </a:lnTo>
                  <a:lnTo>
                    <a:pt x="166" y="13"/>
                  </a:lnTo>
                  <a:lnTo>
                    <a:pt x="174" y="13"/>
                  </a:lnTo>
                  <a:lnTo>
                    <a:pt x="182" y="13"/>
                  </a:lnTo>
                  <a:lnTo>
                    <a:pt x="190" y="15"/>
                  </a:lnTo>
                  <a:lnTo>
                    <a:pt x="201" y="15"/>
                  </a:lnTo>
                  <a:lnTo>
                    <a:pt x="209" y="15"/>
                  </a:lnTo>
                  <a:lnTo>
                    <a:pt x="217" y="17"/>
                  </a:lnTo>
                  <a:lnTo>
                    <a:pt x="225" y="17"/>
                  </a:lnTo>
                  <a:lnTo>
                    <a:pt x="233" y="17"/>
                  </a:lnTo>
                  <a:lnTo>
                    <a:pt x="244" y="19"/>
                  </a:lnTo>
                  <a:lnTo>
                    <a:pt x="252" y="19"/>
                  </a:lnTo>
                  <a:lnTo>
                    <a:pt x="260" y="19"/>
                  </a:lnTo>
                  <a:lnTo>
                    <a:pt x="268" y="21"/>
                  </a:lnTo>
                  <a:lnTo>
                    <a:pt x="276" y="21"/>
                  </a:lnTo>
                  <a:lnTo>
                    <a:pt x="287" y="21"/>
                  </a:lnTo>
                  <a:lnTo>
                    <a:pt x="295" y="23"/>
                  </a:lnTo>
                  <a:lnTo>
                    <a:pt x="303" y="23"/>
                  </a:lnTo>
                  <a:lnTo>
                    <a:pt x="311" y="23"/>
                  </a:lnTo>
                  <a:lnTo>
                    <a:pt x="319" y="23"/>
                  </a:lnTo>
                  <a:lnTo>
                    <a:pt x="328" y="25"/>
                  </a:lnTo>
                  <a:lnTo>
                    <a:pt x="338" y="25"/>
                  </a:lnTo>
                  <a:lnTo>
                    <a:pt x="346" y="25"/>
                  </a:lnTo>
                  <a:lnTo>
                    <a:pt x="354" y="27"/>
                  </a:lnTo>
                  <a:lnTo>
                    <a:pt x="363" y="27"/>
                  </a:lnTo>
                  <a:lnTo>
                    <a:pt x="371" y="27"/>
                  </a:lnTo>
                  <a:lnTo>
                    <a:pt x="381" y="27"/>
                  </a:lnTo>
                  <a:lnTo>
                    <a:pt x="389" y="29"/>
                  </a:lnTo>
                  <a:lnTo>
                    <a:pt x="397" y="29"/>
                  </a:lnTo>
                  <a:lnTo>
                    <a:pt x="406" y="29"/>
                  </a:lnTo>
                  <a:lnTo>
                    <a:pt x="414" y="29"/>
                  </a:lnTo>
                  <a:lnTo>
                    <a:pt x="424" y="31"/>
                  </a:lnTo>
                  <a:lnTo>
                    <a:pt x="432" y="31"/>
                  </a:lnTo>
                  <a:lnTo>
                    <a:pt x="440" y="31"/>
                  </a:lnTo>
                  <a:lnTo>
                    <a:pt x="449" y="31"/>
                  </a:lnTo>
                  <a:lnTo>
                    <a:pt x="457" y="33"/>
                  </a:lnTo>
                  <a:lnTo>
                    <a:pt x="467" y="33"/>
                  </a:lnTo>
                  <a:lnTo>
                    <a:pt x="475" y="33"/>
                  </a:lnTo>
                  <a:lnTo>
                    <a:pt x="483" y="33"/>
                  </a:lnTo>
                  <a:lnTo>
                    <a:pt x="492" y="33"/>
                  </a:lnTo>
                  <a:lnTo>
                    <a:pt x="500" y="35"/>
                  </a:lnTo>
                  <a:lnTo>
                    <a:pt x="510" y="35"/>
                  </a:lnTo>
                  <a:lnTo>
                    <a:pt x="518" y="35"/>
                  </a:lnTo>
                  <a:lnTo>
                    <a:pt x="526" y="35"/>
                  </a:lnTo>
                  <a:lnTo>
                    <a:pt x="535" y="35"/>
                  </a:lnTo>
                  <a:lnTo>
                    <a:pt x="543" y="35"/>
                  </a:lnTo>
                  <a:lnTo>
                    <a:pt x="551" y="37"/>
                  </a:lnTo>
                  <a:lnTo>
                    <a:pt x="561" y="37"/>
                  </a:lnTo>
                  <a:lnTo>
                    <a:pt x="569" y="37"/>
                  </a:lnTo>
                  <a:lnTo>
                    <a:pt x="578" y="37"/>
                  </a:lnTo>
                  <a:lnTo>
                    <a:pt x="586" y="37"/>
                  </a:lnTo>
                  <a:lnTo>
                    <a:pt x="594" y="37"/>
                  </a:lnTo>
                  <a:lnTo>
                    <a:pt x="594" y="52"/>
                  </a:lnTo>
                  <a:lnTo>
                    <a:pt x="594" y="64"/>
                  </a:lnTo>
                  <a:lnTo>
                    <a:pt x="594" y="78"/>
                  </a:lnTo>
                  <a:lnTo>
                    <a:pt x="594" y="90"/>
                  </a:lnTo>
                  <a:lnTo>
                    <a:pt x="592" y="103"/>
                  </a:lnTo>
                  <a:lnTo>
                    <a:pt x="592" y="117"/>
                  </a:lnTo>
                  <a:lnTo>
                    <a:pt x="592" y="129"/>
                  </a:lnTo>
                  <a:lnTo>
                    <a:pt x="592" y="144"/>
                  </a:lnTo>
                  <a:lnTo>
                    <a:pt x="592" y="156"/>
                  </a:lnTo>
                  <a:lnTo>
                    <a:pt x="590" y="168"/>
                  </a:lnTo>
                  <a:lnTo>
                    <a:pt x="590" y="183"/>
                  </a:lnTo>
                  <a:lnTo>
                    <a:pt x="590" y="195"/>
                  </a:lnTo>
                  <a:lnTo>
                    <a:pt x="590" y="209"/>
                  </a:lnTo>
                  <a:lnTo>
                    <a:pt x="588" y="222"/>
                  </a:lnTo>
                  <a:lnTo>
                    <a:pt x="588" y="236"/>
                  </a:lnTo>
                  <a:lnTo>
                    <a:pt x="588" y="248"/>
                  </a:lnTo>
                  <a:lnTo>
                    <a:pt x="588" y="248"/>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Y</a:t>
              </a:r>
            </a:p>
          </p:txBody>
        </p:sp>
        <p:sp>
          <p:nvSpPr>
            <p:cNvPr id="85" name="Freeform 6">
              <a:extLst>
                <a:ext uri="{FF2B5EF4-FFF2-40B4-BE49-F238E27FC236}">
                  <a16:creationId xmlns:a16="http://schemas.microsoft.com/office/drawing/2014/main" id="{DAB0A49A-2B0A-3DC1-9A9C-06D48FAB5463}"/>
                </a:ext>
              </a:extLst>
            </p:cNvPr>
            <p:cNvSpPr>
              <a:spLocks/>
            </p:cNvSpPr>
            <p:nvPr/>
          </p:nvSpPr>
          <p:spPr bwMode="auto">
            <a:xfrm>
              <a:off x="4212" y="910"/>
              <a:ext cx="387" cy="379"/>
            </a:xfrm>
            <a:custGeom>
              <a:avLst/>
              <a:gdLst>
                <a:gd name="T0" fmla="*/ 262 w 387"/>
                <a:gd name="T1" fmla="*/ 117 h 379"/>
                <a:gd name="T2" fmla="*/ 273 w 387"/>
                <a:gd name="T3" fmla="*/ 102 h 379"/>
                <a:gd name="T4" fmla="*/ 289 w 387"/>
                <a:gd name="T5" fmla="*/ 94 h 379"/>
                <a:gd name="T6" fmla="*/ 293 w 387"/>
                <a:gd name="T7" fmla="*/ 86 h 379"/>
                <a:gd name="T8" fmla="*/ 299 w 387"/>
                <a:gd name="T9" fmla="*/ 82 h 379"/>
                <a:gd name="T10" fmla="*/ 303 w 387"/>
                <a:gd name="T11" fmla="*/ 86 h 379"/>
                <a:gd name="T12" fmla="*/ 324 w 387"/>
                <a:gd name="T13" fmla="*/ 80 h 379"/>
                <a:gd name="T14" fmla="*/ 338 w 387"/>
                <a:gd name="T15" fmla="*/ 68 h 379"/>
                <a:gd name="T16" fmla="*/ 369 w 387"/>
                <a:gd name="T17" fmla="*/ 68 h 379"/>
                <a:gd name="T18" fmla="*/ 375 w 387"/>
                <a:gd name="T19" fmla="*/ 74 h 379"/>
                <a:gd name="T20" fmla="*/ 381 w 387"/>
                <a:gd name="T21" fmla="*/ 82 h 379"/>
                <a:gd name="T22" fmla="*/ 385 w 387"/>
                <a:gd name="T23" fmla="*/ 111 h 379"/>
                <a:gd name="T24" fmla="*/ 336 w 387"/>
                <a:gd name="T25" fmla="*/ 92 h 379"/>
                <a:gd name="T26" fmla="*/ 334 w 387"/>
                <a:gd name="T27" fmla="*/ 113 h 379"/>
                <a:gd name="T28" fmla="*/ 334 w 387"/>
                <a:gd name="T29" fmla="*/ 123 h 379"/>
                <a:gd name="T30" fmla="*/ 324 w 387"/>
                <a:gd name="T31" fmla="*/ 145 h 379"/>
                <a:gd name="T32" fmla="*/ 316 w 387"/>
                <a:gd name="T33" fmla="*/ 156 h 379"/>
                <a:gd name="T34" fmla="*/ 305 w 387"/>
                <a:gd name="T35" fmla="*/ 170 h 379"/>
                <a:gd name="T36" fmla="*/ 289 w 387"/>
                <a:gd name="T37" fmla="*/ 180 h 379"/>
                <a:gd name="T38" fmla="*/ 283 w 387"/>
                <a:gd name="T39" fmla="*/ 199 h 379"/>
                <a:gd name="T40" fmla="*/ 262 w 387"/>
                <a:gd name="T41" fmla="*/ 213 h 379"/>
                <a:gd name="T42" fmla="*/ 244 w 387"/>
                <a:gd name="T43" fmla="*/ 203 h 379"/>
                <a:gd name="T44" fmla="*/ 242 w 387"/>
                <a:gd name="T45" fmla="*/ 219 h 379"/>
                <a:gd name="T46" fmla="*/ 236 w 387"/>
                <a:gd name="T47" fmla="*/ 236 h 379"/>
                <a:gd name="T48" fmla="*/ 230 w 387"/>
                <a:gd name="T49" fmla="*/ 252 h 379"/>
                <a:gd name="T50" fmla="*/ 211 w 387"/>
                <a:gd name="T51" fmla="*/ 297 h 379"/>
                <a:gd name="T52" fmla="*/ 213 w 387"/>
                <a:gd name="T53" fmla="*/ 316 h 379"/>
                <a:gd name="T54" fmla="*/ 211 w 387"/>
                <a:gd name="T55" fmla="*/ 326 h 379"/>
                <a:gd name="T56" fmla="*/ 195 w 387"/>
                <a:gd name="T57" fmla="*/ 338 h 379"/>
                <a:gd name="T58" fmla="*/ 174 w 387"/>
                <a:gd name="T59" fmla="*/ 348 h 379"/>
                <a:gd name="T60" fmla="*/ 168 w 387"/>
                <a:gd name="T61" fmla="*/ 344 h 379"/>
                <a:gd name="T62" fmla="*/ 164 w 387"/>
                <a:gd name="T63" fmla="*/ 352 h 379"/>
                <a:gd name="T64" fmla="*/ 137 w 387"/>
                <a:gd name="T65" fmla="*/ 369 h 379"/>
                <a:gd name="T66" fmla="*/ 125 w 387"/>
                <a:gd name="T67" fmla="*/ 363 h 379"/>
                <a:gd name="T68" fmla="*/ 113 w 387"/>
                <a:gd name="T69" fmla="*/ 371 h 379"/>
                <a:gd name="T70" fmla="*/ 90 w 387"/>
                <a:gd name="T71" fmla="*/ 375 h 379"/>
                <a:gd name="T72" fmla="*/ 80 w 387"/>
                <a:gd name="T73" fmla="*/ 369 h 379"/>
                <a:gd name="T74" fmla="*/ 72 w 387"/>
                <a:gd name="T75" fmla="*/ 359 h 379"/>
                <a:gd name="T76" fmla="*/ 70 w 387"/>
                <a:gd name="T77" fmla="*/ 350 h 379"/>
                <a:gd name="T78" fmla="*/ 51 w 387"/>
                <a:gd name="T79" fmla="*/ 346 h 379"/>
                <a:gd name="T80" fmla="*/ 37 w 387"/>
                <a:gd name="T81" fmla="*/ 338 h 379"/>
                <a:gd name="T82" fmla="*/ 23 w 387"/>
                <a:gd name="T83" fmla="*/ 318 h 379"/>
                <a:gd name="T84" fmla="*/ 10 w 387"/>
                <a:gd name="T85" fmla="*/ 305 h 379"/>
                <a:gd name="T86" fmla="*/ 2 w 387"/>
                <a:gd name="T87" fmla="*/ 287 h 379"/>
                <a:gd name="T88" fmla="*/ 4 w 387"/>
                <a:gd name="T89" fmla="*/ 279 h 379"/>
                <a:gd name="T90" fmla="*/ 6 w 387"/>
                <a:gd name="T91" fmla="*/ 264 h 379"/>
                <a:gd name="T92" fmla="*/ 31 w 387"/>
                <a:gd name="T93" fmla="*/ 236 h 379"/>
                <a:gd name="T94" fmla="*/ 29 w 387"/>
                <a:gd name="T95" fmla="*/ 207 h 379"/>
                <a:gd name="T96" fmla="*/ 49 w 387"/>
                <a:gd name="T97" fmla="*/ 201 h 379"/>
                <a:gd name="T98" fmla="*/ 53 w 387"/>
                <a:gd name="T99" fmla="*/ 199 h 379"/>
                <a:gd name="T100" fmla="*/ 53 w 387"/>
                <a:gd name="T101" fmla="*/ 186 h 379"/>
                <a:gd name="T102" fmla="*/ 64 w 387"/>
                <a:gd name="T103" fmla="*/ 162 h 379"/>
                <a:gd name="T104" fmla="*/ 82 w 387"/>
                <a:gd name="T105" fmla="*/ 148 h 379"/>
                <a:gd name="T106" fmla="*/ 107 w 387"/>
                <a:gd name="T107" fmla="*/ 129 h 379"/>
                <a:gd name="T108" fmla="*/ 121 w 387"/>
                <a:gd name="T109" fmla="*/ 98 h 379"/>
                <a:gd name="T110" fmla="*/ 123 w 387"/>
                <a:gd name="T111" fmla="*/ 80 h 379"/>
                <a:gd name="T112" fmla="*/ 125 w 387"/>
                <a:gd name="T113" fmla="*/ 61 h 379"/>
                <a:gd name="T114" fmla="*/ 129 w 387"/>
                <a:gd name="T115" fmla="*/ 31 h 379"/>
                <a:gd name="T116" fmla="*/ 121 w 387"/>
                <a:gd name="T117" fmla="*/ 6 h 379"/>
                <a:gd name="T118" fmla="*/ 131 w 387"/>
                <a:gd name="T119" fmla="*/ 2 h 379"/>
                <a:gd name="T120" fmla="*/ 170 w 387"/>
                <a:gd name="T121" fmla="*/ 9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7" h="379">
                  <a:moveTo>
                    <a:pt x="236" y="82"/>
                  </a:moveTo>
                  <a:lnTo>
                    <a:pt x="244" y="135"/>
                  </a:lnTo>
                  <a:lnTo>
                    <a:pt x="246" y="137"/>
                  </a:lnTo>
                  <a:lnTo>
                    <a:pt x="246" y="137"/>
                  </a:lnTo>
                  <a:lnTo>
                    <a:pt x="246" y="135"/>
                  </a:lnTo>
                  <a:lnTo>
                    <a:pt x="248" y="135"/>
                  </a:lnTo>
                  <a:lnTo>
                    <a:pt x="254" y="125"/>
                  </a:lnTo>
                  <a:lnTo>
                    <a:pt x="256" y="125"/>
                  </a:lnTo>
                  <a:lnTo>
                    <a:pt x="258" y="123"/>
                  </a:lnTo>
                  <a:lnTo>
                    <a:pt x="260" y="123"/>
                  </a:lnTo>
                  <a:lnTo>
                    <a:pt x="260" y="123"/>
                  </a:lnTo>
                  <a:lnTo>
                    <a:pt x="260" y="121"/>
                  </a:lnTo>
                  <a:lnTo>
                    <a:pt x="260" y="119"/>
                  </a:lnTo>
                  <a:lnTo>
                    <a:pt x="262" y="117"/>
                  </a:lnTo>
                  <a:lnTo>
                    <a:pt x="264" y="115"/>
                  </a:lnTo>
                  <a:lnTo>
                    <a:pt x="266" y="113"/>
                  </a:lnTo>
                  <a:lnTo>
                    <a:pt x="266" y="113"/>
                  </a:lnTo>
                  <a:lnTo>
                    <a:pt x="268" y="113"/>
                  </a:lnTo>
                  <a:lnTo>
                    <a:pt x="268" y="111"/>
                  </a:lnTo>
                  <a:lnTo>
                    <a:pt x="271" y="109"/>
                  </a:lnTo>
                  <a:lnTo>
                    <a:pt x="271" y="109"/>
                  </a:lnTo>
                  <a:lnTo>
                    <a:pt x="271" y="109"/>
                  </a:lnTo>
                  <a:lnTo>
                    <a:pt x="271" y="109"/>
                  </a:lnTo>
                  <a:lnTo>
                    <a:pt x="271" y="107"/>
                  </a:lnTo>
                  <a:lnTo>
                    <a:pt x="271" y="104"/>
                  </a:lnTo>
                  <a:lnTo>
                    <a:pt x="271" y="104"/>
                  </a:lnTo>
                  <a:lnTo>
                    <a:pt x="271" y="102"/>
                  </a:lnTo>
                  <a:lnTo>
                    <a:pt x="273" y="102"/>
                  </a:lnTo>
                  <a:lnTo>
                    <a:pt x="275" y="100"/>
                  </a:lnTo>
                  <a:lnTo>
                    <a:pt x="275" y="100"/>
                  </a:lnTo>
                  <a:lnTo>
                    <a:pt x="277" y="100"/>
                  </a:lnTo>
                  <a:lnTo>
                    <a:pt x="277" y="100"/>
                  </a:lnTo>
                  <a:lnTo>
                    <a:pt x="279" y="100"/>
                  </a:lnTo>
                  <a:lnTo>
                    <a:pt x="281" y="102"/>
                  </a:lnTo>
                  <a:lnTo>
                    <a:pt x="281" y="102"/>
                  </a:lnTo>
                  <a:lnTo>
                    <a:pt x="283" y="102"/>
                  </a:lnTo>
                  <a:lnTo>
                    <a:pt x="283" y="102"/>
                  </a:lnTo>
                  <a:lnTo>
                    <a:pt x="285" y="102"/>
                  </a:lnTo>
                  <a:lnTo>
                    <a:pt x="285" y="102"/>
                  </a:lnTo>
                  <a:lnTo>
                    <a:pt x="285" y="100"/>
                  </a:lnTo>
                  <a:lnTo>
                    <a:pt x="285" y="100"/>
                  </a:lnTo>
                  <a:lnTo>
                    <a:pt x="289" y="94"/>
                  </a:lnTo>
                  <a:lnTo>
                    <a:pt x="289" y="92"/>
                  </a:lnTo>
                  <a:lnTo>
                    <a:pt x="291" y="90"/>
                  </a:lnTo>
                  <a:lnTo>
                    <a:pt x="291" y="90"/>
                  </a:lnTo>
                  <a:lnTo>
                    <a:pt x="291" y="90"/>
                  </a:lnTo>
                  <a:lnTo>
                    <a:pt x="291" y="90"/>
                  </a:lnTo>
                  <a:lnTo>
                    <a:pt x="291" y="88"/>
                  </a:lnTo>
                  <a:lnTo>
                    <a:pt x="291" y="88"/>
                  </a:lnTo>
                  <a:lnTo>
                    <a:pt x="293" y="88"/>
                  </a:lnTo>
                  <a:lnTo>
                    <a:pt x="293" y="88"/>
                  </a:lnTo>
                  <a:lnTo>
                    <a:pt x="293" y="88"/>
                  </a:lnTo>
                  <a:lnTo>
                    <a:pt x="293" y="88"/>
                  </a:lnTo>
                  <a:lnTo>
                    <a:pt x="293" y="86"/>
                  </a:lnTo>
                  <a:lnTo>
                    <a:pt x="293" y="86"/>
                  </a:lnTo>
                  <a:lnTo>
                    <a:pt x="293" y="86"/>
                  </a:lnTo>
                  <a:lnTo>
                    <a:pt x="293" y="86"/>
                  </a:lnTo>
                  <a:lnTo>
                    <a:pt x="293" y="84"/>
                  </a:lnTo>
                  <a:lnTo>
                    <a:pt x="295" y="82"/>
                  </a:lnTo>
                  <a:lnTo>
                    <a:pt x="295" y="82"/>
                  </a:lnTo>
                  <a:lnTo>
                    <a:pt x="295" y="80"/>
                  </a:lnTo>
                  <a:lnTo>
                    <a:pt x="295" y="80"/>
                  </a:lnTo>
                  <a:lnTo>
                    <a:pt x="295" y="80"/>
                  </a:lnTo>
                  <a:lnTo>
                    <a:pt x="295" y="80"/>
                  </a:lnTo>
                  <a:lnTo>
                    <a:pt x="295" y="80"/>
                  </a:lnTo>
                  <a:lnTo>
                    <a:pt x="297" y="80"/>
                  </a:lnTo>
                  <a:lnTo>
                    <a:pt x="297" y="80"/>
                  </a:lnTo>
                  <a:lnTo>
                    <a:pt x="297" y="82"/>
                  </a:lnTo>
                  <a:lnTo>
                    <a:pt x="299" y="82"/>
                  </a:lnTo>
                  <a:lnTo>
                    <a:pt x="299" y="82"/>
                  </a:lnTo>
                  <a:lnTo>
                    <a:pt x="299" y="82"/>
                  </a:lnTo>
                  <a:lnTo>
                    <a:pt x="299" y="82"/>
                  </a:lnTo>
                  <a:lnTo>
                    <a:pt x="297" y="84"/>
                  </a:lnTo>
                  <a:lnTo>
                    <a:pt x="297" y="84"/>
                  </a:lnTo>
                  <a:lnTo>
                    <a:pt x="297" y="84"/>
                  </a:lnTo>
                  <a:lnTo>
                    <a:pt x="297" y="84"/>
                  </a:lnTo>
                  <a:lnTo>
                    <a:pt x="297" y="84"/>
                  </a:lnTo>
                  <a:lnTo>
                    <a:pt x="297" y="84"/>
                  </a:lnTo>
                  <a:lnTo>
                    <a:pt x="297" y="86"/>
                  </a:lnTo>
                  <a:lnTo>
                    <a:pt x="297" y="86"/>
                  </a:lnTo>
                  <a:lnTo>
                    <a:pt x="299" y="86"/>
                  </a:lnTo>
                  <a:lnTo>
                    <a:pt x="299" y="86"/>
                  </a:lnTo>
                  <a:lnTo>
                    <a:pt x="299" y="86"/>
                  </a:lnTo>
                  <a:lnTo>
                    <a:pt x="303" y="86"/>
                  </a:lnTo>
                  <a:lnTo>
                    <a:pt x="303" y="88"/>
                  </a:lnTo>
                  <a:lnTo>
                    <a:pt x="303" y="88"/>
                  </a:lnTo>
                  <a:lnTo>
                    <a:pt x="305" y="88"/>
                  </a:lnTo>
                  <a:lnTo>
                    <a:pt x="307" y="88"/>
                  </a:lnTo>
                  <a:lnTo>
                    <a:pt x="314" y="88"/>
                  </a:lnTo>
                  <a:lnTo>
                    <a:pt x="314" y="88"/>
                  </a:lnTo>
                  <a:lnTo>
                    <a:pt x="318" y="86"/>
                  </a:lnTo>
                  <a:lnTo>
                    <a:pt x="322" y="86"/>
                  </a:lnTo>
                  <a:lnTo>
                    <a:pt x="326" y="84"/>
                  </a:lnTo>
                  <a:lnTo>
                    <a:pt x="326" y="82"/>
                  </a:lnTo>
                  <a:lnTo>
                    <a:pt x="324" y="82"/>
                  </a:lnTo>
                  <a:lnTo>
                    <a:pt x="324" y="82"/>
                  </a:lnTo>
                  <a:lnTo>
                    <a:pt x="324" y="80"/>
                  </a:lnTo>
                  <a:lnTo>
                    <a:pt x="324" y="80"/>
                  </a:lnTo>
                  <a:lnTo>
                    <a:pt x="326" y="80"/>
                  </a:lnTo>
                  <a:lnTo>
                    <a:pt x="326" y="78"/>
                  </a:lnTo>
                  <a:lnTo>
                    <a:pt x="324" y="76"/>
                  </a:lnTo>
                  <a:lnTo>
                    <a:pt x="324" y="76"/>
                  </a:lnTo>
                  <a:lnTo>
                    <a:pt x="326" y="76"/>
                  </a:lnTo>
                  <a:lnTo>
                    <a:pt x="328" y="76"/>
                  </a:lnTo>
                  <a:lnTo>
                    <a:pt x="328" y="74"/>
                  </a:lnTo>
                  <a:lnTo>
                    <a:pt x="330" y="74"/>
                  </a:lnTo>
                  <a:lnTo>
                    <a:pt x="332" y="72"/>
                  </a:lnTo>
                  <a:lnTo>
                    <a:pt x="334" y="72"/>
                  </a:lnTo>
                  <a:lnTo>
                    <a:pt x="336" y="72"/>
                  </a:lnTo>
                  <a:lnTo>
                    <a:pt x="336" y="72"/>
                  </a:lnTo>
                  <a:lnTo>
                    <a:pt x="338" y="70"/>
                  </a:lnTo>
                  <a:lnTo>
                    <a:pt x="338" y="68"/>
                  </a:lnTo>
                  <a:lnTo>
                    <a:pt x="340" y="66"/>
                  </a:lnTo>
                  <a:lnTo>
                    <a:pt x="340" y="63"/>
                  </a:lnTo>
                  <a:lnTo>
                    <a:pt x="342" y="63"/>
                  </a:lnTo>
                  <a:lnTo>
                    <a:pt x="342" y="63"/>
                  </a:lnTo>
                  <a:lnTo>
                    <a:pt x="346" y="63"/>
                  </a:lnTo>
                  <a:lnTo>
                    <a:pt x="350" y="63"/>
                  </a:lnTo>
                  <a:lnTo>
                    <a:pt x="359" y="70"/>
                  </a:lnTo>
                  <a:lnTo>
                    <a:pt x="361" y="70"/>
                  </a:lnTo>
                  <a:lnTo>
                    <a:pt x="363" y="70"/>
                  </a:lnTo>
                  <a:lnTo>
                    <a:pt x="365" y="70"/>
                  </a:lnTo>
                  <a:lnTo>
                    <a:pt x="365" y="70"/>
                  </a:lnTo>
                  <a:lnTo>
                    <a:pt x="367" y="70"/>
                  </a:lnTo>
                  <a:lnTo>
                    <a:pt x="369" y="70"/>
                  </a:lnTo>
                  <a:lnTo>
                    <a:pt x="369" y="68"/>
                  </a:lnTo>
                  <a:lnTo>
                    <a:pt x="369" y="68"/>
                  </a:lnTo>
                  <a:lnTo>
                    <a:pt x="371" y="68"/>
                  </a:lnTo>
                  <a:lnTo>
                    <a:pt x="371" y="68"/>
                  </a:lnTo>
                  <a:lnTo>
                    <a:pt x="373" y="68"/>
                  </a:lnTo>
                  <a:lnTo>
                    <a:pt x="375" y="70"/>
                  </a:lnTo>
                  <a:lnTo>
                    <a:pt x="375" y="70"/>
                  </a:lnTo>
                  <a:lnTo>
                    <a:pt x="373" y="72"/>
                  </a:lnTo>
                  <a:lnTo>
                    <a:pt x="371" y="74"/>
                  </a:lnTo>
                  <a:lnTo>
                    <a:pt x="371" y="74"/>
                  </a:lnTo>
                  <a:lnTo>
                    <a:pt x="373" y="78"/>
                  </a:lnTo>
                  <a:lnTo>
                    <a:pt x="375" y="78"/>
                  </a:lnTo>
                  <a:lnTo>
                    <a:pt x="375" y="76"/>
                  </a:lnTo>
                  <a:lnTo>
                    <a:pt x="375" y="76"/>
                  </a:lnTo>
                  <a:lnTo>
                    <a:pt x="375" y="74"/>
                  </a:lnTo>
                  <a:lnTo>
                    <a:pt x="375" y="74"/>
                  </a:lnTo>
                  <a:lnTo>
                    <a:pt x="377" y="76"/>
                  </a:lnTo>
                  <a:lnTo>
                    <a:pt x="377" y="76"/>
                  </a:lnTo>
                  <a:lnTo>
                    <a:pt x="375" y="78"/>
                  </a:lnTo>
                  <a:lnTo>
                    <a:pt x="375" y="78"/>
                  </a:lnTo>
                  <a:lnTo>
                    <a:pt x="377" y="80"/>
                  </a:lnTo>
                  <a:lnTo>
                    <a:pt x="379" y="78"/>
                  </a:lnTo>
                  <a:lnTo>
                    <a:pt x="379" y="78"/>
                  </a:lnTo>
                  <a:lnTo>
                    <a:pt x="381" y="78"/>
                  </a:lnTo>
                  <a:lnTo>
                    <a:pt x="381" y="78"/>
                  </a:lnTo>
                  <a:lnTo>
                    <a:pt x="381" y="78"/>
                  </a:lnTo>
                  <a:lnTo>
                    <a:pt x="379" y="80"/>
                  </a:lnTo>
                  <a:lnTo>
                    <a:pt x="379" y="82"/>
                  </a:lnTo>
                  <a:lnTo>
                    <a:pt x="381" y="82"/>
                  </a:lnTo>
                  <a:lnTo>
                    <a:pt x="379" y="84"/>
                  </a:lnTo>
                  <a:lnTo>
                    <a:pt x="381" y="84"/>
                  </a:lnTo>
                  <a:lnTo>
                    <a:pt x="385" y="86"/>
                  </a:lnTo>
                  <a:lnTo>
                    <a:pt x="385" y="88"/>
                  </a:lnTo>
                  <a:lnTo>
                    <a:pt x="385" y="88"/>
                  </a:lnTo>
                  <a:lnTo>
                    <a:pt x="385" y="92"/>
                  </a:lnTo>
                  <a:lnTo>
                    <a:pt x="385" y="92"/>
                  </a:lnTo>
                  <a:lnTo>
                    <a:pt x="387" y="94"/>
                  </a:lnTo>
                  <a:lnTo>
                    <a:pt x="387" y="94"/>
                  </a:lnTo>
                  <a:lnTo>
                    <a:pt x="387" y="96"/>
                  </a:lnTo>
                  <a:lnTo>
                    <a:pt x="387" y="96"/>
                  </a:lnTo>
                  <a:lnTo>
                    <a:pt x="387" y="100"/>
                  </a:lnTo>
                  <a:lnTo>
                    <a:pt x="385" y="104"/>
                  </a:lnTo>
                  <a:lnTo>
                    <a:pt x="385" y="111"/>
                  </a:lnTo>
                  <a:lnTo>
                    <a:pt x="383" y="113"/>
                  </a:lnTo>
                  <a:lnTo>
                    <a:pt x="383" y="115"/>
                  </a:lnTo>
                  <a:lnTo>
                    <a:pt x="383" y="117"/>
                  </a:lnTo>
                  <a:lnTo>
                    <a:pt x="383" y="115"/>
                  </a:lnTo>
                  <a:lnTo>
                    <a:pt x="381" y="115"/>
                  </a:lnTo>
                  <a:lnTo>
                    <a:pt x="377" y="113"/>
                  </a:lnTo>
                  <a:lnTo>
                    <a:pt x="371" y="111"/>
                  </a:lnTo>
                  <a:lnTo>
                    <a:pt x="365" y="107"/>
                  </a:lnTo>
                  <a:lnTo>
                    <a:pt x="361" y="104"/>
                  </a:lnTo>
                  <a:lnTo>
                    <a:pt x="354" y="100"/>
                  </a:lnTo>
                  <a:lnTo>
                    <a:pt x="348" y="98"/>
                  </a:lnTo>
                  <a:lnTo>
                    <a:pt x="344" y="96"/>
                  </a:lnTo>
                  <a:lnTo>
                    <a:pt x="338" y="92"/>
                  </a:lnTo>
                  <a:lnTo>
                    <a:pt x="336" y="92"/>
                  </a:lnTo>
                  <a:lnTo>
                    <a:pt x="336" y="92"/>
                  </a:lnTo>
                  <a:lnTo>
                    <a:pt x="334" y="94"/>
                  </a:lnTo>
                  <a:lnTo>
                    <a:pt x="334" y="96"/>
                  </a:lnTo>
                  <a:lnTo>
                    <a:pt x="334" y="96"/>
                  </a:lnTo>
                  <a:lnTo>
                    <a:pt x="334" y="98"/>
                  </a:lnTo>
                  <a:lnTo>
                    <a:pt x="336" y="100"/>
                  </a:lnTo>
                  <a:lnTo>
                    <a:pt x="336" y="102"/>
                  </a:lnTo>
                  <a:lnTo>
                    <a:pt x="336" y="104"/>
                  </a:lnTo>
                  <a:lnTo>
                    <a:pt x="336" y="104"/>
                  </a:lnTo>
                  <a:lnTo>
                    <a:pt x="336" y="104"/>
                  </a:lnTo>
                  <a:lnTo>
                    <a:pt x="336" y="109"/>
                  </a:lnTo>
                  <a:lnTo>
                    <a:pt x="334" y="111"/>
                  </a:lnTo>
                  <a:lnTo>
                    <a:pt x="334" y="113"/>
                  </a:lnTo>
                  <a:lnTo>
                    <a:pt x="334" y="113"/>
                  </a:lnTo>
                  <a:lnTo>
                    <a:pt x="334" y="113"/>
                  </a:lnTo>
                  <a:lnTo>
                    <a:pt x="334" y="113"/>
                  </a:lnTo>
                  <a:lnTo>
                    <a:pt x="334" y="115"/>
                  </a:lnTo>
                  <a:lnTo>
                    <a:pt x="334" y="115"/>
                  </a:lnTo>
                  <a:lnTo>
                    <a:pt x="334" y="115"/>
                  </a:lnTo>
                  <a:lnTo>
                    <a:pt x="334" y="117"/>
                  </a:lnTo>
                  <a:lnTo>
                    <a:pt x="334" y="117"/>
                  </a:lnTo>
                  <a:lnTo>
                    <a:pt x="334" y="119"/>
                  </a:lnTo>
                  <a:lnTo>
                    <a:pt x="334" y="119"/>
                  </a:lnTo>
                  <a:lnTo>
                    <a:pt x="334" y="121"/>
                  </a:lnTo>
                  <a:lnTo>
                    <a:pt x="334" y="121"/>
                  </a:lnTo>
                  <a:lnTo>
                    <a:pt x="334" y="121"/>
                  </a:lnTo>
                  <a:lnTo>
                    <a:pt x="334" y="123"/>
                  </a:lnTo>
                  <a:lnTo>
                    <a:pt x="334" y="123"/>
                  </a:lnTo>
                  <a:lnTo>
                    <a:pt x="334" y="123"/>
                  </a:lnTo>
                  <a:lnTo>
                    <a:pt x="334" y="123"/>
                  </a:lnTo>
                  <a:lnTo>
                    <a:pt x="334" y="125"/>
                  </a:lnTo>
                  <a:lnTo>
                    <a:pt x="332" y="129"/>
                  </a:lnTo>
                  <a:lnTo>
                    <a:pt x="330" y="131"/>
                  </a:lnTo>
                  <a:lnTo>
                    <a:pt x="328" y="135"/>
                  </a:lnTo>
                  <a:lnTo>
                    <a:pt x="326" y="139"/>
                  </a:lnTo>
                  <a:lnTo>
                    <a:pt x="326" y="139"/>
                  </a:lnTo>
                  <a:lnTo>
                    <a:pt x="326" y="139"/>
                  </a:lnTo>
                  <a:lnTo>
                    <a:pt x="326" y="139"/>
                  </a:lnTo>
                  <a:lnTo>
                    <a:pt x="326" y="139"/>
                  </a:lnTo>
                  <a:lnTo>
                    <a:pt x="326" y="141"/>
                  </a:lnTo>
                  <a:lnTo>
                    <a:pt x="326" y="141"/>
                  </a:lnTo>
                  <a:lnTo>
                    <a:pt x="324" y="145"/>
                  </a:lnTo>
                  <a:lnTo>
                    <a:pt x="324" y="145"/>
                  </a:lnTo>
                  <a:lnTo>
                    <a:pt x="324" y="145"/>
                  </a:lnTo>
                  <a:lnTo>
                    <a:pt x="322" y="148"/>
                  </a:lnTo>
                  <a:lnTo>
                    <a:pt x="322" y="148"/>
                  </a:lnTo>
                  <a:lnTo>
                    <a:pt x="322" y="148"/>
                  </a:lnTo>
                  <a:lnTo>
                    <a:pt x="320" y="148"/>
                  </a:lnTo>
                  <a:lnTo>
                    <a:pt x="320" y="150"/>
                  </a:lnTo>
                  <a:lnTo>
                    <a:pt x="320" y="152"/>
                  </a:lnTo>
                  <a:lnTo>
                    <a:pt x="320" y="152"/>
                  </a:lnTo>
                  <a:lnTo>
                    <a:pt x="320" y="152"/>
                  </a:lnTo>
                  <a:lnTo>
                    <a:pt x="318" y="154"/>
                  </a:lnTo>
                  <a:lnTo>
                    <a:pt x="316" y="154"/>
                  </a:lnTo>
                  <a:lnTo>
                    <a:pt x="316" y="154"/>
                  </a:lnTo>
                  <a:lnTo>
                    <a:pt x="316" y="156"/>
                  </a:lnTo>
                  <a:lnTo>
                    <a:pt x="316" y="154"/>
                  </a:lnTo>
                  <a:lnTo>
                    <a:pt x="314" y="154"/>
                  </a:lnTo>
                  <a:lnTo>
                    <a:pt x="314" y="154"/>
                  </a:lnTo>
                  <a:lnTo>
                    <a:pt x="314" y="154"/>
                  </a:lnTo>
                  <a:lnTo>
                    <a:pt x="314" y="154"/>
                  </a:lnTo>
                  <a:lnTo>
                    <a:pt x="314" y="154"/>
                  </a:lnTo>
                  <a:lnTo>
                    <a:pt x="314" y="154"/>
                  </a:lnTo>
                  <a:lnTo>
                    <a:pt x="311" y="154"/>
                  </a:lnTo>
                  <a:lnTo>
                    <a:pt x="311" y="158"/>
                  </a:lnTo>
                  <a:lnTo>
                    <a:pt x="309" y="162"/>
                  </a:lnTo>
                  <a:lnTo>
                    <a:pt x="307" y="166"/>
                  </a:lnTo>
                  <a:lnTo>
                    <a:pt x="305" y="170"/>
                  </a:lnTo>
                  <a:lnTo>
                    <a:pt x="305" y="170"/>
                  </a:lnTo>
                  <a:lnTo>
                    <a:pt x="305" y="170"/>
                  </a:lnTo>
                  <a:lnTo>
                    <a:pt x="303" y="170"/>
                  </a:lnTo>
                  <a:lnTo>
                    <a:pt x="301" y="170"/>
                  </a:lnTo>
                  <a:lnTo>
                    <a:pt x="297" y="168"/>
                  </a:lnTo>
                  <a:lnTo>
                    <a:pt x="293" y="166"/>
                  </a:lnTo>
                  <a:lnTo>
                    <a:pt x="293" y="166"/>
                  </a:lnTo>
                  <a:lnTo>
                    <a:pt x="293" y="168"/>
                  </a:lnTo>
                  <a:lnTo>
                    <a:pt x="291" y="172"/>
                  </a:lnTo>
                  <a:lnTo>
                    <a:pt x="289" y="174"/>
                  </a:lnTo>
                  <a:lnTo>
                    <a:pt x="289" y="174"/>
                  </a:lnTo>
                  <a:lnTo>
                    <a:pt x="289" y="174"/>
                  </a:lnTo>
                  <a:lnTo>
                    <a:pt x="289" y="176"/>
                  </a:lnTo>
                  <a:lnTo>
                    <a:pt x="289" y="176"/>
                  </a:lnTo>
                  <a:lnTo>
                    <a:pt x="289" y="178"/>
                  </a:lnTo>
                  <a:lnTo>
                    <a:pt x="289" y="180"/>
                  </a:lnTo>
                  <a:lnTo>
                    <a:pt x="287" y="180"/>
                  </a:lnTo>
                  <a:lnTo>
                    <a:pt x="289" y="186"/>
                  </a:lnTo>
                  <a:lnTo>
                    <a:pt x="289" y="186"/>
                  </a:lnTo>
                  <a:lnTo>
                    <a:pt x="287" y="186"/>
                  </a:lnTo>
                  <a:lnTo>
                    <a:pt x="287" y="189"/>
                  </a:lnTo>
                  <a:lnTo>
                    <a:pt x="287" y="189"/>
                  </a:lnTo>
                  <a:lnTo>
                    <a:pt x="285" y="191"/>
                  </a:lnTo>
                  <a:lnTo>
                    <a:pt x="285" y="191"/>
                  </a:lnTo>
                  <a:lnTo>
                    <a:pt x="285" y="193"/>
                  </a:lnTo>
                  <a:lnTo>
                    <a:pt x="285" y="193"/>
                  </a:lnTo>
                  <a:lnTo>
                    <a:pt x="285" y="195"/>
                  </a:lnTo>
                  <a:lnTo>
                    <a:pt x="283" y="197"/>
                  </a:lnTo>
                  <a:lnTo>
                    <a:pt x="283" y="199"/>
                  </a:lnTo>
                  <a:lnTo>
                    <a:pt x="283" y="199"/>
                  </a:lnTo>
                  <a:lnTo>
                    <a:pt x="283" y="199"/>
                  </a:lnTo>
                  <a:lnTo>
                    <a:pt x="283" y="199"/>
                  </a:lnTo>
                  <a:lnTo>
                    <a:pt x="283" y="203"/>
                  </a:lnTo>
                  <a:lnTo>
                    <a:pt x="283" y="203"/>
                  </a:lnTo>
                  <a:lnTo>
                    <a:pt x="283" y="205"/>
                  </a:lnTo>
                  <a:lnTo>
                    <a:pt x="281" y="207"/>
                  </a:lnTo>
                  <a:lnTo>
                    <a:pt x="281" y="211"/>
                  </a:lnTo>
                  <a:lnTo>
                    <a:pt x="277" y="215"/>
                  </a:lnTo>
                  <a:lnTo>
                    <a:pt x="277" y="215"/>
                  </a:lnTo>
                  <a:lnTo>
                    <a:pt x="277" y="215"/>
                  </a:lnTo>
                  <a:lnTo>
                    <a:pt x="277" y="215"/>
                  </a:lnTo>
                  <a:lnTo>
                    <a:pt x="271" y="215"/>
                  </a:lnTo>
                  <a:lnTo>
                    <a:pt x="266" y="215"/>
                  </a:lnTo>
                  <a:lnTo>
                    <a:pt x="262" y="213"/>
                  </a:lnTo>
                  <a:lnTo>
                    <a:pt x="258" y="213"/>
                  </a:lnTo>
                  <a:lnTo>
                    <a:pt x="258" y="213"/>
                  </a:lnTo>
                  <a:lnTo>
                    <a:pt x="258" y="213"/>
                  </a:lnTo>
                  <a:lnTo>
                    <a:pt x="258" y="213"/>
                  </a:lnTo>
                  <a:lnTo>
                    <a:pt x="258" y="211"/>
                  </a:lnTo>
                  <a:lnTo>
                    <a:pt x="258" y="211"/>
                  </a:lnTo>
                  <a:lnTo>
                    <a:pt x="258" y="211"/>
                  </a:lnTo>
                  <a:lnTo>
                    <a:pt x="258" y="211"/>
                  </a:lnTo>
                  <a:lnTo>
                    <a:pt x="258" y="211"/>
                  </a:lnTo>
                  <a:lnTo>
                    <a:pt x="252" y="205"/>
                  </a:lnTo>
                  <a:lnTo>
                    <a:pt x="252" y="205"/>
                  </a:lnTo>
                  <a:lnTo>
                    <a:pt x="252" y="205"/>
                  </a:lnTo>
                  <a:lnTo>
                    <a:pt x="252" y="205"/>
                  </a:lnTo>
                  <a:lnTo>
                    <a:pt x="244" y="203"/>
                  </a:lnTo>
                  <a:lnTo>
                    <a:pt x="244" y="203"/>
                  </a:lnTo>
                  <a:lnTo>
                    <a:pt x="244" y="205"/>
                  </a:lnTo>
                  <a:lnTo>
                    <a:pt x="244" y="205"/>
                  </a:lnTo>
                  <a:lnTo>
                    <a:pt x="244" y="207"/>
                  </a:lnTo>
                  <a:lnTo>
                    <a:pt x="244" y="207"/>
                  </a:lnTo>
                  <a:lnTo>
                    <a:pt x="244" y="209"/>
                  </a:lnTo>
                  <a:lnTo>
                    <a:pt x="244" y="209"/>
                  </a:lnTo>
                  <a:lnTo>
                    <a:pt x="244" y="209"/>
                  </a:lnTo>
                  <a:lnTo>
                    <a:pt x="244" y="211"/>
                  </a:lnTo>
                  <a:lnTo>
                    <a:pt x="244" y="211"/>
                  </a:lnTo>
                  <a:lnTo>
                    <a:pt x="242" y="213"/>
                  </a:lnTo>
                  <a:lnTo>
                    <a:pt x="242" y="215"/>
                  </a:lnTo>
                  <a:lnTo>
                    <a:pt x="242" y="215"/>
                  </a:lnTo>
                  <a:lnTo>
                    <a:pt x="242" y="219"/>
                  </a:lnTo>
                  <a:lnTo>
                    <a:pt x="242" y="221"/>
                  </a:lnTo>
                  <a:lnTo>
                    <a:pt x="242" y="221"/>
                  </a:lnTo>
                  <a:lnTo>
                    <a:pt x="242" y="223"/>
                  </a:lnTo>
                  <a:lnTo>
                    <a:pt x="242" y="225"/>
                  </a:lnTo>
                  <a:lnTo>
                    <a:pt x="242" y="227"/>
                  </a:lnTo>
                  <a:lnTo>
                    <a:pt x="240" y="229"/>
                  </a:lnTo>
                  <a:lnTo>
                    <a:pt x="240" y="229"/>
                  </a:lnTo>
                  <a:lnTo>
                    <a:pt x="238" y="229"/>
                  </a:lnTo>
                  <a:lnTo>
                    <a:pt x="238" y="229"/>
                  </a:lnTo>
                  <a:lnTo>
                    <a:pt x="238" y="232"/>
                  </a:lnTo>
                  <a:lnTo>
                    <a:pt x="238" y="232"/>
                  </a:lnTo>
                  <a:lnTo>
                    <a:pt x="238" y="234"/>
                  </a:lnTo>
                  <a:lnTo>
                    <a:pt x="238" y="234"/>
                  </a:lnTo>
                  <a:lnTo>
                    <a:pt x="236" y="236"/>
                  </a:lnTo>
                  <a:lnTo>
                    <a:pt x="236" y="236"/>
                  </a:lnTo>
                  <a:lnTo>
                    <a:pt x="238" y="238"/>
                  </a:lnTo>
                  <a:lnTo>
                    <a:pt x="238" y="238"/>
                  </a:lnTo>
                  <a:lnTo>
                    <a:pt x="238" y="238"/>
                  </a:lnTo>
                  <a:lnTo>
                    <a:pt x="238" y="240"/>
                  </a:lnTo>
                  <a:lnTo>
                    <a:pt x="238" y="240"/>
                  </a:lnTo>
                  <a:lnTo>
                    <a:pt x="238" y="240"/>
                  </a:lnTo>
                  <a:lnTo>
                    <a:pt x="236" y="242"/>
                  </a:lnTo>
                  <a:lnTo>
                    <a:pt x="234" y="244"/>
                  </a:lnTo>
                  <a:lnTo>
                    <a:pt x="234" y="244"/>
                  </a:lnTo>
                  <a:lnTo>
                    <a:pt x="232" y="248"/>
                  </a:lnTo>
                  <a:lnTo>
                    <a:pt x="230" y="252"/>
                  </a:lnTo>
                  <a:lnTo>
                    <a:pt x="230" y="252"/>
                  </a:lnTo>
                  <a:lnTo>
                    <a:pt x="230" y="252"/>
                  </a:lnTo>
                  <a:lnTo>
                    <a:pt x="230" y="254"/>
                  </a:lnTo>
                  <a:lnTo>
                    <a:pt x="230" y="254"/>
                  </a:lnTo>
                  <a:lnTo>
                    <a:pt x="230" y="254"/>
                  </a:lnTo>
                  <a:lnTo>
                    <a:pt x="230" y="262"/>
                  </a:lnTo>
                  <a:lnTo>
                    <a:pt x="228" y="266"/>
                  </a:lnTo>
                  <a:lnTo>
                    <a:pt x="225" y="270"/>
                  </a:lnTo>
                  <a:lnTo>
                    <a:pt x="223" y="275"/>
                  </a:lnTo>
                  <a:lnTo>
                    <a:pt x="219" y="281"/>
                  </a:lnTo>
                  <a:lnTo>
                    <a:pt x="217" y="285"/>
                  </a:lnTo>
                  <a:lnTo>
                    <a:pt x="215" y="289"/>
                  </a:lnTo>
                  <a:lnTo>
                    <a:pt x="211" y="295"/>
                  </a:lnTo>
                  <a:lnTo>
                    <a:pt x="211" y="295"/>
                  </a:lnTo>
                  <a:lnTo>
                    <a:pt x="211" y="297"/>
                  </a:lnTo>
                  <a:lnTo>
                    <a:pt x="211" y="297"/>
                  </a:lnTo>
                  <a:lnTo>
                    <a:pt x="209" y="303"/>
                  </a:lnTo>
                  <a:lnTo>
                    <a:pt x="207" y="309"/>
                  </a:lnTo>
                  <a:lnTo>
                    <a:pt x="207" y="309"/>
                  </a:lnTo>
                  <a:lnTo>
                    <a:pt x="207" y="311"/>
                  </a:lnTo>
                  <a:lnTo>
                    <a:pt x="207" y="311"/>
                  </a:lnTo>
                  <a:lnTo>
                    <a:pt x="207" y="311"/>
                  </a:lnTo>
                  <a:lnTo>
                    <a:pt x="209" y="311"/>
                  </a:lnTo>
                  <a:lnTo>
                    <a:pt x="209" y="311"/>
                  </a:lnTo>
                  <a:lnTo>
                    <a:pt x="213" y="314"/>
                  </a:lnTo>
                  <a:lnTo>
                    <a:pt x="213" y="314"/>
                  </a:lnTo>
                  <a:lnTo>
                    <a:pt x="213" y="314"/>
                  </a:lnTo>
                  <a:lnTo>
                    <a:pt x="213" y="316"/>
                  </a:lnTo>
                  <a:lnTo>
                    <a:pt x="213" y="316"/>
                  </a:lnTo>
                  <a:lnTo>
                    <a:pt x="213" y="316"/>
                  </a:lnTo>
                  <a:lnTo>
                    <a:pt x="213" y="318"/>
                  </a:lnTo>
                  <a:lnTo>
                    <a:pt x="211" y="318"/>
                  </a:lnTo>
                  <a:lnTo>
                    <a:pt x="209" y="320"/>
                  </a:lnTo>
                  <a:lnTo>
                    <a:pt x="209" y="320"/>
                  </a:lnTo>
                  <a:lnTo>
                    <a:pt x="209" y="320"/>
                  </a:lnTo>
                  <a:lnTo>
                    <a:pt x="209" y="322"/>
                  </a:lnTo>
                  <a:lnTo>
                    <a:pt x="207" y="322"/>
                  </a:lnTo>
                  <a:lnTo>
                    <a:pt x="207" y="324"/>
                  </a:lnTo>
                  <a:lnTo>
                    <a:pt x="207" y="324"/>
                  </a:lnTo>
                  <a:lnTo>
                    <a:pt x="209" y="324"/>
                  </a:lnTo>
                  <a:lnTo>
                    <a:pt x="209" y="324"/>
                  </a:lnTo>
                  <a:lnTo>
                    <a:pt x="209" y="324"/>
                  </a:lnTo>
                  <a:lnTo>
                    <a:pt x="209" y="326"/>
                  </a:lnTo>
                  <a:lnTo>
                    <a:pt x="211" y="326"/>
                  </a:lnTo>
                  <a:lnTo>
                    <a:pt x="211" y="326"/>
                  </a:lnTo>
                  <a:lnTo>
                    <a:pt x="211" y="328"/>
                  </a:lnTo>
                  <a:lnTo>
                    <a:pt x="209" y="328"/>
                  </a:lnTo>
                  <a:lnTo>
                    <a:pt x="201" y="336"/>
                  </a:lnTo>
                  <a:lnTo>
                    <a:pt x="199" y="338"/>
                  </a:lnTo>
                  <a:lnTo>
                    <a:pt x="199" y="338"/>
                  </a:lnTo>
                  <a:lnTo>
                    <a:pt x="197" y="338"/>
                  </a:lnTo>
                  <a:lnTo>
                    <a:pt x="197" y="338"/>
                  </a:lnTo>
                  <a:lnTo>
                    <a:pt x="197" y="338"/>
                  </a:lnTo>
                  <a:lnTo>
                    <a:pt x="197" y="338"/>
                  </a:lnTo>
                  <a:lnTo>
                    <a:pt x="197" y="338"/>
                  </a:lnTo>
                  <a:lnTo>
                    <a:pt x="195" y="338"/>
                  </a:lnTo>
                  <a:lnTo>
                    <a:pt x="195" y="338"/>
                  </a:lnTo>
                  <a:lnTo>
                    <a:pt x="195" y="338"/>
                  </a:lnTo>
                  <a:lnTo>
                    <a:pt x="195" y="336"/>
                  </a:lnTo>
                  <a:lnTo>
                    <a:pt x="195" y="336"/>
                  </a:lnTo>
                  <a:lnTo>
                    <a:pt x="195" y="336"/>
                  </a:lnTo>
                  <a:lnTo>
                    <a:pt x="195" y="336"/>
                  </a:lnTo>
                  <a:lnTo>
                    <a:pt x="193" y="336"/>
                  </a:lnTo>
                  <a:lnTo>
                    <a:pt x="193" y="336"/>
                  </a:lnTo>
                  <a:lnTo>
                    <a:pt x="191" y="336"/>
                  </a:lnTo>
                  <a:lnTo>
                    <a:pt x="189" y="336"/>
                  </a:lnTo>
                  <a:lnTo>
                    <a:pt x="187" y="338"/>
                  </a:lnTo>
                  <a:lnTo>
                    <a:pt x="182" y="342"/>
                  </a:lnTo>
                  <a:lnTo>
                    <a:pt x="178" y="344"/>
                  </a:lnTo>
                  <a:lnTo>
                    <a:pt x="174" y="348"/>
                  </a:lnTo>
                  <a:lnTo>
                    <a:pt x="174" y="348"/>
                  </a:lnTo>
                  <a:lnTo>
                    <a:pt x="174" y="348"/>
                  </a:lnTo>
                  <a:lnTo>
                    <a:pt x="174" y="348"/>
                  </a:lnTo>
                  <a:lnTo>
                    <a:pt x="174" y="348"/>
                  </a:lnTo>
                  <a:lnTo>
                    <a:pt x="174" y="348"/>
                  </a:lnTo>
                  <a:lnTo>
                    <a:pt x="172" y="348"/>
                  </a:lnTo>
                  <a:lnTo>
                    <a:pt x="172" y="346"/>
                  </a:lnTo>
                  <a:lnTo>
                    <a:pt x="172" y="346"/>
                  </a:lnTo>
                  <a:lnTo>
                    <a:pt x="172" y="346"/>
                  </a:lnTo>
                  <a:lnTo>
                    <a:pt x="170" y="346"/>
                  </a:lnTo>
                  <a:lnTo>
                    <a:pt x="170" y="346"/>
                  </a:lnTo>
                  <a:lnTo>
                    <a:pt x="170" y="346"/>
                  </a:lnTo>
                  <a:lnTo>
                    <a:pt x="170" y="346"/>
                  </a:lnTo>
                  <a:lnTo>
                    <a:pt x="170" y="344"/>
                  </a:lnTo>
                  <a:lnTo>
                    <a:pt x="168" y="344"/>
                  </a:lnTo>
                  <a:lnTo>
                    <a:pt x="168" y="344"/>
                  </a:lnTo>
                  <a:lnTo>
                    <a:pt x="166" y="344"/>
                  </a:lnTo>
                  <a:lnTo>
                    <a:pt x="166" y="344"/>
                  </a:lnTo>
                  <a:lnTo>
                    <a:pt x="164" y="344"/>
                  </a:lnTo>
                  <a:lnTo>
                    <a:pt x="164" y="346"/>
                  </a:lnTo>
                  <a:lnTo>
                    <a:pt x="164" y="346"/>
                  </a:lnTo>
                  <a:lnTo>
                    <a:pt x="162" y="346"/>
                  </a:lnTo>
                  <a:lnTo>
                    <a:pt x="162" y="348"/>
                  </a:lnTo>
                  <a:lnTo>
                    <a:pt x="162" y="348"/>
                  </a:lnTo>
                  <a:lnTo>
                    <a:pt x="162" y="348"/>
                  </a:lnTo>
                  <a:lnTo>
                    <a:pt x="162" y="348"/>
                  </a:lnTo>
                  <a:lnTo>
                    <a:pt x="162" y="350"/>
                  </a:lnTo>
                  <a:lnTo>
                    <a:pt x="162" y="350"/>
                  </a:lnTo>
                  <a:lnTo>
                    <a:pt x="164" y="352"/>
                  </a:lnTo>
                  <a:lnTo>
                    <a:pt x="164" y="352"/>
                  </a:lnTo>
                  <a:lnTo>
                    <a:pt x="164" y="354"/>
                  </a:lnTo>
                  <a:lnTo>
                    <a:pt x="164" y="354"/>
                  </a:lnTo>
                  <a:lnTo>
                    <a:pt x="164" y="357"/>
                  </a:lnTo>
                  <a:lnTo>
                    <a:pt x="164" y="357"/>
                  </a:lnTo>
                  <a:lnTo>
                    <a:pt x="158" y="361"/>
                  </a:lnTo>
                  <a:lnTo>
                    <a:pt x="158" y="361"/>
                  </a:lnTo>
                  <a:lnTo>
                    <a:pt x="158" y="361"/>
                  </a:lnTo>
                  <a:lnTo>
                    <a:pt x="156" y="361"/>
                  </a:lnTo>
                  <a:lnTo>
                    <a:pt x="156" y="361"/>
                  </a:lnTo>
                  <a:lnTo>
                    <a:pt x="154" y="361"/>
                  </a:lnTo>
                  <a:lnTo>
                    <a:pt x="152" y="363"/>
                  </a:lnTo>
                  <a:lnTo>
                    <a:pt x="152" y="363"/>
                  </a:lnTo>
                  <a:lnTo>
                    <a:pt x="144" y="365"/>
                  </a:lnTo>
                  <a:lnTo>
                    <a:pt x="137" y="369"/>
                  </a:lnTo>
                  <a:lnTo>
                    <a:pt x="135" y="371"/>
                  </a:lnTo>
                  <a:lnTo>
                    <a:pt x="135" y="369"/>
                  </a:lnTo>
                  <a:lnTo>
                    <a:pt x="135" y="369"/>
                  </a:lnTo>
                  <a:lnTo>
                    <a:pt x="135" y="369"/>
                  </a:lnTo>
                  <a:lnTo>
                    <a:pt x="135" y="369"/>
                  </a:lnTo>
                  <a:lnTo>
                    <a:pt x="135" y="369"/>
                  </a:lnTo>
                  <a:lnTo>
                    <a:pt x="133" y="369"/>
                  </a:lnTo>
                  <a:lnTo>
                    <a:pt x="133" y="367"/>
                  </a:lnTo>
                  <a:lnTo>
                    <a:pt x="129" y="365"/>
                  </a:lnTo>
                  <a:lnTo>
                    <a:pt x="127" y="365"/>
                  </a:lnTo>
                  <a:lnTo>
                    <a:pt x="127" y="365"/>
                  </a:lnTo>
                  <a:lnTo>
                    <a:pt x="125" y="363"/>
                  </a:lnTo>
                  <a:lnTo>
                    <a:pt x="125" y="363"/>
                  </a:lnTo>
                  <a:lnTo>
                    <a:pt x="125" y="363"/>
                  </a:lnTo>
                  <a:lnTo>
                    <a:pt x="123" y="363"/>
                  </a:lnTo>
                  <a:lnTo>
                    <a:pt x="123" y="363"/>
                  </a:lnTo>
                  <a:lnTo>
                    <a:pt x="121" y="363"/>
                  </a:lnTo>
                  <a:lnTo>
                    <a:pt x="121" y="363"/>
                  </a:lnTo>
                  <a:lnTo>
                    <a:pt x="121" y="365"/>
                  </a:lnTo>
                  <a:lnTo>
                    <a:pt x="121" y="365"/>
                  </a:lnTo>
                  <a:lnTo>
                    <a:pt x="121" y="367"/>
                  </a:lnTo>
                  <a:lnTo>
                    <a:pt x="121" y="367"/>
                  </a:lnTo>
                  <a:lnTo>
                    <a:pt x="119" y="369"/>
                  </a:lnTo>
                  <a:lnTo>
                    <a:pt x="119" y="369"/>
                  </a:lnTo>
                  <a:lnTo>
                    <a:pt x="119" y="371"/>
                  </a:lnTo>
                  <a:lnTo>
                    <a:pt x="115" y="371"/>
                  </a:lnTo>
                  <a:lnTo>
                    <a:pt x="113" y="371"/>
                  </a:lnTo>
                  <a:lnTo>
                    <a:pt x="113" y="371"/>
                  </a:lnTo>
                  <a:lnTo>
                    <a:pt x="113" y="373"/>
                  </a:lnTo>
                  <a:lnTo>
                    <a:pt x="109" y="377"/>
                  </a:lnTo>
                  <a:lnTo>
                    <a:pt x="109" y="379"/>
                  </a:lnTo>
                  <a:lnTo>
                    <a:pt x="109" y="379"/>
                  </a:lnTo>
                  <a:lnTo>
                    <a:pt x="107" y="379"/>
                  </a:lnTo>
                  <a:lnTo>
                    <a:pt x="101" y="379"/>
                  </a:lnTo>
                  <a:lnTo>
                    <a:pt x="101" y="379"/>
                  </a:lnTo>
                  <a:lnTo>
                    <a:pt x="96" y="379"/>
                  </a:lnTo>
                  <a:lnTo>
                    <a:pt x="94" y="377"/>
                  </a:lnTo>
                  <a:lnTo>
                    <a:pt x="94" y="377"/>
                  </a:lnTo>
                  <a:lnTo>
                    <a:pt x="92" y="377"/>
                  </a:lnTo>
                  <a:lnTo>
                    <a:pt x="90" y="375"/>
                  </a:lnTo>
                  <a:lnTo>
                    <a:pt x="90" y="375"/>
                  </a:lnTo>
                  <a:lnTo>
                    <a:pt x="90" y="375"/>
                  </a:lnTo>
                  <a:lnTo>
                    <a:pt x="90" y="373"/>
                  </a:lnTo>
                  <a:lnTo>
                    <a:pt x="90" y="373"/>
                  </a:lnTo>
                  <a:lnTo>
                    <a:pt x="88" y="373"/>
                  </a:lnTo>
                  <a:lnTo>
                    <a:pt x="86" y="373"/>
                  </a:lnTo>
                  <a:lnTo>
                    <a:pt x="86" y="373"/>
                  </a:lnTo>
                  <a:lnTo>
                    <a:pt x="84" y="375"/>
                  </a:lnTo>
                  <a:lnTo>
                    <a:pt x="84" y="373"/>
                  </a:lnTo>
                  <a:lnTo>
                    <a:pt x="82" y="373"/>
                  </a:lnTo>
                  <a:lnTo>
                    <a:pt x="82" y="373"/>
                  </a:lnTo>
                  <a:lnTo>
                    <a:pt x="82" y="373"/>
                  </a:lnTo>
                  <a:lnTo>
                    <a:pt x="82" y="373"/>
                  </a:lnTo>
                  <a:lnTo>
                    <a:pt x="80" y="371"/>
                  </a:lnTo>
                  <a:lnTo>
                    <a:pt x="80" y="371"/>
                  </a:lnTo>
                  <a:lnTo>
                    <a:pt x="80" y="369"/>
                  </a:lnTo>
                  <a:lnTo>
                    <a:pt x="78" y="369"/>
                  </a:lnTo>
                  <a:lnTo>
                    <a:pt x="74" y="367"/>
                  </a:lnTo>
                  <a:lnTo>
                    <a:pt x="74" y="367"/>
                  </a:lnTo>
                  <a:lnTo>
                    <a:pt x="74" y="367"/>
                  </a:lnTo>
                  <a:lnTo>
                    <a:pt x="74" y="365"/>
                  </a:lnTo>
                  <a:lnTo>
                    <a:pt x="74" y="365"/>
                  </a:lnTo>
                  <a:lnTo>
                    <a:pt x="72" y="365"/>
                  </a:lnTo>
                  <a:lnTo>
                    <a:pt x="72" y="363"/>
                  </a:lnTo>
                  <a:lnTo>
                    <a:pt x="72" y="361"/>
                  </a:lnTo>
                  <a:lnTo>
                    <a:pt x="72" y="361"/>
                  </a:lnTo>
                  <a:lnTo>
                    <a:pt x="72" y="361"/>
                  </a:lnTo>
                  <a:lnTo>
                    <a:pt x="72" y="361"/>
                  </a:lnTo>
                  <a:lnTo>
                    <a:pt x="72" y="359"/>
                  </a:lnTo>
                  <a:lnTo>
                    <a:pt x="72" y="359"/>
                  </a:lnTo>
                  <a:lnTo>
                    <a:pt x="72" y="359"/>
                  </a:lnTo>
                  <a:lnTo>
                    <a:pt x="68" y="357"/>
                  </a:lnTo>
                  <a:lnTo>
                    <a:pt x="68" y="357"/>
                  </a:lnTo>
                  <a:lnTo>
                    <a:pt x="68" y="357"/>
                  </a:lnTo>
                  <a:lnTo>
                    <a:pt x="68" y="357"/>
                  </a:lnTo>
                  <a:lnTo>
                    <a:pt x="68" y="354"/>
                  </a:lnTo>
                  <a:lnTo>
                    <a:pt x="68" y="354"/>
                  </a:lnTo>
                  <a:lnTo>
                    <a:pt x="70" y="352"/>
                  </a:lnTo>
                  <a:lnTo>
                    <a:pt x="70" y="352"/>
                  </a:lnTo>
                  <a:lnTo>
                    <a:pt x="70" y="352"/>
                  </a:lnTo>
                  <a:lnTo>
                    <a:pt x="70" y="352"/>
                  </a:lnTo>
                  <a:lnTo>
                    <a:pt x="70" y="352"/>
                  </a:lnTo>
                  <a:lnTo>
                    <a:pt x="70" y="350"/>
                  </a:lnTo>
                  <a:lnTo>
                    <a:pt x="70" y="350"/>
                  </a:lnTo>
                  <a:lnTo>
                    <a:pt x="68" y="350"/>
                  </a:lnTo>
                  <a:lnTo>
                    <a:pt x="68" y="350"/>
                  </a:lnTo>
                  <a:lnTo>
                    <a:pt x="68" y="348"/>
                  </a:lnTo>
                  <a:lnTo>
                    <a:pt x="66" y="348"/>
                  </a:lnTo>
                  <a:lnTo>
                    <a:pt x="66" y="348"/>
                  </a:lnTo>
                  <a:lnTo>
                    <a:pt x="62" y="350"/>
                  </a:lnTo>
                  <a:lnTo>
                    <a:pt x="62" y="350"/>
                  </a:lnTo>
                  <a:lnTo>
                    <a:pt x="53" y="348"/>
                  </a:lnTo>
                  <a:lnTo>
                    <a:pt x="53" y="348"/>
                  </a:lnTo>
                  <a:lnTo>
                    <a:pt x="51" y="348"/>
                  </a:lnTo>
                  <a:lnTo>
                    <a:pt x="51" y="346"/>
                  </a:lnTo>
                  <a:lnTo>
                    <a:pt x="51" y="346"/>
                  </a:lnTo>
                  <a:lnTo>
                    <a:pt x="51" y="346"/>
                  </a:lnTo>
                  <a:lnTo>
                    <a:pt x="51" y="346"/>
                  </a:lnTo>
                  <a:lnTo>
                    <a:pt x="51" y="344"/>
                  </a:lnTo>
                  <a:lnTo>
                    <a:pt x="51" y="344"/>
                  </a:lnTo>
                  <a:lnTo>
                    <a:pt x="47" y="342"/>
                  </a:lnTo>
                  <a:lnTo>
                    <a:pt x="47" y="342"/>
                  </a:lnTo>
                  <a:lnTo>
                    <a:pt x="47" y="342"/>
                  </a:lnTo>
                  <a:lnTo>
                    <a:pt x="45" y="342"/>
                  </a:lnTo>
                  <a:lnTo>
                    <a:pt x="45" y="342"/>
                  </a:lnTo>
                  <a:lnTo>
                    <a:pt x="43" y="340"/>
                  </a:lnTo>
                  <a:lnTo>
                    <a:pt x="43" y="340"/>
                  </a:lnTo>
                  <a:lnTo>
                    <a:pt x="43" y="340"/>
                  </a:lnTo>
                  <a:lnTo>
                    <a:pt x="41" y="340"/>
                  </a:lnTo>
                  <a:lnTo>
                    <a:pt x="37" y="338"/>
                  </a:lnTo>
                  <a:lnTo>
                    <a:pt x="37" y="338"/>
                  </a:lnTo>
                  <a:lnTo>
                    <a:pt x="37" y="338"/>
                  </a:lnTo>
                  <a:lnTo>
                    <a:pt x="37" y="336"/>
                  </a:lnTo>
                  <a:lnTo>
                    <a:pt x="35" y="334"/>
                  </a:lnTo>
                  <a:lnTo>
                    <a:pt x="35" y="332"/>
                  </a:lnTo>
                  <a:lnTo>
                    <a:pt x="35" y="332"/>
                  </a:lnTo>
                  <a:lnTo>
                    <a:pt x="33" y="332"/>
                  </a:lnTo>
                  <a:lnTo>
                    <a:pt x="33" y="330"/>
                  </a:lnTo>
                  <a:lnTo>
                    <a:pt x="25" y="326"/>
                  </a:lnTo>
                  <a:lnTo>
                    <a:pt x="25" y="324"/>
                  </a:lnTo>
                  <a:lnTo>
                    <a:pt x="25" y="324"/>
                  </a:lnTo>
                  <a:lnTo>
                    <a:pt x="25" y="324"/>
                  </a:lnTo>
                  <a:lnTo>
                    <a:pt x="25" y="320"/>
                  </a:lnTo>
                  <a:lnTo>
                    <a:pt x="23" y="320"/>
                  </a:lnTo>
                  <a:lnTo>
                    <a:pt x="23" y="318"/>
                  </a:lnTo>
                  <a:lnTo>
                    <a:pt x="23" y="318"/>
                  </a:lnTo>
                  <a:lnTo>
                    <a:pt x="23" y="318"/>
                  </a:lnTo>
                  <a:lnTo>
                    <a:pt x="21" y="318"/>
                  </a:lnTo>
                  <a:lnTo>
                    <a:pt x="17" y="316"/>
                  </a:lnTo>
                  <a:lnTo>
                    <a:pt x="17" y="314"/>
                  </a:lnTo>
                  <a:lnTo>
                    <a:pt x="17" y="314"/>
                  </a:lnTo>
                  <a:lnTo>
                    <a:pt x="17" y="314"/>
                  </a:lnTo>
                  <a:lnTo>
                    <a:pt x="17" y="311"/>
                  </a:lnTo>
                  <a:lnTo>
                    <a:pt x="19" y="311"/>
                  </a:lnTo>
                  <a:lnTo>
                    <a:pt x="19" y="311"/>
                  </a:lnTo>
                  <a:lnTo>
                    <a:pt x="17" y="309"/>
                  </a:lnTo>
                  <a:lnTo>
                    <a:pt x="17" y="309"/>
                  </a:lnTo>
                  <a:lnTo>
                    <a:pt x="17" y="309"/>
                  </a:lnTo>
                  <a:lnTo>
                    <a:pt x="17" y="309"/>
                  </a:lnTo>
                  <a:lnTo>
                    <a:pt x="10" y="305"/>
                  </a:lnTo>
                  <a:lnTo>
                    <a:pt x="10" y="305"/>
                  </a:lnTo>
                  <a:lnTo>
                    <a:pt x="10" y="303"/>
                  </a:lnTo>
                  <a:lnTo>
                    <a:pt x="8" y="301"/>
                  </a:lnTo>
                  <a:lnTo>
                    <a:pt x="8" y="301"/>
                  </a:lnTo>
                  <a:lnTo>
                    <a:pt x="0" y="293"/>
                  </a:lnTo>
                  <a:lnTo>
                    <a:pt x="0" y="293"/>
                  </a:lnTo>
                  <a:lnTo>
                    <a:pt x="0" y="291"/>
                  </a:lnTo>
                  <a:lnTo>
                    <a:pt x="0" y="291"/>
                  </a:lnTo>
                  <a:lnTo>
                    <a:pt x="0" y="291"/>
                  </a:lnTo>
                  <a:lnTo>
                    <a:pt x="0" y="291"/>
                  </a:lnTo>
                  <a:lnTo>
                    <a:pt x="0" y="291"/>
                  </a:lnTo>
                  <a:lnTo>
                    <a:pt x="2" y="289"/>
                  </a:lnTo>
                  <a:lnTo>
                    <a:pt x="2" y="289"/>
                  </a:lnTo>
                  <a:lnTo>
                    <a:pt x="2" y="287"/>
                  </a:lnTo>
                  <a:lnTo>
                    <a:pt x="2" y="287"/>
                  </a:lnTo>
                  <a:lnTo>
                    <a:pt x="2" y="287"/>
                  </a:lnTo>
                  <a:lnTo>
                    <a:pt x="2" y="285"/>
                  </a:lnTo>
                  <a:lnTo>
                    <a:pt x="2" y="285"/>
                  </a:lnTo>
                  <a:lnTo>
                    <a:pt x="2" y="285"/>
                  </a:lnTo>
                  <a:lnTo>
                    <a:pt x="2" y="283"/>
                  </a:lnTo>
                  <a:lnTo>
                    <a:pt x="2" y="283"/>
                  </a:lnTo>
                  <a:lnTo>
                    <a:pt x="4" y="283"/>
                  </a:lnTo>
                  <a:lnTo>
                    <a:pt x="4" y="283"/>
                  </a:lnTo>
                  <a:lnTo>
                    <a:pt x="4" y="283"/>
                  </a:lnTo>
                  <a:lnTo>
                    <a:pt x="4" y="283"/>
                  </a:lnTo>
                  <a:lnTo>
                    <a:pt x="4" y="281"/>
                  </a:lnTo>
                  <a:lnTo>
                    <a:pt x="4" y="281"/>
                  </a:lnTo>
                  <a:lnTo>
                    <a:pt x="4" y="279"/>
                  </a:lnTo>
                  <a:lnTo>
                    <a:pt x="4" y="277"/>
                  </a:lnTo>
                  <a:lnTo>
                    <a:pt x="4" y="277"/>
                  </a:lnTo>
                  <a:lnTo>
                    <a:pt x="2" y="275"/>
                  </a:lnTo>
                  <a:lnTo>
                    <a:pt x="2" y="275"/>
                  </a:lnTo>
                  <a:lnTo>
                    <a:pt x="0" y="270"/>
                  </a:lnTo>
                  <a:lnTo>
                    <a:pt x="0" y="270"/>
                  </a:lnTo>
                  <a:lnTo>
                    <a:pt x="0" y="270"/>
                  </a:lnTo>
                  <a:lnTo>
                    <a:pt x="0" y="268"/>
                  </a:lnTo>
                  <a:lnTo>
                    <a:pt x="0" y="266"/>
                  </a:lnTo>
                  <a:lnTo>
                    <a:pt x="0" y="264"/>
                  </a:lnTo>
                  <a:lnTo>
                    <a:pt x="0" y="264"/>
                  </a:lnTo>
                  <a:lnTo>
                    <a:pt x="0" y="264"/>
                  </a:lnTo>
                  <a:lnTo>
                    <a:pt x="2" y="266"/>
                  </a:lnTo>
                  <a:lnTo>
                    <a:pt x="6" y="264"/>
                  </a:lnTo>
                  <a:lnTo>
                    <a:pt x="12" y="260"/>
                  </a:lnTo>
                  <a:lnTo>
                    <a:pt x="19" y="260"/>
                  </a:lnTo>
                  <a:lnTo>
                    <a:pt x="21" y="258"/>
                  </a:lnTo>
                  <a:lnTo>
                    <a:pt x="23" y="256"/>
                  </a:lnTo>
                  <a:lnTo>
                    <a:pt x="23" y="254"/>
                  </a:lnTo>
                  <a:lnTo>
                    <a:pt x="23" y="244"/>
                  </a:lnTo>
                  <a:lnTo>
                    <a:pt x="23" y="242"/>
                  </a:lnTo>
                  <a:lnTo>
                    <a:pt x="25" y="242"/>
                  </a:lnTo>
                  <a:lnTo>
                    <a:pt x="29" y="242"/>
                  </a:lnTo>
                  <a:lnTo>
                    <a:pt x="31" y="240"/>
                  </a:lnTo>
                  <a:lnTo>
                    <a:pt x="31" y="238"/>
                  </a:lnTo>
                  <a:lnTo>
                    <a:pt x="31" y="238"/>
                  </a:lnTo>
                  <a:lnTo>
                    <a:pt x="31" y="236"/>
                  </a:lnTo>
                  <a:lnTo>
                    <a:pt x="31" y="236"/>
                  </a:lnTo>
                  <a:lnTo>
                    <a:pt x="29" y="234"/>
                  </a:lnTo>
                  <a:lnTo>
                    <a:pt x="29" y="232"/>
                  </a:lnTo>
                  <a:lnTo>
                    <a:pt x="29" y="229"/>
                  </a:lnTo>
                  <a:lnTo>
                    <a:pt x="29" y="227"/>
                  </a:lnTo>
                  <a:lnTo>
                    <a:pt x="27" y="225"/>
                  </a:lnTo>
                  <a:lnTo>
                    <a:pt x="27" y="225"/>
                  </a:lnTo>
                  <a:lnTo>
                    <a:pt x="25" y="223"/>
                  </a:lnTo>
                  <a:lnTo>
                    <a:pt x="25" y="221"/>
                  </a:lnTo>
                  <a:lnTo>
                    <a:pt x="27" y="219"/>
                  </a:lnTo>
                  <a:lnTo>
                    <a:pt x="29" y="217"/>
                  </a:lnTo>
                  <a:lnTo>
                    <a:pt x="29" y="215"/>
                  </a:lnTo>
                  <a:lnTo>
                    <a:pt x="29" y="213"/>
                  </a:lnTo>
                  <a:lnTo>
                    <a:pt x="29" y="211"/>
                  </a:lnTo>
                  <a:lnTo>
                    <a:pt x="29" y="207"/>
                  </a:lnTo>
                  <a:lnTo>
                    <a:pt x="31" y="205"/>
                  </a:lnTo>
                  <a:lnTo>
                    <a:pt x="33" y="199"/>
                  </a:lnTo>
                  <a:lnTo>
                    <a:pt x="35" y="195"/>
                  </a:lnTo>
                  <a:lnTo>
                    <a:pt x="37" y="193"/>
                  </a:lnTo>
                  <a:lnTo>
                    <a:pt x="39" y="193"/>
                  </a:lnTo>
                  <a:lnTo>
                    <a:pt x="41" y="193"/>
                  </a:lnTo>
                  <a:lnTo>
                    <a:pt x="41" y="195"/>
                  </a:lnTo>
                  <a:lnTo>
                    <a:pt x="45" y="195"/>
                  </a:lnTo>
                  <a:lnTo>
                    <a:pt x="45" y="197"/>
                  </a:lnTo>
                  <a:lnTo>
                    <a:pt x="47" y="199"/>
                  </a:lnTo>
                  <a:lnTo>
                    <a:pt x="47" y="199"/>
                  </a:lnTo>
                  <a:lnTo>
                    <a:pt x="47" y="201"/>
                  </a:lnTo>
                  <a:lnTo>
                    <a:pt x="49" y="201"/>
                  </a:lnTo>
                  <a:lnTo>
                    <a:pt x="49" y="201"/>
                  </a:lnTo>
                  <a:lnTo>
                    <a:pt x="49" y="201"/>
                  </a:lnTo>
                  <a:lnTo>
                    <a:pt x="47" y="203"/>
                  </a:lnTo>
                  <a:lnTo>
                    <a:pt x="47" y="203"/>
                  </a:lnTo>
                  <a:lnTo>
                    <a:pt x="47" y="203"/>
                  </a:lnTo>
                  <a:lnTo>
                    <a:pt x="47" y="205"/>
                  </a:lnTo>
                  <a:lnTo>
                    <a:pt x="47" y="205"/>
                  </a:lnTo>
                  <a:lnTo>
                    <a:pt x="47" y="205"/>
                  </a:lnTo>
                  <a:lnTo>
                    <a:pt x="47" y="207"/>
                  </a:lnTo>
                  <a:lnTo>
                    <a:pt x="49" y="207"/>
                  </a:lnTo>
                  <a:lnTo>
                    <a:pt x="51" y="205"/>
                  </a:lnTo>
                  <a:lnTo>
                    <a:pt x="53" y="203"/>
                  </a:lnTo>
                  <a:lnTo>
                    <a:pt x="53" y="203"/>
                  </a:lnTo>
                  <a:lnTo>
                    <a:pt x="53" y="199"/>
                  </a:lnTo>
                  <a:lnTo>
                    <a:pt x="53" y="199"/>
                  </a:lnTo>
                  <a:lnTo>
                    <a:pt x="55" y="197"/>
                  </a:lnTo>
                  <a:lnTo>
                    <a:pt x="55" y="197"/>
                  </a:lnTo>
                  <a:lnTo>
                    <a:pt x="58" y="199"/>
                  </a:lnTo>
                  <a:lnTo>
                    <a:pt x="58" y="199"/>
                  </a:lnTo>
                  <a:lnTo>
                    <a:pt x="60" y="199"/>
                  </a:lnTo>
                  <a:lnTo>
                    <a:pt x="60" y="197"/>
                  </a:lnTo>
                  <a:lnTo>
                    <a:pt x="60" y="197"/>
                  </a:lnTo>
                  <a:lnTo>
                    <a:pt x="58" y="195"/>
                  </a:lnTo>
                  <a:lnTo>
                    <a:pt x="58" y="191"/>
                  </a:lnTo>
                  <a:lnTo>
                    <a:pt x="58" y="189"/>
                  </a:lnTo>
                  <a:lnTo>
                    <a:pt x="55" y="189"/>
                  </a:lnTo>
                  <a:lnTo>
                    <a:pt x="55" y="189"/>
                  </a:lnTo>
                  <a:lnTo>
                    <a:pt x="55" y="186"/>
                  </a:lnTo>
                  <a:lnTo>
                    <a:pt x="53" y="186"/>
                  </a:lnTo>
                  <a:lnTo>
                    <a:pt x="53" y="186"/>
                  </a:lnTo>
                  <a:lnTo>
                    <a:pt x="53" y="184"/>
                  </a:lnTo>
                  <a:lnTo>
                    <a:pt x="53" y="184"/>
                  </a:lnTo>
                  <a:lnTo>
                    <a:pt x="53" y="184"/>
                  </a:lnTo>
                  <a:lnTo>
                    <a:pt x="58" y="182"/>
                  </a:lnTo>
                  <a:lnTo>
                    <a:pt x="58" y="180"/>
                  </a:lnTo>
                  <a:lnTo>
                    <a:pt x="58" y="178"/>
                  </a:lnTo>
                  <a:lnTo>
                    <a:pt x="58" y="174"/>
                  </a:lnTo>
                  <a:lnTo>
                    <a:pt x="58" y="172"/>
                  </a:lnTo>
                  <a:lnTo>
                    <a:pt x="58" y="172"/>
                  </a:lnTo>
                  <a:lnTo>
                    <a:pt x="60" y="166"/>
                  </a:lnTo>
                  <a:lnTo>
                    <a:pt x="62" y="162"/>
                  </a:lnTo>
                  <a:lnTo>
                    <a:pt x="62" y="162"/>
                  </a:lnTo>
                  <a:lnTo>
                    <a:pt x="64" y="162"/>
                  </a:lnTo>
                  <a:lnTo>
                    <a:pt x="66" y="160"/>
                  </a:lnTo>
                  <a:lnTo>
                    <a:pt x="68" y="160"/>
                  </a:lnTo>
                  <a:lnTo>
                    <a:pt x="68" y="160"/>
                  </a:lnTo>
                  <a:lnTo>
                    <a:pt x="68" y="160"/>
                  </a:lnTo>
                  <a:lnTo>
                    <a:pt x="68" y="160"/>
                  </a:lnTo>
                  <a:lnTo>
                    <a:pt x="70" y="160"/>
                  </a:lnTo>
                  <a:lnTo>
                    <a:pt x="70" y="158"/>
                  </a:lnTo>
                  <a:lnTo>
                    <a:pt x="70" y="154"/>
                  </a:lnTo>
                  <a:lnTo>
                    <a:pt x="70" y="152"/>
                  </a:lnTo>
                  <a:lnTo>
                    <a:pt x="76" y="145"/>
                  </a:lnTo>
                  <a:lnTo>
                    <a:pt x="76" y="145"/>
                  </a:lnTo>
                  <a:lnTo>
                    <a:pt x="80" y="143"/>
                  </a:lnTo>
                  <a:lnTo>
                    <a:pt x="82" y="145"/>
                  </a:lnTo>
                  <a:lnTo>
                    <a:pt x="82" y="148"/>
                  </a:lnTo>
                  <a:lnTo>
                    <a:pt x="84" y="148"/>
                  </a:lnTo>
                  <a:lnTo>
                    <a:pt x="86" y="150"/>
                  </a:lnTo>
                  <a:lnTo>
                    <a:pt x="88" y="150"/>
                  </a:lnTo>
                  <a:lnTo>
                    <a:pt x="90" y="145"/>
                  </a:lnTo>
                  <a:lnTo>
                    <a:pt x="92" y="145"/>
                  </a:lnTo>
                  <a:lnTo>
                    <a:pt x="94" y="143"/>
                  </a:lnTo>
                  <a:lnTo>
                    <a:pt x="94" y="143"/>
                  </a:lnTo>
                  <a:lnTo>
                    <a:pt x="96" y="141"/>
                  </a:lnTo>
                  <a:lnTo>
                    <a:pt x="98" y="141"/>
                  </a:lnTo>
                  <a:lnTo>
                    <a:pt x="101" y="137"/>
                  </a:lnTo>
                  <a:lnTo>
                    <a:pt x="101" y="137"/>
                  </a:lnTo>
                  <a:lnTo>
                    <a:pt x="105" y="135"/>
                  </a:lnTo>
                  <a:lnTo>
                    <a:pt x="105" y="133"/>
                  </a:lnTo>
                  <a:lnTo>
                    <a:pt x="107" y="129"/>
                  </a:lnTo>
                  <a:lnTo>
                    <a:pt x="109" y="125"/>
                  </a:lnTo>
                  <a:lnTo>
                    <a:pt x="117" y="117"/>
                  </a:lnTo>
                  <a:lnTo>
                    <a:pt x="121" y="113"/>
                  </a:lnTo>
                  <a:lnTo>
                    <a:pt x="121" y="113"/>
                  </a:lnTo>
                  <a:lnTo>
                    <a:pt x="123" y="109"/>
                  </a:lnTo>
                  <a:lnTo>
                    <a:pt x="123" y="109"/>
                  </a:lnTo>
                  <a:lnTo>
                    <a:pt x="121" y="107"/>
                  </a:lnTo>
                  <a:lnTo>
                    <a:pt x="121" y="107"/>
                  </a:lnTo>
                  <a:lnTo>
                    <a:pt x="121" y="107"/>
                  </a:lnTo>
                  <a:lnTo>
                    <a:pt x="123" y="104"/>
                  </a:lnTo>
                  <a:lnTo>
                    <a:pt x="123" y="102"/>
                  </a:lnTo>
                  <a:lnTo>
                    <a:pt x="123" y="100"/>
                  </a:lnTo>
                  <a:lnTo>
                    <a:pt x="121" y="100"/>
                  </a:lnTo>
                  <a:lnTo>
                    <a:pt x="121" y="98"/>
                  </a:lnTo>
                  <a:lnTo>
                    <a:pt x="119" y="98"/>
                  </a:lnTo>
                  <a:lnTo>
                    <a:pt x="119" y="96"/>
                  </a:lnTo>
                  <a:lnTo>
                    <a:pt x="121" y="96"/>
                  </a:lnTo>
                  <a:lnTo>
                    <a:pt x="121" y="94"/>
                  </a:lnTo>
                  <a:lnTo>
                    <a:pt x="121" y="92"/>
                  </a:lnTo>
                  <a:lnTo>
                    <a:pt x="121" y="90"/>
                  </a:lnTo>
                  <a:lnTo>
                    <a:pt x="123" y="90"/>
                  </a:lnTo>
                  <a:lnTo>
                    <a:pt x="123" y="88"/>
                  </a:lnTo>
                  <a:lnTo>
                    <a:pt x="123" y="86"/>
                  </a:lnTo>
                  <a:lnTo>
                    <a:pt x="123" y="86"/>
                  </a:lnTo>
                  <a:lnTo>
                    <a:pt x="123" y="84"/>
                  </a:lnTo>
                  <a:lnTo>
                    <a:pt x="123" y="84"/>
                  </a:lnTo>
                  <a:lnTo>
                    <a:pt x="123" y="82"/>
                  </a:lnTo>
                  <a:lnTo>
                    <a:pt x="123" y="80"/>
                  </a:lnTo>
                  <a:lnTo>
                    <a:pt x="123" y="80"/>
                  </a:lnTo>
                  <a:lnTo>
                    <a:pt x="125" y="82"/>
                  </a:lnTo>
                  <a:lnTo>
                    <a:pt x="125" y="80"/>
                  </a:lnTo>
                  <a:lnTo>
                    <a:pt x="125" y="80"/>
                  </a:lnTo>
                  <a:lnTo>
                    <a:pt x="125" y="78"/>
                  </a:lnTo>
                  <a:lnTo>
                    <a:pt x="125" y="78"/>
                  </a:lnTo>
                  <a:lnTo>
                    <a:pt x="125" y="78"/>
                  </a:lnTo>
                  <a:lnTo>
                    <a:pt x="125" y="76"/>
                  </a:lnTo>
                  <a:lnTo>
                    <a:pt x="125" y="74"/>
                  </a:lnTo>
                  <a:lnTo>
                    <a:pt x="125" y="72"/>
                  </a:lnTo>
                  <a:lnTo>
                    <a:pt x="125" y="70"/>
                  </a:lnTo>
                  <a:lnTo>
                    <a:pt x="125" y="66"/>
                  </a:lnTo>
                  <a:lnTo>
                    <a:pt x="125" y="63"/>
                  </a:lnTo>
                  <a:lnTo>
                    <a:pt x="125" y="61"/>
                  </a:lnTo>
                  <a:lnTo>
                    <a:pt x="127" y="57"/>
                  </a:lnTo>
                  <a:lnTo>
                    <a:pt x="127" y="55"/>
                  </a:lnTo>
                  <a:lnTo>
                    <a:pt x="127" y="51"/>
                  </a:lnTo>
                  <a:lnTo>
                    <a:pt x="127" y="49"/>
                  </a:lnTo>
                  <a:lnTo>
                    <a:pt x="127" y="43"/>
                  </a:lnTo>
                  <a:lnTo>
                    <a:pt x="129" y="43"/>
                  </a:lnTo>
                  <a:lnTo>
                    <a:pt x="131" y="41"/>
                  </a:lnTo>
                  <a:lnTo>
                    <a:pt x="131" y="41"/>
                  </a:lnTo>
                  <a:lnTo>
                    <a:pt x="131" y="37"/>
                  </a:lnTo>
                  <a:lnTo>
                    <a:pt x="131" y="37"/>
                  </a:lnTo>
                  <a:lnTo>
                    <a:pt x="131" y="35"/>
                  </a:lnTo>
                  <a:lnTo>
                    <a:pt x="129" y="33"/>
                  </a:lnTo>
                  <a:lnTo>
                    <a:pt x="129" y="31"/>
                  </a:lnTo>
                  <a:lnTo>
                    <a:pt x="129" y="31"/>
                  </a:lnTo>
                  <a:lnTo>
                    <a:pt x="129" y="31"/>
                  </a:lnTo>
                  <a:lnTo>
                    <a:pt x="129" y="31"/>
                  </a:lnTo>
                  <a:lnTo>
                    <a:pt x="129" y="29"/>
                  </a:lnTo>
                  <a:lnTo>
                    <a:pt x="129" y="29"/>
                  </a:lnTo>
                  <a:lnTo>
                    <a:pt x="127" y="29"/>
                  </a:lnTo>
                  <a:lnTo>
                    <a:pt x="127" y="27"/>
                  </a:lnTo>
                  <a:lnTo>
                    <a:pt x="129" y="23"/>
                  </a:lnTo>
                  <a:lnTo>
                    <a:pt x="129" y="20"/>
                  </a:lnTo>
                  <a:lnTo>
                    <a:pt x="127" y="18"/>
                  </a:lnTo>
                  <a:lnTo>
                    <a:pt x="127" y="16"/>
                  </a:lnTo>
                  <a:lnTo>
                    <a:pt x="125" y="14"/>
                  </a:lnTo>
                  <a:lnTo>
                    <a:pt x="121" y="10"/>
                  </a:lnTo>
                  <a:lnTo>
                    <a:pt x="121" y="8"/>
                  </a:lnTo>
                  <a:lnTo>
                    <a:pt x="121" y="6"/>
                  </a:lnTo>
                  <a:lnTo>
                    <a:pt x="123" y="6"/>
                  </a:lnTo>
                  <a:lnTo>
                    <a:pt x="123" y="4"/>
                  </a:lnTo>
                  <a:lnTo>
                    <a:pt x="127" y="4"/>
                  </a:lnTo>
                  <a:lnTo>
                    <a:pt x="127" y="4"/>
                  </a:lnTo>
                  <a:lnTo>
                    <a:pt x="131" y="2"/>
                  </a:lnTo>
                  <a:lnTo>
                    <a:pt x="131" y="0"/>
                  </a:lnTo>
                  <a:lnTo>
                    <a:pt x="131" y="0"/>
                  </a:lnTo>
                  <a:lnTo>
                    <a:pt x="131" y="0"/>
                  </a:lnTo>
                  <a:lnTo>
                    <a:pt x="131" y="0"/>
                  </a:lnTo>
                  <a:lnTo>
                    <a:pt x="131" y="0"/>
                  </a:lnTo>
                  <a:lnTo>
                    <a:pt x="131" y="2"/>
                  </a:lnTo>
                  <a:lnTo>
                    <a:pt x="131" y="2"/>
                  </a:lnTo>
                  <a:lnTo>
                    <a:pt x="131" y="2"/>
                  </a:lnTo>
                  <a:lnTo>
                    <a:pt x="131" y="2"/>
                  </a:lnTo>
                  <a:lnTo>
                    <a:pt x="133" y="10"/>
                  </a:lnTo>
                  <a:lnTo>
                    <a:pt x="135" y="18"/>
                  </a:lnTo>
                  <a:lnTo>
                    <a:pt x="137" y="27"/>
                  </a:lnTo>
                  <a:lnTo>
                    <a:pt x="137" y="35"/>
                  </a:lnTo>
                  <a:lnTo>
                    <a:pt x="139" y="43"/>
                  </a:lnTo>
                  <a:lnTo>
                    <a:pt x="141" y="51"/>
                  </a:lnTo>
                  <a:lnTo>
                    <a:pt x="144" y="59"/>
                  </a:lnTo>
                  <a:lnTo>
                    <a:pt x="144" y="70"/>
                  </a:lnTo>
                  <a:lnTo>
                    <a:pt x="146" y="76"/>
                  </a:lnTo>
                  <a:lnTo>
                    <a:pt x="148" y="84"/>
                  </a:lnTo>
                  <a:lnTo>
                    <a:pt x="148" y="90"/>
                  </a:lnTo>
                  <a:lnTo>
                    <a:pt x="150" y="98"/>
                  </a:lnTo>
                  <a:lnTo>
                    <a:pt x="160" y="96"/>
                  </a:lnTo>
                  <a:lnTo>
                    <a:pt x="170" y="94"/>
                  </a:lnTo>
                  <a:lnTo>
                    <a:pt x="182" y="92"/>
                  </a:lnTo>
                  <a:lnTo>
                    <a:pt x="193" y="90"/>
                  </a:lnTo>
                  <a:lnTo>
                    <a:pt x="203" y="88"/>
                  </a:lnTo>
                  <a:lnTo>
                    <a:pt x="213" y="86"/>
                  </a:lnTo>
                  <a:lnTo>
                    <a:pt x="225" y="84"/>
                  </a:lnTo>
                  <a:lnTo>
                    <a:pt x="236" y="82"/>
                  </a:lnTo>
                  <a:lnTo>
                    <a:pt x="236" y="82"/>
                  </a:lnTo>
                  <a:close/>
                </a:path>
              </a:pathLst>
            </a:custGeom>
            <a:solidFill>
              <a:schemeClr val="tx1"/>
            </a:solidFill>
            <a:ln w="3175" cap="rnd">
              <a:solidFill>
                <a:schemeClr val="bg1"/>
              </a:solidFill>
              <a:prstDash val="solid"/>
              <a:round/>
              <a:headEnd/>
              <a:tailEnd/>
            </a:ln>
          </p:spPr>
          <p:txBody>
            <a:bodyPr vert="horz" wrap="square" lIns="0" tIns="144000" rIns="144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WV</a:t>
              </a:r>
            </a:p>
          </p:txBody>
        </p:sp>
        <p:sp>
          <p:nvSpPr>
            <p:cNvPr id="86" name="Freeform 7">
              <a:extLst>
                <a:ext uri="{FF2B5EF4-FFF2-40B4-BE49-F238E27FC236}">
                  <a16:creationId xmlns:a16="http://schemas.microsoft.com/office/drawing/2014/main" id="{5C5C5A11-532F-9378-F666-824A5F5D7C97}"/>
                </a:ext>
              </a:extLst>
            </p:cNvPr>
            <p:cNvSpPr>
              <a:spLocks noEditPoints="1"/>
            </p:cNvSpPr>
            <p:nvPr/>
          </p:nvSpPr>
          <p:spPr bwMode="auto">
            <a:xfrm>
              <a:off x="3283" y="345"/>
              <a:ext cx="475" cy="478"/>
            </a:xfrm>
            <a:custGeom>
              <a:avLst/>
              <a:gdLst>
                <a:gd name="T0" fmla="*/ 167 w 475"/>
                <a:gd name="T1" fmla="*/ 23 h 478"/>
                <a:gd name="T2" fmla="*/ 172 w 475"/>
                <a:gd name="T3" fmla="*/ 13 h 478"/>
                <a:gd name="T4" fmla="*/ 139 w 475"/>
                <a:gd name="T5" fmla="*/ 17 h 478"/>
                <a:gd name="T6" fmla="*/ 417 w 475"/>
                <a:gd name="T7" fmla="*/ 213 h 478"/>
                <a:gd name="T8" fmla="*/ 395 w 475"/>
                <a:gd name="T9" fmla="*/ 244 h 478"/>
                <a:gd name="T10" fmla="*/ 395 w 475"/>
                <a:gd name="T11" fmla="*/ 226 h 478"/>
                <a:gd name="T12" fmla="*/ 415 w 475"/>
                <a:gd name="T13" fmla="*/ 197 h 478"/>
                <a:gd name="T14" fmla="*/ 409 w 475"/>
                <a:gd name="T15" fmla="*/ 177 h 478"/>
                <a:gd name="T16" fmla="*/ 409 w 475"/>
                <a:gd name="T17" fmla="*/ 154 h 478"/>
                <a:gd name="T18" fmla="*/ 395 w 475"/>
                <a:gd name="T19" fmla="*/ 158 h 478"/>
                <a:gd name="T20" fmla="*/ 399 w 475"/>
                <a:gd name="T21" fmla="*/ 144 h 478"/>
                <a:gd name="T22" fmla="*/ 397 w 475"/>
                <a:gd name="T23" fmla="*/ 127 h 478"/>
                <a:gd name="T24" fmla="*/ 389 w 475"/>
                <a:gd name="T25" fmla="*/ 119 h 478"/>
                <a:gd name="T26" fmla="*/ 376 w 475"/>
                <a:gd name="T27" fmla="*/ 117 h 478"/>
                <a:gd name="T28" fmla="*/ 370 w 475"/>
                <a:gd name="T29" fmla="*/ 103 h 478"/>
                <a:gd name="T30" fmla="*/ 354 w 475"/>
                <a:gd name="T31" fmla="*/ 99 h 478"/>
                <a:gd name="T32" fmla="*/ 339 w 475"/>
                <a:gd name="T33" fmla="*/ 97 h 478"/>
                <a:gd name="T34" fmla="*/ 325 w 475"/>
                <a:gd name="T35" fmla="*/ 97 h 478"/>
                <a:gd name="T36" fmla="*/ 311 w 475"/>
                <a:gd name="T37" fmla="*/ 97 h 478"/>
                <a:gd name="T38" fmla="*/ 243 w 475"/>
                <a:gd name="T39" fmla="*/ 80 h 478"/>
                <a:gd name="T40" fmla="*/ 202 w 475"/>
                <a:gd name="T41" fmla="*/ 60 h 478"/>
                <a:gd name="T42" fmla="*/ 190 w 475"/>
                <a:gd name="T43" fmla="*/ 56 h 478"/>
                <a:gd name="T44" fmla="*/ 157 w 475"/>
                <a:gd name="T45" fmla="*/ 41 h 478"/>
                <a:gd name="T46" fmla="*/ 145 w 475"/>
                <a:gd name="T47" fmla="*/ 50 h 478"/>
                <a:gd name="T48" fmla="*/ 155 w 475"/>
                <a:gd name="T49" fmla="*/ 21 h 478"/>
                <a:gd name="T50" fmla="*/ 145 w 475"/>
                <a:gd name="T51" fmla="*/ 17 h 478"/>
                <a:gd name="T52" fmla="*/ 133 w 475"/>
                <a:gd name="T53" fmla="*/ 23 h 478"/>
                <a:gd name="T54" fmla="*/ 122 w 475"/>
                <a:gd name="T55" fmla="*/ 29 h 478"/>
                <a:gd name="T56" fmla="*/ 57 w 475"/>
                <a:gd name="T57" fmla="*/ 47 h 478"/>
                <a:gd name="T58" fmla="*/ 47 w 475"/>
                <a:gd name="T59" fmla="*/ 52 h 478"/>
                <a:gd name="T60" fmla="*/ 40 w 475"/>
                <a:gd name="T61" fmla="*/ 78 h 478"/>
                <a:gd name="T62" fmla="*/ 34 w 475"/>
                <a:gd name="T63" fmla="*/ 121 h 478"/>
                <a:gd name="T64" fmla="*/ 16 w 475"/>
                <a:gd name="T65" fmla="*/ 134 h 478"/>
                <a:gd name="T66" fmla="*/ 12 w 475"/>
                <a:gd name="T67" fmla="*/ 173 h 478"/>
                <a:gd name="T68" fmla="*/ 12 w 475"/>
                <a:gd name="T69" fmla="*/ 203 h 478"/>
                <a:gd name="T70" fmla="*/ 16 w 475"/>
                <a:gd name="T71" fmla="*/ 238 h 478"/>
                <a:gd name="T72" fmla="*/ 45 w 475"/>
                <a:gd name="T73" fmla="*/ 271 h 478"/>
                <a:gd name="T74" fmla="*/ 108 w 475"/>
                <a:gd name="T75" fmla="*/ 322 h 478"/>
                <a:gd name="T76" fmla="*/ 133 w 475"/>
                <a:gd name="T77" fmla="*/ 332 h 478"/>
                <a:gd name="T78" fmla="*/ 145 w 475"/>
                <a:gd name="T79" fmla="*/ 351 h 478"/>
                <a:gd name="T80" fmla="*/ 147 w 475"/>
                <a:gd name="T81" fmla="*/ 379 h 478"/>
                <a:gd name="T82" fmla="*/ 155 w 475"/>
                <a:gd name="T83" fmla="*/ 414 h 478"/>
                <a:gd name="T84" fmla="*/ 169 w 475"/>
                <a:gd name="T85" fmla="*/ 459 h 478"/>
                <a:gd name="T86" fmla="*/ 204 w 475"/>
                <a:gd name="T87" fmla="*/ 478 h 478"/>
                <a:gd name="T88" fmla="*/ 247 w 475"/>
                <a:gd name="T89" fmla="*/ 476 h 478"/>
                <a:gd name="T90" fmla="*/ 432 w 475"/>
                <a:gd name="T91" fmla="*/ 449 h 478"/>
                <a:gd name="T92" fmla="*/ 426 w 475"/>
                <a:gd name="T93" fmla="*/ 410 h 478"/>
                <a:gd name="T94" fmla="*/ 419 w 475"/>
                <a:gd name="T95" fmla="*/ 384 h 478"/>
                <a:gd name="T96" fmla="*/ 428 w 475"/>
                <a:gd name="T97" fmla="*/ 328 h 478"/>
                <a:gd name="T98" fmla="*/ 426 w 475"/>
                <a:gd name="T99" fmla="*/ 298 h 478"/>
                <a:gd name="T100" fmla="*/ 434 w 475"/>
                <a:gd name="T101" fmla="*/ 259 h 478"/>
                <a:gd name="T102" fmla="*/ 157 w 475"/>
                <a:gd name="T103" fmla="*/ 19 h 478"/>
                <a:gd name="T104" fmla="*/ 182 w 475"/>
                <a:gd name="T105" fmla="*/ 2 h 478"/>
                <a:gd name="T106" fmla="*/ 473 w 475"/>
                <a:gd name="T107" fmla="*/ 144 h 478"/>
                <a:gd name="T108" fmla="*/ 475 w 475"/>
                <a:gd name="T109" fmla="*/ 152 h 478"/>
                <a:gd name="T110" fmla="*/ 458 w 475"/>
                <a:gd name="T111" fmla="*/ 160 h 478"/>
                <a:gd name="T112" fmla="*/ 446 w 475"/>
                <a:gd name="T113" fmla="*/ 175 h 478"/>
                <a:gd name="T114" fmla="*/ 440 w 475"/>
                <a:gd name="T115" fmla="*/ 207 h 478"/>
                <a:gd name="T116" fmla="*/ 458 w 475"/>
                <a:gd name="T117" fmla="*/ 183 h 478"/>
                <a:gd name="T118" fmla="*/ 460 w 475"/>
                <a:gd name="T119" fmla="*/ 173 h 478"/>
                <a:gd name="T120" fmla="*/ 466 w 475"/>
                <a:gd name="T121" fmla="*/ 16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5" h="478">
                  <a:moveTo>
                    <a:pt x="153" y="33"/>
                  </a:moveTo>
                  <a:lnTo>
                    <a:pt x="155" y="35"/>
                  </a:lnTo>
                  <a:lnTo>
                    <a:pt x="155" y="37"/>
                  </a:lnTo>
                  <a:lnTo>
                    <a:pt x="159" y="33"/>
                  </a:lnTo>
                  <a:lnTo>
                    <a:pt x="163" y="33"/>
                  </a:lnTo>
                  <a:lnTo>
                    <a:pt x="163" y="31"/>
                  </a:lnTo>
                  <a:lnTo>
                    <a:pt x="163" y="31"/>
                  </a:lnTo>
                  <a:lnTo>
                    <a:pt x="163" y="29"/>
                  </a:lnTo>
                  <a:lnTo>
                    <a:pt x="165" y="27"/>
                  </a:lnTo>
                  <a:lnTo>
                    <a:pt x="167" y="27"/>
                  </a:lnTo>
                  <a:lnTo>
                    <a:pt x="169" y="27"/>
                  </a:lnTo>
                  <a:lnTo>
                    <a:pt x="169" y="25"/>
                  </a:lnTo>
                  <a:lnTo>
                    <a:pt x="169" y="25"/>
                  </a:lnTo>
                  <a:lnTo>
                    <a:pt x="167" y="23"/>
                  </a:lnTo>
                  <a:lnTo>
                    <a:pt x="167" y="23"/>
                  </a:lnTo>
                  <a:lnTo>
                    <a:pt x="163" y="25"/>
                  </a:lnTo>
                  <a:lnTo>
                    <a:pt x="161" y="27"/>
                  </a:lnTo>
                  <a:lnTo>
                    <a:pt x="161" y="29"/>
                  </a:lnTo>
                  <a:lnTo>
                    <a:pt x="155" y="31"/>
                  </a:lnTo>
                  <a:lnTo>
                    <a:pt x="153" y="33"/>
                  </a:lnTo>
                  <a:close/>
                  <a:moveTo>
                    <a:pt x="167" y="19"/>
                  </a:moveTo>
                  <a:lnTo>
                    <a:pt x="169" y="19"/>
                  </a:lnTo>
                  <a:lnTo>
                    <a:pt x="172" y="19"/>
                  </a:lnTo>
                  <a:lnTo>
                    <a:pt x="172" y="19"/>
                  </a:lnTo>
                  <a:lnTo>
                    <a:pt x="172" y="17"/>
                  </a:lnTo>
                  <a:lnTo>
                    <a:pt x="172" y="17"/>
                  </a:lnTo>
                  <a:lnTo>
                    <a:pt x="172" y="15"/>
                  </a:lnTo>
                  <a:lnTo>
                    <a:pt x="174" y="15"/>
                  </a:lnTo>
                  <a:lnTo>
                    <a:pt x="174" y="13"/>
                  </a:lnTo>
                  <a:lnTo>
                    <a:pt x="172" y="13"/>
                  </a:lnTo>
                  <a:lnTo>
                    <a:pt x="169" y="15"/>
                  </a:lnTo>
                  <a:lnTo>
                    <a:pt x="165" y="15"/>
                  </a:lnTo>
                  <a:lnTo>
                    <a:pt x="163" y="17"/>
                  </a:lnTo>
                  <a:lnTo>
                    <a:pt x="163" y="19"/>
                  </a:lnTo>
                  <a:lnTo>
                    <a:pt x="163" y="19"/>
                  </a:lnTo>
                  <a:lnTo>
                    <a:pt x="167" y="19"/>
                  </a:lnTo>
                  <a:close/>
                  <a:moveTo>
                    <a:pt x="139" y="17"/>
                  </a:moveTo>
                  <a:lnTo>
                    <a:pt x="141" y="15"/>
                  </a:lnTo>
                  <a:lnTo>
                    <a:pt x="141" y="15"/>
                  </a:lnTo>
                  <a:lnTo>
                    <a:pt x="143" y="13"/>
                  </a:lnTo>
                  <a:lnTo>
                    <a:pt x="141" y="11"/>
                  </a:lnTo>
                  <a:lnTo>
                    <a:pt x="141" y="13"/>
                  </a:lnTo>
                  <a:lnTo>
                    <a:pt x="139" y="15"/>
                  </a:lnTo>
                  <a:lnTo>
                    <a:pt x="139" y="15"/>
                  </a:lnTo>
                  <a:lnTo>
                    <a:pt x="139" y="17"/>
                  </a:lnTo>
                  <a:close/>
                  <a:moveTo>
                    <a:pt x="444" y="211"/>
                  </a:moveTo>
                  <a:lnTo>
                    <a:pt x="442" y="211"/>
                  </a:lnTo>
                  <a:lnTo>
                    <a:pt x="440" y="209"/>
                  </a:lnTo>
                  <a:lnTo>
                    <a:pt x="436" y="205"/>
                  </a:lnTo>
                  <a:lnTo>
                    <a:pt x="434" y="205"/>
                  </a:lnTo>
                  <a:lnTo>
                    <a:pt x="432" y="205"/>
                  </a:lnTo>
                  <a:lnTo>
                    <a:pt x="432" y="207"/>
                  </a:lnTo>
                  <a:lnTo>
                    <a:pt x="430" y="207"/>
                  </a:lnTo>
                  <a:lnTo>
                    <a:pt x="426" y="209"/>
                  </a:lnTo>
                  <a:lnTo>
                    <a:pt x="426" y="211"/>
                  </a:lnTo>
                  <a:lnTo>
                    <a:pt x="426" y="209"/>
                  </a:lnTo>
                  <a:lnTo>
                    <a:pt x="423" y="209"/>
                  </a:lnTo>
                  <a:lnTo>
                    <a:pt x="421" y="211"/>
                  </a:lnTo>
                  <a:lnTo>
                    <a:pt x="419" y="211"/>
                  </a:lnTo>
                  <a:lnTo>
                    <a:pt x="417" y="213"/>
                  </a:lnTo>
                  <a:lnTo>
                    <a:pt x="415" y="220"/>
                  </a:lnTo>
                  <a:lnTo>
                    <a:pt x="413" y="224"/>
                  </a:lnTo>
                  <a:lnTo>
                    <a:pt x="415" y="226"/>
                  </a:lnTo>
                  <a:lnTo>
                    <a:pt x="413" y="228"/>
                  </a:lnTo>
                  <a:lnTo>
                    <a:pt x="413" y="230"/>
                  </a:lnTo>
                  <a:lnTo>
                    <a:pt x="413" y="230"/>
                  </a:lnTo>
                  <a:lnTo>
                    <a:pt x="411" y="232"/>
                  </a:lnTo>
                  <a:lnTo>
                    <a:pt x="407" y="234"/>
                  </a:lnTo>
                  <a:lnTo>
                    <a:pt x="403" y="238"/>
                  </a:lnTo>
                  <a:lnTo>
                    <a:pt x="401" y="238"/>
                  </a:lnTo>
                  <a:lnTo>
                    <a:pt x="401" y="240"/>
                  </a:lnTo>
                  <a:lnTo>
                    <a:pt x="401" y="244"/>
                  </a:lnTo>
                  <a:lnTo>
                    <a:pt x="399" y="244"/>
                  </a:lnTo>
                  <a:lnTo>
                    <a:pt x="397" y="244"/>
                  </a:lnTo>
                  <a:lnTo>
                    <a:pt x="395" y="244"/>
                  </a:lnTo>
                  <a:lnTo>
                    <a:pt x="393" y="244"/>
                  </a:lnTo>
                  <a:lnTo>
                    <a:pt x="393" y="242"/>
                  </a:lnTo>
                  <a:lnTo>
                    <a:pt x="391" y="242"/>
                  </a:lnTo>
                  <a:lnTo>
                    <a:pt x="391" y="240"/>
                  </a:lnTo>
                  <a:lnTo>
                    <a:pt x="393" y="238"/>
                  </a:lnTo>
                  <a:lnTo>
                    <a:pt x="393" y="236"/>
                  </a:lnTo>
                  <a:lnTo>
                    <a:pt x="393" y="234"/>
                  </a:lnTo>
                  <a:lnTo>
                    <a:pt x="393" y="234"/>
                  </a:lnTo>
                  <a:lnTo>
                    <a:pt x="393" y="232"/>
                  </a:lnTo>
                  <a:lnTo>
                    <a:pt x="395" y="232"/>
                  </a:lnTo>
                  <a:lnTo>
                    <a:pt x="395" y="232"/>
                  </a:lnTo>
                  <a:lnTo>
                    <a:pt x="393" y="230"/>
                  </a:lnTo>
                  <a:lnTo>
                    <a:pt x="393" y="230"/>
                  </a:lnTo>
                  <a:lnTo>
                    <a:pt x="393" y="226"/>
                  </a:lnTo>
                  <a:lnTo>
                    <a:pt x="395" y="226"/>
                  </a:lnTo>
                  <a:lnTo>
                    <a:pt x="395" y="224"/>
                  </a:lnTo>
                  <a:lnTo>
                    <a:pt x="397" y="222"/>
                  </a:lnTo>
                  <a:lnTo>
                    <a:pt x="397" y="222"/>
                  </a:lnTo>
                  <a:lnTo>
                    <a:pt x="397" y="220"/>
                  </a:lnTo>
                  <a:lnTo>
                    <a:pt x="397" y="220"/>
                  </a:lnTo>
                  <a:lnTo>
                    <a:pt x="397" y="218"/>
                  </a:lnTo>
                  <a:lnTo>
                    <a:pt x="399" y="218"/>
                  </a:lnTo>
                  <a:lnTo>
                    <a:pt x="399" y="216"/>
                  </a:lnTo>
                  <a:lnTo>
                    <a:pt x="403" y="209"/>
                  </a:lnTo>
                  <a:lnTo>
                    <a:pt x="403" y="207"/>
                  </a:lnTo>
                  <a:lnTo>
                    <a:pt x="403" y="205"/>
                  </a:lnTo>
                  <a:lnTo>
                    <a:pt x="403" y="201"/>
                  </a:lnTo>
                  <a:lnTo>
                    <a:pt x="407" y="199"/>
                  </a:lnTo>
                  <a:lnTo>
                    <a:pt x="413" y="197"/>
                  </a:lnTo>
                  <a:lnTo>
                    <a:pt x="415" y="197"/>
                  </a:lnTo>
                  <a:lnTo>
                    <a:pt x="417" y="195"/>
                  </a:lnTo>
                  <a:lnTo>
                    <a:pt x="417" y="193"/>
                  </a:lnTo>
                  <a:lnTo>
                    <a:pt x="417" y="191"/>
                  </a:lnTo>
                  <a:lnTo>
                    <a:pt x="417" y="189"/>
                  </a:lnTo>
                  <a:lnTo>
                    <a:pt x="417" y="189"/>
                  </a:lnTo>
                  <a:lnTo>
                    <a:pt x="417" y="187"/>
                  </a:lnTo>
                  <a:lnTo>
                    <a:pt x="419" y="185"/>
                  </a:lnTo>
                  <a:lnTo>
                    <a:pt x="419" y="183"/>
                  </a:lnTo>
                  <a:lnTo>
                    <a:pt x="415" y="183"/>
                  </a:lnTo>
                  <a:lnTo>
                    <a:pt x="413" y="181"/>
                  </a:lnTo>
                  <a:lnTo>
                    <a:pt x="413" y="181"/>
                  </a:lnTo>
                  <a:lnTo>
                    <a:pt x="413" y="181"/>
                  </a:lnTo>
                  <a:lnTo>
                    <a:pt x="411" y="179"/>
                  </a:lnTo>
                  <a:lnTo>
                    <a:pt x="411" y="177"/>
                  </a:lnTo>
                  <a:lnTo>
                    <a:pt x="409" y="177"/>
                  </a:lnTo>
                  <a:lnTo>
                    <a:pt x="409" y="175"/>
                  </a:lnTo>
                  <a:lnTo>
                    <a:pt x="407" y="175"/>
                  </a:lnTo>
                  <a:lnTo>
                    <a:pt x="407" y="170"/>
                  </a:lnTo>
                  <a:lnTo>
                    <a:pt x="409" y="170"/>
                  </a:lnTo>
                  <a:lnTo>
                    <a:pt x="409" y="166"/>
                  </a:lnTo>
                  <a:lnTo>
                    <a:pt x="411" y="160"/>
                  </a:lnTo>
                  <a:lnTo>
                    <a:pt x="411" y="160"/>
                  </a:lnTo>
                  <a:lnTo>
                    <a:pt x="413" y="158"/>
                  </a:lnTo>
                  <a:lnTo>
                    <a:pt x="413" y="158"/>
                  </a:lnTo>
                  <a:lnTo>
                    <a:pt x="413" y="158"/>
                  </a:lnTo>
                  <a:lnTo>
                    <a:pt x="413" y="156"/>
                  </a:lnTo>
                  <a:lnTo>
                    <a:pt x="411" y="156"/>
                  </a:lnTo>
                  <a:lnTo>
                    <a:pt x="411" y="156"/>
                  </a:lnTo>
                  <a:lnTo>
                    <a:pt x="411" y="154"/>
                  </a:lnTo>
                  <a:lnTo>
                    <a:pt x="409" y="154"/>
                  </a:lnTo>
                  <a:lnTo>
                    <a:pt x="409" y="154"/>
                  </a:lnTo>
                  <a:lnTo>
                    <a:pt x="409" y="154"/>
                  </a:lnTo>
                  <a:lnTo>
                    <a:pt x="403" y="158"/>
                  </a:lnTo>
                  <a:lnTo>
                    <a:pt x="403" y="158"/>
                  </a:lnTo>
                  <a:lnTo>
                    <a:pt x="403" y="158"/>
                  </a:lnTo>
                  <a:lnTo>
                    <a:pt x="401" y="158"/>
                  </a:lnTo>
                  <a:lnTo>
                    <a:pt x="399" y="158"/>
                  </a:lnTo>
                  <a:lnTo>
                    <a:pt x="399" y="158"/>
                  </a:lnTo>
                  <a:lnTo>
                    <a:pt x="399" y="158"/>
                  </a:lnTo>
                  <a:lnTo>
                    <a:pt x="399" y="158"/>
                  </a:lnTo>
                  <a:lnTo>
                    <a:pt x="397" y="160"/>
                  </a:lnTo>
                  <a:lnTo>
                    <a:pt x="397" y="160"/>
                  </a:lnTo>
                  <a:lnTo>
                    <a:pt x="395" y="158"/>
                  </a:lnTo>
                  <a:lnTo>
                    <a:pt x="395" y="158"/>
                  </a:lnTo>
                  <a:lnTo>
                    <a:pt x="395" y="158"/>
                  </a:lnTo>
                  <a:lnTo>
                    <a:pt x="395" y="156"/>
                  </a:lnTo>
                  <a:lnTo>
                    <a:pt x="395" y="154"/>
                  </a:lnTo>
                  <a:lnTo>
                    <a:pt x="395" y="154"/>
                  </a:lnTo>
                  <a:lnTo>
                    <a:pt x="395" y="152"/>
                  </a:lnTo>
                  <a:lnTo>
                    <a:pt x="395" y="152"/>
                  </a:lnTo>
                  <a:lnTo>
                    <a:pt x="395" y="150"/>
                  </a:lnTo>
                  <a:lnTo>
                    <a:pt x="395" y="150"/>
                  </a:lnTo>
                  <a:lnTo>
                    <a:pt x="395" y="150"/>
                  </a:lnTo>
                  <a:lnTo>
                    <a:pt x="397" y="148"/>
                  </a:lnTo>
                  <a:lnTo>
                    <a:pt x="399" y="148"/>
                  </a:lnTo>
                  <a:lnTo>
                    <a:pt x="399" y="146"/>
                  </a:lnTo>
                  <a:lnTo>
                    <a:pt x="399" y="146"/>
                  </a:lnTo>
                  <a:lnTo>
                    <a:pt x="399" y="144"/>
                  </a:lnTo>
                  <a:lnTo>
                    <a:pt x="399" y="144"/>
                  </a:lnTo>
                  <a:lnTo>
                    <a:pt x="399" y="144"/>
                  </a:lnTo>
                  <a:lnTo>
                    <a:pt x="399" y="144"/>
                  </a:lnTo>
                  <a:lnTo>
                    <a:pt x="399" y="140"/>
                  </a:lnTo>
                  <a:lnTo>
                    <a:pt x="397" y="138"/>
                  </a:lnTo>
                  <a:lnTo>
                    <a:pt x="397" y="138"/>
                  </a:lnTo>
                  <a:lnTo>
                    <a:pt x="397" y="136"/>
                  </a:lnTo>
                  <a:lnTo>
                    <a:pt x="399" y="136"/>
                  </a:lnTo>
                  <a:lnTo>
                    <a:pt x="399" y="136"/>
                  </a:lnTo>
                  <a:lnTo>
                    <a:pt x="399" y="136"/>
                  </a:lnTo>
                  <a:lnTo>
                    <a:pt x="399" y="136"/>
                  </a:lnTo>
                  <a:lnTo>
                    <a:pt x="399" y="134"/>
                  </a:lnTo>
                  <a:lnTo>
                    <a:pt x="399" y="134"/>
                  </a:lnTo>
                  <a:lnTo>
                    <a:pt x="399" y="132"/>
                  </a:lnTo>
                  <a:lnTo>
                    <a:pt x="399" y="132"/>
                  </a:lnTo>
                  <a:lnTo>
                    <a:pt x="397" y="129"/>
                  </a:lnTo>
                  <a:lnTo>
                    <a:pt x="397" y="127"/>
                  </a:lnTo>
                  <a:lnTo>
                    <a:pt x="397" y="127"/>
                  </a:lnTo>
                  <a:lnTo>
                    <a:pt x="397" y="127"/>
                  </a:lnTo>
                  <a:lnTo>
                    <a:pt x="397" y="125"/>
                  </a:lnTo>
                  <a:lnTo>
                    <a:pt x="397" y="125"/>
                  </a:lnTo>
                  <a:lnTo>
                    <a:pt x="397" y="125"/>
                  </a:lnTo>
                  <a:lnTo>
                    <a:pt x="397" y="125"/>
                  </a:lnTo>
                  <a:lnTo>
                    <a:pt x="397" y="125"/>
                  </a:lnTo>
                  <a:lnTo>
                    <a:pt x="397" y="123"/>
                  </a:lnTo>
                  <a:lnTo>
                    <a:pt x="395" y="123"/>
                  </a:lnTo>
                  <a:lnTo>
                    <a:pt x="395" y="121"/>
                  </a:lnTo>
                  <a:lnTo>
                    <a:pt x="393" y="121"/>
                  </a:lnTo>
                  <a:lnTo>
                    <a:pt x="391" y="121"/>
                  </a:lnTo>
                  <a:lnTo>
                    <a:pt x="391" y="119"/>
                  </a:lnTo>
                  <a:lnTo>
                    <a:pt x="391" y="119"/>
                  </a:lnTo>
                  <a:lnTo>
                    <a:pt x="389" y="119"/>
                  </a:lnTo>
                  <a:lnTo>
                    <a:pt x="389" y="119"/>
                  </a:lnTo>
                  <a:lnTo>
                    <a:pt x="389" y="117"/>
                  </a:lnTo>
                  <a:lnTo>
                    <a:pt x="389" y="117"/>
                  </a:lnTo>
                  <a:lnTo>
                    <a:pt x="385" y="117"/>
                  </a:lnTo>
                  <a:lnTo>
                    <a:pt x="382" y="117"/>
                  </a:lnTo>
                  <a:lnTo>
                    <a:pt x="382" y="117"/>
                  </a:lnTo>
                  <a:lnTo>
                    <a:pt x="382" y="117"/>
                  </a:lnTo>
                  <a:lnTo>
                    <a:pt x="382" y="117"/>
                  </a:lnTo>
                  <a:lnTo>
                    <a:pt x="380" y="115"/>
                  </a:lnTo>
                  <a:lnTo>
                    <a:pt x="380" y="115"/>
                  </a:lnTo>
                  <a:lnTo>
                    <a:pt x="380" y="115"/>
                  </a:lnTo>
                  <a:lnTo>
                    <a:pt x="380" y="115"/>
                  </a:lnTo>
                  <a:lnTo>
                    <a:pt x="378" y="117"/>
                  </a:lnTo>
                  <a:lnTo>
                    <a:pt x="376" y="117"/>
                  </a:lnTo>
                  <a:lnTo>
                    <a:pt x="376" y="117"/>
                  </a:lnTo>
                  <a:lnTo>
                    <a:pt x="374" y="117"/>
                  </a:lnTo>
                  <a:lnTo>
                    <a:pt x="374" y="115"/>
                  </a:lnTo>
                  <a:lnTo>
                    <a:pt x="372" y="115"/>
                  </a:lnTo>
                  <a:lnTo>
                    <a:pt x="372" y="115"/>
                  </a:lnTo>
                  <a:lnTo>
                    <a:pt x="370" y="115"/>
                  </a:lnTo>
                  <a:lnTo>
                    <a:pt x="370" y="113"/>
                  </a:lnTo>
                  <a:lnTo>
                    <a:pt x="370" y="113"/>
                  </a:lnTo>
                  <a:lnTo>
                    <a:pt x="370" y="113"/>
                  </a:lnTo>
                  <a:lnTo>
                    <a:pt x="370" y="111"/>
                  </a:lnTo>
                  <a:lnTo>
                    <a:pt x="372" y="109"/>
                  </a:lnTo>
                  <a:lnTo>
                    <a:pt x="372" y="109"/>
                  </a:lnTo>
                  <a:lnTo>
                    <a:pt x="372" y="109"/>
                  </a:lnTo>
                  <a:lnTo>
                    <a:pt x="372" y="107"/>
                  </a:lnTo>
                  <a:lnTo>
                    <a:pt x="372" y="107"/>
                  </a:lnTo>
                  <a:lnTo>
                    <a:pt x="370" y="103"/>
                  </a:lnTo>
                  <a:lnTo>
                    <a:pt x="370" y="103"/>
                  </a:lnTo>
                  <a:lnTo>
                    <a:pt x="368" y="101"/>
                  </a:lnTo>
                  <a:lnTo>
                    <a:pt x="368" y="101"/>
                  </a:lnTo>
                  <a:lnTo>
                    <a:pt x="366" y="101"/>
                  </a:lnTo>
                  <a:lnTo>
                    <a:pt x="364" y="101"/>
                  </a:lnTo>
                  <a:lnTo>
                    <a:pt x="364" y="99"/>
                  </a:lnTo>
                  <a:lnTo>
                    <a:pt x="364" y="99"/>
                  </a:lnTo>
                  <a:lnTo>
                    <a:pt x="362" y="101"/>
                  </a:lnTo>
                  <a:lnTo>
                    <a:pt x="362" y="101"/>
                  </a:lnTo>
                  <a:lnTo>
                    <a:pt x="362" y="101"/>
                  </a:lnTo>
                  <a:lnTo>
                    <a:pt x="360" y="101"/>
                  </a:lnTo>
                  <a:lnTo>
                    <a:pt x="358" y="99"/>
                  </a:lnTo>
                  <a:lnTo>
                    <a:pt x="358" y="99"/>
                  </a:lnTo>
                  <a:lnTo>
                    <a:pt x="356" y="99"/>
                  </a:lnTo>
                  <a:lnTo>
                    <a:pt x="354" y="99"/>
                  </a:lnTo>
                  <a:lnTo>
                    <a:pt x="354" y="99"/>
                  </a:lnTo>
                  <a:lnTo>
                    <a:pt x="352" y="99"/>
                  </a:lnTo>
                  <a:lnTo>
                    <a:pt x="350" y="97"/>
                  </a:lnTo>
                  <a:lnTo>
                    <a:pt x="350" y="97"/>
                  </a:lnTo>
                  <a:lnTo>
                    <a:pt x="350" y="97"/>
                  </a:lnTo>
                  <a:lnTo>
                    <a:pt x="348" y="99"/>
                  </a:lnTo>
                  <a:lnTo>
                    <a:pt x="346" y="99"/>
                  </a:lnTo>
                  <a:lnTo>
                    <a:pt x="346" y="99"/>
                  </a:lnTo>
                  <a:lnTo>
                    <a:pt x="344" y="97"/>
                  </a:lnTo>
                  <a:lnTo>
                    <a:pt x="342" y="97"/>
                  </a:lnTo>
                  <a:lnTo>
                    <a:pt x="342" y="97"/>
                  </a:lnTo>
                  <a:lnTo>
                    <a:pt x="342" y="97"/>
                  </a:lnTo>
                  <a:lnTo>
                    <a:pt x="342" y="97"/>
                  </a:lnTo>
                  <a:lnTo>
                    <a:pt x="339" y="97"/>
                  </a:lnTo>
                  <a:lnTo>
                    <a:pt x="339" y="97"/>
                  </a:lnTo>
                  <a:lnTo>
                    <a:pt x="337" y="97"/>
                  </a:lnTo>
                  <a:lnTo>
                    <a:pt x="337" y="95"/>
                  </a:lnTo>
                  <a:lnTo>
                    <a:pt x="335" y="95"/>
                  </a:lnTo>
                  <a:lnTo>
                    <a:pt x="335" y="97"/>
                  </a:lnTo>
                  <a:lnTo>
                    <a:pt x="335" y="97"/>
                  </a:lnTo>
                  <a:lnTo>
                    <a:pt x="333" y="97"/>
                  </a:lnTo>
                  <a:lnTo>
                    <a:pt x="333" y="97"/>
                  </a:lnTo>
                  <a:lnTo>
                    <a:pt x="333" y="97"/>
                  </a:lnTo>
                  <a:lnTo>
                    <a:pt x="333" y="97"/>
                  </a:lnTo>
                  <a:lnTo>
                    <a:pt x="331" y="97"/>
                  </a:lnTo>
                  <a:lnTo>
                    <a:pt x="331" y="97"/>
                  </a:lnTo>
                  <a:lnTo>
                    <a:pt x="329" y="99"/>
                  </a:lnTo>
                  <a:lnTo>
                    <a:pt x="329" y="99"/>
                  </a:lnTo>
                  <a:lnTo>
                    <a:pt x="329" y="99"/>
                  </a:lnTo>
                  <a:lnTo>
                    <a:pt x="325" y="97"/>
                  </a:lnTo>
                  <a:lnTo>
                    <a:pt x="323" y="97"/>
                  </a:lnTo>
                  <a:lnTo>
                    <a:pt x="323" y="97"/>
                  </a:lnTo>
                  <a:lnTo>
                    <a:pt x="321" y="97"/>
                  </a:lnTo>
                  <a:lnTo>
                    <a:pt x="321" y="97"/>
                  </a:lnTo>
                  <a:lnTo>
                    <a:pt x="321" y="97"/>
                  </a:lnTo>
                  <a:lnTo>
                    <a:pt x="319" y="97"/>
                  </a:lnTo>
                  <a:lnTo>
                    <a:pt x="319" y="97"/>
                  </a:lnTo>
                  <a:lnTo>
                    <a:pt x="317" y="97"/>
                  </a:lnTo>
                  <a:lnTo>
                    <a:pt x="317" y="97"/>
                  </a:lnTo>
                  <a:lnTo>
                    <a:pt x="317" y="97"/>
                  </a:lnTo>
                  <a:lnTo>
                    <a:pt x="315" y="97"/>
                  </a:lnTo>
                  <a:lnTo>
                    <a:pt x="315" y="97"/>
                  </a:lnTo>
                  <a:lnTo>
                    <a:pt x="313" y="97"/>
                  </a:lnTo>
                  <a:lnTo>
                    <a:pt x="313" y="97"/>
                  </a:lnTo>
                  <a:lnTo>
                    <a:pt x="311" y="97"/>
                  </a:lnTo>
                  <a:lnTo>
                    <a:pt x="307" y="95"/>
                  </a:lnTo>
                  <a:lnTo>
                    <a:pt x="301" y="93"/>
                  </a:lnTo>
                  <a:lnTo>
                    <a:pt x="296" y="91"/>
                  </a:lnTo>
                  <a:lnTo>
                    <a:pt x="292" y="88"/>
                  </a:lnTo>
                  <a:lnTo>
                    <a:pt x="290" y="88"/>
                  </a:lnTo>
                  <a:lnTo>
                    <a:pt x="286" y="86"/>
                  </a:lnTo>
                  <a:lnTo>
                    <a:pt x="286" y="86"/>
                  </a:lnTo>
                  <a:lnTo>
                    <a:pt x="284" y="86"/>
                  </a:lnTo>
                  <a:lnTo>
                    <a:pt x="280" y="86"/>
                  </a:lnTo>
                  <a:lnTo>
                    <a:pt x="276" y="84"/>
                  </a:lnTo>
                  <a:lnTo>
                    <a:pt x="270" y="84"/>
                  </a:lnTo>
                  <a:lnTo>
                    <a:pt x="264" y="84"/>
                  </a:lnTo>
                  <a:lnTo>
                    <a:pt x="258" y="82"/>
                  </a:lnTo>
                  <a:lnTo>
                    <a:pt x="249" y="82"/>
                  </a:lnTo>
                  <a:lnTo>
                    <a:pt x="243" y="80"/>
                  </a:lnTo>
                  <a:lnTo>
                    <a:pt x="237" y="78"/>
                  </a:lnTo>
                  <a:lnTo>
                    <a:pt x="229" y="78"/>
                  </a:lnTo>
                  <a:lnTo>
                    <a:pt x="225" y="76"/>
                  </a:lnTo>
                  <a:lnTo>
                    <a:pt x="219" y="76"/>
                  </a:lnTo>
                  <a:lnTo>
                    <a:pt x="217" y="76"/>
                  </a:lnTo>
                  <a:lnTo>
                    <a:pt x="213" y="76"/>
                  </a:lnTo>
                  <a:lnTo>
                    <a:pt x="213" y="76"/>
                  </a:lnTo>
                  <a:lnTo>
                    <a:pt x="210" y="74"/>
                  </a:lnTo>
                  <a:lnTo>
                    <a:pt x="210" y="74"/>
                  </a:lnTo>
                  <a:lnTo>
                    <a:pt x="210" y="74"/>
                  </a:lnTo>
                  <a:lnTo>
                    <a:pt x="208" y="72"/>
                  </a:lnTo>
                  <a:lnTo>
                    <a:pt x="206" y="70"/>
                  </a:lnTo>
                  <a:lnTo>
                    <a:pt x="204" y="66"/>
                  </a:lnTo>
                  <a:lnTo>
                    <a:pt x="204" y="62"/>
                  </a:lnTo>
                  <a:lnTo>
                    <a:pt x="202" y="60"/>
                  </a:lnTo>
                  <a:lnTo>
                    <a:pt x="202" y="60"/>
                  </a:lnTo>
                  <a:lnTo>
                    <a:pt x="200" y="58"/>
                  </a:lnTo>
                  <a:lnTo>
                    <a:pt x="200" y="58"/>
                  </a:lnTo>
                  <a:lnTo>
                    <a:pt x="198" y="58"/>
                  </a:lnTo>
                  <a:lnTo>
                    <a:pt x="198" y="58"/>
                  </a:lnTo>
                  <a:lnTo>
                    <a:pt x="196" y="58"/>
                  </a:lnTo>
                  <a:lnTo>
                    <a:pt x="196" y="58"/>
                  </a:lnTo>
                  <a:lnTo>
                    <a:pt x="196" y="56"/>
                  </a:lnTo>
                  <a:lnTo>
                    <a:pt x="194" y="56"/>
                  </a:lnTo>
                  <a:lnTo>
                    <a:pt x="194" y="56"/>
                  </a:lnTo>
                  <a:lnTo>
                    <a:pt x="192" y="56"/>
                  </a:lnTo>
                  <a:lnTo>
                    <a:pt x="192" y="54"/>
                  </a:lnTo>
                  <a:lnTo>
                    <a:pt x="192" y="54"/>
                  </a:lnTo>
                  <a:lnTo>
                    <a:pt x="190" y="54"/>
                  </a:lnTo>
                  <a:lnTo>
                    <a:pt x="190" y="56"/>
                  </a:lnTo>
                  <a:lnTo>
                    <a:pt x="188" y="56"/>
                  </a:lnTo>
                  <a:lnTo>
                    <a:pt x="188" y="56"/>
                  </a:lnTo>
                  <a:lnTo>
                    <a:pt x="188" y="56"/>
                  </a:lnTo>
                  <a:lnTo>
                    <a:pt x="186" y="56"/>
                  </a:lnTo>
                  <a:lnTo>
                    <a:pt x="186" y="56"/>
                  </a:lnTo>
                  <a:lnTo>
                    <a:pt x="186" y="54"/>
                  </a:lnTo>
                  <a:lnTo>
                    <a:pt x="186" y="52"/>
                  </a:lnTo>
                  <a:lnTo>
                    <a:pt x="186" y="52"/>
                  </a:lnTo>
                  <a:lnTo>
                    <a:pt x="184" y="54"/>
                  </a:lnTo>
                  <a:lnTo>
                    <a:pt x="182" y="54"/>
                  </a:lnTo>
                  <a:lnTo>
                    <a:pt x="180" y="52"/>
                  </a:lnTo>
                  <a:lnTo>
                    <a:pt x="174" y="50"/>
                  </a:lnTo>
                  <a:lnTo>
                    <a:pt x="165" y="47"/>
                  </a:lnTo>
                  <a:lnTo>
                    <a:pt x="159" y="43"/>
                  </a:lnTo>
                  <a:lnTo>
                    <a:pt x="157" y="41"/>
                  </a:lnTo>
                  <a:lnTo>
                    <a:pt x="159" y="41"/>
                  </a:lnTo>
                  <a:lnTo>
                    <a:pt x="159" y="43"/>
                  </a:lnTo>
                  <a:lnTo>
                    <a:pt x="159" y="43"/>
                  </a:lnTo>
                  <a:lnTo>
                    <a:pt x="159" y="43"/>
                  </a:lnTo>
                  <a:lnTo>
                    <a:pt x="157" y="43"/>
                  </a:lnTo>
                  <a:lnTo>
                    <a:pt x="157" y="45"/>
                  </a:lnTo>
                  <a:lnTo>
                    <a:pt x="157" y="45"/>
                  </a:lnTo>
                  <a:lnTo>
                    <a:pt x="159" y="45"/>
                  </a:lnTo>
                  <a:lnTo>
                    <a:pt x="159" y="47"/>
                  </a:lnTo>
                  <a:lnTo>
                    <a:pt x="157" y="50"/>
                  </a:lnTo>
                  <a:lnTo>
                    <a:pt x="147" y="54"/>
                  </a:lnTo>
                  <a:lnTo>
                    <a:pt x="145" y="54"/>
                  </a:lnTo>
                  <a:lnTo>
                    <a:pt x="143" y="54"/>
                  </a:lnTo>
                  <a:lnTo>
                    <a:pt x="145" y="52"/>
                  </a:lnTo>
                  <a:lnTo>
                    <a:pt x="145" y="50"/>
                  </a:lnTo>
                  <a:lnTo>
                    <a:pt x="149" y="43"/>
                  </a:lnTo>
                  <a:lnTo>
                    <a:pt x="149" y="41"/>
                  </a:lnTo>
                  <a:lnTo>
                    <a:pt x="149" y="41"/>
                  </a:lnTo>
                  <a:lnTo>
                    <a:pt x="149" y="39"/>
                  </a:lnTo>
                  <a:lnTo>
                    <a:pt x="149" y="39"/>
                  </a:lnTo>
                  <a:lnTo>
                    <a:pt x="149" y="37"/>
                  </a:lnTo>
                  <a:lnTo>
                    <a:pt x="149" y="35"/>
                  </a:lnTo>
                  <a:lnTo>
                    <a:pt x="149" y="33"/>
                  </a:lnTo>
                  <a:lnTo>
                    <a:pt x="151" y="31"/>
                  </a:lnTo>
                  <a:lnTo>
                    <a:pt x="151" y="31"/>
                  </a:lnTo>
                  <a:lnTo>
                    <a:pt x="153" y="25"/>
                  </a:lnTo>
                  <a:lnTo>
                    <a:pt x="155" y="25"/>
                  </a:lnTo>
                  <a:lnTo>
                    <a:pt x="155" y="23"/>
                  </a:lnTo>
                  <a:lnTo>
                    <a:pt x="153" y="23"/>
                  </a:lnTo>
                  <a:lnTo>
                    <a:pt x="155" y="21"/>
                  </a:lnTo>
                  <a:lnTo>
                    <a:pt x="155" y="21"/>
                  </a:lnTo>
                  <a:lnTo>
                    <a:pt x="155" y="21"/>
                  </a:lnTo>
                  <a:lnTo>
                    <a:pt x="153" y="19"/>
                  </a:lnTo>
                  <a:lnTo>
                    <a:pt x="153" y="17"/>
                  </a:lnTo>
                  <a:lnTo>
                    <a:pt x="153" y="17"/>
                  </a:lnTo>
                  <a:lnTo>
                    <a:pt x="151" y="17"/>
                  </a:lnTo>
                  <a:lnTo>
                    <a:pt x="149" y="17"/>
                  </a:lnTo>
                  <a:lnTo>
                    <a:pt x="149" y="17"/>
                  </a:lnTo>
                  <a:lnTo>
                    <a:pt x="149" y="15"/>
                  </a:lnTo>
                  <a:lnTo>
                    <a:pt x="149" y="15"/>
                  </a:lnTo>
                  <a:lnTo>
                    <a:pt x="149" y="15"/>
                  </a:lnTo>
                  <a:lnTo>
                    <a:pt x="147" y="15"/>
                  </a:lnTo>
                  <a:lnTo>
                    <a:pt x="147" y="15"/>
                  </a:lnTo>
                  <a:lnTo>
                    <a:pt x="145" y="15"/>
                  </a:lnTo>
                  <a:lnTo>
                    <a:pt x="145" y="17"/>
                  </a:lnTo>
                  <a:lnTo>
                    <a:pt x="145" y="17"/>
                  </a:lnTo>
                  <a:lnTo>
                    <a:pt x="145" y="17"/>
                  </a:lnTo>
                  <a:lnTo>
                    <a:pt x="145" y="17"/>
                  </a:lnTo>
                  <a:lnTo>
                    <a:pt x="143" y="19"/>
                  </a:lnTo>
                  <a:lnTo>
                    <a:pt x="143" y="19"/>
                  </a:lnTo>
                  <a:lnTo>
                    <a:pt x="141" y="19"/>
                  </a:lnTo>
                  <a:lnTo>
                    <a:pt x="141" y="17"/>
                  </a:lnTo>
                  <a:lnTo>
                    <a:pt x="139" y="17"/>
                  </a:lnTo>
                  <a:lnTo>
                    <a:pt x="139" y="19"/>
                  </a:lnTo>
                  <a:lnTo>
                    <a:pt x="139" y="19"/>
                  </a:lnTo>
                  <a:lnTo>
                    <a:pt x="139" y="19"/>
                  </a:lnTo>
                  <a:lnTo>
                    <a:pt x="139" y="19"/>
                  </a:lnTo>
                  <a:lnTo>
                    <a:pt x="135" y="21"/>
                  </a:lnTo>
                  <a:lnTo>
                    <a:pt x="135" y="21"/>
                  </a:lnTo>
                  <a:lnTo>
                    <a:pt x="133" y="23"/>
                  </a:lnTo>
                  <a:lnTo>
                    <a:pt x="133" y="23"/>
                  </a:lnTo>
                  <a:lnTo>
                    <a:pt x="133" y="23"/>
                  </a:lnTo>
                  <a:lnTo>
                    <a:pt x="133" y="23"/>
                  </a:lnTo>
                  <a:lnTo>
                    <a:pt x="131" y="25"/>
                  </a:lnTo>
                  <a:lnTo>
                    <a:pt x="131" y="25"/>
                  </a:lnTo>
                  <a:lnTo>
                    <a:pt x="131" y="25"/>
                  </a:lnTo>
                  <a:lnTo>
                    <a:pt x="129" y="27"/>
                  </a:lnTo>
                  <a:lnTo>
                    <a:pt x="129" y="27"/>
                  </a:lnTo>
                  <a:lnTo>
                    <a:pt x="126" y="27"/>
                  </a:lnTo>
                  <a:lnTo>
                    <a:pt x="126" y="27"/>
                  </a:lnTo>
                  <a:lnTo>
                    <a:pt x="126" y="27"/>
                  </a:lnTo>
                  <a:lnTo>
                    <a:pt x="126" y="27"/>
                  </a:lnTo>
                  <a:lnTo>
                    <a:pt x="126" y="25"/>
                  </a:lnTo>
                  <a:lnTo>
                    <a:pt x="124" y="27"/>
                  </a:lnTo>
                  <a:lnTo>
                    <a:pt x="122" y="29"/>
                  </a:lnTo>
                  <a:lnTo>
                    <a:pt x="122" y="27"/>
                  </a:lnTo>
                  <a:lnTo>
                    <a:pt x="122" y="25"/>
                  </a:lnTo>
                  <a:lnTo>
                    <a:pt x="120" y="27"/>
                  </a:lnTo>
                  <a:lnTo>
                    <a:pt x="116" y="29"/>
                  </a:lnTo>
                  <a:lnTo>
                    <a:pt x="110" y="33"/>
                  </a:lnTo>
                  <a:lnTo>
                    <a:pt x="108" y="37"/>
                  </a:lnTo>
                  <a:lnTo>
                    <a:pt x="106" y="37"/>
                  </a:lnTo>
                  <a:lnTo>
                    <a:pt x="100" y="39"/>
                  </a:lnTo>
                  <a:lnTo>
                    <a:pt x="94" y="41"/>
                  </a:lnTo>
                  <a:lnTo>
                    <a:pt x="77" y="47"/>
                  </a:lnTo>
                  <a:lnTo>
                    <a:pt x="67" y="50"/>
                  </a:lnTo>
                  <a:lnTo>
                    <a:pt x="65" y="50"/>
                  </a:lnTo>
                  <a:lnTo>
                    <a:pt x="59" y="47"/>
                  </a:lnTo>
                  <a:lnTo>
                    <a:pt x="59" y="47"/>
                  </a:lnTo>
                  <a:lnTo>
                    <a:pt x="57" y="47"/>
                  </a:lnTo>
                  <a:lnTo>
                    <a:pt x="55" y="45"/>
                  </a:lnTo>
                  <a:lnTo>
                    <a:pt x="53" y="43"/>
                  </a:lnTo>
                  <a:lnTo>
                    <a:pt x="53" y="43"/>
                  </a:lnTo>
                  <a:lnTo>
                    <a:pt x="53" y="43"/>
                  </a:lnTo>
                  <a:lnTo>
                    <a:pt x="51" y="45"/>
                  </a:lnTo>
                  <a:lnTo>
                    <a:pt x="51" y="45"/>
                  </a:lnTo>
                  <a:lnTo>
                    <a:pt x="49" y="47"/>
                  </a:lnTo>
                  <a:lnTo>
                    <a:pt x="49" y="47"/>
                  </a:lnTo>
                  <a:lnTo>
                    <a:pt x="49" y="47"/>
                  </a:lnTo>
                  <a:lnTo>
                    <a:pt x="49" y="47"/>
                  </a:lnTo>
                  <a:lnTo>
                    <a:pt x="47" y="50"/>
                  </a:lnTo>
                  <a:lnTo>
                    <a:pt x="47" y="50"/>
                  </a:lnTo>
                  <a:lnTo>
                    <a:pt x="47" y="50"/>
                  </a:lnTo>
                  <a:lnTo>
                    <a:pt x="47" y="50"/>
                  </a:lnTo>
                  <a:lnTo>
                    <a:pt x="47" y="52"/>
                  </a:lnTo>
                  <a:lnTo>
                    <a:pt x="47" y="54"/>
                  </a:lnTo>
                  <a:lnTo>
                    <a:pt x="47" y="54"/>
                  </a:lnTo>
                  <a:lnTo>
                    <a:pt x="47" y="54"/>
                  </a:lnTo>
                  <a:lnTo>
                    <a:pt x="45" y="54"/>
                  </a:lnTo>
                  <a:lnTo>
                    <a:pt x="45" y="56"/>
                  </a:lnTo>
                  <a:lnTo>
                    <a:pt x="45" y="56"/>
                  </a:lnTo>
                  <a:lnTo>
                    <a:pt x="43" y="56"/>
                  </a:lnTo>
                  <a:lnTo>
                    <a:pt x="40" y="56"/>
                  </a:lnTo>
                  <a:lnTo>
                    <a:pt x="40" y="56"/>
                  </a:lnTo>
                  <a:lnTo>
                    <a:pt x="40" y="56"/>
                  </a:lnTo>
                  <a:lnTo>
                    <a:pt x="40" y="56"/>
                  </a:lnTo>
                  <a:lnTo>
                    <a:pt x="40" y="58"/>
                  </a:lnTo>
                  <a:lnTo>
                    <a:pt x="40" y="64"/>
                  </a:lnTo>
                  <a:lnTo>
                    <a:pt x="40" y="70"/>
                  </a:lnTo>
                  <a:lnTo>
                    <a:pt x="40" y="78"/>
                  </a:lnTo>
                  <a:lnTo>
                    <a:pt x="43" y="84"/>
                  </a:lnTo>
                  <a:lnTo>
                    <a:pt x="43" y="91"/>
                  </a:lnTo>
                  <a:lnTo>
                    <a:pt x="43" y="97"/>
                  </a:lnTo>
                  <a:lnTo>
                    <a:pt x="43" y="103"/>
                  </a:lnTo>
                  <a:lnTo>
                    <a:pt x="43" y="111"/>
                  </a:lnTo>
                  <a:lnTo>
                    <a:pt x="43" y="111"/>
                  </a:lnTo>
                  <a:lnTo>
                    <a:pt x="45" y="115"/>
                  </a:lnTo>
                  <a:lnTo>
                    <a:pt x="43" y="115"/>
                  </a:lnTo>
                  <a:lnTo>
                    <a:pt x="40" y="117"/>
                  </a:lnTo>
                  <a:lnTo>
                    <a:pt x="40" y="117"/>
                  </a:lnTo>
                  <a:lnTo>
                    <a:pt x="40" y="119"/>
                  </a:lnTo>
                  <a:lnTo>
                    <a:pt x="38" y="121"/>
                  </a:lnTo>
                  <a:lnTo>
                    <a:pt x="38" y="121"/>
                  </a:lnTo>
                  <a:lnTo>
                    <a:pt x="36" y="121"/>
                  </a:lnTo>
                  <a:lnTo>
                    <a:pt x="34" y="121"/>
                  </a:lnTo>
                  <a:lnTo>
                    <a:pt x="34" y="121"/>
                  </a:lnTo>
                  <a:lnTo>
                    <a:pt x="32" y="121"/>
                  </a:lnTo>
                  <a:lnTo>
                    <a:pt x="30" y="125"/>
                  </a:lnTo>
                  <a:lnTo>
                    <a:pt x="30" y="125"/>
                  </a:lnTo>
                  <a:lnTo>
                    <a:pt x="26" y="125"/>
                  </a:lnTo>
                  <a:lnTo>
                    <a:pt x="26" y="125"/>
                  </a:lnTo>
                  <a:lnTo>
                    <a:pt x="26" y="127"/>
                  </a:lnTo>
                  <a:lnTo>
                    <a:pt x="24" y="127"/>
                  </a:lnTo>
                  <a:lnTo>
                    <a:pt x="24" y="127"/>
                  </a:lnTo>
                  <a:lnTo>
                    <a:pt x="24" y="127"/>
                  </a:lnTo>
                  <a:lnTo>
                    <a:pt x="24" y="129"/>
                  </a:lnTo>
                  <a:lnTo>
                    <a:pt x="24" y="129"/>
                  </a:lnTo>
                  <a:lnTo>
                    <a:pt x="22" y="129"/>
                  </a:lnTo>
                  <a:lnTo>
                    <a:pt x="20" y="129"/>
                  </a:lnTo>
                  <a:lnTo>
                    <a:pt x="16" y="134"/>
                  </a:lnTo>
                  <a:lnTo>
                    <a:pt x="16" y="134"/>
                  </a:lnTo>
                  <a:lnTo>
                    <a:pt x="14" y="136"/>
                  </a:lnTo>
                  <a:lnTo>
                    <a:pt x="12" y="138"/>
                  </a:lnTo>
                  <a:lnTo>
                    <a:pt x="8" y="144"/>
                  </a:lnTo>
                  <a:lnTo>
                    <a:pt x="8" y="146"/>
                  </a:lnTo>
                  <a:lnTo>
                    <a:pt x="6" y="150"/>
                  </a:lnTo>
                  <a:lnTo>
                    <a:pt x="0" y="156"/>
                  </a:lnTo>
                  <a:lnTo>
                    <a:pt x="0" y="158"/>
                  </a:lnTo>
                  <a:lnTo>
                    <a:pt x="0" y="160"/>
                  </a:lnTo>
                  <a:lnTo>
                    <a:pt x="0" y="166"/>
                  </a:lnTo>
                  <a:lnTo>
                    <a:pt x="2" y="170"/>
                  </a:lnTo>
                  <a:lnTo>
                    <a:pt x="4" y="170"/>
                  </a:lnTo>
                  <a:lnTo>
                    <a:pt x="8" y="170"/>
                  </a:lnTo>
                  <a:lnTo>
                    <a:pt x="12" y="173"/>
                  </a:lnTo>
                  <a:lnTo>
                    <a:pt x="12" y="173"/>
                  </a:lnTo>
                  <a:lnTo>
                    <a:pt x="14" y="177"/>
                  </a:lnTo>
                  <a:lnTo>
                    <a:pt x="14" y="179"/>
                  </a:lnTo>
                  <a:lnTo>
                    <a:pt x="16" y="181"/>
                  </a:lnTo>
                  <a:lnTo>
                    <a:pt x="18" y="183"/>
                  </a:lnTo>
                  <a:lnTo>
                    <a:pt x="18" y="183"/>
                  </a:lnTo>
                  <a:lnTo>
                    <a:pt x="20" y="185"/>
                  </a:lnTo>
                  <a:lnTo>
                    <a:pt x="20" y="187"/>
                  </a:lnTo>
                  <a:lnTo>
                    <a:pt x="18" y="191"/>
                  </a:lnTo>
                  <a:lnTo>
                    <a:pt x="16" y="193"/>
                  </a:lnTo>
                  <a:lnTo>
                    <a:pt x="16" y="195"/>
                  </a:lnTo>
                  <a:lnTo>
                    <a:pt x="16" y="197"/>
                  </a:lnTo>
                  <a:lnTo>
                    <a:pt x="14" y="197"/>
                  </a:lnTo>
                  <a:lnTo>
                    <a:pt x="14" y="199"/>
                  </a:lnTo>
                  <a:lnTo>
                    <a:pt x="12" y="201"/>
                  </a:lnTo>
                  <a:lnTo>
                    <a:pt x="12" y="203"/>
                  </a:lnTo>
                  <a:lnTo>
                    <a:pt x="14" y="207"/>
                  </a:lnTo>
                  <a:lnTo>
                    <a:pt x="12" y="209"/>
                  </a:lnTo>
                  <a:lnTo>
                    <a:pt x="12" y="211"/>
                  </a:lnTo>
                  <a:lnTo>
                    <a:pt x="12" y="211"/>
                  </a:lnTo>
                  <a:lnTo>
                    <a:pt x="14" y="216"/>
                  </a:lnTo>
                  <a:lnTo>
                    <a:pt x="14" y="218"/>
                  </a:lnTo>
                  <a:lnTo>
                    <a:pt x="14" y="220"/>
                  </a:lnTo>
                  <a:lnTo>
                    <a:pt x="14" y="220"/>
                  </a:lnTo>
                  <a:lnTo>
                    <a:pt x="12" y="222"/>
                  </a:lnTo>
                  <a:lnTo>
                    <a:pt x="12" y="222"/>
                  </a:lnTo>
                  <a:lnTo>
                    <a:pt x="12" y="224"/>
                  </a:lnTo>
                  <a:lnTo>
                    <a:pt x="14" y="230"/>
                  </a:lnTo>
                  <a:lnTo>
                    <a:pt x="14" y="234"/>
                  </a:lnTo>
                  <a:lnTo>
                    <a:pt x="16" y="238"/>
                  </a:lnTo>
                  <a:lnTo>
                    <a:pt x="16" y="238"/>
                  </a:lnTo>
                  <a:lnTo>
                    <a:pt x="14" y="240"/>
                  </a:lnTo>
                  <a:lnTo>
                    <a:pt x="14" y="242"/>
                  </a:lnTo>
                  <a:lnTo>
                    <a:pt x="14" y="244"/>
                  </a:lnTo>
                  <a:lnTo>
                    <a:pt x="14" y="246"/>
                  </a:lnTo>
                  <a:lnTo>
                    <a:pt x="14" y="248"/>
                  </a:lnTo>
                  <a:lnTo>
                    <a:pt x="12" y="257"/>
                  </a:lnTo>
                  <a:lnTo>
                    <a:pt x="14" y="259"/>
                  </a:lnTo>
                  <a:lnTo>
                    <a:pt x="18" y="261"/>
                  </a:lnTo>
                  <a:lnTo>
                    <a:pt x="24" y="265"/>
                  </a:lnTo>
                  <a:lnTo>
                    <a:pt x="26" y="267"/>
                  </a:lnTo>
                  <a:lnTo>
                    <a:pt x="26" y="267"/>
                  </a:lnTo>
                  <a:lnTo>
                    <a:pt x="28" y="269"/>
                  </a:lnTo>
                  <a:lnTo>
                    <a:pt x="28" y="269"/>
                  </a:lnTo>
                  <a:lnTo>
                    <a:pt x="32" y="271"/>
                  </a:lnTo>
                  <a:lnTo>
                    <a:pt x="45" y="271"/>
                  </a:lnTo>
                  <a:lnTo>
                    <a:pt x="47" y="273"/>
                  </a:lnTo>
                  <a:lnTo>
                    <a:pt x="49" y="275"/>
                  </a:lnTo>
                  <a:lnTo>
                    <a:pt x="53" y="277"/>
                  </a:lnTo>
                  <a:lnTo>
                    <a:pt x="55" y="281"/>
                  </a:lnTo>
                  <a:lnTo>
                    <a:pt x="55" y="283"/>
                  </a:lnTo>
                  <a:lnTo>
                    <a:pt x="57" y="283"/>
                  </a:lnTo>
                  <a:lnTo>
                    <a:pt x="57" y="283"/>
                  </a:lnTo>
                  <a:lnTo>
                    <a:pt x="67" y="285"/>
                  </a:lnTo>
                  <a:lnTo>
                    <a:pt x="71" y="285"/>
                  </a:lnTo>
                  <a:lnTo>
                    <a:pt x="83" y="295"/>
                  </a:lnTo>
                  <a:lnTo>
                    <a:pt x="88" y="300"/>
                  </a:lnTo>
                  <a:lnTo>
                    <a:pt x="94" y="310"/>
                  </a:lnTo>
                  <a:lnTo>
                    <a:pt x="96" y="312"/>
                  </a:lnTo>
                  <a:lnTo>
                    <a:pt x="98" y="314"/>
                  </a:lnTo>
                  <a:lnTo>
                    <a:pt x="108" y="322"/>
                  </a:lnTo>
                  <a:lnTo>
                    <a:pt x="110" y="322"/>
                  </a:lnTo>
                  <a:lnTo>
                    <a:pt x="110" y="322"/>
                  </a:lnTo>
                  <a:lnTo>
                    <a:pt x="118" y="322"/>
                  </a:lnTo>
                  <a:lnTo>
                    <a:pt x="118" y="322"/>
                  </a:lnTo>
                  <a:lnTo>
                    <a:pt x="124" y="324"/>
                  </a:lnTo>
                  <a:lnTo>
                    <a:pt x="124" y="324"/>
                  </a:lnTo>
                  <a:lnTo>
                    <a:pt x="124" y="324"/>
                  </a:lnTo>
                  <a:lnTo>
                    <a:pt x="129" y="324"/>
                  </a:lnTo>
                  <a:lnTo>
                    <a:pt x="129" y="326"/>
                  </a:lnTo>
                  <a:lnTo>
                    <a:pt x="129" y="326"/>
                  </a:lnTo>
                  <a:lnTo>
                    <a:pt x="131" y="326"/>
                  </a:lnTo>
                  <a:lnTo>
                    <a:pt x="131" y="326"/>
                  </a:lnTo>
                  <a:lnTo>
                    <a:pt x="131" y="328"/>
                  </a:lnTo>
                  <a:lnTo>
                    <a:pt x="131" y="330"/>
                  </a:lnTo>
                  <a:lnTo>
                    <a:pt x="133" y="332"/>
                  </a:lnTo>
                  <a:lnTo>
                    <a:pt x="133" y="332"/>
                  </a:lnTo>
                  <a:lnTo>
                    <a:pt x="137" y="334"/>
                  </a:lnTo>
                  <a:lnTo>
                    <a:pt x="139" y="334"/>
                  </a:lnTo>
                  <a:lnTo>
                    <a:pt x="139" y="334"/>
                  </a:lnTo>
                  <a:lnTo>
                    <a:pt x="139" y="336"/>
                  </a:lnTo>
                  <a:lnTo>
                    <a:pt x="141" y="336"/>
                  </a:lnTo>
                  <a:lnTo>
                    <a:pt x="141" y="341"/>
                  </a:lnTo>
                  <a:lnTo>
                    <a:pt x="141" y="343"/>
                  </a:lnTo>
                  <a:lnTo>
                    <a:pt x="141" y="345"/>
                  </a:lnTo>
                  <a:lnTo>
                    <a:pt x="141" y="347"/>
                  </a:lnTo>
                  <a:lnTo>
                    <a:pt x="141" y="347"/>
                  </a:lnTo>
                  <a:lnTo>
                    <a:pt x="141" y="349"/>
                  </a:lnTo>
                  <a:lnTo>
                    <a:pt x="143" y="349"/>
                  </a:lnTo>
                  <a:lnTo>
                    <a:pt x="143" y="349"/>
                  </a:lnTo>
                  <a:lnTo>
                    <a:pt x="145" y="351"/>
                  </a:lnTo>
                  <a:lnTo>
                    <a:pt x="145" y="351"/>
                  </a:lnTo>
                  <a:lnTo>
                    <a:pt x="145" y="353"/>
                  </a:lnTo>
                  <a:lnTo>
                    <a:pt x="145" y="355"/>
                  </a:lnTo>
                  <a:lnTo>
                    <a:pt x="145" y="361"/>
                  </a:lnTo>
                  <a:lnTo>
                    <a:pt x="145" y="363"/>
                  </a:lnTo>
                  <a:lnTo>
                    <a:pt x="145" y="365"/>
                  </a:lnTo>
                  <a:lnTo>
                    <a:pt x="145" y="365"/>
                  </a:lnTo>
                  <a:lnTo>
                    <a:pt x="145" y="369"/>
                  </a:lnTo>
                  <a:lnTo>
                    <a:pt x="145" y="371"/>
                  </a:lnTo>
                  <a:lnTo>
                    <a:pt x="147" y="373"/>
                  </a:lnTo>
                  <a:lnTo>
                    <a:pt x="147" y="375"/>
                  </a:lnTo>
                  <a:lnTo>
                    <a:pt x="147" y="375"/>
                  </a:lnTo>
                  <a:lnTo>
                    <a:pt x="147" y="379"/>
                  </a:lnTo>
                  <a:lnTo>
                    <a:pt x="147" y="379"/>
                  </a:lnTo>
                  <a:lnTo>
                    <a:pt x="147" y="379"/>
                  </a:lnTo>
                  <a:lnTo>
                    <a:pt x="147" y="382"/>
                  </a:lnTo>
                  <a:lnTo>
                    <a:pt x="147" y="384"/>
                  </a:lnTo>
                  <a:lnTo>
                    <a:pt x="147" y="384"/>
                  </a:lnTo>
                  <a:lnTo>
                    <a:pt x="149" y="386"/>
                  </a:lnTo>
                  <a:lnTo>
                    <a:pt x="149" y="388"/>
                  </a:lnTo>
                  <a:lnTo>
                    <a:pt x="149" y="388"/>
                  </a:lnTo>
                  <a:lnTo>
                    <a:pt x="149" y="392"/>
                  </a:lnTo>
                  <a:lnTo>
                    <a:pt x="151" y="392"/>
                  </a:lnTo>
                  <a:lnTo>
                    <a:pt x="151" y="392"/>
                  </a:lnTo>
                  <a:lnTo>
                    <a:pt x="159" y="394"/>
                  </a:lnTo>
                  <a:lnTo>
                    <a:pt x="161" y="396"/>
                  </a:lnTo>
                  <a:lnTo>
                    <a:pt x="161" y="400"/>
                  </a:lnTo>
                  <a:lnTo>
                    <a:pt x="159" y="404"/>
                  </a:lnTo>
                  <a:lnTo>
                    <a:pt x="157" y="410"/>
                  </a:lnTo>
                  <a:lnTo>
                    <a:pt x="155" y="414"/>
                  </a:lnTo>
                  <a:lnTo>
                    <a:pt x="157" y="420"/>
                  </a:lnTo>
                  <a:lnTo>
                    <a:pt x="157" y="425"/>
                  </a:lnTo>
                  <a:lnTo>
                    <a:pt x="157" y="429"/>
                  </a:lnTo>
                  <a:lnTo>
                    <a:pt x="157" y="431"/>
                  </a:lnTo>
                  <a:lnTo>
                    <a:pt x="159" y="431"/>
                  </a:lnTo>
                  <a:lnTo>
                    <a:pt x="159" y="437"/>
                  </a:lnTo>
                  <a:lnTo>
                    <a:pt x="159" y="439"/>
                  </a:lnTo>
                  <a:lnTo>
                    <a:pt x="161" y="439"/>
                  </a:lnTo>
                  <a:lnTo>
                    <a:pt x="163" y="443"/>
                  </a:lnTo>
                  <a:lnTo>
                    <a:pt x="163" y="443"/>
                  </a:lnTo>
                  <a:lnTo>
                    <a:pt x="165" y="445"/>
                  </a:lnTo>
                  <a:lnTo>
                    <a:pt x="165" y="451"/>
                  </a:lnTo>
                  <a:lnTo>
                    <a:pt x="165" y="451"/>
                  </a:lnTo>
                  <a:lnTo>
                    <a:pt x="169" y="457"/>
                  </a:lnTo>
                  <a:lnTo>
                    <a:pt x="169" y="459"/>
                  </a:lnTo>
                  <a:lnTo>
                    <a:pt x="172" y="459"/>
                  </a:lnTo>
                  <a:lnTo>
                    <a:pt x="176" y="461"/>
                  </a:lnTo>
                  <a:lnTo>
                    <a:pt x="190" y="461"/>
                  </a:lnTo>
                  <a:lnTo>
                    <a:pt x="194" y="464"/>
                  </a:lnTo>
                  <a:lnTo>
                    <a:pt x="196" y="464"/>
                  </a:lnTo>
                  <a:lnTo>
                    <a:pt x="198" y="464"/>
                  </a:lnTo>
                  <a:lnTo>
                    <a:pt x="198" y="466"/>
                  </a:lnTo>
                  <a:lnTo>
                    <a:pt x="200" y="470"/>
                  </a:lnTo>
                  <a:lnTo>
                    <a:pt x="202" y="472"/>
                  </a:lnTo>
                  <a:lnTo>
                    <a:pt x="204" y="474"/>
                  </a:lnTo>
                  <a:lnTo>
                    <a:pt x="204" y="476"/>
                  </a:lnTo>
                  <a:lnTo>
                    <a:pt x="204" y="476"/>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19" y="478"/>
                  </a:lnTo>
                  <a:lnTo>
                    <a:pt x="233" y="476"/>
                  </a:lnTo>
                  <a:lnTo>
                    <a:pt x="247" y="476"/>
                  </a:lnTo>
                  <a:lnTo>
                    <a:pt x="262" y="474"/>
                  </a:lnTo>
                  <a:lnTo>
                    <a:pt x="276" y="474"/>
                  </a:lnTo>
                  <a:lnTo>
                    <a:pt x="290" y="472"/>
                  </a:lnTo>
                  <a:lnTo>
                    <a:pt x="305" y="470"/>
                  </a:lnTo>
                  <a:lnTo>
                    <a:pt x="319" y="470"/>
                  </a:lnTo>
                  <a:lnTo>
                    <a:pt x="333" y="468"/>
                  </a:lnTo>
                  <a:lnTo>
                    <a:pt x="348" y="468"/>
                  </a:lnTo>
                  <a:lnTo>
                    <a:pt x="362" y="466"/>
                  </a:lnTo>
                  <a:lnTo>
                    <a:pt x="376" y="464"/>
                  </a:lnTo>
                  <a:lnTo>
                    <a:pt x="391" y="464"/>
                  </a:lnTo>
                  <a:lnTo>
                    <a:pt x="405" y="461"/>
                  </a:lnTo>
                  <a:lnTo>
                    <a:pt x="419" y="459"/>
                  </a:lnTo>
                  <a:lnTo>
                    <a:pt x="434" y="459"/>
                  </a:lnTo>
                  <a:lnTo>
                    <a:pt x="432" y="451"/>
                  </a:lnTo>
                  <a:lnTo>
                    <a:pt x="432" y="449"/>
                  </a:lnTo>
                  <a:lnTo>
                    <a:pt x="434" y="447"/>
                  </a:lnTo>
                  <a:lnTo>
                    <a:pt x="434" y="447"/>
                  </a:lnTo>
                  <a:lnTo>
                    <a:pt x="432" y="445"/>
                  </a:lnTo>
                  <a:lnTo>
                    <a:pt x="432" y="443"/>
                  </a:lnTo>
                  <a:lnTo>
                    <a:pt x="432" y="443"/>
                  </a:lnTo>
                  <a:lnTo>
                    <a:pt x="432" y="441"/>
                  </a:lnTo>
                  <a:lnTo>
                    <a:pt x="432" y="439"/>
                  </a:lnTo>
                  <a:lnTo>
                    <a:pt x="434" y="437"/>
                  </a:lnTo>
                  <a:lnTo>
                    <a:pt x="434" y="429"/>
                  </a:lnTo>
                  <a:lnTo>
                    <a:pt x="434" y="427"/>
                  </a:lnTo>
                  <a:lnTo>
                    <a:pt x="432" y="425"/>
                  </a:lnTo>
                  <a:lnTo>
                    <a:pt x="428" y="420"/>
                  </a:lnTo>
                  <a:lnTo>
                    <a:pt x="428" y="418"/>
                  </a:lnTo>
                  <a:lnTo>
                    <a:pt x="428" y="418"/>
                  </a:lnTo>
                  <a:lnTo>
                    <a:pt x="426" y="410"/>
                  </a:lnTo>
                  <a:lnTo>
                    <a:pt x="426" y="408"/>
                  </a:lnTo>
                  <a:lnTo>
                    <a:pt x="423" y="406"/>
                  </a:lnTo>
                  <a:lnTo>
                    <a:pt x="421" y="404"/>
                  </a:lnTo>
                  <a:lnTo>
                    <a:pt x="419" y="404"/>
                  </a:lnTo>
                  <a:lnTo>
                    <a:pt x="419" y="402"/>
                  </a:lnTo>
                  <a:lnTo>
                    <a:pt x="421" y="398"/>
                  </a:lnTo>
                  <a:lnTo>
                    <a:pt x="421" y="396"/>
                  </a:lnTo>
                  <a:lnTo>
                    <a:pt x="421" y="396"/>
                  </a:lnTo>
                  <a:lnTo>
                    <a:pt x="421" y="396"/>
                  </a:lnTo>
                  <a:lnTo>
                    <a:pt x="419" y="394"/>
                  </a:lnTo>
                  <a:lnTo>
                    <a:pt x="419" y="392"/>
                  </a:lnTo>
                  <a:lnTo>
                    <a:pt x="419" y="390"/>
                  </a:lnTo>
                  <a:lnTo>
                    <a:pt x="419" y="390"/>
                  </a:lnTo>
                  <a:lnTo>
                    <a:pt x="419" y="388"/>
                  </a:lnTo>
                  <a:lnTo>
                    <a:pt x="419" y="384"/>
                  </a:lnTo>
                  <a:lnTo>
                    <a:pt x="417" y="384"/>
                  </a:lnTo>
                  <a:lnTo>
                    <a:pt x="417" y="382"/>
                  </a:lnTo>
                  <a:lnTo>
                    <a:pt x="417" y="377"/>
                  </a:lnTo>
                  <a:lnTo>
                    <a:pt x="417" y="369"/>
                  </a:lnTo>
                  <a:lnTo>
                    <a:pt x="417" y="367"/>
                  </a:lnTo>
                  <a:lnTo>
                    <a:pt x="421" y="357"/>
                  </a:lnTo>
                  <a:lnTo>
                    <a:pt x="423" y="351"/>
                  </a:lnTo>
                  <a:lnTo>
                    <a:pt x="421" y="349"/>
                  </a:lnTo>
                  <a:lnTo>
                    <a:pt x="421" y="347"/>
                  </a:lnTo>
                  <a:lnTo>
                    <a:pt x="423" y="345"/>
                  </a:lnTo>
                  <a:lnTo>
                    <a:pt x="426" y="334"/>
                  </a:lnTo>
                  <a:lnTo>
                    <a:pt x="428" y="330"/>
                  </a:lnTo>
                  <a:lnTo>
                    <a:pt x="428" y="328"/>
                  </a:lnTo>
                  <a:lnTo>
                    <a:pt x="428" y="328"/>
                  </a:lnTo>
                  <a:lnTo>
                    <a:pt x="428" y="328"/>
                  </a:lnTo>
                  <a:lnTo>
                    <a:pt x="428" y="326"/>
                  </a:lnTo>
                  <a:lnTo>
                    <a:pt x="428" y="326"/>
                  </a:lnTo>
                  <a:lnTo>
                    <a:pt x="428" y="324"/>
                  </a:lnTo>
                  <a:lnTo>
                    <a:pt x="428" y="324"/>
                  </a:lnTo>
                  <a:lnTo>
                    <a:pt x="428" y="322"/>
                  </a:lnTo>
                  <a:lnTo>
                    <a:pt x="426" y="320"/>
                  </a:lnTo>
                  <a:lnTo>
                    <a:pt x="426" y="320"/>
                  </a:lnTo>
                  <a:lnTo>
                    <a:pt x="423" y="318"/>
                  </a:lnTo>
                  <a:lnTo>
                    <a:pt x="423" y="316"/>
                  </a:lnTo>
                  <a:lnTo>
                    <a:pt x="423" y="308"/>
                  </a:lnTo>
                  <a:lnTo>
                    <a:pt x="423" y="306"/>
                  </a:lnTo>
                  <a:lnTo>
                    <a:pt x="426" y="304"/>
                  </a:lnTo>
                  <a:lnTo>
                    <a:pt x="426" y="304"/>
                  </a:lnTo>
                  <a:lnTo>
                    <a:pt x="426" y="300"/>
                  </a:lnTo>
                  <a:lnTo>
                    <a:pt x="426" y="298"/>
                  </a:lnTo>
                  <a:lnTo>
                    <a:pt x="428" y="287"/>
                  </a:lnTo>
                  <a:lnTo>
                    <a:pt x="430" y="287"/>
                  </a:lnTo>
                  <a:lnTo>
                    <a:pt x="430" y="285"/>
                  </a:lnTo>
                  <a:lnTo>
                    <a:pt x="436" y="283"/>
                  </a:lnTo>
                  <a:lnTo>
                    <a:pt x="436" y="281"/>
                  </a:lnTo>
                  <a:lnTo>
                    <a:pt x="438" y="279"/>
                  </a:lnTo>
                  <a:lnTo>
                    <a:pt x="438" y="277"/>
                  </a:lnTo>
                  <a:lnTo>
                    <a:pt x="438" y="275"/>
                  </a:lnTo>
                  <a:lnTo>
                    <a:pt x="438" y="273"/>
                  </a:lnTo>
                  <a:lnTo>
                    <a:pt x="434" y="269"/>
                  </a:lnTo>
                  <a:lnTo>
                    <a:pt x="434" y="265"/>
                  </a:lnTo>
                  <a:lnTo>
                    <a:pt x="434" y="265"/>
                  </a:lnTo>
                  <a:lnTo>
                    <a:pt x="434" y="263"/>
                  </a:lnTo>
                  <a:lnTo>
                    <a:pt x="434" y="261"/>
                  </a:lnTo>
                  <a:lnTo>
                    <a:pt x="434" y="259"/>
                  </a:lnTo>
                  <a:lnTo>
                    <a:pt x="434" y="257"/>
                  </a:lnTo>
                  <a:lnTo>
                    <a:pt x="434" y="254"/>
                  </a:lnTo>
                  <a:lnTo>
                    <a:pt x="436" y="242"/>
                  </a:lnTo>
                  <a:lnTo>
                    <a:pt x="436" y="238"/>
                  </a:lnTo>
                  <a:lnTo>
                    <a:pt x="438" y="234"/>
                  </a:lnTo>
                  <a:lnTo>
                    <a:pt x="442" y="228"/>
                  </a:lnTo>
                  <a:lnTo>
                    <a:pt x="442" y="226"/>
                  </a:lnTo>
                  <a:lnTo>
                    <a:pt x="442" y="224"/>
                  </a:lnTo>
                  <a:lnTo>
                    <a:pt x="444" y="224"/>
                  </a:lnTo>
                  <a:lnTo>
                    <a:pt x="444" y="224"/>
                  </a:lnTo>
                  <a:lnTo>
                    <a:pt x="444" y="222"/>
                  </a:lnTo>
                  <a:lnTo>
                    <a:pt x="444" y="213"/>
                  </a:lnTo>
                  <a:lnTo>
                    <a:pt x="444" y="211"/>
                  </a:lnTo>
                  <a:lnTo>
                    <a:pt x="444" y="211"/>
                  </a:lnTo>
                  <a:close/>
                  <a:moveTo>
                    <a:pt x="157" y="19"/>
                  </a:moveTo>
                  <a:lnTo>
                    <a:pt x="159" y="19"/>
                  </a:lnTo>
                  <a:lnTo>
                    <a:pt x="159" y="19"/>
                  </a:lnTo>
                  <a:lnTo>
                    <a:pt x="159" y="17"/>
                  </a:lnTo>
                  <a:lnTo>
                    <a:pt x="159" y="15"/>
                  </a:lnTo>
                  <a:lnTo>
                    <a:pt x="157" y="15"/>
                  </a:lnTo>
                  <a:lnTo>
                    <a:pt x="157" y="15"/>
                  </a:lnTo>
                  <a:lnTo>
                    <a:pt x="155" y="15"/>
                  </a:lnTo>
                  <a:lnTo>
                    <a:pt x="155" y="15"/>
                  </a:lnTo>
                  <a:lnTo>
                    <a:pt x="155" y="15"/>
                  </a:lnTo>
                  <a:lnTo>
                    <a:pt x="155" y="17"/>
                  </a:lnTo>
                  <a:lnTo>
                    <a:pt x="155" y="17"/>
                  </a:lnTo>
                  <a:lnTo>
                    <a:pt x="157" y="19"/>
                  </a:lnTo>
                  <a:lnTo>
                    <a:pt x="157" y="19"/>
                  </a:lnTo>
                  <a:close/>
                  <a:moveTo>
                    <a:pt x="182" y="4"/>
                  </a:moveTo>
                  <a:lnTo>
                    <a:pt x="182" y="2"/>
                  </a:lnTo>
                  <a:lnTo>
                    <a:pt x="182" y="2"/>
                  </a:lnTo>
                  <a:lnTo>
                    <a:pt x="182" y="0"/>
                  </a:lnTo>
                  <a:lnTo>
                    <a:pt x="182" y="0"/>
                  </a:lnTo>
                  <a:lnTo>
                    <a:pt x="182" y="0"/>
                  </a:lnTo>
                  <a:lnTo>
                    <a:pt x="180" y="0"/>
                  </a:lnTo>
                  <a:lnTo>
                    <a:pt x="178" y="2"/>
                  </a:lnTo>
                  <a:lnTo>
                    <a:pt x="178" y="7"/>
                  </a:lnTo>
                  <a:lnTo>
                    <a:pt x="178" y="9"/>
                  </a:lnTo>
                  <a:lnTo>
                    <a:pt x="180" y="7"/>
                  </a:lnTo>
                  <a:lnTo>
                    <a:pt x="182" y="4"/>
                  </a:lnTo>
                  <a:close/>
                  <a:moveTo>
                    <a:pt x="475" y="150"/>
                  </a:moveTo>
                  <a:lnTo>
                    <a:pt x="475" y="150"/>
                  </a:lnTo>
                  <a:lnTo>
                    <a:pt x="475" y="148"/>
                  </a:lnTo>
                  <a:lnTo>
                    <a:pt x="475" y="146"/>
                  </a:lnTo>
                  <a:lnTo>
                    <a:pt x="473" y="144"/>
                  </a:lnTo>
                  <a:lnTo>
                    <a:pt x="473" y="144"/>
                  </a:lnTo>
                  <a:lnTo>
                    <a:pt x="471" y="146"/>
                  </a:lnTo>
                  <a:lnTo>
                    <a:pt x="469" y="146"/>
                  </a:lnTo>
                  <a:lnTo>
                    <a:pt x="469" y="144"/>
                  </a:lnTo>
                  <a:lnTo>
                    <a:pt x="466" y="144"/>
                  </a:lnTo>
                  <a:lnTo>
                    <a:pt x="466" y="144"/>
                  </a:lnTo>
                  <a:lnTo>
                    <a:pt x="466" y="146"/>
                  </a:lnTo>
                  <a:lnTo>
                    <a:pt x="466" y="148"/>
                  </a:lnTo>
                  <a:lnTo>
                    <a:pt x="466" y="150"/>
                  </a:lnTo>
                  <a:lnTo>
                    <a:pt x="466" y="152"/>
                  </a:lnTo>
                  <a:lnTo>
                    <a:pt x="466" y="152"/>
                  </a:lnTo>
                  <a:lnTo>
                    <a:pt x="466" y="152"/>
                  </a:lnTo>
                  <a:lnTo>
                    <a:pt x="469" y="152"/>
                  </a:lnTo>
                  <a:lnTo>
                    <a:pt x="469" y="152"/>
                  </a:lnTo>
                  <a:lnTo>
                    <a:pt x="475" y="152"/>
                  </a:lnTo>
                  <a:lnTo>
                    <a:pt x="475" y="152"/>
                  </a:lnTo>
                  <a:lnTo>
                    <a:pt x="475" y="150"/>
                  </a:lnTo>
                  <a:close/>
                  <a:moveTo>
                    <a:pt x="466" y="162"/>
                  </a:moveTo>
                  <a:lnTo>
                    <a:pt x="464" y="160"/>
                  </a:lnTo>
                  <a:lnTo>
                    <a:pt x="466" y="160"/>
                  </a:lnTo>
                  <a:lnTo>
                    <a:pt x="466" y="158"/>
                  </a:lnTo>
                  <a:lnTo>
                    <a:pt x="464" y="158"/>
                  </a:lnTo>
                  <a:lnTo>
                    <a:pt x="462" y="158"/>
                  </a:lnTo>
                  <a:lnTo>
                    <a:pt x="460" y="158"/>
                  </a:lnTo>
                  <a:lnTo>
                    <a:pt x="460" y="158"/>
                  </a:lnTo>
                  <a:lnTo>
                    <a:pt x="458" y="158"/>
                  </a:lnTo>
                  <a:lnTo>
                    <a:pt x="458" y="158"/>
                  </a:lnTo>
                  <a:lnTo>
                    <a:pt x="458" y="158"/>
                  </a:lnTo>
                  <a:lnTo>
                    <a:pt x="458" y="160"/>
                  </a:lnTo>
                  <a:lnTo>
                    <a:pt x="458" y="160"/>
                  </a:lnTo>
                  <a:lnTo>
                    <a:pt x="458" y="162"/>
                  </a:lnTo>
                  <a:lnTo>
                    <a:pt x="456" y="162"/>
                  </a:lnTo>
                  <a:lnTo>
                    <a:pt x="456" y="162"/>
                  </a:lnTo>
                  <a:lnTo>
                    <a:pt x="456" y="162"/>
                  </a:lnTo>
                  <a:lnTo>
                    <a:pt x="456" y="166"/>
                  </a:lnTo>
                  <a:lnTo>
                    <a:pt x="454" y="168"/>
                  </a:lnTo>
                  <a:lnTo>
                    <a:pt x="454" y="170"/>
                  </a:lnTo>
                  <a:lnTo>
                    <a:pt x="452" y="170"/>
                  </a:lnTo>
                  <a:lnTo>
                    <a:pt x="452" y="173"/>
                  </a:lnTo>
                  <a:lnTo>
                    <a:pt x="452" y="173"/>
                  </a:lnTo>
                  <a:lnTo>
                    <a:pt x="450" y="173"/>
                  </a:lnTo>
                  <a:lnTo>
                    <a:pt x="448" y="173"/>
                  </a:lnTo>
                  <a:lnTo>
                    <a:pt x="448" y="173"/>
                  </a:lnTo>
                  <a:lnTo>
                    <a:pt x="446" y="175"/>
                  </a:lnTo>
                  <a:lnTo>
                    <a:pt x="446" y="175"/>
                  </a:lnTo>
                  <a:lnTo>
                    <a:pt x="446" y="177"/>
                  </a:lnTo>
                  <a:lnTo>
                    <a:pt x="446" y="181"/>
                  </a:lnTo>
                  <a:lnTo>
                    <a:pt x="446" y="183"/>
                  </a:lnTo>
                  <a:lnTo>
                    <a:pt x="444" y="183"/>
                  </a:lnTo>
                  <a:lnTo>
                    <a:pt x="444" y="185"/>
                  </a:lnTo>
                  <a:lnTo>
                    <a:pt x="444" y="185"/>
                  </a:lnTo>
                  <a:lnTo>
                    <a:pt x="444" y="185"/>
                  </a:lnTo>
                  <a:lnTo>
                    <a:pt x="444" y="187"/>
                  </a:lnTo>
                  <a:lnTo>
                    <a:pt x="444" y="187"/>
                  </a:lnTo>
                  <a:lnTo>
                    <a:pt x="444" y="187"/>
                  </a:lnTo>
                  <a:lnTo>
                    <a:pt x="440" y="193"/>
                  </a:lnTo>
                  <a:lnTo>
                    <a:pt x="438" y="195"/>
                  </a:lnTo>
                  <a:lnTo>
                    <a:pt x="438" y="201"/>
                  </a:lnTo>
                  <a:lnTo>
                    <a:pt x="438" y="205"/>
                  </a:lnTo>
                  <a:lnTo>
                    <a:pt x="440" y="207"/>
                  </a:lnTo>
                  <a:lnTo>
                    <a:pt x="444" y="211"/>
                  </a:lnTo>
                  <a:lnTo>
                    <a:pt x="446" y="209"/>
                  </a:lnTo>
                  <a:lnTo>
                    <a:pt x="448" y="209"/>
                  </a:lnTo>
                  <a:lnTo>
                    <a:pt x="452" y="203"/>
                  </a:lnTo>
                  <a:lnTo>
                    <a:pt x="452" y="203"/>
                  </a:lnTo>
                  <a:lnTo>
                    <a:pt x="452" y="201"/>
                  </a:lnTo>
                  <a:lnTo>
                    <a:pt x="452" y="199"/>
                  </a:lnTo>
                  <a:lnTo>
                    <a:pt x="452" y="199"/>
                  </a:lnTo>
                  <a:lnTo>
                    <a:pt x="454" y="197"/>
                  </a:lnTo>
                  <a:lnTo>
                    <a:pt x="454" y="197"/>
                  </a:lnTo>
                  <a:lnTo>
                    <a:pt x="452" y="195"/>
                  </a:lnTo>
                  <a:lnTo>
                    <a:pt x="454" y="191"/>
                  </a:lnTo>
                  <a:lnTo>
                    <a:pt x="456" y="187"/>
                  </a:lnTo>
                  <a:lnTo>
                    <a:pt x="456" y="183"/>
                  </a:lnTo>
                  <a:lnTo>
                    <a:pt x="458" y="183"/>
                  </a:lnTo>
                  <a:lnTo>
                    <a:pt x="458" y="183"/>
                  </a:lnTo>
                  <a:lnTo>
                    <a:pt x="458" y="183"/>
                  </a:lnTo>
                  <a:lnTo>
                    <a:pt x="460" y="183"/>
                  </a:lnTo>
                  <a:lnTo>
                    <a:pt x="460" y="183"/>
                  </a:lnTo>
                  <a:lnTo>
                    <a:pt x="460" y="183"/>
                  </a:lnTo>
                  <a:lnTo>
                    <a:pt x="460" y="181"/>
                  </a:lnTo>
                  <a:lnTo>
                    <a:pt x="460" y="181"/>
                  </a:lnTo>
                  <a:lnTo>
                    <a:pt x="460" y="179"/>
                  </a:lnTo>
                  <a:lnTo>
                    <a:pt x="460" y="179"/>
                  </a:lnTo>
                  <a:lnTo>
                    <a:pt x="462" y="179"/>
                  </a:lnTo>
                  <a:lnTo>
                    <a:pt x="462" y="179"/>
                  </a:lnTo>
                  <a:lnTo>
                    <a:pt x="462" y="177"/>
                  </a:lnTo>
                  <a:lnTo>
                    <a:pt x="460" y="175"/>
                  </a:lnTo>
                  <a:lnTo>
                    <a:pt x="458" y="173"/>
                  </a:lnTo>
                  <a:lnTo>
                    <a:pt x="460" y="173"/>
                  </a:lnTo>
                  <a:lnTo>
                    <a:pt x="460" y="173"/>
                  </a:lnTo>
                  <a:lnTo>
                    <a:pt x="462" y="175"/>
                  </a:lnTo>
                  <a:lnTo>
                    <a:pt x="462" y="173"/>
                  </a:lnTo>
                  <a:lnTo>
                    <a:pt x="462" y="170"/>
                  </a:lnTo>
                  <a:lnTo>
                    <a:pt x="460" y="170"/>
                  </a:lnTo>
                  <a:lnTo>
                    <a:pt x="460" y="168"/>
                  </a:lnTo>
                  <a:lnTo>
                    <a:pt x="462" y="166"/>
                  </a:lnTo>
                  <a:lnTo>
                    <a:pt x="462" y="164"/>
                  </a:lnTo>
                  <a:lnTo>
                    <a:pt x="460" y="164"/>
                  </a:lnTo>
                  <a:lnTo>
                    <a:pt x="460" y="164"/>
                  </a:lnTo>
                  <a:lnTo>
                    <a:pt x="462" y="164"/>
                  </a:lnTo>
                  <a:lnTo>
                    <a:pt x="462" y="164"/>
                  </a:lnTo>
                  <a:lnTo>
                    <a:pt x="466" y="166"/>
                  </a:lnTo>
                  <a:lnTo>
                    <a:pt x="466" y="162"/>
                  </a:lnTo>
                  <a:lnTo>
                    <a:pt x="466" y="162"/>
                  </a:lnTo>
                  <a:lnTo>
                    <a:pt x="466" y="162"/>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I</a:t>
              </a:r>
            </a:p>
          </p:txBody>
        </p:sp>
        <p:sp>
          <p:nvSpPr>
            <p:cNvPr id="87" name="Freeform 8">
              <a:extLst>
                <a:ext uri="{FF2B5EF4-FFF2-40B4-BE49-F238E27FC236}">
                  <a16:creationId xmlns:a16="http://schemas.microsoft.com/office/drawing/2014/main" id="{5B2914DC-E788-46D1-B20D-B9B3DA8888E4}"/>
                </a:ext>
              </a:extLst>
            </p:cNvPr>
            <p:cNvSpPr>
              <a:spLocks noEditPoints="1"/>
            </p:cNvSpPr>
            <p:nvPr/>
          </p:nvSpPr>
          <p:spPr bwMode="auto">
            <a:xfrm>
              <a:off x="860" y="0"/>
              <a:ext cx="587" cy="387"/>
            </a:xfrm>
            <a:custGeom>
              <a:avLst/>
              <a:gdLst>
                <a:gd name="T0" fmla="*/ 147 w 587"/>
                <a:gd name="T1" fmla="*/ 57 h 387"/>
                <a:gd name="T2" fmla="*/ 137 w 587"/>
                <a:gd name="T3" fmla="*/ 37 h 387"/>
                <a:gd name="T4" fmla="*/ 149 w 587"/>
                <a:gd name="T5" fmla="*/ 35 h 387"/>
                <a:gd name="T6" fmla="*/ 149 w 587"/>
                <a:gd name="T7" fmla="*/ 94 h 387"/>
                <a:gd name="T8" fmla="*/ 149 w 587"/>
                <a:gd name="T9" fmla="*/ 27 h 387"/>
                <a:gd name="T10" fmla="*/ 143 w 587"/>
                <a:gd name="T11" fmla="*/ 43 h 387"/>
                <a:gd name="T12" fmla="*/ 149 w 587"/>
                <a:gd name="T13" fmla="*/ 78 h 387"/>
                <a:gd name="T14" fmla="*/ 166 w 587"/>
                <a:gd name="T15" fmla="*/ 111 h 387"/>
                <a:gd name="T16" fmla="*/ 161 w 587"/>
                <a:gd name="T17" fmla="*/ 103 h 387"/>
                <a:gd name="T18" fmla="*/ 163 w 587"/>
                <a:gd name="T19" fmla="*/ 76 h 387"/>
                <a:gd name="T20" fmla="*/ 163 w 587"/>
                <a:gd name="T21" fmla="*/ 35 h 387"/>
                <a:gd name="T22" fmla="*/ 161 w 587"/>
                <a:gd name="T23" fmla="*/ 43 h 387"/>
                <a:gd name="T24" fmla="*/ 159 w 587"/>
                <a:gd name="T25" fmla="*/ 172 h 387"/>
                <a:gd name="T26" fmla="*/ 149 w 587"/>
                <a:gd name="T27" fmla="*/ 174 h 387"/>
                <a:gd name="T28" fmla="*/ 155 w 587"/>
                <a:gd name="T29" fmla="*/ 146 h 387"/>
                <a:gd name="T30" fmla="*/ 127 w 587"/>
                <a:gd name="T31" fmla="*/ 191 h 387"/>
                <a:gd name="T32" fmla="*/ 114 w 587"/>
                <a:gd name="T33" fmla="*/ 180 h 387"/>
                <a:gd name="T34" fmla="*/ 20 w 587"/>
                <a:gd name="T35" fmla="*/ 234 h 387"/>
                <a:gd name="T36" fmla="*/ 139 w 587"/>
                <a:gd name="T37" fmla="*/ 27 h 387"/>
                <a:gd name="T38" fmla="*/ 133 w 587"/>
                <a:gd name="T39" fmla="*/ 55 h 387"/>
                <a:gd name="T40" fmla="*/ 546 w 587"/>
                <a:gd name="T41" fmla="*/ 76 h 387"/>
                <a:gd name="T42" fmla="*/ 166 w 587"/>
                <a:gd name="T43" fmla="*/ 6 h 387"/>
                <a:gd name="T44" fmla="*/ 166 w 587"/>
                <a:gd name="T45" fmla="*/ 33 h 387"/>
                <a:gd name="T46" fmla="*/ 172 w 587"/>
                <a:gd name="T47" fmla="*/ 47 h 387"/>
                <a:gd name="T48" fmla="*/ 157 w 587"/>
                <a:gd name="T49" fmla="*/ 55 h 387"/>
                <a:gd name="T50" fmla="*/ 172 w 587"/>
                <a:gd name="T51" fmla="*/ 72 h 387"/>
                <a:gd name="T52" fmla="*/ 174 w 587"/>
                <a:gd name="T53" fmla="*/ 105 h 387"/>
                <a:gd name="T54" fmla="*/ 182 w 587"/>
                <a:gd name="T55" fmla="*/ 109 h 387"/>
                <a:gd name="T56" fmla="*/ 166 w 587"/>
                <a:gd name="T57" fmla="*/ 129 h 387"/>
                <a:gd name="T58" fmla="*/ 161 w 587"/>
                <a:gd name="T59" fmla="*/ 152 h 387"/>
                <a:gd name="T60" fmla="*/ 147 w 587"/>
                <a:gd name="T61" fmla="*/ 178 h 387"/>
                <a:gd name="T62" fmla="*/ 114 w 587"/>
                <a:gd name="T63" fmla="*/ 189 h 387"/>
                <a:gd name="T64" fmla="*/ 110 w 587"/>
                <a:gd name="T65" fmla="*/ 187 h 387"/>
                <a:gd name="T66" fmla="*/ 127 w 587"/>
                <a:gd name="T67" fmla="*/ 164 h 387"/>
                <a:gd name="T68" fmla="*/ 129 w 587"/>
                <a:gd name="T69" fmla="*/ 178 h 387"/>
                <a:gd name="T70" fmla="*/ 143 w 587"/>
                <a:gd name="T71" fmla="*/ 178 h 387"/>
                <a:gd name="T72" fmla="*/ 143 w 587"/>
                <a:gd name="T73" fmla="*/ 148 h 387"/>
                <a:gd name="T74" fmla="*/ 157 w 587"/>
                <a:gd name="T75" fmla="*/ 135 h 387"/>
                <a:gd name="T76" fmla="*/ 151 w 587"/>
                <a:gd name="T77" fmla="*/ 123 h 387"/>
                <a:gd name="T78" fmla="*/ 125 w 587"/>
                <a:gd name="T79" fmla="*/ 160 h 387"/>
                <a:gd name="T80" fmla="*/ 133 w 587"/>
                <a:gd name="T81" fmla="*/ 119 h 387"/>
                <a:gd name="T82" fmla="*/ 147 w 587"/>
                <a:gd name="T83" fmla="*/ 119 h 387"/>
                <a:gd name="T84" fmla="*/ 137 w 587"/>
                <a:gd name="T85" fmla="*/ 92 h 387"/>
                <a:gd name="T86" fmla="*/ 123 w 587"/>
                <a:gd name="T87" fmla="*/ 88 h 387"/>
                <a:gd name="T88" fmla="*/ 69 w 587"/>
                <a:gd name="T89" fmla="*/ 72 h 387"/>
                <a:gd name="T90" fmla="*/ 6 w 587"/>
                <a:gd name="T91" fmla="*/ 49 h 387"/>
                <a:gd name="T92" fmla="*/ 14 w 587"/>
                <a:gd name="T93" fmla="*/ 103 h 387"/>
                <a:gd name="T94" fmla="*/ 14 w 587"/>
                <a:gd name="T95" fmla="*/ 189 h 387"/>
                <a:gd name="T96" fmla="*/ 32 w 587"/>
                <a:gd name="T97" fmla="*/ 189 h 387"/>
                <a:gd name="T98" fmla="*/ 16 w 587"/>
                <a:gd name="T99" fmla="*/ 195 h 387"/>
                <a:gd name="T100" fmla="*/ 37 w 587"/>
                <a:gd name="T101" fmla="*/ 223 h 387"/>
                <a:gd name="T102" fmla="*/ 22 w 587"/>
                <a:gd name="T103" fmla="*/ 240 h 387"/>
                <a:gd name="T104" fmla="*/ 16 w 587"/>
                <a:gd name="T105" fmla="*/ 221 h 387"/>
                <a:gd name="T106" fmla="*/ 14 w 587"/>
                <a:gd name="T107" fmla="*/ 256 h 387"/>
                <a:gd name="T108" fmla="*/ 63 w 587"/>
                <a:gd name="T109" fmla="*/ 281 h 387"/>
                <a:gd name="T110" fmla="*/ 96 w 587"/>
                <a:gd name="T111" fmla="*/ 322 h 387"/>
                <a:gd name="T112" fmla="*/ 163 w 587"/>
                <a:gd name="T113" fmla="*/ 351 h 387"/>
                <a:gd name="T114" fmla="*/ 245 w 587"/>
                <a:gd name="T115" fmla="*/ 369 h 387"/>
                <a:gd name="T116" fmla="*/ 340 w 587"/>
                <a:gd name="T117" fmla="*/ 363 h 387"/>
                <a:gd name="T118" fmla="*/ 553 w 587"/>
                <a:gd name="T119" fmla="*/ 387 h 387"/>
                <a:gd name="T120" fmla="*/ 573 w 587"/>
                <a:gd name="T121" fmla="*/ 178 h 387"/>
                <a:gd name="T122" fmla="*/ 127 w 587"/>
                <a:gd name="T123" fmla="*/ 2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7" h="387">
                  <a:moveTo>
                    <a:pt x="151" y="51"/>
                  </a:moveTo>
                  <a:lnTo>
                    <a:pt x="149" y="51"/>
                  </a:lnTo>
                  <a:lnTo>
                    <a:pt x="149" y="51"/>
                  </a:lnTo>
                  <a:lnTo>
                    <a:pt x="147" y="51"/>
                  </a:lnTo>
                  <a:lnTo>
                    <a:pt x="147" y="51"/>
                  </a:lnTo>
                  <a:lnTo>
                    <a:pt x="149" y="51"/>
                  </a:lnTo>
                  <a:lnTo>
                    <a:pt x="149" y="53"/>
                  </a:lnTo>
                  <a:lnTo>
                    <a:pt x="149" y="53"/>
                  </a:lnTo>
                  <a:lnTo>
                    <a:pt x="149" y="53"/>
                  </a:lnTo>
                  <a:lnTo>
                    <a:pt x="149" y="55"/>
                  </a:lnTo>
                  <a:lnTo>
                    <a:pt x="149" y="55"/>
                  </a:lnTo>
                  <a:lnTo>
                    <a:pt x="149" y="55"/>
                  </a:lnTo>
                  <a:lnTo>
                    <a:pt x="149" y="53"/>
                  </a:lnTo>
                  <a:lnTo>
                    <a:pt x="151" y="53"/>
                  </a:lnTo>
                  <a:lnTo>
                    <a:pt x="151" y="53"/>
                  </a:lnTo>
                  <a:lnTo>
                    <a:pt x="151" y="51"/>
                  </a:lnTo>
                  <a:lnTo>
                    <a:pt x="151" y="51"/>
                  </a:lnTo>
                  <a:lnTo>
                    <a:pt x="151" y="51"/>
                  </a:lnTo>
                  <a:lnTo>
                    <a:pt x="151" y="51"/>
                  </a:lnTo>
                  <a:lnTo>
                    <a:pt x="151" y="51"/>
                  </a:lnTo>
                  <a:close/>
                  <a:moveTo>
                    <a:pt x="147" y="62"/>
                  </a:moveTo>
                  <a:lnTo>
                    <a:pt x="147" y="60"/>
                  </a:lnTo>
                  <a:lnTo>
                    <a:pt x="149" y="60"/>
                  </a:lnTo>
                  <a:lnTo>
                    <a:pt x="149" y="57"/>
                  </a:lnTo>
                  <a:lnTo>
                    <a:pt x="149" y="55"/>
                  </a:lnTo>
                  <a:lnTo>
                    <a:pt x="147" y="57"/>
                  </a:lnTo>
                  <a:lnTo>
                    <a:pt x="147" y="55"/>
                  </a:lnTo>
                  <a:lnTo>
                    <a:pt x="145" y="55"/>
                  </a:lnTo>
                  <a:lnTo>
                    <a:pt x="145" y="53"/>
                  </a:lnTo>
                  <a:lnTo>
                    <a:pt x="147" y="49"/>
                  </a:lnTo>
                  <a:lnTo>
                    <a:pt x="147" y="47"/>
                  </a:lnTo>
                  <a:lnTo>
                    <a:pt x="147" y="45"/>
                  </a:lnTo>
                  <a:lnTo>
                    <a:pt x="145" y="45"/>
                  </a:lnTo>
                  <a:lnTo>
                    <a:pt x="143" y="47"/>
                  </a:lnTo>
                  <a:lnTo>
                    <a:pt x="143" y="47"/>
                  </a:lnTo>
                  <a:lnTo>
                    <a:pt x="143" y="47"/>
                  </a:lnTo>
                  <a:lnTo>
                    <a:pt x="143" y="49"/>
                  </a:lnTo>
                  <a:lnTo>
                    <a:pt x="143" y="49"/>
                  </a:lnTo>
                  <a:lnTo>
                    <a:pt x="141" y="51"/>
                  </a:lnTo>
                  <a:lnTo>
                    <a:pt x="141" y="51"/>
                  </a:lnTo>
                  <a:lnTo>
                    <a:pt x="139" y="53"/>
                  </a:lnTo>
                  <a:lnTo>
                    <a:pt x="139" y="55"/>
                  </a:lnTo>
                  <a:lnTo>
                    <a:pt x="141" y="55"/>
                  </a:lnTo>
                  <a:lnTo>
                    <a:pt x="143" y="57"/>
                  </a:lnTo>
                  <a:lnTo>
                    <a:pt x="143" y="57"/>
                  </a:lnTo>
                  <a:lnTo>
                    <a:pt x="143" y="60"/>
                  </a:lnTo>
                  <a:lnTo>
                    <a:pt x="147" y="62"/>
                  </a:lnTo>
                  <a:close/>
                  <a:moveTo>
                    <a:pt x="141" y="33"/>
                  </a:moveTo>
                  <a:lnTo>
                    <a:pt x="139" y="35"/>
                  </a:lnTo>
                  <a:lnTo>
                    <a:pt x="137" y="35"/>
                  </a:lnTo>
                  <a:lnTo>
                    <a:pt x="137" y="35"/>
                  </a:lnTo>
                  <a:lnTo>
                    <a:pt x="137" y="37"/>
                  </a:lnTo>
                  <a:lnTo>
                    <a:pt x="137" y="37"/>
                  </a:lnTo>
                  <a:lnTo>
                    <a:pt x="137" y="39"/>
                  </a:lnTo>
                  <a:lnTo>
                    <a:pt x="139" y="41"/>
                  </a:lnTo>
                  <a:lnTo>
                    <a:pt x="139" y="39"/>
                  </a:lnTo>
                  <a:lnTo>
                    <a:pt x="139" y="39"/>
                  </a:lnTo>
                  <a:lnTo>
                    <a:pt x="139" y="37"/>
                  </a:lnTo>
                  <a:lnTo>
                    <a:pt x="141" y="37"/>
                  </a:lnTo>
                  <a:lnTo>
                    <a:pt x="141" y="37"/>
                  </a:lnTo>
                  <a:lnTo>
                    <a:pt x="143" y="39"/>
                  </a:lnTo>
                  <a:lnTo>
                    <a:pt x="143" y="39"/>
                  </a:lnTo>
                  <a:lnTo>
                    <a:pt x="143" y="41"/>
                  </a:lnTo>
                  <a:lnTo>
                    <a:pt x="143" y="41"/>
                  </a:lnTo>
                  <a:lnTo>
                    <a:pt x="143" y="43"/>
                  </a:lnTo>
                  <a:lnTo>
                    <a:pt x="145" y="43"/>
                  </a:lnTo>
                  <a:lnTo>
                    <a:pt x="147" y="43"/>
                  </a:lnTo>
                  <a:lnTo>
                    <a:pt x="149" y="41"/>
                  </a:lnTo>
                  <a:lnTo>
                    <a:pt x="145" y="35"/>
                  </a:lnTo>
                  <a:lnTo>
                    <a:pt x="147" y="35"/>
                  </a:lnTo>
                  <a:lnTo>
                    <a:pt x="147" y="35"/>
                  </a:lnTo>
                  <a:lnTo>
                    <a:pt x="147" y="33"/>
                  </a:lnTo>
                  <a:lnTo>
                    <a:pt x="147" y="33"/>
                  </a:lnTo>
                  <a:lnTo>
                    <a:pt x="147" y="31"/>
                  </a:lnTo>
                  <a:lnTo>
                    <a:pt x="147" y="31"/>
                  </a:lnTo>
                  <a:lnTo>
                    <a:pt x="149" y="33"/>
                  </a:lnTo>
                  <a:lnTo>
                    <a:pt x="149" y="33"/>
                  </a:lnTo>
                  <a:lnTo>
                    <a:pt x="149" y="35"/>
                  </a:lnTo>
                  <a:lnTo>
                    <a:pt x="149" y="37"/>
                  </a:lnTo>
                  <a:lnTo>
                    <a:pt x="149" y="41"/>
                  </a:lnTo>
                  <a:lnTo>
                    <a:pt x="151" y="41"/>
                  </a:lnTo>
                  <a:lnTo>
                    <a:pt x="151" y="41"/>
                  </a:lnTo>
                  <a:lnTo>
                    <a:pt x="153" y="41"/>
                  </a:lnTo>
                  <a:lnTo>
                    <a:pt x="153" y="41"/>
                  </a:lnTo>
                  <a:lnTo>
                    <a:pt x="153" y="41"/>
                  </a:lnTo>
                  <a:lnTo>
                    <a:pt x="153" y="41"/>
                  </a:lnTo>
                  <a:lnTo>
                    <a:pt x="157" y="39"/>
                  </a:lnTo>
                  <a:lnTo>
                    <a:pt x="157" y="39"/>
                  </a:lnTo>
                  <a:lnTo>
                    <a:pt x="157" y="37"/>
                  </a:lnTo>
                  <a:lnTo>
                    <a:pt x="151" y="31"/>
                  </a:lnTo>
                  <a:lnTo>
                    <a:pt x="147" y="31"/>
                  </a:lnTo>
                  <a:lnTo>
                    <a:pt x="147" y="31"/>
                  </a:lnTo>
                  <a:lnTo>
                    <a:pt x="145" y="31"/>
                  </a:lnTo>
                  <a:lnTo>
                    <a:pt x="141" y="33"/>
                  </a:lnTo>
                  <a:lnTo>
                    <a:pt x="141" y="33"/>
                  </a:lnTo>
                  <a:close/>
                  <a:moveTo>
                    <a:pt x="145" y="98"/>
                  </a:moveTo>
                  <a:lnTo>
                    <a:pt x="147" y="100"/>
                  </a:lnTo>
                  <a:lnTo>
                    <a:pt x="147" y="103"/>
                  </a:lnTo>
                  <a:lnTo>
                    <a:pt x="147" y="105"/>
                  </a:lnTo>
                  <a:lnTo>
                    <a:pt x="149" y="105"/>
                  </a:lnTo>
                  <a:lnTo>
                    <a:pt x="149" y="103"/>
                  </a:lnTo>
                  <a:lnTo>
                    <a:pt x="151" y="100"/>
                  </a:lnTo>
                  <a:lnTo>
                    <a:pt x="149" y="98"/>
                  </a:lnTo>
                  <a:lnTo>
                    <a:pt x="149" y="94"/>
                  </a:lnTo>
                  <a:lnTo>
                    <a:pt x="149" y="94"/>
                  </a:lnTo>
                  <a:lnTo>
                    <a:pt x="149" y="94"/>
                  </a:lnTo>
                  <a:lnTo>
                    <a:pt x="147" y="94"/>
                  </a:lnTo>
                  <a:lnTo>
                    <a:pt x="149" y="96"/>
                  </a:lnTo>
                  <a:lnTo>
                    <a:pt x="149" y="98"/>
                  </a:lnTo>
                  <a:lnTo>
                    <a:pt x="149" y="100"/>
                  </a:lnTo>
                  <a:lnTo>
                    <a:pt x="147" y="100"/>
                  </a:lnTo>
                  <a:lnTo>
                    <a:pt x="147" y="98"/>
                  </a:lnTo>
                  <a:lnTo>
                    <a:pt x="147" y="96"/>
                  </a:lnTo>
                  <a:lnTo>
                    <a:pt x="147" y="96"/>
                  </a:lnTo>
                  <a:lnTo>
                    <a:pt x="147" y="96"/>
                  </a:lnTo>
                  <a:lnTo>
                    <a:pt x="147" y="96"/>
                  </a:lnTo>
                  <a:lnTo>
                    <a:pt x="145" y="98"/>
                  </a:lnTo>
                  <a:close/>
                  <a:moveTo>
                    <a:pt x="147" y="25"/>
                  </a:moveTo>
                  <a:lnTo>
                    <a:pt x="147" y="25"/>
                  </a:lnTo>
                  <a:lnTo>
                    <a:pt x="147" y="27"/>
                  </a:lnTo>
                  <a:lnTo>
                    <a:pt x="147" y="27"/>
                  </a:lnTo>
                  <a:lnTo>
                    <a:pt x="147" y="27"/>
                  </a:lnTo>
                  <a:lnTo>
                    <a:pt x="147" y="27"/>
                  </a:lnTo>
                  <a:lnTo>
                    <a:pt x="147" y="27"/>
                  </a:lnTo>
                  <a:lnTo>
                    <a:pt x="149" y="27"/>
                  </a:lnTo>
                  <a:lnTo>
                    <a:pt x="147" y="27"/>
                  </a:lnTo>
                  <a:lnTo>
                    <a:pt x="149" y="27"/>
                  </a:lnTo>
                  <a:lnTo>
                    <a:pt x="149" y="27"/>
                  </a:lnTo>
                  <a:lnTo>
                    <a:pt x="149" y="27"/>
                  </a:lnTo>
                  <a:lnTo>
                    <a:pt x="149" y="27"/>
                  </a:lnTo>
                  <a:lnTo>
                    <a:pt x="149" y="27"/>
                  </a:lnTo>
                  <a:lnTo>
                    <a:pt x="147" y="25"/>
                  </a:lnTo>
                  <a:lnTo>
                    <a:pt x="149" y="25"/>
                  </a:lnTo>
                  <a:lnTo>
                    <a:pt x="149" y="25"/>
                  </a:lnTo>
                  <a:lnTo>
                    <a:pt x="149" y="25"/>
                  </a:lnTo>
                  <a:lnTo>
                    <a:pt x="149" y="25"/>
                  </a:lnTo>
                  <a:lnTo>
                    <a:pt x="149" y="25"/>
                  </a:lnTo>
                  <a:lnTo>
                    <a:pt x="147" y="25"/>
                  </a:lnTo>
                  <a:lnTo>
                    <a:pt x="147" y="25"/>
                  </a:lnTo>
                  <a:lnTo>
                    <a:pt x="147" y="25"/>
                  </a:lnTo>
                  <a:lnTo>
                    <a:pt x="147" y="25"/>
                  </a:lnTo>
                  <a:lnTo>
                    <a:pt x="147" y="25"/>
                  </a:lnTo>
                  <a:close/>
                  <a:moveTo>
                    <a:pt x="139" y="45"/>
                  </a:moveTo>
                  <a:lnTo>
                    <a:pt x="139" y="45"/>
                  </a:lnTo>
                  <a:lnTo>
                    <a:pt x="141" y="45"/>
                  </a:lnTo>
                  <a:lnTo>
                    <a:pt x="141" y="45"/>
                  </a:lnTo>
                  <a:lnTo>
                    <a:pt x="141" y="45"/>
                  </a:lnTo>
                  <a:lnTo>
                    <a:pt x="141" y="45"/>
                  </a:lnTo>
                  <a:lnTo>
                    <a:pt x="141" y="45"/>
                  </a:lnTo>
                  <a:lnTo>
                    <a:pt x="143" y="45"/>
                  </a:lnTo>
                  <a:lnTo>
                    <a:pt x="143" y="45"/>
                  </a:lnTo>
                  <a:lnTo>
                    <a:pt x="143" y="45"/>
                  </a:lnTo>
                  <a:lnTo>
                    <a:pt x="143" y="45"/>
                  </a:lnTo>
                  <a:lnTo>
                    <a:pt x="143" y="45"/>
                  </a:lnTo>
                  <a:lnTo>
                    <a:pt x="143" y="43"/>
                  </a:lnTo>
                  <a:lnTo>
                    <a:pt x="143" y="43"/>
                  </a:lnTo>
                  <a:lnTo>
                    <a:pt x="143" y="43"/>
                  </a:lnTo>
                  <a:lnTo>
                    <a:pt x="143" y="43"/>
                  </a:lnTo>
                  <a:lnTo>
                    <a:pt x="143" y="43"/>
                  </a:lnTo>
                  <a:lnTo>
                    <a:pt x="143" y="43"/>
                  </a:lnTo>
                  <a:lnTo>
                    <a:pt x="143" y="43"/>
                  </a:lnTo>
                  <a:lnTo>
                    <a:pt x="141" y="43"/>
                  </a:lnTo>
                  <a:lnTo>
                    <a:pt x="143" y="43"/>
                  </a:lnTo>
                  <a:lnTo>
                    <a:pt x="143" y="43"/>
                  </a:lnTo>
                  <a:lnTo>
                    <a:pt x="141" y="41"/>
                  </a:lnTo>
                  <a:lnTo>
                    <a:pt x="141" y="41"/>
                  </a:lnTo>
                  <a:lnTo>
                    <a:pt x="137" y="41"/>
                  </a:lnTo>
                  <a:lnTo>
                    <a:pt x="137" y="41"/>
                  </a:lnTo>
                  <a:lnTo>
                    <a:pt x="137" y="41"/>
                  </a:lnTo>
                  <a:lnTo>
                    <a:pt x="137" y="41"/>
                  </a:lnTo>
                  <a:lnTo>
                    <a:pt x="137" y="43"/>
                  </a:lnTo>
                  <a:lnTo>
                    <a:pt x="137" y="43"/>
                  </a:lnTo>
                  <a:lnTo>
                    <a:pt x="139" y="43"/>
                  </a:lnTo>
                  <a:lnTo>
                    <a:pt x="139" y="43"/>
                  </a:lnTo>
                  <a:lnTo>
                    <a:pt x="139" y="45"/>
                  </a:lnTo>
                  <a:close/>
                  <a:moveTo>
                    <a:pt x="163" y="66"/>
                  </a:moveTo>
                  <a:lnTo>
                    <a:pt x="163" y="66"/>
                  </a:lnTo>
                  <a:lnTo>
                    <a:pt x="161" y="68"/>
                  </a:lnTo>
                  <a:lnTo>
                    <a:pt x="161" y="68"/>
                  </a:lnTo>
                  <a:lnTo>
                    <a:pt x="159" y="68"/>
                  </a:lnTo>
                  <a:lnTo>
                    <a:pt x="157" y="70"/>
                  </a:lnTo>
                  <a:lnTo>
                    <a:pt x="149" y="78"/>
                  </a:lnTo>
                  <a:lnTo>
                    <a:pt x="149" y="80"/>
                  </a:lnTo>
                  <a:lnTo>
                    <a:pt x="149" y="84"/>
                  </a:lnTo>
                  <a:lnTo>
                    <a:pt x="149" y="84"/>
                  </a:lnTo>
                  <a:lnTo>
                    <a:pt x="149" y="86"/>
                  </a:lnTo>
                  <a:lnTo>
                    <a:pt x="151" y="86"/>
                  </a:lnTo>
                  <a:lnTo>
                    <a:pt x="151" y="86"/>
                  </a:lnTo>
                  <a:lnTo>
                    <a:pt x="151" y="86"/>
                  </a:lnTo>
                  <a:lnTo>
                    <a:pt x="153" y="90"/>
                  </a:lnTo>
                  <a:lnTo>
                    <a:pt x="155" y="90"/>
                  </a:lnTo>
                  <a:lnTo>
                    <a:pt x="157" y="90"/>
                  </a:lnTo>
                  <a:lnTo>
                    <a:pt x="157" y="90"/>
                  </a:lnTo>
                  <a:lnTo>
                    <a:pt x="157" y="92"/>
                  </a:lnTo>
                  <a:lnTo>
                    <a:pt x="155" y="98"/>
                  </a:lnTo>
                  <a:lnTo>
                    <a:pt x="155" y="100"/>
                  </a:lnTo>
                  <a:lnTo>
                    <a:pt x="157" y="103"/>
                  </a:lnTo>
                  <a:lnTo>
                    <a:pt x="155" y="105"/>
                  </a:lnTo>
                  <a:lnTo>
                    <a:pt x="157" y="107"/>
                  </a:lnTo>
                  <a:lnTo>
                    <a:pt x="157" y="109"/>
                  </a:lnTo>
                  <a:lnTo>
                    <a:pt x="159" y="109"/>
                  </a:lnTo>
                  <a:lnTo>
                    <a:pt x="159" y="111"/>
                  </a:lnTo>
                  <a:lnTo>
                    <a:pt x="159" y="111"/>
                  </a:lnTo>
                  <a:lnTo>
                    <a:pt x="161" y="111"/>
                  </a:lnTo>
                  <a:lnTo>
                    <a:pt x="161" y="111"/>
                  </a:lnTo>
                  <a:lnTo>
                    <a:pt x="163" y="109"/>
                  </a:lnTo>
                  <a:lnTo>
                    <a:pt x="163" y="109"/>
                  </a:lnTo>
                  <a:lnTo>
                    <a:pt x="166" y="111"/>
                  </a:lnTo>
                  <a:lnTo>
                    <a:pt x="166" y="113"/>
                  </a:lnTo>
                  <a:lnTo>
                    <a:pt x="166" y="115"/>
                  </a:lnTo>
                  <a:lnTo>
                    <a:pt x="166" y="117"/>
                  </a:lnTo>
                  <a:lnTo>
                    <a:pt x="166" y="119"/>
                  </a:lnTo>
                  <a:lnTo>
                    <a:pt x="166" y="119"/>
                  </a:lnTo>
                  <a:lnTo>
                    <a:pt x="168" y="117"/>
                  </a:lnTo>
                  <a:lnTo>
                    <a:pt x="170" y="119"/>
                  </a:lnTo>
                  <a:lnTo>
                    <a:pt x="168" y="119"/>
                  </a:lnTo>
                  <a:lnTo>
                    <a:pt x="168" y="119"/>
                  </a:lnTo>
                  <a:lnTo>
                    <a:pt x="170" y="119"/>
                  </a:lnTo>
                  <a:lnTo>
                    <a:pt x="170" y="119"/>
                  </a:lnTo>
                  <a:lnTo>
                    <a:pt x="170" y="119"/>
                  </a:lnTo>
                  <a:lnTo>
                    <a:pt x="170" y="119"/>
                  </a:lnTo>
                  <a:lnTo>
                    <a:pt x="172" y="117"/>
                  </a:lnTo>
                  <a:lnTo>
                    <a:pt x="172" y="115"/>
                  </a:lnTo>
                  <a:lnTo>
                    <a:pt x="174" y="115"/>
                  </a:lnTo>
                  <a:lnTo>
                    <a:pt x="174" y="115"/>
                  </a:lnTo>
                  <a:lnTo>
                    <a:pt x="172" y="113"/>
                  </a:lnTo>
                  <a:lnTo>
                    <a:pt x="172" y="111"/>
                  </a:lnTo>
                  <a:lnTo>
                    <a:pt x="172" y="109"/>
                  </a:lnTo>
                  <a:lnTo>
                    <a:pt x="168" y="103"/>
                  </a:lnTo>
                  <a:lnTo>
                    <a:pt x="166" y="103"/>
                  </a:lnTo>
                  <a:lnTo>
                    <a:pt x="166" y="100"/>
                  </a:lnTo>
                  <a:lnTo>
                    <a:pt x="163" y="98"/>
                  </a:lnTo>
                  <a:lnTo>
                    <a:pt x="161" y="100"/>
                  </a:lnTo>
                  <a:lnTo>
                    <a:pt x="161" y="103"/>
                  </a:lnTo>
                  <a:lnTo>
                    <a:pt x="163" y="105"/>
                  </a:lnTo>
                  <a:lnTo>
                    <a:pt x="161" y="107"/>
                  </a:lnTo>
                  <a:lnTo>
                    <a:pt x="159" y="107"/>
                  </a:lnTo>
                  <a:lnTo>
                    <a:pt x="159" y="105"/>
                  </a:lnTo>
                  <a:lnTo>
                    <a:pt x="159" y="100"/>
                  </a:lnTo>
                  <a:lnTo>
                    <a:pt x="161" y="94"/>
                  </a:lnTo>
                  <a:lnTo>
                    <a:pt x="161" y="90"/>
                  </a:lnTo>
                  <a:lnTo>
                    <a:pt x="161" y="88"/>
                  </a:lnTo>
                  <a:lnTo>
                    <a:pt x="159" y="86"/>
                  </a:lnTo>
                  <a:lnTo>
                    <a:pt x="157" y="84"/>
                  </a:lnTo>
                  <a:lnTo>
                    <a:pt x="157" y="84"/>
                  </a:lnTo>
                  <a:lnTo>
                    <a:pt x="155" y="82"/>
                  </a:lnTo>
                  <a:lnTo>
                    <a:pt x="155" y="82"/>
                  </a:lnTo>
                  <a:lnTo>
                    <a:pt x="153" y="82"/>
                  </a:lnTo>
                  <a:lnTo>
                    <a:pt x="151" y="82"/>
                  </a:lnTo>
                  <a:lnTo>
                    <a:pt x="151" y="80"/>
                  </a:lnTo>
                  <a:lnTo>
                    <a:pt x="155" y="82"/>
                  </a:lnTo>
                  <a:lnTo>
                    <a:pt x="157" y="80"/>
                  </a:lnTo>
                  <a:lnTo>
                    <a:pt x="157" y="80"/>
                  </a:lnTo>
                  <a:lnTo>
                    <a:pt x="157" y="78"/>
                  </a:lnTo>
                  <a:lnTo>
                    <a:pt x="157" y="76"/>
                  </a:lnTo>
                  <a:lnTo>
                    <a:pt x="159" y="80"/>
                  </a:lnTo>
                  <a:lnTo>
                    <a:pt x="159" y="78"/>
                  </a:lnTo>
                  <a:lnTo>
                    <a:pt x="161" y="76"/>
                  </a:lnTo>
                  <a:lnTo>
                    <a:pt x="161" y="76"/>
                  </a:lnTo>
                  <a:lnTo>
                    <a:pt x="163" y="76"/>
                  </a:lnTo>
                  <a:lnTo>
                    <a:pt x="163" y="78"/>
                  </a:lnTo>
                  <a:lnTo>
                    <a:pt x="166" y="78"/>
                  </a:lnTo>
                  <a:lnTo>
                    <a:pt x="166" y="78"/>
                  </a:lnTo>
                  <a:lnTo>
                    <a:pt x="168" y="78"/>
                  </a:lnTo>
                  <a:lnTo>
                    <a:pt x="168" y="76"/>
                  </a:lnTo>
                  <a:lnTo>
                    <a:pt x="163" y="72"/>
                  </a:lnTo>
                  <a:lnTo>
                    <a:pt x="163" y="70"/>
                  </a:lnTo>
                  <a:lnTo>
                    <a:pt x="163" y="68"/>
                  </a:lnTo>
                  <a:lnTo>
                    <a:pt x="163" y="68"/>
                  </a:lnTo>
                  <a:lnTo>
                    <a:pt x="163" y="68"/>
                  </a:lnTo>
                  <a:lnTo>
                    <a:pt x="163" y="66"/>
                  </a:lnTo>
                  <a:close/>
                  <a:moveTo>
                    <a:pt x="168" y="35"/>
                  </a:moveTo>
                  <a:lnTo>
                    <a:pt x="168" y="35"/>
                  </a:lnTo>
                  <a:lnTo>
                    <a:pt x="166" y="35"/>
                  </a:lnTo>
                  <a:lnTo>
                    <a:pt x="166" y="35"/>
                  </a:lnTo>
                  <a:lnTo>
                    <a:pt x="166" y="35"/>
                  </a:lnTo>
                  <a:lnTo>
                    <a:pt x="168" y="37"/>
                  </a:lnTo>
                  <a:lnTo>
                    <a:pt x="170" y="37"/>
                  </a:lnTo>
                  <a:lnTo>
                    <a:pt x="170" y="35"/>
                  </a:lnTo>
                  <a:lnTo>
                    <a:pt x="170" y="35"/>
                  </a:lnTo>
                  <a:lnTo>
                    <a:pt x="168" y="33"/>
                  </a:lnTo>
                  <a:lnTo>
                    <a:pt x="168" y="35"/>
                  </a:lnTo>
                  <a:lnTo>
                    <a:pt x="168" y="35"/>
                  </a:lnTo>
                  <a:lnTo>
                    <a:pt x="168" y="35"/>
                  </a:lnTo>
                  <a:lnTo>
                    <a:pt x="168" y="35"/>
                  </a:lnTo>
                  <a:close/>
                  <a:moveTo>
                    <a:pt x="163" y="35"/>
                  </a:moveTo>
                  <a:lnTo>
                    <a:pt x="163" y="31"/>
                  </a:lnTo>
                  <a:lnTo>
                    <a:pt x="161" y="31"/>
                  </a:lnTo>
                  <a:lnTo>
                    <a:pt x="161" y="31"/>
                  </a:lnTo>
                  <a:lnTo>
                    <a:pt x="161" y="33"/>
                  </a:lnTo>
                  <a:lnTo>
                    <a:pt x="161" y="33"/>
                  </a:lnTo>
                  <a:lnTo>
                    <a:pt x="163" y="37"/>
                  </a:lnTo>
                  <a:lnTo>
                    <a:pt x="163" y="39"/>
                  </a:lnTo>
                  <a:lnTo>
                    <a:pt x="166" y="39"/>
                  </a:lnTo>
                  <a:lnTo>
                    <a:pt x="166" y="41"/>
                  </a:lnTo>
                  <a:lnTo>
                    <a:pt x="168" y="41"/>
                  </a:lnTo>
                  <a:lnTo>
                    <a:pt x="168" y="41"/>
                  </a:lnTo>
                  <a:lnTo>
                    <a:pt x="168" y="41"/>
                  </a:lnTo>
                  <a:lnTo>
                    <a:pt x="168" y="39"/>
                  </a:lnTo>
                  <a:lnTo>
                    <a:pt x="168" y="37"/>
                  </a:lnTo>
                  <a:lnTo>
                    <a:pt x="168" y="37"/>
                  </a:lnTo>
                  <a:lnTo>
                    <a:pt x="166" y="37"/>
                  </a:lnTo>
                  <a:lnTo>
                    <a:pt x="166" y="35"/>
                  </a:lnTo>
                  <a:lnTo>
                    <a:pt x="163" y="35"/>
                  </a:lnTo>
                  <a:close/>
                  <a:moveTo>
                    <a:pt x="161" y="43"/>
                  </a:moveTo>
                  <a:lnTo>
                    <a:pt x="161" y="43"/>
                  </a:lnTo>
                  <a:lnTo>
                    <a:pt x="163" y="45"/>
                  </a:lnTo>
                  <a:lnTo>
                    <a:pt x="163" y="43"/>
                  </a:lnTo>
                  <a:lnTo>
                    <a:pt x="163" y="43"/>
                  </a:lnTo>
                  <a:lnTo>
                    <a:pt x="163" y="43"/>
                  </a:lnTo>
                  <a:lnTo>
                    <a:pt x="161" y="43"/>
                  </a:lnTo>
                  <a:lnTo>
                    <a:pt x="161" y="43"/>
                  </a:lnTo>
                  <a:close/>
                  <a:moveTo>
                    <a:pt x="159" y="45"/>
                  </a:moveTo>
                  <a:lnTo>
                    <a:pt x="159" y="45"/>
                  </a:lnTo>
                  <a:lnTo>
                    <a:pt x="159" y="43"/>
                  </a:lnTo>
                  <a:lnTo>
                    <a:pt x="157" y="43"/>
                  </a:lnTo>
                  <a:lnTo>
                    <a:pt x="157" y="45"/>
                  </a:lnTo>
                  <a:lnTo>
                    <a:pt x="157" y="47"/>
                  </a:lnTo>
                  <a:lnTo>
                    <a:pt x="157" y="49"/>
                  </a:lnTo>
                  <a:lnTo>
                    <a:pt x="157" y="49"/>
                  </a:lnTo>
                  <a:lnTo>
                    <a:pt x="159" y="51"/>
                  </a:lnTo>
                  <a:lnTo>
                    <a:pt x="159" y="51"/>
                  </a:lnTo>
                  <a:lnTo>
                    <a:pt x="159" y="49"/>
                  </a:lnTo>
                  <a:lnTo>
                    <a:pt x="159" y="49"/>
                  </a:lnTo>
                  <a:lnTo>
                    <a:pt x="161" y="49"/>
                  </a:lnTo>
                  <a:lnTo>
                    <a:pt x="161" y="47"/>
                  </a:lnTo>
                  <a:lnTo>
                    <a:pt x="161" y="47"/>
                  </a:lnTo>
                  <a:lnTo>
                    <a:pt x="159" y="45"/>
                  </a:lnTo>
                  <a:lnTo>
                    <a:pt x="159" y="45"/>
                  </a:lnTo>
                  <a:close/>
                  <a:moveTo>
                    <a:pt x="153" y="172"/>
                  </a:moveTo>
                  <a:lnTo>
                    <a:pt x="151" y="172"/>
                  </a:lnTo>
                  <a:lnTo>
                    <a:pt x="151" y="172"/>
                  </a:lnTo>
                  <a:lnTo>
                    <a:pt x="151" y="174"/>
                  </a:lnTo>
                  <a:lnTo>
                    <a:pt x="151" y="176"/>
                  </a:lnTo>
                  <a:lnTo>
                    <a:pt x="153" y="174"/>
                  </a:lnTo>
                  <a:lnTo>
                    <a:pt x="155" y="172"/>
                  </a:lnTo>
                  <a:lnTo>
                    <a:pt x="159" y="172"/>
                  </a:lnTo>
                  <a:lnTo>
                    <a:pt x="159" y="172"/>
                  </a:lnTo>
                  <a:lnTo>
                    <a:pt x="159" y="170"/>
                  </a:lnTo>
                  <a:lnTo>
                    <a:pt x="157" y="170"/>
                  </a:lnTo>
                  <a:lnTo>
                    <a:pt x="155" y="168"/>
                  </a:lnTo>
                  <a:lnTo>
                    <a:pt x="155" y="166"/>
                  </a:lnTo>
                  <a:lnTo>
                    <a:pt x="155" y="166"/>
                  </a:lnTo>
                  <a:lnTo>
                    <a:pt x="155" y="164"/>
                  </a:lnTo>
                  <a:lnTo>
                    <a:pt x="155" y="162"/>
                  </a:lnTo>
                  <a:lnTo>
                    <a:pt x="155" y="162"/>
                  </a:lnTo>
                  <a:lnTo>
                    <a:pt x="155" y="162"/>
                  </a:lnTo>
                  <a:lnTo>
                    <a:pt x="155" y="160"/>
                  </a:lnTo>
                  <a:lnTo>
                    <a:pt x="155" y="160"/>
                  </a:lnTo>
                  <a:lnTo>
                    <a:pt x="155" y="160"/>
                  </a:lnTo>
                  <a:lnTo>
                    <a:pt x="153" y="160"/>
                  </a:lnTo>
                  <a:lnTo>
                    <a:pt x="151" y="162"/>
                  </a:lnTo>
                  <a:lnTo>
                    <a:pt x="151" y="162"/>
                  </a:lnTo>
                  <a:lnTo>
                    <a:pt x="149" y="170"/>
                  </a:lnTo>
                  <a:lnTo>
                    <a:pt x="147" y="170"/>
                  </a:lnTo>
                  <a:lnTo>
                    <a:pt x="147" y="172"/>
                  </a:lnTo>
                  <a:lnTo>
                    <a:pt x="147" y="172"/>
                  </a:lnTo>
                  <a:lnTo>
                    <a:pt x="147" y="174"/>
                  </a:lnTo>
                  <a:lnTo>
                    <a:pt x="147" y="174"/>
                  </a:lnTo>
                  <a:lnTo>
                    <a:pt x="147" y="174"/>
                  </a:lnTo>
                  <a:lnTo>
                    <a:pt x="149" y="176"/>
                  </a:lnTo>
                  <a:lnTo>
                    <a:pt x="149" y="174"/>
                  </a:lnTo>
                  <a:lnTo>
                    <a:pt x="149" y="174"/>
                  </a:lnTo>
                  <a:lnTo>
                    <a:pt x="149" y="174"/>
                  </a:lnTo>
                  <a:lnTo>
                    <a:pt x="151" y="172"/>
                  </a:lnTo>
                  <a:lnTo>
                    <a:pt x="151" y="170"/>
                  </a:lnTo>
                  <a:lnTo>
                    <a:pt x="151" y="170"/>
                  </a:lnTo>
                  <a:lnTo>
                    <a:pt x="153" y="170"/>
                  </a:lnTo>
                  <a:lnTo>
                    <a:pt x="153" y="170"/>
                  </a:lnTo>
                  <a:lnTo>
                    <a:pt x="153" y="170"/>
                  </a:lnTo>
                  <a:lnTo>
                    <a:pt x="155" y="170"/>
                  </a:lnTo>
                  <a:lnTo>
                    <a:pt x="153" y="170"/>
                  </a:lnTo>
                  <a:lnTo>
                    <a:pt x="153" y="172"/>
                  </a:lnTo>
                  <a:close/>
                  <a:moveTo>
                    <a:pt x="149" y="148"/>
                  </a:moveTo>
                  <a:lnTo>
                    <a:pt x="149" y="148"/>
                  </a:lnTo>
                  <a:lnTo>
                    <a:pt x="149" y="148"/>
                  </a:lnTo>
                  <a:lnTo>
                    <a:pt x="151" y="148"/>
                  </a:lnTo>
                  <a:lnTo>
                    <a:pt x="151" y="150"/>
                  </a:lnTo>
                  <a:lnTo>
                    <a:pt x="153" y="152"/>
                  </a:lnTo>
                  <a:lnTo>
                    <a:pt x="155" y="150"/>
                  </a:lnTo>
                  <a:lnTo>
                    <a:pt x="155" y="150"/>
                  </a:lnTo>
                  <a:lnTo>
                    <a:pt x="155" y="150"/>
                  </a:lnTo>
                  <a:lnTo>
                    <a:pt x="155" y="150"/>
                  </a:lnTo>
                  <a:lnTo>
                    <a:pt x="155" y="148"/>
                  </a:lnTo>
                  <a:lnTo>
                    <a:pt x="155" y="148"/>
                  </a:lnTo>
                  <a:lnTo>
                    <a:pt x="155" y="148"/>
                  </a:lnTo>
                  <a:lnTo>
                    <a:pt x="155" y="146"/>
                  </a:lnTo>
                  <a:lnTo>
                    <a:pt x="153" y="146"/>
                  </a:lnTo>
                  <a:lnTo>
                    <a:pt x="155" y="146"/>
                  </a:lnTo>
                  <a:lnTo>
                    <a:pt x="155" y="146"/>
                  </a:lnTo>
                  <a:lnTo>
                    <a:pt x="155" y="144"/>
                  </a:lnTo>
                  <a:lnTo>
                    <a:pt x="155" y="144"/>
                  </a:lnTo>
                  <a:lnTo>
                    <a:pt x="155" y="141"/>
                  </a:lnTo>
                  <a:lnTo>
                    <a:pt x="155" y="137"/>
                  </a:lnTo>
                  <a:lnTo>
                    <a:pt x="155" y="137"/>
                  </a:lnTo>
                  <a:lnTo>
                    <a:pt x="155" y="137"/>
                  </a:lnTo>
                  <a:lnTo>
                    <a:pt x="153" y="135"/>
                  </a:lnTo>
                  <a:lnTo>
                    <a:pt x="153" y="135"/>
                  </a:lnTo>
                  <a:lnTo>
                    <a:pt x="153" y="135"/>
                  </a:lnTo>
                  <a:lnTo>
                    <a:pt x="151" y="137"/>
                  </a:lnTo>
                  <a:lnTo>
                    <a:pt x="151" y="137"/>
                  </a:lnTo>
                  <a:lnTo>
                    <a:pt x="151" y="139"/>
                  </a:lnTo>
                  <a:lnTo>
                    <a:pt x="149" y="139"/>
                  </a:lnTo>
                  <a:lnTo>
                    <a:pt x="149" y="141"/>
                  </a:lnTo>
                  <a:lnTo>
                    <a:pt x="149" y="141"/>
                  </a:lnTo>
                  <a:lnTo>
                    <a:pt x="149" y="144"/>
                  </a:lnTo>
                  <a:lnTo>
                    <a:pt x="149" y="144"/>
                  </a:lnTo>
                  <a:lnTo>
                    <a:pt x="149" y="146"/>
                  </a:lnTo>
                  <a:lnTo>
                    <a:pt x="149" y="148"/>
                  </a:lnTo>
                  <a:close/>
                  <a:moveTo>
                    <a:pt x="131" y="187"/>
                  </a:moveTo>
                  <a:lnTo>
                    <a:pt x="129" y="187"/>
                  </a:lnTo>
                  <a:lnTo>
                    <a:pt x="129" y="189"/>
                  </a:lnTo>
                  <a:lnTo>
                    <a:pt x="129" y="189"/>
                  </a:lnTo>
                  <a:lnTo>
                    <a:pt x="127" y="189"/>
                  </a:lnTo>
                  <a:lnTo>
                    <a:pt x="127" y="189"/>
                  </a:lnTo>
                  <a:lnTo>
                    <a:pt x="127" y="191"/>
                  </a:lnTo>
                  <a:lnTo>
                    <a:pt x="127" y="191"/>
                  </a:lnTo>
                  <a:lnTo>
                    <a:pt x="127" y="193"/>
                  </a:lnTo>
                  <a:lnTo>
                    <a:pt x="129" y="193"/>
                  </a:lnTo>
                  <a:lnTo>
                    <a:pt x="129" y="193"/>
                  </a:lnTo>
                  <a:lnTo>
                    <a:pt x="129" y="193"/>
                  </a:lnTo>
                  <a:lnTo>
                    <a:pt x="131" y="193"/>
                  </a:lnTo>
                  <a:lnTo>
                    <a:pt x="131" y="193"/>
                  </a:lnTo>
                  <a:lnTo>
                    <a:pt x="133" y="191"/>
                  </a:lnTo>
                  <a:lnTo>
                    <a:pt x="133" y="189"/>
                  </a:lnTo>
                  <a:lnTo>
                    <a:pt x="133" y="189"/>
                  </a:lnTo>
                  <a:lnTo>
                    <a:pt x="131" y="189"/>
                  </a:lnTo>
                  <a:lnTo>
                    <a:pt x="131" y="187"/>
                  </a:lnTo>
                  <a:close/>
                  <a:moveTo>
                    <a:pt x="120" y="176"/>
                  </a:moveTo>
                  <a:lnTo>
                    <a:pt x="120" y="174"/>
                  </a:lnTo>
                  <a:lnTo>
                    <a:pt x="120" y="174"/>
                  </a:lnTo>
                  <a:lnTo>
                    <a:pt x="123" y="174"/>
                  </a:lnTo>
                  <a:lnTo>
                    <a:pt x="120" y="174"/>
                  </a:lnTo>
                  <a:lnTo>
                    <a:pt x="120" y="174"/>
                  </a:lnTo>
                  <a:lnTo>
                    <a:pt x="118" y="174"/>
                  </a:lnTo>
                  <a:lnTo>
                    <a:pt x="118" y="174"/>
                  </a:lnTo>
                  <a:lnTo>
                    <a:pt x="116" y="174"/>
                  </a:lnTo>
                  <a:lnTo>
                    <a:pt x="116" y="174"/>
                  </a:lnTo>
                  <a:lnTo>
                    <a:pt x="116" y="176"/>
                  </a:lnTo>
                  <a:lnTo>
                    <a:pt x="114" y="178"/>
                  </a:lnTo>
                  <a:lnTo>
                    <a:pt x="114" y="178"/>
                  </a:lnTo>
                  <a:lnTo>
                    <a:pt x="114" y="180"/>
                  </a:lnTo>
                  <a:lnTo>
                    <a:pt x="116" y="182"/>
                  </a:lnTo>
                  <a:lnTo>
                    <a:pt x="116" y="182"/>
                  </a:lnTo>
                  <a:lnTo>
                    <a:pt x="116" y="182"/>
                  </a:lnTo>
                  <a:lnTo>
                    <a:pt x="116" y="185"/>
                  </a:lnTo>
                  <a:lnTo>
                    <a:pt x="116" y="185"/>
                  </a:lnTo>
                  <a:lnTo>
                    <a:pt x="116" y="187"/>
                  </a:lnTo>
                  <a:lnTo>
                    <a:pt x="118" y="185"/>
                  </a:lnTo>
                  <a:lnTo>
                    <a:pt x="120" y="185"/>
                  </a:lnTo>
                  <a:lnTo>
                    <a:pt x="120" y="182"/>
                  </a:lnTo>
                  <a:lnTo>
                    <a:pt x="120" y="180"/>
                  </a:lnTo>
                  <a:lnTo>
                    <a:pt x="120" y="180"/>
                  </a:lnTo>
                  <a:lnTo>
                    <a:pt x="118" y="178"/>
                  </a:lnTo>
                  <a:lnTo>
                    <a:pt x="118" y="176"/>
                  </a:lnTo>
                  <a:lnTo>
                    <a:pt x="120" y="176"/>
                  </a:lnTo>
                  <a:close/>
                  <a:moveTo>
                    <a:pt x="18" y="238"/>
                  </a:moveTo>
                  <a:lnTo>
                    <a:pt x="18" y="238"/>
                  </a:lnTo>
                  <a:lnTo>
                    <a:pt x="18" y="240"/>
                  </a:lnTo>
                  <a:lnTo>
                    <a:pt x="20" y="244"/>
                  </a:lnTo>
                  <a:lnTo>
                    <a:pt x="20" y="242"/>
                  </a:lnTo>
                  <a:lnTo>
                    <a:pt x="20" y="242"/>
                  </a:lnTo>
                  <a:lnTo>
                    <a:pt x="22" y="240"/>
                  </a:lnTo>
                  <a:lnTo>
                    <a:pt x="22" y="238"/>
                  </a:lnTo>
                  <a:lnTo>
                    <a:pt x="20" y="236"/>
                  </a:lnTo>
                  <a:lnTo>
                    <a:pt x="20" y="236"/>
                  </a:lnTo>
                  <a:lnTo>
                    <a:pt x="20" y="236"/>
                  </a:lnTo>
                  <a:lnTo>
                    <a:pt x="20" y="234"/>
                  </a:lnTo>
                  <a:lnTo>
                    <a:pt x="20" y="234"/>
                  </a:lnTo>
                  <a:lnTo>
                    <a:pt x="18" y="236"/>
                  </a:lnTo>
                  <a:lnTo>
                    <a:pt x="18" y="236"/>
                  </a:lnTo>
                  <a:lnTo>
                    <a:pt x="18" y="238"/>
                  </a:lnTo>
                  <a:lnTo>
                    <a:pt x="18" y="238"/>
                  </a:lnTo>
                  <a:close/>
                  <a:moveTo>
                    <a:pt x="127" y="33"/>
                  </a:moveTo>
                  <a:lnTo>
                    <a:pt x="129" y="33"/>
                  </a:lnTo>
                  <a:lnTo>
                    <a:pt x="129" y="35"/>
                  </a:lnTo>
                  <a:lnTo>
                    <a:pt x="131" y="35"/>
                  </a:lnTo>
                  <a:lnTo>
                    <a:pt x="131" y="35"/>
                  </a:lnTo>
                  <a:lnTo>
                    <a:pt x="131" y="35"/>
                  </a:lnTo>
                  <a:lnTo>
                    <a:pt x="131" y="35"/>
                  </a:lnTo>
                  <a:lnTo>
                    <a:pt x="131" y="35"/>
                  </a:lnTo>
                  <a:lnTo>
                    <a:pt x="129" y="33"/>
                  </a:lnTo>
                  <a:lnTo>
                    <a:pt x="129" y="33"/>
                  </a:lnTo>
                  <a:lnTo>
                    <a:pt x="129" y="33"/>
                  </a:lnTo>
                  <a:lnTo>
                    <a:pt x="127" y="33"/>
                  </a:lnTo>
                  <a:lnTo>
                    <a:pt x="127" y="33"/>
                  </a:lnTo>
                  <a:close/>
                  <a:moveTo>
                    <a:pt x="137" y="31"/>
                  </a:moveTo>
                  <a:lnTo>
                    <a:pt x="137" y="31"/>
                  </a:lnTo>
                  <a:lnTo>
                    <a:pt x="137" y="31"/>
                  </a:lnTo>
                  <a:lnTo>
                    <a:pt x="139" y="31"/>
                  </a:lnTo>
                  <a:lnTo>
                    <a:pt x="139" y="31"/>
                  </a:lnTo>
                  <a:lnTo>
                    <a:pt x="139" y="31"/>
                  </a:lnTo>
                  <a:lnTo>
                    <a:pt x="139" y="29"/>
                  </a:lnTo>
                  <a:lnTo>
                    <a:pt x="139" y="27"/>
                  </a:lnTo>
                  <a:lnTo>
                    <a:pt x="137" y="27"/>
                  </a:lnTo>
                  <a:lnTo>
                    <a:pt x="137" y="29"/>
                  </a:lnTo>
                  <a:lnTo>
                    <a:pt x="135" y="29"/>
                  </a:lnTo>
                  <a:lnTo>
                    <a:pt x="135" y="29"/>
                  </a:lnTo>
                  <a:lnTo>
                    <a:pt x="137" y="31"/>
                  </a:lnTo>
                  <a:lnTo>
                    <a:pt x="137" y="31"/>
                  </a:lnTo>
                  <a:close/>
                  <a:moveTo>
                    <a:pt x="129" y="37"/>
                  </a:moveTo>
                  <a:lnTo>
                    <a:pt x="127" y="37"/>
                  </a:lnTo>
                  <a:lnTo>
                    <a:pt x="125" y="37"/>
                  </a:lnTo>
                  <a:lnTo>
                    <a:pt x="125" y="39"/>
                  </a:lnTo>
                  <a:lnTo>
                    <a:pt x="125" y="39"/>
                  </a:lnTo>
                  <a:lnTo>
                    <a:pt x="125" y="43"/>
                  </a:lnTo>
                  <a:lnTo>
                    <a:pt x="125" y="47"/>
                  </a:lnTo>
                  <a:lnTo>
                    <a:pt x="125" y="47"/>
                  </a:lnTo>
                  <a:lnTo>
                    <a:pt x="125" y="49"/>
                  </a:lnTo>
                  <a:lnTo>
                    <a:pt x="127" y="49"/>
                  </a:lnTo>
                  <a:lnTo>
                    <a:pt x="127" y="49"/>
                  </a:lnTo>
                  <a:lnTo>
                    <a:pt x="129" y="51"/>
                  </a:lnTo>
                  <a:lnTo>
                    <a:pt x="129" y="51"/>
                  </a:lnTo>
                  <a:lnTo>
                    <a:pt x="131" y="51"/>
                  </a:lnTo>
                  <a:lnTo>
                    <a:pt x="131" y="51"/>
                  </a:lnTo>
                  <a:lnTo>
                    <a:pt x="131" y="51"/>
                  </a:lnTo>
                  <a:lnTo>
                    <a:pt x="133" y="53"/>
                  </a:lnTo>
                  <a:lnTo>
                    <a:pt x="133" y="53"/>
                  </a:lnTo>
                  <a:lnTo>
                    <a:pt x="133" y="53"/>
                  </a:lnTo>
                  <a:lnTo>
                    <a:pt x="133" y="55"/>
                  </a:lnTo>
                  <a:lnTo>
                    <a:pt x="135" y="55"/>
                  </a:lnTo>
                  <a:lnTo>
                    <a:pt x="135" y="55"/>
                  </a:lnTo>
                  <a:lnTo>
                    <a:pt x="137" y="55"/>
                  </a:lnTo>
                  <a:lnTo>
                    <a:pt x="137" y="55"/>
                  </a:lnTo>
                  <a:lnTo>
                    <a:pt x="137" y="55"/>
                  </a:lnTo>
                  <a:lnTo>
                    <a:pt x="137" y="53"/>
                  </a:lnTo>
                  <a:lnTo>
                    <a:pt x="135" y="53"/>
                  </a:lnTo>
                  <a:lnTo>
                    <a:pt x="135" y="53"/>
                  </a:lnTo>
                  <a:lnTo>
                    <a:pt x="135" y="49"/>
                  </a:lnTo>
                  <a:lnTo>
                    <a:pt x="135" y="49"/>
                  </a:lnTo>
                  <a:lnTo>
                    <a:pt x="135" y="49"/>
                  </a:lnTo>
                  <a:lnTo>
                    <a:pt x="135" y="49"/>
                  </a:lnTo>
                  <a:lnTo>
                    <a:pt x="137" y="49"/>
                  </a:lnTo>
                  <a:lnTo>
                    <a:pt x="137" y="49"/>
                  </a:lnTo>
                  <a:lnTo>
                    <a:pt x="137" y="47"/>
                  </a:lnTo>
                  <a:lnTo>
                    <a:pt x="139" y="47"/>
                  </a:lnTo>
                  <a:lnTo>
                    <a:pt x="137" y="45"/>
                  </a:lnTo>
                  <a:lnTo>
                    <a:pt x="135" y="43"/>
                  </a:lnTo>
                  <a:lnTo>
                    <a:pt x="133" y="41"/>
                  </a:lnTo>
                  <a:lnTo>
                    <a:pt x="133" y="41"/>
                  </a:lnTo>
                  <a:lnTo>
                    <a:pt x="131" y="39"/>
                  </a:lnTo>
                  <a:lnTo>
                    <a:pt x="131" y="37"/>
                  </a:lnTo>
                  <a:lnTo>
                    <a:pt x="129" y="37"/>
                  </a:lnTo>
                  <a:close/>
                  <a:moveTo>
                    <a:pt x="579" y="80"/>
                  </a:moveTo>
                  <a:lnTo>
                    <a:pt x="563" y="78"/>
                  </a:lnTo>
                  <a:lnTo>
                    <a:pt x="546" y="76"/>
                  </a:lnTo>
                  <a:lnTo>
                    <a:pt x="530" y="72"/>
                  </a:lnTo>
                  <a:lnTo>
                    <a:pt x="514" y="70"/>
                  </a:lnTo>
                  <a:lnTo>
                    <a:pt x="497" y="68"/>
                  </a:lnTo>
                  <a:lnTo>
                    <a:pt x="481" y="64"/>
                  </a:lnTo>
                  <a:lnTo>
                    <a:pt x="465" y="62"/>
                  </a:lnTo>
                  <a:lnTo>
                    <a:pt x="448" y="60"/>
                  </a:lnTo>
                  <a:lnTo>
                    <a:pt x="432" y="55"/>
                  </a:lnTo>
                  <a:lnTo>
                    <a:pt x="415" y="53"/>
                  </a:lnTo>
                  <a:lnTo>
                    <a:pt x="399" y="49"/>
                  </a:lnTo>
                  <a:lnTo>
                    <a:pt x="383" y="47"/>
                  </a:lnTo>
                  <a:lnTo>
                    <a:pt x="366" y="45"/>
                  </a:lnTo>
                  <a:lnTo>
                    <a:pt x="350" y="41"/>
                  </a:lnTo>
                  <a:lnTo>
                    <a:pt x="333" y="39"/>
                  </a:lnTo>
                  <a:lnTo>
                    <a:pt x="317" y="35"/>
                  </a:lnTo>
                  <a:lnTo>
                    <a:pt x="301" y="33"/>
                  </a:lnTo>
                  <a:lnTo>
                    <a:pt x="284" y="29"/>
                  </a:lnTo>
                  <a:lnTo>
                    <a:pt x="270" y="25"/>
                  </a:lnTo>
                  <a:lnTo>
                    <a:pt x="254" y="23"/>
                  </a:lnTo>
                  <a:lnTo>
                    <a:pt x="237" y="19"/>
                  </a:lnTo>
                  <a:lnTo>
                    <a:pt x="221" y="16"/>
                  </a:lnTo>
                  <a:lnTo>
                    <a:pt x="204" y="12"/>
                  </a:lnTo>
                  <a:lnTo>
                    <a:pt x="188" y="10"/>
                  </a:lnTo>
                  <a:lnTo>
                    <a:pt x="172" y="6"/>
                  </a:lnTo>
                  <a:lnTo>
                    <a:pt x="163" y="4"/>
                  </a:lnTo>
                  <a:lnTo>
                    <a:pt x="163" y="4"/>
                  </a:lnTo>
                  <a:lnTo>
                    <a:pt x="166" y="6"/>
                  </a:lnTo>
                  <a:lnTo>
                    <a:pt x="166" y="8"/>
                  </a:lnTo>
                  <a:lnTo>
                    <a:pt x="161" y="6"/>
                  </a:lnTo>
                  <a:lnTo>
                    <a:pt x="159" y="6"/>
                  </a:lnTo>
                  <a:lnTo>
                    <a:pt x="159" y="8"/>
                  </a:lnTo>
                  <a:lnTo>
                    <a:pt x="159" y="10"/>
                  </a:lnTo>
                  <a:lnTo>
                    <a:pt x="163" y="10"/>
                  </a:lnTo>
                  <a:lnTo>
                    <a:pt x="163" y="12"/>
                  </a:lnTo>
                  <a:lnTo>
                    <a:pt x="163" y="12"/>
                  </a:lnTo>
                  <a:lnTo>
                    <a:pt x="161" y="12"/>
                  </a:lnTo>
                  <a:lnTo>
                    <a:pt x="161" y="14"/>
                  </a:lnTo>
                  <a:lnTo>
                    <a:pt x="161" y="14"/>
                  </a:lnTo>
                  <a:lnTo>
                    <a:pt x="161" y="16"/>
                  </a:lnTo>
                  <a:lnTo>
                    <a:pt x="161" y="16"/>
                  </a:lnTo>
                  <a:lnTo>
                    <a:pt x="163" y="21"/>
                  </a:lnTo>
                  <a:lnTo>
                    <a:pt x="166" y="23"/>
                  </a:lnTo>
                  <a:lnTo>
                    <a:pt x="166" y="23"/>
                  </a:lnTo>
                  <a:lnTo>
                    <a:pt x="163" y="27"/>
                  </a:lnTo>
                  <a:lnTo>
                    <a:pt x="166" y="25"/>
                  </a:lnTo>
                  <a:lnTo>
                    <a:pt x="166" y="25"/>
                  </a:lnTo>
                  <a:lnTo>
                    <a:pt x="168" y="27"/>
                  </a:lnTo>
                  <a:lnTo>
                    <a:pt x="168" y="29"/>
                  </a:lnTo>
                  <a:lnTo>
                    <a:pt x="168" y="29"/>
                  </a:lnTo>
                  <a:lnTo>
                    <a:pt x="166" y="31"/>
                  </a:lnTo>
                  <a:lnTo>
                    <a:pt x="166" y="31"/>
                  </a:lnTo>
                  <a:lnTo>
                    <a:pt x="166" y="33"/>
                  </a:lnTo>
                  <a:lnTo>
                    <a:pt x="166" y="33"/>
                  </a:lnTo>
                  <a:lnTo>
                    <a:pt x="166" y="33"/>
                  </a:lnTo>
                  <a:lnTo>
                    <a:pt x="168" y="33"/>
                  </a:lnTo>
                  <a:lnTo>
                    <a:pt x="170" y="31"/>
                  </a:lnTo>
                  <a:lnTo>
                    <a:pt x="172" y="29"/>
                  </a:lnTo>
                  <a:lnTo>
                    <a:pt x="174" y="29"/>
                  </a:lnTo>
                  <a:lnTo>
                    <a:pt x="174" y="29"/>
                  </a:lnTo>
                  <a:lnTo>
                    <a:pt x="176" y="31"/>
                  </a:lnTo>
                  <a:lnTo>
                    <a:pt x="178" y="33"/>
                  </a:lnTo>
                  <a:lnTo>
                    <a:pt x="178" y="33"/>
                  </a:lnTo>
                  <a:lnTo>
                    <a:pt x="176" y="37"/>
                  </a:lnTo>
                  <a:lnTo>
                    <a:pt x="176" y="39"/>
                  </a:lnTo>
                  <a:lnTo>
                    <a:pt x="176" y="39"/>
                  </a:lnTo>
                  <a:lnTo>
                    <a:pt x="176" y="39"/>
                  </a:lnTo>
                  <a:lnTo>
                    <a:pt x="176" y="43"/>
                  </a:lnTo>
                  <a:lnTo>
                    <a:pt x="176" y="43"/>
                  </a:lnTo>
                  <a:lnTo>
                    <a:pt x="178" y="45"/>
                  </a:lnTo>
                  <a:lnTo>
                    <a:pt x="178" y="45"/>
                  </a:lnTo>
                  <a:lnTo>
                    <a:pt x="178" y="45"/>
                  </a:lnTo>
                  <a:lnTo>
                    <a:pt x="178" y="45"/>
                  </a:lnTo>
                  <a:lnTo>
                    <a:pt x="180" y="49"/>
                  </a:lnTo>
                  <a:lnTo>
                    <a:pt x="180" y="51"/>
                  </a:lnTo>
                  <a:lnTo>
                    <a:pt x="178" y="51"/>
                  </a:lnTo>
                  <a:lnTo>
                    <a:pt x="176" y="53"/>
                  </a:lnTo>
                  <a:lnTo>
                    <a:pt x="176" y="51"/>
                  </a:lnTo>
                  <a:lnTo>
                    <a:pt x="174" y="49"/>
                  </a:lnTo>
                  <a:lnTo>
                    <a:pt x="172" y="47"/>
                  </a:lnTo>
                  <a:lnTo>
                    <a:pt x="170" y="47"/>
                  </a:lnTo>
                  <a:lnTo>
                    <a:pt x="170" y="49"/>
                  </a:lnTo>
                  <a:lnTo>
                    <a:pt x="174" y="51"/>
                  </a:lnTo>
                  <a:lnTo>
                    <a:pt x="174" y="53"/>
                  </a:lnTo>
                  <a:lnTo>
                    <a:pt x="174" y="55"/>
                  </a:lnTo>
                  <a:lnTo>
                    <a:pt x="174" y="57"/>
                  </a:lnTo>
                  <a:lnTo>
                    <a:pt x="174" y="60"/>
                  </a:lnTo>
                  <a:lnTo>
                    <a:pt x="174" y="60"/>
                  </a:lnTo>
                  <a:lnTo>
                    <a:pt x="174" y="62"/>
                  </a:lnTo>
                  <a:lnTo>
                    <a:pt x="174" y="62"/>
                  </a:lnTo>
                  <a:lnTo>
                    <a:pt x="174" y="62"/>
                  </a:lnTo>
                  <a:lnTo>
                    <a:pt x="172" y="64"/>
                  </a:lnTo>
                  <a:lnTo>
                    <a:pt x="172" y="62"/>
                  </a:lnTo>
                  <a:lnTo>
                    <a:pt x="170" y="62"/>
                  </a:lnTo>
                  <a:lnTo>
                    <a:pt x="170" y="60"/>
                  </a:lnTo>
                  <a:lnTo>
                    <a:pt x="168" y="57"/>
                  </a:lnTo>
                  <a:lnTo>
                    <a:pt x="166" y="57"/>
                  </a:lnTo>
                  <a:lnTo>
                    <a:pt x="166" y="62"/>
                  </a:lnTo>
                  <a:lnTo>
                    <a:pt x="166" y="60"/>
                  </a:lnTo>
                  <a:lnTo>
                    <a:pt x="163" y="55"/>
                  </a:lnTo>
                  <a:lnTo>
                    <a:pt x="163" y="53"/>
                  </a:lnTo>
                  <a:lnTo>
                    <a:pt x="161" y="55"/>
                  </a:lnTo>
                  <a:lnTo>
                    <a:pt x="159" y="55"/>
                  </a:lnTo>
                  <a:lnTo>
                    <a:pt x="159" y="55"/>
                  </a:lnTo>
                  <a:lnTo>
                    <a:pt x="157" y="55"/>
                  </a:lnTo>
                  <a:lnTo>
                    <a:pt x="157" y="55"/>
                  </a:lnTo>
                  <a:lnTo>
                    <a:pt x="157" y="57"/>
                  </a:lnTo>
                  <a:lnTo>
                    <a:pt x="159" y="57"/>
                  </a:lnTo>
                  <a:lnTo>
                    <a:pt x="159" y="57"/>
                  </a:lnTo>
                  <a:lnTo>
                    <a:pt x="159" y="60"/>
                  </a:lnTo>
                  <a:lnTo>
                    <a:pt x="159" y="62"/>
                  </a:lnTo>
                  <a:lnTo>
                    <a:pt x="157" y="62"/>
                  </a:lnTo>
                  <a:lnTo>
                    <a:pt x="157" y="62"/>
                  </a:lnTo>
                  <a:lnTo>
                    <a:pt x="157" y="64"/>
                  </a:lnTo>
                  <a:lnTo>
                    <a:pt x="159" y="64"/>
                  </a:lnTo>
                  <a:lnTo>
                    <a:pt x="159" y="66"/>
                  </a:lnTo>
                  <a:lnTo>
                    <a:pt x="161" y="66"/>
                  </a:lnTo>
                  <a:lnTo>
                    <a:pt x="161" y="66"/>
                  </a:lnTo>
                  <a:lnTo>
                    <a:pt x="163" y="64"/>
                  </a:lnTo>
                  <a:lnTo>
                    <a:pt x="166" y="64"/>
                  </a:lnTo>
                  <a:lnTo>
                    <a:pt x="166" y="64"/>
                  </a:lnTo>
                  <a:lnTo>
                    <a:pt x="166" y="64"/>
                  </a:lnTo>
                  <a:lnTo>
                    <a:pt x="168" y="64"/>
                  </a:lnTo>
                  <a:lnTo>
                    <a:pt x="168" y="64"/>
                  </a:lnTo>
                  <a:lnTo>
                    <a:pt x="166" y="66"/>
                  </a:lnTo>
                  <a:lnTo>
                    <a:pt x="166" y="66"/>
                  </a:lnTo>
                  <a:lnTo>
                    <a:pt x="168" y="68"/>
                  </a:lnTo>
                  <a:lnTo>
                    <a:pt x="168" y="70"/>
                  </a:lnTo>
                  <a:lnTo>
                    <a:pt x="168" y="70"/>
                  </a:lnTo>
                  <a:lnTo>
                    <a:pt x="170" y="72"/>
                  </a:lnTo>
                  <a:lnTo>
                    <a:pt x="172" y="72"/>
                  </a:lnTo>
                  <a:lnTo>
                    <a:pt x="172" y="72"/>
                  </a:lnTo>
                  <a:lnTo>
                    <a:pt x="174" y="74"/>
                  </a:lnTo>
                  <a:lnTo>
                    <a:pt x="176" y="76"/>
                  </a:lnTo>
                  <a:lnTo>
                    <a:pt x="178" y="78"/>
                  </a:lnTo>
                  <a:lnTo>
                    <a:pt x="178" y="80"/>
                  </a:lnTo>
                  <a:lnTo>
                    <a:pt x="178" y="80"/>
                  </a:lnTo>
                  <a:lnTo>
                    <a:pt x="178" y="82"/>
                  </a:lnTo>
                  <a:lnTo>
                    <a:pt x="178" y="82"/>
                  </a:lnTo>
                  <a:lnTo>
                    <a:pt x="176" y="84"/>
                  </a:lnTo>
                  <a:lnTo>
                    <a:pt x="176" y="84"/>
                  </a:lnTo>
                  <a:lnTo>
                    <a:pt x="176" y="86"/>
                  </a:lnTo>
                  <a:lnTo>
                    <a:pt x="176" y="86"/>
                  </a:lnTo>
                  <a:lnTo>
                    <a:pt x="174" y="84"/>
                  </a:lnTo>
                  <a:lnTo>
                    <a:pt x="174" y="84"/>
                  </a:lnTo>
                  <a:lnTo>
                    <a:pt x="174" y="82"/>
                  </a:lnTo>
                  <a:lnTo>
                    <a:pt x="172" y="82"/>
                  </a:lnTo>
                  <a:lnTo>
                    <a:pt x="170" y="82"/>
                  </a:lnTo>
                  <a:lnTo>
                    <a:pt x="168" y="82"/>
                  </a:lnTo>
                  <a:lnTo>
                    <a:pt x="166" y="84"/>
                  </a:lnTo>
                  <a:lnTo>
                    <a:pt x="166" y="86"/>
                  </a:lnTo>
                  <a:lnTo>
                    <a:pt x="163" y="88"/>
                  </a:lnTo>
                  <a:lnTo>
                    <a:pt x="163" y="90"/>
                  </a:lnTo>
                  <a:lnTo>
                    <a:pt x="166" y="92"/>
                  </a:lnTo>
                  <a:lnTo>
                    <a:pt x="166" y="94"/>
                  </a:lnTo>
                  <a:lnTo>
                    <a:pt x="172" y="100"/>
                  </a:lnTo>
                  <a:lnTo>
                    <a:pt x="172" y="100"/>
                  </a:lnTo>
                  <a:lnTo>
                    <a:pt x="174" y="105"/>
                  </a:lnTo>
                  <a:lnTo>
                    <a:pt x="174" y="105"/>
                  </a:lnTo>
                  <a:lnTo>
                    <a:pt x="176" y="105"/>
                  </a:lnTo>
                  <a:lnTo>
                    <a:pt x="174" y="100"/>
                  </a:lnTo>
                  <a:lnTo>
                    <a:pt x="174" y="100"/>
                  </a:lnTo>
                  <a:lnTo>
                    <a:pt x="172" y="98"/>
                  </a:lnTo>
                  <a:lnTo>
                    <a:pt x="172" y="98"/>
                  </a:lnTo>
                  <a:lnTo>
                    <a:pt x="170" y="96"/>
                  </a:lnTo>
                  <a:lnTo>
                    <a:pt x="170" y="94"/>
                  </a:lnTo>
                  <a:lnTo>
                    <a:pt x="170" y="94"/>
                  </a:lnTo>
                  <a:lnTo>
                    <a:pt x="168" y="92"/>
                  </a:lnTo>
                  <a:lnTo>
                    <a:pt x="168" y="90"/>
                  </a:lnTo>
                  <a:lnTo>
                    <a:pt x="170" y="88"/>
                  </a:lnTo>
                  <a:lnTo>
                    <a:pt x="172" y="88"/>
                  </a:lnTo>
                  <a:lnTo>
                    <a:pt x="172" y="86"/>
                  </a:lnTo>
                  <a:lnTo>
                    <a:pt x="172" y="86"/>
                  </a:lnTo>
                  <a:lnTo>
                    <a:pt x="172" y="86"/>
                  </a:lnTo>
                  <a:lnTo>
                    <a:pt x="174" y="86"/>
                  </a:lnTo>
                  <a:lnTo>
                    <a:pt x="174" y="86"/>
                  </a:lnTo>
                  <a:lnTo>
                    <a:pt x="174" y="86"/>
                  </a:lnTo>
                  <a:lnTo>
                    <a:pt x="176" y="88"/>
                  </a:lnTo>
                  <a:lnTo>
                    <a:pt x="176" y="90"/>
                  </a:lnTo>
                  <a:lnTo>
                    <a:pt x="176" y="94"/>
                  </a:lnTo>
                  <a:lnTo>
                    <a:pt x="176" y="98"/>
                  </a:lnTo>
                  <a:lnTo>
                    <a:pt x="176" y="100"/>
                  </a:lnTo>
                  <a:lnTo>
                    <a:pt x="178" y="105"/>
                  </a:lnTo>
                  <a:lnTo>
                    <a:pt x="182" y="109"/>
                  </a:lnTo>
                  <a:lnTo>
                    <a:pt x="184" y="109"/>
                  </a:lnTo>
                  <a:lnTo>
                    <a:pt x="186" y="109"/>
                  </a:lnTo>
                  <a:lnTo>
                    <a:pt x="186" y="109"/>
                  </a:lnTo>
                  <a:lnTo>
                    <a:pt x="186" y="109"/>
                  </a:lnTo>
                  <a:lnTo>
                    <a:pt x="186" y="111"/>
                  </a:lnTo>
                  <a:lnTo>
                    <a:pt x="186" y="111"/>
                  </a:lnTo>
                  <a:lnTo>
                    <a:pt x="186" y="111"/>
                  </a:lnTo>
                  <a:lnTo>
                    <a:pt x="184" y="111"/>
                  </a:lnTo>
                  <a:lnTo>
                    <a:pt x="184" y="113"/>
                  </a:lnTo>
                  <a:lnTo>
                    <a:pt x="184" y="113"/>
                  </a:lnTo>
                  <a:lnTo>
                    <a:pt x="182" y="115"/>
                  </a:lnTo>
                  <a:lnTo>
                    <a:pt x="182" y="115"/>
                  </a:lnTo>
                  <a:lnTo>
                    <a:pt x="178" y="115"/>
                  </a:lnTo>
                  <a:lnTo>
                    <a:pt x="178" y="115"/>
                  </a:lnTo>
                  <a:lnTo>
                    <a:pt x="178" y="115"/>
                  </a:lnTo>
                  <a:lnTo>
                    <a:pt x="176" y="117"/>
                  </a:lnTo>
                  <a:lnTo>
                    <a:pt x="176" y="117"/>
                  </a:lnTo>
                  <a:lnTo>
                    <a:pt x="174" y="117"/>
                  </a:lnTo>
                  <a:lnTo>
                    <a:pt x="174" y="119"/>
                  </a:lnTo>
                  <a:lnTo>
                    <a:pt x="174" y="119"/>
                  </a:lnTo>
                  <a:lnTo>
                    <a:pt x="172" y="121"/>
                  </a:lnTo>
                  <a:lnTo>
                    <a:pt x="172" y="123"/>
                  </a:lnTo>
                  <a:lnTo>
                    <a:pt x="170" y="125"/>
                  </a:lnTo>
                  <a:lnTo>
                    <a:pt x="168" y="125"/>
                  </a:lnTo>
                  <a:lnTo>
                    <a:pt x="168" y="127"/>
                  </a:lnTo>
                  <a:lnTo>
                    <a:pt x="166" y="129"/>
                  </a:lnTo>
                  <a:lnTo>
                    <a:pt x="166" y="129"/>
                  </a:lnTo>
                  <a:lnTo>
                    <a:pt x="166" y="131"/>
                  </a:lnTo>
                  <a:lnTo>
                    <a:pt x="166" y="133"/>
                  </a:lnTo>
                  <a:lnTo>
                    <a:pt x="166" y="135"/>
                  </a:lnTo>
                  <a:lnTo>
                    <a:pt x="166" y="135"/>
                  </a:lnTo>
                  <a:lnTo>
                    <a:pt x="166" y="137"/>
                  </a:lnTo>
                  <a:lnTo>
                    <a:pt x="166" y="139"/>
                  </a:lnTo>
                  <a:lnTo>
                    <a:pt x="163" y="141"/>
                  </a:lnTo>
                  <a:lnTo>
                    <a:pt x="163" y="141"/>
                  </a:lnTo>
                  <a:lnTo>
                    <a:pt x="163" y="141"/>
                  </a:lnTo>
                  <a:lnTo>
                    <a:pt x="161" y="144"/>
                  </a:lnTo>
                  <a:lnTo>
                    <a:pt x="161" y="144"/>
                  </a:lnTo>
                  <a:lnTo>
                    <a:pt x="161" y="144"/>
                  </a:lnTo>
                  <a:lnTo>
                    <a:pt x="161" y="144"/>
                  </a:lnTo>
                  <a:lnTo>
                    <a:pt x="161" y="146"/>
                  </a:lnTo>
                  <a:lnTo>
                    <a:pt x="161" y="146"/>
                  </a:lnTo>
                  <a:lnTo>
                    <a:pt x="166" y="148"/>
                  </a:lnTo>
                  <a:lnTo>
                    <a:pt x="166" y="150"/>
                  </a:lnTo>
                  <a:lnTo>
                    <a:pt x="166" y="152"/>
                  </a:lnTo>
                  <a:lnTo>
                    <a:pt x="166" y="152"/>
                  </a:lnTo>
                  <a:lnTo>
                    <a:pt x="166" y="154"/>
                  </a:lnTo>
                  <a:lnTo>
                    <a:pt x="163" y="154"/>
                  </a:lnTo>
                  <a:lnTo>
                    <a:pt x="163" y="152"/>
                  </a:lnTo>
                  <a:lnTo>
                    <a:pt x="163" y="150"/>
                  </a:lnTo>
                  <a:lnTo>
                    <a:pt x="161" y="150"/>
                  </a:lnTo>
                  <a:lnTo>
                    <a:pt x="161" y="152"/>
                  </a:lnTo>
                  <a:lnTo>
                    <a:pt x="161" y="152"/>
                  </a:lnTo>
                  <a:lnTo>
                    <a:pt x="161" y="154"/>
                  </a:lnTo>
                  <a:lnTo>
                    <a:pt x="161" y="158"/>
                  </a:lnTo>
                  <a:lnTo>
                    <a:pt x="161" y="160"/>
                  </a:lnTo>
                  <a:lnTo>
                    <a:pt x="161" y="160"/>
                  </a:lnTo>
                  <a:lnTo>
                    <a:pt x="161" y="162"/>
                  </a:lnTo>
                  <a:lnTo>
                    <a:pt x="161" y="166"/>
                  </a:lnTo>
                  <a:lnTo>
                    <a:pt x="161" y="168"/>
                  </a:lnTo>
                  <a:lnTo>
                    <a:pt x="163" y="170"/>
                  </a:lnTo>
                  <a:lnTo>
                    <a:pt x="163" y="172"/>
                  </a:lnTo>
                  <a:lnTo>
                    <a:pt x="163" y="174"/>
                  </a:lnTo>
                  <a:lnTo>
                    <a:pt x="161" y="176"/>
                  </a:lnTo>
                  <a:lnTo>
                    <a:pt x="161" y="176"/>
                  </a:lnTo>
                  <a:lnTo>
                    <a:pt x="159" y="176"/>
                  </a:lnTo>
                  <a:lnTo>
                    <a:pt x="157" y="176"/>
                  </a:lnTo>
                  <a:lnTo>
                    <a:pt x="155" y="178"/>
                  </a:lnTo>
                  <a:lnTo>
                    <a:pt x="153" y="178"/>
                  </a:lnTo>
                  <a:lnTo>
                    <a:pt x="153" y="178"/>
                  </a:lnTo>
                  <a:lnTo>
                    <a:pt x="153" y="180"/>
                  </a:lnTo>
                  <a:lnTo>
                    <a:pt x="153" y="180"/>
                  </a:lnTo>
                  <a:lnTo>
                    <a:pt x="155" y="182"/>
                  </a:lnTo>
                  <a:lnTo>
                    <a:pt x="153" y="182"/>
                  </a:lnTo>
                  <a:lnTo>
                    <a:pt x="153" y="182"/>
                  </a:lnTo>
                  <a:lnTo>
                    <a:pt x="151" y="182"/>
                  </a:lnTo>
                  <a:lnTo>
                    <a:pt x="149" y="180"/>
                  </a:lnTo>
                  <a:lnTo>
                    <a:pt x="147" y="178"/>
                  </a:lnTo>
                  <a:lnTo>
                    <a:pt x="145" y="176"/>
                  </a:lnTo>
                  <a:lnTo>
                    <a:pt x="145" y="180"/>
                  </a:lnTo>
                  <a:lnTo>
                    <a:pt x="143" y="185"/>
                  </a:lnTo>
                  <a:lnTo>
                    <a:pt x="141" y="187"/>
                  </a:lnTo>
                  <a:lnTo>
                    <a:pt x="133" y="193"/>
                  </a:lnTo>
                  <a:lnTo>
                    <a:pt x="131" y="195"/>
                  </a:lnTo>
                  <a:lnTo>
                    <a:pt x="127" y="197"/>
                  </a:lnTo>
                  <a:lnTo>
                    <a:pt x="127" y="195"/>
                  </a:lnTo>
                  <a:lnTo>
                    <a:pt x="127" y="195"/>
                  </a:lnTo>
                  <a:lnTo>
                    <a:pt x="125" y="193"/>
                  </a:lnTo>
                  <a:lnTo>
                    <a:pt x="125" y="193"/>
                  </a:lnTo>
                  <a:lnTo>
                    <a:pt x="123" y="191"/>
                  </a:lnTo>
                  <a:lnTo>
                    <a:pt x="123" y="189"/>
                  </a:lnTo>
                  <a:lnTo>
                    <a:pt x="123" y="189"/>
                  </a:lnTo>
                  <a:lnTo>
                    <a:pt x="120" y="187"/>
                  </a:lnTo>
                  <a:lnTo>
                    <a:pt x="120" y="189"/>
                  </a:lnTo>
                  <a:lnTo>
                    <a:pt x="120" y="189"/>
                  </a:lnTo>
                  <a:lnTo>
                    <a:pt x="120" y="189"/>
                  </a:lnTo>
                  <a:lnTo>
                    <a:pt x="120" y="191"/>
                  </a:lnTo>
                  <a:lnTo>
                    <a:pt x="118" y="191"/>
                  </a:lnTo>
                  <a:lnTo>
                    <a:pt x="116" y="191"/>
                  </a:lnTo>
                  <a:lnTo>
                    <a:pt x="118" y="189"/>
                  </a:lnTo>
                  <a:lnTo>
                    <a:pt x="118" y="189"/>
                  </a:lnTo>
                  <a:lnTo>
                    <a:pt x="118" y="189"/>
                  </a:lnTo>
                  <a:lnTo>
                    <a:pt x="118" y="187"/>
                  </a:lnTo>
                  <a:lnTo>
                    <a:pt x="114" y="189"/>
                  </a:lnTo>
                  <a:lnTo>
                    <a:pt x="114" y="189"/>
                  </a:lnTo>
                  <a:lnTo>
                    <a:pt x="114" y="191"/>
                  </a:lnTo>
                  <a:lnTo>
                    <a:pt x="114" y="193"/>
                  </a:lnTo>
                  <a:lnTo>
                    <a:pt x="114" y="193"/>
                  </a:lnTo>
                  <a:lnTo>
                    <a:pt x="112" y="195"/>
                  </a:lnTo>
                  <a:lnTo>
                    <a:pt x="112" y="195"/>
                  </a:lnTo>
                  <a:lnTo>
                    <a:pt x="112" y="197"/>
                  </a:lnTo>
                  <a:lnTo>
                    <a:pt x="112" y="199"/>
                  </a:lnTo>
                  <a:lnTo>
                    <a:pt x="112" y="197"/>
                  </a:lnTo>
                  <a:lnTo>
                    <a:pt x="112" y="197"/>
                  </a:lnTo>
                  <a:lnTo>
                    <a:pt x="110" y="195"/>
                  </a:lnTo>
                  <a:lnTo>
                    <a:pt x="110" y="193"/>
                  </a:lnTo>
                  <a:lnTo>
                    <a:pt x="112" y="193"/>
                  </a:lnTo>
                  <a:lnTo>
                    <a:pt x="112" y="191"/>
                  </a:lnTo>
                  <a:lnTo>
                    <a:pt x="112" y="191"/>
                  </a:lnTo>
                  <a:lnTo>
                    <a:pt x="112" y="189"/>
                  </a:lnTo>
                  <a:lnTo>
                    <a:pt x="110" y="191"/>
                  </a:lnTo>
                  <a:lnTo>
                    <a:pt x="108" y="193"/>
                  </a:lnTo>
                  <a:lnTo>
                    <a:pt x="106" y="193"/>
                  </a:lnTo>
                  <a:lnTo>
                    <a:pt x="104" y="193"/>
                  </a:lnTo>
                  <a:lnTo>
                    <a:pt x="106" y="193"/>
                  </a:lnTo>
                  <a:lnTo>
                    <a:pt x="108" y="191"/>
                  </a:lnTo>
                  <a:lnTo>
                    <a:pt x="112" y="187"/>
                  </a:lnTo>
                  <a:lnTo>
                    <a:pt x="112" y="185"/>
                  </a:lnTo>
                  <a:lnTo>
                    <a:pt x="112" y="185"/>
                  </a:lnTo>
                  <a:lnTo>
                    <a:pt x="110" y="187"/>
                  </a:lnTo>
                  <a:lnTo>
                    <a:pt x="110" y="187"/>
                  </a:lnTo>
                  <a:lnTo>
                    <a:pt x="108" y="187"/>
                  </a:lnTo>
                  <a:lnTo>
                    <a:pt x="102" y="191"/>
                  </a:lnTo>
                  <a:lnTo>
                    <a:pt x="100" y="191"/>
                  </a:lnTo>
                  <a:lnTo>
                    <a:pt x="102" y="189"/>
                  </a:lnTo>
                  <a:lnTo>
                    <a:pt x="102" y="189"/>
                  </a:lnTo>
                  <a:lnTo>
                    <a:pt x="104" y="189"/>
                  </a:lnTo>
                  <a:lnTo>
                    <a:pt x="106" y="189"/>
                  </a:lnTo>
                  <a:lnTo>
                    <a:pt x="106" y="187"/>
                  </a:lnTo>
                  <a:lnTo>
                    <a:pt x="104" y="187"/>
                  </a:lnTo>
                  <a:lnTo>
                    <a:pt x="102" y="187"/>
                  </a:lnTo>
                  <a:lnTo>
                    <a:pt x="100" y="187"/>
                  </a:lnTo>
                  <a:lnTo>
                    <a:pt x="102" y="185"/>
                  </a:lnTo>
                  <a:lnTo>
                    <a:pt x="104" y="185"/>
                  </a:lnTo>
                  <a:lnTo>
                    <a:pt x="108" y="185"/>
                  </a:lnTo>
                  <a:lnTo>
                    <a:pt x="110" y="182"/>
                  </a:lnTo>
                  <a:lnTo>
                    <a:pt x="112" y="180"/>
                  </a:lnTo>
                  <a:lnTo>
                    <a:pt x="116" y="174"/>
                  </a:lnTo>
                  <a:lnTo>
                    <a:pt x="116" y="174"/>
                  </a:lnTo>
                  <a:lnTo>
                    <a:pt x="118" y="174"/>
                  </a:lnTo>
                  <a:lnTo>
                    <a:pt x="118" y="174"/>
                  </a:lnTo>
                  <a:lnTo>
                    <a:pt x="120" y="172"/>
                  </a:lnTo>
                  <a:lnTo>
                    <a:pt x="123" y="172"/>
                  </a:lnTo>
                  <a:lnTo>
                    <a:pt x="123" y="170"/>
                  </a:lnTo>
                  <a:lnTo>
                    <a:pt x="127" y="166"/>
                  </a:lnTo>
                  <a:lnTo>
                    <a:pt x="127" y="164"/>
                  </a:lnTo>
                  <a:lnTo>
                    <a:pt x="127" y="166"/>
                  </a:lnTo>
                  <a:lnTo>
                    <a:pt x="127" y="166"/>
                  </a:lnTo>
                  <a:lnTo>
                    <a:pt x="127" y="166"/>
                  </a:lnTo>
                  <a:lnTo>
                    <a:pt x="127" y="168"/>
                  </a:lnTo>
                  <a:lnTo>
                    <a:pt x="127" y="168"/>
                  </a:lnTo>
                  <a:lnTo>
                    <a:pt x="127" y="170"/>
                  </a:lnTo>
                  <a:lnTo>
                    <a:pt x="127" y="172"/>
                  </a:lnTo>
                  <a:lnTo>
                    <a:pt x="127" y="174"/>
                  </a:lnTo>
                  <a:lnTo>
                    <a:pt x="125" y="176"/>
                  </a:lnTo>
                  <a:lnTo>
                    <a:pt x="125" y="176"/>
                  </a:lnTo>
                  <a:lnTo>
                    <a:pt x="123" y="178"/>
                  </a:lnTo>
                  <a:lnTo>
                    <a:pt x="123" y="185"/>
                  </a:lnTo>
                  <a:lnTo>
                    <a:pt x="125" y="187"/>
                  </a:lnTo>
                  <a:lnTo>
                    <a:pt x="127" y="187"/>
                  </a:lnTo>
                  <a:lnTo>
                    <a:pt x="127" y="185"/>
                  </a:lnTo>
                  <a:lnTo>
                    <a:pt x="127" y="185"/>
                  </a:lnTo>
                  <a:lnTo>
                    <a:pt x="127" y="185"/>
                  </a:lnTo>
                  <a:lnTo>
                    <a:pt x="127" y="182"/>
                  </a:lnTo>
                  <a:lnTo>
                    <a:pt x="129" y="182"/>
                  </a:lnTo>
                  <a:lnTo>
                    <a:pt x="129" y="182"/>
                  </a:lnTo>
                  <a:lnTo>
                    <a:pt x="129" y="182"/>
                  </a:lnTo>
                  <a:lnTo>
                    <a:pt x="129" y="182"/>
                  </a:lnTo>
                  <a:lnTo>
                    <a:pt x="129" y="182"/>
                  </a:lnTo>
                  <a:lnTo>
                    <a:pt x="129" y="182"/>
                  </a:lnTo>
                  <a:lnTo>
                    <a:pt x="131" y="180"/>
                  </a:lnTo>
                  <a:lnTo>
                    <a:pt x="129" y="178"/>
                  </a:lnTo>
                  <a:lnTo>
                    <a:pt x="129" y="176"/>
                  </a:lnTo>
                  <a:lnTo>
                    <a:pt x="129" y="174"/>
                  </a:lnTo>
                  <a:lnTo>
                    <a:pt x="131" y="174"/>
                  </a:lnTo>
                  <a:lnTo>
                    <a:pt x="131" y="172"/>
                  </a:lnTo>
                  <a:lnTo>
                    <a:pt x="131" y="172"/>
                  </a:lnTo>
                  <a:lnTo>
                    <a:pt x="133" y="170"/>
                  </a:lnTo>
                  <a:lnTo>
                    <a:pt x="133" y="170"/>
                  </a:lnTo>
                  <a:lnTo>
                    <a:pt x="133" y="170"/>
                  </a:lnTo>
                  <a:lnTo>
                    <a:pt x="133" y="170"/>
                  </a:lnTo>
                  <a:lnTo>
                    <a:pt x="135" y="170"/>
                  </a:lnTo>
                  <a:lnTo>
                    <a:pt x="135" y="168"/>
                  </a:lnTo>
                  <a:lnTo>
                    <a:pt x="139" y="168"/>
                  </a:lnTo>
                  <a:lnTo>
                    <a:pt x="139" y="168"/>
                  </a:lnTo>
                  <a:lnTo>
                    <a:pt x="141" y="166"/>
                  </a:lnTo>
                  <a:lnTo>
                    <a:pt x="141" y="168"/>
                  </a:lnTo>
                  <a:lnTo>
                    <a:pt x="139" y="170"/>
                  </a:lnTo>
                  <a:lnTo>
                    <a:pt x="137" y="170"/>
                  </a:lnTo>
                  <a:lnTo>
                    <a:pt x="137" y="172"/>
                  </a:lnTo>
                  <a:lnTo>
                    <a:pt x="135" y="174"/>
                  </a:lnTo>
                  <a:lnTo>
                    <a:pt x="135" y="174"/>
                  </a:lnTo>
                  <a:lnTo>
                    <a:pt x="135" y="176"/>
                  </a:lnTo>
                  <a:lnTo>
                    <a:pt x="135" y="176"/>
                  </a:lnTo>
                  <a:lnTo>
                    <a:pt x="141" y="180"/>
                  </a:lnTo>
                  <a:lnTo>
                    <a:pt x="143" y="180"/>
                  </a:lnTo>
                  <a:lnTo>
                    <a:pt x="143" y="178"/>
                  </a:lnTo>
                  <a:lnTo>
                    <a:pt x="143" y="178"/>
                  </a:lnTo>
                  <a:lnTo>
                    <a:pt x="143" y="174"/>
                  </a:lnTo>
                  <a:lnTo>
                    <a:pt x="143" y="174"/>
                  </a:lnTo>
                  <a:lnTo>
                    <a:pt x="145" y="172"/>
                  </a:lnTo>
                  <a:lnTo>
                    <a:pt x="145" y="172"/>
                  </a:lnTo>
                  <a:lnTo>
                    <a:pt x="147" y="170"/>
                  </a:lnTo>
                  <a:lnTo>
                    <a:pt x="145" y="168"/>
                  </a:lnTo>
                  <a:lnTo>
                    <a:pt x="147" y="166"/>
                  </a:lnTo>
                  <a:lnTo>
                    <a:pt x="147" y="164"/>
                  </a:lnTo>
                  <a:lnTo>
                    <a:pt x="149" y="162"/>
                  </a:lnTo>
                  <a:lnTo>
                    <a:pt x="149" y="160"/>
                  </a:lnTo>
                  <a:lnTo>
                    <a:pt x="151" y="158"/>
                  </a:lnTo>
                  <a:lnTo>
                    <a:pt x="151" y="156"/>
                  </a:lnTo>
                  <a:lnTo>
                    <a:pt x="151" y="156"/>
                  </a:lnTo>
                  <a:lnTo>
                    <a:pt x="149" y="154"/>
                  </a:lnTo>
                  <a:lnTo>
                    <a:pt x="151" y="152"/>
                  </a:lnTo>
                  <a:lnTo>
                    <a:pt x="149" y="150"/>
                  </a:lnTo>
                  <a:lnTo>
                    <a:pt x="147" y="150"/>
                  </a:lnTo>
                  <a:lnTo>
                    <a:pt x="145" y="152"/>
                  </a:lnTo>
                  <a:lnTo>
                    <a:pt x="143" y="152"/>
                  </a:lnTo>
                  <a:lnTo>
                    <a:pt x="139" y="152"/>
                  </a:lnTo>
                  <a:lnTo>
                    <a:pt x="139" y="152"/>
                  </a:lnTo>
                  <a:lnTo>
                    <a:pt x="141" y="152"/>
                  </a:lnTo>
                  <a:lnTo>
                    <a:pt x="143" y="150"/>
                  </a:lnTo>
                  <a:lnTo>
                    <a:pt x="143" y="148"/>
                  </a:lnTo>
                  <a:lnTo>
                    <a:pt x="143" y="148"/>
                  </a:lnTo>
                  <a:lnTo>
                    <a:pt x="143" y="148"/>
                  </a:lnTo>
                  <a:lnTo>
                    <a:pt x="141" y="146"/>
                  </a:lnTo>
                  <a:lnTo>
                    <a:pt x="139" y="146"/>
                  </a:lnTo>
                  <a:lnTo>
                    <a:pt x="139" y="144"/>
                  </a:lnTo>
                  <a:lnTo>
                    <a:pt x="139" y="144"/>
                  </a:lnTo>
                  <a:lnTo>
                    <a:pt x="141" y="141"/>
                  </a:lnTo>
                  <a:lnTo>
                    <a:pt x="141" y="141"/>
                  </a:lnTo>
                  <a:lnTo>
                    <a:pt x="141" y="139"/>
                  </a:lnTo>
                  <a:lnTo>
                    <a:pt x="143" y="146"/>
                  </a:lnTo>
                  <a:lnTo>
                    <a:pt x="145" y="150"/>
                  </a:lnTo>
                  <a:lnTo>
                    <a:pt x="147" y="148"/>
                  </a:lnTo>
                  <a:lnTo>
                    <a:pt x="147" y="148"/>
                  </a:lnTo>
                  <a:lnTo>
                    <a:pt x="147" y="148"/>
                  </a:lnTo>
                  <a:lnTo>
                    <a:pt x="147" y="137"/>
                  </a:lnTo>
                  <a:lnTo>
                    <a:pt x="147" y="135"/>
                  </a:lnTo>
                  <a:lnTo>
                    <a:pt x="145" y="135"/>
                  </a:lnTo>
                  <a:lnTo>
                    <a:pt x="145" y="135"/>
                  </a:lnTo>
                  <a:lnTo>
                    <a:pt x="145" y="133"/>
                  </a:lnTo>
                  <a:lnTo>
                    <a:pt x="145" y="133"/>
                  </a:lnTo>
                  <a:lnTo>
                    <a:pt x="145" y="133"/>
                  </a:lnTo>
                  <a:lnTo>
                    <a:pt x="149" y="137"/>
                  </a:lnTo>
                  <a:lnTo>
                    <a:pt x="151" y="137"/>
                  </a:lnTo>
                  <a:lnTo>
                    <a:pt x="151" y="135"/>
                  </a:lnTo>
                  <a:lnTo>
                    <a:pt x="153" y="135"/>
                  </a:lnTo>
                  <a:lnTo>
                    <a:pt x="153" y="133"/>
                  </a:lnTo>
                  <a:lnTo>
                    <a:pt x="153" y="133"/>
                  </a:lnTo>
                  <a:lnTo>
                    <a:pt x="157" y="135"/>
                  </a:lnTo>
                  <a:lnTo>
                    <a:pt x="157" y="135"/>
                  </a:lnTo>
                  <a:lnTo>
                    <a:pt x="159" y="133"/>
                  </a:lnTo>
                  <a:lnTo>
                    <a:pt x="159" y="133"/>
                  </a:lnTo>
                  <a:lnTo>
                    <a:pt x="159" y="133"/>
                  </a:lnTo>
                  <a:lnTo>
                    <a:pt x="159" y="131"/>
                  </a:lnTo>
                  <a:lnTo>
                    <a:pt x="159" y="131"/>
                  </a:lnTo>
                  <a:lnTo>
                    <a:pt x="159" y="129"/>
                  </a:lnTo>
                  <a:lnTo>
                    <a:pt x="159" y="129"/>
                  </a:lnTo>
                  <a:lnTo>
                    <a:pt x="157" y="129"/>
                  </a:lnTo>
                  <a:lnTo>
                    <a:pt x="159" y="127"/>
                  </a:lnTo>
                  <a:lnTo>
                    <a:pt x="159" y="127"/>
                  </a:lnTo>
                  <a:lnTo>
                    <a:pt x="159" y="125"/>
                  </a:lnTo>
                  <a:lnTo>
                    <a:pt x="157" y="125"/>
                  </a:lnTo>
                  <a:lnTo>
                    <a:pt x="159" y="121"/>
                  </a:lnTo>
                  <a:lnTo>
                    <a:pt x="159" y="119"/>
                  </a:lnTo>
                  <a:lnTo>
                    <a:pt x="159" y="117"/>
                  </a:lnTo>
                  <a:lnTo>
                    <a:pt x="157" y="115"/>
                  </a:lnTo>
                  <a:lnTo>
                    <a:pt x="153" y="111"/>
                  </a:lnTo>
                  <a:lnTo>
                    <a:pt x="153" y="113"/>
                  </a:lnTo>
                  <a:lnTo>
                    <a:pt x="153" y="115"/>
                  </a:lnTo>
                  <a:lnTo>
                    <a:pt x="153" y="117"/>
                  </a:lnTo>
                  <a:lnTo>
                    <a:pt x="153" y="121"/>
                  </a:lnTo>
                  <a:lnTo>
                    <a:pt x="153" y="123"/>
                  </a:lnTo>
                  <a:lnTo>
                    <a:pt x="153" y="125"/>
                  </a:lnTo>
                  <a:lnTo>
                    <a:pt x="151" y="125"/>
                  </a:lnTo>
                  <a:lnTo>
                    <a:pt x="151" y="123"/>
                  </a:lnTo>
                  <a:lnTo>
                    <a:pt x="151" y="123"/>
                  </a:lnTo>
                  <a:lnTo>
                    <a:pt x="151" y="121"/>
                  </a:lnTo>
                  <a:lnTo>
                    <a:pt x="151" y="121"/>
                  </a:lnTo>
                  <a:lnTo>
                    <a:pt x="149" y="121"/>
                  </a:lnTo>
                  <a:lnTo>
                    <a:pt x="149" y="123"/>
                  </a:lnTo>
                  <a:lnTo>
                    <a:pt x="139" y="131"/>
                  </a:lnTo>
                  <a:lnTo>
                    <a:pt x="139" y="131"/>
                  </a:lnTo>
                  <a:lnTo>
                    <a:pt x="137" y="135"/>
                  </a:lnTo>
                  <a:lnTo>
                    <a:pt x="137" y="137"/>
                  </a:lnTo>
                  <a:lnTo>
                    <a:pt x="135" y="137"/>
                  </a:lnTo>
                  <a:lnTo>
                    <a:pt x="133" y="137"/>
                  </a:lnTo>
                  <a:lnTo>
                    <a:pt x="127" y="139"/>
                  </a:lnTo>
                  <a:lnTo>
                    <a:pt x="123" y="141"/>
                  </a:lnTo>
                  <a:lnTo>
                    <a:pt x="120" y="141"/>
                  </a:lnTo>
                  <a:lnTo>
                    <a:pt x="114" y="148"/>
                  </a:lnTo>
                  <a:lnTo>
                    <a:pt x="108" y="154"/>
                  </a:lnTo>
                  <a:lnTo>
                    <a:pt x="108" y="156"/>
                  </a:lnTo>
                  <a:lnTo>
                    <a:pt x="106" y="158"/>
                  </a:lnTo>
                  <a:lnTo>
                    <a:pt x="104" y="158"/>
                  </a:lnTo>
                  <a:lnTo>
                    <a:pt x="104" y="160"/>
                  </a:lnTo>
                  <a:lnTo>
                    <a:pt x="104" y="162"/>
                  </a:lnTo>
                  <a:lnTo>
                    <a:pt x="108" y="164"/>
                  </a:lnTo>
                  <a:lnTo>
                    <a:pt x="114" y="162"/>
                  </a:lnTo>
                  <a:lnTo>
                    <a:pt x="120" y="160"/>
                  </a:lnTo>
                  <a:lnTo>
                    <a:pt x="123" y="160"/>
                  </a:lnTo>
                  <a:lnTo>
                    <a:pt x="125" y="160"/>
                  </a:lnTo>
                  <a:lnTo>
                    <a:pt x="123" y="162"/>
                  </a:lnTo>
                  <a:lnTo>
                    <a:pt x="120" y="162"/>
                  </a:lnTo>
                  <a:lnTo>
                    <a:pt x="106" y="164"/>
                  </a:lnTo>
                  <a:lnTo>
                    <a:pt x="102" y="164"/>
                  </a:lnTo>
                  <a:lnTo>
                    <a:pt x="100" y="162"/>
                  </a:lnTo>
                  <a:lnTo>
                    <a:pt x="100" y="160"/>
                  </a:lnTo>
                  <a:lnTo>
                    <a:pt x="102" y="158"/>
                  </a:lnTo>
                  <a:lnTo>
                    <a:pt x="104" y="154"/>
                  </a:lnTo>
                  <a:lnTo>
                    <a:pt x="106" y="152"/>
                  </a:lnTo>
                  <a:lnTo>
                    <a:pt x="108" y="152"/>
                  </a:lnTo>
                  <a:lnTo>
                    <a:pt x="110" y="150"/>
                  </a:lnTo>
                  <a:lnTo>
                    <a:pt x="112" y="146"/>
                  </a:lnTo>
                  <a:lnTo>
                    <a:pt x="114" y="144"/>
                  </a:lnTo>
                  <a:lnTo>
                    <a:pt x="123" y="137"/>
                  </a:lnTo>
                  <a:lnTo>
                    <a:pt x="123" y="137"/>
                  </a:lnTo>
                  <a:lnTo>
                    <a:pt x="125" y="137"/>
                  </a:lnTo>
                  <a:lnTo>
                    <a:pt x="125" y="137"/>
                  </a:lnTo>
                  <a:lnTo>
                    <a:pt x="125" y="135"/>
                  </a:lnTo>
                  <a:lnTo>
                    <a:pt x="127" y="133"/>
                  </a:lnTo>
                  <a:lnTo>
                    <a:pt x="129" y="131"/>
                  </a:lnTo>
                  <a:lnTo>
                    <a:pt x="131" y="129"/>
                  </a:lnTo>
                  <a:lnTo>
                    <a:pt x="133" y="129"/>
                  </a:lnTo>
                  <a:lnTo>
                    <a:pt x="131" y="125"/>
                  </a:lnTo>
                  <a:lnTo>
                    <a:pt x="131" y="123"/>
                  </a:lnTo>
                  <a:lnTo>
                    <a:pt x="131" y="121"/>
                  </a:lnTo>
                  <a:lnTo>
                    <a:pt x="133" y="119"/>
                  </a:lnTo>
                  <a:lnTo>
                    <a:pt x="133" y="121"/>
                  </a:lnTo>
                  <a:lnTo>
                    <a:pt x="133" y="123"/>
                  </a:lnTo>
                  <a:lnTo>
                    <a:pt x="133" y="125"/>
                  </a:lnTo>
                  <a:lnTo>
                    <a:pt x="135" y="123"/>
                  </a:lnTo>
                  <a:lnTo>
                    <a:pt x="135" y="123"/>
                  </a:lnTo>
                  <a:lnTo>
                    <a:pt x="135" y="121"/>
                  </a:lnTo>
                  <a:lnTo>
                    <a:pt x="137" y="119"/>
                  </a:lnTo>
                  <a:lnTo>
                    <a:pt x="137" y="123"/>
                  </a:lnTo>
                  <a:lnTo>
                    <a:pt x="135" y="125"/>
                  </a:lnTo>
                  <a:lnTo>
                    <a:pt x="133" y="131"/>
                  </a:lnTo>
                  <a:lnTo>
                    <a:pt x="131" y="133"/>
                  </a:lnTo>
                  <a:lnTo>
                    <a:pt x="131" y="135"/>
                  </a:lnTo>
                  <a:lnTo>
                    <a:pt x="133" y="135"/>
                  </a:lnTo>
                  <a:lnTo>
                    <a:pt x="133" y="135"/>
                  </a:lnTo>
                  <a:lnTo>
                    <a:pt x="135" y="135"/>
                  </a:lnTo>
                  <a:lnTo>
                    <a:pt x="135" y="135"/>
                  </a:lnTo>
                  <a:lnTo>
                    <a:pt x="135" y="133"/>
                  </a:lnTo>
                  <a:lnTo>
                    <a:pt x="137" y="131"/>
                  </a:lnTo>
                  <a:lnTo>
                    <a:pt x="137" y="129"/>
                  </a:lnTo>
                  <a:lnTo>
                    <a:pt x="139" y="127"/>
                  </a:lnTo>
                  <a:lnTo>
                    <a:pt x="141" y="125"/>
                  </a:lnTo>
                  <a:lnTo>
                    <a:pt x="145" y="121"/>
                  </a:lnTo>
                  <a:lnTo>
                    <a:pt x="145" y="121"/>
                  </a:lnTo>
                  <a:lnTo>
                    <a:pt x="147" y="119"/>
                  </a:lnTo>
                  <a:lnTo>
                    <a:pt x="147" y="119"/>
                  </a:lnTo>
                  <a:lnTo>
                    <a:pt x="147" y="119"/>
                  </a:lnTo>
                  <a:lnTo>
                    <a:pt x="151" y="119"/>
                  </a:lnTo>
                  <a:lnTo>
                    <a:pt x="151" y="119"/>
                  </a:lnTo>
                  <a:lnTo>
                    <a:pt x="151" y="117"/>
                  </a:lnTo>
                  <a:lnTo>
                    <a:pt x="147" y="111"/>
                  </a:lnTo>
                  <a:lnTo>
                    <a:pt x="147" y="111"/>
                  </a:lnTo>
                  <a:lnTo>
                    <a:pt x="147" y="109"/>
                  </a:lnTo>
                  <a:lnTo>
                    <a:pt x="147" y="109"/>
                  </a:lnTo>
                  <a:lnTo>
                    <a:pt x="147" y="107"/>
                  </a:lnTo>
                  <a:lnTo>
                    <a:pt x="147" y="107"/>
                  </a:lnTo>
                  <a:lnTo>
                    <a:pt x="145" y="105"/>
                  </a:lnTo>
                  <a:lnTo>
                    <a:pt x="143" y="98"/>
                  </a:lnTo>
                  <a:lnTo>
                    <a:pt x="143" y="98"/>
                  </a:lnTo>
                  <a:lnTo>
                    <a:pt x="143" y="96"/>
                  </a:lnTo>
                  <a:lnTo>
                    <a:pt x="143" y="96"/>
                  </a:lnTo>
                  <a:lnTo>
                    <a:pt x="143" y="94"/>
                  </a:lnTo>
                  <a:lnTo>
                    <a:pt x="143" y="94"/>
                  </a:lnTo>
                  <a:lnTo>
                    <a:pt x="143" y="92"/>
                  </a:lnTo>
                  <a:lnTo>
                    <a:pt x="145" y="92"/>
                  </a:lnTo>
                  <a:lnTo>
                    <a:pt x="147" y="92"/>
                  </a:lnTo>
                  <a:lnTo>
                    <a:pt x="145" y="90"/>
                  </a:lnTo>
                  <a:lnTo>
                    <a:pt x="143" y="88"/>
                  </a:lnTo>
                  <a:lnTo>
                    <a:pt x="141" y="90"/>
                  </a:lnTo>
                  <a:lnTo>
                    <a:pt x="139" y="90"/>
                  </a:lnTo>
                  <a:lnTo>
                    <a:pt x="137" y="90"/>
                  </a:lnTo>
                  <a:lnTo>
                    <a:pt x="137" y="92"/>
                  </a:lnTo>
                  <a:lnTo>
                    <a:pt x="137" y="92"/>
                  </a:lnTo>
                  <a:lnTo>
                    <a:pt x="137" y="94"/>
                  </a:lnTo>
                  <a:lnTo>
                    <a:pt x="139" y="98"/>
                  </a:lnTo>
                  <a:lnTo>
                    <a:pt x="139" y="98"/>
                  </a:lnTo>
                  <a:lnTo>
                    <a:pt x="137" y="103"/>
                  </a:lnTo>
                  <a:lnTo>
                    <a:pt x="137" y="103"/>
                  </a:lnTo>
                  <a:lnTo>
                    <a:pt x="135" y="103"/>
                  </a:lnTo>
                  <a:lnTo>
                    <a:pt x="135" y="103"/>
                  </a:lnTo>
                  <a:lnTo>
                    <a:pt x="137" y="100"/>
                  </a:lnTo>
                  <a:lnTo>
                    <a:pt x="137" y="98"/>
                  </a:lnTo>
                  <a:lnTo>
                    <a:pt x="135" y="96"/>
                  </a:lnTo>
                  <a:lnTo>
                    <a:pt x="135" y="96"/>
                  </a:lnTo>
                  <a:lnTo>
                    <a:pt x="135" y="94"/>
                  </a:lnTo>
                  <a:lnTo>
                    <a:pt x="133" y="94"/>
                  </a:lnTo>
                  <a:lnTo>
                    <a:pt x="133" y="94"/>
                  </a:lnTo>
                  <a:lnTo>
                    <a:pt x="133" y="92"/>
                  </a:lnTo>
                  <a:lnTo>
                    <a:pt x="133" y="92"/>
                  </a:lnTo>
                  <a:lnTo>
                    <a:pt x="131" y="90"/>
                  </a:lnTo>
                  <a:lnTo>
                    <a:pt x="131" y="90"/>
                  </a:lnTo>
                  <a:lnTo>
                    <a:pt x="127" y="90"/>
                  </a:lnTo>
                  <a:lnTo>
                    <a:pt x="127" y="92"/>
                  </a:lnTo>
                  <a:lnTo>
                    <a:pt x="127" y="96"/>
                  </a:lnTo>
                  <a:lnTo>
                    <a:pt x="125" y="96"/>
                  </a:lnTo>
                  <a:lnTo>
                    <a:pt x="125" y="94"/>
                  </a:lnTo>
                  <a:lnTo>
                    <a:pt x="123" y="94"/>
                  </a:lnTo>
                  <a:lnTo>
                    <a:pt x="125" y="90"/>
                  </a:lnTo>
                  <a:lnTo>
                    <a:pt x="123" y="88"/>
                  </a:lnTo>
                  <a:lnTo>
                    <a:pt x="120" y="86"/>
                  </a:lnTo>
                  <a:lnTo>
                    <a:pt x="118" y="84"/>
                  </a:lnTo>
                  <a:lnTo>
                    <a:pt x="116" y="84"/>
                  </a:lnTo>
                  <a:lnTo>
                    <a:pt x="116" y="82"/>
                  </a:lnTo>
                  <a:lnTo>
                    <a:pt x="118" y="82"/>
                  </a:lnTo>
                  <a:lnTo>
                    <a:pt x="118" y="82"/>
                  </a:lnTo>
                  <a:lnTo>
                    <a:pt x="120" y="82"/>
                  </a:lnTo>
                  <a:lnTo>
                    <a:pt x="120" y="80"/>
                  </a:lnTo>
                  <a:lnTo>
                    <a:pt x="116" y="82"/>
                  </a:lnTo>
                  <a:lnTo>
                    <a:pt x="110" y="84"/>
                  </a:lnTo>
                  <a:lnTo>
                    <a:pt x="108" y="84"/>
                  </a:lnTo>
                  <a:lnTo>
                    <a:pt x="96" y="82"/>
                  </a:lnTo>
                  <a:lnTo>
                    <a:pt x="96" y="80"/>
                  </a:lnTo>
                  <a:lnTo>
                    <a:pt x="96" y="80"/>
                  </a:lnTo>
                  <a:lnTo>
                    <a:pt x="96" y="80"/>
                  </a:lnTo>
                  <a:lnTo>
                    <a:pt x="96" y="80"/>
                  </a:lnTo>
                  <a:lnTo>
                    <a:pt x="98" y="80"/>
                  </a:lnTo>
                  <a:lnTo>
                    <a:pt x="92" y="80"/>
                  </a:lnTo>
                  <a:lnTo>
                    <a:pt x="90" y="78"/>
                  </a:lnTo>
                  <a:lnTo>
                    <a:pt x="88" y="76"/>
                  </a:lnTo>
                  <a:lnTo>
                    <a:pt x="84" y="76"/>
                  </a:lnTo>
                  <a:lnTo>
                    <a:pt x="82" y="78"/>
                  </a:lnTo>
                  <a:lnTo>
                    <a:pt x="80" y="76"/>
                  </a:lnTo>
                  <a:lnTo>
                    <a:pt x="77" y="74"/>
                  </a:lnTo>
                  <a:lnTo>
                    <a:pt x="75" y="74"/>
                  </a:lnTo>
                  <a:lnTo>
                    <a:pt x="69" y="72"/>
                  </a:lnTo>
                  <a:lnTo>
                    <a:pt x="59" y="70"/>
                  </a:lnTo>
                  <a:lnTo>
                    <a:pt x="49" y="64"/>
                  </a:lnTo>
                  <a:lnTo>
                    <a:pt x="49" y="64"/>
                  </a:lnTo>
                  <a:lnTo>
                    <a:pt x="47" y="60"/>
                  </a:lnTo>
                  <a:lnTo>
                    <a:pt x="45" y="57"/>
                  </a:lnTo>
                  <a:lnTo>
                    <a:pt x="39" y="55"/>
                  </a:lnTo>
                  <a:lnTo>
                    <a:pt x="39" y="53"/>
                  </a:lnTo>
                  <a:lnTo>
                    <a:pt x="34" y="53"/>
                  </a:lnTo>
                  <a:lnTo>
                    <a:pt x="32" y="53"/>
                  </a:lnTo>
                  <a:lnTo>
                    <a:pt x="32" y="51"/>
                  </a:lnTo>
                  <a:lnTo>
                    <a:pt x="30" y="49"/>
                  </a:lnTo>
                  <a:lnTo>
                    <a:pt x="26" y="47"/>
                  </a:lnTo>
                  <a:lnTo>
                    <a:pt x="24" y="45"/>
                  </a:lnTo>
                  <a:lnTo>
                    <a:pt x="14" y="37"/>
                  </a:lnTo>
                  <a:lnTo>
                    <a:pt x="10" y="35"/>
                  </a:lnTo>
                  <a:lnTo>
                    <a:pt x="6" y="33"/>
                  </a:lnTo>
                  <a:lnTo>
                    <a:pt x="6" y="35"/>
                  </a:lnTo>
                  <a:lnTo>
                    <a:pt x="6" y="37"/>
                  </a:lnTo>
                  <a:lnTo>
                    <a:pt x="8" y="39"/>
                  </a:lnTo>
                  <a:lnTo>
                    <a:pt x="8" y="41"/>
                  </a:lnTo>
                  <a:lnTo>
                    <a:pt x="8" y="41"/>
                  </a:lnTo>
                  <a:lnTo>
                    <a:pt x="8" y="41"/>
                  </a:lnTo>
                  <a:lnTo>
                    <a:pt x="8" y="43"/>
                  </a:lnTo>
                  <a:lnTo>
                    <a:pt x="6" y="45"/>
                  </a:lnTo>
                  <a:lnTo>
                    <a:pt x="6" y="47"/>
                  </a:lnTo>
                  <a:lnTo>
                    <a:pt x="6" y="49"/>
                  </a:lnTo>
                  <a:lnTo>
                    <a:pt x="4" y="49"/>
                  </a:lnTo>
                  <a:lnTo>
                    <a:pt x="4" y="49"/>
                  </a:lnTo>
                  <a:lnTo>
                    <a:pt x="4" y="49"/>
                  </a:lnTo>
                  <a:lnTo>
                    <a:pt x="4" y="51"/>
                  </a:lnTo>
                  <a:lnTo>
                    <a:pt x="4" y="51"/>
                  </a:lnTo>
                  <a:lnTo>
                    <a:pt x="4" y="55"/>
                  </a:lnTo>
                  <a:lnTo>
                    <a:pt x="2" y="55"/>
                  </a:lnTo>
                  <a:lnTo>
                    <a:pt x="2" y="55"/>
                  </a:lnTo>
                  <a:lnTo>
                    <a:pt x="0" y="57"/>
                  </a:lnTo>
                  <a:lnTo>
                    <a:pt x="2" y="64"/>
                  </a:lnTo>
                  <a:lnTo>
                    <a:pt x="2" y="66"/>
                  </a:lnTo>
                  <a:lnTo>
                    <a:pt x="0" y="70"/>
                  </a:lnTo>
                  <a:lnTo>
                    <a:pt x="0" y="74"/>
                  </a:lnTo>
                  <a:lnTo>
                    <a:pt x="2" y="78"/>
                  </a:lnTo>
                  <a:lnTo>
                    <a:pt x="2" y="82"/>
                  </a:lnTo>
                  <a:lnTo>
                    <a:pt x="4" y="86"/>
                  </a:lnTo>
                  <a:lnTo>
                    <a:pt x="4" y="86"/>
                  </a:lnTo>
                  <a:lnTo>
                    <a:pt x="6" y="88"/>
                  </a:lnTo>
                  <a:lnTo>
                    <a:pt x="6" y="88"/>
                  </a:lnTo>
                  <a:lnTo>
                    <a:pt x="8" y="88"/>
                  </a:lnTo>
                  <a:lnTo>
                    <a:pt x="10" y="94"/>
                  </a:lnTo>
                  <a:lnTo>
                    <a:pt x="12" y="96"/>
                  </a:lnTo>
                  <a:lnTo>
                    <a:pt x="12" y="100"/>
                  </a:lnTo>
                  <a:lnTo>
                    <a:pt x="12" y="103"/>
                  </a:lnTo>
                  <a:lnTo>
                    <a:pt x="12" y="103"/>
                  </a:lnTo>
                  <a:lnTo>
                    <a:pt x="14" y="103"/>
                  </a:lnTo>
                  <a:lnTo>
                    <a:pt x="14" y="105"/>
                  </a:lnTo>
                  <a:lnTo>
                    <a:pt x="14" y="107"/>
                  </a:lnTo>
                  <a:lnTo>
                    <a:pt x="16" y="113"/>
                  </a:lnTo>
                  <a:lnTo>
                    <a:pt x="16" y="115"/>
                  </a:lnTo>
                  <a:lnTo>
                    <a:pt x="14" y="123"/>
                  </a:lnTo>
                  <a:lnTo>
                    <a:pt x="14" y="127"/>
                  </a:lnTo>
                  <a:lnTo>
                    <a:pt x="14" y="144"/>
                  </a:lnTo>
                  <a:lnTo>
                    <a:pt x="14" y="144"/>
                  </a:lnTo>
                  <a:lnTo>
                    <a:pt x="16" y="146"/>
                  </a:lnTo>
                  <a:lnTo>
                    <a:pt x="16" y="146"/>
                  </a:lnTo>
                  <a:lnTo>
                    <a:pt x="16" y="146"/>
                  </a:lnTo>
                  <a:lnTo>
                    <a:pt x="14" y="148"/>
                  </a:lnTo>
                  <a:lnTo>
                    <a:pt x="14" y="148"/>
                  </a:lnTo>
                  <a:lnTo>
                    <a:pt x="16" y="150"/>
                  </a:lnTo>
                  <a:lnTo>
                    <a:pt x="16" y="150"/>
                  </a:lnTo>
                  <a:lnTo>
                    <a:pt x="16" y="150"/>
                  </a:lnTo>
                  <a:lnTo>
                    <a:pt x="18" y="154"/>
                  </a:lnTo>
                  <a:lnTo>
                    <a:pt x="18" y="158"/>
                  </a:lnTo>
                  <a:lnTo>
                    <a:pt x="18" y="162"/>
                  </a:lnTo>
                  <a:lnTo>
                    <a:pt x="18" y="170"/>
                  </a:lnTo>
                  <a:lnTo>
                    <a:pt x="18" y="176"/>
                  </a:lnTo>
                  <a:lnTo>
                    <a:pt x="18" y="178"/>
                  </a:lnTo>
                  <a:lnTo>
                    <a:pt x="16" y="185"/>
                  </a:lnTo>
                  <a:lnTo>
                    <a:pt x="14" y="187"/>
                  </a:lnTo>
                  <a:lnTo>
                    <a:pt x="14" y="187"/>
                  </a:lnTo>
                  <a:lnTo>
                    <a:pt x="14" y="189"/>
                  </a:lnTo>
                  <a:lnTo>
                    <a:pt x="14" y="189"/>
                  </a:lnTo>
                  <a:lnTo>
                    <a:pt x="14" y="189"/>
                  </a:lnTo>
                  <a:lnTo>
                    <a:pt x="14" y="189"/>
                  </a:lnTo>
                  <a:lnTo>
                    <a:pt x="18" y="187"/>
                  </a:lnTo>
                  <a:lnTo>
                    <a:pt x="18" y="187"/>
                  </a:lnTo>
                  <a:lnTo>
                    <a:pt x="18" y="187"/>
                  </a:lnTo>
                  <a:lnTo>
                    <a:pt x="18" y="187"/>
                  </a:lnTo>
                  <a:lnTo>
                    <a:pt x="18" y="185"/>
                  </a:lnTo>
                  <a:lnTo>
                    <a:pt x="18" y="185"/>
                  </a:lnTo>
                  <a:lnTo>
                    <a:pt x="18" y="182"/>
                  </a:lnTo>
                  <a:lnTo>
                    <a:pt x="18" y="180"/>
                  </a:lnTo>
                  <a:lnTo>
                    <a:pt x="18" y="180"/>
                  </a:lnTo>
                  <a:lnTo>
                    <a:pt x="18" y="178"/>
                  </a:lnTo>
                  <a:lnTo>
                    <a:pt x="20" y="178"/>
                  </a:lnTo>
                  <a:lnTo>
                    <a:pt x="22" y="178"/>
                  </a:lnTo>
                  <a:lnTo>
                    <a:pt x="24" y="178"/>
                  </a:lnTo>
                  <a:lnTo>
                    <a:pt x="26" y="180"/>
                  </a:lnTo>
                  <a:lnTo>
                    <a:pt x="26" y="182"/>
                  </a:lnTo>
                  <a:lnTo>
                    <a:pt x="28" y="182"/>
                  </a:lnTo>
                  <a:lnTo>
                    <a:pt x="28" y="187"/>
                  </a:lnTo>
                  <a:lnTo>
                    <a:pt x="28" y="187"/>
                  </a:lnTo>
                  <a:lnTo>
                    <a:pt x="30" y="189"/>
                  </a:lnTo>
                  <a:lnTo>
                    <a:pt x="34" y="189"/>
                  </a:lnTo>
                  <a:lnTo>
                    <a:pt x="34" y="189"/>
                  </a:lnTo>
                  <a:lnTo>
                    <a:pt x="34" y="189"/>
                  </a:lnTo>
                  <a:lnTo>
                    <a:pt x="32" y="189"/>
                  </a:lnTo>
                  <a:lnTo>
                    <a:pt x="39" y="191"/>
                  </a:lnTo>
                  <a:lnTo>
                    <a:pt x="41" y="191"/>
                  </a:lnTo>
                  <a:lnTo>
                    <a:pt x="43" y="193"/>
                  </a:lnTo>
                  <a:lnTo>
                    <a:pt x="37" y="193"/>
                  </a:lnTo>
                  <a:lnTo>
                    <a:pt x="30" y="193"/>
                  </a:lnTo>
                  <a:lnTo>
                    <a:pt x="26" y="195"/>
                  </a:lnTo>
                  <a:lnTo>
                    <a:pt x="26" y="195"/>
                  </a:lnTo>
                  <a:lnTo>
                    <a:pt x="24" y="195"/>
                  </a:lnTo>
                  <a:lnTo>
                    <a:pt x="22" y="195"/>
                  </a:lnTo>
                  <a:lnTo>
                    <a:pt x="22" y="197"/>
                  </a:lnTo>
                  <a:lnTo>
                    <a:pt x="22" y="197"/>
                  </a:lnTo>
                  <a:lnTo>
                    <a:pt x="24" y="197"/>
                  </a:lnTo>
                  <a:lnTo>
                    <a:pt x="24" y="199"/>
                  </a:lnTo>
                  <a:lnTo>
                    <a:pt x="24" y="199"/>
                  </a:lnTo>
                  <a:lnTo>
                    <a:pt x="24" y="201"/>
                  </a:lnTo>
                  <a:lnTo>
                    <a:pt x="22" y="201"/>
                  </a:lnTo>
                  <a:lnTo>
                    <a:pt x="22" y="201"/>
                  </a:lnTo>
                  <a:lnTo>
                    <a:pt x="22" y="201"/>
                  </a:lnTo>
                  <a:lnTo>
                    <a:pt x="20" y="199"/>
                  </a:lnTo>
                  <a:lnTo>
                    <a:pt x="20" y="199"/>
                  </a:lnTo>
                  <a:lnTo>
                    <a:pt x="20" y="197"/>
                  </a:lnTo>
                  <a:lnTo>
                    <a:pt x="18" y="195"/>
                  </a:lnTo>
                  <a:lnTo>
                    <a:pt x="18" y="195"/>
                  </a:lnTo>
                  <a:lnTo>
                    <a:pt x="18" y="193"/>
                  </a:lnTo>
                  <a:lnTo>
                    <a:pt x="16" y="193"/>
                  </a:lnTo>
                  <a:lnTo>
                    <a:pt x="16" y="195"/>
                  </a:lnTo>
                  <a:lnTo>
                    <a:pt x="16" y="199"/>
                  </a:lnTo>
                  <a:lnTo>
                    <a:pt x="16" y="203"/>
                  </a:lnTo>
                  <a:lnTo>
                    <a:pt x="16" y="209"/>
                  </a:lnTo>
                  <a:lnTo>
                    <a:pt x="16" y="211"/>
                  </a:lnTo>
                  <a:lnTo>
                    <a:pt x="18" y="211"/>
                  </a:lnTo>
                  <a:lnTo>
                    <a:pt x="20" y="213"/>
                  </a:lnTo>
                  <a:lnTo>
                    <a:pt x="22" y="213"/>
                  </a:lnTo>
                  <a:lnTo>
                    <a:pt x="22" y="213"/>
                  </a:lnTo>
                  <a:lnTo>
                    <a:pt x="22" y="213"/>
                  </a:lnTo>
                  <a:lnTo>
                    <a:pt x="24" y="215"/>
                  </a:lnTo>
                  <a:lnTo>
                    <a:pt x="24" y="215"/>
                  </a:lnTo>
                  <a:lnTo>
                    <a:pt x="24" y="215"/>
                  </a:lnTo>
                  <a:lnTo>
                    <a:pt x="24" y="213"/>
                  </a:lnTo>
                  <a:lnTo>
                    <a:pt x="24" y="213"/>
                  </a:lnTo>
                  <a:lnTo>
                    <a:pt x="28" y="215"/>
                  </a:lnTo>
                  <a:lnTo>
                    <a:pt x="28" y="215"/>
                  </a:lnTo>
                  <a:lnTo>
                    <a:pt x="30" y="213"/>
                  </a:lnTo>
                  <a:lnTo>
                    <a:pt x="30" y="213"/>
                  </a:lnTo>
                  <a:lnTo>
                    <a:pt x="32" y="213"/>
                  </a:lnTo>
                  <a:lnTo>
                    <a:pt x="32" y="213"/>
                  </a:lnTo>
                  <a:lnTo>
                    <a:pt x="34" y="215"/>
                  </a:lnTo>
                  <a:lnTo>
                    <a:pt x="37" y="219"/>
                  </a:lnTo>
                  <a:lnTo>
                    <a:pt x="37" y="219"/>
                  </a:lnTo>
                  <a:lnTo>
                    <a:pt x="39" y="221"/>
                  </a:lnTo>
                  <a:lnTo>
                    <a:pt x="39" y="221"/>
                  </a:lnTo>
                  <a:lnTo>
                    <a:pt x="37" y="223"/>
                  </a:lnTo>
                  <a:lnTo>
                    <a:pt x="34" y="221"/>
                  </a:lnTo>
                  <a:lnTo>
                    <a:pt x="34" y="221"/>
                  </a:lnTo>
                  <a:lnTo>
                    <a:pt x="34" y="219"/>
                  </a:lnTo>
                  <a:lnTo>
                    <a:pt x="34" y="217"/>
                  </a:lnTo>
                  <a:lnTo>
                    <a:pt x="30" y="217"/>
                  </a:lnTo>
                  <a:lnTo>
                    <a:pt x="28" y="219"/>
                  </a:lnTo>
                  <a:lnTo>
                    <a:pt x="26" y="221"/>
                  </a:lnTo>
                  <a:lnTo>
                    <a:pt x="26" y="223"/>
                  </a:lnTo>
                  <a:lnTo>
                    <a:pt x="28" y="228"/>
                  </a:lnTo>
                  <a:lnTo>
                    <a:pt x="26" y="225"/>
                  </a:lnTo>
                  <a:lnTo>
                    <a:pt x="24" y="223"/>
                  </a:lnTo>
                  <a:lnTo>
                    <a:pt x="24" y="223"/>
                  </a:lnTo>
                  <a:lnTo>
                    <a:pt x="24" y="225"/>
                  </a:lnTo>
                  <a:lnTo>
                    <a:pt x="26" y="228"/>
                  </a:lnTo>
                  <a:lnTo>
                    <a:pt x="26" y="232"/>
                  </a:lnTo>
                  <a:lnTo>
                    <a:pt x="26" y="232"/>
                  </a:lnTo>
                  <a:lnTo>
                    <a:pt x="26" y="232"/>
                  </a:lnTo>
                  <a:lnTo>
                    <a:pt x="26" y="234"/>
                  </a:lnTo>
                  <a:lnTo>
                    <a:pt x="26" y="236"/>
                  </a:lnTo>
                  <a:lnTo>
                    <a:pt x="26" y="236"/>
                  </a:lnTo>
                  <a:lnTo>
                    <a:pt x="24" y="236"/>
                  </a:lnTo>
                  <a:lnTo>
                    <a:pt x="22" y="236"/>
                  </a:lnTo>
                  <a:lnTo>
                    <a:pt x="22" y="238"/>
                  </a:lnTo>
                  <a:lnTo>
                    <a:pt x="22" y="238"/>
                  </a:lnTo>
                  <a:lnTo>
                    <a:pt x="22" y="240"/>
                  </a:lnTo>
                  <a:lnTo>
                    <a:pt x="22" y="240"/>
                  </a:lnTo>
                  <a:lnTo>
                    <a:pt x="22" y="240"/>
                  </a:lnTo>
                  <a:lnTo>
                    <a:pt x="24" y="242"/>
                  </a:lnTo>
                  <a:lnTo>
                    <a:pt x="24" y="242"/>
                  </a:lnTo>
                  <a:lnTo>
                    <a:pt x="24" y="242"/>
                  </a:lnTo>
                  <a:lnTo>
                    <a:pt x="24" y="242"/>
                  </a:lnTo>
                  <a:lnTo>
                    <a:pt x="24" y="244"/>
                  </a:lnTo>
                  <a:lnTo>
                    <a:pt x="24" y="244"/>
                  </a:lnTo>
                  <a:lnTo>
                    <a:pt x="26" y="246"/>
                  </a:lnTo>
                  <a:lnTo>
                    <a:pt x="28" y="246"/>
                  </a:lnTo>
                  <a:lnTo>
                    <a:pt x="26" y="248"/>
                  </a:lnTo>
                  <a:lnTo>
                    <a:pt x="26" y="246"/>
                  </a:lnTo>
                  <a:lnTo>
                    <a:pt x="22" y="244"/>
                  </a:lnTo>
                  <a:lnTo>
                    <a:pt x="22" y="244"/>
                  </a:lnTo>
                  <a:lnTo>
                    <a:pt x="22" y="244"/>
                  </a:lnTo>
                  <a:lnTo>
                    <a:pt x="22" y="246"/>
                  </a:lnTo>
                  <a:lnTo>
                    <a:pt x="20" y="248"/>
                  </a:lnTo>
                  <a:lnTo>
                    <a:pt x="18" y="248"/>
                  </a:lnTo>
                  <a:lnTo>
                    <a:pt x="16" y="248"/>
                  </a:lnTo>
                  <a:lnTo>
                    <a:pt x="16" y="246"/>
                  </a:lnTo>
                  <a:lnTo>
                    <a:pt x="14" y="244"/>
                  </a:lnTo>
                  <a:lnTo>
                    <a:pt x="14" y="238"/>
                  </a:lnTo>
                  <a:lnTo>
                    <a:pt x="16" y="236"/>
                  </a:lnTo>
                  <a:lnTo>
                    <a:pt x="18" y="228"/>
                  </a:lnTo>
                  <a:lnTo>
                    <a:pt x="18" y="225"/>
                  </a:lnTo>
                  <a:lnTo>
                    <a:pt x="16" y="223"/>
                  </a:lnTo>
                  <a:lnTo>
                    <a:pt x="16" y="221"/>
                  </a:lnTo>
                  <a:lnTo>
                    <a:pt x="18" y="219"/>
                  </a:lnTo>
                  <a:lnTo>
                    <a:pt x="16" y="221"/>
                  </a:lnTo>
                  <a:lnTo>
                    <a:pt x="14" y="225"/>
                  </a:lnTo>
                  <a:lnTo>
                    <a:pt x="12" y="242"/>
                  </a:lnTo>
                  <a:lnTo>
                    <a:pt x="12" y="246"/>
                  </a:lnTo>
                  <a:lnTo>
                    <a:pt x="10" y="248"/>
                  </a:lnTo>
                  <a:lnTo>
                    <a:pt x="10" y="250"/>
                  </a:lnTo>
                  <a:lnTo>
                    <a:pt x="10" y="252"/>
                  </a:lnTo>
                  <a:lnTo>
                    <a:pt x="8" y="252"/>
                  </a:lnTo>
                  <a:lnTo>
                    <a:pt x="8" y="254"/>
                  </a:lnTo>
                  <a:lnTo>
                    <a:pt x="6" y="256"/>
                  </a:lnTo>
                  <a:lnTo>
                    <a:pt x="6" y="256"/>
                  </a:lnTo>
                  <a:lnTo>
                    <a:pt x="6" y="258"/>
                  </a:lnTo>
                  <a:lnTo>
                    <a:pt x="8" y="258"/>
                  </a:lnTo>
                  <a:lnTo>
                    <a:pt x="10" y="258"/>
                  </a:lnTo>
                  <a:lnTo>
                    <a:pt x="10" y="258"/>
                  </a:lnTo>
                  <a:lnTo>
                    <a:pt x="10" y="258"/>
                  </a:lnTo>
                  <a:lnTo>
                    <a:pt x="10" y="258"/>
                  </a:lnTo>
                  <a:lnTo>
                    <a:pt x="10" y="258"/>
                  </a:lnTo>
                  <a:lnTo>
                    <a:pt x="10" y="258"/>
                  </a:lnTo>
                  <a:lnTo>
                    <a:pt x="10" y="256"/>
                  </a:lnTo>
                  <a:lnTo>
                    <a:pt x="10" y="256"/>
                  </a:lnTo>
                  <a:lnTo>
                    <a:pt x="10" y="256"/>
                  </a:lnTo>
                  <a:lnTo>
                    <a:pt x="12" y="254"/>
                  </a:lnTo>
                  <a:lnTo>
                    <a:pt x="14" y="254"/>
                  </a:lnTo>
                  <a:lnTo>
                    <a:pt x="14" y="256"/>
                  </a:lnTo>
                  <a:lnTo>
                    <a:pt x="16" y="256"/>
                  </a:lnTo>
                  <a:lnTo>
                    <a:pt x="18" y="262"/>
                  </a:lnTo>
                  <a:lnTo>
                    <a:pt x="20" y="262"/>
                  </a:lnTo>
                  <a:lnTo>
                    <a:pt x="22" y="262"/>
                  </a:lnTo>
                  <a:lnTo>
                    <a:pt x="24" y="262"/>
                  </a:lnTo>
                  <a:lnTo>
                    <a:pt x="26" y="262"/>
                  </a:lnTo>
                  <a:lnTo>
                    <a:pt x="28" y="260"/>
                  </a:lnTo>
                  <a:lnTo>
                    <a:pt x="28" y="260"/>
                  </a:lnTo>
                  <a:lnTo>
                    <a:pt x="30" y="262"/>
                  </a:lnTo>
                  <a:lnTo>
                    <a:pt x="30" y="262"/>
                  </a:lnTo>
                  <a:lnTo>
                    <a:pt x="32" y="262"/>
                  </a:lnTo>
                  <a:lnTo>
                    <a:pt x="34" y="260"/>
                  </a:lnTo>
                  <a:lnTo>
                    <a:pt x="37" y="260"/>
                  </a:lnTo>
                  <a:lnTo>
                    <a:pt x="37" y="260"/>
                  </a:lnTo>
                  <a:lnTo>
                    <a:pt x="37" y="262"/>
                  </a:lnTo>
                  <a:lnTo>
                    <a:pt x="39" y="262"/>
                  </a:lnTo>
                  <a:lnTo>
                    <a:pt x="39" y="264"/>
                  </a:lnTo>
                  <a:lnTo>
                    <a:pt x="39" y="264"/>
                  </a:lnTo>
                  <a:lnTo>
                    <a:pt x="43" y="266"/>
                  </a:lnTo>
                  <a:lnTo>
                    <a:pt x="53" y="266"/>
                  </a:lnTo>
                  <a:lnTo>
                    <a:pt x="55" y="266"/>
                  </a:lnTo>
                  <a:lnTo>
                    <a:pt x="55" y="269"/>
                  </a:lnTo>
                  <a:lnTo>
                    <a:pt x="57" y="271"/>
                  </a:lnTo>
                  <a:lnTo>
                    <a:pt x="57" y="273"/>
                  </a:lnTo>
                  <a:lnTo>
                    <a:pt x="57" y="275"/>
                  </a:lnTo>
                  <a:lnTo>
                    <a:pt x="63" y="281"/>
                  </a:lnTo>
                  <a:lnTo>
                    <a:pt x="63" y="281"/>
                  </a:lnTo>
                  <a:lnTo>
                    <a:pt x="65" y="283"/>
                  </a:lnTo>
                  <a:lnTo>
                    <a:pt x="67" y="283"/>
                  </a:lnTo>
                  <a:lnTo>
                    <a:pt x="71" y="281"/>
                  </a:lnTo>
                  <a:lnTo>
                    <a:pt x="73" y="281"/>
                  </a:lnTo>
                  <a:lnTo>
                    <a:pt x="77" y="281"/>
                  </a:lnTo>
                  <a:lnTo>
                    <a:pt x="80" y="283"/>
                  </a:lnTo>
                  <a:lnTo>
                    <a:pt x="80" y="283"/>
                  </a:lnTo>
                  <a:lnTo>
                    <a:pt x="82" y="287"/>
                  </a:lnTo>
                  <a:lnTo>
                    <a:pt x="84" y="287"/>
                  </a:lnTo>
                  <a:lnTo>
                    <a:pt x="86" y="287"/>
                  </a:lnTo>
                  <a:lnTo>
                    <a:pt x="88" y="289"/>
                  </a:lnTo>
                  <a:lnTo>
                    <a:pt x="90" y="291"/>
                  </a:lnTo>
                  <a:lnTo>
                    <a:pt x="92" y="293"/>
                  </a:lnTo>
                  <a:lnTo>
                    <a:pt x="92" y="295"/>
                  </a:lnTo>
                  <a:lnTo>
                    <a:pt x="94" y="297"/>
                  </a:lnTo>
                  <a:lnTo>
                    <a:pt x="94" y="299"/>
                  </a:lnTo>
                  <a:lnTo>
                    <a:pt x="94" y="303"/>
                  </a:lnTo>
                  <a:lnTo>
                    <a:pt x="96" y="305"/>
                  </a:lnTo>
                  <a:lnTo>
                    <a:pt x="96" y="305"/>
                  </a:lnTo>
                  <a:lnTo>
                    <a:pt x="96" y="307"/>
                  </a:lnTo>
                  <a:lnTo>
                    <a:pt x="98" y="310"/>
                  </a:lnTo>
                  <a:lnTo>
                    <a:pt x="96" y="314"/>
                  </a:lnTo>
                  <a:lnTo>
                    <a:pt x="98" y="318"/>
                  </a:lnTo>
                  <a:lnTo>
                    <a:pt x="96" y="320"/>
                  </a:lnTo>
                  <a:lnTo>
                    <a:pt x="96" y="322"/>
                  </a:lnTo>
                  <a:lnTo>
                    <a:pt x="96" y="324"/>
                  </a:lnTo>
                  <a:lnTo>
                    <a:pt x="96" y="328"/>
                  </a:lnTo>
                  <a:lnTo>
                    <a:pt x="96" y="328"/>
                  </a:lnTo>
                  <a:lnTo>
                    <a:pt x="96" y="330"/>
                  </a:lnTo>
                  <a:lnTo>
                    <a:pt x="96" y="332"/>
                  </a:lnTo>
                  <a:lnTo>
                    <a:pt x="96" y="332"/>
                  </a:lnTo>
                  <a:lnTo>
                    <a:pt x="96" y="336"/>
                  </a:lnTo>
                  <a:lnTo>
                    <a:pt x="96" y="340"/>
                  </a:lnTo>
                  <a:lnTo>
                    <a:pt x="96" y="340"/>
                  </a:lnTo>
                  <a:lnTo>
                    <a:pt x="96" y="342"/>
                  </a:lnTo>
                  <a:lnTo>
                    <a:pt x="98" y="344"/>
                  </a:lnTo>
                  <a:lnTo>
                    <a:pt x="100" y="346"/>
                  </a:lnTo>
                  <a:lnTo>
                    <a:pt x="106" y="348"/>
                  </a:lnTo>
                  <a:lnTo>
                    <a:pt x="108" y="348"/>
                  </a:lnTo>
                  <a:lnTo>
                    <a:pt x="110" y="348"/>
                  </a:lnTo>
                  <a:lnTo>
                    <a:pt x="112" y="351"/>
                  </a:lnTo>
                  <a:lnTo>
                    <a:pt x="116" y="353"/>
                  </a:lnTo>
                  <a:lnTo>
                    <a:pt x="118" y="355"/>
                  </a:lnTo>
                  <a:lnTo>
                    <a:pt x="125" y="355"/>
                  </a:lnTo>
                  <a:lnTo>
                    <a:pt x="131" y="359"/>
                  </a:lnTo>
                  <a:lnTo>
                    <a:pt x="131" y="359"/>
                  </a:lnTo>
                  <a:lnTo>
                    <a:pt x="133" y="359"/>
                  </a:lnTo>
                  <a:lnTo>
                    <a:pt x="139" y="357"/>
                  </a:lnTo>
                  <a:lnTo>
                    <a:pt x="153" y="355"/>
                  </a:lnTo>
                  <a:lnTo>
                    <a:pt x="157" y="355"/>
                  </a:lnTo>
                  <a:lnTo>
                    <a:pt x="163" y="351"/>
                  </a:lnTo>
                  <a:lnTo>
                    <a:pt x="168" y="351"/>
                  </a:lnTo>
                  <a:lnTo>
                    <a:pt x="170" y="351"/>
                  </a:lnTo>
                  <a:lnTo>
                    <a:pt x="176" y="353"/>
                  </a:lnTo>
                  <a:lnTo>
                    <a:pt x="186" y="353"/>
                  </a:lnTo>
                  <a:lnTo>
                    <a:pt x="209" y="359"/>
                  </a:lnTo>
                  <a:lnTo>
                    <a:pt x="213" y="361"/>
                  </a:lnTo>
                  <a:lnTo>
                    <a:pt x="215" y="363"/>
                  </a:lnTo>
                  <a:lnTo>
                    <a:pt x="215" y="365"/>
                  </a:lnTo>
                  <a:lnTo>
                    <a:pt x="215" y="367"/>
                  </a:lnTo>
                  <a:lnTo>
                    <a:pt x="215" y="369"/>
                  </a:lnTo>
                  <a:lnTo>
                    <a:pt x="217" y="369"/>
                  </a:lnTo>
                  <a:lnTo>
                    <a:pt x="219" y="369"/>
                  </a:lnTo>
                  <a:lnTo>
                    <a:pt x="225" y="369"/>
                  </a:lnTo>
                  <a:lnTo>
                    <a:pt x="225" y="369"/>
                  </a:lnTo>
                  <a:lnTo>
                    <a:pt x="227" y="369"/>
                  </a:lnTo>
                  <a:lnTo>
                    <a:pt x="229" y="369"/>
                  </a:lnTo>
                  <a:lnTo>
                    <a:pt x="229" y="369"/>
                  </a:lnTo>
                  <a:lnTo>
                    <a:pt x="231" y="369"/>
                  </a:lnTo>
                  <a:lnTo>
                    <a:pt x="233" y="369"/>
                  </a:lnTo>
                  <a:lnTo>
                    <a:pt x="233" y="371"/>
                  </a:lnTo>
                  <a:lnTo>
                    <a:pt x="237" y="371"/>
                  </a:lnTo>
                  <a:lnTo>
                    <a:pt x="239" y="371"/>
                  </a:lnTo>
                  <a:lnTo>
                    <a:pt x="241" y="371"/>
                  </a:lnTo>
                  <a:lnTo>
                    <a:pt x="241" y="371"/>
                  </a:lnTo>
                  <a:lnTo>
                    <a:pt x="245" y="369"/>
                  </a:lnTo>
                  <a:lnTo>
                    <a:pt x="245" y="369"/>
                  </a:lnTo>
                  <a:lnTo>
                    <a:pt x="252" y="369"/>
                  </a:lnTo>
                  <a:lnTo>
                    <a:pt x="256" y="369"/>
                  </a:lnTo>
                  <a:lnTo>
                    <a:pt x="256" y="367"/>
                  </a:lnTo>
                  <a:lnTo>
                    <a:pt x="256" y="367"/>
                  </a:lnTo>
                  <a:lnTo>
                    <a:pt x="258" y="367"/>
                  </a:lnTo>
                  <a:lnTo>
                    <a:pt x="260" y="367"/>
                  </a:lnTo>
                  <a:lnTo>
                    <a:pt x="270" y="371"/>
                  </a:lnTo>
                  <a:lnTo>
                    <a:pt x="272" y="371"/>
                  </a:lnTo>
                  <a:lnTo>
                    <a:pt x="274" y="371"/>
                  </a:lnTo>
                  <a:lnTo>
                    <a:pt x="274" y="371"/>
                  </a:lnTo>
                  <a:lnTo>
                    <a:pt x="278" y="371"/>
                  </a:lnTo>
                  <a:lnTo>
                    <a:pt x="278" y="371"/>
                  </a:lnTo>
                  <a:lnTo>
                    <a:pt x="280" y="371"/>
                  </a:lnTo>
                  <a:lnTo>
                    <a:pt x="284" y="371"/>
                  </a:lnTo>
                  <a:lnTo>
                    <a:pt x="284" y="371"/>
                  </a:lnTo>
                  <a:lnTo>
                    <a:pt x="286" y="371"/>
                  </a:lnTo>
                  <a:lnTo>
                    <a:pt x="288" y="371"/>
                  </a:lnTo>
                  <a:lnTo>
                    <a:pt x="290" y="371"/>
                  </a:lnTo>
                  <a:lnTo>
                    <a:pt x="293" y="371"/>
                  </a:lnTo>
                  <a:lnTo>
                    <a:pt x="295" y="371"/>
                  </a:lnTo>
                  <a:lnTo>
                    <a:pt x="297" y="369"/>
                  </a:lnTo>
                  <a:lnTo>
                    <a:pt x="299" y="367"/>
                  </a:lnTo>
                  <a:lnTo>
                    <a:pt x="303" y="367"/>
                  </a:lnTo>
                  <a:lnTo>
                    <a:pt x="315" y="365"/>
                  </a:lnTo>
                  <a:lnTo>
                    <a:pt x="336" y="365"/>
                  </a:lnTo>
                  <a:lnTo>
                    <a:pt x="340" y="363"/>
                  </a:lnTo>
                  <a:lnTo>
                    <a:pt x="342" y="361"/>
                  </a:lnTo>
                  <a:lnTo>
                    <a:pt x="344" y="361"/>
                  </a:lnTo>
                  <a:lnTo>
                    <a:pt x="346" y="361"/>
                  </a:lnTo>
                  <a:lnTo>
                    <a:pt x="352" y="363"/>
                  </a:lnTo>
                  <a:lnTo>
                    <a:pt x="356" y="363"/>
                  </a:lnTo>
                  <a:lnTo>
                    <a:pt x="362" y="363"/>
                  </a:lnTo>
                  <a:lnTo>
                    <a:pt x="381" y="365"/>
                  </a:lnTo>
                  <a:lnTo>
                    <a:pt x="385" y="365"/>
                  </a:lnTo>
                  <a:lnTo>
                    <a:pt x="389" y="361"/>
                  </a:lnTo>
                  <a:lnTo>
                    <a:pt x="391" y="361"/>
                  </a:lnTo>
                  <a:lnTo>
                    <a:pt x="393" y="363"/>
                  </a:lnTo>
                  <a:lnTo>
                    <a:pt x="403" y="365"/>
                  </a:lnTo>
                  <a:lnTo>
                    <a:pt x="413" y="365"/>
                  </a:lnTo>
                  <a:lnTo>
                    <a:pt x="424" y="367"/>
                  </a:lnTo>
                  <a:lnTo>
                    <a:pt x="434" y="369"/>
                  </a:lnTo>
                  <a:lnTo>
                    <a:pt x="442" y="371"/>
                  </a:lnTo>
                  <a:lnTo>
                    <a:pt x="463" y="373"/>
                  </a:lnTo>
                  <a:lnTo>
                    <a:pt x="473" y="375"/>
                  </a:lnTo>
                  <a:lnTo>
                    <a:pt x="483" y="377"/>
                  </a:lnTo>
                  <a:lnTo>
                    <a:pt x="493" y="379"/>
                  </a:lnTo>
                  <a:lnTo>
                    <a:pt x="503" y="381"/>
                  </a:lnTo>
                  <a:lnTo>
                    <a:pt x="512" y="381"/>
                  </a:lnTo>
                  <a:lnTo>
                    <a:pt x="522" y="383"/>
                  </a:lnTo>
                  <a:lnTo>
                    <a:pt x="532" y="385"/>
                  </a:lnTo>
                  <a:lnTo>
                    <a:pt x="542" y="387"/>
                  </a:lnTo>
                  <a:lnTo>
                    <a:pt x="553" y="387"/>
                  </a:lnTo>
                  <a:lnTo>
                    <a:pt x="553" y="383"/>
                  </a:lnTo>
                  <a:lnTo>
                    <a:pt x="549" y="377"/>
                  </a:lnTo>
                  <a:lnTo>
                    <a:pt x="549" y="377"/>
                  </a:lnTo>
                  <a:lnTo>
                    <a:pt x="551" y="375"/>
                  </a:lnTo>
                  <a:lnTo>
                    <a:pt x="553" y="373"/>
                  </a:lnTo>
                  <a:lnTo>
                    <a:pt x="553" y="371"/>
                  </a:lnTo>
                  <a:lnTo>
                    <a:pt x="553" y="369"/>
                  </a:lnTo>
                  <a:lnTo>
                    <a:pt x="553" y="367"/>
                  </a:lnTo>
                  <a:lnTo>
                    <a:pt x="553" y="361"/>
                  </a:lnTo>
                  <a:lnTo>
                    <a:pt x="551" y="359"/>
                  </a:lnTo>
                  <a:lnTo>
                    <a:pt x="549" y="355"/>
                  </a:lnTo>
                  <a:lnTo>
                    <a:pt x="546" y="348"/>
                  </a:lnTo>
                  <a:lnTo>
                    <a:pt x="546" y="348"/>
                  </a:lnTo>
                  <a:lnTo>
                    <a:pt x="546" y="346"/>
                  </a:lnTo>
                  <a:lnTo>
                    <a:pt x="549" y="342"/>
                  </a:lnTo>
                  <a:lnTo>
                    <a:pt x="549" y="340"/>
                  </a:lnTo>
                  <a:lnTo>
                    <a:pt x="551" y="324"/>
                  </a:lnTo>
                  <a:lnTo>
                    <a:pt x="555" y="307"/>
                  </a:lnTo>
                  <a:lnTo>
                    <a:pt x="557" y="291"/>
                  </a:lnTo>
                  <a:lnTo>
                    <a:pt x="559" y="275"/>
                  </a:lnTo>
                  <a:lnTo>
                    <a:pt x="561" y="258"/>
                  </a:lnTo>
                  <a:lnTo>
                    <a:pt x="563" y="242"/>
                  </a:lnTo>
                  <a:lnTo>
                    <a:pt x="565" y="225"/>
                  </a:lnTo>
                  <a:lnTo>
                    <a:pt x="569" y="209"/>
                  </a:lnTo>
                  <a:lnTo>
                    <a:pt x="571" y="195"/>
                  </a:lnTo>
                  <a:lnTo>
                    <a:pt x="573" y="178"/>
                  </a:lnTo>
                  <a:lnTo>
                    <a:pt x="575" y="162"/>
                  </a:lnTo>
                  <a:lnTo>
                    <a:pt x="577" y="146"/>
                  </a:lnTo>
                  <a:lnTo>
                    <a:pt x="581" y="129"/>
                  </a:lnTo>
                  <a:lnTo>
                    <a:pt x="583" y="113"/>
                  </a:lnTo>
                  <a:lnTo>
                    <a:pt x="585" y="98"/>
                  </a:lnTo>
                  <a:lnTo>
                    <a:pt x="587" y="82"/>
                  </a:lnTo>
                  <a:lnTo>
                    <a:pt x="579" y="80"/>
                  </a:lnTo>
                  <a:close/>
                  <a:moveTo>
                    <a:pt x="143" y="0"/>
                  </a:moveTo>
                  <a:lnTo>
                    <a:pt x="139" y="0"/>
                  </a:lnTo>
                  <a:lnTo>
                    <a:pt x="139" y="0"/>
                  </a:lnTo>
                  <a:lnTo>
                    <a:pt x="139" y="2"/>
                  </a:lnTo>
                  <a:lnTo>
                    <a:pt x="143" y="0"/>
                  </a:lnTo>
                  <a:lnTo>
                    <a:pt x="143" y="0"/>
                  </a:lnTo>
                  <a:close/>
                  <a:moveTo>
                    <a:pt x="125" y="31"/>
                  </a:moveTo>
                  <a:lnTo>
                    <a:pt x="127" y="31"/>
                  </a:lnTo>
                  <a:lnTo>
                    <a:pt x="125" y="31"/>
                  </a:lnTo>
                  <a:lnTo>
                    <a:pt x="125" y="31"/>
                  </a:lnTo>
                  <a:lnTo>
                    <a:pt x="125" y="29"/>
                  </a:lnTo>
                  <a:lnTo>
                    <a:pt x="125" y="31"/>
                  </a:lnTo>
                  <a:lnTo>
                    <a:pt x="127" y="31"/>
                  </a:lnTo>
                  <a:lnTo>
                    <a:pt x="127" y="31"/>
                  </a:lnTo>
                  <a:lnTo>
                    <a:pt x="127" y="31"/>
                  </a:lnTo>
                  <a:lnTo>
                    <a:pt x="127" y="29"/>
                  </a:lnTo>
                  <a:lnTo>
                    <a:pt x="127" y="29"/>
                  </a:lnTo>
                  <a:lnTo>
                    <a:pt x="127" y="29"/>
                  </a:lnTo>
                  <a:lnTo>
                    <a:pt x="127" y="29"/>
                  </a:lnTo>
                  <a:lnTo>
                    <a:pt x="125" y="29"/>
                  </a:lnTo>
                  <a:lnTo>
                    <a:pt x="125" y="29"/>
                  </a:lnTo>
                  <a:lnTo>
                    <a:pt x="125" y="29"/>
                  </a:lnTo>
                  <a:lnTo>
                    <a:pt x="125" y="29"/>
                  </a:lnTo>
                  <a:lnTo>
                    <a:pt x="123" y="27"/>
                  </a:lnTo>
                  <a:lnTo>
                    <a:pt x="123" y="27"/>
                  </a:lnTo>
                  <a:lnTo>
                    <a:pt x="123" y="29"/>
                  </a:lnTo>
                  <a:lnTo>
                    <a:pt x="125" y="31"/>
                  </a:lnTo>
                  <a:close/>
                  <a:moveTo>
                    <a:pt x="163" y="53"/>
                  </a:moveTo>
                  <a:lnTo>
                    <a:pt x="163" y="53"/>
                  </a:lnTo>
                  <a:lnTo>
                    <a:pt x="166" y="53"/>
                  </a:lnTo>
                  <a:lnTo>
                    <a:pt x="168" y="53"/>
                  </a:lnTo>
                  <a:lnTo>
                    <a:pt x="168" y="53"/>
                  </a:lnTo>
                  <a:lnTo>
                    <a:pt x="168" y="53"/>
                  </a:lnTo>
                  <a:lnTo>
                    <a:pt x="168" y="53"/>
                  </a:lnTo>
                  <a:lnTo>
                    <a:pt x="168" y="51"/>
                  </a:lnTo>
                  <a:lnTo>
                    <a:pt x="166" y="49"/>
                  </a:lnTo>
                  <a:lnTo>
                    <a:pt x="163" y="47"/>
                  </a:lnTo>
                  <a:lnTo>
                    <a:pt x="163" y="47"/>
                  </a:lnTo>
                  <a:lnTo>
                    <a:pt x="163" y="47"/>
                  </a:lnTo>
                  <a:lnTo>
                    <a:pt x="163" y="49"/>
                  </a:lnTo>
                  <a:lnTo>
                    <a:pt x="163" y="49"/>
                  </a:lnTo>
                  <a:lnTo>
                    <a:pt x="161" y="51"/>
                  </a:lnTo>
                  <a:lnTo>
                    <a:pt x="163" y="53"/>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A</a:t>
              </a:r>
            </a:p>
          </p:txBody>
        </p:sp>
        <p:sp>
          <p:nvSpPr>
            <p:cNvPr id="88" name="Freeform 9">
              <a:extLst>
                <a:ext uri="{FF2B5EF4-FFF2-40B4-BE49-F238E27FC236}">
                  <a16:creationId xmlns:a16="http://schemas.microsoft.com/office/drawing/2014/main" id="{9CC69DDE-D0BB-2C81-019A-4092EB9A59B7}"/>
                </a:ext>
              </a:extLst>
            </p:cNvPr>
            <p:cNvSpPr>
              <a:spLocks/>
            </p:cNvSpPr>
            <p:nvPr/>
          </p:nvSpPr>
          <p:spPr bwMode="auto">
            <a:xfrm>
              <a:off x="4810" y="303"/>
              <a:ext cx="150" cy="265"/>
            </a:xfrm>
            <a:custGeom>
              <a:avLst/>
              <a:gdLst>
                <a:gd name="T0" fmla="*/ 2 w 150"/>
                <a:gd name="T1" fmla="*/ 37 h 265"/>
                <a:gd name="T2" fmla="*/ 2 w 150"/>
                <a:gd name="T3" fmla="*/ 41 h 265"/>
                <a:gd name="T4" fmla="*/ 0 w 150"/>
                <a:gd name="T5" fmla="*/ 45 h 265"/>
                <a:gd name="T6" fmla="*/ 2 w 150"/>
                <a:gd name="T7" fmla="*/ 56 h 265"/>
                <a:gd name="T8" fmla="*/ 4 w 150"/>
                <a:gd name="T9" fmla="*/ 62 h 265"/>
                <a:gd name="T10" fmla="*/ 2 w 150"/>
                <a:gd name="T11" fmla="*/ 64 h 265"/>
                <a:gd name="T12" fmla="*/ 7 w 150"/>
                <a:gd name="T13" fmla="*/ 68 h 265"/>
                <a:gd name="T14" fmla="*/ 2 w 150"/>
                <a:gd name="T15" fmla="*/ 68 h 265"/>
                <a:gd name="T16" fmla="*/ 2 w 150"/>
                <a:gd name="T17" fmla="*/ 76 h 265"/>
                <a:gd name="T18" fmla="*/ 4 w 150"/>
                <a:gd name="T19" fmla="*/ 78 h 265"/>
                <a:gd name="T20" fmla="*/ 9 w 150"/>
                <a:gd name="T21" fmla="*/ 84 h 265"/>
                <a:gd name="T22" fmla="*/ 13 w 150"/>
                <a:gd name="T23" fmla="*/ 93 h 265"/>
                <a:gd name="T24" fmla="*/ 13 w 150"/>
                <a:gd name="T25" fmla="*/ 101 h 265"/>
                <a:gd name="T26" fmla="*/ 15 w 150"/>
                <a:gd name="T27" fmla="*/ 95 h 265"/>
                <a:gd name="T28" fmla="*/ 19 w 150"/>
                <a:gd name="T29" fmla="*/ 105 h 265"/>
                <a:gd name="T30" fmla="*/ 17 w 150"/>
                <a:gd name="T31" fmla="*/ 119 h 265"/>
                <a:gd name="T32" fmla="*/ 19 w 150"/>
                <a:gd name="T33" fmla="*/ 138 h 265"/>
                <a:gd name="T34" fmla="*/ 21 w 150"/>
                <a:gd name="T35" fmla="*/ 140 h 265"/>
                <a:gd name="T36" fmla="*/ 25 w 150"/>
                <a:gd name="T37" fmla="*/ 152 h 265"/>
                <a:gd name="T38" fmla="*/ 27 w 150"/>
                <a:gd name="T39" fmla="*/ 158 h 265"/>
                <a:gd name="T40" fmla="*/ 31 w 150"/>
                <a:gd name="T41" fmla="*/ 164 h 265"/>
                <a:gd name="T42" fmla="*/ 31 w 150"/>
                <a:gd name="T43" fmla="*/ 179 h 265"/>
                <a:gd name="T44" fmla="*/ 33 w 150"/>
                <a:gd name="T45" fmla="*/ 185 h 265"/>
                <a:gd name="T46" fmla="*/ 35 w 150"/>
                <a:gd name="T47" fmla="*/ 183 h 265"/>
                <a:gd name="T48" fmla="*/ 35 w 150"/>
                <a:gd name="T49" fmla="*/ 179 h 265"/>
                <a:gd name="T50" fmla="*/ 37 w 150"/>
                <a:gd name="T51" fmla="*/ 177 h 265"/>
                <a:gd name="T52" fmla="*/ 43 w 150"/>
                <a:gd name="T53" fmla="*/ 181 h 265"/>
                <a:gd name="T54" fmla="*/ 47 w 150"/>
                <a:gd name="T55" fmla="*/ 185 h 265"/>
                <a:gd name="T56" fmla="*/ 50 w 150"/>
                <a:gd name="T57" fmla="*/ 201 h 265"/>
                <a:gd name="T58" fmla="*/ 58 w 150"/>
                <a:gd name="T59" fmla="*/ 238 h 265"/>
                <a:gd name="T60" fmla="*/ 62 w 150"/>
                <a:gd name="T61" fmla="*/ 252 h 265"/>
                <a:gd name="T62" fmla="*/ 66 w 150"/>
                <a:gd name="T63" fmla="*/ 265 h 265"/>
                <a:gd name="T64" fmla="*/ 93 w 150"/>
                <a:gd name="T65" fmla="*/ 259 h 265"/>
                <a:gd name="T66" fmla="*/ 113 w 150"/>
                <a:gd name="T67" fmla="*/ 257 h 265"/>
                <a:gd name="T68" fmla="*/ 129 w 150"/>
                <a:gd name="T69" fmla="*/ 252 h 265"/>
                <a:gd name="T70" fmla="*/ 119 w 150"/>
                <a:gd name="T71" fmla="*/ 242 h 265"/>
                <a:gd name="T72" fmla="*/ 117 w 150"/>
                <a:gd name="T73" fmla="*/ 236 h 265"/>
                <a:gd name="T74" fmla="*/ 121 w 150"/>
                <a:gd name="T75" fmla="*/ 226 h 265"/>
                <a:gd name="T76" fmla="*/ 119 w 150"/>
                <a:gd name="T77" fmla="*/ 207 h 265"/>
                <a:gd name="T78" fmla="*/ 117 w 150"/>
                <a:gd name="T79" fmla="*/ 201 h 265"/>
                <a:gd name="T80" fmla="*/ 117 w 150"/>
                <a:gd name="T81" fmla="*/ 197 h 265"/>
                <a:gd name="T82" fmla="*/ 117 w 150"/>
                <a:gd name="T83" fmla="*/ 191 h 265"/>
                <a:gd name="T84" fmla="*/ 115 w 150"/>
                <a:gd name="T85" fmla="*/ 160 h 265"/>
                <a:gd name="T86" fmla="*/ 115 w 150"/>
                <a:gd name="T87" fmla="*/ 148 h 265"/>
                <a:gd name="T88" fmla="*/ 121 w 150"/>
                <a:gd name="T89" fmla="*/ 136 h 265"/>
                <a:gd name="T90" fmla="*/ 125 w 150"/>
                <a:gd name="T91" fmla="*/ 117 h 265"/>
                <a:gd name="T92" fmla="*/ 123 w 150"/>
                <a:gd name="T93" fmla="*/ 113 h 265"/>
                <a:gd name="T94" fmla="*/ 121 w 150"/>
                <a:gd name="T95" fmla="*/ 84 h 265"/>
                <a:gd name="T96" fmla="*/ 133 w 150"/>
                <a:gd name="T97" fmla="*/ 74 h 265"/>
                <a:gd name="T98" fmla="*/ 144 w 150"/>
                <a:gd name="T99" fmla="*/ 62 h 265"/>
                <a:gd name="T100" fmla="*/ 148 w 150"/>
                <a:gd name="T101" fmla="*/ 52 h 265"/>
                <a:gd name="T102" fmla="*/ 150 w 150"/>
                <a:gd name="T103" fmla="*/ 45 h 265"/>
                <a:gd name="T104" fmla="*/ 144 w 150"/>
                <a:gd name="T105" fmla="*/ 35 h 265"/>
                <a:gd name="T106" fmla="*/ 140 w 150"/>
                <a:gd name="T107" fmla="*/ 27 h 265"/>
                <a:gd name="T108" fmla="*/ 144 w 150"/>
                <a:gd name="T109" fmla="*/ 9 h 265"/>
                <a:gd name="T110" fmla="*/ 144 w 150"/>
                <a:gd name="T111" fmla="*/ 0 h 265"/>
                <a:gd name="T112" fmla="*/ 105 w 150"/>
                <a:gd name="T113" fmla="*/ 11 h 265"/>
                <a:gd name="T114" fmla="*/ 66 w 150"/>
                <a:gd name="T115" fmla="*/ 21 h 265"/>
                <a:gd name="T116" fmla="*/ 21 w 150"/>
                <a:gd name="T117" fmla="*/ 31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265">
                  <a:moveTo>
                    <a:pt x="17" y="33"/>
                  </a:moveTo>
                  <a:lnTo>
                    <a:pt x="13" y="33"/>
                  </a:lnTo>
                  <a:lnTo>
                    <a:pt x="13" y="35"/>
                  </a:lnTo>
                  <a:lnTo>
                    <a:pt x="7" y="35"/>
                  </a:lnTo>
                  <a:lnTo>
                    <a:pt x="2" y="37"/>
                  </a:lnTo>
                  <a:lnTo>
                    <a:pt x="2" y="37"/>
                  </a:lnTo>
                  <a:lnTo>
                    <a:pt x="0" y="37"/>
                  </a:lnTo>
                  <a:lnTo>
                    <a:pt x="2" y="39"/>
                  </a:lnTo>
                  <a:lnTo>
                    <a:pt x="2" y="41"/>
                  </a:lnTo>
                  <a:lnTo>
                    <a:pt x="2" y="41"/>
                  </a:lnTo>
                  <a:lnTo>
                    <a:pt x="2" y="43"/>
                  </a:lnTo>
                  <a:lnTo>
                    <a:pt x="2" y="43"/>
                  </a:lnTo>
                  <a:lnTo>
                    <a:pt x="0" y="43"/>
                  </a:lnTo>
                  <a:lnTo>
                    <a:pt x="0" y="43"/>
                  </a:lnTo>
                  <a:lnTo>
                    <a:pt x="0" y="45"/>
                  </a:lnTo>
                  <a:lnTo>
                    <a:pt x="2" y="48"/>
                  </a:lnTo>
                  <a:lnTo>
                    <a:pt x="2" y="52"/>
                  </a:lnTo>
                  <a:lnTo>
                    <a:pt x="2" y="54"/>
                  </a:lnTo>
                  <a:lnTo>
                    <a:pt x="2" y="56"/>
                  </a:lnTo>
                  <a:lnTo>
                    <a:pt x="2" y="56"/>
                  </a:lnTo>
                  <a:lnTo>
                    <a:pt x="4" y="58"/>
                  </a:lnTo>
                  <a:lnTo>
                    <a:pt x="4" y="58"/>
                  </a:lnTo>
                  <a:lnTo>
                    <a:pt x="4" y="60"/>
                  </a:lnTo>
                  <a:lnTo>
                    <a:pt x="4" y="62"/>
                  </a:lnTo>
                  <a:lnTo>
                    <a:pt x="4" y="62"/>
                  </a:lnTo>
                  <a:lnTo>
                    <a:pt x="4" y="62"/>
                  </a:lnTo>
                  <a:lnTo>
                    <a:pt x="2" y="62"/>
                  </a:lnTo>
                  <a:lnTo>
                    <a:pt x="2" y="64"/>
                  </a:lnTo>
                  <a:lnTo>
                    <a:pt x="2" y="64"/>
                  </a:lnTo>
                  <a:lnTo>
                    <a:pt x="2" y="64"/>
                  </a:lnTo>
                  <a:lnTo>
                    <a:pt x="4" y="66"/>
                  </a:lnTo>
                  <a:lnTo>
                    <a:pt x="4" y="66"/>
                  </a:lnTo>
                  <a:lnTo>
                    <a:pt x="7" y="66"/>
                  </a:lnTo>
                  <a:lnTo>
                    <a:pt x="7" y="68"/>
                  </a:lnTo>
                  <a:lnTo>
                    <a:pt x="7" y="68"/>
                  </a:lnTo>
                  <a:lnTo>
                    <a:pt x="7" y="70"/>
                  </a:lnTo>
                  <a:lnTo>
                    <a:pt x="7" y="70"/>
                  </a:lnTo>
                  <a:lnTo>
                    <a:pt x="4" y="68"/>
                  </a:lnTo>
                  <a:lnTo>
                    <a:pt x="4" y="68"/>
                  </a:lnTo>
                  <a:lnTo>
                    <a:pt x="2" y="68"/>
                  </a:lnTo>
                  <a:lnTo>
                    <a:pt x="2" y="68"/>
                  </a:lnTo>
                  <a:lnTo>
                    <a:pt x="2" y="70"/>
                  </a:lnTo>
                  <a:lnTo>
                    <a:pt x="4" y="72"/>
                  </a:lnTo>
                  <a:lnTo>
                    <a:pt x="4" y="74"/>
                  </a:lnTo>
                  <a:lnTo>
                    <a:pt x="2" y="76"/>
                  </a:lnTo>
                  <a:lnTo>
                    <a:pt x="4" y="76"/>
                  </a:lnTo>
                  <a:lnTo>
                    <a:pt x="4" y="78"/>
                  </a:lnTo>
                  <a:lnTo>
                    <a:pt x="4" y="78"/>
                  </a:lnTo>
                  <a:lnTo>
                    <a:pt x="4" y="78"/>
                  </a:lnTo>
                  <a:lnTo>
                    <a:pt x="4" y="78"/>
                  </a:lnTo>
                  <a:lnTo>
                    <a:pt x="4" y="80"/>
                  </a:lnTo>
                  <a:lnTo>
                    <a:pt x="7" y="82"/>
                  </a:lnTo>
                  <a:lnTo>
                    <a:pt x="7" y="84"/>
                  </a:lnTo>
                  <a:lnTo>
                    <a:pt x="9" y="84"/>
                  </a:lnTo>
                  <a:lnTo>
                    <a:pt x="9" y="84"/>
                  </a:lnTo>
                  <a:lnTo>
                    <a:pt x="11" y="86"/>
                  </a:lnTo>
                  <a:lnTo>
                    <a:pt x="11" y="88"/>
                  </a:lnTo>
                  <a:lnTo>
                    <a:pt x="9" y="91"/>
                  </a:lnTo>
                  <a:lnTo>
                    <a:pt x="11" y="93"/>
                  </a:lnTo>
                  <a:lnTo>
                    <a:pt x="13" y="93"/>
                  </a:lnTo>
                  <a:lnTo>
                    <a:pt x="13" y="95"/>
                  </a:lnTo>
                  <a:lnTo>
                    <a:pt x="11" y="97"/>
                  </a:lnTo>
                  <a:lnTo>
                    <a:pt x="11" y="97"/>
                  </a:lnTo>
                  <a:lnTo>
                    <a:pt x="13" y="99"/>
                  </a:lnTo>
                  <a:lnTo>
                    <a:pt x="13" y="101"/>
                  </a:lnTo>
                  <a:lnTo>
                    <a:pt x="13" y="99"/>
                  </a:lnTo>
                  <a:lnTo>
                    <a:pt x="13" y="97"/>
                  </a:lnTo>
                  <a:lnTo>
                    <a:pt x="13" y="95"/>
                  </a:lnTo>
                  <a:lnTo>
                    <a:pt x="13" y="95"/>
                  </a:lnTo>
                  <a:lnTo>
                    <a:pt x="15" y="95"/>
                  </a:lnTo>
                  <a:lnTo>
                    <a:pt x="15" y="101"/>
                  </a:lnTo>
                  <a:lnTo>
                    <a:pt x="15" y="101"/>
                  </a:lnTo>
                  <a:lnTo>
                    <a:pt x="17" y="101"/>
                  </a:lnTo>
                  <a:lnTo>
                    <a:pt x="17" y="103"/>
                  </a:lnTo>
                  <a:lnTo>
                    <a:pt x="19" y="105"/>
                  </a:lnTo>
                  <a:lnTo>
                    <a:pt x="19" y="109"/>
                  </a:lnTo>
                  <a:lnTo>
                    <a:pt x="19" y="109"/>
                  </a:lnTo>
                  <a:lnTo>
                    <a:pt x="21" y="111"/>
                  </a:lnTo>
                  <a:lnTo>
                    <a:pt x="21" y="113"/>
                  </a:lnTo>
                  <a:lnTo>
                    <a:pt x="17" y="119"/>
                  </a:lnTo>
                  <a:lnTo>
                    <a:pt x="15" y="121"/>
                  </a:lnTo>
                  <a:lnTo>
                    <a:pt x="17" y="123"/>
                  </a:lnTo>
                  <a:lnTo>
                    <a:pt x="17" y="136"/>
                  </a:lnTo>
                  <a:lnTo>
                    <a:pt x="19" y="140"/>
                  </a:lnTo>
                  <a:lnTo>
                    <a:pt x="19" y="138"/>
                  </a:lnTo>
                  <a:lnTo>
                    <a:pt x="19" y="138"/>
                  </a:lnTo>
                  <a:lnTo>
                    <a:pt x="21" y="138"/>
                  </a:lnTo>
                  <a:lnTo>
                    <a:pt x="21" y="138"/>
                  </a:lnTo>
                  <a:lnTo>
                    <a:pt x="21" y="138"/>
                  </a:lnTo>
                  <a:lnTo>
                    <a:pt x="21" y="140"/>
                  </a:lnTo>
                  <a:lnTo>
                    <a:pt x="21" y="142"/>
                  </a:lnTo>
                  <a:lnTo>
                    <a:pt x="23" y="146"/>
                  </a:lnTo>
                  <a:lnTo>
                    <a:pt x="23" y="148"/>
                  </a:lnTo>
                  <a:lnTo>
                    <a:pt x="25" y="150"/>
                  </a:lnTo>
                  <a:lnTo>
                    <a:pt x="25" y="152"/>
                  </a:lnTo>
                  <a:lnTo>
                    <a:pt x="27" y="152"/>
                  </a:lnTo>
                  <a:lnTo>
                    <a:pt x="27" y="154"/>
                  </a:lnTo>
                  <a:lnTo>
                    <a:pt x="27" y="154"/>
                  </a:lnTo>
                  <a:lnTo>
                    <a:pt x="27" y="156"/>
                  </a:lnTo>
                  <a:lnTo>
                    <a:pt x="27" y="158"/>
                  </a:lnTo>
                  <a:lnTo>
                    <a:pt x="27" y="158"/>
                  </a:lnTo>
                  <a:lnTo>
                    <a:pt x="29" y="160"/>
                  </a:lnTo>
                  <a:lnTo>
                    <a:pt x="31" y="160"/>
                  </a:lnTo>
                  <a:lnTo>
                    <a:pt x="31" y="162"/>
                  </a:lnTo>
                  <a:lnTo>
                    <a:pt x="31" y="164"/>
                  </a:lnTo>
                  <a:lnTo>
                    <a:pt x="31" y="164"/>
                  </a:lnTo>
                  <a:lnTo>
                    <a:pt x="31" y="166"/>
                  </a:lnTo>
                  <a:lnTo>
                    <a:pt x="31" y="177"/>
                  </a:lnTo>
                  <a:lnTo>
                    <a:pt x="31" y="177"/>
                  </a:lnTo>
                  <a:lnTo>
                    <a:pt x="31" y="179"/>
                  </a:lnTo>
                  <a:lnTo>
                    <a:pt x="31" y="181"/>
                  </a:lnTo>
                  <a:lnTo>
                    <a:pt x="31" y="183"/>
                  </a:lnTo>
                  <a:lnTo>
                    <a:pt x="31" y="183"/>
                  </a:lnTo>
                  <a:lnTo>
                    <a:pt x="33" y="185"/>
                  </a:lnTo>
                  <a:lnTo>
                    <a:pt x="33" y="185"/>
                  </a:lnTo>
                  <a:lnTo>
                    <a:pt x="33" y="185"/>
                  </a:lnTo>
                  <a:lnTo>
                    <a:pt x="33" y="185"/>
                  </a:lnTo>
                  <a:lnTo>
                    <a:pt x="35" y="183"/>
                  </a:lnTo>
                  <a:lnTo>
                    <a:pt x="35" y="183"/>
                  </a:lnTo>
                  <a:lnTo>
                    <a:pt x="35" y="183"/>
                  </a:lnTo>
                  <a:lnTo>
                    <a:pt x="35" y="183"/>
                  </a:lnTo>
                  <a:lnTo>
                    <a:pt x="35" y="181"/>
                  </a:lnTo>
                  <a:lnTo>
                    <a:pt x="35" y="179"/>
                  </a:lnTo>
                  <a:lnTo>
                    <a:pt x="35" y="179"/>
                  </a:lnTo>
                  <a:lnTo>
                    <a:pt x="35" y="179"/>
                  </a:lnTo>
                  <a:lnTo>
                    <a:pt x="35" y="179"/>
                  </a:lnTo>
                  <a:lnTo>
                    <a:pt x="37" y="177"/>
                  </a:lnTo>
                  <a:lnTo>
                    <a:pt x="37" y="177"/>
                  </a:lnTo>
                  <a:lnTo>
                    <a:pt x="37" y="177"/>
                  </a:lnTo>
                  <a:lnTo>
                    <a:pt x="37" y="177"/>
                  </a:lnTo>
                  <a:lnTo>
                    <a:pt x="39" y="177"/>
                  </a:lnTo>
                  <a:lnTo>
                    <a:pt x="39" y="177"/>
                  </a:lnTo>
                  <a:lnTo>
                    <a:pt x="41" y="177"/>
                  </a:lnTo>
                  <a:lnTo>
                    <a:pt x="41" y="179"/>
                  </a:lnTo>
                  <a:lnTo>
                    <a:pt x="43" y="181"/>
                  </a:lnTo>
                  <a:lnTo>
                    <a:pt x="43" y="183"/>
                  </a:lnTo>
                  <a:lnTo>
                    <a:pt x="45" y="183"/>
                  </a:lnTo>
                  <a:lnTo>
                    <a:pt x="45" y="183"/>
                  </a:lnTo>
                  <a:lnTo>
                    <a:pt x="45" y="183"/>
                  </a:lnTo>
                  <a:lnTo>
                    <a:pt x="47" y="185"/>
                  </a:lnTo>
                  <a:lnTo>
                    <a:pt x="47" y="187"/>
                  </a:lnTo>
                  <a:lnTo>
                    <a:pt x="47" y="189"/>
                  </a:lnTo>
                  <a:lnTo>
                    <a:pt x="47" y="191"/>
                  </a:lnTo>
                  <a:lnTo>
                    <a:pt x="50" y="195"/>
                  </a:lnTo>
                  <a:lnTo>
                    <a:pt x="50" y="201"/>
                  </a:lnTo>
                  <a:lnTo>
                    <a:pt x="52" y="207"/>
                  </a:lnTo>
                  <a:lnTo>
                    <a:pt x="54" y="214"/>
                  </a:lnTo>
                  <a:lnTo>
                    <a:pt x="56" y="226"/>
                  </a:lnTo>
                  <a:lnTo>
                    <a:pt x="58" y="232"/>
                  </a:lnTo>
                  <a:lnTo>
                    <a:pt x="58" y="238"/>
                  </a:lnTo>
                  <a:lnTo>
                    <a:pt x="60" y="242"/>
                  </a:lnTo>
                  <a:lnTo>
                    <a:pt x="60" y="246"/>
                  </a:lnTo>
                  <a:lnTo>
                    <a:pt x="62" y="250"/>
                  </a:lnTo>
                  <a:lnTo>
                    <a:pt x="62" y="252"/>
                  </a:lnTo>
                  <a:lnTo>
                    <a:pt x="62" y="252"/>
                  </a:lnTo>
                  <a:lnTo>
                    <a:pt x="62" y="254"/>
                  </a:lnTo>
                  <a:lnTo>
                    <a:pt x="62" y="257"/>
                  </a:lnTo>
                  <a:lnTo>
                    <a:pt x="62" y="261"/>
                  </a:lnTo>
                  <a:lnTo>
                    <a:pt x="64" y="263"/>
                  </a:lnTo>
                  <a:lnTo>
                    <a:pt x="66" y="265"/>
                  </a:lnTo>
                  <a:lnTo>
                    <a:pt x="78" y="263"/>
                  </a:lnTo>
                  <a:lnTo>
                    <a:pt x="82" y="263"/>
                  </a:lnTo>
                  <a:lnTo>
                    <a:pt x="86" y="261"/>
                  </a:lnTo>
                  <a:lnTo>
                    <a:pt x="88" y="261"/>
                  </a:lnTo>
                  <a:lnTo>
                    <a:pt x="93" y="259"/>
                  </a:lnTo>
                  <a:lnTo>
                    <a:pt x="97" y="259"/>
                  </a:lnTo>
                  <a:lnTo>
                    <a:pt x="101" y="259"/>
                  </a:lnTo>
                  <a:lnTo>
                    <a:pt x="105" y="257"/>
                  </a:lnTo>
                  <a:lnTo>
                    <a:pt x="109" y="257"/>
                  </a:lnTo>
                  <a:lnTo>
                    <a:pt x="113" y="257"/>
                  </a:lnTo>
                  <a:lnTo>
                    <a:pt x="117" y="254"/>
                  </a:lnTo>
                  <a:lnTo>
                    <a:pt x="121" y="254"/>
                  </a:lnTo>
                  <a:lnTo>
                    <a:pt x="125" y="252"/>
                  </a:lnTo>
                  <a:lnTo>
                    <a:pt x="129" y="252"/>
                  </a:lnTo>
                  <a:lnTo>
                    <a:pt x="129" y="252"/>
                  </a:lnTo>
                  <a:lnTo>
                    <a:pt x="127" y="248"/>
                  </a:lnTo>
                  <a:lnTo>
                    <a:pt x="125" y="248"/>
                  </a:lnTo>
                  <a:lnTo>
                    <a:pt x="121" y="244"/>
                  </a:lnTo>
                  <a:lnTo>
                    <a:pt x="119" y="244"/>
                  </a:lnTo>
                  <a:lnTo>
                    <a:pt x="119" y="242"/>
                  </a:lnTo>
                  <a:lnTo>
                    <a:pt x="119" y="242"/>
                  </a:lnTo>
                  <a:lnTo>
                    <a:pt x="117" y="240"/>
                  </a:lnTo>
                  <a:lnTo>
                    <a:pt x="117" y="238"/>
                  </a:lnTo>
                  <a:lnTo>
                    <a:pt x="117" y="238"/>
                  </a:lnTo>
                  <a:lnTo>
                    <a:pt x="117" y="236"/>
                  </a:lnTo>
                  <a:lnTo>
                    <a:pt x="119" y="234"/>
                  </a:lnTo>
                  <a:lnTo>
                    <a:pt x="117" y="230"/>
                  </a:lnTo>
                  <a:lnTo>
                    <a:pt x="117" y="228"/>
                  </a:lnTo>
                  <a:lnTo>
                    <a:pt x="119" y="228"/>
                  </a:lnTo>
                  <a:lnTo>
                    <a:pt x="121" y="226"/>
                  </a:lnTo>
                  <a:lnTo>
                    <a:pt x="121" y="224"/>
                  </a:lnTo>
                  <a:lnTo>
                    <a:pt x="119" y="220"/>
                  </a:lnTo>
                  <a:lnTo>
                    <a:pt x="119" y="214"/>
                  </a:lnTo>
                  <a:lnTo>
                    <a:pt x="119" y="211"/>
                  </a:lnTo>
                  <a:lnTo>
                    <a:pt x="119" y="207"/>
                  </a:lnTo>
                  <a:lnTo>
                    <a:pt x="117" y="207"/>
                  </a:lnTo>
                  <a:lnTo>
                    <a:pt x="117" y="203"/>
                  </a:lnTo>
                  <a:lnTo>
                    <a:pt x="117" y="201"/>
                  </a:lnTo>
                  <a:lnTo>
                    <a:pt x="117" y="201"/>
                  </a:lnTo>
                  <a:lnTo>
                    <a:pt x="117" y="201"/>
                  </a:lnTo>
                  <a:lnTo>
                    <a:pt x="117" y="199"/>
                  </a:lnTo>
                  <a:lnTo>
                    <a:pt x="117" y="199"/>
                  </a:lnTo>
                  <a:lnTo>
                    <a:pt x="117" y="199"/>
                  </a:lnTo>
                  <a:lnTo>
                    <a:pt x="117" y="199"/>
                  </a:lnTo>
                  <a:lnTo>
                    <a:pt x="117" y="197"/>
                  </a:lnTo>
                  <a:lnTo>
                    <a:pt x="117" y="197"/>
                  </a:lnTo>
                  <a:lnTo>
                    <a:pt x="117" y="195"/>
                  </a:lnTo>
                  <a:lnTo>
                    <a:pt x="117" y="195"/>
                  </a:lnTo>
                  <a:lnTo>
                    <a:pt x="119" y="193"/>
                  </a:lnTo>
                  <a:lnTo>
                    <a:pt x="117" y="191"/>
                  </a:lnTo>
                  <a:lnTo>
                    <a:pt x="117" y="187"/>
                  </a:lnTo>
                  <a:lnTo>
                    <a:pt x="113" y="168"/>
                  </a:lnTo>
                  <a:lnTo>
                    <a:pt x="113" y="166"/>
                  </a:lnTo>
                  <a:lnTo>
                    <a:pt x="113" y="164"/>
                  </a:lnTo>
                  <a:lnTo>
                    <a:pt x="115" y="160"/>
                  </a:lnTo>
                  <a:lnTo>
                    <a:pt x="115" y="158"/>
                  </a:lnTo>
                  <a:lnTo>
                    <a:pt x="115" y="156"/>
                  </a:lnTo>
                  <a:lnTo>
                    <a:pt x="115" y="152"/>
                  </a:lnTo>
                  <a:lnTo>
                    <a:pt x="115" y="148"/>
                  </a:lnTo>
                  <a:lnTo>
                    <a:pt x="115" y="148"/>
                  </a:lnTo>
                  <a:lnTo>
                    <a:pt x="117" y="146"/>
                  </a:lnTo>
                  <a:lnTo>
                    <a:pt x="117" y="144"/>
                  </a:lnTo>
                  <a:lnTo>
                    <a:pt x="121" y="140"/>
                  </a:lnTo>
                  <a:lnTo>
                    <a:pt x="121" y="138"/>
                  </a:lnTo>
                  <a:lnTo>
                    <a:pt x="121" y="136"/>
                  </a:lnTo>
                  <a:lnTo>
                    <a:pt x="121" y="134"/>
                  </a:lnTo>
                  <a:lnTo>
                    <a:pt x="121" y="132"/>
                  </a:lnTo>
                  <a:lnTo>
                    <a:pt x="121" y="127"/>
                  </a:lnTo>
                  <a:lnTo>
                    <a:pt x="121" y="125"/>
                  </a:lnTo>
                  <a:lnTo>
                    <a:pt x="125" y="117"/>
                  </a:lnTo>
                  <a:lnTo>
                    <a:pt x="125" y="117"/>
                  </a:lnTo>
                  <a:lnTo>
                    <a:pt x="123" y="117"/>
                  </a:lnTo>
                  <a:lnTo>
                    <a:pt x="123" y="115"/>
                  </a:lnTo>
                  <a:lnTo>
                    <a:pt x="123" y="115"/>
                  </a:lnTo>
                  <a:lnTo>
                    <a:pt x="123" y="113"/>
                  </a:lnTo>
                  <a:lnTo>
                    <a:pt x="125" y="107"/>
                  </a:lnTo>
                  <a:lnTo>
                    <a:pt x="125" y="103"/>
                  </a:lnTo>
                  <a:lnTo>
                    <a:pt x="123" y="99"/>
                  </a:lnTo>
                  <a:lnTo>
                    <a:pt x="121" y="91"/>
                  </a:lnTo>
                  <a:lnTo>
                    <a:pt x="121" y="84"/>
                  </a:lnTo>
                  <a:lnTo>
                    <a:pt x="121" y="80"/>
                  </a:lnTo>
                  <a:lnTo>
                    <a:pt x="123" y="78"/>
                  </a:lnTo>
                  <a:lnTo>
                    <a:pt x="127" y="76"/>
                  </a:lnTo>
                  <a:lnTo>
                    <a:pt x="131" y="76"/>
                  </a:lnTo>
                  <a:lnTo>
                    <a:pt x="133" y="74"/>
                  </a:lnTo>
                  <a:lnTo>
                    <a:pt x="136" y="74"/>
                  </a:lnTo>
                  <a:lnTo>
                    <a:pt x="136" y="70"/>
                  </a:lnTo>
                  <a:lnTo>
                    <a:pt x="138" y="68"/>
                  </a:lnTo>
                  <a:lnTo>
                    <a:pt x="144" y="62"/>
                  </a:lnTo>
                  <a:lnTo>
                    <a:pt x="144" y="62"/>
                  </a:lnTo>
                  <a:lnTo>
                    <a:pt x="146" y="60"/>
                  </a:lnTo>
                  <a:lnTo>
                    <a:pt x="146" y="58"/>
                  </a:lnTo>
                  <a:lnTo>
                    <a:pt x="148" y="56"/>
                  </a:lnTo>
                  <a:lnTo>
                    <a:pt x="150" y="52"/>
                  </a:lnTo>
                  <a:lnTo>
                    <a:pt x="148" y="52"/>
                  </a:lnTo>
                  <a:lnTo>
                    <a:pt x="148" y="50"/>
                  </a:lnTo>
                  <a:lnTo>
                    <a:pt x="148" y="48"/>
                  </a:lnTo>
                  <a:lnTo>
                    <a:pt x="148" y="45"/>
                  </a:lnTo>
                  <a:lnTo>
                    <a:pt x="150" y="45"/>
                  </a:lnTo>
                  <a:lnTo>
                    <a:pt x="150" y="45"/>
                  </a:lnTo>
                  <a:lnTo>
                    <a:pt x="150" y="43"/>
                  </a:lnTo>
                  <a:lnTo>
                    <a:pt x="150" y="43"/>
                  </a:lnTo>
                  <a:lnTo>
                    <a:pt x="150" y="41"/>
                  </a:lnTo>
                  <a:lnTo>
                    <a:pt x="148" y="41"/>
                  </a:lnTo>
                  <a:lnTo>
                    <a:pt x="144" y="35"/>
                  </a:lnTo>
                  <a:lnTo>
                    <a:pt x="144" y="35"/>
                  </a:lnTo>
                  <a:lnTo>
                    <a:pt x="144" y="33"/>
                  </a:lnTo>
                  <a:lnTo>
                    <a:pt x="142" y="31"/>
                  </a:lnTo>
                  <a:lnTo>
                    <a:pt x="140" y="31"/>
                  </a:lnTo>
                  <a:lnTo>
                    <a:pt x="140" y="27"/>
                  </a:lnTo>
                  <a:lnTo>
                    <a:pt x="142" y="23"/>
                  </a:lnTo>
                  <a:lnTo>
                    <a:pt x="144" y="19"/>
                  </a:lnTo>
                  <a:lnTo>
                    <a:pt x="146" y="13"/>
                  </a:lnTo>
                  <a:lnTo>
                    <a:pt x="146" y="11"/>
                  </a:lnTo>
                  <a:lnTo>
                    <a:pt x="144" y="9"/>
                  </a:lnTo>
                  <a:lnTo>
                    <a:pt x="144" y="7"/>
                  </a:lnTo>
                  <a:lnTo>
                    <a:pt x="142" y="4"/>
                  </a:lnTo>
                  <a:lnTo>
                    <a:pt x="142" y="2"/>
                  </a:lnTo>
                  <a:lnTo>
                    <a:pt x="142" y="0"/>
                  </a:lnTo>
                  <a:lnTo>
                    <a:pt x="144" y="0"/>
                  </a:lnTo>
                  <a:lnTo>
                    <a:pt x="136" y="2"/>
                  </a:lnTo>
                  <a:lnTo>
                    <a:pt x="127" y="4"/>
                  </a:lnTo>
                  <a:lnTo>
                    <a:pt x="119" y="7"/>
                  </a:lnTo>
                  <a:lnTo>
                    <a:pt x="113" y="9"/>
                  </a:lnTo>
                  <a:lnTo>
                    <a:pt x="105" y="11"/>
                  </a:lnTo>
                  <a:lnTo>
                    <a:pt x="97" y="13"/>
                  </a:lnTo>
                  <a:lnTo>
                    <a:pt x="90" y="15"/>
                  </a:lnTo>
                  <a:lnTo>
                    <a:pt x="82" y="17"/>
                  </a:lnTo>
                  <a:lnTo>
                    <a:pt x="74" y="19"/>
                  </a:lnTo>
                  <a:lnTo>
                    <a:pt x="66" y="21"/>
                  </a:lnTo>
                  <a:lnTo>
                    <a:pt x="60" y="23"/>
                  </a:lnTo>
                  <a:lnTo>
                    <a:pt x="52" y="25"/>
                  </a:lnTo>
                  <a:lnTo>
                    <a:pt x="35" y="29"/>
                  </a:lnTo>
                  <a:lnTo>
                    <a:pt x="29" y="31"/>
                  </a:lnTo>
                  <a:lnTo>
                    <a:pt x="21" y="31"/>
                  </a:lnTo>
                  <a:lnTo>
                    <a:pt x="21" y="31"/>
                  </a:lnTo>
                  <a:lnTo>
                    <a:pt x="19" y="33"/>
                  </a:lnTo>
                  <a:lnTo>
                    <a:pt x="17" y="33"/>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VT</a:t>
              </a:r>
            </a:p>
          </p:txBody>
        </p:sp>
        <p:sp>
          <p:nvSpPr>
            <p:cNvPr id="89" name="Freeform 10">
              <a:extLst>
                <a:ext uri="{FF2B5EF4-FFF2-40B4-BE49-F238E27FC236}">
                  <a16:creationId xmlns:a16="http://schemas.microsoft.com/office/drawing/2014/main" id="{69EAFF12-B587-9C96-EF42-A9C803807F64}"/>
                </a:ext>
              </a:extLst>
            </p:cNvPr>
            <p:cNvSpPr>
              <a:spLocks noEditPoints="1"/>
            </p:cNvSpPr>
            <p:nvPr/>
          </p:nvSpPr>
          <p:spPr bwMode="auto">
            <a:xfrm>
              <a:off x="4143" y="1002"/>
              <a:ext cx="688" cy="379"/>
            </a:xfrm>
            <a:custGeom>
              <a:avLst/>
              <a:gdLst>
                <a:gd name="T0" fmla="*/ 665 w 688"/>
                <a:gd name="T1" fmla="*/ 166 h 379"/>
                <a:gd name="T2" fmla="*/ 655 w 688"/>
                <a:gd name="T3" fmla="*/ 111 h 379"/>
                <a:gd name="T4" fmla="*/ 651 w 688"/>
                <a:gd name="T5" fmla="*/ 129 h 379"/>
                <a:gd name="T6" fmla="*/ 641 w 688"/>
                <a:gd name="T7" fmla="*/ 150 h 379"/>
                <a:gd name="T8" fmla="*/ 641 w 688"/>
                <a:gd name="T9" fmla="*/ 170 h 379"/>
                <a:gd name="T10" fmla="*/ 649 w 688"/>
                <a:gd name="T11" fmla="*/ 201 h 379"/>
                <a:gd name="T12" fmla="*/ 655 w 688"/>
                <a:gd name="T13" fmla="*/ 170 h 379"/>
                <a:gd name="T14" fmla="*/ 665 w 688"/>
                <a:gd name="T15" fmla="*/ 156 h 379"/>
                <a:gd name="T16" fmla="*/ 676 w 688"/>
                <a:gd name="T17" fmla="*/ 101 h 379"/>
                <a:gd name="T18" fmla="*/ 680 w 688"/>
                <a:gd name="T19" fmla="*/ 113 h 379"/>
                <a:gd name="T20" fmla="*/ 624 w 688"/>
                <a:gd name="T21" fmla="*/ 232 h 379"/>
                <a:gd name="T22" fmla="*/ 608 w 688"/>
                <a:gd name="T23" fmla="*/ 234 h 379"/>
                <a:gd name="T24" fmla="*/ 585 w 688"/>
                <a:gd name="T25" fmla="*/ 209 h 379"/>
                <a:gd name="T26" fmla="*/ 536 w 688"/>
                <a:gd name="T27" fmla="*/ 207 h 379"/>
                <a:gd name="T28" fmla="*/ 553 w 688"/>
                <a:gd name="T29" fmla="*/ 205 h 379"/>
                <a:gd name="T30" fmla="*/ 571 w 688"/>
                <a:gd name="T31" fmla="*/ 205 h 379"/>
                <a:gd name="T32" fmla="*/ 598 w 688"/>
                <a:gd name="T33" fmla="*/ 217 h 379"/>
                <a:gd name="T34" fmla="*/ 620 w 688"/>
                <a:gd name="T35" fmla="*/ 209 h 379"/>
                <a:gd name="T36" fmla="*/ 579 w 688"/>
                <a:gd name="T37" fmla="*/ 187 h 379"/>
                <a:gd name="T38" fmla="*/ 598 w 688"/>
                <a:gd name="T39" fmla="*/ 195 h 379"/>
                <a:gd name="T40" fmla="*/ 604 w 688"/>
                <a:gd name="T41" fmla="*/ 183 h 379"/>
                <a:gd name="T42" fmla="*/ 614 w 688"/>
                <a:gd name="T43" fmla="*/ 174 h 379"/>
                <a:gd name="T44" fmla="*/ 604 w 688"/>
                <a:gd name="T45" fmla="*/ 162 h 379"/>
                <a:gd name="T46" fmla="*/ 573 w 688"/>
                <a:gd name="T47" fmla="*/ 146 h 379"/>
                <a:gd name="T48" fmla="*/ 549 w 688"/>
                <a:gd name="T49" fmla="*/ 129 h 379"/>
                <a:gd name="T50" fmla="*/ 534 w 688"/>
                <a:gd name="T51" fmla="*/ 115 h 379"/>
                <a:gd name="T52" fmla="*/ 575 w 688"/>
                <a:gd name="T53" fmla="*/ 144 h 379"/>
                <a:gd name="T54" fmla="*/ 596 w 688"/>
                <a:gd name="T55" fmla="*/ 156 h 379"/>
                <a:gd name="T56" fmla="*/ 604 w 688"/>
                <a:gd name="T57" fmla="*/ 146 h 379"/>
                <a:gd name="T58" fmla="*/ 602 w 688"/>
                <a:gd name="T59" fmla="*/ 123 h 379"/>
                <a:gd name="T60" fmla="*/ 573 w 688"/>
                <a:gd name="T61" fmla="*/ 111 h 379"/>
                <a:gd name="T62" fmla="*/ 540 w 688"/>
                <a:gd name="T63" fmla="*/ 107 h 379"/>
                <a:gd name="T64" fmla="*/ 530 w 688"/>
                <a:gd name="T65" fmla="*/ 88 h 379"/>
                <a:gd name="T66" fmla="*/ 506 w 688"/>
                <a:gd name="T67" fmla="*/ 88 h 379"/>
                <a:gd name="T68" fmla="*/ 514 w 688"/>
                <a:gd name="T69" fmla="*/ 66 h 379"/>
                <a:gd name="T70" fmla="*/ 518 w 688"/>
                <a:gd name="T71" fmla="*/ 39 h 379"/>
                <a:gd name="T72" fmla="*/ 483 w 688"/>
                <a:gd name="T73" fmla="*/ 25 h 379"/>
                <a:gd name="T74" fmla="*/ 450 w 688"/>
                <a:gd name="T75" fmla="*/ 4 h 379"/>
                <a:gd name="T76" fmla="*/ 397 w 688"/>
                <a:gd name="T77" fmla="*/ 4 h 379"/>
                <a:gd name="T78" fmla="*/ 397 w 688"/>
                <a:gd name="T79" fmla="*/ 29 h 379"/>
                <a:gd name="T80" fmla="*/ 385 w 688"/>
                <a:gd name="T81" fmla="*/ 56 h 379"/>
                <a:gd name="T82" fmla="*/ 372 w 688"/>
                <a:gd name="T83" fmla="*/ 70 h 379"/>
                <a:gd name="T84" fmla="*/ 352 w 688"/>
                <a:gd name="T85" fmla="*/ 94 h 379"/>
                <a:gd name="T86" fmla="*/ 340 w 688"/>
                <a:gd name="T87" fmla="*/ 123 h 379"/>
                <a:gd name="T88" fmla="*/ 307 w 688"/>
                <a:gd name="T89" fmla="*/ 113 h 379"/>
                <a:gd name="T90" fmla="*/ 301 w 688"/>
                <a:gd name="T91" fmla="*/ 140 h 379"/>
                <a:gd name="T92" fmla="*/ 293 w 688"/>
                <a:gd name="T93" fmla="*/ 162 h 379"/>
                <a:gd name="T94" fmla="*/ 276 w 688"/>
                <a:gd name="T95" fmla="*/ 222 h 379"/>
                <a:gd name="T96" fmla="*/ 272 w 688"/>
                <a:gd name="T97" fmla="*/ 236 h 379"/>
                <a:gd name="T98" fmla="*/ 245 w 688"/>
                <a:gd name="T99" fmla="*/ 250 h 379"/>
                <a:gd name="T100" fmla="*/ 227 w 688"/>
                <a:gd name="T101" fmla="*/ 252 h 379"/>
                <a:gd name="T102" fmla="*/ 217 w 688"/>
                <a:gd name="T103" fmla="*/ 269 h 379"/>
                <a:gd name="T104" fmla="*/ 184 w 688"/>
                <a:gd name="T105" fmla="*/ 271 h 379"/>
                <a:gd name="T106" fmla="*/ 157 w 688"/>
                <a:gd name="T107" fmla="*/ 285 h 379"/>
                <a:gd name="T108" fmla="*/ 137 w 688"/>
                <a:gd name="T109" fmla="*/ 275 h 379"/>
                <a:gd name="T110" fmla="*/ 133 w 688"/>
                <a:gd name="T111" fmla="*/ 260 h 379"/>
                <a:gd name="T112" fmla="*/ 75 w 688"/>
                <a:gd name="T113" fmla="*/ 316 h 379"/>
                <a:gd name="T114" fmla="*/ 63 w 688"/>
                <a:gd name="T115" fmla="*/ 338 h 379"/>
                <a:gd name="T116" fmla="*/ 22 w 688"/>
                <a:gd name="T117" fmla="*/ 367 h 379"/>
                <a:gd name="T118" fmla="*/ 143 w 688"/>
                <a:gd name="T119" fmla="*/ 357 h 379"/>
                <a:gd name="T120" fmla="*/ 311 w 688"/>
                <a:gd name="T121" fmla="*/ 330 h 379"/>
                <a:gd name="T122" fmla="*/ 626 w 688"/>
                <a:gd name="T123" fmla="*/ 271 h 379"/>
                <a:gd name="T124" fmla="*/ 667 w 688"/>
                <a:gd name="T125" fmla="*/ 25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8" h="379">
                  <a:moveTo>
                    <a:pt x="663" y="260"/>
                  </a:moveTo>
                  <a:lnTo>
                    <a:pt x="663" y="262"/>
                  </a:lnTo>
                  <a:lnTo>
                    <a:pt x="663" y="262"/>
                  </a:lnTo>
                  <a:lnTo>
                    <a:pt x="663" y="262"/>
                  </a:lnTo>
                  <a:lnTo>
                    <a:pt x="665" y="262"/>
                  </a:lnTo>
                  <a:lnTo>
                    <a:pt x="665" y="262"/>
                  </a:lnTo>
                  <a:lnTo>
                    <a:pt x="665" y="260"/>
                  </a:lnTo>
                  <a:lnTo>
                    <a:pt x="663" y="260"/>
                  </a:lnTo>
                  <a:close/>
                  <a:moveTo>
                    <a:pt x="657" y="189"/>
                  </a:moveTo>
                  <a:lnTo>
                    <a:pt x="655" y="189"/>
                  </a:lnTo>
                  <a:lnTo>
                    <a:pt x="657" y="191"/>
                  </a:lnTo>
                  <a:lnTo>
                    <a:pt x="659" y="189"/>
                  </a:lnTo>
                  <a:lnTo>
                    <a:pt x="659" y="187"/>
                  </a:lnTo>
                  <a:lnTo>
                    <a:pt x="659" y="185"/>
                  </a:lnTo>
                  <a:lnTo>
                    <a:pt x="659" y="181"/>
                  </a:lnTo>
                  <a:lnTo>
                    <a:pt x="659" y="181"/>
                  </a:lnTo>
                  <a:lnTo>
                    <a:pt x="659" y="183"/>
                  </a:lnTo>
                  <a:lnTo>
                    <a:pt x="659" y="185"/>
                  </a:lnTo>
                  <a:lnTo>
                    <a:pt x="657" y="187"/>
                  </a:lnTo>
                  <a:lnTo>
                    <a:pt x="657" y="189"/>
                  </a:lnTo>
                  <a:close/>
                  <a:moveTo>
                    <a:pt x="665" y="166"/>
                  </a:moveTo>
                  <a:lnTo>
                    <a:pt x="665" y="164"/>
                  </a:lnTo>
                  <a:lnTo>
                    <a:pt x="665" y="162"/>
                  </a:lnTo>
                  <a:lnTo>
                    <a:pt x="665" y="162"/>
                  </a:lnTo>
                  <a:lnTo>
                    <a:pt x="663" y="162"/>
                  </a:lnTo>
                  <a:lnTo>
                    <a:pt x="663" y="168"/>
                  </a:lnTo>
                  <a:lnTo>
                    <a:pt x="663" y="170"/>
                  </a:lnTo>
                  <a:lnTo>
                    <a:pt x="663" y="170"/>
                  </a:lnTo>
                  <a:lnTo>
                    <a:pt x="663" y="170"/>
                  </a:lnTo>
                  <a:lnTo>
                    <a:pt x="665" y="166"/>
                  </a:lnTo>
                  <a:close/>
                  <a:moveTo>
                    <a:pt x="676" y="99"/>
                  </a:moveTo>
                  <a:lnTo>
                    <a:pt x="674" y="99"/>
                  </a:lnTo>
                  <a:lnTo>
                    <a:pt x="669" y="101"/>
                  </a:lnTo>
                  <a:lnTo>
                    <a:pt x="665" y="103"/>
                  </a:lnTo>
                  <a:lnTo>
                    <a:pt x="661" y="103"/>
                  </a:lnTo>
                  <a:lnTo>
                    <a:pt x="659" y="105"/>
                  </a:lnTo>
                  <a:lnTo>
                    <a:pt x="657" y="105"/>
                  </a:lnTo>
                  <a:lnTo>
                    <a:pt x="657" y="105"/>
                  </a:lnTo>
                  <a:lnTo>
                    <a:pt x="655" y="107"/>
                  </a:lnTo>
                  <a:lnTo>
                    <a:pt x="655" y="109"/>
                  </a:lnTo>
                  <a:lnTo>
                    <a:pt x="657" y="109"/>
                  </a:lnTo>
                  <a:lnTo>
                    <a:pt x="655" y="111"/>
                  </a:lnTo>
                  <a:lnTo>
                    <a:pt x="655" y="111"/>
                  </a:lnTo>
                  <a:lnTo>
                    <a:pt x="651" y="113"/>
                  </a:lnTo>
                  <a:lnTo>
                    <a:pt x="651" y="115"/>
                  </a:lnTo>
                  <a:lnTo>
                    <a:pt x="649" y="117"/>
                  </a:lnTo>
                  <a:lnTo>
                    <a:pt x="649" y="117"/>
                  </a:lnTo>
                  <a:lnTo>
                    <a:pt x="651" y="117"/>
                  </a:lnTo>
                  <a:lnTo>
                    <a:pt x="653" y="117"/>
                  </a:lnTo>
                  <a:lnTo>
                    <a:pt x="655" y="117"/>
                  </a:lnTo>
                  <a:lnTo>
                    <a:pt x="655" y="119"/>
                  </a:lnTo>
                  <a:lnTo>
                    <a:pt x="655" y="119"/>
                  </a:lnTo>
                  <a:lnTo>
                    <a:pt x="655" y="121"/>
                  </a:lnTo>
                  <a:lnTo>
                    <a:pt x="655" y="121"/>
                  </a:lnTo>
                  <a:lnTo>
                    <a:pt x="657" y="121"/>
                  </a:lnTo>
                  <a:lnTo>
                    <a:pt x="655" y="123"/>
                  </a:lnTo>
                  <a:lnTo>
                    <a:pt x="653" y="123"/>
                  </a:lnTo>
                  <a:lnTo>
                    <a:pt x="653" y="123"/>
                  </a:lnTo>
                  <a:lnTo>
                    <a:pt x="653" y="123"/>
                  </a:lnTo>
                  <a:lnTo>
                    <a:pt x="653" y="125"/>
                  </a:lnTo>
                  <a:lnTo>
                    <a:pt x="653" y="125"/>
                  </a:lnTo>
                  <a:lnTo>
                    <a:pt x="655" y="127"/>
                  </a:lnTo>
                  <a:lnTo>
                    <a:pt x="651" y="129"/>
                  </a:lnTo>
                  <a:lnTo>
                    <a:pt x="649" y="129"/>
                  </a:lnTo>
                  <a:lnTo>
                    <a:pt x="649" y="127"/>
                  </a:lnTo>
                  <a:lnTo>
                    <a:pt x="647" y="127"/>
                  </a:lnTo>
                  <a:lnTo>
                    <a:pt x="647" y="129"/>
                  </a:lnTo>
                  <a:lnTo>
                    <a:pt x="649" y="131"/>
                  </a:lnTo>
                  <a:lnTo>
                    <a:pt x="649" y="131"/>
                  </a:lnTo>
                  <a:lnTo>
                    <a:pt x="649" y="133"/>
                  </a:lnTo>
                  <a:lnTo>
                    <a:pt x="647" y="135"/>
                  </a:lnTo>
                  <a:lnTo>
                    <a:pt x="647" y="135"/>
                  </a:lnTo>
                  <a:lnTo>
                    <a:pt x="649" y="135"/>
                  </a:lnTo>
                  <a:lnTo>
                    <a:pt x="649" y="135"/>
                  </a:lnTo>
                  <a:lnTo>
                    <a:pt x="647" y="140"/>
                  </a:lnTo>
                  <a:lnTo>
                    <a:pt x="647" y="142"/>
                  </a:lnTo>
                  <a:lnTo>
                    <a:pt x="647" y="144"/>
                  </a:lnTo>
                  <a:lnTo>
                    <a:pt x="645" y="144"/>
                  </a:lnTo>
                  <a:lnTo>
                    <a:pt x="645" y="144"/>
                  </a:lnTo>
                  <a:lnTo>
                    <a:pt x="643" y="146"/>
                  </a:lnTo>
                  <a:lnTo>
                    <a:pt x="643" y="148"/>
                  </a:lnTo>
                  <a:lnTo>
                    <a:pt x="645" y="148"/>
                  </a:lnTo>
                  <a:lnTo>
                    <a:pt x="643" y="150"/>
                  </a:lnTo>
                  <a:lnTo>
                    <a:pt x="641" y="150"/>
                  </a:lnTo>
                  <a:lnTo>
                    <a:pt x="641" y="152"/>
                  </a:lnTo>
                  <a:lnTo>
                    <a:pt x="641" y="152"/>
                  </a:lnTo>
                  <a:lnTo>
                    <a:pt x="641" y="152"/>
                  </a:lnTo>
                  <a:lnTo>
                    <a:pt x="641" y="154"/>
                  </a:lnTo>
                  <a:lnTo>
                    <a:pt x="641" y="156"/>
                  </a:lnTo>
                  <a:lnTo>
                    <a:pt x="643" y="156"/>
                  </a:lnTo>
                  <a:lnTo>
                    <a:pt x="643" y="158"/>
                  </a:lnTo>
                  <a:lnTo>
                    <a:pt x="641" y="160"/>
                  </a:lnTo>
                  <a:lnTo>
                    <a:pt x="641" y="162"/>
                  </a:lnTo>
                  <a:lnTo>
                    <a:pt x="641" y="164"/>
                  </a:lnTo>
                  <a:lnTo>
                    <a:pt x="643" y="164"/>
                  </a:lnTo>
                  <a:lnTo>
                    <a:pt x="643" y="164"/>
                  </a:lnTo>
                  <a:lnTo>
                    <a:pt x="643" y="164"/>
                  </a:lnTo>
                  <a:lnTo>
                    <a:pt x="641" y="166"/>
                  </a:lnTo>
                  <a:lnTo>
                    <a:pt x="641" y="168"/>
                  </a:lnTo>
                  <a:lnTo>
                    <a:pt x="641" y="170"/>
                  </a:lnTo>
                  <a:lnTo>
                    <a:pt x="641" y="172"/>
                  </a:lnTo>
                  <a:lnTo>
                    <a:pt x="641" y="172"/>
                  </a:lnTo>
                  <a:lnTo>
                    <a:pt x="641" y="172"/>
                  </a:lnTo>
                  <a:lnTo>
                    <a:pt x="641" y="170"/>
                  </a:lnTo>
                  <a:lnTo>
                    <a:pt x="641" y="170"/>
                  </a:lnTo>
                  <a:lnTo>
                    <a:pt x="643" y="170"/>
                  </a:lnTo>
                  <a:lnTo>
                    <a:pt x="643" y="172"/>
                  </a:lnTo>
                  <a:lnTo>
                    <a:pt x="641" y="174"/>
                  </a:lnTo>
                  <a:lnTo>
                    <a:pt x="641" y="174"/>
                  </a:lnTo>
                  <a:lnTo>
                    <a:pt x="641" y="176"/>
                  </a:lnTo>
                  <a:lnTo>
                    <a:pt x="641" y="176"/>
                  </a:lnTo>
                  <a:lnTo>
                    <a:pt x="641" y="178"/>
                  </a:lnTo>
                  <a:lnTo>
                    <a:pt x="639" y="185"/>
                  </a:lnTo>
                  <a:lnTo>
                    <a:pt x="641" y="183"/>
                  </a:lnTo>
                  <a:lnTo>
                    <a:pt x="641" y="183"/>
                  </a:lnTo>
                  <a:lnTo>
                    <a:pt x="643" y="183"/>
                  </a:lnTo>
                  <a:lnTo>
                    <a:pt x="641" y="185"/>
                  </a:lnTo>
                  <a:lnTo>
                    <a:pt x="641" y="187"/>
                  </a:lnTo>
                  <a:lnTo>
                    <a:pt x="641" y="191"/>
                  </a:lnTo>
                  <a:lnTo>
                    <a:pt x="643" y="191"/>
                  </a:lnTo>
                  <a:lnTo>
                    <a:pt x="643" y="193"/>
                  </a:lnTo>
                  <a:lnTo>
                    <a:pt x="643" y="193"/>
                  </a:lnTo>
                  <a:lnTo>
                    <a:pt x="645" y="197"/>
                  </a:lnTo>
                  <a:lnTo>
                    <a:pt x="647" y="199"/>
                  </a:lnTo>
                  <a:lnTo>
                    <a:pt x="647" y="201"/>
                  </a:lnTo>
                  <a:lnTo>
                    <a:pt x="649" y="201"/>
                  </a:lnTo>
                  <a:lnTo>
                    <a:pt x="651" y="201"/>
                  </a:lnTo>
                  <a:lnTo>
                    <a:pt x="651" y="199"/>
                  </a:lnTo>
                  <a:lnTo>
                    <a:pt x="651" y="197"/>
                  </a:lnTo>
                  <a:lnTo>
                    <a:pt x="651" y="193"/>
                  </a:lnTo>
                  <a:lnTo>
                    <a:pt x="651" y="193"/>
                  </a:lnTo>
                  <a:lnTo>
                    <a:pt x="651" y="191"/>
                  </a:lnTo>
                  <a:lnTo>
                    <a:pt x="651" y="191"/>
                  </a:lnTo>
                  <a:lnTo>
                    <a:pt x="653" y="191"/>
                  </a:lnTo>
                  <a:lnTo>
                    <a:pt x="653" y="195"/>
                  </a:lnTo>
                  <a:lnTo>
                    <a:pt x="653" y="197"/>
                  </a:lnTo>
                  <a:lnTo>
                    <a:pt x="655" y="195"/>
                  </a:lnTo>
                  <a:lnTo>
                    <a:pt x="655" y="195"/>
                  </a:lnTo>
                  <a:lnTo>
                    <a:pt x="653" y="193"/>
                  </a:lnTo>
                  <a:lnTo>
                    <a:pt x="653" y="191"/>
                  </a:lnTo>
                  <a:lnTo>
                    <a:pt x="653" y="189"/>
                  </a:lnTo>
                  <a:lnTo>
                    <a:pt x="653" y="187"/>
                  </a:lnTo>
                  <a:lnTo>
                    <a:pt x="653" y="176"/>
                  </a:lnTo>
                  <a:lnTo>
                    <a:pt x="653" y="176"/>
                  </a:lnTo>
                  <a:lnTo>
                    <a:pt x="653" y="174"/>
                  </a:lnTo>
                  <a:lnTo>
                    <a:pt x="653" y="172"/>
                  </a:lnTo>
                  <a:lnTo>
                    <a:pt x="655" y="170"/>
                  </a:lnTo>
                  <a:lnTo>
                    <a:pt x="655" y="168"/>
                  </a:lnTo>
                  <a:lnTo>
                    <a:pt x="653" y="168"/>
                  </a:lnTo>
                  <a:lnTo>
                    <a:pt x="653" y="166"/>
                  </a:lnTo>
                  <a:lnTo>
                    <a:pt x="653" y="166"/>
                  </a:lnTo>
                  <a:lnTo>
                    <a:pt x="655" y="162"/>
                  </a:lnTo>
                  <a:lnTo>
                    <a:pt x="655" y="162"/>
                  </a:lnTo>
                  <a:lnTo>
                    <a:pt x="655" y="160"/>
                  </a:lnTo>
                  <a:lnTo>
                    <a:pt x="661" y="158"/>
                  </a:lnTo>
                  <a:lnTo>
                    <a:pt x="661" y="158"/>
                  </a:lnTo>
                  <a:lnTo>
                    <a:pt x="659" y="158"/>
                  </a:lnTo>
                  <a:lnTo>
                    <a:pt x="659" y="158"/>
                  </a:lnTo>
                  <a:lnTo>
                    <a:pt x="657" y="158"/>
                  </a:lnTo>
                  <a:lnTo>
                    <a:pt x="657" y="156"/>
                  </a:lnTo>
                  <a:lnTo>
                    <a:pt x="659" y="154"/>
                  </a:lnTo>
                  <a:lnTo>
                    <a:pt x="659" y="152"/>
                  </a:lnTo>
                  <a:lnTo>
                    <a:pt x="661" y="154"/>
                  </a:lnTo>
                  <a:lnTo>
                    <a:pt x="661" y="156"/>
                  </a:lnTo>
                  <a:lnTo>
                    <a:pt x="663" y="156"/>
                  </a:lnTo>
                  <a:lnTo>
                    <a:pt x="663" y="158"/>
                  </a:lnTo>
                  <a:lnTo>
                    <a:pt x="665" y="158"/>
                  </a:lnTo>
                  <a:lnTo>
                    <a:pt x="665" y="156"/>
                  </a:lnTo>
                  <a:lnTo>
                    <a:pt x="667" y="154"/>
                  </a:lnTo>
                  <a:lnTo>
                    <a:pt x="669" y="152"/>
                  </a:lnTo>
                  <a:lnTo>
                    <a:pt x="669" y="148"/>
                  </a:lnTo>
                  <a:lnTo>
                    <a:pt x="667" y="148"/>
                  </a:lnTo>
                  <a:lnTo>
                    <a:pt x="667" y="146"/>
                  </a:lnTo>
                  <a:lnTo>
                    <a:pt x="667" y="142"/>
                  </a:lnTo>
                  <a:lnTo>
                    <a:pt x="669" y="137"/>
                  </a:lnTo>
                  <a:lnTo>
                    <a:pt x="669" y="133"/>
                  </a:lnTo>
                  <a:lnTo>
                    <a:pt x="671" y="119"/>
                  </a:lnTo>
                  <a:lnTo>
                    <a:pt x="676" y="115"/>
                  </a:lnTo>
                  <a:lnTo>
                    <a:pt x="676" y="113"/>
                  </a:lnTo>
                  <a:lnTo>
                    <a:pt x="674" y="111"/>
                  </a:lnTo>
                  <a:lnTo>
                    <a:pt x="676" y="111"/>
                  </a:lnTo>
                  <a:lnTo>
                    <a:pt x="676" y="109"/>
                  </a:lnTo>
                  <a:lnTo>
                    <a:pt x="676" y="109"/>
                  </a:lnTo>
                  <a:lnTo>
                    <a:pt x="674" y="109"/>
                  </a:lnTo>
                  <a:lnTo>
                    <a:pt x="674" y="105"/>
                  </a:lnTo>
                  <a:lnTo>
                    <a:pt x="674" y="103"/>
                  </a:lnTo>
                  <a:lnTo>
                    <a:pt x="674" y="103"/>
                  </a:lnTo>
                  <a:lnTo>
                    <a:pt x="674" y="101"/>
                  </a:lnTo>
                  <a:lnTo>
                    <a:pt x="676" y="101"/>
                  </a:lnTo>
                  <a:lnTo>
                    <a:pt x="676" y="99"/>
                  </a:lnTo>
                  <a:lnTo>
                    <a:pt x="676" y="99"/>
                  </a:lnTo>
                  <a:lnTo>
                    <a:pt x="676" y="99"/>
                  </a:lnTo>
                  <a:close/>
                  <a:moveTo>
                    <a:pt x="688" y="94"/>
                  </a:moveTo>
                  <a:lnTo>
                    <a:pt x="686" y="94"/>
                  </a:lnTo>
                  <a:lnTo>
                    <a:pt x="686" y="94"/>
                  </a:lnTo>
                  <a:lnTo>
                    <a:pt x="686" y="97"/>
                  </a:lnTo>
                  <a:lnTo>
                    <a:pt x="684" y="101"/>
                  </a:lnTo>
                  <a:lnTo>
                    <a:pt x="684" y="101"/>
                  </a:lnTo>
                  <a:lnTo>
                    <a:pt x="684" y="105"/>
                  </a:lnTo>
                  <a:lnTo>
                    <a:pt x="684" y="107"/>
                  </a:lnTo>
                  <a:lnTo>
                    <a:pt x="682" y="107"/>
                  </a:lnTo>
                  <a:lnTo>
                    <a:pt x="682" y="109"/>
                  </a:lnTo>
                  <a:lnTo>
                    <a:pt x="682" y="109"/>
                  </a:lnTo>
                  <a:lnTo>
                    <a:pt x="680" y="109"/>
                  </a:lnTo>
                  <a:lnTo>
                    <a:pt x="680" y="109"/>
                  </a:lnTo>
                  <a:lnTo>
                    <a:pt x="682" y="111"/>
                  </a:lnTo>
                  <a:lnTo>
                    <a:pt x="682" y="111"/>
                  </a:lnTo>
                  <a:lnTo>
                    <a:pt x="682" y="113"/>
                  </a:lnTo>
                  <a:lnTo>
                    <a:pt x="682" y="113"/>
                  </a:lnTo>
                  <a:lnTo>
                    <a:pt x="680" y="113"/>
                  </a:lnTo>
                  <a:lnTo>
                    <a:pt x="680" y="113"/>
                  </a:lnTo>
                  <a:lnTo>
                    <a:pt x="680" y="113"/>
                  </a:lnTo>
                  <a:lnTo>
                    <a:pt x="682" y="113"/>
                  </a:lnTo>
                  <a:lnTo>
                    <a:pt x="684" y="111"/>
                  </a:lnTo>
                  <a:lnTo>
                    <a:pt x="686" y="107"/>
                  </a:lnTo>
                  <a:lnTo>
                    <a:pt x="688" y="92"/>
                  </a:lnTo>
                  <a:lnTo>
                    <a:pt x="688" y="94"/>
                  </a:lnTo>
                  <a:close/>
                  <a:moveTo>
                    <a:pt x="655" y="236"/>
                  </a:moveTo>
                  <a:lnTo>
                    <a:pt x="653" y="228"/>
                  </a:lnTo>
                  <a:lnTo>
                    <a:pt x="651" y="226"/>
                  </a:lnTo>
                  <a:lnTo>
                    <a:pt x="649" y="226"/>
                  </a:lnTo>
                  <a:lnTo>
                    <a:pt x="647" y="228"/>
                  </a:lnTo>
                  <a:lnTo>
                    <a:pt x="643" y="228"/>
                  </a:lnTo>
                  <a:lnTo>
                    <a:pt x="639" y="228"/>
                  </a:lnTo>
                  <a:lnTo>
                    <a:pt x="635" y="228"/>
                  </a:lnTo>
                  <a:lnTo>
                    <a:pt x="626" y="226"/>
                  </a:lnTo>
                  <a:lnTo>
                    <a:pt x="624" y="226"/>
                  </a:lnTo>
                  <a:lnTo>
                    <a:pt x="622" y="230"/>
                  </a:lnTo>
                  <a:lnTo>
                    <a:pt x="622" y="230"/>
                  </a:lnTo>
                  <a:lnTo>
                    <a:pt x="624" y="232"/>
                  </a:lnTo>
                  <a:lnTo>
                    <a:pt x="624" y="232"/>
                  </a:lnTo>
                  <a:lnTo>
                    <a:pt x="624" y="234"/>
                  </a:lnTo>
                  <a:lnTo>
                    <a:pt x="624" y="234"/>
                  </a:lnTo>
                  <a:lnTo>
                    <a:pt x="624" y="236"/>
                  </a:lnTo>
                  <a:lnTo>
                    <a:pt x="626" y="238"/>
                  </a:lnTo>
                  <a:lnTo>
                    <a:pt x="624" y="238"/>
                  </a:lnTo>
                  <a:lnTo>
                    <a:pt x="624" y="238"/>
                  </a:lnTo>
                  <a:lnTo>
                    <a:pt x="622" y="236"/>
                  </a:lnTo>
                  <a:lnTo>
                    <a:pt x="622" y="236"/>
                  </a:lnTo>
                  <a:lnTo>
                    <a:pt x="620" y="234"/>
                  </a:lnTo>
                  <a:lnTo>
                    <a:pt x="618" y="234"/>
                  </a:lnTo>
                  <a:lnTo>
                    <a:pt x="616" y="234"/>
                  </a:lnTo>
                  <a:lnTo>
                    <a:pt x="614" y="236"/>
                  </a:lnTo>
                  <a:lnTo>
                    <a:pt x="612" y="238"/>
                  </a:lnTo>
                  <a:lnTo>
                    <a:pt x="610" y="238"/>
                  </a:lnTo>
                  <a:lnTo>
                    <a:pt x="608" y="240"/>
                  </a:lnTo>
                  <a:lnTo>
                    <a:pt x="606" y="240"/>
                  </a:lnTo>
                  <a:lnTo>
                    <a:pt x="606" y="240"/>
                  </a:lnTo>
                  <a:lnTo>
                    <a:pt x="608" y="238"/>
                  </a:lnTo>
                  <a:lnTo>
                    <a:pt x="610" y="236"/>
                  </a:lnTo>
                  <a:lnTo>
                    <a:pt x="610" y="236"/>
                  </a:lnTo>
                  <a:lnTo>
                    <a:pt x="608" y="234"/>
                  </a:lnTo>
                  <a:lnTo>
                    <a:pt x="608" y="234"/>
                  </a:lnTo>
                  <a:lnTo>
                    <a:pt x="608" y="232"/>
                  </a:lnTo>
                  <a:lnTo>
                    <a:pt x="608" y="230"/>
                  </a:lnTo>
                  <a:lnTo>
                    <a:pt x="608" y="230"/>
                  </a:lnTo>
                  <a:lnTo>
                    <a:pt x="602" y="228"/>
                  </a:lnTo>
                  <a:lnTo>
                    <a:pt x="602" y="228"/>
                  </a:lnTo>
                  <a:lnTo>
                    <a:pt x="600" y="228"/>
                  </a:lnTo>
                  <a:lnTo>
                    <a:pt x="600" y="228"/>
                  </a:lnTo>
                  <a:lnTo>
                    <a:pt x="598" y="228"/>
                  </a:lnTo>
                  <a:lnTo>
                    <a:pt x="598" y="226"/>
                  </a:lnTo>
                  <a:lnTo>
                    <a:pt x="598" y="226"/>
                  </a:lnTo>
                  <a:lnTo>
                    <a:pt x="598" y="226"/>
                  </a:lnTo>
                  <a:lnTo>
                    <a:pt x="600" y="226"/>
                  </a:lnTo>
                  <a:lnTo>
                    <a:pt x="600" y="224"/>
                  </a:lnTo>
                  <a:lnTo>
                    <a:pt x="594" y="224"/>
                  </a:lnTo>
                  <a:lnTo>
                    <a:pt x="592" y="224"/>
                  </a:lnTo>
                  <a:lnTo>
                    <a:pt x="592" y="222"/>
                  </a:lnTo>
                  <a:lnTo>
                    <a:pt x="590" y="215"/>
                  </a:lnTo>
                  <a:lnTo>
                    <a:pt x="587" y="209"/>
                  </a:lnTo>
                  <a:lnTo>
                    <a:pt x="585" y="209"/>
                  </a:lnTo>
                  <a:lnTo>
                    <a:pt x="585" y="209"/>
                  </a:lnTo>
                  <a:lnTo>
                    <a:pt x="583" y="213"/>
                  </a:lnTo>
                  <a:lnTo>
                    <a:pt x="581" y="213"/>
                  </a:lnTo>
                  <a:lnTo>
                    <a:pt x="579" y="213"/>
                  </a:lnTo>
                  <a:lnTo>
                    <a:pt x="577" y="209"/>
                  </a:lnTo>
                  <a:lnTo>
                    <a:pt x="575" y="209"/>
                  </a:lnTo>
                  <a:lnTo>
                    <a:pt x="567" y="211"/>
                  </a:lnTo>
                  <a:lnTo>
                    <a:pt x="565" y="211"/>
                  </a:lnTo>
                  <a:lnTo>
                    <a:pt x="563" y="209"/>
                  </a:lnTo>
                  <a:lnTo>
                    <a:pt x="561" y="209"/>
                  </a:lnTo>
                  <a:lnTo>
                    <a:pt x="559" y="209"/>
                  </a:lnTo>
                  <a:lnTo>
                    <a:pt x="559" y="207"/>
                  </a:lnTo>
                  <a:lnTo>
                    <a:pt x="557" y="205"/>
                  </a:lnTo>
                  <a:lnTo>
                    <a:pt x="555" y="205"/>
                  </a:lnTo>
                  <a:lnTo>
                    <a:pt x="555" y="205"/>
                  </a:lnTo>
                  <a:lnTo>
                    <a:pt x="553" y="207"/>
                  </a:lnTo>
                  <a:lnTo>
                    <a:pt x="551" y="207"/>
                  </a:lnTo>
                  <a:lnTo>
                    <a:pt x="551" y="207"/>
                  </a:lnTo>
                  <a:lnTo>
                    <a:pt x="551" y="207"/>
                  </a:lnTo>
                  <a:lnTo>
                    <a:pt x="549" y="207"/>
                  </a:lnTo>
                  <a:lnTo>
                    <a:pt x="542" y="207"/>
                  </a:lnTo>
                  <a:lnTo>
                    <a:pt x="536" y="207"/>
                  </a:lnTo>
                  <a:lnTo>
                    <a:pt x="534" y="207"/>
                  </a:lnTo>
                  <a:lnTo>
                    <a:pt x="534" y="207"/>
                  </a:lnTo>
                  <a:lnTo>
                    <a:pt x="534" y="207"/>
                  </a:lnTo>
                  <a:lnTo>
                    <a:pt x="532" y="207"/>
                  </a:lnTo>
                  <a:lnTo>
                    <a:pt x="532" y="205"/>
                  </a:lnTo>
                  <a:lnTo>
                    <a:pt x="534" y="203"/>
                  </a:lnTo>
                  <a:lnTo>
                    <a:pt x="536" y="203"/>
                  </a:lnTo>
                  <a:lnTo>
                    <a:pt x="536" y="205"/>
                  </a:lnTo>
                  <a:lnTo>
                    <a:pt x="540" y="203"/>
                  </a:lnTo>
                  <a:lnTo>
                    <a:pt x="540" y="203"/>
                  </a:lnTo>
                  <a:lnTo>
                    <a:pt x="542" y="205"/>
                  </a:lnTo>
                  <a:lnTo>
                    <a:pt x="544" y="205"/>
                  </a:lnTo>
                  <a:lnTo>
                    <a:pt x="544" y="203"/>
                  </a:lnTo>
                  <a:lnTo>
                    <a:pt x="547" y="203"/>
                  </a:lnTo>
                  <a:lnTo>
                    <a:pt x="547" y="203"/>
                  </a:lnTo>
                  <a:lnTo>
                    <a:pt x="549" y="203"/>
                  </a:lnTo>
                  <a:lnTo>
                    <a:pt x="549" y="203"/>
                  </a:lnTo>
                  <a:lnTo>
                    <a:pt x="551" y="203"/>
                  </a:lnTo>
                  <a:lnTo>
                    <a:pt x="551" y="203"/>
                  </a:lnTo>
                  <a:lnTo>
                    <a:pt x="551" y="205"/>
                  </a:lnTo>
                  <a:lnTo>
                    <a:pt x="553" y="205"/>
                  </a:lnTo>
                  <a:lnTo>
                    <a:pt x="553" y="205"/>
                  </a:lnTo>
                  <a:lnTo>
                    <a:pt x="553" y="205"/>
                  </a:lnTo>
                  <a:lnTo>
                    <a:pt x="555" y="201"/>
                  </a:lnTo>
                  <a:lnTo>
                    <a:pt x="555" y="201"/>
                  </a:lnTo>
                  <a:lnTo>
                    <a:pt x="557" y="201"/>
                  </a:lnTo>
                  <a:lnTo>
                    <a:pt x="557" y="201"/>
                  </a:lnTo>
                  <a:lnTo>
                    <a:pt x="561" y="205"/>
                  </a:lnTo>
                  <a:lnTo>
                    <a:pt x="563" y="207"/>
                  </a:lnTo>
                  <a:lnTo>
                    <a:pt x="563" y="207"/>
                  </a:lnTo>
                  <a:lnTo>
                    <a:pt x="565" y="207"/>
                  </a:lnTo>
                  <a:lnTo>
                    <a:pt x="567" y="205"/>
                  </a:lnTo>
                  <a:lnTo>
                    <a:pt x="567" y="205"/>
                  </a:lnTo>
                  <a:lnTo>
                    <a:pt x="567" y="203"/>
                  </a:lnTo>
                  <a:lnTo>
                    <a:pt x="567" y="201"/>
                  </a:lnTo>
                  <a:lnTo>
                    <a:pt x="567" y="199"/>
                  </a:lnTo>
                  <a:lnTo>
                    <a:pt x="567" y="199"/>
                  </a:lnTo>
                  <a:lnTo>
                    <a:pt x="569" y="201"/>
                  </a:lnTo>
                  <a:lnTo>
                    <a:pt x="569" y="203"/>
                  </a:lnTo>
                  <a:lnTo>
                    <a:pt x="569" y="205"/>
                  </a:lnTo>
                  <a:lnTo>
                    <a:pt x="571" y="205"/>
                  </a:lnTo>
                  <a:lnTo>
                    <a:pt x="571" y="205"/>
                  </a:lnTo>
                  <a:lnTo>
                    <a:pt x="575" y="207"/>
                  </a:lnTo>
                  <a:lnTo>
                    <a:pt x="577" y="207"/>
                  </a:lnTo>
                  <a:lnTo>
                    <a:pt x="577" y="207"/>
                  </a:lnTo>
                  <a:lnTo>
                    <a:pt x="579" y="207"/>
                  </a:lnTo>
                  <a:lnTo>
                    <a:pt x="579" y="209"/>
                  </a:lnTo>
                  <a:lnTo>
                    <a:pt x="579" y="209"/>
                  </a:lnTo>
                  <a:lnTo>
                    <a:pt x="581" y="209"/>
                  </a:lnTo>
                  <a:lnTo>
                    <a:pt x="581" y="209"/>
                  </a:lnTo>
                  <a:lnTo>
                    <a:pt x="581" y="207"/>
                  </a:lnTo>
                  <a:lnTo>
                    <a:pt x="581" y="207"/>
                  </a:lnTo>
                  <a:lnTo>
                    <a:pt x="583" y="207"/>
                  </a:lnTo>
                  <a:lnTo>
                    <a:pt x="585" y="205"/>
                  </a:lnTo>
                  <a:lnTo>
                    <a:pt x="587" y="205"/>
                  </a:lnTo>
                  <a:lnTo>
                    <a:pt x="590" y="205"/>
                  </a:lnTo>
                  <a:lnTo>
                    <a:pt x="592" y="207"/>
                  </a:lnTo>
                  <a:lnTo>
                    <a:pt x="592" y="209"/>
                  </a:lnTo>
                  <a:lnTo>
                    <a:pt x="592" y="213"/>
                  </a:lnTo>
                  <a:lnTo>
                    <a:pt x="594" y="213"/>
                  </a:lnTo>
                  <a:lnTo>
                    <a:pt x="594" y="215"/>
                  </a:lnTo>
                  <a:lnTo>
                    <a:pt x="596" y="215"/>
                  </a:lnTo>
                  <a:lnTo>
                    <a:pt x="598" y="217"/>
                  </a:lnTo>
                  <a:lnTo>
                    <a:pt x="600" y="217"/>
                  </a:lnTo>
                  <a:lnTo>
                    <a:pt x="608" y="222"/>
                  </a:lnTo>
                  <a:lnTo>
                    <a:pt x="610" y="224"/>
                  </a:lnTo>
                  <a:lnTo>
                    <a:pt x="612" y="228"/>
                  </a:lnTo>
                  <a:lnTo>
                    <a:pt x="614" y="228"/>
                  </a:lnTo>
                  <a:lnTo>
                    <a:pt x="614" y="226"/>
                  </a:lnTo>
                  <a:lnTo>
                    <a:pt x="616" y="224"/>
                  </a:lnTo>
                  <a:lnTo>
                    <a:pt x="618" y="224"/>
                  </a:lnTo>
                  <a:lnTo>
                    <a:pt x="618" y="222"/>
                  </a:lnTo>
                  <a:lnTo>
                    <a:pt x="620" y="222"/>
                  </a:lnTo>
                  <a:lnTo>
                    <a:pt x="622" y="222"/>
                  </a:lnTo>
                  <a:lnTo>
                    <a:pt x="622" y="219"/>
                  </a:lnTo>
                  <a:lnTo>
                    <a:pt x="624" y="217"/>
                  </a:lnTo>
                  <a:lnTo>
                    <a:pt x="624" y="215"/>
                  </a:lnTo>
                  <a:lnTo>
                    <a:pt x="622" y="211"/>
                  </a:lnTo>
                  <a:lnTo>
                    <a:pt x="622" y="211"/>
                  </a:lnTo>
                  <a:lnTo>
                    <a:pt x="618" y="213"/>
                  </a:lnTo>
                  <a:lnTo>
                    <a:pt x="616" y="211"/>
                  </a:lnTo>
                  <a:lnTo>
                    <a:pt x="618" y="211"/>
                  </a:lnTo>
                  <a:lnTo>
                    <a:pt x="620" y="209"/>
                  </a:lnTo>
                  <a:lnTo>
                    <a:pt x="620" y="209"/>
                  </a:lnTo>
                  <a:lnTo>
                    <a:pt x="620" y="207"/>
                  </a:lnTo>
                  <a:lnTo>
                    <a:pt x="618" y="205"/>
                  </a:lnTo>
                  <a:lnTo>
                    <a:pt x="614" y="205"/>
                  </a:lnTo>
                  <a:lnTo>
                    <a:pt x="614" y="205"/>
                  </a:lnTo>
                  <a:lnTo>
                    <a:pt x="614" y="205"/>
                  </a:lnTo>
                  <a:lnTo>
                    <a:pt x="612" y="205"/>
                  </a:lnTo>
                  <a:lnTo>
                    <a:pt x="612" y="205"/>
                  </a:lnTo>
                  <a:lnTo>
                    <a:pt x="612" y="203"/>
                  </a:lnTo>
                  <a:lnTo>
                    <a:pt x="610" y="201"/>
                  </a:lnTo>
                  <a:lnTo>
                    <a:pt x="610" y="201"/>
                  </a:lnTo>
                  <a:lnTo>
                    <a:pt x="612" y="201"/>
                  </a:lnTo>
                  <a:lnTo>
                    <a:pt x="610" y="199"/>
                  </a:lnTo>
                  <a:lnTo>
                    <a:pt x="608" y="199"/>
                  </a:lnTo>
                  <a:lnTo>
                    <a:pt x="606" y="201"/>
                  </a:lnTo>
                  <a:lnTo>
                    <a:pt x="604" y="201"/>
                  </a:lnTo>
                  <a:lnTo>
                    <a:pt x="602" y="201"/>
                  </a:lnTo>
                  <a:lnTo>
                    <a:pt x="598" y="199"/>
                  </a:lnTo>
                  <a:lnTo>
                    <a:pt x="590" y="195"/>
                  </a:lnTo>
                  <a:lnTo>
                    <a:pt x="583" y="191"/>
                  </a:lnTo>
                  <a:lnTo>
                    <a:pt x="581" y="187"/>
                  </a:lnTo>
                  <a:lnTo>
                    <a:pt x="579" y="187"/>
                  </a:lnTo>
                  <a:lnTo>
                    <a:pt x="577" y="185"/>
                  </a:lnTo>
                  <a:lnTo>
                    <a:pt x="573" y="181"/>
                  </a:lnTo>
                  <a:lnTo>
                    <a:pt x="571" y="178"/>
                  </a:lnTo>
                  <a:lnTo>
                    <a:pt x="571" y="178"/>
                  </a:lnTo>
                  <a:lnTo>
                    <a:pt x="569" y="178"/>
                  </a:lnTo>
                  <a:lnTo>
                    <a:pt x="569" y="178"/>
                  </a:lnTo>
                  <a:lnTo>
                    <a:pt x="569" y="176"/>
                  </a:lnTo>
                  <a:lnTo>
                    <a:pt x="569" y="176"/>
                  </a:lnTo>
                  <a:lnTo>
                    <a:pt x="569" y="174"/>
                  </a:lnTo>
                  <a:lnTo>
                    <a:pt x="569" y="174"/>
                  </a:lnTo>
                  <a:lnTo>
                    <a:pt x="575" y="178"/>
                  </a:lnTo>
                  <a:lnTo>
                    <a:pt x="579" y="183"/>
                  </a:lnTo>
                  <a:lnTo>
                    <a:pt x="581" y="185"/>
                  </a:lnTo>
                  <a:lnTo>
                    <a:pt x="583" y="185"/>
                  </a:lnTo>
                  <a:lnTo>
                    <a:pt x="583" y="185"/>
                  </a:lnTo>
                  <a:lnTo>
                    <a:pt x="592" y="193"/>
                  </a:lnTo>
                  <a:lnTo>
                    <a:pt x="592" y="193"/>
                  </a:lnTo>
                  <a:lnTo>
                    <a:pt x="594" y="193"/>
                  </a:lnTo>
                  <a:lnTo>
                    <a:pt x="594" y="193"/>
                  </a:lnTo>
                  <a:lnTo>
                    <a:pt x="596" y="195"/>
                  </a:lnTo>
                  <a:lnTo>
                    <a:pt x="598" y="195"/>
                  </a:lnTo>
                  <a:lnTo>
                    <a:pt x="602" y="197"/>
                  </a:lnTo>
                  <a:lnTo>
                    <a:pt x="604" y="197"/>
                  </a:lnTo>
                  <a:lnTo>
                    <a:pt x="610" y="195"/>
                  </a:lnTo>
                  <a:lnTo>
                    <a:pt x="610" y="193"/>
                  </a:lnTo>
                  <a:lnTo>
                    <a:pt x="610" y="193"/>
                  </a:lnTo>
                  <a:lnTo>
                    <a:pt x="608" y="191"/>
                  </a:lnTo>
                  <a:lnTo>
                    <a:pt x="608" y="191"/>
                  </a:lnTo>
                  <a:lnTo>
                    <a:pt x="606" y="191"/>
                  </a:lnTo>
                  <a:lnTo>
                    <a:pt x="604" y="191"/>
                  </a:lnTo>
                  <a:lnTo>
                    <a:pt x="604" y="191"/>
                  </a:lnTo>
                  <a:lnTo>
                    <a:pt x="606" y="189"/>
                  </a:lnTo>
                  <a:lnTo>
                    <a:pt x="606" y="189"/>
                  </a:lnTo>
                  <a:lnTo>
                    <a:pt x="606" y="187"/>
                  </a:lnTo>
                  <a:lnTo>
                    <a:pt x="606" y="187"/>
                  </a:lnTo>
                  <a:lnTo>
                    <a:pt x="604" y="187"/>
                  </a:lnTo>
                  <a:lnTo>
                    <a:pt x="602" y="187"/>
                  </a:lnTo>
                  <a:lnTo>
                    <a:pt x="602" y="185"/>
                  </a:lnTo>
                  <a:lnTo>
                    <a:pt x="602" y="185"/>
                  </a:lnTo>
                  <a:lnTo>
                    <a:pt x="602" y="183"/>
                  </a:lnTo>
                  <a:lnTo>
                    <a:pt x="604" y="183"/>
                  </a:lnTo>
                  <a:lnTo>
                    <a:pt x="604" y="183"/>
                  </a:lnTo>
                  <a:lnTo>
                    <a:pt x="606" y="183"/>
                  </a:lnTo>
                  <a:lnTo>
                    <a:pt x="604" y="183"/>
                  </a:lnTo>
                  <a:lnTo>
                    <a:pt x="604" y="181"/>
                  </a:lnTo>
                  <a:lnTo>
                    <a:pt x="604" y="181"/>
                  </a:lnTo>
                  <a:lnTo>
                    <a:pt x="602" y="181"/>
                  </a:lnTo>
                  <a:lnTo>
                    <a:pt x="602" y="178"/>
                  </a:lnTo>
                  <a:lnTo>
                    <a:pt x="604" y="178"/>
                  </a:lnTo>
                  <a:lnTo>
                    <a:pt x="608" y="183"/>
                  </a:lnTo>
                  <a:lnTo>
                    <a:pt x="610" y="183"/>
                  </a:lnTo>
                  <a:lnTo>
                    <a:pt x="610" y="183"/>
                  </a:lnTo>
                  <a:lnTo>
                    <a:pt x="612" y="183"/>
                  </a:lnTo>
                  <a:lnTo>
                    <a:pt x="612" y="185"/>
                  </a:lnTo>
                  <a:lnTo>
                    <a:pt x="616" y="187"/>
                  </a:lnTo>
                  <a:lnTo>
                    <a:pt x="618" y="189"/>
                  </a:lnTo>
                  <a:lnTo>
                    <a:pt x="618" y="189"/>
                  </a:lnTo>
                  <a:lnTo>
                    <a:pt x="618" y="185"/>
                  </a:lnTo>
                  <a:lnTo>
                    <a:pt x="618" y="178"/>
                  </a:lnTo>
                  <a:lnTo>
                    <a:pt x="618" y="176"/>
                  </a:lnTo>
                  <a:lnTo>
                    <a:pt x="616" y="174"/>
                  </a:lnTo>
                  <a:lnTo>
                    <a:pt x="616" y="174"/>
                  </a:lnTo>
                  <a:lnTo>
                    <a:pt x="614" y="174"/>
                  </a:lnTo>
                  <a:lnTo>
                    <a:pt x="614" y="174"/>
                  </a:lnTo>
                  <a:lnTo>
                    <a:pt x="614" y="172"/>
                  </a:lnTo>
                  <a:lnTo>
                    <a:pt x="614" y="170"/>
                  </a:lnTo>
                  <a:lnTo>
                    <a:pt x="614" y="170"/>
                  </a:lnTo>
                  <a:lnTo>
                    <a:pt x="616" y="170"/>
                  </a:lnTo>
                  <a:lnTo>
                    <a:pt x="616" y="168"/>
                  </a:lnTo>
                  <a:lnTo>
                    <a:pt x="612" y="166"/>
                  </a:lnTo>
                  <a:lnTo>
                    <a:pt x="612" y="166"/>
                  </a:lnTo>
                  <a:lnTo>
                    <a:pt x="612" y="168"/>
                  </a:lnTo>
                  <a:lnTo>
                    <a:pt x="610" y="170"/>
                  </a:lnTo>
                  <a:lnTo>
                    <a:pt x="610" y="170"/>
                  </a:lnTo>
                  <a:lnTo>
                    <a:pt x="606" y="168"/>
                  </a:lnTo>
                  <a:lnTo>
                    <a:pt x="604" y="168"/>
                  </a:lnTo>
                  <a:lnTo>
                    <a:pt x="602" y="168"/>
                  </a:lnTo>
                  <a:lnTo>
                    <a:pt x="602" y="166"/>
                  </a:lnTo>
                  <a:lnTo>
                    <a:pt x="604" y="166"/>
                  </a:lnTo>
                  <a:lnTo>
                    <a:pt x="608" y="164"/>
                  </a:lnTo>
                  <a:lnTo>
                    <a:pt x="610" y="164"/>
                  </a:lnTo>
                  <a:lnTo>
                    <a:pt x="610" y="162"/>
                  </a:lnTo>
                  <a:lnTo>
                    <a:pt x="608" y="162"/>
                  </a:lnTo>
                  <a:lnTo>
                    <a:pt x="604" y="162"/>
                  </a:lnTo>
                  <a:lnTo>
                    <a:pt x="600" y="162"/>
                  </a:lnTo>
                  <a:lnTo>
                    <a:pt x="598" y="160"/>
                  </a:lnTo>
                  <a:lnTo>
                    <a:pt x="596" y="160"/>
                  </a:lnTo>
                  <a:lnTo>
                    <a:pt x="594" y="160"/>
                  </a:lnTo>
                  <a:lnTo>
                    <a:pt x="590" y="160"/>
                  </a:lnTo>
                  <a:lnTo>
                    <a:pt x="587" y="160"/>
                  </a:lnTo>
                  <a:lnTo>
                    <a:pt x="585" y="158"/>
                  </a:lnTo>
                  <a:lnTo>
                    <a:pt x="585" y="156"/>
                  </a:lnTo>
                  <a:lnTo>
                    <a:pt x="583" y="156"/>
                  </a:lnTo>
                  <a:lnTo>
                    <a:pt x="583" y="154"/>
                  </a:lnTo>
                  <a:lnTo>
                    <a:pt x="583" y="154"/>
                  </a:lnTo>
                  <a:lnTo>
                    <a:pt x="581" y="152"/>
                  </a:lnTo>
                  <a:lnTo>
                    <a:pt x="581" y="150"/>
                  </a:lnTo>
                  <a:lnTo>
                    <a:pt x="577" y="148"/>
                  </a:lnTo>
                  <a:lnTo>
                    <a:pt x="577" y="148"/>
                  </a:lnTo>
                  <a:lnTo>
                    <a:pt x="573" y="148"/>
                  </a:lnTo>
                  <a:lnTo>
                    <a:pt x="573" y="148"/>
                  </a:lnTo>
                  <a:lnTo>
                    <a:pt x="573" y="146"/>
                  </a:lnTo>
                  <a:lnTo>
                    <a:pt x="573" y="146"/>
                  </a:lnTo>
                  <a:lnTo>
                    <a:pt x="573" y="146"/>
                  </a:lnTo>
                  <a:lnTo>
                    <a:pt x="573" y="146"/>
                  </a:lnTo>
                  <a:lnTo>
                    <a:pt x="571" y="146"/>
                  </a:lnTo>
                  <a:lnTo>
                    <a:pt x="571" y="146"/>
                  </a:lnTo>
                  <a:lnTo>
                    <a:pt x="569" y="146"/>
                  </a:lnTo>
                  <a:lnTo>
                    <a:pt x="569" y="146"/>
                  </a:lnTo>
                  <a:lnTo>
                    <a:pt x="567" y="144"/>
                  </a:lnTo>
                  <a:lnTo>
                    <a:pt x="567" y="144"/>
                  </a:lnTo>
                  <a:lnTo>
                    <a:pt x="565" y="144"/>
                  </a:lnTo>
                  <a:lnTo>
                    <a:pt x="563" y="140"/>
                  </a:lnTo>
                  <a:lnTo>
                    <a:pt x="563" y="140"/>
                  </a:lnTo>
                  <a:lnTo>
                    <a:pt x="561" y="137"/>
                  </a:lnTo>
                  <a:lnTo>
                    <a:pt x="561" y="135"/>
                  </a:lnTo>
                  <a:lnTo>
                    <a:pt x="559" y="135"/>
                  </a:lnTo>
                  <a:lnTo>
                    <a:pt x="557" y="135"/>
                  </a:lnTo>
                  <a:lnTo>
                    <a:pt x="555" y="135"/>
                  </a:lnTo>
                  <a:lnTo>
                    <a:pt x="555" y="133"/>
                  </a:lnTo>
                  <a:lnTo>
                    <a:pt x="553" y="131"/>
                  </a:lnTo>
                  <a:lnTo>
                    <a:pt x="553" y="131"/>
                  </a:lnTo>
                  <a:lnTo>
                    <a:pt x="551" y="131"/>
                  </a:lnTo>
                  <a:lnTo>
                    <a:pt x="551" y="129"/>
                  </a:lnTo>
                  <a:lnTo>
                    <a:pt x="549" y="129"/>
                  </a:lnTo>
                  <a:lnTo>
                    <a:pt x="549" y="129"/>
                  </a:lnTo>
                  <a:lnTo>
                    <a:pt x="547" y="123"/>
                  </a:lnTo>
                  <a:lnTo>
                    <a:pt x="547" y="123"/>
                  </a:lnTo>
                  <a:lnTo>
                    <a:pt x="544" y="121"/>
                  </a:lnTo>
                  <a:lnTo>
                    <a:pt x="542" y="121"/>
                  </a:lnTo>
                  <a:lnTo>
                    <a:pt x="542" y="119"/>
                  </a:lnTo>
                  <a:lnTo>
                    <a:pt x="536" y="119"/>
                  </a:lnTo>
                  <a:lnTo>
                    <a:pt x="534" y="119"/>
                  </a:lnTo>
                  <a:lnTo>
                    <a:pt x="534" y="119"/>
                  </a:lnTo>
                  <a:lnTo>
                    <a:pt x="534" y="117"/>
                  </a:lnTo>
                  <a:lnTo>
                    <a:pt x="534" y="115"/>
                  </a:lnTo>
                  <a:lnTo>
                    <a:pt x="532" y="115"/>
                  </a:lnTo>
                  <a:lnTo>
                    <a:pt x="532" y="115"/>
                  </a:lnTo>
                  <a:lnTo>
                    <a:pt x="532" y="115"/>
                  </a:lnTo>
                  <a:lnTo>
                    <a:pt x="528" y="117"/>
                  </a:lnTo>
                  <a:lnTo>
                    <a:pt x="526" y="115"/>
                  </a:lnTo>
                  <a:lnTo>
                    <a:pt x="526" y="115"/>
                  </a:lnTo>
                  <a:lnTo>
                    <a:pt x="526" y="113"/>
                  </a:lnTo>
                  <a:lnTo>
                    <a:pt x="528" y="113"/>
                  </a:lnTo>
                  <a:lnTo>
                    <a:pt x="532" y="113"/>
                  </a:lnTo>
                  <a:lnTo>
                    <a:pt x="534" y="115"/>
                  </a:lnTo>
                  <a:lnTo>
                    <a:pt x="534" y="115"/>
                  </a:lnTo>
                  <a:lnTo>
                    <a:pt x="536" y="117"/>
                  </a:lnTo>
                  <a:lnTo>
                    <a:pt x="536" y="117"/>
                  </a:lnTo>
                  <a:lnTo>
                    <a:pt x="538" y="117"/>
                  </a:lnTo>
                  <a:lnTo>
                    <a:pt x="542" y="117"/>
                  </a:lnTo>
                  <a:lnTo>
                    <a:pt x="542" y="119"/>
                  </a:lnTo>
                  <a:lnTo>
                    <a:pt x="544" y="119"/>
                  </a:lnTo>
                  <a:lnTo>
                    <a:pt x="547" y="121"/>
                  </a:lnTo>
                  <a:lnTo>
                    <a:pt x="551" y="127"/>
                  </a:lnTo>
                  <a:lnTo>
                    <a:pt x="551" y="127"/>
                  </a:lnTo>
                  <a:lnTo>
                    <a:pt x="555" y="129"/>
                  </a:lnTo>
                  <a:lnTo>
                    <a:pt x="557" y="131"/>
                  </a:lnTo>
                  <a:lnTo>
                    <a:pt x="563" y="133"/>
                  </a:lnTo>
                  <a:lnTo>
                    <a:pt x="565" y="135"/>
                  </a:lnTo>
                  <a:lnTo>
                    <a:pt x="569" y="142"/>
                  </a:lnTo>
                  <a:lnTo>
                    <a:pt x="569" y="142"/>
                  </a:lnTo>
                  <a:lnTo>
                    <a:pt x="571" y="142"/>
                  </a:lnTo>
                  <a:lnTo>
                    <a:pt x="571" y="142"/>
                  </a:lnTo>
                  <a:lnTo>
                    <a:pt x="573" y="140"/>
                  </a:lnTo>
                  <a:lnTo>
                    <a:pt x="573" y="142"/>
                  </a:lnTo>
                  <a:lnTo>
                    <a:pt x="573" y="144"/>
                  </a:lnTo>
                  <a:lnTo>
                    <a:pt x="575" y="144"/>
                  </a:lnTo>
                  <a:lnTo>
                    <a:pt x="575" y="144"/>
                  </a:lnTo>
                  <a:lnTo>
                    <a:pt x="575" y="142"/>
                  </a:lnTo>
                  <a:lnTo>
                    <a:pt x="577" y="144"/>
                  </a:lnTo>
                  <a:lnTo>
                    <a:pt x="577" y="144"/>
                  </a:lnTo>
                  <a:lnTo>
                    <a:pt x="577" y="144"/>
                  </a:lnTo>
                  <a:lnTo>
                    <a:pt x="581" y="146"/>
                  </a:lnTo>
                  <a:lnTo>
                    <a:pt x="581" y="146"/>
                  </a:lnTo>
                  <a:lnTo>
                    <a:pt x="583" y="148"/>
                  </a:lnTo>
                  <a:lnTo>
                    <a:pt x="585" y="152"/>
                  </a:lnTo>
                  <a:lnTo>
                    <a:pt x="587" y="154"/>
                  </a:lnTo>
                  <a:lnTo>
                    <a:pt x="587" y="154"/>
                  </a:lnTo>
                  <a:lnTo>
                    <a:pt x="590" y="156"/>
                  </a:lnTo>
                  <a:lnTo>
                    <a:pt x="590" y="158"/>
                  </a:lnTo>
                  <a:lnTo>
                    <a:pt x="592" y="156"/>
                  </a:lnTo>
                  <a:lnTo>
                    <a:pt x="592" y="152"/>
                  </a:lnTo>
                  <a:lnTo>
                    <a:pt x="592" y="152"/>
                  </a:lnTo>
                  <a:lnTo>
                    <a:pt x="594" y="152"/>
                  </a:lnTo>
                  <a:lnTo>
                    <a:pt x="594" y="154"/>
                  </a:lnTo>
                  <a:lnTo>
                    <a:pt x="596" y="154"/>
                  </a:lnTo>
                  <a:lnTo>
                    <a:pt x="596" y="156"/>
                  </a:lnTo>
                  <a:lnTo>
                    <a:pt x="596" y="156"/>
                  </a:lnTo>
                  <a:lnTo>
                    <a:pt x="596" y="154"/>
                  </a:lnTo>
                  <a:lnTo>
                    <a:pt x="598" y="156"/>
                  </a:lnTo>
                  <a:lnTo>
                    <a:pt x="598" y="156"/>
                  </a:lnTo>
                  <a:lnTo>
                    <a:pt x="600" y="156"/>
                  </a:lnTo>
                  <a:lnTo>
                    <a:pt x="604" y="158"/>
                  </a:lnTo>
                  <a:lnTo>
                    <a:pt x="606" y="158"/>
                  </a:lnTo>
                  <a:lnTo>
                    <a:pt x="608" y="156"/>
                  </a:lnTo>
                  <a:lnTo>
                    <a:pt x="606" y="156"/>
                  </a:lnTo>
                  <a:lnTo>
                    <a:pt x="606" y="156"/>
                  </a:lnTo>
                  <a:lnTo>
                    <a:pt x="604" y="154"/>
                  </a:lnTo>
                  <a:lnTo>
                    <a:pt x="604" y="152"/>
                  </a:lnTo>
                  <a:lnTo>
                    <a:pt x="604" y="152"/>
                  </a:lnTo>
                  <a:lnTo>
                    <a:pt x="604" y="152"/>
                  </a:lnTo>
                  <a:lnTo>
                    <a:pt x="606" y="150"/>
                  </a:lnTo>
                  <a:lnTo>
                    <a:pt x="604" y="150"/>
                  </a:lnTo>
                  <a:lnTo>
                    <a:pt x="606" y="150"/>
                  </a:lnTo>
                  <a:lnTo>
                    <a:pt x="606" y="150"/>
                  </a:lnTo>
                  <a:lnTo>
                    <a:pt x="608" y="150"/>
                  </a:lnTo>
                  <a:lnTo>
                    <a:pt x="608" y="148"/>
                  </a:lnTo>
                  <a:lnTo>
                    <a:pt x="608" y="148"/>
                  </a:lnTo>
                  <a:lnTo>
                    <a:pt x="604" y="146"/>
                  </a:lnTo>
                  <a:lnTo>
                    <a:pt x="604" y="144"/>
                  </a:lnTo>
                  <a:lnTo>
                    <a:pt x="604" y="144"/>
                  </a:lnTo>
                  <a:lnTo>
                    <a:pt x="604" y="144"/>
                  </a:lnTo>
                  <a:lnTo>
                    <a:pt x="604" y="144"/>
                  </a:lnTo>
                  <a:lnTo>
                    <a:pt x="606" y="144"/>
                  </a:lnTo>
                  <a:lnTo>
                    <a:pt x="606" y="142"/>
                  </a:lnTo>
                  <a:lnTo>
                    <a:pt x="606" y="142"/>
                  </a:lnTo>
                  <a:lnTo>
                    <a:pt x="606" y="140"/>
                  </a:lnTo>
                  <a:lnTo>
                    <a:pt x="604" y="140"/>
                  </a:lnTo>
                  <a:lnTo>
                    <a:pt x="602" y="135"/>
                  </a:lnTo>
                  <a:lnTo>
                    <a:pt x="602" y="133"/>
                  </a:lnTo>
                  <a:lnTo>
                    <a:pt x="602" y="133"/>
                  </a:lnTo>
                  <a:lnTo>
                    <a:pt x="604" y="133"/>
                  </a:lnTo>
                  <a:lnTo>
                    <a:pt x="606" y="135"/>
                  </a:lnTo>
                  <a:lnTo>
                    <a:pt x="608" y="135"/>
                  </a:lnTo>
                  <a:lnTo>
                    <a:pt x="608" y="133"/>
                  </a:lnTo>
                  <a:lnTo>
                    <a:pt x="608" y="131"/>
                  </a:lnTo>
                  <a:lnTo>
                    <a:pt x="608" y="127"/>
                  </a:lnTo>
                  <a:lnTo>
                    <a:pt x="606" y="125"/>
                  </a:lnTo>
                  <a:lnTo>
                    <a:pt x="604" y="125"/>
                  </a:lnTo>
                  <a:lnTo>
                    <a:pt x="602" y="123"/>
                  </a:lnTo>
                  <a:lnTo>
                    <a:pt x="594" y="123"/>
                  </a:lnTo>
                  <a:lnTo>
                    <a:pt x="592" y="121"/>
                  </a:lnTo>
                  <a:lnTo>
                    <a:pt x="585" y="121"/>
                  </a:lnTo>
                  <a:lnTo>
                    <a:pt x="585" y="121"/>
                  </a:lnTo>
                  <a:lnTo>
                    <a:pt x="585" y="119"/>
                  </a:lnTo>
                  <a:lnTo>
                    <a:pt x="587" y="119"/>
                  </a:lnTo>
                  <a:lnTo>
                    <a:pt x="587" y="119"/>
                  </a:lnTo>
                  <a:lnTo>
                    <a:pt x="585" y="119"/>
                  </a:lnTo>
                  <a:lnTo>
                    <a:pt x="585" y="119"/>
                  </a:lnTo>
                  <a:lnTo>
                    <a:pt x="583" y="117"/>
                  </a:lnTo>
                  <a:lnTo>
                    <a:pt x="583" y="117"/>
                  </a:lnTo>
                  <a:lnTo>
                    <a:pt x="579" y="119"/>
                  </a:lnTo>
                  <a:lnTo>
                    <a:pt x="579" y="119"/>
                  </a:lnTo>
                  <a:lnTo>
                    <a:pt x="579" y="117"/>
                  </a:lnTo>
                  <a:lnTo>
                    <a:pt x="579" y="117"/>
                  </a:lnTo>
                  <a:lnTo>
                    <a:pt x="579" y="115"/>
                  </a:lnTo>
                  <a:lnTo>
                    <a:pt x="579" y="115"/>
                  </a:lnTo>
                  <a:lnTo>
                    <a:pt x="579" y="113"/>
                  </a:lnTo>
                  <a:lnTo>
                    <a:pt x="575" y="111"/>
                  </a:lnTo>
                  <a:lnTo>
                    <a:pt x="573" y="111"/>
                  </a:lnTo>
                  <a:lnTo>
                    <a:pt x="573" y="111"/>
                  </a:lnTo>
                  <a:lnTo>
                    <a:pt x="571" y="107"/>
                  </a:lnTo>
                  <a:lnTo>
                    <a:pt x="571" y="107"/>
                  </a:lnTo>
                  <a:lnTo>
                    <a:pt x="571" y="107"/>
                  </a:lnTo>
                  <a:lnTo>
                    <a:pt x="569" y="107"/>
                  </a:lnTo>
                  <a:lnTo>
                    <a:pt x="569" y="109"/>
                  </a:lnTo>
                  <a:lnTo>
                    <a:pt x="567" y="109"/>
                  </a:lnTo>
                  <a:lnTo>
                    <a:pt x="567" y="109"/>
                  </a:lnTo>
                  <a:lnTo>
                    <a:pt x="565" y="109"/>
                  </a:lnTo>
                  <a:lnTo>
                    <a:pt x="565" y="107"/>
                  </a:lnTo>
                  <a:lnTo>
                    <a:pt x="565" y="107"/>
                  </a:lnTo>
                  <a:lnTo>
                    <a:pt x="563" y="109"/>
                  </a:lnTo>
                  <a:lnTo>
                    <a:pt x="561" y="111"/>
                  </a:lnTo>
                  <a:lnTo>
                    <a:pt x="559" y="111"/>
                  </a:lnTo>
                  <a:lnTo>
                    <a:pt x="559" y="111"/>
                  </a:lnTo>
                  <a:lnTo>
                    <a:pt x="557" y="109"/>
                  </a:lnTo>
                  <a:lnTo>
                    <a:pt x="557" y="109"/>
                  </a:lnTo>
                  <a:lnTo>
                    <a:pt x="555" y="109"/>
                  </a:lnTo>
                  <a:lnTo>
                    <a:pt x="553" y="109"/>
                  </a:lnTo>
                  <a:lnTo>
                    <a:pt x="549" y="109"/>
                  </a:lnTo>
                  <a:lnTo>
                    <a:pt x="544" y="109"/>
                  </a:lnTo>
                  <a:lnTo>
                    <a:pt x="540" y="107"/>
                  </a:lnTo>
                  <a:lnTo>
                    <a:pt x="540" y="105"/>
                  </a:lnTo>
                  <a:lnTo>
                    <a:pt x="540" y="105"/>
                  </a:lnTo>
                  <a:lnTo>
                    <a:pt x="540" y="103"/>
                  </a:lnTo>
                  <a:lnTo>
                    <a:pt x="540" y="103"/>
                  </a:lnTo>
                  <a:lnTo>
                    <a:pt x="538" y="101"/>
                  </a:lnTo>
                  <a:lnTo>
                    <a:pt x="538" y="101"/>
                  </a:lnTo>
                  <a:lnTo>
                    <a:pt x="536" y="101"/>
                  </a:lnTo>
                  <a:lnTo>
                    <a:pt x="536" y="101"/>
                  </a:lnTo>
                  <a:lnTo>
                    <a:pt x="532" y="97"/>
                  </a:lnTo>
                  <a:lnTo>
                    <a:pt x="532" y="97"/>
                  </a:lnTo>
                  <a:lnTo>
                    <a:pt x="530" y="97"/>
                  </a:lnTo>
                  <a:lnTo>
                    <a:pt x="530" y="97"/>
                  </a:lnTo>
                  <a:lnTo>
                    <a:pt x="530" y="97"/>
                  </a:lnTo>
                  <a:lnTo>
                    <a:pt x="532" y="97"/>
                  </a:lnTo>
                  <a:lnTo>
                    <a:pt x="532" y="94"/>
                  </a:lnTo>
                  <a:lnTo>
                    <a:pt x="532" y="94"/>
                  </a:lnTo>
                  <a:lnTo>
                    <a:pt x="534" y="92"/>
                  </a:lnTo>
                  <a:lnTo>
                    <a:pt x="532" y="92"/>
                  </a:lnTo>
                  <a:lnTo>
                    <a:pt x="532" y="90"/>
                  </a:lnTo>
                  <a:lnTo>
                    <a:pt x="532" y="88"/>
                  </a:lnTo>
                  <a:lnTo>
                    <a:pt x="530" y="88"/>
                  </a:lnTo>
                  <a:lnTo>
                    <a:pt x="528" y="90"/>
                  </a:lnTo>
                  <a:lnTo>
                    <a:pt x="526" y="92"/>
                  </a:lnTo>
                  <a:lnTo>
                    <a:pt x="522" y="94"/>
                  </a:lnTo>
                  <a:lnTo>
                    <a:pt x="520" y="97"/>
                  </a:lnTo>
                  <a:lnTo>
                    <a:pt x="518" y="97"/>
                  </a:lnTo>
                  <a:lnTo>
                    <a:pt x="512" y="99"/>
                  </a:lnTo>
                  <a:lnTo>
                    <a:pt x="510" y="99"/>
                  </a:lnTo>
                  <a:lnTo>
                    <a:pt x="506" y="99"/>
                  </a:lnTo>
                  <a:lnTo>
                    <a:pt x="506" y="99"/>
                  </a:lnTo>
                  <a:lnTo>
                    <a:pt x="506" y="99"/>
                  </a:lnTo>
                  <a:lnTo>
                    <a:pt x="508" y="97"/>
                  </a:lnTo>
                  <a:lnTo>
                    <a:pt x="510" y="97"/>
                  </a:lnTo>
                  <a:lnTo>
                    <a:pt x="510" y="97"/>
                  </a:lnTo>
                  <a:lnTo>
                    <a:pt x="508" y="94"/>
                  </a:lnTo>
                  <a:lnTo>
                    <a:pt x="508" y="94"/>
                  </a:lnTo>
                  <a:lnTo>
                    <a:pt x="504" y="92"/>
                  </a:lnTo>
                  <a:lnTo>
                    <a:pt x="501" y="90"/>
                  </a:lnTo>
                  <a:lnTo>
                    <a:pt x="504" y="90"/>
                  </a:lnTo>
                  <a:lnTo>
                    <a:pt x="504" y="90"/>
                  </a:lnTo>
                  <a:lnTo>
                    <a:pt x="506" y="92"/>
                  </a:lnTo>
                  <a:lnTo>
                    <a:pt x="506" y="88"/>
                  </a:lnTo>
                  <a:lnTo>
                    <a:pt x="506" y="84"/>
                  </a:lnTo>
                  <a:lnTo>
                    <a:pt x="506" y="80"/>
                  </a:lnTo>
                  <a:lnTo>
                    <a:pt x="506" y="78"/>
                  </a:lnTo>
                  <a:lnTo>
                    <a:pt x="506" y="76"/>
                  </a:lnTo>
                  <a:lnTo>
                    <a:pt x="506" y="76"/>
                  </a:lnTo>
                  <a:lnTo>
                    <a:pt x="508" y="74"/>
                  </a:lnTo>
                  <a:lnTo>
                    <a:pt x="506" y="74"/>
                  </a:lnTo>
                  <a:lnTo>
                    <a:pt x="506" y="74"/>
                  </a:lnTo>
                  <a:lnTo>
                    <a:pt x="506" y="74"/>
                  </a:lnTo>
                  <a:lnTo>
                    <a:pt x="506" y="72"/>
                  </a:lnTo>
                  <a:lnTo>
                    <a:pt x="508" y="70"/>
                  </a:lnTo>
                  <a:lnTo>
                    <a:pt x="508" y="68"/>
                  </a:lnTo>
                  <a:lnTo>
                    <a:pt x="508" y="66"/>
                  </a:lnTo>
                  <a:lnTo>
                    <a:pt x="508" y="66"/>
                  </a:lnTo>
                  <a:lnTo>
                    <a:pt x="508" y="64"/>
                  </a:lnTo>
                  <a:lnTo>
                    <a:pt x="510" y="64"/>
                  </a:lnTo>
                  <a:lnTo>
                    <a:pt x="510" y="64"/>
                  </a:lnTo>
                  <a:lnTo>
                    <a:pt x="510" y="66"/>
                  </a:lnTo>
                  <a:lnTo>
                    <a:pt x="512" y="68"/>
                  </a:lnTo>
                  <a:lnTo>
                    <a:pt x="512" y="66"/>
                  </a:lnTo>
                  <a:lnTo>
                    <a:pt x="514" y="66"/>
                  </a:lnTo>
                  <a:lnTo>
                    <a:pt x="514" y="64"/>
                  </a:lnTo>
                  <a:lnTo>
                    <a:pt x="516" y="64"/>
                  </a:lnTo>
                  <a:lnTo>
                    <a:pt x="514" y="62"/>
                  </a:lnTo>
                  <a:lnTo>
                    <a:pt x="514" y="62"/>
                  </a:lnTo>
                  <a:lnTo>
                    <a:pt x="512" y="62"/>
                  </a:lnTo>
                  <a:lnTo>
                    <a:pt x="512" y="60"/>
                  </a:lnTo>
                  <a:lnTo>
                    <a:pt x="514" y="58"/>
                  </a:lnTo>
                  <a:lnTo>
                    <a:pt x="514" y="58"/>
                  </a:lnTo>
                  <a:lnTo>
                    <a:pt x="514" y="60"/>
                  </a:lnTo>
                  <a:lnTo>
                    <a:pt x="514" y="60"/>
                  </a:lnTo>
                  <a:lnTo>
                    <a:pt x="516" y="60"/>
                  </a:lnTo>
                  <a:lnTo>
                    <a:pt x="516" y="58"/>
                  </a:lnTo>
                  <a:lnTo>
                    <a:pt x="516" y="58"/>
                  </a:lnTo>
                  <a:lnTo>
                    <a:pt x="518" y="58"/>
                  </a:lnTo>
                  <a:lnTo>
                    <a:pt x="518" y="58"/>
                  </a:lnTo>
                  <a:lnTo>
                    <a:pt x="520" y="56"/>
                  </a:lnTo>
                  <a:lnTo>
                    <a:pt x="520" y="56"/>
                  </a:lnTo>
                  <a:lnTo>
                    <a:pt x="522" y="53"/>
                  </a:lnTo>
                  <a:lnTo>
                    <a:pt x="522" y="51"/>
                  </a:lnTo>
                  <a:lnTo>
                    <a:pt x="518" y="39"/>
                  </a:lnTo>
                  <a:lnTo>
                    <a:pt x="518" y="39"/>
                  </a:lnTo>
                  <a:lnTo>
                    <a:pt x="518" y="39"/>
                  </a:lnTo>
                  <a:lnTo>
                    <a:pt x="518" y="37"/>
                  </a:lnTo>
                  <a:lnTo>
                    <a:pt x="516" y="35"/>
                  </a:lnTo>
                  <a:lnTo>
                    <a:pt x="516" y="35"/>
                  </a:lnTo>
                  <a:lnTo>
                    <a:pt x="516" y="35"/>
                  </a:lnTo>
                  <a:lnTo>
                    <a:pt x="514" y="35"/>
                  </a:lnTo>
                  <a:lnTo>
                    <a:pt x="512" y="33"/>
                  </a:lnTo>
                  <a:lnTo>
                    <a:pt x="510" y="33"/>
                  </a:lnTo>
                  <a:lnTo>
                    <a:pt x="510" y="31"/>
                  </a:lnTo>
                  <a:lnTo>
                    <a:pt x="508" y="31"/>
                  </a:lnTo>
                  <a:lnTo>
                    <a:pt x="506" y="31"/>
                  </a:lnTo>
                  <a:lnTo>
                    <a:pt x="501" y="31"/>
                  </a:lnTo>
                  <a:lnTo>
                    <a:pt x="501" y="31"/>
                  </a:lnTo>
                  <a:lnTo>
                    <a:pt x="499" y="31"/>
                  </a:lnTo>
                  <a:lnTo>
                    <a:pt x="499" y="29"/>
                  </a:lnTo>
                  <a:lnTo>
                    <a:pt x="497" y="27"/>
                  </a:lnTo>
                  <a:lnTo>
                    <a:pt x="497" y="27"/>
                  </a:lnTo>
                  <a:lnTo>
                    <a:pt x="495" y="25"/>
                  </a:lnTo>
                  <a:lnTo>
                    <a:pt x="493" y="25"/>
                  </a:lnTo>
                  <a:lnTo>
                    <a:pt x="489" y="23"/>
                  </a:lnTo>
                  <a:lnTo>
                    <a:pt x="483" y="25"/>
                  </a:lnTo>
                  <a:lnTo>
                    <a:pt x="481" y="25"/>
                  </a:lnTo>
                  <a:lnTo>
                    <a:pt x="477" y="21"/>
                  </a:lnTo>
                  <a:lnTo>
                    <a:pt x="475" y="21"/>
                  </a:lnTo>
                  <a:lnTo>
                    <a:pt x="473" y="19"/>
                  </a:lnTo>
                  <a:lnTo>
                    <a:pt x="473" y="19"/>
                  </a:lnTo>
                  <a:lnTo>
                    <a:pt x="473" y="17"/>
                  </a:lnTo>
                  <a:lnTo>
                    <a:pt x="475" y="12"/>
                  </a:lnTo>
                  <a:lnTo>
                    <a:pt x="477" y="10"/>
                  </a:lnTo>
                  <a:lnTo>
                    <a:pt x="477" y="8"/>
                  </a:lnTo>
                  <a:lnTo>
                    <a:pt x="475" y="8"/>
                  </a:lnTo>
                  <a:lnTo>
                    <a:pt x="473" y="6"/>
                  </a:lnTo>
                  <a:lnTo>
                    <a:pt x="471" y="6"/>
                  </a:lnTo>
                  <a:lnTo>
                    <a:pt x="469" y="6"/>
                  </a:lnTo>
                  <a:lnTo>
                    <a:pt x="467" y="4"/>
                  </a:lnTo>
                  <a:lnTo>
                    <a:pt x="467" y="4"/>
                  </a:lnTo>
                  <a:lnTo>
                    <a:pt x="463" y="2"/>
                  </a:lnTo>
                  <a:lnTo>
                    <a:pt x="458" y="2"/>
                  </a:lnTo>
                  <a:lnTo>
                    <a:pt x="456" y="2"/>
                  </a:lnTo>
                  <a:lnTo>
                    <a:pt x="452" y="4"/>
                  </a:lnTo>
                  <a:lnTo>
                    <a:pt x="450" y="2"/>
                  </a:lnTo>
                  <a:lnTo>
                    <a:pt x="450" y="4"/>
                  </a:lnTo>
                  <a:lnTo>
                    <a:pt x="450" y="4"/>
                  </a:lnTo>
                  <a:lnTo>
                    <a:pt x="450" y="8"/>
                  </a:lnTo>
                  <a:lnTo>
                    <a:pt x="448" y="12"/>
                  </a:lnTo>
                  <a:lnTo>
                    <a:pt x="448" y="19"/>
                  </a:lnTo>
                  <a:lnTo>
                    <a:pt x="446" y="21"/>
                  </a:lnTo>
                  <a:lnTo>
                    <a:pt x="446" y="23"/>
                  </a:lnTo>
                  <a:lnTo>
                    <a:pt x="446" y="25"/>
                  </a:lnTo>
                  <a:lnTo>
                    <a:pt x="446" y="23"/>
                  </a:lnTo>
                  <a:lnTo>
                    <a:pt x="444" y="23"/>
                  </a:lnTo>
                  <a:lnTo>
                    <a:pt x="440" y="21"/>
                  </a:lnTo>
                  <a:lnTo>
                    <a:pt x="434" y="19"/>
                  </a:lnTo>
                  <a:lnTo>
                    <a:pt x="428" y="15"/>
                  </a:lnTo>
                  <a:lnTo>
                    <a:pt x="424" y="12"/>
                  </a:lnTo>
                  <a:lnTo>
                    <a:pt x="417" y="8"/>
                  </a:lnTo>
                  <a:lnTo>
                    <a:pt x="411" y="6"/>
                  </a:lnTo>
                  <a:lnTo>
                    <a:pt x="407" y="4"/>
                  </a:lnTo>
                  <a:lnTo>
                    <a:pt x="401" y="0"/>
                  </a:lnTo>
                  <a:lnTo>
                    <a:pt x="399" y="0"/>
                  </a:lnTo>
                  <a:lnTo>
                    <a:pt x="399" y="0"/>
                  </a:lnTo>
                  <a:lnTo>
                    <a:pt x="397" y="2"/>
                  </a:lnTo>
                  <a:lnTo>
                    <a:pt x="397" y="4"/>
                  </a:lnTo>
                  <a:lnTo>
                    <a:pt x="397" y="4"/>
                  </a:lnTo>
                  <a:lnTo>
                    <a:pt x="397" y="6"/>
                  </a:lnTo>
                  <a:lnTo>
                    <a:pt x="399" y="8"/>
                  </a:lnTo>
                  <a:lnTo>
                    <a:pt x="399" y="10"/>
                  </a:lnTo>
                  <a:lnTo>
                    <a:pt x="399" y="12"/>
                  </a:lnTo>
                  <a:lnTo>
                    <a:pt x="399" y="12"/>
                  </a:lnTo>
                  <a:lnTo>
                    <a:pt x="399" y="12"/>
                  </a:lnTo>
                  <a:lnTo>
                    <a:pt x="399" y="17"/>
                  </a:lnTo>
                  <a:lnTo>
                    <a:pt x="397" y="19"/>
                  </a:lnTo>
                  <a:lnTo>
                    <a:pt x="397" y="21"/>
                  </a:lnTo>
                  <a:lnTo>
                    <a:pt x="397" y="21"/>
                  </a:lnTo>
                  <a:lnTo>
                    <a:pt x="397" y="21"/>
                  </a:lnTo>
                  <a:lnTo>
                    <a:pt x="397" y="21"/>
                  </a:lnTo>
                  <a:lnTo>
                    <a:pt x="397" y="23"/>
                  </a:lnTo>
                  <a:lnTo>
                    <a:pt x="397" y="23"/>
                  </a:lnTo>
                  <a:lnTo>
                    <a:pt x="397" y="23"/>
                  </a:lnTo>
                  <a:lnTo>
                    <a:pt x="397" y="25"/>
                  </a:lnTo>
                  <a:lnTo>
                    <a:pt x="397" y="25"/>
                  </a:lnTo>
                  <a:lnTo>
                    <a:pt x="397" y="27"/>
                  </a:lnTo>
                  <a:lnTo>
                    <a:pt x="397" y="27"/>
                  </a:lnTo>
                  <a:lnTo>
                    <a:pt x="397" y="29"/>
                  </a:lnTo>
                  <a:lnTo>
                    <a:pt x="397" y="29"/>
                  </a:lnTo>
                  <a:lnTo>
                    <a:pt x="397" y="29"/>
                  </a:lnTo>
                  <a:lnTo>
                    <a:pt x="397" y="31"/>
                  </a:lnTo>
                  <a:lnTo>
                    <a:pt x="397" y="31"/>
                  </a:lnTo>
                  <a:lnTo>
                    <a:pt x="397" y="31"/>
                  </a:lnTo>
                  <a:lnTo>
                    <a:pt x="397" y="31"/>
                  </a:lnTo>
                  <a:lnTo>
                    <a:pt x="397" y="33"/>
                  </a:lnTo>
                  <a:lnTo>
                    <a:pt x="395" y="37"/>
                  </a:lnTo>
                  <a:lnTo>
                    <a:pt x="393" y="39"/>
                  </a:lnTo>
                  <a:lnTo>
                    <a:pt x="391" y="43"/>
                  </a:lnTo>
                  <a:lnTo>
                    <a:pt x="389" y="47"/>
                  </a:lnTo>
                  <a:lnTo>
                    <a:pt x="389" y="47"/>
                  </a:lnTo>
                  <a:lnTo>
                    <a:pt x="389" y="47"/>
                  </a:lnTo>
                  <a:lnTo>
                    <a:pt x="389" y="47"/>
                  </a:lnTo>
                  <a:lnTo>
                    <a:pt x="389" y="47"/>
                  </a:lnTo>
                  <a:lnTo>
                    <a:pt x="389" y="49"/>
                  </a:lnTo>
                  <a:lnTo>
                    <a:pt x="389" y="49"/>
                  </a:lnTo>
                  <a:lnTo>
                    <a:pt x="387" y="53"/>
                  </a:lnTo>
                  <a:lnTo>
                    <a:pt x="387" y="53"/>
                  </a:lnTo>
                  <a:lnTo>
                    <a:pt x="387" y="53"/>
                  </a:lnTo>
                  <a:lnTo>
                    <a:pt x="385" y="56"/>
                  </a:lnTo>
                  <a:lnTo>
                    <a:pt x="385" y="56"/>
                  </a:lnTo>
                  <a:lnTo>
                    <a:pt x="385" y="56"/>
                  </a:lnTo>
                  <a:lnTo>
                    <a:pt x="383" y="56"/>
                  </a:lnTo>
                  <a:lnTo>
                    <a:pt x="383" y="58"/>
                  </a:lnTo>
                  <a:lnTo>
                    <a:pt x="383" y="60"/>
                  </a:lnTo>
                  <a:lnTo>
                    <a:pt x="383" y="60"/>
                  </a:lnTo>
                  <a:lnTo>
                    <a:pt x="383" y="60"/>
                  </a:lnTo>
                  <a:lnTo>
                    <a:pt x="381" y="62"/>
                  </a:lnTo>
                  <a:lnTo>
                    <a:pt x="379" y="62"/>
                  </a:lnTo>
                  <a:lnTo>
                    <a:pt x="379" y="62"/>
                  </a:lnTo>
                  <a:lnTo>
                    <a:pt x="379" y="64"/>
                  </a:lnTo>
                  <a:lnTo>
                    <a:pt x="379" y="62"/>
                  </a:lnTo>
                  <a:lnTo>
                    <a:pt x="377" y="62"/>
                  </a:lnTo>
                  <a:lnTo>
                    <a:pt x="377" y="62"/>
                  </a:lnTo>
                  <a:lnTo>
                    <a:pt x="377" y="62"/>
                  </a:lnTo>
                  <a:lnTo>
                    <a:pt x="377" y="62"/>
                  </a:lnTo>
                  <a:lnTo>
                    <a:pt x="377" y="62"/>
                  </a:lnTo>
                  <a:lnTo>
                    <a:pt x="377" y="62"/>
                  </a:lnTo>
                  <a:lnTo>
                    <a:pt x="374" y="62"/>
                  </a:lnTo>
                  <a:lnTo>
                    <a:pt x="374" y="66"/>
                  </a:lnTo>
                  <a:lnTo>
                    <a:pt x="372" y="70"/>
                  </a:lnTo>
                  <a:lnTo>
                    <a:pt x="370" y="74"/>
                  </a:lnTo>
                  <a:lnTo>
                    <a:pt x="368" y="78"/>
                  </a:lnTo>
                  <a:lnTo>
                    <a:pt x="368" y="78"/>
                  </a:lnTo>
                  <a:lnTo>
                    <a:pt x="368" y="78"/>
                  </a:lnTo>
                  <a:lnTo>
                    <a:pt x="366" y="78"/>
                  </a:lnTo>
                  <a:lnTo>
                    <a:pt x="364" y="78"/>
                  </a:lnTo>
                  <a:lnTo>
                    <a:pt x="360" y="76"/>
                  </a:lnTo>
                  <a:lnTo>
                    <a:pt x="356" y="74"/>
                  </a:lnTo>
                  <a:lnTo>
                    <a:pt x="356" y="74"/>
                  </a:lnTo>
                  <a:lnTo>
                    <a:pt x="356" y="76"/>
                  </a:lnTo>
                  <a:lnTo>
                    <a:pt x="354" y="80"/>
                  </a:lnTo>
                  <a:lnTo>
                    <a:pt x="352" y="82"/>
                  </a:lnTo>
                  <a:lnTo>
                    <a:pt x="352" y="82"/>
                  </a:lnTo>
                  <a:lnTo>
                    <a:pt x="352" y="82"/>
                  </a:lnTo>
                  <a:lnTo>
                    <a:pt x="352" y="84"/>
                  </a:lnTo>
                  <a:lnTo>
                    <a:pt x="352" y="84"/>
                  </a:lnTo>
                  <a:lnTo>
                    <a:pt x="352" y="86"/>
                  </a:lnTo>
                  <a:lnTo>
                    <a:pt x="352" y="88"/>
                  </a:lnTo>
                  <a:lnTo>
                    <a:pt x="350" y="88"/>
                  </a:lnTo>
                  <a:lnTo>
                    <a:pt x="352" y="94"/>
                  </a:lnTo>
                  <a:lnTo>
                    <a:pt x="352" y="94"/>
                  </a:lnTo>
                  <a:lnTo>
                    <a:pt x="350" y="94"/>
                  </a:lnTo>
                  <a:lnTo>
                    <a:pt x="350" y="97"/>
                  </a:lnTo>
                  <a:lnTo>
                    <a:pt x="350" y="97"/>
                  </a:lnTo>
                  <a:lnTo>
                    <a:pt x="348" y="99"/>
                  </a:lnTo>
                  <a:lnTo>
                    <a:pt x="348" y="99"/>
                  </a:lnTo>
                  <a:lnTo>
                    <a:pt x="348" y="101"/>
                  </a:lnTo>
                  <a:lnTo>
                    <a:pt x="348" y="101"/>
                  </a:lnTo>
                  <a:lnTo>
                    <a:pt x="348" y="103"/>
                  </a:lnTo>
                  <a:lnTo>
                    <a:pt x="346" y="105"/>
                  </a:lnTo>
                  <a:lnTo>
                    <a:pt x="346" y="107"/>
                  </a:lnTo>
                  <a:lnTo>
                    <a:pt x="346" y="107"/>
                  </a:lnTo>
                  <a:lnTo>
                    <a:pt x="346" y="107"/>
                  </a:lnTo>
                  <a:lnTo>
                    <a:pt x="346" y="107"/>
                  </a:lnTo>
                  <a:lnTo>
                    <a:pt x="346" y="111"/>
                  </a:lnTo>
                  <a:lnTo>
                    <a:pt x="346" y="111"/>
                  </a:lnTo>
                  <a:lnTo>
                    <a:pt x="346" y="113"/>
                  </a:lnTo>
                  <a:lnTo>
                    <a:pt x="344" y="115"/>
                  </a:lnTo>
                  <a:lnTo>
                    <a:pt x="344" y="119"/>
                  </a:lnTo>
                  <a:lnTo>
                    <a:pt x="340" y="123"/>
                  </a:lnTo>
                  <a:lnTo>
                    <a:pt x="340" y="123"/>
                  </a:lnTo>
                  <a:lnTo>
                    <a:pt x="340" y="123"/>
                  </a:lnTo>
                  <a:lnTo>
                    <a:pt x="340" y="123"/>
                  </a:lnTo>
                  <a:lnTo>
                    <a:pt x="334" y="123"/>
                  </a:lnTo>
                  <a:lnTo>
                    <a:pt x="329" y="123"/>
                  </a:lnTo>
                  <a:lnTo>
                    <a:pt x="325" y="121"/>
                  </a:lnTo>
                  <a:lnTo>
                    <a:pt x="321" y="121"/>
                  </a:lnTo>
                  <a:lnTo>
                    <a:pt x="321" y="121"/>
                  </a:lnTo>
                  <a:lnTo>
                    <a:pt x="321" y="121"/>
                  </a:lnTo>
                  <a:lnTo>
                    <a:pt x="321" y="121"/>
                  </a:lnTo>
                  <a:lnTo>
                    <a:pt x="321" y="119"/>
                  </a:lnTo>
                  <a:lnTo>
                    <a:pt x="321" y="119"/>
                  </a:lnTo>
                  <a:lnTo>
                    <a:pt x="321" y="119"/>
                  </a:lnTo>
                  <a:lnTo>
                    <a:pt x="321" y="119"/>
                  </a:lnTo>
                  <a:lnTo>
                    <a:pt x="321" y="119"/>
                  </a:lnTo>
                  <a:lnTo>
                    <a:pt x="315" y="113"/>
                  </a:lnTo>
                  <a:lnTo>
                    <a:pt x="315" y="113"/>
                  </a:lnTo>
                  <a:lnTo>
                    <a:pt x="315" y="113"/>
                  </a:lnTo>
                  <a:lnTo>
                    <a:pt x="315" y="113"/>
                  </a:lnTo>
                  <a:lnTo>
                    <a:pt x="307" y="111"/>
                  </a:lnTo>
                  <a:lnTo>
                    <a:pt x="307" y="111"/>
                  </a:lnTo>
                  <a:lnTo>
                    <a:pt x="307" y="113"/>
                  </a:lnTo>
                  <a:lnTo>
                    <a:pt x="307" y="113"/>
                  </a:lnTo>
                  <a:lnTo>
                    <a:pt x="307" y="115"/>
                  </a:lnTo>
                  <a:lnTo>
                    <a:pt x="307" y="115"/>
                  </a:lnTo>
                  <a:lnTo>
                    <a:pt x="307" y="117"/>
                  </a:lnTo>
                  <a:lnTo>
                    <a:pt x="307" y="117"/>
                  </a:lnTo>
                  <a:lnTo>
                    <a:pt x="307" y="117"/>
                  </a:lnTo>
                  <a:lnTo>
                    <a:pt x="307" y="119"/>
                  </a:lnTo>
                  <a:lnTo>
                    <a:pt x="307" y="119"/>
                  </a:lnTo>
                  <a:lnTo>
                    <a:pt x="305" y="121"/>
                  </a:lnTo>
                  <a:lnTo>
                    <a:pt x="305" y="123"/>
                  </a:lnTo>
                  <a:lnTo>
                    <a:pt x="305" y="123"/>
                  </a:lnTo>
                  <a:lnTo>
                    <a:pt x="305" y="127"/>
                  </a:lnTo>
                  <a:lnTo>
                    <a:pt x="305" y="129"/>
                  </a:lnTo>
                  <a:lnTo>
                    <a:pt x="305" y="129"/>
                  </a:lnTo>
                  <a:lnTo>
                    <a:pt x="305" y="131"/>
                  </a:lnTo>
                  <a:lnTo>
                    <a:pt x="305" y="133"/>
                  </a:lnTo>
                  <a:lnTo>
                    <a:pt x="305" y="135"/>
                  </a:lnTo>
                  <a:lnTo>
                    <a:pt x="303" y="137"/>
                  </a:lnTo>
                  <a:lnTo>
                    <a:pt x="303" y="137"/>
                  </a:lnTo>
                  <a:lnTo>
                    <a:pt x="301" y="137"/>
                  </a:lnTo>
                  <a:lnTo>
                    <a:pt x="301" y="137"/>
                  </a:lnTo>
                  <a:lnTo>
                    <a:pt x="301" y="140"/>
                  </a:lnTo>
                  <a:lnTo>
                    <a:pt x="301" y="140"/>
                  </a:lnTo>
                  <a:lnTo>
                    <a:pt x="301" y="142"/>
                  </a:lnTo>
                  <a:lnTo>
                    <a:pt x="301" y="142"/>
                  </a:lnTo>
                  <a:lnTo>
                    <a:pt x="299" y="144"/>
                  </a:lnTo>
                  <a:lnTo>
                    <a:pt x="299" y="144"/>
                  </a:lnTo>
                  <a:lnTo>
                    <a:pt x="301" y="146"/>
                  </a:lnTo>
                  <a:lnTo>
                    <a:pt x="301" y="146"/>
                  </a:lnTo>
                  <a:lnTo>
                    <a:pt x="301" y="146"/>
                  </a:lnTo>
                  <a:lnTo>
                    <a:pt x="301" y="148"/>
                  </a:lnTo>
                  <a:lnTo>
                    <a:pt x="301" y="148"/>
                  </a:lnTo>
                  <a:lnTo>
                    <a:pt x="301" y="148"/>
                  </a:lnTo>
                  <a:lnTo>
                    <a:pt x="299" y="150"/>
                  </a:lnTo>
                  <a:lnTo>
                    <a:pt x="297" y="152"/>
                  </a:lnTo>
                  <a:lnTo>
                    <a:pt x="297" y="152"/>
                  </a:lnTo>
                  <a:lnTo>
                    <a:pt x="295" y="156"/>
                  </a:lnTo>
                  <a:lnTo>
                    <a:pt x="293" y="160"/>
                  </a:lnTo>
                  <a:lnTo>
                    <a:pt x="293" y="160"/>
                  </a:lnTo>
                  <a:lnTo>
                    <a:pt x="293" y="160"/>
                  </a:lnTo>
                  <a:lnTo>
                    <a:pt x="293" y="162"/>
                  </a:lnTo>
                  <a:lnTo>
                    <a:pt x="293" y="162"/>
                  </a:lnTo>
                  <a:lnTo>
                    <a:pt x="293" y="162"/>
                  </a:lnTo>
                  <a:lnTo>
                    <a:pt x="293" y="170"/>
                  </a:lnTo>
                  <a:lnTo>
                    <a:pt x="291" y="174"/>
                  </a:lnTo>
                  <a:lnTo>
                    <a:pt x="288" y="178"/>
                  </a:lnTo>
                  <a:lnTo>
                    <a:pt x="286" y="183"/>
                  </a:lnTo>
                  <a:lnTo>
                    <a:pt x="282" y="189"/>
                  </a:lnTo>
                  <a:lnTo>
                    <a:pt x="280" y="193"/>
                  </a:lnTo>
                  <a:lnTo>
                    <a:pt x="278" y="197"/>
                  </a:lnTo>
                  <a:lnTo>
                    <a:pt x="274" y="203"/>
                  </a:lnTo>
                  <a:lnTo>
                    <a:pt x="274" y="203"/>
                  </a:lnTo>
                  <a:lnTo>
                    <a:pt x="274" y="205"/>
                  </a:lnTo>
                  <a:lnTo>
                    <a:pt x="274" y="205"/>
                  </a:lnTo>
                  <a:lnTo>
                    <a:pt x="272" y="211"/>
                  </a:lnTo>
                  <a:lnTo>
                    <a:pt x="270" y="217"/>
                  </a:lnTo>
                  <a:lnTo>
                    <a:pt x="270" y="217"/>
                  </a:lnTo>
                  <a:lnTo>
                    <a:pt x="270" y="219"/>
                  </a:lnTo>
                  <a:lnTo>
                    <a:pt x="270" y="219"/>
                  </a:lnTo>
                  <a:lnTo>
                    <a:pt x="270" y="219"/>
                  </a:lnTo>
                  <a:lnTo>
                    <a:pt x="272" y="219"/>
                  </a:lnTo>
                  <a:lnTo>
                    <a:pt x="272" y="219"/>
                  </a:lnTo>
                  <a:lnTo>
                    <a:pt x="276" y="222"/>
                  </a:lnTo>
                  <a:lnTo>
                    <a:pt x="276" y="222"/>
                  </a:lnTo>
                  <a:lnTo>
                    <a:pt x="276" y="222"/>
                  </a:lnTo>
                  <a:lnTo>
                    <a:pt x="276" y="224"/>
                  </a:lnTo>
                  <a:lnTo>
                    <a:pt x="276" y="224"/>
                  </a:lnTo>
                  <a:lnTo>
                    <a:pt x="276" y="224"/>
                  </a:lnTo>
                  <a:lnTo>
                    <a:pt x="276" y="226"/>
                  </a:lnTo>
                  <a:lnTo>
                    <a:pt x="274" y="226"/>
                  </a:lnTo>
                  <a:lnTo>
                    <a:pt x="272" y="228"/>
                  </a:lnTo>
                  <a:lnTo>
                    <a:pt x="272" y="228"/>
                  </a:lnTo>
                  <a:lnTo>
                    <a:pt x="272" y="228"/>
                  </a:lnTo>
                  <a:lnTo>
                    <a:pt x="272" y="230"/>
                  </a:lnTo>
                  <a:lnTo>
                    <a:pt x="270" y="230"/>
                  </a:lnTo>
                  <a:lnTo>
                    <a:pt x="270" y="232"/>
                  </a:lnTo>
                  <a:lnTo>
                    <a:pt x="270" y="232"/>
                  </a:lnTo>
                  <a:lnTo>
                    <a:pt x="272" y="232"/>
                  </a:lnTo>
                  <a:lnTo>
                    <a:pt x="272" y="232"/>
                  </a:lnTo>
                  <a:lnTo>
                    <a:pt x="272" y="232"/>
                  </a:lnTo>
                  <a:lnTo>
                    <a:pt x="272" y="234"/>
                  </a:lnTo>
                  <a:lnTo>
                    <a:pt x="274" y="234"/>
                  </a:lnTo>
                  <a:lnTo>
                    <a:pt x="274" y="234"/>
                  </a:lnTo>
                  <a:lnTo>
                    <a:pt x="274" y="236"/>
                  </a:lnTo>
                  <a:lnTo>
                    <a:pt x="272" y="236"/>
                  </a:lnTo>
                  <a:lnTo>
                    <a:pt x="264" y="244"/>
                  </a:lnTo>
                  <a:lnTo>
                    <a:pt x="262" y="246"/>
                  </a:lnTo>
                  <a:lnTo>
                    <a:pt x="262" y="246"/>
                  </a:lnTo>
                  <a:lnTo>
                    <a:pt x="260" y="246"/>
                  </a:lnTo>
                  <a:lnTo>
                    <a:pt x="260" y="246"/>
                  </a:lnTo>
                  <a:lnTo>
                    <a:pt x="260" y="246"/>
                  </a:lnTo>
                  <a:lnTo>
                    <a:pt x="260" y="246"/>
                  </a:lnTo>
                  <a:lnTo>
                    <a:pt x="260" y="246"/>
                  </a:lnTo>
                  <a:lnTo>
                    <a:pt x="258" y="246"/>
                  </a:lnTo>
                  <a:lnTo>
                    <a:pt x="258" y="246"/>
                  </a:lnTo>
                  <a:lnTo>
                    <a:pt x="258" y="246"/>
                  </a:lnTo>
                  <a:lnTo>
                    <a:pt x="258" y="244"/>
                  </a:lnTo>
                  <a:lnTo>
                    <a:pt x="258" y="244"/>
                  </a:lnTo>
                  <a:lnTo>
                    <a:pt x="258" y="244"/>
                  </a:lnTo>
                  <a:lnTo>
                    <a:pt x="258" y="244"/>
                  </a:lnTo>
                  <a:lnTo>
                    <a:pt x="256" y="244"/>
                  </a:lnTo>
                  <a:lnTo>
                    <a:pt x="256" y="244"/>
                  </a:lnTo>
                  <a:lnTo>
                    <a:pt x="254" y="244"/>
                  </a:lnTo>
                  <a:lnTo>
                    <a:pt x="252" y="244"/>
                  </a:lnTo>
                  <a:lnTo>
                    <a:pt x="250" y="246"/>
                  </a:lnTo>
                  <a:lnTo>
                    <a:pt x="245" y="250"/>
                  </a:lnTo>
                  <a:lnTo>
                    <a:pt x="241" y="252"/>
                  </a:lnTo>
                  <a:lnTo>
                    <a:pt x="237" y="256"/>
                  </a:lnTo>
                  <a:lnTo>
                    <a:pt x="237" y="256"/>
                  </a:lnTo>
                  <a:lnTo>
                    <a:pt x="237" y="256"/>
                  </a:lnTo>
                  <a:lnTo>
                    <a:pt x="237" y="256"/>
                  </a:lnTo>
                  <a:lnTo>
                    <a:pt x="237" y="256"/>
                  </a:lnTo>
                  <a:lnTo>
                    <a:pt x="237" y="256"/>
                  </a:lnTo>
                  <a:lnTo>
                    <a:pt x="235" y="256"/>
                  </a:lnTo>
                  <a:lnTo>
                    <a:pt x="235" y="254"/>
                  </a:lnTo>
                  <a:lnTo>
                    <a:pt x="235" y="254"/>
                  </a:lnTo>
                  <a:lnTo>
                    <a:pt x="235" y="254"/>
                  </a:lnTo>
                  <a:lnTo>
                    <a:pt x="233" y="254"/>
                  </a:lnTo>
                  <a:lnTo>
                    <a:pt x="233" y="254"/>
                  </a:lnTo>
                  <a:lnTo>
                    <a:pt x="233" y="254"/>
                  </a:lnTo>
                  <a:lnTo>
                    <a:pt x="233" y="254"/>
                  </a:lnTo>
                  <a:lnTo>
                    <a:pt x="233" y="252"/>
                  </a:lnTo>
                  <a:lnTo>
                    <a:pt x="231" y="252"/>
                  </a:lnTo>
                  <a:lnTo>
                    <a:pt x="231" y="252"/>
                  </a:lnTo>
                  <a:lnTo>
                    <a:pt x="229" y="252"/>
                  </a:lnTo>
                  <a:lnTo>
                    <a:pt x="229" y="252"/>
                  </a:lnTo>
                  <a:lnTo>
                    <a:pt x="227" y="252"/>
                  </a:lnTo>
                  <a:lnTo>
                    <a:pt x="227" y="254"/>
                  </a:lnTo>
                  <a:lnTo>
                    <a:pt x="227" y="254"/>
                  </a:lnTo>
                  <a:lnTo>
                    <a:pt x="225" y="254"/>
                  </a:lnTo>
                  <a:lnTo>
                    <a:pt x="225" y="256"/>
                  </a:lnTo>
                  <a:lnTo>
                    <a:pt x="225" y="256"/>
                  </a:lnTo>
                  <a:lnTo>
                    <a:pt x="225" y="256"/>
                  </a:lnTo>
                  <a:lnTo>
                    <a:pt x="225" y="256"/>
                  </a:lnTo>
                  <a:lnTo>
                    <a:pt x="225" y="258"/>
                  </a:lnTo>
                  <a:lnTo>
                    <a:pt x="225" y="258"/>
                  </a:lnTo>
                  <a:lnTo>
                    <a:pt x="227" y="260"/>
                  </a:lnTo>
                  <a:lnTo>
                    <a:pt x="227" y="260"/>
                  </a:lnTo>
                  <a:lnTo>
                    <a:pt x="227" y="262"/>
                  </a:lnTo>
                  <a:lnTo>
                    <a:pt x="227" y="262"/>
                  </a:lnTo>
                  <a:lnTo>
                    <a:pt x="227" y="265"/>
                  </a:lnTo>
                  <a:lnTo>
                    <a:pt x="227" y="265"/>
                  </a:lnTo>
                  <a:lnTo>
                    <a:pt x="221" y="269"/>
                  </a:lnTo>
                  <a:lnTo>
                    <a:pt x="221" y="269"/>
                  </a:lnTo>
                  <a:lnTo>
                    <a:pt x="221" y="269"/>
                  </a:lnTo>
                  <a:lnTo>
                    <a:pt x="219" y="269"/>
                  </a:lnTo>
                  <a:lnTo>
                    <a:pt x="219" y="269"/>
                  </a:lnTo>
                  <a:lnTo>
                    <a:pt x="217" y="269"/>
                  </a:lnTo>
                  <a:lnTo>
                    <a:pt x="215" y="271"/>
                  </a:lnTo>
                  <a:lnTo>
                    <a:pt x="215" y="271"/>
                  </a:lnTo>
                  <a:lnTo>
                    <a:pt x="207" y="273"/>
                  </a:lnTo>
                  <a:lnTo>
                    <a:pt x="200" y="277"/>
                  </a:lnTo>
                  <a:lnTo>
                    <a:pt x="198" y="279"/>
                  </a:lnTo>
                  <a:lnTo>
                    <a:pt x="198" y="277"/>
                  </a:lnTo>
                  <a:lnTo>
                    <a:pt x="198" y="277"/>
                  </a:lnTo>
                  <a:lnTo>
                    <a:pt x="198" y="277"/>
                  </a:lnTo>
                  <a:lnTo>
                    <a:pt x="198" y="277"/>
                  </a:lnTo>
                  <a:lnTo>
                    <a:pt x="198" y="277"/>
                  </a:lnTo>
                  <a:lnTo>
                    <a:pt x="196" y="277"/>
                  </a:lnTo>
                  <a:lnTo>
                    <a:pt x="196" y="275"/>
                  </a:lnTo>
                  <a:lnTo>
                    <a:pt x="192" y="273"/>
                  </a:lnTo>
                  <a:lnTo>
                    <a:pt x="190" y="273"/>
                  </a:lnTo>
                  <a:lnTo>
                    <a:pt x="190" y="273"/>
                  </a:lnTo>
                  <a:lnTo>
                    <a:pt x="188" y="271"/>
                  </a:lnTo>
                  <a:lnTo>
                    <a:pt x="188" y="271"/>
                  </a:lnTo>
                  <a:lnTo>
                    <a:pt x="188" y="271"/>
                  </a:lnTo>
                  <a:lnTo>
                    <a:pt x="186" y="271"/>
                  </a:lnTo>
                  <a:lnTo>
                    <a:pt x="186" y="271"/>
                  </a:lnTo>
                  <a:lnTo>
                    <a:pt x="184" y="271"/>
                  </a:lnTo>
                  <a:lnTo>
                    <a:pt x="184" y="271"/>
                  </a:lnTo>
                  <a:lnTo>
                    <a:pt x="184" y="273"/>
                  </a:lnTo>
                  <a:lnTo>
                    <a:pt x="184" y="273"/>
                  </a:lnTo>
                  <a:lnTo>
                    <a:pt x="184" y="275"/>
                  </a:lnTo>
                  <a:lnTo>
                    <a:pt x="184" y="275"/>
                  </a:lnTo>
                  <a:lnTo>
                    <a:pt x="182" y="277"/>
                  </a:lnTo>
                  <a:lnTo>
                    <a:pt x="182" y="277"/>
                  </a:lnTo>
                  <a:lnTo>
                    <a:pt x="182" y="279"/>
                  </a:lnTo>
                  <a:lnTo>
                    <a:pt x="178" y="279"/>
                  </a:lnTo>
                  <a:lnTo>
                    <a:pt x="176" y="279"/>
                  </a:lnTo>
                  <a:lnTo>
                    <a:pt x="176" y="279"/>
                  </a:lnTo>
                  <a:lnTo>
                    <a:pt x="176" y="281"/>
                  </a:lnTo>
                  <a:lnTo>
                    <a:pt x="172" y="285"/>
                  </a:lnTo>
                  <a:lnTo>
                    <a:pt x="172" y="287"/>
                  </a:lnTo>
                  <a:lnTo>
                    <a:pt x="172" y="287"/>
                  </a:lnTo>
                  <a:lnTo>
                    <a:pt x="170" y="287"/>
                  </a:lnTo>
                  <a:lnTo>
                    <a:pt x="164" y="287"/>
                  </a:lnTo>
                  <a:lnTo>
                    <a:pt x="164" y="287"/>
                  </a:lnTo>
                  <a:lnTo>
                    <a:pt x="159" y="287"/>
                  </a:lnTo>
                  <a:lnTo>
                    <a:pt x="157" y="285"/>
                  </a:lnTo>
                  <a:lnTo>
                    <a:pt x="157" y="285"/>
                  </a:lnTo>
                  <a:lnTo>
                    <a:pt x="155" y="285"/>
                  </a:lnTo>
                  <a:lnTo>
                    <a:pt x="153" y="283"/>
                  </a:lnTo>
                  <a:lnTo>
                    <a:pt x="153" y="283"/>
                  </a:lnTo>
                  <a:lnTo>
                    <a:pt x="153" y="283"/>
                  </a:lnTo>
                  <a:lnTo>
                    <a:pt x="153" y="281"/>
                  </a:lnTo>
                  <a:lnTo>
                    <a:pt x="153" y="281"/>
                  </a:lnTo>
                  <a:lnTo>
                    <a:pt x="151" y="281"/>
                  </a:lnTo>
                  <a:lnTo>
                    <a:pt x="149" y="281"/>
                  </a:lnTo>
                  <a:lnTo>
                    <a:pt x="149" y="281"/>
                  </a:lnTo>
                  <a:lnTo>
                    <a:pt x="147" y="283"/>
                  </a:lnTo>
                  <a:lnTo>
                    <a:pt x="147" y="281"/>
                  </a:lnTo>
                  <a:lnTo>
                    <a:pt x="145" y="281"/>
                  </a:lnTo>
                  <a:lnTo>
                    <a:pt x="145" y="281"/>
                  </a:lnTo>
                  <a:lnTo>
                    <a:pt x="145" y="281"/>
                  </a:lnTo>
                  <a:lnTo>
                    <a:pt x="145" y="281"/>
                  </a:lnTo>
                  <a:lnTo>
                    <a:pt x="143" y="279"/>
                  </a:lnTo>
                  <a:lnTo>
                    <a:pt x="143" y="279"/>
                  </a:lnTo>
                  <a:lnTo>
                    <a:pt x="143" y="277"/>
                  </a:lnTo>
                  <a:lnTo>
                    <a:pt x="141" y="277"/>
                  </a:lnTo>
                  <a:lnTo>
                    <a:pt x="137" y="275"/>
                  </a:lnTo>
                  <a:lnTo>
                    <a:pt x="137" y="275"/>
                  </a:lnTo>
                  <a:lnTo>
                    <a:pt x="137" y="275"/>
                  </a:lnTo>
                  <a:lnTo>
                    <a:pt x="137" y="273"/>
                  </a:lnTo>
                  <a:lnTo>
                    <a:pt x="137" y="273"/>
                  </a:lnTo>
                  <a:lnTo>
                    <a:pt x="135" y="273"/>
                  </a:lnTo>
                  <a:lnTo>
                    <a:pt x="135" y="271"/>
                  </a:lnTo>
                  <a:lnTo>
                    <a:pt x="135" y="269"/>
                  </a:lnTo>
                  <a:lnTo>
                    <a:pt x="135" y="269"/>
                  </a:lnTo>
                  <a:lnTo>
                    <a:pt x="135" y="269"/>
                  </a:lnTo>
                  <a:lnTo>
                    <a:pt x="135" y="269"/>
                  </a:lnTo>
                  <a:lnTo>
                    <a:pt x="135" y="267"/>
                  </a:lnTo>
                  <a:lnTo>
                    <a:pt x="135" y="267"/>
                  </a:lnTo>
                  <a:lnTo>
                    <a:pt x="135" y="267"/>
                  </a:lnTo>
                  <a:lnTo>
                    <a:pt x="131" y="265"/>
                  </a:lnTo>
                  <a:lnTo>
                    <a:pt x="131" y="265"/>
                  </a:lnTo>
                  <a:lnTo>
                    <a:pt x="131" y="265"/>
                  </a:lnTo>
                  <a:lnTo>
                    <a:pt x="131" y="265"/>
                  </a:lnTo>
                  <a:lnTo>
                    <a:pt x="131" y="262"/>
                  </a:lnTo>
                  <a:lnTo>
                    <a:pt x="131" y="262"/>
                  </a:lnTo>
                  <a:lnTo>
                    <a:pt x="133" y="260"/>
                  </a:lnTo>
                  <a:lnTo>
                    <a:pt x="133" y="260"/>
                  </a:lnTo>
                  <a:lnTo>
                    <a:pt x="133" y="260"/>
                  </a:lnTo>
                  <a:lnTo>
                    <a:pt x="133" y="260"/>
                  </a:lnTo>
                  <a:lnTo>
                    <a:pt x="133" y="260"/>
                  </a:lnTo>
                  <a:lnTo>
                    <a:pt x="133" y="258"/>
                  </a:lnTo>
                  <a:lnTo>
                    <a:pt x="133" y="258"/>
                  </a:lnTo>
                  <a:lnTo>
                    <a:pt x="131" y="258"/>
                  </a:lnTo>
                  <a:lnTo>
                    <a:pt x="131" y="258"/>
                  </a:lnTo>
                  <a:lnTo>
                    <a:pt x="131" y="256"/>
                  </a:lnTo>
                  <a:lnTo>
                    <a:pt x="127" y="262"/>
                  </a:lnTo>
                  <a:lnTo>
                    <a:pt x="121" y="269"/>
                  </a:lnTo>
                  <a:lnTo>
                    <a:pt x="116" y="275"/>
                  </a:lnTo>
                  <a:lnTo>
                    <a:pt x="108" y="283"/>
                  </a:lnTo>
                  <a:lnTo>
                    <a:pt x="102" y="291"/>
                  </a:lnTo>
                  <a:lnTo>
                    <a:pt x="100" y="291"/>
                  </a:lnTo>
                  <a:lnTo>
                    <a:pt x="94" y="295"/>
                  </a:lnTo>
                  <a:lnTo>
                    <a:pt x="88" y="299"/>
                  </a:lnTo>
                  <a:lnTo>
                    <a:pt x="80" y="306"/>
                  </a:lnTo>
                  <a:lnTo>
                    <a:pt x="75" y="310"/>
                  </a:lnTo>
                  <a:lnTo>
                    <a:pt x="75" y="312"/>
                  </a:lnTo>
                  <a:lnTo>
                    <a:pt x="73" y="312"/>
                  </a:lnTo>
                  <a:lnTo>
                    <a:pt x="75" y="314"/>
                  </a:lnTo>
                  <a:lnTo>
                    <a:pt x="75" y="316"/>
                  </a:lnTo>
                  <a:lnTo>
                    <a:pt x="75" y="318"/>
                  </a:lnTo>
                  <a:lnTo>
                    <a:pt x="75" y="318"/>
                  </a:lnTo>
                  <a:lnTo>
                    <a:pt x="75" y="318"/>
                  </a:lnTo>
                  <a:lnTo>
                    <a:pt x="75" y="320"/>
                  </a:lnTo>
                  <a:lnTo>
                    <a:pt x="75" y="320"/>
                  </a:lnTo>
                  <a:lnTo>
                    <a:pt x="75" y="320"/>
                  </a:lnTo>
                  <a:lnTo>
                    <a:pt x="73" y="320"/>
                  </a:lnTo>
                  <a:lnTo>
                    <a:pt x="67" y="326"/>
                  </a:lnTo>
                  <a:lnTo>
                    <a:pt x="65" y="328"/>
                  </a:lnTo>
                  <a:lnTo>
                    <a:pt x="65" y="328"/>
                  </a:lnTo>
                  <a:lnTo>
                    <a:pt x="63" y="330"/>
                  </a:lnTo>
                  <a:lnTo>
                    <a:pt x="65" y="332"/>
                  </a:lnTo>
                  <a:lnTo>
                    <a:pt x="65" y="332"/>
                  </a:lnTo>
                  <a:lnTo>
                    <a:pt x="65" y="332"/>
                  </a:lnTo>
                  <a:lnTo>
                    <a:pt x="65" y="334"/>
                  </a:lnTo>
                  <a:lnTo>
                    <a:pt x="65" y="334"/>
                  </a:lnTo>
                  <a:lnTo>
                    <a:pt x="65" y="336"/>
                  </a:lnTo>
                  <a:lnTo>
                    <a:pt x="65" y="336"/>
                  </a:lnTo>
                  <a:lnTo>
                    <a:pt x="65" y="336"/>
                  </a:lnTo>
                  <a:lnTo>
                    <a:pt x="63" y="338"/>
                  </a:lnTo>
                  <a:lnTo>
                    <a:pt x="63" y="338"/>
                  </a:lnTo>
                  <a:lnTo>
                    <a:pt x="57" y="340"/>
                  </a:lnTo>
                  <a:lnTo>
                    <a:pt x="53" y="344"/>
                  </a:lnTo>
                  <a:lnTo>
                    <a:pt x="49" y="344"/>
                  </a:lnTo>
                  <a:lnTo>
                    <a:pt x="49" y="344"/>
                  </a:lnTo>
                  <a:lnTo>
                    <a:pt x="49" y="344"/>
                  </a:lnTo>
                  <a:lnTo>
                    <a:pt x="47" y="347"/>
                  </a:lnTo>
                  <a:lnTo>
                    <a:pt x="47" y="351"/>
                  </a:lnTo>
                  <a:lnTo>
                    <a:pt x="45" y="353"/>
                  </a:lnTo>
                  <a:lnTo>
                    <a:pt x="45" y="353"/>
                  </a:lnTo>
                  <a:lnTo>
                    <a:pt x="45" y="353"/>
                  </a:lnTo>
                  <a:lnTo>
                    <a:pt x="45" y="355"/>
                  </a:lnTo>
                  <a:lnTo>
                    <a:pt x="45" y="355"/>
                  </a:lnTo>
                  <a:lnTo>
                    <a:pt x="45" y="355"/>
                  </a:lnTo>
                  <a:lnTo>
                    <a:pt x="45" y="357"/>
                  </a:lnTo>
                  <a:lnTo>
                    <a:pt x="45" y="357"/>
                  </a:lnTo>
                  <a:lnTo>
                    <a:pt x="43" y="357"/>
                  </a:lnTo>
                  <a:lnTo>
                    <a:pt x="35" y="359"/>
                  </a:lnTo>
                  <a:lnTo>
                    <a:pt x="26" y="363"/>
                  </a:lnTo>
                  <a:lnTo>
                    <a:pt x="24" y="367"/>
                  </a:lnTo>
                  <a:lnTo>
                    <a:pt x="22" y="367"/>
                  </a:lnTo>
                  <a:lnTo>
                    <a:pt x="22" y="367"/>
                  </a:lnTo>
                  <a:lnTo>
                    <a:pt x="20" y="369"/>
                  </a:lnTo>
                  <a:lnTo>
                    <a:pt x="12" y="371"/>
                  </a:lnTo>
                  <a:lnTo>
                    <a:pt x="6" y="375"/>
                  </a:lnTo>
                  <a:lnTo>
                    <a:pt x="6" y="375"/>
                  </a:lnTo>
                  <a:lnTo>
                    <a:pt x="4" y="375"/>
                  </a:lnTo>
                  <a:lnTo>
                    <a:pt x="0" y="379"/>
                  </a:lnTo>
                  <a:lnTo>
                    <a:pt x="10" y="377"/>
                  </a:lnTo>
                  <a:lnTo>
                    <a:pt x="18" y="377"/>
                  </a:lnTo>
                  <a:lnTo>
                    <a:pt x="37" y="373"/>
                  </a:lnTo>
                  <a:lnTo>
                    <a:pt x="45" y="373"/>
                  </a:lnTo>
                  <a:lnTo>
                    <a:pt x="55" y="371"/>
                  </a:lnTo>
                  <a:lnTo>
                    <a:pt x="63" y="371"/>
                  </a:lnTo>
                  <a:lnTo>
                    <a:pt x="71" y="369"/>
                  </a:lnTo>
                  <a:lnTo>
                    <a:pt x="82" y="367"/>
                  </a:lnTo>
                  <a:lnTo>
                    <a:pt x="90" y="367"/>
                  </a:lnTo>
                  <a:lnTo>
                    <a:pt x="100" y="365"/>
                  </a:lnTo>
                  <a:lnTo>
                    <a:pt x="108" y="363"/>
                  </a:lnTo>
                  <a:lnTo>
                    <a:pt x="116" y="361"/>
                  </a:lnTo>
                  <a:lnTo>
                    <a:pt x="127" y="361"/>
                  </a:lnTo>
                  <a:lnTo>
                    <a:pt x="135" y="359"/>
                  </a:lnTo>
                  <a:lnTo>
                    <a:pt x="143" y="357"/>
                  </a:lnTo>
                  <a:lnTo>
                    <a:pt x="147" y="357"/>
                  </a:lnTo>
                  <a:lnTo>
                    <a:pt x="149" y="357"/>
                  </a:lnTo>
                  <a:lnTo>
                    <a:pt x="151" y="355"/>
                  </a:lnTo>
                  <a:lnTo>
                    <a:pt x="151" y="355"/>
                  </a:lnTo>
                  <a:lnTo>
                    <a:pt x="151" y="355"/>
                  </a:lnTo>
                  <a:lnTo>
                    <a:pt x="157" y="353"/>
                  </a:lnTo>
                  <a:lnTo>
                    <a:pt x="166" y="353"/>
                  </a:lnTo>
                  <a:lnTo>
                    <a:pt x="174" y="351"/>
                  </a:lnTo>
                  <a:lnTo>
                    <a:pt x="174" y="353"/>
                  </a:lnTo>
                  <a:lnTo>
                    <a:pt x="174" y="353"/>
                  </a:lnTo>
                  <a:lnTo>
                    <a:pt x="176" y="353"/>
                  </a:lnTo>
                  <a:lnTo>
                    <a:pt x="176" y="353"/>
                  </a:lnTo>
                  <a:lnTo>
                    <a:pt x="192" y="351"/>
                  </a:lnTo>
                  <a:lnTo>
                    <a:pt x="207" y="349"/>
                  </a:lnTo>
                  <a:lnTo>
                    <a:pt x="221" y="344"/>
                  </a:lnTo>
                  <a:lnTo>
                    <a:pt x="237" y="342"/>
                  </a:lnTo>
                  <a:lnTo>
                    <a:pt x="252" y="340"/>
                  </a:lnTo>
                  <a:lnTo>
                    <a:pt x="266" y="338"/>
                  </a:lnTo>
                  <a:lnTo>
                    <a:pt x="282" y="336"/>
                  </a:lnTo>
                  <a:lnTo>
                    <a:pt x="297" y="332"/>
                  </a:lnTo>
                  <a:lnTo>
                    <a:pt x="311" y="330"/>
                  </a:lnTo>
                  <a:lnTo>
                    <a:pt x="327" y="328"/>
                  </a:lnTo>
                  <a:lnTo>
                    <a:pt x="342" y="326"/>
                  </a:lnTo>
                  <a:lnTo>
                    <a:pt x="356" y="322"/>
                  </a:lnTo>
                  <a:lnTo>
                    <a:pt x="372" y="320"/>
                  </a:lnTo>
                  <a:lnTo>
                    <a:pt x="387" y="318"/>
                  </a:lnTo>
                  <a:lnTo>
                    <a:pt x="401" y="314"/>
                  </a:lnTo>
                  <a:lnTo>
                    <a:pt x="417" y="312"/>
                  </a:lnTo>
                  <a:lnTo>
                    <a:pt x="432" y="310"/>
                  </a:lnTo>
                  <a:lnTo>
                    <a:pt x="446" y="306"/>
                  </a:lnTo>
                  <a:lnTo>
                    <a:pt x="461" y="303"/>
                  </a:lnTo>
                  <a:lnTo>
                    <a:pt x="477" y="301"/>
                  </a:lnTo>
                  <a:lnTo>
                    <a:pt x="491" y="297"/>
                  </a:lnTo>
                  <a:lnTo>
                    <a:pt x="506" y="295"/>
                  </a:lnTo>
                  <a:lnTo>
                    <a:pt x="522" y="291"/>
                  </a:lnTo>
                  <a:lnTo>
                    <a:pt x="536" y="289"/>
                  </a:lnTo>
                  <a:lnTo>
                    <a:pt x="551" y="285"/>
                  </a:lnTo>
                  <a:lnTo>
                    <a:pt x="567" y="283"/>
                  </a:lnTo>
                  <a:lnTo>
                    <a:pt x="581" y="279"/>
                  </a:lnTo>
                  <a:lnTo>
                    <a:pt x="596" y="277"/>
                  </a:lnTo>
                  <a:lnTo>
                    <a:pt x="610" y="275"/>
                  </a:lnTo>
                  <a:lnTo>
                    <a:pt x="626" y="271"/>
                  </a:lnTo>
                  <a:lnTo>
                    <a:pt x="641" y="269"/>
                  </a:lnTo>
                  <a:lnTo>
                    <a:pt x="653" y="265"/>
                  </a:lnTo>
                  <a:lnTo>
                    <a:pt x="655" y="265"/>
                  </a:lnTo>
                  <a:lnTo>
                    <a:pt x="655" y="265"/>
                  </a:lnTo>
                  <a:lnTo>
                    <a:pt x="655" y="262"/>
                  </a:lnTo>
                  <a:lnTo>
                    <a:pt x="653" y="262"/>
                  </a:lnTo>
                  <a:lnTo>
                    <a:pt x="653" y="260"/>
                  </a:lnTo>
                  <a:lnTo>
                    <a:pt x="657" y="265"/>
                  </a:lnTo>
                  <a:lnTo>
                    <a:pt x="661" y="262"/>
                  </a:lnTo>
                  <a:lnTo>
                    <a:pt x="661" y="262"/>
                  </a:lnTo>
                  <a:lnTo>
                    <a:pt x="659" y="258"/>
                  </a:lnTo>
                  <a:lnTo>
                    <a:pt x="657" y="246"/>
                  </a:lnTo>
                  <a:lnTo>
                    <a:pt x="657" y="246"/>
                  </a:lnTo>
                  <a:lnTo>
                    <a:pt x="659" y="246"/>
                  </a:lnTo>
                  <a:lnTo>
                    <a:pt x="659" y="246"/>
                  </a:lnTo>
                  <a:lnTo>
                    <a:pt x="661" y="246"/>
                  </a:lnTo>
                  <a:lnTo>
                    <a:pt x="661" y="248"/>
                  </a:lnTo>
                  <a:lnTo>
                    <a:pt x="665" y="254"/>
                  </a:lnTo>
                  <a:lnTo>
                    <a:pt x="665" y="254"/>
                  </a:lnTo>
                  <a:lnTo>
                    <a:pt x="667" y="256"/>
                  </a:lnTo>
                  <a:lnTo>
                    <a:pt x="667" y="256"/>
                  </a:lnTo>
                  <a:lnTo>
                    <a:pt x="667" y="258"/>
                  </a:lnTo>
                  <a:lnTo>
                    <a:pt x="667" y="258"/>
                  </a:lnTo>
                  <a:lnTo>
                    <a:pt x="667" y="260"/>
                  </a:lnTo>
                  <a:lnTo>
                    <a:pt x="669" y="262"/>
                  </a:lnTo>
                  <a:lnTo>
                    <a:pt x="669" y="262"/>
                  </a:lnTo>
                  <a:lnTo>
                    <a:pt x="671" y="260"/>
                  </a:lnTo>
                  <a:lnTo>
                    <a:pt x="669" y="256"/>
                  </a:lnTo>
                  <a:lnTo>
                    <a:pt x="655" y="236"/>
                  </a:lnTo>
                  <a:close/>
                </a:path>
              </a:pathLst>
            </a:custGeom>
            <a:solidFill>
              <a:schemeClr val="accent1"/>
            </a:solidFill>
            <a:ln w="3175" cap="rnd">
              <a:solidFill>
                <a:schemeClr val="bg1"/>
              </a:solidFill>
              <a:prstDash val="solid"/>
              <a:round/>
              <a:headEnd/>
              <a:tailEnd/>
            </a:ln>
          </p:spPr>
          <p:txBody>
            <a:bodyPr vert="horz" wrap="square" lIns="19200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VA</a:t>
              </a:r>
            </a:p>
          </p:txBody>
        </p:sp>
        <p:sp>
          <p:nvSpPr>
            <p:cNvPr id="90" name="Freeform 11">
              <a:extLst>
                <a:ext uri="{FF2B5EF4-FFF2-40B4-BE49-F238E27FC236}">
                  <a16:creationId xmlns:a16="http://schemas.microsoft.com/office/drawing/2014/main" id="{22529C0E-6A3D-05DC-D464-91C5C9C5098D}"/>
                </a:ext>
              </a:extLst>
            </p:cNvPr>
            <p:cNvSpPr>
              <a:spLocks/>
            </p:cNvSpPr>
            <p:nvPr/>
          </p:nvSpPr>
          <p:spPr bwMode="auto">
            <a:xfrm>
              <a:off x="1511" y="836"/>
              <a:ext cx="467" cy="576"/>
            </a:xfrm>
            <a:custGeom>
              <a:avLst/>
              <a:gdLst>
                <a:gd name="T0" fmla="*/ 309 w 467"/>
                <a:gd name="T1" fmla="*/ 41 h 576"/>
                <a:gd name="T2" fmla="*/ 307 w 467"/>
                <a:gd name="T3" fmla="*/ 62 h 576"/>
                <a:gd name="T4" fmla="*/ 307 w 467"/>
                <a:gd name="T5" fmla="*/ 80 h 576"/>
                <a:gd name="T6" fmla="*/ 305 w 467"/>
                <a:gd name="T7" fmla="*/ 101 h 576"/>
                <a:gd name="T8" fmla="*/ 303 w 467"/>
                <a:gd name="T9" fmla="*/ 121 h 576"/>
                <a:gd name="T10" fmla="*/ 301 w 467"/>
                <a:gd name="T11" fmla="*/ 133 h 576"/>
                <a:gd name="T12" fmla="*/ 301 w 467"/>
                <a:gd name="T13" fmla="*/ 133 h 576"/>
                <a:gd name="T14" fmla="*/ 301 w 467"/>
                <a:gd name="T15" fmla="*/ 133 h 576"/>
                <a:gd name="T16" fmla="*/ 332 w 467"/>
                <a:gd name="T17" fmla="*/ 137 h 576"/>
                <a:gd name="T18" fmla="*/ 362 w 467"/>
                <a:gd name="T19" fmla="*/ 140 h 576"/>
                <a:gd name="T20" fmla="*/ 393 w 467"/>
                <a:gd name="T21" fmla="*/ 142 h 576"/>
                <a:gd name="T22" fmla="*/ 424 w 467"/>
                <a:gd name="T23" fmla="*/ 146 h 576"/>
                <a:gd name="T24" fmla="*/ 457 w 467"/>
                <a:gd name="T25" fmla="*/ 148 h 576"/>
                <a:gd name="T26" fmla="*/ 465 w 467"/>
                <a:gd name="T27" fmla="*/ 174 h 576"/>
                <a:gd name="T28" fmla="*/ 461 w 467"/>
                <a:gd name="T29" fmla="*/ 215 h 576"/>
                <a:gd name="T30" fmla="*/ 457 w 467"/>
                <a:gd name="T31" fmla="*/ 254 h 576"/>
                <a:gd name="T32" fmla="*/ 455 w 467"/>
                <a:gd name="T33" fmla="*/ 295 h 576"/>
                <a:gd name="T34" fmla="*/ 451 w 467"/>
                <a:gd name="T35" fmla="*/ 334 h 576"/>
                <a:gd name="T36" fmla="*/ 448 w 467"/>
                <a:gd name="T37" fmla="*/ 375 h 576"/>
                <a:gd name="T38" fmla="*/ 444 w 467"/>
                <a:gd name="T39" fmla="*/ 414 h 576"/>
                <a:gd name="T40" fmla="*/ 440 w 467"/>
                <a:gd name="T41" fmla="*/ 455 h 576"/>
                <a:gd name="T42" fmla="*/ 438 w 467"/>
                <a:gd name="T43" fmla="*/ 496 h 576"/>
                <a:gd name="T44" fmla="*/ 434 w 467"/>
                <a:gd name="T45" fmla="*/ 535 h 576"/>
                <a:gd name="T46" fmla="*/ 432 w 467"/>
                <a:gd name="T47" fmla="*/ 576 h 576"/>
                <a:gd name="T48" fmla="*/ 391 w 467"/>
                <a:gd name="T49" fmla="*/ 572 h 576"/>
                <a:gd name="T50" fmla="*/ 350 w 467"/>
                <a:gd name="T51" fmla="*/ 568 h 576"/>
                <a:gd name="T52" fmla="*/ 309 w 467"/>
                <a:gd name="T53" fmla="*/ 564 h 576"/>
                <a:gd name="T54" fmla="*/ 270 w 467"/>
                <a:gd name="T55" fmla="*/ 562 h 576"/>
                <a:gd name="T56" fmla="*/ 229 w 467"/>
                <a:gd name="T57" fmla="*/ 558 h 576"/>
                <a:gd name="T58" fmla="*/ 188 w 467"/>
                <a:gd name="T59" fmla="*/ 551 h 576"/>
                <a:gd name="T60" fmla="*/ 149 w 467"/>
                <a:gd name="T61" fmla="*/ 547 h 576"/>
                <a:gd name="T62" fmla="*/ 108 w 467"/>
                <a:gd name="T63" fmla="*/ 543 h 576"/>
                <a:gd name="T64" fmla="*/ 68 w 467"/>
                <a:gd name="T65" fmla="*/ 539 h 576"/>
                <a:gd name="T66" fmla="*/ 27 w 467"/>
                <a:gd name="T67" fmla="*/ 533 h 576"/>
                <a:gd name="T68" fmla="*/ 2 w 467"/>
                <a:gd name="T69" fmla="*/ 513 h 576"/>
                <a:gd name="T70" fmla="*/ 8 w 467"/>
                <a:gd name="T71" fmla="*/ 463 h 576"/>
                <a:gd name="T72" fmla="*/ 16 w 467"/>
                <a:gd name="T73" fmla="*/ 414 h 576"/>
                <a:gd name="T74" fmla="*/ 22 w 467"/>
                <a:gd name="T75" fmla="*/ 363 h 576"/>
                <a:gd name="T76" fmla="*/ 29 w 467"/>
                <a:gd name="T77" fmla="*/ 314 h 576"/>
                <a:gd name="T78" fmla="*/ 35 w 467"/>
                <a:gd name="T79" fmla="*/ 265 h 576"/>
                <a:gd name="T80" fmla="*/ 41 w 467"/>
                <a:gd name="T81" fmla="*/ 215 h 576"/>
                <a:gd name="T82" fmla="*/ 47 w 467"/>
                <a:gd name="T83" fmla="*/ 164 h 576"/>
                <a:gd name="T84" fmla="*/ 53 w 467"/>
                <a:gd name="T85" fmla="*/ 115 h 576"/>
                <a:gd name="T86" fmla="*/ 59 w 467"/>
                <a:gd name="T87" fmla="*/ 66 h 576"/>
                <a:gd name="T88" fmla="*/ 65 w 467"/>
                <a:gd name="T89" fmla="*/ 17 h 576"/>
                <a:gd name="T90" fmla="*/ 98 w 467"/>
                <a:gd name="T91" fmla="*/ 4 h 576"/>
                <a:gd name="T92" fmla="*/ 143 w 467"/>
                <a:gd name="T93" fmla="*/ 10 h 576"/>
                <a:gd name="T94" fmla="*/ 190 w 467"/>
                <a:gd name="T95" fmla="*/ 15 h 576"/>
                <a:gd name="T96" fmla="*/ 235 w 467"/>
                <a:gd name="T97" fmla="*/ 21 h 576"/>
                <a:gd name="T98" fmla="*/ 281 w 467"/>
                <a:gd name="T99" fmla="*/ 25 h 576"/>
                <a:gd name="T100" fmla="*/ 311 w 467"/>
                <a:gd name="T101" fmla="*/ 29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7" h="576">
                  <a:moveTo>
                    <a:pt x="311" y="29"/>
                  </a:moveTo>
                  <a:lnTo>
                    <a:pt x="311" y="35"/>
                  </a:lnTo>
                  <a:lnTo>
                    <a:pt x="309" y="41"/>
                  </a:lnTo>
                  <a:lnTo>
                    <a:pt x="309" y="47"/>
                  </a:lnTo>
                  <a:lnTo>
                    <a:pt x="309" y="53"/>
                  </a:lnTo>
                  <a:lnTo>
                    <a:pt x="307" y="62"/>
                  </a:lnTo>
                  <a:lnTo>
                    <a:pt x="307" y="68"/>
                  </a:lnTo>
                  <a:lnTo>
                    <a:pt x="307" y="74"/>
                  </a:lnTo>
                  <a:lnTo>
                    <a:pt x="307" y="80"/>
                  </a:lnTo>
                  <a:lnTo>
                    <a:pt x="305" y="88"/>
                  </a:lnTo>
                  <a:lnTo>
                    <a:pt x="305" y="94"/>
                  </a:lnTo>
                  <a:lnTo>
                    <a:pt x="305" y="101"/>
                  </a:lnTo>
                  <a:lnTo>
                    <a:pt x="303" y="107"/>
                  </a:lnTo>
                  <a:lnTo>
                    <a:pt x="303" y="113"/>
                  </a:lnTo>
                  <a:lnTo>
                    <a:pt x="303" y="121"/>
                  </a:lnTo>
                  <a:lnTo>
                    <a:pt x="301" y="127"/>
                  </a:lnTo>
                  <a:lnTo>
                    <a:pt x="301" y="133"/>
                  </a:lnTo>
                  <a:lnTo>
                    <a:pt x="301" y="133"/>
                  </a:lnTo>
                  <a:lnTo>
                    <a:pt x="301" y="133"/>
                  </a:lnTo>
                  <a:lnTo>
                    <a:pt x="301" y="133"/>
                  </a:lnTo>
                  <a:lnTo>
                    <a:pt x="301" y="133"/>
                  </a:lnTo>
                  <a:lnTo>
                    <a:pt x="301" y="133"/>
                  </a:lnTo>
                  <a:lnTo>
                    <a:pt x="301" y="133"/>
                  </a:lnTo>
                  <a:lnTo>
                    <a:pt x="301" y="133"/>
                  </a:lnTo>
                  <a:lnTo>
                    <a:pt x="311" y="135"/>
                  </a:lnTo>
                  <a:lnTo>
                    <a:pt x="321" y="135"/>
                  </a:lnTo>
                  <a:lnTo>
                    <a:pt x="332" y="137"/>
                  </a:lnTo>
                  <a:lnTo>
                    <a:pt x="342" y="137"/>
                  </a:lnTo>
                  <a:lnTo>
                    <a:pt x="352" y="140"/>
                  </a:lnTo>
                  <a:lnTo>
                    <a:pt x="362" y="140"/>
                  </a:lnTo>
                  <a:lnTo>
                    <a:pt x="373" y="142"/>
                  </a:lnTo>
                  <a:lnTo>
                    <a:pt x="383" y="142"/>
                  </a:lnTo>
                  <a:lnTo>
                    <a:pt x="393" y="142"/>
                  </a:lnTo>
                  <a:lnTo>
                    <a:pt x="403" y="144"/>
                  </a:lnTo>
                  <a:lnTo>
                    <a:pt x="414" y="144"/>
                  </a:lnTo>
                  <a:lnTo>
                    <a:pt x="424" y="146"/>
                  </a:lnTo>
                  <a:lnTo>
                    <a:pt x="436" y="146"/>
                  </a:lnTo>
                  <a:lnTo>
                    <a:pt x="446" y="148"/>
                  </a:lnTo>
                  <a:lnTo>
                    <a:pt x="457" y="148"/>
                  </a:lnTo>
                  <a:lnTo>
                    <a:pt x="467" y="150"/>
                  </a:lnTo>
                  <a:lnTo>
                    <a:pt x="465" y="162"/>
                  </a:lnTo>
                  <a:lnTo>
                    <a:pt x="465" y="174"/>
                  </a:lnTo>
                  <a:lnTo>
                    <a:pt x="463" y="189"/>
                  </a:lnTo>
                  <a:lnTo>
                    <a:pt x="463" y="201"/>
                  </a:lnTo>
                  <a:lnTo>
                    <a:pt x="461" y="215"/>
                  </a:lnTo>
                  <a:lnTo>
                    <a:pt x="459" y="228"/>
                  </a:lnTo>
                  <a:lnTo>
                    <a:pt x="459" y="242"/>
                  </a:lnTo>
                  <a:lnTo>
                    <a:pt x="457" y="254"/>
                  </a:lnTo>
                  <a:lnTo>
                    <a:pt x="457" y="269"/>
                  </a:lnTo>
                  <a:lnTo>
                    <a:pt x="455" y="281"/>
                  </a:lnTo>
                  <a:lnTo>
                    <a:pt x="455" y="295"/>
                  </a:lnTo>
                  <a:lnTo>
                    <a:pt x="453" y="308"/>
                  </a:lnTo>
                  <a:lnTo>
                    <a:pt x="453" y="322"/>
                  </a:lnTo>
                  <a:lnTo>
                    <a:pt x="451" y="334"/>
                  </a:lnTo>
                  <a:lnTo>
                    <a:pt x="451" y="349"/>
                  </a:lnTo>
                  <a:lnTo>
                    <a:pt x="448" y="361"/>
                  </a:lnTo>
                  <a:lnTo>
                    <a:pt x="448" y="375"/>
                  </a:lnTo>
                  <a:lnTo>
                    <a:pt x="446" y="388"/>
                  </a:lnTo>
                  <a:lnTo>
                    <a:pt x="446" y="402"/>
                  </a:lnTo>
                  <a:lnTo>
                    <a:pt x="444" y="414"/>
                  </a:lnTo>
                  <a:lnTo>
                    <a:pt x="442" y="428"/>
                  </a:lnTo>
                  <a:lnTo>
                    <a:pt x="442" y="441"/>
                  </a:lnTo>
                  <a:lnTo>
                    <a:pt x="440" y="455"/>
                  </a:lnTo>
                  <a:lnTo>
                    <a:pt x="440" y="469"/>
                  </a:lnTo>
                  <a:lnTo>
                    <a:pt x="438" y="482"/>
                  </a:lnTo>
                  <a:lnTo>
                    <a:pt x="438" y="496"/>
                  </a:lnTo>
                  <a:lnTo>
                    <a:pt x="436" y="508"/>
                  </a:lnTo>
                  <a:lnTo>
                    <a:pt x="436" y="523"/>
                  </a:lnTo>
                  <a:lnTo>
                    <a:pt x="434" y="535"/>
                  </a:lnTo>
                  <a:lnTo>
                    <a:pt x="434" y="549"/>
                  </a:lnTo>
                  <a:lnTo>
                    <a:pt x="432" y="562"/>
                  </a:lnTo>
                  <a:lnTo>
                    <a:pt x="432" y="576"/>
                  </a:lnTo>
                  <a:lnTo>
                    <a:pt x="418" y="574"/>
                  </a:lnTo>
                  <a:lnTo>
                    <a:pt x="403" y="574"/>
                  </a:lnTo>
                  <a:lnTo>
                    <a:pt x="391" y="572"/>
                  </a:lnTo>
                  <a:lnTo>
                    <a:pt x="377" y="570"/>
                  </a:lnTo>
                  <a:lnTo>
                    <a:pt x="364" y="570"/>
                  </a:lnTo>
                  <a:lnTo>
                    <a:pt x="350" y="568"/>
                  </a:lnTo>
                  <a:lnTo>
                    <a:pt x="338" y="568"/>
                  </a:lnTo>
                  <a:lnTo>
                    <a:pt x="324" y="566"/>
                  </a:lnTo>
                  <a:lnTo>
                    <a:pt x="309" y="564"/>
                  </a:lnTo>
                  <a:lnTo>
                    <a:pt x="297" y="564"/>
                  </a:lnTo>
                  <a:lnTo>
                    <a:pt x="283" y="562"/>
                  </a:lnTo>
                  <a:lnTo>
                    <a:pt x="270" y="562"/>
                  </a:lnTo>
                  <a:lnTo>
                    <a:pt x="256" y="560"/>
                  </a:lnTo>
                  <a:lnTo>
                    <a:pt x="242" y="558"/>
                  </a:lnTo>
                  <a:lnTo>
                    <a:pt x="229" y="558"/>
                  </a:lnTo>
                  <a:lnTo>
                    <a:pt x="215" y="556"/>
                  </a:lnTo>
                  <a:lnTo>
                    <a:pt x="203" y="554"/>
                  </a:lnTo>
                  <a:lnTo>
                    <a:pt x="188" y="551"/>
                  </a:lnTo>
                  <a:lnTo>
                    <a:pt x="176" y="551"/>
                  </a:lnTo>
                  <a:lnTo>
                    <a:pt x="162" y="549"/>
                  </a:lnTo>
                  <a:lnTo>
                    <a:pt x="149" y="547"/>
                  </a:lnTo>
                  <a:lnTo>
                    <a:pt x="135" y="547"/>
                  </a:lnTo>
                  <a:lnTo>
                    <a:pt x="121" y="545"/>
                  </a:lnTo>
                  <a:lnTo>
                    <a:pt x="108" y="543"/>
                  </a:lnTo>
                  <a:lnTo>
                    <a:pt x="94" y="541"/>
                  </a:lnTo>
                  <a:lnTo>
                    <a:pt x="82" y="539"/>
                  </a:lnTo>
                  <a:lnTo>
                    <a:pt x="68" y="539"/>
                  </a:lnTo>
                  <a:lnTo>
                    <a:pt x="55" y="537"/>
                  </a:lnTo>
                  <a:lnTo>
                    <a:pt x="41" y="535"/>
                  </a:lnTo>
                  <a:lnTo>
                    <a:pt x="27" y="533"/>
                  </a:lnTo>
                  <a:lnTo>
                    <a:pt x="14" y="531"/>
                  </a:lnTo>
                  <a:lnTo>
                    <a:pt x="0" y="531"/>
                  </a:lnTo>
                  <a:lnTo>
                    <a:pt x="2" y="513"/>
                  </a:lnTo>
                  <a:lnTo>
                    <a:pt x="4" y="496"/>
                  </a:lnTo>
                  <a:lnTo>
                    <a:pt x="6" y="480"/>
                  </a:lnTo>
                  <a:lnTo>
                    <a:pt x="8" y="463"/>
                  </a:lnTo>
                  <a:lnTo>
                    <a:pt x="12" y="447"/>
                  </a:lnTo>
                  <a:lnTo>
                    <a:pt x="14" y="431"/>
                  </a:lnTo>
                  <a:lnTo>
                    <a:pt x="16" y="414"/>
                  </a:lnTo>
                  <a:lnTo>
                    <a:pt x="18" y="398"/>
                  </a:lnTo>
                  <a:lnTo>
                    <a:pt x="20" y="381"/>
                  </a:lnTo>
                  <a:lnTo>
                    <a:pt x="22" y="363"/>
                  </a:lnTo>
                  <a:lnTo>
                    <a:pt x="25" y="347"/>
                  </a:lnTo>
                  <a:lnTo>
                    <a:pt x="27" y="330"/>
                  </a:lnTo>
                  <a:lnTo>
                    <a:pt x="29" y="314"/>
                  </a:lnTo>
                  <a:lnTo>
                    <a:pt x="31" y="297"/>
                  </a:lnTo>
                  <a:lnTo>
                    <a:pt x="33" y="281"/>
                  </a:lnTo>
                  <a:lnTo>
                    <a:pt x="35" y="265"/>
                  </a:lnTo>
                  <a:lnTo>
                    <a:pt x="37" y="248"/>
                  </a:lnTo>
                  <a:lnTo>
                    <a:pt x="39" y="232"/>
                  </a:lnTo>
                  <a:lnTo>
                    <a:pt x="41" y="215"/>
                  </a:lnTo>
                  <a:lnTo>
                    <a:pt x="43" y="199"/>
                  </a:lnTo>
                  <a:lnTo>
                    <a:pt x="45" y="183"/>
                  </a:lnTo>
                  <a:lnTo>
                    <a:pt x="47" y="164"/>
                  </a:lnTo>
                  <a:lnTo>
                    <a:pt x="49" y="148"/>
                  </a:lnTo>
                  <a:lnTo>
                    <a:pt x="51" y="131"/>
                  </a:lnTo>
                  <a:lnTo>
                    <a:pt x="53" y="115"/>
                  </a:lnTo>
                  <a:lnTo>
                    <a:pt x="55" y="99"/>
                  </a:lnTo>
                  <a:lnTo>
                    <a:pt x="57" y="82"/>
                  </a:lnTo>
                  <a:lnTo>
                    <a:pt x="59" y="66"/>
                  </a:lnTo>
                  <a:lnTo>
                    <a:pt x="61" y="49"/>
                  </a:lnTo>
                  <a:lnTo>
                    <a:pt x="63" y="33"/>
                  </a:lnTo>
                  <a:lnTo>
                    <a:pt x="65" y="17"/>
                  </a:lnTo>
                  <a:lnTo>
                    <a:pt x="68" y="0"/>
                  </a:lnTo>
                  <a:lnTo>
                    <a:pt x="84" y="2"/>
                  </a:lnTo>
                  <a:lnTo>
                    <a:pt x="98" y="4"/>
                  </a:lnTo>
                  <a:lnTo>
                    <a:pt x="113" y="6"/>
                  </a:lnTo>
                  <a:lnTo>
                    <a:pt x="129" y="8"/>
                  </a:lnTo>
                  <a:lnTo>
                    <a:pt x="143" y="10"/>
                  </a:lnTo>
                  <a:lnTo>
                    <a:pt x="160" y="12"/>
                  </a:lnTo>
                  <a:lnTo>
                    <a:pt x="174" y="12"/>
                  </a:lnTo>
                  <a:lnTo>
                    <a:pt x="190" y="15"/>
                  </a:lnTo>
                  <a:lnTo>
                    <a:pt x="205" y="17"/>
                  </a:lnTo>
                  <a:lnTo>
                    <a:pt x="219" y="19"/>
                  </a:lnTo>
                  <a:lnTo>
                    <a:pt x="235" y="21"/>
                  </a:lnTo>
                  <a:lnTo>
                    <a:pt x="250" y="23"/>
                  </a:lnTo>
                  <a:lnTo>
                    <a:pt x="266" y="23"/>
                  </a:lnTo>
                  <a:lnTo>
                    <a:pt x="281" y="25"/>
                  </a:lnTo>
                  <a:lnTo>
                    <a:pt x="297" y="27"/>
                  </a:lnTo>
                  <a:lnTo>
                    <a:pt x="311" y="29"/>
                  </a:lnTo>
                  <a:lnTo>
                    <a:pt x="311" y="29"/>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UT</a:t>
              </a:r>
            </a:p>
          </p:txBody>
        </p:sp>
        <p:sp>
          <p:nvSpPr>
            <p:cNvPr id="91" name="Freeform 12">
              <a:extLst>
                <a:ext uri="{FF2B5EF4-FFF2-40B4-BE49-F238E27FC236}">
                  <a16:creationId xmlns:a16="http://schemas.microsoft.com/office/drawing/2014/main" id="{8CBEC254-52C5-AB90-23C9-7FCF46B09B0C}"/>
                </a:ext>
              </a:extLst>
            </p:cNvPr>
            <p:cNvSpPr>
              <a:spLocks noEditPoints="1"/>
            </p:cNvSpPr>
            <p:nvPr/>
          </p:nvSpPr>
          <p:spPr bwMode="auto">
            <a:xfrm>
              <a:off x="2121" y="1494"/>
              <a:ext cx="1211" cy="1150"/>
            </a:xfrm>
            <a:custGeom>
              <a:avLst/>
              <a:gdLst>
                <a:gd name="T0" fmla="*/ 862 w 1211"/>
                <a:gd name="T1" fmla="*/ 1016 h 1150"/>
                <a:gd name="T2" fmla="*/ 871 w 1211"/>
                <a:gd name="T3" fmla="*/ 967 h 1150"/>
                <a:gd name="T4" fmla="*/ 895 w 1211"/>
                <a:gd name="T5" fmla="*/ 930 h 1150"/>
                <a:gd name="T6" fmla="*/ 916 w 1211"/>
                <a:gd name="T7" fmla="*/ 902 h 1150"/>
                <a:gd name="T8" fmla="*/ 969 w 1211"/>
                <a:gd name="T9" fmla="*/ 863 h 1150"/>
                <a:gd name="T10" fmla="*/ 1104 w 1211"/>
                <a:gd name="T11" fmla="*/ 764 h 1150"/>
                <a:gd name="T12" fmla="*/ 1194 w 1211"/>
                <a:gd name="T13" fmla="*/ 541 h 1150"/>
                <a:gd name="T14" fmla="*/ 1178 w 1211"/>
                <a:gd name="T15" fmla="*/ 516 h 1150"/>
                <a:gd name="T16" fmla="*/ 1157 w 1211"/>
                <a:gd name="T17" fmla="*/ 475 h 1150"/>
                <a:gd name="T18" fmla="*/ 1116 w 1211"/>
                <a:gd name="T19" fmla="*/ 305 h 1150"/>
                <a:gd name="T20" fmla="*/ 1065 w 1211"/>
                <a:gd name="T21" fmla="*/ 281 h 1150"/>
                <a:gd name="T22" fmla="*/ 1020 w 1211"/>
                <a:gd name="T23" fmla="*/ 279 h 1150"/>
                <a:gd name="T24" fmla="*/ 987 w 1211"/>
                <a:gd name="T25" fmla="*/ 281 h 1150"/>
                <a:gd name="T26" fmla="*/ 926 w 1211"/>
                <a:gd name="T27" fmla="*/ 291 h 1150"/>
                <a:gd name="T28" fmla="*/ 895 w 1211"/>
                <a:gd name="T29" fmla="*/ 283 h 1150"/>
                <a:gd name="T30" fmla="*/ 862 w 1211"/>
                <a:gd name="T31" fmla="*/ 293 h 1150"/>
                <a:gd name="T32" fmla="*/ 828 w 1211"/>
                <a:gd name="T33" fmla="*/ 275 h 1150"/>
                <a:gd name="T34" fmla="*/ 752 w 1211"/>
                <a:gd name="T35" fmla="*/ 262 h 1150"/>
                <a:gd name="T36" fmla="*/ 674 w 1211"/>
                <a:gd name="T37" fmla="*/ 227 h 1150"/>
                <a:gd name="T38" fmla="*/ 610 w 1211"/>
                <a:gd name="T39" fmla="*/ 156 h 1150"/>
                <a:gd name="T40" fmla="*/ 342 w 1211"/>
                <a:gd name="T41" fmla="*/ 80 h 1150"/>
                <a:gd name="T42" fmla="*/ 127 w 1211"/>
                <a:gd name="T43" fmla="*/ 478 h 1150"/>
                <a:gd name="T44" fmla="*/ 43 w 1211"/>
                <a:gd name="T45" fmla="*/ 533 h 1150"/>
                <a:gd name="T46" fmla="*/ 123 w 1211"/>
                <a:gd name="T47" fmla="*/ 605 h 1150"/>
                <a:gd name="T48" fmla="*/ 156 w 1211"/>
                <a:gd name="T49" fmla="*/ 635 h 1150"/>
                <a:gd name="T50" fmla="*/ 172 w 1211"/>
                <a:gd name="T51" fmla="*/ 693 h 1150"/>
                <a:gd name="T52" fmla="*/ 215 w 1211"/>
                <a:gd name="T53" fmla="*/ 752 h 1150"/>
                <a:gd name="T54" fmla="*/ 299 w 1211"/>
                <a:gd name="T55" fmla="*/ 805 h 1150"/>
                <a:gd name="T56" fmla="*/ 340 w 1211"/>
                <a:gd name="T57" fmla="*/ 771 h 1150"/>
                <a:gd name="T58" fmla="*/ 359 w 1211"/>
                <a:gd name="T59" fmla="*/ 730 h 1150"/>
                <a:gd name="T60" fmla="*/ 410 w 1211"/>
                <a:gd name="T61" fmla="*/ 723 h 1150"/>
                <a:gd name="T62" fmla="*/ 473 w 1211"/>
                <a:gd name="T63" fmla="*/ 725 h 1150"/>
                <a:gd name="T64" fmla="*/ 514 w 1211"/>
                <a:gd name="T65" fmla="*/ 762 h 1150"/>
                <a:gd name="T66" fmla="*/ 555 w 1211"/>
                <a:gd name="T67" fmla="*/ 826 h 1150"/>
                <a:gd name="T68" fmla="*/ 584 w 1211"/>
                <a:gd name="T69" fmla="*/ 887 h 1150"/>
                <a:gd name="T70" fmla="*/ 621 w 1211"/>
                <a:gd name="T71" fmla="*/ 935 h 1150"/>
                <a:gd name="T72" fmla="*/ 658 w 1211"/>
                <a:gd name="T73" fmla="*/ 965 h 1150"/>
                <a:gd name="T74" fmla="*/ 664 w 1211"/>
                <a:gd name="T75" fmla="*/ 1016 h 1150"/>
                <a:gd name="T76" fmla="*/ 701 w 1211"/>
                <a:gd name="T77" fmla="*/ 1092 h 1150"/>
                <a:gd name="T78" fmla="*/ 742 w 1211"/>
                <a:gd name="T79" fmla="*/ 1109 h 1150"/>
                <a:gd name="T80" fmla="*/ 840 w 1211"/>
                <a:gd name="T81" fmla="*/ 1131 h 1150"/>
                <a:gd name="T82" fmla="*/ 877 w 1211"/>
                <a:gd name="T83" fmla="*/ 1137 h 1150"/>
                <a:gd name="T84" fmla="*/ 875 w 1211"/>
                <a:gd name="T85" fmla="*/ 1121 h 1150"/>
                <a:gd name="T86" fmla="*/ 860 w 1211"/>
                <a:gd name="T87" fmla="*/ 1088 h 1150"/>
                <a:gd name="T88" fmla="*/ 846 w 1211"/>
                <a:gd name="T89" fmla="*/ 1031 h 1150"/>
                <a:gd name="T90" fmla="*/ 828 w 1211"/>
                <a:gd name="T91" fmla="*/ 996 h 1150"/>
                <a:gd name="T92" fmla="*/ 848 w 1211"/>
                <a:gd name="T93" fmla="*/ 988 h 1150"/>
                <a:gd name="T94" fmla="*/ 871 w 1211"/>
                <a:gd name="T95" fmla="*/ 957 h 1150"/>
                <a:gd name="T96" fmla="*/ 864 w 1211"/>
                <a:gd name="T97" fmla="*/ 930 h 1150"/>
                <a:gd name="T98" fmla="*/ 887 w 1211"/>
                <a:gd name="T99" fmla="*/ 910 h 1150"/>
                <a:gd name="T100" fmla="*/ 899 w 1211"/>
                <a:gd name="T101" fmla="*/ 902 h 1150"/>
                <a:gd name="T102" fmla="*/ 916 w 1211"/>
                <a:gd name="T103" fmla="*/ 867 h 1150"/>
                <a:gd name="T104" fmla="*/ 944 w 1211"/>
                <a:gd name="T105" fmla="*/ 861 h 1150"/>
                <a:gd name="T106" fmla="*/ 940 w 1211"/>
                <a:gd name="T107" fmla="*/ 846 h 1150"/>
                <a:gd name="T108" fmla="*/ 950 w 1211"/>
                <a:gd name="T109" fmla="*/ 836 h 1150"/>
                <a:gd name="T110" fmla="*/ 971 w 1211"/>
                <a:gd name="T111" fmla="*/ 850 h 1150"/>
                <a:gd name="T112" fmla="*/ 1010 w 1211"/>
                <a:gd name="T113" fmla="*/ 834 h 1150"/>
                <a:gd name="T114" fmla="*/ 1086 w 1211"/>
                <a:gd name="T115" fmla="*/ 766 h 1150"/>
                <a:gd name="T116" fmla="*/ 1079 w 1211"/>
                <a:gd name="T117" fmla="*/ 740 h 1150"/>
                <a:gd name="T118" fmla="*/ 1104 w 1211"/>
                <a:gd name="T119" fmla="*/ 736 h 1150"/>
                <a:gd name="T120" fmla="*/ 1114 w 1211"/>
                <a:gd name="T121" fmla="*/ 752 h 1150"/>
                <a:gd name="T122" fmla="*/ 1196 w 1211"/>
                <a:gd name="T123" fmla="*/ 658 h 1150"/>
                <a:gd name="T124" fmla="*/ 1208 w 1211"/>
                <a:gd name="T125" fmla="*/ 586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1" h="1150">
                  <a:moveTo>
                    <a:pt x="866" y="1057"/>
                  </a:moveTo>
                  <a:lnTo>
                    <a:pt x="868" y="1062"/>
                  </a:lnTo>
                  <a:lnTo>
                    <a:pt x="868" y="1064"/>
                  </a:lnTo>
                  <a:lnTo>
                    <a:pt x="871" y="1066"/>
                  </a:lnTo>
                  <a:lnTo>
                    <a:pt x="871" y="1068"/>
                  </a:lnTo>
                  <a:lnTo>
                    <a:pt x="873" y="1074"/>
                  </a:lnTo>
                  <a:lnTo>
                    <a:pt x="873" y="1076"/>
                  </a:lnTo>
                  <a:lnTo>
                    <a:pt x="877" y="1080"/>
                  </a:lnTo>
                  <a:lnTo>
                    <a:pt x="877" y="1082"/>
                  </a:lnTo>
                  <a:lnTo>
                    <a:pt x="879" y="1090"/>
                  </a:lnTo>
                  <a:lnTo>
                    <a:pt x="879" y="1092"/>
                  </a:lnTo>
                  <a:lnTo>
                    <a:pt x="881" y="1096"/>
                  </a:lnTo>
                  <a:lnTo>
                    <a:pt x="881" y="1098"/>
                  </a:lnTo>
                  <a:lnTo>
                    <a:pt x="883" y="1119"/>
                  </a:lnTo>
                  <a:lnTo>
                    <a:pt x="885" y="1121"/>
                  </a:lnTo>
                  <a:lnTo>
                    <a:pt x="885" y="1121"/>
                  </a:lnTo>
                  <a:lnTo>
                    <a:pt x="887" y="1121"/>
                  </a:lnTo>
                  <a:lnTo>
                    <a:pt x="887" y="1119"/>
                  </a:lnTo>
                  <a:lnTo>
                    <a:pt x="885" y="1113"/>
                  </a:lnTo>
                  <a:lnTo>
                    <a:pt x="883" y="1109"/>
                  </a:lnTo>
                  <a:lnTo>
                    <a:pt x="883" y="1107"/>
                  </a:lnTo>
                  <a:lnTo>
                    <a:pt x="883" y="1103"/>
                  </a:lnTo>
                  <a:lnTo>
                    <a:pt x="883" y="1100"/>
                  </a:lnTo>
                  <a:lnTo>
                    <a:pt x="881" y="1096"/>
                  </a:lnTo>
                  <a:lnTo>
                    <a:pt x="881" y="1090"/>
                  </a:lnTo>
                  <a:lnTo>
                    <a:pt x="879" y="1086"/>
                  </a:lnTo>
                  <a:lnTo>
                    <a:pt x="879" y="1086"/>
                  </a:lnTo>
                  <a:lnTo>
                    <a:pt x="879" y="1084"/>
                  </a:lnTo>
                  <a:lnTo>
                    <a:pt x="868" y="1051"/>
                  </a:lnTo>
                  <a:lnTo>
                    <a:pt x="864" y="1033"/>
                  </a:lnTo>
                  <a:lnTo>
                    <a:pt x="862" y="1004"/>
                  </a:lnTo>
                  <a:lnTo>
                    <a:pt x="862" y="1002"/>
                  </a:lnTo>
                  <a:lnTo>
                    <a:pt x="862" y="1004"/>
                  </a:lnTo>
                  <a:lnTo>
                    <a:pt x="862" y="1010"/>
                  </a:lnTo>
                  <a:lnTo>
                    <a:pt x="860" y="1012"/>
                  </a:lnTo>
                  <a:lnTo>
                    <a:pt x="862" y="1014"/>
                  </a:lnTo>
                  <a:lnTo>
                    <a:pt x="862" y="1016"/>
                  </a:lnTo>
                  <a:lnTo>
                    <a:pt x="860" y="1021"/>
                  </a:lnTo>
                  <a:lnTo>
                    <a:pt x="860" y="1023"/>
                  </a:lnTo>
                  <a:lnTo>
                    <a:pt x="862" y="1025"/>
                  </a:lnTo>
                  <a:lnTo>
                    <a:pt x="862" y="1035"/>
                  </a:lnTo>
                  <a:lnTo>
                    <a:pt x="862" y="1039"/>
                  </a:lnTo>
                  <a:lnTo>
                    <a:pt x="862" y="1043"/>
                  </a:lnTo>
                  <a:lnTo>
                    <a:pt x="864" y="1047"/>
                  </a:lnTo>
                  <a:lnTo>
                    <a:pt x="866" y="1049"/>
                  </a:lnTo>
                  <a:lnTo>
                    <a:pt x="866" y="1049"/>
                  </a:lnTo>
                  <a:lnTo>
                    <a:pt x="866" y="1049"/>
                  </a:lnTo>
                  <a:lnTo>
                    <a:pt x="866" y="1049"/>
                  </a:lnTo>
                  <a:lnTo>
                    <a:pt x="866" y="1051"/>
                  </a:lnTo>
                  <a:lnTo>
                    <a:pt x="864" y="1051"/>
                  </a:lnTo>
                  <a:lnTo>
                    <a:pt x="864" y="1051"/>
                  </a:lnTo>
                  <a:lnTo>
                    <a:pt x="864" y="1051"/>
                  </a:lnTo>
                  <a:lnTo>
                    <a:pt x="866" y="1053"/>
                  </a:lnTo>
                  <a:lnTo>
                    <a:pt x="866" y="1053"/>
                  </a:lnTo>
                  <a:lnTo>
                    <a:pt x="866" y="1053"/>
                  </a:lnTo>
                  <a:lnTo>
                    <a:pt x="866" y="1055"/>
                  </a:lnTo>
                  <a:lnTo>
                    <a:pt x="866" y="1057"/>
                  </a:lnTo>
                  <a:close/>
                  <a:moveTo>
                    <a:pt x="891" y="935"/>
                  </a:moveTo>
                  <a:lnTo>
                    <a:pt x="891" y="937"/>
                  </a:lnTo>
                  <a:lnTo>
                    <a:pt x="891" y="939"/>
                  </a:lnTo>
                  <a:lnTo>
                    <a:pt x="887" y="941"/>
                  </a:lnTo>
                  <a:lnTo>
                    <a:pt x="883" y="945"/>
                  </a:lnTo>
                  <a:lnTo>
                    <a:pt x="879" y="957"/>
                  </a:lnTo>
                  <a:lnTo>
                    <a:pt x="879" y="957"/>
                  </a:lnTo>
                  <a:lnTo>
                    <a:pt x="877" y="955"/>
                  </a:lnTo>
                  <a:lnTo>
                    <a:pt x="877" y="955"/>
                  </a:lnTo>
                  <a:lnTo>
                    <a:pt x="875" y="953"/>
                  </a:lnTo>
                  <a:lnTo>
                    <a:pt x="875" y="955"/>
                  </a:lnTo>
                  <a:lnTo>
                    <a:pt x="875" y="957"/>
                  </a:lnTo>
                  <a:lnTo>
                    <a:pt x="875" y="957"/>
                  </a:lnTo>
                  <a:lnTo>
                    <a:pt x="873" y="959"/>
                  </a:lnTo>
                  <a:lnTo>
                    <a:pt x="875" y="961"/>
                  </a:lnTo>
                  <a:lnTo>
                    <a:pt x="873" y="963"/>
                  </a:lnTo>
                  <a:lnTo>
                    <a:pt x="871" y="967"/>
                  </a:lnTo>
                  <a:lnTo>
                    <a:pt x="868" y="969"/>
                  </a:lnTo>
                  <a:lnTo>
                    <a:pt x="868" y="969"/>
                  </a:lnTo>
                  <a:lnTo>
                    <a:pt x="866" y="973"/>
                  </a:lnTo>
                  <a:lnTo>
                    <a:pt x="866" y="975"/>
                  </a:lnTo>
                  <a:lnTo>
                    <a:pt x="866" y="980"/>
                  </a:lnTo>
                  <a:lnTo>
                    <a:pt x="862" y="988"/>
                  </a:lnTo>
                  <a:lnTo>
                    <a:pt x="862" y="998"/>
                  </a:lnTo>
                  <a:lnTo>
                    <a:pt x="862" y="1000"/>
                  </a:lnTo>
                  <a:lnTo>
                    <a:pt x="862" y="1000"/>
                  </a:lnTo>
                  <a:lnTo>
                    <a:pt x="862" y="1000"/>
                  </a:lnTo>
                  <a:lnTo>
                    <a:pt x="864" y="998"/>
                  </a:lnTo>
                  <a:lnTo>
                    <a:pt x="864" y="996"/>
                  </a:lnTo>
                  <a:lnTo>
                    <a:pt x="866" y="986"/>
                  </a:lnTo>
                  <a:lnTo>
                    <a:pt x="873" y="971"/>
                  </a:lnTo>
                  <a:lnTo>
                    <a:pt x="881" y="953"/>
                  </a:lnTo>
                  <a:lnTo>
                    <a:pt x="893" y="935"/>
                  </a:lnTo>
                  <a:lnTo>
                    <a:pt x="893" y="935"/>
                  </a:lnTo>
                  <a:lnTo>
                    <a:pt x="893" y="932"/>
                  </a:lnTo>
                  <a:lnTo>
                    <a:pt x="891" y="935"/>
                  </a:lnTo>
                  <a:close/>
                  <a:moveTo>
                    <a:pt x="911" y="902"/>
                  </a:moveTo>
                  <a:lnTo>
                    <a:pt x="909" y="902"/>
                  </a:lnTo>
                  <a:lnTo>
                    <a:pt x="907" y="902"/>
                  </a:lnTo>
                  <a:lnTo>
                    <a:pt x="907" y="904"/>
                  </a:lnTo>
                  <a:lnTo>
                    <a:pt x="907" y="904"/>
                  </a:lnTo>
                  <a:lnTo>
                    <a:pt x="907" y="906"/>
                  </a:lnTo>
                  <a:lnTo>
                    <a:pt x="905" y="906"/>
                  </a:lnTo>
                  <a:lnTo>
                    <a:pt x="899" y="916"/>
                  </a:lnTo>
                  <a:lnTo>
                    <a:pt x="899" y="916"/>
                  </a:lnTo>
                  <a:lnTo>
                    <a:pt x="901" y="916"/>
                  </a:lnTo>
                  <a:lnTo>
                    <a:pt x="901" y="916"/>
                  </a:lnTo>
                  <a:lnTo>
                    <a:pt x="901" y="918"/>
                  </a:lnTo>
                  <a:lnTo>
                    <a:pt x="901" y="918"/>
                  </a:lnTo>
                  <a:lnTo>
                    <a:pt x="897" y="922"/>
                  </a:lnTo>
                  <a:lnTo>
                    <a:pt x="895" y="926"/>
                  </a:lnTo>
                  <a:lnTo>
                    <a:pt x="893" y="930"/>
                  </a:lnTo>
                  <a:lnTo>
                    <a:pt x="895" y="932"/>
                  </a:lnTo>
                  <a:lnTo>
                    <a:pt x="895" y="930"/>
                  </a:lnTo>
                  <a:lnTo>
                    <a:pt x="897" y="928"/>
                  </a:lnTo>
                  <a:lnTo>
                    <a:pt x="899" y="924"/>
                  </a:lnTo>
                  <a:lnTo>
                    <a:pt x="903" y="918"/>
                  </a:lnTo>
                  <a:lnTo>
                    <a:pt x="911" y="908"/>
                  </a:lnTo>
                  <a:lnTo>
                    <a:pt x="911" y="908"/>
                  </a:lnTo>
                  <a:lnTo>
                    <a:pt x="911" y="906"/>
                  </a:lnTo>
                  <a:lnTo>
                    <a:pt x="911" y="904"/>
                  </a:lnTo>
                  <a:lnTo>
                    <a:pt x="911" y="904"/>
                  </a:lnTo>
                  <a:lnTo>
                    <a:pt x="911" y="902"/>
                  </a:lnTo>
                  <a:close/>
                  <a:moveTo>
                    <a:pt x="952" y="873"/>
                  </a:moveTo>
                  <a:lnTo>
                    <a:pt x="952" y="873"/>
                  </a:lnTo>
                  <a:lnTo>
                    <a:pt x="950" y="873"/>
                  </a:lnTo>
                  <a:lnTo>
                    <a:pt x="950" y="873"/>
                  </a:lnTo>
                  <a:lnTo>
                    <a:pt x="950" y="873"/>
                  </a:lnTo>
                  <a:lnTo>
                    <a:pt x="950" y="875"/>
                  </a:lnTo>
                  <a:lnTo>
                    <a:pt x="950" y="877"/>
                  </a:lnTo>
                  <a:lnTo>
                    <a:pt x="948" y="877"/>
                  </a:lnTo>
                  <a:lnTo>
                    <a:pt x="948" y="879"/>
                  </a:lnTo>
                  <a:lnTo>
                    <a:pt x="944" y="879"/>
                  </a:lnTo>
                  <a:lnTo>
                    <a:pt x="942" y="879"/>
                  </a:lnTo>
                  <a:lnTo>
                    <a:pt x="942" y="879"/>
                  </a:lnTo>
                  <a:lnTo>
                    <a:pt x="940" y="881"/>
                  </a:lnTo>
                  <a:lnTo>
                    <a:pt x="934" y="883"/>
                  </a:lnTo>
                  <a:lnTo>
                    <a:pt x="934" y="885"/>
                  </a:lnTo>
                  <a:lnTo>
                    <a:pt x="934" y="885"/>
                  </a:lnTo>
                  <a:lnTo>
                    <a:pt x="930" y="887"/>
                  </a:lnTo>
                  <a:lnTo>
                    <a:pt x="928" y="889"/>
                  </a:lnTo>
                  <a:lnTo>
                    <a:pt x="928" y="889"/>
                  </a:lnTo>
                  <a:lnTo>
                    <a:pt x="924" y="894"/>
                  </a:lnTo>
                  <a:lnTo>
                    <a:pt x="924" y="894"/>
                  </a:lnTo>
                  <a:lnTo>
                    <a:pt x="922" y="894"/>
                  </a:lnTo>
                  <a:lnTo>
                    <a:pt x="918" y="896"/>
                  </a:lnTo>
                  <a:lnTo>
                    <a:pt x="918" y="896"/>
                  </a:lnTo>
                  <a:lnTo>
                    <a:pt x="916" y="896"/>
                  </a:lnTo>
                  <a:lnTo>
                    <a:pt x="916" y="898"/>
                  </a:lnTo>
                  <a:lnTo>
                    <a:pt x="916" y="900"/>
                  </a:lnTo>
                  <a:lnTo>
                    <a:pt x="916" y="902"/>
                  </a:lnTo>
                  <a:lnTo>
                    <a:pt x="916" y="902"/>
                  </a:lnTo>
                  <a:lnTo>
                    <a:pt x="916" y="902"/>
                  </a:lnTo>
                  <a:lnTo>
                    <a:pt x="914" y="904"/>
                  </a:lnTo>
                  <a:lnTo>
                    <a:pt x="914" y="906"/>
                  </a:lnTo>
                  <a:lnTo>
                    <a:pt x="914" y="908"/>
                  </a:lnTo>
                  <a:lnTo>
                    <a:pt x="914" y="908"/>
                  </a:lnTo>
                  <a:lnTo>
                    <a:pt x="914" y="906"/>
                  </a:lnTo>
                  <a:lnTo>
                    <a:pt x="916" y="906"/>
                  </a:lnTo>
                  <a:lnTo>
                    <a:pt x="918" y="902"/>
                  </a:lnTo>
                  <a:lnTo>
                    <a:pt x="924" y="898"/>
                  </a:lnTo>
                  <a:lnTo>
                    <a:pt x="926" y="896"/>
                  </a:lnTo>
                  <a:lnTo>
                    <a:pt x="934" y="891"/>
                  </a:lnTo>
                  <a:lnTo>
                    <a:pt x="938" y="885"/>
                  </a:lnTo>
                  <a:lnTo>
                    <a:pt x="942" y="883"/>
                  </a:lnTo>
                  <a:lnTo>
                    <a:pt x="944" y="883"/>
                  </a:lnTo>
                  <a:lnTo>
                    <a:pt x="952" y="879"/>
                  </a:lnTo>
                  <a:lnTo>
                    <a:pt x="952" y="879"/>
                  </a:lnTo>
                  <a:lnTo>
                    <a:pt x="952" y="877"/>
                  </a:lnTo>
                  <a:lnTo>
                    <a:pt x="952" y="877"/>
                  </a:lnTo>
                  <a:lnTo>
                    <a:pt x="952" y="875"/>
                  </a:lnTo>
                  <a:lnTo>
                    <a:pt x="952" y="873"/>
                  </a:lnTo>
                  <a:lnTo>
                    <a:pt x="952" y="873"/>
                  </a:lnTo>
                  <a:close/>
                  <a:moveTo>
                    <a:pt x="965" y="863"/>
                  </a:moveTo>
                  <a:lnTo>
                    <a:pt x="961" y="865"/>
                  </a:lnTo>
                  <a:lnTo>
                    <a:pt x="957" y="871"/>
                  </a:lnTo>
                  <a:lnTo>
                    <a:pt x="957" y="871"/>
                  </a:lnTo>
                  <a:lnTo>
                    <a:pt x="959" y="871"/>
                  </a:lnTo>
                  <a:lnTo>
                    <a:pt x="959" y="869"/>
                  </a:lnTo>
                  <a:lnTo>
                    <a:pt x="963" y="867"/>
                  </a:lnTo>
                  <a:lnTo>
                    <a:pt x="965" y="867"/>
                  </a:lnTo>
                  <a:lnTo>
                    <a:pt x="965" y="865"/>
                  </a:lnTo>
                  <a:lnTo>
                    <a:pt x="967" y="863"/>
                  </a:lnTo>
                  <a:lnTo>
                    <a:pt x="967" y="863"/>
                  </a:lnTo>
                  <a:lnTo>
                    <a:pt x="967" y="863"/>
                  </a:lnTo>
                  <a:lnTo>
                    <a:pt x="967" y="863"/>
                  </a:lnTo>
                  <a:lnTo>
                    <a:pt x="969" y="863"/>
                  </a:lnTo>
                  <a:lnTo>
                    <a:pt x="969" y="863"/>
                  </a:lnTo>
                  <a:lnTo>
                    <a:pt x="969" y="861"/>
                  </a:lnTo>
                  <a:lnTo>
                    <a:pt x="965" y="863"/>
                  </a:lnTo>
                  <a:close/>
                  <a:moveTo>
                    <a:pt x="1098" y="762"/>
                  </a:moveTo>
                  <a:lnTo>
                    <a:pt x="1098" y="762"/>
                  </a:lnTo>
                  <a:lnTo>
                    <a:pt x="1098" y="762"/>
                  </a:lnTo>
                  <a:lnTo>
                    <a:pt x="1098" y="762"/>
                  </a:lnTo>
                  <a:lnTo>
                    <a:pt x="1098" y="762"/>
                  </a:lnTo>
                  <a:lnTo>
                    <a:pt x="1098" y="762"/>
                  </a:lnTo>
                  <a:lnTo>
                    <a:pt x="1098" y="762"/>
                  </a:lnTo>
                  <a:lnTo>
                    <a:pt x="1098" y="762"/>
                  </a:lnTo>
                  <a:lnTo>
                    <a:pt x="1098" y="762"/>
                  </a:lnTo>
                  <a:lnTo>
                    <a:pt x="1096" y="762"/>
                  </a:lnTo>
                  <a:lnTo>
                    <a:pt x="1096" y="764"/>
                  </a:lnTo>
                  <a:lnTo>
                    <a:pt x="1098" y="764"/>
                  </a:lnTo>
                  <a:lnTo>
                    <a:pt x="1098" y="766"/>
                  </a:lnTo>
                  <a:lnTo>
                    <a:pt x="1098" y="766"/>
                  </a:lnTo>
                  <a:lnTo>
                    <a:pt x="1098" y="769"/>
                  </a:lnTo>
                  <a:lnTo>
                    <a:pt x="1096" y="769"/>
                  </a:lnTo>
                  <a:lnTo>
                    <a:pt x="1094" y="769"/>
                  </a:lnTo>
                  <a:lnTo>
                    <a:pt x="1094" y="769"/>
                  </a:lnTo>
                  <a:lnTo>
                    <a:pt x="1094" y="771"/>
                  </a:lnTo>
                  <a:lnTo>
                    <a:pt x="1090" y="775"/>
                  </a:lnTo>
                  <a:lnTo>
                    <a:pt x="1090" y="775"/>
                  </a:lnTo>
                  <a:lnTo>
                    <a:pt x="1088" y="775"/>
                  </a:lnTo>
                  <a:lnTo>
                    <a:pt x="1088" y="775"/>
                  </a:lnTo>
                  <a:lnTo>
                    <a:pt x="1086" y="777"/>
                  </a:lnTo>
                  <a:lnTo>
                    <a:pt x="1086" y="777"/>
                  </a:lnTo>
                  <a:lnTo>
                    <a:pt x="1086" y="779"/>
                  </a:lnTo>
                  <a:lnTo>
                    <a:pt x="1077" y="783"/>
                  </a:lnTo>
                  <a:lnTo>
                    <a:pt x="1075" y="787"/>
                  </a:lnTo>
                  <a:lnTo>
                    <a:pt x="1073" y="789"/>
                  </a:lnTo>
                  <a:lnTo>
                    <a:pt x="1071" y="791"/>
                  </a:lnTo>
                  <a:lnTo>
                    <a:pt x="1073" y="791"/>
                  </a:lnTo>
                  <a:lnTo>
                    <a:pt x="1073" y="789"/>
                  </a:lnTo>
                  <a:lnTo>
                    <a:pt x="1088" y="779"/>
                  </a:lnTo>
                  <a:lnTo>
                    <a:pt x="1092" y="777"/>
                  </a:lnTo>
                  <a:lnTo>
                    <a:pt x="1104" y="764"/>
                  </a:lnTo>
                  <a:lnTo>
                    <a:pt x="1100" y="762"/>
                  </a:lnTo>
                  <a:lnTo>
                    <a:pt x="1098" y="762"/>
                  </a:lnTo>
                  <a:close/>
                  <a:moveTo>
                    <a:pt x="1211" y="574"/>
                  </a:moveTo>
                  <a:lnTo>
                    <a:pt x="1208" y="572"/>
                  </a:lnTo>
                  <a:lnTo>
                    <a:pt x="1206" y="570"/>
                  </a:lnTo>
                  <a:lnTo>
                    <a:pt x="1206" y="568"/>
                  </a:lnTo>
                  <a:lnTo>
                    <a:pt x="1206" y="566"/>
                  </a:lnTo>
                  <a:lnTo>
                    <a:pt x="1206" y="566"/>
                  </a:lnTo>
                  <a:lnTo>
                    <a:pt x="1206" y="559"/>
                  </a:lnTo>
                  <a:lnTo>
                    <a:pt x="1206" y="559"/>
                  </a:lnTo>
                  <a:lnTo>
                    <a:pt x="1204" y="557"/>
                  </a:lnTo>
                  <a:lnTo>
                    <a:pt x="1202" y="559"/>
                  </a:lnTo>
                  <a:lnTo>
                    <a:pt x="1202" y="559"/>
                  </a:lnTo>
                  <a:lnTo>
                    <a:pt x="1202" y="559"/>
                  </a:lnTo>
                  <a:lnTo>
                    <a:pt x="1202" y="559"/>
                  </a:lnTo>
                  <a:lnTo>
                    <a:pt x="1202" y="559"/>
                  </a:lnTo>
                  <a:lnTo>
                    <a:pt x="1202" y="557"/>
                  </a:lnTo>
                  <a:lnTo>
                    <a:pt x="1202" y="557"/>
                  </a:lnTo>
                  <a:lnTo>
                    <a:pt x="1200" y="557"/>
                  </a:lnTo>
                  <a:lnTo>
                    <a:pt x="1200" y="555"/>
                  </a:lnTo>
                  <a:lnTo>
                    <a:pt x="1200" y="553"/>
                  </a:lnTo>
                  <a:lnTo>
                    <a:pt x="1200" y="553"/>
                  </a:lnTo>
                  <a:lnTo>
                    <a:pt x="1200" y="553"/>
                  </a:lnTo>
                  <a:lnTo>
                    <a:pt x="1200" y="551"/>
                  </a:lnTo>
                  <a:lnTo>
                    <a:pt x="1198" y="551"/>
                  </a:lnTo>
                  <a:lnTo>
                    <a:pt x="1198" y="551"/>
                  </a:lnTo>
                  <a:lnTo>
                    <a:pt x="1198" y="549"/>
                  </a:lnTo>
                  <a:lnTo>
                    <a:pt x="1198" y="549"/>
                  </a:lnTo>
                  <a:lnTo>
                    <a:pt x="1198" y="549"/>
                  </a:lnTo>
                  <a:lnTo>
                    <a:pt x="1194" y="547"/>
                  </a:lnTo>
                  <a:lnTo>
                    <a:pt x="1194" y="545"/>
                  </a:lnTo>
                  <a:lnTo>
                    <a:pt x="1194" y="545"/>
                  </a:lnTo>
                  <a:lnTo>
                    <a:pt x="1194" y="545"/>
                  </a:lnTo>
                  <a:lnTo>
                    <a:pt x="1194" y="543"/>
                  </a:lnTo>
                  <a:lnTo>
                    <a:pt x="1194" y="543"/>
                  </a:lnTo>
                  <a:lnTo>
                    <a:pt x="1194" y="541"/>
                  </a:lnTo>
                  <a:lnTo>
                    <a:pt x="1194" y="541"/>
                  </a:lnTo>
                  <a:lnTo>
                    <a:pt x="1196" y="539"/>
                  </a:lnTo>
                  <a:lnTo>
                    <a:pt x="1196" y="539"/>
                  </a:lnTo>
                  <a:lnTo>
                    <a:pt x="1196" y="539"/>
                  </a:lnTo>
                  <a:lnTo>
                    <a:pt x="1194" y="539"/>
                  </a:lnTo>
                  <a:lnTo>
                    <a:pt x="1192" y="537"/>
                  </a:lnTo>
                  <a:lnTo>
                    <a:pt x="1192" y="535"/>
                  </a:lnTo>
                  <a:lnTo>
                    <a:pt x="1192" y="535"/>
                  </a:lnTo>
                  <a:lnTo>
                    <a:pt x="1190" y="535"/>
                  </a:lnTo>
                  <a:lnTo>
                    <a:pt x="1190" y="533"/>
                  </a:lnTo>
                  <a:lnTo>
                    <a:pt x="1190" y="531"/>
                  </a:lnTo>
                  <a:lnTo>
                    <a:pt x="1190" y="531"/>
                  </a:lnTo>
                  <a:lnTo>
                    <a:pt x="1190" y="531"/>
                  </a:lnTo>
                  <a:lnTo>
                    <a:pt x="1190" y="531"/>
                  </a:lnTo>
                  <a:lnTo>
                    <a:pt x="1188" y="531"/>
                  </a:lnTo>
                  <a:lnTo>
                    <a:pt x="1188" y="531"/>
                  </a:lnTo>
                  <a:lnTo>
                    <a:pt x="1188" y="531"/>
                  </a:lnTo>
                  <a:lnTo>
                    <a:pt x="1186" y="529"/>
                  </a:lnTo>
                  <a:lnTo>
                    <a:pt x="1186" y="529"/>
                  </a:lnTo>
                  <a:lnTo>
                    <a:pt x="1186" y="529"/>
                  </a:lnTo>
                  <a:lnTo>
                    <a:pt x="1186" y="527"/>
                  </a:lnTo>
                  <a:lnTo>
                    <a:pt x="1186" y="527"/>
                  </a:lnTo>
                  <a:lnTo>
                    <a:pt x="1188" y="527"/>
                  </a:lnTo>
                  <a:lnTo>
                    <a:pt x="1188" y="527"/>
                  </a:lnTo>
                  <a:lnTo>
                    <a:pt x="1188" y="527"/>
                  </a:lnTo>
                  <a:lnTo>
                    <a:pt x="1188" y="527"/>
                  </a:lnTo>
                  <a:lnTo>
                    <a:pt x="1188" y="525"/>
                  </a:lnTo>
                  <a:lnTo>
                    <a:pt x="1188" y="525"/>
                  </a:lnTo>
                  <a:lnTo>
                    <a:pt x="1188" y="525"/>
                  </a:lnTo>
                  <a:lnTo>
                    <a:pt x="1188" y="525"/>
                  </a:lnTo>
                  <a:lnTo>
                    <a:pt x="1186" y="525"/>
                  </a:lnTo>
                  <a:lnTo>
                    <a:pt x="1184" y="523"/>
                  </a:lnTo>
                  <a:lnTo>
                    <a:pt x="1184" y="523"/>
                  </a:lnTo>
                  <a:lnTo>
                    <a:pt x="1184" y="523"/>
                  </a:lnTo>
                  <a:lnTo>
                    <a:pt x="1182" y="523"/>
                  </a:lnTo>
                  <a:lnTo>
                    <a:pt x="1180" y="521"/>
                  </a:lnTo>
                  <a:lnTo>
                    <a:pt x="1180" y="518"/>
                  </a:lnTo>
                  <a:lnTo>
                    <a:pt x="1178" y="516"/>
                  </a:lnTo>
                  <a:lnTo>
                    <a:pt x="1178" y="516"/>
                  </a:lnTo>
                  <a:lnTo>
                    <a:pt x="1178" y="516"/>
                  </a:lnTo>
                  <a:lnTo>
                    <a:pt x="1178" y="514"/>
                  </a:lnTo>
                  <a:lnTo>
                    <a:pt x="1178" y="514"/>
                  </a:lnTo>
                  <a:lnTo>
                    <a:pt x="1178" y="512"/>
                  </a:lnTo>
                  <a:lnTo>
                    <a:pt x="1178" y="512"/>
                  </a:lnTo>
                  <a:lnTo>
                    <a:pt x="1178" y="512"/>
                  </a:lnTo>
                  <a:lnTo>
                    <a:pt x="1178" y="510"/>
                  </a:lnTo>
                  <a:lnTo>
                    <a:pt x="1178" y="508"/>
                  </a:lnTo>
                  <a:lnTo>
                    <a:pt x="1178" y="506"/>
                  </a:lnTo>
                  <a:lnTo>
                    <a:pt x="1180" y="504"/>
                  </a:lnTo>
                  <a:lnTo>
                    <a:pt x="1180" y="504"/>
                  </a:lnTo>
                  <a:lnTo>
                    <a:pt x="1180" y="504"/>
                  </a:lnTo>
                  <a:lnTo>
                    <a:pt x="1178" y="504"/>
                  </a:lnTo>
                  <a:lnTo>
                    <a:pt x="1178" y="502"/>
                  </a:lnTo>
                  <a:lnTo>
                    <a:pt x="1178" y="502"/>
                  </a:lnTo>
                  <a:lnTo>
                    <a:pt x="1178" y="502"/>
                  </a:lnTo>
                  <a:lnTo>
                    <a:pt x="1178" y="500"/>
                  </a:lnTo>
                  <a:lnTo>
                    <a:pt x="1176" y="496"/>
                  </a:lnTo>
                  <a:lnTo>
                    <a:pt x="1176" y="496"/>
                  </a:lnTo>
                  <a:lnTo>
                    <a:pt x="1174" y="492"/>
                  </a:lnTo>
                  <a:lnTo>
                    <a:pt x="1174" y="492"/>
                  </a:lnTo>
                  <a:lnTo>
                    <a:pt x="1172" y="490"/>
                  </a:lnTo>
                  <a:lnTo>
                    <a:pt x="1172" y="490"/>
                  </a:lnTo>
                  <a:lnTo>
                    <a:pt x="1172" y="488"/>
                  </a:lnTo>
                  <a:lnTo>
                    <a:pt x="1170" y="486"/>
                  </a:lnTo>
                  <a:lnTo>
                    <a:pt x="1168" y="484"/>
                  </a:lnTo>
                  <a:lnTo>
                    <a:pt x="1168" y="484"/>
                  </a:lnTo>
                  <a:lnTo>
                    <a:pt x="1163" y="482"/>
                  </a:lnTo>
                  <a:lnTo>
                    <a:pt x="1163" y="482"/>
                  </a:lnTo>
                  <a:lnTo>
                    <a:pt x="1163" y="482"/>
                  </a:lnTo>
                  <a:lnTo>
                    <a:pt x="1163" y="482"/>
                  </a:lnTo>
                  <a:lnTo>
                    <a:pt x="1161" y="478"/>
                  </a:lnTo>
                  <a:lnTo>
                    <a:pt x="1159" y="478"/>
                  </a:lnTo>
                  <a:lnTo>
                    <a:pt x="1159" y="478"/>
                  </a:lnTo>
                  <a:lnTo>
                    <a:pt x="1157" y="475"/>
                  </a:lnTo>
                  <a:lnTo>
                    <a:pt x="1157" y="475"/>
                  </a:lnTo>
                  <a:lnTo>
                    <a:pt x="1157" y="475"/>
                  </a:lnTo>
                  <a:lnTo>
                    <a:pt x="1157" y="475"/>
                  </a:lnTo>
                  <a:lnTo>
                    <a:pt x="1155" y="473"/>
                  </a:lnTo>
                  <a:lnTo>
                    <a:pt x="1155" y="467"/>
                  </a:lnTo>
                  <a:lnTo>
                    <a:pt x="1155" y="453"/>
                  </a:lnTo>
                  <a:lnTo>
                    <a:pt x="1155" y="441"/>
                  </a:lnTo>
                  <a:lnTo>
                    <a:pt x="1153" y="428"/>
                  </a:lnTo>
                  <a:lnTo>
                    <a:pt x="1153" y="416"/>
                  </a:lnTo>
                  <a:lnTo>
                    <a:pt x="1153" y="404"/>
                  </a:lnTo>
                  <a:lnTo>
                    <a:pt x="1151" y="377"/>
                  </a:lnTo>
                  <a:lnTo>
                    <a:pt x="1151" y="365"/>
                  </a:lnTo>
                  <a:lnTo>
                    <a:pt x="1149" y="353"/>
                  </a:lnTo>
                  <a:lnTo>
                    <a:pt x="1149" y="340"/>
                  </a:lnTo>
                  <a:lnTo>
                    <a:pt x="1147" y="326"/>
                  </a:lnTo>
                  <a:lnTo>
                    <a:pt x="1147" y="314"/>
                  </a:lnTo>
                  <a:lnTo>
                    <a:pt x="1147" y="307"/>
                  </a:lnTo>
                  <a:lnTo>
                    <a:pt x="1147" y="307"/>
                  </a:lnTo>
                  <a:lnTo>
                    <a:pt x="1145" y="305"/>
                  </a:lnTo>
                  <a:lnTo>
                    <a:pt x="1145" y="305"/>
                  </a:lnTo>
                  <a:lnTo>
                    <a:pt x="1141" y="303"/>
                  </a:lnTo>
                  <a:lnTo>
                    <a:pt x="1141" y="305"/>
                  </a:lnTo>
                  <a:lnTo>
                    <a:pt x="1139" y="305"/>
                  </a:lnTo>
                  <a:lnTo>
                    <a:pt x="1137" y="305"/>
                  </a:lnTo>
                  <a:lnTo>
                    <a:pt x="1133" y="303"/>
                  </a:lnTo>
                  <a:lnTo>
                    <a:pt x="1133" y="303"/>
                  </a:lnTo>
                  <a:lnTo>
                    <a:pt x="1131" y="305"/>
                  </a:lnTo>
                  <a:lnTo>
                    <a:pt x="1131" y="305"/>
                  </a:lnTo>
                  <a:lnTo>
                    <a:pt x="1124" y="303"/>
                  </a:lnTo>
                  <a:lnTo>
                    <a:pt x="1124" y="303"/>
                  </a:lnTo>
                  <a:lnTo>
                    <a:pt x="1122" y="305"/>
                  </a:lnTo>
                  <a:lnTo>
                    <a:pt x="1122" y="307"/>
                  </a:lnTo>
                  <a:lnTo>
                    <a:pt x="1122" y="307"/>
                  </a:lnTo>
                  <a:lnTo>
                    <a:pt x="1120" y="307"/>
                  </a:lnTo>
                  <a:lnTo>
                    <a:pt x="1118" y="307"/>
                  </a:lnTo>
                  <a:lnTo>
                    <a:pt x="1116" y="307"/>
                  </a:lnTo>
                  <a:lnTo>
                    <a:pt x="1116" y="305"/>
                  </a:lnTo>
                  <a:lnTo>
                    <a:pt x="1116" y="305"/>
                  </a:lnTo>
                  <a:lnTo>
                    <a:pt x="1116" y="305"/>
                  </a:lnTo>
                  <a:lnTo>
                    <a:pt x="1114" y="305"/>
                  </a:lnTo>
                  <a:lnTo>
                    <a:pt x="1112" y="303"/>
                  </a:lnTo>
                  <a:lnTo>
                    <a:pt x="1110" y="303"/>
                  </a:lnTo>
                  <a:lnTo>
                    <a:pt x="1110" y="301"/>
                  </a:lnTo>
                  <a:lnTo>
                    <a:pt x="1108" y="299"/>
                  </a:lnTo>
                  <a:lnTo>
                    <a:pt x="1106" y="299"/>
                  </a:lnTo>
                  <a:lnTo>
                    <a:pt x="1106" y="299"/>
                  </a:lnTo>
                  <a:lnTo>
                    <a:pt x="1104" y="299"/>
                  </a:lnTo>
                  <a:lnTo>
                    <a:pt x="1102" y="297"/>
                  </a:lnTo>
                  <a:lnTo>
                    <a:pt x="1102" y="299"/>
                  </a:lnTo>
                  <a:lnTo>
                    <a:pt x="1098" y="297"/>
                  </a:lnTo>
                  <a:lnTo>
                    <a:pt x="1098" y="297"/>
                  </a:lnTo>
                  <a:lnTo>
                    <a:pt x="1098" y="295"/>
                  </a:lnTo>
                  <a:lnTo>
                    <a:pt x="1098" y="295"/>
                  </a:lnTo>
                  <a:lnTo>
                    <a:pt x="1096" y="295"/>
                  </a:lnTo>
                  <a:lnTo>
                    <a:pt x="1094" y="295"/>
                  </a:lnTo>
                  <a:lnTo>
                    <a:pt x="1092" y="295"/>
                  </a:lnTo>
                  <a:lnTo>
                    <a:pt x="1092" y="295"/>
                  </a:lnTo>
                  <a:lnTo>
                    <a:pt x="1090" y="295"/>
                  </a:lnTo>
                  <a:lnTo>
                    <a:pt x="1090" y="293"/>
                  </a:lnTo>
                  <a:lnTo>
                    <a:pt x="1088" y="293"/>
                  </a:lnTo>
                  <a:lnTo>
                    <a:pt x="1088" y="295"/>
                  </a:lnTo>
                  <a:lnTo>
                    <a:pt x="1088" y="295"/>
                  </a:lnTo>
                  <a:lnTo>
                    <a:pt x="1086" y="295"/>
                  </a:lnTo>
                  <a:lnTo>
                    <a:pt x="1086" y="293"/>
                  </a:lnTo>
                  <a:lnTo>
                    <a:pt x="1084" y="293"/>
                  </a:lnTo>
                  <a:lnTo>
                    <a:pt x="1081" y="291"/>
                  </a:lnTo>
                  <a:lnTo>
                    <a:pt x="1081" y="289"/>
                  </a:lnTo>
                  <a:lnTo>
                    <a:pt x="1079" y="289"/>
                  </a:lnTo>
                  <a:lnTo>
                    <a:pt x="1077" y="289"/>
                  </a:lnTo>
                  <a:lnTo>
                    <a:pt x="1071" y="289"/>
                  </a:lnTo>
                  <a:lnTo>
                    <a:pt x="1067" y="285"/>
                  </a:lnTo>
                  <a:lnTo>
                    <a:pt x="1067" y="283"/>
                  </a:lnTo>
                  <a:lnTo>
                    <a:pt x="1065" y="283"/>
                  </a:lnTo>
                  <a:lnTo>
                    <a:pt x="1065" y="281"/>
                  </a:lnTo>
                  <a:lnTo>
                    <a:pt x="1065" y="281"/>
                  </a:lnTo>
                  <a:lnTo>
                    <a:pt x="1063" y="281"/>
                  </a:lnTo>
                  <a:lnTo>
                    <a:pt x="1063" y="279"/>
                  </a:lnTo>
                  <a:lnTo>
                    <a:pt x="1063" y="279"/>
                  </a:lnTo>
                  <a:lnTo>
                    <a:pt x="1063" y="279"/>
                  </a:lnTo>
                  <a:lnTo>
                    <a:pt x="1061" y="279"/>
                  </a:lnTo>
                  <a:lnTo>
                    <a:pt x="1061" y="277"/>
                  </a:lnTo>
                  <a:lnTo>
                    <a:pt x="1059" y="277"/>
                  </a:lnTo>
                  <a:lnTo>
                    <a:pt x="1057" y="277"/>
                  </a:lnTo>
                  <a:lnTo>
                    <a:pt x="1055" y="277"/>
                  </a:lnTo>
                  <a:lnTo>
                    <a:pt x="1053" y="273"/>
                  </a:lnTo>
                  <a:lnTo>
                    <a:pt x="1051" y="273"/>
                  </a:lnTo>
                  <a:lnTo>
                    <a:pt x="1049" y="273"/>
                  </a:lnTo>
                  <a:lnTo>
                    <a:pt x="1047" y="271"/>
                  </a:lnTo>
                  <a:lnTo>
                    <a:pt x="1047" y="271"/>
                  </a:lnTo>
                  <a:lnTo>
                    <a:pt x="1047" y="271"/>
                  </a:lnTo>
                  <a:lnTo>
                    <a:pt x="1045" y="268"/>
                  </a:lnTo>
                  <a:lnTo>
                    <a:pt x="1038" y="268"/>
                  </a:lnTo>
                  <a:lnTo>
                    <a:pt x="1038" y="268"/>
                  </a:lnTo>
                  <a:lnTo>
                    <a:pt x="1036" y="268"/>
                  </a:lnTo>
                  <a:lnTo>
                    <a:pt x="1036" y="271"/>
                  </a:lnTo>
                  <a:lnTo>
                    <a:pt x="1036" y="273"/>
                  </a:lnTo>
                  <a:lnTo>
                    <a:pt x="1034" y="275"/>
                  </a:lnTo>
                  <a:lnTo>
                    <a:pt x="1034" y="273"/>
                  </a:lnTo>
                  <a:lnTo>
                    <a:pt x="1034" y="275"/>
                  </a:lnTo>
                  <a:lnTo>
                    <a:pt x="1032" y="275"/>
                  </a:lnTo>
                  <a:lnTo>
                    <a:pt x="1032" y="275"/>
                  </a:lnTo>
                  <a:lnTo>
                    <a:pt x="1032" y="277"/>
                  </a:lnTo>
                  <a:lnTo>
                    <a:pt x="1030" y="275"/>
                  </a:lnTo>
                  <a:lnTo>
                    <a:pt x="1030" y="275"/>
                  </a:lnTo>
                  <a:lnTo>
                    <a:pt x="1030" y="277"/>
                  </a:lnTo>
                  <a:lnTo>
                    <a:pt x="1030" y="277"/>
                  </a:lnTo>
                  <a:lnTo>
                    <a:pt x="1028" y="277"/>
                  </a:lnTo>
                  <a:lnTo>
                    <a:pt x="1028" y="279"/>
                  </a:lnTo>
                  <a:lnTo>
                    <a:pt x="1028" y="279"/>
                  </a:lnTo>
                  <a:lnTo>
                    <a:pt x="1028" y="279"/>
                  </a:lnTo>
                  <a:lnTo>
                    <a:pt x="1020" y="279"/>
                  </a:lnTo>
                  <a:lnTo>
                    <a:pt x="1020" y="279"/>
                  </a:lnTo>
                  <a:lnTo>
                    <a:pt x="1018" y="279"/>
                  </a:lnTo>
                  <a:lnTo>
                    <a:pt x="1018" y="277"/>
                  </a:lnTo>
                  <a:lnTo>
                    <a:pt x="1018" y="277"/>
                  </a:lnTo>
                  <a:lnTo>
                    <a:pt x="1016" y="277"/>
                  </a:lnTo>
                  <a:lnTo>
                    <a:pt x="1016" y="277"/>
                  </a:lnTo>
                  <a:lnTo>
                    <a:pt x="1016" y="279"/>
                  </a:lnTo>
                  <a:lnTo>
                    <a:pt x="1016" y="279"/>
                  </a:lnTo>
                  <a:lnTo>
                    <a:pt x="1014" y="277"/>
                  </a:lnTo>
                  <a:lnTo>
                    <a:pt x="1014" y="277"/>
                  </a:lnTo>
                  <a:lnTo>
                    <a:pt x="1014" y="277"/>
                  </a:lnTo>
                  <a:lnTo>
                    <a:pt x="1014" y="277"/>
                  </a:lnTo>
                  <a:lnTo>
                    <a:pt x="1012" y="277"/>
                  </a:lnTo>
                  <a:lnTo>
                    <a:pt x="1010" y="277"/>
                  </a:lnTo>
                  <a:lnTo>
                    <a:pt x="1012" y="275"/>
                  </a:lnTo>
                  <a:lnTo>
                    <a:pt x="1010" y="273"/>
                  </a:lnTo>
                  <a:lnTo>
                    <a:pt x="1010" y="273"/>
                  </a:lnTo>
                  <a:lnTo>
                    <a:pt x="1008" y="271"/>
                  </a:lnTo>
                  <a:lnTo>
                    <a:pt x="1006" y="271"/>
                  </a:lnTo>
                  <a:lnTo>
                    <a:pt x="1006" y="271"/>
                  </a:lnTo>
                  <a:lnTo>
                    <a:pt x="1004" y="271"/>
                  </a:lnTo>
                  <a:lnTo>
                    <a:pt x="1004" y="273"/>
                  </a:lnTo>
                  <a:lnTo>
                    <a:pt x="1004" y="273"/>
                  </a:lnTo>
                  <a:lnTo>
                    <a:pt x="1002" y="273"/>
                  </a:lnTo>
                  <a:lnTo>
                    <a:pt x="1002" y="273"/>
                  </a:lnTo>
                  <a:lnTo>
                    <a:pt x="1000" y="275"/>
                  </a:lnTo>
                  <a:lnTo>
                    <a:pt x="998" y="275"/>
                  </a:lnTo>
                  <a:lnTo>
                    <a:pt x="998" y="275"/>
                  </a:lnTo>
                  <a:lnTo>
                    <a:pt x="995" y="277"/>
                  </a:lnTo>
                  <a:lnTo>
                    <a:pt x="995" y="277"/>
                  </a:lnTo>
                  <a:lnTo>
                    <a:pt x="995" y="277"/>
                  </a:lnTo>
                  <a:lnTo>
                    <a:pt x="993" y="277"/>
                  </a:lnTo>
                  <a:lnTo>
                    <a:pt x="991" y="277"/>
                  </a:lnTo>
                  <a:lnTo>
                    <a:pt x="989" y="277"/>
                  </a:lnTo>
                  <a:lnTo>
                    <a:pt x="989" y="281"/>
                  </a:lnTo>
                  <a:lnTo>
                    <a:pt x="989" y="281"/>
                  </a:lnTo>
                  <a:lnTo>
                    <a:pt x="989" y="281"/>
                  </a:lnTo>
                  <a:lnTo>
                    <a:pt x="987" y="281"/>
                  </a:lnTo>
                  <a:lnTo>
                    <a:pt x="987" y="281"/>
                  </a:lnTo>
                  <a:lnTo>
                    <a:pt x="987" y="281"/>
                  </a:lnTo>
                  <a:lnTo>
                    <a:pt x="987" y="281"/>
                  </a:lnTo>
                  <a:lnTo>
                    <a:pt x="985" y="281"/>
                  </a:lnTo>
                  <a:lnTo>
                    <a:pt x="983" y="283"/>
                  </a:lnTo>
                  <a:lnTo>
                    <a:pt x="983" y="281"/>
                  </a:lnTo>
                  <a:lnTo>
                    <a:pt x="977" y="279"/>
                  </a:lnTo>
                  <a:lnTo>
                    <a:pt x="977" y="277"/>
                  </a:lnTo>
                  <a:lnTo>
                    <a:pt x="975" y="277"/>
                  </a:lnTo>
                  <a:lnTo>
                    <a:pt x="975" y="279"/>
                  </a:lnTo>
                  <a:lnTo>
                    <a:pt x="973" y="279"/>
                  </a:lnTo>
                  <a:lnTo>
                    <a:pt x="973" y="281"/>
                  </a:lnTo>
                  <a:lnTo>
                    <a:pt x="973" y="281"/>
                  </a:lnTo>
                  <a:lnTo>
                    <a:pt x="971" y="281"/>
                  </a:lnTo>
                  <a:lnTo>
                    <a:pt x="969" y="283"/>
                  </a:lnTo>
                  <a:lnTo>
                    <a:pt x="967" y="283"/>
                  </a:lnTo>
                  <a:lnTo>
                    <a:pt x="965" y="283"/>
                  </a:lnTo>
                  <a:lnTo>
                    <a:pt x="961" y="283"/>
                  </a:lnTo>
                  <a:lnTo>
                    <a:pt x="959" y="285"/>
                  </a:lnTo>
                  <a:lnTo>
                    <a:pt x="959" y="285"/>
                  </a:lnTo>
                  <a:lnTo>
                    <a:pt x="957" y="285"/>
                  </a:lnTo>
                  <a:lnTo>
                    <a:pt x="957" y="287"/>
                  </a:lnTo>
                  <a:lnTo>
                    <a:pt x="955" y="289"/>
                  </a:lnTo>
                  <a:lnTo>
                    <a:pt x="955" y="291"/>
                  </a:lnTo>
                  <a:lnTo>
                    <a:pt x="952" y="293"/>
                  </a:lnTo>
                  <a:lnTo>
                    <a:pt x="950" y="293"/>
                  </a:lnTo>
                  <a:lnTo>
                    <a:pt x="946" y="293"/>
                  </a:lnTo>
                  <a:lnTo>
                    <a:pt x="944" y="293"/>
                  </a:lnTo>
                  <a:lnTo>
                    <a:pt x="944" y="293"/>
                  </a:lnTo>
                  <a:lnTo>
                    <a:pt x="944" y="295"/>
                  </a:lnTo>
                  <a:lnTo>
                    <a:pt x="944" y="297"/>
                  </a:lnTo>
                  <a:lnTo>
                    <a:pt x="940" y="299"/>
                  </a:lnTo>
                  <a:lnTo>
                    <a:pt x="938" y="297"/>
                  </a:lnTo>
                  <a:lnTo>
                    <a:pt x="936" y="293"/>
                  </a:lnTo>
                  <a:lnTo>
                    <a:pt x="934" y="291"/>
                  </a:lnTo>
                  <a:lnTo>
                    <a:pt x="932" y="291"/>
                  </a:lnTo>
                  <a:lnTo>
                    <a:pt x="926" y="291"/>
                  </a:lnTo>
                  <a:lnTo>
                    <a:pt x="926" y="291"/>
                  </a:lnTo>
                  <a:lnTo>
                    <a:pt x="924" y="289"/>
                  </a:lnTo>
                  <a:lnTo>
                    <a:pt x="924" y="289"/>
                  </a:lnTo>
                  <a:lnTo>
                    <a:pt x="924" y="287"/>
                  </a:lnTo>
                  <a:lnTo>
                    <a:pt x="924" y="287"/>
                  </a:lnTo>
                  <a:lnTo>
                    <a:pt x="922" y="287"/>
                  </a:lnTo>
                  <a:lnTo>
                    <a:pt x="918" y="285"/>
                  </a:lnTo>
                  <a:lnTo>
                    <a:pt x="918" y="285"/>
                  </a:lnTo>
                  <a:lnTo>
                    <a:pt x="916" y="285"/>
                  </a:lnTo>
                  <a:lnTo>
                    <a:pt x="916" y="283"/>
                  </a:lnTo>
                  <a:lnTo>
                    <a:pt x="916" y="283"/>
                  </a:lnTo>
                  <a:lnTo>
                    <a:pt x="916" y="283"/>
                  </a:lnTo>
                  <a:lnTo>
                    <a:pt x="916" y="281"/>
                  </a:lnTo>
                  <a:lnTo>
                    <a:pt x="918" y="281"/>
                  </a:lnTo>
                  <a:lnTo>
                    <a:pt x="918" y="279"/>
                  </a:lnTo>
                  <a:lnTo>
                    <a:pt x="916" y="279"/>
                  </a:lnTo>
                  <a:lnTo>
                    <a:pt x="914" y="277"/>
                  </a:lnTo>
                  <a:lnTo>
                    <a:pt x="911" y="277"/>
                  </a:lnTo>
                  <a:lnTo>
                    <a:pt x="911" y="277"/>
                  </a:lnTo>
                  <a:lnTo>
                    <a:pt x="911" y="277"/>
                  </a:lnTo>
                  <a:lnTo>
                    <a:pt x="911" y="279"/>
                  </a:lnTo>
                  <a:lnTo>
                    <a:pt x="909" y="279"/>
                  </a:lnTo>
                  <a:lnTo>
                    <a:pt x="909" y="283"/>
                  </a:lnTo>
                  <a:lnTo>
                    <a:pt x="909" y="283"/>
                  </a:lnTo>
                  <a:lnTo>
                    <a:pt x="909" y="283"/>
                  </a:lnTo>
                  <a:lnTo>
                    <a:pt x="907" y="283"/>
                  </a:lnTo>
                  <a:lnTo>
                    <a:pt x="907" y="285"/>
                  </a:lnTo>
                  <a:lnTo>
                    <a:pt x="907" y="285"/>
                  </a:lnTo>
                  <a:lnTo>
                    <a:pt x="905" y="285"/>
                  </a:lnTo>
                  <a:lnTo>
                    <a:pt x="905" y="285"/>
                  </a:lnTo>
                  <a:lnTo>
                    <a:pt x="903" y="285"/>
                  </a:lnTo>
                  <a:lnTo>
                    <a:pt x="903" y="285"/>
                  </a:lnTo>
                  <a:lnTo>
                    <a:pt x="903" y="285"/>
                  </a:lnTo>
                  <a:lnTo>
                    <a:pt x="899" y="283"/>
                  </a:lnTo>
                  <a:lnTo>
                    <a:pt x="899" y="283"/>
                  </a:lnTo>
                  <a:lnTo>
                    <a:pt x="899" y="283"/>
                  </a:lnTo>
                  <a:lnTo>
                    <a:pt x="895" y="283"/>
                  </a:lnTo>
                  <a:lnTo>
                    <a:pt x="895" y="283"/>
                  </a:lnTo>
                  <a:lnTo>
                    <a:pt x="893" y="283"/>
                  </a:lnTo>
                  <a:lnTo>
                    <a:pt x="893" y="283"/>
                  </a:lnTo>
                  <a:lnTo>
                    <a:pt x="891" y="281"/>
                  </a:lnTo>
                  <a:lnTo>
                    <a:pt x="891" y="281"/>
                  </a:lnTo>
                  <a:lnTo>
                    <a:pt x="891" y="279"/>
                  </a:lnTo>
                  <a:lnTo>
                    <a:pt x="891" y="277"/>
                  </a:lnTo>
                  <a:lnTo>
                    <a:pt x="889" y="275"/>
                  </a:lnTo>
                  <a:lnTo>
                    <a:pt x="889" y="275"/>
                  </a:lnTo>
                  <a:lnTo>
                    <a:pt x="889" y="275"/>
                  </a:lnTo>
                  <a:lnTo>
                    <a:pt x="887" y="275"/>
                  </a:lnTo>
                  <a:lnTo>
                    <a:pt x="887" y="275"/>
                  </a:lnTo>
                  <a:lnTo>
                    <a:pt x="887" y="275"/>
                  </a:lnTo>
                  <a:lnTo>
                    <a:pt x="883" y="275"/>
                  </a:lnTo>
                  <a:lnTo>
                    <a:pt x="883" y="275"/>
                  </a:lnTo>
                  <a:lnTo>
                    <a:pt x="883" y="275"/>
                  </a:lnTo>
                  <a:lnTo>
                    <a:pt x="881" y="275"/>
                  </a:lnTo>
                  <a:lnTo>
                    <a:pt x="881" y="277"/>
                  </a:lnTo>
                  <a:lnTo>
                    <a:pt x="881" y="279"/>
                  </a:lnTo>
                  <a:lnTo>
                    <a:pt x="881" y="283"/>
                  </a:lnTo>
                  <a:lnTo>
                    <a:pt x="879" y="285"/>
                  </a:lnTo>
                  <a:lnTo>
                    <a:pt x="877" y="285"/>
                  </a:lnTo>
                  <a:lnTo>
                    <a:pt x="873" y="285"/>
                  </a:lnTo>
                  <a:lnTo>
                    <a:pt x="873" y="287"/>
                  </a:lnTo>
                  <a:lnTo>
                    <a:pt x="875" y="287"/>
                  </a:lnTo>
                  <a:lnTo>
                    <a:pt x="875" y="287"/>
                  </a:lnTo>
                  <a:lnTo>
                    <a:pt x="875" y="289"/>
                  </a:lnTo>
                  <a:lnTo>
                    <a:pt x="875" y="289"/>
                  </a:lnTo>
                  <a:lnTo>
                    <a:pt x="873" y="291"/>
                  </a:lnTo>
                  <a:lnTo>
                    <a:pt x="873" y="291"/>
                  </a:lnTo>
                  <a:lnTo>
                    <a:pt x="873" y="295"/>
                  </a:lnTo>
                  <a:lnTo>
                    <a:pt x="873" y="297"/>
                  </a:lnTo>
                  <a:lnTo>
                    <a:pt x="871" y="299"/>
                  </a:lnTo>
                  <a:lnTo>
                    <a:pt x="868" y="299"/>
                  </a:lnTo>
                  <a:lnTo>
                    <a:pt x="864" y="297"/>
                  </a:lnTo>
                  <a:lnTo>
                    <a:pt x="864" y="295"/>
                  </a:lnTo>
                  <a:lnTo>
                    <a:pt x="862" y="293"/>
                  </a:lnTo>
                  <a:lnTo>
                    <a:pt x="862" y="291"/>
                  </a:lnTo>
                  <a:lnTo>
                    <a:pt x="862" y="289"/>
                  </a:lnTo>
                  <a:lnTo>
                    <a:pt x="864" y="285"/>
                  </a:lnTo>
                  <a:lnTo>
                    <a:pt x="864" y="283"/>
                  </a:lnTo>
                  <a:lnTo>
                    <a:pt x="864" y="283"/>
                  </a:lnTo>
                  <a:lnTo>
                    <a:pt x="862" y="281"/>
                  </a:lnTo>
                  <a:lnTo>
                    <a:pt x="862" y="281"/>
                  </a:lnTo>
                  <a:lnTo>
                    <a:pt x="860" y="279"/>
                  </a:lnTo>
                  <a:lnTo>
                    <a:pt x="860" y="279"/>
                  </a:lnTo>
                  <a:lnTo>
                    <a:pt x="860" y="281"/>
                  </a:lnTo>
                  <a:lnTo>
                    <a:pt x="858" y="281"/>
                  </a:lnTo>
                  <a:lnTo>
                    <a:pt x="858" y="281"/>
                  </a:lnTo>
                  <a:lnTo>
                    <a:pt x="858" y="283"/>
                  </a:lnTo>
                  <a:lnTo>
                    <a:pt x="856" y="285"/>
                  </a:lnTo>
                  <a:lnTo>
                    <a:pt x="856" y="285"/>
                  </a:lnTo>
                  <a:lnTo>
                    <a:pt x="854" y="283"/>
                  </a:lnTo>
                  <a:lnTo>
                    <a:pt x="852" y="283"/>
                  </a:lnTo>
                  <a:lnTo>
                    <a:pt x="852" y="285"/>
                  </a:lnTo>
                  <a:lnTo>
                    <a:pt x="850" y="285"/>
                  </a:lnTo>
                  <a:lnTo>
                    <a:pt x="850" y="285"/>
                  </a:lnTo>
                  <a:lnTo>
                    <a:pt x="850" y="285"/>
                  </a:lnTo>
                  <a:lnTo>
                    <a:pt x="850" y="287"/>
                  </a:lnTo>
                  <a:lnTo>
                    <a:pt x="848" y="287"/>
                  </a:lnTo>
                  <a:lnTo>
                    <a:pt x="848" y="287"/>
                  </a:lnTo>
                  <a:lnTo>
                    <a:pt x="848" y="289"/>
                  </a:lnTo>
                  <a:lnTo>
                    <a:pt x="846" y="289"/>
                  </a:lnTo>
                  <a:lnTo>
                    <a:pt x="842" y="289"/>
                  </a:lnTo>
                  <a:lnTo>
                    <a:pt x="840" y="289"/>
                  </a:lnTo>
                  <a:lnTo>
                    <a:pt x="840" y="285"/>
                  </a:lnTo>
                  <a:lnTo>
                    <a:pt x="838" y="283"/>
                  </a:lnTo>
                  <a:lnTo>
                    <a:pt x="838" y="283"/>
                  </a:lnTo>
                  <a:lnTo>
                    <a:pt x="836" y="281"/>
                  </a:lnTo>
                  <a:lnTo>
                    <a:pt x="834" y="281"/>
                  </a:lnTo>
                  <a:lnTo>
                    <a:pt x="830" y="281"/>
                  </a:lnTo>
                  <a:lnTo>
                    <a:pt x="828" y="281"/>
                  </a:lnTo>
                  <a:lnTo>
                    <a:pt x="828" y="279"/>
                  </a:lnTo>
                  <a:lnTo>
                    <a:pt x="828" y="275"/>
                  </a:lnTo>
                  <a:lnTo>
                    <a:pt x="825" y="273"/>
                  </a:lnTo>
                  <a:lnTo>
                    <a:pt x="821" y="271"/>
                  </a:lnTo>
                  <a:lnTo>
                    <a:pt x="819" y="273"/>
                  </a:lnTo>
                  <a:lnTo>
                    <a:pt x="815" y="275"/>
                  </a:lnTo>
                  <a:lnTo>
                    <a:pt x="809" y="283"/>
                  </a:lnTo>
                  <a:lnTo>
                    <a:pt x="805" y="285"/>
                  </a:lnTo>
                  <a:lnTo>
                    <a:pt x="801" y="285"/>
                  </a:lnTo>
                  <a:lnTo>
                    <a:pt x="797" y="285"/>
                  </a:lnTo>
                  <a:lnTo>
                    <a:pt x="795" y="283"/>
                  </a:lnTo>
                  <a:lnTo>
                    <a:pt x="795" y="283"/>
                  </a:lnTo>
                  <a:lnTo>
                    <a:pt x="795" y="281"/>
                  </a:lnTo>
                  <a:lnTo>
                    <a:pt x="795" y="281"/>
                  </a:lnTo>
                  <a:lnTo>
                    <a:pt x="795" y="279"/>
                  </a:lnTo>
                  <a:lnTo>
                    <a:pt x="795" y="277"/>
                  </a:lnTo>
                  <a:lnTo>
                    <a:pt x="795" y="277"/>
                  </a:lnTo>
                  <a:lnTo>
                    <a:pt x="795" y="275"/>
                  </a:lnTo>
                  <a:lnTo>
                    <a:pt x="795" y="275"/>
                  </a:lnTo>
                  <a:lnTo>
                    <a:pt x="795" y="273"/>
                  </a:lnTo>
                  <a:lnTo>
                    <a:pt x="795" y="273"/>
                  </a:lnTo>
                  <a:lnTo>
                    <a:pt x="793" y="273"/>
                  </a:lnTo>
                  <a:lnTo>
                    <a:pt x="791" y="271"/>
                  </a:lnTo>
                  <a:lnTo>
                    <a:pt x="787" y="271"/>
                  </a:lnTo>
                  <a:lnTo>
                    <a:pt x="782" y="268"/>
                  </a:lnTo>
                  <a:lnTo>
                    <a:pt x="782" y="264"/>
                  </a:lnTo>
                  <a:lnTo>
                    <a:pt x="780" y="262"/>
                  </a:lnTo>
                  <a:lnTo>
                    <a:pt x="782" y="260"/>
                  </a:lnTo>
                  <a:lnTo>
                    <a:pt x="782" y="256"/>
                  </a:lnTo>
                  <a:lnTo>
                    <a:pt x="780" y="256"/>
                  </a:lnTo>
                  <a:lnTo>
                    <a:pt x="778" y="256"/>
                  </a:lnTo>
                  <a:lnTo>
                    <a:pt x="774" y="256"/>
                  </a:lnTo>
                  <a:lnTo>
                    <a:pt x="770" y="258"/>
                  </a:lnTo>
                  <a:lnTo>
                    <a:pt x="760" y="256"/>
                  </a:lnTo>
                  <a:lnTo>
                    <a:pt x="758" y="256"/>
                  </a:lnTo>
                  <a:lnTo>
                    <a:pt x="756" y="258"/>
                  </a:lnTo>
                  <a:lnTo>
                    <a:pt x="754" y="260"/>
                  </a:lnTo>
                  <a:lnTo>
                    <a:pt x="754" y="262"/>
                  </a:lnTo>
                  <a:lnTo>
                    <a:pt x="752" y="262"/>
                  </a:lnTo>
                  <a:lnTo>
                    <a:pt x="750" y="264"/>
                  </a:lnTo>
                  <a:lnTo>
                    <a:pt x="746" y="264"/>
                  </a:lnTo>
                  <a:lnTo>
                    <a:pt x="746" y="262"/>
                  </a:lnTo>
                  <a:lnTo>
                    <a:pt x="742" y="260"/>
                  </a:lnTo>
                  <a:lnTo>
                    <a:pt x="739" y="258"/>
                  </a:lnTo>
                  <a:lnTo>
                    <a:pt x="739" y="258"/>
                  </a:lnTo>
                  <a:lnTo>
                    <a:pt x="737" y="256"/>
                  </a:lnTo>
                  <a:lnTo>
                    <a:pt x="737" y="254"/>
                  </a:lnTo>
                  <a:lnTo>
                    <a:pt x="735" y="254"/>
                  </a:lnTo>
                  <a:lnTo>
                    <a:pt x="733" y="254"/>
                  </a:lnTo>
                  <a:lnTo>
                    <a:pt x="731" y="254"/>
                  </a:lnTo>
                  <a:lnTo>
                    <a:pt x="725" y="258"/>
                  </a:lnTo>
                  <a:lnTo>
                    <a:pt x="725" y="256"/>
                  </a:lnTo>
                  <a:lnTo>
                    <a:pt x="713" y="254"/>
                  </a:lnTo>
                  <a:lnTo>
                    <a:pt x="711" y="254"/>
                  </a:lnTo>
                  <a:lnTo>
                    <a:pt x="705" y="250"/>
                  </a:lnTo>
                  <a:lnTo>
                    <a:pt x="703" y="250"/>
                  </a:lnTo>
                  <a:lnTo>
                    <a:pt x="701" y="250"/>
                  </a:lnTo>
                  <a:lnTo>
                    <a:pt x="701" y="250"/>
                  </a:lnTo>
                  <a:lnTo>
                    <a:pt x="699" y="250"/>
                  </a:lnTo>
                  <a:lnTo>
                    <a:pt x="696" y="250"/>
                  </a:lnTo>
                  <a:lnTo>
                    <a:pt x="692" y="250"/>
                  </a:lnTo>
                  <a:lnTo>
                    <a:pt x="690" y="248"/>
                  </a:lnTo>
                  <a:lnTo>
                    <a:pt x="686" y="250"/>
                  </a:lnTo>
                  <a:lnTo>
                    <a:pt x="684" y="248"/>
                  </a:lnTo>
                  <a:lnTo>
                    <a:pt x="682" y="248"/>
                  </a:lnTo>
                  <a:lnTo>
                    <a:pt x="682" y="246"/>
                  </a:lnTo>
                  <a:lnTo>
                    <a:pt x="682" y="240"/>
                  </a:lnTo>
                  <a:lnTo>
                    <a:pt x="682" y="238"/>
                  </a:lnTo>
                  <a:lnTo>
                    <a:pt x="682" y="238"/>
                  </a:lnTo>
                  <a:lnTo>
                    <a:pt x="682" y="236"/>
                  </a:lnTo>
                  <a:lnTo>
                    <a:pt x="678" y="234"/>
                  </a:lnTo>
                  <a:lnTo>
                    <a:pt x="678" y="232"/>
                  </a:lnTo>
                  <a:lnTo>
                    <a:pt x="678" y="230"/>
                  </a:lnTo>
                  <a:lnTo>
                    <a:pt x="676" y="227"/>
                  </a:lnTo>
                  <a:lnTo>
                    <a:pt x="674" y="227"/>
                  </a:lnTo>
                  <a:lnTo>
                    <a:pt x="674" y="227"/>
                  </a:lnTo>
                  <a:lnTo>
                    <a:pt x="672" y="227"/>
                  </a:lnTo>
                  <a:lnTo>
                    <a:pt x="672" y="227"/>
                  </a:lnTo>
                  <a:lnTo>
                    <a:pt x="670" y="225"/>
                  </a:lnTo>
                  <a:lnTo>
                    <a:pt x="670" y="225"/>
                  </a:lnTo>
                  <a:lnTo>
                    <a:pt x="670" y="225"/>
                  </a:lnTo>
                  <a:lnTo>
                    <a:pt x="670" y="223"/>
                  </a:lnTo>
                  <a:lnTo>
                    <a:pt x="668" y="223"/>
                  </a:lnTo>
                  <a:lnTo>
                    <a:pt x="666" y="223"/>
                  </a:lnTo>
                  <a:lnTo>
                    <a:pt x="666" y="223"/>
                  </a:lnTo>
                  <a:lnTo>
                    <a:pt x="666" y="230"/>
                  </a:lnTo>
                  <a:lnTo>
                    <a:pt x="664" y="232"/>
                  </a:lnTo>
                  <a:lnTo>
                    <a:pt x="664" y="232"/>
                  </a:lnTo>
                  <a:lnTo>
                    <a:pt x="662" y="232"/>
                  </a:lnTo>
                  <a:lnTo>
                    <a:pt x="660" y="232"/>
                  </a:lnTo>
                  <a:lnTo>
                    <a:pt x="655" y="230"/>
                  </a:lnTo>
                  <a:lnTo>
                    <a:pt x="651" y="227"/>
                  </a:lnTo>
                  <a:lnTo>
                    <a:pt x="651" y="227"/>
                  </a:lnTo>
                  <a:lnTo>
                    <a:pt x="649" y="230"/>
                  </a:lnTo>
                  <a:lnTo>
                    <a:pt x="649" y="230"/>
                  </a:lnTo>
                  <a:lnTo>
                    <a:pt x="647" y="232"/>
                  </a:lnTo>
                  <a:lnTo>
                    <a:pt x="647" y="232"/>
                  </a:lnTo>
                  <a:lnTo>
                    <a:pt x="641" y="232"/>
                  </a:lnTo>
                  <a:lnTo>
                    <a:pt x="639" y="230"/>
                  </a:lnTo>
                  <a:lnTo>
                    <a:pt x="639" y="230"/>
                  </a:lnTo>
                  <a:lnTo>
                    <a:pt x="637" y="225"/>
                  </a:lnTo>
                  <a:lnTo>
                    <a:pt x="621" y="211"/>
                  </a:lnTo>
                  <a:lnTo>
                    <a:pt x="621" y="211"/>
                  </a:lnTo>
                  <a:lnTo>
                    <a:pt x="619" y="211"/>
                  </a:lnTo>
                  <a:lnTo>
                    <a:pt x="619" y="211"/>
                  </a:lnTo>
                  <a:lnTo>
                    <a:pt x="617" y="209"/>
                  </a:lnTo>
                  <a:lnTo>
                    <a:pt x="612" y="211"/>
                  </a:lnTo>
                  <a:lnTo>
                    <a:pt x="610" y="211"/>
                  </a:lnTo>
                  <a:lnTo>
                    <a:pt x="610" y="205"/>
                  </a:lnTo>
                  <a:lnTo>
                    <a:pt x="610" y="193"/>
                  </a:lnTo>
                  <a:lnTo>
                    <a:pt x="610" y="180"/>
                  </a:lnTo>
                  <a:lnTo>
                    <a:pt x="610" y="168"/>
                  </a:lnTo>
                  <a:lnTo>
                    <a:pt x="610" y="156"/>
                  </a:lnTo>
                  <a:lnTo>
                    <a:pt x="610" y="143"/>
                  </a:lnTo>
                  <a:lnTo>
                    <a:pt x="610" y="131"/>
                  </a:lnTo>
                  <a:lnTo>
                    <a:pt x="610" y="119"/>
                  </a:lnTo>
                  <a:lnTo>
                    <a:pt x="610" y="107"/>
                  </a:lnTo>
                  <a:lnTo>
                    <a:pt x="610" y="94"/>
                  </a:lnTo>
                  <a:lnTo>
                    <a:pt x="610" y="82"/>
                  </a:lnTo>
                  <a:lnTo>
                    <a:pt x="610" y="70"/>
                  </a:lnTo>
                  <a:lnTo>
                    <a:pt x="610" y="57"/>
                  </a:lnTo>
                  <a:lnTo>
                    <a:pt x="610" y="45"/>
                  </a:lnTo>
                  <a:lnTo>
                    <a:pt x="610" y="33"/>
                  </a:lnTo>
                  <a:lnTo>
                    <a:pt x="610" y="21"/>
                  </a:lnTo>
                  <a:lnTo>
                    <a:pt x="610" y="8"/>
                  </a:lnTo>
                  <a:lnTo>
                    <a:pt x="610" y="4"/>
                  </a:lnTo>
                  <a:lnTo>
                    <a:pt x="610" y="4"/>
                  </a:lnTo>
                  <a:lnTo>
                    <a:pt x="594" y="4"/>
                  </a:lnTo>
                  <a:lnTo>
                    <a:pt x="582" y="4"/>
                  </a:lnTo>
                  <a:lnTo>
                    <a:pt x="565" y="4"/>
                  </a:lnTo>
                  <a:lnTo>
                    <a:pt x="545" y="4"/>
                  </a:lnTo>
                  <a:lnTo>
                    <a:pt x="524" y="2"/>
                  </a:lnTo>
                  <a:lnTo>
                    <a:pt x="502" y="2"/>
                  </a:lnTo>
                  <a:lnTo>
                    <a:pt x="477" y="2"/>
                  </a:lnTo>
                  <a:lnTo>
                    <a:pt x="453" y="2"/>
                  </a:lnTo>
                  <a:lnTo>
                    <a:pt x="430" y="2"/>
                  </a:lnTo>
                  <a:lnTo>
                    <a:pt x="408" y="2"/>
                  </a:lnTo>
                  <a:lnTo>
                    <a:pt x="389" y="0"/>
                  </a:lnTo>
                  <a:lnTo>
                    <a:pt x="373" y="0"/>
                  </a:lnTo>
                  <a:lnTo>
                    <a:pt x="361" y="0"/>
                  </a:lnTo>
                  <a:lnTo>
                    <a:pt x="352" y="0"/>
                  </a:lnTo>
                  <a:lnTo>
                    <a:pt x="348" y="0"/>
                  </a:lnTo>
                  <a:lnTo>
                    <a:pt x="346" y="0"/>
                  </a:lnTo>
                  <a:lnTo>
                    <a:pt x="346" y="2"/>
                  </a:lnTo>
                  <a:lnTo>
                    <a:pt x="346" y="4"/>
                  </a:lnTo>
                  <a:lnTo>
                    <a:pt x="344" y="21"/>
                  </a:lnTo>
                  <a:lnTo>
                    <a:pt x="344" y="35"/>
                  </a:lnTo>
                  <a:lnTo>
                    <a:pt x="344" y="49"/>
                  </a:lnTo>
                  <a:lnTo>
                    <a:pt x="344" y="66"/>
                  </a:lnTo>
                  <a:lnTo>
                    <a:pt x="342" y="80"/>
                  </a:lnTo>
                  <a:lnTo>
                    <a:pt x="342" y="94"/>
                  </a:lnTo>
                  <a:lnTo>
                    <a:pt x="342" y="111"/>
                  </a:lnTo>
                  <a:lnTo>
                    <a:pt x="342" y="125"/>
                  </a:lnTo>
                  <a:lnTo>
                    <a:pt x="342" y="139"/>
                  </a:lnTo>
                  <a:lnTo>
                    <a:pt x="340" y="156"/>
                  </a:lnTo>
                  <a:lnTo>
                    <a:pt x="340" y="170"/>
                  </a:lnTo>
                  <a:lnTo>
                    <a:pt x="340" y="184"/>
                  </a:lnTo>
                  <a:lnTo>
                    <a:pt x="340" y="199"/>
                  </a:lnTo>
                  <a:lnTo>
                    <a:pt x="338" y="215"/>
                  </a:lnTo>
                  <a:lnTo>
                    <a:pt x="338" y="230"/>
                  </a:lnTo>
                  <a:lnTo>
                    <a:pt x="338" y="244"/>
                  </a:lnTo>
                  <a:lnTo>
                    <a:pt x="338" y="260"/>
                  </a:lnTo>
                  <a:lnTo>
                    <a:pt x="336" y="275"/>
                  </a:lnTo>
                  <a:lnTo>
                    <a:pt x="336" y="289"/>
                  </a:lnTo>
                  <a:lnTo>
                    <a:pt x="336" y="305"/>
                  </a:lnTo>
                  <a:lnTo>
                    <a:pt x="336" y="320"/>
                  </a:lnTo>
                  <a:lnTo>
                    <a:pt x="334" y="334"/>
                  </a:lnTo>
                  <a:lnTo>
                    <a:pt x="334" y="350"/>
                  </a:lnTo>
                  <a:lnTo>
                    <a:pt x="334" y="365"/>
                  </a:lnTo>
                  <a:lnTo>
                    <a:pt x="334" y="379"/>
                  </a:lnTo>
                  <a:lnTo>
                    <a:pt x="334" y="396"/>
                  </a:lnTo>
                  <a:lnTo>
                    <a:pt x="332" y="410"/>
                  </a:lnTo>
                  <a:lnTo>
                    <a:pt x="332" y="424"/>
                  </a:lnTo>
                  <a:lnTo>
                    <a:pt x="332" y="441"/>
                  </a:lnTo>
                  <a:lnTo>
                    <a:pt x="332" y="455"/>
                  </a:lnTo>
                  <a:lnTo>
                    <a:pt x="330" y="469"/>
                  </a:lnTo>
                  <a:lnTo>
                    <a:pt x="330" y="486"/>
                  </a:lnTo>
                  <a:lnTo>
                    <a:pt x="309" y="484"/>
                  </a:lnTo>
                  <a:lnTo>
                    <a:pt x="289" y="484"/>
                  </a:lnTo>
                  <a:lnTo>
                    <a:pt x="268" y="484"/>
                  </a:lnTo>
                  <a:lnTo>
                    <a:pt x="248" y="482"/>
                  </a:lnTo>
                  <a:lnTo>
                    <a:pt x="229" y="482"/>
                  </a:lnTo>
                  <a:lnTo>
                    <a:pt x="209" y="482"/>
                  </a:lnTo>
                  <a:lnTo>
                    <a:pt x="189" y="480"/>
                  </a:lnTo>
                  <a:lnTo>
                    <a:pt x="168" y="480"/>
                  </a:lnTo>
                  <a:lnTo>
                    <a:pt x="148" y="478"/>
                  </a:lnTo>
                  <a:lnTo>
                    <a:pt x="127" y="478"/>
                  </a:lnTo>
                  <a:lnTo>
                    <a:pt x="107" y="475"/>
                  </a:lnTo>
                  <a:lnTo>
                    <a:pt x="86" y="475"/>
                  </a:lnTo>
                  <a:lnTo>
                    <a:pt x="66" y="473"/>
                  </a:lnTo>
                  <a:lnTo>
                    <a:pt x="45" y="473"/>
                  </a:lnTo>
                  <a:lnTo>
                    <a:pt x="25" y="471"/>
                  </a:lnTo>
                  <a:lnTo>
                    <a:pt x="4" y="471"/>
                  </a:lnTo>
                  <a:lnTo>
                    <a:pt x="2" y="471"/>
                  </a:lnTo>
                  <a:lnTo>
                    <a:pt x="0" y="471"/>
                  </a:lnTo>
                  <a:lnTo>
                    <a:pt x="0" y="471"/>
                  </a:lnTo>
                  <a:lnTo>
                    <a:pt x="2" y="475"/>
                  </a:lnTo>
                  <a:lnTo>
                    <a:pt x="2" y="478"/>
                  </a:lnTo>
                  <a:lnTo>
                    <a:pt x="4" y="482"/>
                  </a:lnTo>
                  <a:lnTo>
                    <a:pt x="4" y="484"/>
                  </a:lnTo>
                  <a:lnTo>
                    <a:pt x="6" y="486"/>
                  </a:lnTo>
                  <a:lnTo>
                    <a:pt x="4" y="488"/>
                  </a:lnTo>
                  <a:lnTo>
                    <a:pt x="6" y="488"/>
                  </a:lnTo>
                  <a:lnTo>
                    <a:pt x="6" y="490"/>
                  </a:lnTo>
                  <a:lnTo>
                    <a:pt x="8" y="490"/>
                  </a:lnTo>
                  <a:lnTo>
                    <a:pt x="8" y="490"/>
                  </a:lnTo>
                  <a:lnTo>
                    <a:pt x="10" y="492"/>
                  </a:lnTo>
                  <a:lnTo>
                    <a:pt x="14" y="498"/>
                  </a:lnTo>
                  <a:lnTo>
                    <a:pt x="16" y="498"/>
                  </a:lnTo>
                  <a:lnTo>
                    <a:pt x="21" y="498"/>
                  </a:lnTo>
                  <a:lnTo>
                    <a:pt x="25" y="500"/>
                  </a:lnTo>
                  <a:lnTo>
                    <a:pt x="27" y="502"/>
                  </a:lnTo>
                  <a:lnTo>
                    <a:pt x="29" y="506"/>
                  </a:lnTo>
                  <a:lnTo>
                    <a:pt x="31" y="510"/>
                  </a:lnTo>
                  <a:lnTo>
                    <a:pt x="33" y="518"/>
                  </a:lnTo>
                  <a:lnTo>
                    <a:pt x="33" y="521"/>
                  </a:lnTo>
                  <a:lnTo>
                    <a:pt x="37" y="525"/>
                  </a:lnTo>
                  <a:lnTo>
                    <a:pt x="39" y="527"/>
                  </a:lnTo>
                  <a:lnTo>
                    <a:pt x="39" y="527"/>
                  </a:lnTo>
                  <a:lnTo>
                    <a:pt x="39" y="529"/>
                  </a:lnTo>
                  <a:lnTo>
                    <a:pt x="39" y="529"/>
                  </a:lnTo>
                  <a:lnTo>
                    <a:pt x="39" y="529"/>
                  </a:lnTo>
                  <a:lnTo>
                    <a:pt x="43" y="531"/>
                  </a:lnTo>
                  <a:lnTo>
                    <a:pt x="43" y="533"/>
                  </a:lnTo>
                  <a:lnTo>
                    <a:pt x="45" y="533"/>
                  </a:lnTo>
                  <a:lnTo>
                    <a:pt x="49" y="535"/>
                  </a:lnTo>
                  <a:lnTo>
                    <a:pt x="51" y="537"/>
                  </a:lnTo>
                  <a:lnTo>
                    <a:pt x="53" y="537"/>
                  </a:lnTo>
                  <a:lnTo>
                    <a:pt x="55" y="539"/>
                  </a:lnTo>
                  <a:lnTo>
                    <a:pt x="57" y="539"/>
                  </a:lnTo>
                  <a:lnTo>
                    <a:pt x="62" y="541"/>
                  </a:lnTo>
                  <a:lnTo>
                    <a:pt x="62" y="543"/>
                  </a:lnTo>
                  <a:lnTo>
                    <a:pt x="64" y="543"/>
                  </a:lnTo>
                  <a:lnTo>
                    <a:pt x="64" y="545"/>
                  </a:lnTo>
                  <a:lnTo>
                    <a:pt x="64" y="547"/>
                  </a:lnTo>
                  <a:lnTo>
                    <a:pt x="66" y="547"/>
                  </a:lnTo>
                  <a:lnTo>
                    <a:pt x="68" y="549"/>
                  </a:lnTo>
                  <a:lnTo>
                    <a:pt x="68" y="549"/>
                  </a:lnTo>
                  <a:lnTo>
                    <a:pt x="68" y="549"/>
                  </a:lnTo>
                  <a:lnTo>
                    <a:pt x="70" y="551"/>
                  </a:lnTo>
                  <a:lnTo>
                    <a:pt x="76" y="559"/>
                  </a:lnTo>
                  <a:lnTo>
                    <a:pt x="78" y="562"/>
                  </a:lnTo>
                  <a:lnTo>
                    <a:pt x="78" y="564"/>
                  </a:lnTo>
                  <a:lnTo>
                    <a:pt x="84" y="568"/>
                  </a:lnTo>
                  <a:lnTo>
                    <a:pt x="86" y="570"/>
                  </a:lnTo>
                  <a:lnTo>
                    <a:pt x="86" y="570"/>
                  </a:lnTo>
                  <a:lnTo>
                    <a:pt x="90" y="572"/>
                  </a:lnTo>
                  <a:lnTo>
                    <a:pt x="90" y="574"/>
                  </a:lnTo>
                  <a:lnTo>
                    <a:pt x="92" y="574"/>
                  </a:lnTo>
                  <a:lnTo>
                    <a:pt x="94" y="576"/>
                  </a:lnTo>
                  <a:lnTo>
                    <a:pt x="94" y="578"/>
                  </a:lnTo>
                  <a:lnTo>
                    <a:pt x="96" y="582"/>
                  </a:lnTo>
                  <a:lnTo>
                    <a:pt x="96" y="584"/>
                  </a:lnTo>
                  <a:lnTo>
                    <a:pt x="98" y="584"/>
                  </a:lnTo>
                  <a:lnTo>
                    <a:pt x="103" y="588"/>
                  </a:lnTo>
                  <a:lnTo>
                    <a:pt x="109" y="594"/>
                  </a:lnTo>
                  <a:lnTo>
                    <a:pt x="113" y="600"/>
                  </a:lnTo>
                  <a:lnTo>
                    <a:pt x="113" y="600"/>
                  </a:lnTo>
                  <a:lnTo>
                    <a:pt x="117" y="603"/>
                  </a:lnTo>
                  <a:lnTo>
                    <a:pt x="121" y="605"/>
                  </a:lnTo>
                  <a:lnTo>
                    <a:pt x="123" y="605"/>
                  </a:lnTo>
                  <a:lnTo>
                    <a:pt x="123" y="607"/>
                  </a:lnTo>
                  <a:lnTo>
                    <a:pt x="123" y="607"/>
                  </a:lnTo>
                  <a:lnTo>
                    <a:pt x="125" y="607"/>
                  </a:lnTo>
                  <a:lnTo>
                    <a:pt x="125" y="607"/>
                  </a:lnTo>
                  <a:lnTo>
                    <a:pt x="125" y="607"/>
                  </a:lnTo>
                  <a:lnTo>
                    <a:pt x="125" y="607"/>
                  </a:lnTo>
                  <a:lnTo>
                    <a:pt x="125" y="607"/>
                  </a:lnTo>
                  <a:lnTo>
                    <a:pt x="127" y="607"/>
                  </a:lnTo>
                  <a:lnTo>
                    <a:pt x="127" y="607"/>
                  </a:lnTo>
                  <a:lnTo>
                    <a:pt x="129" y="607"/>
                  </a:lnTo>
                  <a:lnTo>
                    <a:pt x="129" y="609"/>
                  </a:lnTo>
                  <a:lnTo>
                    <a:pt x="129" y="609"/>
                  </a:lnTo>
                  <a:lnTo>
                    <a:pt x="131" y="609"/>
                  </a:lnTo>
                  <a:lnTo>
                    <a:pt x="131" y="609"/>
                  </a:lnTo>
                  <a:lnTo>
                    <a:pt x="131" y="611"/>
                  </a:lnTo>
                  <a:lnTo>
                    <a:pt x="131" y="611"/>
                  </a:lnTo>
                  <a:lnTo>
                    <a:pt x="133" y="611"/>
                  </a:lnTo>
                  <a:lnTo>
                    <a:pt x="133" y="611"/>
                  </a:lnTo>
                  <a:lnTo>
                    <a:pt x="133" y="613"/>
                  </a:lnTo>
                  <a:lnTo>
                    <a:pt x="135" y="613"/>
                  </a:lnTo>
                  <a:lnTo>
                    <a:pt x="135" y="613"/>
                  </a:lnTo>
                  <a:lnTo>
                    <a:pt x="139" y="617"/>
                  </a:lnTo>
                  <a:lnTo>
                    <a:pt x="141" y="619"/>
                  </a:lnTo>
                  <a:lnTo>
                    <a:pt x="141" y="619"/>
                  </a:lnTo>
                  <a:lnTo>
                    <a:pt x="143" y="619"/>
                  </a:lnTo>
                  <a:lnTo>
                    <a:pt x="146" y="621"/>
                  </a:lnTo>
                  <a:lnTo>
                    <a:pt x="148" y="623"/>
                  </a:lnTo>
                  <a:lnTo>
                    <a:pt x="148" y="623"/>
                  </a:lnTo>
                  <a:lnTo>
                    <a:pt x="148" y="625"/>
                  </a:lnTo>
                  <a:lnTo>
                    <a:pt x="148" y="627"/>
                  </a:lnTo>
                  <a:lnTo>
                    <a:pt x="148" y="627"/>
                  </a:lnTo>
                  <a:lnTo>
                    <a:pt x="150" y="627"/>
                  </a:lnTo>
                  <a:lnTo>
                    <a:pt x="152" y="627"/>
                  </a:lnTo>
                  <a:lnTo>
                    <a:pt x="152" y="629"/>
                  </a:lnTo>
                  <a:lnTo>
                    <a:pt x="154" y="629"/>
                  </a:lnTo>
                  <a:lnTo>
                    <a:pt x="156" y="633"/>
                  </a:lnTo>
                  <a:lnTo>
                    <a:pt x="156" y="635"/>
                  </a:lnTo>
                  <a:lnTo>
                    <a:pt x="156" y="635"/>
                  </a:lnTo>
                  <a:lnTo>
                    <a:pt x="156" y="639"/>
                  </a:lnTo>
                  <a:lnTo>
                    <a:pt x="158" y="639"/>
                  </a:lnTo>
                  <a:lnTo>
                    <a:pt x="158" y="641"/>
                  </a:lnTo>
                  <a:lnTo>
                    <a:pt x="158" y="641"/>
                  </a:lnTo>
                  <a:lnTo>
                    <a:pt x="158" y="641"/>
                  </a:lnTo>
                  <a:lnTo>
                    <a:pt x="158" y="644"/>
                  </a:lnTo>
                  <a:lnTo>
                    <a:pt x="158" y="644"/>
                  </a:lnTo>
                  <a:lnTo>
                    <a:pt x="158" y="646"/>
                  </a:lnTo>
                  <a:lnTo>
                    <a:pt x="160" y="646"/>
                  </a:lnTo>
                  <a:lnTo>
                    <a:pt x="160" y="648"/>
                  </a:lnTo>
                  <a:lnTo>
                    <a:pt x="160" y="650"/>
                  </a:lnTo>
                  <a:lnTo>
                    <a:pt x="158" y="650"/>
                  </a:lnTo>
                  <a:lnTo>
                    <a:pt x="160" y="650"/>
                  </a:lnTo>
                  <a:lnTo>
                    <a:pt x="160" y="652"/>
                  </a:lnTo>
                  <a:lnTo>
                    <a:pt x="160" y="652"/>
                  </a:lnTo>
                  <a:lnTo>
                    <a:pt x="162" y="654"/>
                  </a:lnTo>
                  <a:lnTo>
                    <a:pt x="162" y="654"/>
                  </a:lnTo>
                  <a:lnTo>
                    <a:pt x="162" y="654"/>
                  </a:lnTo>
                  <a:lnTo>
                    <a:pt x="162" y="656"/>
                  </a:lnTo>
                  <a:lnTo>
                    <a:pt x="162" y="658"/>
                  </a:lnTo>
                  <a:lnTo>
                    <a:pt x="162" y="658"/>
                  </a:lnTo>
                  <a:lnTo>
                    <a:pt x="164" y="658"/>
                  </a:lnTo>
                  <a:lnTo>
                    <a:pt x="166" y="662"/>
                  </a:lnTo>
                  <a:lnTo>
                    <a:pt x="166" y="664"/>
                  </a:lnTo>
                  <a:lnTo>
                    <a:pt x="168" y="666"/>
                  </a:lnTo>
                  <a:lnTo>
                    <a:pt x="168" y="668"/>
                  </a:lnTo>
                  <a:lnTo>
                    <a:pt x="170" y="668"/>
                  </a:lnTo>
                  <a:lnTo>
                    <a:pt x="170" y="668"/>
                  </a:lnTo>
                  <a:lnTo>
                    <a:pt x="172" y="672"/>
                  </a:lnTo>
                  <a:lnTo>
                    <a:pt x="174" y="674"/>
                  </a:lnTo>
                  <a:lnTo>
                    <a:pt x="174" y="676"/>
                  </a:lnTo>
                  <a:lnTo>
                    <a:pt x="174" y="680"/>
                  </a:lnTo>
                  <a:lnTo>
                    <a:pt x="174" y="682"/>
                  </a:lnTo>
                  <a:lnTo>
                    <a:pt x="172" y="687"/>
                  </a:lnTo>
                  <a:lnTo>
                    <a:pt x="172" y="689"/>
                  </a:lnTo>
                  <a:lnTo>
                    <a:pt x="172" y="693"/>
                  </a:lnTo>
                  <a:lnTo>
                    <a:pt x="172" y="699"/>
                  </a:lnTo>
                  <a:lnTo>
                    <a:pt x="172" y="699"/>
                  </a:lnTo>
                  <a:lnTo>
                    <a:pt x="172" y="701"/>
                  </a:lnTo>
                  <a:lnTo>
                    <a:pt x="172" y="701"/>
                  </a:lnTo>
                  <a:lnTo>
                    <a:pt x="174" y="703"/>
                  </a:lnTo>
                  <a:lnTo>
                    <a:pt x="174" y="703"/>
                  </a:lnTo>
                  <a:lnTo>
                    <a:pt x="174" y="705"/>
                  </a:lnTo>
                  <a:lnTo>
                    <a:pt x="174" y="705"/>
                  </a:lnTo>
                  <a:lnTo>
                    <a:pt x="176" y="707"/>
                  </a:lnTo>
                  <a:lnTo>
                    <a:pt x="178" y="713"/>
                  </a:lnTo>
                  <a:lnTo>
                    <a:pt x="178" y="713"/>
                  </a:lnTo>
                  <a:lnTo>
                    <a:pt x="180" y="715"/>
                  </a:lnTo>
                  <a:lnTo>
                    <a:pt x="180" y="717"/>
                  </a:lnTo>
                  <a:lnTo>
                    <a:pt x="182" y="719"/>
                  </a:lnTo>
                  <a:lnTo>
                    <a:pt x="182" y="723"/>
                  </a:lnTo>
                  <a:lnTo>
                    <a:pt x="184" y="725"/>
                  </a:lnTo>
                  <a:lnTo>
                    <a:pt x="184" y="728"/>
                  </a:lnTo>
                  <a:lnTo>
                    <a:pt x="184" y="730"/>
                  </a:lnTo>
                  <a:lnTo>
                    <a:pt x="184" y="732"/>
                  </a:lnTo>
                  <a:lnTo>
                    <a:pt x="186" y="732"/>
                  </a:lnTo>
                  <a:lnTo>
                    <a:pt x="186" y="734"/>
                  </a:lnTo>
                  <a:lnTo>
                    <a:pt x="191" y="736"/>
                  </a:lnTo>
                  <a:lnTo>
                    <a:pt x="193" y="738"/>
                  </a:lnTo>
                  <a:lnTo>
                    <a:pt x="193" y="738"/>
                  </a:lnTo>
                  <a:lnTo>
                    <a:pt x="193" y="740"/>
                  </a:lnTo>
                  <a:lnTo>
                    <a:pt x="193" y="740"/>
                  </a:lnTo>
                  <a:lnTo>
                    <a:pt x="195" y="742"/>
                  </a:lnTo>
                  <a:lnTo>
                    <a:pt x="195" y="742"/>
                  </a:lnTo>
                  <a:lnTo>
                    <a:pt x="203" y="746"/>
                  </a:lnTo>
                  <a:lnTo>
                    <a:pt x="203" y="748"/>
                  </a:lnTo>
                  <a:lnTo>
                    <a:pt x="205" y="748"/>
                  </a:lnTo>
                  <a:lnTo>
                    <a:pt x="207" y="748"/>
                  </a:lnTo>
                  <a:lnTo>
                    <a:pt x="209" y="748"/>
                  </a:lnTo>
                  <a:lnTo>
                    <a:pt x="211" y="750"/>
                  </a:lnTo>
                  <a:lnTo>
                    <a:pt x="213" y="752"/>
                  </a:lnTo>
                  <a:lnTo>
                    <a:pt x="215" y="752"/>
                  </a:lnTo>
                  <a:lnTo>
                    <a:pt x="215" y="752"/>
                  </a:lnTo>
                  <a:lnTo>
                    <a:pt x="217" y="756"/>
                  </a:lnTo>
                  <a:lnTo>
                    <a:pt x="219" y="760"/>
                  </a:lnTo>
                  <a:lnTo>
                    <a:pt x="221" y="762"/>
                  </a:lnTo>
                  <a:lnTo>
                    <a:pt x="225" y="764"/>
                  </a:lnTo>
                  <a:lnTo>
                    <a:pt x="229" y="769"/>
                  </a:lnTo>
                  <a:lnTo>
                    <a:pt x="232" y="771"/>
                  </a:lnTo>
                  <a:lnTo>
                    <a:pt x="242" y="775"/>
                  </a:lnTo>
                  <a:lnTo>
                    <a:pt x="246" y="777"/>
                  </a:lnTo>
                  <a:lnTo>
                    <a:pt x="254" y="777"/>
                  </a:lnTo>
                  <a:lnTo>
                    <a:pt x="254" y="777"/>
                  </a:lnTo>
                  <a:lnTo>
                    <a:pt x="256" y="777"/>
                  </a:lnTo>
                  <a:lnTo>
                    <a:pt x="256" y="779"/>
                  </a:lnTo>
                  <a:lnTo>
                    <a:pt x="254" y="781"/>
                  </a:lnTo>
                  <a:lnTo>
                    <a:pt x="256" y="781"/>
                  </a:lnTo>
                  <a:lnTo>
                    <a:pt x="256" y="783"/>
                  </a:lnTo>
                  <a:lnTo>
                    <a:pt x="258" y="783"/>
                  </a:lnTo>
                  <a:lnTo>
                    <a:pt x="262" y="787"/>
                  </a:lnTo>
                  <a:lnTo>
                    <a:pt x="264" y="789"/>
                  </a:lnTo>
                  <a:lnTo>
                    <a:pt x="273" y="791"/>
                  </a:lnTo>
                  <a:lnTo>
                    <a:pt x="275" y="791"/>
                  </a:lnTo>
                  <a:lnTo>
                    <a:pt x="277" y="791"/>
                  </a:lnTo>
                  <a:lnTo>
                    <a:pt x="277" y="791"/>
                  </a:lnTo>
                  <a:lnTo>
                    <a:pt x="277" y="791"/>
                  </a:lnTo>
                  <a:lnTo>
                    <a:pt x="277" y="793"/>
                  </a:lnTo>
                  <a:lnTo>
                    <a:pt x="279" y="793"/>
                  </a:lnTo>
                  <a:lnTo>
                    <a:pt x="283" y="799"/>
                  </a:lnTo>
                  <a:lnTo>
                    <a:pt x="287" y="801"/>
                  </a:lnTo>
                  <a:lnTo>
                    <a:pt x="287" y="801"/>
                  </a:lnTo>
                  <a:lnTo>
                    <a:pt x="289" y="801"/>
                  </a:lnTo>
                  <a:lnTo>
                    <a:pt x="291" y="805"/>
                  </a:lnTo>
                  <a:lnTo>
                    <a:pt x="293" y="805"/>
                  </a:lnTo>
                  <a:lnTo>
                    <a:pt x="293" y="805"/>
                  </a:lnTo>
                  <a:lnTo>
                    <a:pt x="295" y="803"/>
                  </a:lnTo>
                  <a:lnTo>
                    <a:pt x="295" y="803"/>
                  </a:lnTo>
                  <a:lnTo>
                    <a:pt x="297" y="805"/>
                  </a:lnTo>
                  <a:lnTo>
                    <a:pt x="297" y="805"/>
                  </a:lnTo>
                  <a:lnTo>
                    <a:pt x="299" y="805"/>
                  </a:lnTo>
                  <a:lnTo>
                    <a:pt x="297" y="807"/>
                  </a:lnTo>
                  <a:lnTo>
                    <a:pt x="299" y="807"/>
                  </a:lnTo>
                  <a:lnTo>
                    <a:pt x="305" y="807"/>
                  </a:lnTo>
                  <a:lnTo>
                    <a:pt x="309" y="809"/>
                  </a:lnTo>
                  <a:lnTo>
                    <a:pt x="313" y="809"/>
                  </a:lnTo>
                  <a:lnTo>
                    <a:pt x="316" y="809"/>
                  </a:lnTo>
                  <a:lnTo>
                    <a:pt x="318" y="805"/>
                  </a:lnTo>
                  <a:lnTo>
                    <a:pt x="318" y="801"/>
                  </a:lnTo>
                  <a:lnTo>
                    <a:pt x="318" y="801"/>
                  </a:lnTo>
                  <a:lnTo>
                    <a:pt x="318" y="801"/>
                  </a:lnTo>
                  <a:lnTo>
                    <a:pt x="320" y="801"/>
                  </a:lnTo>
                  <a:lnTo>
                    <a:pt x="320" y="801"/>
                  </a:lnTo>
                  <a:lnTo>
                    <a:pt x="320" y="799"/>
                  </a:lnTo>
                  <a:lnTo>
                    <a:pt x="322" y="799"/>
                  </a:lnTo>
                  <a:lnTo>
                    <a:pt x="324" y="797"/>
                  </a:lnTo>
                  <a:lnTo>
                    <a:pt x="326" y="795"/>
                  </a:lnTo>
                  <a:lnTo>
                    <a:pt x="326" y="795"/>
                  </a:lnTo>
                  <a:lnTo>
                    <a:pt x="326" y="795"/>
                  </a:lnTo>
                  <a:lnTo>
                    <a:pt x="330" y="789"/>
                  </a:lnTo>
                  <a:lnTo>
                    <a:pt x="330" y="789"/>
                  </a:lnTo>
                  <a:lnTo>
                    <a:pt x="330" y="789"/>
                  </a:lnTo>
                  <a:lnTo>
                    <a:pt x="330" y="789"/>
                  </a:lnTo>
                  <a:lnTo>
                    <a:pt x="332" y="789"/>
                  </a:lnTo>
                  <a:lnTo>
                    <a:pt x="334" y="789"/>
                  </a:lnTo>
                  <a:lnTo>
                    <a:pt x="338" y="785"/>
                  </a:lnTo>
                  <a:lnTo>
                    <a:pt x="340" y="785"/>
                  </a:lnTo>
                  <a:lnTo>
                    <a:pt x="342" y="785"/>
                  </a:lnTo>
                  <a:lnTo>
                    <a:pt x="342" y="785"/>
                  </a:lnTo>
                  <a:lnTo>
                    <a:pt x="340" y="783"/>
                  </a:lnTo>
                  <a:lnTo>
                    <a:pt x="338" y="781"/>
                  </a:lnTo>
                  <a:lnTo>
                    <a:pt x="338" y="781"/>
                  </a:lnTo>
                  <a:lnTo>
                    <a:pt x="338" y="779"/>
                  </a:lnTo>
                  <a:lnTo>
                    <a:pt x="338" y="775"/>
                  </a:lnTo>
                  <a:lnTo>
                    <a:pt x="340" y="773"/>
                  </a:lnTo>
                  <a:lnTo>
                    <a:pt x="340" y="773"/>
                  </a:lnTo>
                  <a:lnTo>
                    <a:pt x="340" y="771"/>
                  </a:lnTo>
                  <a:lnTo>
                    <a:pt x="340" y="771"/>
                  </a:lnTo>
                  <a:lnTo>
                    <a:pt x="342" y="771"/>
                  </a:lnTo>
                  <a:lnTo>
                    <a:pt x="342" y="771"/>
                  </a:lnTo>
                  <a:lnTo>
                    <a:pt x="342" y="771"/>
                  </a:lnTo>
                  <a:lnTo>
                    <a:pt x="344" y="771"/>
                  </a:lnTo>
                  <a:lnTo>
                    <a:pt x="344" y="771"/>
                  </a:lnTo>
                  <a:lnTo>
                    <a:pt x="344" y="769"/>
                  </a:lnTo>
                  <a:lnTo>
                    <a:pt x="342" y="769"/>
                  </a:lnTo>
                  <a:lnTo>
                    <a:pt x="342" y="766"/>
                  </a:lnTo>
                  <a:lnTo>
                    <a:pt x="344" y="766"/>
                  </a:lnTo>
                  <a:lnTo>
                    <a:pt x="344" y="764"/>
                  </a:lnTo>
                  <a:lnTo>
                    <a:pt x="344" y="762"/>
                  </a:lnTo>
                  <a:lnTo>
                    <a:pt x="344" y="762"/>
                  </a:lnTo>
                  <a:lnTo>
                    <a:pt x="344" y="760"/>
                  </a:lnTo>
                  <a:lnTo>
                    <a:pt x="344" y="760"/>
                  </a:lnTo>
                  <a:lnTo>
                    <a:pt x="344" y="758"/>
                  </a:lnTo>
                  <a:lnTo>
                    <a:pt x="348" y="750"/>
                  </a:lnTo>
                  <a:lnTo>
                    <a:pt x="348" y="750"/>
                  </a:lnTo>
                  <a:lnTo>
                    <a:pt x="348" y="750"/>
                  </a:lnTo>
                  <a:lnTo>
                    <a:pt x="348" y="750"/>
                  </a:lnTo>
                  <a:lnTo>
                    <a:pt x="350" y="748"/>
                  </a:lnTo>
                  <a:lnTo>
                    <a:pt x="348" y="748"/>
                  </a:lnTo>
                  <a:lnTo>
                    <a:pt x="350" y="748"/>
                  </a:lnTo>
                  <a:lnTo>
                    <a:pt x="350" y="746"/>
                  </a:lnTo>
                  <a:lnTo>
                    <a:pt x="350" y="746"/>
                  </a:lnTo>
                  <a:lnTo>
                    <a:pt x="350" y="744"/>
                  </a:lnTo>
                  <a:lnTo>
                    <a:pt x="352" y="744"/>
                  </a:lnTo>
                  <a:lnTo>
                    <a:pt x="352" y="744"/>
                  </a:lnTo>
                  <a:lnTo>
                    <a:pt x="352" y="742"/>
                  </a:lnTo>
                  <a:lnTo>
                    <a:pt x="352" y="742"/>
                  </a:lnTo>
                  <a:lnTo>
                    <a:pt x="354" y="740"/>
                  </a:lnTo>
                  <a:lnTo>
                    <a:pt x="354" y="740"/>
                  </a:lnTo>
                  <a:lnTo>
                    <a:pt x="354" y="738"/>
                  </a:lnTo>
                  <a:lnTo>
                    <a:pt x="359" y="734"/>
                  </a:lnTo>
                  <a:lnTo>
                    <a:pt x="359" y="732"/>
                  </a:lnTo>
                  <a:lnTo>
                    <a:pt x="359" y="732"/>
                  </a:lnTo>
                  <a:lnTo>
                    <a:pt x="359" y="730"/>
                  </a:lnTo>
                  <a:lnTo>
                    <a:pt x="359" y="730"/>
                  </a:lnTo>
                  <a:lnTo>
                    <a:pt x="361" y="730"/>
                  </a:lnTo>
                  <a:lnTo>
                    <a:pt x="363" y="730"/>
                  </a:lnTo>
                  <a:lnTo>
                    <a:pt x="365" y="730"/>
                  </a:lnTo>
                  <a:lnTo>
                    <a:pt x="369" y="728"/>
                  </a:lnTo>
                  <a:lnTo>
                    <a:pt x="371" y="728"/>
                  </a:lnTo>
                  <a:lnTo>
                    <a:pt x="371" y="728"/>
                  </a:lnTo>
                  <a:lnTo>
                    <a:pt x="371" y="728"/>
                  </a:lnTo>
                  <a:lnTo>
                    <a:pt x="371" y="728"/>
                  </a:lnTo>
                  <a:lnTo>
                    <a:pt x="373" y="728"/>
                  </a:lnTo>
                  <a:lnTo>
                    <a:pt x="373" y="728"/>
                  </a:lnTo>
                  <a:lnTo>
                    <a:pt x="373" y="728"/>
                  </a:lnTo>
                  <a:lnTo>
                    <a:pt x="373" y="728"/>
                  </a:lnTo>
                  <a:lnTo>
                    <a:pt x="373" y="728"/>
                  </a:lnTo>
                  <a:lnTo>
                    <a:pt x="373" y="728"/>
                  </a:lnTo>
                  <a:lnTo>
                    <a:pt x="375" y="725"/>
                  </a:lnTo>
                  <a:lnTo>
                    <a:pt x="375" y="725"/>
                  </a:lnTo>
                  <a:lnTo>
                    <a:pt x="385" y="725"/>
                  </a:lnTo>
                  <a:lnTo>
                    <a:pt x="385" y="725"/>
                  </a:lnTo>
                  <a:lnTo>
                    <a:pt x="385" y="725"/>
                  </a:lnTo>
                  <a:lnTo>
                    <a:pt x="387" y="723"/>
                  </a:lnTo>
                  <a:lnTo>
                    <a:pt x="387" y="721"/>
                  </a:lnTo>
                  <a:lnTo>
                    <a:pt x="389" y="719"/>
                  </a:lnTo>
                  <a:lnTo>
                    <a:pt x="389" y="717"/>
                  </a:lnTo>
                  <a:lnTo>
                    <a:pt x="389" y="717"/>
                  </a:lnTo>
                  <a:lnTo>
                    <a:pt x="391" y="717"/>
                  </a:lnTo>
                  <a:lnTo>
                    <a:pt x="391" y="717"/>
                  </a:lnTo>
                  <a:lnTo>
                    <a:pt x="393" y="715"/>
                  </a:lnTo>
                  <a:lnTo>
                    <a:pt x="393" y="713"/>
                  </a:lnTo>
                  <a:lnTo>
                    <a:pt x="395" y="715"/>
                  </a:lnTo>
                  <a:lnTo>
                    <a:pt x="395" y="715"/>
                  </a:lnTo>
                  <a:lnTo>
                    <a:pt x="397" y="717"/>
                  </a:lnTo>
                  <a:lnTo>
                    <a:pt x="399" y="715"/>
                  </a:lnTo>
                  <a:lnTo>
                    <a:pt x="399" y="717"/>
                  </a:lnTo>
                  <a:lnTo>
                    <a:pt x="402" y="719"/>
                  </a:lnTo>
                  <a:lnTo>
                    <a:pt x="404" y="719"/>
                  </a:lnTo>
                  <a:lnTo>
                    <a:pt x="408" y="721"/>
                  </a:lnTo>
                  <a:lnTo>
                    <a:pt x="410" y="723"/>
                  </a:lnTo>
                  <a:lnTo>
                    <a:pt x="414" y="723"/>
                  </a:lnTo>
                  <a:lnTo>
                    <a:pt x="422" y="723"/>
                  </a:lnTo>
                  <a:lnTo>
                    <a:pt x="424" y="723"/>
                  </a:lnTo>
                  <a:lnTo>
                    <a:pt x="426" y="723"/>
                  </a:lnTo>
                  <a:lnTo>
                    <a:pt x="428" y="723"/>
                  </a:lnTo>
                  <a:lnTo>
                    <a:pt x="428" y="723"/>
                  </a:lnTo>
                  <a:lnTo>
                    <a:pt x="430" y="725"/>
                  </a:lnTo>
                  <a:lnTo>
                    <a:pt x="430" y="725"/>
                  </a:lnTo>
                  <a:lnTo>
                    <a:pt x="432" y="725"/>
                  </a:lnTo>
                  <a:lnTo>
                    <a:pt x="432" y="723"/>
                  </a:lnTo>
                  <a:lnTo>
                    <a:pt x="432" y="723"/>
                  </a:lnTo>
                  <a:lnTo>
                    <a:pt x="434" y="723"/>
                  </a:lnTo>
                  <a:lnTo>
                    <a:pt x="434" y="723"/>
                  </a:lnTo>
                  <a:lnTo>
                    <a:pt x="436" y="723"/>
                  </a:lnTo>
                  <a:lnTo>
                    <a:pt x="440" y="723"/>
                  </a:lnTo>
                  <a:lnTo>
                    <a:pt x="440" y="723"/>
                  </a:lnTo>
                  <a:lnTo>
                    <a:pt x="442" y="723"/>
                  </a:lnTo>
                  <a:lnTo>
                    <a:pt x="442" y="725"/>
                  </a:lnTo>
                  <a:lnTo>
                    <a:pt x="442" y="725"/>
                  </a:lnTo>
                  <a:lnTo>
                    <a:pt x="457" y="728"/>
                  </a:lnTo>
                  <a:lnTo>
                    <a:pt x="463" y="728"/>
                  </a:lnTo>
                  <a:lnTo>
                    <a:pt x="465" y="728"/>
                  </a:lnTo>
                  <a:lnTo>
                    <a:pt x="465" y="725"/>
                  </a:lnTo>
                  <a:lnTo>
                    <a:pt x="465" y="725"/>
                  </a:lnTo>
                  <a:lnTo>
                    <a:pt x="465" y="723"/>
                  </a:lnTo>
                  <a:lnTo>
                    <a:pt x="465" y="723"/>
                  </a:lnTo>
                  <a:lnTo>
                    <a:pt x="465" y="723"/>
                  </a:lnTo>
                  <a:lnTo>
                    <a:pt x="467" y="723"/>
                  </a:lnTo>
                  <a:lnTo>
                    <a:pt x="467" y="723"/>
                  </a:lnTo>
                  <a:lnTo>
                    <a:pt x="467" y="725"/>
                  </a:lnTo>
                  <a:lnTo>
                    <a:pt x="467" y="725"/>
                  </a:lnTo>
                  <a:lnTo>
                    <a:pt x="467" y="728"/>
                  </a:lnTo>
                  <a:lnTo>
                    <a:pt x="467" y="728"/>
                  </a:lnTo>
                  <a:lnTo>
                    <a:pt x="469" y="730"/>
                  </a:lnTo>
                  <a:lnTo>
                    <a:pt x="469" y="728"/>
                  </a:lnTo>
                  <a:lnTo>
                    <a:pt x="471" y="728"/>
                  </a:lnTo>
                  <a:lnTo>
                    <a:pt x="473" y="725"/>
                  </a:lnTo>
                  <a:lnTo>
                    <a:pt x="473" y="728"/>
                  </a:lnTo>
                  <a:lnTo>
                    <a:pt x="475" y="728"/>
                  </a:lnTo>
                  <a:lnTo>
                    <a:pt x="475" y="728"/>
                  </a:lnTo>
                  <a:lnTo>
                    <a:pt x="475" y="730"/>
                  </a:lnTo>
                  <a:lnTo>
                    <a:pt x="477" y="728"/>
                  </a:lnTo>
                  <a:lnTo>
                    <a:pt x="477" y="728"/>
                  </a:lnTo>
                  <a:lnTo>
                    <a:pt x="479" y="728"/>
                  </a:lnTo>
                  <a:lnTo>
                    <a:pt x="479" y="730"/>
                  </a:lnTo>
                  <a:lnTo>
                    <a:pt x="479" y="730"/>
                  </a:lnTo>
                  <a:lnTo>
                    <a:pt x="479" y="732"/>
                  </a:lnTo>
                  <a:lnTo>
                    <a:pt x="481" y="734"/>
                  </a:lnTo>
                  <a:lnTo>
                    <a:pt x="481" y="736"/>
                  </a:lnTo>
                  <a:lnTo>
                    <a:pt x="483" y="738"/>
                  </a:lnTo>
                  <a:lnTo>
                    <a:pt x="483" y="740"/>
                  </a:lnTo>
                  <a:lnTo>
                    <a:pt x="483" y="740"/>
                  </a:lnTo>
                  <a:lnTo>
                    <a:pt x="486" y="742"/>
                  </a:lnTo>
                  <a:lnTo>
                    <a:pt x="488" y="742"/>
                  </a:lnTo>
                  <a:lnTo>
                    <a:pt x="490" y="742"/>
                  </a:lnTo>
                  <a:lnTo>
                    <a:pt x="488" y="744"/>
                  </a:lnTo>
                  <a:lnTo>
                    <a:pt x="488" y="746"/>
                  </a:lnTo>
                  <a:lnTo>
                    <a:pt x="488" y="748"/>
                  </a:lnTo>
                  <a:lnTo>
                    <a:pt x="488" y="748"/>
                  </a:lnTo>
                  <a:lnTo>
                    <a:pt x="490" y="746"/>
                  </a:lnTo>
                  <a:lnTo>
                    <a:pt x="492" y="744"/>
                  </a:lnTo>
                  <a:lnTo>
                    <a:pt x="496" y="744"/>
                  </a:lnTo>
                  <a:lnTo>
                    <a:pt x="496" y="746"/>
                  </a:lnTo>
                  <a:lnTo>
                    <a:pt x="496" y="748"/>
                  </a:lnTo>
                  <a:lnTo>
                    <a:pt x="496" y="752"/>
                  </a:lnTo>
                  <a:lnTo>
                    <a:pt x="496" y="754"/>
                  </a:lnTo>
                  <a:lnTo>
                    <a:pt x="498" y="754"/>
                  </a:lnTo>
                  <a:lnTo>
                    <a:pt x="498" y="754"/>
                  </a:lnTo>
                  <a:lnTo>
                    <a:pt x="500" y="754"/>
                  </a:lnTo>
                  <a:lnTo>
                    <a:pt x="500" y="756"/>
                  </a:lnTo>
                  <a:lnTo>
                    <a:pt x="502" y="758"/>
                  </a:lnTo>
                  <a:lnTo>
                    <a:pt x="504" y="760"/>
                  </a:lnTo>
                  <a:lnTo>
                    <a:pt x="510" y="762"/>
                  </a:lnTo>
                  <a:lnTo>
                    <a:pt x="514" y="762"/>
                  </a:lnTo>
                  <a:lnTo>
                    <a:pt x="514" y="764"/>
                  </a:lnTo>
                  <a:lnTo>
                    <a:pt x="514" y="766"/>
                  </a:lnTo>
                  <a:lnTo>
                    <a:pt x="514" y="769"/>
                  </a:lnTo>
                  <a:lnTo>
                    <a:pt x="514" y="771"/>
                  </a:lnTo>
                  <a:lnTo>
                    <a:pt x="516" y="771"/>
                  </a:lnTo>
                  <a:lnTo>
                    <a:pt x="516" y="773"/>
                  </a:lnTo>
                  <a:lnTo>
                    <a:pt x="518" y="773"/>
                  </a:lnTo>
                  <a:lnTo>
                    <a:pt x="524" y="777"/>
                  </a:lnTo>
                  <a:lnTo>
                    <a:pt x="526" y="779"/>
                  </a:lnTo>
                  <a:lnTo>
                    <a:pt x="529" y="781"/>
                  </a:lnTo>
                  <a:lnTo>
                    <a:pt x="529" y="781"/>
                  </a:lnTo>
                  <a:lnTo>
                    <a:pt x="535" y="783"/>
                  </a:lnTo>
                  <a:lnTo>
                    <a:pt x="537" y="785"/>
                  </a:lnTo>
                  <a:lnTo>
                    <a:pt x="537" y="787"/>
                  </a:lnTo>
                  <a:lnTo>
                    <a:pt x="539" y="789"/>
                  </a:lnTo>
                  <a:lnTo>
                    <a:pt x="539" y="793"/>
                  </a:lnTo>
                  <a:lnTo>
                    <a:pt x="539" y="793"/>
                  </a:lnTo>
                  <a:lnTo>
                    <a:pt x="543" y="797"/>
                  </a:lnTo>
                  <a:lnTo>
                    <a:pt x="545" y="799"/>
                  </a:lnTo>
                  <a:lnTo>
                    <a:pt x="545" y="799"/>
                  </a:lnTo>
                  <a:lnTo>
                    <a:pt x="545" y="799"/>
                  </a:lnTo>
                  <a:lnTo>
                    <a:pt x="547" y="799"/>
                  </a:lnTo>
                  <a:lnTo>
                    <a:pt x="547" y="799"/>
                  </a:lnTo>
                  <a:lnTo>
                    <a:pt x="549" y="801"/>
                  </a:lnTo>
                  <a:lnTo>
                    <a:pt x="549" y="807"/>
                  </a:lnTo>
                  <a:lnTo>
                    <a:pt x="551" y="812"/>
                  </a:lnTo>
                  <a:lnTo>
                    <a:pt x="551" y="814"/>
                  </a:lnTo>
                  <a:lnTo>
                    <a:pt x="551" y="816"/>
                  </a:lnTo>
                  <a:lnTo>
                    <a:pt x="551" y="818"/>
                  </a:lnTo>
                  <a:lnTo>
                    <a:pt x="551" y="818"/>
                  </a:lnTo>
                  <a:lnTo>
                    <a:pt x="551" y="820"/>
                  </a:lnTo>
                  <a:lnTo>
                    <a:pt x="551" y="820"/>
                  </a:lnTo>
                  <a:lnTo>
                    <a:pt x="553" y="822"/>
                  </a:lnTo>
                  <a:lnTo>
                    <a:pt x="553" y="822"/>
                  </a:lnTo>
                  <a:lnTo>
                    <a:pt x="555" y="824"/>
                  </a:lnTo>
                  <a:lnTo>
                    <a:pt x="555" y="826"/>
                  </a:lnTo>
                  <a:lnTo>
                    <a:pt x="555" y="826"/>
                  </a:lnTo>
                  <a:lnTo>
                    <a:pt x="557" y="826"/>
                  </a:lnTo>
                  <a:lnTo>
                    <a:pt x="557" y="826"/>
                  </a:lnTo>
                  <a:lnTo>
                    <a:pt x="557" y="828"/>
                  </a:lnTo>
                  <a:lnTo>
                    <a:pt x="557" y="828"/>
                  </a:lnTo>
                  <a:lnTo>
                    <a:pt x="557" y="830"/>
                  </a:lnTo>
                  <a:lnTo>
                    <a:pt x="557" y="830"/>
                  </a:lnTo>
                  <a:lnTo>
                    <a:pt x="559" y="830"/>
                  </a:lnTo>
                  <a:lnTo>
                    <a:pt x="559" y="830"/>
                  </a:lnTo>
                  <a:lnTo>
                    <a:pt x="559" y="830"/>
                  </a:lnTo>
                  <a:lnTo>
                    <a:pt x="561" y="832"/>
                  </a:lnTo>
                  <a:lnTo>
                    <a:pt x="561" y="832"/>
                  </a:lnTo>
                  <a:lnTo>
                    <a:pt x="561" y="834"/>
                  </a:lnTo>
                  <a:lnTo>
                    <a:pt x="563" y="844"/>
                  </a:lnTo>
                  <a:lnTo>
                    <a:pt x="565" y="846"/>
                  </a:lnTo>
                  <a:lnTo>
                    <a:pt x="569" y="850"/>
                  </a:lnTo>
                  <a:lnTo>
                    <a:pt x="569" y="853"/>
                  </a:lnTo>
                  <a:lnTo>
                    <a:pt x="569" y="853"/>
                  </a:lnTo>
                  <a:lnTo>
                    <a:pt x="572" y="855"/>
                  </a:lnTo>
                  <a:lnTo>
                    <a:pt x="574" y="855"/>
                  </a:lnTo>
                  <a:lnTo>
                    <a:pt x="574" y="857"/>
                  </a:lnTo>
                  <a:lnTo>
                    <a:pt x="574" y="859"/>
                  </a:lnTo>
                  <a:lnTo>
                    <a:pt x="574" y="861"/>
                  </a:lnTo>
                  <a:lnTo>
                    <a:pt x="574" y="863"/>
                  </a:lnTo>
                  <a:lnTo>
                    <a:pt x="576" y="863"/>
                  </a:lnTo>
                  <a:lnTo>
                    <a:pt x="580" y="865"/>
                  </a:lnTo>
                  <a:lnTo>
                    <a:pt x="580" y="865"/>
                  </a:lnTo>
                  <a:lnTo>
                    <a:pt x="578" y="867"/>
                  </a:lnTo>
                  <a:lnTo>
                    <a:pt x="578" y="867"/>
                  </a:lnTo>
                  <a:lnTo>
                    <a:pt x="578" y="869"/>
                  </a:lnTo>
                  <a:lnTo>
                    <a:pt x="578" y="869"/>
                  </a:lnTo>
                  <a:lnTo>
                    <a:pt x="578" y="871"/>
                  </a:lnTo>
                  <a:lnTo>
                    <a:pt x="580" y="871"/>
                  </a:lnTo>
                  <a:lnTo>
                    <a:pt x="580" y="875"/>
                  </a:lnTo>
                  <a:lnTo>
                    <a:pt x="580" y="879"/>
                  </a:lnTo>
                  <a:lnTo>
                    <a:pt x="584" y="881"/>
                  </a:lnTo>
                  <a:lnTo>
                    <a:pt x="584" y="885"/>
                  </a:lnTo>
                  <a:lnTo>
                    <a:pt x="584" y="887"/>
                  </a:lnTo>
                  <a:lnTo>
                    <a:pt x="584" y="889"/>
                  </a:lnTo>
                  <a:lnTo>
                    <a:pt x="584" y="891"/>
                  </a:lnTo>
                  <a:lnTo>
                    <a:pt x="586" y="891"/>
                  </a:lnTo>
                  <a:lnTo>
                    <a:pt x="588" y="894"/>
                  </a:lnTo>
                  <a:lnTo>
                    <a:pt x="590" y="894"/>
                  </a:lnTo>
                  <a:lnTo>
                    <a:pt x="592" y="894"/>
                  </a:lnTo>
                  <a:lnTo>
                    <a:pt x="592" y="896"/>
                  </a:lnTo>
                  <a:lnTo>
                    <a:pt x="592" y="896"/>
                  </a:lnTo>
                  <a:lnTo>
                    <a:pt x="592" y="898"/>
                  </a:lnTo>
                  <a:lnTo>
                    <a:pt x="592" y="900"/>
                  </a:lnTo>
                  <a:lnTo>
                    <a:pt x="594" y="900"/>
                  </a:lnTo>
                  <a:lnTo>
                    <a:pt x="604" y="904"/>
                  </a:lnTo>
                  <a:lnTo>
                    <a:pt x="606" y="906"/>
                  </a:lnTo>
                  <a:lnTo>
                    <a:pt x="606" y="908"/>
                  </a:lnTo>
                  <a:lnTo>
                    <a:pt x="606" y="910"/>
                  </a:lnTo>
                  <a:lnTo>
                    <a:pt x="606" y="910"/>
                  </a:lnTo>
                  <a:lnTo>
                    <a:pt x="608" y="912"/>
                  </a:lnTo>
                  <a:lnTo>
                    <a:pt x="608" y="912"/>
                  </a:lnTo>
                  <a:lnTo>
                    <a:pt x="610" y="912"/>
                  </a:lnTo>
                  <a:lnTo>
                    <a:pt x="610" y="914"/>
                  </a:lnTo>
                  <a:lnTo>
                    <a:pt x="610" y="914"/>
                  </a:lnTo>
                  <a:lnTo>
                    <a:pt x="610" y="914"/>
                  </a:lnTo>
                  <a:lnTo>
                    <a:pt x="610" y="916"/>
                  </a:lnTo>
                  <a:lnTo>
                    <a:pt x="610" y="918"/>
                  </a:lnTo>
                  <a:lnTo>
                    <a:pt x="612" y="920"/>
                  </a:lnTo>
                  <a:lnTo>
                    <a:pt x="612" y="922"/>
                  </a:lnTo>
                  <a:lnTo>
                    <a:pt x="615" y="922"/>
                  </a:lnTo>
                  <a:lnTo>
                    <a:pt x="617" y="922"/>
                  </a:lnTo>
                  <a:lnTo>
                    <a:pt x="619" y="922"/>
                  </a:lnTo>
                  <a:lnTo>
                    <a:pt x="617" y="924"/>
                  </a:lnTo>
                  <a:lnTo>
                    <a:pt x="617" y="926"/>
                  </a:lnTo>
                  <a:lnTo>
                    <a:pt x="619" y="928"/>
                  </a:lnTo>
                  <a:lnTo>
                    <a:pt x="621" y="930"/>
                  </a:lnTo>
                  <a:lnTo>
                    <a:pt x="623" y="930"/>
                  </a:lnTo>
                  <a:lnTo>
                    <a:pt x="623" y="930"/>
                  </a:lnTo>
                  <a:lnTo>
                    <a:pt x="623" y="932"/>
                  </a:lnTo>
                  <a:lnTo>
                    <a:pt x="621" y="935"/>
                  </a:lnTo>
                  <a:lnTo>
                    <a:pt x="621" y="935"/>
                  </a:lnTo>
                  <a:lnTo>
                    <a:pt x="623" y="937"/>
                  </a:lnTo>
                  <a:lnTo>
                    <a:pt x="623" y="937"/>
                  </a:lnTo>
                  <a:lnTo>
                    <a:pt x="625" y="937"/>
                  </a:lnTo>
                  <a:lnTo>
                    <a:pt x="625" y="939"/>
                  </a:lnTo>
                  <a:lnTo>
                    <a:pt x="625" y="941"/>
                  </a:lnTo>
                  <a:lnTo>
                    <a:pt x="625" y="941"/>
                  </a:lnTo>
                  <a:lnTo>
                    <a:pt x="625" y="941"/>
                  </a:lnTo>
                  <a:lnTo>
                    <a:pt x="625" y="943"/>
                  </a:lnTo>
                  <a:lnTo>
                    <a:pt x="627" y="945"/>
                  </a:lnTo>
                  <a:lnTo>
                    <a:pt x="627" y="945"/>
                  </a:lnTo>
                  <a:lnTo>
                    <a:pt x="629" y="945"/>
                  </a:lnTo>
                  <a:lnTo>
                    <a:pt x="631" y="947"/>
                  </a:lnTo>
                  <a:lnTo>
                    <a:pt x="631" y="947"/>
                  </a:lnTo>
                  <a:lnTo>
                    <a:pt x="633" y="949"/>
                  </a:lnTo>
                  <a:lnTo>
                    <a:pt x="633" y="949"/>
                  </a:lnTo>
                  <a:lnTo>
                    <a:pt x="635" y="949"/>
                  </a:lnTo>
                  <a:lnTo>
                    <a:pt x="635" y="951"/>
                  </a:lnTo>
                  <a:lnTo>
                    <a:pt x="637" y="951"/>
                  </a:lnTo>
                  <a:lnTo>
                    <a:pt x="637" y="953"/>
                  </a:lnTo>
                  <a:lnTo>
                    <a:pt x="637" y="953"/>
                  </a:lnTo>
                  <a:lnTo>
                    <a:pt x="637" y="955"/>
                  </a:lnTo>
                  <a:lnTo>
                    <a:pt x="639" y="957"/>
                  </a:lnTo>
                  <a:lnTo>
                    <a:pt x="639" y="957"/>
                  </a:lnTo>
                  <a:lnTo>
                    <a:pt x="643" y="957"/>
                  </a:lnTo>
                  <a:lnTo>
                    <a:pt x="643" y="957"/>
                  </a:lnTo>
                  <a:lnTo>
                    <a:pt x="645" y="959"/>
                  </a:lnTo>
                  <a:lnTo>
                    <a:pt x="645" y="959"/>
                  </a:lnTo>
                  <a:lnTo>
                    <a:pt x="645" y="959"/>
                  </a:lnTo>
                  <a:lnTo>
                    <a:pt x="647" y="959"/>
                  </a:lnTo>
                  <a:lnTo>
                    <a:pt x="649" y="959"/>
                  </a:lnTo>
                  <a:lnTo>
                    <a:pt x="649" y="959"/>
                  </a:lnTo>
                  <a:lnTo>
                    <a:pt x="651" y="961"/>
                  </a:lnTo>
                  <a:lnTo>
                    <a:pt x="651" y="961"/>
                  </a:lnTo>
                  <a:lnTo>
                    <a:pt x="653" y="961"/>
                  </a:lnTo>
                  <a:lnTo>
                    <a:pt x="655" y="963"/>
                  </a:lnTo>
                  <a:lnTo>
                    <a:pt x="658" y="965"/>
                  </a:lnTo>
                  <a:lnTo>
                    <a:pt x="658" y="965"/>
                  </a:lnTo>
                  <a:lnTo>
                    <a:pt x="658" y="971"/>
                  </a:lnTo>
                  <a:lnTo>
                    <a:pt x="658" y="973"/>
                  </a:lnTo>
                  <a:lnTo>
                    <a:pt x="658" y="973"/>
                  </a:lnTo>
                  <a:lnTo>
                    <a:pt x="658" y="975"/>
                  </a:lnTo>
                  <a:lnTo>
                    <a:pt x="660" y="975"/>
                  </a:lnTo>
                  <a:lnTo>
                    <a:pt x="662" y="975"/>
                  </a:lnTo>
                  <a:lnTo>
                    <a:pt x="662" y="975"/>
                  </a:lnTo>
                  <a:lnTo>
                    <a:pt x="662" y="978"/>
                  </a:lnTo>
                  <a:lnTo>
                    <a:pt x="662" y="978"/>
                  </a:lnTo>
                  <a:lnTo>
                    <a:pt x="662" y="982"/>
                  </a:lnTo>
                  <a:lnTo>
                    <a:pt x="662" y="984"/>
                  </a:lnTo>
                  <a:lnTo>
                    <a:pt x="660" y="986"/>
                  </a:lnTo>
                  <a:lnTo>
                    <a:pt x="660" y="988"/>
                  </a:lnTo>
                  <a:lnTo>
                    <a:pt x="660" y="990"/>
                  </a:lnTo>
                  <a:lnTo>
                    <a:pt x="660" y="990"/>
                  </a:lnTo>
                  <a:lnTo>
                    <a:pt x="660" y="992"/>
                  </a:lnTo>
                  <a:lnTo>
                    <a:pt x="658" y="994"/>
                  </a:lnTo>
                  <a:lnTo>
                    <a:pt x="658" y="994"/>
                  </a:lnTo>
                  <a:lnTo>
                    <a:pt x="658" y="994"/>
                  </a:lnTo>
                  <a:lnTo>
                    <a:pt x="660" y="996"/>
                  </a:lnTo>
                  <a:lnTo>
                    <a:pt x="660" y="996"/>
                  </a:lnTo>
                  <a:lnTo>
                    <a:pt x="660" y="996"/>
                  </a:lnTo>
                  <a:lnTo>
                    <a:pt x="660" y="998"/>
                  </a:lnTo>
                  <a:lnTo>
                    <a:pt x="662" y="998"/>
                  </a:lnTo>
                  <a:lnTo>
                    <a:pt x="662" y="998"/>
                  </a:lnTo>
                  <a:lnTo>
                    <a:pt x="662" y="998"/>
                  </a:lnTo>
                  <a:lnTo>
                    <a:pt x="664" y="1000"/>
                  </a:lnTo>
                  <a:lnTo>
                    <a:pt x="664" y="1002"/>
                  </a:lnTo>
                  <a:lnTo>
                    <a:pt x="666" y="1004"/>
                  </a:lnTo>
                  <a:lnTo>
                    <a:pt x="666" y="1006"/>
                  </a:lnTo>
                  <a:lnTo>
                    <a:pt x="666" y="1008"/>
                  </a:lnTo>
                  <a:lnTo>
                    <a:pt x="664" y="1012"/>
                  </a:lnTo>
                  <a:lnTo>
                    <a:pt x="664" y="1014"/>
                  </a:lnTo>
                  <a:lnTo>
                    <a:pt x="664" y="1014"/>
                  </a:lnTo>
                  <a:lnTo>
                    <a:pt x="664" y="1016"/>
                  </a:lnTo>
                  <a:lnTo>
                    <a:pt x="664" y="1016"/>
                  </a:lnTo>
                  <a:lnTo>
                    <a:pt x="666" y="1016"/>
                  </a:lnTo>
                  <a:lnTo>
                    <a:pt x="664" y="1019"/>
                  </a:lnTo>
                  <a:lnTo>
                    <a:pt x="662" y="1023"/>
                  </a:lnTo>
                  <a:lnTo>
                    <a:pt x="664" y="1025"/>
                  </a:lnTo>
                  <a:lnTo>
                    <a:pt x="666" y="1025"/>
                  </a:lnTo>
                  <a:lnTo>
                    <a:pt x="666" y="1027"/>
                  </a:lnTo>
                  <a:lnTo>
                    <a:pt x="668" y="1027"/>
                  </a:lnTo>
                  <a:lnTo>
                    <a:pt x="668" y="1027"/>
                  </a:lnTo>
                  <a:lnTo>
                    <a:pt x="668" y="1027"/>
                  </a:lnTo>
                  <a:lnTo>
                    <a:pt x="670" y="1027"/>
                  </a:lnTo>
                  <a:lnTo>
                    <a:pt x="670" y="1029"/>
                  </a:lnTo>
                  <a:lnTo>
                    <a:pt x="670" y="1031"/>
                  </a:lnTo>
                  <a:lnTo>
                    <a:pt x="670" y="1033"/>
                  </a:lnTo>
                  <a:lnTo>
                    <a:pt x="672" y="1033"/>
                  </a:lnTo>
                  <a:lnTo>
                    <a:pt x="674" y="1037"/>
                  </a:lnTo>
                  <a:lnTo>
                    <a:pt x="676" y="1037"/>
                  </a:lnTo>
                  <a:lnTo>
                    <a:pt x="678" y="1041"/>
                  </a:lnTo>
                  <a:lnTo>
                    <a:pt x="680" y="1043"/>
                  </a:lnTo>
                  <a:lnTo>
                    <a:pt x="682" y="1045"/>
                  </a:lnTo>
                  <a:lnTo>
                    <a:pt x="684" y="1047"/>
                  </a:lnTo>
                  <a:lnTo>
                    <a:pt x="684" y="1051"/>
                  </a:lnTo>
                  <a:lnTo>
                    <a:pt x="686" y="1055"/>
                  </a:lnTo>
                  <a:lnTo>
                    <a:pt x="690" y="1068"/>
                  </a:lnTo>
                  <a:lnTo>
                    <a:pt x="690" y="1070"/>
                  </a:lnTo>
                  <a:lnTo>
                    <a:pt x="690" y="1074"/>
                  </a:lnTo>
                  <a:lnTo>
                    <a:pt x="692" y="1078"/>
                  </a:lnTo>
                  <a:lnTo>
                    <a:pt x="694" y="1078"/>
                  </a:lnTo>
                  <a:lnTo>
                    <a:pt x="696" y="1078"/>
                  </a:lnTo>
                  <a:lnTo>
                    <a:pt x="699" y="1080"/>
                  </a:lnTo>
                  <a:lnTo>
                    <a:pt x="699" y="1084"/>
                  </a:lnTo>
                  <a:lnTo>
                    <a:pt x="699" y="1084"/>
                  </a:lnTo>
                  <a:lnTo>
                    <a:pt x="699" y="1086"/>
                  </a:lnTo>
                  <a:lnTo>
                    <a:pt x="699" y="1088"/>
                  </a:lnTo>
                  <a:lnTo>
                    <a:pt x="696" y="1088"/>
                  </a:lnTo>
                  <a:lnTo>
                    <a:pt x="699" y="1090"/>
                  </a:lnTo>
                  <a:lnTo>
                    <a:pt x="699" y="1092"/>
                  </a:lnTo>
                  <a:lnTo>
                    <a:pt x="701" y="1092"/>
                  </a:lnTo>
                  <a:lnTo>
                    <a:pt x="703" y="1092"/>
                  </a:lnTo>
                  <a:lnTo>
                    <a:pt x="705" y="1092"/>
                  </a:lnTo>
                  <a:lnTo>
                    <a:pt x="705" y="1092"/>
                  </a:lnTo>
                  <a:lnTo>
                    <a:pt x="707" y="1092"/>
                  </a:lnTo>
                  <a:lnTo>
                    <a:pt x="707" y="1092"/>
                  </a:lnTo>
                  <a:lnTo>
                    <a:pt x="707" y="1092"/>
                  </a:lnTo>
                  <a:lnTo>
                    <a:pt x="709" y="1092"/>
                  </a:lnTo>
                  <a:lnTo>
                    <a:pt x="711" y="1092"/>
                  </a:lnTo>
                  <a:lnTo>
                    <a:pt x="713" y="1092"/>
                  </a:lnTo>
                  <a:lnTo>
                    <a:pt x="713" y="1094"/>
                  </a:lnTo>
                  <a:lnTo>
                    <a:pt x="715" y="1092"/>
                  </a:lnTo>
                  <a:lnTo>
                    <a:pt x="719" y="1096"/>
                  </a:lnTo>
                  <a:lnTo>
                    <a:pt x="721" y="1094"/>
                  </a:lnTo>
                  <a:lnTo>
                    <a:pt x="721" y="1096"/>
                  </a:lnTo>
                  <a:lnTo>
                    <a:pt x="723" y="1096"/>
                  </a:lnTo>
                  <a:lnTo>
                    <a:pt x="723" y="1096"/>
                  </a:lnTo>
                  <a:lnTo>
                    <a:pt x="723" y="1094"/>
                  </a:lnTo>
                  <a:lnTo>
                    <a:pt x="723" y="1094"/>
                  </a:lnTo>
                  <a:lnTo>
                    <a:pt x="725" y="1096"/>
                  </a:lnTo>
                  <a:lnTo>
                    <a:pt x="725" y="1096"/>
                  </a:lnTo>
                  <a:lnTo>
                    <a:pt x="727" y="1094"/>
                  </a:lnTo>
                  <a:lnTo>
                    <a:pt x="727" y="1094"/>
                  </a:lnTo>
                  <a:lnTo>
                    <a:pt x="727" y="1096"/>
                  </a:lnTo>
                  <a:lnTo>
                    <a:pt x="729" y="1096"/>
                  </a:lnTo>
                  <a:lnTo>
                    <a:pt x="733" y="1098"/>
                  </a:lnTo>
                  <a:lnTo>
                    <a:pt x="733" y="1100"/>
                  </a:lnTo>
                  <a:lnTo>
                    <a:pt x="733" y="1103"/>
                  </a:lnTo>
                  <a:lnTo>
                    <a:pt x="735" y="1103"/>
                  </a:lnTo>
                  <a:lnTo>
                    <a:pt x="735" y="1103"/>
                  </a:lnTo>
                  <a:lnTo>
                    <a:pt x="737" y="1103"/>
                  </a:lnTo>
                  <a:lnTo>
                    <a:pt x="737" y="1105"/>
                  </a:lnTo>
                  <a:lnTo>
                    <a:pt x="737" y="1105"/>
                  </a:lnTo>
                  <a:lnTo>
                    <a:pt x="737" y="1107"/>
                  </a:lnTo>
                  <a:lnTo>
                    <a:pt x="737" y="1107"/>
                  </a:lnTo>
                  <a:lnTo>
                    <a:pt x="739" y="1107"/>
                  </a:lnTo>
                  <a:lnTo>
                    <a:pt x="742" y="1109"/>
                  </a:lnTo>
                  <a:lnTo>
                    <a:pt x="742" y="1109"/>
                  </a:lnTo>
                  <a:lnTo>
                    <a:pt x="744" y="1109"/>
                  </a:lnTo>
                  <a:lnTo>
                    <a:pt x="748" y="1107"/>
                  </a:lnTo>
                  <a:lnTo>
                    <a:pt x="752" y="1109"/>
                  </a:lnTo>
                  <a:lnTo>
                    <a:pt x="754" y="1109"/>
                  </a:lnTo>
                  <a:lnTo>
                    <a:pt x="758" y="1111"/>
                  </a:lnTo>
                  <a:lnTo>
                    <a:pt x="760" y="1113"/>
                  </a:lnTo>
                  <a:lnTo>
                    <a:pt x="760" y="1111"/>
                  </a:lnTo>
                  <a:lnTo>
                    <a:pt x="760" y="1111"/>
                  </a:lnTo>
                  <a:lnTo>
                    <a:pt x="764" y="1111"/>
                  </a:lnTo>
                  <a:lnTo>
                    <a:pt x="766" y="1113"/>
                  </a:lnTo>
                  <a:lnTo>
                    <a:pt x="770" y="1113"/>
                  </a:lnTo>
                  <a:lnTo>
                    <a:pt x="768" y="1115"/>
                  </a:lnTo>
                  <a:lnTo>
                    <a:pt x="768" y="1117"/>
                  </a:lnTo>
                  <a:lnTo>
                    <a:pt x="770" y="1117"/>
                  </a:lnTo>
                  <a:lnTo>
                    <a:pt x="772" y="1117"/>
                  </a:lnTo>
                  <a:lnTo>
                    <a:pt x="772" y="1119"/>
                  </a:lnTo>
                  <a:lnTo>
                    <a:pt x="774" y="1121"/>
                  </a:lnTo>
                  <a:lnTo>
                    <a:pt x="776" y="1123"/>
                  </a:lnTo>
                  <a:lnTo>
                    <a:pt x="785" y="1125"/>
                  </a:lnTo>
                  <a:lnTo>
                    <a:pt x="787" y="1127"/>
                  </a:lnTo>
                  <a:lnTo>
                    <a:pt x="791" y="1127"/>
                  </a:lnTo>
                  <a:lnTo>
                    <a:pt x="795" y="1125"/>
                  </a:lnTo>
                  <a:lnTo>
                    <a:pt x="797" y="1127"/>
                  </a:lnTo>
                  <a:lnTo>
                    <a:pt x="799" y="1129"/>
                  </a:lnTo>
                  <a:lnTo>
                    <a:pt x="799" y="1129"/>
                  </a:lnTo>
                  <a:lnTo>
                    <a:pt x="801" y="1129"/>
                  </a:lnTo>
                  <a:lnTo>
                    <a:pt x="805" y="1127"/>
                  </a:lnTo>
                  <a:lnTo>
                    <a:pt x="805" y="1127"/>
                  </a:lnTo>
                  <a:lnTo>
                    <a:pt x="811" y="1127"/>
                  </a:lnTo>
                  <a:lnTo>
                    <a:pt x="817" y="1127"/>
                  </a:lnTo>
                  <a:lnTo>
                    <a:pt x="825" y="1127"/>
                  </a:lnTo>
                  <a:lnTo>
                    <a:pt x="828" y="1127"/>
                  </a:lnTo>
                  <a:lnTo>
                    <a:pt x="828" y="1129"/>
                  </a:lnTo>
                  <a:lnTo>
                    <a:pt x="828" y="1129"/>
                  </a:lnTo>
                  <a:lnTo>
                    <a:pt x="838" y="1129"/>
                  </a:lnTo>
                  <a:lnTo>
                    <a:pt x="838" y="1129"/>
                  </a:lnTo>
                  <a:lnTo>
                    <a:pt x="840" y="1131"/>
                  </a:lnTo>
                  <a:lnTo>
                    <a:pt x="842" y="1131"/>
                  </a:lnTo>
                  <a:lnTo>
                    <a:pt x="844" y="1133"/>
                  </a:lnTo>
                  <a:lnTo>
                    <a:pt x="844" y="1135"/>
                  </a:lnTo>
                  <a:lnTo>
                    <a:pt x="846" y="1137"/>
                  </a:lnTo>
                  <a:lnTo>
                    <a:pt x="848" y="1137"/>
                  </a:lnTo>
                  <a:lnTo>
                    <a:pt x="852" y="1141"/>
                  </a:lnTo>
                  <a:lnTo>
                    <a:pt x="854" y="1144"/>
                  </a:lnTo>
                  <a:lnTo>
                    <a:pt x="856" y="1144"/>
                  </a:lnTo>
                  <a:lnTo>
                    <a:pt x="858" y="1144"/>
                  </a:lnTo>
                  <a:lnTo>
                    <a:pt x="860" y="1144"/>
                  </a:lnTo>
                  <a:lnTo>
                    <a:pt x="860" y="1146"/>
                  </a:lnTo>
                  <a:lnTo>
                    <a:pt x="860" y="1148"/>
                  </a:lnTo>
                  <a:lnTo>
                    <a:pt x="862" y="1148"/>
                  </a:lnTo>
                  <a:lnTo>
                    <a:pt x="864" y="1148"/>
                  </a:lnTo>
                  <a:lnTo>
                    <a:pt x="864" y="1148"/>
                  </a:lnTo>
                  <a:lnTo>
                    <a:pt x="864" y="1148"/>
                  </a:lnTo>
                  <a:lnTo>
                    <a:pt x="864" y="1148"/>
                  </a:lnTo>
                  <a:lnTo>
                    <a:pt x="864" y="1148"/>
                  </a:lnTo>
                  <a:lnTo>
                    <a:pt x="864" y="1148"/>
                  </a:lnTo>
                  <a:lnTo>
                    <a:pt x="864" y="1148"/>
                  </a:lnTo>
                  <a:lnTo>
                    <a:pt x="866" y="1148"/>
                  </a:lnTo>
                  <a:lnTo>
                    <a:pt x="866" y="1148"/>
                  </a:lnTo>
                  <a:lnTo>
                    <a:pt x="866" y="1150"/>
                  </a:lnTo>
                  <a:lnTo>
                    <a:pt x="868" y="1150"/>
                  </a:lnTo>
                  <a:lnTo>
                    <a:pt x="871" y="1148"/>
                  </a:lnTo>
                  <a:lnTo>
                    <a:pt x="871" y="1146"/>
                  </a:lnTo>
                  <a:lnTo>
                    <a:pt x="868" y="1144"/>
                  </a:lnTo>
                  <a:lnTo>
                    <a:pt x="868" y="1141"/>
                  </a:lnTo>
                  <a:lnTo>
                    <a:pt x="868" y="1141"/>
                  </a:lnTo>
                  <a:lnTo>
                    <a:pt x="868" y="1141"/>
                  </a:lnTo>
                  <a:lnTo>
                    <a:pt x="871" y="1139"/>
                  </a:lnTo>
                  <a:lnTo>
                    <a:pt x="873" y="1141"/>
                  </a:lnTo>
                  <a:lnTo>
                    <a:pt x="875" y="1139"/>
                  </a:lnTo>
                  <a:lnTo>
                    <a:pt x="877" y="1139"/>
                  </a:lnTo>
                  <a:lnTo>
                    <a:pt x="877" y="1137"/>
                  </a:lnTo>
                  <a:lnTo>
                    <a:pt x="877" y="1137"/>
                  </a:lnTo>
                  <a:lnTo>
                    <a:pt x="877" y="1137"/>
                  </a:lnTo>
                  <a:lnTo>
                    <a:pt x="877" y="1137"/>
                  </a:lnTo>
                  <a:lnTo>
                    <a:pt x="879" y="1135"/>
                  </a:lnTo>
                  <a:lnTo>
                    <a:pt x="883" y="1137"/>
                  </a:lnTo>
                  <a:lnTo>
                    <a:pt x="889" y="1135"/>
                  </a:lnTo>
                  <a:lnTo>
                    <a:pt x="889" y="1135"/>
                  </a:lnTo>
                  <a:lnTo>
                    <a:pt x="889" y="1129"/>
                  </a:lnTo>
                  <a:lnTo>
                    <a:pt x="889" y="1127"/>
                  </a:lnTo>
                  <a:lnTo>
                    <a:pt x="889" y="1123"/>
                  </a:lnTo>
                  <a:lnTo>
                    <a:pt x="887" y="1123"/>
                  </a:lnTo>
                  <a:lnTo>
                    <a:pt x="885" y="1125"/>
                  </a:lnTo>
                  <a:lnTo>
                    <a:pt x="885" y="1125"/>
                  </a:lnTo>
                  <a:lnTo>
                    <a:pt x="885" y="1127"/>
                  </a:lnTo>
                  <a:lnTo>
                    <a:pt x="885" y="1129"/>
                  </a:lnTo>
                  <a:lnTo>
                    <a:pt x="885" y="1131"/>
                  </a:lnTo>
                  <a:lnTo>
                    <a:pt x="883" y="1131"/>
                  </a:lnTo>
                  <a:lnTo>
                    <a:pt x="881" y="1133"/>
                  </a:lnTo>
                  <a:lnTo>
                    <a:pt x="881" y="1133"/>
                  </a:lnTo>
                  <a:lnTo>
                    <a:pt x="881" y="1133"/>
                  </a:lnTo>
                  <a:lnTo>
                    <a:pt x="881" y="1133"/>
                  </a:lnTo>
                  <a:lnTo>
                    <a:pt x="879" y="1133"/>
                  </a:lnTo>
                  <a:lnTo>
                    <a:pt x="879" y="1133"/>
                  </a:lnTo>
                  <a:lnTo>
                    <a:pt x="879" y="1133"/>
                  </a:lnTo>
                  <a:lnTo>
                    <a:pt x="879" y="1131"/>
                  </a:lnTo>
                  <a:lnTo>
                    <a:pt x="879" y="1129"/>
                  </a:lnTo>
                  <a:lnTo>
                    <a:pt x="879" y="1127"/>
                  </a:lnTo>
                  <a:lnTo>
                    <a:pt x="879" y="1125"/>
                  </a:lnTo>
                  <a:lnTo>
                    <a:pt x="881" y="1125"/>
                  </a:lnTo>
                  <a:lnTo>
                    <a:pt x="881" y="1125"/>
                  </a:lnTo>
                  <a:lnTo>
                    <a:pt x="883" y="1123"/>
                  </a:lnTo>
                  <a:lnTo>
                    <a:pt x="883" y="1123"/>
                  </a:lnTo>
                  <a:lnTo>
                    <a:pt x="881" y="1121"/>
                  </a:lnTo>
                  <a:lnTo>
                    <a:pt x="881" y="1121"/>
                  </a:lnTo>
                  <a:lnTo>
                    <a:pt x="877" y="1121"/>
                  </a:lnTo>
                  <a:lnTo>
                    <a:pt x="877" y="1121"/>
                  </a:lnTo>
                  <a:lnTo>
                    <a:pt x="875" y="1121"/>
                  </a:lnTo>
                  <a:lnTo>
                    <a:pt x="875" y="1121"/>
                  </a:lnTo>
                  <a:lnTo>
                    <a:pt x="875" y="1121"/>
                  </a:lnTo>
                  <a:lnTo>
                    <a:pt x="873" y="1119"/>
                  </a:lnTo>
                  <a:lnTo>
                    <a:pt x="873" y="1117"/>
                  </a:lnTo>
                  <a:lnTo>
                    <a:pt x="873" y="1113"/>
                  </a:lnTo>
                  <a:lnTo>
                    <a:pt x="873" y="1111"/>
                  </a:lnTo>
                  <a:lnTo>
                    <a:pt x="871" y="1109"/>
                  </a:lnTo>
                  <a:lnTo>
                    <a:pt x="871" y="1109"/>
                  </a:lnTo>
                  <a:lnTo>
                    <a:pt x="871" y="1107"/>
                  </a:lnTo>
                  <a:lnTo>
                    <a:pt x="871" y="1105"/>
                  </a:lnTo>
                  <a:lnTo>
                    <a:pt x="871" y="1105"/>
                  </a:lnTo>
                  <a:lnTo>
                    <a:pt x="873" y="1105"/>
                  </a:lnTo>
                  <a:lnTo>
                    <a:pt x="871" y="1103"/>
                  </a:lnTo>
                  <a:lnTo>
                    <a:pt x="871" y="1103"/>
                  </a:lnTo>
                  <a:lnTo>
                    <a:pt x="871" y="1103"/>
                  </a:lnTo>
                  <a:lnTo>
                    <a:pt x="868" y="1103"/>
                  </a:lnTo>
                  <a:lnTo>
                    <a:pt x="868" y="1103"/>
                  </a:lnTo>
                  <a:lnTo>
                    <a:pt x="866" y="1103"/>
                  </a:lnTo>
                  <a:lnTo>
                    <a:pt x="866" y="1100"/>
                  </a:lnTo>
                  <a:lnTo>
                    <a:pt x="868" y="1096"/>
                  </a:lnTo>
                  <a:lnTo>
                    <a:pt x="868" y="1096"/>
                  </a:lnTo>
                  <a:lnTo>
                    <a:pt x="868" y="1096"/>
                  </a:lnTo>
                  <a:lnTo>
                    <a:pt x="868" y="1094"/>
                  </a:lnTo>
                  <a:lnTo>
                    <a:pt x="868" y="1094"/>
                  </a:lnTo>
                  <a:lnTo>
                    <a:pt x="868" y="1094"/>
                  </a:lnTo>
                  <a:lnTo>
                    <a:pt x="866" y="1096"/>
                  </a:lnTo>
                  <a:lnTo>
                    <a:pt x="866" y="1096"/>
                  </a:lnTo>
                  <a:lnTo>
                    <a:pt x="866" y="1096"/>
                  </a:lnTo>
                  <a:lnTo>
                    <a:pt x="866" y="1096"/>
                  </a:lnTo>
                  <a:lnTo>
                    <a:pt x="864" y="1096"/>
                  </a:lnTo>
                  <a:lnTo>
                    <a:pt x="866" y="1094"/>
                  </a:lnTo>
                  <a:lnTo>
                    <a:pt x="866" y="1092"/>
                  </a:lnTo>
                  <a:lnTo>
                    <a:pt x="866" y="1092"/>
                  </a:lnTo>
                  <a:lnTo>
                    <a:pt x="864" y="1092"/>
                  </a:lnTo>
                  <a:lnTo>
                    <a:pt x="862" y="1092"/>
                  </a:lnTo>
                  <a:lnTo>
                    <a:pt x="862" y="1090"/>
                  </a:lnTo>
                  <a:lnTo>
                    <a:pt x="862" y="1088"/>
                  </a:lnTo>
                  <a:lnTo>
                    <a:pt x="862" y="1088"/>
                  </a:lnTo>
                  <a:lnTo>
                    <a:pt x="860" y="1088"/>
                  </a:lnTo>
                  <a:lnTo>
                    <a:pt x="858" y="1088"/>
                  </a:lnTo>
                  <a:lnTo>
                    <a:pt x="858" y="1088"/>
                  </a:lnTo>
                  <a:lnTo>
                    <a:pt x="858" y="1086"/>
                  </a:lnTo>
                  <a:lnTo>
                    <a:pt x="858" y="1084"/>
                  </a:lnTo>
                  <a:lnTo>
                    <a:pt x="858" y="1082"/>
                  </a:lnTo>
                  <a:lnTo>
                    <a:pt x="858" y="1080"/>
                  </a:lnTo>
                  <a:lnTo>
                    <a:pt x="856" y="1080"/>
                  </a:lnTo>
                  <a:lnTo>
                    <a:pt x="858" y="1078"/>
                  </a:lnTo>
                  <a:lnTo>
                    <a:pt x="860" y="1078"/>
                  </a:lnTo>
                  <a:lnTo>
                    <a:pt x="860" y="1076"/>
                  </a:lnTo>
                  <a:lnTo>
                    <a:pt x="860" y="1078"/>
                  </a:lnTo>
                  <a:lnTo>
                    <a:pt x="860" y="1078"/>
                  </a:lnTo>
                  <a:lnTo>
                    <a:pt x="860" y="1078"/>
                  </a:lnTo>
                  <a:lnTo>
                    <a:pt x="860" y="1076"/>
                  </a:lnTo>
                  <a:lnTo>
                    <a:pt x="858" y="1068"/>
                  </a:lnTo>
                  <a:lnTo>
                    <a:pt x="856" y="1062"/>
                  </a:lnTo>
                  <a:lnTo>
                    <a:pt x="854" y="1053"/>
                  </a:lnTo>
                  <a:lnTo>
                    <a:pt x="854" y="1049"/>
                  </a:lnTo>
                  <a:lnTo>
                    <a:pt x="854" y="1047"/>
                  </a:lnTo>
                  <a:lnTo>
                    <a:pt x="852" y="1045"/>
                  </a:lnTo>
                  <a:lnTo>
                    <a:pt x="852" y="1045"/>
                  </a:lnTo>
                  <a:lnTo>
                    <a:pt x="850" y="1045"/>
                  </a:lnTo>
                  <a:lnTo>
                    <a:pt x="848" y="1045"/>
                  </a:lnTo>
                  <a:lnTo>
                    <a:pt x="848" y="1045"/>
                  </a:lnTo>
                  <a:lnTo>
                    <a:pt x="846" y="1043"/>
                  </a:lnTo>
                  <a:lnTo>
                    <a:pt x="846" y="1041"/>
                  </a:lnTo>
                  <a:lnTo>
                    <a:pt x="846" y="1039"/>
                  </a:lnTo>
                  <a:lnTo>
                    <a:pt x="846" y="1037"/>
                  </a:lnTo>
                  <a:lnTo>
                    <a:pt x="848" y="1037"/>
                  </a:lnTo>
                  <a:lnTo>
                    <a:pt x="848" y="1037"/>
                  </a:lnTo>
                  <a:lnTo>
                    <a:pt x="852" y="1041"/>
                  </a:lnTo>
                  <a:lnTo>
                    <a:pt x="854" y="1039"/>
                  </a:lnTo>
                  <a:lnTo>
                    <a:pt x="852" y="1037"/>
                  </a:lnTo>
                  <a:lnTo>
                    <a:pt x="848" y="1035"/>
                  </a:lnTo>
                  <a:lnTo>
                    <a:pt x="848" y="1035"/>
                  </a:lnTo>
                  <a:lnTo>
                    <a:pt x="846" y="1033"/>
                  </a:lnTo>
                  <a:lnTo>
                    <a:pt x="846" y="1031"/>
                  </a:lnTo>
                  <a:lnTo>
                    <a:pt x="846" y="1027"/>
                  </a:lnTo>
                  <a:lnTo>
                    <a:pt x="846" y="1025"/>
                  </a:lnTo>
                  <a:lnTo>
                    <a:pt x="848" y="1025"/>
                  </a:lnTo>
                  <a:lnTo>
                    <a:pt x="852" y="1025"/>
                  </a:lnTo>
                  <a:lnTo>
                    <a:pt x="854" y="1023"/>
                  </a:lnTo>
                  <a:lnTo>
                    <a:pt x="854" y="1021"/>
                  </a:lnTo>
                  <a:lnTo>
                    <a:pt x="852" y="1019"/>
                  </a:lnTo>
                  <a:lnTo>
                    <a:pt x="854" y="1016"/>
                  </a:lnTo>
                  <a:lnTo>
                    <a:pt x="852" y="1016"/>
                  </a:lnTo>
                  <a:lnTo>
                    <a:pt x="852" y="1014"/>
                  </a:lnTo>
                  <a:lnTo>
                    <a:pt x="852" y="1014"/>
                  </a:lnTo>
                  <a:lnTo>
                    <a:pt x="854" y="1014"/>
                  </a:lnTo>
                  <a:lnTo>
                    <a:pt x="854" y="1012"/>
                  </a:lnTo>
                  <a:lnTo>
                    <a:pt x="856" y="1012"/>
                  </a:lnTo>
                  <a:lnTo>
                    <a:pt x="856" y="1010"/>
                  </a:lnTo>
                  <a:lnTo>
                    <a:pt x="856" y="1010"/>
                  </a:lnTo>
                  <a:lnTo>
                    <a:pt x="856" y="1008"/>
                  </a:lnTo>
                  <a:lnTo>
                    <a:pt x="856" y="1006"/>
                  </a:lnTo>
                  <a:lnTo>
                    <a:pt x="856" y="1006"/>
                  </a:lnTo>
                  <a:lnTo>
                    <a:pt x="856" y="1004"/>
                  </a:lnTo>
                  <a:lnTo>
                    <a:pt x="856" y="1002"/>
                  </a:lnTo>
                  <a:lnTo>
                    <a:pt x="856" y="1000"/>
                  </a:lnTo>
                  <a:lnTo>
                    <a:pt x="856" y="1000"/>
                  </a:lnTo>
                  <a:lnTo>
                    <a:pt x="858" y="1000"/>
                  </a:lnTo>
                  <a:lnTo>
                    <a:pt x="858" y="998"/>
                  </a:lnTo>
                  <a:lnTo>
                    <a:pt x="858" y="996"/>
                  </a:lnTo>
                  <a:lnTo>
                    <a:pt x="858" y="996"/>
                  </a:lnTo>
                  <a:lnTo>
                    <a:pt x="852" y="998"/>
                  </a:lnTo>
                  <a:lnTo>
                    <a:pt x="850" y="998"/>
                  </a:lnTo>
                  <a:lnTo>
                    <a:pt x="848" y="1000"/>
                  </a:lnTo>
                  <a:lnTo>
                    <a:pt x="846" y="1000"/>
                  </a:lnTo>
                  <a:lnTo>
                    <a:pt x="840" y="998"/>
                  </a:lnTo>
                  <a:lnTo>
                    <a:pt x="838" y="998"/>
                  </a:lnTo>
                  <a:lnTo>
                    <a:pt x="838" y="996"/>
                  </a:lnTo>
                  <a:lnTo>
                    <a:pt x="836" y="996"/>
                  </a:lnTo>
                  <a:lnTo>
                    <a:pt x="834" y="996"/>
                  </a:lnTo>
                  <a:lnTo>
                    <a:pt x="828" y="996"/>
                  </a:lnTo>
                  <a:lnTo>
                    <a:pt x="825" y="996"/>
                  </a:lnTo>
                  <a:lnTo>
                    <a:pt x="825" y="994"/>
                  </a:lnTo>
                  <a:lnTo>
                    <a:pt x="828" y="994"/>
                  </a:lnTo>
                  <a:lnTo>
                    <a:pt x="830" y="994"/>
                  </a:lnTo>
                  <a:lnTo>
                    <a:pt x="832" y="994"/>
                  </a:lnTo>
                  <a:lnTo>
                    <a:pt x="834" y="994"/>
                  </a:lnTo>
                  <a:lnTo>
                    <a:pt x="836" y="992"/>
                  </a:lnTo>
                  <a:lnTo>
                    <a:pt x="834" y="992"/>
                  </a:lnTo>
                  <a:lnTo>
                    <a:pt x="834" y="990"/>
                  </a:lnTo>
                  <a:lnTo>
                    <a:pt x="832" y="992"/>
                  </a:lnTo>
                  <a:lnTo>
                    <a:pt x="832" y="992"/>
                  </a:lnTo>
                  <a:lnTo>
                    <a:pt x="832" y="992"/>
                  </a:lnTo>
                  <a:lnTo>
                    <a:pt x="832" y="990"/>
                  </a:lnTo>
                  <a:lnTo>
                    <a:pt x="834" y="990"/>
                  </a:lnTo>
                  <a:lnTo>
                    <a:pt x="832" y="988"/>
                  </a:lnTo>
                  <a:lnTo>
                    <a:pt x="828" y="984"/>
                  </a:lnTo>
                  <a:lnTo>
                    <a:pt x="830" y="984"/>
                  </a:lnTo>
                  <a:lnTo>
                    <a:pt x="828" y="982"/>
                  </a:lnTo>
                  <a:lnTo>
                    <a:pt x="825" y="978"/>
                  </a:lnTo>
                  <a:lnTo>
                    <a:pt x="825" y="975"/>
                  </a:lnTo>
                  <a:lnTo>
                    <a:pt x="828" y="978"/>
                  </a:lnTo>
                  <a:lnTo>
                    <a:pt x="830" y="980"/>
                  </a:lnTo>
                  <a:lnTo>
                    <a:pt x="838" y="990"/>
                  </a:lnTo>
                  <a:lnTo>
                    <a:pt x="838" y="992"/>
                  </a:lnTo>
                  <a:lnTo>
                    <a:pt x="838" y="992"/>
                  </a:lnTo>
                  <a:lnTo>
                    <a:pt x="838" y="994"/>
                  </a:lnTo>
                  <a:lnTo>
                    <a:pt x="840" y="994"/>
                  </a:lnTo>
                  <a:lnTo>
                    <a:pt x="842" y="994"/>
                  </a:lnTo>
                  <a:lnTo>
                    <a:pt x="842" y="992"/>
                  </a:lnTo>
                  <a:lnTo>
                    <a:pt x="842" y="992"/>
                  </a:lnTo>
                  <a:lnTo>
                    <a:pt x="842" y="992"/>
                  </a:lnTo>
                  <a:lnTo>
                    <a:pt x="844" y="988"/>
                  </a:lnTo>
                  <a:lnTo>
                    <a:pt x="844" y="988"/>
                  </a:lnTo>
                  <a:lnTo>
                    <a:pt x="844" y="990"/>
                  </a:lnTo>
                  <a:lnTo>
                    <a:pt x="846" y="988"/>
                  </a:lnTo>
                  <a:lnTo>
                    <a:pt x="846" y="988"/>
                  </a:lnTo>
                  <a:lnTo>
                    <a:pt x="848" y="988"/>
                  </a:lnTo>
                  <a:lnTo>
                    <a:pt x="848" y="986"/>
                  </a:lnTo>
                  <a:lnTo>
                    <a:pt x="848" y="986"/>
                  </a:lnTo>
                  <a:lnTo>
                    <a:pt x="850" y="984"/>
                  </a:lnTo>
                  <a:lnTo>
                    <a:pt x="852" y="982"/>
                  </a:lnTo>
                  <a:lnTo>
                    <a:pt x="852" y="984"/>
                  </a:lnTo>
                  <a:lnTo>
                    <a:pt x="852" y="986"/>
                  </a:lnTo>
                  <a:lnTo>
                    <a:pt x="852" y="988"/>
                  </a:lnTo>
                  <a:lnTo>
                    <a:pt x="852" y="988"/>
                  </a:lnTo>
                  <a:lnTo>
                    <a:pt x="854" y="988"/>
                  </a:lnTo>
                  <a:lnTo>
                    <a:pt x="854" y="988"/>
                  </a:lnTo>
                  <a:lnTo>
                    <a:pt x="854" y="988"/>
                  </a:lnTo>
                  <a:lnTo>
                    <a:pt x="854" y="988"/>
                  </a:lnTo>
                  <a:lnTo>
                    <a:pt x="854" y="988"/>
                  </a:lnTo>
                  <a:lnTo>
                    <a:pt x="854" y="990"/>
                  </a:lnTo>
                  <a:lnTo>
                    <a:pt x="854" y="990"/>
                  </a:lnTo>
                  <a:lnTo>
                    <a:pt x="852" y="990"/>
                  </a:lnTo>
                  <a:lnTo>
                    <a:pt x="850" y="990"/>
                  </a:lnTo>
                  <a:lnTo>
                    <a:pt x="850" y="990"/>
                  </a:lnTo>
                  <a:lnTo>
                    <a:pt x="850" y="990"/>
                  </a:lnTo>
                  <a:lnTo>
                    <a:pt x="852" y="990"/>
                  </a:lnTo>
                  <a:lnTo>
                    <a:pt x="852" y="992"/>
                  </a:lnTo>
                  <a:lnTo>
                    <a:pt x="850" y="992"/>
                  </a:lnTo>
                  <a:lnTo>
                    <a:pt x="848" y="994"/>
                  </a:lnTo>
                  <a:lnTo>
                    <a:pt x="850" y="996"/>
                  </a:lnTo>
                  <a:lnTo>
                    <a:pt x="850" y="996"/>
                  </a:lnTo>
                  <a:lnTo>
                    <a:pt x="852" y="992"/>
                  </a:lnTo>
                  <a:lnTo>
                    <a:pt x="858" y="990"/>
                  </a:lnTo>
                  <a:lnTo>
                    <a:pt x="860" y="990"/>
                  </a:lnTo>
                  <a:lnTo>
                    <a:pt x="860" y="986"/>
                  </a:lnTo>
                  <a:lnTo>
                    <a:pt x="864" y="975"/>
                  </a:lnTo>
                  <a:lnTo>
                    <a:pt x="864" y="973"/>
                  </a:lnTo>
                  <a:lnTo>
                    <a:pt x="864" y="973"/>
                  </a:lnTo>
                  <a:lnTo>
                    <a:pt x="866" y="971"/>
                  </a:lnTo>
                  <a:lnTo>
                    <a:pt x="866" y="965"/>
                  </a:lnTo>
                  <a:lnTo>
                    <a:pt x="871" y="961"/>
                  </a:lnTo>
                  <a:lnTo>
                    <a:pt x="871" y="959"/>
                  </a:lnTo>
                  <a:lnTo>
                    <a:pt x="871" y="957"/>
                  </a:lnTo>
                  <a:lnTo>
                    <a:pt x="871" y="955"/>
                  </a:lnTo>
                  <a:lnTo>
                    <a:pt x="871" y="955"/>
                  </a:lnTo>
                  <a:lnTo>
                    <a:pt x="873" y="953"/>
                  </a:lnTo>
                  <a:lnTo>
                    <a:pt x="873" y="951"/>
                  </a:lnTo>
                  <a:lnTo>
                    <a:pt x="873" y="951"/>
                  </a:lnTo>
                  <a:lnTo>
                    <a:pt x="873" y="949"/>
                  </a:lnTo>
                  <a:lnTo>
                    <a:pt x="864" y="945"/>
                  </a:lnTo>
                  <a:lnTo>
                    <a:pt x="862" y="945"/>
                  </a:lnTo>
                  <a:lnTo>
                    <a:pt x="860" y="941"/>
                  </a:lnTo>
                  <a:lnTo>
                    <a:pt x="860" y="941"/>
                  </a:lnTo>
                  <a:lnTo>
                    <a:pt x="860" y="939"/>
                  </a:lnTo>
                  <a:lnTo>
                    <a:pt x="860" y="937"/>
                  </a:lnTo>
                  <a:lnTo>
                    <a:pt x="860" y="935"/>
                  </a:lnTo>
                  <a:lnTo>
                    <a:pt x="860" y="935"/>
                  </a:lnTo>
                  <a:lnTo>
                    <a:pt x="858" y="937"/>
                  </a:lnTo>
                  <a:lnTo>
                    <a:pt x="858" y="937"/>
                  </a:lnTo>
                  <a:lnTo>
                    <a:pt x="856" y="935"/>
                  </a:lnTo>
                  <a:lnTo>
                    <a:pt x="854" y="937"/>
                  </a:lnTo>
                  <a:lnTo>
                    <a:pt x="852" y="935"/>
                  </a:lnTo>
                  <a:lnTo>
                    <a:pt x="850" y="935"/>
                  </a:lnTo>
                  <a:lnTo>
                    <a:pt x="848" y="930"/>
                  </a:lnTo>
                  <a:lnTo>
                    <a:pt x="850" y="930"/>
                  </a:lnTo>
                  <a:lnTo>
                    <a:pt x="850" y="930"/>
                  </a:lnTo>
                  <a:lnTo>
                    <a:pt x="850" y="930"/>
                  </a:lnTo>
                  <a:lnTo>
                    <a:pt x="850" y="930"/>
                  </a:lnTo>
                  <a:lnTo>
                    <a:pt x="850" y="932"/>
                  </a:lnTo>
                  <a:lnTo>
                    <a:pt x="852" y="932"/>
                  </a:lnTo>
                  <a:lnTo>
                    <a:pt x="852" y="932"/>
                  </a:lnTo>
                  <a:lnTo>
                    <a:pt x="852" y="932"/>
                  </a:lnTo>
                  <a:lnTo>
                    <a:pt x="854" y="932"/>
                  </a:lnTo>
                  <a:lnTo>
                    <a:pt x="854" y="932"/>
                  </a:lnTo>
                  <a:lnTo>
                    <a:pt x="854" y="932"/>
                  </a:lnTo>
                  <a:lnTo>
                    <a:pt x="854" y="930"/>
                  </a:lnTo>
                  <a:lnTo>
                    <a:pt x="856" y="930"/>
                  </a:lnTo>
                  <a:lnTo>
                    <a:pt x="862" y="930"/>
                  </a:lnTo>
                  <a:lnTo>
                    <a:pt x="864" y="930"/>
                  </a:lnTo>
                  <a:lnTo>
                    <a:pt x="864" y="930"/>
                  </a:lnTo>
                  <a:lnTo>
                    <a:pt x="864" y="932"/>
                  </a:lnTo>
                  <a:lnTo>
                    <a:pt x="864" y="932"/>
                  </a:lnTo>
                  <a:lnTo>
                    <a:pt x="864" y="932"/>
                  </a:lnTo>
                  <a:lnTo>
                    <a:pt x="866" y="932"/>
                  </a:lnTo>
                  <a:lnTo>
                    <a:pt x="871" y="930"/>
                  </a:lnTo>
                  <a:lnTo>
                    <a:pt x="873" y="930"/>
                  </a:lnTo>
                  <a:lnTo>
                    <a:pt x="875" y="930"/>
                  </a:lnTo>
                  <a:lnTo>
                    <a:pt x="875" y="932"/>
                  </a:lnTo>
                  <a:lnTo>
                    <a:pt x="877" y="932"/>
                  </a:lnTo>
                  <a:lnTo>
                    <a:pt x="877" y="935"/>
                  </a:lnTo>
                  <a:lnTo>
                    <a:pt x="875" y="935"/>
                  </a:lnTo>
                  <a:lnTo>
                    <a:pt x="875" y="937"/>
                  </a:lnTo>
                  <a:lnTo>
                    <a:pt x="879" y="937"/>
                  </a:lnTo>
                  <a:lnTo>
                    <a:pt x="881" y="935"/>
                  </a:lnTo>
                  <a:lnTo>
                    <a:pt x="887" y="924"/>
                  </a:lnTo>
                  <a:lnTo>
                    <a:pt x="891" y="918"/>
                  </a:lnTo>
                  <a:lnTo>
                    <a:pt x="891" y="918"/>
                  </a:lnTo>
                  <a:lnTo>
                    <a:pt x="891" y="918"/>
                  </a:lnTo>
                  <a:lnTo>
                    <a:pt x="891" y="918"/>
                  </a:lnTo>
                  <a:lnTo>
                    <a:pt x="891" y="918"/>
                  </a:lnTo>
                  <a:lnTo>
                    <a:pt x="893" y="914"/>
                  </a:lnTo>
                  <a:lnTo>
                    <a:pt x="893" y="914"/>
                  </a:lnTo>
                  <a:lnTo>
                    <a:pt x="895" y="912"/>
                  </a:lnTo>
                  <a:lnTo>
                    <a:pt x="895" y="912"/>
                  </a:lnTo>
                  <a:lnTo>
                    <a:pt x="895" y="912"/>
                  </a:lnTo>
                  <a:lnTo>
                    <a:pt x="895" y="910"/>
                  </a:lnTo>
                  <a:lnTo>
                    <a:pt x="895" y="906"/>
                  </a:lnTo>
                  <a:lnTo>
                    <a:pt x="895" y="904"/>
                  </a:lnTo>
                  <a:lnTo>
                    <a:pt x="893" y="904"/>
                  </a:lnTo>
                  <a:lnTo>
                    <a:pt x="893" y="904"/>
                  </a:lnTo>
                  <a:lnTo>
                    <a:pt x="893" y="904"/>
                  </a:lnTo>
                  <a:lnTo>
                    <a:pt x="893" y="904"/>
                  </a:lnTo>
                  <a:lnTo>
                    <a:pt x="893" y="904"/>
                  </a:lnTo>
                  <a:lnTo>
                    <a:pt x="893" y="906"/>
                  </a:lnTo>
                  <a:lnTo>
                    <a:pt x="891" y="908"/>
                  </a:lnTo>
                  <a:lnTo>
                    <a:pt x="887" y="910"/>
                  </a:lnTo>
                  <a:lnTo>
                    <a:pt x="887" y="910"/>
                  </a:lnTo>
                  <a:lnTo>
                    <a:pt x="887" y="912"/>
                  </a:lnTo>
                  <a:lnTo>
                    <a:pt x="885" y="914"/>
                  </a:lnTo>
                  <a:lnTo>
                    <a:pt x="885" y="914"/>
                  </a:lnTo>
                  <a:lnTo>
                    <a:pt x="885" y="916"/>
                  </a:lnTo>
                  <a:lnTo>
                    <a:pt x="883" y="916"/>
                  </a:lnTo>
                  <a:lnTo>
                    <a:pt x="883" y="916"/>
                  </a:lnTo>
                  <a:lnTo>
                    <a:pt x="883" y="914"/>
                  </a:lnTo>
                  <a:lnTo>
                    <a:pt x="883" y="914"/>
                  </a:lnTo>
                  <a:lnTo>
                    <a:pt x="883" y="912"/>
                  </a:lnTo>
                  <a:lnTo>
                    <a:pt x="881" y="910"/>
                  </a:lnTo>
                  <a:lnTo>
                    <a:pt x="879" y="910"/>
                  </a:lnTo>
                  <a:lnTo>
                    <a:pt x="877" y="910"/>
                  </a:lnTo>
                  <a:lnTo>
                    <a:pt x="877" y="910"/>
                  </a:lnTo>
                  <a:lnTo>
                    <a:pt x="879" y="906"/>
                  </a:lnTo>
                  <a:lnTo>
                    <a:pt x="883" y="902"/>
                  </a:lnTo>
                  <a:lnTo>
                    <a:pt x="881" y="902"/>
                  </a:lnTo>
                  <a:lnTo>
                    <a:pt x="881" y="902"/>
                  </a:lnTo>
                  <a:lnTo>
                    <a:pt x="881" y="900"/>
                  </a:lnTo>
                  <a:lnTo>
                    <a:pt x="881" y="900"/>
                  </a:lnTo>
                  <a:lnTo>
                    <a:pt x="883" y="900"/>
                  </a:lnTo>
                  <a:lnTo>
                    <a:pt x="883" y="900"/>
                  </a:lnTo>
                  <a:lnTo>
                    <a:pt x="885" y="900"/>
                  </a:lnTo>
                  <a:lnTo>
                    <a:pt x="883" y="902"/>
                  </a:lnTo>
                  <a:lnTo>
                    <a:pt x="887" y="900"/>
                  </a:lnTo>
                  <a:lnTo>
                    <a:pt x="891" y="898"/>
                  </a:lnTo>
                  <a:lnTo>
                    <a:pt x="893" y="896"/>
                  </a:lnTo>
                  <a:lnTo>
                    <a:pt x="895" y="894"/>
                  </a:lnTo>
                  <a:lnTo>
                    <a:pt x="895" y="894"/>
                  </a:lnTo>
                  <a:lnTo>
                    <a:pt x="895" y="896"/>
                  </a:lnTo>
                  <a:lnTo>
                    <a:pt x="895" y="900"/>
                  </a:lnTo>
                  <a:lnTo>
                    <a:pt x="897" y="900"/>
                  </a:lnTo>
                  <a:lnTo>
                    <a:pt x="895" y="900"/>
                  </a:lnTo>
                  <a:lnTo>
                    <a:pt x="895" y="902"/>
                  </a:lnTo>
                  <a:lnTo>
                    <a:pt x="895" y="902"/>
                  </a:lnTo>
                  <a:lnTo>
                    <a:pt x="895" y="902"/>
                  </a:lnTo>
                  <a:lnTo>
                    <a:pt x="899" y="902"/>
                  </a:lnTo>
                  <a:lnTo>
                    <a:pt x="899" y="902"/>
                  </a:lnTo>
                  <a:lnTo>
                    <a:pt x="901" y="900"/>
                  </a:lnTo>
                  <a:lnTo>
                    <a:pt x="901" y="898"/>
                  </a:lnTo>
                  <a:lnTo>
                    <a:pt x="901" y="896"/>
                  </a:lnTo>
                  <a:lnTo>
                    <a:pt x="901" y="894"/>
                  </a:lnTo>
                  <a:lnTo>
                    <a:pt x="901" y="894"/>
                  </a:lnTo>
                  <a:lnTo>
                    <a:pt x="903" y="889"/>
                  </a:lnTo>
                  <a:lnTo>
                    <a:pt x="903" y="887"/>
                  </a:lnTo>
                  <a:lnTo>
                    <a:pt x="905" y="887"/>
                  </a:lnTo>
                  <a:lnTo>
                    <a:pt x="905" y="889"/>
                  </a:lnTo>
                  <a:lnTo>
                    <a:pt x="905" y="891"/>
                  </a:lnTo>
                  <a:lnTo>
                    <a:pt x="903" y="894"/>
                  </a:lnTo>
                  <a:lnTo>
                    <a:pt x="905" y="896"/>
                  </a:lnTo>
                  <a:lnTo>
                    <a:pt x="903" y="898"/>
                  </a:lnTo>
                  <a:lnTo>
                    <a:pt x="903" y="900"/>
                  </a:lnTo>
                  <a:lnTo>
                    <a:pt x="901" y="904"/>
                  </a:lnTo>
                  <a:lnTo>
                    <a:pt x="903" y="902"/>
                  </a:lnTo>
                  <a:lnTo>
                    <a:pt x="907" y="902"/>
                  </a:lnTo>
                  <a:lnTo>
                    <a:pt x="907" y="900"/>
                  </a:lnTo>
                  <a:lnTo>
                    <a:pt x="911" y="896"/>
                  </a:lnTo>
                  <a:lnTo>
                    <a:pt x="914" y="894"/>
                  </a:lnTo>
                  <a:lnTo>
                    <a:pt x="916" y="891"/>
                  </a:lnTo>
                  <a:lnTo>
                    <a:pt x="918" y="889"/>
                  </a:lnTo>
                  <a:lnTo>
                    <a:pt x="916" y="885"/>
                  </a:lnTo>
                  <a:lnTo>
                    <a:pt x="916" y="883"/>
                  </a:lnTo>
                  <a:lnTo>
                    <a:pt x="918" y="881"/>
                  </a:lnTo>
                  <a:lnTo>
                    <a:pt x="918" y="879"/>
                  </a:lnTo>
                  <a:lnTo>
                    <a:pt x="916" y="877"/>
                  </a:lnTo>
                  <a:lnTo>
                    <a:pt x="914" y="875"/>
                  </a:lnTo>
                  <a:lnTo>
                    <a:pt x="911" y="871"/>
                  </a:lnTo>
                  <a:lnTo>
                    <a:pt x="911" y="869"/>
                  </a:lnTo>
                  <a:lnTo>
                    <a:pt x="914" y="871"/>
                  </a:lnTo>
                  <a:lnTo>
                    <a:pt x="916" y="871"/>
                  </a:lnTo>
                  <a:lnTo>
                    <a:pt x="918" y="873"/>
                  </a:lnTo>
                  <a:lnTo>
                    <a:pt x="918" y="871"/>
                  </a:lnTo>
                  <a:lnTo>
                    <a:pt x="918" y="871"/>
                  </a:lnTo>
                  <a:lnTo>
                    <a:pt x="918" y="869"/>
                  </a:lnTo>
                  <a:lnTo>
                    <a:pt x="916" y="867"/>
                  </a:lnTo>
                  <a:lnTo>
                    <a:pt x="914" y="867"/>
                  </a:lnTo>
                  <a:lnTo>
                    <a:pt x="914" y="867"/>
                  </a:lnTo>
                  <a:lnTo>
                    <a:pt x="914" y="865"/>
                  </a:lnTo>
                  <a:lnTo>
                    <a:pt x="916" y="865"/>
                  </a:lnTo>
                  <a:lnTo>
                    <a:pt x="916" y="865"/>
                  </a:lnTo>
                  <a:lnTo>
                    <a:pt x="916" y="865"/>
                  </a:lnTo>
                  <a:lnTo>
                    <a:pt x="918" y="867"/>
                  </a:lnTo>
                  <a:lnTo>
                    <a:pt x="918" y="869"/>
                  </a:lnTo>
                  <a:lnTo>
                    <a:pt x="920" y="869"/>
                  </a:lnTo>
                  <a:lnTo>
                    <a:pt x="920" y="869"/>
                  </a:lnTo>
                  <a:lnTo>
                    <a:pt x="920" y="869"/>
                  </a:lnTo>
                  <a:lnTo>
                    <a:pt x="920" y="871"/>
                  </a:lnTo>
                  <a:lnTo>
                    <a:pt x="920" y="871"/>
                  </a:lnTo>
                  <a:lnTo>
                    <a:pt x="922" y="871"/>
                  </a:lnTo>
                  <a:lnTo>
                    <a:pt x="924" y="873"/>
                  </a:lnTo>
                  <a:lnTo>
                    <a:pt x="924" y="873"/>
                  </a:lnTo>
                  <a:lnTo>
                    <a:pt x="924" y="873"/>
                  </a:lnTo>
                  <a:lnTo>
                    <a:pt x="924" y="877"/>
                  </a:lnTo>
                  <a:lnTo>
                    <a:pt x="926" y="879"/>
                  </a:lnTo>
                  <a:lnTo>
                    <a:pt x="926" y="881"/>
                  </a:lnTo>
                  <a:lnTo>
                    <a:pt x="928" y="879"/>
                  </a:lnTo>
                  <a:lnTo>
                    <a:pt x="930" y="881"/>
                  </a:lnTo>
                  <a:lnTo>
                    <a:pt x="940" y="875"/>
                  </a:lnTo>
                  <a:lnTo>
                    <a:pt x="940" y="875"/>
                  </a:lnTo>
                  <a:lnTo>
                    <a:pt x="944" y="873"/>
                  </a:lnTo>
                  <a:lnTo>
                    <a:pt x="946" y="871"/>
                  </a:lnTo>
                  <a:lnTo>
                    <a:pt x="952" y="869"/>
                  </a:lnTo>
                  <a:lnTo>
                    <a:pt x="952" y="865"/>
                  </a:lnTo>
                  <a:lnTo>
                    <a:pt x="950" y="863"/>
                  </a:lnTo>
                  <a:lnTo>
                    <a:pt x="946" y="863"/>
                  </a:lnTo>
                  <a:lnTo>
                    <a:pt x="942" y="863"/>
                  </a:lnTo>
                  <a:lnTo>
                    <a:pt x="942" y="863"/>
                  </a:lnTo>
                  <a:lnTo>
                    <a:pt x="940" y="865"/>
                  </a:lnTo>
                  <a:lnTo>
                    <a:pt x="938" y="865"/>
                  </a:lnTo>
                  <a:lnTo>
                    <a:pt x="938" y="863"/>
                  </a:lnTo>
                  <a:lnTo>
                    <a:pt x="938" y="863"/>
                  </a:lnTo>
                  <a:lnTo>
                    <a:pt x="944" y="861"/>
                  </a:lnTo>
                  <a:lnTo>
                    <a:pt x="942" y="859"/>
                  </a:lnTo>
                  <a:lnTo>
                    <a:pt x="942" y="857"/>
                  </a:lnTo>
                  <a:lnTo>
                    <a:pt x="942" y="857"/>
                  </a:lnTo>
                  <a:lnTo>
                    <a:pt x="942" y="857"/>
                  </a:lnTo>
                  <a:lnTo>
                    <a:pt x="940" y="855"/>
                  </a:lnTo>
                  <a:lnTo>
                    <a:pt x="936" y="853"/>
                  </a:lnTo>
                  <a:lnTo>
                    <a:pt x="936" y="853"/>
                  </a:lnTo>
                  <a:lnTo>
                    <a:pt x="934" y="855"/>
                  </a:lnTo>
                  <a:lnTo>
                    <a:pt x="934" y="855"/>
                  </a:lnTo>
                  <a:lnTo>
                    <a:pt x="932" y="853"/>
                  </a:lnTo>
                  <a:lnTo>
                    <a:pt x="932" y="853"/>
                  </a:lnTo>
                  <a:lnTo>
                    <a:pt x="934" y="850"/>
                  </a:lnTo>
                  <a:lnTo>
                    <a:pt x="934" y="848"/>
                  </a:lnTo>
                  <a:lnTo>
                    <a:pt x="932" y="848"/>
                  </a:lnTo>
                  <a:lnTo>
                    <a:pt x="932" y="846"/>
                  </a:lnTo>
                  <a:lnTo>
                    <a:pt x="930" y="842"/>
                  </a:lnTo>
                  <a:lnTo>
                    <a:pt x="928" y="842"/>
                  </a:lnTo>
                  <a:lnTo>
                    <a:pt x="928" y="840"/>
                  </a:lnTo>
                  <a:lnTo>
                    <a:pt x="928" y="836"/>
                  </a:lnTo>
                  <a:lnTo>
                    <a:pt x="930" y="838"/>
                  </a:lnTo>
                  <a:lnTo>
                    <a:pt x="930" y="838"/>
                  </a:lnTo>
                  <a:lnTo>
                    <a:pt x="930" y="838"/>
                  </a:lnTo>
                  <a:lnTo>
                    <a:pt x="932" y="838"/>
                  </a:lnTo>
                  <a:lnTo>
                    <a:pt x="932" y="838"/>
                  </a:lnTo>
                  <a:lnTo>
                    <a:pt x="934" y="838"/>
                  </a:lnTo>
                  <a:lnTo>
                    <a:pt x="936" y="838"/>
                  </a:lnTo>
                  <a:lnTo>
                    <a:pt x="936" y="840"/>
                  </a:lnTo>
                  <a:lnTo>
                    <a:pt x="936" y="840"/>
                  </a:lnTo>
                  <a:lnTo>
                    <a:pt x="936" y="840"/>
                  </a:lnTo>
                  <a:lnTo>
                    <a:pt x="936" y="842"/>
                  </a:lnTo>
                  <a:lnTo>
                    <a:pt x="936" y="844"/>
                  </a:lnTo>
                  <a:lnTo>
                    <a:pt x="936" y="844"/>
                  </a:lnTo>
                  <a:lnTo>
                    <a:pt x="938" y="844"/>
                  </a:lnTo>
                  <a:lnTo>
                    <a:pt x="938" y="846"/>
                  </a:lnTo>
                  <a:lnTo>
                    <a:pt x="938" y="846"/>
                  </a:lnTo>
                  <a:lnTo>
                    <a:pt x="940" y="846"/>
                  </a:lnTo>
                  <a:lnTo>
                    <a:pt x="940" y="846"/>
                  </a:lnTo>
                  <a:lnTo>
                    <a:pt x="940" y="846"/>
                  </a:lnTo>
                  <a:lnTo>
                    <a:pt x="942" y="846"/>
                  </a:lnTo>
                  <a:lnTo>
                    <a:pt x="942" y="846"/>
                  </a:lnTo>
                  <a:lnTo>
                    <a:pt x="944" y="846"/>
                  </a:lnTo>
                  <a:lnTo>
                    <a:pt x="944" y="848"/>
                  </a:lnTo>
                  <a:lnTo>
                    <a:pt x="948" y="846"/>
                  </a:lnTo>
                  <a:lnTo>
                    <a:pt x="948" y="848"/>
                  </a:lnTo>
                  <a:lnTo>
                    <a:pt x="948" y="850"/>
                  </a:lnTo>
                  <a:lnTo>
                    <a:pt x="946" y="850"/>
                  </a:lnTo>
                  <a:lnTo>
                    <a:pt x="944" y="850"/>
                  </a:lnTo>
                  <a:lnTo>
                    <a:pt x="944" y="853"/>
                  </a:lnTo>
                  <a:lnTo>
                    <a:pt x="946" y="853"/>
                  </a:lnTo>
                  <a:lnTo>
                    <a:pt x="950" y="850"/>
                  </a:lnTo>
                  <a:lnTo>
                    <a:pt x="955" y="846"/>
                  </a:lnTo>
                  <a:lnTo>
                    <a:pt x="952" y="846"/>
                  </a:lnTo>
                  <a:lnTo>
                    <a:pt x="950" y="846"/>
                  </a:lnTo>
                  <a:lnTo>
                    <a:pt x="950" y="844"/>
                  </a:lnTo>
                  <a:lnTo>
                    <a:pt x="950" y="842"/>
                  </a:lnTo>
                  <a:lnTo>
                    <a:pt x="950" y="842"/>
                  </a:lnTo>
                  <a:lnTo>
                    <a:pt x="950" y="842"/>
                  </a:lnTo>
                  <a:lnTo>
                    <a:pt x="950" y="840"/>
                  </a:lnTo>
                  <a:lnTo>
                    <a:pt x="950" y="840"/>
                  </a:lnTo>
                  <a:lnTo>
                    <a:pt x="952" y="840"/>
                  </a:lnTo>
                  <a:lnTo>
                    <a:pt x="952" y="838"/>
                  </a:lnTo>
                  <a:lnTo>
                    <a:pt x="952" y="838"/>
                  </a:lnTo>
                  <a:lnTo>
                    <a:pt x="952" y="838"/>
                  </a:lnTo>
                  <a:lnTo>
                    <a:pt x="950" y="838"/>
                  </a:lnTo>
                  <a:lnTo>
                    <a:pt x="950" y="838"/>
                  </a:lnTo>
                  <a:lnTo>
                    <a:pt x="950" y="838"/>
                  </a:lnTo>
                  <a:lnTo>
                    <a:pt x="948" y="838"/>
                  </a:lnTo>
                  <a:lnTo>
                    <a:pt x="948" y="836"/>
                  </a:lnTo>
                  <a:lnTo>
                    <a:pt x="948" y="834"/>
                  </a:lnTo>
                  <a:lnTo>
                    <a:pt x="948" y="832"/>
                  </a:lnTo>
                  <a:lnTo>
                    <a:pt x="948" y="832"/>
                  </a:lnTo>
                  <a:lnTo>
                    <a:pt x="948" y="834"/>
                  </a:lnTo>
                  <a:lnTo>
                    <a:pt x="950" y="836"/>
                  </a:lnTo>
                  <a:lnTo>
                    <a:pt x="950" y="836"/>
                  </a:lnTo>
                  <a:lnTo>
                    <a:pt x="952" y="836"/>
                  </a:lnTo>
                  <a:lnTo>
                    <a:pt x="952" y="834"/>
                  </a:lnTo>
                  <a:lnTo>
                    <a:pt x="955" y="836"/>
                  </a:lnTo>
                  <a:lnTo>
                    <a:pt x="955" y="838"/>
                  </a:lnTo>
                  <a:lnTo>
                    <a:pt x="955" y="840"/>
                  </a:lnTo>
                  <a:lnTo>
                    <a:pt x="952" y="840"/>
                  </a:lnTo>
                  <a:lnTo>
                    <a:pt x="955" y="842"/>
                  </a:lnTo>
                  <a:lnTo>
                    <a:pt x="957" y="844"/>
                  </a:lnTo>
                  <a:lnTo>
                    <a:pt x="957" y="844"/>
                  </a:lnTo>
                  <a:lnTo>
                    <a:pt x="957" y="846"/>
                  </a:lnTo>
                  <a:lnTo>
                    <a:pt x="957" y="846"/>
                  </a:lnTo>
                  <a:lnTo>
                    <a:pt x="959" y="846"/>
                  </a:lnTo>
                  <a:lnTo>
                    <a:pt x="961" y="844"/>
                  </a:lnTo>
                  <a:lnTo>
                    <a:pt x="963" y="840"/>
                  </a:lnTo>
                  <a:lnTo>
                    <a:pt x="965" y="840"/>
                  </a:lnTo>
                  <a:lnTo>
                    <a:pt x="965" y="842"/>
                  </a:lnTo>
                  <a:lnTo>
                    <a:pt x="967" y="840"/>
                  </a:lnTo>
                  <a:lnTo>
                    <a:pt x="969" y="840"/>
                  </a:lnTo>
                  <a:lnTo>
                    <a:pt x="969" y="840"/>
                  </a:lnTo>
                  <a:lnTo>
                    <a:pt x="971" y="840"/>
                  </a:lnTo>
                  <a:lnTo>
                    <a:pt x="973" y="840"/>
                  </a:lnTo>
                  <a:lnTo>
                    <a:pt x="971" y="840"/>
                  </a:lnTo>
                  <a:lnTo>
                    <a:pt x="969" y="844"/>
                  </a:lnTo>
                  <a:lnTo>
                    <a:pt x="969" y="846"/>
                  </a:lnTo>
                  <a:lnTo>
                    <a:pt x="969" y="846"/>
                  </a:lnTo>
                  <a:lnTo>
                    <a:pt x="971" y="846"/>
                  </a:lnTo>
                  <a:lnTo>
                    <a:pt x="973" y="846"/>
                  </a:lnTo>
                  <a:lnTo>
                    <a:pt x="975" y="846"/>
                  </a:lnTo>
                  <a:lnTo>
                    <a:pt x="975" y="846"/>
                  </a:lnTo>
                  <a:lnTo>
                    <a:pt x="977" y="846"/>
                  </a:lnTo>
                  <a:lnTo>
                    <a:pt x="977" y="846"/>
                  </a:lnTo>
                  <a:lnTo>
                    <a:pt x="977" y="846"/>
                  </a:lnTo>
                  <a:lnTo>
                    <a:pt x="975" y="848"/>
                  </a:lnTo>
                  <a:lnTo>
                    <a:pt x="971" y="848"/>
                  </a:lnTo>
                  <a:lnTo>
                    <a:pt x="969" y="848"/>
                  </a:lnTo>
                  <a:lnTo>
                    <a:pt x="969" y="850"/>
                  </a:lnTo>
                  <a:lnTo>
                    <a:pt x="971" y="850"/>
                  </a:lnTo>
                  <a:lnTo>
                    <a:pt x="975" y="850"/>
                  </a:lnTo>
                  <a:lnTo>
                    <a:pt x="981" y="846"/>
                  </a:lnTo>
                  <a:lnTo>
                    <a:pt x="983" y="846"/>
                  </a:lnTo>
                  <a:lnTo>
                    <a:pt x="983" y="846"/>
                  </a:lnTo>
                  <a:lnTo>
                    <a:pt x="987" y="844"/>
                  </a:lnTo>
                  <a:lnTo>
                    <a:pt x="989" y="842"/>
                  </a:lnTo>
                  <a:lnTo>
                    <a:pt x="991" y="844"/>
                  </a:lnTo>
                  <a:lnTo>
                    <a:pt x="991" y="846"/>
                  </a:lnTo>
                  <a:lnTo>
                    <a:pt x="991" y="846"/>
                  </a:lnTo>
                  <a:lnTo>
                    <a:pt x="991" y="848"/>
                  </a:lnTo>
                  <a:lnTo>
                    <a:pt x="989" y="848"/>
                  </a:lnTo>
                  <a:lnTo>
                    <a:pt x="975" y="857"/>
                  </a:lnTo>
                  <a:lnTo>
                    <a:pt x="973" y="859"/>
                  </a:lnTo>
                  <a:lnTo>
                    <a:pt x="971" y="861"/>
                  </a:lnTo>
                  <a:lnTo>
                    <a:pt x="973" y="861"/>
                  </a:lnTo>
                  <a:lnTo>
                    <a:pt x="979" y="857"/>
                  </a:lnTo>
                  <a:lnTo>
                    <a:pt x="985" y="855"/>
                  </a:lnTo>
                  <a:lnTo>
                    <a:pt x="989" y="848"/>
                  </a:lnTo>
                  <a:lnTo>
                    <a:pt x="1000" y="846"/>
                  </a:lnTo>
                  <a:lnTo>
                    <a:pt x="1006" y="842"/>
                  </a:lnTo>
                  <a:lnTo>
                    <a:pt x="1016" y="836"/>
                  </a:lnTo>
                  <a:lnTo>
                    <a:pt x="1014" y="836"/>
                  </a:lnTo>
                  <a:lnTo>
                    <a:pt x="1010" y="838"/>
                  </a:lnTo>
                  <a:lnTo>
                    <a:pt x="998" y="844"/>
                  </a:lnTo>
                  <a:lnTo>
                    <a:pt x="998" y="846"/>
                  </a:lnTo>
                  <a:lnTo>
                    <a:pt x="995" y="846"/>
                  </a:lnTo>
                  <a:lnTo>
                    <a:pt x="995" y="846"/>
                  </a:lnTo>
                  <a:lnTo>
                    <a:pt x="995" y="846"/>
                  </a:lnTo>
                  <a:lnTo>
                    <a:pt x="995" y="844"/>
                  </a:lnTo>
                  <a:lnTo>
                    <a:pt x="995" y="844"/>
                  </a:lnTo>
                  <a:lnTo>
                    <a:pt x="995" y="844"/>
                  </a:lnTo>
                  <a:lnTo>
                    <a:pt x="995" y="842"/>
                  </a:lnTo>
                  <a:lnTo>
                    <a:pt x="995" y="842"/>
                  </a:lnTo>
                  <a:lnTo>
                    <a:pt x="995" y="840"/>
                  </a:lnTo>
                  <a:lnTo>
                    <a:pt x="995" y="838"/>
                  </a:lnTo>
                  <a:lnTo>
                    <a:pt x="1008" y="834"/>
                  </a:lnTo>
                  <a:lnTo>
                    <a:pt x="1010" y="834"/>
                  </a:lnTo>
                  <a:lnTo>
                    <a:pt x="1016" y="834"/>
                  </a:lnTo>
                  <a:lnTo>
                    <a:pt x="1020" y="834"/>
                  </a:lnTo>
                  <a:lnTo>
                    <a:pt x="1024" y="832"/>
                  </a:lnTo>
                  <a:lnTo>
                    <a:pt x="1028" y="830"/>
                  </a:lnTo>
                  <a:lnTo>
                    <a:pt x="1038" y="822"/>
                  </a:lnTo>
                  <a:lnTo>
                    <a:pt x="1045" y="818"/>
                  </a:lnTo>
                  <a:lnTo>
                    <a:pt x="1047" y="816"/>
                  </a:lnTo>
                  <a:lnTo>
                    <a:pt x="1049" y="816"/>
                  </a:lnTo>
                  <a:lnTo>
                    <a:pt x="1049" y="816"/>
                  </a:lnTo>
                  <a:lnTo>
                    <a:pt x="1055" y="812"/>
                  </a:lnTo>
                  <a:lnTo>
                    <a:pt x="1059" y="805"/>
                  </a:lnTo>
                  <a:lnTo>
                    <a:pt x="1061" y="803"/>
                  </a:lnTo>
                  <a:lnTo>
                    <a:pt x="1067" y="797"/>
                  </a:lnTo>
                  <a:lnTo>
                    <a:pt x="1069" y="797"/>
                  </a:lnTo>
                  <a:lnTo>
                    <a:pt x="1069" y="795"/>
                  </a:lnTo>
                  <a:lnTo>
                    <a:pt x="1069" y="793"/>
                  </a:lnTo>
                  <a:lnTo>
                    <a:pt x="1067" y="789"/>
                  </a:lnTo>
                  <a:lnTo>
                    <a:pt x="1067" y="787"/>
                  </a:lnTo>
                  <a:lnTo>
                    <a:pt x="1069" y="783"/>
                  </a:lnTo>
                  <a:lnTo>
                    <a:pt x="1067" y="781"/>
                  </a:lnTo>
                  <a:lnTo>
                    <a:pt x="1067" y="781"/>
                  </a:lnTo>
                  <a:lnTo>
                    <a:pt x="1067" y="781"/>
                  </a:lnTo>
                  <a:lnTo>
                    <a:pt x="1069" y="781"/>
                  </a:lnTo>
                  <a:lnTo>
                    <a:pt x="1071" y="781"/>
                  </a:lnTo>
                  <a:lnTo>
                    <a:pt x="1071" y="783"/>
                  </a:lnTo>
                  <a:lnTo>
                    <a:pt x="1073" y="783"/>
                  </a:lnTo>
                  <a:lnTo>
                    <a:pt x="1075" y="781"/>
                  </a:lnTo>
                  <a:lnTo>
                    <a:pt x="1081" y="773"/>
                  </a:lnTo>
                  <a:lnTo>
                    <a:pt x="1081" y="773"/>
                  </a:lnTo>
                  <a:lnTo>
                    <a:pt x="1081" y="771"/>
                  </a:lnTo>
                  <a:lnTo>
                    <a:pt x="1081" y="771"/>
                  </a:lnTo>
                  <a:lnTo>
                    <a:pt x="1081" y="771"/>
                  </a:lnTo>
                  <a:lnTo>
                    <a:pt x="1084" y="771"/>
                  </a:lnTo>
                  <a:lnTo>
                    <a:pt x="1084" y="771"/>
                  </a:lnTo>
                  <a:lnTo>
                    <a:pt x="1086" y="771"/>
                  </a:lnTo>
                  <a:lnTo>
                    <a:pt x="1086" y="769"/>
                  </a:lnTo>
                  <a:lnTo>
                    <a:pt x="1086" y="766"/>
                  </a:lnTo>
                  <a:lnTo>
                    <a:pt x="1088" y="766"/>
                  </a:lnTo>
                  <a:lnTo>
                    <a:pt x="1088" y="769"/>
                  </a:lnTo>
                  <a:lnTo>
                    <a:pt x="1090" y="769"/>
                  </a:lnTo>
                  <a:lnTo>
                    <a:pt x="1092" y="764"/>
                  </a:lnTo>
                  <a:lnTo>
                    <a:pt x="1092" y="762"/>
                  </a:lnTo>
                  <a:lnTo>
                    <a:pt x="1092" y="760"/>
                  </a:lnTo>
                  <a:lnTo>
                    <a:pt x="1094" y="760"/>
                  </a:lnTo>
                  <a:lnTo>
                    <a:pt x="1096" y="760"/>
                  </a:lnTo>
                  <a:lnTo>
                    <a:pt x="1098" y="762"/>
                  </a:lnTo>
                  <a:lnTo>
                    <a:pt x="1098" y="760"/>
                  </a:lnTo>
                  <a:lnTo>
                    <a:pt x="1098" y="760"/>
                  </a:lnTo>
                  <a:lnTo>
                    <a:pt x="1098" y="760"/>
                  </a:lnTo>
                  <a:lnTo>
                    <a:pt x="1098" y="760"/>
                  </a:lnTo>
                  <a:lnTo>
                    <a:pt x="1094" y="758"/>
                  </a:lnTo>
                  <a:lnTo>
                    <a:pt x="1092" y="758"/>
                  </a:lnTo>
                  <a:lnTo>
                    <a:pt x="1092" y="758"/>
                  </a:lnTo>
                  <a:lnTo>
                    <a:pt x="1090" y="754"/>
                  </a:lnTo>
                  <a:lnTo>
                    <a:pt x="1090" y="754"/>
                  </a:lnTo>
                  <a:lnTo>
                    <a:pt x="1090" y="754"/>
                  </a:lnTo>
                  <a:lnTo>
                    <a:pt x="1090" y="754"/>
                  </a:lnTo>
                  <a:lnTo>
                    <a:pt x="1088" y="754"/>
                  </a:lnTo>
                  <a:lnTo>
                    <a:pt x="1088" y="754"/>
                  </a:lnTo>
                  <a:lnTo>
                    <a:pt x="1088" y="754"/>
                  </a:lnTo>
                  <a:lnTo>
                    <a:pt x="1090" y="756"/>
                  </a:lnTo>
                  <a:lnTo>
                    <a:pt x="1090" y="756"/>
                  </a:lnTo>
                  <a:lnTo>
                    <a:pt x="1088" y="756"/>
                  </a:lnTo>
                  <a:lnTo>
                    <a:pt x="1086" y="754"/>
                  </a:lnTo>
                  <a:lnTo>
                    <a:pt x="1086" y="752"/>
                  </a:lnTo>
                  <a:lnTo>
                    <a:pt x="1084" y="752"/>
                  </a:lnTo>
                  <a:lnTo>
                    <a:pt x="1084" y="752"/>
                  </a:lnTo>
                  <a:lnTo>
                    <a:pt x="1086" y="750"/>
                  </a:lnTo>
                  <a:lnTo>
                    <a:pt x="1088" y="750"/>
                  </a:lnTo>
                  <a:lnTo>
                    <a:pt x="1088" y="748"/>
                  </a:lnTo>
                  <a:lnTo>
                    <a:pt x="1088" y="748"/>
                  </a:lnTo>
                  <a:lnTo>
                    <a:pt x="1081" y="746"/>
                  </a:lnTo>
                  <a:lnTo>
                    <a:pt x="1077" y="744"/>
                  </a:lnTo>
                  <a:lnTo>
                    <a:pt x="1079" y="740"/>
                  </a:lnTo>
                  <a:lnTo>
                    <a:pt x="1079" y="740"/>
                  </a:lnTo>
                  <a:lnTo>
                    <a:pt x="1081" y="738"/>
                  </a:lnTo>
                  <a:lnTo>
                    <a:pt x="1081" y="736"/>
                  </a:lnTo>
                  <a:lnTo>
                    <a:pt x="1079" y="734"/>
                  </a:lnTo>
                  <a:lnTo>
                    <a:pt x="1077" y="732"/>
                  </a:lnTo>
                  <a:lnTo>
                    <a:pt x="1077" y="730"/>
                  </a:lnTo>
                  <a:lnTo>
                    <a:pt x="1079" y="730"/>
                  </a:lnTo>
                  <a:lnTo>
                    <a:pt x="1079" y="728"/>
                  </a:lnTo>
                  <a:lnTo>
                    <a:pt x="1079" y="728"/>
                  </a:lnTo>
                  <a:lnTo>
                    <a:pt x="1077" y="728"/>
                  </a:lnTo>
                  <a:lnTo>
                    <a:pt x="1077" y="728"/>
                  </a:lnTo>
                  <a:lnTo>
                    <a:pt x="1075" y="728"/>
                  </a:lnTo>
                  <a:lnTo>
                    <a:pt x="1075" y="728"/>
                  </a:lnTo>
                  <a:lnTo>
                    <a:pt x="1073" y="725"/>
                  </a:lnTo>
                  <a:lnTo>
                    <a:pt x="1073" y="725"/>
                  </a:lnTo>
                  <a:lnTo>
                    <a:pt x="1079" y="725"/>
                  </a:lnTo>
                  <a:lnTo>
                    <a:pt x="1084" y="725"/>
                  </a:lnTo>
                  <a:lnTo>
                    <a:pt x="1086" y="730"/>
                  </a:lnTo>
                  <a:lnTo>
                    <a:pt x="1090" y="730"/>
                  </a:lnTo>
                  <a:lnTo>
                    <a:pt x="1092" y="728"/>
                  </a:lnTo>
                  <a:lnTo>
                    <a:pt x="1094" y="723"/>
                  </a:lnTo>
                  <a:lnTo>
                    <a:pt x="1094" y="721"/>
                  </a:lnTo>
                  <a:lnTo>
                    <a:pt x="1094" y="719"/>
                  </a:lnTo>
                  <a:lnTo>
                    <a:pt x="1096" y="719"/>
                  </a:lnTo>
                  <a:lnTo>
                    <a:pt x="1100" y="717"/>
                  </a:lnTo>
                  <a:lnTo>
                    <a:pt x="1102" y="715"/>
                  </a:lnTo>
                  <a:lnTo>
                    <a:pt x="1102" y="715"/>
                  </a:lnTo>
                  <a:lnTo>
                    <a:pt x="1104" y="715"/>
                  </a:lnTo>
                  <a:lnTo>
                    <a:pt x="1104" y="717"/>
                  </a:lnTo>
                  <a:lnTo>
                    <a:pt x="1104" y="719"/>
                  </a:lnTo>
                  <a:lnTo>
                    <a:pt x="1106" y="719"/>
                  </a:lnTo>
                  <a:lnTo>
                    <a:pt x="1106" y="719"/>
                  </a:lnTo>
                  <a:lnTo>
                    <a:pt x="1106" y="721"/>
                  </a:lnTo>
                  <a:lnTo>
                    <a:pt x="1108" y="723"/>
                  </a:lnTo>
                  <a:lnTo>
                    <a:pt x="1106" y="725"/>
                  </a:lnTo>
                  <a:lnTo>
                    <a:pt x="1106" y="732"/>
                  </a:lnTo>
                  <a:lnTo>
                    <a:pt x="1104" y="736"/>
                  </a:lnTo>
                  <a:lnTo>
                    <a:pt x="1104" y="738"/>
                  </a:lnTo>
                  <a:lnTo>
                    <a:pt x="1102" y="740"/>
                  </a:lnTo>
                  <a:lnTo>
                    <a:pt x="1102" y="740"/>
                  </a:lnTo>
                  <a:lnTo>
                    <a:pt x="1100" y="742"/>
                  </a:lnTo>
                  <a:lnTo>
                    <a:pt x="1098" y="742"/>
                  </a:lnTo>
                  <a:lnTo>
                    <a:pt x="1098" y="742"/>
                  </a:lnTo>
                  <a:lnTo>
                    <a:pt x="1100" y="744"/>
                  </a:lnTo>
                  <a:lnTo>
                    <a:pt x="1100" y="744"/>
                  </a:lnTo>
                  <a:lnTo>
                    <a:pt x="1102" y="744"/>
                  </a:lnTo>
                  <a:lnTo>
                    <a:pt x="1106" y="742"/>
                  </a:lnTo>
                  <a:lnTo>
                    <a:pt x="1120" y="738"/>
                  </a:lnTo>
                  <a:lnTo>
                    <a:pt x="1122" y="738"/>
                  </a:lnTo>
                  <a:lnTo>
                    <a:pt x="1122" y="738"/>
                  </a:lnTo>
                  <a:lnTo>
                    <a:pt x="1124" y="740"/>
                  </a:lnTo>
                  <a:lnTo>
                    <a:pt x="1127" y="740"/>
                  </a:lnTo>
                  <a:lnTo>
                    <a:pt x="1129" y="740"/>
                  </a:lnTo>
                  <a:lnTo>
                    <a:pt x="1129" y="738"/>
                  </a:lnTo>
                  <a:lnTo>
                    <a:pt x="1129" y="740"/>
                  </a:lnTo>
                  <a:lnTo>
                    <a:pt x="1129" y="742"/>
                  </a:lnTo>
                  <a:lnTo>
                    <a:pt x="1127" y="744"/>
                  </a:lnTo>
                  <a:lnTo>
                    <a:pt x="1127" y="744"/>
                  </a:lnTo>
                  <a:lnTo>
                    <a:pt x="1120" y="744"/>
                  </a:lnTo>
                  <a:lnTo>
                    <a:pt x="1120" y="744"/>
                  </a:lnTo>
                  <a:lnTo>
                    <a:pt x="1118" y="744"/>
                  </a:lnTo>
                  <a:lnTo>
                    <a:pt x="1116" y="748"/>
                  </a:lnTo>
                  <a:lnTo>
                    <a:pt x="1116" y="748"/>
                  </a:lnTo>
                  <a:lnTo>
                    <a:pt x="1114" y="748"/>
                  </a:lnTo>
                  <a:lnTo>
                    <a:pt x="1114" y="748"/>
                  </a:lnTo>
                  <a:lnTo>
                    <a:pt x="1112" y="750"/>
                  </a:lnTo>
                  <a:lnTo>
                    <a:pt x="1110" y="750"/>
                  </a:lnTo>
                  <a:lnTo>
                    <a:pt x="1102" y="758"/>
                  </a:lnTo>
                  <a:lnTo>
                    <a:pt x="1102" y="760"/>
                  </a:lnTo>
                  <a:lnTo>
                    <a:pt x="1102" y="760"/>
                  </a:lnTo>
                  <a:lnTo>
                    <a:pt x="1104" y="762"/>
                  </a:lnTo>
                  <a:lnTo>
                    <a:pt x="1106" y="760"/>
                  </a:lnTo>
                  <a:lnTo>
                    <a:pt x="1110" y="754"/>
                  </a:lnTo>
                  <a:lnTo>
                    <a:pt x="1114" y="752"/>
                  </a:lnTo>
                  <a:lnTo>
                    <a:pt x="1143" y="736"/>
                  </a:lnTo>
                  <a:lnTo>
                    <a:pt x="1153" y="732"/>
                  </a:lnTo>
                  <a:lnTo>
                    <a:pt x="1161" y="728"/>
                  </a:lnTo>
                  <a:lnTo>
                    <a:pt x="1163" y="725"/>
                  </a:lnTo>
                  <a:lnTo>
                    <a:pt x="1168" y="723"/>
                  </a:lnTo>
                  <a:lnTo>
                    <a:pt x="1170" y="723"/>
                  </a:lnTo>
                  <a:lnTo>
                    <a:pt x="1182" y="723"/>
                  </a:lnTo>
                  <a:lnTo>
                    <a:pt x="1184" y="723"/>
                  </a:lnTo>
                  <a:lnTo>
                    <a:pt x="1186" y="723"/>
                  </a:lnTo>
                  <a:lnTo>
                    <a:pt x="1186" y="721"/>
                  </a:lnTo>
                  <a:lnTo>
                    <a:pt x="1186" y="719"/>
                  </a:lnTo>
                  <a:lnTo>
                    <a:pt x="1180" y="713"/>
                  </a:lnTo>
                  <a:lnTo>
                    <a:pt x="1178" y="709"/>
                  </a:lnTo>
                  <a:lnTo>
                    <a:pt x="1178" y="705"/>
                  </a:lnTo>
                  <a:lnTo>
                    <a:pt x="1184" y="695"/>
                  </a:lnTo>
                  <a:lnTo>
                    <a:pt x="1186" y="693"/>
                  </a:lnTo>
                  <a:lnTo>
                    <a:pt x="1186" y="691"/>
                  </a:lnTo>
                  <a:lnTo>
                    <a:pt x="1186" y="689"/>
                  </a:lnTo>
                  <a:lnTo>
                    <a:pt x="1190" y="689"/>
                  </a:lnTo>
                  <a:lnTo>
                    <a:pt x="1190" y="689"/>
                  </a:lnTo>
                  <a:lnTo>
                    <a:pt x="1190" y="689"/>
                  </a:lnTo>
                  <a:lnTo>
                    <a:pt x="1192" y="687"/>
                  </a:lnTo>
                  <a:lnTo>
                    <a:pt x="1198" y="680"/>
                  </a:lnTo>
                  <a:lnTo>
                    <a:pt x="1196" y="678"/>
                  </a:lnTo>
                  <a:lnTo>
                    <a:pt x="1196" y="676"/>
                  </a:lnTo>
                  <a:lnTo>
                    <a:pt x="1198" y="674"/>
                  </a:lnTo>
                  <a:lnTo>
                    <a:pt x="1198" y="672"/>
                  </a:lnTo>
                  <a:lnTo>
                    <a:pt x="1198" y="670"/>
                  </a:lnTo>
                  <a:lnTo>
                    <a:pt x="1198" y="670"/>
                  </a:lnTo>
                  <a:lnTo>
                    <a:pt x="1198" y="668"/>
                  </a:lnTo>
                  <a:lnTo>
                    <a:pt x="1198" y="666"/>
                  </a:lnTo>
                  <a:lnTo>
                    <a:pt x="1196" y="664"/>
                  </a:lnTo>
                  <a:lnTo>
                    <a:pt x="1196" y="664"/>
                  </a:lnTo>
                  <a:lnTo>
                    <a:pt x="1196" y="662"/>
                  </a:lnTo>
                  <a:lnTo>
                    <a:pt x="1196" y="660"/>
                  </a:lnTo>
                  <a:lnTo>
                    <a:pt x="1198" y="660"/>
                  </a:lnTo>
                  <a:lnTo>
                    <a:pt x="1196" y="658"/>
                  </a:lnTo>
                  <a:lnTo>
                    <a:pt x="1196" y="656"/>
                  </a:lnTo>
                  <a:lnTo>
                    <a:pt x="1194" y="654"/>
                  </a:lnTo>
                  <a:lnTo>
                    <a:pt x="1192" y="652"/>
                  </a:lnTo>
                  <a:lnTo>
                    <a:pt x="1192" y="648"/>
                  </a:lnTo>
                  <a:lnTo>
                    <a:pt x="1192" y="646"/>
                  </a:lnTo>
                  <a:lnTo>
                    <a:pt x="1194" y="644"/>
                  </a:lnTo>
                  <a:lnTo>
                    <a:pt x="1196" y="641"/>
                  </a:lnTo>
                  <a:lnTo>
                    <a:pt x="1196" y="639"/>
                  </a:lnTo>
                  <a:lnTo>
                    <a:pt x="1196" y="637"/>
                  </a:lnTo>
                  <a:lnTo>
                    <a:pt x="1196" y="635"/>
                  </a:lnTo>
                  <a:lnTo>
                    <a:pt x="1194" y="633"/>
                  </a:lnTo>
                  <a:lnTo>
                    <a:pt x="1194" y="633"/>
                  </a:lnTo>
                  <a:lnTo>
                    <a:pt x="1194" y="631"/>
                  </a:lnTo>
                  <a:lnTo>
                    <a:pt x="1194" y="629"/>
                  </a:lnTo>
                  <a:lnTo>
                    <a:pt x="1194" y="629"/>
                  </a:lnTo>
                  <a:lnTo>
                    <a:pt x="1194" y="629"/>
                  </a:lnTo>
                  <a:lnTo>
                    <a:pt x="1194" y="627"/>
                  </a:lnTo>
                  <a:lnTo>
                    <a:pt x="1194" y="625"/>
                  </a:lnTo>
                  <a:lnTo>
                    <a:pt x="1196" y="623"/>
                  </a:lnTo>
                  <a:lnTo>
                    <a:pt x="1198" y="623"/>
                  </a:lnTo>
                  <a:lnTo>
                    <a:pt x="1198" y="621"/>
                  </a:lnTo>
                  <a:lnTo>
                    <a:pt x="1198" y="617"/>
                  </a:lnTo>
                  <a:lnTo>
                    <a:pt x="1198" y="615"/>
                  </a:lnTo>
                  <a:lnTo>
                    <a:pt x="1202" y="613"/>
                  </a:lnTo>
                  <a:lnTo>
                    <a:pt x="1202" y="611"/>
                  </a:lnTo>
                  <a:lnTo>
                    <a:pt x="1204" y="605"/>
                  </a:lnTo>
                  <a:lnTo>
                    <a:pt x="1206" y="598"/>
                  </a:lnTo>
                  <a:lnTo>
                    <a:pt x="1206" y="596"/>
                  </a:lnTo>
                  <a:lnTo>
                    <a:pt x="1206" y="596"/>
                  </a:lnTo>
                  <a:lnTo>
                    <a:pt x="1206" y="594"/>
                  </a:lnTo>
                  <a:lnTo>
                    <a:pt x="1206" y="594"/>
                  </a:lnTo>
                  <a:lnTo>
                    <a:pt x="1206" y="592"/>
                  </a:lnTo>
                  <a:lnTo>
                    <a:pt x="1206" y="590"/>
                  </a:lnTo>
                  <a:lnTo>
                    <a:pt x="1206" y="590"/>
                  </a:lnTo>
                  <a:lnTo>
                    <a:pt x="1206" y="588"/>
                  </a:lnTo>
                  <a:lnTo>
                    <a:pt x="1208" y="586"/>
                  </a:lnTo>
                  <a:lnTo>
                    <a:pt x="1208" y="586"/>
                  </a:lnTo>
                  <a:lnTo>
                    <a:pt x="1208" y="586"/>
                  </a:lnTo>
                  <a:lnTo>
                    <a:pt x="1208" y="584"/>
                  </a:lnTo>
                  <a:lnTo>
                    <a:pt x="1208" y="584"/>
                  </a:lnTo>
                  <a:lnTo>
                    <a:pt x="1206" y="582"/>
                  </a:lnTo>
                  <a:lnTo>
                    <a:pt x="1204" y="578"/>
                  </a:lnTo>
                  <a:lnTo>
                    <a:pt x="1206" y="578"/>
                  </a:lnTo>
                  <a:lnTo>
                    <a:pt x="1206" y="578"/>
                  </a:lnTo>
                  <a:lnTo>
                    <a:pt x="1211" y="576"/>
                  </a:lnTo>
                  <a:lnTo>
                    <a:pt x="1211" y="576"/>
                  </a:lnTo>
                  <a:lnTo>
                    <a:pt x="1211" y="574"/>
                  </a:lnTo>
                  <a:lnTo>
                    <a:pt x="1211" y="574"/>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TX</a:t>
              </a:r>
            </a:p>
          </p:txBody>
        </p:sp>
        <p:sp>
          <p:nvSpPr>
            <p:cNvPr id="92" name="Freeform 13">
              <a:extLst>
                <a:ext uri="{FF2B5EF4-FFF2-40B4-BE49-F238E27FC236}">
                  <a16:creationId xmlns:a16="http://schemas.microsoft.com/office/drawing/2014/main" id="{5F6F0F95-5AC1-D854-65F8-B36601919D0A}"/>
                </a:ext>
              </a:extLst>
            </p:cNvPr>
            <p:cNvSpPr>
              <a:spLocks/>
            </p:cNvSpPr>
            <p:nvPr/>
          </p:nvSpPr>
          <p:spPr bwMode="auto">
            <a:xfrm>
              <a:off x="3590" y="1353"/>
              <a:ext cx="733" cy="268"/>
            </a:xfrm>
            <a:custGeom>
              <a:avLst/>
              <a:gdLst>
                <a:gd name="T0" fmla="*/ 622 w 733"/>
                <a:gd name="T1" fmla="*/ 20 h 268"/>
                <a:gd name="T2" fmla="*/ 694 w 733"/>
                <a:gd name="T3" fmla="*/ 8 h 268"/>
                <a:gd name="T4" fmla="*/ 725 w 733"/>
                <a:gd name="T5" fmla="*/ 2 h 268"/>
                <a:gd name="T6" fmla="*/ 729 w 733"/>
                <a:gd name="T7" fmla="*/ 22 h 268"/>
                <a:gd name="T8" fmla="*/ 733 w 733"/>
                <a:gd name="T9" fmla="*/ 30 h 268"/>
                <a:gd name="T10" fmla="*/ 714 w 733"/>
                <a:gd name="T11" fmla="*/ 39 h 268"/>
                <a:gd name="T12" fmla="*/ 704 w 733"/>
                <a:gd name="T13" fmla="*/ 61 h 268"/>
                <a:gd name="T14" fmla="*/ 700 w 733"/>
                <a:gd name="T15" fmla="*/ 59 h 268"/>
                <a:gd name="T16" fmla="*/ 696 w 733"/>
                <a:gd name="T17" fmla="*/ 57 h 268"/>
                <a:gd name="T18" fmla="*/ 690 w 733"/>
                <a:gd name="T19" fmla="*/ 59 h 268"/>
                <a:gd name="T20" fmla="*/ 677 w 733"/>
                <a:gd name="T21" fmla="*/ 65 h 268"/>
                <a:gd name="T22" fmla="*/ 671 w 733"/>
                <a:gd name="T23" fmla="*/ 77 h 268"/>
                <a:gd name="T24" fmla="*/ 663 w 733"/>
                <a:gd name="T25" fmla="*/ 82 h 268"/>
                <a:gd name="T26" fmla="*/ 661 w 733"/>
                <a:gd name="T27" fmla="*/ 75 h 268"/>
                <a:gd name="T28" fmla="*/ 655 w 733"/>
                <a:gd name="T29" fmla="*/ 75 h 268"/>
                <a:gd name="T30" fmla="*/ 647 w 733"/>
                <a:gd name="T31" fmla="*/ 84 h 268"/>
                <a:gd name="T32" fmla="*/ 643 w 733"/>
                <a:gd name="T33" fmla="*/ 88 h 268"/>
                <a:gd name="T34" fmla="*/ 634 w 733"/>
                <a:gd name="T35" fmla="*/ 90 h 268"/>
                <a:gd name="T36" fmla="*/ 637 w 733"/>
                <a:gd name="T37" fmla="*/ 94 h 268"/>
                <a:gd name="T38" fmla="*/ 632 w 733"/>
                <a:gd name="T39" fmla="*/ 106 h 268"/>
                <a:gd name="T40" fmla="*/ 620 w 733"/>
                <a:gd name="T41" fmla="*/ 110 h 268"/>
                <a:gd name="T42" fmla="*/ 610 w 733"/>
                <a:gd name="T43" fmla="*/ 118 h 268"/>
                <a:gd name="T44" fmla="*/ 604 w 733"/>
                <a:gd name="T45" fmla="*/ 125 h 268"/>
                <a:gd name="T46" fmla="*/ 594 w 733"/>
                <a:gd name="T47" fmla="*/ 133 h 268"/>
                <a:gd name="T48" fmla="*/ 583 w 733"/>
                <a:gd name="T49" fmla="*/ 137 h 268"/>
                <a:gd name="T50" fmla="*/ 577 w 733"/>
                <a:gd name="T51" fmla="*/ 139 h 268"/>
                <a:gd name="T52" fmla="*/ 569 w 733"/>
                <a:gd name="T53" fmla="*/ 141 h 268"/>
                <a:gd name="T54" fmla="*/ 557 w 733"/>
                <a:gd name="T55" fmla="*/ 147 h 268"/>
                <a:gd name="T56" fmla="*/ 551 w 733"/>
                <a:gd name="T57" fmla="*/ 155 h 268"/>
                <a:gd name="T58" fmla="*/ 548 w 733"/>
                <a:gd name="T59" fmla="*/ 164 h 268"/>
                <a:gd name="T60" fmla="*/ 546 w 733"/>
                <a:gd name="T61" fmla="*/ 174 h 268"/>
                <a:gd name="T62" fmla="*/ 534 w 733"/>
                <a:gd name="T63" fmla="*/ 180 h 268"/>
                <a:gd name="T64" fmla="*/ 530 w 733"/>
                <a:gd name="T65" fmla="*/ 180 h 268"/>
                <a:gd name="T66" fmla="*/ 526 w 733"/>
                <a:gd name="T67" fmla="*/ 192 h 268"/>
                <a:gd name="T68" fmla="*/ 501 w 733"/>
                <a:gd name="T69" fmla="*/ 211 h 268"/>
                <a:gd name="T70" fmla="*/ 413 w 733"/>
                <a:gd name="T71" fmla="*/ 223 h 268"/>
                <a:gd name="T72" fmla="*/ 303 w 733"/>
                <a:gd name="T73" fmla="*/ 235 h 268"/>
                <a:gd name="T74" fmla="*/ 190 w 733"/>
                <a:gd name="T75" fmla="*/ 248 h 268"/>
                <a:gd name="T76" fmla="*/ 149 w 733"/>
                <a:gd name="T77" fmla="*/ 254 h 268"/>
                <a:gd name="T78" fmla="*/ 57 w 733"/>
                <a:gd name="T79" fmla="*/ 264 h 268"/>
                <a:gd name="T80" fmla="*/ 2 w 733"/>
                <a:gd name="T81" fmla="*/ 266 h 268"/>
                <a:gd name="T82" fmla="*/ 12 w 733"/>
                <a:gd name="T83" fmla="*/ 254 h 268"/>
                <a:gd name="T84" fmla="*/ 14 w 733"/>
                <a:gd name="T85" fmla="*/ 229 h 268"/>
                <a:gd name="T86" fmla="*/ 22 w 733"/>
                <a:gd name="T87" fmla="*/ 211 h 268"/>
                <a:gd name="T88" fmla="*/ 26 w 733"/>
                <a:gd name="T89" fmla="*/ 200 h 268"/>
                <a:gd name="T90" fmla="*/ 26 w 733"/>
                <a:gd name="T91" fmla="*/ 186 h 268"/>
                <a:gd name="T92" fmla="*/ 41 w 733"/>
                <a:gd name="T93" fmla="*/ 166 h 268"/>
                <a:gd name="T94" fmla="*/ 43 w 733"/>
                <a:gd name="T95" fmla="*/ 155 h 268"/>
                <a:gd name="T96" fmla="*/ 51 w 733"/>
                <a:gd name="T97" fmla="*/ 141 h 268"/>
                <a:gd name="T98" fmla="*/ 53 w 733"/>
                <a:gd name="T99" fmla="*/ 125 h 268"/>
                <a:gd name="T100" fmla="*/ 55 w 733"/>
                <a:gd name="T101" fmla="*/ 116 h 268"/>
                <a:gd name="T102" fmla="*/ 57 w 733"/>
                <a:gd name="T103" fmla="*/ 100 h 268"/>
                <a:gd name="T104" fmla="*/ 63 w 733"/>
                <a:gd name="T105" fmla="*/ 100 h 268"/>
                <a:gd name="T106" fmla="*/ 182 w 733"/>
                <a:gd name="T107" fmla="*/ 88 h 268"/>
                <a:gd name="T108" fmla="*/ 178 w 733"/>
                <a:gd name="T109" fmla="*/ 67 h 268"/>
                <a:gd name="T110" fmla="*/ 198 w 733"/>
                <a:gd name="T111" fmla="*/ 71 h 268"/>
                <a:gd name="T112" fmla="*/ 227 w 733"/>
                <a:gd name="T113" fmla="*/ 67 h 268"/>
                <a:gd name="T114" fmla="*/ 297 w 733"/>
                <a:gd name="T115" fmla="*/ 59 h 268"/>
                <a:gd name="T116" fmla="*/ 319 w 733"/>
                <a:gd name="T117" fmla="*/ 55 h 268"/>
                <a:gd name="T118" fmla="*/ 456 w 733"/>
                <a:gd name="T119" fmla="*/ 43 h 268"/>
                <a:gd name="T120" fmla="*/ 555 w 733"/>
                <a:gd name="T121" fmla="*/ 3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3" h="268">
                  <a:moveTo>
                    <a:pt x="559" y="28"/>
                  </a:moveTo>
                  <a:lnTo>
                    <a:pt x="569" y="26"/>
                  </a:lnTo>
                  <a:lnTo>
                    <a:pt x="577" y="26"/>
                  </a:lnTo>
                  <a:lnTo>
                    <a:pt x="585" y="24"/>
                  </a:lnTo>
                  <a:lnTo>
                    <a:pt x="596" y="22"/>
                  </a:lnTo>
                  <a:lnTo>
                    <a:pt x="604" y="22"/>
                  </a:lnTo>
                  <a:lnTo>
                    <a:pt x="614" y="20"/>
                  </a:lnTo>
                  <a:lnTo>
                    <a:pt x="622" y="20"/>
                  </a:lnTo>
                  <a:lnTo>
                    <a:pt x="630" y="18"/>
                  </a:lnTo>
                  <a:lnTo>
                    <a:pt x="641" y="16"/>
                  </a:lnTo>
                  <a:lnTo>
                    <a:pt x="649" y="16"/>
                  </a:lnTo>
                  <a:lnTo>
                    <a:pt x="659" y="14"/>
                  </a:lnTo>
                  <a:lnTo>
                    <a:pt x="667" y="12"/>
                  </a:lnTo>
                  <a:lnTo>
                    <a:pt x="675" y="10"/>
                  </a:lnTo>
                  <a:lnTo>
                    <a:pt x="686" y="10"/>
                  </a:lnTo>
                  <a:lnTo>
                    <a:pt x="694" y="8"/>
                  </a:lnTo>
                  <a:lnTo>
                    <a:pt x="702" y="6"/>
                  </a:lnTo>
                  <a:lnTo>
                    <a:pt x="706" y="6"/>
                  </a:lnTo>
                  <a:lnTo>
                    <a:pt x="708" y="6"/>
                  </a:lnTo>
                  <a:lnTo>
                    <a:pt x="710" y="4"/>
                  </a:lnTo>
                  <a:lnTo>
                    <a:pt x="710" y="4"/>
                  </a:lnTo>
                  <a:lnTo>
                    <a:pt x="710" y="4"/>
                  </a:lnTo>
                  <a:lnTo>
                    <a:pt x="716" y="2"/>
                  </a:lnTo>
                  <a:lnTo>
                    <a:pt x="725" y="2"/>
                  </a:lnTo>
                  <a:lnTo>
                    <a:pt x="733" y="0"/>
                  </a:lnTo>
                  <a:lnTo>
                    <a:pt x="729" y="8"/>
                  </a:lnTo>
                  <a:lnTo>
                    <a:pt x="729" y="10"/>
                  </a:lnTo>
                  <a:lnTo>
                    <a:pt x="729" y="10"/>
                  </a:lnTo>
                  <a:lnTo>
                    <a:pt x="731" y="12"/>
                  </a:lnTo>
                  <a:lnTo>
                    <a:pt x="731" y="14"/>
                  </a:lnTo>
                  <a:lnTo>
                    <a:pt x="731" y="18"/>
                  </a:lnTo>
                  <a:lnTo>
                    <a:pt x="729" y="22"/>
                  </a:lnTo>
                  <a:lnTo>
                    <a:pt x="729" y="24"/>
                  </a:lnTo>
                  <a:lnTo>
                    <a:pt x="729" y="24"/>
                  </a:lnTo>
                  <a:lnTo>
                    <a:pt x="729" y="24"/>
                  </a:lnTo>
                  <a:lnTo>
                    <a:pt x="731" y="26"/>
                  </a:lnTo>
                  <a:lnTo>
                    <a:pt x="731" y="28"/>
                  </a:lnTo>
                  <a:lnTo>
                    <a:pt x="731" y="28"/>
                  </a:lnTo>
                  <a:lnTo>
                    <a:pt x="733" y="28"/>
                  </a:lnTo>
                  <a:lnTo>
                    <a:pt x="733" y="30"/>
                  </a:lnTo>
                  <a:lnTo>
                    <a:pt x="731" y="30"/>
                  </a:lnTo>
                  <a:lnTo>
                    <a:pt x="729" y="30"/>
                  </a:lnTo>
                  <a:lnTo>
                    <a:pt x="725" y="28"/>
                  </a:lnTo>
                  <a:lnTo>
                    <a:pt x="723" y="28"/>
                  </a:lnTo>
                  <a:lnTo>
                    <a:pt x="723" y="28"/>
                  </a:lnTo>
                  <a:lnTo>
                    <a:pt x="716" y="34"/>
                  </a:lnTo>
                  <a:lnTo>
                    <a:pt x="714" y="37"/>
                  </a:lnTo>
                  <a:lnTo>
                    <a:pt x="714" y="39"/>
                  </a:lnTo>
                  <a:lnTo>
                    <a:pt x="708" y="55"/>
                  </a:lnTo>
                  <a:lnTo>
                    <a:pt x="708" y="57"/>
                  </a:lnTo>
                  <a:lnTo>
                    <a:pt x="708" y="57"/>
                  </a:lnTo>
                  <a:lnTo>
                    <a:pt x="706" y="57"/>
                  </a:lnTo>
                  <a:lnTo>
                    <a:pt x="706" y="59"/>
                  </a:lnTo>
                  <a:lnTo>
                    <a:pt x="704" y="61"/>
                  </a:lnTo>
                  <a:lnTo>
                    <a:pt x="704" y="61"/>
                  </a:lnTo>
                  <a:lnTo>
                    <a:pt x="704" y="61"/>
                  </a:lnTo>
                  <a:lnTo>
                    <a:pt x="702" y="61"/>
                  </a:lnTo>
                  <a:lnTo>
                    <a:pt x="702" y="61"/>
                  </a:lnTo>
                  <a:lnTo>
                    <a:pt x="700" y="61"/>
                  </a:lnTo>
                  <a:lnTo>
                    <a:pt x="700" y="61"/>
                  </a:lnTo>
                  <a:lnTo>
                    <a:pt x="700" y="59"/>
                  </a:lnTo>
                  <a:lnTo>
                    <a:pt x="700" y="59"/>
                  </a:lnTo>
                  <a:lnTo>
                    <a:pt x="700" y="59"/>
                  </a:lnTo>
                  <a:lnTo>
                    <a:pt x="700" y="59"/>
                  </a:lnTo>
                  <a:lnTo>
                    <a:pt x="698" y="59"/>
                  </a:lnTo>
                  <a:lnTo>
                    <a:pt x="698" y="57"/>
                  </a:lnTo>
                  <a:lnTo>
                    <a:pt x="698" y="57"/>
                  </a:lnTo>
                  <a:lnTo>
                    <a:pt x="698" y="57"/>
                  </a:lnTo>
                  <a:lnTo>
                    <a:pt x="698" y="57"/>
                  </a:lnTo>
                  <a:lnTo>
                    <a:pt x="698" y="57"/>
                  </a:lnTo>
                  <a:lnTo>
                    <a:pt x="696" y="57"/>
                  </a:lnTo>
                  <a:lnTo>
                    <a:pt x="696" y="57"/>
                  </a:lnTo>
                  <a:lnTo>
                    <a:pt x="694" y="57"/>
                  </a:lnTo>
                  <a:lnTo>
                    <a:pt x="694" y="57"/>
                  </a:lnTo>
                  <a:lnTo>
                    <a:pt x="694" y="57"/>
                  </a:lnTo>
                  <a:lnTo>
                    <a:pt x="694" y="55"/>
                  </a:lnTo>
                  <a:lnTo>
                    <a:pt x="692" y="57"/>
                  </a:lnTo>
                  <a:lnTo>
                    <a:pt x="692" y="57"/>
                  </a:lnTo>
                  <a:lnTo>
                    <a:pt x="692" y="57"/>
                  </a:lnTo>
                  <a:lnTo>
                    <a:pt x="690" y="59"/>
                  </a:lnTo>
                  <a:lnTo>
                    <a:pt x="688" y="59"/>
                  </a:lnTo>
                  <a:lnTo>
                    <a:pt x="686" y="59"/>
                  </a:lnTo>
                  <a:lnTo>
                    <a:pt x="686" y="59"/>
                  </a:lnTo>
                  <a:lnTo>
                    <a:pt x="684" y="61"/>
                  </a:lnTo>
                  <a:lnTo>
                    <a:pt x="682" y="63"/>
                  </a:lnTo>
                  <a:lnTo>
                    <a:pt x="680" y="63"/>
                  </a:lnTo>
                  <a:lnTo>
                    <a:pt x="680" y="63"/>
                  </a:lnTo>
                  <a:lnTo>
                    <a:pt x="677" y="65"/>
                  </a:lnTo>
                  <a:lnTo>
                    <a:pt x="675" y="69"/>
                  </a:lnTo>
                  <a:lnTo>
                    <a:pt x="673" y="71"/>
                  </a:lnTo>
                  <a:lnTo>
                    <a:pt x="673" y="73"/>
                  </a:lnTo>
                  <a:lnTo>
                    <a:pt x="673" y="73"/>
                  </a:lnTo>
                  <a:lnTo>
                    <a:pt x="671" y="75"/>
                  </a:lnTo>
                  <a:lnTo>
                    <a:pt x="671" y="77"/>
                  </a:lnTo>
                  <a:lnTo>
                    <a:pt x="671" y="77"/>
                  </a:lnTo>
                  <a:lnTo>
                    <a:pt x="671" y="77"/>
                  </a:lnTo>
                  <a:lnTo>
                    <a:pt x="671" y="77"/>
                  </a:lnTo>
                  <a:lnTo>
                    <a:pt x="667" y="82"/>
                  </a:lnTo>
                  <a:lnTo>
                    <a:pt x="665" y="82"/>
                  </a:lnTo>
                  <a:lnTo>
                    <a:pt x="665" y="82"/>
                  </a:lnTo>
                  <a:lnTo>
                    <a:pt x="665" y="82"/>
                  </a:lnTo>
                  <a:lnTo>
                    <a:pt x="665" y="82"/>
                  </a:lnTo>
                  <a:lnTo>
                    <a:pt x="663" y="82"/>
                  </a:lnTo>
                  <a:lnTo>
                    <a:pt x="663" y="82"/>
                  </a:lnTo>
                  <a:lnTo>
                    <a:pt x="663" y="82"/>
                  </a:lnTo>
                  <a:lnTo>
                    <a:pt x="663" y="82"/>
                  </a:lnTo>
                  <a:lnTo>
                    <a:pt x="663" y="80"/>
                  </a:lnTo>
                  <a:lnTo>
                    <a:pt x="661" y="80"/>
                  </a:lnTo>
                  <a:lnTo>
                    <a:pt x="661" y="80"/>
                  </a:lnTo>
                  <a:lnTo>
                    <a:pt x="661" y="77"/>
                  </a:lnTo>
                  <a:lnTo>
                    <a:pt x="661" y="77"/>
                  </a:lnTo>
                  <a:lnTo>
                    <a:pt x="661" y="75"/>
                  </a:lnTo>
                  <a:lnTo>
                    <a:pt x="661" y="75"/>
                  </a:lnTo>
                  <a:lnTo>
                    <a:pt x="661" y="75"/>
                  </a:lnTo>
                  <a:lnTo>
                    <a:pt x="661" y="75"/>
                  </a:lnTo>
                  <a:lnTo>
                    <a:pt x="659" y="73"/>
                  </a:lnTo>
                  <a:lnTo>
                    <a:pt x="659" y="73"/>
                  </a:lnTo>
                  <a:lnTo>
                    <a:pt x="659" y="73"/>
                  </a:lnTo>
                  <a:lnTo>
                    <a:pt x="657" y="73"/>
                  </a:lnTo>
                  <a:lnTo>
                    <a:pt x="655" y="75"/>
                  </a:lnTo>
                  <a:lnTo>
                    <a:pt x="653" y="77"/>
                  </a:lnTo>
                  <a:lnTo>
                    <a:pt x="647" y="82"/>
                  </a:lnTo>
                  <a:lnTo>
                    <a:pt x="647" y="82"/>
                  </a:lnTo>
                  <a:lnTo>
                    <a:pt x="647" y="82"/>
                  </a:lnTo>
                  <a:lnTo>
                    <a:pt x="647" y="82"/>
                  </a:lnTo>
                  <a:lnTo>
                    <a:pt x="647" y="84"/>
                  </a:lnTo>
                  <a:lnTo>
                    <a:pt x="647" y="84"/>
                  </a:lnTo>
                  <a:lnTo>
                    <a:pt x="647" y="84"/>
                  </a:lnTo>
                  <a:lnTo>
                    <a:pt x="645" y="86"/>
                  </a:lnTo>
                  <a:lnTo>
                    <a:pt x="645" y="86"/>
                  </a:lnTo>
                  <a:lnTo>
                    <a:pt x="645" y="88"/>
                  </a:lnTo>
                  <a:lnTo>
                    <a:pt x="645" y="88"/>
                  </a:lnTo>
                  <a:lnTo>
                    <a:pt x="645" y="88"/>
                  </a:lnTo>
                  <a:lnTo>
                    <a:pt x="645" y="88"/>
                  </a:lnTo>
                  <a:lnTo>
                    <a:pt x="643" y="88"/>
                  </a:lnTo>
                  <a:lnTo>
                    <a:pt x="643" y="88"/>
                  </a:lnTo>
                  <a:lnTo>
                    <a:pt x="641" y="88"/>
                  </a:lnTo>
                  <a:lnTo>
                    <a:pt x="641" y="88"/>
                  </a:lnTo>
                  <a:lnTo>
                    <a:pt x="639" y="88"/>
                  </a:lnTo>
                  <a:lnTo>
                    <a:pt x="639" y="88"/>
                  </a:lnTo>
                  <a:lnTo>
                    <a:pt x="637" y="88"/>
                  </a:lnTo>
                  <a:lnTo>
                    <a:pt x="637" y="88"/>
                  </a:lnTo>
                  <a:lnTo>
                    <a:pt x="637" y="88"/>
                  </a:lnTo>
                  <a:lnTo>
                    <a:pt x="634" y="90"/>
                  </a:lnTo>
                  <a:lnTo>
                    <a:pt x="634" y="90"/>
                  </a:lnTo>
                  <a:lnTo>
                    <a:pt x="634" y="90"/>
                  </a:lnTo>
                  <a:lnTo>
                    <a:pt x="634" y="90"/>
                  </a:lnTo>
                  <a:lnTo>
                    <a:pt x="634" y="92"/>
                  </a:lnTo>
                  <a:lnTo>
                    <a:pt x="634" y="92"/>
                  </a:lnTo>
                  <a:lnTo>
                    <a:pt x="637" y="92"/>
                  </a:lnTo>
                  <a:lnTo>
                    <a:pt x="637" y="94"/>
                  </a:lnTo>
                  <a:lnTo>
                    <a:pt x="637" y="94"/>
                  </a:lnTo>
                  <a:lnTo>
                    <a:pt x="637" y="96"/>
                  </a:lnTo>
                  <a:lnTo>
                    <a:pt x="637" y="96"/>
                  </a:lnTo>
                  <a:lnTo>
                    <a:pt x="637" y="98"/>
                  </a:lnTo>
                  <a:lnTo>
                    <a:pt x="637" y="98"/>
                  </a:lnTo>
                  <a:lnTo>
                    <a:pt x="637" y="98"/>
                  </a:lnTo>
                  <a:lnTo>
                    <a:pt x="634" y="100"/>
                  </a:lnTo>
                  <a:lnTo>
                    <a:pt x="634" y="104"/>
                  </a:lnTo>
                  <a:lnTo>
                    <a:pt x="632" y="106"/>
                  </a:lnTo>
                  <a:lnTo>
                    <a:pt x="630" y="106"/>
                  </a:lnTo>
                  <a:lnTo>
                    <a:pt x="630" y="106"/>
                  </a:lnTo>
                  <a:lnTo>
                    <a:pt x="628" y="106"/>
                  </a:lnTo>
                  <a:lnTo>
                    <a:pt x="626" y="106"/>
                  </a:lnTo>
                  <a:lnTo>
                    <a:pt x="624" y="106"/>
                  </a:lnTo>
                  <a:lnTo>
                    <a:pt x="624" y="106"/>
                  </a:lnTo>
                  <a:lnTo>
                    <a:pt x="624" y="108"/>
                  </a:lnTo>
                  <a:lnTo>
                    <a:pt x="620" y="110"/>
                  </a:lnTo>
                  <a:lnTo>
                    <a:pt x="616" y="112"/>
                  </a:lnTo>
                  <a:lnTo>
                    <a:pt x="616" y="112"/>
                  </a:lnTo>
                  <a:lnTo>
                    <a:pt x="616" y="112"/>
                  </a:lnTo>
                  <a:lnTo>
                    <a:pt x="614" y="114"/>
                  </a:lnTo>
                  <a:lnTo>
                    <a:pt x="612" y="116"/>
                  </a:lnTo>
                  <a:lnTo>
                    <a:pt x="610" y="116"/>
                  </a:lnTo>
                  <a:lnTo>
                    <a:pt x="610" y="116"/>
                  </a:lnTo>
                  <a:lnTo>
                    <a:pt x="610" y="118"/>
                  </a:lnTo>
                  <a:lnTo>
                    <a:pt x="610" y="118"/>
                  </a:lnTo>
                  <a:lnTo>
                    <a:pt x="608" y="121"/>
                  </a:lnTo>
                  <a:lnTo>
                    <a:pt x="606" y="123"/>
                  </a:lnTo>
                  <a:lnTo>
                    <a:pt x="606" y="123"/>
                  </a:lnTo>
                  <a:lnTo>
                    <a:pt x="606" y="123"/>
                  </a:lnTo>
                  <a:lnTo>
                    <a:pt x="604" y="123"/>
                  </a:lnTo>
                  <a:lnTo>
                    <a:pt x="604" y="123"/>
                  </a:lnTo>
                  <a:lnTo>
                    <a:pt x="604" y="125"/>
                  </a:lnTo>
                  <a:lnTo>
                    <a:pt x="602" y="125"/>
                  </a:lnTo>
                  <a:lnTo>
                    <a:pt x="602" y="127"/>
                  </a:lnTo>
                  <a:lnTo>
                    <a:pt x="600" y="127"/>
                  </a:lnTo>
                  <a:lnTo>
                    <a:pt x="600" y="129"/>
                  </a:lnTo>
                  <a:lnTo>
                    <a:pt x="596" y="131"/>
                  </a:lnTo>
                  <a:lnTo>
                    <a:pt x="594" y="131"/>
                  </a:lnTo>
                  <a:lnTo>
                    <a:pt x="594" y="133"/>
                  </a:lnTo>
                  <a:lnTo>
                    <a:pt x="594" y="133"/>
                  </a:lnTo>
                  <a:lnTo>
                    <a:pt x="591" y="135"/>
                  </a:lnTo>
                  <a:lnTo>
                    <a:pt x="591" y="137"/>
                  </a:lnTo>
                  <a:lnTo>
                    <a:pt x="589" y="137"/>
                  </a:lnTo>
                  <a:lnTo>
                    <a:pt x="585" y="139"/>
                  </a:lnTo>
                  <a:lnTo>
                    <a:pt x="583" y="139"/>
                  </a:lnTo>
                  <a:lnTo>
                    <a:pt x="583" y="139"/>
                  </a:lnTo>
                  <a:lnTo>
                    <a:pt x="583" y="139"/>
                  </a:lnTo>
                  <a:lnTo>
                    <a:pt x="583" y="137"/>
                  </a:lnTo>
                  <a:lnTo>
                    <a:pt x="581" y="137"/>
                  </a:lnTo>
                  <a:lnTo>
                    <a:pt x="581" y="137"/>
                  </a:lnTo>
                  <a:lnTo>
                    <a:pt x="581" y="137"/>
                  </a:lnTo>
                  <a:lnTo>
                    <a:pt x="579" y="139"/>
                  </a:lnTo>
                  <a:lnTo>
                    <a:pt x="577" y="139"/>
                  </a:lnTo>
                  <a:lnTo>
                    <a:pt x="577" y="139"/>
                  </a:lnTo>
                  <a:lnTo>
                    <a:pt x="577" y="139"/>
                  </a:lnTo>
                  <a:lnTo>
                    <a:pt x="577" y="139"/>
                  </a:lnTo>
                  <a:lnTo>
                    <a:pt x="575" y="139"/>
                  </a:lnTo>
                  <a:lnTo>
                    <a:pt x="575" y="139"/>
                  </a:lnTo>
                  <a:lnTo>
                    <a:pt x="575" y="139"/>
                  </a:lnTo>
                  <a:lnTo>
                    <a:pt x="573" y="139"/>
                  </a:lnTo>
                  <a:lnTo>
                    <a:pt x="573" y="139"/>
                  </a:lnTo>
                  <a:lnTo>
                    <a:pt x="571" y="139"/>
                  </a:lnTo>
                  <a:lnTo>
                    <a:pt x="569" y="139"/>
                  </a:lnTo>
                  <a:lnTo>
                    <a:pt x="569" y="141"/>
                  </a:lnTo>
                  <a:lnTo>
                    <a:pt x="567" y="141"/>
                  </a:lnTo>
                  <a:lnTo>
                    <a:pt x="565" y="143"/>
                  </a:lnTo>
                  <a:lnTo>
                    <a:pt x="563" y="145"/>
                  </a:lnTo>
                  <a:lnTo>
                    <a:pt x="563" y="145"/>
                  </a:lnTo>
                  <a:lnTo>
                    <a:pt x="563" y="145"/>
                  </a:lnTo>
                  <a:lnTo>
                    <a:pt x="559" y="147"/>
                  </a:lnTo>
                  <a:lnTo>
                    <a:pt x="559" y="147"/>
                  </a:lnTo>
                  <a:lnTo>
                    <a:pt x="557" y="147"/>
                  </a:lnTo>
                  <a:lnTo>
                    <a:pt x="557" y="147"/>
                  </a:lnTo>
                  <a:lnTo>
                    <a:pt x="557" y="151"/>
                  </a:lnTo>
                  <a:lnTo>
                    <a:pt x="555" y="151"/>
                  </a:lnTo>
                  <a:lnTo>
                    <a:pt x="555" y="153"/>
                  </a:lnTo>
                  <a:lnTo>
                    <a:pt x="555" y="153"/>
                  </a:lnTo>
                  <a:lnTo>
                    <a:pt x="551" y="155"/>
                  </a:lnTo>
                  <a:lnTo>
                    <a:pt x="551" y="155"/>
                  </a:lnTo>
                  <a:lnTo>
                    <a:pt x="551" y="155"/>
                  </a:lnTo>
                  <a:lnTo>
                    <a:pt x="548" y="157"/>
                  </a:lnTo>
                  <a:lnTo>
                    <a:pt x="548" y="159"/>
                  </a:lnTo>
                  <a:lnTo>
                    <a:pt x="548" y="159"/>
                  </a:lnTo>
                  <a:lnTo>
                    <a:pt x="548" y="159"/>
                  </a:lnTo>
                  <a:lnTo>
                    <a:pt x="548" y="159"/>
                  </a:lnTo>
                  <a:lnTo>
                    <a:pt x="548" y="162"/>
                  </a:lnTo>
                  <a:lnTo>
                    <a:pt x="548" y="162"/>
                  </a:lnTo>
                  <a:lnTo>
                    <a:pt x="548" y="164"/>
                  </a:lnTo>
                  <a:lnTo>
                    <a:pt x="548" y="164"/>
                  </a:lnTo>
                  <a:lnTo>
                    <a:pt x="548" y="164"/>
                  </a:lnTo>
                  <a:lnTo>
                    <a:pt x="546" y="166"/>
                  </a:lnTo>
                  <a:lnTo>
                    <a:pt x="546" y="168"/>
                  </a:lnTo>
                  <a:lnTo>
                    <a:pt x="546" y="168"/>
                  </a:lnTo>
                  <a:lnTo>
                    <a:pt x="546" y="168"/>
                  </a:lnTo>
                  <a:lnTo>
                    <a:pt x="546" y="172"/>
                  </a:lnTo>
                  <a:lnTo>
                    <a:pt x="546" y="174"/>
                  </a:lnTo>
                  <a:lnTo>
                    <a:pt x="546" y="174"/>
                  </a:lnTo>
                  <a:lnTo>
                    <a:pt x="544" y="176"/>
                  </a:lnTo>
                  <a:lnTo>
                    <a:pt x="544" y="176"/>
                  </a:lnTo>
                  <a:lnTo>
                    <a:pt x="542" y="178"/>
                  </a:lnTo>
                  <a:lnTo>
                    <a:pt x="542" y="178"/>
                  </a:lnTo>
                  <a:lnTo>
                    <a:pt x="540" y="178"/>
                  </a:lnTo>
                  <a:lnTo>
                    <a:pt x="536" y="178"/>
                  </a:lnTo>
                  <a:lnTo>
                    <a:pt x="534" y="180"/>
                  </a:lnTo>
                  <a:lnTo>
                    <a:pt x="534" y="180"/>
                  </a:lnTo>
                  <a:lnTo>
                    <a:pt x="534" y="178"/>
                  </a:lnTo>
                  <a:lnTo>
                    <a:pt x="534" y="178"/>
                  </a:lnTo>
                  <a:lnTo>
                    <a:pt x="532" y="178"/>
                  </a:lnTo>
                  <a:lnTo>
                    <a:pt x="532" y="178"/>
                  </a:lnTo>
                  <a:lnTo>
                    <a:pt x="532" y="178"/>
                  </a:lnTo>
                  <a:lnTo>
                    <a:pt x="530" y="178"/>
                  </a:lnTo>
                  <a:lnTo>
                    <a:pt x="530" y="180"/>
                  </a:lnTo>
                  <a:lnTo>
                    <a:pt x="528" y="180"/>
                  </a:lnTo>
                  <a:lnTo>
                    <a:pt x="528" y="182"/>
                  </a:lnTo>
                  <a:lnTo>
                    <a:pt x="526" y="182"/>
                  </a:lnTo>
                  <a:lnTo>
                    <a:pt x="526" y="184"/>
                  </a:lnTo>
                  <a:lnTo>
                    <a:pt x="526" y="184"/>
                  </a:lnTo>
                  <a:lnTo>
                    <a:pt x="526" y="186"/>
                  </a:lnTo>
                  <a:lnTo>
                    <a:pt x="526" y="188"/>
                  </a:lnTo>
                  <a:lnTo>
                    <a:pt x="526" y="192"/>
                  </a:lnTo>
                  <a:lnTo>
                    <a:pt x="526" y="198"/>
                  </a:lnTo>
                  <a:lnTo>
                    <a:pt x="526" y="205"/>
                  </a:lnTo>
                  <a:lnTo>
                    <a:pt x="528" y="209"/>
                  </a:lnTo>
                  <a:lnTo>
                    <a:pt x="520" y="211"/>
                  </a:lnTo>
                  <a:lnTo>
                    <a:pt x="512" y="211"/>
                  </a:lnTo>
                  <a:lnTo>
                    <a:pt x="505" y="211"/>
                  </a:lnTo>
                  <a:lnTo>
                    <a:pt x="503" y="211"/>
                  </a:lnTo>
                  <a:lnTo>
                    <a:pt x="501" y="211"/>
                  </a:lnTo>
                  <a:lnTo>
                    <a:pt x="491" y="213"/>
                  </a:lnTo>
                  <a:lnTo>
                    <a:pt x="479" y="215"/>
                  </a:lnTo>
                  <a:lnTo>
                    <a:pt x="469" y="217"/>
                  </a:lnTo>
                  <a:lnTo>
                    <a:pt x="456" y="217"/>
                  </a:lnTo>
                  <a:lnTo>
                    <a:pt x="446" y="219"/>
                  </a:lnTo>
                  <a:lnTo>
                    <a:pt x="436" y="221"/>
                  </a:lnTo>
                  <a:lnTo>
                    <a:pt x="424" y="221"/>
                  </a:lnTo>
                  <a:lnTo>
                    <a:pt x="413" y="223"/>
                  </a:lnTo>
                  <a:lnTo>
                    <a:pt x="399" y="225"/>
                  </a:lnTo>
                  <a:lnTo>
                    <a:pt x="385" y="227"/>
                  </a:lnTo>
                  <a:lnTo>
                    <a:pt x="372" y="227"/>
                  </a:lnTo>
                  <a:lnTo>
                    <a:pt x="358" y="229"/>
                  </a:lnTo>
                  <a:lnTo>
                    <a:pt x="344" y="231"/>
                  </a:lnTo>
                  <a:lnTo>
                    <a:pt x="329" y="233"/>
                  </a:lnTo>
                  <a:lnTo>
                    <a:pt x="315" y="235"/>
                  </a:lnTo>
                  <a:lnTo>
                    <a:pt x="303" y="235"/>
                  </a:lnTo>
                  <a:lnTo>
                    <a:pt x="288" y="237"/>
                  </a:lnTo>
                  <a:lnTo>
                    <a:pt x="274" y="239"/>
                  </a:lnTo>
                  <a:lnTo>
                    <a:pt x="260" y="239"/>
                  </a:lnTo>
                  <a:lnTo>
                    <a:pt x="245" y="241"/>
                  </a:lnTo>
                  <a:lnTo>
                    <a:pt x="233" y="243"/>
                  </a:lnTo>
                  <a:lnTo>
                    <a:pt x="219" y="243"/>
                  </a:lnTo>
                  <a:lnTo>
                    <a:pt x="204" y="246"/>
                  </a:lnTo>
                  <a:lnTo>
                    <a:pt x="190" y="248"/>
                  </a:lnTo>
                  <a:lnTo>
                    <a:pt x="188" y="248"/>
                  </a:lnTo>
                  <a:lnTo>
                    <a:pt x="186" y="248"/>
                  </a:lnTo>
                  <a:lnTo>
                    <a:pt x="188" y="250"/>
                  </a:lnTo>
                  <a:lnTo>
                    <a:pt x="188" y="250"/>
                  </a:lnTo>
                  <a:lnTo>
                    <a:pt x="184" y="250"/>
                  </a:lnTo>
                  <a:lnTo>
                    <a:pt x="172" y="252"/>
                  </a:lnTo>
                  <a:lnTo>
                    <a:pt x="161" y="254"/>
                  </a:lnTo>
                  <a:lnTo>
                    <a:pt x="149" y="254"/>
                  </a:lnTo>
                  <a:lnTo>
                    <a:pt x="139" y="256"/>
                  </a:lnTo>
                  <a:lnTo>
                    <a:pt x="127" y="256"/>
                  </a:lnTo>
                  <a:lnTo>
                    <a:pt x="114" y="258"/>
                  </a:lnTo>
                  <a:lnTo>
                    <a:pt x="104" y="258"/>
                  </a:lnTo>
                  <a:lnTo>
                    <a:pt x="92" y="260"/>
                  </a:lnTo>
                  <a:lnTo>
                    <a:pt x="81" y="262"/>
                  </a:lnTo>
                  <a:lnTo>
                    <a:pt x="69" y="262"/>
                  </a:lnTo>
                  <a:lnTo>
                    <a:pt x="57" y="264"/>
                  </a:lnTo>
                  <a:lnTo>
                    <a:pt x="47" y="264"/>
                  </a:lnTo>
                  <a:lnTo>
                    <a:pt x="34" y="266"/>
                  </a:lnTo>
                  <a:lnTo>
                    <a:pt x="24" y="266"/>
                  </a:lnTo>
                  <a:lnTo>
                    <a:pt x="12" y="268"/>
                  </a:lnTo>
                  <a:lnTo>
                    <a:pt x="0" y="268"/>
                  </a:lnTo>
                  <a:lnTo>
                    <a:pt x="0" y="268"/>
                  </a:lnTo>
                  <a:lnTo>
                    <a:pt x="0" y="266"/>
                  </a:lnTo>
                  <a:lnTo>
                    <a:pt x="2" y="266"/>
                  </a:lnTo>
                  <a:lnTo>
                    <a:pt x="4" y="264"/>
                  </a:lnTo>
                  <a:lnTo>
                    <a:pt x="8" y="262"/>
                  </a:lnTo>
                  <a:lnTo>
                    <a:pt x="8" y="262"/>
                  </a:lnTo>
                  <a:lnTo>
                    <a:pt x="10" y="260"/>
                  </a:lnTo>
                  <a:lnTo>
                    <a:pt x="10" y="258"/>
                  </a:lnTo>
                  <a:lnTo>
                    <a:pt x="10" y="256"/>
                  </a:lnTo>
                  <a:lnTo>
                    <a:pt x="10" y="254"/>
                  </a:lnTo>
                  <a:lnTo>
                    <a:pt x="12" y="254"/>
                  </a:lnTo>
                  <a:lnTo>
                    <a:pt x="14" y="254"/>
                  </a:lnTo>
                  <a:lnTo>
                    <a:pt x="16" y="254"/>
                  </a:lnTo>
                  <a:lnTo>
                    <a:pt x="18" y="250"/>
                  </a:lnTo>
                  <a:lnTo>
                    <a:pt x="18" y="246"/>
                  </a:lnTo>
                  <a:lnTo>
                    <a:pt x="16" y="241"/>
                  </a:lnTo>
                  <a:lnTo>
                    <a:pt x="14" y="237"/>
                  </a:lnTo>
                  <a:lnTo>
                    <a:pt x="14" y="235"/>
                  </a:lnTo>
                  <a:lnTo>
                    <a:pt x="14" y="229"/>
                  </a:lnTo>
                  <a:lnTo>
                    <a:pt x="14" y="227"/>
                  </a:lnTo>
                  <a:lnTo>
                    <a:pt x="14" y="225"/>
                  </a:lnTo>
                  <a:lnTo>
                    <a:pt x="18" y="221"/>
                  </a:lnTo>
                  <a:lnTo>
                    <a:pt x="20" y="219"/>
                  </a:lnTo>
                  <a:lnTo>
                    <a:pt x="20" y="217"/>
                  </a:lnTo>
                  <a:lnTo>
                    <a:pt x="22" y="215"/>
                  </a:lnTo>
                  <a:lnTo>
                    <a:pt x="20" y="213"/>
                  </a:lnTo>
                  <a:lnTo>
                    <a:pt x="22" y="211"/>
                  </a:lnTo>
                  <a:lnTo>
                    <a:pt x="22" y="211"/>
                  </a:lnTo>
                  <a:lnTo>
                    <a:pt x="24" y="209"/>
                  </a:lnTo>
                  <a:lnTo>
                    <a:pt x="26" y="209"/>
                  </a:lnTo>
                  <a:lnTo>
                    <a:pt x="28" y="209"/>
                  </a:lnTo>
                  <a:lnTo>
                    <a:pt x="28" y="207"/>
                  </a:lnTo>
                  <a:lnTo>
                    <a:pt x="28" y="205"/>
                  </a:lnTo>
                  <a:lnTo>
                    <a:pt x="26" y="202"/>
                  </a:lnTo>
                  <a:lnTo>
                    <a:pt x="26" y="200"/>
                  </a:lnTo>
                  <a:lnTo>
                    <a:pt x="26" y="200"/>
                  </a:lnTo>
                  <a:lnTo>
                    <a:pt x="28" y="198"/>
                  </a:lnTo>
                  <a:lnTo>
                    <a:pt x="28" y="196"/>
                  </a:lnTo>
                  <a:lnTo>
                    <a:pt x="28" y="194"/>
                  </a:lnTo>
                  <a:lnTo>
                    <a:pt x="26" y="192"/>
                  </a:lnTo>
                  <a:lnTo>
                    <a:pt x="24" y="190"/>
                  </a:lnTo>
                  <a:lnTo>
                    <a:pt x="24" y="188"/>
                  </a:lnTo>
                  <a:lnTo>
                    <a:pt x="26" y="186"/>
                  </a:lnTo>
                  <a:lnTo>
                    <a:pt x="38" y="180"/>
                  </a:lnTo>
                  <a:lnTo>
                    <a:pt x="43" y="174"/>
                  </a:lnTo>
                  <a:lnTo>
                    <a:pt x="43" y="172"/>
                  </a:lnTo>
                  <a:lnTo>
                    <a:pt x="41" y="172"/>
                  </a:lnTo>
                  <a:lnTo>
                    <a:pt x="38" y="170"/>
                  </a:lnTo>
                  <a:lnTo>
                    <a:pt x="38" y="168"/>
                  </a:lnTo>
                  <a:lnTo>
                    <a:pt x="38" y="166"/>
                  </a:lnTo>
                  <a:lnTo>
                    <a:pt x="41" y="166"/>
                  </a:lnTo>
                  <a:lnTo>
                    <a:pt x="43" y="166"/>
                  </a:lnTo>
                  <a:lnTo>
                    <a:pt x="47" y="168"/>
                  </a:lnTo>
                  <a:lnTo>
                    <a:pt x="47" y="168"/>
                  </a:lnTo>
                  <a:lnTo>
                    <a:pt x="47" y="166"/>
                  </a:lnTo>
                  <a:lnTo>
                    <a:pt x="47" y="162"/>
                  </a:lnTo>
                  <a:lnTo>
                    <a:pt x="43" y="159"/>
                  </a:lnTo>
                  <a:lnTo>
                    <a:pt x="43" y="157"/>
                  </a:lnTo>
                  <a:lnTo>
                    <a:pt x="43" y="155"/>
                  </a:lnTo>
                  <a:lnTo>
                    <a:pt x="43" y="153"/>
                  </a:lnTo>
                  <a:lnTo>
                    <a:pt x="45" y="147"/>
                  </a:lnTo>
                  <a:lnTo>
                    <a:pt x="45" y="145"/>
                  </a:lnTo>
                  <a:lnTo>
                    <a:pt x="45" y="145"/>
                  </a:lnTo>
                  <a:lnTo>
                    <a:pt x="47" y="143"/>
                  </a:lnTo>
                  <a:lnTo>
                    <a:pt x="49" y="143"/>
                  </a:lnTo>
                  <a:lnTo>
                    <a:pt x="49" y="143"/>
                  </a:lnTo>
                  <a:lnTo>
                    <a:pt x="51" y="141"/>
                  </a:lnTo>
                  <a:lnTo>
                    <a:pt x="47" y="137"/>
                  </a:lnTo>
                  <a:lnTo>
                    <a:pt x="43" y="129"/>
                  </a:lnTo>
                  <a:lnTo>
                    <a:pt x="43" y="129"/>
                  </a:lnTo>
                  <a:lnTo>
                    <a:pt x="51" y="129"/>
                  </a:lnTo>
                  <a:lnTo>
                    <a:pt x="53" y="127"/>
                  </a:lnTo>
                  <a:lnTo>
                    <a:pt x="53" y="127"/>
                  </a:lnTo>
                  <a:lnTo>
                    <a:pt x="53" y="125"/>
                  </a:lnTo>
                  <a:lnTo>
                    <a:pt x="53" y="125"/>
                  </a:lnTo>
                  <a:lnTo>
                    <a:pt x="51" y="125"/>
                  </a:lnTo>
                  <a:lnTo>
                    <a:pt x="49" y="123"/>
                  </a:lnTo>
                  <a:lnTo>
                    <a:pt x="47" y="121"/>
                  </a:lnTo>
                  <a:lnTo>
                    <a:pt x="47" y="118"/>
                  </a:lnTo>
                  <a:lnTo>
                    <a:pt x="49" y="118"/>
                  </a:lnTo>
                  <a:lnTo>
                    <a:pt x="51" y="118"/>
                  </a:lnTo>
                  <a:lnTo>
                    <a:pt x="53" y="116"/>
                  </a:lnTo>
                  <a:lnTo>
                    <a:pt x="55" y="116"/>
                  </a:lnTo>
                  <a:lnTo>
                    <a:pt x="55" y="114"/>
                  </a:lnTo>
                  <a:lnTo>
                    <a:pt x="55" y="112"/>
                  </a:lnTo>
                  <a:lnTo>
                    <a:pt x="53" y="106"/>
                  </a:lnTo>
                  <a:lnTo>
                    <a:pt x="51" y="106"/>
                  </a:lnTo>
                  <a:lnTo>
                    <a:pt x="53" y="104"/>
                  </a:lnTo>
                  <a:lnTo>
                    <a:pt x="51" y="102"/>
                  </a:lnTo>
                  <a:lnTo>
                    <a:pt x="51" y="102"/>
                  </a:lnTo>
                  <a:lnTo>
                    <a:pt x="57" y="100"/>
                  </a:lnTo>
                  <a:lnTo>
                    <a:pt x="57" y="102"/>
                  </a:lnTo>
                  <a:lnTo>
                    <a:pt x="55" y="104"/>
                  </a:lnTo>
                  <a:lnTo>
                    <a:pt x="57" y="106"/>
                  </a:lnTo>
                  <a:lnTo>
                    <a:pt x="59" y="106"/>
                  </a:lnTo>
                  <a:lnTo>
                    <a:pt x="59" y="104"/>
                  </a:lnTo>
                  <a:lnTo>
                    <a:pt x="61" y="104"/>
                  </a:lnTo>
                  <a:lnTo>
                    <a:pt x="63" y="102"/>
                  </a:lnTo>
                  <a:lnTo>
                    <a:pt x="63" y="100"/>
                  </a:lnTo>
                  <a:lnTo>
                    <a:pt x="77" y="98"/>
                  </a:lnTo>
                  <a:lnTo>
                    <a:pt x="92" y="98"/>
                  </a:lnTo>
                  <a:lnTo>
                    <a:pt x="108" y="96"/>
                  </a:lnTo>
                  <a:lnTo>
                    <a:pt x="122" y="94"/>
                  </a:lnTo>
                  <a:lnTo>
                    <a:pt x="137" y="94"/>
                  </a:lnTo>
                  <a:lnTo>
                    <a:pt x="153" y="92"/>
                  </a:lnTo>
                  <a:lnTo>
                    <a:pt x="168" y="90"/>
                  </a:lnTo>
                  <a:lnTo>
                    <a:pt x="182" y="88"/>
                  </a:lnTo>
                  <a:lnTo>
                    <a:pt x="182" y="86"/>
                  </a:lnTo>
                  <a:lnTo>
                    <a:pt x="182" y="82"/>
                  </a:lnTo>
                  <a:lnTo>
                    <a:pt x="182" y="80"/>
                  </a:lnTo>
                  <a:lnTo>
                    <a:pt x="180" y="75"/>
                  </a:lnTo>
                  <a:lnTo>
                    <a:pt x="178" y="69"/>
                  </a:lnTo>
                  <a:lnTo>
                    <a:pt x="178" y="69"/>
                  </a:lnTo>
                  <a:lnTo>
                    <a:pt x="178" y="67"/>
                  </a:lnTo>
                  <a:lnTo>
                    <a:pt x="178" y="67"/>
                  </a:lnTo>
                  <a:lnTo>
                    <a:pt x="178" y="67"/>
                  </a:lnTo>
                  <a:lnTo>
                    <a:pt x="184" y="67"/>
                  </a:lnTo>
                  <a:lnTo>
                    <a:pt x="190" y="67"/>
                  </a:lnTo>
                  <a:lnTo>
                    <a:pt x="196" y="67"/>
                  </a:lnTo>
                  <a:lnTo>
                    <a:pt x="196" y="67"/>
                  </a:lnTo>
                  <a:lnTo>
                    <a:pt x="196" y="69"/>
                  </a:lnTo>
                  <a:lnTo>
                    <a:pt x="198" y="69"/>
                  </a:lnTo>
                  <a:lnTo>
                    <a:pt x="198" y="71"/>
                  </a:lnTo>
                  <a:lnTo>
                    <a:pt x="198" y="71"/>
                  </a:lnTo>
                  <a:lnTo>
                    <a:pt x="198" y="71"/>
                  </a:lnTo>
                  <a:lnTo>
                    <a:pt x="202" y="69"/>
                  </a:lnTo>
                  <a:lnTo>
                    <a:pt x="204" y="69"/>
                  </a:lnTo>
                  <a:lnTo>
                    <a:pt x="206" y="69"/>
                  </a:lnTo>
                  <a:lnTo>
                    <a:pt x="213" y="69"/>
                  </a:lnTo>
                  <a:lnTo>
                    <a:pt x="219" y="67"/>
                  </a:lnTo>
                  <a:lnTo>
                    <a:pt x="227" y="67"/>
                  </a:lnTo>
                  <a:lnTo>
                    <a:pt x="235" y="65"/>
                  </a:lnTo>
                  <a:lnTo>
                    <a:pt x="245" y="65"/>
                  </a:lnTo>
                  <a:lnTo>
                    <a:pt x="254" y="63"/>
                  </a:lnTo>
                  <a:lnTo>
                    <a:pt x="264" y="63"/>
                  </a:lnTo>
                  <a:lnTo>
                    <a:pt x="274" y="61"/>
                  </a:lnTo>
                  <a:lnTo>
                    <a:pt x="282" y="61"/>
                  </a:lnTo>
                  <a:lnTo>
                    <a:pt x="290" y="59"/>
                  </a:lnTo>
                  <a:lnTo>
                    <a:pt x="297" y="59"/>
                  </a:lnTo>
                  <a:lnTo>
                    <a:pt x="301" y="57"/>
                  </a:lnTo>
                  <a:lnTo>
                    <a:pt x="305" y="57"/>
                  </a:lnTo>
                  <a:lnTo>
                    <a:pt x="307" y="57"/>
                  </a:lnTo>
                  <a:lnTo>
                    <a:pt x="309" y="57"/>
                  </a:lnTo>
                  <a:lnTo>
                    <a:pt x="313" y="55"/>
                  </a:lnTo>
                  <a:lnTo>
                    <a:pt x="313" y="55"/>
                  </a:lnTo>
                  <a:lnTo>
                    <a:pt x="317" y="55"/>
                  </a:lnTo>
                  <a:lnTo>
                    <a:pt x="319" y="55"/>
                  </a:lnTo>
                  <a:lnTo>
                    <a:pt x="327" y="55"/>
                  </a:lnTo>
                  <a:lnTo>
                    <a:pt x="340" y="53"/>
                  </a:lnTo>
                  <a:lnTo>
                    <a:pt x="354" y="51"/>
                  </a:lnTo>
                  <a:lnTo>
                    <a:pt x="370" y="51"/>
                  </a:lnTo>
                  <a:lnTo>
                    <a:pt x="391" y="49"/>
                  </a:lnTo>
                  <a:lnTo>
                    <a:pt x="411" y="47"/>
                  </a:lnTo>
                  <a:lnTo>
                    <a:pt x="434" y="45"/>
                  </a:lnTo>
                  <a:lnTo>
                    <a:pt x="456" y="43"/>
                  </a:lnTo>
                  <a:lnTo>
                    <a:pt x="477" y="39"/>
                  </a:lnTo>
                  <a:lnTo>
                    <a:pt x="495" y="37"/>
                  </a:lnTo>
                  <a:lnTo>
                    <a:pt x="514" y="37"/>
                  </a:lnTo>
                  <a:lnTo>
                    <a:pt x="528" y="34"/>
                  </a:lnTo>
                  <a:lnTo>
                    <a:pt x="540" y="32"/>
                  </a:lnTo>
                  <a:lnTo>
                    <a:pt x="546" y="32"/>
                  </a:lnTo>
                  <a:lnTo>
                    <a:pt x="551" y="32"/>
                  </a:lnTo>
                  <a:lnTo>
                    <a:pt x="555" y="30"/>
                  </a:lnTo>
                  <a:lnTo>
                    <a:pt x="557" y="30"/>
                  </a:lnTo>
                  <a:lnTo>
                    <a:pt x="559" y="28"/>
                  </a:lnTo>
                  <a:lnTo>
                    <a:pt x="559" y="2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TN</a:t>
              </a:r>
            </a:p>
          </p:txBody>
        </p:sp>
        <p:sp>
          <p:nvSpPr>
            <p:cNvPr id="93" name="Freeform 14">
              <a:extLst>
                <a:ext uri="{FF2B5EF4-FFF2-40B4-BE49-F238E27FC236}">
                  <a16:creationId xmlns:a16="http://schemas.microsoft.com/office/drawing/2014/main" id="{88B143FD-5B77-ED38-11B5-2C8EC97EDC9A}"/>
                </a:ext>
              </a:extLst>
            </p:cNvPr>
            <p:cNvSpPr>
              <a:spLocks/>
            </p:cNvSpPr>
            <p:nvPr/>
          </p:nvSpPr>
          <p:spPr bwMode="auto">
            <a:xfrm>
              <a:off x="2403" y="490"/>
              <a:ext cx="612" cy="361"/>
            </a:xfrm>
            <a:custGeom>
              <a:avLst/>
              <a:gdLst>
                <a:gd name="T0" fmla="*/ 594 w 612"/>
                <a:gd name="T1" fmla="*/ 10 h 361"/>
                <a:gd name="T2" fmla="*/ 588 w 612"/>
                <a:gd name="T3" fmla="*/ 20 h 361"/>
                <a:gd name="T4" fmla="*/ 573 w 612"/>
                <a:gd name="T5" fmla="*/ 33 h 361"/>
                <a:gd name="T6" fmla="*/ 579 w 612"/>
                <a:gd name="T7" fmla="*/ 45 h 361"/>
                <a:gd name="T8" fmla="*/ 598 w 612"/>
                <a:gd name="T9" fmla="*/ 59 h 361"/>
                <a:gd name="T10" fmla="*/ 606 w 612"/>
                <a:gd name="T11" fmla="*/ 67 h 361"/>
                <a:gd name="T12" fmla="*/ 608 w 612"/>
                <a:gd name="T13" fmla="*/ 164 h 361"/>
                <a:gd name="T14" fmla="*/ 600 w 612"/>
                <a:gd name="T15" fmla="*/ 256 h 361"/>
                <a:gd name="T16" fmla="*/ 600 w 612"/>
                <a:gd name="T17" fmla="*/ 262 h 361"/>
                <a:gd name="T18" fmla="*/ 604 w 612"/>
                <a:gd name="T19" fmla="*/ 268 h 361"/>
                <a:gd name="T20" fmla="*/ 604 w 612"/>
                <a:gd name="T21" fmla="*/ 279 h 361"/>
                <a:gd name="T22" fmla="*/ 602 w 612"/>
                <a:gd name="T23" fmla="*/ 281 h 361"/>
                <a:gd name="T24" fmla="*/ 602 w 612"/>
                <a:gd name="T25" fmla="*/ 283 h 361"/>
                <a:gd name="T26" fmla="*/ 604 w 612"/>
                <a:gd name="T27" fmla="*/ 285 h 361"/>
                <a:gd name="T28" fmla="*/ 610 w 612"/>
                <a:gd name="T29" fmla="*/ 287 h 361"/>
                <a:gd name="T30" fmla="*/ 612 w 612"/>
                <a:gd name="T31" fmla="*/ 295 h 361"/>
                <a:gd name="T32" fmla="*/ 608 w 612"/>
                <a:gd name="T33" fmla="*/ 303 h 361"/>
                <a:gd name="T34" fmla="*/ 610 w 612"/>
                <a:gd name="T35" fmla="*/ 307 h 361"/>
                <a:gd name="T36" fmla="*/ 608 w 612"/>
                <a:gd name="T37" fmla="*/ 311 h 361"/>
                <a:gd name="T38" fmla="*/ 606 w 612"/>
                <a:gd name="T39" fmla="*/ 318 h 361"/>
                <a:gd name="T40" fmla="*/ 604 w 612"/>
                <a:gd name="T41" fmla="*/ 322 h 361"/>
                <a:gd name="T42" fmla="*/ 602 w 612"/>
                <a:gd name="T43" fmla="*/ 326 h 361"/>
                <a:gd name="T44" fmla="*/ 602 w 612"/>
                <a:gd name="T45" fmla="*/ 328 h 361"/>
                <a:gd name="T46" fmla="*/ 598 w 612"/>
                <a:gd name="T47" fmla="*/ 336 h 361"/>
                <a:gd name="T48" fmla="*/ 606 w 612"/>
                <a:gd name="T49" fmla="*/ 344 h 361"/>
                <a:gd name="T50" fmla="*/ 608 w 612"/>
                <a:gd name="T51" fmla="*/ 346 h 361"/>
                <a:gd name="T52" fmla="*/ 608 w 612"/>
                <a:gd name="T53" fmla="*/ 350 h 361"/>
                <a:gd name="T54" fmla="*/ 610 w 612"/>
                <a:gd name="T55" fmla="*/ 352 h 361"/>
                <a:gd name="T56" fmla="*/ 602 w 612"/>
                <a:gd name="T57" fmla="*/ 358 h 361"/>
                <a:gd name="T58" fmla="*/ 594 w 612"/>
                <a:gd name="T59" fmla="*/ 348 h 361"/>
                <a:gd name="T60" fmla="*/ 594 w 612"/>
                <a:gd name="T61" fmla="*/ 344 h 361"/>
                <a:gd name="T62" fmla="*/ 586 w 612"/>
                <a:gd name="T63" fmla="*/ 342 h 361"/>
                <a:gd name="T64" fmla="*/ 573 w 612"/>
                <a:gd name="T65" fmla="*/ 336 h 361"/>
                <a:gd name="T66" fmla="*/ 565 w 612"/>
                <a:gd name="T67" fmla="*/ 334 h 361"/>
                <a:gd name="T68" fmla="*/ 553 w 612"/>
                <a:gd name="T69" fmla="*/ 328 h 361"/>
                <a:gd name="T70" fmla="*/ 526 w 612"/>
                <a:gd name="T71" fmla="*/ 326 h 361"/>
                <a:gd name="T72" fmla="*/ 512 w 612"/>
                <a:gd name="T73" fmla="*/ 326 h 361"/>
                <a:gd name="T74" fmla="*/ 497 w 612"/>
                <a:gd name="T75" fmla="*/ 328 h 361"/>
                <a:gd name="T76" fmla="*/ 493 w 612"/>
                <a:gd name="T77" fmla="*/ 334 h 361"/>
                <a:gd name="T78" fmla="*/ 481 w 612"/>
                <a:gd name="T79" fmla="*/ 332 h 361"/>
                <a:gd name="T80" fmla="*/ 461 w 612"/>
                <a:gd name="T81" fmla="*/ 320 h 361"/>
                <a:gd name="T82" fmla="*/ 448 w 612"/>
                <a:gd name="T83" fmla="*/ 313 h 361"/>
                <a:gd name="T84" fmla="*/ 373 w 612"/>
                <a:gd name="T85" fmla="*/ 313 h 361"/>
                <a:gd name="T86" fmla="*/ 289 w 612"/>
                <a:gd name="T87" fmla="*/ 313 h 361"/>
                <a:gd name="T88" fmla="*/ 207 w 612"/>
                <a:gd name="T89" fmla="*/ 313 h 361"/>
                <a:gd name="T90" fmla="*/ 125 w 612"/>
                <a:gd name="T91" fmla="*/ 311 h 361"/>
                <a:gd name="T92" fmla="*/ 41 w 612"/>
                <a:gd name="T93" fmla="*/ 309 h 361"/>
                <a:gd name="T94" fmla="*/ 2 w 612"/>
                <a:gd name="T95" fmla="*/ 268 h 361"/>
                <a:gd name="T96" fmla="*/ 4 w 612"/>
                <a:gd name="T97" fmla="*/ 188 h 361"/>
                <a:gd name="T98" fmla="*/ 6 w 612"/>
                <a:gd name="T99" fmla="*/ 111 h 361"/>
                <a:gd name="T100" fmla="*/ 10 w 612"/>
                <a:gd name="T101" fmla="*/ 67 h 361"/>
                <a:gd name="T102" fmla="*/ 12 w 612"/>
                <a:gd name="T103" fmla="*/ 0 h 361"/>
                <a:gd name="T104" fmla="*/ 123 w 612"/>
                <a:gd name="T105" fmla="*/ 2 h 361"/>
                <a:gd name="T106" fmla="*/ 231 w 612"/>
                <a:gd name="T107" fmla="*/ 4 h 361"/>
                <a:gd name="T108" fmla="*/ 340 w 612"/>
                <a:gd name="T109" fmla="*/ 4 h 361"/>
                <a:gd name="T110" fmla="*/ 448 w 612"/>
                <a:gd name="T111" fmla="*/ 4 h 361"/>
                <a:gd name="T112" fmla="*/ 559 w 612"/>
                <a:gd name="T113" fmla="*/ 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2" h="361">
                  <a:moveTo>
                    <a:pt x="596" y="0"/>
                  </a:moveTo>
                  <a:lnTo>
                    <a:pt x="594" y="2"/>
                  </a:lnTo>
                  <a:lnTo>
                    <a:pt x="594" y="2"/>
                  </a:lnTo>
                  <a:lnTo>
                    <a:pt x="594" y="2"/>
                  </a:lnTo>
                  <a:lnTo>
                    <a:pt x="594" y="4"/>
                  </a:lnTo>
                  <a:lnTo>
                    <a:pt x="594" y="10"/>
                  </a:lnTo>
                  <a:lnTo>
                    <a:pt x="594" y="12"/>
                  </a:lnTo>
                  <a:lnTo>
                    <a:pt x="592" y="14"/>
                  </a:lnTo>
                  <a:lnTo>
                    <a:pt x="590" y="18"/>
                  </a:lnTo>
                  <a:lnTo>
                    <a:pt x="590" y="20"/>
                  </a:lnTo>
                  <a:lnTo>
                    <a:pt x="588" y="20"/>
                  </a:lnTo>
                  <a:lnTo>
                    <a:pt x="588" y="20"/>
                  </a:lnTo>
                  <a:lnTo>
                    <a:pt x="586" y="22"/>
                  </a:lnTo>
                  <a:lnTo>
                    <a:pt x="579" y="27"/>
                  </a:lnTo>
                  <a:lnTo>
                    <a:pt x="579" y="27"/>
                  </a:lnTo>
                  <a:lnTo>
                    <a:pt x="577" y="29"/>
                  </a:lnTo>
                  <a:lnTo>
                    <a:pt x="575" y="31"/>
                  </a:lnTo>
                  <a:lnTo>
                    <a:pt x="573" y="33"/>
                  </a:lnTo>
                  <a:lnTo>
                    <a:pt x="573" y="33"/>
                  </a:lnTo>
                  <a:lnTo>
                    <a:pt x="573" y="35"/>
                  </a:lnTo>
                  <a:lnTo>
                    <a:pt x="571" y="37"/>
                  </a:lnTo>
                  <a:lnTo>
                    <a:pt x="573" y="39"/>
                  </a:lnTo>
                  <a:lnTo>
                    <a:pt x="577" y="43"/>
                  </a:lnTo>
                  <a:lnTo>
                    <a:pt x="579" y="45"/>
                  </a:lnTo>
                  <a:lnTo>
                    <a:pt x="583" y="51"/>
                  </a:lnTo>
                  <a:lnTo>
                    <a:pt x="586" y="55"/>
                  </a:lnTo>
                  <a:lnTo>
                    <a:pt x="586" y="57"/>
                  </a:lnTo>
                  <a:lnTo>
                    <a:pt x="592" y="57"/>
                  </a:lnTo>
                  <a:lnTo>
                    <a:pt x="596" y="57"/>
                  </a:lnTo>
                  <a:lnTo>
                    <a:pt x="598" y="59"/>
                  </a:lnTo>
                  <a:lnTo>
                    <a:pt x="600" y="59"/>
                  </a:lnTo>
                  <a:lnTo>
                    <a:pt x="602" y="61"/>
                  </a:lnTo>
                  <a:lnTo>
                    <a:pt x="602" y="61"/>
                  </a:lnTo>
                  <a:lnTo>
                    <a:pt x="604" y="65"/>
                  </a:lnTo>
                  <a:lnTo>
                    <a:pt x="604" y="67"/>
                  </a:lnTo>
                  <a:lnTo>
                    <a:pt x="606" y="67"/>
                  </a:lnTo>
                  <a:lnTo>
                    <a:pt x="606" y="67"/>
                  </a:lnTo>
                  <a:lnTo>
                    <a:pt x="606" y="72"/>
                  </a:lnTo>
                  <a:lnTo>
                    <a:pt x="606" y="94"/>
                  </a:lnTo>
                  <a:lnTo>
                    <a:pt x="606" y="117"/>
                  </a:lnTo>
                  <a:lnTo>
                    <a:pt x="608" y="141"/>
                  </a:lnTo>
                  <a:lnTo>
                    <a:pt x="608" y="164"/>
                  </a:lnTo>
                  <a:lnTo>
                    <a:pt x="608" y="186"/>
                  </a:lnTo>
                  <a:lnTo>
                    <a:pt x="610" y="209"/>
                  </a:lnTo>
                  <a:lnTo>
                    <a:pt x="610" y="233"/>
                  </a:lnTo>
                  <a:lnTo>
                    <a:pt x="612" y="256"/>
                  </a:lnTo>
                  <a:lnTo>
                    <a:pt x="600" y="256"/>
                  </a:lnTo>
                  <a:lnTo>
                    <a:pt x="600" y="256"/>
                  </a:lnTo>
                  <a:lnTo>
                    <a:pt x="600" y="258"/>
                  </a:lnTo>
                  <a:lnTo>
                    <a:pt x="600" y="258"/>
                  </a:lnTo>
                  <a:lnTo>
                    <a:pt x="600" y="258"/>
                  </a:lnTo>
                  <a:lnTo>
                    <a:pt x="600" y="260"/>
                  </a:lnTo>
                  <a:lnTo>
                    <a:pt x="600" y="260"/>
                  </a:lnTo>
                  <a:lnTo>
                    <a:pt x="600" y="262"/>
                  </a:lnTo>
                  <a:lnTo>
                    <a:pt x="600" y="262"/>
                  </a:lnTo>
                  <a:lnTo>
                    <a:pt x="600" y="264"/>
                  </a:lnTo>
                  <a:lnTo>
                    <a:pt x="602" y="264"/>
                  </a:lnTo>
                  <a:lnTo>
                    <a:pt x="602" y="266"/>
                  </a:lnTo>
                  <a:lnTo>
                    <a:pt x="604" y="266"/>
                  </a:lnTo>
                  <a:lnTo>
                    <a:pt x="604" y="268"/>
                  </a:lnTo>
                  <a:lnTo>
                    <a:pt x="604" y="268"/>
                  </a:lnTo>
                  <a:lnTo>
                    <a:pt x="606" y="268"/>
                  </a:lnTo>
                  <a:lnTo>
                    <a:pt x="606" y="274"/>
                  </a:lnTo>
                  <a:lnTo>
                    <a:pt x="606" y="277"/>
                  </a:lnTo>
                  <a:lnTo>
                    <a:pt x="604" y="279"/>
                  </a:lnTo>
                  <a:lnTo>
                    <a:pt x="604" y="279"/>
                  </a:lnTo>
                  <a:lnTo>
                    <a:pt x="604" y="279"/>
                  </a:lnTo>
                  <a:lnTo>
                    <a:pt x="604" y="279"/>
                  </a:lnTo>
                  <a:lnTo>
                    <a:pt x="602" y="279"/>
                  </a:lnTo>
                  <a:lnTo>
                    <a:pt x="602" y="279"/>
                  </a:lnTo>
                  <a:lnTo>
                    <a:pt x="602" y="279"/>
                  </a:lnTo>
                  <a:lnTo>
                    <a:pt x="602" y="281"/>
                  </a:lnTo>
                  <a:lnTo>
                    <a:pt x="602" y="281"/>
                  </a:lnTo>
                  <a:lnTo>
                    <a:pt x="604" y="281"/>
                  </a:lnTo>
                  <a:lnTo>
                    <a:pt x="604" y="283"/>
                  </a:lnTo>
                  <a:lnTo>
                    <a:pt x="604" y="283"/>
                  </a:lnTo>
                  <a:lnTo>
                    <a:pt x="604" y="283"/>
                  </a:lnTo>
                  <a:lnTo>
                    <a:pt x="602" y="283"/>
                  </a:lnTo>
                  <a:lnTo>
                    <a:pt x="602" y="285"/>
                  </a:lnTo>
                  <a:lnTo>
                    <a:pt x="602" y="285"/>
                  </a:lnTo>
                  <a:lnTo>
                    <a:pt x="602" y="285"/>
                  </a:lnTo>
                  <a:lnTo>
                    <a:pt x="604" y="285"/>
                  </a:lnTo>
                  <a:lnTo>
                    <a:pt x="604" y="285"/>
                  </a:lnTo>
                  <a:lnTo>
                    <a:pt x="604" y="285"/>
                  </a:lnTo>
                  <a:lnTo>
                    <a:pt x="606" y="285"/>
                  </a:lnTo>
                  <a:lnTo>
                    <a:pt x="608" y="287"/>
                  </a:lnTo>
                  <a:lnTo>
                    <a:pt x="608" y="287"/>
                  </a:lnTo>
                  <a:lnTo>
                    <a:pt x="608" y="285"/>
                  </a:lnTo>
                  <a:lnTo>
                    <a:pt x="610" y="285"/>
                  </a:lnTo>
                  <a:lnTo>
                    <a:pt x="610" y="287"/>
                  </a:lnTo>
                  <a:lnTo>
                    <a:pt x="610" y="287"/>
                  </a:lnTo>
                  <a:lnTo>
                    <a:pt x="610" y="287"/>
                  </a:lnTo>
                  <a:lnTo>
                    <a:pt x="610" y="289"/>
                  </a:lnTo>
                  <a:lnTo>
                    <a:pt x="612" y="293"/>
                  </a:lnTo>
                  <a:lnTo>
                    <a:pt x="612" y="293"/>
                  </a:lnTo>
                  <a:lnTo>
                    <a:pt x="612" y="295"/>
                  </a:lnTo>
                  <a:lnTo>
                    <a:pt x="612" y="295"/>
                  </a:lnTo>
                  <a:lnTo>
                    <a:pt x="612" y="295"/>
                  </a:lnTo>
                  <a:lnTo>
                    <a:pt x="612" y="301"/>
                  </a:lnTo>
                  <a:lnTo>
                    <a:pt x="612" y="301"/>
                  </a:lnTo>
                  <a:lnTo>
                    <a:pt x="610" y="301"/>
                  </a:lnTo>
                  <a:lnTo>
                    <a:pt x="608" y="303"/>
                  </a:lnTo>
                  <a:lnTo>
                    <a:pt x="608" y="305"/>
                  </a:lnTo>
                  <a:lnTo>
                    <a:pt x="608" y="305"/>
                  </a:lnTo>
                  <a:lnTo>
                    <a:pt x="608" y="305"/>
                  </a:lnTo>
                  <a:lnTo>
                    <a:pt x="608" y="305"/>
                  </a:lnTo>
                  <a:lnTo>
                    <a:pt x="608" y="307"/>
                  </a:lnTo>
                  <a:lnTo>
                    <a:pt x="610" y="307"/>
                  </a:lnTo>
                  <a:lnTo>
                    <a:pt x="608" y="307"/>
                  </a:lnTo>
                  <a:lnTo>
                    <a:pt x="608" y="309"/>
                  </a:lnTo>
                  <a:lnTo>
                    <a:pt x="608" y="309"/>
                  </a:lnTo>
                  <a:lnTo>
                    <a:pt x="608" y="309"/>
                  </a:lnTo>
                  <a:lnTo>
                    <a:pt x="608" y="309"/>
                  </a:lnTo>
                  <a:lnTo>
                    <a:pt x="608" y="311"/>
                  </a:lnTo>
                  <a:lnTo>
                    <a:pt x="608" y="313"/>
                  </a:lnTo>
                  <a:lnTo>
                    <a:pt x="608" y="313"/>
                  </a:lnTo>
                  <a:lnTo>
                    <a:pt x="608" y="313"/>
                  </a:lnTo>
                  <a:lnTo>
                    <a:pt x="606" y="315"/>
                  </a:lnTo>
                  <a:lnTo>
                    <a:pt x="606" y="315"/>
                  </a:lnTo>
                  <a:lnTo>
                    <a:pt x="606" y="318"/>
                  </a:lnTo>
                  <a:lnTo>
                    <a:pt x="606" y="320"/>
                  </a:lnTo>
                  <a:lnTo>
                    <a:pt x="606" y="322"/>
                  </a:lnTo>
                  <a:lnTo>
                    <a:pt x="606" y="322"/>
                  </a:lnTo>
                  <a:lnTo>
                    <a:pt x="606" y="322"/>
                  </a:lnTo>
                  <a:lnTo>
                    <a:pt x="606" y="322"/>
                  </a:lnTo>
                  <a:lnTo>
                    <a:pt x="604" y="322"/>
                  </a:lnTo>
                  <a:lnTo>
                    <a:pt x="604" y="324"/>
                  </a:lnTo>
                  <a:lnTo>
                    <a:pt x="604" y="324"/>
                  </a:lnTo>
                  <a:lnTo>
                    <a:pt x="604" y="326"/>
                  </a:lnTo>
                  <a:lnTo>
                    <a:pt x="604" y="326"/>
                  </a:lnTo>
                  <a:lnTo>
                    <a:pt x="604" y="326"/>
                  </a:lnTo>
                  <a:lnTo>
                    <a:pt x="602" y="326"/>
                  </a:lnTo>
                  <a:lnTo>
                    <a:pt x="602" y="326"/>
                  </a:lnTo>
                  <a:lnTo>
                    <a:pt x="602" y="326"/>
                  </a:lnTo>
                  <a:lnTo>
                    <a:pt x="602" y="328"/>
                  </a:lnTo>
                  <a:lnTo>
                    <a:pt x="602" y="328"/>
                  </a:lnTo>
                  <a:lnTo>
                    <a:pt x="602" y="328"/>
                  </a:lnTo>
                  <a:lnTo>
                    <a:pt x="602" y="328"/>
                  </a:lnTo>
                  <a:lnTo>
                    <a:pt x="602" y="330"/>
                  </a:lnTo>
                  <a:lnTo>
                    <a:pt x="602" y="330"/>
                  </a:lnTo>
                  <a:lnTo>
                    <a:pt x="600" y="332"/>
                  </a:lnTo>
                  <a:lnTo>
                    <a:pt x="600" y="334"/>
                  </a:lnTo>
                  <a:lnTo>
                    <a:pt x="600" y="334"/>
                  </a:lnTo>
                  <a:lnTo>
                    <a:pt x="598" y="336"/>
                  </a:lnTo>
                  <a:lnTo>
                    <a:pt x="600" y="336"/>
                  </a:lnTo>
                  <a:lnTo>
                    <a:pt x="600" y="338"/>
                  </a:lnTo>
                  <a:lnTo>
                    <a:pt x="600" y="340"/>
                  </a:lnTo>
                  <a:lnTo>
                    <a:pt x="602" y="340"/>
                  </a:lnTo>
                  <a:lnTo>
                    <a:pt x="602" y="340"/>
                  </a:lnTo>
                  <a:lnTo>
                    <a:pt x="606" y="344"/>
                  </a:lnTo>
                  <a:lnTo>
                    <a:pt x="608" y="344"/>
                  </a:lnTo>
                  <a:lnTo>
                    <a:pt x="608" y="344"/>
                  </a:lnTo>
                  <a:lnTo>
                    <a:pt x="608" y="346"/>
                  </a:lnTo>
                  <a:lnTo>
                    <a:pt x="608" y="346"/>
                  </a:lnTo>
                  <a:lnTo>
                    <a:pt x="608" y="346"/>
                  </a:lnTo>
                  <a:lnTo>
                    <a:pt x="608" y="346"/>
                  </a:lnTo>
                  <a:lnTo>
                    <a:pt x="608" y="348"/>
                  </a:lnTo>
                  <a:lnTo>
                    <a:pt x="606" y="348"/>
                  </a:lnTo>
                  <a:lnTo>
                    <a:pt x="606" y="348"/>
                  </a:lnTo>
                  <a:lnTo>
                    <a:pt x="608" y="348"/>
                  </a:lnTo>
                  <a:lnTo>
                    <a:pt x="608" y="348"/>
                  </a:lnTo>
                  <a:lnTo>
                    <a:pt x="608" y="350"/>
                  </a:lnTo>
                  <a:lnTo>
                    <a:pt x="610" y="350"/>
                  </a:lnTo>
                  <a:lnTo>
                    <a:pt x="610" y="350"/>
                  </a:lnTo>
                  <a:lnTo>
                    <a:pt x="610" y="350"/>
                  </a:lnTo>
                  <a:lnTo>
                    <a:pt x="610" y="352"/>
                  </a:lnTo>
                  <a:lnTo>
                    <a:pt x="610" y="352"/>
                  </a:lnTo>
                  <a:lnTo>
                    <a:pt x="610" y="352"/>
                  </a:lnTo>
                  <a:lnTo>
                    <a:pt x="610" y="354"/>
                  </a:lnTo>
                  <a:lnTo>
                    <a:pt x="610" y="354"/>
                  </a:lnTo>
                  <a:lnTo>
                    <a:pt x="612" y="354"/>
                  </a:lnTo>
                  <a:lnTo>
                    <a:pt x="612" y="356"/>
                  </a:lnTo>
                  <a:lnTo>
                    <a:pt x="612" y="361"/>
                  </a:lnTo>
                  <a:lnTo>
                    <a:pt x="602" y="358"/>
                  </a:lnTo>
                  <a:lnTo>
                    <a:pt x="600" y="358"/>
                  </a:lnTo>
                  <a:lnTo>
                    <a:pt x="600" y="356"/>
                  </a:lnTo>
                  <a:lnTo>
                    <a:pt x="600" y="354"/>
                  </a:lnTo>
                  <a:lnTo>
                    <a:pt x="598" y="352"/>
                  </a:lnTo>
                  <a:lnTo>
                    <a:pt x="594" y="350"/>
                  </a:lnTo>
                  <a:lnTo>
                    <a:pt x="594" y="348"/>
                  </a:lnTo>
                  <a:lnTo>
                    <a:pt x="594" y="348"/>
                  </a:lnTo>
                  <a:lnTo>
                    <a:pt x="594" y="346"/>
                  </a:lnTo>
                  <a:lnTo>
                    <a:pt x="594" y="346"/>
                  </a:lnTo>
                  <a:lnTo>
                    <a:pt x="594" y="344"/>
                  </a:lnTo>
                  <a:lnTo>
                    <a:pt x="594" y="344"/>
                  </a:lnTo>
                  <a:lnTo>
                    <a:pt x="594" y="344"/>
                  </a:lnTo>
                  <a:lnTo>
                    <a:pt x="592" y="342"/>
                  </a:lnTo>
                  <a:lnTo>
                    <a:pt x="592" y="342"/>
                  </a:lnTo>
                  <a:lnTo>
                    <a:pt x="588" y="344"/>
                  </a:lnTo>
                  <a:lnTo>
                    <a:pt x="588" y="344"/>
                  </a:lnTo>
                  <a:lnTo>
                    <a:pt x="586" y="342"/>
                  </a:lnTo>
                  <a:lnTo>
                    <a:pt x="586" y="342"/>
                  </a:lnTo>
                  <a:lnTo>
                    <a:pt x="586" y="342"/>
                  </a:lnTo>
                  <a:lnTo>
                    <a:pt x="583" y="340"/>
                  </a:lnTo>
                  <a:lnTo>
                    <a:pt x="583" y="340"/>
                  </a:lnTo>
                  <a:lnTo>
                    <a:pt x="583" y="338"/>
                  </a:lnTo>
                  <a:lnTo>
                    <a:pt x="581" y="338"/>
                  </a:lnTo>
                  <a:lnTo>
                    <a:pt x="573" y="336"/>
                  </a:lnTo>
                  <a:lnTo>
                    <a:pt x="571" y="336"/>
                  </a:lnTo>
                  <a:lnTo>
                    <a:pt x="571" y="336"/>
                  </a:lnTo>
                  <a:lnTo>
                    <a:pt x="571" y="336"/>
                  </a:lnTo>
                  <a:lnTo>
                    <a:pt x="569" y="334"/>
                  </a:lnTo>
                  <a:lnTo>
                    <a:pt x="567" y="334"/>
                  </a:lnTo>
                  <a:lnTo>
                    <a:pt x="565" y="334"/>
                  </a:lnTo>
                  <a:lnTo>
                    <a:pt x="565" y="334"/>
                  </a:lnTo>
                  <a:lnTo>
                    <a:pt x="561" y="334"/>
                  </a:lnTo>
                  <a:lnTo>
                    <a:pt x="559" y="332"/>
                  </a:lnTo>
                  <a:lnTo>
                    <a:pt x="557" y="332"/>
                  </a:lnTo>
                  <a:lnTo>
                    <a:pt x="555" y="330"/>
                  </a:lnTo>
                  <a:lnTo>
                    <a:pt x="553" y="328"/>
                  </a:lnTo>
                  <a:lnTo>
                    <a:pt x="551" y="326"/>
                  </a:lnTo>
                  <a:lnTo>
                    <a:pt x="549" y="324"/>
                  </a:lnTo>
                  <a:lnTo>
                    <a:pt x="547" y="324"/>
                  </a:lnTo>
                  <a:lnTo>
                    <a:pt x="545" y="322"/>
                  </a:lnTo>
                  <a:lnTo>
                    <a:pt x="528" y="326"/>
                  </a:lnTo>
                  <a:lnTo>
                    <a:pt x="526" y="326"/>
                  </a:lnTo>
                  <a:lnTo>
                    <a:pt x="520" y="324"/>
                  </a:lnTo>
                  <a:lnTo>
                    <a:pt x="518" y="326"/>
                  </a:lnTo>
                  <a:lnTo>
                    <a:pt x="516" y="328"/>
                  </a:lnTo>
                  <a:lnTo>
                    <a:pt x="514" y="328"/>
                  </a:lnTo>
                  <a:lnTo>
                    <a:pt x="512" y="326"/>
                  </a:lnTo>
                  <a:lnTo>
                    <a:pt x="512" y="326"/>
                  </a:lnTo>
                  <a:lnTo>
                    <a:pt x="510" y="326"/>
                  </a:lnTo>
                  <a:lnTo>
                    <a:pt x="506" y="326"/>
                  </a:lnTo>
                  <a:lnTo>
                    <a:pt x="502" y="326"/>
                  </a:lnTo>
                  <a:lnTo>
                    <a:pt x="500" y="326"/>
                  </a:lnTo>
                  <a:lnTo>
                    <a:pt x="497" y="326"/>
                  </a:lnTo>
                  <a:lnTo>
                    <a:pt x="497" y="328"/>
                  </a:lnTo>
                  <a:lnTo>
                    <a:pt x="497" y="328"/>
                  </a:lnTo>
                  <a:lnTo>
                    <a:pt x="495" y="330"/>
                  </a:lnTo>
                  <a:lnTo>
                    <a:pt x="495" y="332"/>
                  </a:lnTo>
                  <a:lnTo>
                    <a:pt x="495" y="332"/>
                  </a:lnTo>
                  <a:lnTo>
                    <a:pt x="495" y="332"/>
                  </a:lnTo>
                  <a:lnTo>
                    <a:pt x="493" y="334"/>
                  </a:lnTo>
                  <a:lnTo>
                    <a:pt x="491" y="334"/>
                  </a:lnTo>
                  <a:lnTo>
                    <a:pt x="489" y="334"/>
                  </a:lnTo>
                  <a:lnTo>
                    <a:pt x="487" y="334"/>
                  </a:lnTo>
                  <a:lnTo>
                    <a:pt x="481" y="332"/>
                  </a:lnTo>
                  <a:lnTo>
                    <a:pt x="481" y="332"/>
                  </a:lnTo>
                  <a:lnTo>
                    <a:pt x="481" y="332"/>
                  </a:lnTo>
                  <a:lnTo>
                    <a:pt x="479" y="330"/>
                  </a:lnTo>
                  <a:lnTo>
                    <a:pt x="469" y="326"/>
                  </a:lnTo>
                  <a:lnTo>
                    <a:pt x="465" y="324"/>
                  </a:lnTo>
                  <a:lnTo>
                    <a:pt x="461" y="322"/>
                  </a:lnTo>
                  <a:lnTo>
                    <a:pt x="461" y="320"/>
                  </a:lnTo>
                  <a:lnTo>
                    <a:pt x="461" y="320"/>
                  </a:lnTo>
                  <a:lnTo>
                    <a:pt x="459" y="320"/>
                  </a:lnTo>
                  <a:lnTo>
                    <a:pt x="450" y="315"/>
                  </a:lnTo>
                  <a:lnTo>
                    <a:pt x="450" y="315"/>
                  </a:lnTo>
                  <a:lnTo>
                    <a:pt x="448" y="313"/>
                  </a:lnTo>
                  <a:lnTo>
                    <a:pt x="448" y="313"/>
                  </a:lnTo>
                  <a:lnTo>
                    <a:pt x="448" y="313"/>
                  </a:lnTo>
                  <a:lnTo>
                    <a:pt x="440" y="313"/>
                  </a:lnTo>
                  <a:lnTo>
                    <a:pt x="428" y="313"/>
                  </a:lnTo>
                  <a:lnTo>
                    <a:pt x="414" y="313"/>
                  </a:lnTo>
                  <a:lnTo>
                    <a:pt x="399" y="313"/>
                  </a:lnTo>
                  <a:lnTo>
                    <a:pt x="387" y="313"/>
                  </a:lnTo>
                  <a:lnTo>
                    <a:pt x="373" y="313"/>
                  </a:lnTo>
                  <a:lnTo>
                    <a:pt x="358" y="313"/>
                  </a:lnTo>
                  <a:lnTo>
                    <a:pt x="344" y="313"/>
                  </a:lnTo>
                  <a:lnTo>
                    <a:pt x="332" y="313"/>
                  </a:lnTo>
                  <a:lnTo>
                    <a:pt x="317" y="313"/>
                  </a:lnTo>
                  <a:lnTo>
                    <a:pt x="303" y="313"/>
                  </a:lnTo>
                  <a:lnTo>
                    <a:pt x="289" y="313"/>
                  </a:lnTo>
                  <a:lnTo>
                    <a:pt x="276" y="313"/>
                  </a:lnTo>
                  <a:lnTo>
                    <a:pt x="262" y="313"/>
                  </a:lnTo>
                  <a:lnTo>
                    <a:pt x="248" y="313"/>
                  </a:lnTo>
                  <a:lnTo>
                    <a:pt x="233" y="313"/>
                  </a:lnTo>
                  <a:lnTo>
                    <a:pt x="221" y="313"/>
                  </a:lnTo>
                  <a:lnTo>
                    <a:pt x="207" y="313"/>
                  </a:lnTo>
                  <a:lnTo>
                    <a:pt x="192" y="311"/>
                  </a:lnTo>
                  <a:lnTo>
                    <a:pt x="180" y="311"/>
                  </a:lnTo>
                  <a:lnTo>
                    <a:pt x="166" y="311"/>
                  </a:lnTo>
                  <a:lnTo>
                    <a:pt x="151" y="311"/>
                  </a:lnTo>
                  <a:lnTo>
                    <a:pt x="137" y="311"/>
                  </a:lnTo>
                  <a:lnTo>
                    <a:pt x="125" y="311"/>
                  </a:lnTo>
                  <a:lnTo>
                    <a:pt x="110" y="311"/>
                  </a:lnTo>
                  <a:lnTo>
                    <a:pt x="96" y="309"/>
                  </a:lnTo>
                  <a:lnTo>
                    <a:pt x="82" y="309"/>
                  </a:lnTo>
                  <a:lnTo>
                    <a:pt x="69" y="309"/>
                  </a:lnTo>
                  <a:lnTo>
                    <a:pt x="55" y="309"/>
                  </a:lnTo>
                  <a:lnTo>
                    <a:pt x="41" y="309"/>
                  </a:lnTo>
                  <a:lnTo>
                    <a:pt x="26" y="309"/>
                  </a:lnTo>
                  <a:lnTo>
                    <a:pt x="14" y="307"/>
                  </a:lnTo>
                  <a:lnTo>
                    <a:pt x="0" y="307"/>
                  </a:lnTo>
                  <a:lnTo>
                    <a:pt x="0" y="295"/>
                  </a:lnTo>
                  <a:lnTo>
                    <a:pt x="0" y="281"/>
                  </a:lnTo>
                  <a:lnTo>
                    <a:pt x="2" y="268"/>
                  </a:lnTo>
                  <a:lnTo>
                    <a:pt x="2" y="254"/>
                  </a:lnTo>
                  <a:lnTo>
                    <a:pt x="2" y="242"/>
                  </a:lnTo>
                  <a:lnTo>
                    <a:pt x="2" y="227"/>
                  </a:lnTo>
                  <a:lnTo>
                    <a:pt x="4" y="215"/>
                  </a:lnTo>
                  <a:lnTo>
                    <a:pt x="4" y="203"/>
                  </a:lnTo>
                  <a:lnTo>
                    <a:pt x="4" y="188"/>
                  </a:lnTo>
                  <a:lnTo>
                    <a:pt x="4" y="176"/>
                  </a:lnTo>
                  <a:lnTo>
                    <a:pt x="4" y="162"/>
                  </a:lnTo>
                  <a:lnTo>
                    <a:pt x="6" y="149"/>
                  </a:lnTo>
                  <a:lnTo>
                    <a:pt x="6" y="137"/>
                  </a:lnTo>
                  <a:lnTo>
                    <a:pt x="6" y="123"/>
                  </a:lnTo>
                  <a:lnTo>
                    <a:pt x="6" y="111"/>
                  </a:lnTo>
                  <a:lnTo>
                    <a:pt x="6" y="96"/>
                  </a:lnTo>
                  <a:lnTo>
                    <a:pt x="10" y="98"/>
                  </a:lnTo>
                  <a:lnTo>
                    <a:pt x="10" y="96"/>
                  </a:lnTo>
                  <a:lnTo>
                    <a:pt x="10" y="90"/>
                  </a:lnTo>
                  <a:lnTo>
                    <a:pt x="10" y="78"/>
                  </a:lnTo>
                  <a:lnTo>
                    <a:pt x="10" y="67"/>
                  </a:lnTo>
                  <a:lnTo>
                    <a:pt x="10" y="55"/>
                  </a:lnTo>
                  <a:lnTo>
                    <a:pt x="12" y="45"/>
                  </a:lnTo>
                  <a:lnTo>
                    <a:pt x="12" y="33"/>
                  </a:lnTo>
                  <a:lnTo>
                    <a:pt x="12" y="22"/>
                  </a:lnTo>
                  <a:lnTo>
                    <a:pt x="12" y="10"/>
                  </a:lnTo>
                  <a:lnTo>
                    <a:pt x="12" y="0"/>
                  </a:lnTo>
                  <a:lnTo>
                    <a:pt x="31" y="0"/>
                  </a:lnTo>
                  <a:lnTo>
                    <a:pt x="49" y="0"/>
                  </a:lnTo>
                  <a:lnTo>
                    <a:pt x="67" y="0"/>
                  </a:lnTo>
                  <a:lnTo>
                    <a:pt x="86" y="2"/>
                  </a:lnTo>
                  <a:lnTo>
                    <a:pt x="104" y="2"/>
                  </a:lnTo>
                  <a:lnTo>
                    <a:pt x="123" y="2"/>
                  </a:lnTo>
                  <a:lnTo>
                    <a:pt x="139" y="2"/>
                  </a:lnTo>
                  <a:lnTo>
                    <a:pt x="157" y="4"/>
                  </a:lnTo>
                  <a:lnTo>
                    <a:pt x="176" y="4"/>
                  </a:lnTo>
                  <a:lnTo>
                    <a:pt x="194" y="4"/>
                  </a:lnTo>
                  <a:lnTo>
                    <a:pt x="213" y="4"/>
                  </a:lnTo>
                  <a:lnTo>
                    <a:pt x="231" y="4"/>
                  </a:lnTo>
                  <a:lnTo>
                    <a:pt x="250" y="4"/>
                  </a:lnTo>
                  <a:lnTo>
                    <a:pt x="268" y="4"/>
                  </a:lnTo>
                  <a:lnTo>
                    <a:pt x="284" y="4"/>
                  </a:lnTo>
                  <a:lnTo>
                    <a:pt x="303" y="4"/>
                  </a:lnTo>
                  <a:lnTo>
                    <a:pt x="321" y="4"/>
                  </a:lnTo>
                  <a:lnTo>
                    <a:pt x="340" y="4"/>
                  </a:lnTo>
                  <a:lnTo>
                    <a:pt x="358" y="4"/>
                  </a:lnTo>
                  <a:lnTo>
                    <a:pt x="377" y="4"/>
                  </a:lnTo>
                  <a:lnTo>
                    <a:pt x="395" y="4"/>
                  </a:lnTo>
                  <a:lnTo>
                    <a:pt x="414" y="4"/>
                  </a:lnTo>
                  <a:lnTo>
                    <a:pt x="432" y="4"/>
                  </a:lnTo>
                  <a:lnTo>
                    <a:pt x="448" y="4"/>
                  </a:lnTo>
                  <a:lnTo>
                    <a:pt x="467" y="4"/>
                  </a:lnTo>
                  <a:lnTo>
                    <a:pt x="485" y="4"/>
                  </a:lnTo>
                  <a:lnTo>
                    <a:pt x="504" y="2"/>
                  </a:lnTo>
                  <a:lnTo>
                    <a:pt x="522" y="2"/>
                  </a:lnTo>
                  <a:lnTo>
                    <a:pt x="540" y="2"/>
                  </a:lnTo>
                  <a:lnTo>
                    <a:pt x="559" y="2"/>
                  </a:lnTo>
                  <a:lnTo>
                    <a:pt x="577" y="2"/>
                  </a:lnTo>
                  <a:lnTo>
                    <a:pt x="596" y="0"/>
                  </a:lnTo>
                  <a:lnTo>
                    <a:pt x="596" y="0"/>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SD</a:t>
              </a:r>
            </a:p>
          </p:txBody>
        </p:sp>
        <p:sp>
          <p:nvSpPr>
            <p:cNvPr id="94" name="Freeform 15">
              <a:extLst>
                <a:ext uri="{FF2B5EF4-FFF2-40B4-BE49-F238E27FC236}">
                  <a16:creationId xmlns:a16="http://schemas.microsoft.com/office/drawing/2014/main" id="{5A8E5155-7FB9-4995-6501-34F2A1CE6CA7}"/>
                </a:ext>
              </a:extLst>
            </p:cNvPr>
            <p:cNvSpPr>
              <a:spLocks noEditPoints="1"/>
            </p:cNvSpPr>
            <p:nvPr/>
          </p:nvSpPr>
          <p:spPr bwMode="auto">
            <a:xfrm>
              <a:off x="4206" y="1500"/>
              <a:ext cx="438" cy="328"/>
            </a:xfrm>
            <a:custGeom>
              <a:avLst/>
              <a:gdLst>
                <a:gd name="T0" fmla="*/ 387 w 438"/>
                <a:gd name="T1" fmla="*/ 193 h 328"/>
                <a:gd name="T2" fmla="*/ 410 w 438"/>
                <a:gd name="T3" fmla="*/ 74 h 328"/>
                <a:gd name="T4" fmla="*/ 324 w 438"/>
                <a:gd name="T5" fmla="*/ 15 h 328"/>
                <a:gd name="T6" fmla="*/ 272 w 438"/>
                <a:gd name="T7" fmla="*/ 23 h 328"/>
                <a:gd name="T8" fmla="*/ 223 w 438"/>
                <a:gd name="T9" fmla="*/ 29 h 328"/>
                <a:gd name="T10" fmla="*/ 205 w 438"/>
                <a:gd name="T11" fmla="*/ 2 h 328"/>
                <a:gd name="T12" fmla="*/ 197 w 438"/>
                <a:gd name="T13" fmla="*/ 6 h 328"/>
                <a:gd name="T14" fmla="*/ 195 w 438"/>
                <a:gd name="T15" fmla="*/ 0 h 328"/>
                <a:gd name="T16" fmla="*/ 125 w 438"/>
                <a:gd name="T17" fmla="*/ 6 h 328"/>
                <a:gd name="T18" fmla="*/ 78 w 438"/>
                <a:gd name="T19" fmla="*/ 12 h 328"/>
                <a:gd name="T20" fmla="*/ 74 w 438"/>
                <a:gd name="T21" fmla="*/ 17 h 328"/>
                <a:gd name="T22" fmla="*/ 57 w 438"/>
                <a:gd name="T23" fmla="*/ 25 h 328"/>
                <a:gd name="T24" fmla="*/ 49 w 438"/>
                <a:gd name="T25" fmla="*/ 31 h 328"/>
                <a:gd name="T26" fmla="*/ 16 w 438"/>
                <a:gd name="T27" fmla="*/ 47 h 328"/>
                <a:gd name="T28" fmla="*/ 4 w 438"/>
                <a:gd name="T29" fmla="*/ 66 h 328"/>
                <a:gd name="T30" fmla="*/ 12 w 438"/>
                <a:gd name="T31" fmla="*/ 86 h 328"/>
                <a:gd name="T32" fmla="*/ 35 w 438"/>
                <a:gd name="T33" fmla="*/ 99 h 328"/>
                <a:gd name="T34" fmla="*/ 66 w 438"/>
                <a:gd name="T35" fmla="*/ 127 h 328"/>
                <a:gd name="T36" fmla="*/ 80 w 438"/>
                <a:gd name="T37" fmla="*/ 142 h 328"/>
                <a:gd name="T38" fmla="*/ 102 w 438"/>
                <a:gd name="T39" fmla="*/ 158 h 328"/>
                <a:gd name="T40" fmla="*/ 133 w 438"/>
                <a:gd name="T41" fmla="*/ 181 h 328"/>
                <a:gd name="T42" fmla="*/ 147 w 438"/>
                <a:gd name="T43" fmla="*/ 199 h 328"/>
                <a:gd name="T44" fmla="*/ 158 w 438"/>
                <a:gd name="T45" fmla="*/ 207 h 328"/>
                <a:gd name="T46" fmla="*/ 168 w 438"/>
                <a:gd name="T47" fmla="*/ 221 h 328"/>
                <a:gd name="T48" fmla="*/ 195 w 438"/>
                <a:gd name="T49" fmla="*/ 236 h 328"/>
                <a:gd name="T50" fmla="*/ 207 w 438"/>
                <a:gd name="T51" fmla="*/ 262 h 328"/>
                <a:gd name="T52" fmla="*/ 209 w 438"/>
                <a:gd name="T53" fmla="*/ 273 h 328"/>
                <a:gd name="T54" fmla="*/ 223 w 438"/>
                <a:gd name="T55" fmla="*/ 281 h 328"/>
                <a:gd name="T56" fmla="*/ 238 w 438"/>
                <a:gd name="T57" fmla="*/ 299 h 328"/>
                <a:gd name="T58" fmla="*/ 240 w 438"/>
                <a:gd name="T59" fmla="*/ 316 h 328"/>
                <a:gd name="T60" fmla="*/ 248 w 438"/>
                <a:gd name="T61" fmla="*/ 326 h 328"/>
                <a:gd name="T62" fmla="*/ 266 w 438"/>
                <a:gd name="T63" fmla="*/ 326 h 328"/>
                <a:gd name="T64" fmla="*/ 272 w 438"/>
                <a:gd name="T65" fmla="*/ 303 h 328"/>
                <a:gd name="T66" fmla="*/ 277 w 438"/>
                <a:gd name="T67" fmla="*/ 301 h 328"/>
                <a:gd name="T68" fmla="*/ 264 w 438"/>
                <a:gd name="T69" fmla="*/ 279 h 328"/>
                <a:gd name="T70" fmla="*/ 268 w 438"/>
                <a:gd name="T71" fmla="*/ 279 h 328"/>
                <a:gd name="T72" fmla="*/ 281 w 438"/>
                <a:gd name="T73" fmla="*/ 291 h 328"/>
                <a:gd name="T74" fmla="*/ 281 w 438"/>
                <a:gd name="T75" fmla="*/ 281 h 328"/>
                <a:gd name="T76" fmla="*/ 293 w 438"/>
                <a:gd name="T77" fmla="*/ 297 h 328"/>
                <a:gd name="T78" fmla="*/ 301 w 438"/>
                <a:gd name="T79" fmla="*/ 283 h 328"/>
                <a:gd name="T80" fmla="*/ 293 w 438"/>
                <a:gd name="T81" fmla="*/ 287 h 328"/>
                <a:gd name="T82" fmla="*/ 295 w 438"/>
                <a:gd name="T83" fmla="*/ 275 h 328"/>
                <a:gd name="T84" fmla="*/ 277 w 438"/>
                <a:gd name="T85" fmla="*/ 273 h 328"/>
                <a:gd name="T86" fmla="*/ 291 w 438"/>
                <a:gd name="T87" fmla="*/ 269 h 328"/>
                <a:gd name="T88" fmla="*/ 305 w 438"/>
                <a:gd name="T89" fmla="*/ 269 h 328"/>
                <a:gd name="T90" fmla="*/ 317 w 438"/>
                <a:gd name="T91" fmla="*/ 262 h 328"/>
                <a:gd name="T92" fmla="*/ 322 w 438"/>
                <a:gd name="T93" fmla="*/ 260 h 328"/>
                <a:gd name="T94" fmla="*/ 334 w 438"/>
                <a:gd name="T95" fmla="*/ 248 h 328"/>
                <a:gd name="T96" fmla="*/ 342 w 438"/>
                <a:gd name="T97" fmla="*/ 238 h 328"/>
                <a:gd name="T98" fmla="*/ 338 w 438"/>
                <a:gd name="T99" fmla="*/ 230 h 328"/>
                <a:gd name="T100" fmla="*/ 340 w 438"/>
                <a:gd name="T101" fmla="*/ 232 h 328"/>
                <a:gd name="T102" fmla="*/ 358 w 438"/>
                <a:gd name="T103" fmla="*/ 221 h 328"/>
                <a:gd name="T104" fmla="*/ 367 w 438"/>
                <a:gd name="T105" fmla="*/ 211 h 328"/>
                <a:gd name="T106" fmla="*/ 371 w 438"/>
                <a:gd name="T107" fmla="*/ 201 h 328"/>
                <a:gd name="T108" fmla="*/ 383 w 438"/>
                <a:gd name="T109" fmla="*/ 195 h 328"/>
                <a:gd name="T110" fmla="*/ 391 w 438"/>
                <a:gd name="T111" fmla="*/ 187 h 328"/>
                <a:gd name="T112" fmla="*/ 393 w 438"/>
                <a:gd name="T113" fmla="*/ 183 h 328"/>
                <a:gd name="T114" fmla="*/ 391 w 438"/>
                <a:gd name="T115" fmla="*/ 172 h 328"/>
                <a:gd name="T116" fmla="*/ 391 w 438"/>
                <a:gd name="T117" fmla="*/ 154 h 328"/>
                <a:gd name="T118" fmla="*/ 397 w 438"/>
                <a:gd name="T119" fmla="*/ 174 h 328"/>
                <a:gd name="T120" fmla="*/ 434 w 438"/>
                <a:gd name="T121" fmla="*/ 99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 h="328">
                  <a:moveTo>
                    <a:pt x="385" y="193"/>
                  </a:moveTo>
                  <a:lnTo>
                    <a:pt x="385" y="195"/>
                  </a:lnTo>
                  <a:lnTo>
                    <a:pt x="385" y="197"/>
                  </a:lnTo>
                  <a:lnTo>
                    <a:pt x="383" y="199"/>
                  </a:lnTo>
                  <a:lnTo>
                    <a:pt x="385" y="201"/>
                  </a:lnTo>
                  <a:lnTo>
                    <a:pt x="385" y="201"/>
                  </a:lnTo>
                  <a:lnTo>
                    <a:pt x="385" y="195"/>
                  </a:lnTo>
                  <a:lnTo>
                    <a:pt x="385" y="195"/>
                  </a:lnTo>
                  <a:lnTo>
                    <a:pt x="387" y="195"/>
                  </a:lnTo>
                  <a:lnTo>
                    <a:pt x="387" y="193"/>
                  </a:lnTo>
                  <a:lnTo>
                    <a:pt x="387" y="193"/>
                  </a:lnTo>
                  <a:lnTo>
                    <a:pt x="385" y="193"/>
                  </a:lnTo>
                  <a:close/>
                  <a:moveTo>
                    <a:pt x="436" y="96"/>
                  </a:moveTo>
                  <a:lnTo>
                    <a:pt x="436" y="96"/>
                  </a:lnTo>
                  <a:lnTo>
                    <a:pt x="436" y="96"/>
                  </a:lnTo>
                  <a:lnTo>
                    <a:pt x="434" y="96"/>
                  </a:lnTo>
                  <a:lnTo>
                    <a:pt x="434" y="94"/>
                  </a:lnTo>
                  <a:lnTo>
                    <a:pt x="436" y="94"/>
                  </a:lnTo>
                  <a:lnTo>
                    <a:pt x="430" y="88"/>
                  </a:lnTo>
                  <a:lnTo>
                    <a:pt x="424" y="84"/>
                  </a:lnTo>
                  <a:lnTo>
                    <a:pt x="416" y="80"/>
                  </a:lnTo>
                  <a:lnTo>
                    <a:pt x="410" y="74"/>
                  </a:lnTo>
                  <a:lnTo>
                    <a:pt x="401" y="70"/>
                  </a:lnTo>
                  <a:lnTo>
                    <a:pt x="395" y="66"/>
                  </a:lnTo>
                  <a:lnTo>
                    <a:pt x="389" y="60"/>
                  </a:lnTo>
                  <a:lnTo>
                    <a:pt x="381" y="55"/>
                  </a:lnTo>
                  <a:lnTo>
                    <a:pt x="375" y="51"/>
                  </a:lnTo>
                  <a:lnTo>
                    <a:pt x="360" y="41"/>
                  </a:lnTo>
                  <a:lnTo>
                    <a:pt x="348" y="31"/>
                  </a:lnTo>
                  <a:lnTo>
                    <a:pt x="340" y="27"/>
                  </a:lnTo>
                  <a:lnTo>
                    <a:pt x="334" y="23"/>
                  </a:lnTo>
                  <a:lnTo>
                    <a:pt x="328" y="17"/>
                  </a:lnTo>
                  <a:lnTo>
                    <a:pt x="324" y="15"/>
                  </a:lnTo>
                  <a:lnTo>
                    <a:pt x="322" y="15"/>
                  </a:lnTo>
                  <a:lnTo>
                    <a:pt x="320" y="15"/>
                  </a:lnTo>
                  <a:lnTo>
                    <a:pt x="315" y="15"/>
                  </a:lnTo>
                  <a:lnTo>
                    <a:pt x="315" y="17"/>
                  </a:lnTo>
                  <a:lnTo>
                    <a:pt x="311" y="17"/>
                  </a:lnTo>
                  <a:lnTo>
                    <a:pt x="307" y="17"/>
                  </a:lnTo>
                  <a:lnTo>
                    <a:pt x="303" y="19"/>
                  </a:lnTo>
                  <a:lnTo>
                    <a:pt x="295" y="19"/>
                  </a:lnTo>
                  <a:lnTo>
                    <a:pt x="289" y="21"/>
                  </a:lnTo>
                  <a:lnTo>
                    <a:pt x="281" y="21"/>
                  </a:lnTo>
                  <a:lnTo>
                    <a:pt x="272" y="23"/>
                  </a:lnTo>
                  <a:lnTo>
                    <a:pt x="264" y="23"/>
                  </a:lnTo>
                  <a:lnTo>
                    <a:pt x="256" y="25"/>
                  </a:lnTo>
                  <a:lnTo>
                    <a:pt x="248" y="27"/>
                  </a:lnTo>
                  <a:lnTo>
                    <a:pt x="242" y="27"/>
                  </a:lnTo>
                  <a:lnTo>
                    <a:pt x="236" y="29"/>
                  </a:lnTo>
                  <a:lnTo>
                    <a:pt x="231" y="29"/>
                  </a:lnTo>
                  <a:lnTo>
                    <a:pt x="229" y="29"/>
                  </a:lnTo>
                  <a:lnTo>
                    <a:pt x="229" y="29"/>
                  </a:lnTo>
                  <a:lnTo>
                    <a:pt x="225" y="29"/>
                  </a:lnTo>
                  <a:lnTo>
                    <a:pt x="223" y="29"/>
                  </a:lnTo>
                  <a:lnTo>
                    <a:pt x="223" y="29"/>
                  </a:lnTo>
                  <a:lnTo>
                    <a:pt x="223" y="29"/>
                  </a:lnTo>
                  <a:lnTo>
                    <a:pt x="223" y="29"/>
                  </a:lnTo>
                  <a:lnTo>
                    <a:pt x="221" y="17"/>
                  </a:lnTo>
                  <a:lnTo>
                    <a:pt x="221" y="17"/>
                  </a:lnTo>
                  <a:lnTo>
                    <a:pt x="221" y="17"/>
                  </a:lnTo>
                  <a:lnTo>
                    <a:pt x="217" y="10"/>
                  </a:lnTo>
                  <a:lnTo>
                    <a:pt x="211" y="6"/>
                  </a:lnTo>
                  <a:lnTo>
                    <a:pt x="207" y="2"/>
                  </a:lnTo>
                  <a:lnTo>
                    <a:pt x="207" y="2"/>
                  </a:lnTo>
                  <a:lnTo>
                    <a:pt x="207" y="2"/>
                  </a:lnTo>
                  <a:lnTo>
                    <a:pt x="205" y="2"/>
                  </a:lnTo>
                  <a:lnTo>
                    <a:pt x="205" y="2"/>
                  </a:lnTo>
                  <a:lnTo>
                    <a:pt x="199" y="8"/>
                  </a:lnTo>
                  <a:lnTo>
                    <a:pt x="199" y="8"/>
                  </a:lnTo>
                  <a:lnTo>
                    <a:pt x="199" y="8"/>
                  </a:lnTo>
                  <a:lnTo>
                    <a:pt x="197" y="8"/>
                  </a:lnTo>
                  <a:lnTo>
                    <a:pt x="197" y="8"/>
                  </a:lnTo>
                  <a:lnTo>
                    <a:pt x="197" y="8"/>
                  </a:lnTo>
                  <a:lnTo>
                    <a:pt x="197" y="6"/>
                  </a:lnTo>
                  <a:lnTo>
                    <a:pt x="197" y="6"/>
                  </a:lnTo>
                  <a:lnTo>
                    <a:pt x="197" y="6"/>
                  </a:lnTo>
                  <a:lnTo>
                    <a:pt x="197" y="6"/>
                  </a:lnTo>
                  <a:lnTo>
                    <a:pt x="197" y="6"/>
                  </a:lnTo>
                  <a:lnTo>
                    <a:pt x="197" y="2"/>
                  </a:lnTo>
                  <a:lnTo>
                    <a:pt x="197" y="2"/>
                  </a:lnTo>
                  <a:lnTo>
                    <a:pt x="197" y="2"/>
                  </a:lnTo>
                  <a:lnTo>
                    <a:pt x="197" y="2"/>
                  </a:lnTo>
                  <a:lnTo>
                    <a:pt x="197" y="0"/>
                  </a:lnTo>
                  <a:lnTo>
                    <a:pt x="197" y="0"/>
                  </a:lnTo>
                  <a:lnTo>
                    <a:pt x="197" y="0"/>
                  </a:lnTo>
                  <a:lnTo>
                    <a:pt x="195" y="0"/>
                  </a:lnTo>
                  <a:lnTo>
                    <a:pt x="195" y="0"/>
                  </a:lnTo>
                  <a:lnTo>
                    <a:pt x="195" y="0"/>
                  </a:lnTo>
                  <a:lnTo>
                    <a:pt x="193" y="0"/>
                  </a:lnTo>
                  <a:lnTo>
                    <a:pt x="188" y="0"/>
                  </a:lnTo>
                  <a:lnTo>
                    <a:pt x="182" y="0"/>
                  </a:lnTo>
                  <a:lnTo>
                    <a:pt x="178" y="2"/>
                  </a:lnTo>
                  <a:lnTo>
                    <a:pt x="170" y="2"/>
                  </a:lnTo>
                  <a:lnTo>
                    <a:pt x="164" y="2"/>
                  </a:lnTo>
                  <a:lnTo>
                    <a:pt x="156" y="4"/>
                  </a:lnTo>
                  <a:lnTo>
                    <a:pt x="147" y="4"/>
                  </a:lnTo>
                  <a:lnTo>
                    <a:pt x="139" y="6"/>
                  </a:lnTo>
                  <a:lnTo>
                    <a:pt x="133" y="6"/>
                  </a:lnTo>
                  <a:lnTo>
                    <a:pt x="125" y="6"/>
                  </a:lnTo>
                  <a:lnTo>
                    <a:pt x="117" y="8"/>
                  </a:lnTo>
                  <a:lnTo>
                    <a:pt x="111" y="8"/>
                  </a:lnTo>
                  <a:lnTo>
                    <a:pt x="104" y="10"/>
                  </a:lnTo>
                  <a:lnTo>
                    <a:pt x="100" y="10"/>
                  </a:lnTo>
                  <a:lnTo>
                    <a:pt x="96" y="10"/>
                  </a:lnTo>
                  <a:lnTo>
                    <a:pt x="92" y="10"/>
                  </a:lnTo>
                  <a:lnTo>
                    <a:pt x="92" y="10"/>
                  </a:lnTo>
                  <a:lnTo>
                    <a:pt x="86" y="12"/>
                  </a:lnTo>
                  <a:lnTo>
                    <a:pt x="80" y="12"/>
                  </a:lnTo>
                  <a:lnTo>
                    <a:pt x="80" y="12"/>
                  </a:lnTo>
                  <a:lnTo>
                    <a:pt x="78" y="12"/>
                  </a:lnTo>
                  <a:lnTo>
                    <a:pt x="78" y="12"/>
                  </a:lnTo>
                  <a:lnTo>
                    <a:pt x="78" y="12"/>
                  </a:lnTo>
                  <a:lnTo>
                    <a:pt x="78" y="12"/>
                  </a:lnTo>
                  <a:lnTo>
                    <a:pt x="78" y="12"/>
                  </a:lnTo>
                  <a:lnTo>
                    <a:pt x="78" y="12"/>
                  </a:lnTo>
                  <a:lnTo>
                    <a:pt x="76" y="12"/>
                  </a:lnTo>
                  <a:lnTo>
                    <a:pt x="76" y="12"/>
                  </a:lnTo>
                  <a:lnTo>
                    <a:pt x="74" y="15"/>
                  </a:lnTo>
                  <a:lnTo>
                    <a:pt x="74" y="15"/>
                  </a:lnTo>
                  <a:lnTo>
                    <a:pt x="74" y="17"/>
                  </a:lnTo>
                  <a:lnTo>
                    <a:pt x="74" y="17"/>
                  </a:lnTo>
                  <a:lnTo>
                    <a:pt x="74" y="17"/>
                  </a:lnTo>
                  <a:lnTo>
                    <a:pt x="70" y="17"/>
                  </a:lnTo>
                  <a:lnTo>
                    <a:pt x="70" y="19"/>
                  </a:lnTo>
                  <a:lnTo>
                    <a:pt x="70" y="19"/>
                  </a:lnTo>
                  <a:lnTo>
                    <a:pt x="68" y="19"/>
                  </a:lnTo>
                  <a:lnTo>
                    <a:pt x="68" y="19"/>
                  </a:lnTo>
                  <a:lnTo>
                    <a:pt x="68" y="19"/>
                  </a:lnTo>
                  <a:lnTo>
                    <a:pt x="64" y="21"/>
                  </a:lnTo>
                  <a:lnTo>
                    <a:pt x="64" y="21"/>
                  </a:lnTo>
                  <a:lnTo>
                    <a:pt x="59" y="23"/>
                  </a:lnTo>
                  <a:lnTo>
                    <a:pt x="57" y="25"/>
                  </a:lnTo>
                  <a:lnTo>
                    <a:pt x="55" y="25"/>
                  </a:lnTo>
                  <a:lnTo>
                    <a:pt x="55" y="25"/>
                  </a:lnTo>
                  <a:lnTo>
                    <a:pt x="53" y="25"/>
                  </a:lnTo>
                  <a:lnTo>
                    <a:pt x="53" y="25"/>
                  </a:lnTo>
                  <a:lnTo>
                    <a:pt x="53" y="27"/>
                  </a:lnTo>
                  <a:lnTo>
                    <a:pt x="53" y="27"/>
                  </a:lnTo>
                  <a:lnTo>
                    <a:pt x="53" y="27"/>
                  </a:lnTo>
                  <a:lnTo>
                    <a:pt x="51" y="29"/>
                  </a:lnTo>
                  <a:lnTo>
                    <a:pt x="51" y="29"/>
                  </a:lnTo>
                  <a:lnTo>
                    <a:pt x="49" y="31"/>
                  </a:lnTo>
                  <a:lnTo>
                    <a:pt x="49" y="31"/>
                  </a:lnTo>
                  <a:lnTo>
                    <a:pt x="47" y="33"/>
                  </a:lnTo>
                  <a:lnTo>
                    <a:pt x="47" y="33"/>
                  </a:lnTo>
                  <a:lnTo>
                    <a:pt x="47" y="33"/>
                  </a:lnTo>
                  <a:lnTo>
                    <a:pt x="47" y="31"/>
                  </a:lnTo>
                  <a:lnTo>
                    <a:pt x="45" y="31"/>
                  </a:lnTo>
                  <a:lnTo>
                    <a:pt x="43" y="33"/>
                  </a:lnTo>
                  <a:lnTo>
                    <a:pt x="18" y="45"/>
                  </a:lnTo>
                  <a:lnTo>
                    <a:pt x="16" y="45"/>
                  </a:lnTo>
                  <a:lnTo>
                    <a:pt x="16" y="45"/>
                  </a:lnTo>
                  <a:lnTo>
                    <a:pt x="16" y="47"/>
                  </a:lnTo>
                  <a:lnTo>
                    <a:pt x="16" y="47"/>
                  </a:lnTo>
                  <a:lnTo>
                    <a:pt x="16" y="49"/>
                  </a:lnTo>
                  <a:lnTo>
                    <a:pt x="16" y="49"/>
                  </a:lnTo>
                  <a:lnTo>
                    <a:pt x="12" y="51"/>
                  </a:lnTo>
                  <a:lnTo>
                    <a:pt x="12" y="51"/>
                  </a:lnTo>
                  <a:lnTo>
                    <a:pt x="8" y="55"/>
                  </a:lnTo>
                  <a:lnTo>
                    <a:pt x="8" y="55"/>
                  </a:lnTo>
                  <a:lnTo>
                    <a:pt x="8" y="58"/>
                  </a:lnTo>
                  <a:lnTo>
                    <a:pt x="6" y="62"/>
                  </a:lnTo>
                  <a:lnTo>
                    <a:pt x="6" y="64"/>
                  </a:lnTo>
                  <a:lnTo>
                    <a:pt x="6" y="64"/>
                  </a:lnTo>
                  <a:lnTo>
                    <a:pt x="4" y="66"/>
                  </a:lnTo>
                  <a:lnTo>
                    <a:pt x="4" y="66"/>
                  </a:lnTo>
                  <a:lnTo>
                    <a:pt x="2" y="68"/>
                  </a:lnTo>
                  <a:lnTo>
                    <a:pt x="2" y="70"/>
                  </a:lnTo>
                  <a:lnTo>
                    <a:pt x="2" y="70"/>
                  </a:lnTo>
                  <a:lnTo>
                    <a:pt x="2" y="70"/>
                  </a:lnTo>
                  <a:lnTo>
                    <a:pt x="2" y="72"/>
                  </a:lnTo>
                  <a:lnTo>
                    <a:pt x="2" y="72"/>
                  </a:lnTo>
                  <a:lnTo>
                    <a:pt x="0" y="74"/>
                  </a:lnTo>
                  <a:lnTo>
                    <a:pt x="0" y="80"/>
                  </a:lnTo>
                  <a:lnTo>
                    <a:pt x="4" y="82"/>
                  </a:lnTo>
                  <a:lnTo>
                    <a:pt x="12" y="86"/>
                  </a:lnTo>
                  <a:lnTo>
                    <a:pt x="16" y="88"/>
                  </a:lnTo>
                  <a:lnTo>
                    <a:pt x="18" y="86"/>
                  </a:lnTo>
                  <a:lnTo>
                    <a:pt x="18" y="86"/>
                  </a:lnTo>
                  <a:lnTo>
                    <a:pt x="18" y="88"/>
                  </a:lnTo>
                  <a:lnTo>
                    <a:pt x="21" y="90"/>
                  </a:lnTo>
                  <a:lnTo>
                    <a:pt x="23" y="90"/>
                  </a:lnTo>
                  <a:lnTo>
                    <a:pt x="27" y="92"/>
                  </a:lnTo>
                  <a:lnTo>
                    <a:pt x="29" y="94"/>
                  </a:lnTo>
                  <a:lnTo>
                    <a:pt x="29" y="96"/>
                  </a:lnTo>
                  <a:lnTo>
                    <a:pt x="31" y="99"/>
                  </a:lnTo>
                  <a:lnTo>
                    <a:pt x="35" y="99"/>
                  </a:lnTo>
                  <a:lnTo>
                    <a:pt x="39" y="99"/>
                  </a:lnTo>
                  <a:lnTo>
                    <a:pt x="45" y="96"/>
                  </a:lnTo>
                  <a:lnTo>
                    <a:pt x="49" y="99"/>
                  </a:lnTo>
                  <a:lnTo>
                    <a:pt x="49" y="101"/>
                  </a:lnTo>
                  <a:lnTo>
                    <a:pt x="51" y="105"/>
                  </a:lnTo>
                  <a:lnTo>
                    <a:pt x="53" y="107"/>
                  </a:lnTo>
                  <a:lnTo>
                    <a:pt x="53" y="109"/>
                  </a:lnTo>
                  <a:lnTo>
                    <a:pt x="59" y="115"/>
                  </a:lnTo>
                  <a:lnTo>
                    <a:pt x="61" y="117"/>
                  </a:lnTo>
                  <a:lnTo>
                    <a:pt x="64" y="127"/>
                  </a:lnTo>
                  <a:lnTo>
                    <a:pt x="66" y="127"/>
                  </a:lnTo>
                  <a:lnTo>
                    <a:pt x="66" y="129"/>
                  </a:lnTo>
                  <a:lnTo>
                    <a:pt x="68" y="129"/>
                  </a:lnTo>
                  <a:lnTo>
                    <a:pt x="70" y="131"/>
                  </a:lnTo>
                  <a:lnTo>
                    <a:pt x="72" y="131"/>
                  </a:lnTo>
                  <a:lnTo>
                    <a:pt x="72" y="133"/>
                  </a:lnTo>
                  <a:lnTo>
                    <a:pt x="74" y="133"/>
                  </a:lnTo>
                  <a:lnTo>
                    <a:pt x="74" y="135"/>
                  </a:lnTo>
                  <a:lnTo>
                    <a:pt x="76" y="137"/>
                  </a:lnTo>
                  <a:lnTo>
                    <a:pt x="78" y="140"/>
                  </a:lnTo>
                  <a:lnTo>
                    <a:pt x="78" y="140"/>
                  </a:lnTo>
                  <a:lnTo>
                    <a:pt x="80" y="142"/>
                  </a:lnTo>
                  <a:lnTo>
                    <a:pt x="82" y="146"/>
                  </a:lnTo>
                  <a:lnTo>
                    <a:pt x="82" y="148"/>
                  </a:lnTo>
                  <a:lnTo>
                    <a:pt x="84" y="148"/>
                  </a:lnTo>
                  <a:lnTo>
                    <a:pt x="86" y="148"/>
                  </a:lnTo>
                  <a:lnTo>
                    <a:pt x="86" y="148"/>
                  </a:lnTo>
                  <a:lnTo>
                    <a:pt x="88" y="150"/>
                  </a:lnTo>
                  <a:lnTo>
                    <a:pt x="90" y="152"/>
                  </a:lnTo>
                  <a:lnTo>
                    <a:pt x="92" y="154"/>
                  </a:lnTo>
                  <a:lnTo>
                    <a:pt x="96" y="156"/>
                  </a:lnTo>
                  <a:lnTo>
                    <a:pt x="98" y="156"/>
                  </a:lnTo>
                  <a:lnTo>
                    <a:pt x="102" y="158"/>
                  </a:lnTo>
                  <a:lnTo>
                    <a:pt x="107" y="160"/>
                  </a:lnTo>
                  <a:lnTo>
                    <a:pt x="113" y="164"/>
                  </a:lnTo>
                  <a:lnTo>
                    <a:pt x="115" y="166"/>
                  </a:lnTo>
                  <a:lnTo>
                    <a:pt x="117" y="170"/>
                  </a:lnTo>
                  <a:lnTo>
                    <a:pt x="119" y="172"/>
                  </a:lnTo>
                  <a:lnTo>
                    <a:pt x="119" y="174"/>
                  </a:lnTo>
                  <a:lnTo>
                    <a:pt x="121" y="178"/>
                  </a:lnTo>
                  <a:lnTo>
                    <a:pt x="123" y="178"/>
                  </a:lnTo>
                  <a:lnTo>
                    <a:pt x="125" y="181"/>
                  </a:lnTo>
                  <a:lnTo>
                    <a:pt x="127" y="181"/>
                  </a:lnTo>
                  <a:lnTo>
                    <a:pt x="133" y="181"/>
                  </a:lnTo>
                  <a:lnTo>
                    <a:pt x="133" y="183"/>
                  </a:lnTo>
                  <a:lnTo>
                    <a:pt x="137" y="183"/>
                  </a:lnTo>
                  <a:lnTo>
                    <a:pt x="141" y="187"/>
                  </a:lnTo>
                  <a:lnTo>
                    <a:pt x="143" y="189"/>
                  </a:lnTo>
                  <a:lnTo>
                    <a:pt x="147" y="191"/>
                  </a:lnTo>
                  <a:lnTo>
                    <a:pt x="147" y="193"/>
                  </a:lnTo>
                  <a:lnTo>
                    <a:pt x="147" y="195"/>
                  </a:lnTo>
                  <a:lnTo>
                    <a:pt x="150" y="195"/>
                  </a:lnTo>
                  <a:lnTo>
                    <a:pt x="150" y="197"/>
                  </a:lnTo>
                  <a:lnTo>
                    <a:pt x="147" y="197"/>
                  </a:lnTo>
                  <a:lnTo>
                    <a:pt x="147" y="199"/>
                  </a:lnTo>
                  <a:lnTo>
                    <a:pt x="150" y="201"/>
                  </a:lnTo>
                  <a:lnTo>
                    <a:pt x="150" y="201"/>
                  </a:lnTo>
                  <a:lnTo>
                    <a:pt x="150" y="203"/>
                  </a:lnTo>
                  <a:lnTo>
                    <a:pt x="154" y="207"/>
                  </a:lnTo>
                  <a:lnTo>
                    <a:pt x="156" y="207"/>
                  </a:lnTo>
                  <a:lnTo>
                    <a:pt x="156" y="207"/>
                  </a:lnTo>
                  <a:lnTo>
                    <a:pt x="156" y="207"/>
                  </a:lnTo>
                  <a:lnTo>
                    <a:pt x="156" y="205"/>
                  </a:lnTo>
                  <a:lnTo>
                    <a:pt x="158" y="207"/>
                  </a:lnTo>
                  <a:lnTo>
                    <a:pt x="158" y="207"/>
                  </a:lnTo>
                  <a:lnTo>
                    <a:pt x="158" y="207"/>
                  </a:lnTo>
                  <a:lnTo>
                    <a:pt x="158" y="209"/>
                  </a:lnTo>
                  <a:lnTo>
                    <a:pt x="160" y="209"/>
                  </a:lnTo>
                  <a:lnTo>
                    <a:pt x="160" y="211"/>
                  </a:lnTo>
                  <a:lnTo>
                    <a:pt x="160" y="211"/>
                  </a:lnTo>
                  <a:lnTo>
                    <a:pt x="158" y="213"/>
                  </a:lnTo>
                  <a:lnTo>
                    <a:pt x="160" y="215"/>
                  </a:lnTo>
                  <a:lnTo>
                    <a:pt x="162" y="215"/>
                  </a:lnTo>
                  <a:lnTo>
                    <a:pt x="164" y="215"/>
                  </a:lnTo>
                  <a:lnTo>
                    <a:pt x="166" y="215"/>
                  </a:lnTo>
                  <a:lnTo>
                    <a:pt x="166" y="217"/>
                  </a:lnTo>
                  <a:lnTo>
                    <a:pt x="168" y="221"/>
                  </a:lnTo>
                  <a:lnTo>
                    <a:pt x="168" y="221"/>
                  </a:lnTo>
                  <a:lnTo>
                    <a:pt x="172" y="224"/>
                  </a:lnTo>
                  <a:lnTo>
                    <a:pt x="180" y="226"/>
                  </a:lnTo>
                  <a:lnTo>
                    <a:pt x="184" y="228"/>
                  </a:lnTo>
                  <a:lnTo>
                    <a:pt x="186" y="230"/>
                  </a:lnTo>
                  <a:lnTo>
                    <a:pt x="188" y="230"/>
                  </a:lnTo>
                  <a:lnTo>
                    <a:pt x="191" y="230"/>
                  </a:lnTo>
                  <a:lnTo>
                    <a:pt x="193" y="232"/>
                  </a:lnTo>
                  <a:lnTo>
                    <a:pt x="193" y="232"/>
                  </a:lnTo>
                  <a:lnTo>
                    <a:pt x="195" y="234"/>
                  </a:lnTo>
                  <a:lnTo>
                    <a:pt x="195" y="236"/>
                  </a:lnTo>
                  <a:lnTo>
                    <a:pt x="195" y="240"/>
                  </a:lnTo>
                  <a:lnTo>
                    <a:pt x="195" y="242"/>
                  </a:lnTo>
                  <a:lnTo>
                    <a:pt x="197" y="242"/>
                  </a:lnTo>
                  <a:lnTo>
                    <a:pt x="203" y="250"/>
                  </a:lnTo>
                  <a:lnTo>
                    <a:pt x="205" y="252"/>
                  </a:lnTo>
                  <a:lnTo>
                    <a:pt x="205" y="254"/>
                  </a:lnTo>
                  <a:lnTo>
                    <a:pt x="205" y="256"/>
                  </a:lnTo>
                  <a:lnTo>
                    <a:pt x="205" y="258"/>
                  </a:lnTo>
                  <a:lnTo>
                    <a:pt x="207" y="258"/>
                  </a:lnTo>
                  <a:lnTo>
                    <a:pt x="207" y="260"/>
                  </a:lnTo>
                  <a:lnTo>
                    <a:pt x="207" y="262"/>
                  </a:lnTo>
                  <a:lnTo>
                    <a:pt x="207" y="262"/>
                  </a:lnTo>
                  <a:lnTo>
                    <a:pt x="207" y="265"/>
                  </a:lnTo>
                  <a:lnTo>
                    <a:pt x="207" y="265"/>
                  </a:lnTo>
                  <a:lnTo>
                    <a:pt x="207" y="267"/>
                  </a:lnTo>
                  <a:lnTo>
                    <a:pt x="209" y="267"/>
                  </a:lnTo>
                  <a:lnTo>
                    <a:pt x="209" y="267"/>
                  </a:lnTo>
                  <a:lnTo>
                    <a:pt x="209" y="267"/>
                  </a:lnTo>
                  <a:lnTo>
                    <a:pt x="209" y="269"/>
                  </a:lnTo>
                  <a:lnTo>
                    <a:pt x="209" y="271"/>
                  </a:lnTo>
                  <a:lnTo>
                    <a:pt x="209" y="273"/>
                  </a:lnTo>
                  <a:lnTo>
                    <a:pt x="209" y="273"/>
                  </a:lnTo>
                  <a:lnTo>
                    <a:pt x="211" y="275"/>
                  </a:lnTo>
                  <a:lnTo>
                    <a:pt x="213" y="277"/>
                  </a:lnTo>
                  <a:lnTo>
                    <a:pt x="213" y="277"/>
                  </a:lnTo>
                  <a:lnTo>
                    <a:pt x="215" y="277"/>
                  </a:lnTo>
                  <a:lnTo>
                    <a:pt x="219" y="277"/>
                  </a:lnTo>
                  <a:lnTo>
                    <a:pt x="219" y="277"/>
                  </a:lnTo>
                  <a:lnTo>
                    <a:pt x="221" y="279"/>
                  </a:lnTo>
                  <a:lnTo>
                    <a:pt x="221" y="279"/>
                  </a:lnTo>
                  <a:lnTo>
                    <a:pt x="223" y="281"/>
                  </a:lnTo>
                  <a:lnTo>
                    <a:pt x="223" y="281"/>
                  </a:lnTo>
                  <a:lnTo>
                    <a:pt x="223" y="281"/>
                  </a:lnTo>
                  <a:lnTo>
                    <a:pt x="225" y="281"/>
                  </a:lnTo>
                  <a:lnTo>
                    <a:pt x="225" y="281"/>
                  </a:lnTo>
                  <a:lnTo>
                    <a:pt x="227" y="283"/>
                  </a:lnTo>
                  <a:lnTo>
                    <a:pt x="227" y="283"/>
                  </a:lnTo>
                  <a:lnTo>
                    <a:pt x="227" y="285"/>
                  </a:lnTo>
                  <a:lnTo>
                    <a:pt x="229" y="285"/>
                  </a:lnTo>
                  <a:lnTo>
                    <a:pt x="231" y="285"/>
                  </a:lnTo>
                  <a:lnTo>
                    <a:pt x="231" y="287"/>
                  </a:lnTo>
                  <a:lnTo>
                    <a:pt x="231" y="291"/>
                  </a:lnTo>
                  <a:lnTo>
                    <a:pt x="236" y="299"/>
                  </a:lnTo>
                  <a:lnTo>
                    <a:pt x="238" y="299"/>
                  </a:lnTo>
                  <a:lnTo>
                    <a:pt x="240" y="299"/>
                  </a:lnTo>
                  <a:lnTo>
                    <a:pt x="240" y="301"/>
                  </a:lnTo>
                  <a:lnTo>
                    <a:pt x="240" y="303"/>
                  </a:lnTo>
                  <a:lnTo>
                    <a:pt x="240" y="306"/>
                  </a:lnTo>
                  <a:lnTo>
                    <a:pt x="240" y="308"/>
                  </a:lnTo>
                  <a:lnTo>
                    <a:pt x="240" y="308"/>
                  </a:lnTo>
                  <a:lnTo>
                    <a:pt x="240" y="310"/>
                  </a:lnTo>
                  <a:lnTo>
                    <a:pt x="240" y="312"/>
                  </a:lnTo>
                  <a:lnTo>
                    <a:pt x="240" y="312"/>
                  </a:lnTo>
                  <a:lnTo>
                    <a:pt x="240" y="314"/>
                  </a:lnTo>
                  <a:lnTo>
                    <a:pt x="240" y="316"/>
                  </a:lnTo>
                  <a:lnTo>
                    <a:pt x="240" y="316"/>
                  </a:lnTo>
                  <a:lnTo>
                    <a:pt x="242" y="320"/>
                  </a:lnTo>
                  <a:lnTo>
                    <a:pt x="242" y="320"/>
                  </a:lnTo>
                  <a:lnTo>
                    <a:pt x="242" y="320"/>
                  </a:lnTo>
                  <a:lnTo>
                    <a:pt x="242" y="320"/>
                  </a:lnTo>
                  <a:lnTo>
                    <a:pt x="244" y="322"/>
                  </a:lnTo>
                  <a:lnTo>
                    <a:pt x="244" y="322"/>
                  </a:lnTo>
                  <a:lnTo>
                    <a:pt x="244" y="322"/>
                  </a:lnTo>
                  <a:lnTo>
                    <a:pt x="246" y="322"/>
                  </a:lnTo>
                  <a:lnTo>
                    <a:pt x="248" y="326"/>
                  </a:lnTo>
                  <a:lnTo>
                    <a:pt x="248" y="326"/>
                  </a:lnTo>
                  <a:lnTo>
                    <a:pt x="254" y="324"/>
                  </a:lnTo>
                  <a:lnTo>
                    <a:pt x="256" y="324"/>
                  </a:lnTo>
                  <a:lnTo>
                    <a:pt x="260" y="326"/>
                  </a:lnTo>
                  <a:lnTo>
                    <a:pt x="260" y="326"/>
                  </a:lnTo>
                  <a:lnTo>
                    <a:pt x="262" y="328"/>
                  </a:lnTo>
                  <a:lnTo>
                    <a:pt x="262" y="328"/>
                  </a:lnTo>
                  <a:lnTo>
                    <a:pt x="264" y="328"/>
                  </a:lnTo>
                  <a:lnTo>
                    <a:pt x="266" y="328"/>
                  </a:lnTo>
                  <a:lnTo>
                    <a:pt x="266" y="328"/>
                  </a:lnTo>
                  <a:lnTo>
                    <a:pt x="266" y="328"/>
                  </a:lnTo>
                  <a:lnTo>
                    <a:pt x="266" y="326"/>
                  </a:lnTo>
                  <a:lnTo>
                    <a:pt x="266" y="324"/>
                  </a:lnTo>
                  <a:lnTo>
                    <a:pt x="270" y="320"/>
                  </a:lnTo>
                  <a:lnTo>
                    <a:pt x="270" y="316"/>
                  </a:lnTo>
                  <a:lnTo>
                    <a:pt x="270" y="314"/>
                  </a:lnTo>
                  <a:lnTo>
                    <a:pt x="270" y="314"/>
                  </a:lnTo>
                  <a:lnTo>
                    <a:pt x="272" y="312"/>
                  </a:lnTo>
                  <a:lnTo>
                    <a:pt x="272" y="310"/>
                  </a:lnTo>
                  <a:lnTo>
                    <a:pt x="272" y="308"/>
                  </a:lnTo>
                  <a:lnTo>
                    <a:pt x="272" y="306"/>
                  </a:lnTo>
                  <a:lnTo>
                    <a:pt x="272" y="306"/>
                  </a:lnTo>
                  <a:lnTo>
                    <a:pt x="272" y="303"/>
                  </a:lnTo>
                  <a:lnTo>
                    <a:pt x="274" y="308"/>
                  </a:lnTo>
                  <a:lnTo>
                    <a:pt x="272" y="316"/>
                  </a:lnTo>
                  <a:lnTo>
                    <a:pt x="272" y="320"/>
                  </a:lnTo>
                  <a:lnTo>
                    <a:pt x="279" y="314"/>
                  </a:lnTo>
                  <a:lnTo>
                    <a:pt x="281" y="310"/>
                  </a:lnTo>
                  <a:lnTo>
                    <a:pt x="283" y="306"/>
                  </a:lnTo>
                  <a:lnTo>
                    <a:pt x="283" y="306"/>
                  </a:lnTo>
                  <a:lnTo>
                    <a:pt x="281" y="303"/>
                  </a:lnTo>
                  <a:lnTo>
                    <a:pt x="281" y="301"/>
                  </a:lnTo>
                  <a:lnTo>
                    <a:pt x="279" y="301"/>
                  </a:lnTo>
                  <a:lnTo>
                    <a:pt x="277" y="301"/>
                  </a:lnTo>
                  <a:lnTo>
                    <a:pt x="277" y="301"/>
                  </a:lnTo>
                  <a:lnTo>
                    <a:pt x="272" y="297"/>
                  </a:lnTo>
                  <a:lnTo>
                    <a:pt x="270" y="297"/>
                  </a:lnTo>
                  <a:lnTo>
                    <a:pt x="270" y="297"/>
                  </a:lnTo>
                  <a:lnTo>
                    <a:pt x="270" y="295"/>
                  </a:lnTo>
                  <a:lnTo>
                    <a:pt x="270" y="293"/>
                  </a:lnTo>
                  <a:lnTo>
                    <a:pt x="268" y="289"/>
                  </a:lnTo>
                  <a:lnTo>
                    <a:pt x="266" y="287"/>
                  </a:lnTo>
                  <a:lnTo>
                    <a:pt x="264" y="283"/>
                  </a:lnTo>
                  <a:lnTo>
                    <a:pt x="264" y="281"/>
                  </a:lnTo>
                  <a:lnTo>
                    <a:pt x="264" y="279"/>
                  </a:lnTo>
                  <a:lnTo>
                    <a:pt x="264" y="279"/>
                  </a:lnTo>
                  <a:lnTo>
                    <a:pt x="262" y="275"/>
                  </a:lnTo>
                  <a:lnTo>
                    <a:pt x="260" y="275"/>
                  </a:lnTo>
                  <a:lnTo>
                    <a:pt x="260" y="275"/>
                  </a:lnTo>
                  <a:lnTo>
                    <a:pt x="262" y="273"/>
                  </a:lnTo>
                  <a:lnTo>
                    <a:pt x="262" y="275"/>
                  </a:lnTo>
                  <a:lnTo>
                    <a:pt x="264" y="275"/>
                  </a:lnTo>
                  <a:lnTo>
                    <a:pt x="264" y="277"/>
                  </a:lnTo>
                  <a:lnTo>
                    <a:pt x="266" y="277"/>
                  </a:lnTo>
                  <a:lnTo>
                    <a:pt x="268" y="277"/>
                  </a:lnTo>
                  <a:lnTo>
                    <a:pt x="268" y="279"/>
                  </a:lnTo>
                  <a:lnTo>
                    <a:pt x="266" y="281"/>
                  </a:lnTo>
                  <a:lnTo>
                    <a:pt x="268" y="283"/>
                  </a:lnTo>
                  <a:lnTo>
                    <a:pt x="268" y="285"/>
                  </a:lnTo>
                  <a:lnTo>
                    <a:pt x="272" y="291"/>
                  </a:lnTo>
                  <a:lnTo>
                    <a:pt x="279" y="295"/>
                  </a:lnTo>
                  <a:lnTo>
                    <a:pt x="281" y="297"/>
                  </a:lnTo>
                  <a:lnTo>
                    <a:pt x="283" y="295"/>
                  </a:lnTo>
                  <a:lnTo>
                    <a:pt x="283" y="293"/>
                  </a:lnTo>
                  <a:lnTo>
                    <a:pt x="281" y="293"/>
                  </a:lnTo>
                  <a:lnTo>
                    <a:pt x="281" y="291"/>
                  </a:lnTo>
                  <a:lnTo>
                    <a:pt x="281" y="291"/>
                  </a:lnTo>
                  <a:lnTo>
                    <a:pt x="279" y="283"/>
                  </a:lnTo>
                  <a:lnTo>
                    <a:pt x="279" y="281"/>
                  </a:lnTo>
                  <a:lnTo>
                    <a:pt x="279" y="281"/>
                  </a:lnTo>
                  <a:lnTo>
                    <a:pt x="279" y="281"/>
                  </a:lnTo>
                  <a:lnTo>
                    <a:pt x="279" y="279"/>
                  </a:lnTo>
                  <a:lnTo>
                    <a:pt x="279" y="281"/>
                  </a:lnTo>
                  <a:lnTo>
                    <a:pt x="279" y="281"/>
                  </a:lnTo>
                  <a:lnTo>
                    <a:pt x="279" y="281"/>
                  </a:lnTo>
                  <a:lnTo>
                    <a:pt x="277" y="279"/>
                  </a:lnTo>
                  <a:lnTo>
                    <a:pt x="281" y="279"/>
                  </a:lnTo>
                  <a:lnTo>
                    <a:pt x="281" y="281"/>
                  </a:lnTo>
                  <a:lnTo>
                    <a:pt x="281" y="289"/>
                  </a:lnTo>
                  <a:lnTo>
                    <a:pt x="281" y="289"/>
                  </a:lnTo>
                  <a:lnTo>
                    <a:pt x="285" y="287"/>
                  </a:lnTo>
                  <a:lnTo>
                    <a:pt x="285" y="293"/>
                  </a:lnTo>
                  <a:lnTo>
                    <a:pt x="285" y="297"/>
                  </a:lnTo>
                  <a:lnTo>
                    <a:pt x="285" y="299"/>
                  </a:lnTo>
                  <a:lnTo>
                    <a:pt x="287" y="299"/>
                  </a:lnTo>
                  <a:lnTo>
                    <a:pt x="289" y="297"/>
                  </a:lnTo>
                  <a:lnTo>
                    <a:pt x="291" y="297"/>
                  </a:lnTo>
                  <a:lnTo>
                    <a:pt x="291" y="297"/>
                  </a:lnTo>
                  <a:lnTo>
                    <a:pt x="293" y="297"/>
                  </a:lnTo>
                  <a:lnTo>
                    <a:pt x="299" y="291"/>
                  </a:lnTo>
                  <a:lnTo>
                    <a:pt x="299" y="289"/>
                  </a:lnTo>
                  <a:lnTo>
                    <a:pt x="297" y="289"/>
                  </a:lnTo>
                  <a:lnTo>
                    <a:pt x="299" y="289"/>
                  </a:lnTo>
                  <a:lnTo>
                    <a:pt x="299" y="289"/>
                  </a:lnTo>
                  <a:lnTo>
                    <a:pt x="299" y="287"/>
                  </a:lnTo>
                  <a:lnTo>
                    <a:pt x="299" y="287"/>
                  </a:lnTo>
                  <a:lnTo>
                    <a:pt x="299" y="287"/>
                  </a:lnTo>
                  <a:lnTo>
                    <a:pt x="301" y="287"/>
                  </a:lnTo>
                  <a:lnTo>
                    <a:pt x="301" y="285"/>
                  </a:lnTo>
                  <a:lnTo>
                    <a:pt x="301" y="283"/>
                  </a:lnTo>
                  <a:lnTo>
                    <a:pt x="301" y="281"/>
                  </a:lnTo>
                  <a:lnTo>
                    <a:pt x="301" y="281"/>
                  </a:lnTo>
                  <a:lnTo>
                    <a:pt x="301" y="283"/>
                  </a:lnTo>
                  <a:lnTo>
                    <a:pt x="299" y="283"/>
                  </a:lnTo>
                  <a:lnTo>
                    <a:pt x="299" y="285"/>
                  </a:lnTo>
                  <a:lnTo>
                    <a:pt x="297" y="285"/>
                  </a:lnTo>
                  <a:lnTo>
                    <a:pt x="295" y="287"/>
                  </a:lnTo>
                  <a:lnTo>
                    <a:pt x="293" y="289"/>
                  </a:lnTo>
                  <a:lnTo>
                    <a:pt x="291" y="289"/>
                  </a:lnTo>
                  <a:lnTo>
                    <a:pt x="291" y="289"/>
                  </a:lnTo>
                  <a:lnTo>
                    <a:pt x="293" y="287"/>
                  </a:lnTo>
                  <a:lnTo>
                    <a:pt x="295" y="285"/>
                  </a:lnTo>
                  <a:lnTo>
                    <a:pt x="299" y="283"/>
                  </a:lnTo>
                  <a:lnTo>
                    <a:pt x="299" y="281"/>
                  </a:lnTo>
                  <a:lnTo>
                    <a:pt x="297" y="279"/>
                  </a:lnTo>
                  <a:lnTo>
                    <a:pt x="295" y="277"/>
                  </a:lnTo>
                  <a:lnTo>
                    <a:pt x="287" y="279"/>
                  </a:lnTo>
                  <a:lnTo>
                    <a:pt x="289" y="277"/>
                  </a:lnTo>
                  <a:lnTo>
                    <a:pt x="291" y="277"/>
                  </a:lnTo>
                  <a:lnTo>
                    <a:pt x="293" y="275"/>
                  </a:lnTo>
                  <a:lnTo>
                    <a:pt x="295" y="275"/>
                  </a:lnTo>
                  <a:lnTo>
                    <a:pt x="295" y="275"/>
                  </a:lnTo>
                  <a:lnTo>
                    <a:pt x="295" y="275"/>
                  </a:lnTo>
                  <a:lnTo>
                    <a:pt x="291" y="273"/>
                  </a:lnTo>
                  <a:lnTo>
                    <a:pt x="291" y="273"/>
                  </a:lnTo>
                  <a:lnTo>
                    <a:pt x="289" y="273"/>
                  </a:lnTo>
                  <a:lnTo>
                    <a:pt x="289" y="275"/>
                  </a:lnTo>
                  <a:lnTo>
                    <a:pt x="287" y="275"/>
                  </a:lnTo>
                  <a:lnTo>
                    <a:pt x="279" y="275"/>
                  </a:lnTo>
                  <a:lnTo>
                    <a:pt x="277" y="275"/>
                  </a:lnTo>
                  <a:lnTo>
                    <a:pt x="277" y="275"/>
                  </a:lnTo>
                  <a:lnTo>
                    <a:pt x="277" y="275"/>
                  </a:lnTo>
                  <a:lnTo>
                    <a:pt x="277" y="273"/>
                  </a:lnTo>
                  <a:lnTo>
                    <a:pt x="279" y="273"/>
                  </a:lnTo>
                  <a:lnTo>
                    <a:pt x="281" y="273"/>
                  </a:lnTo>
                  <a:lnTo>
                    <a:pt x="287" y="273"/>
                  </a:lnTo>
                  <a:lnTo>
                    <a:pt x="289" y="271"/>
                  </a:lnTo>
                  <a:lnTo>
                    <a:pt x="289" y="271"/>
                  </a:lnTo>
                  <a:lnTo>
                    <a:pt x="289" y="269"/>
                  </a:lnTo>
                  <a:lnTo>
                    <a:pt x="289" y="269"/>
                  </a:lnTo>
                  <a:lnTo>
                    <a:pt x="289" y="267"/>
                  </a:lnTo>
                  <a:lnTo>
                    <a:pt x="289" y="267"/>
                  </a:lnTo>
                  <a:lnTo>
                    <a:pt x="289" y="269"/>
                  </a:lnTo>
                  <a:lnTo>
                    <a:pt x="291" y="269"/>
                  </a:lnTo>
                  <a:lnTo>
                    <a:pt x="295" y="271"/>
                  </a:lnTo>
                  <a:lnTo>
                    <a:pt x="295" y="271"/>
                  </a:lnTo>
                  <a:lnTo>
                    <a:pt x="297" y="271"/>
                  </a:lnTo>
                  <a:lnTo>
                    <a:pt x="299" y="271"/>
                  </a:lnTo>
                  <a:lnTo>
                    <a:pt x="299" y="273"/>
                  </a:lnTo>
                  <a:lnTo>
                    <a:pt x="301" y="273"/>
                  </a:lnTo>
                  <a:lnTo>
                    <a:pt x="301" y="273"/>
                  </a:lnTo>
                  <a:lnTo>
                    <a:pt x="303" y="273"/>
                  </a:lnTo>
                  <a:lnTo>
                    <a:pt x="305" y="273"/>
                  </a:lnTo>
                  <a:lnTo>
                    <a:pt x="305" y="271"/>
                  </a:lnTo>
                  <a:lnTo>
                    <a:pt x="305" y="269"/>
                  </a:lnTo>
                  <a:lnTo>
                    <a:pt x="305" y="267"/>
                  </a:lnTo>
                  <a:lnTo>
                    <a:pt x="305" y="267"/>
                  </a:lnTo>
                  <a:lnTo>
                    <a:pt x="305" y="269"/>
                  </a:lnTo>
                  <a:lnTo>
                    <a:pt x="307" y="269"/>
                  </a:lnTo>
                  <a:lnTo>
                    <a:pt x="307" y="271"/>
                  </a:lnTo>
                  <a:lnTo>
                    <a:pt x="309" y="271"/>
                  </a:lnTo>
                  <a:lnTo>
                    <a:pt x="309" y="271"/>
                  </a:lnTo>
                  <a:lnTo>
                    <a:pt x="309" y="271"/>
                  </a:lnTo>
                  <a:lnTo>
                    <a:pt x="311" y="269"/>
                  </a:lnTo>
                  <a:lnTo>
                    <a:pt x="315" y="265"/>
                  </a:lnTo>
                  <a:lnTo>
                    <a:pt x="317" y="262"/>
                  </a:lnTo>
                  <a:lnTo>
                    <a:pt x="317" y="262"/>
                  </a:lnTo>
                  <a:lnTo>
                    <a:pt x="317" y="260"/>
                  </a:lnTo>
                  <a:lnTo>
                    <a:pt x="320" y="260"/>
                  </a:lnTo>
                  <a:lnTo>
                    <a:pt x="317" y="260"/>
                  </a:lnTo>
                  <a:lnTo>
                    <a:pt x="317" y="260"/>
                  </a:lnTo>
                  <a:lnTo>
                    <a:pt x="313" y="256"/>
                  </a:lnTo>
                  <a:lnTo>
                    <a:pt x="311" y="256"/>
                  </a:lnTo>
                  <a:lnTo>
                    <a:pt x="313" y="256"/>
                  </a:lnTo>
                  <a:lnTo>
                    <a:pt x="315" y="256"/>
                  </a:lnTo>
                  <a:lnTo>
                    <a:pt x="317" y="258"/>
                  </a:lnTo>
                  <a:lnTo>
                    <a:pt x="322" y="260"/>
                  </a:lnTo>
                  <a:lnTo>
                    <a:pt x="322" y="260"/>
                  </a:lnTo>
                  <a:lnTo>
                    <a:pt x="324" y="258"/>
                  </a:lnTo>
                  <a:lnTo>
                    <a:pt x="326" y="256"/>
                  </a:lnTo>
                  <a:lnTo>
                    <a:pt x="328" y="256"/>
                  </a:lnTo>
                  <a:lnTo>
                    <a:pt x="330" y="254"/>
                  </a:lnTo>
                  <a:lnTo>
                    <a:pt x="336" y="252"/>
                  </a:lnTo>
                  <a:lnTo>
                    <a:pt x="336" y="252"/>
                  </a:lnTo>
                  <a:lnTo>
                    <a:pt x="336" y="250"/>
                  </a:lnTo>
                  <a:lnTo>
                    <a:pt x="334" y="250"/>
                  </a:lnTo>
                  <a:lnTo>
                    <a:pt x="332" y="248"/>
                  </a:lnTo>
                  <a:lnTo>
                    <a:pt x="334" y="248"/>
                  </a:lnTo>
                  <a:lnTo>
                    <a:pt x="334" y="248"/>
                  </a:lnTo>
                  <a:lnTo>
                    <a:pt x="336" y="248"/>
                  </a:lnTo>
                  <a:lnTo>
                    <a:pt x="340" y="248"/>
                  </a:lnTo>
                  <a:lnTo>
                    <a:pt x="340" y="248"/>
                  </a:lnTo>
                  <a:lnTo>
                    <a:pt x="344" y="242"/>
                  </a:lnTo>
                  <a:lnTo>
                    <a:pt x="346" y="240"/>
                  </a:lnTo>
                  <a:lnTo>
                    <a:pt x="344" y="238"/>
                  </a:lnTo>
                  <a:lnTo>
                    <a:pt x="344" y="238"/>
                  </a:lnTo>
                  <a:lnTo>
                    <a:pt x="344" y="238"/>
                  </a:lnTo>
                  <a:lnTo>
                    <a:pt x="344" y="238"/>
                  </a:lnTo>
                  <a:lnTo>
                    <a:pt x="342" y="238"/>
                  </a:lnTo>
                  <a:lnTo>
                    <a:pt x="342" y="236"/>
                  </a:lnTo>
                  <a:lnTo>
                    <a:pt x="342" y="236"/>
                  </a:lnTo>
                  <a:lnTo>
                    <a:pt x="338" y="236"/>
                  </a:lnTo>
                  <a:lnTo>
                    <a:pt x="336" y="236"/>
                  </a:lnTo>
                  <a:lnTo>
                    <a:pt x="336" y="234"/>
                  </a:lnTo>
                  <a:lnTo>
                    <a:pt x="334" y="232"/>
                  </a:lnTo>
                  <a:lnTo>
                    <a:pt x="336" y="234"/>
                  </a:lnTo>
                  <a:lnTo>
                    <a:pt x="338" y="234"/>
                  </a:lnTo>
                  <a:lnTo>
                    <a:pt x="338" y="234"/>
                  </a:lnTo>
                  <a:lnTo>
                    <a:pt x="338" y="232"/>
                  </a:lnTo>
                  <a:lnTo>
                    <a:pt x="338" y="230"/>
                  </a:lnTo>
                  <a:lnTo>
                    <a:pt x="336" y="228"/>
                  </a:lnTo>
                  <a:lnTo>
                    <a:pt x="336" y="226"/>
                  </a:lnTo>
                  <a:lnTo>
                    <a:pt x="336" y="226"/>
                  </a:lnTo>
                  <a:lnTo>
                    <a:pt x="340" y="228"/>
                  </a:lnTo>
                  <a:lnTo>
                    <a:pt x="340" y="228"/>
                  </a:lnTo>
                  <a:lnTo>
                    <a:pt x="340" y="226"/>
                  </a:lnTo>
                  <a:lnTo>
                    <a:pt x="340" y="226"/>
                  </a:lnTo>
                  <a:lnTo>
                    <a:pt x="340" y="226"/>
                  </a:lnTo>
                  <a:lnTo>
                    <a:pt x="342" y="226"/>
                  </a:lnTo>
                  <a:lnTo>
                    <a:pt x="340" y="230"/>
                  </a:lnTo>
                  <a:lnTo>
                    <a:pt x="340" y="232"/>
                  </a:lnTo>
                  <a:lnTo>
                    <a:pt x="342" y="232"/>
                  </a:lnTo>
                  <a:lnTo>
                    <a:pt x="342" y="232"/>
                  </a:lnTo>
                  <a:lnTo>
                    <a:pt x="344" y="234"/>
                  </a:lnTo>
                  <a:lnTo>
                    <a:pt x="346" y="234"/>
                  </a:lnTo>
                  <a:lnTo>
                    <a:pt x="346" y="234"/>
                  </a:lnTo>
                  <a:lnTo>
                    <a:pt x="348" y="234"/>
                  </a:lnTo>
                  <a:lnTo>
                    <a:pt x="350" y="232"/>
                  </a:lnTo>
                  <a:lnTo>
                    <a:pt x="354" y="228"/>
                  </a:lnTo>
                  <a:lnTo>
                    <a:pt x="356" y="226"/>
                  </a:lnTo>
                  <a:lnTo>
                    <a:pt x="356" y="224"/>
                  </a:lnTo>
                  <a:lnTo>
                    <a:pt x="358" y="221"/>
                  </a:lnTo>
                  <a:lnTo>
                    <a:pt x="360" y="219"/>
                  </a:lnTo>
                  <a:lnTo>
                    <a:pt x="360" y="219"/>
                  </a:lnTo>
                  <a:lnTo>
                    <a:pt x="360" y="219"/>
                  </a:lnTo>
                  <a:lnTo>
                    <a:pt x="360" y="217"/>
                  </a:lnTo>
                  <a:lnTo>
                    <a:pt x="363" y="217"/>
                  </a:lnTo>
                  <a:lnTo>
                    <a:pt x="363" y="217"/>
                  </a:lnTo>
                  <a:lnTo>
                    <a:pt x="367" y="213"/>
                  </a:lnTo>
                  <a:lnTo>
                    <a:pt x="367" y="213"/>
                  </a:lnTo>
                  <a:lnTo>
                    <a:pt x="367" y="211"/>
                  </a:lnTo>
                  <a:lnTo>
                    <a:pt x="367" y="211"/>
                  </a:lnTo>
                  <a:lnTo>
                    <a:pt x="367" y="211"/>
                  </a:lnTo>
                  <a:lnTo>
                    <a:pt x="365" y="213"/>
                  </a:lnTo>
                  <a:lnTo>
                    <a:pt x="365" y="213"/>
                  </a:lnTo>
                  <a:lnTo>
                    <a:pt x="363" y="213"/>
                  </a:lnTo>
                  <a:lnTo>
                    <a:pt x="363" y="211"/>
                  </a:lnTo>
                  <a:lnTo>
                    <a:pt x="363" y="209"/>
                  </a:lnTo>
                  <a:lnTo>
                    <a:pt x="365" y="205"/>
                  </a:lnTo>
                  <a:lnTo>
                    <a:pt x="365" y="203"/>
                  </a:lnTo>
                  <a:lnTo>
                    <a:pt x="367" y="203"/>
                  </a:lnTo>
                  <a:lnTo>
                    <a:pt x="369" y="199"/>
                  </a:lnTo>
                  <a:lnTo>
                    <a:pt x="371" y="199"/>
                  </a:lnTo>
                  <a:lnTo>
                    <a:pt x="371" y="201"/>
                  </a:lnTo>
                  <a:lnTo>
                    <a:pt x="371" y="201"/>
                  </a:lnTo>
                  <a:lnTo>
                    <a:pt x="373" y="203"/>
                  </a:lnTo>
                  <a:lnTo>
                    <a:pt x="373" y="203"/>
                  </a:lnTo>
                  <a:lnTo>
                    <a:pt x="375" y="203"/>
                  </a:lnTo>
                  <a:lnTo>
                    <a:pt x="377" y="201"/>
                  </a:lnTo>
                  <a:lnTo>
                    <a:pt x="379" y="201"/>
                  </a:lnTo>
                  <a:lnTo>
                    <a:pt x="381" y="201"/>
                  </a:lnTo>
                  <a:lnTo>
                    <a:pt x="383" y="199"/>
                  </a:lnTo>
                  <a:lnTo>
                    <a:pt x="383" y="199"/>
                  </a:lnTo>
                  <a:lnTo>
                    <a:pt x="383" y="197"/>
                  </a:lnTo>
                  <a:lnTo>
                    <a:pt x="383" y="195"/>
                  </a:lnTo>
                  <a:lnTo>
                    <a:pt x="385" y="193"/>
                  </a:lnTo>
                  <a:lnTo>
                    <a:pt x="387" y="191"/>
                  </a:lnTo>
                  <a:lnTo>
                    <a:pt x="389" y="189"/>
                  </a:lnTo>
                  <a:lnTo>
                    <a:pt x="389" y="187"/>
                  </a:lnTo>
                  <a:lnTo>
                    <a:pt x="387" y="185"/>
                  </a:lnTo>
                  <a:lnTo>
                    <a:pt x="385" y="185"/>
                  </a:lnTo>
                  <a:lnTo>
                    <a:pt x="383" y="185"/>
                  </a:lnTo>
                  <a:lnTo>
                    <a:pt x="385" y="185"/>
                  </a:lnTo>
                  <a:lnTo>
                    <a:pt x="387" y="185"/>
                  </a:lnTo>
                  <a:lnTo>
                    <a:pt x="389" y="185"/>
                  </a:lnTo>
                  <a:lnTo>
                    <a:pt x="391" y="187"/>
                  </a:lnTo>
                  <a:lnTo>
                    <a:pt x="391" y="187"/>
                  </a:lnTo>
                  <a:lnTo>
                    <a:pt x="391" y="187"/>
                  </a:lnTo>
                  <a:lnTo>
                    <a:pt x="391" y="185"/>
                  </a:lnTo>
                  <a:lnTo>
                    <a:pt x="391" y="185"/>
                  </a:lnTo>
                  <a:lnTo>
                    <a:pt x="391" y="185"/>
                  </a:lnTo>
                  <a:lnTo>
                    <a:pt x="389" y="183"/>
                  </a:lnTo>
                  <a:lnTo>
                    <a:pt x="389" y="183"/>
                  </a:lnTo>
                  <a:lnTo>
                    <a:pt x="391" y="181"/>
                  </a:lnTo>
                  <a:lnTo>
                    <a:pt x="391" y="181"/>
                  </a:lnTo>
                  <a:lnTo>
                    <a:pt x="393" y="183"/>
                  </a:lnTo>
                  <a:lnTo>
                    <a:pt x="393" y="183"/>
                  </a:lnTo>
                  <a:lnTo>
                    <a:pt x="395" y="183"/>
                  </a:lnTo>
                  <a:lnTo>
                    <a:pt x="395" y="181"/>
                  </a:lnTo>
                  <a:lnTo>
                    <a:pt x="395" y="178"/>
                  </a:lnTo>
                  <a:lnTo>
                    <a:pt x="397" y="178"/>
                  </a:lnTo>
                  <a:lnTo>
                    <a:pt x="395" y="178"/>
                  </a:lnTo>
                  <a:lnTo>
                    <a:pt x="395" y="178"/>
                  </a:lnTo>
                  <a:lnTo>
                    <a:pt x="395" y="176"/>
                  </a:lnTo>
                  <a:lnTo>
                    <a:pt x="393" y="174"/>
                  </a:lnTo>
                  <a:lnTo>
                    <a:pt x="393" y="174"/>
                  </a:lnTo>
                  <a:lnTo>
                    <a:pt x="393" y="172"/>
                  </a:lnTo>
                  <a:lnTo>
                    <a:pt x="391" y="172"/>
                  </a:lnTo>
                  <a:lnTo>
                    <a:pt x="387" y="172"/>
                  </a:lnTo>
                  <a:lnTo>
                    <a:pt x="385" y="170"/>
                  </a:lnTo>
                  <a:lnTo>
                    <a:pt x="385" y="168"/>
                  </a:lnTo>
                  <a:lnTo>
                    <a:pt x="385" y="166"/>
                  </a:lnTo>
                  <a:lnTo>
                    <a:pt x="385" y="164"/>
                  </a:lnTo>
                  <a:lnTo>
                    <a:pt x="385" y="162"/>
                  </a:lnTo>
                  <a:lnTo>
                    <a:pt x="389" y="154"/>
                  </a:lnTo>
                  <a:lnTo>
                    <a:pt x="389" y="154"/>
                  </a:lnTo>
                  <a:lnTo>
                    <a:pt x="391" y="152"/>
                  </a:lnTo>
                  <a:lnTo>
                    <a:pt x="391" y="152"/>
                  </a:lnTo>
                  <a:lnTo>
                    <a:pt x="391" y="154"/>
                  </a:lnTo>
                  <a:lnTo>
                    <a:pt x="389" y="158"/>
                  </a:lnTo>
                  <a:lnTo>
                    <a:pt x="387" y="162"/>
                  </a:lnTo>
                  <a:lnTo>
                    <a:pt x="387" y="166"/>
                  </a:lnTo>
                  <a:lnTo>
                    <a:pt x="387" y="166"/>
                  </a:lnTo>
                  <a:lnTo>
                    <a:pt x="391" y="166"/>
                  </a:lnTo>
                  <a:lnTo>
                    <a:pt x="391" y="166"/>
                  </a:lnTo>
                  <a:lnTo>
                    <a:pt x="393" y="168"/>
                  </a:lnTo>
                  <a:lnTo>
                    <a:pt x="393" y="170"/>
                  </a:lnTo>
                  <a:lnTo>
                    <a:pt x="395" y="174"/>
                  </a:lnTo>
                  <a:lnTo>
                    <a:pt x="395" y="174"/>
                  </a:lnTo>
                  <a:lnTo>
                    <a:pt x="397" y="174"/>
                  </a:lnTo>
                  <a:lnTo>
                    <a:pt x="395" y="172"/>
                  </a:lnTo>
                  <a:lnTo>
                    <a:pt x="395" y="160"/>
                  </a:lnTo>
                  <a:lnTo>
                    <a:pt x="397" y="158"/>
                  </a:lnTo>
                  <a:lnTo>
                    <a:pt x="395" y="158"/>
                  </a:lnTo>
                  <a:lnTo>
                    <a:pt x="397" y="152"/>
                  </a:lnTo>
                  <a:lnTo>
                    <a:pt x="404" y="140"/>
                  </a:lnTo>
                  <a:lnTo>
                    <a:pt x="410" y="125"/>
                  </a:lnTo>
                  <a:lnTo>
                    <a:pt x="414" y="117"/>
                  </a:lnTo>
                  <a:lnTo>
                    <a:pt x="422" y="109"/>
                  </a:lnTo>
                  <a:lnTo>
                    <a:pt x="430" y="101"/>
                  </a:lnTo>
                  <a:lnTo>
                    <a:pt x="434" y="99"/>
                  </a:lnTo>
                  <a:lnTo>
                    <a:pt x="438" y="96"/>
                  </a:lnTo>
                  <a:lnTo>
                    <a:pt x="436" y="96"/>
                  </a:lnTo>
                  <a:close/>
                </a:path>
              </a:pathLst>
            </a:custGeom>
            <a:solidFill>
              <a:schemeClr val="tx1"/>
            </a:solidFill>
            <a:ln w="3175" cap="rnd">
              <a:solidFill>
                <a:schemeClr val="bg1"/>
              </a:solidFill>
              <a:prstDash val="solid"/>
              <a:round/>
              <a:headEnd/>
              <a:tailEnd/>
            </a:ln>
          </p:spPr>
          <p:txBody>
            <a:bodyPr vert="horz" wrap="square" lIns="0" tIns="0" rIns="0" bIns="96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SC</a:t>
              </a:r>
            </a:p>
          </p:txBody>
        </p:sp>
        <p:sp>
          <p:nvSpPr>
            <p:cNvPr id="95" name="Freeform 16">
              <a:extLst>
                <a:ext uri="{FF2B5EF4-FFF2-40B4-BE49-F238E27FC236}">
                  <a16:creationId xmlns:a16="http://schemas.microsoft.com/office/drawing/2014/main" id="{31ED7ED8-4F30-D743-FE65-976F519F4E6D}"/>
                </a:ext>
              </a:extLst>
            </p:cNvPr>
            <p:cNvSpPr>
              <a:spLocks noEditPoints="1"/>
            </p:cNvSpPr>
            <p:nvPr/>
          </p:nvSpPr>
          <p:spPr bwMode="auto">
            <a:xfrm>
              <a:off x="5014" y="607"/>
              <a:ext cx="59" cy="92"/>
            </a:xfrm>
            <a:custGeom>
              <a:avLst/>
              <a:gdLst>
                <a:gd name="T0" fmla="*/ 41 w 59"/>
                <a:gd name="T1" fmla="*/ 86 h 92"/>
                <a:gd name="T2" fmla="*/ 39 w 59"/>
                <a:gd name="T3" fmla="*/ 86 h 92"/>
                <a:gd name="T4" fmla="*/ 37 w 59"/>
                <a:gd name="T5" fmla="*/ 90 h 92"/>
                <a:gd name="T6" fmla="*/ 43 w 59"/>
                <a:gd name="T7" fmla="*/ 92 h 92"/>
                <a:gd name="T8" fmla="*/ 43 w 59"/>
                <a:gd name="T9" fmla="*/ 88 h 92"/>
                <a:gd name="T10" fmla="*/ 47 w 59"/>
                <a:gd name="T11" fmla="*/ 45 h 92"/>
                <a:gd name="T12" fmla="*/ 47 w 59"/>
                <a:gd name="T13" fmla="*/ 49 h 92"/>
                <a:gd name="T14" fmla="*/ 47 w 59"/>
                <a:gd name="T15" fmla="*/ 51 h 92"/>
                <a:gd name="T16" fmla="*/ 47 w 59"/>
                <a:gd name="T17" fmla="*/ 57 h 92"/>
                <a:gd name="T18" fmla="*/ 49 w 59"/>
                <a:gd name="T19" fmla="*/ 53 h 92"/>
                <a:gd name="T20" fmla="*/ 59 w 59"/>
                <a:gd name="T21" fmla="*/ 49 h 92"/>
                <a:gd name="T22" fmla="*/ 57 w 59"/>
                <a:gd name="T23" fmla="*/ 39 h 92"/>
                <a:gd name="T24" fmla="*/ 53 w 59"/>
                <a:gd name="T25" fmla="*/ 35 h 92"/>
                <a:gd name="T26" fmla="*/ 53 w 59"/>
                <a:gd name="T27" fmla="*/ 41 h 92"/>
                <a:gd name="T28" fmla="*/ 53 w 59"/>
                <a:gd name="T29" fmla="*/ 45 h 92"/>
                <a:gd name="T30" fmla="*/ 51 w 59"/>
                <a:gd name="T31" fmla="*/ 49 h 92"/>
                <a:gd name="T32" fmla="*/ 51 w 59"/>
                <a:gd name="T33" fmla="*/ 53 h 92"/>
                <a:gd name="T34" fmla="*/ 53 w 59"/>
                <a:gd name="T35" fmla="*/ 55 h 92"/>
                <a:gd name="T36" fmla="*/ 57 w 59"/>
                <a:gd name="T37" fmla="*/ 51 h 92"/>
                <a:gd name="T38" fmla="*/ 53 w 59"/>
                <a:gd name="T39" fmla="*/ 30 h 92"/>
                <a:gd name="T40" fmla="*/ 53 w 59"/>
                <a:gd name="T41" fmla="*/ 28 h 92"/>
                <a:gd name="T42" fmla="*/ 47 w 59"/>
                <a:gd name="T43" fmla="*/ 22 h 92"/>
                <a:gd name="T44" fmla="*/ 43 w 59"/>
                <a:gd name="T45" fmla="*/ 20 h 92"/>
                <a:gd name="T46" fmla="*/ 41 w 59"/>
                <a:gd name="T47" fmla="*/ 14 h 92"/>
                <a:gd name="T48" fmla="*/ 41 w 59"/>
                <a:gd name="T49" fmla="*/ 12 h 92"/>
                <a:gd name="T50" fmla="*/ 39 w 59"/>
                <a:gd name="T51" fmla="*/ 12 h 92"/>
                <a:gd name="T52" fmla="*/ 35 w 59"/>
                <a:gd name="T53" fmla="*/ 4 h 92"/>
                <a:gd name="T54" fmla="*/ 23 w 59"/>
                <a:gd name="T55" fmla="*/ 2 h 92"/>
                <a:gd name="T56" fmla="*/ 2 w 59"/>
                <a:gd name="T57" fmla="*/ 14 h 92"/>
                <a:gd name="T58" fmla="*/ 8 w 59"/>
                <a:gd name="T59" fmla="*/ 39 h 92"/>
                <a:gd name="T60" fmla="*/ 14 w 59"/>
                <a:gd name="T61" fmla="*/ 59 h 92"/>
                <a:gd name="T62" fmla="*/ 14 w 59"/>
                <a:gd name="T63" fmla="*/ 71 h 92"/>
                <a:gd name="T64" fmla="*/ 23 w 59"/>
                <a:gd name="T65" fmla="*/ 78 h 92"/>
                <a:gd name="T66" fmla="*/ 41 w 59"/>
                <a:gd name="T67" fmla="*/ 67 h 92"/>
                <a:gd name="T68" fmla="*/ 43 w 59"/>
                <a:gd name="T69" fmla="*/ 65 h 92"/>
                <a:gd name="T70" fmla="*/ 43 w 59"/>
                <a:gd name="T71" fmla="*/ 49 h 92"/>
                <a:gd name="T72" fmla="*/ 43 w 59"/>
                <a:gd name="T73" fmla="*/ 43 h 92"/>
                <a:gd name="T74" fmla="*/ 41 w 59"/>
                <a:gd name="T75" fmla="*/ 37 h 92"/>
                <a:gd name="T76" fmla="*/ 39 w 59"/>
                <a:gd name="T77" fmla="*/ 32 h 92"/>
                <a:gd name="T78" fmla="*/ 43 w 59"/>
                <a:gd name="T79" fmla="*/ 35 h 92"/>
                <a:gd name="T80" fmla="*/ 43 w 59"/>
                <a:gd name="T81" fmla="*/ 28 h 92"/>
                <a:gd name="T82" fmla="*/ 41 w 59"/>
                <a:gd name="T83" fmla="*/ 26 h 92"/>
                <a:gd name="T84" fmla="*/ 41 w 59"/>
                <a:gd name="T85" fmla="*/ 20 h 92"/>
                <a:gd name="T86" fmla="*/ 43 w 59"/>
                <a:gd name="T87" fmla="*/ 26 h 92"/>
                <a:gd name="T88" fmla="*/ 47 w 59"/>
                <a:gd name="T89" fmla="*/ 26 h 92"/>
                <a:gd name="T90" fmla="*/ 49 w 59"/>
                <a:gd name="T91" fmla="*/ 24 h 92"/>
                <a:gd name="T92" fmla="*/ 49 w 59"/>
                <a:gd name="T93" fmla="*/ 32 h 92"/>
                <a:gd name="T94" fmla="*/ 53 w 59"/>
                <a:gd name="T9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92">
                  <a:moveTo>
                    <a:pt x="43" y="88"/>
                  </a:moveTo>
                  <a:lnTo>
                    <a:pt x="41" y="88"/>
                  </a:lnTo>
                  <a:lnTo>
                    <a:pt x="41" y="86"/>
                  </a:lnTo>
                  <a:lnTo>
                    <a:pt x="41" y="86"/>
                  </a:lnTo>
                  <a:lnTo>
                    <a:pt x="41" y="84"/>
                  </a:lnTo>
                  <a:lnTo>
                    <a:pt x="41" y="84"/>
                  </a:lnTo>
                  <a:lnTo>
                    <a:pt x="39" y="84"/>
                  </a:lnTo>
                  <a:lnTo>
                    <a:pt x="39" y="86"/>
                  </a:lnTo>
                  <a:lnTo>
                    <a:pt x="41" y="86"/>
                  </a:lnTo>
                  <a:lnTo>
                    <a:pt x="39" y="88"/>
                  </a:lnTo>
                  <a:lnTo>
                    <a:pt x="39" y="88"/>
                  </a:lnTo>
                  <a:lnTo>
                    <a:pt x="37" y="90"/>
                  </a:lnTo>
                  <a:lnTo>
                    <a:pt x="39" y="90"/>
                  </a:lnTo>
                  <a:lnTo>
                    <a:pt x="39" y="92"/>
                  </a:lnTo>
                  <a:lnTo>
                    <a:pt x="41" y="92"/>
                  </a:lnTo>
                  <a:lnTo>
                    <a:pt x="43" y="92"/>
                  </a:lnTo>
                  <a:lnTo>
                    <a:pt x="43" y="90"/>
                  </a:lnTo>
                  <a:lnTo>
                    <a:pt x="43" y="90"/>
                  </a:lnTo>
                  <a:lnTo>
                    <a:pt x="43" y="90"/>
                  </a:lnTo>
                  <a:lnTo>
                    <a:pt x="43" y="88"/>
                  </a:lnTo>
                  <a:close/>
                  <a:moveTo>
                    <a:pt x="49" y="47"/>
                  </a:moveTo>
                  <a:lnTo>
                    <a:pt x="49" y="45"/>
                  </a:lnTo>
                  <a:lnTo>
                    <a:pt x="47" y="45"/>
                  </a:lnTo>
                  <a:lnTo>
                    <a:pt x="47" y="45"/>
                  </a:lnTo>
                  <a:lnTo>
                    <a:pt x="47" y="45"/>
                  </a:lnTo>
                  <a:lnTo>
                    <a:pt x="47" y="45"/>
                  </a:lnTo>
                  <a:lnTo>
                    <a:pt x="45" y="49"/>
                  </a:lnTo>
                  <a:lnTo>
                    <a:pt x="47" y="49"/>
                  </a:lnTo>
                  <a:lnTo>
                    <a:pt x="47" y="51"/>
                  </a:lnTo>
                  <a:lnTo>
                    <a:pt x="47" y="51"/>
                  </a:lnTo>
                  <a:lnTo>
                    <a:pt x="47" y="51"/>
                  </a:lnTo>
                  <a:lnTo>
                    <a:pt x="47" y="51"/>
                  </a:lnTo>
                  <a:lnTo>
                    <a:pt x="47" y="53"/>
                  </a:lnTo>
                  <a:lnTo>
                    <a:pt x="47" y="53"/>
                  </a:lnTo>
                  <a:lnTo>
                    <a:pt x="47" y="55"/>
                  </a:lnTo>
                  <a:lnTo>
                    <a:pt x="47" y="57"/>
                  </a:lnTo>
                  <a:lnTo>
                    <a:pt x="47" y="55"/>
                  </a:lnTo>
                  <a:lnTo>
                    <a:pt x="49" y="55"/>
                  </a:lnTo>
                  <a:lnTo>
                    <a:pt x="49" y="55"/>
                  </a:lnTo>
                  <a:lnTo>
                    <a:pt x="49" y="53"/>
                  </a:lnTo>
                  <a:lnTo>
                    <a:pt x="49" y="53"/>
                  </a:lnTo>
                  <a:lnTo>
                    <a:pt x="49" y="51"/>
                  </a:lnTo>
                  <a:lnTo>
                    <a:pt x="49" y="47"/>
                  </a:lnTo>
                  <a:close/>
                  <a:moveTo>
                    <a:pt x="59" y="49"/>
                  </a:moveTo>
                  <a:lnTo>
                    <a:pt x="59" y="49"/>
                  </a:lnTo>
                  <a:lnTo>
                    <a:pt x="59" y="47"/>
                  </a:lnTo>
                  <a:lnTo>
                    <a:pt x="59" y="45"/>
                  </a:lnTo>
                  <a:lnTo>
                    <a:pt x="57" y="39"/>
                  </a:lnTo>
                  <a:lnTo>
                    <a:pt x="57" y="35"/>
                  </a:lnTo>
                  <a:lnTo>
                    <a:pt x="57" y="32"/>
                  </a:lnTo>
                  <a:lnTo>
                    <a:pt x="55" y="32"/>
                  </a:lnTo>
                  <a:lnTo>
                    <a:pt x="53" y="35"/>
                  </a:lnTo>
                  <a:lnTo>
                    <a:pt x="53" y="37"/>
                  </a:lnTo>
                  <a:lnTo>
                    <a:pt x="53" y="37"/>
                  </a:lnTo>
                  <a:lnTo>
                    <a:pt x="53" y="41"/>
                  </a:lnTo>
                  <a:lnTo>
                    <a:pt x="53" y="41"/>
                  </a:lnTo>
                  <a:lnTo>
                    <a:pt x="53" y="43"/>
                  </a:lnTo>
                  <a:lnTo>
                    <a:pt x="51" y="43"/>
                  </a:lnTo>
                  <a:lnTo>
                    <a:pt x="51" y="43"/>
                  </a:lnTo>
                  <a:lnTo>
                    <a:pt x="53" y="45"/>
                  </a:lnTo>
                  <a:lnTo>
                    <a:pt x="53" y="45"/>
                  </a:lnTo>
                  <a:lnTo>
                    <a:pt x="53" y="47"/>
                  </a:lnTo>
                  <a:lnTo>
                    <a:pt x="51" y="47"/>
                  </a:lnTo>
                  <a:lnTo>
                    <a:pt x="51" y="49"/>
                  </a:lnTo>
                  <a:lnTo>
                    <a:pt x="53" y="49"/>
                  </a:lnTo>
                  <a:lnTo>
                    <a:pt x="53" y="51"/>
                  </a:lnTo>
                  <a:lnTo>
                    <a:pt x="53" y="51"/>
                  </a:lnTo>
                  <a:lnTo>
                    <a:pt x="51" y="53"/>
                  </a:lnTo>
                  <a:lnTo>
                    <a:pt x="51" y="55"/>
                  </a:lnTo>
                  <a:lnTo>
                    <a:pt x="51" y="55"/>
                  </a:lnTo>
                  <a:lnTo>
                    <a:pt x="51" y="55"/>
                  </a:lnTo>
                  <a:lnTo>
                    <a:pt x="53" y="55"/>
                  </a:lnTo>
                  <a:lnTo>
                    <a:pt x="53" y="53"/>
                  </a:lnTo>
                  <a:lnTo>
                    <a:pt x="55" y="53"/>
                  </a:lnTo>
                  <a:lnTo>
                    <a:pt x="55" y="51"/>
                  </a:lnTo>
                  <a:lnTo>
                    <a:pt x="57" y="51"/>
                  </a:lnTo>
                  <a:lnTo>
                    <a:pt x="59" y="51"/>
                  </a:lnTo>
                  <a:lnTo>
                    <a:pt x="59" y="49"/>
                  </a:lnTo>
                  <a:close/>
                  <a:moveTo>
                    <a:pt x="53" y="32"/>
                  </a:moveTo>
                  <a:lnTo>
                    <a:pt x="53" y="30"/>
                  </a:lnTo>
                  <a:lnTo>
                    <a:pt x="55" y="30"/>
                  </a:lnTo>
                  <a:lnTo>
                    <a:pt x="53" y="30"/>
                  </a:lnTo>
                  <a:lnTo>
                    <a:pt x="53" y="28"/>
                  </a:lnTo>
                  <a:lnTo>
                    <a:pt x="53" y="28"/>
                  </a:lnTo>
                  <a:lnTo>
                    <a:pt x="53" y="28"/>
                  </a:lnTo>
                  <a:lnTo>
                    <a:pt x="51" y="24"/>
                  </a:lnTo>
                  <a:lnTo>
                    <a:pt x="49" y="22"/>
                  </a:lnTo>
                  <a:lnTo>
                    <a:pt x="47" y="22"/>
                  </a:lnTo>
                  <a:lnTo>
                    <a:pt x="47" y="22"/>
                  </a:lnTo>
                  <a:lnTo>
                    <a:pt x="45" y="22"/>
                  </a:lnTo>
                  <a:lnTo>
                    <a:pt x="43" y="22"/>
                  </a:lnTo>
                  <a:lnTo>
                    <a:pt x="43" y="20"/>
                  </a:lnTo>
                  <a:lnTo>
                    <a:pt x="43" y="20"/>
                  </a:lnTo>
                  <a:lnTo>
                    <a:pt x="43" y="20"/>
                  </a:lnTo>
                  <a:lnTo>
                    <a:pt x="43" y="16"/>
                  </a:lnTo>
                  <a:lnTo>
                    <a:pt x="41" y="14"/>
                  </a:lnTo>
                  <a:lnTo>
                    <a:pt x="41" y="14"/>
                  </a:lnTo>
                  <a:lnTo>
                    <a:pt x="41" y="14"/>
                  </a:lnTo>
                  <a:lnTo>
                    <a:pt x="41" y="12"/>
                  </a:lnTo>
                  <a:lnTo>
                    <a:pt x="41" y="12"/>
                  </a:lnTo>
                  <a:lnTo>
                    <a:pt x="41" y="12"/>
                  </a:lnTo>
                  <a:lnTo>
                    <a:pt x="41" y="10"/>
                  </a:lnTo>
                  <a:lnTo>
                    <a:pt x="39" y="10"/>
                  </a:lnTo>
                  <a:lnTo>
                    <a:pt x="39" y="12"/>
                  </a:lnTo>
                  <a:lnTo>
                    <a:pt x="37" y="12"/>
                  </a:lnTo>
                  <a:lnTo>
                    <a:pt x="37" y="10"/>
                  </a:lnTo>
                  <a:lnTo>
                    <a:pt x="37" y="10"/>
                  </a:lnTo>
                  <a:lnTo>
                    <a:pt x="35" y="4"/>
                  </a:lnTo>
                  <a:lnTo>
                    <a:pt x="35" y="0"/>
                  </a:lnTo>
                  <a:lnTo>
                    <a:pt x="33" y="0"/>
                  </a:lnTo>
                  <a:lnTo>
                    <a:pt x="29" y="0"/>
                  </a:lnTo>
                  <a:lnTo>
                    <a:pt x="23" y="2"/>
                  </a:lnTo>
                  <a:lnTo>
                    <a:pt x="14" y="4"/>
                  </a:lnTo>
                  <a:lnTo>
                    <a:pt x="8" y="6"/>
                  </a:lnTo>
                  <a:lnTo>
                    <a:pt x="0" y="8"/>
                  </a:lnTo>
                  <a:lnTo>
                    <a:pt x="2" y="14"/>
                  </a:lnTo>
                  <a:lnTo>
                    <a:pt x="4" y="20"/>
                  </a:lnTo>
                  <a:lnTo>
                    <a:pt x="6" y="26"/>
                  </a:lnTo>
                  <a:lnTo>
                    <a:pt x="8" y="32"/>
                  </a:lnTo>
                  <a:lnTo>
                    <a:pt x="8" y="39"/>
                  </a:lnTo>
                  <a:lnTo>
                    <a:pt x="10" y="45"/>
                  </a:lnTo>
                  <a:lnTo>
                    <a:pt x="12" y="49"/>
                  </a:lnTo>
                  <a:lnTo>
                    <a:pt x="14" y="55"/>
                  </a:lnTo>
                  <a:lnTo>
                    <a:pt x="14" y="59"/>
                  </a:lnTo>
                  <a:lnTo>
                    <a:pt x="14" y="63"/>
                  </a:lnTo>
                  <a:lnTo>
                    <a:pt x="16" y="69"/>
                  </a:lnTo>
                  <a:lnTo>
                    <a:pt x="16" y="69"/>
                  </a:lnTo>
                  <a:lnTo>
                    <a:pt x="14" y="71"/>
                  </a:lnTo>
                  <a:lnTo>
                    <a:pt x="14" y="73"/>
                  </a:lnTo>
                  <a:lnTo>
                    <a:pt x="16" y="78"/>
                  </a:lnTo>
                  <a:lnTo>
                    <a:pt x="16" y="80"/>
                  </a:lnTo>
                  <a:lnTo>
                    <a:pt x="23" y="78"/>
                  </a:lnTo>
                  <a:lnTo>
                    <a:pt x="35" y="69"/>
                  </a:lnTo>
                  <a:lnTo>
                    <a:pt x="39" y="67"/>
                  </a:lnTo>
                  <a:lnTo>
                    <a:pt x="39" y="67"/>
                  </a:lnTo>
                  <a:lnTo>
                    <a:pt x="41" y="67"/>
                  </a:lnTo>
                  <a:lnTo>
                    <a:pt x="43" y="67"/>
                  </a:lnTo>
                  <a:lnTo>
                    <a:pt x="43" y="67"/>
                  </a:lnTo>
                  <a:lnTo>
                    <a:pt x="43" y="67"/>
                  </a:lnTo>
                  <a:lnTo>
                    <a:pt x="43" y="65"/>
                  </a:lnTo>
                  <a:lnTo>
                    <a:pt x="43" y="65"/>
                  </a:lnTo>
                  <a:lnTo>
                    <a:pt x="45" y="57"/>
                  </a:lnTo>
                  <a:lnTo>
                    <a:pt x="45" y="55"/>
                  </a:lnTo>
                  <a:lnTo>
                    <a:pt x="43" y="49"/>
                  </a:lnTo>
                  <a:lnTo>
                    <a:pt x="43" y="47"/>
                  </a:lnTo>
                  <a:lnTo>
                    <a:pt x="41" y="45"/>
                  </a:lnTo>
                  <a:lnTo>
                    <a:pt x="41" y="45"/>
                  </a:lnTo>
                  <a:lnTo>
                    <a:pt x="43" y="43"/>
                  </a:lnTo>
                  <a:lnTo>
                    <a:pt x="43" y="41"/>
                  </a:lnTo>
                  <a:lnTo>
                    <a:pt x="43" y="39"/>
                  </a:lnTo>
                  <a:lnTo>
                    <a:pt x="41" y="37"/>
                  </a:lnTo>
                  <a:lnTo>
                    <a:pt x="41" y="37"/>
                  </a:lnTo>
                  <a:lnTo>
                    <a:pt x="39" y="35"/>
                  </a:lnTo>
                  <a:lnTo>
                    <a:pt x="39" y="35"/>
                  </a:lnTo>
                  <a:lnTo>
                    <a:pt x="39" y="32"/>
                  </a:lnTo>
                  <a:lnTo>
                    <a:pt x="39" y="32"/>
                  </a:lnTo>
                  <a:lnTo>
                    <a:pt x="41" y="32"/>
                  </a:lnTo>
                  <a:lnTo>
                    <a:pt x="41" y="32"/>
                  </a:lnTo>
                  <a:lnTo>
                    <a:pt x="43" y="32"/>
                  </a:lnTo>
                  <a:lnTo>
                    <a:pt x="43" y="35"/>
                  </a:lnTo>
                  <a:lnTo>
                    <a:pt x="43" y="32"/>
                  </a:lnTo>
                  <a:lnTo>
                    <a:pt x="43" y="30"/>
                  </a:lnTo>
                  <a:lnTo>
                    <a:pt x="43" y="30"/>
                  </a:lnTo>
                  <a:lnTo>
                    <a:pt x="43" y="28"/>
                  </a:lnTo>
                  <a:lnTo>
                    <a:pt x="43" y="28"/>
                  </a:lnTo>
                  <a:lnTo>
                    <a:pt x="41" y="28"/>
                  </a:lnTo>
                  <a:lnTo>
                    <a:pt x="41" y="26"/>
                  </a:lnTo>
                  <a:lnTo>
                    <a:pt x="41" y="26"/>
                  </a:lnTo>
                  <a:lnTo>
                    <a:pt x="39" y="22"/>
                  </a:lnTo>
                  <a:lnTo>
                    <a:pt x="39" y="20"/>
                  </a:lnTo>
                  <a:lnTo>
                    <a:pt x="39" y="20"/>
                  </a:lnTo>
                  <a:lnTo>
                    <a:pt x="41" y="20"/>
                  </a:lnTo>
                  <a:lnTo>
                    <a:pt x="41" y="22"/>
                  </a:lnTo>
                  <a:lnTo>
                    <a:pt x="41" y="22"/>
                  </a:lnTo>
                  <a:lnTo>
                    <a:pt x="43" y="24"/>
                  </a:lnTo>
                  <a:lnTo>
                    <a:pt x="43" y="26"/>
                  </a:lnTo>
                  <a:lnTo>
                    <a:pt x="45" y="26"/>
                  </a:lnTo>
                  <a:lnTo>
                    <a:pt x="47" y="28"/>
                  </a:lnTo>
                  <a:lnTo>
                    <a:pt x="47" y="28"/>
                  </a:lnTo>
                  <a:lnTo>
                    <a:pt x="47" y="26"/>
                  </a:lnTo>
                  <a:lnTo>
                    <a:pt x="47" y="24"/>
                  </a:lnTo>
                  <a:lnTo>
                    <a:pt x="47" y="24"/>
                  </a:lnTo>
                  <a:lnTo>
                    <a:pt x="49" y="24"/>
                  </a:lnTo>
                  <a:lnTo>
                    <a:pt x="49" y="24"/>
                  </a:lnTo>
                  <a:lnTo>
                    <a:pt x="49" y="24"/>
                  </a:lnTo>
                  <a:lnTo>
                    <a:pt x="49" y="28"/>
                  </a:lnTo>
                  <a:lnTo>
                    <a:pt x="49" y="30"/>
                  </a:lnTo>
                  <a:lnTo>
                    <a:pt x="49" y="32"/>
                  </a:lnTo>
                  <a:lnTo>
                    <a:pt x="49" y="32"/>
                  </a:lnTo>
                  <a:lnTo>
                    <a:pt x="49" y="35"/>
                  </a:lnTo>
                  <a:lnTo>
                    <a:pt x="51" y="35"/>
                  </a:lnTo>
                  <a:lnTo>
                    <a:pt x="53" y="3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96" name="Freeform 17">
              <a:extLst>
                <a:ext uri="{FF2B5EF4-FFF2-40B4-BE49-F238E27FC236}">
                  <a16:creationId xmlns:a16="http://schemas.microsoft.com/office/drawing/2014/main" id="{F22611FC-DD9B-F45F-E0E2-ECF7C01718C1}"/>
                </a:ext>
              </a:extLst>
            </p:cNvPr>
            <p:cNvSpPr>
              <a:spLocks/>
            </p:cNvSpPr>
            <p:nvPr/>
          </p:nvSpPr>
          <p:spPr bwMode="auto">
            <a:xfrm>
              <a:off x="4317" y="685"/>
              <a:ext cx="510" cy="323"/>
            </a:xfrm>
            <a:custGeom>
              <a:avLst/>
              <a:gdLst>
                <a:gd name="T0" fmla="*/ 491 w 510"/>
                <a:gd name="T1" fmla="*/ 166 h 323"/>
                <a:gd name="T2" fmla="*/ 475 w 510"/>
                <a:gd name="T3" fmla="*/ 157 h 323"/>
                <a:gd name="T4" fmla="*/ 463 w 510"/>
                <a:gd name="T5" fmla="*/ 145 h 323"/>
                <a:gd name="T6" fmla="*/ 458 w 510"/>
                <a:gd name="T7" fmla="*/ 135 h 323"/>
                <a:gd name="T8" fmla="*/ 458 w 510"/>
                <a:gd name="T9" fmla="*/ 127 h 323"/>
                <a:gd name="T10" fmla="*/ 458 w 510"/>
                <a:gd name="T11" fmla="*/ 123 h 323"/>
                <a:gd name="T12" fmla="*/ 465 w 510"/>
                <a:gd name="T13" fmla="*/ 114 h 323"/>
                <a:gd name="T14" fmla="*/ 460 w 510"/>
                <a:gd name="T15" fmla="*/ 106 h 323"/>
                <a:gd name="T16" fmla="*/ 458 w 510"/>
                <a:gd name="T17" fmla="*/ 106 h 323"/>
                <a:gd name="T18" fmla="*/ 456 w 510"/>
                <a:gd name="T19" fmla="*/ 100 h 323"/>
                <a:gd name="T20" fmla="*/ 467 w 510"/>
                <a:gd name="T21" fmla="*/ 88 h 323"/>
                <a:gd name="T22" fmla="*/ 467 w 510"/>
                <a:gd name="T23" fmla="*/ 84 h 323"/>
                <a:gd name="T24" fmla="*/ 473 w 510"/>
                <a:gd name="T25" fmla="*/ 67 h 323"/>
                <a:gd name="T26" fmla="*/ 477 w 510"/>
                <a:gd name="T27" fmla="*/ 59 h 323"/>
                <a:gd name="T28" fmla="*/ 483 w 510"/>
                <a:gd name="T29" fmla="*/ 55 h 323"/>
                <a:gd name="T30" fmla="*/ 477 w 510"/>
                <a:gd name="T31" fmla="*/ 47 h 323"/>
                <a:gd name="T32" fmla="*/ 467 w 510"/>
                <a:gd name="T33" fmla="*/ 49 h 323"/>
                <a:gd name="T34" fmla="*/ 456 w 510"/>
                <a:gd name="T35" fmla="*/ 45 h 323"/>
                <a:gd name="T36" fmla="*/ 446 w 510"/>
                <a:gd name="T37" fmla="*/ 26 h 323"/>
                <a:gd name="T38" fmla="*/ 442 w 510"/>
                <a:gd name="T39" fmla="*/ 18 h 323"/>
                <a:gd name="T40" fmla="*/ 438 w 510"/>
                <a:gd name="T41" fmla="*/ 12 h 323"/>
                <a:gd name="T42" fmla="*/ 426 w 510"/>
                <a:gd name="T43" fmla="*/ 10 h 323"/>
                <a:gd name="T44" fmla="*/ 415 w 510"/>
                <a:gd name="T45" fmla="*/ 2 h 323"/>
                <a:gd name="T46" fmla="*/ 381 w 510"/>
                <a:gd name="T47" fmla="*/ 8 h 323"/>
                <a:gd name="T48" fmla="*/ 315 w 510"/>
                <a:gd name="T49" fmla="*/ 22 h 323"/>
                <a:gd name="T50" fmla="*/ 250 w 510"/>
                <a:gd name="T51" fmla="*/ 36 h 323"/>
                <a:gd name="T52" fmla="*/ 184 w 510"/>
                <a:gd name="T53" fmla="*/ 49 h 323"/>
                <a:gd name="T54" fmla="*/ 118 w 510"/>
                <a:gd name="T55" fmla="*/ 63 h 323"/>
                <a:gd name="T56" fmla="*/ 61 w 510"/>
                <a:gd name="T57" fmla="*/ 73 h 323"/>
                <a:gd name="T58" fmla="*/ 57 w 510"/>
                <a:gd name="T59" fmla="*/ 55 h 323"/>
                <a:gd name="T60" fmla="*/ 43 w 510"/>
                <a:gd name="T61" fmla="*/ 55 h 323"/>
                <a:gd name="T62" fmla="*/ 28 w 510"/>
                <a:gd name="T63" fmla="*/ 65 h 323"/>
                <a:gd name="T64" fmla="*/ 32 w 510"/>
                <a:gd name="T65" fmla="*/ 61 h 323"/>
                <a:gd name="T66" fmla="*/ 26 w 510"/>
                <a:gd name="T67" fmla="*/ 67 h 323"/>
                <a:gd name="T68" fmla="*/ 4 w 510"/>
                <a:gd name="T69" fmla="*/ 84 h 323"/>
                <a:gd name="T70" fmla="*/ 14 w 510"/>
                <a:gd name="T71" fmla="*/ 159 h 323"/>
                <a:gd name="T72" fmla="*/ 24 w 510"/>
                <a:gd name="T73" fmla="*/ 225 h 323"/>
                <a:gd name="T74" fmla="*/ 24 w 510"/>
                <a:gd name="T75" fmla="*/ 227 h 323"/>
                <a:gd name="T76" fmla="*/ 32 w 510"/>
                <a:gd name="T77" fmla="*/ 268 h 323"/>
                <a:gd name="T78" fmla="*/ 41 w 510"/>
                <a:gd name="T79" fmla="*/ 315 h 323"/>
                <a:gd name="T80" fmla="*/ 96 w 510"/>
                <a:gd name="T81" fmla="*/ 313 h 323"/>
                <a:gd name="T82" fmla="*/ 157 w 510"/>
                <a:gd name="T83" fmla="*/ 301 h 323"/>
                <a:gd name="T84" fmla="*/ 215 w 510"/>
                <a:gd name="T85" fmla="*/ 291 h 323"/>
                <a:gd name="T86" fmla="*/ 272 w 510"/>
                <a:gd name="T87" fmla="*/ 278 h 323"/>
                <a:gd name="T88" fmla="*/ 329 w 510"/>
                <a:gd name="T89" fmla="*/ 268 h 323"/>
                <a:gd name="T90" fmla="*/ 385 w 510"/>
                <a:gd name="T91" fmla="*/ 256 h 323"/>
                <a:gd name="T92" fmla="*/ 434 w 510"/>
                <a:gd name="T93" fmla="*/ 245 h 323"/>
                <a:gd name="T94" fmla="*/ 440 w 510"/>
                <a:gd name="T95" fmla="*/ 231 h 323"/>
                <a:gd name="T96" fmla="*/ 456 w 510"/>
                <a:gd name="T97" fmla="*/ 227 h 323"/>
                <a:gd name="T98" fmla="*/ 465 w 510"/>
                <a:gd name="T99" fmla="*/ 223 h 323"/>
                <a:gd name="T100" fmla="*/ 481 w 510"/>
                <a:gd name="T101" fmla="*/ 213 h 323"/>
                <a:gd name="T102" fmla="*/ 487 w 510"/>
                <a:gd name="T103" fmla="*/ 200 h 323"/>
                <a:gd name="T104" fmla="*/ 497 w 510"/>
                <a:gd name="T105" fmla="*/ 190 h 323"/>
                <a:gd name="T106" fmla="*/ 508 w 510"/>
                <a:gd name="T107" fmla="*/ 18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0" h="323">
                  <a:moveTo>
                    <a:pt x="506" y="176"/>
                  </a:moveTo>
                  <a:lnTo>
                    <a:pt x="499" y="174"/>
                  </a:lnTo>
                  <a:lnTo>
                    <a:pt x="495" y="170"/>
                  </a:lnTo>
                  <a:lnTo>
                    <a:pt x="493" y="168"/>
                  </a:lnTo>
                  <a:lnTo>
                    <a:pt x="493" y="166"/>
                  </a:lnTo>
                  <a:lnTo>
                    <a:pt x="491" y="166"/>
                  </a:lnTo>
                  <a:lnTo>
                    <a:pt x="487" y="163"/>
                  </a:lnTo>
                  <a:lnTo>
                    <a:pt x="485" y="159"/>
                  </a:lnTo>
                  <a:lnTo>
                    <a:pt x="483" y="157"/>
                  </a:lnTo>
                  <a:lnTo>
                    <a:pt x="479" y="159"/>
                  </a:lnTo>
                  <a:lnTo>
                    <a:pt x="477" y="159"/>
                  </a:lnTo>
                  <a:lnTo>
                    <a:pt x="475" y="157"/>
                  </a:lnTo>
                  <a:lnTo>
                    <a:pt x="475" y="155"/>
                  </a:lnTo>
                  <a:lnTo>
                    <a:pt x="473" y="147"/>
                  </a:lnTo>
                  <a:lnTo>
                    <a:pt x="471" y="145"/>
                  </a:lnTo>
                  <a:lnTo>
                    <a:pt x="465" y="145"/>
                  </a:lnTo>
                  <a:lnTo>
                    <a:pt x="463" y="145"/>
                  </a:lnTo>
                  <a:lnTo>
                    <a:pt x="463" y="145"/>
                  </a:lnTo>
                  <a:lnTo>
                    <a:pt x="460" y="143"/>
                  </a:lnTo>
                  <a:lnTo>
                    <a:pt x="460" y="141"/>
                  </a:lnTo>
                  <a:lnTo>
                    <a:pt x="460" y="141"/>
                  </a:lnTo>
                  <a:lnTo>
                    <a:pt x="460" y="139"/>
                  </a:lnTo>
                  <a:lnTo>
                    <a:pt x="458" y="137"/>
                  </a:lnTo>
                  <a:lnTo>
                    <a:pt x="458" y="135"/>
                  </a:lnTo>
                  <a:lnTo>
                    <a:pt x="458" y="135"/>
                  </a:lnTo>
                  <a:lnTo>
                    <a:pt x="458" y="133"/>
                  </a:lnTo>
                  <a:lnTo>
                    <a:pt x="458" y="133"/>
                  </a:lnTo>
                  <a:lnTo>
                    <a:pt x="458" y="131"/>
                  </a:lnTo>
                  <a:lnTo>
                    <a:pt x="458" y="127"/>
                  </a:lnTo>
                  <a:lnTo>
                    <a:pt x="458" y="127"/>
                  </a:lnTo>
                  <a:lnTo>
                    <a:pt x="456" y="127"/>
                  </a:lnTo>
                  <a:lnTo>
                    <a:pt x="456" y="127"/>
                  </a:lnTo>
                  <a:lnTo>
                    <a:pt x="456" y="125"/>
                  </a:lnTo>
                  <a:lnTo>
                    <a:pt x="458" y="125"/>
                  </a:lnTo>
                  <a:lnTo>
                    <a:pt x="458" y="125"/>
                  </a:lnTo>
                  <a:lnTo>
                    <a:pt x="458" y="123"/>
                  </a:lnTo>
                  <a:lnTo>
                    <a:pt x="460" y="123"/>
                  </a:lnTo>
                  <a:lnTo>
                    <a:pt x="463" y="123"/>
                  </a:lnTo>
                  <a:lnTo>
                    <a:pt x="463" y="120"/>
                  </a:lnTo>
                  <a:lnTo>
                    <a:pt x="463" y="118"/>
                  </a:lnTo>
                  <a:lnTo>
                    <a:pt x="463" y="116"/>
                  </a:lnTo>
                  <a:lnTo>
                    <a:pt x="465" y="114"/>
                  </a:lnTo>
                  <a:lnTo>
                    <a:pt x="465" y="114"/>
                  </a:lnTo>
                  <a:lnTo>
                    <a:pt x="465" y="112"/>
                  </a:lnTo>
                  <a:lnTo>
                    <a:pt x="465" y="110"/>
                  </a:lnTo>
                  <a:lnTo>
                    <a:pt x="463" y="108"/>
                  </a:lnTo>
                  <a:lnTo>
                    <a:pt x="460" y="106"/>
                  </a:lnTo>
                  <a:lnTo>
                    <a:pt x="460" y="106"/>
                  </a:lnTo>
                  <a:lnTo>
                    <a:pt x="460" y="106"/>
                  </a:lnTo>
                  <a:lnTo>
                    <a:pt x="460" y="106"/>
                  </a:lnTo>
                  <a:lnTo>
                    <a:pt x="458" y="106"/>
                  </a:lnTo>
                  <a:lnTo>
                    <a:pt x="458" y="106"/>
                  </a:lnTo>
                  <a:lnTo>
                    <a:pt x="458" y="106"/>
                  </a:lnTo>
                  <a:lnTo>
                    <a:pt x="458" y="106"/>
                  </a:lnTo>
                  <a:lnTo>
                    <a:pt x="458" y="104"/>
                  </a:lnTo>
                  <a:lnTo>
                    <a:pt x="458" y="104"/>
                  </a:lnTo>
                  <a:lnTo>
                    <a:pt x="456" y="104"/>
                  </a:lnTo>
                  <a:lnTo>
                    <a:pt x="456" y="102"/>
                  </a:lnTo>
                  <a:lnTo>
                    <a:pt x="456" y="102"/>
                  </a:lnTo>
                  <a:lnTo>
                    <a:pt x="456" y="100"/>
                  </a:lnTo>
                  <a:lnTo>
                    <a:pt x="458" y="98"/>
                  </a:lnTo>
                  <a:lnTo>
                    <a:pt x="458" y="96"/>
                  </a:lnTo>
                  <a:lnTo>
                    <a:pt x="460" y="96"/>
                  </a:lnTo>
                  <a:lnTo>
                    <a:pt x="463" y="94"/>
                  </a:lnTo>
                  <a:lnTo>
                    <a:pt x="463" y="94"/>
                  </a:lnTo>
                  <a:lnTo>
                    <a:pt x="467" y="88"/>
                  </a:lnTo>
                  <a:lnTo>
                    <a:pt x="467" y="88"/>
                  </a:lnTo>
                  <a:lnTo>
                    <a:pt x="467" y="88"/>
                  </a:lnTo>
                  <a:lnTo>
                    <a:pt x="465" y="86"/>
                  </a:lnTo>
                  <a:lnTo>
                    <a:pt x="467" y="86"/>
                  </a:lnTo>
                  <a:lnTo>
                    <a:pt x="467" y="86"/>
                  </a:lnTo>
                  <a:lnTo>
                    <a:pt x="467" y="84"/>
                  </a:lnTo>
                  <a:lnTo>
                    <a:pt x="467" y="84"/>
                  </a:lnTo>
                  <a:lnTo>
                    <a:pt x="469" y="84"/>
                  </a:lnTo>
                  <a:lnTo>
                    <a:pt x="471" y="77"/>
                  </a:lnTo>
                  <a:lnTo>
                    <a:pt x="473" y="71"/>
                  </a:lnTo>
                  <a:lnTo>
                    <a:pt x="473" y="69"/>
                  </a:lnTo>
                  <a:lnTo>
                    <a:pt x="473" y="67"/>
                  </a:lnTo>
                  <a:lnTo>
                    <a:pt x="473" y="67"/>
                  </a:lnTo>
                  <a:lnTo>
                    <a:pt x="477" y="61"/>
                  </a:lnTo>
                  <a:lnTo>
                    <a:pt x="477" y="61"/>
                  </a:lnTo>
                  <a:lnTo>
                    <a:pt x="477" y="59"/>
                  </a:lnTo>
                  <a:lnTo>
                    <a:pt x="477" y="59"/>
                  </a:lnTo>
                  <a:lnTo>
                    <a:pt x="477" y="59"/>
                  </a:lnTo>
                  <a:lnTo>
                    <a:pt x="477" y="59"/>
                  </a:lnTo>
                  <a:lnTo>
                    <a:pt x="479" y="57"/>
                  </a:lnTo>
                  <a:lnTo>
                    <a:pt x="479" y="57"/>
                  </a:lnTo>
                  <a:lnTo>
                    <a:pt x="481" y="57"/>
                  </a:lnTo>
                  <a:lnTo>
                    <a:pt x="483" y="55"/>
                  </a:lnTo>
                  <a:lnTo>
                    <a:pt x="483" y="55"/>
                  </a:lnTo>
                  <a:lnTo>
                    <a:pt x="481" y="53"/>
                  </a:lnTo>
                  <a:lnTo>
                    <a:pt x="479" y="51"/>
                  </a:lnTo>
                  <a:lnTo>
                    <a:pt x="479" y="51"/>
                  </a:lnTo>
                  <a:lnTo>
                    <a:pt x="477" y="49"/>
                  </a:lnTo>
                  <a:lnTo>
                    <a:pt x="477" y="49"/>
                  </a:lnTo>
                  <a:lnTo>
                    <a:pt x="477" y="47"/>
                  </a:lnTo>
                  <a:lnTo>
                    <a:pt x="475" y="49"/>
                  </a:lnTo>
                  <a:lnTo>
                    <a:pt x="475" y="49"/>
                  </a:lnTo>
                  <a:lnTo>
                    <a:pt x="475" y="49"/>
                  </a:lnTo>
                  <a:lnTo>
                    <a:pt x="473" y="49"/>
                  </a:lnTo>
                  <a:lnTo>
                    <a:pt x="471" y="47"/>
                  </a:lnTo>
                  <a:lnTo>
                    <a:pt x="467" y="49"/>
                  </a:lnTo>
                  <a:lnTo>
                    <a:pt x="465" y="49"/>
                  </a:lnTo>
                  <a:lnTo>
                    <a:pt x="465" y="49"/>
                  </a:lnTo>
                  <a:lnTo>
                    <a:pt x="463" y="47"/>
                  </a:lnTo>
                  <a:lnTo>
                    <a:pt x="460" y="47"/>
                  </a:lnTo>
                  <a:lnTo>
                    <a:pt x="458" y="47"/>
                  </a:lnTo>
                  <a:lnTo>
                    <a:pt x="456" y="45"/>
                  </a:lnTo>
                  <a:lnTo>
                    <a:pt x="454" y="45"/>
                  </a:lnTo>
                  <a:lnTo>
                    <a:pt x="448" y="36"/>
                  </a:lnTo>
                  <a:lnTo>
                    <a:pt x="448" y="36"/>
                  </a:lnTo>
                  <a:lnTo>
                    <a:pt x="446" y="34"/>
                  </a:lnTo>
                  <a:lnTo>
                    <a:pt x="446" y="30"/>
                  </a:lnTo>
                  <a:lnTo>
                    <a:pt x="446" y="26"/>
                  </a:lnTo>
                  <a:lnTo>
                    <a:pt x="444" y="24"/>
                  </a:lnTo>
                  <a:lnTo>
                    <a:pt x="444" y="22"/>
                  </a:lnTo>
                  <a:lnTo>
                    <a:pt x="444" y="22"/>
                  </a:lnTo>
                  <a:lnTo>
                    <a:pt x="444" y="20"/>
                  </a:lnTo>
                  <a:lnTo>
                    <a:pt x="444" y="18"/>
                  </a:lnTo>
                  <a:lnTo>
                    <a:pt x="442" y="18"/>
                  </a:lnTo>
                  <a:lnTo>
                    <a:pt x="440" y="18"/>
                  </a:lnTo>
                  <a:lnTo>
                    <a:pt x="440" y="16"/>
                  </a:lnTo>
                  <a:lnTo>
                    <a:pt x="440" y="14"/>
                  </a:lnTo>
                  <a:lnTo>
                    <a:pt x="440" y="14"/>
                  </a:lnTo>
                  <a:lnTo>
                    <a:pt x="440" y="12"/>
                  </a:lnTo>
                  <a:lnTo>
                    <a:pt x="438" y="12"/>
                  </a:lnTo>
                  <a:lnTo>
                    <a:pt x="438" y="12"/>
                  </a:lnTo>
                  <a:lnTo>
                    <a:pt x="434" y="10"/>
                  </a:lnTo>
                  <a:lnTo>
                    <a:pt x="432" y="10"/>
                  </a:lnTo>
                  <a:lnTo>
                    <a:pt x="432" y="10"/>
                  </a:lnTo>
                  <a:lnTo>
                    <a:pt x="428" y="12"/>
                  </a:lnTo>
                  <a:lnTo>
                    <a:pt x="426" y="10"/>
                  </a:lnTo>
                  <a:lnTo>
                    <a:pt x="426" y="8"/>
                  </a:lnTo>
                  <a:lnTo>
                    <a:pt x="424" y="6"/>
                  </a:lnTo>
                  <a:lnTo>
                    <a:pt x="424" y="4"/>
                  </a:lnTo>
                  <a:lnTo>
                    <a:pt x="422" y="4"/>
                  </a:lnTo>
                  <a:lnTo>
                    <a:pt x="417" y="4"/>
                  </a:lnTo>
                  <a:lnTo>
                    <a:pt x="415" y="2"/>
                  </a:lnTo>
                  <a:lnTo>
                    <a:pt x="415" y="0"/>
                  </a:lnTo>
                  <a:lnTo>
                    <a:pt x="415" y="0"/>
                  </a:lnTo>
                  <a:lnTo>
                    <a:pt x="413" y="2"/>
                  </a:lnTo>
                  <a:lnTo>
                    <a:pt x="403" y="4"/>
                  </a:lnTo>
                  <a:lnTo>
                    <a:pt x="391" y="6"/>
                  </a:lnTo>
                  <a:lnTo>
                    <a:pt x="381" y="8"/>
                  </a:lnTo>
                  <a:lnTo>
                    <a:pt x="370" y="10"/>
                  </a:lnTo>
                  <a:lnTo>
                    <a:pt x="358" y="14"/>
                  </a:lnTo>
                  <a:lnTo>
                    <a:pt x="348" y="16"/>
                  </a:lnTo>
                  <a:lnTo>
                    <a:pt x="338" y="18"/>
                  </a:lnTo>
                  <a:lnTo>
                    <a:pt x="325" y="20"/>
                  </a:lnTo>
                  <a:lnTo>
                    <a:pt x="315" y="22"/>
                  </a:lnTo>
                  <a:lnTo>
                    <a:pt x="305" y="24"/>
                  </a:lnTo>
                  <a:lnTo>
                    <a:pt x="293" y="26"/>
                  </a:lnTo>
                  <a:lnTo>
                    <a:pt x="282" y="30"/>
                  </a:lnTo>
                  <a:lnTo>
                    <a:pt x="272" y="32"/>
                  </a:lnTo>
                  <a:lnTo>
                    <a:pt x="260" y="34"/>
                  </a:lnTo>
                  <a:lnTo>
                    <a:pt x="250" y="36"/>
                  </a:lnTo>
                  <a:lnTo>
                    <a:pt x="239" y="38"/>
                  </a:lnTo>
                  <a:lnTo>
                    <a:pt x="227" y="41"/>
                  </a:lnTo>
                  <a:lnTo>
                    <a:pt x="217" y="43"/>
                  </a:lnTo>
                  <a:lnTo>
                    <a:pt x="207" y="45"/>
                  </a:lnTo>
                  <a:lnTo>
                    <a:pt x="194" y="47"/>
                  </a:lnTo>
                  <a:lnTo>
                    <a:pt x="184" y="49"/>
                  </a:lnTo>
                  <a:lnTo>
                    <a:pt x="174" y="51"/>
                  </a:lnTo>
                  <a:lnTo>
                    <a:pt x="161" y="53"/>
                  </a:lnTo>
                  <a:lnTo>
                    <a:pt x="151" y="55"/>
                  </a:lnTo>
                  <a:lnTo>
                    <a:pt x="141" y="59"/>
                  </a:lnTo>
                  <a:lnTo>
                    <a:pt x="129" y="61"/>
                  </a:lnTo>
                  <a:lnTo>
                    <a:pt x="118" y="63"/>
                  </a:lnTo>
                  <a:lnTo>
                    <a:pt x="108" y="65"/>
                  </a:lnTo>
                  <a:lnTo>
                    <a:pt x="96" y="67"/>
                  </a:lnTo>
                  <a:lnTo>
                    <a:pt x="86" y="69"/>
                  </a:lnTo>
                  <a:lnTo>
                    <a:pt x="75" y="71"/>
                  </a:lnTo>
                  <a:lnTo>
                    <a:pt x="63" y="73"/>
                  </a:lnTo>
                  <a:lnTo>
                    <a:pt x="61" y="73"/>
                  </a:lnTo>
                  <a:lnTo>
                    <a:pt x="61" y="69"/>
                  </a:lnTo>
                  <a:lnTo>
                    <a:pt x="59" y="67"/>
                  </a:lnTo>
                  <a:lnTo>
                    <a:pt x="59" y="63"/>
                  </a:lnTo>
                  <a:lnTo>
                    <a:pt x="59" y="61"/>
                  </a:lnTo>
                  <a:lnTo>
                    <a:pt x="57" y="57"/>
                  </a:lnTo>
                  <a:lnTo>
                    <a:pt x="57" y="55"/>
                  </a:lnTo>
                  <a:lnTo>
                    <a:pt x="57" y="51"/>
                  </a:lnTo>
                  <a:lnTo>
                    <a:pt x="57" y="49"/>
                  </a:lnTo>
                  <a:lnTo>
                    <a:pt x="55" y="45"/>
                  </a:lnTo>
                  <a:lnTo>
                    <a:pt x="55" y="45"/>
                  </a:lnTo>
                  <a:lnTo>
                    <a:pt x="47" y="51"/>
                  </a:lnTo>
                  <a:lnTo>
                    <a:pt x="43" y="55"/>
                  </a:lnTo>
                  <a:lnTo>
                    <a:pt x="41" y="55"/>
                  </a:lnTo>
                  <a:lnTo>
                    <a:pt x="37" y="59"/>
                  </a:lnTo>
                  <a:lnTo>
                    <a:pt x="34" y="61"/>
                  </a:lnTo>
                  <a:lnTo>
                    <a:pt x="30" y="65"/>
                  </a:lnTo>
                  <a:lnTo>
                    <a:pt x="28" y="65"/>
                  </a:lnTo>
                  <a:lnTo>
                    <a:pt x="28" y="65"/>
                  </a:lnTo>
                  <a:lnTo>
                    <a:pt x="28" y="63"/>
                  </a:lnTo>
                  <a:lnTo>
                    <a:pt x="30" y="63"/>
                  </a:lnTo>
                  <a:lnTo>
                    <a:pt x="30" y="63"/>
                  </a:lnTo>
                  <a:lnTo>
                    <a:pt x="32" y="61"/>
                  </a:lnTo>
                  <a:lnTo>
                    <a:pt x="32" y="61"/>
                  </a:lnTo>
                  <a:lnTo>
                    <a:pt x="32" y="61"/>
                  </a:lnTo>
                  <a:lnTo>
                    <a:pt x="30" y="59"/>
                  </a:lnTo>
                  <a:lnTo>
                    <a:pt x="30" y="61"/>
                  </a:lnTo>
                  <a:lnTo>
                    <a:pt x="28" y="63"/>
                  </a:lnTo>
                  <a:lnTo>
                    <a:pt x="26" y="63"/>
                  </a:lnTo>
                  <a:lnTo>
                    <a:pt x="26" y="67"/>
                  </a:lnTo>
                  <a:lnTo>
                    <a:pt x="26" y="67"/>
                  </a:lnTo>
                  <a:lnTo>
                    <a:pt x="24" y="67"/>
                  </a:lnTo>
                  <a:lnTo>
                    <a:pt x="22" y="69"/>
                  </a:lnTo>
                  <a:lnTo>
                    <a:pt x="12" y="79"/>
                  </a:lnTo>
                  <a:lnTo>
                    <a:pt x="6" y="82"/>
                  </a:lnTo>
                  <a:lnTo>
                    <a:pt x="6" y="82"/>
                  </a:lnTo>
                  <a:lnTo>
                    <a:pt x="4" y="84"/>
                  </a:lnTo>
                  <a:lnTo>
                    <a:pt x="0" y="86"/>
                  </a:lnTo>
                  <a:lnTo>
                    <a:pt x="2" y="94"/>
                  </a:lnTo>
                  <a:lnTo>
                    <a:pt x="6" y="116"/>
                  </a:lnTo>
                  <a:lnTo>
                    <a:pt x="10" y="137"/>
                  </a:lnTo>
                  <a:lnTo>
                    <a:pt x="12" y="149"/>
                  </a:lnTo>
                  <a:lnTo>
                    <a:pt x="14" y="159"/>
                  </a:lnTo>
                  <a:lnTo>
                    <a:pt x="16" y="172"/>
                  </a:lnTo>
                  <a:lnTo>
                    <a:pt x="18" y="182"/>
                  </a:lnTo>
                  <a:lnTo>
                    <a:pt x="20" y="192"/>
                  </a:lnTo>
                  <a:lnTo>
                    <a:pt x="20" y="204"/>
                  </a:lnTo>
                  <a:lnTo>
                    <a:pt x="22" y="215"/>
                  </a:lnTo>
                  <a:lnTo>
                    <a:pt x="24" y="225"/>
                  </a:lnTo>
                  <a:lnTo>
                    <a:pt x="24" y="225"/>
                  </a:lnTo>
                  <a:lnTo>
                    <a:pt x="24" y="225"/>
                  </a:lnTo>
                  <a:lnTo>
                    <a:pt x="24" y="225"/>
                  </a:lnTo>
                  <a:lnTo>
                    <a:pt x="24" y="225"/>
                  </a:lnTo>
                  <a:lnTo>
                    <a:pt x="24" y="227"/>
                  </a:lnTo>
                  <a:lnTo>
                    <a:pt x="24" y="227"/>
                  </a:lnTo>
                  <a:lnTo>
                    <a:pt x="24" y="227"/>
                  </a:lnTo>
                  <a:lnTo>
                    <a:pt x="24" y="227"/>
                  </a:lnTo>
                  <a:lnTo>
                    <a:pt x="28" y="243"/>
                  </a:lnTo>
                  <a:lnTo>
                    <a:pt x="30" y="252"/>
                  </a:lnTo>
                  <a:lnTo>
                    <a:pt x="30" y="260"/>
                  </a:lnTo>
                  <a:lnTo>
                    <a:pt x="32" y="268"/>
                  </a:lnTo>
                  <a:lnTo>
                    <a:pt x="34" y="276"/>
                  </a:lnTo>
                  <a:lnTo>
                    <a:pt x="37" y="284"/>
                  </a:lnTo>
                  <a:lnTo>
                    <a:pt x="37" y="295"/>
                  </a:lnTo>
                  <a:lnTo>
                    <a:pt x="39" y="301"/>
                  </a:lnTo>
                  <a:lnTo>
                    <a:pt x="41" y="309"/>
                  </a:lnTo>
                  <a:lnTo>
                    <a:pt x="41" y="315"/>
                  </a:lnTo>
                  <a:lnTo>
                    <a:pt x="43" y="323"/>
                  </a:lnTo>
                  <a:lnTo>
                    <a:pt x="53" y="321"/>
                  </a:lnTo>
                  <a:lnTo>
                    <a:pt x="63" y="319"/>
                  </a:lnTo>
                  <a:lnTo>
                    <a:pt x="75" y="317"/>
                  </a:lnTo>
                  <a:lnTo>
                    <a:pt x="86" y="315"/>
                  </a:lnTo>
                  <a:lnTo>
                    <a:pt x="96" y="313"/>
                  </a:lnTo>
                  <a:lnTo>
                    <a:pt x="106" y="311"/>
                  </a:lnTo>
                  <a:lnTo>
                    <a:pt x="118" y="309"/>
                  </a:lnTo>
                  <a:lnTo>
                    <a:pt x="129" y="307"/>
                  </a:lnTo>
                  <a:lnTo>
                    <a:pt x="139" y="305"/>
                  </a:lnTo>
                  <a:lnTo>
                    <a:pt x="147" y="303"/>
                  </a:lnTo>
                  <a:lnTo>
                    <a:pt x="157" y="301"/>
                  </a:lnTo>
                  <a:lnTo>
                    <a:pt x="168" y="301"/>
                  </a:lnTo>
                  <a:lnTo>
                    <a:pt x="176" y="299"/>
                  </a:lnTo>
                  <a:lnTo>
                    <a:pt x="186" y="297"/>
                  </a:lnTo>
                  <a:lnTo>
                    <a:pt x="196" y="295"/>
                  </a:lnTo>
                  <a:lnTo>
                    <a:pt x="204" y="293"/>
                  </a:lnTo>
                  <a:lnTo>
                    <a:pt x="215" y="291"/>
                  </a:lnTo>
                  <a:lnTo>
                    <a:pt x="223" y="288"/>
                  </a:lnTo>
                  <a:lnTo>
                    <a:pt x="233" y="286"/>
                  </a:lnTo>
                  <a:lnTo>
                    <a:pt x="243" y="284"/>
                  </a:lnTo>
                  <a:lnTo>
                    <a:pt x="252" y="282"/>
                  </a:lnTo>
                  <a:lnTo>
                    <a:pt x="262" y="280"/>
                  </a:lnTo>
                  <a:lnTo>
                    <a:pt x="272" y="278"/>
                  </a:lnTo>
                  <a:lnTo>
                    <a:pt x="280" y="278"/>
                  </a:lnTo>
                  <a:lnTo>
                    <a:pt x="291" y="276"/>
                  </a:lnTo>
                  <a:lnTo>
                    <a:pt x="301" y="274"/>
                  </a:lnTo>
                  <a:lnTo>
                    <a:pt x="309" y="272"/>
                  </a:lnTo>
                  <a:lnTo>
                    <a:pt x="319" y="270"/>
                  </a:lnTo>
                  <a:lnTo>
                    <a:pt x="329" y="268"/>
                  </a:lnTo>
                  <a:lnTo>
                    <a:pt x="338" y="266"/>
                  </a:lnTo>
                  <a:lnTo>
                    <a:pt x="348" y="264"/>
                  </a:lnTo>
                  <a:lnTo>
                    <a:pt x="356" y="262"/>
                  </a:lnTo>
                  <a:lnTo>
                    <a:pt x="366" y="260"/>
                  </a:lnTo>
                  <a:lnTo>
                    <a:pt x="377" y="258"/>
                  </a:lnTo>
                  <a:lnTo>
                    <a:pt x="385" y="256"/>
                  </a:lnTo>
                  <a:lnTo>
                    <a:pt x="395" y="254"/>
                  </a:lnTo>
                  <a:lnTo>
                    <a:pt x="405" y="252"/>
                  </a:lnTo>
                  <a:lnTo>
                    <a:pt x="413" y="250"/>
                  </a:lnTo>
                  <a:lnTo>
                    <a:pt x="424" y="248"/>
                  </a:lnTo>
                  <a:lnTo>
                    <a:pt x="432" y="245"/>
                  </a:lnTo>
                  <a:lnTo>
                    <a:pt x="434" y="245"/>
                  </a:lnTo>
                  <a:lnTo>
                    <a:pt x="434" y="245"/>
                  </a:lnTo>
                  <a:lnTo>
                    <a:pt x="434" y="241"/>
                  </a:lnTo>
                  <a:lnTo>
                    <a:pt x="436" y="237"/>
                  </a:lnTo>
                  <a:lnTo>
                    <a:pt x="438" y="233"/>
                  </a:lnTo>
                  <a:lnTo>
                    <a:pt x="438" y="233"/>
                  </a:lnTo>
                  <a:lnTo>
                    <a:pt x="440" y="231"/>
                  </a:lnTo>
                  <a:lnTo>
                    <a:pt x="442" y="229"/>
                  </a:lnTo>
                  <a:lnTo>
                    <a:pt x="444" y="229"/>
                  </a:lnTo>
                  <a:lnTo>
                    <a:pt x="446" y="227"/>
                  </a:lnTo>
                  <a:lnTo>
                    <a:pt x="448" y="227"/>
                  </a:lnTo>
                  <a:lnTo>
                    <a:pt x="452" y="227"/>
                  </a:lnTo>
                  <a:lnTo>
                    <a:pt x="456" y="227"/>
                  </a:lnTo>
                  <a:lnTo>
                    <a:pt x="458" y="227"/>
                  </a:lnTo>
                  <a:lnTo>
                    <a:pt x="460" y="229"/>
                  </a:lnTo>
                  <a:lnTo>
                    <a:pt x="460" y="229"/>
                  </a:lnTo>
                  <a:lnTo>
                    <a:pt x="463" y="225"/>
                  </a:lnTo>
                  <a:lnTo>
                    <a:pt x="463" y="225"/>
                  </a:lnTo>
                  <a:lnTo>
                    <a:pt x="465" y="223"/>
                  </a:lnTo>
                  <a:lnTo>
                    <a:pt x="469" y="221"/>
                  </a:lnTo>
                  <a:lnTo>
                    <a:pt x="471" y="221"/>
                  </a:lnTo>
                  <a:lnTo>
                    <a:pt x="473" y="219"/>
                  </a:lnTo>
                  <a:lnTo>
                    <a:pt x="477" y="217"/>
                  </a:lnTo>
                  <a:lnTo>
                    <a:pt x="481" y="215"/>
                  </a:lnTo>
                  <a:lnTo>
                    <a:pt x="481" y="213"/>
                  </a:lnTo>
                  <a:lnTo>
                    <a:pt x="481" y="211"/>
                  </a:lnTo>
                  <a:lnTo>
                    <a:pt x="481" y="209"/>
                  </a:lnTo>
                  <a:lnTo>
                    <a:pt x="481" y="207"/>
                  </a:lnTo>
                  <a:lnTo>
                    <a:pt x="483" y="204"/>
                  </a:lnTo>
                  <a:lnTo>
                    <a:pt x="485" y="204"/>
                  </a:lnTo>
                  <a:lnTo>
                    <a:pt x="487" y="200"/>
                  </a:lnTo>
                  <a:lnTo>
                    <a:pt x="489" y="200"/>
                  </a:lnTo>
                  <a:lnTo>
                    <a:pt x="491" y="198"/>
                  </a:lnTo>
                  <a:lnTo>
                    <a:pt x="491" y="196"/>
                  </a:lnTo>
                  <a:lnTo>
                    <a:pt x="493" y="192"/>
                  </a:lnTo>
                  <a:lnTo>
                    <a:pt x="495" y="192"/>
                  </a:lnTo>
                  <a:lnTo>
                    <a:pt x="497" y="190"/>
                  </a:lnTo>
                  <a:lnTo>
                    <a:pt x="499" y="190"/>
                  </a:lnTo>
                  <a:lnTo>
                    <a:pt x="501" y="186"/>
                  </a:lnTo>
                  <a:lnTo>
                    <a:pt x="501" y="186"/>
                  </a:lnTo>
                  <a:lnTo>
                    <a:pt x="504" y="184"/>
                  </a:lnTo>
                  <a:lnTo>
                    <a:pt x="506" y="184"/>
                  </a:lnTo>
                  <a:lnTo>
                    <a:pt x="508" y="182"/>
                  </a:lnTo>
                  <a:lnTo>
                    <a:pt x="510" y="180"/>
                  </a:lnTo>
                  <a:lnTo>
                    <a:pt x="508" y="178"/>
                  </a:lnTo>
                  <a:lnTo>
                    <a:pt x="506" y="176"/>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PA</a:t>
              </a:r>
            </a:p>
          </p:txBody>
        </p:sp>
        <p:sp>
          <p:nvSpPr>
            <p:cNvPr id="97" name="Freeform 18">
              <a:extLst>
                <a:ext uri="{FF2B5EF4-FFF2-40B4-BE49-F238E27FC236}">
                  <a16:creationId xmlns:a16="http://schemas.microsoft.com/office/drawing/2014/main" id="{9D138F75-139C-038D-8880-D29D0C9BD21D}"/>
                </a:ext>
              </a:extLst>
            </p:cNvPr>
            <p:cNvSpPr>
              <a:spLocks/>
            </p:cNvSpPr>
            <p:nvPr/>
          </p:nvSpPr>
          <p:spPr bwMode="auto">
            <a:xfrm>
              <a:off x="747" y="264"/>
              <a:ext cx="692" cy="537"/>
            </a:xfrm>
            <a:custGeom>
              <a:avLst/>
              <a:gdLst>
                <a:gd name="T0" fmla="*/ 205 w 692"/>
                <a:gd name="T1" fmla="*/ 31 h 537"/>
                <a:gd name="T2" fmla="*/ 209 w 692"/>
                <a:gd name="T3" fmla="*/ 58 h 537"/>
                <a:gd name="T4" fmla="*/ 211 w 692"/>
                <a:gd name="T5" fmla="*/ 80 h 537"/>
                <a:gd name="T6" fmla="*/ 246 w 692"/>
                <a:gd name="T7" fmla="*/ 95 h 537"/>
                <a:gd name="T8" fmla="*/ 328 w 692"/>
                <a:gd name="T9" fmla="*/ 99 h 537"/>
                <a:gd name="T10" fmla="*/ 344 w 692"/>
                <a:gd name="T11" fmla="*/ 105 h 537"/>
                <a:gd name="T12" fmla="*/ 369 w 692"/>
                <a:gd name="T13" fmla="*/ 103 h 537"/>
                <a:gd name="T14" fmla="*/ 397 w 692"/>
                <a:gd name="T15" fmla="*/ 107 h 537"/>
                <a:gd name="T16" fmla="*/ 449 w 692"/>
                <a:gd name="T17" fmla="*/ 101 h 537"/>
                <a:gd name="T18" fmla="*/ 504 w 692"/>
                <a:gd name="T19" fmla="*/ 97 h 537"/>
                <a:gd name="T20" fmla="*/ 606 w 692"/>
                <a:gd name="T21" fmla="*/ 115 h 537"/>
                <a:gd name="T22" fmla="*/ 672 w 692"/>
                <a:gd name="T23" fmla="*/ 142 h 537"/>
                <a:gd name="T24" fmla="*/ 692 w 692"/>
                <a:gd name="T25" fmla="*/ 166 h 537"/>
                <a:gd name="T26" fmla="*/ 678 w 692"/>
                <a:gd name="T27" fmla="*/ 189 h 537"/>
                <a:gd name="T28" fmla="*/ 653 w 692"/>
                <a:gd name="T29" fmla="*/ 226 h 537"/>
                <a:gd name="T30" fmla="*/ 641 w 692"/>
                <a:gd name="T31" fmla="*/ 250 h 537"/>
                <a:gd name="T32" fmla="*/ 621 w 692"/>
                <a:gd name="T33" fmla="*/ 273 h 537"/>
                <a:gd name="T34" fmla="*/ 614 w 692"/>
                <a:gd name="T35" fmla="*/ 287 h 537"/>
                <a:gd name="T36" fmla="*/ 621 w 692"/>
                <a:gd name="T37" fmla="*/ 298 h 537"/>
                <a:gd name="T38" fmla="*/ 631 w 692"/>
                <a:gd name="T39" fmla="*/ 304 h 537"/>
                <a:gd name="T40" fmla="*/ 635 w 692"/>
                <a:gd name="T41" fmla="*/ 314 h 537"/>
                <a:gd name="T42" fmla="*/ 631 w 692"/>
                <a:gd name="T43" fmla="*/ 328 h 537"/>
                <a:gd name="T44" fmla="*/ 619 w 692"/>
                <a:gd name="T45" fmla="*/ 347 h 537"/>
                <a:gd name="T46" fmla="*/ 608 w 692"/>
                <a:gd name="T47" fmla="*/ 421 h 537"/>
                <a:gd name="T48" fmla="*/ 590 w 692"/>
                <a:gd name="T49" fmla="*/ 537 h 537"/>
                <a:gd name="T50" fmla="*/ 426 w 692"/>
                <a:gd name="T51" fmla="*/ 511 h 537"/>
                <a:gd name="T52" fmla="*/ 223 w 692"/>
                <a:gd name="T53" fmla="*/ 474 h 537"/>
                <a:gd name="T54" fmla="*/ 14 w 692"/>
                <a:gd name="T55" fmla="*/ 429 h 537"/>
                <a:gd name="T56" fmla="*/ 2 w 692"/>
                <a:gd name="T57" fmla="*/ 396 h 537"/>
                <a:gd name="T58" fmla="*/ 4 w 692"/>
                <a:gd name="T59" fmla="*/ 378 h 537"/>
                <a:gd name="T60" fmla="*/ 8 w 692"/>
                <a:gd name="T61" fmla="*/ 353 h 537"/>
                <a:gd name="T62" fmla="*/ 10 w 692"/>
                <a:gd name="T63" fmla="*/ 326 h 537"/>
                <a:gd name="T64" fmla="*/ 29 w 692"/>
                <a:gd name="T65" fmla="*/ 289 h 537"/>
                <a:gd name="T66" fmla="*/ 35 w 692"/>
                <a:gd name="T67" fmla="*/ 289 h 537"/>
                <a:gd name="T68" fmla="*/ 43 w 692"/>
                <a:gd name="T69" fmla="*/ 283 h 537"/>
                <a:gd name="T70" fmla="*/ 47 w 692"/>
                <a:gd name="T71" fmla="*/ 279 h 537"/>
                <a:gd name="T72" fmla="*/ 49 w 692"/>
                <a:gd name="T73" fmla="*/ 261 h 537"/>
                <a:gd name="T74" fmla="*/ 57 w 692"/>
                <a:gd name="T75" fmla="*/ 255 h 537"/>
                <a:gd name="T76" fmla="*/ 53 w 692"/>
                <a:gd name="T77" fmla="*/ 255 h 537"/>
                <a:gd name="T78" fmla="*/ 66 w 692"/>
                <a:gd name="T79" fmla="*/ 220 h 537"/>
                <a:gd name="T80" fmla="*/ 72 w 692"/>
                <a:gd name="T81" fmla="*/ 193 h 537"/>
                <a:gd name="T82" fmla="*/ 78 w 692"/>
                <a:gd name="T83" fmla="*/ 181 h 537"/>
                <a:gd name="T84" fmla="*/ 84 w 692"/>
                <a:gd name="T85" fmla="*/ 162 h 537"/>
                <a:gd name="T86" fmla="*/ 90 w 692"/>
                <a:gd name="T87" fmla="*/ 138 h 537"/>
                <a:gd name="T88" fmla="*/ 98 w 692"/>
                <a:gd name="T89" fmla="*/ 119 h 537"/>
                <a:gd name="T90" fmla="*/ 104 w 692"/>
                <a:gd name="T91" fmla="*/ 99 h 537"/>
                <a:gd name="T92" fmla="*/ 104 w 692"/>
                <a:gd name="T93" fmla="*/ 89 h 537"/>
                <a:gd name="T94" fmla="*/ 111 w 692"/>
                <a:gd name="T95" fmla="*/ 84 h 537"/>
                <a:gd name="T96" fmla="*/ 113 w 692"/>
                <a:gd name="T97" fmla="*/ 76 h 537"/>
                <a:gd name="T98" fmla="*/ 115 w 692"/>
                <a:gd name="T99" fmla="*/ 68 h 537"/>
                <a:gd name="T100" fmla="*/ 123 w 692"/>
                <a:gd name="T101" fmla="*/ 56 h 537"/>
                <a:gd name="T102" fmla="*/ 117 w 692"/>
                <a:gd name="T103" fmla="*/ 52 h 537"/>
                <a:gd name="T104" fmla="*/ 121 w 692"/>
                <a:gd name="T105" fmla="*/ 27 h 537"/>
                <a:gd name="T106" fmla="*/ 127 w 692"/>
                <a:gd name="T107" fmla="*/ 0 h 537"/>
                <a:gd name="T108" fmla="*/ 137 w 692"/>
                <a:gd name="T109" fmla="*/ 11 h 537"/>
                <a:gd name="T110" fmla="*/ 137 w 692"/>
                <a:gd name="T111" fmla="*/ 9 h 537"/>
                <a:gd name="T112" fmla="*/ 145 w 692"/>
                <a:gd name="T113" fmla="*/ 9 h 537"/>
                <a:gd name="T114" fmla="*/ 162 w 692"/>
                <a:gd name="T115" fmla="*/ 7 h 537"/>
                <a:gd name="T116" fmla="*/ 186 w 692"/>
                <a:gd name="T117" fmla="*/ 1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2" h="537">
                  <a:moveTo>
                    <a:pt x="186" y="17"/>
                  </a:moveTo>
                  <a:lnTo>
                    <a:pt x="190" y="17"/>
                  </a:lnTo>
                  <a:lnTo>
                    <a:pt x="193" y="19"/>
                  </a:lnTo>
                  <a:lnTo>
                    <a:pt x="193" y="19"/>
                  </a:lnTo>
                  <a:lnTo>
                    <a:pt x="195" y="23"/>
                  </a:lnTo>
                  <a:lnTo>
                    <a:pt x="197" y="23"/>
                  </a:lnTo>
                  <a:lnTo>
                    <a:pt x="199" y="23"/>
                  </a:lnTo>
                  <a:lnTo>
                    <a:pt x="201" y="25"/>
                  </a:lnTo>
                  <a:lnTo>
                    <a:pt x="203" y="27"/>
                  </a:lnTo>
                  <a:lnTo>
                    <a:pt x="205" y="29"/>
                  </a:lnTo>
                  <a:lnTo>
                    <a:pt x="205" y="31"/>
                  </a:lnTo>
                  <a:lnTo>
                    <a:pt x="207" y="33"/>
                  </a:lnTo>
                  <a:lnTo>
                    <a:pt x="207" y="35"/>
                  </a:lnTo>
                  <a:lnTo>
                    <a:pt x="207" y="39"/>
                  </a:lnTo>
                  <a:lnTo>
                    <a:pt x="209" y="41"/>
                  </a:lnTo>
                  <a:lnTo>
                    <a:pt x="209" y="41"/>
                  </a:lnTo>
                  <a:lnTo>
                    <a:pt x="209" y="43"/>
                  </a:lnTo>
                  <a:lnTo>
                    <a:pt x="211" y="46"/>
                  </a:lnTo>
                  <a:lnTo>
                    <a:pt x="209" y="50"/>
                  </a:lnTo>
                  <a:lnTo>
                    <a:pt x="211" y="54"/>
                  </a:lnTo>
                  <a:lnTo>
                    <a:pt x="209" y="56"/>
                  </a:lnTo>
                  <a:lnTo>
                    <a:pt x="209" y="58"/>
                  </a:lnTo>
                  <a:lnTo>
                    <a:pt x="209" y="60"/>
                  </a:lnTo>
                  <a:lnTo>
                    <a:pt x="209" y="64"/>
                  </a:lnTo>
                  <a:lnTo>
                    <a:pt x="209" y="64"/>
                  </a:lnTo>
                  <a:lnTo>
                    <a:pt x="209" y="66"/>
                  </a:lnTo>
                  <a:lnTo>
                    <a:pt x="209" y="68"/>
                  </a:lnTo>
                  <a:lnTo>
                    <a:pt x="209" y="68"/>
                  </a:lnTo>
                  <a:lnTo>
                    <a:pt x="209" y="72"/>
                  </a:lnTo>
                  <a:lnTo>
                    <a:pt x="209" y="76"/>
                  </a:lnTo>
                  <a:lnTo>
                    <a:pt x="209" y="76"/>
                  </a:lnTo>
                  <a:lnTo>
                    <a:pt x="209" y="78"/>
                  </a:lnTo>
                  <a:lnTo>
                    <a:pt x="211" y="80"/>
                  </a:lnTo>
                  <a:lnTo>
                    <a:pt x="213" y="82"/>
                  </a:lnTo>
                  <a:lnTo>
                    <a:pt x="219" y="84"/>
                  </a:lnTo>
                  <a:lnTo>
                    <a:pt x="221" y="84"/>
                  </a:lnTo>
                  <a:lnTo>
                    <a:pt x="223" y="84"/>
                  </a:lnTo>
                  <a:lnTo>
                    <a:pt x="225" y="87"/>
                  </a:lnTo>
                  <a:lnTo>
                    <a:pt x="229" y="89"/>
                  </a:lnTo>
                  <a:lnTo>
                    <a:pt x="231" y="91"/>
                  </a:lnTo>
                  <a:lnTo>
                    <a:pt x="238" y="91"/>
                  </a:lnTo>
                  <a:lnTo>
                    <a:pt x="244" y="95"/>
                  </a:lnTo>
                  <a:lnTo>
                    <a:pt x="244" y="95"/>
                  </a:lnTo>
                  <a:lnTo>
                    <a:pt x="246" y="95"/>
                  </a:lnTo>
                  <a:lnTo>
                    <a:pt x="252" y="93"/>
                  </a:lnTo>
                  <a:lnTo>
                    <a:pt x="266" y="91"/>
                  </a:lnTo>
                  <a:lnTo>
                    <a:pt x="270" y="91"/>
                  </a:lnTo>
                  <a:lnTo>
                    <a:pt x="276" y="87"/>
                  </a:lnTo>
                  <a:lnTo>
                    <a:pt x="281" y="87"/>
                  </a:lnTo>
                  <a:lnTo>
                    <a:pt x="283" y="87"/>
                  </a:lnTo>
                  <a:lnTo>
                    <a:pt x="289" y="89"/>
                  </a:lnTo>
                  <a:lnTo>
                    <a:pt x="299" y="89"/>
                  </a:lnTo>
                  <a:lnTo>
                    <a:pt x="322" y="95"/>
                  </a:lnTo>
                  <a:lnTo>
                    <a:pt x="326" y="97"/>
                  </a:lnTo>
                  <a:lnTo>
                    <a:pt x="328" y="99"/>
                  </a:lnTo>
                  <a:lnTo>
                    <a:pt x="328" y="101"/>
                  </a:lnTo>
                  <a:lnTo>
                    <a:pt x="328" y="103"/>
                  </a:lnTo>
                  <a:lnTo>
                    <a:pt x="328" y="105"/>
                  </a:lnTo>
                  <a:lnTo>
                    <a:pt x="330" y="105"/>
                  </a:lnTo>
                  <a:lnTo>
                    <a:pt x="332" y="105"/>
                  </a:lnTo>
                  <a:lnTo>
                    <a:pt x="338" y="105"/>
                  </a:lnTo>
                  <a:lnTo>
                    <a:pt x="338" y="105"/>
                  </a:lnTo>
                  <a:lnTo>
                    <a:pt x="340" y="105"/>
                  </a:lnTo>
                  <a:lnTo>
                    <a:pt x="342" y="105"/>
                  </a:lnTo>
                  <a:lnTo>
                    <a:pt x="342" y="105"/>
                  </a:lnTo>
                  <a:lnTo>
                    <a:pt x="344" y="105"/>
                  </a:lnTo>
                  <a:lnTo>
                    <a:pt x="346" y="105"/>
                  </a:lnTo>
                  <a:lnTo>
                    <a:pt x="346" y="107"/>
                  </a:lnTo>
                  <a:lnTo>
                    <a:pt x="350" y="107"/>
                  </a:lnTo>
                  <a:lnTo>
                    <a:pt x="352" y="107"/>
                  </a:lnTo>
                  <a:lnTo>
                    <a:pt x="354" y="107"/>
                  </a:lnTo>
                  <a:lnTo>
                    <a:pt x="354" y="107"/>
                  </a:lnTo>
                  <a:lnTo>
                    <a:pt x="358" y="105"/>
                  </a:lnTo>
                  <a:lnTo>
                    <a:pt x="358" y="105"/>
                  </a:lnTo>
                  <a:lnTo>
                    <a:pt x="365" y="105"/>
                  </a:lnTo>
                  <a:lnTo>
                    <a:pt x="369" y="105"/>
                  </a:lnTo>
                  <a:lnTo>
                    <a:pt x="369" y="103"/>
                  </a:lnTo>
                  <a:lnTo>
                    <a:pt x="369" y="103"/>
                  </a:lnTo>
                  <a:lnTo>
                    <a:pt x="371" y="103"/>
                  </a:lnTo>
                  <a:lnTo>
                    <a:pt x="373" y="103"/>
                  </a:lnTo>
                  <a:lnTo>
                    <a:pt x="383" y="107"/>
                  </a:lnTo>
                  <a:lnTo>
                    <a:pt x="385" y="107"/>
                  </a:lnTo>
                  <a:lnTo>
                    <a:pt x="387" y="107"/>
                  </a:lnTo>
                  <a:lnTo>
                    <a:pt x="387" y="107"/>
                  </a:lnTo>
                  <a:lnTo>
                    <a:pt x="391" y="107"/>
                  </a:lnTo>
                  <a:lnTo>
                    <a:pt x="391" y="107"/>
                  </a:lnTo>
                  <a:lnTo>
                    <a:pt x="393" y="107"/>
                  </a:lnTo>
                  <a:lnTo>
                    <a:pt x="397" y="107"/>
                  </a:lnTo>
                  <a:lnTo>
                    <a:pt x="397" y="107"/>
                  </a:lnTo>
                  <a:lnTo>
                    <a:pt x="399" y="107"/>
                  </a:lnTo>
                  <a:lnTo>
                    <a:pt x="401" y="107"/>
                  </a:lnTo>
                  <a:lnTo>
                    <a:pt x="403" y="107"/>
                  </a:lnTo>
                  <a:lnTo>
                    <a:pt x="406" y="107"/>
                  </a:lnTo>
                  <a:lnTo>
                    <a:pt x="408" y="107"/>
                  </a:lnTo>
                  <a:lnTo>
                    <a:pt x="410" y="105"/>
                  </a:lnTo>
                  <a:lnTo>
                    <a:pt x="412" y="103"/>
                  </a:lnTo>
                  <a:lnTo>
                    <a:pt x="416" y="103"/>
                  </a:lnTo>
                  <a:lnTo>
                    <a:pt x="428" y="101"/>
                  </a:lnTo>
                  <a:lnTo>
                    <a:pt x="449" y="101"/>
                  </a:lnTo>
                  <a:lnTo>
                    <a:pt x="453" y="99"/>
                  </a:lnTo>
                  <a:lnTo>
                    <a:pt x="455" y="97"/>
                  </a:lnTo>
                  <a:lnTo>
                    <a:pt x="457" y="97"/>
                  </a:lnTo>
                  <a:lnTo>
                    <a:pt x="459" y="97"/>
                  </a:lnTo>
                  <a:lnTo>
                    <a:pt x="465" y="99"/>
                  </a:lnTo>
                  <a:lnTo>
                    <a:pt x="469" y="99"/>
                  </a:lnTo>
                  <a:lnTo>
                    <a:pt x="475" y="99"/>
                  </a:lnTo>
                  <a:lnTo>
                    <a:pt x="494" y="101"/>
                  </a:lnTo>
                  <a:lnTo>
                    <a:pt x="498" y="101"/>
                  </a:lnTo>
                  <a:lnTo>
                    <a:pt x="502" y="97"/>
                  </a:lnTo>
                  <a:lnTo>
                    <a:pt x="504" y="97"/>
                  </a:lnTo>
                  <a:lnTo>
                    <a:pt x="506" y="99"/>
                  </a:lnTo>
                  <a:lnTo>
                    <a:pt x="516" y="101"/>
                  </a:lnTo>
                  <a:lnTo>
                    <a:pt x="526" y="101"/>
                  </a:lnTo>
                  <a:lnTo>
                    <a:pt x="537" y="103"/>
                  </a:lnTo>
                  <a:lnTo>
                    <a:pt x="547" y="105"/>
                  </a:lnTo>
                  <a:lnTo>
                    <a:pt x="555" y="107"/>
                  </a:lnTo>
                  <a:lnTo>
                    <a:pt x="565" y="109"/>
                  </a:lnTo>
                  <a:lnTo>
                    <a:pt x="576" y="109"/>
                  </a:lnTo>
                  <a:lnTo>
                    <a:pt x="586" y="111"/>
                  </a:lnTo>
                  <a:lnTo>
                    <a:pt x="596" y="113"/>
                  </a:lnTo>
                  <a:lnTo>
                    <a:pt x="606" y="115"/>
                  </a:lnTo>
                  <a:lnTo>
                    <a:pt x="616" y="117"/>
                  </a:lnTo>
                  <a:lnTo>
                    <a:pt x="625" y="117"/>
                  </a:lnTo>
                  <a:lnTo>
                    <a:pt x="635" y="119"/>
                  </a:lnTo>
                  <a:lnTo>
                    <a:pt x="645" y="121"/>
                  </a:lnTo>
                  <a:lnTo>
                    <a:pt x="655" y="123"/>
                  </a:lnTo>
                  <a:lnTo>
                    <a:pt x="666" y="123"/>
                  </a:lnTo>
                  <a:lnTo>
                    <a:pt x="666" y="125"/>
                  </a:lnTo>
                  <a:lnTo>
                    <a:pt x="666" y="127"/>
                  </a:lnTo>
                  <a:lnTo>
                    <a:pt x="668" y="134"/>
                  </a:lnTo>
                  <a:lnTo>
                    <a:pt x="672" y="140"/>
                  </a:lnTo>
                  <a:lnTo>
                    <a:pt x="672" y="142"/>
                  </a:lnTo>
                  <a:lnTo>
                    <a:pt x="672" y="142"/>
                  </a:lnTo>
                  <a:lnTo>
                    <a:pt x="678" y="144"/>
                  </a:lnTo>
                  <a:lnTo>
                    <a:pt x="678" y="146"/>
                  </a:lnTo>
                  <a:lnTo>
                    <a:pt x="680" y="148"/>
                  </a:lnTo>
                  <a:lnTo>
                    <a:pt x="684" y="150"/>
                  </a:lnTo>
                  <a:lnTo>
                    <a:pt x="686" y="152"/>
                  </a:lnTo>
                  <a:lnTo>
                    <a:pt x="688" y="152"/>
                  </a:lnTo>
                  <a:lnTo>
                    <a:pt x="688" y="154"/>
                  </a:lnTo>
                  <a:lnTo>
                    <a:pt x="690" y="156"/>
                  </a:lnTo>
                  <a:lnTo>
                    <a:pt x="690" y="160"/>
                  </a:lnTo>
                  <a:lnTo>
                    <a:pt x="692" y="166"/>
                  </a:lnTo>
                  <a:lnTo>
                    <a:pt x="692" y="168"/>
                  </a:lnTo>
                  <a:lnTo>
                    <a:pt x="692" y="171"/>
                  </a:lnTo>
                  <a:lnTo>
                    <a:pt x="692" y="173"/>
                  </a:lnTo>
                  <a:lnTo>
                    <a:pt x="690" y="175"/>
                  </a:lnTo>
                  <a:lnTo>
                    <a:pt x="688" y="177"/>
                  </a:lnTo>
                  <a:lnTo>
                    <a:pt x="686" y="177"/>
                  </a:lnTo>
                  <a:lnTo>
                    <a:pt x="684" y="179"/>
                  </a:lnTo>
                  <a:lnTo>
                    <a:pt x="684" y="181"/>
                  </a:lnTo>
                  <a:lnTo>
                    <a:pt x="684" y="183"/>
                  </a:lnTo>
                  <a:lnTo>
                    <a:pt x="680" y="187"/>
                  </a:lnTo>
                  <a:lnTo>
                    <a:pt x="678" y="189"/>
                  </a:lnTo>
                  <a:lnTo>
                    <a:pt x="674" y="193"/>
                  </a:lnTo>
                  <a:lnTo>
                    <a:pt x="674" y="195"/>
                  </a:lnTo>
                  <a:lnTo>
                    <a:pt x="672" y="197"/>
                  </a:lnTo>
                  <a:lnTo>
                    <a:pt x="672" y="201"/>
                  </a:lnTo>
                  <a:lnTo>
                    <a:pt x="672" y="201"/>
                  </a:lnTo>
                  <a:lnTo>
                    <a:pt x="670" y="203"/>
                  </a:lnTo>
                  <a:lnTo>
                    <a:pt x="668" y="209"/>
                  </a:lnTo>
                  <a:lnTo>
                    <a:pt x="666" y="214"/>
                  </a:lnTo>
                  <a:lnTo>
                    <a:pt x="655" y="224"/>
                  </a:lnTo>
                  <a:lnTo>
                    <a:pt x="653" y="226"/>
                  </a:lnTo>
                  <a:lnTo>
                    <a:pt x="653" y="226"/>
                  </a:lnTo>
                  <a:lnTo>
                    <a:pt x="653" y="228"/>
                  </a:lnTo>
                  <a:lnTo>
                    <a:pt x="653" y="228"/>
                  </a:lnTo>
                  <a:lnTo>
                    <a:pt x="653" y="230"/>
                  </a:lnTo>
                  <a:lnTo>
                    <a:pt x="653" y="230"/>
                  </a:lnTo>
                  <a:lnTo>
                    <a:pt x="653" y="232"/>
                  </a:lnTo>
                  <a:lnTo>
                    <a:pt x="651" y="236"/>
                  </a:lnTo>
                  <a:lnTo>
                    <a:pt x="651" y="238"/>
                  </a:lnTo>
                  <a:lnTo>
                    <a:pt x="649" y="242"/>
                  </a:lnTo>
                  <a:lnTo>
                    <a:pt x="643" y="246"/>
                  </a:lnTo>
                  <a:lnTo>
                    <a:pt x="643" y="248"/>
                  </a:lnTo>
                  <a:lnTo>
                    <a:pt x="641" y="250"/>
                  </a:lnTo>
                  <a:lnTo>
                    <a:pt x="635" y="253"/>
                  </a:lnTo>
                  <a:lnTo>
                    <a:pt x="635" y="253"/>
                  </a:lnTo>
                  <a:lnTo>
                    <a:pt x="633" y="255"/>
                  </a:lnTo>
                  <a:lnTo>
                    <a:pt x="631" y="259"/>
                  </a:lnTo>
                  <a:lnTo>
                    <a:pt x="627" y="263"/>
                  </a:lnTo>
                  <a:lnTo>
                    <a:pt x="627" y="265"/>
                  </a:lnTo>
                  <a:lnTo>
                    <a:pt x="625" y="269"/>
                  </a:lnTo>
                  <a:lnTo>
                    <a:pt x="625" y="271"/>
                  </a:lnTo>
                  <a:lnTo>
                    <a:pt x="623" y="273"/>
                  </a:lnTo>
                  <a:lnTo>
                    <a:pt x="621" y="273"/>
                  </a:lnTo>
                  <a:lnTo>
                    <a:pt x="621" y="273"/>
                  </a:lnTo>
                  <a:lnTo>
                    <a:pt x="619" y="273"/>
                  </a:lnTo>
                  <a:lnTo>
                    <a:pt x="619" y="275"/>
                  </a:lnTo>
                  <a:lnTo>
                    <a:pt x="619" y="275"/>
                  </a:lnTo>
                  <a:lnTo>
                    <a:pt x="619" y="275"/>
                  </a:lnTo>
                  <a:lnTo>
                    <a:pt x="616" y="277"/>
                  </a:lnTo>
                  <a:lnTo>
                    <a:pt x="616" y="277"/>
                  </a:lnTo>
                  <a:lnTo>
                    <a:pt x="616" y="279"/>
                  </a:lnTo>
                  <a:lnTo>
                    <a:pt x="616" y="281"/>
                  </a:lnTo>
                  <a:lnTo>
                    <a:pt x="614" y="283"/>
                  </a:lnTo>
                  <a:lnTo>
                    <a:pt x="614" y="285"/>
                  </a:lnTo>
                  <a:lnTo>
                    <a:pt x="614" y="287"/>
                  </a:lnTo>
                  <a:lnTo>
                    <a:pt x="614" y="289"/>
                  </a:lnTo>
                  <a:lnTo>
                    <a:pt x="614" y="291"/>
                  </a:lnTo>
                  <a:lnTo>
                    <a:pt x="614" y="291"/>
                  </a:lnTo>
                  <a:lnTo>
                    <a:pt x="614" y="293"/>
                  </a:lnTo>
                  <a:lnTo>
                    <a:pt x="614" y="293"/>
                  </a:lnTo>
                  <a:lnTo>
                    <a:pt x="614" y="296"/>
                  </a:lnTo>
                  <a:lnTo>
                    <a:pt x="614" y="298"/>
                  </a:lnTo>
                  <a:lnTo>
                    <a:pt x="619" y="300"/>
                  </a:lnTo>
                  <a:lnTo>
                    <a:pt x="619" y="300"/>
                  </a:lnTo>
                  <a:lnTo>
                    <a:pt x="619" y="300"/>
                  </a:lnTo>
                  <a:lnTo>
                    <a:pt x="621" y="298"/>
                  </a:lnTo>
                  <a:lnTo>
                    <a:pt x="621" y="298"/>
                  </a:lnTo>
                  <a:lnTo>
                    <a:pt x="623" y="298"/>
                  </a:lnTo>
                  <a:lnTo>
                    <a:pt x="623" y="300"/>
                  </a:lnTo>
                  <a:lnTo>
                    <a:pt x="623" y="300"/>
                  </a:lnTo>
                  <a:lnTo>
                    <a:pt x="623" y="302"/>
                  </a:lnTo>
                  <a:lnTo>
                    <a:pt x="625" y="302"/>
                  </a:lnTo>
                  <a:lnTo>
                    <a:pt x="627" y="302"/>
                  </a:lnTo>
                  <a:lnTo>
                    <a:pt x="629" y="302"/>
                  </a:lnTo>
                  <a:lnTo>
                    <a:pt x="631" y="302"/>
                  </a:lnTo>
                  <a:lnTo>
                    <a:pt x="631" y="302"/>
                  </a:lnTo>
                  <a:lnTo>
                    <a:pt x="631" y="304"/>
                  </a:lnTo>
                  <a:lnTo>
                    <a:pt x="631" y="304"/>
                  </a:lnTo>
                  <a:lnTo>
                    <a:pt x="631" y="306"/>
                  </a:lnTo>
                  <a:lnTo>
                    <a:pt x="631" y="308"/>
                  </a:lnTo>
                  <a:lnTo>
                    <a:pt x="631" y="308"/>
                  </a:lnTo>
                  <a:lnTo>
                    <a:pt x="633" y="308"/>
                  </a:lnTo>
                  <a:lnTo>
                    <a:pt x="635" y="310"/>
                  </a:lnTo>
                  <a:lnTo>
                    <a:pt x="635" y="312"/>
                  </a:lnTo>
                  <a:lnTo>
                    <a:pt x="635" y="312"/>
                  </a:lnTo>
                  <a:lnTo>
                    <a:pt x="635" y="314"/>
                  </a:lnTo>
                  <a:lnTo>
                    <a:pt x="635" y="314"/>
                  </a:lnTo>
                  <a:lnTo>
                    <a:pt x="635" y="314"/>
                  </a:lnTo>
                  <a:lnTo>
                    <a:pt x="635" y="316"/>
                  </a:lnTo>
                  <a:lnTo>
                    <a:pt x="633" y="316"/>
                  </a:lnTo>
                  <a:lnTo>
                    <a:pt x="633" y="318"/>
                  </a:lnTo>
                  <a:lnTo>
                    <a:pt x="633" y="318"/>
                  </a:lnTo>
                  <a:lnTo>
                    <a:pt x="631" y="318"/>
                  </a:lnTo>
                  <a:lnTo>
                    <a:pt x="631" y="318"/>
                  </a:lnTo>
                  <a:lnTo>
                    <a:pt x="629" y="318"/>
                  </a:lnTo>
                  <a:lnTo>
                    <a:pt x="629" y="320"/>
                  </a:lnTo>
                  <a:lnTo>
                    <a:pt x="629" y="322"/>
                  </a:lnTo>
                  <a:lnTo>
                    <a:pt x="631" y="324"/>
                  </a:lnTo>
                  <a:lnTo>
                    <a:pt x="631" y="328"/>
                  </a:lnTo>
                  <a:lnTo>
                    <a:pt x="631" y="328"/>
                  </a:lnTo>
                  <a:lnTo>
                    <a:pt x="629" y="330"/>
                  </a:lnTo>
                  <a:lnTo>
                    <a:pt x="629" y="330"/>
                  </a:lnTo>
                  <a:lnTo>
                    <a:pt x="629" y="330"/>
                  </a:lnTo>
                  <a:lnTo>
                    <a:pt x="627" y="334"/>
                  </a:lnTo>
                  <a:lnTo>
                    <a:pt x="627" y="339"/>
                  </a:lnTo>
                  <a:lnTo>
                    <a:pt x="625" y="341"/>
                  </a:lnTo>
                  <a:lnTo>
                    <a:pt x="625" y="343"/>
                  </a:lnTo>
                  <a:lnTo>
                    <a:pt x="623" y="345"/>
                  </a:lnTo>
                  <a:lnTo>
                    <a:pt x="621" y="345"/>
                  </a:lnTo>
                  <a:lnTo>
                    <a:pt x="619" y="347"/>
                  </a:lnTo>
                  <a:lnTo>
                    <a:pt x="619" y="349"/>
                  </a:lnTo>
                  <a:lnTo>
                    <a:pt x="619" y="351"/>
                  </a:lnTo>
                  <a:lnTo>
                    <a:pt x="619" y="351"/>
                  </a:lnTo>
                  <a:lnTo>
                    <a:pt x="619" y="351"/>
                  </a:lnTo>
                  <a:lnTo>
                    <a:pt x="619" y="361"/>
                  </a:lnTo>
                  <a:lnTo>
                    <a:pt x="616" y="365"/>
                  </a:lnTo>
                  <a:lnTo>
                    <a:pt x="616" y="375"/>
                  </a:lnTo>
                  <a:lnTo>
                    <a:pt x="614" y="388"/>
                  </a:lnTo>
                  <a:lnTo>
                    <a:pt x="612" y="398"/>
                  </a:lnTo>
                  <a:lnTo>
                    <a:pt x="610" y="408"/>
                  </a:lnTo>
                  <a:lnTo>
                    <a:pt x="608" y="421"/>
                  </a:lnTo>
                  <a:lnTo>
                    <a:pt x="608" y="431"/>
                  </a:lnTo>
                  <a:lnTo>
                    <a:pt x="606" y="441"/>
                  </a:lnTo>
                  <a:lnTo>
                    <a:pt x="604" y="451"/>
                  </a:lnTo>
                  <a:lnTo>
                    <a:pt x="602" y="464"/>
                  </a:lnTo>
                  <a:lnTo>
                    <a:pt x="600" y="474"/>
                  </a:lnTo>
                  <a:lnTo>
                    <a:pt x="600" y="484"/>
                  </a:lnTo>
                  <a:lnTo>
                    <a:pt x="598" y="494"/>
                  </a:lnTo>
                  <a:lnTo>
                    <a:pt x="596" y="507"/>
                  </a:lnTo>
                  <a:lnTo>
                    <a:pt x="594" y="517"/>
                  </a:lnTo>
                  <a:lnTo>
                    <a:pt x="592" y="527"/>
                  </a:lnTo>
                  <a:lnTo>
                    <a:pt x="590" y="537"/>
                  </a:lnTo>
                  <a:lnTo>
                    <a:pt x="576" y="535"/>
                  </a:lnTo>
                  <a:lnTo>
                    <a:pt x="561" y="533"/>
                  </a:lnTo>
                  <a:lnTo>
                    <a:pt x="545" y="531"/>
                  </a:lnTo>
                  <a:lnTo>
                    <a:pt x="530" y="529"/>
                  </a:lnTo>
                  <a:lnTo>
                    <a:pt x="516" y="527"/>
                  </a:lnTo>
                  <a:lnTo>
                    <a:pt x="500" y="523"/>
                  </a:lnTo>
                  <a:lnTo>
                    <a:pt x="485" y="521"/>
                  </a:lnTo>
                  <a:lnTo>
                    <a:pt x="471" y="519"/>
                  </a:lnTo>
                  <a:lnTo>
                    <a:pt x="455" y="517"/>
                  </a:lnTo>
                  <a:lnTo>
                    <a:pt x="440" y="513"/>
                  </a:lnTo>
                  <a:lnTo>
                    <a:pt x="426" y="511"/>
                  </a:lnTo>
                  <a:lnTo>
                    <a:pt x="410" y="509"/>
                  </a:lnTo>
                  <a:lnTo>
                    <a:pt x="395" y="507"/>
                  </a:lnTo>
                  <a:lnTo>
                    <a:pt x="381" y="503"/>
                  </a:lnTo>
                  <a:lnTo>
                    <a:pt x="365" y="500"/>
                  </a:lnTo>
                  <a:lnTo>
                    <a:pt x="350" y="498"/>
                  </a:lnTo>
                  <a:lnTo>
                    <a:pt x="330" y="494"/>
                  </a:lnTo>
                  <a:lnTo>
                    <a:pt x="307" y="490"/>
                  </a:lnTo>
                  <a:lnTo>
                    <a:pt x="287" y="486"/>
                  </a:lnTo>
                  <a:lnTo>
                    <a:pt x="266" y="482"/>
                  </a:lnTo>
                  <a:lnTo>
                    <a:pt x="244" y="478"/>
                  </a:lnTo>
                  <a:lnTo>
                    <a:pt x="223" y="474"/>
                  </a:lnTo>
                  <a:lnTo>
                    <a:pt x="203" y="470"/>
                  </a:lnTo>
                  <a:lnTo>
                    <a:pt x="182" y="466"/>
                  </a:lnTo>
                  <a:lnTo>
                    <a:pt x="160" y="462"/>
                  </a:lnTo>
                  <a:lnTo>
                    <a:pt x="139" y="457"/>
                  </a:lnTo>
                  <a:lnTo>
                    <a:pt x="119" y="451"/>
                  </a:lnTo>
                  <a:lnTo>
                    <a:pt x="98" y="447"/>
                  </a:lnTo>
                  <a:lnTo>
                    <a:pt x="76" y="443"/>
                  </a:lnTo>
                  <a:lnTo>
                    <a:pt x="55" y="439"/>
                  </a:lnTo>
                  <a:lnTo>
                    <a:pt x="35" y="435"/>
                  </a:lnTo>
                  <a:lnTo>
                    <a:pt x="14" y="429"/>
                  </a:lnTo>
                  <a:lnTo>
                    <a:pt x="14" y="429"/>
                  </a:lnTo>
                  <a:lnTo>
                    <a:pt x="12" y="429"/>
                  </a:lnTo>
                  <a:lnTo>
                    <a:pt x="10" y="427"/>
                  </a:lnTo>
                  <a:lnTo>
                    <a:pt x="6" y="423"/>
                  </a:lnTo>
                  <a:lnTo>
                    <a:pt x="4" y="416"/>
                  </a:lnTo>
                  <a:lnTo>
                    <a:pt x="2" y="416"/>
                  </a:lnTo>
                  <a:lnTo>
                    <a:pt x="2" y="414"/>
                  </a:lnTo>
                  <a:lnTo>
                    <a:pt x="4" y="404"/>
                  </a:lnTo>
                  <a:lnTo>
                    <a:pt x="2" y="400"/>
                  </a:lnTo>
                  <a:lnTo>
                    <a:pt x="2" y="400"/>
                  </a:lnTo>
                  <a:lnTo>
                    <a:pt x="2" y="398"/>
                  </a:lnTo>
                  <a:lnTo>
                    <a:pt x="2" y="396"/>
                  </a:lnTo>
                  <a:lnTo>
                    <a:pt x="2" y="392"/>
                  </a:lnTo>
                  <a:lnTo>
                    <a:pt x="2" y="392"/>
                  </a:lnTo>
                  <a:lnTo>
                    <a:pt x="2" y="392"/>
                  </a:lnTo>
                  <a:lnTo>
                    <a:pt x="0" y="390"/>
                  </a:lnTo>
                  <a:lnTo>
                    <a:pt x="2" y="390"/>
                  </a:lnTo>
                  <a:lnTo>
                    <a:pt x="2" y="390"/>
                  </a:lnTo>
                  <a:lnTo>
                    <a:pt x="4" y="388"/>
                  </a:lnTo>
                  <a:lnTo>
                    <a:pt x="4" y="386"/>
                  </a:lnTo>
                  <a:lnTo>
                    <a:pt x="4" y="384"/>
                  </a:lnTo>
                  <a:lnTo>
                    <a:pt x="4" y="382"/>
                  </a:lnTo>
                  <a:lnTo>
                    <a:pt x="4" y="378"/>
                  </a:lnTo>
                  <a:lnTo>
                    <a:pt x="4" y="378"/>
                  </a:lnTo>
                  <a:lnTo>
                    <a:pt x="6" y="375"/>
                  </a:lnTo>
                  <a:lnTo>
                    <a:pt x="8" y="371"/>
                  </a:lnTo>
                  <a:lnTo>
                    <a:pt x="8" y="371"/>
                  </a:lnTo>
                  <a:lnTo>
                    <a:pt x="10" y="367"/>
                  </a:lnTo>
                  <a:lnTo>
                    <a:pt x="10" y="361"/>
                  </a:lnTo>
                  <a:lnTo>
                    <a:pt x="10" y="359"/>
                  </a:lnTo>
                  <a:lnTo>
                    <a:pt x="10" y="357"/>
                  </a:lnTo>
                  <a:lnTo>
                    <a:pt x="10" y="355"/>
                  </a:lnTo>
                  <a:lnTo>
                    <a:pt x="10" y="355"/>
                  </a:lnTo>
                  <a:lnTo>
                    <a:pt x="8" y="353"/>
                  </a:lnTo>
                  <a:lnTo>
                    <a:pt x="8" y="351"/>
                  </a:lnTo>
                  <a:lnTo>
                    <a:pt x="8" y="349"/>
                  </a:lnTo>
                  <a:lnTo>
                    <a:pt x="6" y="347"/>
                  </a:lnTo>
                  <a:lnTo>
                    <a:pt x="6" y="347"/>
                  </a:lnTo>
                  <a:lnTo>
                    <a:pt x="4" y="347"/>
                  </a:lnTo>
                  <a:lnTo>
                    <a:pt x="4" y="341"/>
                  </a:lnTo>
                  <a:lnTo>
                    <a:pt x="4" y="339"/>
                  </a:lnTo>
                  <a:lnTo>
                    <a:pt x="4" y="339"/>
                  </a:lnTo>
                  <a:lnTo>
                    <a:pt x="2" y="337"/>
                  </a:lnTo>
                  <a:lnTo>
                    <a:pt x="4" y="337"/>
                  </a:lnTo>
                  <a:lnTo>
                    <a:pt x="10" y="326"/>
                  </a:lnTo>
                  <a:lnTo>
                    <a:pt x="14" y="322"/>
                  </a:lnTo>
                  <a:lnTo>
                    <a:pt x="16" y="320"/>
                  </a:lnTo>
                  <a:lnTo>
                    <a:pt x="16" y="318"/>
                  </a:lnTo>
                  <a:lnTo>
                    <a:pt x="18" y="318"/>
                  </a:lnTo>
                  <a:lnTo>
                    <a:pt x="20" y="316"/>
                  </a:lnTo>
                  <a:lnTo>
                    <a:pt x="20" y="314"/>
                  </a:lnTo>
                  <a:lnTo>
                    <a:pt x="23" y="310"/>
                  </a:lnTo>
                  <a:lnTo>
                    <a:pt x="29" y="296"/>
                  </a:lnTo>
                  <a:lnTo>
                    <a:pt x="29" y="291"/>
                  </a:lnTo>
                  <a:lnTo>
                    <a:pt x="29" y="289"/>
                  </a:lnTo>
                  <a:lnTo>
                    <a:pt x="29" y="289"/>
                  </a:lnTo>
                  <a:lnTo>
                    <a:pt x="31" y="287"/>
                  </a:lnTo>
                  <a:lnTo>
                    <a:pt x="31" y="287"/>
                  </a:lnTo>
                  <a:lnTo>
                    <a:pt x="33" y="287"/>
                  </a:lnTo>
                  <a:lnTo>
                    <a:pt x="33" y="285"/>
                  </a:lnTo>
                  <a:lnTo>
                    <a:pt x="35" y="285"/>
                  </a:lnTo>
                  <a:lnTo>
                    <a:pt x="33" y="291"/>
                  </a:lnTo>
                  <a:lnTo>
                    <a:pt x="35" y="293"/>
                  </a:lnTo>
                  <a:lnTo>
                    <a:pt x="35" y="293"/>
                  </a:lnTo>
                  <a:lnTo>
                    <a:pt x="35" y="291"/>
                  </a:lnTo>
                  <a:lnTo>
                    <a:pt x="37" y="289"/>
                  </a:lnTo>
                  <a:lnTo>
                    <a:pt x="35" y="289"/>
                  </a:lnTo>
                  <a:lnTo>
                    <a:pt x="37" y="289"/>
                  </a:lnTo>
                  <a:lnTo>
                    <a:pt x="37" y="289"/>
                  </a:lnTo>
                  <a:lnTo>
                    <a:pt x="37" y="287"/>
                  </a:lnTo>
                  <a:lnTo>
                    <a:pt x="39" y="287"/>
                  </a:lnTo>
                  <a:lnTo>
                    <a:pt x="37" y="285"/>
                  </a:lnTo>
                  <a:lnTo>
                    <a:pt x="39" y="283"/>
                  </a:lnTo>
                  <a:lnTo>
                    <a:pt x="41" y="281"/>
                  </a:lnTo>
                  <a:lnTo>
                    <a:pt x="43" y="281"/>
                  </a:lnTo>
                  <a:lnTo>
                    <a:pt x="45" y="281"/>
                  </a:lnTo>
                  <a:lnTo>
                    <a:pt x="45" y="283"/>
                  </a:lnTo>
                  <a:lnTo>
                    <a:pt x="43" y="283"/>
                  </a:lnTo>
                  <a:lnTo>
                    <a:pt x="45" y="285"/>
                  </a:lnTo>
                  <a:lnTo>
                    <a:pt x="45" y="287"/>
                  </a:lnTo>
                  <a:lnTo>
                    <a:pt x="47" y="287"/>
                  </a:lnTo>
                  <a:lnTo>
                    <a:pt x="47" y="289"/>
                  </a:lnTo>
                  <a:lnTo>
                    <a:pt x="49" y="289"/>
                  </a:lnTo>
                  <a:lnTo>
                    <a:pt x="47" y="283"/>
                  </a:lnTo>
                  <a:lnTo>
                    <a:pt x="47" y="281"/>
                  </a:lnTo>
                  <a:lnTo>
                    <a:pt x="47" y="281"/>
                  </a:lnTo>
                  <a:lnTo>
                    <a:pt x="47" y="279"/>
                  </a:lnTo>
                  <a:lnTo>
                    <a:pt x="47" y="279"/>
                  </a:lnTo>
                  <a:lnTo>
                    <a:pt x="47" y="279"/>
                  </a:lnTo>
                  <a:lnTo>
                    <a:pt x="47" y="277"/>
                  </a:lnTo>
                  <a:lnTo>
                    <a:pt x="45" y="277"/>
                  </a:lnTo>
                  <a:lnTo>
                    <a:pt x="41" y="279"/>
                  </a:lnTo>
                  <a:lnTo>
                    <a:pt x="39" y="283"/>
                  </a:lnTo>
                  <a:lnTo>
                    <a:pt x="37" y="285"/>
                  </a:lnTo>
                  <a:lnTo>
                    <a:pt x="35" y="283"/>
                  </a:lnTo>
                  <a:lnTo>
                    <a:pt x="37" y="281"/>
                  </a:lnTo>
                  <a:lnTo>
                    <a:pt x="45" y="269"/>
                  </a:lnTo>
                  <a:lnTo>
                    <a:pt x="45" y="267"/>
                  </a:lnTo>
                  <a:lnTo>
                    <a:pt x="47" y="265"/>
                  </a:lnTo>
                  <a:lnTo>
                    <a:pt x="49" y="261"/>
                  </a:lnTo>
                  <a:lnTo>
                    <a:pt x="49" y="259"/>
                  </a:lnTo>
                  <a:lnTo>
                    <a:pt x="51" y="259"/>
                  </a:lnTo>
                  <a:lnTo>
                    <a:pt x="53" y="257"/>
                  </a:lnTo>
                  <a:lnTo>
                    <a:pt x="55" y="257"/>
                  </a:lnTo>
                  <a:lnTo>
                    <a:pt x="55" y="255"/>
                  </a:lnTo>
                  <a:lnTo>
                    <a:pt x="55" y="253"/>
                  </a:lnTo>
                  <a:lnTo>
                    <a:pt x="57" y="253"/>
                  </a:lnTo>
                  <a:lnTo>
                    <a:pt x="57" y="253"/>
                  </a:lnTo>
                  <a:lnTo>
                    <a:pt x="57" y="253"/>
                  </a:lnTo>
                  <a:lnTo>
                    <a:pt x="57" y="255"/>
                  </a:lnTo>
                  <a:lnTo>
                    <a:pt x="57" y="255"/>
                  </a:lnTo>
                  <a:lnTo>
                    <a:pt x="57" y="255"/>
                  </a:lnTo>
                  <a:lnTo>
                    <a:pt x="61" y="255"/>
                  </a:lnTo>
                  <a:lnTo>
                    <a:pt x="61" y="255"/>
                  </a:lnTo>
                  <a:lnTo>
                    <a:pt x="61" y="255"/>
                  </a:lnTo>
                  <a:lnTo>
                    <a:pt x="59" y="253"/>
                  </a:lnTo>
                  <a:lnTo>
                    <a:pt x="57" y="250"/>
                  </a:lnTo>
                  <a:lnTo>
                    <a:pt x="57" y="250"/>
                  </a:lnTo>
                  <a:lnTo>
                    <a:pt x="55" y="253"/>
                  </a:lnTo>
                  <a:lnTo>
                    <a:pt x="53" y="255"/>
                  </a:lnTo>
                  <a:lnTo>
                    <a:pt x="53" y="257"/>
                  </a:lnTo>
                  <a:lnTo>
                    <a:pt x="53" y="255"/>
                  </a:lnTo>
                  <a:lnTo>
                    <a:pt x="53" y="253"/>
                  </a:lnTo>
                  <a:lnTo>
                    <a:pt x="55" y="248"/>
                  </a:lnTo>
                  <a:lnTo>
                    <a:pt x="59" y="236"/>
                  </a:lnTo>
                  <a:lnTo>
                    <a:pt x="61" y="232"/>
                  </a:lnTo>
                  <a:lnTo>
                    <a:pt x="61" y="230"/>
                  </a:lnTo>
                  <a:lnTo>
                    <a:pt x="63" y="226"/>
                  </a:lnTo>
                  <a:lnTo>
                    <a:pt x="63" y="226"/>
                  </a:lnTo>
                  <a:lnTo>
                    <a:pt x="63" y="224"/>
                  </a:lnTo>
                  <a:lnTo>
                    <a:pt x="66" y="224"/>
                  </a:lnTo>
                  <a:lnTo>
                    <a:pt x="66" y="224"/>
                  </a:lnTo>
                  <a:lnTo>
                    <a:pt x="66" y="220"/>
                  </a:lnTo>
                  <a:lnTo>
                    <a:pt x="66" y="220"/>
                  </a:lnTo>
                  <a:lnTo>
                    <a:pt x="66" y="218"/>
                  </a:lnTo>
                  <a:lnTo>
                    <a:pt x="66" y="218"/>
                  </a:lnTo>
                  <a:lnTo>
                    <a:pt x="68" y="214"/>
                  </a:lnTo>
                  <a:lnTo>
                    <a:pt x="70" y="205"/>
                  </a:lnTo>
                  <a:lnTo>
                    <a:pt x="72" y="199"/>
                  </a:lnTo>
                  <a:lnTo>
                    <a:pt x="72" y="195"/>
                  </a:lnTo>
                  <a:lnTo>
                    <a:pt x="72" y="195"/>
                  </a:lnTo>
                  <a:lnTo>
                    <a:pt x="72" y="193"/>
                  </a:lnTo>
                  <a:lnTo>
                    <a:pt x="72" y="193"/>
                  </a:lnTo>
                  <a:lnTo>
                    <a:pt x="72" y="193"/>
                  </a:lnTo>
                  <a:lnTo>
                    <a:pt x="74" y="191"/>
                  </a:lnTo>
                  <a:lnTo>
                    <a:pt x="74" y="191"/>
                  </a:lnTo>
                  <a:lnTo>
                    <a:pt x="76" y="185"/>
                  </a:lnTo>
                  <a:lnTo>
                    <a:pt x="78" y="183"/>
                  </a:lnTo>
                  <a:lnTo>
                    <a:pt x="78" y="183"/>
                  </a:lnTo>
                  <a:lnTo>
                    <a:pt x="80" y="183"/>
                  </a:lnTo>
                  <a:lnTo>
                    <a:pt x="82" y="185"/>
                  </a:lnTo>
                  <a:lnTo>
                    <a:pt x="82" y="181"/>
                  </a:lnTo>
                  <a:lnTo>
                    <a:pt x="80" y="181"/>
                  </a:lnTo>
                  <a:lnTo>
                    <a:pt x="80" y="181"/>
                  </a:lnTo>
                  <a:lnTo>
                    <a:pt x="78" y="181"/>
                  </a:lnTo>
                  <a:lnTo>
                    <a:pt x="78" y="179"/>
                  </a:lnTo>
                  <a:lnTo>
                    <a:pt x="78" y="175"/>
                  </a:lnTo>
                  <a:lnTo>
                    <a:pt x="84" y="162"/>
                  </a:lnTo>
                  <a:lnTo>
                    <a:pt x="84" y="162"/>
                  </a:lnTo>
                  <a:lnTo>
                    <a:pt x="86" y="164"/>
                  </a:lnTo>
                  <a:lnTo>
                    <a:pt x="88" y="164"/>
                  </a:lnTo>
                  <a:lnTo>
                    <a:pt x="88" y="162"/>
                  </a:lnTo>
                  <a:lnTo>
                    <a:pt x="88" y="162"/>
                  </a:lnTo>
                  <a:lnTo>
                    <a:pt x="86" y="162"/>
                  </a:lnTo>
                  <a:lnTo>
                    <a:pt x="86" y="162"/>
                  </a:lnTo>
                  <a:lnTo>
                    <a:pt x="84" y="162"/>
                  </a:lnTo>
                  <a:lnTo>
                    <a:pt x="84" y="160"/>
                  </a:lnTo>
                  <a:lnTo>
                    <a:pt x="84" y="160"/>
                  </a:lnTo>
                  <a:lnTo>
                    <a:pt x="84" y="158"/>
                  </a:lnTo>
                  <a:lnTo>
                    <a:pt x="84" y="156"/>
                  </a:lnTo>
                  <a:lnTo>
                    <a:pt x="84" y="156"/>
                  </a:lnTo>
                  <a:lnTo>
                    <a:pt x="86" y="150"/>
                  </a:lnTo>
                  <a:lnTo>
                    <a:pt x="86" y="148"/>
                  </a:lnTo>
                  <a:lnTo>
                    <a:pt x="86" y="148"/>
                  </a:lnTo>
                  <a:lnTo>
                    <a:pt x="88" y="140"/>
                  </a:lnTo>
                  <a:lnTo>
                    <a:pt x="88" y="140"/>
                  </a:lnTo>
                  <a:lnTo>
                    <a:pt x="90" y="138"/>
                  </a:lnTo>
                  <a:lnTo>
                    <a:pt x="92" y="136"/>
                  </a:lnTo>
                  <a:lnTo>
                    <a:pt x="92" y="134"/>
                  </a:lnTo>
                  <a:lnTo>
                    <a:pt x="92" y="134"/>
                  </a:lnTo>
                  <a:lnTo>
                    <a:pt x="92" y="134"/>
                  </a:lnTo>
                  <a:lnTo>
                    <a:pt x="94" y="132"/>
                  </a:lnTo>
                  <a:lnTo>
                    <a:pt x="94" y="130"/>
                  </a:lnTo>
                  <a:lnTo>
                    <a:pt x="94" y="130"/>
                  </a:lnTo>
                  <a:lnTo>
                    <a:pt x="94" y="130"/>
                  </a:lnTo>
                  <a:lnTo>
                    <a:pt x="94" y="127"/>
                  </a:lnTo>
                  <a:lnTo>
                    <a:pt x="96" y="123"/>
                  </a:lnTo>
                  <a:lnTo>
                    <a:pt x="98" y="119"/>
                  </a:lnTo>
                  <a:lnTo>
                    <a:pt x="96" y="117"/>
                  </a:lnTo>
                  <a:lnTo>
                    <a:pt x="96" y="117"/>
                  </a:lnTo>
                  <a:lnTo>
                    <a:pt x="98" y="115"/>
                  </a:lnTo>
                  <a:lnTo>
                    <a:pt x="100" y="113"/>
                  </a:lnTo>
                  <a:lnTo>
                    <a:pt x="102" y="111"/>
                  </a:lnTo>
                  <a:lnTo>
                    <a:pt x="102" y="109"/>
                  </a:lnTo>
                  <a:lnTo>
                    <a:pt x="102" y="107"/>
                  </a:lnTo>
                  <a:lnTo>
                    <a:pt x="102" y="105"/>
                  </a:lnTo>
                  <a:lnTo>
                    <a:pt x="102" y="103"/>
                  </a:lnTo>
                  <a:lnTo>
                    <a:pt x="104" y="103"/>
                  </a:lnTo>
                  <a:lnTo>
                    <a:pt x="104" y="99"/>
                  </a:lnTo>
                  <a:lnTo>
                    <a:pt x="104" y="99"/>
                  </a:lnTo>
                  <a:lnTo>
                    <a:pt x="104" y="99"/>
                  </a:lnTo>
                  <a:lnTo>
                    <a:pt x="107" y="99"/>
                  </a:lnTo>
                  <a:lnTo>
                    <a:pt x="107" y="97"/>
                  </a:lnTo>
                  <a:lnTo>
                    <a:pt x="107" y="97"/>
                  </a:lnTo>
                  <a:lnTo>
                    <a:pt x="107" y="95"/>
                  </a:lnTo>
                  <a:lnTo>
                    <a:pt x="107" y="91"/>
                  </a:lnTo>
                  <a:lnTo>
                    <a:pt x="107" y="91"/>
                  </a:lnTo>
                  <a:lnTo>
                    <a:pt x="104" y="91"/>
                  </a:lnTo>
                  <a:lnTo>
                    <a:pt x="104" y="89"/>
                  </a:lnTo>
                  <a:lnTo>
                    <a:pt x="104" y="89"/>
                  </a:lnTo>
                  <a:lnTo>
                    <a:pt x="107" y="89"/>
                  </a:lnTo>
                  <a:lnTo>
                    <a:pt x="107" y="89"/>
                  </a:lnTo>
                  <a:lnTo>
                    <a:pt x="109" y="87"/>
                  </a:lnTo>
                  <a:lnTo>
                    <a:pt x="109" y="84"/>
                  </a:lnTo>
                  <a:lnTo>
                    <a:pt x="109" y="84"/>
                  </a:lnTo>
                  <a:lnTo>
                    <a:pt x="109" y="82"/>
                  </a:lnTo>
                  <a:lnTo>
                    <a:pt x="109" y="82"/>
                  </a:lnTo>
                  <a:lnTo>
                    <a:pt x="111" y="82"/>
                  </a:lnTo>
                  <a:lnTo>
                    <a:pt x="109" y="82"/>
                  </a:lnTo>
                  <a:lnTo>
                    <a:pt x="109" y="87"/>
                  </a:lnTo>
                  <a:lnTo>
                    <a:pt x="111" y="84"/>
                  </a:lnTo>
                  <a:lnTo>
                    <a:pt x="111" y="84"/>
                  </a:lnTo>
                  <a:lnTo>
                    <a:pt x="113" y="82"/>
                  </a:lnTo>
                  <a:lnTo>
                    <a:pt x="111" y="80"/>
                  </a:lnTo>
                  <a:lnTo>
                    <a:pt x="109" y="78"/>
                  </a:lnTo>
                  <a:lnTo>
                    <a:pt x="111" y="74"/>
                  </a:lnTo>
                  <a:lnTo>
                    <a:pt x="111" y="72"/>
                  </a:lnTo>
                  <a:lnTo>
                    <a:pt x="113" y="68"/>
                  </a:lnTo>
                  <a:lnTo>
                    <a:pt x="113" y="68"/>
                  </a:lnTo>
                  <a:lnTo>
                    <a:pt x="113" y="72"/>
                  </a:lnTo>
                  <a:lnTo>
                    <a:pt x="113" y="74"/>
                  </a:lnTo>
                  <a:lnTo>
                    <a:pt x="113" y="76"/>
                  </a:lnTo>
                  <a:lnTo>
                    <a:pt x="115" y="76"/>
                  </a:lnTo>
                  <a:lnTo>
                    <a:pt x="117" y="78"/>
                  </a:lnTo>
                  <a:lnTo>
                    <a:pt x="117" y="76"/>
                  </a:lnTo>
                  <a:lnTo>
                    <a:pt x="117" y="76"/>
                  </a:lnTo>
                  <a:lnTo>
                    <a:pt x="119" y="76"/>
                  </a:lnTo>
                  <a:lnTo>
                    <a:pt x="119" y="74"/>
                  </a:lnTo>
                  <a:lnTo>
                    <a:pt x="117" y="74"/>
                  </a:lnTo>
                  <a:lnTo>
                    <a:pt x="117" y="72"/>
                  </a:lnTo>
                  <a:lnTo>
                    <a:pt x="117" y="70"/>
                  </a:lnTo>
                  <a:lnTo>
                    <a:pt x="117" y="68"/>
                  </a:lnTo>
                  <a:lnTo>
                    <a:pt x="115" y="68"/>
                  </a:lnTo>
                  <a:lnTo>
                    <a:pt x="113" y="66"/>
                  </a:lnTo>
                  <a:lnTo>
                    <a:pt x="113" y="66"/>
                  </a:lnTo>
                  <a:lnTo>
                    <a:pt x="113" y="64"/>
                  </a:lnTo>
                  <a:lnTo>
                    <a:pt x="115" y="62"/>
                  </a:lnTo>
                  <a:lnTo>
                    <a:pt x="117" y="60"/>
                  </a:lnTo>
                  <a:lnTo>
                    <a:pt x="119" y="58"/>
                  </a:lnTo>
                  <a:lnTo>
                    <a:pt x="119" y="58"/>
                  </a:lnTo>
                  <a:lnTo>
                    <a:pt x="119" y="56"/>
                  </a:lnTo>
                  <a:lnTo>
                    <a:pt x="121" y="56"/>
                  </a:lnTo>
                  <a:lnTo>
                    <a:pt x="121" y="56"/>
                  </a:lnTo>
                  <a:lnTo>
                    <a:pt x="123" y="56"/>
                  </a:lnTo>
                  <a:lnTo>
                    <a:pt x="121" y="56"/>
                  </a:lnTo>
                  <a:lnTo>
                    <a:pt x="121" y="56"/>
                  </a:lnTo>
                  <a:lnTo>
                    <a:pt x="121" y="56"/>
                  </a:lnTo>
                  <a:lnTo>
                    <a:pt x="121" y="56"/>
                  </a:lnTo>
                  <a:lnTo>
                    <a:pt x="119" y="54"/>
                  </a:lnTo>
                  <a:lnTo>
                    <a:pt x="119" y="54"/>
                  </a:lnTo>
                  <a:lnTo>
                    <a:pt x="119" y="56"/>
                  </a:lnTo>
                  <a:lnTo>
                    <a:pt x="117" y="56"/>
                  </a:lnTo>
                  <a:lnTo>
                    <a:pt x="117" y="58"/>
                  </a:lnTo>
                  <a:lnTo>
                    <a:pt x="117" y="54"/>
                  </a:lnTo>
                  <a:lnTo>
                    <a:pt x="117" y="52"/>
                  </a:lnTo>
                  <a:lnTo>
                    <a:pt x="117" y="48"/>
                  </a:lnTo>
                  <a:lnTo>
                    <a:pt x="115" y="48"/>
                  </a:lnTo>
                  <a:lnTo>
                    <a:pt x="117" y="43"/>
                  </a:lnTo>
                  <a:lnTo>
                    <a:pt x="119" y="41"/>
                  </a:lnTo>
                  <a:lnTo>
                    <a:pt x="119" y="35"/>
                  </a:lnTo>
                  <a:lnTo>
                    <a:pt x="121" y="33"/>
                  </a:lnTo>
                  <a:lnTo>
                    <a:pt x="119" y="31"/>
                  </a:lnTo>
                  <a:lnTo>
                    <a:pt x="119" y="29"/>
                  </a:lnTo>
                  <a:lnTo>
                    <a:pt x="119" y="27"/>
                  </a:lnTo>
                  <a:lnTo>
                    <a:pt x="121" y="27"/>
                  </a:lnTo>
                  <a:lnTo>
                    <a:pt x="121" y="27"/>
                  </a:lnTo>
                  <a:lnTo>
                    <a:pt x="123" y="25"/>
                  </a:lnTo>
                  <a:lnTo>
                    <a:pt x="123" y="25"/>
                  </a:lnTo>
                  <a:lnTo>
                    <a:pt x="125" y="25"/>
                  </a:lnTo>
                  <a:lnTo>
                    <a:pt x="125" y="21"/>
                  </a:lnTo>
                  <a:lnTo>
                    <a:pt x="127" y="19"/>
                  </a:lnTo>
                  <a:lnTo>
                    <a:pt x="127" y="17"/>
                  </a:lnTo>
                  <a:lnTo>
                    <a:pt x="127" y="15"/>
                  </a:lnTo>
                  <a:lnTo>
                    <a:pt x="127" y="11"/>
                  </a:lnTo>
                  <a:lnTo>
                    <a:pt x="125" y="2"/>
                  </a:lnTo>
                  <a:lnTo>
                    <a:pt x="125" y="0"/>
                  </a:lnTo>
                  <a:lnTo>
                    <a:pt x="127" y="0"/>
                  </a:lnTo>
                  <a:lnTo>
                    <a:pt x="125" y="0"/>
                  </a:lnTo>
                  <a:lnTo>
                    <a:pt x="125" y="0"/>
                  </a:lnTo>
                  <a:lnTo>
                    <a:pt x="125" y="0"/>
                  </a:lnTo>
                  <a:lnTo>
                    <a:pt x="127" y="2"/>
                  </a:lnTo>
                  <a:lnTo>
                    <a:pt x="129" y="2"/>
                  </a:lnTo>
                  <a:lnTo>
                    <a:pt x="131" y="5"/>
                  </a:lnTo>
                  <a:lnTo>
                    <a:pt x="131" y="7"/>
                  </a:lnTo>
                  <a:lnTo>
                    <a:pt x="133" y="9"/>
                  </a:lnTo>
                  <a:lnTo>
                    <a:pt x="135" y="9"/>
                  </a:lnTo>
                  <a:lnTo>
                    <a:pt x="137" y="9"/>
                  </a:lnTo>
                  <a:lnTo>
                    <a:pt x="137" y="11"/>
                  </a:lnTo>
                  <a:lnTo>
                    <a:pt x="137" y="13"/>
                  </a:lnTo>
                  <a:lnTo>
                    <a:pt x="135" y="13"/>
                  </a:lnTo>
                  <a:lnTo>
                    <a:pt x="137" y="15"/>
                  </a:lnTo>
                  <a:lnTo>
                    <a:pt x="137" y="13"/>
                  </a:lnTo>
                  <a:lnTo>
                    <a:pt x="137" y="13"/>
                  </a:lnTo>
                  <a:lnTo>
                    <a:pt x="137" y="13"/>
                  </a:lnTo>
                  <a:lnTo>
                    <a:pt x="139" y="13"/>
                  </a:lnTo>
                  <a:lnTo>
                    <a:pt x="139" y="11"/>
                  </a:lnTo>
                  <a:lnTo>
                    <a:pt x="139" y="11"/>
                  </a:lnTo>
                  <a:lnTo>
                    <a:pt x="137" y="9"/>
                  </a:lnTo>
                  <a:lnTo>
                    <a:pt x="137" y="9"/>
                  </a:lnTo>
                  <a:lnTo>
                    <a:pt x="137" y="7"/>
                  </a:lnTo>
                  <a:lnTo>
                    <a:pt x="135" y="7"/>
                  </a:lnTo>
                  <a:lnTo>
                    <a:pt x="135" y="7"/>
                  </a:lnTo>
                  <a:lnTo>
                    <a:pt x="135" y="7"/>
                  </a:lnTo>
                  <a:lnTo>
                    <a:pt x="135" y="5"/>
                  </a:lnTo>
                  <a:lnTo>
                    <a:pt x="139" y="7"/>
                  </a:lnTo>
                  <a:lnTo>
                    <a:pt x="141" y="5"/>
                  </a:lnTo>
                  <a:lnTo>
                    <a:pt x="141" y="5"/>
                  </a:lnTo>
                  <a:lnTo>
                    <a:pt x="141" y="7"/>
                  </a:lnTo>
                  <a:lnTo>
                    <a:pt x="143" y="9"/>
                  </a:lnTo>
                  <a:lnTo>
                    <a:pt x="145" y="9"/>
                  </a:lnTo>
                  <a:lnTo>
                    <a:pt x="145" y="9"/>
                  </a:lnTo>
                  <a:lnTo>
                    <a:pt x="154" y="9"/>
                  </a:lnTo>
                  <a:lnTo>
                    <a:pt x="154" y="9"/>
                  </a:lnTo>
                  <a:lnTo>
                    <a:pt x="154" y="9"/>
                  </a:lnTo>
                  <a:lnTo>
                    <a:pt x="154" y="7"/>
                  </a:lnTo>
                  <a:lnTo>
                    <a:pt x="154" y="7"/>
                  </a:lnTo>
                  <a:lnTo>
                    <a:pt x="156" y="9"/>
                  </a:lnTo>
                  <a:lnTo>
                    <a:pt x="158" y="9"/>
                  </a:lnTo>
                  <a:lnTo>
                    <a:pt x="160" y="7"/>
                  </a:lnTo>
                  <a:lnTo>
                    <a:pt x="162" y="7"/>
                  </a:lnTo>
                  <a:lnTo>
                    <a:pt x="162" y="7"/>
                  </a:lnTo>
                  <a:lnTo>
                    <a:pt x="164" y="7"/>
                  </a:lnTo>
                  <a:lnTo>
                    <a:pt x="164" y="9"/>
                  </a:lnTo>
                  <a:lnTo>
                    <a:pt x="168" y="15"/>
                  </a:lnTo>
                  <a:lnTo>
                    <a:pt x="168" y="15"/>
                  </a:lnTo>
                  <a:lnTo>
                    <a:pt x="168" y="17"/>
                  </a:lnTo>
                  <a:lnTo>
                    <a:pt x="176" y="19"/>
                  </a:lnTo>
                  <a:lnTo>
                    <a:pt x="180" y="21"/>
                  </a:lnTo>
                  <a:lnTo>
                    <a:pt x="182" y="21"/>
                  </a:lnTo>
                  <a:lnTo>
                    <a:pt x="184" y="19"/>
                  </a:lnTo>
                  <a:lnTo>
                    <a:pt x="186" y="17"/>
                  </a:lnTo>
                  <a:lnTo>
                    <a:pt x="186" y="17"/>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R</a:t>
              </a:r>
            </a:p>
          </p:txBody>
        </p:sp>
        <p:sp>
          <p:nvSpPr>
            <p:cNvPr id="98" name="Freeform 19">
              <a:extLst>
                <a:ext uri="{FF2B5EF4-FFF2-40B4-BE49-F238E27FC236}">
                  <a16:creationId xmlns:a16="http://schemas.microsoft.com/office/drawing/2014/main" id="{F53FC64B-AAF7-E939-CAE0-88FF41A81360}"/>
                </a:ext>
              </a:extLst>
            </p:cNvPr>
            <p:cNvSpPr>
              <a:spLocks/>
            </p:cNvSpPr>
            <p:nvPr/>
          </p:nvSpPr>
          <p:spPr bwMode="auto">
            <a:xfrm>
              <a:off x="2466" y="1433"/>
              <a:ext cx="758" cy="360"/>
            </a:xfrm>
            <a:custGeom>
              <a:avLst/>
              <a:gdLst>
                <a:gd name="T0" fmla="*/ 750 w 758"/>
                <a:gd name="T1" fmla="*/ 157 h 360"/>
                <a:gd name="T2" fmla="*/ 758 w 758"/>
                <a:gd name="T3" fmla="*/ 336 h 360"/>
                <a:gd name="T4" fmla="*/ 750 w 758"/>
                <a:gd name="T5" fmla="*/ 356 h 360"/>
                <a:gd name="T6" fmla="*/ 740 w 758"/>
                <a:gd name="T7" fmla="*/ 354 h 360"/>
                <a:gd name="T8" fmla="*/ 731 w 758"/>
                <a:gd name="T9" fmla="*/ 350 h 360"/>
                <a:gd name="T10" fmla="*/ 715 w 758"/>
                <a:gd name="T11" fmla="*/ 342 h 360"/>
                <a:gd name="T12" fmla="*/ 707 w 758"/>
                <a:gd name="T13" fmla="*/ 338 h 360"/>
                <a:gd name="T14" fmla="*/ 690 w 758"/>
                <a:gd name="T15" fmla="*/ 329 h 360"/>
                <a:gd name="T16" fmla="*/ 684 w 758"/>
                <a:gd name="T17" fmla="*/ 336 h 360"/>
                <a:gd name="T18" fmla="*/ 680 w 758"/>
                <a:gd name="T19" fmla="*/ 340 h 360"/>
                <a:gd name="T20" fmla="*/ 668 w 758"/>
                <a:gd name="T21" fmla="*/ 338 h 360"/>
                <a:gd name="T22" fmla="*/ 664 w 758"/>
                <a:gd name="T23" fmla="*/ 338 h 360"/>
                <a:gd name="T24" fmla="*/ 656 w 758"/>
                <a:gd name="T25" fmla="*/ 332 h 360"/>
                <a:gd name="T26" fmla="*/ 647 w 758"/>
                <a:gd name="T27" fmla="*/ 338 h 360"/>
                <a:gd name="T28" fmla="*/ 641 w 758"/>
                <a:gd name="T29" fmla="*/ 342 h 360"/>
                <a:gd name="T30" fmla="*/ 629 w 758"/>
                <a:gd name="T31" fmla="*/ 340 h 360"/>
                <a:gd name="T32" fmla="*/ 621 w 758"/>
                <a:gd name="T33" fmla="*/ 344 h 360"/>
                <a:gd name="T34" fmla="*/ 607 w 758"/>
                <a:gd name="T35" fmla="*/ 350 h 360"/>
                <a:gd name="T36" fmla="*/ 596 w 758"/>
                <a:gd name="T37" fmla="*/ 358 h 360"/>
                <a:gd name="T38" fmla="*/ 576 w 758"/>
                <a:gd name="T39" fmla="*/ 350 h 360"/>
                <a:gd name="T40" fmla="*/ 568 w 758"/>
                <a:gd name="T41" fmla="*/ 346 h 360"/>
                <a:gd name="T42" fmla="*/ 566 w 758"/>
                <a:gd name="T43" fmla="*/ 338 h 360"/>
                <a:gd name="T44" fmla="*/ 561 w 758"/>
                <a:gd name="T45" fmla="*/ 344 h 360"/>
                <a:gd name="T46" fmla="*/ 555 w 758"/>
                <a:gd name="T47" fmla="*/ 346 h 360"/>
                <a:gd name="T48" fmla="*/ 543 w 758"/>
                <a:gd name="T49" fmla="*/ 342 h 360"/>
                <a:gd name="T50" fmla="*/ 539 w 758"/>
                <a:gd name="T51" fmla="*/ 336 h 360"/>
                <a:gd name="T52" fmla="*/ 533 w 758"/>
                <a:gd name="T53" fmla="*/ 344 h 360"/>
                <a:gd name="T54" fmla="*/ 527 w 758"/>
                <a:gd name="T55" fmla="*/ 350 h 360"/>
                <a:gd name="T56" fmla="*/ 516 w 758"/>
                <a:gd name="T57" fmla="*/ 356 h 360"/>
                <a:gd name="T58" fmla="*/ 514 w 758"/>
                <a:gd name="T59" fmla="*/ 342 h 360"/>
                <a:gd name="T60" fmla="*/ 508 w 758"/>
                <a:gd name="T61" fmla="*/ 346 h 360"/>
                <a:gd name="T62" fmla="*/ 500 w 758"/>
                <a:gd name="T63" fmla="*/ 348 h 360"/>
                <a:gd name="T64" fmla="*/ 490 w 758"/>
                <a:gd name="T65" fmla="*/ 344 h 360"/>
                <a:gd name="T66" fmla="*/ 473 w 758"/>
                <a:gd name="T67" fmla="*/ 332 h 360"/>
                <a:gd name="T68" fmla="*/ 447 w 758"/>
                <a:gd name="T69" fmla="*/ 344 h 360"/>
                <a:gd name="T70" fmla="*/ 447 w 758"/>
                <a:gd name="T71" fmla="*/ 334 h 360"/>
                <a:gd name="T72" fmla="*/ 434 w 758"/>
                <a:gd name="T73" fmla="*/ 321 h 360"/>
                <a:gd name="T74" fmla="*/ 408 w 758"/>
                <a:gd name="T75" fmla="*/ 319 h 360"/>
                <a:gd name="T76" fmla="*/ 391 w 758"/>
                <a:gd name="T77" fmla="*/ 319 h 360"/>
                <a:gd name="T78" fmla="*/ 377 w 758"/>
                <a:gd name="T79" fmla="*/ 317 h 360"/>
                <a:gd name="T80" fmla="*/ 348 w 758"/>
                <a:gd name="T81" fmla="*/ 311 h 360"/>
                <a:gd name="T82" fmla="*/ 334 w 758"/>
                <a:gd name="T83" fmla="*/ 299 h 360"/>
                <a:gd name="T84" fmla="*/ 326 w 758"/>
                <a:gd name="T85" fmla="*/ 288 h 360"/>
                <a:gd name="T86" fmla="*/ 318 w 758"/>
                <a:gd name="T87" fmla="*/ 284 h 360"/>
                <a:gd name="T88" fmla="*/ 303 w 758"/>
                <a:gd name="T89" fmla="*/ 288 h 360"/>
                <a:gd name="T90" fmla="*/ 291 w 758"/>
                <a:gd name="T91" fmla="*/ 291 h 360"/>
                <a:gd name="T92" fmla="*/ 262 w 758"/>
                <a:gd name="T93" fmla="*/ 272 h 360"/>
                <a:gd name="T94" fmla="*/ 262 w 758"/>
                <a:gd name="T95" fmla="*/ 192 h 360"/>
                <a:gd name="T96" fmla="*/ 262 w 758"/>
                <a:gd name="T97" fmla="*/ 94 h 360"/>
                <a:gd name="T98" fmla="*/ 234 w 758"/>
                <a:gd name="T99" fmla="*/ 65 h 360"/>
                <a:gd name="T100" fmla="*/ 60 w 758"/>
                <a:gd name="T101" fmla="*/ 63 h 360"/>
                <a:gd name="T102" fmla="*/ 2 w 758"/>
                <a:gd name="T103" fmla="*/ 20 h 360"/>
                <a:gd name="T104" fmla="*/ 78 w 758"/>
                <a:gd name="T105" fmla="*/ 10 h 360"/>
                <a:gd name="T106" fmla="*/ 228 w 758"/>
                <a:gd name="T107" fmla="*/ 10 h 360"/>
                <a:gd name="T108" fmla="*/ 389 w 758"/>
                <a:gd name="T109" fmla="*/ 10 h 360"/>
                <a:gd name="T110" fmla="*/ 549 w 758"/>
                <a:gd name="T111" fmla="*/ 6 h 360"/>
                <a:gd name="T112" fmla="*/ 709 w 758"/>
                <a:gd name="T113"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8" h="360">
                  <a:moveTo>
                    <a:pt x="731" y="53"/>
                  </a:moveTo>
                  <a:lnTo>
                    <a:pt x="736" y="67"/>
                  </a:lnTo>
                  <a:lnTo>
                    <a:pt x="738" y="84"/>
                  </a:lnTo>
                  <a:lnTo>
                    <a:pt x="740" y="98"/>
                  </a:lnTo>
                  <a:lnTo>
                    <a:pt x="744" y="112"/>
                  </a:lnTo>
                  <a:lnTo>
                    <a:pt x="746" y="127"/>
                  </a:lnTo>
                  <a:lnTo>
                    <a:pt x="748" y="143"/>
                  </a:lnTo>
                  <a:lnTo>
                    <a:pt x="750" y="157"/>
                  </a:lnTo>
                  <a:lnTo>
                    <a:pt x="754" y="172"/>
                  </a:lnTo>
                  <a:lnTo>
                    <a:pt x="754" y="196"/>
                  </a:lnTo>
                  <a:lnTo>
                    <a:pt x="754" y="219"/>
                  </a:lnTo>
                  <a:lnTo>
                    <a:pt x="756" y="241"/>
                  </a:lnTo>
                  <a:lnTo>
                    <a:pt x="756" y="266"/>
                  </a:lnTo>
                  <a:lnTo>
                    <a:pt x="756" y="288"/>
                  </a:lnTo>
                  <a:lnTo>
                    <a:pt x="758" y="313"/>
                  </a:lnTo>
                  <a:lnTo>
                    <a:pt x="758" y="336"/>
                  </a:lnTo>
                  <a:lnTo>
                    <a:pt x="758" y="360"/>
                  </a:lnTo>
                  <a:lnTo>
                    <a:pt x="758" y="360"/>
                  </a:lnTo>
                  <a:lnTo>
                    <a:pt x="756" y="360"/>
                  </a:lnTo>
                  <a:lnTo>
                    <a:pt x="754" y="358"/>
                  </a:lnTo>
                  <a:lnTo>
                    <a:pt x="754" y="360"/>
                  </a:lnTo>
                  <a:lnTo>
                    <a:pt x="750" y="358"/>
                  </a:lnTo>
                  <a:lnTo>
                    <a:pt x="750" y="358"/>
                  </a:lnTo>
                  <a:lnTo>
                    <a:pt x="750" y="356"/>
                  </a:lnTo>
                  <a:lnTo>
                    <a:pt x="750" y="356"/>
                  </a:lnTo>
                  <a:lnTo>
                    <a:pt x="748" y="356"/>
                  </a:lnTo>
                  <a:lnTo>
                    <a:pt x="746" y="356"/>
                  </a:lnTo>
                  <a:lnTo>
                    <a:pt x="744" y="356"/>
                  </a:lnTo>
                  <a:lnTo>
                    <a:pt x="744" y="356"/>
                  </a:lnTo>
                  <a:lnTo>
                    <a:pt x="742" y="356"/>
                  </a:lnTo>
                  <a:lnTo>
                    <a:pt x="742" y="354"/>
                  </a:lnTo>
                  <a:lnTo>
                    <a:pt x="740" y="354"/>
                  </a:lnTo>
                  <a:lnTo>
                    <a:pt x="740" y="356"/>
                  </a:lnTo>
                  <a:lnTo>
                    <a:pt x="740" y="356"/>
                  </a:lnTo>
                  <a:lnTo>
                    <a:pt x="738" y="356"/>
                  </a:lnTo>
                  <a:lnTo>
                    <a:pt x="738" y="354"/>
                  </a:lnTo>
                  <a:lnTo>
                    <a:pt x="736" y="354"/>
                  </a:lnTo>
                  <a:lnTo>
                    <a:pt x="733" y="352"/>
                  </a:lnTo>
                  <a:lnTo>
                    <a:pt x="733" y="350"/>
                  </a:lnTo>
                  <a:lnTo>
                    <a:pt x="731" y="350"/>
                  </a:lnTo>
                  <a:lnTo>
                    <a:pt x="729" y="350"/>
                  </a:lnTo>
                  <a:lnTo>
                    <a:pt x="723" y="350"/>
                  </a:lnTo>
                  <a:lnTo>
                    <a:pt x="719" y="346"/>
                  </a:lnTo>
                  <a:lnTo>
                    <a:pt x="719" y="344"/>
                  </a:lnTo>
                  <a:lnTo>
                    <a:pt x="717" y="344"/>
                  </a:lnTo>
                  <a:lnTo>
                    <a:pt x="717" y="342"/>
                  </a:lnTo>
                  <a:lnTo>
                    <a:pt x="717" y="342"/>
                  </a:lnTo>
                  <a:lnTo>
                    <a:pt x="715" y="342"/>
                  </a:lnTo>
                  <a:lnTo>
                    <a:pt x="715" y="340"/>
                  </a:lnTo>
                  <a:lnTo>
                    <a:pt x="715" y="340"/>
                  </a:lnTo>
                  <a:lnTo>
                    <a:pt x="715" y="340"/>
                  </a:lnTo>
                  <a:lnTo>
                    <a:pt x="713" y="340"/>
                  </a:lnTo>
                  <a:lnTo>
                    <a:pt x="713" y="338"/>
                  </a:lnTo>
                  <a:lnTo>
                    <a:pt x="711" y="338"/>
                  </a:lnTo>
                  <a:lnTo>
                    <a:pt x="709" y="338"/>
                  </a:lnTo>
                  <a:lnTo>
                    <a:pt x="707" y="338"/>
                  </a:lnTo>
                  <a:lnTo>
                    <a:pt x="705" y="334"/>
                  </a:lnTo>
                  <a:lnTo>
                    <a:pt x="703" y="334"/>
                  </a:lnTo>
                  <a:lnTo>
                    <a:pt x="701" y="334"/>
                  </a:lnTo>
                  <a:lnTo>
                    <a:pt x="699" y="332"/>
                  </a:lnTo>
                  <a:lnTo>
                    <a:pt x="699" y="332"/>
                  </a:lnTo>
                  <a:lnTo>
                    <a:pt x="699" y="332"/>
                  </a:lnTo>
                  <a:lnTo>
                    <a:pt x="697" y="329"/>
                  </a:lnTo>
                  <a:lnTo>
                    <a:pt x="690" y="329"/>
                  </a:lnTo>
                  <a:lnTo>
                    <a:pt x="690" y="329"/>
                  </a:lnTo>
                  <a:lnTo>
                    <a:pt x="688" y="329"/>
                  </a:lnTo>
                  <a:lnTo>
                    <a:pt x="688" y="332"/>
                  </a:lnTo>
                  <a:lnTo>
                    <a:pt x="688" y="334"/>
                  </a:lnTo>
                  <a:lnTo>
                    <a:pt x="686" y="336"/>
                  </a:lnTo>
                  <a:lnTo>
                    <a:pt x="686" y="334"/>
                  </a:lnTo>
                  <a:lnTo>
                    <a:pt x="686" y="336"/>
                  </a:lnTo>
                  <a:lnTo>
                    <a:pt x="684" y="336"/>
                  </a:lnTo>
                  <a:lnTo>
                    <a:pt x="684" y="336"/>
                  </a:lnTo>
                  <a:lnTo>
                    <a:pt x="684" y="338"/>
                  </a:lnTo>
                  <a:lnTo>
                    <a:pt x="682" y="336"/>
                  </a:lnTo>
                  <a:lnTo>
                    <a:pt x="682" y="336"/>
                  </a:lnTo>
                  <a:lnTo>
                    <a:pt x="682" y="338"/>
                  </a:lnTo>
                  <a:lnTo>
                    <a:pt x="682" y="338"/>
                  </a:lnTo>
                  <a:lnTo>
                    <a:pt x="680" y="338"/>
                  </a:lnTo>
                  <a:lnTo>
                    <a:pt x="680" y="340"/>
                  </a:lnTo>
                  <a:lnTo>
                    <a:pt x="680" y="340"/>
                  </a:lnTo>
                  <a:lnTo>
                    <a:pt x="680" y="340"/>
                  </a:lnTo>
                  <a:lnTo>
                    <a:pt x="672" y="340"/>
                  </a:lnTo>
                  <a:lnTo>
                    <a:pt x="672" y="340"/>
                  </a:lnTo>
                  <a:lnTo>
                    <a:pt x="670" y="340"/>
                  </a:lnTo>
                  <a:lnTo>
                    <a:pt x="670" y="338"/>
                  </a:lnTo>
                  <a:lnTo>
                    <a:pt x="670" y="338"/>
                  </a:lnTo>
                  <a:lnTo>
                    <a:pt x="668" y="338"/>
                  </a:lnTo>
                  <a:lnTo>
                    <a:pt x="668" y="338"/>
                  </a:lnTo>
                  <a:lnTo>
                    <a:pt x="668" y="340"/>
                  </a:lnTo>
                  <a:lnTo>
                    <a:pt x="668" y="340"/>
                  </a:lnTo>
                  <a:lnTo>
                    <a:pt x="666" y="338"/>
                  </a:lnTo>
                  <a:lnTo>
                    <a:pt x="666" y="338"/>
                  </a:lnTo>
                  <a:lnTo>
                    <a:pt x="666" y="338"/>
                  </a:lnTo>
                  <a:lnTo>
                    <a:pt x="666" y="338"/>
                  </a:lnTo>
                  <a:lnTo>
                    <a:pt x="664" y="338"/>
                  </a:lnTo>
                  <a:lnTo>
                    <a:pt x="662" y="338"/>
                  </a:lnTo>
                  <a:lnTo>
                    <a:pt x="664" y="336"/>
                  </a:lnTo>
                  <a:lnTo>
                    <a:pt x="662" y="334"/>
                  </a:lnTo>
                  <a:lnTo>
                    <a:pt x="662" y="334"/>
                  </a:lnTo>
                  <a:lnTo>
                    <a:pt x="660" y="332"/>
                  </a:lnTo>
                  <a:lnTo>
                    <a:pt x="658" y="332"/>
                  </a:lnTo>
                  <a:lnTo>
                    <a:pt x="658" y="332"/>
                  </a:lnTo>
                  <a:lnTo>
                    <a:pt x="656" y="332"/>
                  </a:lnTo>
                  <a:lnTo>
                    <a:pt x="656" y="334"/>
                  </a:lnTo>
                  <a:lnTo>
                    <a:pt x="656" y="334"/>
                  </a:lnTo>
                  <a:lnTo>
                    <a:pt x="654" y="334"/>
                  </a:lnTo>
                  <a:lnTo>
                    <a:pt x="654" y="334"/>
                  </a:lnTo>
                  <a:lnTo>
                    <a:pt x="652" y="336"/>
                  </a:lnTo>
                  <a:lnTo>
                    <a:pt x="650" y="336"/>
                  </a:lnTo>
                  <a:lnTo>
                    <a:pt x="650" y="336"/>
                  </a:lnTo>
                  <a:lnTo>
                    <a:pt x="647" y="338"/>
                  </a:lnTo>
                  <a:lnTo>
                    <a:pt x="647" y="338"/>
                  </a:lnTo>
                  <a:lnTo>
                    <a:pt x="647" y="338"/>
                  </a:lnTo>
                  <a:lnTo>
                    <a:pt x="645" y="338"/>
                  </a:lnTo>
                  <a:lnTo>
                    <a:pt x="643" y="338"/>
                  </a:lnTo>
                  <a:lnTo>
                    <a:pt x="641" y="338"/>
                  </a:lnTo>
                  <a:lnTo>
                    <a:pt x="641" y="342"/>
                  </a:lnTo>
                  <a:lnTo>
                    <a:pt x="641" y="342"/>
                  </a:lnTo>
                  <a:lnTo>
                    <a:pt x="641" y="342"/>
                  </a:lnTo>
                  <a:lnTo>
                    <a:pt x="639" y="342"/>
                  </a:lnTo>
                  <a:lnTo>
                    <a:pt x="639" y="342"/>
                  </a:lnTo>
                  <a:lnTo>
                    <a:pt x="639" y="342"/>
                  </a:lnTo>
                  <a:lnTo>
                    <a:pt x="639" y="342"/>
                  </a:lnTo>
                  <a:lnTo>
                    <a:pt x="637" y="342"/>
                  </a:lnTo>
                  <a:lnTo>
                    <a:pt x="635" y="344"/>
                  </a:lnTo>
                  <a:lnTo>
                    <a:pt x="635" y="342"/>
                  </a:lnTo>
                  <a:lnTo>
                    <a:pt x="629" y="340"/>
                  </a:lnTo>
                  <a:lnTo>
                    <a:pt x="629" y="338"/>
                  </a:lnTo>
                  <a:lnTo>
                    <a:pt x="627" y="338"/>
                  </a:lnTo>
                  <a:lnTo>
                    <a:pt x="627" y="340"/>
                  </a:lnTo>
                  <a:lnTo>
                    <a:pt x="625" y="340"/>
                  </a:lnTo>
                  <a:lnTo>
                    <a:pt x="625" y="342"/>
                  </a:lnTo>
                  <a:lnTo>
                    <a:pt x="625" y="342"/>
                  </a:lnTo>
                  <a:lnTo>
                    <a:pt x="623" y="342"/>
                  </a:lnTo>
                  <a:lnTo>
                    <a:pt x="621" y="344"/>
                  </a:lnTo>
                  <a:lnTo>
                    <a:pt x="619" y="344"/>
                  </a:lnTo>
                  <a:lnTo>
                    <a:pt x="617" y="344"/>
                  </a:lnTo>
                  <a:lnTo>
                    <a:pt x="613" y="344"/>
                  </a:lnTo>
                  <a:lnTo>
                    <a:pt x="611" y="346"/>
                  </a:lnTo>
                  <a:lnTo>
                    <a:pt x="611" y="346"/>
                  </a:lnTo>
                  <a:lnTo>
                    <a:pt x="609" y="346"/>
                  </a:lnTo>
                  <a:lnTo>
                    <a:pt x="609" y="348"/>
                  </a:lnTo>
                  <a:lnTo>
                    <a:pt x="607" y="350"/>
                  </a:lnTo>
                  <a:lnTo>
                    <a:pt x="607" y="352"/>
                  </a:lnTo>
                  <a:lnTo>
                    <a:pt x="604" y="354"/>
                  </a:lnTo>
                  <a:lnTo>
                    <a:pt x="602" y="354"/>
                  </a:lnTo>
                  <a:lnTo>
                    <a:pt x="598" y="354"/>
                  </a:lnTo>
                  <a:lnTo>
                    <a:pt x="596" y="354"/>
                  </a:lnTo>
                  <a:lnTo>
                    <a:pt x="596" y="354"/>
                  </a:lnTo>
                  <a:lnTo>
                    <a:pt x="596" y="356"/>
                  </a:lnTo>
                  <a:lnTo>
                    <a:pt x="596" y="358"/>
                  </a:lnTo>
                  <a:lnTo>
                    <a:pt x="592" y="360"/>
                  </a:lnTo>
                  <a:lnTo>
                    <a:pt x="590" y="358"/>
                  </a:lnTo>
                  <a:lnTo>
                    <a:pt x="588" y="354"/>
                  </a:lnTo>
                  <a:lnTo>
                    <a:pt x="586" y="352"/>
                  </a:lnTo>
                  <a:lnTo>
                    <a:pt x="584" y="352"/>
                  </a:lnTo>
                  <a:lnTo>
                    <a:pt x="578" y="352"/>
                  </a:lnTo>
                  <a:lnTo>
                    <a:pt x="578" y="352"/>
                  </a:lnTo>
                  <a:lnTo>
                    <a:pt x="576" y="350"/>
                  </a:lnTo>
                  <a:lnTo>
                    <a:pt x="576" y="350"/>
                  </a:lnTo>
                  <a:lnTo>
                    <a:pt x="576" y="348"/>
                  </a:lnTo>
                  <a:lnTo>
                    <a:pt x="576" y="348"/>
                  </a:lnTo>
                  <a:lnTo>
                    <a:pt x="574" y="348"/>
                  </a:lnTo>
                  <a:lnTo>
                    <a:pt x="574" y="348"/>
                  </a:lnTo>
                  <a:lnTo>
                    <a:pt x="570" y="346"/>
                  </a:lnTo>
                  <a:lnTo>
                    <a:pt x="570" y="346"/>
                  </a:lnTo>
                  <a:lnTo>
                    <a:pt x="568" y="346"/>
                  </a:lnTo>
                  <a:lnTo>
                    <a:pt x="568" y="344"/>
                  </a:lnTo>
                  <a:lnTo>
                    <a:pt x="568" y="344"/>
                  </a:lnTo>
                  <a:lnTo>
                    <a:pt x="568" y="344"/>
                  </a:lnTo>
                  <a:lnTo>
                    <a:pt x="568" y="342"/>
                  </a:lnTo>
                  <a:lnTo>
                    <a:pt x="570" y="342"/>
                  </a:lnTo>
                  <a:lnTo>
                    <a:pt x="570" y="340"/>
                  </a:lnTo>
                  <a:lnTo>
                    <a:pt x="568" y="340"/>
                  </a:lnTo>
                  <a:lnTo>
                    <a:pt x="566" y="338"/>
                  </a:lnTo>
                  <a:lnTo>
                    <a:pt x="563" y="338"/>
                  </a:lnTo>
                  <a:lnTo>
                    <a:pt x="563" y="338"/>
                  </a:lnTo>
                  <a:lnTo>
                    <a:pt x="563" y="338"/>
                  </a:lnTo>
                  <a:lnTo>
                    <a:pt x="563" y="340"/>
                  </a:lnTo>
                  <a:lnTo>
                    <a:pt x="561" y="340"/>
                  </a:lnTo>
                  <a:lnTo>
                    <a:pt x="561" y="344"/>
                  </a:lnTo>
                  <a:lnTo>
                    <a:pt x="561" y="344"/>
                  </a:lnTo>
                  <a:lnTo>
                    <a:pt x="561" y="344"/>
                  </a:lnTo>
                  <a:lnTo>
                    <a:pt x="559" y="344"/>
                  </a:lnTo>
                  <a:lnTo>
                    <a:pt x="559" y="346"/>
                  </a:lnTo>
                  <a:lnTo>
                    <a:pt x="559" y="346"/>
                  </a:lnTo>
                  <a:lnTo>
                    <a:pt x="557" y="346"/>
                  </a:lnTo>
                  <a:lnTo>
                    <a:pt x="557" y="346"/>
                  </a:lnTo>
                  <a:lnTo>
                    <a:pt x="555" y="346"/>
                  </a:lnTo>
                  <a:lnTo>
                    <a:pt x="555" y="346"/>
                  </a:lnTo>
                  <a:lnTo>
                    <a:pt x="555" y="346"/>
                  </a:lnTo>
                  <a:lnTo>
                    <a:pt x="551" y="344"/>
                  </a:lnTo>
                  <a:lnTo>
                    <a:pt x="551" y="344"/>
                  </a:lnTo>
                  <a:lnTo>
                    <a:pt x="551" y="344"/>
                  </a:lnTo>
                  <a:lnTo>
                    <a:pt x="547" y="344"/>
                  </a:lnTo>
                  <a:lnTo>
                    <a:pt x="547" y="344"/>
                  </a:lnTo>
                  <a:lnTo>
                    <a:pt x="545" y="344"/>
                  </a:lnTo>
                  <a:lnTo>
                    <a:pt x="545" y="344"/>
                  </a:lnTo>
                  <a:lnTo>
                    <a:pt x="543" y="342"/>
                  </a:lnTo>
                  <a:lnTo>
                    <a:pt x="543" y="342"/>
                  </a:lnTo>
                  <a:lnTo>
                    <a:pt x="543" y="340"/>
                  </a:lnTo>
                  <a:lnTo>
                    <a:pt x="543" y="338"/>
                  </a:lnTo>
                  <a:lnTo>
                    <a:pt x="541" y="336"/>
                  </a:lnTo>
                  <a:lnTo>
                    <a:pt x="541" y="336"/>
                  </a:lnTo>
                  <a:lnTo>
                    <a:pt x="541" y="336"/>
                  </a:lnTo>
                  <a:lnTo>
                    <a:pt x="539" y="336"/>
                  </a:lnTo>
                  <a:lnTo>
                    <a:pt x="539" y="336"/>
                  </a:lnTo>
                  <a:lnTo>
                    <a:pt x="539" y="336"/>
                  </a:lnTo>
                  <a:lnTo>
                    <a:pt x="535" y="336"/>
                  </a:lnTo>
                  <a:lnTo>
                    <a:pt x="535" y="336"/>
                  </a:lnTo>
                  <a:lnTo>
                    <a:pt x="535" y="336"/>
                  </a:lnTo>
                  <a:lnTo>
                    <a:pt x="533" y="336"/>
                  </a:lnTo>
                  <a:lnTo>
                    <a:pt x="533" y="338"/>
                  </a:lnTo>
                  <a:lnTo>
                    <a:pt x="533" y="340"/>
                  </a:lnTo>
                  <a:lnTo>
                    <a:pt x="533" y="344"/>
                  </a:lnTo>
                  <a:lnTo>
                    <a:pt x="531" y="346"/>
                  </a:lnTo>
                  <a:lnTo>
                    <a:pt x="529" y="346"/>
                  </a:lnTo>
                  <a:lnTo>
                    <a:pt x="525" y="346"/>
                  </a:lnTo>
                  <a:lnTo>
                    <a:pt x="525" y="348"/>
                  </a:lnTo>
                  <a:lnTo>
                    <a:pt x="527" y="348"/>
                  </a:lnTo>
                  <a:lnTo>
                    <a:pt x="527" y="348"/>
                  </a:lnTo>
                  <a:lnTo>
                    <a:pt x="527" y="350"/>
                  </a:lnTo>
                  <a:lnTo>
                    <a:pt x="527" y="350"/>
                  </a:lnTo>
                  <a:lnTo>
                    <a:pt x="525" y="352"/>
                  </a:lnTo>
                  <a:lnTo>
                    <a:pt x="525" y="352"/>
                  </a:lnTo>
                  <a:lnTo>
                    <a:pt x="525" y="356"/>
                  </a:lnTo>
                  <a:lnTo>
                    <a:pt x="525" y="358"/>
                  </a:lnTo>
                  <a:lnTo>
                    <a:pt x="523" y="360"/>
                  </a:lnTo>
                  <a:lnTo>
                    <a:pt x="520" y="360"/>
                  </a:lnTo>
                  <a:lnTo>
                    <a:pt x="516" y="358"/>
                  </a:lnTo>
                  <a:lnTo>
                    <a:pt x="516" y="356"/>
                  </a:lnTo>
                  <a:lnTo>
                    <a:pt x="514" y="354"/>
                  </a:lnTo>
                  <a:lnTo>
                    <a:pt x="514" y="352"/>
                  </a:lnTo>
                  <a:lnTo>
                    <a:pt x="514" y="350"/>
                  </a:lnTo>
                  <a:lnTo>
                    <a:pt x="516" y="346"/>
                  </a:lnTo>
                  <a:lnTo>
                    <a:pt x="516" y="344"/>
                  </a:lnTo>
                  <a:lnTo>
                    <a:pt x="516" y="344"/>
                  </a:lnTo>
                  <a:lnTo>
                    <a:pt x="514" y="342"/>
                  </a:lnTo>
                  <a:lnTo>
                    <a:pt x="514" y="342"/>
                  </a:lnTo>
                  <a:lnTo>
                    <a:pt x="512" y="340"/>
                  </a:lnTo>
                  <a:lnTo>
                    <a:pt x="512" y="340"/>
                  </a:lnTo>
                  <a:lnTo>
                    <a:pt x="512" y="342"/>
                  </a:lnTo>
                  <a:lnTo>
                    <a:pt x="510" y="342"/>
                  </a:lnTo>
                  <a:lnTo>
                    <a:pt x="510" y="342"/>
                  </a:lnTo>
                  <a:lnTo>
                    <a:pt x="510" y="344"/>
                  </a:lnTo>
                  <a:lnTo>
                    <a:pt x="508" y="346"/>
                  </a:lnTo>
                  <a:lnTo>
                    <a:pt x="508" y="346"/>
                  </a:lnTo>
                  <a:lnTo>
                    <a:pt x="506" y="344"/>
                  </a:lnTo>
                  <a:lnTo>
                    <a:pt x="504" y="344"/>
                  </a:lnTo>
                  <a:lnTo>
                    <a:pt x="504" y="346"/>
                  </a:lnTo>
                  <a:lnTo>
                    <a:pt x="502" y="346"/>
                  </a:lnTo>
                  <a:lnTo>
                    <a:pt x="502" y="346"/>
                  </a:lnTo>
                  <a:lnTo>
                    <a:pt x="502" y="346"/>
                  </a:lnTo>
                  <a:lnTo>
                    <a:pt x="502" y="348"/>
                  </a:lnTo>
                  <a:lnTo>
                    <a:pt x="500" y="348"/>
                  </a:lnTo>
                  <a:lnTo>
                    <a:pt x="500" y="348"/>
                  </a:lnTo>
                  <a:lnTo>
                    <a:pt x="500" y="350"/>
                  </a:lnTo>
                  <a:lnTo>
                    <a:pt x="498" y="350"/>
                  </a:lnTo>
                  <a:lnTo>
                    <a:pt x="494" y="350"/>
                  </a:lnTo>
                  <a:lnTo>
                    <a:pt x="492" y="350"/>
                  </a:lnTo>
                  <a:lnTo>
                    <a:pt x="492" y="346"/>
                  </a:lnTo>
                  <a:lnTo>
                    <a:pt x="490" y="344"/>
                  </a:lnTo>
                  <a:lnTo>
                    <a:pt x="490" y="344"/>
                  </a:lnTo>
                  <a:lnTo>
                    <a:pt x="488" y="342"/>
                  </a:lnTo>
                  <a:lnTo>
                    <a:pt x="486" y="342"/>
                  </a:lnTo>
                  <a:lnTo>
                    <a:pt x="482" y="342"/>
                  </a:lnTo>
                  <a:lnTo>
                    <a:pt x="480" y="342"/>
                  </a:lnTo>
                  <a:lnTo>
                    <a:pt x="480" y="340"/>
                  </a:lnTo>
                  <a:lnTo>
                    <a:pt x="480" y="336"/>
                  </a:lnTo>
                  <a:lnTo>
                    <a:pt x="477" y="334"/>
                  </a:lnTo>
                  <a:lnTo>
                    <a:pt x="473" y="332"/>
                  </a:lnTo>
                  <a:lnTo>
                    <a:pt x="471" y="334"/>
                  </a:lnTo>
                  <a:lnTo>
                    <a:pt x="467" y="336"/>
                  </a:lnTo>
                  <a:lnTo>
                    <a:pt x="461" y="344"/>
                  </a:lnTo>
                  <a:lnTo>
                    <a:pt x="457" y="346"/>
                  </a:lnTo>
                  <a:lnTo>
                    <a:pt x="453" y="346"/>
                  </a:lnTo>
                  <a:lnTo>
                    <a:pt x="449" y="346"/>
                  </a:lnTo>
                  <a:lnTo>
                    <a:pt x="447" y="344"/>
                  </a:lnTo>
                  <a:lnTo>
                    <a:pt x="447" y="344"/>
                  </a:lnTo>
                  <a:lnTo>
                    <a:pt x="447" y="342"/>
                  </a:lnTo>
                  <a:lnTo>
                    <a:pt x="447" y="342"/>
                  </a:lnTo>
                  <a:lnTo>
                    <a:pt x="447" y="340"/>
                  </a:lnTo>
                  <a:lnTo>
                    <a:pt x="447" y="338"/>
                  </a:lnTo>
                  <a:lnTo>
                    <a:pt x="447" y="338"/>
                  </a:lnTo>
                  <a:lnTo>
                    <a:pt x="447" y="336"/>
                  </a:lnTo>
                  <a:lnTo>
                    <a:pt x="447" y="336"/>
                  </a:lnTo>
                  <a:lnTo>
                    <a:pt x="447" y="334"/>
                  </a:lnTo>
                  <a:lnTo>
                    <a:pt x="447" y="334"/>
                  </a:lnTo>
                  <a:lnTo>
                    <a:pt x="445" y="334"/>
                  </a:lnTo>
                  <a:lnTo>
                    <a:pt x="443" y="332"/>
                  </a:lnTo>
                  <a:lnTo>
                    <a:pt x="439" y="332"/>
                  </a:lnTo>
                  <a:lnTo>
                    <a:pt x="434" y="329"/>
                  </a:lnTo>
                  <a:lnTo>
                    <a:pt x="434" y="325"/>
                  </a:lnTo>
                  <a:lnTo>
                    <a:pt x="432" y="323"/>
                  </a:lnTo>
                  <a:lnTo>
                    <a:pt x="434" y="321"/>
                  </a:lnTo>
                  <a:lnTo>
                    <a:pt x="434" y="317"/>
                  </a:lnTo>
                  <a:lnTo>
                    <a:pt x="432" y="317"/>
                  </a:lnTo>
                  <a:lnTo>
                    <a:pt x="430" y="317"/>
                  </a:lnTo>
                  <a:lnTo>
                    <a:pt x="426" y="317"/>
                  </a:lnTo>
                  <a:lnTo>
                    <a:pt x="422" y="319"/>
                  </a:lnTo>
                  <a:lnTo>
                    <a:pt x="412" y="317"/>
                  </a:lnTo>
                  <a:lnTo>
                    <a:pt x="410" y="317"/>
                  </a:lnTo>
                  <a:lnTo>
                    <a:pt x="408" y="319"/>
                  </a:lnTo>
                  <a:lnTo>
                    <a:pt x="406" y="321"/>
                  </a:lnTo>
                  <a:lnTo>
                    <a:pt x="406" y="323"/>
                  </a:lnTo>
                  <a:lnTo>
                    <a:pt x="404" y="323"/>
                  </a:lnTo>
                  <a:lnTo>
                    <a:pt x="402" y="325"/>
                  </a:lnTo>
                  <a:lnTo>
                    <a:pt x="398" y="325"/>
                  </a:lnTo>
                  <a:lnTo>
                    <a:pt x="398" y="323"/>
                  </a:lnTo>
                  <a:lnTo>
                    <a:pt x="394" y="321"/>
                  </a:lnTo>
                  <a:lnTo>
                    <a:pt x="391" y="319"/>
                  </a:lnTo>
                  <a:lnTo>
                    <a:pt x="391" y="319"/>
                  </a:lnTo>
                  <a:lnTo>
                    <a:pt x="389" y="317"/>
                  </a:lnTo>
                  <a:lnTo>
                    <a:pt x="389" y="315"/>
                  </a:lnTo>
                  <a:lnTo>
                    <a:pt x="387" y="315"/>
                  </a:lnTo>
                  <a:lnTo>
                    <a:pt x="385" y="315"/>
                  </a:lnTo>
                  <a:lnTo>
                    <a:pt x="383" y="315"/>
                  </a:lnTo>
                  <a:lnTo>
                    <a:pt x="377" y="319"/>
                  </a:lnTo>
                  <a:lnTo>
                    <a:pt x="377" y="317"/>
                  </a:lnTo>
                  <a:lnTo>
                    <a:pt x="365" y="315"/>
                  </a:lnTo>
                  <a:lnTo>
                    <a:pt x="363" y="315"/>
                  </a:lnTo>
                  <a:lnTo>
                    <a:pt x="357" y="311"/>
                  </a:lnTo>
                  <a:lnTo>
                    <a:pt x="355" y="311"/>
                  </a:lnTo>
                  <a:lnTo>
                    <a:pt x="353" y="311"/>
                  </a:lnTo>
                  <a:lnTo>
                    <a:pt x="353" y="311"/>
                  </a:lnTo>
                  <a:lnTo>
                    <a:pt x="351" y="311"/>
                  </a:lnTo>
                  <a:lnTo>
                    <a:pt x="348" y="311"/>
                  </a:lnTo>
                  <a:lnTo>
                    <a:pt x="344" y="311"/>
                  </a:lnTo>
                  <a:lnTo>
                    <a:pt x="342" y="309"/>
                  </a:lnTo>
                  <a:lnTo>
                    <a:pt x="338" y="311"/>
                  </a:lnTo>
                  <a:lnTo>
                    <a:pt x="336" y="309"/>
                  </a:lnTo>
                  <a:lnTo>
                    <a:pt x="334" y="309"/>
                  </a:lnTo>
                  <a:lnTo>
                    <a:pt x="334" y="307"/>
                  </a:lnTo>
                  <a:lnTo>
                    <a:pt x="334" y="301"/>
                  </a:lnTo>
                  <a:lnTo>
                    <a:pt x="334" y="299"/>
                  </a:lnTo>
                  <a:lnTo>
                    <a:pt x="334" y="299"/>
                  </a:lnTo>
                  <a:lnTo>
                    <a:pt x="334" y="297"/>
                  </a:lnTo>
                  <a:lnTo>
                    <a:pt x="330" y="295"/>
                  </a:lnTo>
                  <a:lnTo>
                    <a:pt x="330" y="293"/>
                  </a:lnTo>
                  <a:lnTo>
                    <a:pt x="330" y="291"/>
                  </a:lnTo>
                  <a:lnTo>
                    <a:pt x="328" y="288"/>
                  </a:lnTo>
                  <a:lnTo>
                    <a:pt x="326" y="288"/>
                  </a:lnTo>
                  <a:lnTo>
                    <a:pt x="326" y="288"/>
                  </a:lnTo>
                  <a:lnTo>
                    <a:pt x="324" y="288"/>
                  </a:lnTo>
                  <a:lnTo>
                    <a:pt x="324" y="288"/>
                  </a:lnTo>
                  <a:lnTo>
                    <a:pt x="322" y="286"/>
                  </a:lnTo>
                  <a:lnTo>
                    <a:pt x="322" y="286"/>
                  </a:lnTo>
                  <a:lnTo>
                    <a:pt x="322" y="286"/>
                  </a:lnTo>
                  <a:lnTo>
                    <a:pt x="322" y="284"/>
                  </a:lnTo>
                  <a:lnTo>
                    <a:pt x="320" y="284"/>
                  </a:lnTo>
                  <a:lnTo>
                    <a:pt x="318" y="284"/>
                  </a:lnTo>
                  <a:lnTo>
                    <a:pt x="318" y="284"/>
                  </a:lnTo>
                  <a:lnTo>
                    <a:pt x="318" y="291"/>
                  </a:lnTo>
                  <a:lnTo>
                    <a:pt x="316" y="293"/>
                  </a:lnTo>
                  <a:lnTo>
                    <a:pt x="316" y="293"/>
                  </a:lnTo>
                  <a:lnTo>
                    <a:pt x="314" y="293"/>
                  </a:lnTo>
                  <a:lnTo>
                    <a:pt x="312" y="293"/>
                  </a:lnTo>
                  <a:lnTo>
                    <a:pt x="307" y="291"/>
                  </a:lnTo>
                  <a:lnTo>
                    <a:pt x="303" y="288"/>
                  </a:lnTo>
                  <a:lnTo>
                    <a:pt x="303" y="288"/>
                  </a:lnTo>
                  <a:lnTo>
                    <a:pt x="301" y="291"/>
                  </a:lnTo>
                  <a:lnTo>
                    <a:pt x="301" y="291"/>
                  </a:lnTo>
                  <a:lnTo>
                    <a:pt x="299" y="293"/>
                  </a:lnTo>
                  <a:lnTo>
                    <a:pt x="299" y="293"/>
                  </a:lnTo>
                  <a:lnTo>
                    <a:pt x="293" y="293"/>
                  </a:lnTo>
                  <a:lnTo>
                    <a:pt x="291" y="291"/>
                  </a:lnTo>
                  <a:lnTo>
                    <a:pt x="291" y="291"/>
                  </a:lnTo>
                  <a:lnTo>
                    <a:pt x="289" y="286"/>
                  </a:lnTo>
                  <a:lnTo>
                    <a:pt x="273" y="272"/>
                  </a:lnTo>
                  <a:lnTo>
                    <a:pt x="273" y="272"/>
                  </a:lnTo>
                  <a:lnTo>
                    <a:pt x="271" y="272"/>
                  </a:lnTo>
                  <a:lnTo>
                    <a:pt x="271" y="272"/>
                  </a:lnTo>
                  <a:lnTo>
                    <a:pt x="269" y="270"/>
                  </a:lnTo>
                  <a:lnTo>
                    <a:pt x="264" y="272"/>
                  </a:lnTo>
                  <a:lnTo>
                    <a:pt x="262" y="272"/>
                  </a:lnTo>
                  <a:lnTo>
                    <a:pt x="262" y="270"/>
                  </a:lnTo>
                  <a:lnTo>
                    <a:pt x="262" y="266"/>
                  </a:lnTo>
                  <a:lnTo>
                    <a:pt x="262" y="254"/>
                  </a:lnTo>
                  <a:lnTo>
                    <a:pt x="262" y="241"/>
                  </a:lnTo>
                  <a:lnTo>
                    <a:pt x="262" y="229"/>
                  </a:lnTo>
                  <a:lnTo>
                    <a:pt x="262" y="217"/>
                  </a:lnTo>
                  <a:lnTo>
                    <a:pt x="262" y="204"/>
                  </a:lnTo>
                  <a:lnTo>
                    <a:pt x="262" y="192"/>
                  </a:lnTo>
                  <a:lnTo>
                    <a:pt x="262" y="180"/>
                  </a:lnTo>
                  <a:lnTo>
                    <a:pt x="262" y="168"/>
                  </a:lnTo>
                  <a:lnTo>
                    <a:pt x="262" y="155"/>
                  </a:lnTo>
                  <a:lnTo>
                    <a:pt x="262" y="143"/>
                  </a:lnTo>
                  <a:lnTo>
                    <a:pt x="262" y="131"/>
                  </a:lnTo>
                  <a:lnTo>
                    <a:pt x="262" y="118"/>
                  </a:lnTo>
                  <a:lnTo>
                    <a:pt x="262" y="106"/>
                  </a:lnTo>
                  <a:lnTo>
                    <a:pt x="262" y="94"/>
                  </a:lnTo>
                  <a:lnTo>
                    <a:pt x="262" y="82"/>
                  </a:lnTo>
                  <a:lnTo>
                    <a:pt x="262" y="69"/>
                  </a:lnTo>
                  <a:lnTo>
                    <a:pt x="262" y="65"/>
                  </a:lnTo>
                  <a:lnTo>
                    <a:pt x="262" y="65"/>
                  </a:lnTo>
                  <a:lnTo>
                    <a:pt x="256" y="65"/>
                  </a:lnTo>
                  <a:lnTo>
                    <a:pt x="254" y="65"/>
                  </a:lnTo>
                  <a:lnTo>
                    <a:pt x="246" y="65"/>
                  </a:lnTo>
                  <a:lnTo>
                    <a:pt x="234" y="65"/>
                  </a:lnTo>
                  <a:lnTo>
                    <a:pt x="217" y="65"/>
                  </a:lnTo>
                  <a:lnTo>
                    <a:pt x="197" y="65"/>
                  </a:lnTo>
                  <a:lnTo>
                    <a:pt x="176" y="63"/>
                  </a:lnTo>
                  <a:lnTo>
                    <a:pt x="154" y="63"/>
                  </a:lnTo>
                  <a:lnTo>
                    <a:pt x="129" y="63"/>
                  </a:lnTo>
                  <a:lnTo>
                    <a:pt x="105" y="63"/>
                  </a:lnTo>
                  <a:lnTo>
                    <a:pt x="82" y="63"/>
                  </a:lnTo>
                  <a:lnTo>
                    <a:pt x="60" y="63"/>
                  </a:lnTo>
                  <a:lnTo>
                    <a:pt x="41" y="61"/>
                  </a:lnTo>
                  <a:lnTo>
                    <a:pt x="25" y="61"/>
                  </a:lnTo>
                  <a:lnTo>
                    <a:pt x="13" y="61"/>
                  </a:lnTo>
                  <a:lnTo>
                    <a:pt x="4" y="61"/>
                  </a:lnTo>
                  <a:lnTo>
                    <a:pt x="0" y="61"/>
                  </a:lnTo>
                  <a:lnTo>
                    <a:pt x="2" y="47"/>
                  </a:lnTo>
                  <a:lnTo>
                    <a:pt x="2" y="34"/>
                  </a:lnTo>
                  <a:lnTo>
                    <a:pt x="2" y="20"/>
                  </a:lnTo>
                  <a:lnTo>
                    <a:pt x="2" y="8"/>
                  </a:lnTo>
                  <a:lnTo>
                    <a:pt x="13" y="8"/>
                  </a:lnTo>
                  <a:lnTo>
                    <a:pt x="25" y="8"/>
                  </a:lnTo>
                  <a:lnTo>
                    <a:pt x="35" y="8"/>
                  </a:lnTo>
                  <a:lnTo>
                    <a:pt x="45" y="8"/>
                  </a:lnTo>
                  <a:lnTo>
                    <a:pt x="56" y="8"/>
                  </a:lnTo>
                  <a:lnTo>
                    <a:pt x="68" y="8"/>
                  </a:lnTo>
                  <a:lnTo>
                    <a:pt x="78" y="10"/>
                  </a:lnTo>
                  <a:lnTo>
                    <a:pt x="88" y="10"/>
                  </a:lnTo>
                  <a:lnTo>
                    <a:pt x="109" y="10"/>
                  </a:lnTo>
                  <a:lnTo>
                    <a:pt x="129" y="10"/>
                  </a:lnTo>
                  <a:lnTo>
                    <a:pt x="148" y="10"/>
                  </a:lnTo>
                  <a:lnTo>
                    <a:pt x="168" y="10"/>
                  </a:lnTo>
                  <a:lnTo>
                    <a:pt x="189" y="10"/>
                  </a:lnTo>
                  <a:lnTo>
                    <a:pt x="209" y="10"/>
                  </a:lnTo>
                  <a:lnTo>
                    <a:pt x="228" y="10"/>
                  </a:lnTo>
                  <a:lnTo>
                    <a:pt x="248" y="10"/>
                  </a:lnTo>
                  <a:lnTo>
                    <a:pt x="269" y="10"/>
                  </a:lnTo>
                  <a:lnTo>
                    <a:pt x="289" y="10"/>
                  </a:lnTo>
                  <a:lnTo>
                    <a:pt x="310" y="10"/>
                  </a:lnTo>
                  <a:lnTo>
                    <a:pt x="328" y="10"/>
                  </a:lnTo>
                  <a:lnTo>
                    <a:pt x="348" y="10"/>
                  </a:lnTo>
                  <a:lnTo>
                    <a:pt x="369" y="10"/>
                  </a:lnTo>
                  <a:lnTo>
                    <a:pt x="389" y="10"/>
                  </a:lnTo>
                  <a:lnTo>
                    <a:pt x="410" y="10"/>
                  </a:lnTo>
                  <a:lnTo>
                    <a:pt x="428" y="10"/>
                  </a:lnTo>
                  <a:lnTo>
                    <a:pt x="449" y="10"/>
                  </a:lnTo>
                  <a:lnTo>
                    <a:pt x="469" y="8"/>
                  </a:lnTo>
                  <a:lnTo>
                    <a:pt x="490" y="8"/>
                  </a:lnTo>
                  <a:lnTo>
                    <a:pt x="508" y="8"/>
                  </a:lnTo>
                  <a:lnTo>
                    <a:pt x="529" y="8"/>
                  </a:lnTo>
                  <a:lnTo>
                    <a:pt x="549" y="6"/>
                  </a:lnTo>
                  <a:lnTo>
                    <a:pt x="570" y="6"/>
                  </a:lnTo>
                  <a:lnTo>
                    <a:pt x="590" y="6"/>
                  </a:lnTo>
                  <a:lnTo>
                    <a:pt x="609" y="4"/>
                  </a:lnTo>
                  <a:lnTo>
                    <a:pt x="629" y="4"/>
                  </a:lnTo>
                  <a:lnTo>
                    <a:pt x="650" y="4"/>
                  </a:lnTo>
                  <a:lnTo>
                    <a:pt x="670" y="2"/>
                  </a:lnTo>
                  <a:lnTo>
                    <a:pt x="688" y="2"/>
                  </a:lnTo>
                  <a:lnTo>
                    <a:pt x="709" y="0"/>
                  </a:lnTo>
                  <a:lnTo>
                    <a:pt x="729" y="0"/>
                  </a:lnTo>
                  <a:lnTo>
                    <a:pt x="729" y="12"/>
                  </a:lnTo>
                  <a:lnTo>
                    <a:pt x="731" y="26"/>
                  </a:lnTo>
                  <a:lnTo>
                    <a:pt x="731" y="41"/>
                  </a:lnTo>
                  <a:lnTo>
                    <a:pt x="731" y="53"/>
                  </a:lnTo>
                  <a:lnTo>
                    <a:pt x="731" y="53"/>
                  </a:lnTo>
                  <a:close/>
                </a:path>
              </a:pathLst>
            </a:custGeom>
            <a:solidFill>
              <a:schemeClr val="tx1"/>
            </a:solidFill>
            <a:ln w="3175" cap="rnd">
              <a:solidFill>
                <a:schemeClr val="bg1"/>
              </a:solidFill>
              <a:prstDash val="solid"/>
              <a:round/>
              <a:headEnd/>
              <a:tailEnd/>
            </a:ln>
          </p:spPr>
          <p:txBody>
            <a:bodyPr vert="horz" wrap="square" lIns="38400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OK</a:t>
              </a:r>
            </a:p>
          </p:txBody>
        </p:sp>
        <p:sp>
          <p:nvSpPr>
            <p:cNvPr id="99" name="Freeform 20">
              <a:extLst>
                <a:ext uri="{FF2B5EF4-FFF2-40B4-BE49-F238E27FC236}">
                  <a16:creationId xmlns:a16="http://schemas.microsoft.com/office/drawing/2014/main" id="{D64EC6BC-E9E5-A720-391E-2205B9460C06}"/>
                </a:ext>
              </a:extLst>
            </p:cNvPr>
            <p:cNvSpPr>
              <a:spLocks/>
            </p:cNvSpPr>
            <p:nvPr/>
          </p:nvSpPr>
          <p:spPr bwMode="auto">
            <a:xfrm>
              <a:off x="3975" y="771"/>
              <a:ext cx="366" cy="405"/>
            </a:xfrm>
            <a:custGeom>
              <a:avLst/>
              <a:gdLst>
                <a:gd name="T0" fmla="*/ 362 w 366"/>
                <a:gd name="T1" fmla="*/ 118 h 405"/>
                <a:gd name="T2" fmla="*/ 344 w 366"/>
                <a:gd name="T3" fmla="*/ 8 h 405"/>
                <a:gd name="T4" fmla="*/ 313 w 366"/>
                <a:gd name="T5" fmla="*/ 16 h 405"/>
                <a:gd name="T6" fmla="*/ 250 w 366"/>
                <a:gd name="T7" fmla="*/ 67 h 405"/>
                <a:gd name="T8" fmla="*/ 227 w 366"/>
                <a:gd name="T9" fmla="*/ 69 h 405"/>
                <a:gd name="T10" fmla="*/ 196 w 366"/>
                <a:gd name="T11" fmla="*/ 88 h 405"/>
                <a:gd name="T12" fmla="*/ 178 w 366"/>
                <a:gd name="T13" fmla="*/ 82 h 405"/>
                <a:gd name="T14" fmla="*/ 174 w 366"/>
                <a:gd name="T15" fmla="*/ 84 h 405"/>
                <a:gd name="T16" fmla="*/ 161 w 366"/>
                <a:gd name="T17" fmla="*/ 88 h 405"/>
                <a:gd name="T18" fmla="*/ 145 w 366"/>
                <a:gd name="T19" fmla="*/ 88 h 405"/>
                <a:gd name="T20" fmla="*/ 153 w 366"/>
                <a:gd name="T21" fmla="*/ 84 h 405"/>
                <a:gd name="T22" fmla="*/ 174 w 366"/>
                <a:gd name="T23" fmla="*/ 77 h 405"/>
                <a:gd name="T24" fmla="*/ 166 w 366"/>
                <a:gd name="T25" fmla="*/ 75 h 405"/>
                <a:gd name="T26" fmla="*/ 161 w 366"/>
                <a:gd name="T27" fmla="*/ 77 h 405"/>
                <a:gd name="T28" fmla="*/ 143 w 366"/>
                <a:gd name="T29" fmla="*/ 73 h 405"/>
                <a:gd name="T30" fmla="*/ 120 w 366"/>
                <a:gd name="T31" fmla="*/ 65 h 405"/>
                <a:gd name="T32" fmla="*/ 94 w 366"/>
                <a:gd name="T33" fmla="*/ 67 h 405"/>
                <a:gd name="T34" fmla="*/ 41 w 366"/>
                <a:gd name="T35" fmla="*/ 77 h 405"/>
                <a:gd name="T36" fmla="*/ 2 w 366"/>
                <a:gd name="T37" fmla="*/ 102 h 405"/>
                <a:gd name="T38" fmla="*/ 12 w 366"/>
                <a:gd name="T39" fmla="*/ 178 h 405"/>
                <a:gd name="T40" fmla="*/ 22 w 366"/>
                <a:gd name="T41" fmla="*/ 248 h 405"/>
                <a:gd name="T42" fmla="*/ 30 w 366"/>
                <a:gd name="T43" fmla="*/ 317 h 405"/>
                <a:gd name="T44" fmla="*/ 43 w 366"/>
                <a:gd name="T45" fmla="*/ 354 h 405"/>
                <a:gd name="T46" fmla="*/ 63 w 366"/>
                <a:gd name="T47" fmla="*/ 354 h 405"/>
                <a:gd name="T48" fmla="*/ 80 w 366"/>
                <a:gd name="T49" fmla="*/ 360 h 405"/>
                <a:gd name="T50" fmla="*/ 88 w 366"/>
                <a:gd name="T51" fmla="*/ 373 h 405"/>
                <a:gd name="T52" fmla="*/ 104 w 366"/>
                <a:gd name="T53" fmla="*/ 385 h 405"/>
                <a:gd name="T54" fmla="*/ 133 w 366"/>
                <a:gd name="T55" fmla="*/ 393 h 405"/>
                <a:gd name="T56" fmla="*/ 151 w 366"/>
                <a:gd name="T57" fmla="*/ 385 h 405"/>
                <a:gd name="T58" fmla="*/ 166 w 366"/>
                <a:gd name="T59" fmla="*/ 389 h 405"/>
                <a:gd name="T60" fmla="*/ 176 w 366"/>
                <a:gd name="T61" fmla="*/ 391 h 405"/>
                <a:gd name="T62" fmla="*/ 188 w 366"/>
                <a:gd name="T63" fmla="*/ 383 h 405"/>
                <a:gd name="T64" fmla="*/ 202 w 366"/>
                <a:gd name="T65" fmla="*/ 373 h 405"/>
                <a:gd name="T66" fmla="*/ 221 w 366"/>
                <a:gd name="T67" fmla="*/ 391 h 405"/>
                <a:gd name="T68" fmla="*/ 241 w 366"/>
                <a:gd name="T69" fmla="*/ 403 h 405"/>
                <a:gd name="T70" fmla="*/ 260 w 366"/>
                <a:gd name="T71" fmla="*/ 381 h 405"/>
                <a:gd name="T72" fmla="*/ 264 w 366"/>
                <a:gd name="T73" fmla="*/ 371 h 405"/>
                <a:gd name="T74" fmla="*/ 264 w 366"/>
                <a:gd name="T75" fmla="*/ 356 h 405"/>
                <a:gd name="T76" fmla="*/ 272 w 366"/>
                <a:gd name="T77" fmla="*/ 332 h 405"/>
                <a:gd name="T78" fmla="*/ 282 w 366"/>
                <a:gd name="T79" fmla="*/ 340 h 405"/>
                <a:gd name="T80" fmla="*/ 282 w 366"/>
                <a:gd name="T81" fmla="*/ 344 h 405"/>
                <a:gd name="T82" fmla="*/ 288 w 366"/>
                <a:gd name="T83" fmla="*/ 338 h 405"/>
                <a:gd name="T84" fmla="*/ 293 w 366"/>
                <a:gd name="T85" fmla="*/ 334 h 405"/>
                <a:gd name="T86" fmla="*/ 288 w 366"/>
                <a:gd name="T87" fmla="*/ 323 h 405"/>
                <a:gd name="T88" fmla="*/ 293 w 366"/>
                <a:gd name="T89" fmla="*/ 311 h 405"/>
                <a:gd name="T90" fmla="*/ 303 w 366"/>
                <a:gd name="T91" fmla="*/ 299 h 405"/>
                <a:gd name="T92" fmla="*/ 315 w 366"/>
                <a:gd name="T93" fmla="*/ 282 h 405"/>
                <a:gd name="T94" fmla="*/ 329 w 366"/>
                <a:gd name="T95" fmla="*/ 282 h 405"/>
                <a:gd name="T96" fmla="*/ 342 w 366"/>
                <a:gd name="T97" fmla="*/ 268 h 405"/>
                <a:gd name="T98" fmla="*/ 356 w 366"/>
                <a:gd name="T99" fmla="*/ 246 h 405"/>
                <a:gd name="T100" fmla="*/ 354 w 366"/>
                <a:gd name="T101" fmla="*/ 235 h 405"/>
                <a:gd name="T102" fmla="*/ 358 w 366"/>
                <a:gd name="T103" fmla="*/ 225 h 405"/>
                <a:gd name="T104" fmla="*/ 360 w 366"/>
                <a:gd name="T105" fmla="*/ 219 h 405"/>
                <a:gd name="T106" fmla="*/ 360 w 366"/>
                <a:gd name="T107" fmla="*/ 205 h 405"/>
                <a:gd name="T108" fmla="*/ 364 w 366"/>
                <a:gd name="T109" fmla="*/ 182 h 405"/>
                <a:gd name="T110" fmla="*/ 364 w 366"/>
                <a:gd name="T111" fmla="*/ 170 h 405"/>
                <a:gd name="T112" fmla="*/ 364 w 366"/>
                <a:gd name="T113" fmla="*/ 159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6" h="405">
                  <a:moveTo>
                    <a:pt x="358" y="145"/>
                  </a:moveTo>
                  <a:lnTo>
                    <a:pt x="358" y="143"/>
                  </a:lnTo>
                  <a:lnTo>
                    <a:pt x="362" y="143"/>
                  </a:lnTo>
                  <a:lnTo>
                    <a:pt x="362" y="143"/>
                  </a:lnTo>
                  <a:lnTo>
                    <a:pt x="366" y="141"/>
                  </a:lnTo>
                  <a:lnTo>
                    <a:pt x="366" y="139"/>
                  </a:lnTo>
                  <a:lnTo>
                    <a:pt x="364" y="129"/>
                  </a:lnTo>
                  <a:lnTo>
                    <a:pt x="362" y="118"/>
                  </a:lnTo>
                  <a:lnTo>
                    <a:pt x="362" y="106"/>
                  </a:lnTo>
                  <a:lnTo>
                    <a:pt x="360" y="96"/>
                  </a:lnTo>
                  <a:lnTo>
                    <a:pt x="358" y="86"/>
                  </a:lnTo>
                  <a:lnTo>
                    <a:pt x="356" y="73"/>
                  </a:lnTo>
                  <a:lnTo>
                    <a:pt x="354" y="63"/>
                  </a:lnTo>
                  <a:lnTo>
                    <a:pt x="352" y="51"/>
                  </a:lnTo>
                  <a:lnTo>
                    <a:pt x="348" y="30"/>
                  </a:lnTo>
                  <a:lnTo>
                    <a:pt x="344" y="8"/>
                  </a:lnTo>
                  <a:lnTo>
                    <a:pt x="342" y="0"/>
                  </a:lnTo>
                  <a:lnTo>
                    <a:pt x="323" y="10"/>
                  </a:lnTo>
                  <a:lnTo>
                    <a:pt x="319" y="12"/>
                  </a:lnTo>
                  <a:lnTo>
                    <a:pt x="317" y="14"/>
                  </a:lnTo>
                  <a:lnTo>
                    <a:pt x="315" y="14"/>
                  </a:lnTo>
                  <a:lnTo>
                    <a:pt x="315" y="14"/>
                  </a:lnTo>
                  <a:lnTo>
                    <a:pt x="315" y="16"/>
                  </a:lnTo>
                  <a:lnTo>
                    <a:pt x="313" y="16"/>
                  </a:lnTo>
                  <a:lnTo>
                    <a:pt x="311" y="18"/>
                  </a:lnTo>
                  <a:lnTo>
                    <a:pt x="309" y="20"/>
                  </a:lnTo>
                  <a:lnTo>
                    <a:pt x="305" y="22"/>
                  </a:lnTo>
                  <a:lnTo>
                    <a:pt x="280" y="39"/>
                  </a:lnTo>
                  <a:lnTo>
                    <a:pt x="258" y="63"/>
                  </a:lnTo>
                  <a:lnTo>
                    <a:pt x="254" y="65"/>
                  </a:lnTo>
                  <a:lnTo>
                    <a:pt x="252" y="67"/>
                  </a:lnTo>
                  <a:lnTo>
                    <a:pt x="250" y="67"/>
                  </a:lnTo>
                  <a:lnTo>
                    <a:pt x="247" y="67"/>
                  </a:lnTo>
                  <a:lnTo>
                    <a:pt x="247" y="67"/>
                  </a:lnTo>
                  <a:lnTo>
                    <a:pt x="245" y="67"/>
                  </a:lnTo>
                  <a:lnTo>
                    <a:pt x="243" y="69"/>
                  </a:lnTo>
                  <a:lnTo>
                    <a:pt x="243" y="69"/>
                  </a:lnTo>
                  <a:lnTo>
                    <a:pt x="241" y="69"/>
                  </a:lnTo>
                  <a:lnTo>
                    <a:pt x="231" y="69"/>
                  </a:lnTo>
                  <a:lnTo>
                    <a:pt x="227" y="69"/>
                  </a:lnTo>
                  <a:lnTo>
                    <a:pt x="217" y="75"/>
                  </a:lnTo>
                  <a:lnTo>
                    <a:pt x="211" y="80"/>
                  </a:lnTo>
                  <a:lnTo>
                    <a:pt x="209" y="82"/>
                  </a:lnTo>
                  <a:lnTo>
                    <a:pt x="202" y="82"/>
                  </a:lnTo>
                  <a:lnTo>
                    <a:pt x="200" y="84"/>
                  </a:lnTo>
                  <a:lnTo>
                    <a:pt x="200" y="84"/>
                  </a:lnTo>
                  <a:lnTo>
                    <a:pt x="196" y="88"/>
                  </a:lnTo>
                  <a:lnTo>
                    <a:pt x="196" y="88"/>
                  </a:lnTo>
                  <a:lnTo>
                    <a:pt x="192" y="88"/>
                  </a:lnTo>
                  <a:lnTo>
                    <a:pt x="188" y="88"/>
                  </a:lnTo>
                  <a:lnTo>
                    <a:pt x="182" y="84"/>
                  </a:lnTo>
                  <a:lnTo>
                    <a:pt x="180" y="84"/>
                  </a:lnTo>
                  <a:lnTo>
                    <a:pt x="180" y="84"/>
                  </a:lnTo>
                  <a:lnTo>
                    <a:pt x="178" y="84"/>
                  </a:lnTo>
                  <a:lnTo>
                    <a:pt x="178" y="82"/>
                  </a:lnTo>
                  <a:lnTo>
                    <a:pt x="178" y="82"/>
                  </a:lnTo>
                  <a:lnTo>
                    <a:pt x="176" y="80"/>
                  </a:lnTo>
                  <a:lnTo>
                    <a:pt x="176" y="80"/>
                  </a:lnTo>
                  <a:lnTo>
                    <a:pt x="178" y="82"/>
                  </a:lnTo>
                  <a:lnTo>
                    <a:pt x="180" y="86"/>
                  </a:lnTo>
                  <a:lnTo>
                    <a:pt x="182" y="86"/>
                  </a:lnTo>
                  <a:lnTo>
                    <a:pt x="178" y="84"/>
                  </a:lnTo>
                  <a:lnTo>
                    <a:pt x="176" y="84"/>
                  </a:lnTo>
                  <a:lnTo>
                    <a:pt x="174" y="84"/>
                  </a:lnTo>
                  <a:lnTo>
                    <a:pt x="174" y="84"/>
                  </a:lnTo>
                  <a:lnTo>
                    <a:pt x="172" y="84"/>
                  </a:lnTo>
                  <a:lnTo>
                    <a:pt x="172" y="84"/>
                  </a:lnTo>
                  <a:lnTo>
                    <a:pt x="170" y="86"/>
                  </a:lnTo>
                  <a:lnTo>
                    <a:pt x="170" y="84"/>
                  </a:lnTo>
                  <a:lnTo>
                    <a:pt x="168" y="84"/>
                  </a:lnTo>
                  <a:lnTo>
                    <a:pt x="164" y="86"/>
                  </a:lnTo>
                  <a:lnTo>
                    <a:pt x="161" y="88"/>
                  </a:lnTo>
                  <a:lnTo>
                    <a:pt x="157" y="90"/>
                  </a:lnTo>
                  <a:lnTo>
                    <a:pt x="153" y="88"/>
                  </a:lnTo>
                  <a:lnTo>
                    <a:pt x="153" y="90"/>
                  </a:lnTo>
                  <a:lnTo>
                    <a:pt x="153" y="90"/>
                  </a:lnTo>
                  <a:lnTo>
                    <a:pt x="151" y="90"/>
                  </a:lnTo>
                  <a:lnTo>
                    <a:pt x="151" y="88"/>
                  </a:lnTo>
                  <a:lnTo>
                    <a:pt x="151" y="88"/>
                  </a:lnTo>
                  <a:lnTo>
                    <a:pt x="145" y="88"/>
                  </a:lnTo>
                  <a:lnTo>
                    <a:pt x="147" y="88"/>
                  </a:lnTo>
                  <a:lnTo>
                    <a:pt x="149" y="88"/>
                  </a:lnTo>
                  <a:lnTo>
                    <a:pt x="151" y="86"/>
                  </a:lnTo>
                  <a:lnTo>
                    <a:pt x="151" y="88"/>
                  </a:lnTo>
                  <a:lnTo>
                    <a:pt x="153" y="86"/>
                  </a:lnTo>
                  <a:lnTo>
                    <a:pt x="153" y="86"/>
                  </a:lnTo>
                  <a:lnTo>
                    <a:pt x="153" y="84"/>
                  </a:lnTo>
                  <a:lnTo>
                    <a:pt x="153" y="84"/>
                  </a:lnTo>
                  <a:lnTo>
                    <a:pt x="155" y="84"/>
                  </a:lnTo>
                  <a:lnTo>
                    <a:pt x="157" y="84"/>
                  </a:lnTo>
                  <a:lnTo>
                    <a:pt x="159" y="82"/>
                  </a:lnTo>
                  <a:lnTo>
                    <a:pt x="161" y="82"/>
                  </a:lnTo>
                  <a:lnTo>
                    <a:pt x="164" y="82"/>
                  </a:lnTo>
                  <a:lnTo>
                    <a:pt x="166" y="80"/>
                  </a:lnTo>
                  <a:lnTo>
                    <a:pt x="168" y="80"/>
                  </a:lnTo>
                  <a:lnTo>
                    <a:pt x="174" y="77"/>
                  </a:lnTo>
                  <a:lnTo>
                    <a:pt x="174" y="77"/>
                  </a:lnTo>
                  <a:lnTo>
                    <a:pt x="172" y="75"/>
                  </a:lnTo>
                  <a:lnTo>
                    <a:pt x="172" y="75"/>
                  </a:lnTo>
                  <a:lnTo>
                    <a:pt x="168" y="75"/>
                  </a:lnTo>
                  <a:lnTo>
                    <a:pt x="168" y="75"/>
                  </a:lnTo>
                  <a:lnTo>
                    <a:pt x="166" y="77"/>
                  </a:lnTo>
                  <a:lnTo>
                    <a:pt x="166" y="75"/>
                  </a:lnTo>
                  <a:lnTo>
                    <a:pt x="166" y="75"/>
                  </a:lnTo>
                  <a:lnTo>
                    <a:pt x="166" y="75"/>
                  </a:lnTo>
                  <a:lnTo>
                    <a:pt x="164" y="73"/>
                  </a:lnTo>
                  <a:lnTo>
                    <a:pt x="161" y="73"/>
                  </a:lnTo>
                  <a:lnTo>
                    <a:pt x="161" y="71"/>
                  </a:lnTo>
                  <a:lnTo>
                    <a:pt x="161" y="73"/>
                  </a:lnTo>
                  <a:lnTo>
                    <a:pt x="161" y="73"/>
                  </a:lnTo>
                  <a:lnTo>
                    <a:pt x="161" y="75"/>
                  </a:lnTo>
                  <a:lnTo>
                    <a:pt x="161" y="77"/>
                  </a:lnTo>
                  <a:lnTo>
                    <a:pt x="159" y="77"/>
                  </a:lnTo>
                  <a:lnTo>
                    <a:pt x="159" y="80"/>
                  </a:lnTo>
                  <a:lnTo>
                    <a:pt x="155" y="80"/>
                  </a:lnTo>
                  <a:lnTo>
                    <a:pt x="153" y="80"/>
                  </a:lnTo>
                  <a:lnTo>
                    <a:pt x="151" y="80"/>
                  </a:lnTo>
                  <a:lnTo>
                    <a:pt x="149" y="80"/>
                  </a:lnTo>
                  <a:lnTo>
                    <a:pt x="147" y="77"/>
                  </a:lnTo>
                  <a:lnTo>
                    <a:pt x="143" y="73"/>
                  </a:lnTo>
                  <a:lnTo>
                    <a:pt x="139" y="73"/>
                  </a:lnTo>
                  <a:lnTo>
                    <a:pt x="137" y="73"/>
                  </a:lnTo>
                  <a:lnTo>
                    <a:pt x="135" y="73"/>
                  </a:lnTo>
                  <a:lnTo>
                    <a:pt x="129" y="71"/>
                  </a:lnTo>
                  <a:lnTo>
                    <a:pt x="127" y="69"/>
                  </a:lnTo>
                  <a:lnTo>
                    <a:pt x="123" y="67"/>
                  </a:lnTo>
                  <a:lnTo>
                    <a:pt x="120" y="65"/>
                  </a:lnTo>
                  <a:lnTo>
                    <a:pt x="120" y="65"/>
                  </a:lnTo>
                  <a:lnTo>
                    <a:pt x="118" y="67"/>
                  </a:lnTo>
                  <a:lnTo>
                    <a:pt x="116" y="67"/>
                  </a:lnTo>
                  <a:lnTo>
                    <a:pt x="114" y="67"/>
                  </a:lnTo>
                  <a:lnTo>
                    <a:pt x="108" y="67"/>
                  </a:lnTo>
                  <a:lnTo>
                    <a:pt x="108" y="65"/>
                  </a:lnTo>
                  <a:lnTo>
                    <a:pt x="108" y="65"/>
                  </a:lnTo>
                  <a:lnTo>
                    <a:pt x="102" y="65"/>
                  </a:lnTo>
                  <a:lnTo>
                    <a:pt x="94" y="67"/>
                  </a:lnTo>
                  <a:lnTo>
                    <a:pt x="88" y="69"/>
                  </a:lnTo>
                  <a:lnTo>
                    <a:pt x="82" y="69"/>
                  </a:lnTo>
                  <a:lnTo>
                    <a:pt x="75" y="71"/>
                  </a:lnTo>
                  <a:lnTo>
                    <a:pt x="67" y="71"/>
                  </a:lnTo>
                  <a:lnTo>
                    <a:pt x="61" y="73"/>
                  </a:lnTo>
                  <a:lnTo>
                    <a:pt x="55" y="75"/>
                  </a:lnTo>
                  <a:lnTo>
                    <a:pt x="47" y="75"/>
                  </a:lnTo>
                  <a:lnTo>
                    <a:pt x="41" y="77"/>
                  </a:lnTo>
                  <a:lnTo>
                    <a:pt x="34" y="77"/>
                  </a:lnTo>
                  <a:lnTo>
                    <a:pt x="28" y="80"/>
                  </a:lnTo>
                  <a:lnTo>
                    <a:pt x="20" y="82"/>
                  </a:lnTo>
                  <a:lnTo>
                    <a:pt x="14" y="82"/>
                  </a:lnTo>
                  <a:lnTo>
                    <a:pt x="8" y="84"/>
                  </a:lnTo>
                  <a:lnTo>
                    <a:pt x="0" y="84"/>
                  </a:lnTo>
                  <a:lnTo>
                    <a:pt x="2" y="92"/>
                  </a:lnTo>
                  <a:lnTo>
                    <a:pt x="2" y="102"/>
                  </a:lnTo>
                  <a:lnTo>
                    <a:pt x="6" y="118"/>
                  </a:lnTo>
                  <a:lnTo>
                    <a:pt x="6" y="127"/>
                  </a:lnTo>
                  <a:lnTo>
                    <a:pt x="8" y="135"/>
                  </a:lnTo>
                  <a:lnTo>
                    <a:pt x="8" y="145"/>
                  </a:lnTo>
                  <a:lnTo>
                    <a:pt x="10" y="153"/>
                  </a:lnTo>
                  <a:lnTo>
                    <a:pt x="10" y="162"/>
                  </a:lnTo>
                  <a:lnTo>
                    <a:pt x="12" y="170"/>
                  </a:lnTo>
                  <a:lnTo>
                    <a:pt x="12" y="178"/>
                  </a:lnTo>
                  <a:lnTo>
                    <a:pt x="14" y="188"/>
                  </a:lnTo>
                  <a:lnTo>
                    <a:pt x="14" y="196"/>
                  </a:lnTo>
                  <a:lnTo>
                    <a:pt x="16" y="205"/>
                  </a:lnTo>
                  <a:lnTo>
                    <a:pt x="18" y="213"/>
                  </a:lnTo>
                  <a:lnTo>
                    <a:pt x="18" y="221"/>
                  </a:lnTo>
                  <a:lnTo>
                    <a:pt x="20" y="231"/>
                  </a:lnTo>
                  <a:lnTo>
                    <a:pt x="20" y="239"/>
                  </a:lnTo>
                  <a:lnTo>
                    <a:pt x="22" y="248"/>
                  </a:lnTo>
                  <a:lnTo>
                    <a:pt x="22" y="256"/>
                  </a:lnTo>
                  <a:lnTo>
                    <a:pt x="24" y="264"/>
                  </a:lnTo>
                  <a:lnTo>
                    <a:pt x="24" y="274"/>
                  </a:lnTo>
                  <a:lnTo>
                    <a:pt x="26" y="282"/>
                  </a:lnTo>
                  <a:lnTo>
                    <a:pt x="26" y="291"/>
                  </a:lnTo>
                  <a:lnTo>
                    <a:pt x="28" y="299"/>
                  </a:lnTo>
                  <a:lnTo>
                    <a:pt x="28" y="307"/>
                  </a:lnTo>
                  <a:lnTo>
                    <a:pt x="30" y="317"/>
                  </a:lnTo>
                  <a:lnTo>
                    <a:pt x="32" y="325"/>
                  </a:lnTo>
                  <a:lnTo>
                    <a:pt x="32" y="334"/>
                  </a:lnTo>
                  <a:lnTo>
                    <a:pt x="34" y="342"/>
                  </a:lnTo>
                  <a:lnTo>
                    <a:pt x="34" y="350"/>
                  </a:lnTo>
                  <a:lnTo>
                    <a:pt x="37" y="360"/>
                  </a:lnTo>
                  <a:lnTo>
                    <a:pt x="41" y="356"/>
                  </a:lnTo>
                  <a:lnTo>
                    <a:pt x="41" y="354"/>
                  </a:lnTo>
                  <a:lnTo>
                    <a:pt x="43" y="354"/>
                  </a:lnTo>
                  <a:lnTo>
                    <a:pt x="43" y="354"/>
                  </a:lnTo>
                  <a:lnTo>
                    <a:pt x="45" y="354"/>
                  </a:lnTo>
                  <a:lnTo>
                    <a:pt x="45" y="354"/>
                  </a:lnTo>
                  <a:lnTo>
                    <a:pt x="47" y="356"/>
                  </a:lnTo>
                  <a:lnTo>
                    <a:pt x="47" y="356"/>
                  </a:lnTo>
                  <a:lnTo>
                    <a:pt x="53" y="360"/>
                  </a:lnTo>
                  <a:lnTo>
                    <a:pt x="55" y="360"/>
                  </a:lnTo>
                  <a:lnTo>
                    <a:pt x="63" y="354"/>
                  </a:lnTo>
                  <a:lnTo>
                    <a:pt x="65" y="354"/>
                  </a:lnTo>
                  <a:lnTo>
                    <a:pt x="67" y="354"/>
                  </a:lnTo>
                  <a:lnTo>
                    <a:pt x="69" y="356"/>
                  </a:lnTo>
                  <a:lnTo>
                    <a:pt x="71" y="358"/>
                  </a:lnTo>
                  <a:lnTo>
                    <a:pt x="71" y="358"/>
                  </a:lnTo>
                  <a:lnTo>
                    <a:pt x="73" y="358"/>
                  </a:lnTo>
                  <a:lnTo>
                    <a:pt x="75" y="360"/>
                  </a:lnTo>
                  <a:lnTo>
                    <a:pt x="80" y="360"/>
                  </a:lnTo>
                  <a:lnTo>
                    <a:pt x="82" y="362"/>
                  </a:lnTo>
                  <a:lnTo>
                    <a:pt x="82" y="364"/>
                  </a:lnTo>
                  <a:lnTo>
                    <a:pt x="82" y="366"/>
                  </a:lnTo>
                  <a:lnTo>
                    <a:pt x="84" y="366"/>
                  </a:lnTo>
                  <a:lnTo>
                    <a:pt x="84" y="368"/>
                  </a:lnTo>
                  <a:lnTo>
                    <a:pt x="86" y="371"/>
                  </a:lnTo>
                  <a:lnTo>
                    <a:pt x="86" y="371"/>
                  </a:lnTo>
                  <a:lnTo>
                    <a:pt x="88" y="373"/>
                  </a:lnTo>
                  <a:lnTo>
                    <a:pt x="88" y="373"/>
                  </a:lnTo>
                  <a:lnTo>
                    <a:pt x="90" y="375"/>
                  </a:lnTo>
                  <a:lnTo>
                    <a:pt x="90" y="377"/>
                  </a:lnTo>
                  <a:lnTo>
                    <a:pt x="90" y="379"/>
                  </a:lnTo>
                  <a:lnTo>
                    <a:pt x="92" y="381"/>
                  </a:lnTo>
                  <a:lnTo>
                    <a:pt x="94" y="383"/>
                  </a:lnTo>
                  <a:lnTo>
                    <a:pt x="102" y="385"/>
                  </a:lnTo>
                  <a:lnTo>
                    <a:pt x="104" y="385"/>
                  </a:lnTo>
                  <a:lnTo>
                    <a:pt x="112" y="383"/>
                  </a:lnTo>
                  <a:lnTo>
                    <a:pt x="114" y="383"/>
                  </a:lnTo>
                  <a:lnTo>
                    <a:pt x="118" y="383"/>
                  </a:lnTo>
                  <a:lnTo>
                    <a:pt x="123" y="383"/>
                  </a:lnTo>
                  <a:lnTo>
                    <a:pt x="123" y="385"/>
                  </a:lnTo>
                  <a:lnTo>
                    <a:pt x="125" y="387"/>
                  </a:lnTo>
                  <a:lnTo>
                    <a:pt x="127" y="389"/>
                  </a:lnTo>
                  <a:lnTo>
                    <a:pt x="133" y="393"/>
                  </a:lnTo>
                  <a:lnTo>
                    <a:pt x="137" y="395"/>
                  </a:lnTo>
                  <a:lnTo>
                    <a:pt x="141" y="395"/>
                  </a:lnTo>
                  <a:lnTo>
                    <a:pt x="141" y="395"/>
                  </a:lnTo>
                  <a:lnTo>
                    <a:pt x="143" y="393"/>
                  </a:lnTo>
                  <a:lnTo>
                    <a:pt x="143" y="391"/>
                  </a:lnTo>
                  <a:lnTo>
                    <a:pt x="143" y="389"/>
                  </a:lnTo>
                  <a:lnTo>
                    <a:pt x="145" y="389"/>
                  </a:lnTo>
                  <a:lnTo>
                    <a:pt x="151" y="385"/>
                  </a:lnTo>
                  <a:lnTo>
                    <a:pt x="151" y="385"/>
                  </a:lnTo>
                  <a:lnTo>
                    <a:pt x="153" y="385"/>
                  </a:lnTo>
                  <a:lnTo>
                    <a:pt x="155" y="387"/>
                  </a:lnTo>
                  <a:lnTo>
                    <a:pt x="157" y="387"/>
                  </a:lnTo>
                  <a:lnTo>
                    <a:pt x="157" y="387"/>
                  </a:lnTo>
                  <a:lnTo>
                    <a:pt x="161" y="387"/>
                  </a:lnTo>
                  <a:lnTo>
                    <a:pt x="161" y="387"/>
                  </a:lnTo>
                  <a:lnTo>
                    <a:pt x="166" y="389"/>
                  </a:lnTo>
                  <a:lnTo>
                    <a:pt x="166" y="389"/>
                  </a:lnTo>
                  <a:lnTo>
                    <a:pt x="168" y="389"/>
                  </a:lnTo>
                  <a:lnTo>
                    <a:pt x="170" y="393"/>
                  </a:lnTo>
                  <a:lnTo>
                    <a:pt x="170" y="393"/>
                  </a:lnTo>
                  <a:lnTo>
                    <a:pt x="172" y="393"/>
                  </a:lnTo>
                  <a:lnTo>
                    <a:pt x="174" y="393"/>
                  </a:lnTo>
                  <a:lnTo>
                    <a:pt x="176" y="391"/>
                  </a:lnTo>
                  <a:lnTo>
                    <a:pt x="176" y="391"/>
                  </a:lnTo>
                  <a:lnTo>
                    <a:pt x="178" y="389"/>
                  </a:lnTo>
                  <a:lnTo>
                    <a:pt x="182" y="391"/>
                  </a:lnTo>
                  <a:lnTo>
                    <a:pt x="184" y="389"/>
                  </a:lnTo>
                  <a:lnTo>
                    <a:pt x="186" y="389"/>
                  </a:lnTo>
                  <a:lnTo>
                    <a:pt x="186" y="387"/>
                  </a:lnTo>
                  <a:lnTo>
                    <a:pt x="186" y="385"/>
                  </a:lnTo>
                  <a:lnTo>
                    <a:pt x="186" y="385"/>
                  </a:lnTo>
                  <a:lnTo>
                    <a:pt x="188" y="383"/>
                  </a:lnTo>
                  <a:lnTo>
                    <a:pt x="190" y="383"/>
                  </a:lnTo>
                  <a:lnTo>
                    <a:pt x="190" y="381"/>
                  </a:lnTo>
                  <a:lnTo>
                    <a:pt x="192" y="379"/>
                  </a:lnTo>
                  <a:lnTo>
                    <a:pt x="192" y="379"/>
                  </a:lnTo>
                  <a:lnTo>
                    <a:pt x="194" y="377"/>
                  </a:lnTo>
                  <a:lnTo>
                    <a:pt x="196" y="377"/>
                  </a:lnTo>
                  <a:lnTo>
                    <a:pt x="200" y="373"/>
                  </a:lnTo>
                  <a:lnTo>
                    <a:pt x="202" y="373"/>
                  </a:lnTo>
                  <a:lnTo>
                    <a:pt x="204" y="373"/>
                  </a:lnTo>
                  <a:lnTo>
                    <a:pt x="204" y="375"/>
                  </a:lnTo>
                  <a:lnTo>
                    <a:pt x="204" y="377"/>
                  </a:lnTo>
                  <a:lnTo>
                    <a:pt x="207" y="379"/>
                  </a:lnTo>
                  <a:lnTo>
                    <a:pt x="209" y="385"/>
                  </a:lnTo>
                  <a:lnTo>
                    <a:pt x="213" y="389"/>
                  </a:lnTo>
                  <a:lnTo>
                    <a:pt x="217" y="391"/>
                  </a:lnTo>
                  <a:lnTo>
                    <a:pt x="221" y="391"/>
                  </a:lnTo>
                  <a:lnTo>
                    <a:pt x="223" y="393"/>
                  </a:lnTo>
                  <a:lnTo>
                    <a:pt x="231" y="397"/>
                  </a:lnTo>
                  <a:lnTo>
                    <a:pt x="231" y="399"/>
                  </a:lnTo>
                  <a:lnTo>
                    <a:pt x="233" y="403"/>
                  </a:lnTo>
                  <a:lnTo>
                    <a:pt x="235" y="403"/>
                  </a:lnTo>
                  <a:lnTo>
                    <a:pt x="235" y="403"/>
                  </a:lnTo>
                  <a:lnTo>
                    <a:pt x="237" y="405"/>
                  </a:lnTo>
                  <a:lnTo>
                    <a:pt x="241" y="403"/>
                  </a:lnTo>
                  <a:lnTo>
                    <a:pt x="247" y="399"/>
                  </a:lnTo>
                  <a:lnTo>
                    <a:pt x="254" y="399"/>
                  </a:lnTo>
                  <a:lnTo>
                    <a:pt x="256" y="397"/>
                  </a:lnTo>
                  <a:lnTo>
                    <a:pt x="258" y="395"/>
                  </a:lnTo>
                  <a:lnTo>
                    <a:pt x="258" y="393"/>
                  </a:lnTo>
                  <a:lnTo>
                    <a:pt x="258" y="383"/>
                  </a:lnTo>
                  <a:lnTo>
                    <a:pt x="258" y="381"/>
                  </a:lnTo>
                  <a:lnTo>
                    <a:pt x="260" y="381"/>
                  </a:lnTo>
                  <a:lnTo>
                    <a:pt x="264" y="381"/>
                  </a:lnTo>
                  <a:lnTo>
                    <a:pt x="266" y="379"/>
                  </a:lnTo>
                  <a:lnTo>
                    <a:pt x="266" y="377"/>
                  </a:lnTo>
                  <a:lnTo>
                    <a:pt x="266" y="377"/>
                  </a:lnTo>
                  <a:lnTo>
                    <a:pt x="266" y="375"/>
                  </a:lnTo>
                  <a:lnTo>
                    <a:pt x="266" y="375"/>
                  </a:lnTo>
                  <a:lnTo>
                    <a:pt x="264" y="373"/>
                  </a:lnTo>
                  <a:lnTo>
                    <a:pt x="264" y="371"/>
                  </a:lnTo>
                  <a:lnTo>
                    <a:pt x="264" y="368"/>
                  </a:lnTo>
                  <a:lnTo>
                    <a:pt x="264" y="366"/>
                  </a:lnTo>
                  <a:lnTo>
                    <a:pt x="262" y="364"/>
                  </a:lnTo>
                  <a:lnTo>
                    <a:pt x="262" y="364"/>
                  </a:lnTo>
                  <a:lnTo>
                    <a:pt x="260" y="362"/>
                  </a:lnTo>
                  <a:lnTo>
                    <a:pt x="260" y="360"/>
                  </a:lnTo>
                  <a:lnTo>
                    <a:pt x="262" y="358"/>
                  </a:lnTo>
                  <a:lnTo>
                    <a:pt x="264" y="356"/>
                  </a:lnTo>
                  <a:lnTo>
                    <a:pt x="264" y="354"/>
                  </a:lnTo>
                  <a:lnTo>
                    <a:pt x="264" y="352"/>
                  </a:lnTo>
                  <a:lnTo>
                    <a:pt x="264" y="350"/>
                  </a:lnTo>
                  <a:lnTo>
                    <a:pt x="264" y="346"/>
                  </a:lnTo>
                  <a:lnTo>
                    <a:pt x="266" y="344"/>
                  </a:lnTo>
                  <a:lnTo>
                    <a:pt x="268" y="338"/>
                  </a:lnTo>
                  <a:lnTo>
                    <a:pt x="270" y="334"/>
                  </a:lnTo>
                  <a:lnTo>
                    <a:pt x="272" y="332"/>
                  </a:lnTo>
                  <a:lnTo>
                    <a:pt x="274" y="332"/>
                  </a:lnTo>
                  <a:lnTo>
                    <a:pt x="276" y="332"/>
                  </a:lnTo>
                  <a:lnTo>
                    <a:pt x="276" y="334"/>
                  </a:lnTo>
                  <a:lnTo>
                    <a:pt x="280" y="334"/>
                  </a:lnTo>
                  <a:lnTo>
                    <a:pt x="280" y="336"/>
                  </a:lnTo>
                  <a:lnTo>
                    <a:pt x="282" y="338"/>
                  </a:lnTo>
                  <a:lnTo>
                    <a:pt x="282" y="338"/>
                  </a:lnTo>
                  <a:lnTo>
                    <a:pt x="282" y="340"/>
                  </a:lnTo>
                  <a:lnTo>
                    <a:pt x="284" y="340"/>
                  </a:lnTo>
                  <a:lnTo>
                    <a:pt x="284" y="340"/>
                  </a:lnTo>
                  <a:lnTo>
                    <a:pt x="284" y="340"/>
                  </a:lnTo>
                  <a:lnTo>
                    <a:pt x="282" y="342"/>
                  </a:lnTo>
                  <a:lnTo>
                    <a:pt x="282" y="342"/>
                  </a:lnTo>
                  <a:lnTo>
                    <a:pt x="282" y="342"/>
                  </a:lnTo>
                  <a:lnTo>
                    <a:pt x="282" y="344"/>
                  </a:lnTo>
                  <a:lnTo>
                    <a:pt x="282" y="344"/>
                  </a:lnTo>
                  <a:lnTo>
                    <a:pt x="282" y="344"/>
                  </a:lnTo>
                  <a:lnTo>
                    <a:pt x="282" y="346"/>
                  </a:lnTo>
                  <a:lnTo>
                    <a:pt x="284" y="346"/>
                  </a:lnTo>
                  <a:lnTo>
                    <a:pt x="286" y="344"/>
                  </a:lnTo>
                  <a:lnTo>
                    <a:pt x="288" y="342"/>
                  </a:lnTo>
                  <a:lnTo>
                    <a:pt x="288" y="342"/>
                  </a:lnTo>
                  <a:lnTo>
                    <a:pt x="288" y="338"/>
                  </a:lnTo>
                  <a:lnTo>
                    <a:pt x="288" y="338"/>
                  </a:lnTo>
                  <a:lnTo>
                    <a:pt x="290" y="336"/>
                  </a:lnTo>
                  <a:lnTo>
                    <a:pt x="290" y="336"/>
                  </a:lnTo>
                  <a:lnTo>
                    <a:pt x="293" y="338"/>
                  </a:lnTo>
                  <a:lnTo>
                    <a:pt x="293" y="338"/>
                  </a:lnTo>
                  <a:lnTo>
                    <a:pt x="295" y="338"/>
                  </a:lnTo>
                  <a:lnTo>
                    <a:pt x="295" y="336"/>
                  </a:lnTo>
                  <a:lnTo>
                    <a:pt x="295" y="336"/>
                  </a:lnTo>
                  <a:lnTo>
                    <a:pt x="293" y="334"/>
                  </a:lnTo>
                  <a:lnTo>
                    <a:pt x="293" y="330"/>
                  </a:lnTo>
                  <a:lnTo>
                    <a:pt x="293" y="328"/>
                  </a:lnTo>
                  <a:lnTo>
                    <a:pt x="290" y="328"/>
                  </a:lnTo>
                  <a:lnTo>
                    <a:pt x="290" y="328"/>
                  </a:lnTo>
                  <a:lnTo>
                    <a:pt x="290" y="325"/>
                  </a:lnTo>
                  <a:lnTo>
                    <a:pt x="288" y="325"/>
                  </a:lnTo>
                  <a:lnTo>
                    <a:pt x="288" y="325"/>
                  </a:lnTo>
                  <a:lnTo>
                    <a:pt x="288" y="323"/>
                  </a:lnTo>
                  <a:lnTo>
                    <a:pt x="288" y="323"/>
                  </a:lnTo>
                  <a:lnTo>
                    <a:pt x="288" y="323"/>
                  </a:lnTo>
                  <a:lnTo>
                    <a:pt x="293" y="321"/>
                  </a:lnTo>
                  <a:lnTo>
                    <a:pt x="293" y="319"/>
                  </a:lnTo>
                  <a:lnTo>
                    <a:pt x="293" y="317"/>
                  </a:lnTo>
                  <a:lnTo>
                    <a:pt x="293" y="313"/>
                  </a:lnTo>
                  <a:lnTo>
                    <a:pt x="293" y="311"/>
                  </a:lnTo>
                  <a:lnTo>
                    <a:pt x="293" y="311"/>
                  </a:lnTo>
                  <a:lnTo>
                    <a:pt x="295" y="305"/>
                  </a:lnTo>
                  <a:lnTo>
                    <a:pt x="297" y="301"/>
                  </a:lnTo>
                  <a:lnTo>
                    <a:pt x="297" y="301"/>
                  </a:lnTo>
                  <a:lnTo>
                    <a:pt x="299" y="301"/>
                  </a:lnTo>
                  <a:lnTo>
                    <a:pt x="301" y="299"/>
                  </a:lnTo>
                  <a:lnTo>
                    <a:pt x="303" y="299"/>
                  </a:lnTo>
                  <a:lnTo>
                    <a:pt x="303" y="299"/>
                  </a:lnTo>
                  <a:lnTo>
                    <a:pt x="303" y="299"/>
                  </a:lnTo>
                  <a:lnTo>
                    <a:pt x="303" y="299"/>
                  </a:lnTo>
                  <a:lnTo>
                    <a:pt x="305" y="299"/>
                  </a:lnTo>
                  <a:lnTo>
                    <a:pt x="305" y="297"/>
                  </a:lnTo>
                  <a:lnTo>
                    <a:pt x="305" y="293"/>
                  </a:lnTo>
                  <a:lnTo>
                    <a:pt x="305" y="291"/>
                  </a:lnTo>
                  <a:lnTo>
                    <a:pt x="311" y="284"/>
                  </a:lnTo>
                  <a:lnTo>
                    <a:pt x="311" y="284"/>
                  </a:lnTo>
                  <a:lnTo>
                    <a:pt x="315" y="282"/>
                  </a:lnTo>
                  <a:lnTo>
                    <a:pt x="317" y="284"/>
                  </a:lnTo>
                  <a:lnTo>
                    <a:pt x="317" y="287"/>
                  </a:lnTo>
                  <a:lnTo>
                    <a:pt x="319" y="287"/>
                  </a:lnTo>
                  <a:lnTo>
                    <a:pt x="321" y="289"/>
                  </a:lnTo>
                  <a:lnTo>
                    <a:pt x="323" y="289"/>
                  </a:lnTo>
                  <a:lnTo>
                    <a:pt x="325" y="284"/>
                  </a:lnTo>
                  <a:lnTo>
                    <a:pt x="327" y="284"/>
                  </a:lnTo>
                  <a:lnTo>
                    <a:pt x="329" y="282"/>
                  </a:lnTo>
                  <a:lnTo>
                    <a:pt x="329" y="282"/>
                  </a:lnTo>
                  <a:lnTo>
                    <a:pt x="331" y="280"/>
                  </a:lnTo>
                  <a:lnTo>
                    <a:pt x="333" y="280"/>
                  </a:lnTo>
                  <a:lnTo>
                    <a:pt x="336" y="276"/>
                  </a:lnTo>
                  <a:lnTo>
                    <a:pt x="336" y="276"/>
                  </a:lnTo>
                  <a:lnTo>
                    <a:pt x="340" y="274"/>
                  </a:lnTo>
                  <a:lnTo>
                    <a:pt x="340" y="272"/>
                  </a:lnTo>
                  <a:lnTo>
                    <a:pt x="342" y="268"/>
                  </a:lnTo>
                  <a:lnTo>
                    <a:pt x="344" y="264"/>
                  </a:lnTo>
                  <a:lnTo>
                    <a:pt x="352" y="256"/>
                  </a:lnTo>
                  <a:lnTo>
                    <a:pt x="356" y="252"/>
                  </a:lnTo>
                  <a:lnTo>
                    <a:pt x="356" y="252"/>
                  </a:lnTo>
                  <a:lnTo>
                    <a:pt x="358" y="248"/>
                  </a:lnTo>
                  <a:lnTo>
                    <a:pt x="358" y="248"/>
                  </a:lnTo>
                  <a:lnTo>
                    <a:pt x="356" y="246"/>
                  </a:lnTo>
                  <a:lnTo>
                    <a:pt x="356" y="246"/>
                  </a:lnTo>
                  <a:lnTo>
                    <a:pt x="356" y="246"/>
                  </a:lnTo>
                  <a:lnTo>
                    <a:pt x="358" y="243"/>
                  </a:lnTo>
                  <a:lnTo>
                    <a:pt x="358" y="241"/>
                  </a:lnTo>
                  <a:lnTo>
                    <a:pt x="358" y="239"/>
                  </a:lnTo>
                  <a:lnTo>
                    <a:pt x="356" y="239"/>
                  </a:lnTo>
                  <a:lnTo>
                    <a:pt x="356" y="237"/>
                  </a:lnTo>
                  <a:lnTo>
                    <a:pt x="354" y="237"/>
                  </a:lnTo>
                  <a:lnTo>
                    <a:pt x="354" y="235"/>
                  </a:lnTo>
                  <a:lnTo>
                    <a:pt x="356" y="235"/>
                  </a:lnTo>
                  <a:lnTo>
                    <a:pt x="356" y="233"/>
                  </a:lnTo>
                  <a:lnTo>
                    <a:pt x="356" y="231"/>
                  </a:lnTo>
                  <a:lnTo>
                    <a:pt x="356" y="229"/>
                  </a:lnTo>
                  <a:lnTo>
                    <a:pt x="358" y="229"/>
                  </a:lnTo>
                  <a:lnTo>
                    <a:pt x="358" y="227"/>
                  </a:lnTo>
                  <a:lnTo>
                    <a:pt x="358" y="225"/>
                  </a:lnTo>
                  <a:lnTo>
                    <a:pt x="358" y="225"/>
                  </a:lnTo>
                  <a:lnTo>
                    <a:pt x="358" y="223"/>
                  </a:lnTo>
                  <a:lnTo>
                    <a:pt x="358" y="223"/>
                  </a:lnTo>
                  <a:lnTo>
                    <a:pt x="358" y="221"/>
                  </a:lnTo>
                  <a:lnTo>
                    <a:pt x="358" y="219"/>
                  </a:lnTo>
                  <a:lnTo>
                    <a:pt x="358" y="219"/>
                  </a:lnTo>
                  <a:lnTo>
                    <a:pt x="360" y="221"/>
                  </a:lnTo>
                  <a:lnTo>
                    <a:pt x="360" y="219"/>
                  </a:lnTo>
                  <a:lnTo>
                    <a:pt x="360" y="219"/>
                  </a:lnTo>
                  <a:lnTo>
                    <a:pt x="360" y="217"/>
                  </a:lnTo>
                  <a:lnTo>
                    <a:pt x="360" y="217"/>
                  </a:lnTo>
                  <a:lnTo>
                    <a:pt x="360" y="217"/>
                  </a:lnTo>
                  <a:lnTo>
                    <a:pt x="360" y="215"/>
                  </a:lnTo>
                  <a:lnTo>
                    <a:pt x="360" y="213"/>
                  </a:lnTo>
                  <a:lnTo>
                    <a:pt x="360" y="211"/>
                  </a:lnTo>
                  <a:lnTo>
                    <a:pt x="360" y="209"/>
                  </a:lnTo>
                  <a:lnTo>
                    <a:pt x="360" y="205"/>
                  </a:lnTo>
                  <a:lnTo>
                    <a:pt x="360" y="202"/>
                  </a:lnTo>
                  <a:lnTo>
                    <a:pt x="360" y="200"/>
                  </a:lnTo>
                  <a:lnTo>
                    <a:pt x="362" y="196"/>
                  </a:lnTo>
                  <a:lnTo>
                    <a:pt x="362" y="194"/>
                  </a:lnTo>
                  <a:lnTo>
                    <a:pt x="362" y="190"/>
                  </a:lnTo>
                  <a:lnTo>
                    <a:pt x="362" y="188"/>
                  </a:lnTo>
                  <a:lnTo>
                    <a:pt x="362" y="182"/>
                  </a:lnTo>
                  <a:lnTo>
                    <a:pt x="364" y="182"/>
                  </a:lnTo>
                  <a:lnTo>
                    <a:pt x="366" y="180"/>
                  </a:lnTo>
                  <a:lnTo>
                    <a:pt x="366" y="180"/>
                  </a:lnTo>
                  <a:lnTo>
                    <a:pt x="366" y="176"/>
                  </a:lnTo>
                  <a:lnTo>
                    <a:pt x="366" y="176"/>
                  </a:lnTo>
                  <a:lnTo>
                    <a:pt x="366" y="174"/>
                  </a:lnTo>
                  <a:lnTo>
                    <a:pt x="364" y="172"/>
                  </a:lnTo>
                  <a:lnTo>
                    <a:pt x="364" y="170"/>
                  </a:lnTo>
                  <a:lnTo>
                    <a:pt x="364" y="170"/>
                  </a:lnTo>
                  <a:lnTo>
                    <a:pt x="364" y="170"/>
                  </a:lnTo>
                  <a:lnTo>
                    <a:pt x="364" y="170"/>
                  </a:lnTo>
                  <a:lnTo>
                    <a:pt x="364" y="168"/>
                  </a:lnTo>
                  <a:lnTo>
                    <a:pt x="364" y="168"/>
                  </a:lnTo>
                  <a:lnTo>
                    <a:pt x="362" y="168"/>
                  </a:lnTo>
                  <a:lnTo>
                    <a:pt x="362" y="166"/>
                  </a:lnTo>
                  <a:lnTo>
                    <a:pt x="364" y="162"/>
                  </a:lnTo>
                  <a:lnTo>
                    <a:pt x="364" y="159"/>
                  </a:lnTo>
                  <a:lnTo>
                    <a:pt x="362" y="157"/>
                  </a:lnTo>
                  <a:lnTo>
                    <a:pt x="362" y="155"/>
                  </a:lnTo>
                  <a:lnTo>
                    <a:pt x="360" y="153"/>
                  </a:lnTo>
                  <a:lnTo>
                    <a:pt x="356" y="149"/>
                  </a:lnTo>
                  <a:lnTo>
                    <a:pt x="356" y="147"/>
                  </a:lnTo>
                  <a:lnTo>
                    <a:pt x="356" y="145"/>
                  </a:lnTo>
                  <a:lnTo>
                    <a:pt x="358" y="145"/>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OH</a:t>
              </a:r>
            </a:p>
          </p:txBody>
        </p:sp>
        <p:sp>
          <p:nvSpPr>
            <p:cNvPr id="100" name="Freeform 21">
              <a:extLst>
                <a:ext uri="{FF2B5EF4-FFF2-40B4-BE49-F238E27FC236}">
                  <a16:creationId xmlns:a16="http://schemas.microsoft.com/office/drawing/2014/main" id="{388A34FE-DC1A-9CB8-14E2-1446E99796DE}"/>
                </a:ext>
              </a:extLst>
            </p:cNvPr>
            <p:cNvSpPr>
              <a:spLocks/>
            </p:cNvSpPr>
            <p:nvPr/>
          </p:nvSpPr>
          <p:spPr bwMode="auto">
            <a:xfrm>
              <a:off x="1043" y="762"/>
              <a:ext cx="539" cy="810"/>
            </a:xfrm>
            <a:custGeom>
              <a:avLst/>
              <a:gdLst>
                <a:gd name="T0" fmla="*/ 453 w 539"/>
                <a:gd name="T1" fmla="*/ 701 h 810"/>
                <a:gd name="T2" fmla="*/ 442 w 539"/>
                <a:gd name="T3" fmla="*/ 707 h 810"/>
                <a:gd name="T4" fmla="*/ 436 w 539"/>
                <a:gd name="T5" fmla="*/ 701 h 810"/>
                <a:gd name="T6" fmla="*/ 434 w 539"/>
                <a:gd name="T7" fmla="*/ 693 h 810"/>
                <a:gd name="T8" fmla="*/ 430 w 539"/>
                <a:gd name="T9" fmla="*/ 691 h 810"/>
                <a:gd name="T10" fmla="*/ 426 w 539"/>
                <a:gd name="T11" fmla="*/ 693 h 810"/>
                <a:gd name="T12" fmla="*/ 424 w 539"/>
                <a:gd name="T13" fmla="*/ 693 h 810"/>
                <a:gd name="T14" fmla="*/ 422 w 539"/>
                <a:gd name="T15" fmla="*/ 691 h 810"/>
                <a:gd name="T16" fmla="*/ 416 w 539"/>
                <a:gd name="T17" fmla="*/ 689 h 810"/>
                <a:gd name="T18" fmla="*/ 401 w 539"/>
                <a:gd name="T19" fmla="*/ 691 h 810"/>
                <a:gd name="T20" fmla="*/ 399 w 539"/>
                <a:gd name="T21" fmla="*/ 693 h 810"/>
                <a:gd name="T22" fmla="*/ 399 w 539"/>
                <a:gd name="T23" fmla="*/ 699 h 810"/>
                <a:gd name="T24" fmla="*/ 397 w 539"/>
                <a:gd name="T25" fmla="*/ 707 h 810"/>
                <a:gd name="T26" fmla="*/ 401 w 539"/>
                <a:gd name="T27" fmla="*/ 718 h 810"/>
                <a:gd name="T28" fmla="*/ 397 w 539"/>
                <a:gd name="T29" fmla="*/ 728 h 810"/>
                <a:gd name="T30" fmla="*/ 399 w 539"/>
                <a:gd name="T31" fmla="*/ 744 h 810"/>
                <a:gd name="T32" fmla="*/ 397 w 539"/>
                <a:gd name="T33" fmla="*/ 761 h 810"/>
                <a:gd name="T34" fmla="*/ 401 w 539"/>
                <a:gd name="T35" fmla="*/ 777 h 810"/>
                <a:gd name="T36" fmla="*/ 399 w 539"/>
                <a:gd name="T37" fmla="*/ 791 h 810"/>
                <a:gd name="T38" fmla="*/ 395 w 539"/>
                <a:gd name="T39" fmla="*/ 796 h 810"/>
                <a:gd name="T40" fmla="*/ 393 w 539"/>
                <a:gd name="T41" fmla="*/ 800 h 810"/>
                <a:gd name="T42" fmla="*/ 393 w 539"/>
                <a:gd name="T43" fmla="*/ 806 h 810"/>
                <a:gd name="T44" fmla="*/ 379 w 539"/>
                <a:gd name="T45" fmla="*/ 793 h 810"/>
                <a:gd name="T46" fmla="*/ 323 w 539"/>
                <a:gd name="T47" fmla="*/ 726 h 810"/>
                <a:gd name="T48" fmla="*/ 276 w 539"/>
                <a:gd name="T49" fmla="*/ 662 h 810"/>
                <a:gd name="T50" fmla="*/ 227 w 539"/>
                <a:gd name="T51" fmla="*/ 599 h 810"/>
                <a:gd name="T52" fmla="*/ 172 w 539"/>
                <a:gd name="T53" fmla="*/ 531 h 810"/>
                <a:gd name="T54" fmla="*/ 117 w 539"/>
                <a:gd name="T55" fmla="*/ 459 h 810"/>
                <a:gd name="T56" fmla="*/ 49 w 539"/>
                <a:gd name="T57" fmla="*/ 377 h 810"/>
                <a:gd name="T58" fmla="*/ 0 w 539"/>
                <a:gd name="T59" fmla="*/ 312 h 810"/>
                <a:gd name="T60" fmla="*/ 12 w 539"/>
                <a:gd name="T61" fmla="*/ 248 h 810"/>
                <a:gd name="T62" fmla="*/ 24 w 539"/>
                <a:gd name="T63" fmla="*/ 173 h 810"/>
                <a:gd name="T64" fmla="*/ 39 w 539"/>
                <a:gd name="T65" fmla="*/ 95 h 810"/>
                <a:gd name="T66" fmla="*/ 53 w 539"/>
                <a:gd name="T67" fmla="*/ 19 h 810"/>
                <a:gd name="T68" fmla="*/ 102 w 539"/>
                <a:gd name="T69" fmla="*/ 9 h 810"/>
                <a:gd name="T70" fmla="*/ 162 w 539"/>
                <a:gd name="T71" fmla="*/ 19 h 810"/>
                <a:gd name="T72" fmla="*/ 223 w 539"/>
                <a:gd name="T73" fmla="*/ 29 h 810"/>
                <a:gd name="T74" fmla="*/ 283 w 539"/>
                <a:gd name="T75" fmla="*/ 37 h 810"/>
                <a:gd name="T76" fmla="*/ 344 w 539"/>
                <a:gd name="T77" fmla="*/ 48 h 810"/>
                <a:gd name="T78" fmla="*/ 403 w 539"/>
                <a:gd name="T79" fmla="*/ 56 h 810"/>
                <a:gd name="T80" fmla="*/ 463 w 539"/>
                <a:gd name="T81" fmla="*/ 64 h 810"/>
                <a:gd name="T82" fmla="*/ 524 w 539"/>
                <a:gd name="T83" fmla="*/ 72 h 810"/>
                <a:gd name="T84" fmla="*/ 532 w 539"/>
                <a:gd name="T85" fmla="*/ 123 h 810"/>
                <a:gd name="T86" fmla="*/ 524 w 539"/>
                <a:gd name="T87" fmla="*/ 189 h 810"/>
                <a:gd name="T88" fmla="*/ 516 w 539"/>
                <a:gd name="T89" fmla="*/ 257 h 810"/>
                <a:gd name="T90" fmla="*/ 508 w 539"/>
                <a:gd name="T91" fmla="*/ 322 h 810"/>
                <a:gd name="T92" fmla="*/ 500 w 539"/>
                <a:gd name="T93" fmla="*/ 388 h 810"/>
                <a:gd name="T94" fmla="*/ 491 w 539"/>
                <a:gd name="T95" fmla="*/ 455 h 810"/>
                <a:gd name="T96" fmla="*/ 483 w 539"/>
                <a:gd name="T97" fmla="*/ 521 h 810"/>
                <a:gd name="T98" fmla="*/ 473 w 539"/>
                <a:gd name="T99" fmla="*/ 587 h 810"/>
                <a:gd name="T100" fmla="*/ 471 w 539"/>
                <a:gd name="T101" fmla="*/ 611 h 810"/>
                <a:gd name="T102" fmla="*/ 467 w 539"/>
                <a:gd name="T103" fmla="*/ 636 h 810"/>
                <a:gd name="T104" fmla="*/ 465 w 539"/>
                <a:gd name="T105" fmla="*/ 664 h 810"/>
                <a:gd name="T106" fmla="*/ 461 w 539"/>
                <a:gd name="T107" fmla="*/ 683 h 810"/>
                <a:gd name="T108" fmla="*/ 461 w 539"/>
                <a:gd name="T109" fmla="*/ 689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10">
                  <a:moveTo>
                    <a:pt x="459" y="691"/>
                  </a:moveTo>
                  <a:lnTo>
                    <a:pt x="457" y="693"/>
                  </a:lnTo>
                  <a:lnTo>
                    <a:pt x="455" y="697"/>
                  </a:lnTo>
                  <a:lnTo>
                    <a:pt x="453" y="701"/>
                  </a:lnTo>
                  <a:lnTo>
                    <a:pt x="450" y="705"/>
                  </a:lnTo>
                  <a:lnTo>
                    <a:pt x="448" y="707"/>
                  </a:lnTo>
                  <a:lnTo>
                    <a:pt x="444" y="707"/>
                  </a:lnTo>
                  <a:lnTo>
                    <a:pt x="442" y="707"/>
                  </a:lnTo>
                  <a:lnTo>
                    <a:pt x="440" y="705"/>
                  </a:lnTo>
                  <a:lnTo>
                    <a:pt x="438" y="703"/>
                  </a:lnTo>
                  <a:lnTo>
                    <a:pt x="438" y="701"/>
                  </a:lnTo>
                  <a:lnTo>
                    <a:pt x="436" y="701"/>
                  </a:lnTo>
                  <a:lnTo>
                    <a:pt x="436" y="695"/>
                  </a:lnTo>
                  <a:lnTo>
                    <a:pt x="434" y="695"/>
                  </a:lnTo>
                  <a:lnTo>
                    <a:pt x="434" y="693"/>
                  </a:lnTo>
                  <a:lnTo>
                    <a:pt x="434" y="693"/>
                  </a:lnTo>
                  <a:lnTo>
                    <a:pt x="432" y="693"/>
                  </a:lnTo>
                  <a:lnTo>
                    <a:pt x="432" y="691"/>
                  </a:lnTo>
                  <a:lnTo>
                    <a:pt x="432" y="691"/>
                  </a:lnTo>
                  <a:lnTo>
                    <a:pt x="430" y="691"/>
                  </a:lnTo>
                  <a:lnTo>
                    <a:pt x="430" y="691"/>
                  </a:lnTo>
                  <a:lnTo>
                    <a:pt x="430" y="691"/>
                  </a:lnTo>
                  <a:lnTo>
                    <a:pt x="430" y="691"/>
                  </a:lnTo>
                  <a:lnTo>
                    <a:pt x="426" y="693"/>
                  </a:lnTo>
                  <a:lnTo>
                    <a:pt x="426" y="693"/>
                  </a:lnTo>
                  <a:lnTo>
                    <a:pt x="426" y="693"/>
                  </a:lnTo>
                  <a:lnTo>
                    <a:pt x="424" y="693"/>
                  </a:lnTo>
                  <a:lnTo>
                    <a:pt x="424" y="693"/>
                  </a:lnTo>
                  <a:lnTo>
                    <a:pt x="424" y="693"/>
                  </a:lnTo>
                  <a:lnTo>
                    <a:pt x="422" y="691"/>
                  </a:lnTo>
                  <a:lnTo>
                    <a:pt x="422" y="691"/>
                  </a:lnTo>
                  <a:lnTo>
                    <a:pt x="422" y="691"/>
                  </a:lnTo>
                  <a:lnTo>
                    <a:pt x="422" y="691"/>
                  </a:lnTo>
                  <a:lnTo>
                    <a:pt x="416" y="689"/>
                  </a:lnTo>
                  <a:lnTo>
                    <a:pt x="416" y="689"/>
                  </a:lnTo>
                  <a:lnTo>
                    <a:pt x="416" y="689"/>
                  </a:lnTo>
                  <a:lnTo>
                    <a:pt x="414" y="689"/>
                  </a:lnTo>
                  <a:lnTo>
                    <a:pt x="407" y="689"/>
                  </a:lnTo>
                  <a:lnTo>
                    <a:pt x="405" y="691"/>
                  </a:lnTo>
                  <a:lnTo>
                    <a:pt x="401" y="691"/>
                  </a:lnTo>
                  <a:lnTo>
                    <a:pt x="401" y="691"/>
                  </a:lnTo>
                  <a:lnTo>
                    <a:pt x="401" y="693"/>
                  </a:lnTo>
                  <a:lnTo>
                    <a:pt x="401" y="693"/>
                  </a:lnTo>
                  <a:lnTo>
                    <a:pt x="399" y="693"/>
                  </a:lnTo>
                  <a:lnTo>
                    <a:pt x="399" y="695"/>
                  </a:lnTo>
                  <a:lnTo>
                    <a:pt x="399" y="695"/>
                  </a:lnTo>
                  <a:lnTo>
                    <a:pt x="399" y="697"/>
                  </a:lnTo>
                  <a:lnTo>
                    <a:pt x="399" y="699"/>
                  </a:lnTo>
                  <a:lnTo>
                    <a:pt x="399" y="701"/>
                  </a:lnTo>
                  <a:lnTo>
                    <a:pt x="397" y="701"/>
                  </a:lnTo>
                  <a:lnTo>
                    <a:pt x="397" y="705"/>
                  </a:lnTo>
                  <a:lnTo>
                    <a:pt x="397" y="707"/>
                  </a:lnTo>
                  <a:lnTo>
                    <a:pt x="399" y="709"/>
                  </a:lnTo>
                  <a:lnTo>
                    <a:pt x="401" y="716"/>
                  </a:lnTo>
                  <a:lnTo>
                    <a:pt x="401" y="716"/>
                  </a:lnTo>
                  <a:lnTo>
                    <a:pt x="401" y="718"/>
                  </a:lnTo>
                  <a:lnTo>
                    <a:pt x="401" y="718"/>
                  </a:lnTo>
                  <a:lnTo>
                    <a:pt x="399" y="722"/>
                  </a:lnTo>
                  <a:lnTo>
                    <a:pt x="399" y="722"/>
                  </a:lnTo>
                  <a:lnTo>
                    <a:pt x="397" y="728"/>
                  </a:lnTo>
                  <a:lnTo>
                    <a:pt x="397" y="732"/>
                  </a:lnTo>
                  <a:lnTo>
                    <a:pt x="397" y="734"/>
                  </a:lnTo>
                  <a:lnTo>
                    <a:pt x="399" y="742"/>
                  </a:lnTo>
                  <a:lnTo>
                    <a:pt x="399" y="744"/>
                  </a:lnTo>
                  <a:lnTo>
                    <a:pt x="399" y="746"/>
                  </a:lnTo>
                  <a:lnTo>
                    <a:pt x="399" y="750"/>
                  </a:lnTo>
                  <a:lnTo>
                    <a:pt x="397" y="757"/>
                  </a:lnTo>
                  <a:lnTo>
                    <a:pt x="397" y="761"/>
                  </a:lnTo>
                  <a:lnTo>
                    <a:pt x="399" y="765"/>
                  </a:lnTo>
                  <a:lnTo>
                    <a:pt x="401" y="771"/>
                  </a:lnTo>
                  <a:lnTo>
                    <a:pt x="401" y="773"/>
                  </a:lnTo>
                  <a:lnTo>
                    <a:pt x="401" y="777"/>
                  </a:lnTo>
                  <a:lnTo>
                    <a:pt x="399" y="779"/>
                  </a:lnTo>
                  <a:lnTo>
                    <a:pt x="401" y="785"/>
                  </a:lnTo>
                  <a:lnTo>
                    <a:pt x="401" y="789"/>
                  </a:lnTo>
                  <a:lnTo>
                    <a:pt x="399" y="791"/>
                  </a:lnTo>
                  <a:lnTo>
                    <a:pt x="399" y="796"/>
                  </a:lnTo>
                  <a:lnTo>
                    <a:pt x="399" y="796"/>
                  </a:lnTo>
                  <a:lnTo>
                    <a:pt x="397" y="796"/>
                  </a:lnTo>
                  <a:lnTo>
                    <a:pt x="395" y="796"/>
                  </a:lnTo>
                  <a:lnTo>
                    <a:pt x="395" y="796"/>
                  </a:lnTo>
                  <a:lnTo>
                    <a:pt x="393" y="796"/>
                  </a:lnTo>
                  <a:lnTo>
                    <a:pt x="393" y="798"/>
                  </a:lnTo>
                  <a:lnTo>
                    <a:pt x="393" y="800"/>
                  </a:lnTo>
                  <a:lnTo>
                    <a:pt x="395" y="802"/>
                  </a:lnTo>
                  <a:lnTo>
                    <a:pt x="395" y="802"/>
                  </a:lnTo>
                  <a:lnTo>
                    <a:pt x="395" y="804"/>
                  </a:lnTo>
                  <a:lnTo>
                    <a:pt x="393" y="806"/>
                  </a:lnTo>
                  <a:lnTo>
                    <a:pt x="393" y="810"/>
                  </a:lnTo>
                  <a:lnTo>
                    <a:pt x="393" y="810"/>
                  </a:lnTo>
                  <a:lnTo>
                    <a:pt x="393" y="810"/>
                  </a:lnTo>
                  <a:lnTo>
                    <a:pt x="379" y="793"/>
                  </a:lnTo>
                  <a:lnTo>
                    <a:pt x="364" y="775"/>
                  </a:lnTo>
                  <a:lnTo>
                    <a:pt x="350" y="759"/>
                  </a:lnTo>
                  <a:lnTo>
                    <a:pt x="336" y="740"/>
                  </a:lnTo>
                  <a:lnTo>
                    <a:pt x="323" y="726"/>
                  </a:lnTo>
                  <a:lnTo>
                    <a:pt x="311" y="709"/>
                  </a:lnTo>
                  <a:lnTo>
                    <a:pt x="299" y="695"/>
                  </a:lnTo>
                  <a:lnTo>
                    <a:pt x="287" y="679"/>
                  </a:lnTo>
                  <a:lnTo>
                    <a:pt x="276" y="662"/>
                  </a:lnTo>
                  <a:lnTo>
                    <a:pt x="264" y="648"/>
                  </a:lnTo>
                  <a:lnTo>
                    <a:pt x="252" y="632"/>
                  </a:lnTo>
                  <a:lnTo>
                    <a:pt x="240" y="617"/>
                  </a:lnTo>
                  <a:lnTo>
                    <a:pt x="227" y="599"/>
                  </a:lnTo>
                  <a:lnTo>
                    <a:pt x="213" y="582"/>
                  </a:lnTo>
                  <a:lnTo>
                    <a:pt x="199" y="566"/>
                  </a:lnTo>
                  <a:lnTo>
                    <a:pt x="186" y="548"/>
                  </a:lnTo>
                  <a:lnTo>
                    <a:pt x="172" y="531"/>
                  </a:lnTo>
                  <a:lnTo>
                    <a:pt x="160" y="515"/>
                  </a:lnTo>
                  <a:lnTo>
                    <a:pt x="145" y="496"/>
                  </a:lnTo>
                  <a:lnTo>
                    <a:pt x="133" y="480"/>
                  </a:lnTo>
                  <a:lnTo>
                    <a:pt x="117" y="459"/>
                  </a:lnTo>
                  <a:lnTo>
                    <a:pt x="100" y="439"/>
                  </a:lnTo>
                  <a:lnTo>
                    <a:pt x="82" y="418"/>
                  </a:lnTo>
                  <a:lnTo>
                    <a:pt x="65" y="398"/>
                  </a:lnTo>
                  <a:lnTo>
                    <a:pt x="49" y="377"/>
                  </a:lnTo>
                  <a:lnTo>
                    <a:pt x="33" y="355"/>
                  </a:lnTo>
                  <a:lnTo>
                    <a:pt x="16" y="334"/>
                  </a:lnTo>
                  <a:lnTo>
                    <a:pt x="0" y="314"/>
                  </a:lnTo>
                  <a:lnTo>
                    <a:pt x="0" y="312"/>
                  </a:lnTo>
                  <a:lnTo>
                    <a:pt x="0" y="308"/>
                  </a:lnTo>
                  <a:lnTo>
                    <a:pt x="4" y="287"/>
                  </a:lnTo>
                  <a:lnTo>
                    <a:pt x="8" y="269"/>
                  </a:lnTo>
                  <a:lnTo>
                    <a:pt x="12" y="248"/>
                  </a:lnTo>
                  <a:lnTo>
                    <a:pt x="14" y="230"/>
                  </a:lnTo>
                  <a:lnTo>
                    <a:pt x="18" y="211"/>
                  </a:lnTo>
                  <a:lnTo>
                    <a:pt x="22" y="191"/>
                  </a:lnTo>
                  <a:lnTo>
                    <a:pt x="24" y="173"/>
                  </a:lnTo>
                  <a:lnTo>
                    <a:pt x="29" y="152"/>
                  </a:lnTo>
                  <a:lnTo>
                    <a:pt x="33" y="134"/>
                  </a:lnTo>
                  <a:lnTo>
                    <a:pt x="37" y="115"/>
                  </a:lnTo>
                  <a:lnTo>
                    <a:pt x="39" y="95"/>
                  </a:lnTo>
                  <a:lnTo>
                    <a:pt x="43" y="76"/>
                  </a:lnTo>
                  <a:lnTo>
                    <a:pt x="47" y="58"/>
                  </a:lnTo>
                  <a:lnTo>
                    <a:pt x="49" y="37"/>
                  </a:lnTo>
                  <a:lnTo>
                    <a:pt x="53" y="19"/>
                  </a:lnTo>
                  <a:lnTo>
                    <a:pt x="57" y="0"/>
                  </a:lnTo>
                  <a:lnTo>
                    <a:pt x="72" y="2"/>
                  </a:lnTo>
                  <a:lnTo>
                    <a:pt x="88" y="5"/>
                  </a:lnTo>
                  <a:lnTo>
                    <a:pt x="102" y="9"/>
                  </a:lnTo>
                  <a:lnTo>
                    <a:pt x="117" y="11"/>
                  </a:lnTo>
                  <a:lnTo>
                    <a:pt x="133" y="13"/>
                  </a:lnTo>
                  <a:lnTo>
                    <a:pt x="147" y="15"/>
                  </a:lnTo>
                  <a:lnTo>
                    <a:pt x="162" y="19"/>
                  </a:lnTo>
                  <a:lnTo>
                    <a:pt x="178" y="21"/>
                  </a:lnTo>
                  <a:lnTo>
                    <a:pt x="192" y="23"/>
                  </a:lnTo>
                  <a:lnTo>
                    <a:pt x="207" y="25"/>
                  </a:lnTo>
                  <a:lnTo>
                    <a:pt x="223" y="29"/>
                  </a:lnTo>
                  <a:lnTo>
                    <a:pt x="237" y="31"/>
                  </a:lnTo>
                  <a:lnTo>
                    <a:pt x="252" y="33"/>
                  </a:lnTo>
                  <a:lnTo>
                    <a:pt x="268" y="35"/>
                  </a:lnTo>
                  <a:lnTo>
                    <a:pt x="283" y="37"/>
                  </a:lnTo>
                  <a:lnTo>
                    <a:pt x="297" y="39"/>
                  </a:lnTo>
                  <a:lnTo>
                    <a:pt x="313" y="43"/>
                  </a:lnTo>
                  <a:lnTo>
                    <a:pt x="328" y="46"/>
                  </a:lnTo>
                  <a:lnTo>
                    <a:pt x="344" y="48"/>
                  </a:lnTo>
                  <a:lnTo>
                    <a:pt x="358" y="50"/>
                  </a:lnTo>
                  <a:lnTo>
                    <a:pt x="373" y="52"/>
                  </a:lnTo>
                  <a:lnTo>
                    <a:pt x="389" y="54"/>
                  </a:lnTo>
                  <a:lnTo>
                    <a:pt x="403" y="56"/>
                  </a:lnTo>
                  <a:lnTo>
                    <a:pt x="418" y="58"/>
                  </a:lnTo>
                  <a:lnTo>
                    <a:pt x="434" y="60"/>
                  </a:lnTo>
                  <a:lnTo>
                    <a:pt x="448" y="62"/>
                  </a:lnTo>
                  <a:lnTo>
                    <a:pt x="463" y="64"/>
                  </a:lnTo>
                  <a:lnTo>
                    <a:pt x="479" y="66"/>
                  </a:lnTo>
                  <a:lnTo>
                    <a:pt x="493" y="68"/>
                  </a:lnTo>
                  <a:lnTo>
                    <a:pt x="508" y="70"/>
                  </a:lnTo>
                  <a:lnTo>
                    <a:pt x="524" y="72"/>
                  </a:lnTo>
                  <a:lnTo>
                    <a:pt x="539" y="74"/>
                  </a:lnTo>
                  <a:lnTo>
                    <a:pt x="536" y="91"/>
                  </a:lnTo>
                  <a:lnTo>
                    <a:pt x="534" y="107"/>
                  </a:lnTo>
                  <a:lnTo>
                    <a:pt x="532" y="123"/>
                  </a:lnTo>
                  <a:lnTo>
                    <a:pt x="530" y="140"/>
                  </a:lnTo>
                  <a:lnTo>
                    <a:pt x="528" y="156"/>
                  </a:lnTo>
                  <a:lnTo>
                    <a:pt x="526" y="173"/>
                  </a:lnTo>
                  <a:lnTo>
                    <a:pt x="524" y="189"/>
                  </a:lnTo>
                  <a:lnTo>
                    <a:pt x="522" y="205"/>
                  </a:lnTo>
                  <a:lnTo>
                    <a:pt x="520" y="222"/>
                  </a:lnTo>
                  <a:lnTo>
                    <a:pt x="518" y="238"/>
                  </a:lnTo>
                  <a:lnTo>
                    <a:pt x="516" y="257"/>
                  </a:lnTo>
                  <a:lnTo>
                    <a:pt x="514" y="273"/>
                  </a:lnTo>
                  <a:lnTo>
                    <a:pt x="512" y="289"/>
                  </a:lnTo>
                  <a:lnTo>
                    <a:pt x="510" y="306"/>
                  </a:lnTo>
                  <a:lnTo>
                    <a:pt x="508" y="322"/>
                  </a:lnTo>
                  <a:lnTo>
                    <a:pt x="506" y="339"/>
                  </a:lnTo>
                  <a:lnTo>
                    <a:pt x="504" y="355"/>
                  </a:lnTo>
                  <a:lnTo>
                    <a:pt x="502" y="371"/>
                  </a:lnTo>
                  <a:lnTo>
                    <a:pt x="500" y="388"/>
                  </a:lnTo>
                  <a:lnTo>
                    <a:pt x="498" y="404"/>
                  </a:lnTo>
                  <a:lnTo>
                    <a:pt x="496" y="421"/>
                  </a:lnTo>
                  <a:lnTo>
                    <a:pt x="493" y="437"/>
                  </a:lnTo>
                  <a:lnTo>
                    <a:pt x="491" y="455"/>
                  </a:lnTo>
                  <a:lnTo>
                    <a:pt x="489" y="472"/>
                  </a:lnTo>
                  <a:lnTo>
                    <a:pt x="487" y="488"/>
                  </a:lnTo>
                  <a:lnTo>
                    <a:pt x="485" y="505"/>
                  </a:lnTo>
                  <a:lnTo>
                    <a:pt x="483" y="521"/>
                  </a:lnTo>
                  <a:lnTo>
                    <a:pt x="479" y="537"/>
                  </a:lnTo>
                  <a:lnTo>
                    <a:pt x="477" y="554"/>
                  </a:lnTo>
                  <a:lnTo>
                    <a:pt x="475" y="570"/>
                  </a:lnTo>
                  <a:lnTo>
                    <a:pt x="473" y="587"/>
                  </a:lnTo>
                  <a:lnTo>
                    <a:pt x="471" y="605"/>
                  </a:lnTo>
                  <a:lnTo>
                    <a:pt x="471" y="605"/>
                  </a:lnTo>
                  <a:lnTo>
                    <a:pt x="471" y="607"/>
                  </a:lnTo>
                  <a:lnTo>
                    <a:pt x="471" y="611"/>
                  </a:lnTo>
                  <a:lnTo>
                    <a:pt x="471" y="617"/>
                  </a:lnTo>
                  <a:lnTo>
                    <a:pt x="469" y="623"/>
                  </a:lnTo>
                  <a:lnTo>
                    <a:pt x="469" y="630"/>
                  </a:lnTo>
                  <a:lnTo>
                    <a:pt x="467" y="636"/>
                  </a:lnTo>
                  <a:lnTo>
                    <a:pt x="467" y="644"/>
                  </a:lnTo>
                  <a:lnTo>
                    <a:pt x="465" y="650"/>
                  </a:lnTo>
                  <a:lnTo>
                    <a:pt x="465" y="658"/>
                  </a:lnTo>
                  <a:lnTo>
                    <a:pt x="465" y="664"/>
                  </a:lnTo>
                  <a:lnTo>
                    <a:pt x="463" y="671"/>
                  </a:lnTo>
                  <a:lnTo>
                    <a:pt x="463" y="677"/>
                  </a:lnTo>
                  <a:lnTo>
                    <a:pt x="463" y="681"/>
                  </a:lnTo>
                  <a:lnTo>
                    <a:pt x="461" y="683"/>
                  </a:lnTo>
                  <a:lnTo>
                    <a:pt x="461" y="683"/>
                  </a:lnTo>
                  <a:lnTo>
                    <a:pt x="461" y="687"/>
                  </a:lnTo>
                  <a:lnTo>
                    <a:pt x="461" y="689"/>
                  </a:lnTo>
                  <a:lnTo>
                    <a:pt x="461" y="689"/>
                  </a:lnTo>
                  <a:lnTo>
                    <a:pt x="459" y="691"/>
                  </a:lnTo>
                  <a:lnTo>
                    <a:pt x="459" y="691"/>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240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V</a:t>
              </a:r>
            </a:p>
          </p:txBody>
        </p:sp>
        <p:sp>
          <p:nvSpPr>
            <p:cNvPr id="101" name="Freeform 22">
              <a:extLst>
                <a:ext uri="{FF2B5EF4-FFF2-40B4-BE49-F238E27FC236}">
                  <a16:creationId xmlns:a16="http://schemas.microsoft.com/office/drawing/2014/main" id="{95540B84-6553-7267-7336-DCBD756F5AC5}"/>
                </a:ext>
              </a:extLst>
            </p:cNvPr>
            <p:cNvSpPr>
              <a:spLocks/>
            </p:cNvSpPr>
            <p:nvPr/>
          </p:nvSpPr>
          <p:spPr bwMode="auto">
            <a:xfrm>
              <a:off x="1895" y="1412"/>
              <a:ext cx="573" cy="615"/>
            </a:xfrm>
            <a:custGeom>
              <a:avLst/>
              <a:gdLst>
                <a:gd name="T0" fmla="*/ 229 w 573"/>
                <a:gd name="T1" fmla="*/ 578 h 615"/>
                <a:gd name="T2" fmla="*/ 215 w 573"/>
                <a:gd name="T3" fmla="*/ 576 h 615"/>
                <a:gd name="T4" fmla="*/ 201 w 573"/>
                <a:gd name="T5" fmla="*/ 576 h 615"/>
                <a:gd name="T6" fmla="*/ 186 w 573"/>
                <a:gd name="T7" fmla="*/ 574 h 615"/>
                <a:gd name="T8" fmla="*/ 172 w 573"/>
                <a:gd name="T9" fmla="*/ 574 h 615"/>
                <a:gd name="T10" fmla="*/ 158 w 573"/>
                <a:gd name="T11" fmla="*/ 572 h 615"/>
                <a:gd name="T12" fmla="*/ 145 w 573"/>
                <a:gd name="T13" fmla="*/ 572 h 615"/>
                <a:gd name="T14" fmla="*/ 131 w 573"/>
                <a:gd name="T15" fmla="*/ 570 h 615"/>
                <a:gd name="T16" fmla="*/ 117 w 573"/>
                <a:gd name="T17" fmla="*/ 570 h 615"/>
                <a:gd name="T18" fmla="*/ 102 w 573"/>
                <a:gd name="T19" fmla="*/ 568 h 615"/>
                <a:gd name="T20" fmla="*/ 88 w 573"/>
                <a:gd name="T21" fmla="*/ 568 h 615"/>
                <a:gd name="T22" fmla="*/ 80 w 573"/>
                <a:gd name="T23" fmla="*/ 568 h 615"/>
                <a:gd name="T24" fmla="*/ 80 w 573"/>
                <a:gd name="T25" fmla="*/ 572 h 615"/>
                <a:gd name="T26" fmla="*/ 80 w 573"/>
                <a:gd name="T27" fmla="*/ 578 h 615"/>
                <a:gd name="T28" fmla="*/ 80 w 573"/>
                <a:gd name="T29" fmla="*/ 582 h 615"/>
                <a:gd name="T30" fmla="*/ 80 w 573"/>
                <a:gd name="T31" fmla="*/ 586 h 615"/>
                <a:gd name="T32" fmla="*/ 78 w 573"/>
                <a:gd name="T33" fmla="*/ 590 h 615"/>
                <a:gd name="T34" fmla="*/ 78 w 573"/>
                <a:gd name="T35" fmla="*/ 596 h 615"/>
                <a:gd name="T36" fmla="*/ 78 w 573"/>
                <a:gd name="T37" fmla="*/ 600 h 615"/>
                <a:gd name="T38" fmla="*/ 78 w 573"/>
                <a:gd name="T39" fmla="*/ 605 h 615"/>
                <a:gd name="T40" fmla="*/ 78 w 573"/>
                <a:gd name="T41" fmla="*/ 609 h 615"/>
                <a:gd name="T42" fmla="*/ 78 w 573"/>
                <a:gd name="T43" fmla="*/ 613 h 615"/>
                <a:gd name="T44" fmla="*/ 65 w 573"/>
                <a:gd name="T45" fmla="*/ 615 h 615"/>
                <a:gd name="T46" fmla="*/ 41 w 573"/>
                <a:gd name="T47" fmla="*/ 613 h 615"/>
                <a:gd name="T48" fmla="*/ 18 w 573"/>
                <a:gd name="T49" fmla="*/ 611 h 615"/>
                <a:gd name="T50" fmla="*/ 0 w 573"/>
                <a:gd name="T51" fmla="*/ 609 h 615"/>
                <a:gd name="T52" fmla="*/ 0 w 573"/>
                <a:gd name="T53" fmla="*/ 609 h 615"/>
                <a:gd name="T54" fmla="*/ 0 w 573"/>
                <a:gd name="T55" fmla="*/ 609 h 615"/>
                <a:gd name="T56" fmla="*/ 0 w 573"/>
                <a:gd name="T57" fmla="*/ 609 h 615"/>
                <a:gd name="T58" fmla="*/ 0 w 573"/>
                <a:gd name="T59" fmla="*/ 609 h 615"/>
                <a:gd name="T60" fmla="*/ 0 w 573"/>
                <a:gd name="T61" fmla="*/ 609 h 615"/>
                <a:gd name="T62" fmla="*/ 8 w 573"/>
                <a:gd name="T63" fmla="*/ 512 h 615"/>
                <a:gd name="T64" fmla="*/ 18 w 573"/>
                <a:gd name="T65" fmla="*/ 400 h 615"/>
                <a:gd name="T66" fmla="*/ 26 w 573"/>
                <a:gd name="T67" fmla="*/ 285 h 615"/>
                <a:gd name="T68" fmla="*/ 37 w 573"/>
                <a:gd name="T69" fmla="*/ 170 h 615"/>
                <a:gd name="T70" fmla="*/ 45 w 573"/>
                <a:gd name="T71" fmla="*/ 57 h 615"/>
                <a:gd name="T72" fmla="*/ 100 w 573"/>
                <a:gd name="T73" fmla="*/ 4 h 615"/>
                <a:gd name="T74" fmla="*/ 196 w 573"/>
                <a:gd name="T75" fmla="*/ 10 h 615"/>
                <a:gd name="T76" fmla="*/ 295 w 573"/>
                <a:gd name="T77" fmla="*/ 16 h 615"/>
                <a:gd name="T78" fmla="*/ 393 w 573"/>
                <a:gd name="T79" fmla="*/ 21 h 615"/>
                <a:gd name="T80" fmla="*/ 491 w 573"/>
                <a:gd name="T81" fmla="*/ 25 h 615"/>
                <a:gd name="T82" fmla="*/ 573 w 573"/>
                <a:gd name="T83" fmla="*/ 41 h 615"/>
                <a:gd name="T84" fmla="*/ 569 w 573"/>
                <a:gd name="T85" fmla="*/ 86 h 615"/>
                <a:gd name="T86" fmla="*/ 565 w 573"/>
                <a:gd name="T87" fmla="*/ 176 h 615"/>
                <a:gd name="T88" fmla="*/ 563 w 573"/>
                <a:gd name="T89" fmla="*/ 266 h 615"/>
                <a:gd name="T90" fmla="*/ 559 w 573"/>
                <a:gd name="T91" fmla="*/ 357 h 615"/>
                <a:gd name="T92" fmla="*/ 557 w 573"/>
                <a:gd name="T93" fmla="*/ 447 h 615"/>
                <a:gd name="T94" fmla="*/ 555 w 573"/>
                <a:gd name="T95" fmla="*/ 537 h 615"/>
                <a:gd name="T96" fmla="*/ 471 w 573"/>
                <a:gd name="T97" fmla="*/ 564 h 615"/>
                <a:gd name="T98" fmla="*/ 350 w 573"/>
                <a:gd name="T99" fmla="*/ 560 h 615"/>
                <a:gd name="T100" fmla="*/ 227 w 573"/>
                <a:gd name="T101" fmla="*/ 553 h 615"/>
                <a:gd name="T102" fmla="*/ 227 w 573"/>
                <a:gd name="T103" fmla="*/ 564 h 615"/>
                <a:gd name="T104" fmla="*/ 231 w 573"/>
                <a:gd name="T105" fmla="*/ 57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3" h="615">
                  <a:moveTo>
                    <a:pt x="233" y="574"/>
                  </a:moveTo>
                  <a:lnTo>
                    <a:pt x="237" y="580"/>
                  </a:lnTo>
                  <a:lnTo>
                    <a:pt x="237" y="578"/>
                  </a:lnTo>
                  <a:lnTo>
                    <a:pt x="235" y="578"/>
                  </a:lnTo>
                  <a:lnTo>
                    <a:pt x="231" y="578"/>
                  </a:lnTo>
                  <a:lnTo>
                    <a:pt x="229" y="578"/>
                  </a:lnTo>
                  <a:lnTo>
                    <a:pt x="227" y="578"/>
                  </a:lnTo>
                  <a:lnTo>
                    <a:pt x="225" y="576"/>
                  </a:lnTo>
                  <a:lnTo>
                    <a:pt x="223" y="576"/>
                  </a:lnTo>
                  <a:lnTo>
                    <a:pt x="221" y="576"/>
                  </a:lnTo>
                  <a:lnTo>
                    <a:pt x="217" y="576"/>
                  </a:lnTo>
                  <a:lnTo>
                    <a:pt x="215" y="576"/>
                  </a:lnTo>
                  <a:lnTo>
                    <a:pt x="213" y="576"/>
                  </a:lnTo>
                  <a:lnTo>
                    <a:pt x="211" y="576"/>
                  </a:lnTo>
                  <a:lnTo>
                    <a:pt x="209" y="576"/>
                  </a:lnTo>
                  <a:lnTo>
                    <a:pt x="207" y="576"/>
                  </a:lnTo>
                  <a:lnTo>
                    <a:pt x="203" y="576"/>
                  </a:lnTo>
                  <a:lnTo>
                    <a:pt x="201" y="576"/>
                  </a:lnTo>
                  <a:lnTo>
                    <a:pt x="199" y="576"/>
                  </a:lnTo>
                  <a:lnTo>
                    <a:pt x="196" y="576"/>
                  </a:lnTo>
                  <a:lnTo>
                    <a:pt x="194" y="574"/>
                  </a:lnTo>
                  <a:lnTo>
                    <a:pt x="192" y="574"/>
                  </a:lnTo>
                  <a:lnTo>
                    <a:pt x="190" y="574"/>
                  </a:lnTo>
                  <a:lnTo>
                    <a:pt x="186" y="574"/>
                  </a:lnTo>
                  <a:lnTo>
                    <a:pt x="184" y="574"/>
                  </a:lnTo>
                  <a:lnTo>
                    <a:pt x="182" y="574"/>
                  </a:lnTo>
                  <a:lnTo>
                    <a:pt x="180" y="574"/>
                  </a:lnTo>
                  <a:lnTo>
                    <a:pt x="178" y="574"/>
                  </a:lnTo>
                  <a:lnTo>
                    <a:pt x="176" y="574"/>
                  </a:lnTo>
                  <a:lnTo>
                    <a:pt x="172" y="574"/>
                  </a:lnTo>
                  <a:lnTo>
                    <a:pt x="170" y="574"/>
                  </a:lnTo>
                  <a:lnTo>
                    <a:pt x="168" y="574"/>
                  </a:lnTo>
                  <a:lnTo>
                    <a:pt x="166" y="574"/>
                  </a:lnTo>
                  <a:lnTo>
                    <a:pt x="164" y="572"/>
                  </a:lnTo>
                  <a:lnTo>
                    <a:pt x="162" y="572"/>
                  </a:lnTo>
                  <a:lnTo>
                    <a:pt x="158" y="572"/>
                  </a:lnTo>
                  <a:lnTo>
                    <a:pt x="156" y="572"/>
                  </a:lnTo>
                  <a:lnTo>
                    <a:pt x="153" y="572"/>
                  </a:lnTo>
                  <a:lnTo>
                    <a:pt x="151" y="572"/>
                  </a:lnTo>
                  <a:lnTo>
                    <a:pt x="149" y="572"/>
                  </a:lnTo>
                  <a:lnTo>
                    <a:pt x="147" y="572"/>
                  </a:lnTo>
                  <a:lnTo>
                    <a:pt x="145" y="572"/>
                  </a:lnTo>
                  <a:lnTo>
                    <a:pt x="141" y="572"/>
                  </a:lnTo>
                  <a:lnTo>
                    <a:pt x="139" y="572"/>
                  </a:lnTo>
                  <a:lnTo>
                    <a:pt x="137" y="572"/>
                  </a:lnTo>
                  <a:lnTo>
                    <a:pt x="135" y="572"/>
                  </a:lnTo>
                  <a:lnTo>
                    <a:pt x="133" y="570"/>
                  </a:lnTo>
                  <a:lnTo>
                    <a:pt x="131" y="570"/>
                  </a:lnTo>
                  <a:lnTo>
                    <a:pt x="127" y="570"/>
                  </a:lnTo>
                  <a:lnTo>
                    <a:pt x="125" y="570"/>
                  </a:lnTo>
                  <a:lnTo>
                    <a:pt x="123" y="570"/>
                  </a:lnTo>
                  <a:lnTo>
                    <a:pt x="121" y="570"/>
                  </a:lnTo>
                  <a:lnTo>
                    <a:pt x="119" y="570"/>
                  </a:lnTo>
                  <a:lnTo>
                    <a:pt x="117" y="570"/>
                  </a:lnTo>
                  <a:lnTo>
                    <a:pt x="113" y="570"/>
                  </a:lnTo>
                  <a:lnTo>
                    <a:pt x="110" y="570"/>
                  </a:lnTo>
                  <a:lnTo>
                    <a:pt x="108" y="570"/>
                  </a:lnTo>
                  <a:lnTo>
                    <a:pt x="106" y="568"/>
                  </a:lnTo>
                  <a:lnTo>
                    <a:pt x="104" y="568"/>
                  </a:lnTo>
                  <a:lnTo>
                    <a:pt x="102" y="568"/>
                  </a:lnTo>
                  <a:lnTo>
                    <a:pt x="100" y="568"/>
                  </a:lnTo>
                  <a:lnTo>
                    <a:pt x="96" y="568"/>
                  </a:lnTo>
                  <a:lnTo>
                    <a:pt x="94" y="568"/>
                  </a:lnTo>
                  <a:lnTo>
                    <a:pt x="92" y="568"/>
                  </a:lnTo>
                  <a:lnTo>
                    <a:pt x="90" y="568"/>
                  </a:lnTo>
                  <a:lnTo>
                    <a:pt x="88" y="568"/>
                  </a:lnTo>
                  <a:lnTo>
                    <a:pt x="86" y="568"/>
                  </a:lnTo>
                  <a:lnTo>
                    <a:pt x="82" y="568"/>
                  </a:lnTo>
                  <a:lnTo>
                    <a:pt x="80" y="568"/>
                  </a:lnTo>
                  <a:lnTo>
                    <a:pt x="80" y="568"/>
                  </a:lnTo>
                  <a:lnTo>
                    <a:pt x="80" y="568"/>
                  </a:lnTo>
                  <a:lnTo>
                    <a:pt x="80" y="568"/>
                  </a:lnTo>
                  <a:lnTo>
                    <a:pt x="80" y="570"/>
                  </a:lnTo>
                  <a:lnTo>
                    <a:pt x="80" y="570"/>
                  </a:lnTo>
                  <a:lnTo>
                    <a:pt x="80" y="570"/>
                  </a:lnTo>
                  <a:lnTo>
                    <a:pt x="80" y="572"/>
                  </a:lnTo>
                  <a:lnTo>
                    <a:pt x="80" y="572"/>
                  </a:lnTo>
                  <a:lnTo>
                    <a:pt x="80" y="572"/>
                  </a:lnTo>
                  <a:lnTo>
                    <a:pt x="80" y="574"/>
                  </a:lnTo>
                  <a:lnTo>
                    <a:pt x="80" y="574"/>
                  </a:lnTo>
                  <a:lnTo>
                    <a:pt x="80" y="576"/>
                  </a:lnTo>
                  <a:lnTo>
                    <a:pt x="80" y="576"/>
                  </a:lnTo>
                  <a:lnTo>
                    <a:pt x="80" y="576"/>
                  </a:lnTo>
                  <a:lnTo>
                    <a:pt x="80" y="578"/>
                  </a:lnTo>
                  <a:lnTo>
                    <a:pt x="80" y="578"/>
                  </a:lnTo>
                  <a:lnTo>
                    <a:pt x="80" y="578"/>
                  </a:lnTo>
                  <a:lnTo>
                    <a:pt x="80" y="580"/>
                  </a:lnTo>
                  <a:lnTo>
                    <a:pt x="80" y="580"/>
                  </a:lnTo>
                  <a:lnTo>
                    <a:pt x="80" y="582"/>
                  </a:lnTo>
                  <a:lnTo>
                    <a:pt x="80" y="582"/>
                  </a:lnTo>
                  <a:lnTo>
                    <a:pt x="80" y="582"/>
                  </a:lnTo>
                  <a:lnTo>
                    <a:pt x="80" y="584"/>
                  </a:lnTo>
                  <a:lnTo>
                    <a:pt x="80" y="584"/>
                  </a:lnTo>
                  <a:lnTo>
                    <a:pt x="80" y="584"/>
                  </a:lnTo>
                  <a:lnTo>
                    <a:pt x="80" y="586"/>
                  </a:lnTo>
                  <a:lnTo>
                    <a:pt x="80" y="586"/>
                  </a:lnTo>
                  <a:lnTo>
                    <a:pt x="80" y="586"/>
                  </a:lnTo>
                  <a:lnTo>
                    <a:pt x="80" y="588"/>
                  </a:lnTo>
                  <a:lnTo>
                    <a:pt x="78" y="588"/>
                  </a:lnTo>
                  <a:lnTo>
                    <a:pt x="78" y="590"/>
                  </a:lnTo>
                  <a:lnTo>
                    <a:pt x="78" y="590"/>
                  </a:lnTo>
                  <a:lnTo>
                    <a:pt x="78" y="590"/>
                  </a:lnTo>
                  <a:lnTo>
                    <a:pt x="78" y="592"/>
                  </a:lnTo>
                  <a:lnTo>
                    <a:pt x="78" y="592"/>
                  </a:lnTo>
                  <a:lnTo>
                    <a:pt x="78" y="592"/>
                  </a:lnTo>
                  <a:lnTo>
                    <a:pt x="78" y="594"/>
                  </a:lnTo>
                  <a:lnTo>
                    <a:pt x="78" y="594"/>
                  </a:lnTo>
                  <a:lnTo>
                    <a:pt x="78" y="596"/>
                  </a:lnTo>
                  <a:lnTo>
                    <a:pt x="78" y="596"/>
                  </a:lnTo>
                  <a:lnTo>
                    <a:pt x="78" y="596"/>
                  </a:lnTo>
                  <a:lnTo>
                    <a:pt x="78" y="598"/>
                  </a:lnTo>
                  <a:lnTo>
                    <a:pt x="78" y="598"/>
                  </a:lnTo>
                  <a:lnTo>
                    <a:pt x="78" y="598"/>
                  </a:lnTo>
                  <a:lnTo>
                    <a:pt x="78" y="600"/>
                  </a:lnTo>
                  <a:lnTo>
                    <a:pt x="78" y="600"/>
                  </a:lnTo>
                  <a:lnTo>
                    <a:pt x="78" y="603"/>
                  </a:lnTo>
                  <a:lnTo>
                    <a:pt x="78" y="603"/>
                  </a:lnTo>
                  <a:lnTo>
                    <a:pt x="78" y="603"/>
                  </a:lnTo>
                  <a:lnTo>
                    <a:pt x="78" y="605"/>
                  </a:lnTo>
                  <a:lnTo>
                    <a:pt x="78" y="605"/>
                  </a:lnTo>
                  <a:lnTo>
                    <a:pt x="78" y="605"/>
                  </a:lnTo>
                  <a:lnTo>
                    <a:pt x="78" y="607"/>
                  </a:lnTo>
                  <a:lnTo>
                    <a:pt x="78" y="607"/>
                  </a:lnTo>
                  <a:lnTo>
                    <a:pt x="78" y="607"/>
                  </a:lnTo>
                  <a:lnTo>
                    <a:pt x="78" y="609"/>
                  </a:lnTo>
                  <a:lnTo>
                    <a:pt x="78" y="609"/>
                  </a:lnTo>
                  <a:lnTo>
                    <a:pt x="78" y="611"/>
                  </a:lnTo>
                  <a:lnTo>
                    <a:pt x="78" y="611"/>
                  </a:lnTo>
                  <a:lnTo>
                    <a:pt x="78" y="611"/>
                  </a:lnTo>
                  <a:lnTo>
                    <a:pt x="78" y="613"/>
                  </a:lnTo>
                  <a:lnTo>
                    <a:pt x="78" y="613"/>
                  </a:lnTo>
                  <a:lnTo>
                    <a:pt x="78" y="613"/>
                  </a:lnTo>
                  <a:lnTo>
                    <a:pt x="78" y="615"/>
                  </a:lnTo>
                  <a:lnTo>
                    <a:pt x="78" y="615"/>
                  </a:lnTo>
                  <a:lnTo>
                    <a:pt x="78" y="615"/>
                  </a:lnTo>
                  <a:lnTo>
                    <a:pt x="74" y="615"/>
                  </a:lnTo>
                  <a:lnTo>
                    <a:pt x="70" y="615"/>
                  </a:lnTo>
                  <a:lnTo>
                    <a:pt x="65" y="615"/>
                  </a:lnTo>
                  <a:lnTo>
                    <a:pt x="61" y="615"/>
                  </a:lnTo>
                  <a:lnTo>
                    <a:pt x="57" y="613"/>
                  </a:lnTo>
                  <a:lnTo>
                    <a:pt x="53" y="613"/>
                  </a:lnTo>
                  <a:lnTo>
                    <a:pt x="49" y="613"/>
                  </a:lnTo>
                  <a:lnTo>
                    <a:pt x="45" y="613"/>
                  </a:lnTo>
                  <a:lnTo>
                    <a:pt x="41" y="613"/>
                  </a:lnTo>
                  <a:lnTo>
                    <a:pt x="37" y="613"/>
                  </a:lnTo>
                  <a:lnTo>
                    <a:pt x="33" y="613"/>
                  </a:lnTo>
                  <a:lnTo>
                    <a:pt x="31" y="611"/>
                  </a:lnTo>
                  <a:lnTo>
                    <a:pt x="26" y="611"/>
                  </a:lnTo>
                  <a:lnTo>
                    <a:pt x="22" y="611"/>
                  </a:lnTo>
                  <a:lnTo>
                    <a:pt x="18" y="611"/>
                  </a:lnTo>
                  <a:lnTo>
                    <a:pt x="14" y="611"/>
                  </a:lnTo>
                  <a:lnTo>
                    <a:pt x="10" y="611"/>
                  </a:lnTo>
                  <a:lnTo>
                    <a:pt x="6" y="609"/>
                  </a:lnTo>
                  <a:lnTo>
                    <a:pt x="2"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2" y="590"/>
                  </a:lnTo>
                  <a:lnTo>
                    <a:pt x="4" y="570"/>
                  </a:lnTo>
                  <a:lnTo>
                    <a:pt x="6" y="551"/>
                  </a:lnTo>
                  <a:lnTo>
                    <a:pt x="6" y="533"/>
                  </a:lnTo>
                  <a:lnTo>
                    <a:pt x="8" y="512"/>
                  </a:lnTo>
                  <a:lnTo>
                    <a:pt x="10" y="494"/>
                  </a:lnTo>
                  <a:lnTo>
                    <a:pt x="12" y="475"/>
                  </a:lnTo>
                  <a:lnTo>
                    <a:pt x="12" y="457"/>
                  </a:lnTo>
                  <a:lnTo>
                    <a:pt x="14" y="437"/>
                  </a:lnTo>
                  <a:lnTo>
                    <a:pt x="16" y="418"/>
                  </a:lnTo>
                  <a:lnTo>
                    <a:pt x="18" y="400"/>
                  </a:lnTo>
                  <a:lnTo>
                    <a:pt x="18" y="379"/>
                  </a:lnTo>
                  <a:lnTo>
                    <a:pt x="20" y="361"/>
                  </a:lnTo>
                  <a:lnTo>
                    <a:pt x="22" y="342"/>
                  </a:lnTo>
                  <a:lnTo>
                    <a:pt x="24" y="324"/>
                  </a:lnTo>
                  <a:lnTo>
                    <a:pt x="24" y="303"/>
                  </a:lnTo>
                  <a:lnTo>
                    <a:pt x="26" y="285"/>
                  </a:lnTo>
                  <a:lnTo>
                    <a:pt x="29" y="266"/>
                  </a:lnTo>
                  <a:lnTo>
                    <a:pt x="31" y="246"/>
                  </a:lnTo>
                  <a:lnTo>
                    <a:pt x="31" y="228"/>
                  </a:lnTo>
                  <a:lnTo>
                    <a:pt x="33" y="209"/>
                  </a:lnTo>
                  <a:lnTo>
                    <a:pt x="35" y="191"/>
                  </a:lnTo>
                  <a:lnTo>
                    <a:pt x="37" y="170"/>
                  </a:lnTo>
                  <a:lnTo>
                    <a:pt x="39" y="152"/>
                  </a:lnTo>
                  <a:lnTo>
                    <a:pt x="39" y="133"/>
                  </a:lnTo>
                  <a:lnTo>
                    <a:pt x="41" y="113"/>
                  </a:lnTo>
                  <a:lnTo>
                    <a:pt x="43" y="94"/>
                  </a:lnTo>
                  <a:lnTo>
                    <a:pt x="45" y="76"/>
                  </a:lnTo>
                  <a:lnTo>
                    <a:pt x="45" y="57"/>
                  </a:lnTo>
                  <a:lnTo>
                    <a:pt x="47" y="37"/>
                  </a:lnTo>
                  <a:lnTo>
                    <a:pt x="49" y="18"/>
                  </a:lnTo>
                  <a:lnTo>
                    <a:pt x="51" y="0"/>
                  </a:lnTo>
                  <a:lnTo>
                    <a:pt x="67" y="0"/>
                  </a:lnTo>
                  <a:lnTo>
                    <a:pt x="84" y="2"/>
                  </a:lnTo>
                  <a:lnTo>
                    <a:pt x="100" y="4"/>
                  </a:lnTo>
                  <a:lnTo>
                    <a:pt x="117" y="4"/>
                  </a:lnTo>
                  <a:lnTo>
                    <a:pt x="131" y="6"/>
                  </a:lnTo>
                  <a:lnTo>
                    <a:pt x="147" y="6"/>
                  </a:lnTo>
                  <a:lnTo>
                    <a:pt x="164" y="8"/>
                  </a:lnTo>
                  <a:lnTo>
                    <a:pt x="180" y="10"/>
                  </a:lnTo>
                  <a:lnTo>
                    <a:pt x="196" y="10"/>
                  </a:lnTo>
                  <a:lnTo>
                    <a:pt x="213" y="12"/>
                  </a:lnTo>
                  <a:lnTo>
                    <a:pt x="229" y="12"/>
                  </a:lnTo>
                  <a:lnTo>
                    <a:pt x="246" y="14"/>
                  </a:lnTo>
                  <a:lnTo>
                    <a:pt x="262" y="14"/>
                  </a:lnTo>
                  <a:lnTo>
                    <a:pt x="278" y="16"/>
                  </a:lnTo>
                  <a:lnTo>
                    <a:pt x="295" y="16"/>
                  </a:lnTo>
                  <a:lnTo>
                    <a:pt x="311" y="16"/>
                  </a:lnTo>
                  <a:lnTo>
                    <a:pt x="328" y="18"/>
                  </a:lnTo>
                  <a:lnTo>
                    <a:pt x="344" y="18"/>
                  </a:lnTo>
                  <a:lnTo>
                    <a:pt x="360" y="21"/>
                  </a:lnTo>
                  <a:lnTo>
                    <a:pt x="377" y="21"/>
                  </a:lnTo>
                  <a:lnTo>
                    <a:pt x="393" y="21"/>
                  </a:lnTo>
                  <a:lnTo>
                    <a:pt x="409" y="23"/>
                  </a:lnTo>
                  <a:lnTo>
                    <a:pt x="426" y="23"/>
                  </a:lnTo>
                  <a:lnTo>
                    <a:pt x="442" y="23"/>
                  </a:lnTo>
                  <a:lnTo>
                    <a:pt x="459" y="25"/>
                  </a:lnTo>
                  <a:lnTo>
                    <a:pt x="475" y="25"/>
                  </a:lnTo>
                  <a:lnTo>
                    <a:pt x="491" y="25"/>
                  </a:lnTo>
                  <a:lnTo>
                    <a:pt x="508" y="27"/>
                  </a:lnTo>
                  <a:lnTo>
                    <a:pt x="524" y="27"/>
                  </a:lnTo>
                  <a:lnTo>
                    <a:pt x="541" y="27"/>
                  </a:lnTo>
                  <a:lnTo>
                    <a:pt x="557" y="27"/>
                  </a:lnTo>
                  <a:lnTo>
                    <a:pt x="573" y="29"/>
                  </a:lnTo>
                  <a:lnTo>
                    <a:pt x="573" y="41"/>
                  </a:lnTo>
                  <a:lnTo>
                    <a:pt x="573" y="55"/>
                  </a:lnTo>
                  <a:lnTo>
                    <a:pt x="573" y="68"/>
                  </a:lnTo>
                  <a:lnTo>
                    <a:pt x="571" y="82"/>
                  </a:lnTo>
                  <a:lnTo>
                    <a:pt x="569" y="82"/>
                  </a:lnTo>
                  <a:lnTo>
                    <a:pt x="569" y="84"/>
                  </a:lnTo>
                  <a:lnTo>
                    <a:pt x="569" y="86"/>
                  </a:lnTo>
                  <a:lnTo>
                    <a:pt x="567" y="103"/>
                  </a:lnTo>
                  <a:lnTo>
                    <a:pt x="567" y="117"/>
                  </a:lnTo>
                  <a:lnTo>
                    <a:pt x="567" y="131"/>
                  </a:lnTo>
                  <a:lnTo>
                    <a:pt x="567" y="148"/>
                  </a:lnTo>
                  <a:lnTo>
                    <a:pt x="565" y="162"/>
                  </a:lnTo>
                  <a:lnTo>
                    <a:pt x="565" y="176"/>
                  </a:lnTo>
                  <a:lnTo>
                    <a:pt x="565" y="193"/>
                  </a:lnTo>
                  <a:lnTo>
                    <a:pt x="565" y="207"/>
                  </a:lnTo>
                  <a:lnTo>
                    <a:pt x="565" y="221"/>
                  </a:lnTo>
                  <a:lnTo>
                    <a:pt x="563" y="238"/>
                  </a:lnTo>
                  <a:lnTo>
                    <a:pt x="563" y="252"/>
                  </a:lnTo>
                  <a:lnTo>
                    <a:pt x="563" y="266"/>
                  </a:lnTo>
                  <a:lnTo>
                    <a:pt x="563" y="281"/>
                  </a:lnTo>
                  <a:lnTo>
                    <a:pt x="561" y="297"/>
                  </a:lnTo>
                  <a:lnTo>
                    <a:pt x="561" y="312"/>
                  </a:lnTo>
                  <a:lnTo>
                    <a:pt x="561" y="326"/>
                  </a:lnTo>
                  <a:lnTo>
                    <a:pt x="561" y="342"/>
                  </a:lnTo>
                  <a:lnTo>
                    <a:pt x="559" y="357"/>
                  </a:lnTo>
                  <a:lnTo>
                    <a:pt x="559" y="371"/>
                  </a:lnTo>
                  <a:lnTo>
                    <a:pt x="559" y="387"/>
                  </a:lnTo>
                  <a:lnTo>
                    <a:pt x="559" y="402"/>
                  </a:lnTo>
                  <a:lnTo>
                    <a:pt x="557" y="416"/>
                  </a:lnTo>
                  <a:lnTo>
                    <a:pt x="557" y="432"/>
                  </a:lnTo>
                  <a:lnTo>
                    <a:pt x="557" y="447"/>
                  </a:lnTo>
                  <a:lnTo>
                    <a:pt x="557" y="461"/>
                  </a:lnTo>
                  <a:lnTo>
                    <a:pt x="557" y="478"/>
                  </a:lnTo>
                  <a:lnTo>
                    <a:pt x="555" y="492"/>
                  </a:lnTo>
                  <a:lnTo>
                    <a:pt x="555" y="506"/>
                  </a:lnTo>
                  <a:lnTo>
                    <a:pt x="555" y="523"/>
                  </a:lnTo>
                  <a:lnTo>
                    <a:pt x="555" y="537"/>
                  </a:lnTo>
                  <a:lnTo>
                    <a:pt x="553" y="551"/>
                  </a:lnTo>
                  <a:lnTo>
                    <a:pt x="553" y="568"/>
                  </a:lnTo>
                  <a:lnTo>
                    <a:pt x="532" y="566"/>
                  </a:lnTo>
                  <a:lnTo>
                    <a:pt x="512" y="566"/>
                  </a:lnTo>
                  <a:lnTo>
                    <a:pt x="491" y="566"/>
                  </a:lnTo>
                  <a:lnTo>
                    <a:pt x="471" y="564"/>
                  </a:lnTo>
                  <a:lnTo>
                    <a:pt x="452" y="564"/>
                  </a:lnTo>
                  <a:lnTo>
                    <a:pt x="432" y="564"/>
                  </a:lnTo>
                  <a:lnTo>
                    <a:pt x="412" y="562"/>
                  </a:lnTo>
                  <a:lnTo>
                    <a:pt x="391" y="562"/>
                  </a:lnTo>
                  <a:lnTo>
                    <a:pt x="371" y="560"/>
                  </a:lnTo>
                  <a:lnTo>
                    <a:pt x="350" y="560"/>
                  </a:lnTo>
                  <a:lnTo>
                    <a:pt x="330" y="557"/>
                  </a:lnTo>
                  <a:lnTo>
                    <a:pt x="309" y="557"/>
                  </a:lnTo>
                  <a:lnTo>
                    <a:pt x="289" y="555"/>
                  </a:lnTo>
                  <a:lnTo>
                    <a:pt x="268" y="555"/>
                  </a:lnTo>
                  <a:lnTo>
                    <a:pt x="248" y="553"/>
                  </a:lnTo>
                  <a:lnTo>
                    <a:pt x="227" y="553"/>
                  </a:lnTo>
                  <a:lnTo>
                    <a:pt x="225" y="553"/>
                  </a:lnTo>
                  <a:lnTo>
                    <a:pt x="223" y="553"/>
                  </a:lnTo>
                  <a:lnTo>
                    <a:pt x="223" y="553"/>
                  </a:lnTo>
                  <a:lnTo>
                    <a:pt x="225" y="557"/>
                  </a:lnTo>
                  <a:lnTo>
                    <a:pt x="225" y="560"/>
                  </a:lnTo>
                  <a:lnTo>
                    <a:pt x="227" y="564"/>
                  </a:lnTo>
                  <a:lnTo>
                    <a:pt x="227" y="566"/>
                  </a:lnTo>
                  <a:lnTo>
                    <a:pt x="229" y="568"/>
                  </a:lnTo>
                  <a:lnTo>
                    <a:pt x="227" y="570"/>
                  </a:lnTo>
                  <a:lnTo>
                    <a:pt x="229" y="570"/>
                  </a:lnTo>
                  <a:lnTo>
                    <a:pt x="229" y="572"/>
                  </a:lnTo>
                  <a:lnTo>
                    <a:pt x="231" y="572"/>
                  </a:lnTo>
                  <a:lnTo>
                    <a:pt x="231" y="572"/>
                  </a:lnTo>
                  <a:lnTo>
                    <a:pt x="231" y="572"/>
                  </a:lnTo>
                  <a:lnTo>
                    <a:pt x="233" y="574"/>
                  </a:lnTo>
                  <a:lnTo>
                    <a:pt x="233" y="574"/>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M</a:t>
              </a:r>
            </a:p>
          </p:txBody>
        </p:sp>
        <p:sp>
          <p:nvSpPr>
            <p:cNvPr id="102" name="Freeform 23">
              <a:extLst>
                <a:ext uri="{FF2B5EF4-FFF2-40B4-BE49-F238E27FC236}">
                  <a16:creationId xmlns:a16="http://schemas.microsoft.com/office/drawing/2014/main" id="{A77BA8DC-B2F6-39A3-F800-4B4B71AB0CAA}"/>
                </a:ext>
              </a:extLst>
            </p:cNvPr>
            <p:cNvSpPr>
              <a:spLocks noEditPoints="1"/>
            </p:cNvSpPr>
            <p:nvPr/>
          </p:nvSpPr>
          <p:spPr bwMode="auto">
            <a:xfrm>
              <a:off x="4368" y="340"/>
              <a:ext cx="662" cy="480"/>
            </a:xfrm>
            <a:custGeom>
              <a:avLst/>
              <a:gdLst>
                <a:gd name="T0" fmla="*/ 485 w 662"/>
                <a:gd name="T1" fmla="*/ 480 h 480"/>
                <a:gd name="T2" fmla="*/ 549 w 662"/>
                <a:gd name="T3" fmla="*/ 449 h 480"/>
                <a:gd name="T4" fmla="*/ 573 w 662"/>
                <a:gd name="T5" fmla="*/ 441 h 480"/>
                <a:gd name="T6" fmla="*/ 596 w 662"/>
                <a:gd name="T7" fmla="*/ 422 h 480"/>
                <a:gd name="T8" fmla="*/ 639 w 662"/>
                <a:gd name="T9" fmla="*/ 379 h 480"/>
                <a:gd name="T10" fmla="*/ 627 w 662"/>
                <a:gd name="T11" fmla="*/ 388 h 480"/>
                <a:gd name="T12" fmla="*/ 604 w 662"/>
                <a:gd name="T13" fmla="*/ 406 h 480"/>
                <a:gd name="T14" fmla="*/ 618 w 662"/>
                <a:gd name="T15" fmla="*/ 394 h 480"/>
                <a:gd name="T16" fmla="*/ 629 w 662"/>
                <a:gd name="T17" fmla="*/ 375 h 480"/>
                <a:gd name="T18" fmla="*/ 594 w 662"/>
                <a:gd name="T19" fmla="*/ 402 h 480"/>
                <a:gd name="T20" fmla="*/ 553 w 662"/>
                <a:gd name="T21" fmla="*/ 416 h 480"/>
                <a:gd name="T22" fmla="*/ 539 w 662"/>
                <a:gd name="T23" fmla="*/ 418 h 480"/>
                <a:gd name="T24" fmla="*/ 522 w 662"/>
                <a:gd name="T25" fmla="*/ 433 h 480"/>
                <a:gd name="T26" fmla="*/ 514 w 662"/>
                <a:gd name="T27" fmla="*/ 439 h 480"/>
                <a:gd name="T28" fmla="*/ 502 w 662"/>
                <a:gd name="T29" fmla="*/ 468 h 480"/>
                <a:gd name="T30" fmla="*/ 516 w 662"/>
                <a:gd name="T31" fmla="*/ 455 h 480"/>
                <a:gd name="T32" fmla="*/ 526 w 662"/>
                <a:gd name="T33" fmla="*/ 455 h 480"/>
                <a:gd name="T34" fmla="*/ 567 w 662"/>
                <a:gd name="T35" fmla="*/ 433 h 480"/>
                <a:gd name="T36" fmla="*/ 594 w 662"/>
                <a:gd name="T37" fmla="*/ 422 h 480"/>
                <a:gd name="T38" fmla="*/ 614 w 662"/>
                <a:gd name="T39" fmla="*/ 412 h 480"/>
                <a:gd name="T40" fmla="*/ 641 w 662"/>
                <a:gd name="T41" fmla="*/ 392 h 480"/>
                <a:gd name="T42" fmla="*/ 643 w 662"/>
                <a:gd name="T43" fmla="*/ 355 h 480"/>
                <a:gd name="T44" fmla="*/ 250 w 662"/>
                <a:gd name="T45" fmla="*/ 119 h 480"/>
                <a:gd name="T46" fmla="*/ 260 w 662"/>
                <a:gd name="T47" fmla="*/ 113 h 480"/>
                <a:gd name="T48" fmla="*/ 254 w 662"/>
                <a:gd name="T49" fmla="*/ 115 h 480"/>
                <a:gd name="T50" fmla="*/ 242 w 662"/>
                <a:gd name="T51" fmla="*/ 158 h 480"/>
                <a:gd name="T52" fmla="*/ 487 w 662"/>
                <a:gd name="T53" fmla="*/ 392 h 480"/>
                <a:gd name="T54" fmla="*/ 502 w 662"/>
                <a:gd name="T55" fmla="*/ 437 h 480"/>
                <a:gd name="T56" fmla="*/ 512 w 662"/>
                <a:gd name="T57" fmla="*/ 433 h 480"/>
                <a:gd name="T58" fmla="*/ 518 w 662"/>
                <a:gd name="T59" fmla="*/ 414 h 480"/>
                <a:gd name="T60" fmla="*/ 520 w 662"/>
                <a:gd name="T61" fmla="*/ 381 h 480"/>
                <a:gd name="T62" fmla="*/ 504 w 662"/>
                <a:gd name="T63" fmla="*/ 302 h 480"/>
                <a:gd name="T64" fmla="*/ 504 w 662"/>
                <a:gd name="T65" fmla="*/ 215 h 480"/>
                <a:gd name="T66" fmla="*/ 487 w 662"/>
                <a:gd name="T67" fmla="*/ 146 h 480"/>
                <a:gd name="T68" fmla="*/ 477 w 662"/>
                <a:gd name="T69" fmla="*/ 146 h 480"/>
                <a:gd name="T70" fmla="*/ 473 w 662"/>
                <a:gd name="T71" fmla="*/ 123 h 480"/>
                <a:gd name="T72" fmla="*/ 461 w 662"/>
                <a:gd name="T73" fmla="*/ 101 h 480"/>
                <a:gd name="T74" fmla="*/ 455 w 662"/>
                <a:gd name="T75" fmla="*/ 58 h 480"/>
                <a:gd name="T76" fmla="*/ 449 w 662"/>
                <a:gd name="T77" fmla="*/ 45 h 480"/>
                <a:gd name="T78" fmla="*/ 449 w 662"/>
                <a:gd name="T79" fmla="*/ 31 h 480"/>
                <a:gd name="T80" fmla="*/ 444 w 662"/>
                <a:gd name="T81" fmla="*/ 17 h 480"/>
                <a:gd name="T82" fmla="*/ 410 w 662"/>
                <a:gd name="T83" fmla="*/ 8 h 480"/>
                <a:gd name="T84" fmla="*/ 317 w 662"/>
                <a:gd name="T85" fmla="*/ 35 h 480"/>
                <a:gd name="T86" fmla="*/ 266 w 662"/>
                <a:gd name="T87" fmla="*/ 107 h 480"/>
                <a:gd name="T88" fmla="*/ 238 w 662"/>
                <a:gd name="T89" fmla="*/ 150 h 480"/>
                <a:gd name="T90" fmla="*/ 250 w 662"/>
                <a:gd name="T91" fmla="*/ 148 h 480"/>
                <a:gd name="T92" fmla="*/ 258 w 662"/>
                <a:gd name="T93" fmla="*/ 154 h 480"/>
                <a:gd name="T94" fmla="*/ 244 w 662"/>
                <a:gd name="T95" fmla="*/ 170 h 480"/>
                <a:gd name="T96" fmla="*/ 256 w 662"/>
                <a:gd name="T97" fmla="*/ 187 h 480"/>
                <a:gd name="T98" fmla="*/ 221 w 662"/>
                <a:gd name="T99" fmla="*/ 230 h 480"/>
                <a:gd name="T100" fmla="*/ 203 w 662"/>
                <a:gd name="T101" fmla="*/ 244 h 480"/>
                <a:gd name="T102" fmla="*/ 88 w 662"/>
                <a:gd name="T103" fmla="*/ 252 h 480"/>
                <a:gd name="T104" fmla="*/ 55 w 662"/>
                <a:gd name="T105" fmla="*/ 295 h 480"/>
                <a:gd name="T106" fmla="*/ 53 w 662"/>
                <a:gd name="T107" fmla="*/ 330 h 480"/>
                <a:gd name="T108" fmla="*/ 27 w 662"/>
                <a:gd name="T109" fmla="*/ 363 h 480"/>
                <a:gd name="T110" fmla="*/ 4 w 662"/>
                <a:gd name="T111" fmla="*/ 406 h 480"/>
                <a:gd name="T112" fmla="*/ 139 w 662"/>
                <a:gd name="T113" fmla="*/ 392 h 480"/>
                <a:gd name="T114" fmla="*/ 326 w 662"/>
                <a:gd name="T115" fmla="*/ 353 h 480"/>
                <a:gd name="T116" fmla="*/ 383 w 662"/>
                <a:gd name="T117" fmla="*/ 357 h 480"/>
                <a:gd name="T118" fmla="*/ 393 w 662"/>
                <a:gd name="T119" fmla="*/ 381 h 480"/>
                <a:gd name="T120" fmla="*/ 424 w 662"/>
                <a:gd name="T121" fmla="*/ 396 h 480"/>
                <a:gd name="T122" fmla="*/ 53 w 662"/>
                <a:gd name="T123" fmla="*/ 29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2" h="480">
                  <a:moveTo>
                    <a:pt x="494" y="461"/>
                  </a:moveTo>
                  <a:lnTo>
                    <a:pt x="494" y="461"/>
                  </a:lnTo>
                  <a:lnTo>
                    <a:pt x="492" y="463"/>
                  </a:lnTo>
                  <a:lnTo>
                    <a:pt x="492" y="463"/>
                  </a:lnTo>
                  <a:lnTo>
                    <a:pt x="489" y="463"/>
                  </a:lnTo>
                  <a:lnTo>
                    <a:pt x="487" y="463"/>
                  </a:lnTo>
                  <a:lnTo>
                    <a:pt x="487" y="463"/>
                  </a:lnTo>
                  <a:lnTo>
                    <a:pt x="485" y="465"/>
                  </a:lnTo>
                  <a:lnTo>
                    <a:pt x="487" y="468"/>
                  </a:lnTo>
                  <a:lnTo>
                    <a:pt x="487" y="472"/>
                  </a:lnTo>
                  <a:lnTo>
                    <a:pt x="487" y="472"/>
                  </a:lnTo>
                  <a:lnTo>
                    <a:pt x="485" y="474"/>
                  </a:lnTo>
                  <a:lnTo>
                    <a:pt x="485" y="474"/>
                  </a:lnTo>
                  <a:lnTo>
                    <a:pt x="485" y="474"/>
                  </a:lnTo>
                  <a:lnTo>
                    <a:pt x="485" y="476"/>
                  </a:lnTo>
                  <a:lnTo>
                    <a:pt x="485" y="476"/>
                  </a:lnTo>
                  <a:lnTo>
                    <a:pt x="485" y="480"/>
                  </a:lnTo>
                  <a:lnTo>
                    <a:pt x="494" y="472"/>
                  </a:lnTo>
                  <a:lnTo>
                    <a:pt x="498" y="468"/>
                  </a:lnTo>
                  <a:lnTo>
                    <a:pt x="496" y="461"/>
                  </a:lnTo>
                  <a:lnTo>
                    <a:pt x="494" y="461"/>
                  </a:lnTo>
                  <a:close/>
                  <a:moveTo>
                    <a:pt x="561" y="445"/>
                  </a:moveTo>
                  <a:lnTo>
                    <a:pt x="561" y="445"/>
                  </a:lnTo>
                  <a:lnTo>
                    <a:pt x="561" y="443"/>
                  </a:lnTo>
                  <a:lnTo>
                    <a:pt x="561" y="443"/>
                  </a:lnTo>
                  <a:lnTo>
                    <a:pt x="561" y="443"/>
                  </a:lnTo>
                  <a:lnTo>
                    <a:pt x="559" y="445"/>
                  </a:lnTo>
                  <a:lnTo>
                    <a:pt x="555" y="445"/>
                  </a:lnTo>
                  <a:lnTo>
                    <a:pt x="553" y="445"/>
                  </a:lnTo>
                  <a:lnTo>
                    <a:pt x="553" y="447"/>
                  </a:lnTo>
                  <a:lnTo>
                    <a:pt x="553" y="447"/>
                  </a:lnTo>
                  <a:lnTo>
                    <a:pt x="551" y="449"/>
                  </a:lnTo>
                  <a:lnTo>
                    <a:pt x="551" y="449"/>
                  </a:lnTo>
                  <a:lnTo>
                    <a:pt x="549" y="449"/>
                  </a:lnTo>
                  <a:lnTo>
                    <a:pt x="539" y="455"/>
                  </a:lnTo>
                  <a:lnTo>
                    <a:pt x="541" y="455"/>
                  </a:lnTo>
                  <a:lnTo>
                    <a:pt x="551" y="451"/>
                  </a:lnTo>
                  <a:lnTo>
                    <a:pt x="555" y="447"/>
                  </a:lnTo>
                  <a:lnTo>
                    <a:pt x="561" y="445"/>
                  </a:lnTo>
                  <a:lnTo>
                    <a:pt x="561" y="445"/>
                  </a:lnTo>
                  <a:close/>
                  <a:moveTo>
                    <a:pt x="596" y="422"/>
                  </a:moveTo>
                  <a:lnTo>
                    <a:pt x="592" y="427"/>
                  </a:lnTo>
                  <a:lnTo>
                    <a:pt x="588" y="429"/>
                  </a:lnTo>
                  <a:lnTo>
                    <a:pt x="588" y="429"/>
                  </a:lnTo>
                  <a:lnTo>
                    <a:pt x="586" y="431"/>
                  </a:lnTo>
                  <a:lnTo>
                    <a:pt x="584" y="431"/>
                  </a:lnTo>
                  <a:lnTo>
                    <a:pt x="582" y="433"/>
                  </a:lnTo>
                  <a:lnTo>
                    <a:pt x="582" y="433"/>
                  </a:lnTo>
                  <a:lnTo>
                    <a:pt x="580" y="435"/>
                  </a:lnTo>
                  <a:lnTo>
                    <a:pt x="578" y="437"/>
                  </a:lnTo>
                  <a:lnTo>
                    <a:pt x="573" y="441"/>
                  </a:lnTo>
                  <a:lnTo>
                    <a:pt x="565" y="443"/>
                  </a:lnTo>
                  <a:lnTo>
                    <a:pt x="563" y="445"/>
                  </a:lnTo>
                  <a:lnTo>
                    <a:pt x="561" y="447"/>
                  </a:lnTo>
                  <a:lnTo>
                    <a:pt x="559" y="447"/>
                  </a:lnTo>
                  <a:lnTo>
                    <a:pt x="559" y="447"/>
                  </a:lnTo>
                  <a:lnTo>
                    <a:pt x="563" y="447"/>
                  </a:lnTo>
                  <a:lnTo>
                    <a:pt x="569" y="443"/>
                  </a:lnTo>
                  <a:lnTo>
                    <a:pt x="578" y="437"/>
                  </a:lnTo>
                  <a:lnTo>
                    <a:pt x="580" y="437"/>
                  </a:lnTo>
                  <a:lnTo>
                    <a:pt x="582" y="435"/>
                  </a:lnTo>
                  <a:lnTo>
                    <a:pt x="586" y="431"/>
                  </a:lnTo>
                  <a:lnTo>
                    <a:pt x="592" y="427"/>
                  </a:lnTo>
                  <a:lnTo>
                    <a:pt x="594" y="427"/>
                  </a:lnTo>
                  <a:lnTo>
                    <a:pt x="594" y="424"/>
                  </a:lnTo>
                  <a:lnTo>
                    <a:pt x="598" y="422"/>
                  </a:lnTo>
                  <a:lnTo>
                    <a:pt x="598" y="422"/>
                  </a:lnTo>
                  <a:lnTo>
                    <a:pt x="596" y="422"/>
                  </a:lnTo>
                  <a:close/>
                  <a:moveTo>
                    <a:pt x="662" y="373"/>
                  </a:moveTo>
                  <a:lnTo>
                    <a:pt x="659" y="373"/>
                  </a:lnTo>
                  <a:lnTo>
                    <a:pt x="657" y="373"/>
                  </a:lnTo>
                  <a:lnTo>
                    <a:pt x="657" y="375"/>
                  </a:lnTo>
                  <a:lnTo>
                    <a:pt x="657" y="375"/>
                  </a:lnTo>
                  <a:lnTo>
                    <a:pt x="655" y="375"/>
                  </a:lnTo>
                  <a:lnTo>
                    <a:pt x="655" y="375"/>
                  </a:lnTo>
                  <a:lnTo>
                    <a:pt x="653" y="375"/>
                  </a:lnTo>
                  <a:lnTo>
                    <a:pt x="653" y="377"/>
                  </a:lnTo>
                  <a:lnTo>
                    <a:pt x="651" y="377"/>
                  </a:lnTo>
                  <a:lnTo>
                    <a:pt x="651" y="379"/>
                  </a:lnTo>
                  <a:lnTo>
                    <a:pt x="649" y="381"/>
                  </a:lnTo>
                  <a:lnTo>
                    <a:pt x="645" y="383"/>
                  </a:lnTo>
                  <a:lnTo>
                    <a:pt x="645" y="386"/>
                  </a:lnTo>
                  <a:lnTo>
                    <a:pt x="643" y="383"/>
                  </a:lnTo>
                  <a:lnTo>
                    <a:pt x="643" y="383"/>
                  </a:lnTo>
                  <a:lnTo>
                    <a:pt x="639" y="379"/>
                  </a:lnTo>
                  <a:lnTo>
                    <a:pt x="637" y="379"/>
                  </a:lnTo>
                  <a:lnTo>
                    <a:pt x="637" y="381"/>
                  </a:lnTo>
                  <a:lnTo>
                    <a:pt x="637" y="383"/>
                  </a:lnTo>
                  <a:lnTo>
                    <a:pt x="637" y="386"/>
                  </a:lnTo>
                  <a:lnTo>
                    <a:pt x="633" y="383"/>
                  </a:lnTo>
                  <a:lnTo>
                    <a:pt x="633" y="383"/>
                  </a:lnTo>
                  <a:lnTo>
                    <a:pt x="633" y="383"/>
                  </a:lnTo>
                  <a:lnTo>
                    <a:pt x="633" y="386"/>
                  </a:lnTo>
                  <a:lnTo>
                    <a:pt x="633" y="386"/>
                  </a:lnTo>
                  <a:lnTo>
                    <a:pt x="631" y="386"/>
                  </a:lnTo>
                  <a:lnTo>
                    <a:pt x="629" y="388"/>
                  </a:lnTo>
                  <a:lnTo>
                    <a:pt x="629" y="388"/>
                  </a:lnTo>
                  <a:lnTo>
                    <a:pt x="627" y="388"/>
                  </a:lnTo>
                  <a:lnTo>
                    <a:pt x="627" y="386"/>
                  </a:lnTo>
                  <a:lnTo>
                    <a:pt x="627" y="386"/>
                  </a:lnTo>
                  <a:lnTo>
                    <a:pt x="625" y="386"/>
                  </a:lnTo>
                  <a:lnTo>
                    <a:pt x="627" y="388"/>
                  </a:lnTo>
                  <a:lnTo>
                    <a:pt x="625" y="390"/>
                  </a:lnTo>
                  <a:lnTo>
                    <a:pt x="623" y="392"/>
                  </a:lnTo>
                  <a:lnTo>
                    <a:pt x="621" y="396"/>
                  </a:lnTo>
                  <a:lnTo>
                    <a:pt x="618" y="398"/>
                  </a:lnTo>
                  <a:lnTo>
                    <a:pt x="618" y="400"/>
                  </a:lnTo>
                  <a:lnTo>
                    <a:pt x="621" y="400"/>
                  </a:lnTo>
                  <a:lnTo>
                    <a:pt x="618" y="402"/>
                  </a:lnTo>
                  <a:lnTo>
                    <a:pt x="616" y="402"/>
                  </a:lnTo>
                  <a:lnTo>
                    <a:pt x="614" y="404"/>
                  </a:lnTo>
                  <a:lnTo>
                    <a:pt x="614" y="404"/>
                  </a:lnTo>
                  <a:lnTo>
                    <a:pt x="612" y="404"/>
                  </a:lnTo>
                  <a:lnTo>
                    <a:pt x="610" y="404"/>
                  </a:lnTo>
                  <a:lnTo>
                    <a:pt x="608" y="406"/>
                  </a:lnTo>
                  <a:lnTo>
                    <a:pt x="608" y="404"/>
                  </a:lnTo>
                  <a:lnTo>
                    <a:pt x="606" y="404"/>
                  </a:lnTo>
                  <a:lnTo>
                    <a:pt x="606" y="404"/>
                  </a:lnTo>
                  <a:lnTo>
                    <a:pt x="604" y="406"/>
                  </a:lnTo>
                  <a:lnTo>
                    <a:pt x="606" y="404"/>
                  </a:lnTo>
                  <a:lnTo>
                    <a:pt x="606" y="402"/>
                  </a:lnTo>
                  <a:lnTo>
                    <a:pt x="608" y="400"/>
                  </a:lnTo>
                  <a:lnTo>
                    <a:pt x="610" y="400"/>
                  </a:lnTo>
                  <a:lnTo>
                    <a:pt x="610" y="398"/>
                  </a:lnTo>
                  <a:lnTo>
                    <a:pt x="610" y="396"/>
                  </a:lnTo>
                  <a:lnTo>
                    <a:pt x="610" y="396"/>
                  </a:lnTo>
                  <a:lnTo>
                    <a:pt x="612" y="396"/>
                  </a:lnTo>
                  <a:lnTo>
                    <a:pt x="612" y="394"/>
                  </a:lnTo>
                  <a:lnTo>
                    <a:pt x="612" y="394"/>
                  </a:lnTo>
                  <a:lnTo>
                    <a:pt x="612" y="394"/>
                  </a:lnTo>
                  <a:lnTo>
                    <a:pt x="614" y="394"/>
                  </a:lnTo>
                  <a:lnTo>
                    <a:pt x="614" y="392"/>
                  </a:lnTo>
                  <a:lnTo>
                    <a:pt x="616" y="392"/>
                  </a:lnTo>
                  <a:lnTo>
                    <a:pt x="616" y="392"/>
                  </a:lnTo>
                  <a:lnTo>
                    <a:pt x="616" y="394"/>
                  </a:lnTo>
                  <a:lnTo>
                    <a:pt x="618" y="394"/>
                  </a:lnTo>
                  <a:lnTo>
                    <a:pt x="618" y="392"/>
                  </a:lnTo>
                  <a:lnTo>
                    <a:pt x="618" y="392"/>
                  </a:lnTo>
                  <a:lnTo>
                    <a:pt x="616" y="390"/>
                  </a:lnTo>
                  <a:lnTo>
                    <a:pt x="616" y="390"/>
                  </a:lnTo>
                  <a:lnTo>
                    <a:pt x="618" y="388"/>
                  </a:lnTo>
                  <a:lnTo>
                    <a:pt x="618" y="388"/>
                  </a:lnTo>
                  <a:lnTo>
                    <a:pt x="621" y="388"/>
                  </a:lnTo>
                  <a:lnTo>
                    <a:pt x="621" y="386"/>
                  </a:lnTo>
                  <a:lnTo>
                    <a:pt x="621" y="386"/>
                  </a:lnTo>
                  <a:lnTo>
                    <a:pt x="618" y="386"/>
                  </a:lnTo>
                  <a:lnTo>
                    <a:pt x="618" y="386"/>
                  </a:lnTo>
                  <a:lnTo>
                    <a:pt x="618" y="386"/>
                  </a:lnTo>
                  <a:lnTo>
                    <a:pt x="623" y="377"/>
                  </a:lnTo>
                  <a:lnTo>
                    <a:pt x="625" y="375"/>
                  </a:lnTo>
                  <a:lnTo>
                    <a:pt x="627" y="377"/>
                  </a:lnTo>
                  <a:lnTo>
                    <a:pt x="627" y="377"/>
                  </a:lnTo>
                  <a:lnTo>
                    <a:pt x="629" y="375"/>
                  </a:lnTo>
                  <a:lnTo>
                    <a:pt x="629" y="373"/>
                  </a:lnTo>
                  <a:lnTo>
                    <a:pt x="629" y="373"/>
                  </a:lnTo>
                  <a:lnTo>
                    <a:pt x="629" y="371"/>
                  </a:lnTo>
                  <a:lnTo>
                    <a:pt x="629" y="371"/>
                  </a:lnTo>
                  <a:lnTo>
                    <a:pt x="627" y="371"/>
                  </a:lnTo>
                  <a:lnTo>
                    <a:pt x="625" y="371"/>
                  </a:lnTo>
                  <a:lnTo>
                    <a:pt x="623" y="375"/>
                  </a:lnTo>
                  <a:lnTo>
                    <a:pt x="621" y="377"/>
                  </a:lnTo>
                  <a:lnTo>
                    <a:pt x="618" y="379"/>
                  </a:lnTo>
                  <a:lnTo>
                    <a:pt x="618" y="381"/>
                  </a:lnTo>
                  <a:lnTo>
                    <a:pt x="614" y="383"/>
                  </a:lnTo>
                  <a:lnTo>
                    <a:pt x="614" y="383"/>
                  </a:lnTo>
                  <a:lnTo>
                    <a:pt x="612" y="388"/>
                  </a:lnTo>
                  <a:lnTo>
                    <a:pt x="608" y="390"/>
                  </a:lnTo>
                  <a:lnTo>
                    <a:pt x="604" y="396"/>
                  </a:lnTo>
                  <a:lnTo>
                    <a:pt x="602" y="398"/>
                  </a:lnTo>
                  <a:lnTo>
                    <a:pt x="594" y="402"/>
                  </a:lnTo>
                  <a:lnTo>
                    <a:pt x="580" y="404"/>
                  </a:lnTo>
                  <a:lnTo>
                    <a:pt x="567" y="408"/>
                  </a:lnTo>
                  <a:lnTo>
                    <a:pt x="567" y="408"/>
                  </a:lnTo>
                  <a:lnTo>
                    <a:pt x="567" y="410"/>
                  </a:lnTo>
                  <a:lnTo>
                    <a:pt x="567" y="410"/>
                  </a:lnTo>
                  <a:lnTo>
                    <a:pt x="565" y="410"/>
                  </a:lnTo>
                  <a:lnTo>
                    <a:pt x="565" y="408"/>
                  </a:lnTo>
                  <a:lnTo>
                    <a:pt x="563" y="408"/>
                  </a:lnTo>
                  <a:lnTo>
                    <a:pt x="563" y="408"/>
                  </a:lnTo>
                  <a:lnTo>
                    <a:pt x="561" y="410"/>
                  </a:lnTo>
                  <a:lnTo>
                    <a:pt x="561" y="412"/>
                  </a:lnTo>
                  <a:lnTo>
                    <a:pt x="561" y="414"/>
                  </a:lnTo>
                  <a:lnTo>
                    <a:pt x="561" y="414"/>
                  </a:lnTo>
                  <a:lnTo>
                    <a:pt x="557" y="416"/>
                  </a:lnTo>
                  <a:lnTo>
                    <a:pt x="555" y="418"/>
                  </a:lnTo>
                  <a:lnTo>
                    <a:pt x="555" y="416"/>
                  </a:lnTo>
                  <a:lnTo>
                    <a:pt x="553" y="416"/>
                  </a:lnTo>
                  <a:lnTo>
                    <a:pt x="553" y="416"/>
                  </a:lnTo>
                  <a:lnTo>
                    <a:pt x="551" y="416"/>
                  </a:lnTo>
                  <a:lnTo>
                    <a:pt x="543" y="416"/>
                  </a:lnTo>
                  <a:lnTo>
                    <a:pt x="541" y="416"/>
                  </a:lnTo>
                  <a:lnTo>
                    <a:pt x="541" y="418"/>
                  </a:lnTo>
                  <a:lnTo>
                    <a:pt x="543" y="418"/>
                  </a:lnTo>
                  <a:lnTo>
                    <a:pt x="545" y="418"/>
                  </a:lnTo>
                  <a:lnTo>
                    <a:pt x="545" y="418"/>
                  </a:lnTo>
                  <a:lnTo>
                    <a:pt x="547" y="418"/>
                  </a:lnTo>
                  <a:lnTo>
                    <a:pt x="547" y="420"/>
                  </a:lnTo>
                  <a:lnTo>
                    <a:pt x="545" y="420"/>
                  </a:lnTo>
                  <a:lnTo>
                    <a:pt x="545" y="420"/>
                  </a:lnTo>
                  <a:lnTo>
                    <a:pt x="543" y="420"/>
                  </a:lnTo>
                  <a:lnTo>
                    <a:pt x="541" y="422"/>
                  </a:lnTo>
                  <a:lnTo>
                    <a:pt x="541" y="420"/>
                  </a:lnTo>
                  <a:lnTo>
                    <a:pt x="539" y="420"/>
                  </a:lnTo>
                  <a:lnTo>
                    <a:pt x="539" y="418"/>
                  </a:lnTo>
                  <a:lnTo>
                    <a:pt x="539" y="418"/>
                  </a:lnTo>
                  <a:lnTo>
                    <a:pt x="537" y="418"/>
                  </a:lnTo>
                  <a:lnTo>
                    <a:pt x="535" y="420"/>
                  </a:lnTo>
                  <a:lnTo>
                    <a:pt x="537" y="420"/>
                  </a:lnTo>
                  <a:lnTo>
                    <a:pt x="537" y="422"/>
                  </a:lnTo>
                  <a:lnTo>
                    <a:pt x="539" y="422"/>
                  </a:lnTo>
                  <a:lnTo>
                    <a:pt x="537" y="424"/>
                  </a:lnTo>
                  <a:lnTo>
                    <a:pt x="535" y="424"/>
                  </a:lnTo>
                  <a:lnTo>
                    <a:pt x="535" y="424"/>
                  </a:lnTo>
                  <a:lnTo>
                    <a:pt x="535" y="422"/>
                  </a:lnTo>
                  <a:lnTo>
                    <a:pt x="535" y="422"/>
                  </a:lnTo>
                  <a:lnTo>
                    <a:pt x="530" y="422"/>
                  </a:lnTo>
                  <a:lnTo>
                    <a:pt x="524" y="424"/>
                  </a:lnTo>
                  <a:lnTo>
                    <a:pt x="522" y="429"/>
                  </a:lnTo>
                  <a:lnTo>
                    <a:pt x="526" y="435"/>
                  </a:lnTo>
                  <a:lnTo>
                    <a:pt x="524" y="435"/>
                  </a:lnTo>
                  <a:lnTo>
                    <a:pt x="522" y="433"/>
                  </a:lnTo>
                  <a:lnTo>
                    <a:pt x="520" y="431"/>
                  </a:lnTo>
                  <a:lnTo>
                    <a:pt x="518" y="431"/>
                  </a:lnTo>
                  <a:lnTo>
                    <a:pt x="518" y="431"/>
                  </a:lnTo>
                  <a:lnTo>
                    <a:pt x="518" y="433"/>
                  </a:lnTo>
                  <a:lnTo>
                    <a:pt x="518" y="435"/>
                  </a:lnTo>
                  <a:lnTo>
                    <a:pt x="520" y="435"/>
                  </a:lnTo>
                  <a:lnTo>
                    <a:pt x="520" y="435"/>
                  </a:lnTo>
                  <a:lnTo>
                    <a:pt x="520" y="437"/>
                  </a:lnTo>
                  <a:lnTo>
                    <a:pt x="520" y="437"/>
                  </a:lnTo>
                  <a:lnTo>
                    <a:pt x="520" y="437"/>
                  </a:lnTo>
                  <a:lnTo>
                    <a:pt x="518" y="437"/>
                  </a:lnTo>
                  <a:lnTo>
                    <a:pt x="518" y="435"/>
                  </a:lnTo>
                  <a:lnTo>
                    <a:pt x="516" y="435"/>
                  </a:lnTo>
                  <a:lnTo>
                    <a:pt x="516" y="437"/>
                  </a:lnTo>
                  <a:lnTo>
                    <a:pt x="516" y="439"/>
                  </a:lnTo>
                  <a:lnTo>
                    <a:pt x="516" y="441"/>
                  </a:lnTo>
                  <a:lnTo>
                    <a:pt x="514" y="439"/>
                  </a:lnTo>
                  <a:lnTo>
                    <a:pt x="512" y="439"/>
                  </a:lnTo>
                  <a:lnTo>
                    <a:pt x="510" y="441"/>
                  </a:lnTo>
                  <a:lnTo>
                    <a:pt x="510" y="443"/>
                  </a:lnTo>
                  <a:lnTo>
                    <a:pt x="506" y="443"/>
                  </a:lnTo>
                  <a:lnTo>
                    <a:pt x="504" y="445"/>
                  </a:lnTo>
                  <a:lnTo>
                    <a:pt x="502" y="453"/>
                  </a:lnTo>
                  <a:lnTo>
                    <a:pt x="502" y="453"/>
                  </a:lnTo>
                  <a:lnTo>
                    <a:pt x="500" y="453"/>
                  </a:lnTo>
                  <a:lnTo>
                    <a:pt x="500" y="455"/>
                  </a:lnTo>
                  <a:lnTo>
                    <a:pt x="500" y="455"/>
                  </a:lnTo>
                  <a:lnTo>
                    <a:pt x="500" y="455"/>
                  </a:lnTo>
                  <a:lnTo>
                    <a:pt x="500" y="455"/>
                  </a:lnTo>
                  <a:lnTo>
                    <a:pt x="498" y="459"/>
                  </a:lnTo>
                  <a:lnTo>
                    <a:pt x="498" y="459"/>
                  </a:lnTo>
                  <a:lnTo>
                    <a:pt x="500" y="463"/>
                  </a:lnTo>
                  <a:lnTo>
                    <a:pt x="502" y="465"/>
                  </a:lnTo>
                  <a:lnTo>
                    <a:pt x="502" y="468"/>
                  </a:lnTo>
                  <a:lnTo>
                    <a:pt x="504" y="465"/>
                  </a:lnTo>
                  <a:lnTo>
                    <a:pt x="508" y="465"/>
                  </a:lnTo>
                  <a:lnTo>
                    <a:pt x="508" y="463"/>
                  </a:lnTo>
                  <a:lnTo>
                    <a:pt x="508" y="463"/>
                  </a:lnTo>
                  <a:lnTo>
                    <a:pt x="510" y="463"/>
                  </a:lnTo>
                  <a:lnTo>
                    <a:pt x="510" y="463"/>
                  </a:lnTo>
                  <a:lnTo>
                    <a:pt x="510" y="463"/>
                  </a:lnTo>
                  <a:lnTo>
                    <a:pt x="512" y="463"/>
                  </a:lnTo>
                  <a:lnTo>
                    <a:pt x="512" y="461"/>
                  </a:lnTo>
                  <a:lnTo>
                    <a:pt x="510" y="459"/>
                  </a:lnTo>
                  <a:lnTo>
                    <a:pt x="510" y="459"/>
                  </a:lnTo>
                  <a:lnTo>
                    <a:pt x="510" y="459"/>
                  </a:lnTo>
                  <a:lnTo>
                    <a:pt x="510" y="459"/>
                  </a:lnTo>
                  <a:lnTo>
                    <a:pt x="512" y="457"/>
                  </a:lnTo>
                  <a:lnTo>
                    <a:pt x="512" y="455"/>
                  </a:lnTo>
                  <a:lnTo>
                    <a:pt x="514" y="455"/>
                  </a:lnTo>
                  <a:lnTo>
                    <a:pt x="516" y="455"/>
                  </a:lnTo>
                  <a:lnTo>
                    <a:pt x="518" y="455"/>
                  </a:lnTo>
                  <a:lnTo>
                    <a:pt x="520" y="455"/>
                  </a:lnTo>
                  <a:lnTo>
                    <a:pt x="520" y="457"/>
                  </a:lnTo>
                  <a:lnTo>
                    <a:pt x="520" y="457"/>
                  </a:lnTo>
                  <a:lnTo>
                    <a:pt x="520" y="457"/>
                  </a:lnTo>
                  <a:lnTo>
                    <a:pt x="520" y="457"/>
                  </a:lnTo>
                  <a:lnTo>
                    <a:pt x="520" y="459"/>
                  </a:lnTo>
                  <a:lnTo>
                    <a:pt x="510" y="465"/>
                  </a:lnTo>
                  <a:lnTo>
                    <a:pt x="508" y="468"/>
                  </a:lnTo>
                  <a:lnTo>
                    <a:pt x="512" y="468"/>
                  </a:lnTo>
                  <a:lnTo>
                    <a:pt x="522" y="459"/>
                  </a:lnTo>
                  <a:lnTo>
                    <a:pt x="537" y="457"/>
                  </a:lnTo>
                  <a:lnTo>
                    <a:pt x="537" y="455"/>
                  </a:lnTo>
                  <a:lnTo>
                    <a:pt x="535" y="455"/>
                  </a:lnTo>
                  <a:lnTo>
                    <a:pt x="528" y="459"/>
                  </a:lnTo>
                  <a:lnTo>
                    <a:pt x="526" y="457"/>
                  </a:lnTo>
                  <a:lnTo>
                    <a:pt x="526" y="455"/>
                  </a:lnTo>
                  <a:lnTo>
                    <a:pt x="528" y="455"/>
                  </a:lnTo>
                  <a:lnTo>
                    <a:pt x="532" y="453"/>
                  </a:lnTo>
                  <a:lnTo>
                    <a:pt x="541" y="449"/>
                  </a:lnTo>
                  <a:lnTo>
                    <a:pt x="549" y="447"/>
                  </a:lnTo>
                  <a:lnTo>
                    <a:pt x="551" y="445"/>
                  </a:lnTo>
                  <a:lnTo>
                    <a:pt x="553" y="443"/>
                  </a:lnTo>
                  <a:lnTo>
                    <a:pt x="559" y="441"/>
                  </a:lnTo>
                  <a:lnTo>
                    <a:pt x="559" y="439"/>
                  </a:lnTo>
                  <a:lnTo>
                    <a:pt x="559" y="439"/>
                  </a:lnTo>
                  <a:lnTo>
                    <a:pt x="561" y="437"/>
                  </a:lnTo>
                  <a:lnTo>
                    <a:pt x="561" y="437"/>
                  </a:lnTo>
                  <a:lnTo>
                    <a:pt x="565" y="437"/>
                  </a:lnTo>
                  <a:lnTo>
                    <a:pt x="567" y="437"/>
                  </a:lnTo>
                  <a:lnTo>
                    <a:pt x="569" y="437"/>
                  </a:lnTo>
                  <a:lnTo>
                    <a:pt x="569" y="435"/>
                  </a:lnTo>
                  <a:lnTo>
                    <a:pt x="567" y="435"/>
                  </a:lnTo>
                  <a:lnTo>
                    <a:pt x="567" y="433"/>
                  </a:lnTo>
                  <a:lnTo>
                    <a:pt x="569" y="433"/>
                  </a:lnTo>
                  <a:lnTo>
                    <a:pt x="569" y="433"/>
                  </a:lnTo>
                  <a:lnTo>
                    <a:pt x="571" y="433"/>
                  </a:lnTo>
                  <a:lnTo>
                    <a:pt x="571" y="433"/>
                  </a:lnTo>
                  <a:lnTo>
                    <a:pt x="573" y="433"/>
                  </a:lnTo>
                  <a:lnTo>
                    <a:pt x="575" y="431"/>
                  </a:lnTo>
                  <a:lnTo>
                    <a:pt x="578" y="431"/>
                  </a:lnTo>
                  <a:lnTo>
                    <a:pt x="578" y="429"/>
                  </a:lnTo>
                  <a:lnTo>
                    <a:pt x="584" y="429"/>
                  </a:lnTo>
                  <a:lnTo>
                    <a:pt x="586" y="427"/>
                  </a:lnTo>
                  <a:lnTo>
                    <a:pt x="586" y="424"/>
                  </a:lnTo>
                  <a:lnTo>
                    <a:pt x="588" y="424"/>
                  </a:lnTo>
                  <a:lnTo>
                    <a:pt x="590" y="424"/>
                  </a:lnTo>
                  <a:lnTo>
                    <a:pt x="590" y="424"/>
                  </a:lnTo>
                  <a:lnTo>
                    <a:pt x="592" y="424"/>
                  </a:lnTo>
                  <a:lnTo>
                    <a:pt x="594" y="422"/>
                  </a:lnTo>
                  <a:lnTo>
                    <a:pt x="594" y="422"/>
                  </a:lnTo>
                  <a:lnTo>
                    <a:pt x="592" y="420"/>
                  </a:lnTo>
                  <a:lnTo>
                    <a:pt x="594" y="420"/>
                  </a:lnTo>
                  <a:lnTo>
                    <a:pt x="604" y="416"/>
                  </a:lnTo>
                  <a:lnTo>
                    <a:pt x="606" y="416"/>
                  </a:lnTo>
                  <a:lnTo>
                    <a:pt x="604" y="416"/>
                  </a:lnTo>
                  <a:lnTo>
                    <a:pt x="604" y="418"/>
                  </a:lnTo>
                  <a:lnTo>
                    <a:pt x="600" y="420"/>
                  </a:lnTo>
                  <a:lnTo>
                    <a:pt x="600" y="420"/>
                  </a:lnTo>
                  <a:lnTo>
                    <a:pt x="600" y="420"/>
                  </a:lnTo>
                  <a:lnTo>
                    <a:pt x="600" y="420"/>
                  </a:lnTo>
                  <a:lnTo>
                    <a:pt x="600" y="422"/>
                  </a:lnTo>
                  <a:lnTo>
                    <a:pt x="600" y="420"/>
                  </a:lnTo>
                  <a:lnTo>
                    <a:pt x="600" y="420"/>
                  </a:lnTo>
                  <a:lnTo>
                    <a:pt x="600" y="420"/>
                  </a:lnTo>
                  <a:lnTo>
                    <a:pt x="602" y="420"/>
                  </a:lnTo>
                  <a:lnTo>
                    <a:pt x="610" y="414"/>
                  </a:lnTo>
                  <a:lnTo>
                    <a:pt x="614" y="412"/>
                  </a:lnTo>
                  <a:lnTo>
                    <a:pt x="616" y="410"/>
                  </a:lnTo>
                  <a:lnTo>
                    <a:pt x="618" y="408"/>
                  </a:lnTo>
                  <a:lnTo>
                    <a:pt x="616" y="408"/>
                  </a:lnTo>
                  <a:lnTo>
                    <a:pt x="616" y="406"/>
                  </a:lnTo>
                  <a:lnTo>
                    <a:pt x="616" y="406"/>
                  </a:lnTo>
                  <a:lnTo>
                    <a:pt x="616" y="404"/>
                  </a:lnTo>
                  <a:lnTo>
                    <a:pt x="616" y="404"/>
                  </a:lnTo>
                  <a:lnTo>
                    <a:pt x="618" y="404"/>
                  </a:lnTo>
                  <a:lnTo>
                    <a:pt x="621" y="404"/>
                  </a:lnTo>
                  <a:lnTo>
                    <a:pt x="621" y="406"/>
                  </a:lnTo>
                  <a:lnTo>
                    <a:pt x="621" y="408"/>
                  </a:lnTo>
                  <a:lnTo>
                    <a:pt x="621" y="406"/>
                  </a:lnTo>
                  <a:lnTo>
                    <a:pt x="625" y="404"/>
                  </a:lnTo>
                  <a:lnTo>
                    <a:pt x="627" y="404"/>
                  </a:lnTo>
                  <a:lnTo>
                    <a:pt x="631" y="400"/>
                  </a:lnTo>
                  <a:lnTo>
                    <a:pt x="637" y="394"/>
                  </a:lnTo>
                  <a:lnTo>
                    <a:pt x="641" y="392"/>
                  </a:lnTo>
                  <a:lnTo>
                    <a:pt x="647" y="386"/>
                  </a:lnTo>
                  <a:lnTo>
                    <a:pt x="651" y="383"/>
                  </a:lnTo>
                  <a:lnTo>
                    <a:pt x="659" y="375"/>
                  </a:lnTo>
                  <a:lnTo>
                    <a:pt x="662" y="375"/>
                  </a:lnTo>
                  <a:lnTo>
                    <a:pt x="662" y="373"/>
                  </a:lnTo>
                  <a:lnTo>
                    <a:pt x="662" y="373"/>
                  </a:lnTo>
                  <a:lnTo>
                    <a:pt x="662" y="373"/>
                  </a:lnTo>
                  <a:close/>
                  <a:moveTo>
                    <a:pt x="645" y="357"/>
                  </a:moveTo>
                  <a:lnTo>
                    <a:pt x="645" y="357"/>
                  </a:lnTo>
                  <a:lnTo>
                    <a:pt x="647" y="355"/>
                  </a:lnTo>
                  <a:lnTo>
                    <a:pt x="647" y="353"/>
                  </a:lnTo>
                  <a:lnTo>
                    <a:pt x="649" y="353"/>
                  </a:lnTo>
                  <a:lnTo>
                    <a:pt x="649" y="353"/>
                  </a:lnTo>
                  <a:lnTo>
                    <a:pt x="649" y="353"/>
                  </a:lnTo>
                  <a:lnTo>
                    <a:pt x="649" y="351"/>
                  </a:lnTo>
                  <a:lnTo>
                    <a:pt x="643" y="355"/>
                  </a:lnTo>
                  <a:lnTo>
                    <a:pt x="643" y="355"/>
                  </a:lnTo>
                  <a:lnTo>
                    <a:pt x="643" y="357"/>
                  </a:lnTo>
                  <a:lnTo>
                    <a:pt x="643" y="357"/>
                  </a:lnTo>
                  <a:lnTo>
                    <a:pt x="645" y="357"/>
                  </a:lnTo>
                  <a:close/>
                  <a:moveTo>
                    <a:pt x="465" y="78"/>
                  </a:moveTo>
                  <a:lnTo>
                    <a:pt x="465" y="78"/>
                  </a:lnTo>
                  <a:lnTo>
                    <a:pt x="465" y="78"/>
                  </a:lnTo>
                  <a:lnTo>
                    <a:pt x="465" y="78"/>
                  </a:lnTo>
                  <a:close/>
                  <a:moveTo>
                    <a:pt x="244" y="125"/>
                  </a:moveTo>
                  <a:lnTo>
                    <a:pt x="246" y="125"/>
                  </a:lnTo>
                  <a:lnTo>
                    <a:pt x="246" y="125"/>
                  </a:lnTo>
                  <a:lnTo>
                    <a:pt x="250" y="123"/>
                  </a:lnTo>
                  <a:lnTo>
                    <a:pt x="250" y="121"/>
                  </a:lnTo>
                  <a:lnTo>
                    <a:pt x="250" y="121"/>
                  </a:lnTo>
                  <a:lnTo>
                    <a:pt x="250" y="119"/>
                  </a:lnTo>
                  <a:lnTo>
                    <a:pt x="250" y="119"/>
                  </a:lnTo>
                  <a:lnTo>
                    <a:pt x="250" y="119"/>
                  </a:lnTo>
                  <a:lnTo>
                    <a:pt x="250" y="119"/>
                  </a:lnTo>
                  <a:lnTo>
                    <a:pt x="248" y="121"/>
                  </a:lnTo>
                  <a:lnTo>
                    <a:pt x="248" y="121"/>
                  </a:lnTo>
                  <a:lnTo>
                    <a:pt x="246" y="121"/>
                  </a:lnTo>
                  <a:lnTo>
                    <a:pt x="244" y="123"/>
                  </a:lnTo>
                  <a:lnTo>
                    <a:pt x="244" y="123"/>
                  </a:lnTo>
                  <a:lnTo>
                    <a:pt x="244" y="123"/>
                  </a:lnTo>
                  <a:lnTo>
                    <a:pt x="244" y="125"/>
                  </a:lnTo>
                  <a:lnTo>
                    <a:pt x="244" y="125"/>
                  </a:lnTo>
                  <a:close/>
                  <a:moveTo>
                    <a:pt x="252" y="117"/>
                  </a:moveTo>
                  <a:lnTo>
                    <a:pt x="252" y="119"/>
                  </a:lnTo>
                  <a:lnTo>
                    <a:pt x="252" y="119"/>
                  </a:lnTo>
                  <a:lnTo>
                    <a:pt x="254" y="121"/>
                  </a:lnTo>
                  <a:lnTo>
                    <a:pt x="254" y="119"/>
                  </a:lnTo>
                  <a:lnTo>
                    <a:pt x="256" y="117"/>
                  </a:lnTo>
                  <a:lnTo>
                    <a:pt x="258" y="117"/>
                  </a:lnTo>
                  <a:lnTo>
                    <a:pt x="258" y="115"/>
                  </a:lnTo>
                  <a:lnTo>
                    <a:pt x="260" y="113"/>
                  </a:lnTo>
                  <a:lnTo>
                    <a:pt x="260" y="111"/>
                  </a:lnTo>
                  <a:lnTo>
                    <a:pt x="260" y="111"/>
                  </a:lnTo>
                  <a:lnTo>
                    <a:pt x="260" y="111"/>
                  </a:lnTo>
                  <a:lnTo>
                    <a:pt x="260" y="109"/>
                  </a:lnTo>
                  <a:lnTo>
                    <a:pt x="260" y="111"/>
                  </a:lnTo>
                  <a:lnTo>
                    <a:pt x="258" y="111"/>
                  </a:lnTo>
                  <a:lnTo>
                    <a:pt x="258" y="113"/>
                  </a:lnTo>
                  <a:lnTo>
                    <a:pt x="258" y="111"/>
                  </a:lnTo>
                  <a:lnTo>
                    <a:pt x="256" y="113"/>
                  </a:lnTo>
                  <a:lnTo>
                    <a:pt x="256" y="115"/>
                  </a:lnTo>
                  <a:lnTo>
                    <a:pt x="254" y="115"/>
                  </a:lnTo>
                  <a:lnTo>
                    <a:pt x="254" y="115"/>
                  </a:lnTo>
                  <a:lnTo>
                    <a:pt x="254" y="115"/>
                  </a:lnTo>
                  <a:lnTo>
                    <a:pt x="254" y="115"/>
                  </a:lnTo>
                  <a:lnTo>
                    <a:pt x="254" y="115"/>
                  </a:lnTo>
                  <a:lnTo>
                    <a:pt x="254" y="115"/>
                  </a:lnTo>
                  <a:lnTo>
                    <a:pt x="254" y="115"/>
                  </a:lnTo>
                  <a:lnTo>
                    <a:pt x="252" y="115"/>
                  </a:lnTo>
                  <a:lnTo>
                    <a:pt x="252" y="117"/>
                  </a:lnTo>
                  <a:lnTo>
                    <a:pt x="252" y="115"/>
                  </a:lnTo>
                  <a:lnTo>
                    <a:pt x="252" y="117"/>
                  </a:lnTo>
                  <a:lnTo>
                    <a:pt x="252" y="117"/>
                  </a:lnTo>
                  <a:lnTo>
                    <a:pt x="250" y="117"/>
                  </a:lnTo>
                  <a:lnTo>
                    <a:pt x="252" y="117"/>
                  </a:lnTo>
                  <a:lnTo>
                    <a:pt x="252" y="117"/>
                  </a:lnTo>
                  <a:close/>
                  <a:moveTo>
                    <a:pt x="244" y="154"/>
                  </a:moveTo>
                  <a:lnTo>
                    <a:pt x="246" y="152"/>
                  </a:lnTo>
                  <a:lnTo>
                    <a:pt x="246" y="150"/>
                  </a:lnTo>
                  <a:lnTo>
                    <a:pt x="244" y="150"/>
                  </a:lnTo>
                  <a:lnTo>
                    <a:pt x="244" y="150"/>
                  </a:lnTo>
                  <a:lnTo>
                    <a:pt x="242" y="152"/>
                  </a:lnTo>
                  <a:lnTo>
                    <a:pt x="242" y="154"/>
                  </a:lnTo>
                  <a:lnTo>
                    <a:pt x="240" y="154"/>
                  </a:lnTo>
                  <a:lnTo>
                    <a:pt x="242" y="158"/>
                  </a:lnTo>
                  <a:lnTo>
                    <a:pt x="244" y="154"/>
                  </a:lnTo>
                  <a:lnTo>
                    <a:pt x="244" y="154"/>
                  </a:lnTo>
                  <a:close/>
                  <a:moveTo>
                    <a:pt x="500" y="422"/>
                  </a:moveTo>
                  <a:lnTo>
                    <a:pt x="500" y="420"/>
                  </a:lnTo>
                  <a:lnTo>
                    <a:pt x="496" y="412"/>
                  </a:lnTo>
                  <a:lnTo>
                    <a:pt x="496" y="406"/>
                  </a:lnTo>
                  <a:lnTo>
                    <a:pt x="496" y="404"/>
                  </a:lnTo>
                  <a:lnTo>
                    <a:pt x="494" y="404"/>
                  </a:lnTo>
                  <a:lnTo>
                    <a:pt x="492" y="402"/>
                  </a:lnTo>
                  <a:lnTo>
                    <a:pt x="492" y="402"/>
                  </a:lnTo>
                  <a:lnTo>
                    <a:pt x="489" y="400"/>
                  </a:lnTo>
                  <a:lnTo>
                    <a:pt x="487" y="396"/>
                  </a:lnTo>
                  <a:lnTo>
                    <a:pt x="487" y="396"/>
                  </a:lnTo>
                  <a:lnTo>
                    <a:pt x="487" y="396"/>
                  </a:lnTo>
                  <a:lnTo>
                    <a:pt x="487" y="394"/>
                  </a:lnTo>
                  <a:lnTo>
                    <a:pt x="487" y="394"/>
                  </a:lnTo>
                  <a:lnTo>
                    <a:pt x="487" y="392"/>
                  </a:lnTo>
                  <a:lnTo>
                    <a:pt x="489" y="390"/>
                  </a:lnTo>
                  <a:lnTo>
                    <a:pt x="489" y="392"/>
                  </a:lnTo>
                  <a:lnTo>
                    <a:pt x="489" y="394"/>
                  </a:lnTo>
                  <a:lnTo>
                    <a:pt x="489" y="396"/>
                  </a:lnTo>
                  <a:lnTo>
                    <a:pt x="492" y="398"/>
                  </a:lnTo>
                  <a:lnTo>
                    <a:pt x="494" y="400"/>
                  </a:lnTo>
                  <a:lnTo>
                    <a:pt x="496" y="400"/>
                  </a:lnTo>
                  <a:lnTo>
                    <a:pt x="498" y="402"/>
                  </a:lnTo>
                  <a:lnTo>
                    <a:pt x="498" y="406"/>
                  </a:lnTo>
                  <a:lnTo>
                    <a:pt x="500" y="408"/>
                  </a:lnTo>
                  <a:lnTo>
                    <a:pt x="502" y="418"/>
                  </a:lnTo>
                  <a:lnTo>
                    <a:pt x="502" y="420"/>
                  </a:lnTo>
                  <a:lnTo>
                    <a:pt x="502" y="424"/>
                  </a:lnTo>
                  <a:lnTo>
                    <a:pt x="502" y="429"/>
                  </a:lnTo>
                  <a:lnTo>
                    <a:pt x="502" y="433"/>
                  </a:lnTo>
                  <a:lnTo>
                    <a:pt x="502" y="435"/>
                  </a:lnTo>
                  <a:lnTo>
                    <a:pt x="502" y="437"/>
                  </a:lnTo>
                  <a:lnTo>
                    <a:pt x="498" y="447"/>
                  </a:lnTo>
                  <a:lnTo>
                    <a:pt x="498" y="449"/>
                  </a:lnTo>
                  <a:lnTo>
                    <a:pt x="498" y="451"/>
                  </a:lnTo>
                  <a:lnTo>
                    <a:pt x="500" y="453"/>
                  </a:lnTo>
                  <a:lnTo>
                    <a:pt x="500" y="451"/>
                  </a:lnTo>
                  <a:lnTo>
                    <a:pt x="502" y="445"/>
                  </a:lnTo>
                  <a:lnTo>
                    <a:pt x="504" y="441"/>
                  </a:lnTo>
                  <a:lnTo>
                    <a:pt x="504" y="441"/>
                  </a:lnTo>
                  <a:lnTo>
                    <a:pt x="508" y="439"/>
                  </a:lnTo>
                  <a:lnTo>
                    <a:pt x="510" y="437"/>
                  </a:lnTo>
                  <a:lnTo>
                    <a:pt x="514" y="437"/>
                  </a:lnTo>
                  <a:lnTo>
                    <a:pt x="512" y="437"/>
                  </a:lnTo>
                  <a:lnTo>
                    <a:pt x="510" y="435"/>
                  </a:lnTo>
                  <a:lnTo>
                    <a:pt x="510" y="435"/>
                  </a:lnTo>
                  <a:lnTo>
                    <a:pt x="510" y="433"/>
                  </a:lnTo>
                  <a:lnTo>
                    <a:pt x="512" y="433"/>
                  </a:lnTo>
                  <a:lnTo>
                    <a:pt x="512" y="433"/>
                  </a:lnTo>
                  <a:lnTo>
                    <a:pt x="512" y="433"/>
                  </a:lnTo>
                  <a:lnTo>
                    <a:pt x="512" y="431"/>
                  </a:lnTo>
                  <a:lnTo>
                    <a:pt x="514" y="429"/>
                  </a:lnTo>
                  <a:lnTo>
                    <a:pt x="516" y="424"/>
                  </a:lnTo>
                  <a:lnTo>
                    <a:pt x="516" y="422"/>
                  </a:lnTo>
                  <a:lnTo>
                    <a:pt x="518" y="422"/>
                  </a:lnTo>
                  <a:lnTo>
                    <a:pt x="520" y="422"/>
                  </a:lnTo>
                  <a:lnTo>
                    <a:pt x="520" y="420"/>
                  </a:lnTo>
                  <a:lnTo>
                    <a:pt x="520" y="418"/>
                  </a:lnTo>
                  <a:lnTo>
                    <a:pt x="520" y="418"/>
                  </a:lnTo>
                  <a:lnTo>
                    <a:pt x="520" y="416"/>
                  </a:lnTo>
                  <a:lnTo>
                    <a:pt x="520" y="416"/>
                  </a:lnTo>
                  <a:lnTo>
                    <a:pt x="520" y="416"/>
                  </a:lnTo>
                  <a:lnTo>
                    <a:pt x="520" y="416"/>
                  </a:lnTo>
                  <a:lnTo>
                    <a:pt x="520" y="414"/>
                  </a:lnTo>
                  <a:lnTo>
                    <a:pt x="520" y="414"/>
                  </a:lnTo>
                  <a:lnTo>
                    <a:pt x="518" y="414"/>
                  </a:lnTo>
                  <a:lnTo>
                    <a:pt x="518" y="414"/>
                  </a:lnTo>
                  <a:lnTo>
                    <a:pt x="518" y="414"/>
                  </a:lnTo>
                  <a:lnTo>
                    <a:pt x="518" y="412"/>
                  </a:lnTo>
                  <a:lnTo>
                    <a:pt x="516" y="410"/>
                  </a:lnTo>
                  <a:lnTo>
                    <a:pt x="512" y="408"/>
                  </a:lnTo>
                  <a:lnTo>
                    <a:pt x="512" y="408"/>
                  </a:lnTo>
                  <a:lnTo>
                    <a:pt x="512" y="406"/>
                  </a:lnTo>
                  <a:lnTo>
                    <a:pt x="516" y="404"/>
                  </a:lnTo>
                  <a:lnTo>
                    <a:pt x="520" y="400"/>
                  </a:lnTo>
                  <a:lnTo>
                    <a:pt x="524" y="396"/>
                  </a:lnTo>
                  <a:lnTo>
                    <a:pt x="526" y="392"/>
                  </a:lnTo>
                  <a:lnTo>
                    <a:pt x="528" y="392"/>
                  </a:lnTo>
                  <a:lnTo>
                    <a:pt x="526" y="390"/>
                  </a:lnTo>
                  <a:lnTo>
                    <a:pt x="524" y="388"/>
                  </a:lnTo>
                  <a:lnTo>
                    <a:pt x="524" y="386"/>
                  </a:lnTo>
                  <a:lnTo>
                    <a:pt x="522" y="383"/>
                  </a:lnTo>
                  <a:lnTo>
                    <a:pt x="520" y="381"/>
                  </a:lnTo>
                  <a:lnTo>
                    <a:pt x="520" y="377"/>
                  </a:lnTo>
                  <a:lnTo>
                    <a:pt x="520" y="373"/>
                  </a:lnTo>
                  <a:lnTo>
                    <a:pt x="518" y="367"/>
                  </a:lnTo>
                  <a:lnTo>
                    <a:pt x="518" y="363"/>
                  </a:lnTo>
                  <a:lnTo>
                    <a:pt x="516" y="357"/>
                  </a:lnTo>
                  <a:lnTo>
                    <a:pt x="516" y="353"/>
                  </a:lnTo>
                  <a:lnTo>
                    <a:pt x="516" y="349"/>
                  </a:lnTo>
                  <a:lnTo>
                    <a:pt x="514" y="342"/>
                  </a:lnTo>
                  <a:lnTo>
                    <a:pt x="514" y="338"/>
                  </a:lnTo>
                  <a:lnTo>
                    <a:pt x="512" y="334"/>
                  </a:lnTo>
                  <a:lnTo>
                    <a:pt x="512" y="328"/>
                  </a:lnTo>
                  <a:lnTo>
                    <a:pt x="510" y="324"/>
                  </a:lnTo>
                  <a:lnTo>
                    <a:pt x="510" y="320"/>
                  </a:lnTo>
                  <a:lnTo>
                    <a:pt x="510" y="314"/>
                  </a:lnTo>
                  <a:lnTo>
                    <a:pt x="508" y="310"/>
                  </a:lnTo>
                  <a:lnTo>
                    <a:pt x="508" y="304"/>
                  </a:lnTo>
                  <a:lnTo>
                    <a:pt x="504" y="302"/>
                  </a:lnTo>
                  <a:lnTo>
                    <a:pt x="504" y="299"/>
                  </a:lnTo>
                  <a:lnTo>
                    <a:pt x="506" y="297"/>
                  </a:lnTo>
                  <a:lnTo>
                    <a:pt x="506" y="289"/>
                  </a:lnTo>
                  <a:lnTo>
                    <a:pt x="506" y="273"/>
                  </a:lnTo>
                  <a:lnTo>
                    <a:pt x="506" y="265"/>
                  </a:lnTo>
                  <a:lnTo>
                    <a:pt x="506" y="256"/>
                  </a:lnTo>
                  <a:lnTo>
                    <a:pt x="506" y="248"/>
                  </a:lnTo>
                  <a:lnTo>
                    <a:pt x="506" y="240"/>
                  </a:lnTo>
                  <a:lnTo>
                    <a:pt x="508" y="234"/>
                  </a:lnTo>
                  <a:lnTo>
                    <a:pt x="508" y="230"/>
                  </a:lnTo>
                  <a:lnTo>
                    <a:pt x="508" y="228"/>
                  </a:lnTo>
                  <a:lnTo>
                    <a:pt x="506" y="226"/>
                  </a:lnTo>
                  <a:lnTo>
                    <a:pt x="504" y="224"/>
                  </a:lnTo>
                  <a:lnTo>
                    <a:pt x="504" y="220"/>
                  </a:lnTo>
                  <a:lnTo>
                    <a:pt x="504" y="217"/>
                  </a:lnTo>
                  <a:lnTo>
                    <a:pt x="504" y="215"/>
                  </a:lnTo>
                  <a:lnTo>
                    <a:pt x="504" y="215"/>
                  </a:lnTo>
                  <a:lnTo>
                    <a:pt x="504" y="213"/>
                  </a:lnTo>
                  <a:lnTo>
                    <a:pt x="502" y="209"/>
                  </a:lnTo>
                  <a:lnTo>
                    <a:pt x="502" y="205"/>
                  </a:lnTo>
                  <a:lnTo>
                    <a:pt x="500" y="201"/>
                  </a:lnTo>
                  <a:lnTo>
                    <a:pt x="500" y="195"/>
                  </a:lnTo>
                  <a:lnTo>
                    <a:pt x="498" y="189"/>
                  </a:lnTo>
                  <a:lnTo>
                    <a:pt x="496" y="177"/>
                  </a:lnTo>
                  <a:lnTo>
                    <a:pt x="494" y="170"/>
                  </a:lnTo>
                  <a:lnTo>
                    <a:pt x="492" y="164"/>
                  </a:lnTo>
                  <a:lnTo>
                    <a:pt x="492" y="158"/>
                  </a:lnTo>
                  <a:lnTo>
                    <a:pt x="489" y="154"/>
                  </a:lnTo>
                  <a:lnTo>
                    <a:pt x="489" y="152"/>
                  </a:lnTo>
                  <a:lnTo>
                    <a:pt x="489" y="150"/>
                  </a:lnTo>
                  <a:lnTo>
                    <a:pt x="489" y="148"/>
                  </a:lnTo>
                  <a:lnTo>
                    <a:pt x="487" y="146"/>
                  </a:lnTo>
                  <a:lnTo>
                    <a:pt x="487" y="146"/>
                  </a:lnTo>
                  <a:lnTo>
                    <a:pt x="487" y="146"/>
                  </a:lnTo>
                  <a:lnTo>
                    <a:pt x="485" y="146"/>
                  </a:lnTo>
                  <a:lnTo>
                    <a:pt x="485" y="144"/>
                  </a:lnTo>
                  <a:lnTo>
                    <a:pt x="483" y="142"/>
                  </a:lnTo>
                  <a:lnTo>
                    <a:pt x="483" y="140"/>
                  </a:lnTo>
                  <a:lnTo>
                    <a:pt x="481" y="140"/>
                  </a:lnTo>
                  <a:lnTo>
                    <a:pt x="481" y="140"/>
                  </a:lnTo>
                  <a:lnTo>
                    <a:pt x="479" y="140"/>
                  </a:lnTo>
                  <a:lnTo>
                    <a:pt x="479" y="140"/>
                  </a:lnTo>
                  <a:lnTo>
                    <a:pt x="479" y="140"/>
                  </a:lnTo>
                  <a:lnTo>
                    <a:pt x="479" y="140"/>
                  </a:lnTo>
                  <a:lnTo>
                    <a:pt x="477" y="142"/>
                  </a:lnTo>
                  <a:lnTo>
                    <a:pt x="477" y="142"/>
                  </a:lnTo>
                  <a:lnTo>
                    <a:pt x="477" y="142"/>
                  </a:lnTo>
                  <a:lnTo>
                    <a:pt x="477" y="142"/>
                  </a:lnTo>
                  <a:lnTo>
                    <a:pt x="477" y="144"/>
                  </a:lnTo>
                  <a:lnTo>
                    <a:pt x="477" y="146"/>
                  </a:lnTo>
                  <a:lnTo>
                    <a:pt x="477" y="146"/>
                  </a:lnTo>
                  <a:lnTo>
                    <a:pt x="477" y="146"/>
                  </a:lnTo>
                  <a:lnTo>
                    <a:pt x="477" y="146"/>
                  </a:lnTo>
                  <a:lnTo>
                    <a:pt x="475" y="148"/>
                  </a:lnTo>
                  <a:lnTo>
                    <a:pt x="475" y="148"/>
                  </a:lnTo>
                  <a:lnTo>
                    <a:pt x="475" y="148"/>
                  </a:lnTo>
                  <a:lnTo>
                    <a:pt x="475" y="148"/>
                  </a:lnTo>
                  <a:lnTo>
                    <a:pt x="473" y="146"/>
                  </a:lnTo>
                  <a:lnTo>
                    <a:pt x="473" y="146"/>
                  </a:lnTo>
                  <a:lnTo>
                    <a:pt x="473" y="144"/>
                  </a:lnTo>
                  <a:lnTo>
                    <a:pt x="473" y="142"/>
                  </a:lnTo>
                  <a:lnTo>
                    <a:pt x="473" y="140"/>
                  </a:lnTo>
                  <a:lnTo>
                    <a:pt x="473" y="140"/>
                  </a:lnTo>
                  <a:lnTo>
                    <a:pt x="473" y="129"/>
                  </a:lnTo>
                  <a:lnTo>
                    <a:pt x="473" y="127"/>
                  </a:lnTo>
                  <a:lnTo>
                    <a:pt x="473" y="127"/>
                  </a:lnTo>
                  <a:lnTo>
                    <a:pt x="473" y="125"/>
                  </a:lnTo>
                  <a:lnTo>
                    <a:pt x="473" y="123"/>
                  </a:lnTo>
                  <a:lnTo>
                    <a:pt x="471" y="123"/>
                  </a:lnTo>
                  <a:lnTo>
                    <a:pt x="469" y="121"/>
                  </a:lnTo>
                  <a:lnTo>
                    <a:pt x="469" y="121"/>
                  </a:lnTo>
                  <a:lnTo>
                    <a:pt x="469" y="119"/>
                  </a:lnTo>
                  <a:lnTo>
                    <a:pt x="469" y="117"/>
                  </a:lnTo>
                  <a:lnTo>
                    <a:pt x="469" y="117"/>
                  </a:lnTo>
                  <a:lnTo>
                    <a:pt x="469" y="115"/>
                  </a:lnTo>
                  <a:lnTo>
                    <a:pt x="467" y="115"/>
                  </a:lnTo>
                  <a:lnTo>
                    <a:pt x="467" y="113"/>
                  </a:lnTo>
                  <a:lnTo>
                    <a:pt x="465" y="111"/>
                  </a:lnTo>
                  <a:lnTo>
                    <a:pt x="465" y="109"/>
                  </a:lnTo>
                  <a:lnTo>
                    <a:pt x="463" y="105"/>
                  </a:lnTo>
                  <a:lnTo>
                    <a:pt x="463" y="103"/>
                  </a:lnTo>
                  <a:lnTo>
                    <a:pt x="463" y="101"/>
                  </a:lnTo>
                  <a:lnTo>
                    <a:pt x="463" y="101"/>
                  </a:lnTo>
                  <a:lnTo>
                    <a:pt x="463" y="101"/>
                  </a:lnTo>
                  <a:lnTo>
                    <a:pt x="461" y="101"/>
                  </a:lnTo>
                  <a:lnTo>
                    <a:pt x="461" y="101"/>
                  </a:lnTo>
                  <a:lnTo>
                    <a:pt x="461" y="103"/>
                  </a:lnTo>
                  <a:lnTo>
                    <a:pt x="459" y="99"/>
                  </a:lnTo>
                  <a:lnTo>
                    <a:pt x="459" y="86"/>
                  </a:lnTo>
                  <a:lnTo>
                    <a:pt x="457" y="84"/>
                  </a:lnTo>
                  <a:lnTo>
                    <a:pt x="459" y="82"/>
                  </a:lnTo>
                  <a:lnTo>
                    <a:pt x="463" y="76"/>
                  </a:lnTo>
                  <a:lnTo>
                    <a:pt x="463" y="74"/>
                  </a:lnTo>
                  <a:lnTo>
                    <a:pt x="461" y="72"/>
                  </a:lnTo>
                  <a:lnTo>
                    <a:pt x="461" y="72"/>
                  </a:lnTo>
                  <a:lnTo>
                    <a:pt x="461" y="68"/>
                  </a:lnTo>
                  <a:lnTo>
                    <a:pt x="459" y="66"/>
                  </a:lnTo>
                  <a:lnTo>
                    <a:pt x="459" y="64"/>
                  </a:lnTo>
                  <a:lnTo>
                    <a:pt x="457" y="64"/>
                  </a:lnTo>
                  <a:lnTo>
                    <a:pt x="457" y="64"/>
                  </a:lnTo>
                  <a:lnTo>
                    <a:pt x="457" y="58"/>
                  </a:lnTo>
                  <a:lnTo>
                    <a:pt x="455" y="58"/>
                  </a:lnTo>
                  <a:lnTo>
                    <a:pt x="455" y="58"/>
                  </a:lnTo>
                  <a:lnTo>
                    <a:pt x="455" y="60"/>
                  </a:lnTo>
                  <a:lnTo>
                    <a:pt x="455" y="62"/>
                  </a:lnTo>
                  <a:lnTo>
                    <a:pt x="455" y="64"/>
                  </a:lnTo>
                  <a:lnTo>
                    <a:pt x="455" y="62"/>
                  </a:lnTo>
                  <a:lnTo>
                    <a:pt x="453" y="60"/>
                  </a:lnTo>
                  <a:lnTo>
                    <a:pt x="453" y="60"/>
                  </a:lnTo>
                  <a:lnTo>
                    <a:pt x="455" y="58"/>
                  </a:lnTo>
                  <a:lnTo>
                    <a:pt x="455" y="56"/>
                  </a:lnTo>
                  <a:lnTo>
                    <a:pt x="453" y="56"/>
                  </a:lnTo>
                  <a:lnTo>
                    <a:pt x="451" y="54"/>
                  </a:lnTo>
                  <a:lnTo>
                    <a:pt x="453" y="51"/>
                  </a:lnTo>
                  <a:lnTo>
                    <a:pt x="453" y="49"/>
                  </a:lnTo>
                  <a:lnTo>
                    <a:pt x="451" y="47"/>
                  </a:lnTo>
                  <a:lnTo>
                    <a:pt x="451" y="47"/>
                  </a:lnTo>
                  <a:lnTo>
                    <a:pt x="449" y="47"/>
                  </a:lnTo>
                  <a:lnTo>
                    <a:pt x="449" y="45"/>
                  </a:lnTo>
                  <a:lnTo>
                    <a:pt x="446" y="43"/>
                  </a:lnTo>
                  <a:lnTo>
                    <a:pt x="446" y="41"/>
                  </a:lnTo>
                  <a:lnTo>
                    <a:pt x="446" y="41"/>
                  </a:lnTo>
                  <a:lnTo>
                    <a:pt x="446" y="41"/>
                  </a:lnTo>
                  <a:lnTo>
                    <a:pt x="446" y="41"/>
                  </a:lnTo>
                  <a:lnTo>
                    <a:pt x="446" y="39"/>
                  </a:lnTo>
                  <a:lnTo>
                    <a:pt x="444" y="39"/>
                  </a:lnTo>
                  <a:lnTo>
                    <a:pt x="446" y="37"/>
                  </a:lnTo>
                  <a:lnTo>
                    <a:pt x="446" y="35"/>
                  </a:lnTo>
                  <a:lnTo>
                    <a:pt x="444" y="33"/>
                  </a:lnTo>
                  <a:lnTo>
                    <a:pt x="444" y="31"/>
                  </a:lnTo>
                  <a:lnTo>
                    <a:pt x="444" y="31"/>
                  </a:lnTo>
                  <a:lnTo>
                    <a:pt x="446" y="31"/>
                  </a:lnTo>
                  <a:lnTo>
                    <a:pt x="446" y="31"/>
                  </a:lnTo>
                  <a:lnTo>
                    <a:pt x="449" y="33"/>
                  </a:lnTo>
                  <a:lnTo>
                    <a:pt x="449" y="33"/>
                  </a:lnTo>
                  <a:lnTo>
                    <a:pt x="449" y="31"/>
                  </a:lnTo>
                  <a:lnTo>
                    <a:pt x="449" y="31"/>
                  </a:lnTo>
                  <a:lnTo>
                    <a:pt x="449" y="29"/>
                  </a:lnTo>
                  <a:lnTo>
                    <a:pt x="446" y="29"/>
                  </a:lnTo>
                  <a:lnTo>
                    <a:pt x="446" y="29"/>
                  </a:lnTo>
                  <a:lnTo>
                    <a:pt x="444" y="27"/>
                  </a:lnTo>
                  <a:lnTo>
                    <a:pt x="444" y="27"/>
                  </a:lnTo>
                  <a:lnTo>
                    <a:pt x="444" y="27"/>
                  </a:lnTo>
                  <a:lnTo>
                    <a:pt x="444" y="25"/>
                  </a:lnTo>
                  <a:lnTo>
                    <a:pt x="446" y="25"/>
                  </a:lnTo>
                  <a:lnTo>
                    <a:pt x="446" y="25"/>
                  </a:lnTo>
                  <a:lnTo>
                    <a:pt x="446" y="25"/>
                  </a:lnTo>
                  <a:lnTo>
                    <a:pt x="446" y="23"/>
                  </a:lnTo>
                  <a:lnTo>
                    <a:pt x="446" y="21"/>
                  </a:lnTo>
                  <a:lnTo>
                    <a:pt x="446" y="21"/>
                  </a:lnTo>
                  <a:lnTo>
                    <a:pt x="444" y="19"/>
                  </a:lnTo>
                  <a:lnTo>
                    <a:pt x="444" y="19"/>
                  </a:lnTo>
                  <a:lnTo>
                    <a:pt x="444" y="17"/>
                  </a:lnTo>
                  <a:lnTo>
                    <a:pt x="444" y="15"/>
                  </a:lnTo>
                  <a:lnTo>
                    <a:pt x="444" y="11"/>
                  </a:lnTo>
                  <a:lnTo>
                    <a:pt x="442" y="8"/>
                  </a:lnTo>
                  <a:lnTo>
                    <a:pt x="442" y="6"/>
                  </a:lnTo>
                  <a:lnTo>
                    <a:pt x="442" y="6"/>
                  </a:lnTo>
                  <a:lnTo>
                    <a:pt x="444" y="6"/>
                  </a:lnTo>
                  <a:lnTo>
                    <a:pt x="444" y="6"/>
                  </a:lnTo>
                  <a:lnTo>
                    <a:pt x="444" y="4"/>
                  </a:lnTo>
                  <a:lnTo>
                    <a:pt x="444" y="4"/>
                  </a:lnTo>
                  <a:lnTo>
                    <a:pt x="444" y="2"/>
                  </a:lnTo>
                  <a:lnTo>
                    <a:pt x="442" y="0"/>
                  </a:lnTo>
                  <a:lnTo>
                    <a:pt x="442" y="0"/>
                  </a:lnTo>
                  <a:lnTo>
                    <a:pt x="440" y="0"/>
                  </a:lnTo>
                  <a:lnTo>
                    <a:pt x="432" y="2"/>
                  </a:lnTo>
                  <a:lnTo>
                    <a:pt x="424" y="4"/>
                  </a:lnTo>
                  <a:lnTo>
                    <a:pt x="418" y="6"/>
                  </a:lnTo>
                  <a:lnTo>
                    <a:pt x="410" y="8"/>
                  </a:lnTo>
                  <a:lnTo>
                    <a:pt x="401" y="11"/>
                  </a:lnTo>
                  <a:lnTo>
                    <a:pt x="393" y="13"/>
                  </a:lnTo>
                  <a:lnTo>
                    <a:pt x="387" y="15"/>
                  </a:lnTo>
                  <a:lnTo>
                    <a:pt x="379" y="17"/>
                  </a:lnTo>
                  <a:lnTo>
                    <a:pt x="371" y="19"/>
                  </a:lnTo>
                  <a:lnTo>
                    <a:pt x="362" y="21"/>
                  </a:lnTo>
                  <a:lnTo>
                    <a:pt x="356" y="21"/>
                  </a:lnTo>
                  <a:lnTo>
                    <a:pt x="348" y="23"/>
                  </a:lnTo>
                  <a:lnTo>
                    <a:pt x="340" y="25"/>
                  </a:lnTo>
                  <a:lnTo>
                    <a:pt x="340" y="25"/>
                  </a:lnTo>
                  <a:lnTo>
                    <a:pt x="338" y="27"/>
                  </a:lnTo>
                  <a:lnTo>
                    <a:pt x="328" y="27"/>
                  </a:lnTo>
                  <a:lnTo>
                    <a:pt x="326" y="27"/>
                  </a:lnTo>
                  <a:lnTo>
                    <a:pt x="324" y="29"/>
                  </a:lnTo>
                  <a:lnTo>
                    <a:pt x="322" y="31"/>
                  </a:lnTo>
                  <a:lnTo>
                    <a:pt x="317" y="33"/>
                  </a:lnTo>
                  <a:lnTo>
                    <a:pt x="317" y="35"/>
                  </a:lnTo>
                  <a:lnTo>
                    <a:pt x="313" y="37"/>
                  </a:lnTo>
                  <a:lnTo>
                    <a:pt x="313" y="39"/>
                  </a:lnTo>
                  <a:lnTo>
                    <a:pt x="309" y="41"/>
                  </a:lnTo>
                  <a:lnTo>
                    <a:pt x="299" y="49"/>
                  </a:lnTo>
                  <a:lnTo>
                    <a:pt x="295" y="56"/>
                  </a:lnTo>
                  <a:lnTo>
                    <a:pt x="289" y="66"/>
                  </a:lnTo>
                  <a:lnTo>
                    <a:pt x="281" y="76"/>
                  </a:lnTo>
                  <a:lnTo>
                    <a:pt x="272" y="86"/>
                  </a:lnTo>
                  <a:lnTo>
                    <a:pt x="270" y="92"/>
                  </a:lnTo>
                  <a:lnTo>
                    <a:pt x="268" y="97"/>
                  </a:lnTo>
                  <a:lnTo>
                    <a:pt x="268" y="97"/>
                  </a:lnTo>
                  <a:lnTo>
                    <a:pt x="268" y="97"/>
                  </a:lnTo>
                  <a:lnTo>
                    <a:pt x="268" y="97"/>
                  </a:lnTo>
                  <a:lnTo>
                    <a:pt x="270" y="99"/>
                  </a:lnTo>
                  <a:lnTo>
                    <a:pt x="270" y="101"/>
                  </a:lnTo>
                  <a:lnTo>
                    <a:pt x="270" y="103"/>
                  </a:lnTo>
                  <a:lnTo>
                    <a:pt x="266" y="107"/>
                  </a:lnTo>
                  <a:lnTo>
                    <a:pt x="266" y="107"/>
                  </a:lnTo>
                  <a:lnTo>
                    <a:pt x="266" y="107"/>
                  </a:lnTo>
                  <a:lnTo>
                    <a:pt x="266" y="109"/>
                  </a:lnTo>
                  <a:lnTo>
                    <a:pt x="266" y="109"/>
                  </a:lnTo>
                  <a:lnTo>
                    <a:pt x="264" y="109"/>
                  </a:lnTo>
                  <a:lnTo>
                    <a:pt x="262" y="111"/>
                  </a:lnTo>
                  <a:lnTo>
                    <a:pt x="260" y="113"/>
                  </a:lnTo>
                  <a:lnTo>
                    <a:pt x="260" y="113"/>
                  </a:lnTo>
                  <a:lnTo>
                    <a:pt x="252" y="123"/>
                  </a:lnTo>
                  <a:lnTo>
                    <a:pt x="244" y="131"/>
                  </a:lnTo>
                  <a:lnTo>
                    <a:pt x="231" y="144"/>
                  </a:lnTo>
                  <a:lnTo>
                    <a:pt x="231" y="144"/>
                  </a:lnTo>
                  <a:lnTo>
                    <a:pt x="231" y="148"/>
                  </a:lnTo>
                  <a:lnTo>
                    <a:pt x="233" y="148"/>
                  </a:lnTo>
                  <a:lnTo>
                    <a:pt x="236" y="148"/>
                  </a:lnTo>
                  <a:lnTo>
                    <a:pt x="236" y="148"/>
                  </a:lnTo>
                  <a:lnTo>
                    <a:pt x="238" y="150"/>
                  </a:lnTo>
                  <a:lnTo>
                    <a:pt x="238" y="150"/>
                  </a:lnTo>
                  <a:lnTo>
                    <a:pt x="238" y="152"/>
                  </a:lnTo>
                  <a:lnTo>
                    <a:pt x="238" y="152"/>
                  </a:lnTo>
                  <a:lnTo>
                    <a:pt x="238" y="152"/>
                  </a:lnTo>
                  <a:lnTo>
                    <a:pt x="240" y="152"/>
                  </a:lnTo>
                  <a:lnTo>
                    <a:pt x="240" y="152"/>
                  </a:lnTo>
                  <a:lnTo>
                    <a:pt x="240" y="150"/>
                  </a:lnTo>
                  <a:lnTo>
                    <a:pt x="240" y="148"/>
                  </a:lnTo>
                  <a:lnTo>
                    <a:pt x="244" y="146"/>
                  </a:lnTo>
                  <a:lnTo>
                    <a:pt x="246" y="146"/>
                  </a:lnTo>
                  <a:lnTo>
                    <a:pt x="248" y="146"/>
                  </a:lnTo>
                  <a:lnTo>
                    <a:pt x="250" y="146"/>
                  </a:lnTo>
                  <a:lnTo>
                    <a:pt x="250" y="148"/>
                  </a:lnTo>
                  <a:lnTo>
                    <a:pt x="250" y="148"/>
                  </a:lnTo>
                  <a:lnTo>
                    <a:pt x="250" y="148"/>
                  </a:lnTo>
                  <a:lnTo>
                    <a:pt x="250" y="148"/>
                  </a:lnTo>
                  <a:lnTo>
                    <a:pt x="250" y="148"/>
                  </a:lnTo>
                  <a:lnTo>
                    <a:pt x="250" y="148"/>
                  </a:lnTo>
                  <a:lnTo>
                    <a:pt x="252" y="146"/>
                  </a:lnTo>
                  <a:lnTo>
                    <a:pt x="252" y="148"/>
                  </a:lnTo>
                  <a:lnTo>
                    <a:pt x="250" y="150"/>
                  </a:lnTo>
                  <a:lnTo>
                    <a:pt x="250" y="152"/>
                  </a:lnTo>
                  <a:lnTo>
                    <a:pt x="248" y="152"/>
                  </a:lnTo>
                  <a:lnTo>
                    <a:pt x="246" y="154"/>
                  </a:lnTo>
                  <a:lnTo>
                    <a:pt x="246" y="156"/>
                  </a:lnTo>
                  <a:lnTo>
                    <a:pt x="246" y="156"/>
                  </a:lnTo>
                  <a:lnTo>
                    <a:pt x="252" y="154"/>
                  </a:lnTo>
                  <a:lnTo>
                    <a:pt x="254" y="154"/>
                  </a:lnTo>
                  <a:lnTo>
                    <a:pt x="254" y="152"/>
                  </a:lnTo>
                  <a:lnTo>
                    <a:pt x="256" y="150"/>
                  </a:lnTo>
                  <a:lnTo>
                    <a:pt x="258" y="150"/>
                  </a:lnTo>
                  <a:lnTo>
                    <a:pt x="258" y="152"/>
                  </a:lnTo>
                  <a:lnTo>
                    <a:pt x="258" y="152"/>
                  </a:lnTo>
                  <a:lnTo>
                    <a:pt x="258" y="154"/>
                  </a:lnTo>
                  <a:lnTo>
                    <a:pt x="256" y="156"/>
                  </a:lnTo>
                  <a:lnTo>
                    <a:pt x="254" y="156"/>
                  </a:lnTo>
                  <a:lnTo>
                    <a:pt x="254" y="158"/>
                  </a:lnTo>
                  <a:lnTo>
                    <a:pt x="252" y="158"/>
                  </a:lnTo>
                  <a:lnTo>
                    <a:pt x="254" y="160"/>
                  </a:lnTo>
                  <a:lnTo>
                    <a:pt x="254" y="162"/>
                  </a:lnTo>
                  <a:lnTo>
                    <a:pt x="252" y="164"/>
                  </a:lnTo>
                  <a:lnTo>
                    <a:pt x="250" y="166"/>
                  </a:lnTo>
                  <a:lnTo>
                    <a:pt x="248" y="168"/>
                  </a:lnTo>
                  <a:lnTo>
                    <a:pt x="246" y="168"/>
                  </a:lnTo>
                  <a:lnTo>
                    <a:pt x="246" y="166"/>
                  </a:lnTo>
                  <a:lnTo>
                    <a:pt x="248" y="164"/>
                  </a:lnTo>
                  <a:lnTo>
                    <a:pt x="244" y="166"/>
                  </a:lnTo>
                  <a:lnTo>
                    <a:pt x="242" y="168"/>
                  </a:lnTo>
                  <a:lnTo>
                    <a:pt x="242" y="170"/>
                  </a:lnTo>
                  <a:lnTo>
                    <a:pt x="242" y="170"/>
                  </a:lnTo>
                  <a:lnTo>
                    <a:pt x="244" y="170"/>
                  </a:lnTo>
                  <a:lnTo>
                    <a:pt x="246" y="172"/>
                  </a:lnTo>
                  <a:lnTo>
                    <a:pt x="246" y="172"/>
                  </a:lnTo>
                  <a:lnTo>
                    <a:pt x="248" y="172"/>
                  </a:lnTo>
                  <a:lnTo>
                    <a:pt x="248" y="172"/>
                  </a:lnTo>
                  <a:lnTo>
                    <a:pt x="248" y="174"/>
                  </a:lnTo>
                  <a:lnTo>
                    <a:pt x="248" y="174"/>
                  </a:lnTo>
                  <a:lnTo>
                    <a:pt x="248" y="174"/>
                  </a:lnTo>
                  <a:lnTo>
                    <a:pt x="250" y="177"/>
                  </a:lnTo>
                  <a:lnTo>
                    <a:pt x="252" y="181"/>
                  </a:lnTo>
                  <a:lnTo>
                    <a:pt x="252" y="181"/>
                  </a:lnTo>
                  <a:lnTo>
                    <a:pt x="252" y="183"/>
                  </a:lnTo>
                  <a:lnTo>
                    <a:pt x="252" y="185"/>
                  </a:lnTo>
                  <a:lnTo>
                    <a:pt x="254" y="189"/>
                  </a:lnTo>
                  <a:lnTo>
                    <a:pt x="254" y="191"/>
                  </a:lnTo>
                  <a:lnTo>
                    <a:pt x="254" y="189"/>
                  </a:lnTo>
                  <a:lnTo>
                    <a:pt x="254" y="187"/>
                  </a:lnTo>
                  <a:lnTo>
                    <a:pt x="256" y="187"/>
                  </a:lnTo>
                  <a:lnTo>
                    <a:pt x="256" y="187"/>
                  </a:lnTo>
                  <a:lnTo>
                    <a:pt x="254" y="193"/>
                  </a:lnTo>
                  <a:lnTo>
                    <a:pt x="254" y="195"/>
                  </a:lnTo>
                  <a:lnTo>
                    <a:pt x="258" y="197"/>
                  </a:lnTo>
                  <a:lnTo>
                    <a:pt x="256" y="197"/>
                  </a:lnTo>
                  <a:lnTo>
                    <a:pt x="254" y="203"/>
                  </a:lnTo>
                  <a:lnTo>
                    <a:pt x="252" y="203"/>
                  </a:lnTo>
                  <a:lnTo>
                    <a:pt x="248" y="205"/>
                  </a:lnTo>
                  <a:lnTo>
                    <a:pt x="246" y="205"/>
                  </a:lnTo>
                  <a:lnTo>
                    <a:pt x="242" y="205"/>
                  </a:lnTo>
                  <a:lnTo>
                    <a:pt x="240" y="205"/>
                  </a:lnTo>
                  <a:lnTo>
                    <a:pt x="238" y="211"/>
                  </a:lnTo>
                  <a:lnTo>
                    <a:pt x="236" y="211"/>
                  </a:lnTo>
                  <a:lnTo>
                    <a:pt x="227" y="217"/>
                  </a:lnTo>
                  <a:lnTo>
                    <a:pt x="225" y="220"/>
                  </a:lnTo>
                  <a:lnTo>
                    <a:pt x="223" y="224"/>
                  </a:lnTo>
                  <a:lnTo>
                    <a:pt x="221" y="230"/>
                  </a:lnTo>
                  <a:lnTo>
                    <a:pt x="219" y="230"/>
                  </a:lnTo>
                  <a:lnTo>
                    <a:pt x="217" y="230"/>
                  </a:lnTo>
                  <a:lnTo>
                    <a:pt x="217" y="232"/>
                  </a:lnTo>
                  <a:lnTo>
                    <a:pt x="217" y="232"/>
                  </a:lnTo>
                  <a:lnTo>
                    <a:pt x="213" y="234"/>
                  </a:lnTo>
                  <a:lnTo>
                    <a:pt x="205" y="238"/>
                  </a:lnTo>
                  <a:lnTo>
                    <a:pt x="205" y="238"/>
                  </a:lnTo>
                  <a:lnTo>
                    <a:pt x="205" y="240"/>
                  </a:lnTo>
                  <a:lnTo>
                    <a:pt x="205" y="240"/>
                  </a:lnTo>
                  <a:lnTo>
                    <a:pt x="205" y="240"/>
                  </a:lnTo>
                  <a:lnTo>
                    <a:pt x="205" y="242"/>
                  </a:lnTo>
                  <a:lnTo>
                    <a:pt x="205" y="242"/>
                  </a:lnTo>
                  <a:lnTo>
                    <a:pt x="205" y="242"/>
                  </a:lnTo>
                  <a:lnTo>
                    <a:pt x="205" y="242"/>
                  </a:lnTo>
                  <a:lnTo>
                    <a:pt x="205" y="244"/>
                  </a:lnTo>
                  <a:lnTo>
                    <a:pt x="203" y="244"/>
                  </a:lnTo>
                  <a:lnTo>
                    <a:pt x="203" y="244"/>
                  </a:lnTo>
                  <a:lnTo>
                    <a:pt x="201" y="242"/>
                  </a:lnTo>
                  <a:lnTo>
                    <a:pt x="201" y="242"/>
                  </a:lnTo>
                  <a:lnTo>
                    <a:pt x="201" y="242"/>
                  </a:lnTo>
                  <a:lnTo>
                    <a:pt x="201" y="240"/>
                  </a:lnTo>
                  <a:lnTo>
                    <a:pt x="170" y="246"/>
                  </a:lnTo>
                  <a:lnTo>
                    <a:pt x="168" y="248"/>
                  </a:lnTo>
                  <a:lnTo>
                    <a:pt x="158" y="252"/>
                  </a:lnTo>
                  <a:lnTo>
                    <a:pt x="154" y="254"/>
                  </a:lnTo>
                  <a:lnTo>
                    <a:pt x="152" y="252"/>
                  </a:lnTo>
                  <a:lnTo>
                    <a:pt x="143" y="248"/>
                  </a:lnTo>
                  <a:lnTo>
                    <a:pt x="143" y="248"/>
                  </a:lnTo>
                  <a:lnTo>
                    <a:pt x="141" y="248"/>
                  </a:lnTo>
                  <a:lnTo>
                    <a:pt x="141" y="248"/>
                  </a:lnTo>
                  <a:lnTo>
                    <a:pt x="139" y="246"/>
                  </a:lnTo>
                  <a:lnTo>
                    <a:pt x="111" y="248"/>
                  </a:lnTo>
                  <a:lnTo>
                    <a:pt x="100" y="250"/>
                  </a:lnTo>
                  <a:lnTo>
                    <a:pt x="88" y="252"/>
                  </a:lnTo>
                  <a:lnTo>
                    <a:pt x="66" y="261"/>
                  </a:lnTo>
                  <a:lnTo>
                    <a:pt x="59" y="265"/>
                  </a:lnTo>
                  <a:lnTo>
                    <a:pt x="51" y="267"/>
                  </a:lnTo>
                  <a:lnTo>
                    <a:pt x="43" y="273"/>
                  </a:lnTo>
                  <a:lnTo>
                    <a:pt x="37" y="275"/>
                  </a:lnTo>
                  <a:lnTo>
                    <a:pt x="39" y="277"/>
                  </a:lnTo>
                  <a:lnTo>
                    <a:pt x="41" y="285"/>
                  </a:lnTo>
                  <a:lnTo>
                    <a:pt x="41" y="287"/>
                  </a:lnTo>
                  <a:lnTo>
                    <a:pt x="41" y="287"/>
                  </a:lnTo>
                  <a:lnTo>
                    <a:pt x="41" y="289"/>
                  </a:lnTo>
                  <a:lnTo>
                    <a:pt x="39" y="289"/>
                  </a:lnTo>
                  <a:lnTo>
                    <a:pt x="39" y="291"/>
                  </a:lnTo>
                  <a:lnTo>
                    <a:pt x="41" y="293"/>
                  </a:lnTo>
                  <a:lnTo>
                    <a:pt x="41" y="293"/>
                  </a:lnTo>
                  <a:lnTo>
                    <a:pt x="43" y="293"/>
                  </a:lnTo>
                  <a:lnTo>
                    <a:pt x="53" y="293"/>
                  </a:lnTo>
                  <a:lnTo>
                    <a:pt x="55" y="295"/>
                  </a:lnTo>
                  <a:lnTo>
                    <a:pt x="55" y="297"/>
                  </a:lnTo>
                  <a:lnTo>
                    <a:pt x="53" y="302"/>
                  </a:lnTo>
                  <a:lnTo>
                    <a:pt x="53" y="304"/>
                  </a:lnTo>
                  <a:lnTo>
                    <a:pt x="53" y="304"/>
                  </a:lnTo>
                  <a:lnTo>
                    <a:pt x="55" y="306"/>
                  </a:lnTo>
                  <a:lnTo>
                    <a:pt x="55" y="306"/>
                  </a:lnTo>
                  <a:lnTo>
                    <a:pt x="57" y="310"/>
                  </a:lnTo>
                  <a:lnTo>
                    <a:pt x="57" y="312"/>
                  </a:lnTo>
                  <a:lnTo>
                    <a:pt x="59" y="314"/>
                  </a:lnTo>
                  <a:lnTo>
                    <a:pt x="61" y="316"/>
                  </a:lnTo>
                  <a:lnTo>
                    <a:pt x="61" y="316"/>
                  </a:lnTo>
                  <a:lnTo>
                    <a:pt x="61" y="318"/>
                  </a:lnTo>
                  <a:lnTo>
                    <a:pt x="61" y="322"/>
                  </a:lnTo>
                  <a:lnTo>
                    <a:pt x="61" y="324"/>
                  </a:lnTo>
                  <a:lnTo>
                    <a:pt x="59" y="324"/>
                  </a:lnTo>
                  <a:lnTo>
                    <a:pt x="59" y="326"/>
                  </a:lnTo>
                  <a:lnTo>
                    <a:pt x="53" y="330"/>
                  </a:lnTo>
                  <a:lnTo>
                    <a:pt x="51" y="332"/>
                  </a:lnTo>
                  <a:lnTo>
                    <a:pt x="49" y="336"/>
                  </a:lnTo>
                  <a:lnTo>
                    <a:pt x="47" y="340"/>
                  </a:lnTo>
                  <a:lnTo>
                    <a:pt x="47" y="342"/>
                  </a:lnTo>
                  <a:lnTo>
                    <a:pt x="45" y="342"/>
                  </a:lnTo>
                  <a:lnTo>
                    <a:pt x="45" y="342"/>
                  </a:lnTo>
                  <a:lnTo>
                    <a:pt x="45" y="347"/>
                  </a:lnTo>
                  <a:lnTo>
                    <a:pt x="43" y="349"/>
                  </a:lnTo>
                  <a:lnTo>
                    <a:pt x="43" y="349"/>
                  </a:lnTo>
                  <a:lnTo>
                    <a:pt x="43" y="349"/>
                  </a:lnTo>
                  <a:lnTo>
                    <a:pt x="37" y="353"/>
                  </a:lnTo>
                  <a:lnTo>
                    <a:pt x="37" y="355"/>
                  </a:lnTo>
                  <a:lnTo>
                    <a:pt x="33" y="359"/>
                  </a:lnTo>
                  <a:lnTo>
                    <a:pt x="29" y="361"/>
                  </a:lnTo>
                  <a:lnTo>
                    <a:pt x="29" y="361"/>
                  </a:lnTo>
                  <a:lnTo>
                    <a:pt x="27" y="361"/>
                  </a:lnTo>
                  <a:lnTo>
                    <a:pt x="27" y="363"/>
                  </a:lnTo>
                  <a:lnTo>
                    <a:pt x="27" y="363"/>
                  </a:lnTo>
                  <a:lnTo>
                    <a:pt x="25" y="365"/>
                  </a:lnTo>
                  <a:lnTo>
                    <a:pt x="20" y="371"/>
                  </a:lnTo>
                  <a:lnTo>
                    <a:pt x="18" y="375"/>
                  </a:lnTo>
                  <a:lnTo>
                    <a:pt x="16" y="375"/>
                  </a:lnTo>
                  <a:lnTo>
                    <a:pt x="14" y="377"/>
                  </a:lnTo>
                  <a:lnTo>
                    <a:pt x="10" y="381"/>
                  </a:lnTo>
                  <a:lnTo>
                    <a:pt x="4" y="386"/>
                  </a:lnTo>
                  <a:lnTo>
                    <a:pt x="2" y="388"/>
                  </a:lnTo>
                  <a:lnTo>
                    <a:pt x="2" y="390"/>
                  </a:lnTo>
                  <a:lnTo>
                    <a:pt x="0" y="390"/>
                  </a:lnTo>
                  <a:lnTo>
                    <a:pt x="0" y="390"/>
                  </a:lnTo>
                  <a:lnTo>
                    <a:pt x="2" y="394"/>
                  </a:lnTo>
                  <a:lnTo>
                    <a:pt x="2" y="396"/>
                  </a:lnTo>
                  <a:lnTo>
                    <a:pt x="2" y="400"/>
                  </a:lnTo>
                  <a:lnTo>
                    <a:pt x="2" y="402"/>
                  </a:lnTo>
                  <a:lnTo>
                    <a:pt x="4" y="406"/>
                  </a:lnTo>
                  <a:lnTo>
                    <a:pt x="4" y="408"/>
                  </a:lnTo>
                  <a:lnTo>
                    <a:pt x="4" y="412"/>
                  </a:lnTo>
                  <a:lnTo>
                    <a:pt x="6" y="414"/>
                  </a:lnTo>
                  <a:lnTo>
                    <a:pt x="6" y="418"/>
                  </a:lnTo>
                  <a:lnTo>
                    <a:pt x="8" y="418"/>
                  </a:lnTo>
                  <a:lnTo>
                    <a:pt x="20" y="416"/>
                  </a:lnTo>
                  <a:lnTo>
                    <a:pt x="31" y="414"/>
                  </a:lnTo>
                  <a:lnTo>
                    <a:pt x="41" y="412"/>
                  </a:lnTo>
                  <a:lnTo>
                    <a:pt x="53" y="410"/>
                  </a:lnTo>
                  <a:lnTo>
                    <a:pt x="63" y="408"/>
                  </a:lnTo>
                  <a:lnTo>
                    <a:pt x="74" y="406"/>
                  </a:lnTo>
                  <a:lnTo>
                    <a:pt x="86" y="404"/>
                  </a:lnTo>
                  <a:lnTo>
                    <a:pt x="96" y="400"/>
                  </a:lnTo>
                  <a:lnTo>
                    <a:pt x="106" y="398"/>
                  </a:lnTo>
                  <a:lnTo>
                    <a:pt x="119" y="396"/>
                  </a:lnTo>
                  <a:lnTo>
                    <a:pt x="129" y="394"/>
                  </a:lnTo>
                  <a:lnTo>
                    <a:pt x="139" y="392"/>
                  </a:lnTo>
                  <a:lnTo>
                    <a:pt x="152" y="390"/>
                  </a:lnTo>
                  <a:lnTo>
                    <a:pt x="162" y="388"/>
                  </a:lnTo>
                  <a:lnTo>
                    <a:pt x="172" y="386"/>
                  </a:lnTo>
                  <a:lnTo>
                    <a:pt x="184" y="383"/>
                  </a:lnTo>
                  <a:lnTo>
                    <a:pt x="195" y="381"/>
                  </a:lnTo>
                  <a:lnTo>
                    <a:pt x="205" y="379"/>
                  </a:lnTo>
                  <a:lnTo>
                    <a:pt x="217" y="377"/>
                  </a:lnTo>
                  <a:lnTo>
                    <a:pt x="227" y="375"/>
                  </a:lnTo>
                  <a:lnTo>
                    <a:pt x="238" y="371"/>
                  </a:lnTo>
                  <a:lnTo>
                    <a:pt x="250" y="369"/>
                  </a:lnTo>
                  <a:lnTo>
                    <a:pt x="260" y="367"/>
                  </a:lnTo>
                  <a:lnTo>
                    <a:pt x="270" y="365"/>
                  </a:lnTo>
                  <a:lnTo>
                    <a:pt x="283" y="363"/>
                  </a:lnTo>
                  <a:lnTo>
                    <a:pt x="293" y="361"/>
                  </a:lnTo>
                  <a:lnTo>
                    <a:pt x="303" y="359"/>
                  </a:lnTo>
                  <a:lnTo>
                    <a:pt x="315" y="355"/>
                  </a:lnTo>
                  <a:lnTo>
                    <a:pt x="326" y="353"/>
                  </a:lnTo>
                  <a:lnTo>
                    <a:pt x="336" y="351"/>
                  </a:lnTo>
                  <a:lnTo>
                    <a:pt x="348" y="349"/>
                  </a:lnTo>
                  <a:lnTo>
                    <a:pt x="358" y="347"/>
                  </a:lnTo>
                  <a:lnTo>
                    <a:pt x="360" y="345"/>
                  </a:lnTo>
                  <a:lnTo>
                    <a:pt x="360" y="345"/>
                  </a:lnTo>
                  <a:lnTo>
                    <a:pt x="360" y="347"/>
                  </a:lnTo>
                  <a:lnTo>
                    <a:pt x="362" y="349"/>
                  </a:lnTo>
                  <a:lnTo>
                    <a:pt x="367" y="349"/>
                  </a:lnTo>
                  <a:lnTo>
                    <a:pt x="369" y="349"/>
                  </a:lnTo>
                  <a:lnTo>
                    <a:pt x="369" y="351"/>
                  </a:lnTo>
                  <a:lnTo>
                    <a:pt x="371" y="353"/>
                  </a:lnTo>
                  <a:lnTo>
                    <a:pt x="371" y="355"/>
                  </a:lnTo>
                  <a:lnTo>
                    <a:pt x="373" y="357"/>
                  </a:lnTo>
                  <a:lnTo>
                    <a:pt x="377" y="355"/>
                  </a:lnTo>
                  <a:lnTo>
                    <a:pt x="377" y="355"/>
                  </a:lnTo>
                  <a:lnTo>
                    <a:pt x="379" y="355"/>
                  </a:lnTo>
                  <a:lnTo>
                    <a:pt x="383" y="357"/>
                  </a:lnTo>
                  <a:lnTo>
                    <a:pt x="383" y="357"/>
                  </a:lnTo>
                  <a:lnTo>
                    <a:pt x="385" y="357"/>
                  </a:lnTo>
                  <a:lnTo>
                    <a:pt x="385" y="359"/>
                  </a:lnTo>
                  <a:lnTo>
                    <a:pt x="385" y="359"/>
                  </a:lnTo>
                  <a:lnTo>
                    <a:pt x="385" y="361"/>
                  </a:lnTo>
                  <a:lnTo>
                    <a:pt x="385" y="363"/>
                  </a:lnTo>
                  <a:lnTo>
                    <a:pt x="387" y="363"/>
                  </a:lnTo>
                  <a:lnTo>
                    <a:pt x="389" y="363"/>
                  </a:lnTo>
                  <a:lnTo>
                    <a:pt x="389" y="365"/>
                  </a:lnTo>
                  <a:lnTo>
                    <a:pt x="389" y="367"/>
                  </a:lnTo>
                  <a:lnTo>
                    <a:pt x="389" y="367"/>
                  </a:lnTo>
                  <a:lnTo>
                    <a:pt x="389" y="369"/>
                  </a:lnTo>
                  <a:lnTo>
                    <a:pt x="391" y="371"/>
                  </a:lnTo>
                  <a:lnTo>
                    <a:pt x="391" y="375"/>
                  </a:lnTo>
                  <a:lnTo>
                    <a:pt x="391" y="379"/>
                  </a:lnTo>
                  <a:lnTo>
                    <a:pt x="393" y="381"/>
                  </a:lnTo>
                  <a:lnTo>
                    <a:pt x="393" y="381"/>
                  </a:lnTo>
                  <a:lnTo>
                    <a:pt x="399" y="390"/>
                  </a:lnTo>
                  <a:lnTo>
                    <a:pt x="401" y="390"/>
                  </a:lnTo>
                  <a:lnTo>
                    <a:pt x="403" y="392"/>
                  </a:lnTo>
                  <a:lnTo>
                    <a:pt x="405" y="392"/>
                  </a:lnTo>
                  <a:lnTo>
                    <a:pt x="408" y="392"/>
                  </a:lnTo>
                  <a:lnTo>
                    <a:pt x="410" y="394"/>
                  </a:lnTo>
                  <a:lnTo>
                    <a:pt x="410" y="394"/>
                  </a:lnTo>
                  <a:lnTo>
                    <a:pt x="412" y="394"/>
                  </a:lnTo>
                  <a:lnTo>
                    <a:pt x="416" y="392"/>
                  </a:lnTo>
                  <a:lnTo>
                    <a:pt x="418" y="394"/>
                  </a:lnTo>
                  <a:lnTo>
                    <a:pt x="420" y="394"/>
                  </a:lnTo>
                  <a:lnTo>
                    <a:pt x="420" y="394"/>
                  </a:lnTo>
                  <a:lnTo>
                    <a:pt x="420" y="394"/>
                  </a:lnTo>
                  <a:lnTo>
                    <a:pt x="422" y="392"/>
                  </a:lnTo>
                  <a:lnTo>
                    <a:pt x="422" y="394"/>
                  </a:lnTo>
                  <a:lnTo>
                    <a:pt x="422" y="394"/>
                  </a:lnTo>
                  <a:lnTo>
                    <a:pt x="424" y="396"/>
                  </a:lnTo>
                  <a:lnTo>
                    <a:pt x="424" y="396"/>
                  </a:lnTo>
                  <a:lnTo>
                    <a:pt x="426" y="398"/>
                  </a:lnTo>
                  <a:lnTo>
                    <a:pt x="428" y="400"/>
                  </a:lnTo>
                  <a:lnTo>
                    <a:pt x="436" y="402"/>
                  </a:lnTo>
                  <a:lnTo>
                    <a:pt x="444" y="406"/>
                  </a:lnTo>
                  <a:lnTo>
                    <a:pt x="455" y="408"/>
                  </a:lnTo>
                  <a:lnTo>
                    <a:pt x="463" y="412"/>
                  </a:lnTo>
                  <a:lnTo>
                    <a:pt x="473" y="414"/>
                  </a:lnTo>
                  <a:lnTo>
                    <a:pt x="481" y="416"/>
                  </a:lnTo>
                  <a:lnTo>
                    <a:pt x="492" y="420"/>
                  </a:lnTo>
                  <a:lnTo>
                    <a:pt x="500" y="422"/>
                  </a:lnTo>
                  <a:close/>
                  <a:moveTo>
                    <a:pt x="45" y="302"/>
                  </a:moveTo>
                  <a:lnTo>
                    <a:pt x="47" y="302"/>
                  </a:lnTo>
                  <a:lnTo>
                    <a:pt x="47" y="304"/>
                  </a:lnTo>
                  <a:lnTo>
                    <a:pt x="49" y="304"/>
                  </a:lnTo>
                  <a:lnTo>
                    <a:pt x="51" y="304"/>
                  </a:lnTo>
                  <a:lnTo>
                    <a:pt x="53" y="297"/>
                  </a:lnTo>
                  <a:lnTo>
                    <a:pt x="53" y="295"/>
                  </a:lnTo>
                  <a:lnTo>
                    <a:pt x="53" y="295"/>
                  </a:lnTo>
                  <a:lnTo>
                    <a:pt x="51" y="295"/>
                  </a:lnTo>
                  <a:lnTo>
                    <a:pt x="49" y="295"/>
                  </a:lnTo>
                  <a:lnTo>
                    <a:pt x="47" y="295"/>
                  </a:lnTo>
                  <a:lnTo>
                    <a:pt x="47" y="295"/>
                  </a:lnTo>
                  <a:lnTo>
                    <a:pt x="45" y="295"/>
                  </a:lnTo>
                  <a:lnTo>
                    <a:pt x="45" y="297"/>
                  </a:lnTo>
                  <a:lnTo>
                    <a:pt x="45" y="302"/>
                  </a:lnTo>
                  <a:lnTo>
                    <a:pt x="45" y="30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Y</a:t>
              </a:r>
            </a:p>
          </p:txBody>
        </p:sp>
        <p:sp>
          <p:nvSpPr>
            <p:cNvPr id="103" name="Freeform 24">
              <a:extLst>
                <a:ext uri="{FF2B5EF4-FFF2-40B4-BE49-F238E27FC236}">
                  <a16:creationId xmlns:a16="http://schemas.microsoft.com/office/drawing/2014/main" id="{A8EBBA5A-F5E5-39C5-7FF4-BC74FB697894}"/>
                </a:ext>
              </a:extLst>
            </p:cNvPr>
            <p:cNvSpPr>
              <a:spLocks noEditPoints="1"/>
            </p:cNvSpPr>
            <p:nvPr/>
          </p:nvSpPr>
          <p:spPr bwMode="auto">
            <a:xfrm>
              <a:off x="4767" y="740"/>
              <a:ext cx="117" cy="258"/>
            </a:xfrm>
            <a:custGeom>
              <a:avLst/>
              <a:gdLst>
                <a:gd name="T0" fmla="*/ 99 w 117"/>
                <a:gd name="T1" fmla="*/ 197 h 258"/>
                <a:gd name="T2" fmla="*/ 105 w 117"/>
                <a:gd name="T3" fmla="*/ 190 h 258"/>
                <a:gd name="T4" fmla="*/ 115 w 117"/>
                <a:gd name="T5" fmla="*/ 156 h 258"/>
                <a:gd name="T6" fmla="*/ 109 w 117"/>
                <a:gd name="T7" fmla="*/ 182 h 258"/>
                <a:gd name="T8" fmla="*/ 115 w 117"/>
                <a:gd name="T9" fmla="*/ 156 h 258"/>
                <a:gd name="T10" fmla="*/ 115 w 117"/>
                <a:gd name="T11" fmla="*/ 121 h 258"/>
                <a:gd name="T12" fmla="*/ 115 w 117"/>
                <a:gd name="T13" fmla="*/ 98 h 258"/>
                <a:gd name="T14" fmla="*/ 109 w 117"/>
                <a:gd name="T15" fmla="*/ 84 h 258"/>
                <a:gd name="T16" fmla="*/ 90 w 117"/>
                <a:gd name="T17" fmla="*/ 86 h 258"/>
                <a:gd name="T18" fmla="*/ 84 w 117"/>
                <a:gd name="T19" fmla="*/ 76 h 258"/>
                <a:gd name="T20" fmla="*/ 86 w 117"/>
                <a:gd name="T21" fmla="*/ 63 h 258"/>
                <a:gd name="T22" fmla="*/ 90 w 117"/>
                <a:gd name="T23" fmla="*/ 55 h 258"/>
                <a:gd name="T24" fmla="*/ 97 w 117"/>
                <a:gd name="T25" fmla="*/ 55 h 258"/>
                <a:gd name="T26" fmla="*/ 99 w 117"/>
                <a:gd name="T27" fmla="*/ 43 h 258"/>
                <a:gd name="T28" fmla="*/ 74 w 117"/>
                <a:gd name="T29" fmla="*/ 14 h 258"/>
                <a:gd name="T30" fmla="*/ 27 w 117"/>
                <a:gd name="T31" fmla="*/ 2 h 258"/>
                <a:gd name="T32" fmla="*/ 23 w 117"/>
                <a:gd name="T33" fmla="*/ 6 h 258"/>
                <a:gd name="T34" fmla="*/ 15 w 117"/>
                <a:gd name="T35" fmla="*/ 29 h 258"/>
                <a:gd name="T36" fmla="*/ 13 w 117"/>
                <a:gd name="T37" fmla="*/ 33 h 258"/>
                <a:gd name="T38" fmla="*/ 2 w 117"/>
                <a:gd name="T39" fmla="*/ 45 h 258"/>
                <a:gd name="T40" fmla="*/ 4 w 117"/>
                <a:gd name="T41" fmla="*/ 51 h 258"/>
                <a:gd name="T42" fmla="*/ 9 w 117"/>
                <a:gd name="T43" fmla="*/ 53 h 258"/>
                <a:gd name="T44" fmla="*/ 9 w 117"/>
                <a:gd name="T45" fmla="*/ 65 h 258"/>
                <a:gd name="T46" fmla="*/ 2 w 117"/>
                <a:gd name="T47" fmla="*/ 72 h 258"/>
                <a:gd name="T48" fmla="*/ 4 w 117"/>
                <a:gd name="T49" fmla="*/ 80 h 258"/>
                <a:gd name="T50" fmla="*/ 9 w 117"/>
                <a:gd name="T51" fmla="*/ 90 h 258"/>
                <a:gd name="T52" fmla="*/ 23 w 117"/>
                <a:gd name="T53" fmla="*/ 104 h 258"/>
                <a:gd name="T54" fmla="*/ 39 w 117"/>
                <a:gd name="T55" fmla="*/ 113 h 258"/>
                <a:gd name="T56" fmla="*/ 52 w 117"/>
                <a:gd name="T57" fmla="*/ 129 h 258"/>
                <a:gd name="T58" fmla="*/ 39 w 117"/>
                <a:gd name="T59" fmla="*/ 137 h 258"/>
                <a:gd name="T60" fmla="*/ 29 w 117"/>
                <a:gd name="T61" fmla="*/ 154 h 258"/>
                <a:gd name="T62" fmla="*/ 27 w 117"/>
                <a:gd name="T63" fmla="*/ 162 h 258"/>
                <a:gd name="T64" fmla="*/ 21 w 117"/>
                <a:gd name="T65" fmla="*/ 166 h 258"/>
                <a:gd name="T66" fmla="*/ 4 w 117"/>
                <a:gd name="T67" fmla="*/ 184 h 258"/>
                <a:gd name="T68" fmla="*/ 2 w 117"/>
                <a:gd name="T69" fmla="*/ 190 h 258"/>
                <a:gd name="T70" fmla="*/ 4 w 117"/>
                <a:gd name="T71" fmla="*/ 201 h 258"/>
                <a:gd name="T72" fmla="*/ 4 w 117"/>
                <a:gd name="T73" fmla="*/ 211 h 258"/>
                <a:gd name="T74" fmla="*/ 23 w 117"/>
                <a:gd name="T75" fmla="*/ 221 h 258"/>
                <a:gd name="T76" fmla="*/ 29 w 117"/>
                <a:gd name="T77" fmla="*/ 225 h 258"/>
                <a:gd name="T78" fmla="*/ 41 w 117"/>
                <a:gd name="T79" fmla="*/ 229 h 258"/>
                <a:gd name="T80" fmla="*/ 45 w 117"/>
                <a:gd name="T81" fmla="*/ 233 h 258"/>
                <a:gd name="T82" fmla="*/ 54 w 117"/>
                <a:gd name="T83" fmla="*/ 229 h 258"/>
                <a:gd name="T84" fmla="*/ 62 w 117"/>
                <a:gd name="T85" fmla="*/ 229 h 258"/>
                <a:gd name="T86" fmla="*/ 64 w 117"/>
                <a:gd name="T87" fmla="*/ 252 h 258"/>
                <a:gd name="T88" fmla="*/ 68 w 117"/>
                <a:gd name="T89" fmla="*/ 256 h 258"/>
                <a:gd name="T90" fmla="*/ 76 w 117"/>
                <a:gd name="T91" fmla="*/ 242 h 258"/>
                <a:gd name="T92" fmla="*/ 82 w 117"/>
                <a:gd name="T93" fmla="*/ 233 h 258"/>
                <a:gd name="T94" fmla="*/ 78 w 117"/>
                <a:gd name="T95" fmla="*/ 233 h 258"/>
                <a:gd name="T96" fmla="*/ 86 w 117"/>
                <a:gd name="T97" fmla="*/ 219 h 258"/>
                <a:gd name="T98" fmla="*/ 82 w 117"/>
                <a:gd name="T99" fmla="*/ 213 h 258"/>
                <a:gd name="T100" fmla="*/ 90 w 117"/>
                <a:gd name="T101" fmla="*/ 205 h 258"/>
                <a:gd name="T102" fmla="*/ 95 w 117"/>
                <a:gd name="T103" fmla="*/ 207 h 258"/>
                <a:gd name="T104" fmla="*/ 95 w 117"/>
                <a:gd name="T105" fmla="*/ 197 h 258"/>
                <a:gd name="T106" fmla="*/ 99 w 117"/>
                <a:gd name="T107" fmla="*/ 193 h 258"/>
                <a:gd name="T108" fmla="*/ 97 w 117"/>
                <a:gd name="T109" fmla="*/ 182 h 258"/>
                <a:gd name="T110" fmla="*/ 105 w 117"/>
                <a:gd name="T111" fmla="*/ 184 h 258"/>
                <a:gd name="T112" fmla="*/ 105 w 117"/>
                <a:gd name="T113" fmla="*/ 174 h 258"/>
                <a:gd name="T114" fmla="*/ 111 w 117"/>
                <a:gd name="T115" fmla="*/ 166 h 258"/>
                <a:gd name="T116" fmla="*/ 109 w 117"/>
                <a:gd name="T117" fmla="*/ 154 h 258"/>
                <a:gd name="T118" fmla="*/ 111 w 117"/>
                <a:gd name="T119" fmla="*/ 139 h 258"/>
                <a:gd name="T120" fmla="*/ 109 w 117"/>
                <a:gd name="T121" fmla="*/ 131 h 258"/>
                <a:gd name="T122" fmla="*/ 113 w 117"/>
                <a:gd name="T123" fmla="*/ 123 h 258"/>
                <a:gd name="T124" fmla="*/ 115 w 117"/>
                <a:gd name="T125" fmla="*/ 12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7" h="258">
                  <a:moveTo>
                    <a:pt x="101" y="190"/>
                  </a:moveTo>
                  <a:lnTo>
                    <a:pt x="103" y="193"/>
                  </a:lnTo>
                  <a:lnTo>
                    <a:pt x="101" y="193"/>
                  </a:lnTo>
                  <a:lnTo>
                    <a:pt x="101" y="197"/>
                  </a:lnTo>
                  <a:lnTo>
                    <a:pt x="101" y="197"/>
                  </a:lnTo>
                  <a:lnTo>
                    <a:pt x="99" y="197"/>
                  </a:lnTo>
                  <a:lnTo>
                    <a:pt x="99" y="197"/>
                  </a:lnTo>
                  <a:lnTo>
                    <a:pt x="97" y="195"/>
                  </a:lnTo>
                  <a:lnTo>
                    <a:pt x="97" y="197"/>
                  </a:lnTo>
                  <a:lnTo>
                    <a:pt x="99" y="199"/>
                  </a:lnTo>
                  <a:lnTo>
                    <a:pt x="101" y="199"/>
                  </a:lnTo>
                  <a:lnTo>
                    <a:pt x="103" y="197"/>
                  </a:lnTo>
                  <a:lnTo>
                    <a:pt x="105" y="193"/>
                  </a:lnTo>
                  <a:lnTo>
                    <a:pt x="105" y="190"/>
                  </a:lnTo>
                  <a:lnTo>
                    <a:pt x="107" y="190"/>
                  </a:lnTo>
                  <a:lnTo>
                    <a:pt x="107" y="188"/>
                  </a:lnTo>
                  <a:lnTo>
                    <a:pt x="107" y="188"/>
                  </a:lnTo>
                  <a:lnTo>
                    <a:pt x="103" y="188"/>
                  </a:lnTo>
                  <a:lnTo>
                    <a:pt x="101" y="190"/>
                  </a:lnTo>
                  <a:close/>
                  <a:moveTo>
                    <a:pt x="115" y="156"/>
                  </a:moveTo>
                  <a:lnTo>
                    <a:pt x="115" y="156"/>
                  </a:lnTo>
                  <a:lnTo>
                    <a:pt x="115" y="160"/>
                  </a:lnTo>
                  <a:lnTo>
                    <a:pt x="115" y="162"/>
                  </a:lnTo>
                  <a:lnTo>
                    <a:pt x="109" y="176"/>
                  </a:lnTo>
                  <a:lnTo>
                    <a:pt x="109" y="180"/>
                  </a:lnTo>
                  <a:lnTo>
                    <a:pt x="109" y="180"/>
                  </a:lnTo>
                  <a:lnTo>
                    <a:pt x="109" y="180"/>
                  </a:lnTo>
                  <a:lnTo>
                    <a:pt x="109" y="182"/>
                  </a:lnTo>
                  <a:lnTo>
                    <a:pt x="111" y="178"/>
                  </a:lnTo>
                  <a:lnTo>
                    <a:pt x="113" y="170"/>
                  </a:lnTo>
                  <a:lnTo>
                    <a:pt x="115" y="166"/>
                  </a:lnTo>
                  <a:lnTo>
                    <a:pt x="115" y="162"/>
                  </a:lnTo>
                  <a:lnTo>
                    <a:pt x="117" y="158"/>
                  </a:lnTo>
                  <a:lnTo>
                    <a:pt x="117" y="154"/>
                  </a:lnTo>
                  <a:lnTo>
                    <a:pt x="115" y="156"/>
                  </a:lnTo>
                  <a:close/>
                  <a:moveTo>
                    <a:pt x="115" y="139"/>
                  </a:moveTo>
                  <a:lnTo>
                    <a:pt x="117" y="135"/>
                  </a:lnTo>
                  <a:lnTo>
                    <a:pt x="115" y="135"/>
                  </a:lnTo>
                  <a:lnTo>
                    <a:pt x="115" y="133"/>
                  </a:lnTo>
                  <a:lnTo>
                    <a:pt x="115" y="127"/>
                  </a:lnTo>
                  <a:lnTo>
                    <a:pt x="115" y="123"/>
                  </a:lnTo>
                  <a:lnTo>
                    <a:pt x="115" y="121"/>
                  </a:lnTo>
                  <a:lnTo>
                    <a:pt x="113" y="119"/>
                  </a:lnTo>
                  <a:lnTo>
                    <a:pt x="113" y="119"/>
                  </a:lnTo>
                  <a:lnTo>
                    <a:pt x="113" y="115"/>
                  </a:lnTo>
                  <a:lnTo>
                    <a:pt x="113" y="106"/>
                  </a:lnTo>
                  <a:lnTo>
                    <a:pt x="113" y="104"/>
                  </a:lnTo>
                  <a:lnTo>
                    <a:pt x="113" y="100"/>
                  </a:lnTo>
                  <a:lnTo>
                    <a:pt x="115" y="98"/>
                  </a:lnTo>
                  <a:lnTo>
                    <a:pt x="115" y="96"/>
                  </a:lnTo>
                  <a:lnTo>
                    <a:pt x="111" y="82"/>
                  </a:lnTo>
                  <a:lnTo>
                    <a:pt x="109" y="80"/>
                  </a:lnTo>
                  <a:lnTo>
                    <a:pt x="107" y="78"/>
                  </a:lnTo>
                  <a:lnTo>
                    <a:pt x="107" y="80"/>
                  </a:lnTo>
                  <a:lnTo>
                    <a:pt x="107" y="82"/>
                  </a:lnTo>
                  <a:lnTo>
                    <a:pt x="109" y="84"/>
                  </a:lnTo>
                  <a:lnTo>
                    <a:pt x="111" y="84"/>
                  </a:lnTo>
                  <a:lnTo>
                    <a:pt x="109" y="86"/>
                  </a:lnTo>
                  <a:lnTo>
                    <a:pt x="105" y="84"/>
                  </a:lnTo>
                  <a:lnTo>
                    <a:pt x="97" y="84"/>
                  </a:lnTo>
                  <a:lnTo>
                    <a:pt x="95" y="84"/>
                  </a:lnTo>
                  <a:lnTo>
                    <a:pt x="90" y="86"/>
                  </a:lnTo>
                  <a:lnTo>
                    <a:pt x="90" y="86"/>
                  </a:lnTo>
                  <a:lnTo>
                    <a:pt x="88" y="84"/>
                  </a:lnTo>
                  <a:lnTo>
                    <a:pt x="86" y="84"/>
                  </a:lnTo>
                  <a:lnTo>
                    <a:pt x="84" y="84"/>
                  </a:lnTo>
                  <a:lnTo>
                    <a:pt x="84" y="82"/>
                  </a:lnTo>
                  <a:lnTo>
                    <a:pt x="84" y="80"/>
                  </a:lnTo>
                  <a:lnTo>
                    <a:pt x="84" y="78"/>
                  </a:lnTo>
                  <a:lnTo>
                    <a:pt x="84" y="76"/>
                  </a:lnTo>
                  <a:lnTo>
                    <a:pt x="84" y="76"/>
                  </a:lnTo>
                  <a:lnTo>
                    <a:pt x="84" y="74"/>
                  </a:lnTo>
                  <a:lnTo>
                    <a:pt x="84" y="72"/>
                  </a:lnTo>
                  <a:lnTo>
                    <a:pt x="86" y="72"/>
                  </a:lnTo>
                  <a:lnTo>
                    <a:pt x="86" y="70"/>
                  </a:lnTo>
                  <a:lnTo>
                    <a:pt x="86" y="65"/>
                  </a:lnTo>
                  <a:lnTo>
                    <a:pt x="86" y="63"/>
                  </a:lnTo>
                  <a:lnTo>
                    <a:pt x="86" y="61"/>
                  </a:lnTo>
                  <a:lnTo>
                    <a:pt x="88" y="61"/>
                  </a:lnTo>
                  <a:lnTo>
                    <a:pt x="88" y="59"/>
                  </a:lnTo>
                  <a:lnTo>
                    <a:pt x="88" y="59"/>
                  </a:lnTo>
                  <a:lnTo>
                    <a:pt x="88" y="57"/>
                  </a:lnTo>
                  <a:lnTo>
                    <a:pt x="90" y="55"/>
                  </a:lnTo>
                  <a:lnTo>
                    <a:pt x="90" y="55"/>
                  </a:lnTo>
                  <a:lnTo>
                    <a:pt x="93" y="55"/>
                  </a:lnTo>
                  <a:lnTo>
                    <a:pt x="90" y="61"/>
                  </a:lnTo>
                  <a:lnTo>
                    <a:pt x="93" y="59"/>
                  </a:lnTo>
                  <a:lnTo>
                    <a:pt x="93" y="59"/>
                  </a:lnTo>
                  <a:lnTo>
                    <a:pt x="95" y="59"/>
                  </a:lnTo>
                  <a:lnTo>
                    <a:pt x="95" y="57"/>
                  </a:lnTo>
                  <a:lnTo>
                    <a:pt x="97" y="55"/>
                  </a:lnTo>
                  <a:lnTo>
                    <a:pt x="99" y="53"/>
                  </a:lnTo>
                  <a:lnTo>
                    <a:pt x="99" y="51"/>
                  </a:lnTo>
                  <a:lnTo>
                    <a:pt x="99" y="51"/>
                  </a:lnTo>
                  <a:lnTo>
                    <a:pt x="99" y="49"/>
                  </a:lnTo>
                  <a:lnTo>
                    <a:pt x="99" y="49"/>
                  </a:lnTo>
                  <a:lnTo>
                    <a:pt x="99" y="47"/>
                  </a:lnTo>
                  <a:lnTo>
                    <a:pt x="99" y="43"/>
                  </a:lnTo>
                  <a:lnTo>
                    <a:pt x="101" y="37"/>
                  </a:lnTo>
                  <a:lnTo>
                    <a:pt x="101" y="29"/>
                  </a:lnTo>
                  <a:lnTo>
                    <a:pt x="101" y="24"/>
                  </a:lnTo>
                  <a:lnTo>
                    <a:pt x="101" y="22"/>
                  </a:lnTo>
                  <a:lnTo>
                    <a:pt x="93" y="20"/>
                  </a:lnTo>
                  <a:lnTo>
                    <a:pt x="82" y="16"/>
                  </a:lnTo>
                  <a:lnTo>
                    <a:pt x="74" y="14"/>
                  </a:lnTo>
                  <a:lnTo>
                    <a:pt x="64" y="12"/>
                  </a:lnTo>
                  <a:lnTo>
                    <a:pt x="56" y="8"/>
                  </a:lnTo>
                  <a:lnTo>
                    <a:pt x="45" y="6"/>
                  </a:lnTo>
                  <a:lnTo>
                    <a:pt x="37" y="2"/>
                  </a:lnTo>
                  <a:lnTo>
                    <a:pt x="29" y="0"/>
                  </a:lnTo>
                  <a:lnTo>
                    <a:pt x="29" y="0"/>
                  </a:lnTo>
                  <a:lnTo>
                    <a:pt x="27" y="2"/>
                  </a:lnTo>
                  <a:lnTo>
                    <a:pt x="25" y="2"/>
                  </a:lnTo>
                  <a:lnTo>
                    <a:pt x="25" y="2"/>
                  </a:lnTo>
                  <a:lnTo>
                    <a:pt x="23" y="4"/>
                  </a:lnTo>
                  <a:lnTo>
                    <a:pt x="23" y="4"/>
                  </a:lnTo>
                  <a:lnTo>
                    <a:pt x="23" y="4"/>
                  </a:lnTo>
                  <a:lnTo>
                    <a:pt x="23" y="4"/>
                  </a:lnTo>
                  <a:lnTo>
                    <a:pt x="23" y="6"/>
                  </a:lnTo>
                  <a:lnTo>
                    <a:pt x="23" y="6"/>
                  </a:lnTo>
                  <a:lnTo>
                    <a:pt x="19" y="12"/>
                  </a:lnTo>
                  <a:lnTo>
                    <a:pt x="19" y="12"/>
                  </a:lnTo>
                  <a:lnTo>
                    <a:pt x="19" y="14"/>
                  </a:lnTo>
                  <a:lnTo>
                    <a:pt x="19" y="16"/>
                  </a:lnTo>
                  <a:lnTo>
                    <a:pt x="17" y="22"/>
                  </a:lnTo>
                  <a:lnTo>
                    <a:pt x="15" y="29"/>
                  </a:lnTo>
                  <a:lnTo>
                    <a:pt x="13" y="29"/>
                  </a:lnTo>
                  <a:lnTo>
                    <a:pt x="13" y="29"/>
                  </a:lnTo>
                  <a:lnTo>
                    <a:pt x="13" y="31"/>
                  </a:lnTo>
                  <a:lnTo>
                    <a:pt x="13" y="31"/>
                  </a:lnTo>
                  <a:lnTo>
                    <a:pt x="11" y="31"/>
                  </a:lnTo>
                  <a:lnTo>
                    <a:pt x="13" y="33"/>
                  </a:lnTo>
                  <a:lnTo>
                    <a:pt x="13" y="33"/>
                  </a:lnTo>
                  <a:lnTo>
                    <a:pt x="13" y="33"/>
                  </a:lnTo>
                  <a:lnTo>
                    <a:pt x="9" y="39"/>
                  </a:lnTo>
                  <a:lnTo>
                    <a:pt x="9" y="39"/>
                  </a:lnTo>
                  <a:lnTo>
                    <a:pt x="6" y="41"/>
                  </a:lnTo>
                  <a:lnTo>
                    <a:pt x="4" y="41"/>
                  </a:lnTo>
                  <a:lnTo>
                    <a:pt x="4" y="43"/>
                  </a:lnTo>
                  <a:lnTo>
                    <a:pt x="2" y="45"/>
                  </a:lnTo>
                  <a:lnTo>
                    <a:pt x="2" y="47"/>
                  </a:lnTo>
                  <a:lnTo>
                    <a:pt x="2" y="47"/>
                  </a:lnTo>
                  <a:lnTo>
                    <a:pt x="2" y="49"/>
                  </a:lnTo>
                  <a:lnTo>
                    <a:pt x="4" y="49"/>
                  </a:lnTo>
                  <a:lnTo>
                    <a:pt x="4" y="49"/>
                  </a:lnTo>
                  <a:lnTo>
                    <a:pt x="4" y="51"/>
                  </a:lnTo>
                  <a:lnTo>
                    <a:pt x="4" y="51"/>
                  </a:lnTo>
                  <a:lnTo>
                    <a:pt x="4" y="51"/>
                  </a:lnTo>
                  <a:lnTo>
                    <a:pt x="4" y="51"/>
                  </a:lnTo>
                  <a:lnTo>
                    <a:pt x="6" y="51"/>
                  </a:lnTo>
                  <a:lnTo>
                    <a:pt x="6" y="51"/>
                  </a:lnTo>
                  <a:lnTo>
                    <a:pt x="6" y="51"/>
                  </a:lnTo>
                  <a:lnTo>
                    <a:pt x="6" y="51"/>
                  </a:lnTo>
                  <a:lnTo>
                    <a:pt x="9" y="53"/>
                  </a:lnTo>
                  <a:lnTo>
                    <a:pt x="11" y="55"/>
                  </a:lnTo>
                  <a:lnTo>
                    <a:pt x="11" y="57"/>
                  </a:lnTo>
                  <a:lnTo>
                    <a:pt x="11" y="59"/>
                  </a:lnTo>
                  <a:lnTo>
                    <a:pt x="11" y="59"/>
                  </a:lnTo>
                  <a:lnTo>
                    <a:pt x="9" y="61"/>
                  </a:lnTo>
                  <a:lnTo>
                    <a:pt x="9" y="63"/>
                  </a:lnTo>
                  <a:lnTo>
                    <a:pt x="9" y="65"/>
                  </a:lnTo>
                  <a:lnTo>
                    <a:pt x="9" y="68"/>
                  </a:lnTo>
                  <a:lnTo>
                    <a:pt x="6" y="68"/>
                  </a:lnTo>
                  <a:lnTo>
                    <a:pt x="4" y="68"/>
                  </a:lnTo>
                  <a:lnTo>
                    <a:pt x="4" y="70"/>
                  </a:lnTo>
                  <a:lnTo>
                    <a:pt x="4" y="70"/>
                  </a:lnTo>
                  <a:lnTo>
                    <a:pt x="2" y="70"/>
                  </a:lnTo>
                  <a:lnTo>
                    <a:pt x="2" y="72"/>
                  </a:lnTo>
                  <a:lnTo>
                    <a:pt x="2" y="72"/>
                  </a:lnTo>
                  <a:lnTo>
                    <a:pt x="4" y="72"/>
                  </a:lnTo>
                  <a:lnTo>
                    <a:pt x="4" y="72"/>
                  </a:lnTo>
                  <a:lnTo>
                    <a:pt x="4" y="76"/>
                  </a:lnTo>
                  <a:lnTo>
                    <a:pt x="4" y="78"/>
                  </a:lnTo>
                  <a:lnTo>
                    <a:pt x="4" y="78"/>
                  </a:lnTo>
                  <a:lnTo>
                    <a:pt x="4" y="80"/>
                  </a:lnTo>
                  <a:lnTo>
                    <a:pt x="4" y="80"/>
                  </a:lnTo>
                  <a:lnTo>
                    <a:pt x="4" y="82"/>
                  </a:lnTo>
                  <a:lnTo>
                    <a:pt x="6" y="84"/>
                  </a:lnTo>
                  <a:lnTo>
                    <a:pt x="6" y="86"/>
                  </a:lnTo>
                  <a:lnTo>
                    <a:pt x="6" y="86"/>
                  </a:lnTo>
                  <a:lnTo>
                    <a:pt x="6" y="88"/>
                  </a:lnTo>
                  <a:lnTo>
                    <a:pt x="9" y="90"/>
                  </a:lnTo>
                  <a:lnTo>
                    <a:pt x="9" y="90"/>
                  </a:lnTo>
                  <a:lnTo>
                    <a:pt x="11" y="90"/>
                  </a:lnTo>
                  <a:lnTo>
                    <a:pt x="17" y="90"/>
                  </a:lnTo>
                  <a:lnTo>
                    <a:pt x="19" y="92"/>
                  </a:lnTo>
                  <a:lnTo>
                    <a:pt x="21" y="100"/>
                  </a:lnTo>
                  <a:lnTo>
                    <a:pt x="21" y="102"/>
                  </a:lnTo>
                  <a:lnTo>
                    <a:pt x="23" y="104"/>
                  </a:lnTo>
                  <a:lnTo>
                    <a:pt x="25" y="104"/>
                  </a:lnTo>
                  <a:lnTo>
                    <a:pt x="29" y="102"/>
                  </a:lnTo>
                  <a:lnTo>
                    <a:pt x="31" y="104"/>
                  </a:lnTo>
                  <a:lnTo>
                    <a:pt x="33" y="108"/>
                  </a:lnTo>
                  <a:lnTo>
                    <a:pt x="37" y="111"/>
                  </a:lnTo>
                  <a:lnTo>
                    <a:pt x="39" y="111"/>
                  </a:lnTo>
                  <a:lnTo>
                    <a:pt x="39" y="113"/>
                  </a:lnTo>
                  <a:lnTo>
                    <a:pt x="41" y="115"/>
                  </a:lnTo>
                  <a:lnTo>
                    <a:pt x="45" y="119"/>
                  </a:lnTo>
                  <a:lnTo>
                    <a:pt x="52" y="121"/>
                  </a:lnTo>
                  <a:lnTo>
                    <a:pt x="54" y="123"/>
                  </a:lnTo>
                  <a:lnTo>
                    <a:pt x="56" y="125"/>
                  </a:lnTo>
                  <a:lnTo>
                    <a:pt x="54" y="127"/>
                  </a:lnTo>
                  <a:lnTo>
                    <a:pt x="52" y="129"/>
                  </a:lnTo>
                  <a:lnTo>
                    <a:pt x="50" y="129"/>
                  </a:lnTo>
                  <a:lnTo>
                    <a:pt x="47" y="131"/>
                  </a:lnTo>
                  <a:lnTo>
                    <a:pt x="47" y="131"/>
                  </a:lnTo>
                  <a:lnTo>
                    <a:pt x="45" y="135"/>
                  </a:lnTo>
                  <a:lnTo>
                    <a:pt x="43" y="135"/>
                  </a:lnTo>
                  <a:lnTo>
                    <a:pt x="41" y="137"/>
                  </a:lnTo>
                  <a:lnTo>
                    <a:pt x="39" y="137"/>
                  </a:lnTo>
                  <a:lnTo>
                    <a:pt x="37" y="141"/>
                  </a:lnTo>
                  <a:lnTo>
                    <a:pt x="37" y="143"/>
                  </a:lnTo>
                  <a:lnTo>
                    <a:pt x="35" y="145"/>
                  </a:lnTo>
                  <a:lnTo>
                    <a:pt x="33" y="147"/>
                  </a:lnTo>
                  <a:lnTo>
                    <a:pt x="31" y="152"/>
                  </a:lnTo>
                  <a:lnTo>
                    <a:pt x="31" y="152"/>
                  </a:lnTo>
                  <a:lnTo>
                    <a:pt x="29" y="154"/>
                  </a:lnTo>
                  <a:lnTo>
                    <a:pt x="29" y="154"/>
                  </a:lnTo>
                  <a:lnTo>
                    <a:pt x="29" y="156"/>
                  </a:lnTo>
                  <a:lnTo>
                    <a:pt x="29" y="156"/>
                  </a:lnTo>
                  <a:lnTo>
                    <a:pt x="31" y="158"/>
                  </a:lnTo>
                  <a:lnTo>
                    <a:pt x="29" y="160"/>
                  </a:lnTo>
                  <a:lnTo>
                    <a:pt x="29" y="162"/>
                  </a:lnTo>
                  <a:lnTo>
                    <a:pt x="27" y="162"/>
                  </a:lnTo>
                  <a:lnTo>
                    <a:pt x="27" y="162"/>
                  </a:lnTo>
                  <a:lnTo>
                    <a:pt x="25" y="162"/>
                  </a:lnTo>
                  <a:lnTo>
                    <a:pt x="25" y="162"/>
                  </a:lnTo>
                  <a:lnTo>
                    <a:pt x="25" y="162"/>
                  </a:lnTo>
                  <a:lnTo>
                    <a:pt x="23" y="164"/>
                  </a:lnTo>
                  <a:lnTo>
                    <a:pt x="21" y="166"/>
                  </a:lnTo>
                  <a:lnTo>
                    <a:pt x="21" y="166"/>
                  </a:lnTo>
                  <a:lnTo>
                    <a:pt x="19" y="166"/>
                  </a:lnTo>
                  <a:lnTo>
                    <a:pt x="15" y="168"/>
                  </a:lnTo>
                  <a:lnTo>
                    <a:pt x="11" y="172"/>
                  </a:lnTo>
                  <a:lnTo>
                    <a:pt x="9" y="174"/>
                  </a:lnTo>
                  <a:lnTo>
                    <a:pt x="6" y="178"/>
                  </a:lnTo>
                  <a:lnTo>
                    <a:pt x="4" y="180"/>
                  </a:lnTo>
                  <a:lnTo>
                    <a:pt x="4" y="184"/>
                  </a:lnTo>
                  <a:lnTo>
                    <a:pt x="4" y="184"/>
                  </a:lnTo>
                  <a:lnTo>
                    <a:pt x="4" y="184"/>
                  </a:lnTo>
                  <a:lnTo>
                    <a:pt x="4" y="186"/>
                  </a:lnTo>
                  <a:lnTo>
                    <a:pt x="4" y="186"/>
                  </a:lnTo>
                  <a:lnTo>
                    <a:pt x="2" y="188"/>
                  </a:lnTo>
                  <a:lnTo>
                    <a:pt x="2" y="188"/>
                  </a:lnTo>
                  <a:lnTo>
                    <a:pt x="2" y="190"/>
                  </a:lnTo>
                  <a:lnTo>
                    <a:pt x="2" y="193"/>
                  </a:lnTo>
                  <a:lnTo>
                    <a:pt x="2" y="193"/>
                  </a:lnTo>
                  <a:lnTo>
                    <a:pt x="0" y="195"/>
                  </a:lnTo>
                  <a:lnTo>
                    <a:pt x="0" y="197"/>
                  </a:lnTo>
                  <a:lnTo>
                    <a:pt x="0" y="197"/>
                  </a:lnTo>
                  <a:lnTo>
                    <a:pt x="0" y="199"/>
                  </a:lnTo>
                  <a:lnTo>
                    <a:pt x="4" y="201"/>
                  </a:lnTo>
                  <a:lnTo>
                    <a:pt x="4" y="201"/>
                  </a:lnTo>
                  <a:lnTo>
                    <a:pt x="4" y="207"/>
                  </a:lnTo>
                  <a:lnTo>
                    <a:pt x="4" y="209"/>
                  </a:lnTo>
                  <a:lnTo>
                    <a:pt x="4" y="209"/>
                  </a:lnTo>
                  <a:lnTo>
                    <a:pt x="4" y="209"/>
                  </a:lnTo>
                  <a:lnTo>
                    <a:pt x="4" y="207"/>
                  </a:lnTo>
                  <a:lnTo>
                    <a:pt x="4" y="211"/>
                  </a:lnTo>
                  <a:lnTo>
                    <a:pt x="9" y="213"/>
                  </a:lnTo>
                  <a:lnTo>
                    <a:pt x="11" y="213"/>
                  </a:lnTo>
                  <a:lnTo>
                    <a:pt x="21" y="221"/>
                  </a:lnTo>
                  <a:lnTo>
                    <a:pt x="21" y="221"/>
                  </a:lnTo>
                  <a:lnTo>
                    <a:pt x="23" y="221"/>
                  </a:lnTo>
                  <a:lnTo>
                    <a:pt x="23" y="221"/>
                  </a:lnTo>
                  <a:lnTo>
                    <a:pt x="23" y="221"/>
                  </a:lnTo>
                  <a:lnTo>
                    <a:pt x="23" y="221"/>
                  </a:lnTo>
                  <a:lnTo>
                    <a:pt x="25" y="221"/>
                  </a:lnTo>
                  <a:lnTo>
                    <a:pt x="25" y="221"/>
                  </a:lnTo>
                  <a:lnTo>
                    <a:pt x="27" y="221"/>
                  </a:lnTo>
                  <a:lnTo>
                    <a:pt x="27" y="223"/>
                  </a:lnTo>
                  <a:lnTo>
                    <a:pt x="29" y="225"/>
                  </a:lnTo>
                  <a:lnTo>
                    <a:pt x="29" y="225"/>
                  </a:lnTo>
                  <a:lnTo>
                    <a:pt x="33" y="223"/>
                  </a:lnTo>
                  <a:lnTo>
                    <a:pt x="33" y="225"/>
                  </a:lnTo>
                  <a:lnTo>
                    <a:pt x="35" y="227"/>
                  </a:lnTo>
                  <a:lnTo>
                    <a:pt x="35" y="227"/>
                  </a:lnTo>
                  <a:lnTo>
                    <a:pt x="37" y="227"/>
                  </a:lnTo>
                  <a:lnTo>
                    <a:pt x="39" y="229"/>
                  </a:lnTo>
                  <a:lnTo>
                    <a:pt x="41" y="229"/>
                  </a:lnTo>
                  <a:lnTo>
                    <a:pt x="41" y="229"/>
                  </a:lnTo>
                  <a:lnTo>
                    <a:pt x="41" y="231"/>
                  </a:lnTo>
                  <a:lnTo>
                    <a:pt x="41" y="231"/>
                  </a:lnTo>
                  <a:lnTo>
                    <a:pt x="43" y="233"/>
                  </a:lnTo>
                  <a:lnTo>
                    <a:pt x="43" y="233"/>
                  </a:lnTo>
                  <a:lnTo>
                    <a:pt x="43" y="233"/>
                  </a:lnTo>
                  <a:lnTo>
                    <a:pt x="45" y="233"/>
                  </a:lnTo>
                  <a:lnTo>
                    <a:pt x="45" y="233"/>
                  </a:lnTo>
                  <a:lnTo>
                    <a:pt x="47" y="231"/>
                  </a:lnTo>
                  <a:lnTo>
                    <a:pt x="47" y="231"/>
                  </a:lnTo>
                  <a:lnTo>
                    <a:pt x="50" y="229"/>
                  </a:lnTo>
                  <a:lnTo>
                    <a:pt x="52" y="229"/>
                  </a:lnTo>
                  <a:lnTo>
                    <a:pt x="54" y="229"/>
                  </a:lnTo>
                  <a:lnTo>
                    <a:pt x="54" y="229"/>
                  </a:lnTo>
                  <a:lnTo>
                    <a:pt x="54" y="231"/>
                  </a:lnTo>
                  <a:lnTo>
                    <a:pt x="54" y="231"/>
                  </a:lnTo>
                  <a:lnTo>
                    <a:pt x="56" y="231"/>
                  </a:lnTo>
                  <a:lnTo>
                    <a:pt x="56" y="231"/>
                  </a:lnTo>
                  <a:lnTo>
                    <a:pt x="58" y="229"/>
                  </a:lnTo>
                  <a:lnTo>
                    <a:pt x="58" y="229"/>
                  </a:lnTo>
                  <a:lnTo>
                    <a:pt x="62" y="229"/>
                  </a:lnTo>
                  <a:lnTo>
                    <a:pt x="62" y="229"/>
                  </a:lnTo>
                  <a:lnTo>
                    <a:pt x="64" y="229"/>
                  </a:lnTo>
                  <a:lnTo>
                    <a:pt x="66" y="233"/>
                  </a:lnTo>
                  <a:lnTo>
                    <a:pt x="66" y="238"/>
                  </a:lnTo>
                  <a:lnTo>
                    <a:pt x="64" y="248"/>
                  </a:lnTo>
                  <a:lnTo>
                    <a:pt x="64" y="250"/>
                  </a:lnTo>
                  <a:lnTo>
                    <a:pt x="64" y="252"/>
                  </a:lnTo>
                  <a:lnTo>
                    <a:pt x="66" y="254"/>
                  </a:lnTo>
                  <a:lnTo>
                    <a:pt x="66" y="254"/>
                  </a:lnTo>
                  <a:lnTo>
                    <a:pt x="64" y="256"/>
                  </a:lnTo>
                  <a:lnTo>
                    <a:pt x="64" y="256"/>
                  </a:lnTo>
                  <a:lnTo>
                    <a:pt x="66" y="258"/>
                  </a:lnTo>
                  <a:lnTo>
                    <a:pt x="66" y="258"/>
                  </a:lnTo>
                  <a:lnTo>
                    <a:pt x="68" y="256"/>
                  </a:lnTo>
                  <a:lnTo>
                    <a:pt x="72" y="254"/>
                  </a:lnTo>
                  <a:lnTo>
                    <a:pt x="74" y="252"/>
                  </a:lnTo>
                  <a:lnTo>
                    <a:pt x="76" y="248"/>
                  </a:lnTo>
                  <a:lnTo>
                    <a:pt x="78" y="244"/>
                  </a:lnTo>
                  <a:lnTo>
                    <a:pt x="78" y="244"/>
                  </a:lnTo>
                  <a:lnTo>
                    <a:pt x="76" y="244"/>
                  </a:lnTo>
                  <a:lnTo>
                    <a:pt x="76" y="242"/>
                  </a:lnTo>
                  <a:lnTo>
                    <a:pt x="78" y="242"/>
                  </a:lnTo>
                  <a:lnTo>
                    <a:pt x="80" y="240"/>
                  </a:lnTo>
                  <a:lnTo>
                    <a:pt x="80" y="240"/>
                  </a:lnTo>
                  <a:lnTo>
                    <a:pt x="80" y="238"/>
                  </a:lnTo>
                  <a:lnTo>
                    <a:pt x="82" y="236"/>
                  </a:lnTo>
                  <a:lnTo>
                    <a:pt x="82" y="236"/>
                  </a:lnTo>
                  <a:lnTo>
                    <a:pt x="82" y="233"/>
                  </a:lnTo>
                  <a:lnTo>
                    <a:pt x="80" y="233"/>
                  </a:lnTo>
                  <a:lnTo>
                    <a:pt x="80" y="233"/>
                  </a:lnTo>
                  <a:lnTo>
                    <a:pt x="80" y="233"/>
                  </a:lnTo>
                  <a:lnTo>
                    <a:pt x="80" y="233"/>
                  </a:lnTo>
                  <a:lnTo>
                    <a:pt x="80" y="233"/>
                  </a:lnTo>
                  <a:lnTo>
                    <a:pt x="78" y="233"/>
                  </a:lnTo>
                  <a:lnTo>
                    <a:pt x="78" y="233"/>
                  </a:lnTo>
                  <a:lnTo>
                    <a:pt x="80" y="231"/>
                  </a:lnTo>
                  <a:lnTo>
                    <a:pt x="80" y="231"/>
                  </a:lnTo>
                  <a:lnTo>
                    <a:pt x="80" y="231"/>
                  </a:lnTo>
                  <a:lnTo>
                    <a:pt x="82" y="231"/>
                  </a:lnTo>
                  <a:lnTo>
                    <a:pt x="84" y="223"/>
                  </a:lnTo>
                  <a:lnTo>
                    <a:pt x="84" y="221"/>
                  </a:lnTo>
                  <a:lnTo>
                    <a:pt x="86" y="219"/>
                  </a:lnTo>
                  <a:lnTo>
                    <a:pt x="88" y="215"/>
                  </a:lnTo>
                  <a:lnTo>
                    <a:pt x="90" y="213"/>
                  </a:lnTo>
                  <a:lnTo>
                    <a:pt x="90" y="211"/>
                  </a:lnTo>
                  <a:lnTo>
                    <a:pt x="86" y="215"/>
                  </a:lnTo>
                  <a:lnTo>
                    <a:pt x="84" y="215"/>
                  </a:lnTo>
                  <a:lnTo>
                    <a:pt x="84" y="213"/>
                  </a:lnTo>
                  <a:lnTo>
                    <a:pt x="82" y="213"/>
                  </a:lnTo>
                  <a:lnTo>
                    <a:pt x="82" y="213"/>
                  </a:lnTo>
                  <a:lnTo>
                    <a:pt x="82" y="211"/>
                  </a:lnTo>
                  <a:lnTo>
                    <a:pt x="84" y="211"/>
                  </a:lnTo>
                  <a:lnTo>
                    <a:pt x="90" y="209"/>
                  </a:lnTo>
                  <a:lnTo>
                    <a:pt x="90" y="209"/>
                  </a:lnTo>
                  <a:lnTo>
                    <a:pt x="88" y="207"/>
                  </a:lnTo>
                  <a:lnTo>
                    <a:pt x="90" y="205"/>
                  </a:lnTo>
                  <a:lnTo>
                    <a:pt x="93" y="201"/>
                  </a:lnTo>
                  <a:lnTo>
                    <a:pt x="95" y="203"/>
                  </a:lnTo>
                  <a:lnTo>
                    <a:pt x="93" y="205"/>
                  </a:lnTo>
                  <a:lnTo>
                    <a:pt x="93" y="207"/>
                  </a:lnTo>
                  <a:lnTo>
                    <a:pt x="90" y="209"/>
                  </a:lnTo>
                  <a:lnTo>
                    <a:pt x="93" y="209"/>
                  </a:lnTo>
                  <a:lnTo>
                    <a:pt x="95" y="207"/>
                  </a:lnTo>
                  <a:lnTo>
                    <a:pt x="99" y="203"/>
                  </a:lnTo>
                  <a:lnTo>
                    <a:pt x="101" y="203"/>
                  </a:lnTo>
                  <a:lnTo>
                    <a:pt x="99" y="201"/>
                  </a:lnTo>
                  <a:lnTo>
                    <a:pt x="97" y="199"/>
                  </a:lnTo>
                  <a:lnTo>
                    <a:pt x="97" y="197"/>
                  </a:lnTo>
                  <a:lnTo>
                    <a:pt x="95" y="199"/>
                  </a:lnTo>
                  <a:lnTo>
                    <a:pt x="95" y="197"/>
                  </a:lnTo>
                  <a:lnTo>
                    <a:pt x="95" y="197"/>
                  </a:lnTo>
                  <a:lnTo>
                    <a:pt x="95" y="195"/>
                  </a:lnTo>
                  <a:lnTo>
                    <a:pt x="95" y="193"/>
                  </a:lnTo>
                  <a:lnTo>
                    <a:pt x="97" y="193"/>
                  </a:lnTo>
                  <a:lnTo>
                    <a:pt x="97" y="193"/>
                  </a:lnTo>
                  <a:lnTo>
                    <a:pt x="99" y="193"/>
                  </a:lnTo>
                  <a:lnTo>
                    <a:pt x="99" y="193"/>
                  </a:lnTo>
                  <a:lnTo>
                    <a:pt x="101" y="190"/>
                  </a:lnTo>
                  <a:lnTo>
                    <a:pt x="99" y="188"/>
                  </a:lnTo>
                  <a:lnTo>
                    <a:pt x="99" y="186"/>
                  </a:lnTo>
                  <a:lnTo>
                    <a:pt x="97" y="186"/>
                  </a:lnTo>
                  <a:lnTo>
                    <a:pt x="97" y="184"/>
                  </a:lnTo>
                  <a:lnTo>
                    <a:pt x="97" y="180"/>
                  </a:lnTo>
                  <a:lnTo>
                    <a:pt x="97" y="182"/>
                  </a:lnTo>
                  <a:lnTo>
                    <a:pt x="99" y="182"/>
                  </a:lnTo>
                  <a:lnTo>
                    <a:pt x="99" y="182"/>
                  </a:lnTo>
                  <a:lnTo>
                    <a:pt x="101" y="180"/>
                  </a:lnTo>
                  <a:lnTo>
                    <a:pt x="103" y="182"/>
                  </a:lnTo>
                  <a:lnTo>
                    <a:pt x="105" y="182"/>
                  </a:lnTo>
                  <a:lnTo>
                    <a:pt x="105" y="184"/>
                  </a:lnTo>
                  <a:lnTo>
                    <a:pt x="105" y="184"/>
                  </a:lnTo>
                  <a:lnTo>
                    <a:pt x="107" y="184"/>
                  </a:lnTo>
                  <a:lnTo>
                    <a:pt x="107" y="182"/>
                  </a:lnTo>
                  <a:lnTo>
                    <a:pt x="105" y="180"/>
                  </a:lnTo>
                  <a:lnTo>
                    <a:pt x="103" y="178"/>
                  </a:lnTo>
                  <a:lnTo>
                    <a:pt x="103" y="176"/>
                  </a:lnTo>
                  <a:lnTo>
                    <a:pt x="105" y="176"/>
                  </a:lnTo>
                  <a:lnTo>
                    <a:pt x="105" y="174"/>
                  </a:lnTo>
                  <a:lnTo>
                    <a:pt x="105" y="174"/>
                  </a:lnTo>
                  <a:lnTo>
                    <a:pt x="107" y="172"/>
                  </a:lnTo>
                  <a:lnTo>
                    <a:pt x="107" y="172"/>
                  </a:lnTo>
                  <a:lnTo>
                    <a:pt x="107" y="170"/>
                  </a:lnTo>
                  <a:lnTo>
                    <a:pt x="109" y="168"/>
                  </a:lnTo>
                  <a:lnTo>
                    <a:pt x="111" y="168"/>
                  </a:lnTo>
                  <a:lnTo>
                    <a:pt x="111" y="166"/>
                  </a:lnTo>
                  <a:lnTo>
                    <a:pt x="111" y="162"/>
                  </a:lnTo>
                  <a:lnTo>
                    <a:pt x="111" y="162"/>
                  </a:lnTo>
                  <a:lnTo>
                    <a:pt x="113" y="160"/>
                  </a:lnTo>
                  <a:lnTo>
                    <a:pt x="113" y="158"/>
                  </a:lnTo>
                  <a:lnTo>
                    <a:pt x="111" y="158"/>
                  </a:lnTo>
                  <a:lnTo>
                    <a:pt x="109" y="158"/>
                  </a:lnTo>
                  <a:lnTo>
                    <a:pt x="109" y="154"/>
                  </a:lnTo>
                  <a:lnTo>
                    <a:pt x="109" y="149"/>
                  </a:lnTo>
                  <a:lnTo>
                    <a:pt x="111" y="147"/>
                  </a:lnTo>
                  <a:lnTo>
                    <a:pt x="111" y="145"/>
                  </a:lnTo>
                  <a:lnTo>
                    <a:pt x="111" y="145"/>
                  </a:lnTo>
                  <a:lnTo>
                    <a:pt x="111" y="143"/>
                  </a:lnTo>
                  <a:lnTo>
                    <a:pt x="111" y="141"/>
                  </a:lnTo>
                  <a:lnTo>
                    <a:pt x="111" y="139"/>
                  </a:lnTo>
                  <a:lnTo>
                    <a:pt x="113" y="137"/>
                  </a:lnTo>
                  <a:lnTo>
                    <a:pt x="111" y="137"/>
                  </a:lnTo>
                  <a:lnTo>
                    <a:pt x="109" y="137"/>
                  </a:lnTo>
                  <a:lnTo>
                    <a:pt x="111" y="135"/>
                  </a:lnTo>
                  <a:lnTo>
                    <a:pt x="111" y="133"/>
                  </a:lnTo>
                  <a:lnTo>
                    <a:pt x="109" y="131"/>
                  </a:lnTo>
                  <a:lnTo>
                    <a:pt x="109" y="131"/>
                  </a:lnTo>
                  <a:lnTo>
                    <a:pt x="109" y="129"/>
                  </a:lnTo>
                  <a:lnTo>
                    <a:pt x="109" y="129"/>
                  </a:lnTo>
                  <a:lnTo>
                    <a:pt x="111" y="129"/>
                  </a:lnTo>
                  <a:lnTo>
                    <a:pt x="111" y="127"/>
                  </a:lnTo>
                  <a:lnTo>
                    <a:pt x="113" y="127"/>
                  </a:lnTo>
                  <a:lnTo>
                    <a:pt x="113" y="125"/>
                  </a:lnTo>
                  <a:lnTo>
                    <a:pt x="113" y="123"/>
                  </a:lnTo>
                  <a:lnTo>
                    <a:pt x="111" y="125"/>
                  </a:lnTo>
                  <a:lnTo>
                    <a:pt x="111" y="123"/>
                  </a:lnTo>
                  <a:lnTo>
                    <a:pt x="111" y="123"/>
                  </a:lnTo>
                  <a:lnTo>
                    <a:pt x="113" y="123"/>
                  </a:lnTo>
                  <a:lnTo>
                    <a:pt x="113" y="125"/>
                  </a:lnTo>
                  <a:lnTo>
                    <a:pt x="115" y="127"/>
                  </a:lnTo>
                  <a:lnTo>
                    <a:pt x="115" y="129"/>
                  </a:lnTo>
                  <a:lnTo>
                    <a:pt x="115" y="131"/>
                  </a:lnTo>
                  <a:lnTo>
                    <a:pt x="113" y="135"/>
                  </a:lnTo>
                  <a:lnTo>
                    <a:pt x="117" y="152"/>
                  </a:lnTo>
                  <a:lnTo>
                    <a:pt x="117" y="149"/>
                  </a:lnTo>
                  <a:lnTo>
                    <a:pt x="115" y="139"/>
                  </a:lnTo>
                  <a:close/>
                </a:path>
              </a:pathLst>
            </a:custGeom>
            <a:solidFill>
              <a:schemeClr val="accent1">
                <a:lumMod val="60000"/>
                <a:lumOff val="40000"/>
              </a:schemeClr>
            </a:solidFill>
            <a:ln w="3175" cap="rnd">
              <a:solidFill>
                <a:schemeClr val="bg1"/>
              </a:solidFill>
              <a:prstDash val="solid"/>
              <a:round/>
              <a:headEnd/>
              <a:tailEnd/>
            </a:ln>
          </p:spPr>
          <p:txBody>
            <a:bodyPr vert="horz" wrap="square" lIns="48000" tIns="0" rIns="0" bIns="144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J</a:t>
              </a:r>
            </a:p>
          </p:txBody>
        </p:sp>
        <p:sp>
          <p:nvSpPr>
            <p:cNvPr id="104" name="Freeform 26">
              <a:extLst>
                <a:ext uri="{FF2B5EF4-FFF2-40B4-BE49-F238E27FC236}">
                  <a16:creationId xmlns:a16="http://schemas.microsoft.com/office/drawing/2014/main" id="{43C65087-9B80-0496-8A4B-8968B5AAE5B6}"/>
                </a:ext>
              </a:extLst>
            </p:cNvPr>
            <p:cNvSpPr>
              <a:spLocks/>
            </p:cNvSpPr>
            <p:nvPr/>
          </p:nvSpPr>
          <p:spPr bwMode="auto">
            <a:xfrm>
              <a:off x="2394" y="797"/>
              <a:ext cx="725" cy="324"/>
            </a:xfrm>
            <a:custGeom>
              <a:avLst/>
              <a:gdLst>
                <a:gd name="T0" fmla="*/ 626 w 725"/>
                <a:gd name="T1" fmla="*/ 64 h 324"/>
                <a:gd name="T2" fmla="*/ 630 w 725"/>
                <a:gd name="T3" fmla="*/ 78 h 324"/>
                <a:gd name="T4" fmla="*/ 632 w 725"/>
                <a:gd name="T5" fmla="*/ 90 h 324"/>
                <a:gd name="T6" fmla="*/ 639 w 725"/>
                <a:gd name="T7" fmla="*/ 101 h 324"/>
                <a:gd name="T8" fmla="*/ 647 w 725"/>
                <a:gd name="T9" fmla="*/ 115 h 324"/>
                <a:gd name="T10" fmla="*/ 655 w 725"/>
                <a:gd name="T11" fmla="*/ 127 h 324"/>
                <a:gd name="T12" fmla="*/ 653 w 725"/>
                <a:gd name="T13" fmla="*/ 138 h 324"/>
                <a:gd name="T14" fmla="*/ 653 w 725"/>
                <a:gd name="T15" fmla="*/ 148 h 324"/>
                <a:gd name="T16" fmla="*/ 657 w 725"/>
                <a:gd name="T17" fmla="*/ 156 h 324"/>
                <a:gd name="T18" fmla="*/ 661 w 725"/>
                <a:gd name="T19" fmla="*/ 156 h 324"/>
                <a:gd name="T20" fmla="*/ 663 w 725"/>
                <a:gd name="T21" fmla="*/ 162 h 324"/>
                <a:gd name="T22" fmla="*/ 667 w 725"/>
                <a:gd name="T23" fmla="*/ 170 h 324"/>
                <a:gd name="T24" fmla="*/ 671 w 725"/>
                <a:gd name="T25" fmla="*/ 181 h 324"/>
                <a:gd name="T26" fmla="*/ 673 w 725"/>
                <a:gd name="T27" fmla="*/ 193 h 324"/>
                <a:gd name="T28" fmla="*/ 673 w 725"/>
                <a:gd name="T29" fmla="*/ 203 h 324"/>
                <a:gd name="T30" fmla="*/ 673 w 725"/>
                <a:gd name="T31" fmla="*/ 207 h 324"/>
                <a:gd name="T32" fmla="*/ 676 w 725"/>
                <a:gd name="T33" fmla="*/ 211 h 324"/>
                <a:gd name="T34" fmla="*/ 678 w 725"/>
                <a:gd name="T35" fmla="*/ 222 h 324"/>
                <a:gd name="T36" fmla="*/ 678 w 725"/>
                <a:gd name="T37" fmla="*/ 234 h 324"/>
                <a:gd name="T38" fmla="*/ 676 w 725"/>
                <a:gd name="T39" fmla="*/ 240 h 324"/>
                <a:gd name="T40" fmla="*/ 684 w 725"/>
                <a:gd name="T41" fmla="*/ 248 h 324"/>
                <a:gd name="T42" fmla="*/ 686 w 725"/>
                <a:gd name="T43" fmla="*/ 261 h 324"/>
                <a:gd name="T44" fmla="*/ 690 w 725"/>
                <a:gd name="T45" fmla="*/ 267 h 324"/>
                <a:gd name="T46" fmla="*/ 694 w 725"/>
                <a:gd name="T47" fmla="*/ 275 h 324"/>
                <a:gd name="T48" fmla="*/ 696 w 725"/>
                <a:gd name="T49" fmla="*/ 283 h 324"/>
                <a:gd name="T50" fmla="*/ 702 w 725"/>
                <a:gd name="T51" fmla="*/ 285 h 324"/>
                <a:gd name="T52" fmla="*/ 710 w 725"/>
                <a:gd name="T53" fmla="*/ 291 h 324"/>
                <a:gd name="T54" fmla="*/ 714 w 725"/>
                <a:gd name="T55" fmla="*/ 302 h 324"/>
                <a:gd name="T56" fmla="*/ 716 w 725"/>
                <a:gd name="T57" fmla="*/ 312 h 324"/>
                <a:gd name="T58" fmla="*/ 690 w 725"/>
                <a:gd name="T59" fmla="*/ 318 h 324"/>
                <a:gd name="T60" fmla="*/ 583 w 725"/>
                <a:gd name="T61" fmla="*/ 322 h 324"/>
                <a:gd name="T62" fmla="*/ 479 w 725"/>
                <a:gd name="T63" fmla="*/ 324 h 324"/>
                <a:gd name="T64" fmla="*/ 372 w 725"/>
                <a:gd name="T65" fmla="*/ 324 h 324"/>
                <a:gd name="T66" fmla="*/ 268 w 725"/>
                <a:gd name="T67" fmla="*/ 324 h 324"/>
                <a:gd name="T68" fmla="*/ 161 w 725"/>
                <a:gd name="T69" fmla="*/ 324 h 324"/>
                <a:gd name="T70" fmla="*/ 163 w 725"/>
                <a:gd name="T71" fmla="*/ 283 h 324"/>
                <a:gd name="T72" fmla="*/ 163 w 725"/>
                <a:gd name="T73" fmla="*/ 244 h 324"/>
                <a:gd name="T74" fmla="*/ 147 w 725"/>
                <a:gd name="T75" fmla="*/ 217 h 324"/>
                <a:gd name="T76" fmla="*/ 88 w 725"/>
                <a:gd name="T77" fmla="*/ 215 h 324"/>
                <a:gd name="T78" fmla="*/ 28 w 725"/>
                <a:gd name="T79" fmla="*/ 213 h 324"/>
                <a:gd name="T80" fmla="*/ 0 w 725"/>
                <a:gd name="T81" fmla="*/ 172 h 324"/>
                <a:gd name="T82" fmla="*/ 2 w 725"/>
                <a:gd name="T83" fmla="*/ 92 h 324"/>
                <a:gd name="T84" fmla="*/ 6 w 725"/>
                <a:gd name="T85" fmla="*/ 13 h 324"/>
                <a:gd name="T86" fmla="*/ 75 w 725"/>
                <a:gd name="T87" fmla="*/ 2 h 324"/>
                <a:gd name="T88" fmla="*/ 157 w 725"/>
                <a:gd name="T89" fmla="*/ 4 h 324"/>
                <a:gd name="T90" fmla="*/ 239 w 725"/>
                <a:gd name="T91" fmla="*/ 6 h 324"/>
                <a:gd name="T92" fmla="*/ 323 w 725"/>
                <a:gd name="T93" fmla="*/ 6 h 324"/>
                <a:gd name="T94" fmla="*/ 405 w 725"/>
                <a:gd name="T95" fmla="*/ 6 h 324"/>
                <a:gd name="T96" fmla="*/ 454 w 725"/>
                <a:gd name="T97" fmla="*/ 6 h 324"/>
                <a:gd name="T98" fmla="*/ 467 w 725"/>
                <a:gd name="T99" fmla="*/ 15 h 324"/>
                <a:gd name="T100" fmla="*/ 487 w 725"/>
                <a:gd name="T101" fmla="*/ 25 h 324"/>
                <a:gd name="T102" fmla="*/ 501 w 725"/>
                <a:gd name="T103" fmla="*/ 25 h 324"/>
                <a:gd name="T104" fmla="*/ 506 w 725"/>
                <a:gd name="T105" fmla="*/ 19 h 324"/>
                <a:gd name="T106" fmla="*/ 520 w 725"/>
                <a:gd name="T107" fmla="*/ 21 h 324"/>
                <a:gd name="T108" fmla="*/ 551 w 725"/>
                <a:gd name="T109" fmla="*/ 15 h 324"/>
                <a:gd name="T110" fmla="*/ 563 w 725"/>
                <a:gd name="T111" fmla="*/ 25 h 324"/>
                <a:gd name="T112" fmla="*/ 575 w 725"/>
                <a:gd name="T113" fmla="*/ 27 h 324"/>
                <a:gd name="T114" fmla="*/ 589 w 725"/>
                <a:gd name="T115" fmla="*/ 31 h 324"/>
                <a:gd name="T116" fmla="*/ 594 w 725"/>
                <a:gd name="T117" fmla="*/ 37 h 324"/>
                <a:gd name="T118" fmla="*/ 600 w 725"/>
                <a:gd name="T119" fmla="*/ 37 h 324"/>
                <a:gd name="T120" fmla="*/ 604 w 725"/>
                <a:gd name="T121" fmla="*/ 45 h 324"/>
                <a:gd name="T122" fmla="*/ 618 w 725"/>
                <a:gd name="T123" fmla="*/ 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5" h="324">
                  <a:moveTo>
                    <a:pt x="618" y="54"/>
                  </a:moveTo>
                  <a:lnTo>
                    <a:pt x="622" y="54"/>
                  </a:lnTo>
                  <a:lnTo>
                    <a:pt x="624" y="54"/>
                  </a:lnTo>
                  <a:lnTo>
                    <a:pt x="624" y="56"/>
                  </a:lnTo>
                  <a:lnTo>
                    <a:pt x="626" y="60"/>
                  </a:lnTo>
                  <a:lnTo>
                    <a:pt x="626" y="64"/>
                  </a:lnTo>
                  <a:lnTo>
                    <a:pt x="624" y="68"/>
                  </a:lnTo>
                  <a:lnTo>
                    <a:pt x="628" y="72"/>
                  </a:lnTo>
                  <a:lnTo>
                    <a:pt x="628" y="74"/>
                  </a:lnTo>
                  <a:lnTo>
                    <a:pt x="628" y="74"/>
                  </a:lnTo>
                  <a:lnTo>
                    <a:pt x="630" y="76"/>
                  </a:lnTo>
                  <a:lnTo>
                    <a:pt x="630" y="78"/>
                  </a:lnTo>
                  <a:lnTo>
                    <a:pt x="630" y="80"/>
                  </a:lnTo>
                  <a:lnTo>
                    <a:pt x="630" y="82"/>
                  </a:lnTo>
                  <a:lnTo>
                    <a:pt x="630" y="84"/>
                  </a:lnTo>
                  <a:lnTo>
                    <a:pt x="630" y="86"/>
                  </a:lnTo>
                  <a:lnTo>
                    <a:pt x="630" y="88"/>
                  </a:lnTo>
                  <a:lnTo>
                    <a:pt x="632" y="90"/>
                  </a:lnTo>
                  <a:lnTo>
                    <a:pt x="635" y="90"/>
                  </a:lnTo>
                  <a:lnTo>
                    <a:pt x="637" y="92"/>
                  </a:lnTo>
                  <a:lnTo>
                    <a:pt x="637" y="95"/>
                  </a:lnTo>
                  <a:lnTo>
                    <a:pt x="637" y="97"/>
                  </a:lnTo>
                  <a:lnTo>
                    <a:pt x="637" y="99"/>
                  </a:lnTo>
                  <a:lnTo>
                    <a:pt x="639" y="101"/>
                  </a:lnTo>
                  <a:lnTo>
                    <a:pt x="641" y="105"/>
                  </a:lnTo>
                  <a:lnTo>
                    <a:pt x="643" y="105"/>
                  </a:lnTo>
                  <a:lnTo>
                    <a:pt x="647" y="109"/>
                  </a:lnTo>
                  <a:lnTo>
                    <a:pt x="649" y="113"/>
                  </a:lnTo>
                  <a:lnTo>
                    <a:pt x="647" y="113"/>
                  </a:lnTo>
                  <a:lnTo>
                    <a:pt x="647" y="115"/>
                  </a:lnTo>
                  <a:lnTo>
                    <a:pt x="647" y="117"/>
                  </a:lnTo>
                  <a:lnTo>
                    <a:pt x="647" y="117"/>
                  </a:lnTo>
                  <a:lnTo>
                    <a:pt x="649" y="121"/>
                  </a:lnTo>
                  <a:lnTo>
                    <a:pt x="649" y="121"/>
                  </a:lnTo>
                  <a:lnTo>
                    <a:pt x="653" y="125"/>
                  </a:lnTo>
                  <a:lnTo>
                    <a:pt x="655" y="127"/>
                  </a:lnTo>
                  <a:lnTo>
                    <a:pt x="655" y="129"/>
                  </a:lnTo>
                  <a:lnTo>
                    <a:pt x="653" y="131"/>
                  </a:lnTo>
                  <a:lnTo>
                    <a:pt x="653" y="133"/>
                  </a:lnTo>
                  <a:lnTo>
                    <a:pt x="653" y="136"/>
                  </a:lnTo>
                  <a:lnTo>
                    <a:pt x="653" y="136"/>
                  </a:lnTo>
                  <a:lnTo>
                    <a:pt x="653" y="138"/>
                  </a:lnTo>
                  <a:lnTo>
                    <a:pt x="653" y="138"/>
                  </a:lnTo>
                  <a:lnTo>
                    <a:pt x="653" y="140"/>
                  </a:lnTo>
                  <a:lnTo>
                    <a:pt x="653" y="140"/>
                  </a:lnTo>
                  <a:lnTo>
                    <a:pt x="653" y="144"/>
                  </a:lnTo>
                  <a:lnTo>
                    <a:pt x="653" y="146"/>
                  </a:lnTo>
                  <a:lnTo>
                    <a:pt x="653" y="148"/>
                  </a:lnTo>
                  <a:lnTo>
                    <a:pt x="655" y="150"/>
                  </a:lnTo>
                  <a:lnTo>
                    <a:pt x="655" y="150"/>
                  </a:lnTo>
                  <a:lnTo>
                    <a:pt x="655" y="152"/>
                  </a:lnTo>
                  <a:lnTo>
                    <a:pt x="655" y="154"/>
                  </a:lnTo>
                  <a:lnTo>
                    <a:pt x="657" y="156"/>
                  </a:lnTo>
                  <a:lnTo>
                    <a:pt x="657" y="156"/>
                  </a:lnTo>
                  <a:lnTo>
                    <a:pt x="659" y="154"/>
                  </a:lnTo>
                  <a:lnTo>
                    <a:pt x="659" y="154"/>
                  </a:lnTo>
                  <a:lnTo>
                    <a:pt x="661" y="154"/>
                  </a:lnTo>
                  <a:lnTo>
                    <a:pt x="661" y="154"/>
                  </a:lnTo>
                  <a:lnTo>
                    <a:pt x="661" y="156"/>
                  </a:lnTo>
                  <a:lnTo>
                    <a:pt x="661" y="156"/>
                  </a:lnTo>
                  <a:lnTo>
                    <a:pt x="661" y="156"/>
                  </a:lnTo>
                  <a:lnTo>
                    <a:pt x="661" y="158"/>
                  </a:lnTo>
                  <a:lnTo>
                    <a:pt x="661" y="160"/>
                  </a:lnTo>
                  <a:lnTo>
                    <a:pt x="661" y="160"/>
                  </a:lnTo>
                  <a:lnTo>
                    <a:pt x="661" y="162"/>
                  </a:lnTo>
                  <a:lnTo>
                    <a:pt x="663" y="162"/>
                  </a:lnTo>
                  <a:lnTo>
                    <a:pt x="665" y="162"/>
                  </a:lnTo>
                  <a:lnTo>
                    <a:pt x="667" y="162"/>
                  </a:lnTo>
                  <a:lnTo>
                    <a:pt x="667" y="162"/>
                  </a:lnTo>
                  <a:lnTo>
                    <a:pt x="667" y="164"/>
                  </a:lnTo>
                  <a:lnTo>
                    <a:pt x="667" y="168"/>
                  </a:lnTo>
                  <a:lnTo>
                    <a:pt x="667" y="170"/>
                  </a:lnTo>
                  <a:lnTo>
                    <a:pt x="665" y="176"/>
                  </a:lnTo>
                  <a:lnTo>
                    <a:pt x="667" y="176"/>
                  </a:lnTo>
                  <a:lnTo>
                    <a:pt x="671" y="179"/>
                  </a:lnTo>
                  <a:lnTo>
                    <a:pt x="671" y="179"/>
                  </a:lnTo>
                  <a:lnTo>
                    <a:pt x="673" y="179"/>
                  </a:lnTo>
                  <a:lnTo>
                    <a:pt x="671" y="181"/>
                  </a:lnTo>
                  <a:lnTo>
                    <a:pt x="669" y="183"/>
                  </a:lnTo>
                  <a:lnTo>
                    <a:pt x="669" y="185"/>
                  </a:lnTo>
                  <a:lnTo>
                    <a:pt x="669" y="189"/>
                  </a:lnTo>
                  <a:lnTo>
                    <a:pt x="669" y="191"/>
                  </a:lnTo>
                  <a:lnTo>
                    <a:pt x="669" y="191"/>
                  </a:lnTo>
                  <a:lnTo>
                    <a:pt x="673" y="193"/>
                  </a:lnTo>
                  <a:lnTo>
                    <a:pt x="676" y="193"/>
                  </a:lnTo>
                  <a:lnTo>
                    <a:pt x="673" y="195"/>
                  </a:lnTo>
                  <a:lnTo>
                    <a:pt x="673" y="195"/>
                  </a:lnTo>
                  <a:lnTo>
                    <a:pt x="673" y="199"/>
                  </a:lnTo>
                  <a:lnTo>
                    <a:pt x="673" y="201"/>
                  </a:lnTo>
                  <a:lnTo>
                    <a:pt x="673" y="203"/>
                  </a:lnTo>
                  <a:lnTo>
                    <a:pt x="673" y="205"/>
                  </a:lnTo>
                  <a:lnTo>
                    <a:pt x="673" y="205"/>
                  </a:lnTo>
                  <a:lnTo>
                    <a:pt x="673" y="205"/>
                  </a:lnTo>
                  <a:lnTo>
                    <a:pt x="673" y="205"/>
                  </a:lnTo>
                  <a:lnTo>
                    <a:pt x="673" y="205"/>
                  </a:lnTo>
                  <a:lnTo>
                    <a:pt x="673" y="207"/>
                  </a:lnTo>
                  <a:lnTo>
                    <a:pt x="673" y="207"/>
                  </a:lnTo>
                  <a:lnTo>
                    <a:pt x="673" y="207"/>
                  </a:lnTo>
                  <a:lnTo>
                    <a:pt x="673" y="209"/>
                  </a:lnTo>
                  <a:lnTo>
                    <a:pt x="673" y="209"/>
                  </a:lnTo>
                  <a:lnTo>
                    <a:pt x="673" y="211"/>
                  </a:lnTo>
                  <a:lnTo>
                    <a:pt x="676" y="211"/>
                  </a:lnTo>
                  <a:lnTo>
                    <a:pt x="676" y="213"/>
                  </a:lnTo>
                  <a:lnTo>
                    <a:pt x="678" y="213"/>
                  </a:lnTo>
                  <a:lnTo>
                    <a:pt x="678" y="215"/>
                  </a:lnTo>
                  <a:lnTo>
                    <a:pt x="676" y="217"/>
                  </a:lnTo>
                  <a:lnTo>
                    <a:pt x="678" y="217"/>
                  </a:lnTo>
                  <a:lnTo>
                    <a:pt x="678" y="222"/>
                  </a:lnTo>
                  <a:lnTo>
                    <a:pt x="678" y="224"/>
                  </a:lnTo>
                  <a:lnTo>
                    <a:pt x="678" y="226"/>
                  </a:lnTo>
                  <a:lnTo>
                    <a:pt x="678" y="228"/>
                  </a:lnTo>
                  <a:lnTo>
                    <a:pt x="678" y="230"/>
                  </a:lnTo>
                  <a:lnTo>
                    <a:pt x="678" y="232"/>
                  </a:lnTo>
                  <a:lnTo>
                    <a:pt x="678" y="234"/>
                  </a:lnTo>
                  <a:lnTo>
                    <a:pt x="678" y="234"/>
                  </a:lnTo>
                  <a:lnTo>
                    <a:pt x="678" y="236"/>
                  </a:lnTo>
                  <a:lnTo>
                    <a:pt x="676" y="238"/>
                  </a:lnTo>
                  <a:lnTo>
                    <a:pt x="676" y="238"/>
                  </a:lnTo>
                  <a:lnTo>
                    <a:pt x="676" y="240"/>
                  </a:lnTo>
                  <a:lnTo>
                    <a:pt x="676" y="240"/>
                  </a:lnTo>
                  <a:lnTo>
                    <a:pt x="676" y="242"/>
                  </a:lnTo>
                  <a:lnTo>
                    <a:pt x="676" y="242"/>
                  </a:lnTo>
                  <a:lnTo>
                    <a:pt x="676" y="244"/>
                  </a:lnTo>
                  <a:lnTo>
                    <a:pt x="678" y="246"/>
                  </a:lnTo>
                  <a:lnTo>
                    <a:pt x="682" y="246"/>
                  </a:lnTo>
                  <a:lnTo>
                    <a:pt x="684" y="248"/>
                  </a:lnTo>
                  <a:lnTo>
                    <a:pt x="684" y="250"/>
                  </a:lnTo>
                  <a:lnTo>
                    <a:pt x="684" y="252"/>
                  </a:lnTo>
                  <a:lnTo>
                    <a:pt x="684" y="254"/>
                  </a:lnTo>
                  <a:lnTo>
                    <a:pt x="684" y="256"/>
                  </a:lnTo>
                  <a:lnTo>
                    <a:pt x="684" y="261"/>
                  </a:lnTo>
                  <a:lnTo>
                    <a:pt x="686" y="261"/>
                  </a:lnTo>
                  <a:lnTo>
                    <a:pt x="688" y="261"/>
                  </a:lnTo>
                  <a:lnTo>
                    <a:pt x="690" y="263"/>
                  </a:lnTo>
                  <a:lnTo>
                    <a:pt x="690" y="263"/>
                  </a:lnTo>
                  <a:lnTo>
                    <a:pt x="690" y="265"/>
                  </a:lnTo>
                  <a:lnTo>
                    <a:pt x="690" y="265"/>
                  </a:lnTo>
                  <a:lnTo>
                    <a:pt x="690" y="267"/>
                  </a:lnTo>
                  <a:lnTo>
                    <a:pt x="692" y="269"/>
                  </a:lnTo>
                  <a:lnTo>
                    <a:pt x="692" y="271"/>
                  </a:lnTo>
                  <a:lnTo>
                    <a:pt x="694" y="271"/>
                  </a:lnTo>
                  <a:lnTo>
                    <a:pt x="694" y="273"/>
                  </a:lnTo>
                  <a:lnTo>
                    <a:pt x="694" y="275"/>
                  </a:lnTo>
                  <a:lnTo>
                    <a:pt x="694" y="275"/>
                  </a:lnTo>
                  <a:lnTo>
                    <a:pt x="694" y="275"/>
                  </a:lnTo>
                  <a:lnTo>
                    <a:pt x="696" y="277"/>
                  </a:lnTo>
                  <a:lnTo>
                    <a:pt x="696" y="281"/>
                  </a:lnTo>
                  <a:lnTo>
                    <a:pt x="696" y="281"/>
                  </a:lnTo>
                  <a:lnTo>
                    <a:pt x="696" y="281"/>
                  </a:lnTo>
                  <a:lnTo>
                    <a:pt x="696" y="283"/>
                  </a:lnTo>
                  <a:lnTo>
                    <a:pt x="694" y="283"/>
                  </a:lnTo>
                  <a:lnTo>
                    <a:pt x="696" y="285"/>
                  </a:lnTo>
                  <a:lnTo>
                    <a:pt x="696" y="285"/>
                  </a:lnTo>
                  <a:lnTo>
                    <a:pt x="698" y="285"/>
                  </a:lnTo>
                  <a:lnTo>
                    <a:pt x="700" y="285"/>
                  </a:lnTo>
                  <a:lnTo>
                    <a:pt x="702" y="285"/>
                  </a:lnTo>
                  <a:lnTo>
                    <a:pt x="702" y="287"/>
                  </a:lnTo>
                  <a:lnTo>
                    <a:pt x="702" y="289"/>
                  </a:lnTo>
                  <a:lnTo>
                    <a:pt x="704" y="289"/>
                  </a:lnTo>
                  <a:lnTo>
                    <a:pt x="704" y="289"/>
                  </a:lnTo>
                  <a:lnTo>
                    <a:pt x="708" y="291"/>
                  </a:lnTo>
                  <a:lnTo>
                    <a:pt x="710" y="291"/>
                  </a:lnTo>
                  <a:lnTo>
                    <a:pt x="710" y="291"/>
                  </a:lnTo>
                  <a:lnTo>
                    <a:pt x="710" y="293"/>
                  </a:lnTo>
                  <a:lnTo>
                    <a:pt x="710" y="295"/>
                  </a:lnTo>
                  <a:lnTo>
                    <a:pt x="712" y="299"/>
                  </a:lnTo>
                  <a:lnTo>
                    <a:pt x="712" y="299"/>
                  </a:lnTo>
                  <a:lnTo>
                    <a:pt x="714" y="302"/>
                  </a:lnTo>
                  <a:lnTo>
                    <a:pt x="716" y="304"/>
                  </a:lnTo>
                  <a:lnTo>
                    <a:pt x="716" y="306"/>
                  </a:lnTo>
                  <a:lnTo>
                    <a:pt x="716" y="306"/>
                  </a:lnTo>
                  <a:lnTo>
                    <a:pt x="716" y="308"/>
                  </a:lnTo>
                  <a:lnTo>
                    <a:pt x="714" y="310"/>
                  </a:lnTo>
                  <a:lnTo>
                    <a:pt x="716" y="312"/>
                  </a:lnTo>
                  <a:lnTo>
                    <a:pt x="716" y="314"/>
                  </a:lnTo>
                  <a:lnTo>
                    <a:pt x="721" y="314"/>
                  </a:lnTo>
                  <a:lnTo>
                    <a:pt x="723" y="314"/>
                  </a:lnTo>
                  <a:lnTo>
                    <a:pt x="725" y="316"/>
                  </a:lnTo>
                  <a:lnTo>
                    <a:pt x="706" y="318"/>
                  </a:lnTo>
                  <a:lnTo>
                    <a:pt x="690" y="318"/>
                  </a:lnTo>
                  <a:lnTo>
                    <a:pt x="671" y="318"/>
                  </a:lnTo>
                  <a:lnTo>
                    <a:pt x="655" y="320"/>
                  </a:lnTo>
                  <a:lnTo>
                    <a:pt x="637" y="320"/>
                  </a:lnTo>
                  <a:lnTo>
                    <a:pt x="618" y="320"/>
                  </a:lnTo>
                  <a:lnTo>
                    <a:pt x="602" y="322"/>
                  </a:lnTo>
                  <a:lnTo>
                    <a:pt x="583" y="322"/>
                  </a:lnTo>
                  <a:lnTo>
                    <a:pt x="567" y="322"/>
                  </a:lnTo>
                  <a:lnTo>
                    <a:pt x="549" y="322"/>
                  </a:lnTo>
                  <a:lnTo>
                    <a:pt x="530" y="322"/>
                  </a:lnTo>
                  <a:lnTo>
                    <a:pt x="514" y="324"/>
                  </a:lnTo>
                  <a:lnTo>
                    <a:pt x="495" y="324"/>
                  </a:lnTo>
                  <a:lnTo>
                    <a:pt x="479" y="324"/>
                  </a:lnTo>
                  <a:lnTo>
                    <a:pt x="460" y="324"/>
                  </a:lnTo>
                  <a:lnTo>
                    <a:pt x="444" y="324"/>
                  </a:lnTo>
                  <a:lnTo>
                    <a:pt x="426" y="324"/>
                  </a:lnTo>
                  <a:lnTo>
                    <a:pt x="407" y="324"/>
                  </a:lnTo>
                  <a:lnTo>
                    <a:pt x="391" y="324"/>
                  </a:lnTo>
                  <a:lnTo>
                    <a:pt x="372" y="324"/>
                  </a:lnTo>
                  <a:lnTo>
                    <a:pt x="356" y="324"/>
                  </a:lnTo>
                  <a:lnTo>
                    <a:pt x="338" y="324"/>
                  </a:lnTo>
                  <a:lnTo>
                    <a:pt x="321" y="324"/>
                  </a:lnTo>
                  <a:lnTo>
                    <a:pt x="303" y="324"/>
                  </a:lnTo>
                  <a:lnTo>
                    <a:pt x="284" y="324"/>
                  </a:lnTo>
                  <a:lnTo>
                    <a:pt x="268" y="324"/>
                  </a:lnTo>
                  <a:lnTo>
                    <a:pt x="250" y="324"/>
                  </a:lnTo>
                  <a:lnTo>
                    <a:pt x="233" y="324"/>
                  </a:lnTo>
                  <a:lnTo>
                    <a:pt x="215" y="324"/>
                  </a:lnTo>
                  <a:lnTo>
                    <a:pt x="198" y="324"/>
                  </a:lnTo>
                  <a:lnTo>
                    <a:pt x="180" y="324"/>
                  </a:lnTo>
                  <a:lnTo>
                    <a:pt x="161" y="324"/>
                  </a:lnTo>
                  <a:lnTo>
                    <a:pt x="161" y="316"/>
                  </a:lnTo>
                  <a:lnTo>
                    <a:pt x="161" y="310"/>
                  </a:lnTo>
                  <a:lnTo>
                    <a:pt x="163" y="304"/>
                  </a:lnTo>
                  <a:lnTo>
                    <a:pt x="163" y="297"/>
                  </a:lnTo>
                  <a:lnTo>
                    <a:pt x="163" y="289"/>
                  </a:lnTo>
                  <a:lnTo>
                    <a:pt x="163" y="283"/>
                  </a:lnTo>
                  <a:lnTo>
                    <a:pt x="163" y="277"/>
                  </a:lnTo>
                  <a:lnTo>
                    <a:pt x="163" y="271"/>
                  </a:lnTo>
                  <a:lnTo>
                    <a:pt x="163" y="263"/>
                  </a:lnTo>
                  <a:lnTo>
                    <a:pt x="163" y="256"/>
                  </a:lnTo>
                  <a:lnTo>
                    <a:pt x="163" y="250"/>
                  </a:lnTo>
                  <a:lnTo>
                    <a:pt x="163" y="244"/>
                  </a:lnTo>
                  <a:lnTo>
                    <a:pt x="163" y="236"/>
                  </a:lnTo>
                  <a:lnTo>
                    <a:pt x="163" y="230"/>
                  </a:lnTo>
                  <a:lnTo>
                    <a:pt x="163" y="224"/>
                  </a:lnTo>
                  <a:lnTo>
                    <a:pt x="163" y="217"/>
                  </a:lnTo>
                  <a:lnTo>
                    <a:pt x="157" y="217"/>
                  </a:lnTo>
                  <a:lnTo>
                    <a:pt x="147" y="217"/>
                  </a:lnTo>
                  <a:lnTo>
                    <a:pt x="137" y="215"/>
                  </a:lnTo>
                  <a:lnTo>
                    <a:pt x="127" y="215"/>
                  </a:lnTo>
                  <a:lnTo>
                    <a:pt x="116" y="215"/>
                  </a:lnTo>
                  <a:lnTo>
                    <a:pt x="106" y="215"/>
                  </a:lnTo>
                  <a:lnTo>
                    <a:pt x="98" y="215"/>
                  </a:lnTo>
                  <a:lnTo>
                    <a:pt x="88" y="215"/>
                  </a:lnTo>
                  <a:lnTo>
                    <a:pt x="77" y="215"/>
                  </a:lnTo>
                  <a:lnTo>
                    <a:pt x="67" y="215"/>
                  </a:lnTo>
                  <a:lnTo>
                    <a:pt x="57" y="213"/>
                  </a:lnTo>
                  <a:lnTo>
                    <a:pt x="49" y="213"/>
                  </a:lnTo>
                  <a:lnTo>
                    <a:pt x="39" y="213"/>
                  </a:lnTo>
                  <a:lnTo>
                    <a:pt x="28" y="213"/>
                  </a:lnTo>
                  <a:lnTo>
                    <a:pt x="18" y="213"/>
                  </a:lnTo>
                  <a:lnTo>
                    <a:pt x="8" y="213"/>
                  </a:lnTo>
                  <a:lnTo>
                    <a:pt x="0" y="213"/>
                  </a:lnTo>
                  <a:lnTo>
                    <a:pt x="0" y="199"/>
                  </a:lnTo>
                  <a:lnTo>
                    <a:pt x="0" y="187"/>
                  </a:lnTo>
                  <a:lnTo>
                    <a:pt x="0" y="172"/>
                  </a:lnTo>
                  <a:lnTo>
                    <a:pt x="0" y="160"/>
                  </a:lnTo>
                  <a:lnTo>
                    <a:pt x="2" y="146"/>
                  </a:lnTo>
                  <a:lnTo>
                    <a:pt x="2" y="133"/>
                  </a:lnTo>
                  <a:lnTo>
                    <a:pt x="2" y="119"/>
                  </a:lnTo>
                  <a:lnTo>
                    <a:pt x="2" y="107"/>
                  </a:lnTo>
                  <a:lnTo>
                    <a:pt x="2" y="92"/>
                  </a:lnTo>
                  <a:lnTo>
                    <a:pt x="4" y="80"/>
                  </a:lnTo>
                  <a:lnTo>
                    <a:pt x="4" y="66"/>
                  </a:lnTo>
                  <a:lnTo>
                    <a:pt x="4" y="54"/>
                  </a:lnTo>
                  <a:lnTo>
                    <a:pt x="4" y="39"/>
                  </a:lnTo>
                  <a:lnTo>
                    <a:pt x="6" y="27"/>
                  </a:lnTo>
                  <a:lnTo>
                    <a:pt x="6" y="13"/>
                  </a:lnTo>
                  <a:lnTo>
                    <a:pt x="6" y="0"/>
                  </a:lnTo>
                  <a:lnTo>
                    <a:pt x="20" y="0"/>
                  </a:lnTo>
                  <a:lnTo>
                    <a:pt x="32" y="2"/>
                  </a:lnTo>
                  <a:lnTo>
                    <a:pt x="47" y="2"/>
                  </a:lnTo>
                  <a:lnTo>
                    <a:pt x="61" y="2"/>
                  </a:lnTo>
                  <a:lnTo>
                    <a:pt x="75" y="2"/>
                  </a:lnTo>
                  <a:lnTo>
                    <a:pt x="88" y="2"/>
                  </a:lnTo>
                  <a:lnTo>
                    <a:pt x="102" y="2"/>
                  </a:lnTo>
                  <a:lnTo>
                    <a:pt x="116" y="4"/>
                  </a:lnTo>
                  <a:lnTo>
                    <a:pt x="131" y="4"/>
                  </a:lnTo>
                  <a:lnTo>
                    <a:pt x="143" y="4"/>
                  </a:lnTo>
                  <a:lnTo>
                    <a:pt x="157" y="4"/>
                  </a:lnTo>
                  <a:lnTo>
                    <a:pt x="172" y="4"/>
                  </a:lnTo>
                  <a:lnTo>
                    <a:pt x="186" y="4"/>
                  </a:lnTo>
                  <a:lnTo>
                    <a:pt x="198" y="4"/>
                  </a:lnTo>
                  <a:lnTo>
                    <a:pt x="213" y="6"/>
                  </a:lnTo>
                  <a:lnTo>
                    <a:pt x="227" y="6"/>
                  </a:lnTo>
                  <a:lnTo>
                    <a:pt x="239" y="6"/>
                  </a:lnTo>
                  <a:lnTo>
                    <a:pt x="254" y="6"/>
                  </a:lnTo>
                  <a:lnTo>
                    <a:pt x="268" y="6"/>
                  </a:lnTo>
                  <a:lnTo>
                    <a:pt x="282" y="6"/>
                  </a:lnTo>
                  <a:lnTo>
                    <a:pt x="295" y="6"/>
                  </a:lnTo>
                  <a:lnTo>
                    <a:pt x="309" y="6"/>
                  </a:lnTo>
                  <a:lnTo>
                    <a:pt x="323" y="6"/>
                  </a:lnTo>
                  <a:lnTo>
                    <a:pt x="338" y="6"/>
                  </a:lnTo>
                  <a:lnTo>
                    <a:pt x="350" y="6"/>
                  </a:lnTo>
                  <a:lnTo>
                    <a:pt x="364" y="6"/>
                  </a:lnTo>
                  <a:lnTo>
                    <a:pt x="379" y="6"/>
                  </a:lnTo>
                  <a:lnTo>
                    <a:pt x="393" y="6"/>
                  </a:lnTo>
                  <a:lnTo>
                    <a:pt x="405" y="6"/>
                  </a:lnTo>
                  <a:lnTo>
                    <a:pt x="420" y="6"/>
                  </a:lnTo>
                  <a:lnTo>
                    <a:pt x="434" y="6"/>
                  </a:lnTo>
                  <a:lnTo>
                    <a:pt x="446" y="6"/>
                  </a:lnTo>
                  <a:lnTo>
                    <a:pt x="454" y="6"/>
                  </a:lnTo>
                  <a:lnTo>
                    <a:pt x="454" y="6"/>
                  </a:lnTo>
                  <a:lnTo>
                    <a:pt x="454" y="6"/>
                  </a:lnTo>
                  <a:lnTo>
                    <a:pt x="456" y="8"/>
                  </a:lnTo>
                  <a:lnTo>
                    <a:pt x="456" y="8"/>
                  </a:lnTo>
                  <a:lnTo>
                    <a:pt x="465" y="13"/>
                  </a:lnTo>
                  <a:lnTo>
                    <a:pt x="467" y="13"/>
                  </a:lnTo>
                  <a:lnTo>
                    <a:pt x="467" y="13"/>
                  </a:lnTo>
                  <a:lnTo>
                    <a:pt x="467" y="15"/>
                  </a:lnTo>
                  <a:lnTo>
                    <a:pt x="471" y="17"/>
                  </a:lnTo>
                  <a:lnTo>
                    <a:pt x="475" y="19"/>
                  </a:lnTo>
                  <a:lnTo>
                    <a:pt x="485" y="23"/>
                  </a:lnTo>
                  <a:lnTo>
                    <a:pt x="487" y="25"/>
                  </a:lnTo>
                  <a:lnTo>
                    <a:pt x="487" y="25"/>
                  </a:lnTo>
                  <a:lnTo>
                    <a:pt x="487" y="25"/>
                  </a:lnTo>
                  <a:lnTo>
                    <a:pt x="493" y="27"/>
                  </a:lnTo>
                  <a:lnTo>
                    <a:pt x="495" y="27"/>
                  </a:lnTo>
                  <a:lnTo>
                    <a:pt x="497" y="27"/>
                  </a:lnTo>
                  <a:lnTo>
                    <a:pt x="499" y="27"/>
                  </a:lnTo>
                  <a:lnTo>
                    <a:pt x="501" y="25"/>
                  </a:lnTo>
                  <a:lnTo>
                    <a:pt x="501" y="25"/>
                  </a:lnTo>
                  <a:lnTo>
                    <a:pt x="501" y="25"/>
                  </a:lnTo>
                  <a:lnTo>
                    <a:pt x="501" y="23"/>
                  </a:lnTo>
                  <a:lnTo>
                    <a:pt x="503" y="21"/>
                  </a:lnTo>
                  <a:lnTo>
                    <a:pt x="503" y="21"/>
                  </a:lnTo>
                  <a:lnTo>
                    <a:pt x="503" y="19"/>
                  </a:lnTo>
                  <a:lnTo>
                    <a:pt x="506" y="19"/>
                  </a:lnTo>
                  <a:lnTo>
                    <a:pt x="508" y="19"/>
                  </a:lnTo>
                  <a:lnTo>
                    <a:pt x="512" y="19"/>
                  </a:lnTo>
                  <a:lnTo>
                    <a:pt x="516" y="19"/>
                  </a:lnTo>
                  <a:lnTo>
                    <a:pt x="518" y="19"/>
                  </a:lnTo>
                  <a:lnTo>
                    <a:pt x="518" y="19"/>
                  </a:lnTo>
                  <a:lnTo>
                    <a:pt x="520" y="21"/>
                  </a:lnTo>
                  <a:lnTo>
                    <a:pt x="522" y="21"/>
                  </a:lnTo>
                  <a:lnTo>
                    <a:pt x="524" y="19"/>
                  </a:lnTo>
                  <a:lnTo>
                    <a:pt x="526" y="17"/>
                  </a:lnTo>
                  <a:lnTo>
                    <a:pt x="532" y="19"/>
                  </a:lnTo>
                  <a:lnTo>
                    <a:pt x="534" y="19"/>
                  </a:lnTo>
                  <a:lnTo>
                    <a:pt x="551" y="15"/>
                  </a:lnTo>
                  <a:lnTo>
                    <a:pt x="553" y="17"/>
                  </a:lnTo>
                  <a:lnTo>
                    <a:pt x="555" y="17"/>
                  </a:lnTo>
                  <a:lnTo>
                    <a:pt x="557" y="19"/>
                  </a:lnTo>
                  <a:lnTo>
                    <a:pt x="559" y="21"/>
                  </a:lnTo>
                  <a:lnTo>
                    <a:pt x="561" y="23"/>
                  </a:lnTo>
                  <a:lnTo>
                    <a:pt x="563" y="25"/>
                  </a:lnTo>
                  <a:lnTo>
                    <a:pt x="565" y="25"/>
                  </a:lnTo>
                  <a:lnTo>
                    <a:pt x="567" y="27"/>
                  </a:lnTo>
                  <a:lnTo>
                    <a:pt x="571" y="27"/>
                  </a:lnTo>
                  <a:lnTo>
                    <a:pt x="571" y="27"/>
                  </a:lnTo>
                  <a:lnTo>
                    <a:pt x="573" y="27"/>
                  </a:lnTo>
                  <a:lnTo>
                    <a:pt x="575" y="27"/>
                  </a:lnTo>
                  <a:lnTo>
                    <a:pt x="577" y="29"/>
                  </a:lnTo>
                  <a:lnTo>
                    <a:pt x="577" y="29"/>
                  </a:lnTo>
                  <a:lnTo>
                    <a:pt x="577" y="29"/>
                  </a:lnTo>
                  <a:lnTo>
                    <a:pt x="579" y="29"/>
                  </a:lnTo>
                  <a:lnTo>
                    <a:pt x="587" y="31"/>
                  </a:lnTo>
                  <a:lnTo>
                    <a:pt x="589" y="31"/>
                  </a:lnTo>
                  <a:lnTo>
                    <a:pt x="589" y="33"/>
                  </a:lnTo>
                  <a:lnTo>
                    <a:pt x="589" y="33"/>
                  </a:lnTo>
                  <a:lnTo>
                    <a:pt x="592" y="35"/>
                  </a:lnTo>
                  <a:lnTo>
                    <a:pt x="592" y="35"/>
                  </a:lnTo>
                  <a:lnTo>
                    <a:pt x="592" y="35"/>
                  </a:lnTo>
                  <a:lnTo>
                    <a:pt x="594" y="37"/>
                  </a:lnTo>
                  <a:lnTo>
                    <a:pt x="594" y="37"/>
                  </a:lnTo>
                  <a:lnTo>
                    <a:pt x="598" y="35"/>
                  </a:lnTo>
                  <a:lnTo>
                    <a:pt x="598" y="35"/>
                  </a:lnTo>
                  <a:lnTo>
                    <a:pt x="600" y="37"/>
                  </a:lnTo>
                  <a:lnTo>
                    <a:pt x="600" y="37"/>
                  </a:lnTo>
                  <a:lnTo>
                    <a:pt x="600" y="37"/>
                  </a:lnTo>
                  <a:lnTo>
                    <a:pt x="600" y="39"/>
                  </a:lnTo>
                  <a:lnTo>
                    <a:pt x="600" y="39"/>
                  </a:lnTo>
                  <a:lnTo>
                    <a:pt x="600" y="41"/>
                  </a:lnTo>
                  <a:lnTo>
                    <a:pt x="600" y="41"/>
                  </a:lnTo>
                  <a:lnTo>
                    <a:pt x="600" y="43"/>
                  </a:lnTo>
                  <a:lnTo>
                    <a:pt x="604" y="45"/>
                  </a:lnTo>
                  <a:lnTo>
                    <a:pt x="606" y="47"/>
                  </a:lnTo>
                  <a:lnTo>
                    <a:pt x="606" y="49"/>
                  </a:lnTo>
                  <a:lnTo>
                    <a:pt x="606" y="51"/>
                  </a:lnTo>
                  <a:lnTo>
                    <a:pt x="608" y="51"/>
                  </a:lnTo>
                  <a:lnTo>
                    <a:pt x="618" y="54"/>
                  </a:lnTo>
                  <a:lnTo>
                    <a:pt x="618" y="54"/>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E</a:t>
              </a:r>
            </a:p>
          </p:txBody>
        </p:sp>
        <p:sp>
          <p:nvSpPr>
            <p:cNvPr id="105" name="Freeform 27">
              <a:extLst>
                <a:ext uri="{FF2B5EF4-FFF2-40B4-BE49-F238E27FC236}">
                  <a16:creationId xmlns:a16="http://schemas.microsoft.com/office/drawing/2014/main" id="{4F29F812-85BB-5A9E-DD67-26DF9AF179B1}"/>
                </a:ext>
              </a:extLst>
            </p:cNvPr>
            <p:cNvSpPr>
              <a:spLocks/>
            </p:cNvSpPr>
            <p:nvPr/>
          </p:nvSpPr>
          <p:spPr bwMode="auto">
            <a:xfrm>
              <a:off x="2412" y="174"/>
              <a:ext cx="584" cy="320"/>
            </a:xfrm>
            <a:custGeom>
              <a:avLst/>
              <a:gdLst>
                <a:gd name="T0" fmla="*/ 528 w 584"/>
                <a:gd name="T1" fmla="*/ 318 h 320"/>
                <a:gd name="T2" fmla="*/ 455 w 584"/>
                <a:gd name="T3" fmla="*/ 320 h 320"/>
                <a:gd name="T4" fmla="*/ 383 w 584"/>
                <a:gd name="T5" fmla="*/ 320 h 320"/>
                <a:gd name="T6" fmla="*/ 309 w 584"/>
                <a:gd name="T7" fmla="*/ 320 h 320"/>
                <a:gd name="T8" fmla="*/ 238 w 584"/>
                <a:gd name="T9" fmla="*/ 320 h 320"/>
                <a:gd name="T10" fmla="*/ 164 w 584"/>
                <a:gd name="T11" fmla="*/ 320 h 320"/>
                <a:gd name="T12" fmla="*/ 92 w 584"/>
                <a:gd name="T13" fmla="*/ 318 h 320"/>
                <a:gd name="T14" fmla="*/ 19 w 584"/>
                <a:gd name="T15" fmla="*/ 316 h 320"/>
                <a:gd name="T16" fmla="*/ 2 w 584"/>
                <a:gd name="T17" fmla="*/ 256 h 320"/>
                <a:gd name="T18" fmla="*/ 4 w 584"/>
                <a:gd name="T19" fmla="*/ 177 h 320"/>
                <a:gd name="T20" fmla="*/ 6 w 584"/>
                <a:gd name="T21" fmla="*/ 99 h 320"/>
                <a:gd name="T22" fmla="*/ 10 w 584"/>
                <a:gd name="T23" fmla="*/ 21 h 320"/>
                <a:gd name="T24" fmla="*/ 47 w 584"/>
                <a:gd name="T25" fmla="*/ 2 h 320"/>
                <a:gd name="T26" fmla="*/ 115 w 584"/>
                <a:gd name="T27" fmla="*/ 4 h 320"/>
                <a:gd name="T28" fmla="*/ 180 w 584"/>
                <a:gd name="T29" fmla="*/ 4 h 320"/>
                <a:gd name="T30" fmla="*/ 229 w 584"/>
                <a:gd name="T31" fmla="*/ 6 h 320"/>
                <a:gd name="T32" fmla="*/ 297 w 584"/>
                <a:gd name="T33" fmla="*/ 6 h 320"/>
                <a:gd name="T34" fmla="*/ 363 w 584"/>
                <a:gd name="T35" fmla="*/ 6 h 320"/>
                <a:gd name="T36" fmla="*/ 428 w 584"/>
                <a:gd name="T37" fmla="*/ 4 h 320"/>
                <a:gd name="T38" fmla="*/ 496 w 584"/>
                <a:gd name="T39" fmla="*/ 4 h 320"/>
                <a:gd name="T40" fmla="*/ 522 w 584"/>
                <a:gd name="T41" fmla="*/ 6 h 320"/>
                <a:gd name="T42" fmla="*/ 524 w 584"/>
                <a:gd name="T43" fmla="*/ 13 h 320"/>
                <a:gd name="T44" fmla="*/ 526 w 584"/>
                <a:gd name="T45" fmla="*/ 19 h 320"/>
                <a:gd name="T46" fmla="*/ 533 w 584"/>
                <a:gd name="T47" fmla="*/ 33 h 320"/>
                <a:gd name="T48" fmla="*/ 528 w 584"/>
                <a:gd name="T49" fmla="*/ 49 h 320"/>
                <a:gd name="T50" fmla="*/ 533 w 584"/>
                <a:gd name="T51" fmla="*/ 62 h 320"/>
                <a:gd name="T52" fmla="*/ 533 w 584"/>
                <a:gd name="T53" fmla="*/ 74 h 320"/>
                <a:gd name="T54" fmla="*/ 533 w 584"/>
                <a:gd name="T55" fmla="*/ 88 h 320"/>
                <a:gd name="T56" fmla="*/ 539 w 584"/>
                <a:gd name="T57" fmla="*/ 107 h 320"/>
                <a:gd name="T58" fmla="*/ 543 w 584"/>
                <a:gd name="T59" fmla="*/ 117 h 320"/>
                <a:gd name="T60" fmla="*/ 543 w 584"/>
                <a:gd name="T61" fmla="*/ 123 h 320"/>
                <a:gd name="T62" fmla="*/ 545 w 584"/>
                <a:gd name="T63" fmla="*/ 125 h 320"/>
                <a:gd name="T64" fmla="*/ 549 w 584"/>
                <a:gd name="T65" fmla="*/ 131 h 320"/>
                <a:gd name="T66" fmla="*/ 553 w 584"/>
                <a:gd name="T67" fmla="*/ 142 h 320"/>
                <a:gd name="T68" fmla="*/ 555 w 584"/>
                <a:gd name="T69" fmla="*/ 146 h 320"/>
                <a:gd name="T70" fmla="*/ 555 w 584"/>
                <a:gd name="T71" fmla="*/ 150 h 320"/>
                <a:gd name="T72" fmla="*/ 555 w 584"/>
                <a:gd name="T73" fmla="*/ 156 h 320"/>
                <a:gd name="T74" fmla="*/ 555 w 584"/>
                <a:gd name="T75" fmla="*/ 166 h 320"/>
                <a:gd name="T76" fmla="*/ 557 w 584"/>
                <a:gd name="T77" fmla="*/ 183 h 320"/>
                <a:gd name="T78" fmla="*/ 557 w 584"/>
                <a:gd name="T79" fmla="*/ 191 h 320"/>
                <a:gd name="T80" fmla="*/ 559 w 584"/>
                <a:gd name="T81" fmla="*/ 201 h 320"/>
                <a:gd name="T82" fmla="*/ 561 w 584"/>
                <a:gd name="T83" fmla="*/ 211 h 320"/>
                <a:gd name="T84" fmla="*/ 561 w 584"/>
                <a:gd name="T85" fmla="*/ 213 h 320"/>
                <a:gd name="T86" fmla="*/ 563 w 584"/>
                <a:gd name="T87" fmla="*/ 215 h 320"/>
                <a:gd name="T88" fmla="*/ 563 w 584"/>
                <a:gd name="T89" fmla="*/ 217 h 320"/>
                <a:gd name="T90" fmla="*/ 561 w 584"/>
                <a:gd name="T91" fmla="*/ 226 h 320"/>
                <a:gd name="T92" fmla="*/ 561 w 584"/>
                <a:gd name="T93" fmla="*/ 230 h 320"/>
                <a:gd name="T94" fmla="*/ 561 w 584"/>
                <a:gd name="T95" fmla="*/ 242 h 320"/>
                <a:gd name="T96" fmla="*/ 565 w 584"/>
                <a:gd name="T97" fmla="*/ 250 h 320"/>
                <a:gd name="T98" fmla="*/ 567 w 584"/>
                <a:gd name="T99" fmla="*/ 261 h 320"/>
                <a:gd name="T100" fmla="*/ 569 w 584"/>
                <a:gd name="T101" fmla="*/ 263 h 320"/>
                <a:gd name="T102" fmla="*/ 578 w 584"/>
                <a:gd name="T103" fmla="*/ 275 h 320"/>
                <a:gd name="T104" fmla="*/ 580 w 584"/>
                <a:gd name="T105" fmla="*/ 287 h 320"/>
                <a:gd name="T106" fmla="*/ 582 w 584"/>
                <a:gd name="T107" fmla="*/ 293 h 320"/>
                <a:gd name="T108" fmla="*/ 582 w 584"/>
                <a:gd name="T109" fmla="*/ 299 h 320"/>
                <a:gd name="T110" fmla="*/ 582 w 584"/>
                <a:gd name="T111" fmla="*/ 31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320">
                  <a:moveTo>
                    <a:pt x="584" y="316"/>
                  </a:moveTo>
                  <a:lnTo>
                    <a:pt x="565" y="318"/>
                  </a:lnTo>
                  <a:lnTo>
                    <a:pt x="547" y="318"/>
                  </a:lnTo>
                  <a:lnTo>
                    <a:pt x="528" y="318"/>
                  </a:lnTo>
                  <a:lnTo>
                    <a:pt x="510" y="318"/>
                  </a:lnTo>
                  <a:lnTo>
                    <a:pt x="492" y="318"/>
                  </a:lnTo>
                  <a:lnTo>
                    <a:pt x="473" y="320"/>
                  </a:lnTo>
                  <a:lnTo>
                    <a:pt x="455" y="320"/>
                  </a:lnTo>
                  <a:lnTo>
                    <a:pt x="436" y="320"/>
                  </a:lnTo>
                  <a:lnTo>
                    <a:pt x="420" y="320"/>
                  </a:lnTo>
                  <a:lnTo>
                    <a:pt x="402" y="320"/>
                  </a:lnTo>
                  <a:lnTo>
                    <a:pt x="383" y="320"/>
                  </a:lnTo>
                  <a:lnTo>
                    <a:pt x="365" y="320"/>
                  </a:lnTo>
                  <a:lnTo>
                    <a:pt x="346" y="320"/>
                  </a:lnTo>
                  <a:lnTo>
                    <a:pt x="328" y="320"/>
                  </a:lnTo>
                  <a:lnTo>
                    <a:pt x="309" y="320"/>
                  </a:lnTo>
                  <a:lnTo>
                    <a:pt x="291" y="320"/>
                  </a:lnTo>
                  <a:lnTo>
                    <a:pt x="272" y="320"/>
                  </a:lnTo>
                  <a:lnTo>
                    <a:pt x="256" y="320"/>
                  </a:lnTo>
                  <a:lnTo>
                    <a:pt x="238" y="320"/>
                  </a:lnTo>
                  <a:lnTo>
                    <a:pt x="219" y="320"/>
                  </a:lnTo>
                  <a:lnTo>
                    <a:pt x="201" y="320"/>
                  </a:lnTo>
                  <a:lnTo>
                    <a:pt x="182" y="320"/>
                  </a:lnTo>
                  <a:lnTo>
                    <a:pt x="164" y="320"/>
                  </a:lnTo>
                  <a:lnTo>
                    <a:pt x="145" y="320"/>
                  </a:lnTo>
                  <a:lnTo>
                    <a:pt x="127" y="318"/>
                  </a:lnTo>
                  <a:lnTo>
                    <a:pt x="111" y="318"/>
                  </a:lnTo>
                  <a:lnTo>
                    <a:pt x="92" y="318"/>
                  </a:lnTo>
                  <a:lnTo>
                    <a:pt x="74" y="318"/>
                  </a:lnTo>
                  <a:lnTo>
                    <a:pt x="55" y="316"/>
                  </a:lnTo>
                  <a:lnTo>
                    <a:pt x="37" y="316"/>
                  </a:lnTo>
                  <a:lnTo>
                    <a:pt x="19" y="316"/>
                  </a:lnTo>
                  <a:lnTo>
                    <a:pt x="0" y="316"/>
                  </a:lnTo>
                  <a:lnTo>
                    <a:pt x="0" y="295"/>
                  </a:lnTo>
                  <a:lnTo>
                    <a:pt x="2" y="275"/>
                  </a:lnTo>
                  <a:lnTo>
                    <a:pt x="2" y="256"/>
                  </a:lnTo>
                  <a:lnTo>
                    <a:pt x="2" y="236"/>
                  </a:lnTo>
                  <a:lnTo>
                    <a:pt x="4" y="215"/>
                  </a:lnTo>
                  <a:lnTo>
                    <a:pt x="4" y="197"/>
                  </a:lnTo>
                  <a:lnTo>
                    <a:pt x="4" y="177"/>
                  </a:lnTo>
                  <a:lnTo>
                    <a:pt x="6" y="156"/>
                  </a:lnTo>
                  <a:lnTo>
                    <a:pt x="6" y="138"/>
                  </a:lnTo>
                  <a:lnTo>
                    <a:pt x="6" y="117"/>
                  </a:lnTo>
                  <a:lnTo>
                    <a:pt x="6" y="99"/>
                  </a:lnTo>
                  <a:lnTo>
                    <a:pt x="8" y="78"/>
                  </a:lnTo>
                  <a:lnTo>
                    <a:pt x="8" y="60"/>
                  </a:lnTo>
                  <a:lnTo>
                    <a:pt x="8" y="39"/>
                  </a:lnTo>
                  <a:lnTo>
                    <a:pt x="10" y="21"/>
                  </a:lnTo>
                  <a:lnTo>
                    <a:pt x="10" y="0"/>
                  </a:lnTo>
                  <a:lnTo>
                    <a:pt x="14" y="0"/>
                  </a:lnTo>
                  <a:lnTo>
                    <a:pt x="31" y="2"/>
                  </a:lnTo>
                  <a:lnTo>
                    <a:pt x="47" y="2"/>
                  </a:lnTo>
                  <a:lnTo>
                    <a:pt x="64" y="2"/>
                  </a:lnTo>
                  <a:lnTo>
                    <a:pt x="82" y="2"/>
                  </a:lnTo>
                  <a:lnTo>
                    <a:pt x="98" y="4"/>
                  </a:lnTo>
                  <a:lnTo>
                    <a:pt x="115" y="4"/>
                  </a:lnTo>
                  <a:lnTo>
                    <a:pt x="131" y="4"/>
                  </a:lnTo>
                  <a:lnTo>
                    <a:pt x="148" y="4"/>
                  </a:lnTo>
                  <a:lnTo>
                    <a:pt x="164" y="4"/>
                  </a:lnTo>
                  <a:lnTo>
                    <a:pt x="180" y="4"/>
                  </a:lnTo>
                  <a:lnTo>
                    <a:pt x="197" y="4"/>
                  </a:lnTo>
                  <a:lnTo>
                    <a:pt x="211" y="6"/>
                  </a:lnTo>
                  <a:lnTo>
                    <a:pt x="213" y="6"/>
                  </a:lnTo>
                  <a:lnTo>
                    <a:pt x="229" y="6"/>
                  </a:lnTo>
                  <a:lnTo>
                    <a:pt x="246" y="6"/>
                  </a:lnTo>
                  <a:lnTo>
                    <a:pt x="262" y="6"/>
                  </a:lnTo>
                  <a:lnTo>
                    <a:pt x="281" y="6"/>
                  </a:lnTo>
                  <a:lnTo>
                    <a:pt x="297" y="6"/>
                  </a:lnTo>
                  <a:lnTo>
                    <a:pt x="313" y="6"/>
                  </a:lnTo>
                  <a:lnTo>
                    <a:pt x="330" y="6"/>
                  </a:lnTo>
                  <a:lnTo>
                    <a:pt x="346" y="6"/>
                  </a:lnTo>
                  <a:lnTo>
                    <a:pt x="363" y="6"/>
                  </a:lnTo>
                  <a:lnTo>
                    <a:pt x="379" y="6"/>
                  </a:lnTo>
                  <a:lnTo>
                    <a:pt x="395" y="6"/>
                  </a:lnTo>
                  <a:lnTo>
                    <a:pt x="412" y="6"/>
                  </a:lnTo>
                  <a:lnTo>
                    <a:pt x="428" y="4"/>
                  </a:lnTo>
                  <a:lnTo>
                    <a:pt x="445" y="4"/>
                  </a:lnTo>
                  <a:lnTo>
                    <a:pt x="461" y="4"/>
                  </a:lnTo>
                  <a:lnTo>
                    <a:pt x="479" y="4"/>
                  </a:lnTo>
                  <a:lnTo>
                    <a:pt x="496" y="4"/>
                  </a:lnTo>
                  <a:lnTo>
                    <a:pt x="512" y="4"/>
                  </a:lnTo>
                  <a:lnTo>
                    <a:pt x="522" y="4"/>
                  </a:lnTo>
                  <a:lnTo>
                    <a:pt x="522" y="4"/>
                  </a:lnTo>
                  <a:lnTo>
                    <a:pt x="522" y="6"/>
                  </a:lnTo>
                  <a:lnTo>
                    <a:pt x="522" y="8"/>
                  </a:lnTo>
                  <a:lnTo>
                    <a:pt x="524" y="8"/>
                  </a:lnTo>
                  <a:lnTo>
                    <a:pt x="524" y="11"/>
                  </a:lnTo>
                  <a:lnTo>
                    <a:pt x="524" y="13"/>
                  </a:lnTo>
                  <a:lnTo>
                    <a:pt x="524" y="13"/>
                  </a:lnTo>
                  <a:lnTo>
                    <a:pt x="526" y="15"/>
                  </a:lnTo>
                  <a:lnTo>
                    <a:pt x="526" y="15"/>
                  </a:lnTo>
                  <a:lnTo>
                    <a:pt x="526" y="19"/>
                  </a:lnTo>
                  <a:lnTo>
                    <a:pt x="528" y="25"/>
                  </a:lnTo>
                  <a:lnTo>
                    <a:pt x="531" y="29"/>
                  </a:lnTo>
                  <a:lnTo>
                    <a:pt x="531" y="29"/>
                  </a:lnTo>
                  <a:lnTo>
                    <a:pt x="533" y="33"/>
                  </a:lnTo>
                  <a:lnTo>
                    <a:pt x="533" y="39"/>
                  </a:lnTo>
                  <a:lnTo>
                    <a:pt x="533" y="41"/>
                  </a:lnTo>
                  <a:lnTo>
                    <a:pt x="531" y="45"/>
                  </a:lnTo>
                  <a:lnTo>
                    <a:pt x="528" y="49"/>
                  </a:lnTo>
                  <a:lnTo>
                    <a:pt x="531" y="56"/>
                  </a:lnTo>
                  <a:lnTo>
                    <a:pt x="531" y="60"/>
                  </a:lnTo>
                  <a:lnTo>
                    <a:pt x="533" y="62"/>
                  </a:lnTo>
                  <a:lnTo>
                    <a:pt x="533" y="62"/>
                  </a:lnTo>
                  <a:lnTo>
                    <a:pt x="533" y="64"/>
                  </a:lnTo>
                  <a:lnTo>
                    <a:pt x="531" y="66"/>
                  </a:lnTo>
                  <a:lnTo>
                    <a:pt x="531" y="66"/>
                  </a:lnTo>
                  <a:lnTo>
                    <a:pt x="533" y="74"/>
                  </a:lnTo>
                  <a:lnTo>
                    <a:pt x="533" y="74"/>
                  </a:lnTo>
                  <a:lnTo>
                    <a:pt x="533" y="76"/>
                  </a:lnTo>
                  <a:lnTo>
                    <a:pt x="533" y="82"/>
                  </a:lnTo>
                  <a:lnTo>
                    <a:pt x="533" y="88"/>
                  </a:lnTo>
                  <a:lnTo>
                    <a:pt x="533" y="90"/>
                  </a:lnTo>
                  <a:lnTo>
                    <a:pt x="535" y="95"/>
                  </a:lnTo>
                  <a:lnTo>
                    <a:pt x="539" y="103"/>
                  </a:lnTo>
                  <a:lnTo>
                    <a:pt x="539" y="107"/>
                  </a:lnTo>
                  <a:lnTo>
                    <a:pt x="541" y="109"/>
                  </a:lnTo>
                  <a:lnTo>
                    <a:pt x="543" y="113"/>
                  </a:lnTo>
                  <a:lnTo>
                    <a:pt x="541" y="115"/>
                  </a:lnTo>
                  <a:lnTo>
                    <a:pt x="543" y="117"/>
                  </a:lnTo>
                  <a:lnTo>
                    <a:pt x="545" y="123"/>
                  </a:lnTo>
                  <a:lnTo>
                    <a:pt x="545" y="123"/>
                  </a:lnTo>
                  <a:lnTo>
                    <a:pt x="543" y="123"/>
                  </a:lnTo>
                  <a:lnTo>
                    <a:pt x="543" y="123"/>
                  </a:lnTo>
                  <a:lnTo>
                    <a:pt x="545" y="125"/>
                  </a:lnTo>
                  <a:lnTo>
                    <a:pt x="545" y="125"/>
                  </a:lnTo>
                  <a:lnTo>
                    <a:pt x="545" y="125"/>
                  </a:lnTo>
                  <a:lnTo>
                    <a:pt x="545" y="125"/>
                  </a:lnTo>
                  <a:lnTo>
                    <a:pt x="545" y="125"/>
                  </a:lnTo>
                  <a:lnTo>
                    <a:pt x="547" y="127"/>
                  </a:lnTo>
                  <a:lnTo>
                    <a:pt x="547" y="129"/>
                  </a:lnTo>
                  <a:lnTo>
                    <a:pt x="549" y="131"/>
                  </a:lnTo>
                  <a:lnTo>
                    <a:pt x="549" y="133"/>
                  </a:lnTo>
                  <a:lnTo>
                    <a:pt x="551" y="136"/>
                  </a:lnTo>
                  <a:lnTo>
                    <a:pt x="551" y="138"/>
                  </a:lnTo>
                  <a:lnTo>
                    <a:pt x="553" y="142"/>
                  </a:lnTo>
                  <a:lnTo>
                    <a:pt x="553" y="144"/>
                  </a:lnTo>
                  <a:lnTo>
                    <a:pt x="555" y="146"/>
                  </a:lnTo>
                  <a:lnTo>
                    <a:pt x="555" y="146"/>
                  </a:lnTo>
                  <a:lnTo>
                    <a:pt x="555" y="146"/>
                  </a:lnTo>
                  <a:lnTo>
                    <a:pt x="555" y="146"/>
                  </a:lnTo>
                  <a:lnTo>
                    <a:pt x="555" y="148"/>
                  </a:lnTo>
                  <a:lnTo>
                    <a:pt x="555" y="148"/>
                  </a:lnTo>
                  <a:lnTo>
                    <a:pt x="555" y="150"/>
                  </a:lnTo>
                  <a:lnTo>
                    <a:pt x="555" y="152"/>
                  </a:lnTo>
                  <a:lnTo>
                    <a:pt x="555" y="154"/>
                  </a:lnTo>
                  <a:lnTo>
                    <a:pt x="555" y="156"/>
                  </a:lnTo>
                  <a:lnTo>
                    <a:pt x="555" y="156"/>
                  </a:lnTo>
                  <a:lnTo>
                    <a:pt x="555" y="162"/>
                  </a:lnTo>
                  <a:lnTo>
                    <a:pt x="555" y="164"/>
                  </a:lnTo>
                  <a:lnTo>
                    <a:pt x="555" y="164"/>
                  </a:lnTo>
                  <a:lnTo>
                    <a:pt x="555" y="166"/>
                  </a:lnTo>
                  <a:lnTo>
                    <a:pt x="555" y="166"/>
                  </a:lnTo>
                  <a:lnTo>
                    <a:pt x="557" y="168"/>
                  </a:lnTo>
                  <a:lnTo>
                    <a:pt x="557" y="181"/>
                  </a:lnTo>
                  <a:lnTo>
                    <a:pt x="557" y="183"/>
                  </a:lnTo>
                  <a:lnTo>
                    <a:pt x="557" y="189"/>
                  </a:lnTo>
                  <a:lnTo>
                    <a:pt x="557" y="191"/>
                  </a:lnTo>
                  <a:lnTo>
                    <a:pt x="557" y="191"/>
                  </a:lnTo>
                  <a:lnTo>
                    <a:pt x="557" y="191"/>
                  </a:lnTo>
                  <a:lnTo>
                    <a:pt x="557" y="193"/>
                  </a:lnTo>
                  <a:lnTo>
                    <a:pt x="557" y="195"/>
                  </a:lnTo>
                  <a:lnTo>
                    <a:pt x="559" y="199"/>
                  </a:lnTo>
                  <a:lnTo>
                    <a:pt x="559" y="201"/>
                  </a:lnTo>
                  <a:lnTo>
                    <a:pt x="559" y="207"/>
                  </a:lnTo>
                  <a:lnTo>
                    <a:pt x="559" y="209"/>
                  </a:lnTo>
                  <a:lnTo>
                    <a:pt x="559" y="209"/>
                  </a:lnTo>
                  <a:lnTo>
                    <a:pt x="561" y="211"/>
                  </a:lnTo>
                  <a:lnTo>
                    <a:pt x="561" y="211"/>
                  </a:lnTo>
                  <a:lnTo>
                    <a:pt x="561" y="213"/>
                  </a:lnTo>
                  <a:lnTo>
                    <a:pt x="561" y="213"/>
                  </a:lnTo>
                  <a:lnTo>
                    <a:pt x="561" y="213"/>
                  </a:lnTo>
                  <a:lnTo>
                    <a:pt x="561" y="213"/>
                  </a:lnTo>
                  <a:lnTo>
                    <a:pt x="563" y="213"/>
                  </a:lnTo>
                  <a:lnTo>
                    <a:pt x="563" y="213"/>
                  </a:lnTo>
                  <a:lnTo>
                    <a:pt x="563" y="215"/>
                  </a:lnTo>
                  <a:lnTo>
                    <a:pt x="563" y="215"/>
                  </a:lnTo>
                  <a:lnTo>
                    <a:pt x="563" y="215"/>
                  </a:lnTo>
                  <a:lnTo>
                    <a:pt x="563" y="215"/>
                  </a:lnTo>
                  <a:lnTo>
                    <a:pt x="563" y="217"/>
                  </a:lnTo>
                  <a:lnTo>
                    <a:pt x="563" y="220"/>
                  </a:lnTo>
                  <a:lnTo>
                    <a:pt x="561" y="220"/>
                  </a:lnTo>
                  <a:lnTo>
                    <a:pt x="563" y="224"/>
                  </a:lnTo>
                  <a:lnTo>
                    <a:pt x="561" y="226"/>
                  </a:lnTo>
                  <a:lnTo>
                    <a:pt x="561" y="226"/>
                  </a:lnTo>
                  <a:lnTo>
                    <a:pt x="561" y="228"/>
                  </a:lnTo>
                  <a:lnTo>
                    <a:pt x="561" y="228"/>
                  </a:lnTo>
                  <a:lnTo>
                    <a:pt x="561" y="230"/>
                  </a:lnTo>
                  <a:lnTo>
                    <a:pt x="563" y="234"/>
                  </a:lnTo>
                  <a:lnTo>
                    <a:pt x="563" y="236"/>
                  </a:lnTo>
                  <a:lnTo>
                    <a:pt x="563" y="238"/>
                  </a:lnTo>
                  <a:lnTo>
                    <a:pt x="561" y="242"/>
                  </a:lnTo>
                  <a:lnTo>
                    <a:pt x="561" y="244"/>
                  </a:lnTo>
                  <a:lnTo>
                    <a:pt x="563" y="246"/>
                  </a:lnTo>
                  <a:lnTo>
                    <a:pt x="565" y="248"/>
                  </a:lnTo>
                  <a:lnTo>
                    <a:pt x="565" y="250"/>
                  </a:lnTo>
                  <a:lnTo>
                    <a:pt x="567" y="254"/>
                  </a:lnTo>
                  <a:lnTo>
                    <a:pt x="567" y="256"/>
                  </a:lnTo>
                  <a:lnTo>
                    <a:pt x="567" y="258"/>
                  </a:lnTo>
                  <a:lnTo>
                    <a:pt x="567" y="261"/>
                  </a:lnTo>
                  <a:lnTo>
                    <a:pt x="567" y="261"/>
                  </a:lnTo>
                  <a:lnTo>
                    <a:pt x="569" y="263"/>
                  </a:lnTo>
                  <a:lnTo>
                    <a:pt x="569" y="263"/>
                  </a:lnTo>
                  <a:lnTo>
                    <a:pt x="569" y="263"/>
                  </a:lnTo>
                  <a:lnTo>
                    <a:pt x="569" y="265"/>
                  </a:lnTo>
                  <a:lnTo>
                    <a:pt x="569" y="267"/>
                  </a:lnTo>
                  <a:lnTo>
                    <a:pt x="574" y="273"/>
                  </a:lnTo>
                  <a:lnTo>
                    <a:pt x="578" y="275"/>
                  </a:lnTo>
                  <a:lnTo>
                    <a:pt x="578" y="277"/>
                  </a:lnTo>
                  <a:lnTo>
                    <a:pt x="580" y="279"/>
                  </a:lnTo>
                  <a:lnTo>
                    <a:pt x="580" y="285"/>
                  </a:lnTo>
                  <a:lnTo>
                    <a:pt x="580" y="287"/>
                  </a:lnTo>
                  <a:lnTo>
                    <a:pt x="580" y="289"/>
                  </a:lnTo>
                  <a:lnTo>
                    <a:pt x="580" y="289"/>
                  </a:lnTo>
                  <a:lnTo>
                    <a:pt x="582" y="293"/>
                  </a:lnTo>
                  <a:lnTo>
                    <a:pt x="582" y="293"/>
                  </a:lnTo>
                  <a:lnTo>
                    <a:pt x="582" y="293"/>
                  </a:lnTo>
                  <a:lnTo>
                    <a:pt x="582" y="295"/>
                  </a:lnTo>
                  <a:lnTo>
                    <a:pt x="582" y="295"/>
                  </a:lnTo>
                  <a:lnTo>
                    <a:pt x="582" y="299"/>
                  </a:lnTo>
                  <a:lnTo>
                    <a:pt x="582" y="302"/>
                  </a:lnTo>
                  <a:lnTo>
                    <a:pt x="582" y="304"/>
                  </a:lnTo>
                  <a:lnTo>
                    <a:pt x="582" y="306"/>
                  </a:lnTo>
                  <a:lnTo>
                    <a:pt x="582" y="310"/>
                  </a:lnTo>
                  <a:lnTo>
                    <a:pt x="584" y="316"/>
                  </a:lnTo>
                  <a:lnTo>
                    <a:pt x="584" y="316"/>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D</a:t>
              </a:r>
            </a:p>
          </p:txBody>
        </p:sp>
        <p:sp>
          <p:nvSpPr>
            <p:cNvPr id="106" name="Freeform 28">
              <a:extLst>
                <a:ext uri="{FF2B5EF4-FFF2-40B4-BE49-F238E27FC236}">
                  <a16:creationId xmlns:a16="http://schemas.microsoft.com/office/drawing/2014/main" id="{CA65595C-5A62-32D7-5F3A-F8D0295BB941}"/>
                </a:ext>
              </a:extLst>
            </p:cNvPr>
            <p:cNvSpPr>
              <a:spLocks noEditPoints="1"/>
            </p:cNvSpPr>
            <p:nvPr/>
          </p:nvSpPr>
          <p:spPr bwMode="auto">
            <a:xfrm>
              <a:off x="4115" y="1262"/>
              <a:ext cx="764" cy="332"/>
            </a:xfrm>
            <a:custGeom>
              <a:avLst/>
              <a:gdLst>
                <a:gd name="T0" fmla="*/ 588 w 764"/>
                <a:gd name="T1" fmla="*/ 287 h 332"/>
                <a:gd name="T2" fmla="*/ 678 w 764"/>
                <a:gd name="T3" fmla="*/ 214 h 332"/>
                <a:gd name="T4" fmla="*/ 690 w 764"/>
                <a:gd name="T5" fmla="*/ 216 h 332"/>
                <a:gd name="T6" fmla="*/ 721 w 764"/>
                <a:gd name="T7" fmla="*/ 162 h 332"/>
                <a:gd name="T8" fmla="*/ 760 w 764"/>
                <a:gd name="T9" fmla="*/ 91 h 332"/>
                <a:gd name="T10" fmla="*/ 762 w 764"/>
                <a:gd name="T11" fmla="*/ 123 h 332"/>
                <a:gd name="T12" fmla="*/ 750 w 764"/>
                <a:gd name="T13" fmla="*/ 140 h 332"/>
                <a:gd name="T14" fmla="*/ 731 w 764"/>
                <a:gd name="T15" fmla="*/ 66 h 332"/>
                <a:gd name="T16" fmla="*/ 711 w 764"/>
                <a:gd name="T17" fmla="*/ 19 h 332"/>
                <a:gd name="T18" fmla="*/ 723 w 764"/>
                <a:gd name="T19" fmla="*/ 46 h 332"/>
                <a:gd name="T20" fmla="*/ 745 w 764"/>
                <a:gd name="T21" fmla="*/ 72 h 332"/>
                <a:gd name="T22" fmla="*/ 729 w 764"/>
                <a:gd name="T23" fmla="*/ 101 h 332"/>
                <a:gd name="T24" fmla="*/ 735 w 764"/>
                <a:gd name="T25" fmla="*/ 87 h 332"/>
                <a:gd name="T26" fmla="*/ 717 w 764"/>
                <a:gd name="T27" fmla="*/ 66 h 332"/>
                <a:gd name="T28" fmla="*/ 709 w 764"/>
                <a:gd name="T29" fmla="*/ 97 h 332"/>
                <a:gd name="T30" fmla="*/ 698 w 764"/>
                <a:gd name="T31" fmla="*/ 84 h 332"/>
                <a:gd name="T32" fmla="*/ 682 w 764"/>
                <a:gd name="T33" fmla="*/ 74 h 332"/>
                <a:gd name="T34" fmla="*/ 643 w 764"/>
                <a:gd name="T35" fmla="*/ 72 h 332"/>
                <a:gd name="T36" fmla="*/ 637 w 764"/>
                <a:gd name="T37" fmla="*/ 50 h 332"/>
                <a:gd name="T38" fmla="*/ 674 w 764"/>
                <a:gd name="T39" fmla="*/ 56 h 332"/>
                <a:gd name="T40" fmla="*/ 676 w 764"/>
                <a:gd name="T41" fmla="*/ 48 h 332"/>
                <a:gd name="T42" fmla="*/ 688 w 764"/>
                <a:gd name="T43" fmla="*/ 41 h 332"/>
                <a:gd name="T44" fmla="*/ 702 w 764"/>
                <a:gd name="T45" fmla="*/ 41 h 332"/>
                <a:gd name="T46" fmla="*/ 711 w 764"/>
                <a:gd name="T47" fmla="*/ 39 h 332"/>
                <a:gd name="T48" fmla="*/ 700 w 764"/>
                <a:gd name="T49" fmla="*/ 17 h 332"/>
                <a:gd name="T50" fmla="*/ 614 w 764"/>
                <a:gd name="T51" fmla="*/ 19 h 332"/>
                <a:gd name="T52" fmla="*/ 254 w 764"/>
                <a:gd name="T53" fmla="*/ 84 h 332"/>
                <a:gd name="T54" fmla="*/ 203 w 764"/>
                <a:gd name="T55" fmla="*/ 121 h 332"/>
                <a:gd name="T56" fmla="*/ 172 w 764"/>
                <a:gd name="T57" fmla="*/ 148 h 332"/>
                <a:gd name="T58" fmla="*/ 147 w 764"/>
                <a:gd name="T59" fmla="*/ 162 h 332"/>
                <a:gd name="T60" fmla="*/ 135 w 764"/>
                <a:gd name="T61" fmla="*/ 166 h 332"/>
                <a:gd name="T62" fmla="*/ 115 w 764"/>
                <a:gd name="T63" fmla="*/ 179 h 332"/>
                <a:gd name="T64" fmla="*/ 104 w 764"/>
                <a:gd name="T65" fmla="*/ 197 h 332"/>
                <a:gd name="T66" fmla="*/ 76 w 764"/>
                <a:gd name="T67" fmla="*/ 218 h 332"/>
                <a:gd name="T68" fmla="*/ 49 w 764"/>
                <a:gd name="T69" fmla="*/ 230 h 332"/>
                <a:gd name="T70" fmla="*/ 22 w 764"/>
                <a:gd name="T71" fmla="*/ 250 h 332"/>
                <a:gd name="T72" fmla="*/ 8 w 764"/>
                <a:gd name="T73" fmla="*/ 269 h 332"/>
                <a:gd name="T74" fmla="*/ 55 w 764"/>
                <a:gd name="T75" fmla="*/ 291 h 332"/>
                <a:gd name="T76" fmla="*/ 143 w 764"/>
                <a:gd name="T77" fmla="*/ 263 h 332"/>
                <a:gd name="T78" fmla="*/ 168 w 764"/>
                <a:gd name="T79" fmla="*/ 250 h 332"/>
                <a:gd name="T80" fmla="*/ 285 w 764"/>
                <a:gd name="T81" fmla="*/ 238 h 332"/>
                <a:gd name="T82" fmla="*/ 297 w 764"/>
                <a:gd name="T83" fmla="*/ 240 h 332"/>
                <a:gd name="T84" fmla="*/ 397 w 764"/>
                <a:gd name="T85" fmla="*/ 255 h 332"/>
                <a:gd name="T86" fmla="*/ 528 w 764"/>
                <a:gd name="T87" fmla="*/ 332 h 332"/>
                <a:gd name="T88" fmla="*/ 577 w 764"/>
                <a:gd name="T89" fmla="*/ 304 h 332"/>
                <a:gd name="T90" fmla="*/ 596 w 764"/>
                <a:gd name="T91" fmla="*/ 263 h 332"/>
                <a:gd name="T92" fmla="*/ 614 w 764"/>
                <a:gd name="T93" fmla="*/ 228 h 332"/>
                <a:gd name="T94" fmla="*/ 618 w 764"/>
                <a:gd name="T95" fmla="*/ 236 h 332"/>
                <a:gd name="T96" fmla="*/ 637 w 764"/>
                <a:gd name="T97" fmla="*/ 216 h 332"/>
                <a:gd name="T98" fmla="*/ 680 w 764"/>
                <a:gd name="T99" fmla="*/ 209 h 332"/>
                <a:gd name="T100" fmla="*/ 694 w 764"/>
                <a:gd name="T101" fmla="*/ 191 h 332"/>
                <a:gd name="T102" fmla="*/ 698 w 764"/>
                <a:gd name="T103" fmla="*/ 171 h 332"/>
                <a:gd name="T104" fmla="*/ 688 w 764"/>
                <a:gd name="T105" fmla="*/ 171 h 332"/>
                <a:gd name="T106" fmla="*/ 676 w 764"/>
                <a:gd name="T107" fmla="*/ 183 h 332"/>
                <a:gd name="T108" fmla="*/ 635 w 764"/>
                <a:gd name="T109" fmla="*/ 177 h 332"/>
                <a:gd name="T110" fmla="*/ 674 w 764"/>
                <a:gd name="T111" fmla="*/ 160 h 332"/>
                <a:gd name="T112" fmla="*/ 680 w 764"/>
                <a:gd name="T113" fmla="*/ 152 h 332"/>
                <a:gd name="T114" fmla="*/ 629 w 764"/>
                <a:gd name="T115" fmla="*/ 132 h 332"/>
                <a:gd name="T116" fmla="*/ 666 w 764"/>
                <a:gd name="T117" fmla="*/ 134 h 332"/>
                <a:gd name="T118" fmla="*/ 668 w 764"/>
                <a:gd name="T119" fmla="*/ 128 h 332"/>
                <a:gd name="T120" fmla="*/ 682 w 764"/>
                <a:gd name="T121" fmla="*/ 125 h 332"/>
                <a:gd name="T122" fmla="*/ 696 w 764"/>
                <a:gd name="T123" fmla="*/ 136 h 332"/>
                <a:gd name="T124" fmla="*/ 717 w 764"/>
                <a:gd name="T125"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332">
                  <a:moveTo>
                    <a:pt x="580" y="320"/>
                  </a:moveTo>
                  <a:lnTo>
                    <a:pt x="580" y="320"/>
                  </a:lnTo>
                  <a:lnTo>
                    <a:pt x="577" y="320"/>
                  </a:lnTo>
                  <a:lnTo>
                    <a:pt x="575" y="320"/>
                  </a:lnTo>
                  <a:lnTo>
                    <a:pt x="575" y="322"/>
                  </a:lnTo>
                  <a:lnTo>
                    <a:pt x="577" y="324"/>
                  </a:lnTo>
                  <a:lnTo>
                    <a:pt x="577" y="324"/>
                  </a:lnTo>
                  <a:lnTo>
                    <a:pt x="580" y="324"/>
                  </a:lnTo>
                  <a:lnTo>
                    <a:pt x="582" y="324"/>
                  </a:lnTo>
                  <a:lnTo>
                    <a:pt x="582" y="324"/>
                  </a:lnTo>
                  <a:lnTo>
                    <a:pt x="582" y="318"/>
                  </a:lnTo>
                  <a:lnTo>
                    <a:pt x="580" y="320"/>
                  </a:lnTo>
                  <a:lnTo>
                    <a:pt x="580" y="320"/>
                  </a:lnTo>
                  <a:close/>
                  <a:moveTo>
                    <a:pt x="586" y="289"/>
                  </a:moveTo>
                  <a:lnTo>
                    <a:pt x="584" y="291"/>
                  </a:lnTo>
                  <a:lnTo>
                    <a:pt x="584" y="296"/>
                  </a:lnTo>
                  <a:lnTo>
                    <a:pt x="584" y="298"/>
                  </a:lnTo>
                  <a:lnTo>
                    <a:pt x="586" y="296"/>
                  </a:lnTo>
                  <a:lnTo>
                    <a:pt x="586" y="293"/>
                  </a:lnTo>
                  <a:lnTo>
                    <a:pt x="586" y="287"/>
                  </a:lnTo>
                  <a:lnTo>
                    <a:pt x="588" y="287"/>
                  </a:lnTo>
                  <a:lnTo>
                    <a:pt x="588" y="287"/>
                  </a:lnTo>
                  <a:lnTo>
                    <a:pt x="588" y="287"/>
                  </a:lnTo>
                  <a:lnTo>
                    <a:pt x="588" y="287"/>
                  </a:lnTo>
                  <a:lnTo>
                    <a:pt x="586" y="289"/>
                  </a:lnTo>
                  <a:close/>
                  <a:moveTo>
                    <a:pt x="618" y="242"/>
                  </a:moveTo>
                  <a:lnTo>
                    <a:pt x="616" y="246"/>
                  </a:lnTo>
                  <a:lnTo>
                    <a:pt x="614" y="246"/>
                  </a:lnTo>
                  <a:lnTo>
                    <a:pt x="612" y="246"/>
                  </a:lnTo>
                  <a:lnTo>
                    <a:pt x="602" y="257"/>
                  </a:lnTo>
                  <a:lnTo>
                    <a:pt x="600" y="261"/>
                  </a:lnTo>
                  <a:lnTo>
                    <a:pt x="600" y="265"/>
                  </a:lnTo>
                  <a:lnTo>
                    <a:pt x="600" y="263"/>
                  </a:lnTo>
                  <a:lnTo>
                    <a:pt x="608" y="253"/>
                  </a:lnTo>
                  <a:lnTo>
                    <a:pt x="608" y="253"/>
                  </a:lnTo>
                  <a:lnTo>
                    <a:pt x="612" y="250"/>
                  </a:lnTo>
                  <a:lnTo>
                    <a:pt x="618" y="244"/>
                  </a:lnTo>
                  <a:lnTo>
                    <a:pt x="620" y="242"/>
                  </a:lnTo>
                  <a:lnTo>
                    <a:pt x="620" y="242"/>
                  </a:lnTo>
                  <a:lnTo>
                    <a:pt x="620" y="242"/>
                  </a:lnTo>
                  <a:lnTo>
                    <a:pt x="620" y="242"/>
                  </a:lnTo>
                  <a:lnTo>
                    <a:pt x="620" y="242"/>
                  </a:lnTo>
                  <a:lnTo>
                    <a:pt x="618" y="242"/>
                  </a:lnTo>
                  <a:close/>
                  <a:moveTo>
                    <a:pt x="686" y="214"/>
                  </a:moveTo>
                  <a:lnTo>
                    <a:pt x="686" y="212"/>
                  </a:lnTo>
                  <a:lnTo>
                    <a:pt x="680" y="212"/>
                  </a:lnTo>
                  <a:lnTo>
                    <a:pt x="678" y="212"/>
                  </a:lnTo>
                  <a:lnTo>
                    <a:pt x="678" y="214"/>
                  </a:lnTo>
                  <a:lnTo>
                    <a:pt x="678" y="214"/>
                  </a:lnTo>
                  <a:lnTo>
                    <a:pt x="684" y="214"/>
                  </a:lnTo>
                  <a:lnTo>
                    <a:pt x="688" y="216"/>
                  </a:lnTo>
                  <a:lnTo>
                    <a:pt x="688" y="216"/>
                  </a:lnTo>
                  <a:lnTo>
                    <a:pt x="688" y="216"/>
                  </a:lnTo>
                  <a:lnTo>
                    <a:pt x="688" y="214"/>
                  </a:lnTo>
                  <a:lnTo>
                    <a:pt x="686" y="214"/>
                  </a:lnTo>
                  <a:close/>
                  <a:moveTo>
                    <a:pt x="670" y="212"/>
                  </a:moveTo>
                  <a:lnTo>
                    <a:pt x="655" y="216"/>
                  </a:lnTo>
                  <a:lnTo>
                    <a:pt x="643" y="222"/>
                  </a:lnTo>
                  <a:lnTo>
                    <a:pt x="641" y="222"/>
                  </a:lnTo>
                  <a:lnTo>
                    <a:pt x="639" y="224"/>
                  </a:lnTo>
                  <a:lnTo>
                    <a:pt x="661" y="214"/>
                  </a:lnTo>
                  <a:lnTo>
                    <a:pt x="663" y="214"/>
                  </a:lnTo>
                  <a:lnTo>
                    <a:pt x="676" y="212"/>
                  </a:lnTo>
                  <a:lnTo>
                    <a:pt x="674" y="212"/>
                  </a:lnTo>
                  <a:lnTo>
                    <a:pt x="670" y="212"/>
                  </a:lnTo>
                  <a:close/>
                  <a:moveTo>
                    <a:pt x="709" y="179"/>
                  </a:moveTo>
                  <a:lnTo>
                    <a:pt x="707" y="181"/>
                  </a:lnTo>
                  <a:lnTo>
                    <a:pt x="707" y="181"/>
                  </a:lnTo>
                  <a:lnTo>
                    <a:pt x="707" y="181"/>
                  </a:lnTo>
                  <a:lnTo>
                    <a:pt x="702" y="185"/>
                  </a:lnTo>
                  <a:lnTo>
                    <a:pt x="696" y="197"/>
                  </a:lnTo>
                  <a:lnTo>
                    <a:pt x="690" y="216"/>
                  </a:lnTo>
                  <a:lnTo>
                    <a:pt x="690" y="218"/>
                  </a:lnTo>
                  <a:lnTo>
                    <a:pt x="690" y="220"/>
                  </a:lnTo>
                  <a:lnTo>
                    <a:pt x="690" y="218"/>
                  </a:lnTo>
                  <a:lnTo>
                    <a:pt x="698" y="197"/>
                  </a:lnTo>
                  <a:lnTo>
                    <a:pt x="700" y="191"/>
                  </a:lnTo>
                  <a:lnTo>
                    <a:pt x="702" y="189"/>
                  </a:lnTo>
                  <a:lnTo>
                    <a:pt x="704" y="187"/>
                  </a:lnTo>
                  <a:lnTo>
                    <a:pt x="709" y="183"/>
                  </a:lnTo>
                  <a:lnTo>
                    <a:pt x="711" y="181"/>
                  </a:lnTo>
                  <a:lnTo>
                    <a:pt x="711" y="177"/>
                  </a:lnTo>
                  <a:lnTo>
                    <a:pt x="711" y="177"/>
                  </a:lnTo>
                  <a:lnTo>
                    <a:pt x="709" y="179"/>
                  </a:lnTo>
                  <a:close/>
                  <a:moveTo>
                    <a:pt x="719" y="160"/>
                  </a:moveTo>
                  <a:lnTo>
                    <a:pt x="719" y="160"/>
                  </a:lnTo>
                  <a:lnTo>
                    <a:pt x="719" y="162"/>
                  </a:lnTo>
                  <a:lnTo>
                    <a:pt x="719" y="162"/>
                  </a:lnTo>
                  <a:lnTo>
                    <a:pt x="717" y="164"/>
                  </a:lnTo>
                  <a:lnTo>
                    <a:pt x="717" y="164"/>
                  </a:lnTo>
                  <a:lnTo>
                    <a:pt x="717" y="166"/>
                  </a:lnTo>
                  <a:lnTo>
                    <a:pt x="715" y="168"/>
                  </a:lnTo>
                  <a:lnTo>
                    <a:pt x="715" y="171"/>
                  </a:lnTo>
                  <a:lnTo>
                    <a:pt x="715" y="171"/>
                  </a:lnTo>
                  <a:lnTo>
                    <a:pt x="717" y="168"/>
                  </a:lnTo>
                  <a:lnTo>
                    <a:pt x="721" y="162"/>
                  </a:lnTo>
                  <a:lnTo>
                    <a:pt x="721" y="162"/>
                  </a:lnTo>
                  <a:lnTo>
                    <a:pt x="723" y="162"/>
                  </a:lnTo>
                  <a:lnTo>
                    <a:pt x="723" y="162"/>
                  </a:lnTo>
                  <a:lnTo>
                    <a:pt x="723" y="160"/>
                  </a:lnTo>
                  <a:lnTo>
                    <a:pt x="721" y="160"/>
                  </a:lnTo>
                  <a:lnTo>
                    <a:pt x="719" y="160"/>
                  </a:lnTo>
                  <a:close/>
                  <a:moveTo>
                    <a:pt x="733" y="148"/>
                  </a:moveTo>
                  <a:lnTo>
                    <a:pt x="729" y="152"/>
                  </a:lnTo>
                  <a:lnTo>
                    <a:pt x="727" y="154"/>
                  </a:lnTo>
                  <a:lnTo>
                    <a:pt x="725" y="154"/>
                  </a:lnTo>
                  <a:lnTo>
                    <a:pt x="725" y="156"/>
                  </a:lnTo>
                  <a:lnTo>
                    <a:pt x="725" y="158"/>
                  </a:lnTo>
                  <a:lnTo>
                    <a:pt x="723" y="160"/>
                  </a:lnTo>
                  <a:lnTo>
                    <a:pt x="731" y="150"/>
                  </a:lnTo>
                  <a:lnTo>
                    <a:pt x="739" y="146"/>
                  </a:lnTo>
                  <a:lnTo>
                    <a:pt x="741" y="144"/>
                  </a:lnTo>
                  <a:lnTo>
                    <a:pt x="741" y="144"/>
                  </a:lnTo>
                  <a:lnTo>
                    <a:pt x="741" y="142"/>
                  </a:lnTo>
                  <a:lnTo>
                    <a:pt x="743" y="142"/>
                  </a:lnTo>
                  <a:lnTo>
                    <a:pt x="739" y="144"/>
                  </a:lnTo>
                  <a:lnTo>
                    <a:pt x="733" y="148"/>
                  </a:lnTo>
                  <a:close/>
                  <a:moveTo>
                    <a:pt x="762" y="103"/>
                  </a:moveTo>
                  <a:lnTo>
                    <a:pt x="762" y="95"/>
                  </a:lnTo>
                  <a:lnTo>
                    <a:pt x="760" y="91"/>
                  </a:lnTo>
                  <a:lnTo>
                    <a:pt x="758" y="87"/>
                  </a:lnTo>
                  <a:lnTo>
                    <a:pt x="756" y="84"/>
                  </a:lnTo>
                  <a:lnTo>
                    <a:pt x="756" y="82"/>
                  </a:lnTo>
                  <a:lnTo>
                    <a:pt x="754" y="78"/>
                  </a:lnTo>
                  <a:lnTo>
                    <a:pt x="752" y="76"/>
                  </a:lnTo>
                  <a:lnTo>
                    <a:pt x="750" y="76"/>
                  </a:lnTo>
                  <a:lnTo>
                    <a:pt x="750" y="76"/>
                  </a:lnTo>
                  <a:lnTo>
                    <a:pt x="752" y="78"/>
                  </a:lnTo>
                  <a:lnTo>
                    <a:pt x="754" y="80"/>
                  </a:lnTo>
                  <a:lnTo>
                    <a:pt x="754" y="82"/>
                  </a:lnTo>
                  <a:lnTo>
                    <a:pt x="758" y="91"/>
                  </a:lnTo>
                  <a:lnTo>
                    <a:pt x="760" y="95"/>
                  </a:lnTo>
                  <a:lnTo>
                    <a:pt x="760" y="97"/>
                  </a:lnTo>
                  <a:lnTo>
                    <a:pt x="760" y="99"/>
                  </a:lnTo>
                  <a:lnTo>
                    <a:pt x="760" y="101"/>
                  </a:lnTo>
                  <a:lnTo>
                    <a:pt x="760" y="103"/>
                  </a:lnTo>
                  <a:lnTo>
                    <a:pt x="760" y="103"/>
                  </a:lnTo>
                  <a:lnTo>
                    <a:pt x="760" y="105"/>
                  </a:lnTo>
                  <a:lnTo>
                    <a:pt x="760" y="107"/>
                  </a:lnTo>
                  <a:lnTo>
                    <a:pt x="762" y="109"/>
                  </a:lnTo>
                  <a:lnTo>
                    <a:pt x="762" y="113"/>
                  </a:lnTo>
                  <a:lnTo>
                    <a:pt x="762" y="117"/>
                  </a:lnTo>
                  <a:lnTo>
                    <a:pt x="762" y="123"/>
                  </a:lnTo>
                  <a:lnTo>
                    <a:pt x="762" y="123"/>
                  </a:lnTo>
                  <a:lnTo>
                    <a:pt x="762" y="128"/>
                  </a:lnTo>
                  <a:lnTo>
                    <a:pt x="760" y="130"/>
                  </a:lnTo>
                  <a:lnTo>
                    <a:pt x="756" y="134"/>
                  </a:lnTo>
                  <a:lnTo>
                    <a:pt x="750" y="138"/>
                  </a:lnTo>
                  <a:lnTo>
                    <a:pt x="750" y="138"/>
                  </a:lnTo>
                  <a:lnTo>
                    <a:pt x="750" y="138"/>
                  </a:lnTo>
                  <a:lnTo>
                    <a:pt x="750" y="136"/>
                  </a:lnTo>
                  <a:lnTo>
                    <a:pt x="750" y="136"/>
                  </a:lnTo>
                  <a:lnTo>
                    <a:pt x="750" y="136"/>
                  </a:lnTo>
                  <a:lnTo>
                    <a:pt x="747" y="138"/>
                  </a:lnTo>
                  <a:lnTo>
                    <a:pt x="750" y="138"/>
                  </a:lnTo>
                  <a:lnTo>
                    <a:pt x="747" y="138"/>
                  </a:lnTo>
                  <a:lnTo>
                    <a:pt x="747" y="138"/>
                  </a:lnTo>
                  <a:lnTo>
                    <a:pt x="747" y="140"/>
                  </a:lnTo>
                  <a:lnTo>
                    <a:pt x="747" y="140"/>
                  </a:lnTo>
                  <a:lnTo>
                    <a:pt x="747" y="140"/>
                  </a:lnTo>
                  <a:lnTo>
                    <a:pt x="745" y="140"/>
                  </a:lnTo>
                  <a:lnTo>
                    <a:pt x="745" y="142"/>
                  </a:lnTo>
                  <a:lnTo>
                    <a:pt x="745" y="142"/>
                  </a:lnTo>
                  <a:lnTo>
                    <a:pt x="747" y="142"/>
                  </a:lnTo>
                  <a:lnTo>
                    <a:pt x="747" y="142"/>
                  </a:lnTo>
                  <a:lnTo>
                    <a:pt x="747" y="140"/>
                  </a:lnTo>
                  <a:lnTo>
                    <a:pt x="750" y="140"/>
                  </a:lnTo>
                  <a:lnTo>
                    <a:pt x="750" y="140"/>
                  </a:lnTo>
                  <a:lnTo>
                    <a:pt x="754" y="138"/>
                  </a:lnTo>
                  <a:lnTo>
                    <a:pt x="756" y="136"/>
                  </a:lnTo>
                  <a:lnTo>
                    <a:pt x="758" y="134"/>
                  </a:lnTo>
                  <a:lnTo>
                    <a:pt x="760" y="134"/>
                  </a:lnTo>
                  <a:lnTo>
                    <a:pt x="762" y="134"/>
                  </a:lnTo>
                  <a:lnTo>
                    <a:pt x="762" y="132"/>
                  </a:lnTo>
                  <a:lnTo>
                    <a:pt x="764" y="130"/>
                  </a:lnTo>
                  <a:lnTo>
                    <a:pt x="764" y="121"/>
                  </a:lnTo>
                  <a:lnTo>
                    <a:pt x="762" y="103"/>
                  </a:lnTo>
                  <a:close/>
                  <a:moveTo>
                    <a:pt x="737" y="66"/>
                  </a:moveTo>
                  <a:lnTo>
                    <a:pt x="735" y="64"/>
                  </a:lnTo>
                  <a:lnTo>
                    <a:pt x="735" y="64"/>
                  </a:lnTo>
                  <a:lnTo>
                    <a:pt x="733" y="62"/>
                  </a:lnTo>
                  <a:lnTo>
                    <a:pt x="733" y="62"/>
                  </a:lnTo>
                  <a:lnTo>
                    <a:pt x="733" y="62"/>
                  </a:lnTo>
                  <a:lnTo>
                    <a:pt x="731" y="62"/>
                  </a:lnTo>
                  <a:lnTo>
                    <a:pt x="731" y="62"/>
                  </a:lnTo>
                  <a:lnTo>
                    <a:pt x="729" y="62"/>
                  </a:lnTo>
                  <a:lnTo>
                    <a:pt x="729" y="62"/>
                  </a:lnTo>
                  <a:lnTo>
                    <a:pt x="729" y="64"/>
                  </a:lnTo>
                  <a:lnTo>
                    <a:pt x="729" y="64"/>
                  </a:lnTo>
                  <a:lnTo>
                    <a:pt x="729" y="64"/>
                  </a:lnTo>
                  <a:lnTo>
                    <a:pt x="731" y="64"/>
                  </a:lnTo>
                  <a:lnTo>
                    <a:pt x="731" y="66"/>
                  </a:lnTo>
                  <a:lnTo>
                    <a:pt x="733" y="68"/>
                  </a:lnTo>
                  <a:lnTo>
                    <a:pt x="735" y="68"/>
                  </a:lnTo>
                  <a:lnTo>
                    <a:pt x="735" y="70"/>
                  </a:lnTo>
                  <a:lnTo>
                    <a:pt x="737" y="72"/>
                  </a:lnTo>
                  <a:lnTo>
                    <a:pt x="739" y="72"/>
                  </a:lnTo>
                  <a:lnTo>
                    <a:pt x="739" y="72"/>
                  </a:lnTo>
                  <a:lnTo>
                    <a:pt x="739" y="72"/>
                  </a:lnTo>
                  <a:lnTo>
                    <a:pt x="739" y="70"/>
                  </a:lnTo>
                  <a:lnTo>
                    <a:pt x="741" y="68"/>
                  </a:lnTo>
                  <a:lnTo>
                    <a:pt x="737" y="66"/>
                  </a:lnTo>
                  <a:close/>
                  <a:moveTo>
                    <a:pt x="745" y="72"/>
                  </a:moveTo>
                  <a:lnTo>
                    <a:pt x="745" y="74"/>
                  </a:lnTo>
                  <a:lnTo>
                    <a:pt x="747" y="74"/>
                  </a:lnTo>
                  <a:lnTo>
                    <a:pt x="750" y="74"/>
                  </a:lnTo>
                  <a:lnTo>
                    <a:pt x="750" y="74"/>
                  </a:lnTo>
                  <a:lnTo>
                    <a:pt x="745" y="68"/>
                  </a:lnTo>
                  <a:lnTo>
                    <a:pt x="743" y="64"/>
                  </a:lnTo>
                  <a:lnTo>
                    <a:pt x="725" y="43"/>
                  </a:lnTo>
                  <a:lnTo>
                    <a:pt x="719" y="33"/>
                  </a:lnTo>
                  <a:lnTo>
                    <a:pt x="715" y="27"/>
                  </a:lnTo>
                  <a:lnTo>
                    <a:pt x="715" y="27"/>
                  </a:lnTo>
                  <a:lnTo>
                    <a:pt x="715" y="23"/>
                  </a:lnTo>
                  <a:lnTo>
                    <a:pt x="713" y="21"/>
                  </a:lnTo>
                  <a:lnTo>
                    <a:pt x="711" y="19"/>
                  </a:lnTo>
                  <a:lnTo>
                    <a:pt x="704" y="0"/>
                  </a:lnTo>
                  <a:lnTo>
                    <a:pt x="704" y="0"/>
                  </a:lnTo>
                  <a:lnTo>
                    <a:pt x="702" y="2"/>
                  </a:lnTo>
                  <a:lnTo>
                    <a:pt x="702" y="2"/>
                  </a:lnTo>
                  <a:lnTo>
                    <a:pt x="702" y="2"/>
                  </a:lnTo>
                  <a:lnTo>
                    <a:pt x="702" y="2"/>
                  </a:lnTo>
                  <a:lnTo>
                    <a:pt x="704" y="7"/>
                  </a:lnTo>
                  <a:lnTo>
                    <a:pt x="704" y="9"/>
                  </a:lnTo>
                  <a:lnTo>
                    <a:pt x="707" y="11"/>
                  </a:lnTo>
                  <a:lnTo>
                    <a:pt x="707" y="13"/>
                  </a:lnTo>
                  <a:lnTo>
                    <a:pt x="709" y="15"/>
                  </a:lnTo>
                  <a:lnTo>
                    <a:pt x="711" y="17"/>
                  </a:lnTo>
                  <a:lnTo>
                    <a:pt x="713" y="23"/>
                  </a:lnTo>
                  <a:lnTo>
                    <a:pt x="713" y="27"/>
                  </a:lnTo>
                  <a:lnTo>
                    <a:pt x="713" y="27"/>
                  </a:lnTo>
                  <a:lnTo>
                    <a:pt x="713" y="27"/>
                  </a:lnTo>
                  <a:lnTo>
                    <a:pt x="713" y="27"/>
                  </a:lnTo>
                  <a:lnTo>
                    <a:pt x="713" y="27"/>
                  </a:lnTo>
                  <a:lnTo>
                    <a:pt x="715" y="29"/>
                  </a:lnTo>
                  <a:lnTo>
                    <a:pt x="719" y="33"/>
                  </a:lnTo>
                  <a:lnTo>
                    <a:pt x="719" y="35"/>
                  </a:lnTo>
                  <a:lnTo>
                    <a:pt x="721" y="39"/>
                  </a:lnTo>
                  <a:lnTo>
                    <a:pt x="723" y="41"/>
                  </a:lnTo>
                  <a:lnTo>
                    <a:pt x="723" y="46"/>
                  </a:lnTo>
                  <a:lnTo>
                    <a:pt x="723" y="46"/>
                  </a:lnTo>
                  <a:lnTo>
                    <a:pt x="725" y="48"/>
                  </a:lnTo>
                  <a:lnTo>
                    <a:pt x="725" y="50"/>
                  </a:lnTo>
                  <a:lnTo>
                    <a:pt x="727" y="50"/>
                  </a:lnTo>
                  <a:lnTo>
                    <a:pt x="727" y="52"/>
                  </a:lnTo>
                  <a:lnTo>
                    <a:pt x="729" y="50"/>
                  </a:lnTo>
                  <a:lnTo>
                    <a:pt x="729" y="50"/>
                  </a:lnTo>
                  <a:lnTo>
                    <a:pt x="731" y="52"/>
                  </a:lnTo>
                  <a:lnTo>
                    <a:pt x="731" y="54"/>
                  </a:lnTo>
                  <a:lnTo>
                    <a:pt x="729" y="54"/>
                  </a:lnTo>
                  <a:lnTo>
                    <a:pt x="729" y="54"/>
                  </a:lnTo>
                  <a:lnTo>
                    <a:pt x="727" y="54"/>
                  </a:lnTo>
                  <a:lnTo>
                    <a:pt x="727" y="56"/>
                  </a:lnTo>
                  <a:lnTo>
                    <a:pt x="729" y="56"/>
                  </a:lnTo>
                  <a:lnTo>
                    <a:pt x="731" y="56"/>
                  </a:lnTo>
                  <a:lnTo>
                    <a:pt x="731" y="56"/>
                  </a:lnTo>
                  <a:lnTo>
                    <a:pt x="731" y="56"/>
                  </a:lnTo>
                  <a:lnTo>
                    <a:pt x="739" y="62"/>
                  </a:lnTo>
                  <a:lnTo>
                    <a:pt x="741" y="64"/>
                  </a:lnTo>
                  <a:lnTo>
                    <a:pt x="743" y="68"/>
                  </a:lnTo>
                  <a:lnTo>
                    <a:pt x="743" y="70"/>
                  </a:lnTo>
                  <a:lnTo>
                    <a:pt x="745" y="70"/>
                  </a:lnTo>
                  <a:lnTo>
                    <a:pt x="745" y="72"/>
                  </a:lnTo>
                  <a:lnTo>
                    <a:pt x="745" y="72"/>
                  </a:lnTo>
                  <a:close/>
                  <a:moveTo>
                    <a:pt x="694" y="7"/>
                  </a:moveTo>
                  <a:lnTo>
                    <a:pt x="694" y="7"/>
                  </a:lnTo>
                  <a:lnTo>
                    <a:pt x="694" y="9"/>
                  </a:lnTo>
                  <a:lnTo>
                    <a:pt x="696" y="9"/>
                  </a:lnTo>
                  <a:lnTo>
                    <a:pt x="700" y="9"/>
                  </a:lnTo>
                  <a:lnTo>
                    <a:pt x="700" y="9"/>
                  </a:lnTo>
                  <a:lnTo>
                    <a:pt x="700" y="7"/>
                  </a:lnTo>
                  <a:lnTo>
                    <a:pt x="700" y="7"/>
                  </a:lnTo>
                  <a:lnTo>
                    <a:pt x="700" y="5"/>
                  </a:lnTo>
                  <a:lnTo>
                    <a:pt x="698" y="2"/>
                  </a:lnTo>
                  <a:lnTo>
                    <a:pt x="698" y="2"/>
                  </a:lnTo>
                  <a:lnTo>
                    <a:pt x="698" y="2"/>
                  </a:lnTo>
                  <a:lnTo>
                    <a:pt x="696" y="2"/>
                  </a:lnTo>
                  <a:lnTo>
                    <a:pt x="696" y="5"/>
                  </a:lnTo>
                  <a:lnTo>
                    <a:pt x="694" y="5"/>
                  </a:lnTo>
                  <a:lnTo>
                    <a:pt x="694" y="2"/>
                  </a:lnTo>
                  <a:lnTo>
                    <a:pt x="690" y="5"/>
                  </a:lnTo>
                  <a:lnTo>
                    <a:pt x="690" y="5"/>
                  </a:lnTo>
                  <a:lnTo>
                    <a:pt x="694" y="7"/>
                  </a:lnTo>
                  <a:close/>
                  <a:moveTo>
                    <a:pt x="723" y="101"/>
                  </a:moveTo>
                  <a:lnTo>
                    <a:pt x="725" y="101"/>
                  </a:lnTo>
                  <a:lnTo>
                    <a:pt x="727" y="103"/>
                  </a:lnTo>
                  <a:lnTo>
                    <a:pt x="729" y="101"/>
                  </a:lnTo>
                  <a:lnTo>
                    <a:pt x="729" y="101"/>
                  </a:lnTo>
                  <a:lnTo>
                    <a:pt x="729" y="101"/>
                  </a:lnTo>
                  <a:lnTo>
                    <a:pt x="729" y="101"/>
                  </a:lnTo>
                  <a:lnTo>
                    <a:pt x="729" y="103"/>
                  </a:lnTo>
                  <a:lnTo>
                    <a:pt x="729" y="103"/>
                  </a:lnTo>
                  <a:lnTo>
                    <a:pt x="727" y="103"/>
                  </a:lnTo>
                  <a:lnTo>
                    <a:pt x="727" y="105"/>
                  </a:lnTo>
                  <a:lnTo>
                    <a:pt x="731" y="103"/>
                  </a:lnTo>
                  <a:lnTo>
                    <a:pt x="731" y="103"/>
                  </a:lnTo>
                  <a:lnTo>
                    <a:pt x="733" y="103"/>
                  </a:lnTo>
                  <a:lnTo>
                    <a:pt x="733" y="101"/>
                  </a:lnTo>
                  <a:lnTo>
                    <a:pt x="731" y="101"/>
                  </a:lnTo>
                  <a:lnTo>
                    <a:pt x="731" y="99"/>
                  </a:lnTo>
                  <a:lnTo>
                    <a:pt x="733" y="99"/>
                  </a:lnTo>
                  <a:lnTo>
                    <a:pt x="733" y="99"/>
                  </a:lnTo>
                  <a:lnTo>
                    <a:pt x="733" y="99"/>
                  </a:lnTo>
                  <a:lnTo>
                    <a:pt x="733" y="99"/>
                  </a:lnTo>
                  <a:lnTo>
                    <a:pt x="735" y="95"/>
                  </a:lnTo>
                  <a:lnTo>
                    <a:pt x="735" y="95"/>
                  </a:lnTo>
                  <a:lnTo>
                    <a:pt x="731" y="93"/>
                  </a:lnTo>
                  <a:lnTo>
                    <a:pt x="731" y="91"/>
                  </a:lnTo>
                  <a:lnTo>
                    <a:pt x="731" y="89"/>
                  </a:lnTo>
                  <a:lnTo>
                    <a:pt x="733" y="89"/>
                  </a:lnTo>
                  <a:lnTo>
                    <a:pt x="735" y="89"/>
                  </a:lnTo>
                  <a:lnTo>
                    <a:pt x="735" y="87"/>
                  </a:lnTo>
                  <a:lnTo>
                    <a:pt x="735" y="84"/>
                  </a:lnTo>
                  <a:lnTo>
                    <a:pt x="733" y="84"/>
                  </a:lnTo>
                  <a:lnTo>
                    <a:pt x="731" y="82"/>
                  </a:lnTo>
                  <a:lnTo>
                    <a:pt x="731" y="80"/>
                  </a:lnTo>
                  <a:lnTo>
                    <a:pt x="731" y="80"/>
                  </a:lnTo>
                  <a:lnTo>
                    <a:pt x="731" y="78"/>
                  </a:lnTo>
                  <a:lnTo>
                    <a:pt x="733" y="76"/>
                  </a:lnTo>
                  <a:lnTo>
                    <a:pt x="731" y="74"/>
                  </a:lnTo>
                  <a:lnTo>
                    <a:pt x="731" y="74"/>
                  </a:lnTo>
                  <a:lnTo>
                    <a:pt x="729" y="72"/>
                  </a:lnTo>
                  <a:lnTo>
                    <a:pt x="729" y="70"/>
                  </a:lnTo>
                  <a:lnTo>
                    <a:pt x="723" y="64"/>
                  </a:lnTo>
                  <a:lnTo>
                    <a:pt x="721" y="62"/>
                  </a:lnTo>
                  <a:lnTo>
                    <a:pt x="717" y="62"/>
                  </a:lnTo>
                  <a:lnTo>
                    <a:pt x="717" y="62"/>
                  </a:lnTo>
                  <a:lnTo>
                    <a:pt x="717" y="64"/>
                  </a:lnTo>
                  <a:lnTo>
                    <a:pt x="717" y="64"/>
                  </a:lnTo>
                  <a:lnTo>
                    <a:pt x="717" y="66"/>
                  </a:lnTo>
                  <a:lnTo>
                    <a:pt x="717" y="64"/>
                  </a:lnTo>
                  <a:lnTo>
                    <a:pt x="719" y="64"/>
                  </a:lnTo>
                  <a:lnTo>
                    <a:pt x="719" y="66"/>
                  </a:lnTo>
                  <a:lnTo>
                    <a:pt x="721" y="66"/>
                  </a:lnTo>
                  <a:lnTo>
                    <a:pt x="719" y="66"/>
                  </a:lnTo>
                  <a:lnTo>
                    <a:pt x="717" y="66"/>
                  </a:lnTo>
                  <a:lnTo>
                    <a:pt x="715" y="66"/>
                  </a:lnTo>
                  <a:lnTo>
                    <a:pt x="713" y="66"/>
                  </a:lnTo>
                  <a:lnTo>
                    <a:pt x="715" y="68"/>
                  </a:lnTo>
                  <a:lnTo>
                    <a:pt x="715" y="68"/>
                  </a:lnTo>
                  <a:lnTo>
                    <a:pt x="717" y="70"/>
                  </a:lnTo>
                  <a:lnTo>
                    <a:pt x="719" y="70"/>
                  </a:lnTo>
                  <a:lnTo>
                    <a:pt x="719" y="70"/>
                  </a:lnTo>
                  <a:lnTo>
                    <a:pt x="719" y="72"/>
                  </a:lnTo>
                  <a:lnTo>
                    <a:pt x="719" y="72"/>
                  </a:lnTo>
                  <a:lnTo>
                    <a:pt x="717" y="72"/>
                  </a:lnTo>
                  <a:lnTo>
                    <a:pt x="715" y="72"/>
                  </a:lnTo>
                  <a:lnTo>
                    <a:pt x="713" y="70"/>
                  </a:lnTo>
                  <a:lnTo>
                    <a:pt x="711" y="68"/>
                  </a:lnTo>
                  <a:lnTo>
                    <a:pt x="711" y="68"/>
                  </a:lnTo>
                  <a:lnTo>
                    <a:pt x="711" y="70"/>
                  </a:lnTo>
                  <a:lnTo>
                    <a:pt x="709" y="72"/>
                  </a:lnTo>
                  <a:lnTo>
                    <a:pt x="707" y="74"/>
                  </a:lnTo>
                  <a:lnTo>
                    <a:pt x="711" y="87"/>
                  </a:lnTo>
                  <a:lnTo>
                    <a:pt x="711" y="91"/>
                  </a:lnTo>
                  <a:lnTo>
                    <a:pt x="709" y="99"/>
                  </a:lnTo>
                  <a:lnTo>
                    <a:pt x="709" y="99"/>
                  </a:lnTo>
                  <a:lnTo>
                    <a:pt x="709" y="99"/>
                  </a:lnTo>
                  <a:lnTo>
                    <a:pt x="709" y="99"/>
                  </a:lnTo>
                  <a:lnTo>
                    <a:pt x="709" y="97"/>
                  </a:lnTo>
                  <a:lnTo>
                    <a:pt x="709" y="97"/>
                  </a:lnTo>
                  <a:lnTo>
                    <a:pt x="704" y="99"/>
                  </a:lnTo>
                  <a:lnTo>
                    <a:pt x="702" y="99"/>
                  </a:lnTo>
                  <a:lnTo>
                    <a:pt x="700" y="99"/>
                  </a:lnTo>
                  <a:lnTo>
                    <a:pt x="698" y="97"/>
                  </a:lnTo>
                  <a:lnTo>
                    <a:pt x="700" y="95"/>
                  </a:lnTo>
                  <a:lnTo>
                    <a:pt x="704" y="97"/>
                  </a:lnTo>
                  <a:lnTo>
                    <a:pt x="707" y="97"/>
                  </a:lnTo>
                  <a:lnTo>
                    <a:pt x="709" y="95"/>
                  </a:lnTo>
                  <a:lnTo>
                    <a:pt x="707" y="95"/>
                  </a:lnTo>
                  <a:lnTo>
                    <a:pt x="707" y="93"/>
                  </a:lnTo>
                  <a:lnTo>
                    <a:pt x="704" y="93"/>
                  </a:lnTo>
                  <a:lnTo>
                    <a:pt x="707" y="91"/>
                  </a:lnTo>
                  <a:lnTo>
                    <a:pt x="707" y="91"/>
                  </a:lnTo>
                  <a:lnTo>
                    <a:pt x="707" y="89"/>
                  </a:lnTo>
                  <a:lnTo>
                    <a:pt x="704" y="89"/>
                  </a:lnTo>
                  <a:lnTo>
                    <a:pt x="704" y="87"/>
                  </a:lnTo>
                  <a:lnTo>
                    <a:pt x="704" y="87"/>
                  </a:lnTo>
                  <a:lnTo>
                    <a:pt x="702" y="87"/>
                  </a:lnTo>
                  <a:lnTo>
                    <a:pt x="702" y="87"/>
                  </a:lnTo>
                  <a:lnTo>
                    <a:pt x="700" y="87"/>
                  </a:lnTo>
                  <a:lnTo>
                    <a:pt x="698" y="87"/>
                  </a:lnTo>
                  <a:lnTo>
                    <a:pt x="698" y="87"/>
                  </a:lnTo>
                  <a:lnTo>
                    <a:pt x="698" y="84"/>
                  </a:lnTo>
                  <a:lnTo>
                    <a:pt x="702" y="87"/>
                  </a:lnTo>
                  <a:lnTo>
                    <a:pt x="704" y="84"/>
                  </a:lnTo>
                  <a:lnTo>
                    <a:pt x="704" y="82"/>
                  </a:lnTo>
                  <a:lnTo>
                    <a:pt x="702" y="78"/>
                  </a:lnTo>
                  <a:lnTo>
                    <a:pt x="700" y="78"/>
                  </a:lnTo>
                  <a:lnTo>
                    <a:pt x="700" y="76"/>
                  </a:lnTo>
                  <a:lnTo>
                    <a:pt x="702" y="76"/>
                  </a:lnTo>
                  <a:lnTo>
                    <a:pt x="702" y="74"/>
                  </a:lnTo>
                  <a:lnTo>
                    <a:pt x="702" y="72"/>
                  </a:lnTo>
                  <a:lnTo>
                    <a:pt x="704" y="70"/>
                  </a:lnTo>
                  <a:lnTo>
                    <a:pt x="702" y="70"/>
                  </a:lnTo>
                  <a:lnTo>
                    <a:pt x="700" y="72"/>
                  </a:lnTo>
                  <a:lnTo>
                    <a:pt x="700" y="68"/>
                  </a:lnTo>
                  <a:lnTo>
                    <a:pt x="700" y="66"/>
                  </a:lnTo>
                  <a:lnTo>
                    <a:pt x="702" y="68"/>
                  </a:lnTo>
                  <a:lnTo>
                    <a:pt x="702" y="66"/>
                  </a:lnTo>
                  <a:lnTo>
                    <a:pt x="700" y="64"/>
                  </a:lnTo>
                  <a:lnTo>
                    <a:pt x="698" y="64"/>
                  </a:lnTo>
                  <a:lnTo>
                    <a:pt x="696" y="64"/>
                  </a:lnTo>
                  <a:lnTo>
                    <a:pt x="688" y="66"/>
                  </a:lnTo>
                  <a:lnTo>
                    <a:pt x="680" y="70"/>
                  </a:lnTo>
                  <a:lnTo>
                    <a:pt x="678" y="72"/>
                  </a:lnTo>
                  <a:lnTo>
                    <a:pt x="680" y="72"/>
                  </a:lnTo>
                  <a:lnTo>
                    <a:pt x="682" y="74"/>
                  </a:lnTo>
                  <a:lnTo>
                    <a:pt x="684" y="74"/>
                  </a:lnTo>
                  <a:lnTo>
                    <a:pt x="680" y="74"/>
                  </a:lnTo>
                  <a:lnTo>
                    <a:pt x="678" y="74"/>
                  </a:lnTo>
                  <a:lnTo>
                    <a:pt x="676" y="74"/>
                  </a:lnTo>
                  <a:lnTo>
                    <a:pt x="674" y="74"/>
                  </a:lnTo>
                  <a:lnTo>
                    <a:pt x="674" y="76"/>
                  </a:lnTo>
                  <a:lnTo>
                    <a:pt x="674" y="76"/>
                  </a:lnTo>
                  <a:lnTo>
                    <a:pt x="672" y="76"/>
                  </a:lnTo>
                  <a:lnTo>
                    <a:pt x="672" y="74"/>
                  </a:lnTo>
                  <a:lnTo>
                    <a:pt x="672" y="74"/>
                  </a:lnTo>
                  <a:lnTo>
                    <a:pt x="672" y="72"/>
                  </a:lnTo>
                  <a:lnTo>
                    <a:pt x="672" y="72"/>
                  </a:lnTo>
                  <a:lnTo>
                    <a:pt x="668" y="72"/>
                  </a:lnTo>
                  <a:lnTo>
                    <a:pt x="663" y="74"/>
                  </a:lnTo>
                  <a:lnTo>
                    <a:pt x="659" y="76"/>
                  </a:lnTo>
                  <a:lnTo>
                    <a:pt x="657" y="78"/>
                  </a:lnTo>
                  <a:lnTo>
                    <a:pt x="657" y="78"/>
                  </a:lnTo>
                  <a:lnTo>
                    <a:pt x="655" y="78"/>
                  </a:lnTo>
                  <a:lnTo>
                    <a:pt x="643" y="80"/>
                  </a:lnTo>
                  <a:lnTo>
                    <a:pt x="643" y="80"/>
                  </a:lnTo>
                  <a:lnTo>
                    <a:pt x="645" y="76"/>
                  </a:lnTo>
                  <a:lnTo>
                    <a:pt x="645" y="74"/>
                  </a:lnTo>
                  <a:lnTo>
                    <a:pt x="643" y="74"/>
                  </a:lnTo>
                  <a:lnTo>
                    <a:pt x="643" y="72"/>
                  </a:lnTo>
                  <a:lnTo>
                    <a:pt x="643" y="72"/>
                  </a:lnTo>
                  <a:lnTo>
                    <a:pt x="643" y="70"/>
                  </a:lnTo>
                  <a:lnTo>
                    <a:pt x="641" y="70"/>
                  </a:lnTo>
                  <a:lnTo>
                    <a:pt x="641" y="70"/>
                  </a:lnTo>
                  <a:lnTo>
                    <a:pt x="639" y="68"/>
                  </a:lnTo>
                  <a:lnTo>
                    <a:pt x="639" y="66"/>
                  </a:lnTo>
                  <a:lnTo>
                    <a:pt x="637" y="64"/>
                  </a:lnTo>
                  <a:lnTo>
                    <a:pt x="637" y="62"/>
                  </a:lnTo>
                  <a:lnTo>
                    <a:pt x="635" y="56"/>
                  </a:lnTo>
                  <a:lnTo>
                    <a:pt x="635" y="54"/>
                  </a:lnTo>
                  <a:lnTo>
                    <a:pt x="635" y="52"/>
                  </a:lnTo>
                  <a:lnTo>
                    <a:pt x="637" y="50"/>
                  </a:lnTo>
                  <a:lnTo>
                    <a:pt x="637" y="48"/>
                  </a:lnTo>
                  <a:lnTo>
                    <a:pt x="637" y="46"/>
                  </a:lnTo>
                  <a:lnTo>
                    <a:pt x="637" y="46"/>
                  </a:lnTo>
                  <a:lnTo>
                    <a:pt x="637" y="43"/>
                  </a:lnTo>
                  <a:lnTo>
                    <a:pt x="635" y="43"/>
                  </a:lnTo>
                  <a:lnTo>
                    <a:pt x="635" y="41"/>
                  </a:lnTo>
                  <a:lnTo>
                    <a:pt x="637" y="41"/>
                  </a:lnTo>
                  <a:lnTo>
                    <a:pt x="639" y="41"/>
                  </a:lnTo>
                  <a:lnTo>
                    <a:pt x="639" y="43"/>
                  </a:lnTo>
                  <a:lnTo>
                    <a:pt x="639" y="48"/>
                  </a:lnTo>
                  <a:lnTo>
                    <a:pt x="639" y="48"/>
                  </a:lnTo>
                  <a:lnTo>
                    <a:pt x="637" y="50"/>
                  </a:lnTo>
                  <a:lnTo>
                    <a:pt x="637" y="52"/>
                  </a:lnTo>
                  <a:lnTo>
                    <a:pt x="637" y="56"/>
                  </a:lnTo>
                  <a:lnTo>
                    <a:pt x="639" y="60"/>
                  </a:lnTo>
                  <a:lnTo>
                    <a:pt x="641" y="64"/>
                  </a:lnTo>
                  <a:lnTo>
                    <a:pt x="643" y="68"/>
                  </a:lnTo>
                  <a:lnTo>
                    <a:pt x="645" y="70"/>
                  </a:lnTo>
                  <a:lnTo>
                    <a:pt x="647" y="70"/>
                  </a:lnTo>
                  <a:lnTo>
                    <a:pt x="649" y="66"/>
                  </a:lnTo>
                  <a:lnTo>
                    <a:pt x="649" y="68"/>
                  </a:lnTo>
                  <a:lnTo>
                    <a:pt x="653" y="70"/>
                  </a:lnTo>
                  <a:lnTo>
                    <a:pt x="653" y="72"/>
                  </a:lnTo>
                  <a:lnTo>
                    <a:pt x="655" y="70"/>
                  </a:lnTo>
                  <a:lnTo>
                    <a:pt x="659" y="70"/>
                  </a:lnTo>
                  <a:lnTo>
                    <a:pt x="661" y="70"/>
                  </a:lnTo>
                  <a:lnTo>
                    <a:pt x="663" y="68"/>
                  </a:lnTo>
                  <a:lnTo>
                    <a:pt x="666" y="64"/>
                  </a:lnTo>
                  <a:lnTo>
                    <a:pt x="668" y="62"/>
                  </a:lnTo>
                  <a:lnTo>
                    <a:pt x="666" y="62"/>
                  </a:lnTo>
                  <a:lnTo>
                    <a:pt x="666" y="62"/>
                  </a:lnTo>
                  <a:lnTo>
                    <a:pt x="666" y="62"/>
                  </a:lnTo>
                  <a:lnTo>
                    <a:pt x="668" y="60"/>
                  </a:lnTo>
                  <a:lnTo>
                    <a:pt x="676" y="58"/>
                  </a:lnTo>
                  <a:lnTo>
                    <a:pt x="676" y="56"/>
                  </a:lnTo>
                  <a:lnTo>
                    <a:pt x="674" y="56"/>
                  </a:lnTo>
                  <a:lnTo>
                    <a:pt x="670" y="56"/>
                  </a:lnTo>
                  <a:lnTo>
                    <a:pt x="668" y="56"/>
                  </a:lnTo>
                  <a:lnTo>
                    <a:pt x="668" y="54"/>
                  </a:lnTo>
                  <a:lnTo>
                    <a:pt x="666" y="54"/>
                  </a:lnTo>
                  <a:lnTo>
                    <a:pt x="663" y="52"/>
                  </a:lnTo>
                  <a:lnTo>
                    <a:pt x="661" y="52"/>
                  </a:lnTo>
                  <a:lnTo>
                    <a:pt x="661" y="52"/>
                  </a:lnTo>
                  <a:lnTo>
                    <a:pt x="659" y="50"/>
                  </a:lnTo>
                  <a:lnTo>
                    <a:pt x="661" y="50"/>
                  </a:lnTo>
                  <a:lnTo>
                    <a:pt x="663" y="50"/>
                  </a:lnTo>
                  <a:lnTo>
                    <a:pt x="666" y="52"/>
                  </a:lnTo>
                  <a:lnTo>
                    <a:pt x="666" y="50"/>
                  </a:lnTo>
                  <a:lnTo>
                    <a:pt x="668" y="52"/>
                  </a:lnTo>
                  <a:lnTo>
                    <a:pt x="672" y="54"/>
                  </a:lnTo>
                  <a:lnTo>
                    <a:pt x="680" y="56"/>
                  </a:lnTo>
                  <a:lnTo>
                    <a:pt x="682" y="56"/>
                  </a:lnTo>
                  <a:lnTo>
                    <a:pt x="684" y="54"/>
                  </a:lnTo>
                  <a:lnTo>
                    <a:pt x="684" y="54"/>
                  </a:lnTo>
                  <a:lnTo>
                    <a:pt x="682" y="54"/>
                  </a:lnTo>
                  <a:lnTo>
                    <a:pt x="680" y="50"/>
                  </a:lnTo>
                  <a:lnTo>
                    <a:pt x="678" y="48"/>
                  </a:lnTo>
                  <a:lnTo>
                    <a:pt x="678" y="48"/>
                  </a:lnTo>
                  <a:lnTo>
                    <a:pt x="676" y="48"/>
                  </a:lnTo>
                  <a:lnTo>
                    <a:pt x="676" y="48"/>
                  </a:lnTo>
                  <a:lnTo>
                    <a:pt x="674" y="46"/>
                  </a:lnTo>
                  <a:lnTo>
                    <a:pt x="674" y="46"/>
                  </a:lnTo>
                  <a:lnTo>
                    <a:pt x="674" y="46"/>
                  </a:lnTo>
                  <a:lnTo>
                    <a:pt x="676" y="46"/>
                  </a:lnTo>
                  <a:lnTo>
                    <a:pt x="680" y="48"/>
                  </a:lnTo>
                  <a:lnTo>
                    <a:pt x="680" y="48"/>
                  </a:lnTo>
                  <a:lnTo>
                    <a:pt x="680" y="48"/>
                  </a:lnTo>
                  <a:lnTo>
                    <a:pt x="682" y="50"/>
                  </a:lnTo>
                  <a:lnTo>
                    <a:pt x="686" y="52"/>
                  </a:lnTo>
                  <a:lnTo>
                    <a:pt x="686" y="52"/>
                  </a:lnTo>
                  <a:lnTo>
                    <a:pt x="688" y="52"/>
                  </a:lnTo>
                  <a:lnTo>
                    <a:pt x="690" y="50"/>
                  </a:lnTo>
                  <a:lnTo>
                    <a:pt x="690" y="50"/>
                  </a:lnTo>
                  <a:lnTo>
                    <a:pt x="690" y="50"/>
                  </a:lnTo>
                  <a:lnTo>
                    <a:pt x="690" y="50"/>
                  </a:lnTo>
                  <a:lnTo>
                    <a:pt x="692" y="48"/>
                  </a:lnTo>
                  <a:lnTo>
                    <a:pt x="692" y="48"/>
                  </a:lnTo>
                  <a:lnTo>
                    <a:pt x="694" y="46"/>
                  </a:lnTo>
                  <a:lnTo>
                    <a:pt x="694" y="46"/>
                  </a:lnTo>
                  <a:lnTo>
                    <a:pt x="694" y="46"/>
                  </a:lnTo>
                  <a:lnTo>
                    <a:pt x="692" y="46"/>
                  </a:lnTo>
                  <a:lnTo>
                    <a:pt x="692" y="41"/>
                  </a:lnTo>
                  <a:lnTo>
                    <a:pt x="690" y="41"/>
                  </a:lnTo>
                  <a:lnTo>
                    <a:pt x="688" y="41"/>
                  </a:lnTo>
                  <a:lnTo>
                    <a:pt x="686" y="39"/>
                  </a:lnTo>
                  <a:lnTo>
                    <a:pt x="684" y="37"/>
                  </a:lnTo>
                  <a:lnTo>
                    <a:pt x="682" y="37"/>
                  </a:lnTo>
                  <a:lnTo>
                    <a:pt x="680" y="35"/>
                  </a:lnTo>
                  <a:lnTo>
                    <a:pt x="678" y="35"/>
                  </a:lnTo>
                  <a:lnTo>
                    <a:pt x="678" y="35"/>
                  </a:lnTo>
                  <a:lnTo>
                    <a:pt x="678" y="33"/>
                  </a:lnTo>
                  <a:lnTo>
                    <a:pt x="678" y="33"/>
                  </a:lnTo>
                  <a:lnTo>
                    <a:pt x="680" y="31"/>
                  </a:lnTo>
                  <a:lnTo>
                    <a:pt x="680" y="31"/>
                  </a:lnTo>
                  <a:lnTo>
                    <a:pt x="680" y="33"/>
                  </a:lnTo>
                  <a:lnTo>
                    <a:pt x="680" y="33"/>
                  </a:lnTo>
                  <a:lnTo>
                    <a:pt x="680" y="33"/>
                  </a:lnTo>
                  <a:lnTo>
                    <a:pt x="684" y="33"/>
                  </a:lnTo>
                  <a:lnTo>
                    <a:pt x="686" y="35"/>
                  </a:lnTo>
                  <a:lnTo>
                    <a:pt x="688" y="35"/>
                  </a:lnTo>
                  <a:lnTo>
                    <a:pt x="690" y="37"/>
                  </a:lnTo>
                  <a:lnTo>
                    <a:pt x="690" y="37"/>
                  </a:lnTo>
                  <a:lnTo>
                    <a:pt x="692" y="37"/>
                  </a:lnTo>
                  <a:lnTo>
                    <a:pt x="694" y="37"/>
                  </a:lnTo>
                  <a:lnTo>
                    <a:pt x="696" y="41"/>
                  </a:lnTo>
                  <a:lnTo>
                    <a:pt x="698" y="41"/>
                  </a:lnTo>
                  <a:lnTo>
                    <a:pt x="700" y="41"/>
                  </a:lnTo>
                  <a:lnTo>
                    <a:pt x="702" y="41"/>
                  </a:lnTo>
                  <a:lnTo>
                    <a:pt x="709" y="43"/>
                  </a:lnTo>
                  <a:lnTo>
                    <a:pt x="709" y="41"/>
                  </a:lnTo>
                  <a:lnTo>
                    <a:pt x="707" y="41"/>
                  </a:lnTo>
                  <a:lnTo>
                    <a:pt x="704" y="41"/>
                  </a:lnTo>
                  <a:lnTo>
                    <a:pt x="702" y="39"/>
                  </a:lnTo>
                  <a:lnTo>
                    <a:pt x="702" y="39"/>
                  </a:lnTo>
                  <a:lnTo>
                    <a:pt x="702" y="37"/>
                  </a:lnTo>
                  <a:lnTo>
                    <a:pt x="702" y="35"/>
                  </a:lnTo>
                  <a:lnTo>
                    <a:pt x="700" y="31"/>
                  </a:lnTo>
                  <a:lnTo>
                    <a:pt x="698" y="31"/>
                  </a:lnTo>
                  <a:lnTo>
                    <a:pt x="698" y="29"/>
                  </a:lnTo>
                  <a:lnTo>
                    <a:pt x="696" y="29"/>
                  </a:lnTo>
                  <a:lnTo>
                    <a:pt x="698" y="29"/>
                  </a:lnTo>
                  <a:lnTo>
                    <a:pt x="700" y="29"/>
                  </a:lnTo>
                  <a:lnTo>
                    <a:pt x="702" y="31"/>
                  </a:lnTo>
                  <a:lnTo>
                    <a:pt x="702" y="33"/>
                  </a:lnTo>
                  <a:lnTo>
                    <a:pt x="702" y="33"/>
                  </a:lnTo>
                  <a:lnTo>
                    <a:pt x="704" y="33"/>
                  </a:lnTo>
                  <a:lnTo>
                    <a:pt x="707" y="33"/>
                  </a:lnTo>
                  <a:lnTo>
                    <a:pt x="707" y="35"/>
                  </a:lnTo>
                  <a:lnTo>
                    <a:pt x="707" y="37"/>
                  </a:lnTo>
                  <a:lnTo>
                    <a:pt x="707" y="37"/>
                  </a:lnTo>
                  <a:lnTo>
                    <a:pt x="707" y="37"/>
                  </a:lnTo>
                  <a:lnTo>
                    <a:pt x="711" y="39"/>
                  </a:lnTo>
                  <a:lnTo>
                    <a:pt x="711" y="39"/>
                  </a:lnTo>
                  <a:lnTo>
                    <a:pt x="713" y="41"/>
                  </a:lnTo>
                  <a:lnTo>
                    <a:pt x="713" y="41"/>
                  </a:lnTo>
                  <a:lnTo>
                    <a:pt x="713" y="43"/>
                  </a:lnTo>
                  <a:lnTo>
                    <a:pt x="713" y="43"/>
                  </a:lnTo>
                  <a:lnTo>
                    <a:pt x="713" y="46"/>
                  </a:lnTo>
                  <a:lnTo>
                    <a:pt x="713" y="46"/>
                  </a:lnTo>
                  <a:lnTo>
                    <a:pt x="715" y="48"/>
                  </a:lnTo>
                  <a:lnTo>
                    <a:pt x="717" y="50"/>
                  </a:lnTo>
                  <a:lnTo>
                    <a:pt x="719" y="50"/>
                  </a:lnTo>
                  <a:lnTo>
                    <a:pt x="721" y="50"/>
                  </a:lnTo>
                  <a:lnTo>
                    <a:pt x="719" y="48"/>
                  </a:lnTo>
                  <a:lnTo>
                    <a:pt x="719" y="46"/>
                  </a:lnTo>
                  <a:lnTo>
                    <a:pt x="717" y="43"/>
                  </a:lnTo>
                  <a:lnTo>
                    <a:pt x="717" y="41"/>
                  </a:lnTo>
                  <a:lnTo>
                    <a:pt x="709" y="31"/>
                  </a:lnTo>
                  <a:lnTo>
                    <a:pt x="709" y="29"/>
                  </a:lnTo>
                  <a:lnTo>
                    <a:pt x="707" y="27"/>
                  </a:lnTo>
                  <a:lnTo>
                    <a:pt x="704" y="25"/>
                  </a:lnTo>
                  <a:lnTo>
                    <a:pt x="702" y="23"/>
                  </a:lnTo>
                  <a:lnTo>
                    <a:pt x="702" y="19"/>
                  </a:lnTo>
                  <a:lnTo>
                    <a:pt x="700" y="15"/>
                  </a:lnTo>
                  <a:lnTo>
                    <a:pt x="700" y="15"/>
                  </a:lnTo>
                  <a:lnTo>
                    <a:pt x="700" y="17"/>
                  </a:lnTo>
                  <a:lnTo>
                    <a:pt x="700" y="19"/>
                  </a:lnTo>
                  <a:lnTo>
                    <a:pt x="698" y="19"/>
                  </a:lnTo>
                  <a:lnTo>
                    <a:pt x="700" y="21"/>
                  </a:lnTo>
                  <a:lnTo>
                    <a:pt x="700" y="21"/>
                  </a:lnTo>
                  <a:lnTo>
                    <a:pt x="700" y="21"/>
                  </a:lnTo>
                  <a:lnTo>
                    <a:pt x="702" y="23"/>
                  </a:lnTo>
                  <a:lnTo>
                    <a:pt x="700" y="21"/>
                  </a:lnTo>
                  <a:lnTo>
                    <a:pt x="696" y="19"/>
                  </a:lnTo>
                  <a:lnTo>
                    <a:pt x="696" y="17"/>
                  </a:lnTo>
                  <a:lnTo>
                    <a:pt x="696" y="15"/>
                  </a:lnTo>
                  <a:lnTo>
                    <a:pt x="694" y="15"/>
                  </a:lnTo>
                  <a:lnTo>
                    <a:pt x="692" y="13"/>
                  </a:lnTo>
                  <a:lnTo>
                    <a:pt x="690" y="13"/>
                  </a:lnTo>
                  <a:lnTo>
                    <a:pt x="690" y="11"/>
                  </a:lnTo>
                  <a:lnTo>
                    <a:pt x="688" y="9"/>
                  </a:lnTo>
                  <a:lnTo>
                    <a:pt x="688" y="7"/>
                  </a:lnTo>
                  <a:lnTo>
                    <a:pt x="688" y="5"/>
                  </a:lnTo>
                  <a:lnTo>
                    <a:pt x="688" y="5"/>
                  </a:lnTo>
                  <a:lnTo>
                    <a:pt x="686" y="5"/>
                  </a:lnTo>
                  <a:lnTo>
                    <a:pt x="674" y="9"/>
                  </a:lnTo>
                  <a:lnTo>
                    <a:pt x="659" y="11"/>
                  </a:lnTo>
                  <a:lnTo>
                    <a:pt x="643" y="15"/>
                  </a:lnTo>
                  <a:lnTo>
                    <a:pt x="629" y="17"/>
                  </a:lnTo>
                  <a:lnTo>
                    <a:pt x="614" y="19"/>
                  </a:lnTo>
                  <a:lnTo>
                    <a:pt x="600" y="23"/>
                  </a:lnTo>
                  <a:lnTo>
                    <a:pt x="584" y="25"/>
                  </a:lnTo>
                  <a:lnTo>
                    <a:pt x="569" y="29"/>
                  </a:lnTo>
                  <a:lnTo>
                    <a:pt x="555" y="31"/>
                  </a:lnTo>
                  <a:lnTo>
                    <a:pt x="539" y="35"/>
                  </a:lnTo>
                  <a:lnTo>
                    <a:pt x="524" y="37"/>
                  </a:lnTo>
                  <a:lnTo>
                    <a:pt x="510" y="41"/>
                  </a:lnTo>
                  <a:lnTo>
                    <a:pt x="494" y="43"/>
                  </a:lnTo>
                  <a:lnTo>
                    <a:pt x="479" y="46"/>
                  </a:lnTo>
                  <a:lnTo>
                    <a:pt x="465" y="50"/>
                  </a:lnTo>
                  <a:lnTo>
                    <a:pt x="450" y="52"/>
                  </a:lnTo>
                  <a:lnTo>
                    <a:pt x="434" y="54"/>
                  </a:lnTo>
                  <a:lnTo>
                    <a:pt x="420" y="58"/>
                  </a:lnTo>
                  <a:lnTo>
                    <a:pt x="405" y="60"/>
                  </a:lnTo>
                  <a:lnTo>
                    <a:pt x="389" y="62"/>
                  </a:lnTo>
                  <a:lnTo>
                    <a:pt x="375" y="66"/>
                  </a:lnTo>
                  <a:lnTo>
                    <a:pt x="360" y="68"/>
                  </a:lnTo>
                  <a:lnTo>
                    <a:pt x="344" y="70"/>
                  </a:lnTo>
                  <a:lnTo>
                    <a:pt x="330" y="72"/>
                  </a:lnTo>
                  <a:lnTo>
                    <a:pt x="315" y="76"/>
                  </a:lnTo>
                  <a:lnTo>
                    <a:pt x="299" y="78"/>
                  </a:lnTo>
                  <a:lnTo>
                    <a:pt x="285" y="80"/>
                  </a:lnTo>
                  <a:lnTo>
                    <a:pt x="270" y="82"/>
                  </a:lnTo>
                  <a:lnTo>
                    <a:pt x="254" y="84"/>
                  </a:lnTo>
                  <a:lnTo>
                    <a:pt x="240" y="89"/>
                  </a:lnTo>
                  <a:lnTo>
                    <a:pt x="225" y="91"/>
                  </a:lnTo>
                  <a:lnTo>
                    <a:pt x="209" y="93"/>
                  </a:lnTo>
                  <a:lnTo>
                    <a:pt x="209" y="93"/>
                  </a:lnTo>
                  <a:lnTo>
                    <a:pt x="207" y="93"/>
                  </a:lnTo>
                  <a:lnTo>
                    <a:pt x="207" y="93"/>
                  </a:lnTo>
                  <a:lnTo>
                    <a:pt x="207" y="91"/>
                  </a:lnTo>
                  <a:lnTo>
                    <a:pt x="203" y="99"/>
                  </a:lnTo>
                  <a:lnTo>
                    <a:pt x="203" y="101"/>
                  </a:lnTo>
                  <a:lnTo>
                    <a:pt x="203" y="101"/>
                  </a:lnTo>
                  <a:lnTo>
                    <a:pt x="205" y="103"/>
                  </a:lnTo>
                  <a:lnTo>
                    <a:pt x="205" y="105"/>
                  </a:lnTo>
                  <a:lnTo>
                    <a:pt x="205" y="109"/>
                  </a:lnTo>
                  <a:lnTo>
                    <a:pt x="203" y="113"/>
                  </a:lnTo>
                  <a:lnTo>
                    <a:pt x="203" y="115"/>
                  </a:lnTo>
                  <a:lnTo>
                    <a:pt x="203" y="115"/>
                  </a:lnTo>
                  <a:lnTo>
                    <a:pt x="203" y="115"/>
                  </a:lnTo>
                  <a:lnTo>
                    <a:pt x="205" y="117"/>
                  </a:lnTo>
                  <a:lnTo>
                    <a:pt x="205" y="119"/>
                  </a:lnTo>
                  <a:lnTo>
                    <a:pt x="205" y="119"/>
                  </a:lnTo>
                  <a:lnTo>
                    <a:pt x="207" y="119"/>
                  </a:lnTo>
                  <a:lnTo>
                    <a:pt x="207" y="121"/>
                  </a:lnTo>
                  <a:lnTo>
                    <a:pt x="205" y="121"/>
                  </a:lnTo>
                  <a:lnTo>
                    <a:pt x="203" y="121"/>
                  </a:lnTo>
                  <a:lnTo>
                    <a:pt x="199" y="119"/>
                  </a:lnTo>
                  <a:lnTo>
                    <a:pt x="197" y="119"/>
                  </a:lnTo>
                  <a:lnTo>
                    <a:pt x="197" y="119"/>
                  </a:lnTo>
                  <a:lnTo>
                    <a:pt x="190" y="125"/>
                  </a:lnTo>
                  <a:lnTo>
                    <a:pt x="188" y="128"/>
                  </a:lnTo>
                  <a:lnTo>
                    <a:pt x="188" y="130"/>
                  </a:lnTo>
                  <a:lnTo>
                    <a:pt x="182" y="146"/>
                  </a:lnTo>
                  <a:lnTo>
                    <a:pt x="182" y="148"/>
                  </a:lnTo>
                  <a:lnTo>
                    <a:pt x="182" y="148"/>
                  </a:lnTo>
                  <a:lnTo>
                    <a:pt x="180" y="148"/>
                  </a:lnTo>
                  <a:lnTo>
                    <a:pt x="180" y="150"/>
                  </a:lnTo>
                  <a:lnTo>
                    <a:pt x="178" y="152"/>
                  </a:lnTo>
                  <a:lnTo>
                    <a:pt x="178" y="152"/>
                  </a:lnTo>
                  <a:lnTo>
                    <a:pt x="178" y="152"/>
                  </a:lnTo>
                  <a:lnTo>
                    <a:pt x="176" y="152"/>
                  </a:lnTo>
                  <a:lnTo>
                    <a:pt x="176" y="152"/>
                  </a:lnTo>
                  <a:lnTo>
                    <a:pt x="174" y="152"/>
                  </a:lnTo>
                  <a:lnTo>
                    <a:pt x="174" y="152"/>
                  </a:lnTo>
                  <a:lnTo>
                    <a:pt x="174" y="150"/>
                  </a:lnTo>
                  <a:lnTo>
                    <a:pt x="174" y="150"/>
                  </a:lnTo>
                  <a:lnTo>
                    <a:pt x="174" y="150"/>
                  </a:lnTo>
                  <a:lnTo>
                    <a:pt x="174" y="150"/>
                  </a:lnTo>
                  <a:lnTo>
                    <a:pt x="172" y="150"/>
                  </a:lnTo>
                  <a:lnTo>
                    <a:pt x="172" y="148"/>
                  </a:lnTo>
                  <a:lnTo>
                    <a:pt x="172" y="148"/>
                  </a:lnTo>
                  <a:lnTo>
                    <a:pt x="172" y="148"/>
                  </a:lnTo>
                  <a:lnTo>
                    <a:pt x="172" y="148"/>
                  </a:lnTo>
                  <a:lnTo>
                    <a:pt x="172" y="148"/>
                  </a:lnTo>
                  <a:lnTo>
                    <a:pt x="170" y="148"/>
                  </a:lnTo>
                  <a:lnTo>
                    <a:pt x="170" y="148"/>
                  </a:lnTo>
                  <a:lnTo>
                    <a:pt x="168" y="148"/>
                  </a:lnTo>
                  <a:lnTo>
                    <a:pt x="168" y="148"/>
                  </a:lnTo>
                  <a:lnTo>
                    <a:pt x="168" y="148"/>
                  </a:lnTo>
                  <a:lnTo>
                    <a:pt x="168" y="146"/>
                  </a:lnTo>
                  <a:lnTo>
                    <a:pt x="166" y="148"/>
                  </a:lnTo>
                  <a:lnTo>
                    <a:pt x="166" y="148"/>
                  </a:lnTo>
                  <a:lnTo>
                    <a:pt x="166" y="148"/>
                  </a:lnTo>
                  <a:lnTo>
                    <a:pt x="164" y="150"/>
                  </a:lnTo>
                  <a:lnTo>
                    <a:pt x="162" y="150"/>
                  </a:lnTo>
                  <a:lnTo>
                    <a:pt x="160" y="150"/>
                  </a:lnTo>
                  <a:lnTo>
                    <a:pt x="160" y="150"/>
                  </a:lnTo>
                  <a:lnTo>
                    <a:pt x="158" y="152"/>
                  </a:lnTo>
                  <a:lnTo>
                    <a:pt x="156" y="154"/>
                  </a:lnTo>
                  <a:lnTo>
                    <a:pt x="154" y="154"/>
                  </a:lnTo>
                  <a:lnTo>
                    <a:pt x="154" y="154"/>
                  </a:lnTo>
                  <a:lnTo>
                    <a:pt x="151" y="156"/>
                  </a:lnTo>
                  <a:lnTo>
                    <a:pt x="149" y="160"/>
                  </a:lnTo>
                  <a:lnTo>
                    <a:pt x="147" y="162"/>
                  </a:lnTo>
                  <a:lnTo>
                    <a:pt x="147" y="164"/>
                  </a:lnTo>
                  <a:lnTo>
                    <a:pt x="147" y="164"/>
                  </a:lnTo>
                  <a:lnTo>
                    <a:pt x="145" y="166"/>
                  </a:lnTo>
                  <a:lnTo>
                    <a:pt x="145" y="168"/>
                  </a:lnTo>
                  <a:lnTo>
                    <a:pt x="145" y="168"/>
                  </a:lnTo>
                  <a:lnTo>
                    <a:pt x="145" y="168"/>
                  </a:lnTo>
                  <a:lnTo>
                    <a:pt x="145" y="168"/>
                  </a:lnTo>
                  <a:lnTo>
                    <a:pt x="141" y="173"/>
                  </a:lnTo>
                  <a:lnTo>
                    <a:pt x="139" y="173"/>
                  </a:lnTo>
                  <a:lnTo>
                    <a:pt x="139" y="173"/>
                  </a:lnTo>
                  <a:lnTo>
                    <a:pt x="139" y="173"/>
                  </a:lnTo>
                  <a:lnTo>
                    <a:pt x="139" y="173"/>
                  </a:lnTo>
                  <a:lnTo>
                    <a:pt x="137" y="173"/>
                  </a:lnTo>
                  <a:lnTo>
                    <a:pt x="137" y="173"/>
                  </a:lnTo>
                  <a:lnTo>
                    <a:pt x="137" y="173"/>
                  </a:lnTo>
                  <a:lnTo>
                    <a:pt x="137" y="173"/>
                  </a:lnTo>
                  <a:lnTo>
                    <a:pt x="137" y="171"/>
                  </a:lnTo>
                  <a:lnTo>
                    <a:pt x="135" y="171"/>
                  </a:lnTo>
                  <a:lnTo>
                    <a:pt x="135" y="171"/>
                  </a:lnTo>
                  <a:lnTo>
                    <a:pt x="135" y="168"/>
                  </a:lnTo>
                  <a:lnTo>
                    <a:pt x="135" y="168"/>
                  </a:lnTo>
                  <a:lnTo>
                    <a:pt x="135" y="166"/>
                  </a:lnTo>
                  <a:lnTo>
                    <a:pt x="135" y="166"/>
                  </a:lnTo>
                  <a:lnTo>
                    <a:pt x="135" y="166"/>
                  </a:lnTo>
                  <a:lnTo>
                    <a:pt x="135" y="166"/>
                  </a:lnTo>
                  <a:lnTo>
                    <a:pt x="133" y="164"/>
                  </a:lnTo>
                  <a:lnTo>
                    <a:pt x="133" y="164"/>
                  </a:lnTo>
                  <a:lnTo>
                    <a:pt x="133" y="164"/>
                  </a:lnTo>
                  <a:lnTo>
                    <a:pt x="131" y="164"/>
                  </a:lnTo>
                  <a:lnTo>
                    <a:pt x="129" y="166"/>
                  </a:lnTo>
                  <a:lnTo>
                    <a:pt x="127" y="168"/>
                  </a:lnTo>
                  <a:lnTo>
                    <a:pt x="121" y="173"/>
                  </a:lnTo>
                  <a:lnTo>
                    <a:pt x="121" y="173"/>
                  </a:lnTo>
                  <a:lnTo>
                    <a:pt x="121" y="173"/>
                  </a:lnTo>
                  <a:lnTo>
                    <a:pt x="121" y="173"/>
                  </a:lnTo>
                  <a:lnTo>
                    <a:pt x="121" y="175"/>
                  </a:lnTo>
                  <a:lnTo>
                    <a:pt x="121" y="175"/>
                  </a:lnTo>
                  <a:lnTo>
                    <a:pt x="121" y="175"/>
                  </a:lnTo>
                  <a:lnTo>
                    <a:pt x="119" y="177"/>
                  </a:lnTo>
                  <a:lnTo>
                    <a:pt x="119" y="177"/>
                  </a:lnTo>
                  <a:lnTo>
                    <a:pt x="119" y="179"/>
                  </a:lnTo>
                  <a:lnTo>
                    <a:pt x="119" y="179"/>
                  </a:lnTo>
                  <a:lnTo>
                    <a:pt x="119" y="179"/>
                  </a:lnTo>
                  <a:lnTo>
                    <a:pt x="119" y="179"/>
                  </a:lnTo>
                  <a:lnTo>
                    <a:pt x="117" y="179"/>
                  </a:lnTo>
                  <a:lnTo>
                    <a:pt x="117" y="179"/>
                  </a:lnTo>
                  <a:lnTo>
                    <a:pt x="115" y="179"/>
                  </a:lnTo>
                  <a:lnTo>
                    <a:pt x="115" y="179"/>
                  </a:lnTo>
                  <a:lnTo>
                    <a:pt x="113" y="179"/>
                  </a:lnTo>
                  <a:lnTo>
                    <a:pt x="113" y="179"/>
                  </a:lnTo>
                  <a:lnTo>
                    <a:pt x="111" y="179"/>
                  </a:lnTo>
                  <a:lnTo>
                    <a:pt x="111" y="179"/>
                  </a:lnTo>
                  <a:lnTo>
                    <a:pt x="111" y="179"/>
                  </a:lnTo>
                  <a:lnTo>
                    <a:pt x="108" y="181"/>
                  </a:lnTo>
                  <a:lnTo>
                    <a:pt x="108" y="181"/>
                  </a:lnTo>
                  <a:lnTo>
                    <a:pt x="108" y="181"/>
                  </a:lnTo>
                  <a:lnTo>
                    <a:pt x="108" y="181"/>
                  </a:lnTo>
                  <a:lnTo>
                    <a:pt x="108" y="183"/>
                  </a:lnTo>
                  <a:lnTo>
                    <a:pt x="108" y="183"/>
                  </a:lnTo>
                  <a:lnTo>
                    <a:pt x="111" y="183"/>
                  </a:lnTo>
                  <a:lnTo>
                    <a:pt x="111" y="185"/>
                  </a:lnTo>
                  <a:lnTo>
                    <a:pt x="111" y="185"/>
                  </a:lnTo>
                  <a:lnTo>
                    <a:pt x="111" y="187"/>
                  </a:lnTo>
                  <a:lnTo>
                    <a:pt x="111" y="187"/>
                  </a:lnTo>
                  <a:lnTo>
                    <a:pt x="111" y="189"/>
                  </a:lnTo>
                  <a:lnTo>
                    <a:pt x="111" y="189"/>
                  </a:lnTo>
                  <a:lnTo>
                    <a:pt x="111" y="189"/>
                  </a:lnTo>
                  <a:lnTo>
                    <a:pt x="108" y="191"/>
                  </a:lnTo>
                  <a:lnTo>
                    <a:pt x="108" y="195"/>
                  </a:lnTo>
                  <a:lnTo>
                    <a:pt x="106" y="197"/>
                  </a:lnTo>
                  <a:lnTo>
                    <a:pt x="104" y="197"/>
                  </a:lnTo>
                  <a:lnTo>
                    <a:pt x="104" y="197"/>
                  </a:lnTo>
                  <a:lnTo>
                    <a:pt x="102" y="197"/>
                  </a:lnTo>
                  <a:lnTo>
                    <a:pt x="100" y="197"/>
                  </a:lnTo>
                  <a:lnTo>
                    <a:pt x="98" y="197"/>
                  </a:lnTo>
                  <a:lnTo>
                    <a:pt x="98" y="197"/>
                  </a:lnTo>
                  <a:lnTo>
                    <a:pt x="98" y="199"/>
                  </a:lnTo>
                  <a:lnTo>
                    <a:pt x="94" y="201"/>
                  </a:lnTo>
                  <a:lnTo>
                    <a:pt x="90" y="203"/>
                  </a:lnTo>
                  <a:lnTo>
                    <a:pt x="90" y="203"/>
                  </a:lnTo>
                  <a:lnTo>
                    <a:pt x="90" y="203"/>
                  </a:lnTo>
                  <a:lnTo>
                    <a:pt x="88" y="205"/>
                  </a:lnTo>
                  <a:lnTo>
                    <a:pt x="86" y="207"/>
                  </a:lnTo>
                  <a:lnTo>
                    <a:pt x="84" y="207"/>
                  </a:lnTo>
                  <a:lnTo>
                    <a:pt x="84" y="207"/>
                  </a:lnTo>
                  <a:lnTo>
                    <a:pt x="84" y="209"/>
                  </a:lnTo>
                  <a:lnTo>
                    <a:pt x="84" y="209"/>
                  </a:lnTo>
                  <a:lnTo>
                    <a:pt x="82" y="212"/>
                  </a:lnTo>
                  <a:lnTo>
                    <a:pt x="80" y="214"/>
                  </a:lnTo>
                  <a:lnTo>
                    <a:pt x="80" y="214"/>
                  </a:lnTo>
                  <a:lnTo>
                    <a:pt x="80" y="214"/>
                  </a:lnTo>
                  <a:lnTo>
                    <a:pt x="78" y="214"/>
                  </a:lnTo>
                  <a:lnTo>
                    <a:pt x="78" y="214"/>
                  </a:lnTo>
                  <a:lnTo>
                    <a:pt x="78" y="216"/>
                  </a:lnTo>
                  <a:lnTo>
                    <a:pt x="76" y="216"/>
                  </a:lnTo>
                  <a:lnTo>
                    <a:pt x="76" y="218"/>
                  </a:lnTo>
                  <a:lnTo>
                    <a:pt x="74" y="218"/>
                  </a:lnTo>
                  <a:lnTo>
                    <a:pt x="74" y="220"/>
                  </a:lnTo>
                  <a:lnTo>
                    <a:pt x="70" y="222"/>
                  </a:lnTo>
                  <a:lnTo>
                    <a:pt x="68" y="222"/>
                  </a:lnTo>
                  <a:lnTo>
                    <a:pt x="68" y="224"/>
                  </a:lnTo>
                  <a:lnTo>
                    <a:pt x="68" y="224"/>
                  </a:lnTo>
                  <a:lnTo>
                    <a:pt x="65" y="226"/>
                  </a:lnTo>
                  <a:lnTo>
                    <a:pt x="65" y="228"/>
                  </a:lnTo>
                  <a:lnTo>
                    <a:pt x="63" y="228"/>
                  </a:lnTo>
                  <a:lnTo>
                    <a:pt x="59" y="230"/>
                  </a:lnTo>
                  <a:lnTo>
                    <a:pt x="57" y="230"/>
                  </a:lnTo>
                  <a:lnTo>
                    <a:pt x="57" y="230"/>
                  </a:lnTo>
                  <a:lnTo>
                    <a:pt x="57" y="230"/>
                  </a:lnTo>
                  <a:lnTo>
                    <a:pt x="57" y="228"/>
                  </a:lnTo>
                  <a:lnTo>
                    <a:pt x="55" y="228"/>
                  </a:lnTo>
                  <a:lnTo>
                    <a:pt x="55" y="228"/>
                  </a:lnTo>
                  <a:lnTo>
                    <a:pt x="55" y="228"/>
                  </a:lnTo>
                  <a:lnTo>
                    <a:pt x="53" y="230"/>
                  </a:lnTo>
                  <a:lnTo>
                    <a:pt x="51" y="230"/>
                  </a:lnTo>
                  <a:lnTo>
                    <a:pt x="51" y="230"/>
                  </a:lnTo>
                  <a:lnTo>
                    <a:pt x="51" y="230"/>
                  </a:lnTo>
                  <a:lnTo>
                    <a:pt x="51" y="230"/>
                  </a:lnTo>
                  <a:lnTo>
                    <a:pt x="49" y="230"/>
                  </a:lnTo>
                  <a:lnTo>
                    <a:pt x="49" y="230"/>
                  </a:lnTo>
                  <a:lnTo>
                    <a:pt x="49" y="230"/>
                  </a:lnTo>
                  <a:lnTo>
                    <a:pt x="47" y="230"/>
                  </a:lnTo>
                  <a:lnTo>
                    <a:pt x="47" y="230"/>
                  </a:lnTo>
                  <a:lnTo>
                    <a:pt x="45" y="230"/>
                  </a:lnTo>
                  <a:lnTo>
                    <a:pt x="43" y="230"/>
                  </a:lnTo>
                  <a:lnTo>
                    <a:pt x="43" y="232"/>
                  </a:lnTo>
                  <a:lnTo>
                    <a:pt x="41" y="232"/>
                  </a:lnTo>
                  <a:lnTo>
                    <a:pt x="39" y="234"/>
                  </a:lnTo>
                  <a:lnTo>
                    <a:pt x="37" y="236"/>
                  </a:lnTo>
                  <a:lnTo>
                    <a:pt x="37" y="236"/>
                  </a:lnTo>
                  <a:lnTo>
                    <a:pt x="37" y="236"/>
                  </a:lnTo>
                  <a:lnTo>
                    <a:pt x="33" y="238"/>
                  </a:lnTo>
                  <a:lnTo>
                    <a:pt x="33" y="238"/>
                  </a:lnTo>
                  <a:lnTo>
                    <a:pt x="31" y="238"/>
                  </a:lnTo>
                  <a:lnTo>
                    <a:pt x="31" y="238"/>
                  </a:lnTo>
                  <a:lnTo>
                    <a:pt x="31" y="242"/>
                  </a:lnTo>
                  <a:lnTo>
                    <a:pt x="29" y="242"/>
                  </a:lnTo>
                  <a:lnTo>
                    <a:pt x="29" y="244"/>
                  </a:lnTo>
                  <a:lnTo>
                    <a:pt x="29" y="244"/>
                  </a:lnTo>
                  <a:lnTo>
                    <a:pt x="25" y="246"/>
                  </a:lnTo>
                  <a:lnTo>
                    <a:pt x="25" y="246"/>
                  </a:lnTo>
                  <a:lnTo>
                    <a:pt x="25" y="246"/>
                  </a:lnTo>
                  <a:lnTo>
                    <a:pt x="22" y="248"/>
                  </a:lnTo>
                  <a:lnTo>
                    <a:pt x="22" y="250"/>
                  </a:lnTo>
                  <a:lnTo>
                    <a:pt x="22" y="250"/>
                  </a:lnTo>
                  <a:lnTo>
                    <a:pt x="22" y="250"/>
                  </a:lnTo>
                  <a:lnTo>
                    <a:pt x="22" y="250"/>
                  </a:lnTo>
                  <a:lnTo>
                    <a:pt x="22" y="253"/>
                  </a:lnTo>
                  <a:lnTo>
                    <a:pt x="22" y="253"/>
                  </a:lnTo>
                  <a:lnTo>
                    <a:pt x="22" y="255"/>
                  </a:lnTo>
                  <a:lnTo>
                    <a:pt x="22" y="255"/>
                  </a:lnTo>
                  <a:lnTo>
                    <a:pt x="22" y="255"/>
                  </a:lnTo>
                  <a:lnTo>
                    <a:pt x="20" y="257"/>
                  </a:lnTo>
                  <a:lnTo>
                    <a:pt x="20" y="259"/>
                  </a:lnTo>
                  <a:lnTo>
                    <a:pt x="20" y="259"/>
                  </a:lnTo>
                  <a:lnTo>
                    <a:pt x="20" y="259"/>
                  </a:lnTo>
                  <a:lnTo>
                    <a:pt x="20" y="263"/>
                  </a:lnTo>
                  <a:lnTo>
                    <a:pt x="20" y="265"/>
                  </a:lnTo>
                  <a:lnTo>
                    <a:pt x="20" y="265"/>
                  </a:lnTo>
                  <a:lnTo>
                    <a:pt x="18" y="267"/>
                  </a:lnTo>
                  <a:lnTo>
                    <a:pt x="18" y="267"/>
                  </a:lnTo>
                  <a:lnTo>
                    <a:pt x="16" y="269"/>
                  </a:lnTo>
                  <a:lnTo>
                    <a:pt x="16" y="269"/>
                  </a:lnTo>
                  <a:lnTo>
                    <a:pt x="14" y="269"/>
                  </a:lnTo>
                  <a:lnTo>
                    <a:pt x="10" y="269"/>
                  </a:lnTo>
                  <a:lnTo>
                    <a:pt x="8" y="271"/>
                  </a:lnTo>
                  <a:lnTo>
                    <a:pt x="8" y="271"/>
                  </a:lnTo>
                  <a:lnTo>
                    <a:pt x="8" y="269"/>
                  </a:lnTo>
                  <a:lnTo>
                    <a:pt x="8" y="269"/>
                  </a:lnTo>
                  <a:lnTo>
                    <a:pt x="6" y="269"/>
                  </a:lnTo>
                  <a:lnTo>
                    <a:pt x="6" y="269"/>
                  </a:lnTo>
                  <a:lnTo>
                    <a:pt x="6" y="269"/>
                  </a:lnTo>
                  <a:lnTo>
                    <a:pt x="4" y="269"/>
                  </a:lnTo>
                  <a:lnTo>
                    <a:pt x="4" y="271"/>
                  </a:lnTo>
                  <a:lnTo>
                    <a:pt x="2" y="271"/>
                  </a:lnTo>
                  <a:lnTo>
                    <a:pt x="2" y="273"/>
                  </a:lnTo>
                  <a:lnTo>
                    <a:pt x="0" y="273"/>
                  </a:lnTo>
                  <a:lnTo>
                    <a:pt x="0" y="275"/>
                  </a:lnTo>
                  <a:lnTo>
                    <a:pt x="0" y="275"/>
                  </a:lnTo>
                  <a:lnTo>
                    <a:pt x="0" y="277"/>
                  </a:lnTo>
                  <a:lnTo>
                    <a:pt x="0" y="279"/>
                  </a:lnTo>
                  <a:lnTo>
                    <a:pt x="0" y="283"/>
                  </a:lnTo>
                  <a:lnTo>
                    <a:pt x="0" y="289"/>
                  </a:lnTo>
                  <a:lnTo>
                    <a:pt x="0" y="296"/>
                  </a:lnTo>
                  <a:lnTo>
                    <a:pt x="2" y="300"/>
                  </a:lnTo>
                  <a:lnTo>
                    <a:pt x="8" y="300"/>
                  </a:lnTo>
                  <a:lnTo>
                    <a:pt x="14" y="298"/>
                  </a:lnTo>
                  <a:lnTo>
                    <a:pt x="20" y="298"/>
                  </a:lnTo>
                  <a:lnTo>
                    <a:pt x="29" y="296"/>
                  </a:lnTo>
                  <a:lnTo>
                    <a:pt x="35" y="296"/>
                  </a:lnTo>
                  <a:lnTo>
                    <a:pt x="47" y="293"/>
                  </a:lnTo>
                  <a:lnTo>
                    <a:pt x="55" y="291"/>
                  </a:lnTo>
                  <a:lnTo>
                    <a:pt x="61" y="291"/>
                  </a:lnTo>
                  <a:lnTo>
                    <a:pt x="68" y="289"/>
                  </a:lnTo>
                  <a:lnTo>
                    <a:pt x="74" y="287"/>
                  </a:lnTo>
                  <a:lnTo>
                    <a:pt x="80" y="287"/>
                  </a:lnTo>
                  <a:lnTo>
                    <a:pt x="88" y="285"/>
                  </a:lnTo>
                  <a:lnTo>
                    <a:pt x="94" y="285"/>
                  </a:lnTo>
                  <a:lnTo>
                    <a:pt x="100" y="283"/>
                  </a:lnTo>
                  <a:lnTo>
                    <a:pt x="106" y="283"/>
                  </a:lnTo>
                  <a:lnTo>
                    <a:pt x="108" y="283"/>
                  </a:lnTo>
                  <a:lnTo>
                    <a:pt x="133" y="271"/>
                  </a:lnTo>
                  <a:lnTo>
                    <a:pt x="135" y="269"/>
                  </a:lnTo>
                  <a:lnTo>
                    <a:pt x="137" y="269"/>
                  </a:lnTo>
                  <a:lnTo>
                    <a:pt x="137" y="271"/>
                  </a:lnTo>
                  <a:lnTo>
                    <a:pt x="137" y="271"/>
                  </a:lnTo>
                  <a:lnTo>
                    <a:pt x="137" y="271"/>
                  </a:lnTo>
                  <a:lnTo>
                    <a:pt x="139" y="269"/>
                  </a:lnTo>
                  <a:lnTo>
                    <a:pt x="139" y="269"/>
                  </a:lnTo>
                  <a:lnTo>
                    <a:pt x="141" y="267"/>
                  </a:lnTo>
                  <a:lnTo>
                    <a:pt x="141" y="267"/>
                  </a:lnTo>
                  <a:lnTo>
                    <a:pt x="143" y="265"/>
                  </a:lnTo>
                  <a:lnTo>
                    <a:pt x="143" y="265"/>
                  </a:lnTo>
                  <a:lnTo>
                    <a:pt x="143" y="265"/>
                  </a:lnTo>
                  <a:lnTo>
                    <a:pt x="143" y="263"/>
                  </a:lnTo>
                  <a:lnTo>
                    <a:pt x="143" y="263"/>
                  </a:lnTo>
                  <a:lnTo>
                    <a:pt x="145" y="263"/>
                  </a:lnTo>
                  <a:lnTo>
                    <a:pt x="145" y="263"/>
                  </a:lnTo>
                  <a:lnTo>
                    <a:pt x="147" y="263"/>
                  </a:lnTo>
                  <a:lnTo>
                    <a:pt x="149" y="261"/>
                  </a:lnTo>
                  <a:lnTo>
                    <a:pt x="154" y="259"/>
                  </a:lnTo>
                  <a:lnTo>
                    <a:pt x="154" y="259"/>
                  </a:lnTo>
                  <a:lnTo>
                    <a:pt x="158" y="257"/>
                  </a:lnTo>
                  <a:lnTo>
                    <a:pt x="158" y="257"/>
                  </a:lnTo>
                  <a:lnTo>
                    <a:pt x="158" y="257"/>
                  </a:lnTo>
                  <a:lnTo>
                    <a:pt x="160" y="257"/>
                  </a:lnTo>
                  <a:lnTo>
                    <a:pt x="160" y="257"/>
                  </a:lnTo>
                  <a:lnTo>
                    <a:pt x="160" y="255"/>
                  </a:lnTo>
                  <a:lnTo>
                    <a:pt x="164" y="255"/>
                  </a:lnTo>
                  <a:lnTo>
                    <a:pt x="164" y="255"/>
                  </a:lnTo>
                  <a:lnTo>
                    <a:pt x="164" y="255"/>
                  </a:lnTo>
                  <a:lnTo>
                    <a:pt x="164" y="253"/>
                  </a:lnTo>
                  <a:lnTo>
                    <a:pt x="164" y="253"/>
                  </a:lnTo>
                  <a:lnTo>
                    <a:pt x="166" y="250"/>
                  </a:lnTo>
                  <a:lnTo>
                    <a:pt x="166" y="250"/>
                  </a:lnTo>
                  <a:lnTo>
                    <a:pt x="168" y="250"/>
                  </a:lnTo>
                  <a:lnTo>
                    <a:pt x="168" y="250"/>
                  </a:lnTo>
                  <a:lnTo>
                    <a:pt x="168" y="250"/>
                  </a:lnTo>
                  <a:lnTo>
                    <a:pt x="168" y="250"/>
                  </a:lnTo>
                  <a:lnTo>
                    <a:pt x="168" y="250"/>
                  </a:lnTo>
                  <a:lnTo>
                    <a:pt x="168" y="250"/>
                  </a:lnTo>
                  <a:lnTo>
                    <a:pt x="170" y="250"/>
                  </a:lnTo>
                  <a:lnTo>
                    <a:pt x="170" y="250"/>
                  </a:lnTo>
                  <a:lnTo>
                    <a:pt x="176" y="250"/>
                  </a:lnTo>
                  <a:lnTo>
                    <a:pt x="182" y="248"/>
                  </a:lnTo>
                  <a:lnTo>
                    <a:pt x="182" y="248"/>
                  </a:lnTo>
                  <a:lnTo>
                    <a:pt x="186" y="248"/>
                  </a:lnTo>
                  <a:lnTo>
                    <a:pt x="190" y="248"/>
                  </a:lnTo>
                  <a:lnTo>
                    <a:pt x="194" y="248"/>
                  </a:lnTo>
                  <a:lnTo>
                    <a:pt x="201" y="246"/>
                  </a:lnTo>
                  <a:lnTo>
                    <a:pt x="207" y="246"/>
                  </a:lnTo>
                  <a:lnTo>
                    <a:pt x="215" y="244"/>
                  </a:lnTo>
                  <a:lnTo>
                    <a:pt x="223" y="244"/>
                  </a:lnTo>
                  <a:lnTo>
                    <a:pt x="229" y="244"/>
                  </a:lnTo>
                  <a:lnTo>
                    <a:pt x="237" y="242"/>
                  </a:lnTo>
                  <a:lnTo>
                    <a:pt x="246" y="242"/>
                  </a:lnTo>
                  <a:lnTo>
                    <a:pt x="254" y="240"/>
                  </a:lnTo>
                  <a:lnTo>
                    <a:pt x="260" y="240"/>
                  </a:lnTo>
                  <a:lnTo>
                    <a:pt x="268" y="240"/>
                  </a:lnTo>
                  <a:lnTo>
                    <a:pt x="272" y="238"/>
                  </a:lnTo>
                  <a:lnTo>
                    <a:pt x="278" y="238"/>
                  </a:lnTo>
                  <a:lnTo>
                    <a:pt x="283" y="238"/>
                  </a:lnTo>
                  <a:lnTo>
                    <a:pt x="285" y="238"/>
                  </a:lnTo>
                  <a:lnTo>
                    <a:pt x="285" y="238"/>
                  </a:lnTo>
                  <a:lnTo>
                    <a:pt x="285" y="238"/>
                  </a:lnTo>
                  <a:lnTo>
                    <a:pt x="287" y="238"/>
                  </a:lnTo>
                  <a:lnTo>
                    <a:pt x="287" y="238"/>
                  </a:lnTo>
                  <a:lnTo>
                    <a:pt x="287" y="238"/>
                  </a:lnTo>
                  <a:lnTo>
                    <a:pt x="287" y="240"/>
                  </a:lnTo>
                  <a:lnTo>
                    <a:pt x="287" y="240"/>
                  </a:lnTo>
                  <a:lnTo>
                    <a:pt x="287" y="240"/>
                  </a:lnTo>
                  <a:lnTo>
                    <a:pt x="287" y="240"/>
                  </a:lnTo>
                  <a:lnTo>
                    <a:pt x="287" y="244"/>
                  </a:lnTo>
                  <a:lnTo>
                    <a:pt x="287" y="244"/>
                  </a:lnTo>
                  <a:lnTo>
                    <a:pt x="287" y="244"/>
                  </a:lnTo>
                  <a:lnTo>
                    <a:pt x="287" y="244"/>
                  </a:lnTo>
                  <a:lnTo>
                    <a:pt x="287" y="244"/>
                  </a:lnTo>
                  <a:lnTo>
                    <a:pt x="287" y="246"/>
                  </a:lnTo>
                  <a:lnTo>
                    <a:pt x="287" y="246"/>
                  </a:lnTo>
                  <a:lnTo>
                    <a:pt x="287" y="246"/>
                  </a:lnTo>
                  <a:lnTo>
                    <a:pt x="289" y="246"/>
                  </a:lnTo>
                  <a:lnTo>
                    <a:pt x="289" y="246"/>
                  </a:lnTo>
                  <a:lnTo>
                    <a:pt x="289" y="246"/>
                  </a:lnTo>
                  <a:lnTo>
                    <a:pt x="295" y="240"/>
                  </a:lnTo>
                  <a:lnTo>
                    <a:pt x="295" y="240"/>
                  </a:lnTo>
                  <a:lnTo>
                    <a:pt x="297" y="240"/>
                  </a:lnTo>
                  <a:lnTo>
                    <a:pt x="297" y="240"/>
                  </a:lnTo>
                  <a:lnTo>
                    <a:pt x="297" y="240"/>
                  </a:lnTo>
                  <a:lnTo>
                    <a:pt x="301" y="244"/>
                  </a:lnTo>
                  <a:lnTo>
                    <a:pt x="307" y="248"/>
                  </a:lnTo>
                  <a:lnTo>
                    <a:pt x="311" y="255"/>
                  </a:lnTo>
                  <a:lnTo>
                    <a:pt x="311" y="255"/>
                  </a:lnTo>
                  <a:lnTo>
                    <a:pt x="311" y="255"/>
                  </a:lnTo>
                  <a:lnTo>
                    <a:pt x="313" y="267"/>
                  </a:lnTo>
                  <a:lnTo>
                    <a:pt x="313" y="267"/>
                  </a:lnTo>
                  <a:lnTo>
                    <a:pt x="313" y="267"/>
                  </a:lnTo>
                  <a:lnTo>
                    <a:pt x="313" y="267"/>
                  </a:lnTo>
                  <a:lnTo>
                    <a:pt x="315" y="267"/>
                  </a:lnTo>
                  <a:lnTo>
                    <a:pt x="319" y="267"/>
                  </a:lnTo>
                  <a:lnTo>
                    <a:pt x="319" y="267"/>
                  </a:lnTo>
                  <a:lnTo>
                    <a:pt x="321" y="267"/>
                  </a:lnTo>
                  <a:lnTo>
                    <a:pt x="326" y="267"/>
                  </a:lnTo>
                  <a:lnTo>
                    <a:pt x="332" y="265"/>
                  </a:lnTo>
                  <a:lnTo>
                    <a:pt x="338" y="265"/>
                  </a:lnTo>
                  <a:lnTo>
                    <a:pt x="346" y="263"/>
                  </a:lnTo>
                  <a:lnTo>
                    <a:pt x="354" y="261"/>
                  </a:lnTo>
                  <a:lnTo>
                    <a:pt x="362" y="261"/>
                  </a:lnTo>
                  <a:lnTo>
                    <a:pt x="371" y="259"/>
                  </a:lnTo>
                  <a:lnTo>
                    <a:pt x="379" y="259"/>
                  </a:lnTo>
                  <a:lnTo>
                    <a:pt x="385" y="257"/>
                  </a:lnTo>
                  <a:lnTo>
                    <a:pt x="393" y="257"/>
                  </a:lnTo>
                  <a:lnTo>
                    <a:pt x="397" y="255"/>
                  </a:lnTo>
                  <a:lnTo>
                    <a:pt x="401" y="255"/>
                  </a:lnTo>
                  <a:lnTo>
                    <a:pt x="405" y="255"/>
                  </a:lnTo>
                  <a:lnTo>
                    <a:pt x="405" y="253"/>
                  </a:lnTo>
                  <a:lnTo>
                    <a:pt x="410" y="253"/>
                  </a:lnTo>
                  <a:lnTo>
                    <a:pt x="412" y="253"/>
                  </a:lnTo>
                  <a:lnTo>
                    <a:pt x="414" y="253"/>
                  </a:lnTo>
                  <a:lnTo>
                    <a:pt x="418" y="255"/>
                  </a:lnTo>
                  <a:lnTo>
                    <a:pt x="424" y="261"/>
                  </a:lnTo>
                  <a:lnTo>
                    <a:pt x="430" y="265"/>
                  </a:lnTo>
                  <a:lnTo>
                    <a:pt x="438" y="269"/>
                  </a:lnTo>
                  <a:lnTo>
                    <a:pt x="450" y="279"/>
                  </a:lnTo>
                  <a:lnTo>
                    <a:pt x="465" y="289"/>
                  </a:lnTo>
                  <a:lnTo>
                    <a:pt x="471" y="293"/>
                  </a:lnTo>
                  <a:lnTo>
                    <a:pt x="479" y="298"/>
                  </a:lnTo>
                  <a:lnTo>
                    <a:pt x="485" y="304"/>
                  </a:lnTo>
                  <a:lnTo>
                    <a:pt x="491" y="308"/>
                  </a:lnTo>
                  <a:lnTo>
                    <a:pt x="500" y="312"/>
                  </a:lnTo>
                  <a:lnTo>
                    <a:pt x="506" y="318"/>
                  </a:lnTo>
                  <a:lnTo>
                    <a:pt x="514" y="322"/>
                  </a:lnTo>
                  <a:lnTo>
                    <a:pt x="520" y="326"/>
                  </a:lnTo>
                  <a:lnTo>
                    <a:pt x="526" y="332"/>
                  </a:lnTo>
                  <a:lnTo>
                    <a:pt x="528" y="330"/>
                  </a:lnTo>
                  <a:lnTo>
                    <a:pt x="530" y="330"/>
                  </a:lnTo>
                  <a:lnTo>
                    <a:pt x="528" y="332"/>
                  </a:lnTo>
                  <a:lnTo>
                    <a:pt x="528" y="332"/>
                  </a:lnTo>
                  <a:lnTo>
                    <a:pt x="537" y="328"/>
                  </a:lnTo>
                  <a:lnTo>
                    <a:pt x="541" y="326"/>
                  </a:lnTo>
                  <a:lnTo>
                    <a:pt x="543" y="324"/>
                  </a:lnTo>
                  <a:lnTo>
                    <a:pt x="543" y="320"/>
                  </a:lnTo>
                  <a:lnTo>
                    <a:pt x="545" y="320"/>
                  </a:lnTo>
                  <a:lnTo>
                    <a:pt x="545" y="322"/>
                  </a:lnTo>
                  <a:lnTo>
                    <a:pt x="545" y="324"/>
                  </a:lnTo>
                  <a:lnTo>
                    <a:pt x="545" y="324"/>
                  </a:lnTo>
                  <a:lnTo>
                    <a:pt x="547" y="324"/>
                  </a:lnTo>
                  <a:lnTo>
                    <a:pt x="555" y="322"/>
                  </a:lnTo>
                  <a:lnTo>
                    <a:pt x="557" y="322"/>
                  </a:lnTo>
                  <a:lnTo>
                    <a:pt x="557" y="322"/>
                  </a:lnTo>
                  <a:lnTo>
                    <a:pt x="563" y="320"/>
                  </a:lnTo>
                  <a:lnTo>
                    <a:pt x="565" y="320"/>
                  </a:lnTo>
                  <a:lnTo>
                    <a:pt x="573" y="322"/>
                  </a:lnTo>
                  <a:lnTo>
                    <a:pt x="573" y="322"/>
                  </a:lnTo>
                  <a:lnTo>
                    <a:pt x="575" y="320"/>
                  </a:lnTo>
                  <a:lnTo>
                    <a:pt x="575" y="320"/>
                  </a:lnTo>
                  <a:lnTo>
                    <a:pt x="577" y="314"/>
                  </a:lnTo>
                  <a:lnTo>
                    <a:pt x="580" y="310"/>
                  </a:lnTo>
                  <a:lnTo>
                    <a:pt x="580" y="308"/>
                  </a:lnTo>
                  <a:lnTo>
                    <a:pt x="577" y="304"/>
                  </a:lnTo>
                  <a:lnTo>
                    <a:pt x="577" y="304"/>
                  </a:lnTo>
                  <a:lnTo>
                    <a:pt x="580" y="302"/>
                  </a:lnTo>
                  <a:lnTo>
                    <a:pt x="577" y="300"/>
                  </a:lnTo>
                  <a:lnTo>
                    <a:pt x="575" y="291"/>
                  </a:lnTo>
                  <a:lnTo>
                    <a:pt x="573" y="289"/>
                  </a:lnTo>
                  <a:lnTo>
                    <a:pt x="575" y="287"/>
                  </a:lnTo>
                  <a:lnTo>
                    <a:pt x="577" y="293"/>
                  </a:lnTo>
                  <a:lnTo>
                    <a:pt x="580" y="296"/>
                  </a:lnTo>
                  <a:lnTo>
                    <a:pt x="580" y="300"/>
                  </a:lnTo>
                  <a:lnTo>
                    <a:pt x="582" y="308"/>
                  </a:lnTo>
                  <a:lnTo>
                    <a:pt x="582" y="312"/>
                  </a:lnTo>
                  <a:lnTo>
                    <a:pt x="582" y="312"/>
                  </a:lnTo>
                  <a:lnTo>
                    <a:pt x="582" y="312"/>
                  </a:lnTo>
                  <a:lnTo>
                    <a:pt x="582" y="314"/>
                  </a:lnTo>
                  <a:lnTo>
                    <a:pt x="582" y="316"/>
                  </a:lnTo>
                  <a:lnTo>
                    <a:pt x="584" y="312"/>
                  </a:lnTo>
                  <a:lnTo>
                    <a:pt x="584" y="306"/>
                  </a:lnTo>
                  <a:lnTo>
                    <a:pt x="584" y="293"/>
                  </a:lnTo>
                  <a:lnTo>
                    <a:pt x="584" y="291"/>
                  </a:lnTo>
                  <a:lnTo>
                    <a:pt x="586" y="287"/>
                  </a:lnTo>
                  <a:lnTo>
                    <a:pt x="586" y="285"/>
                  </a:lnTo>
                  <a:lnTo>
                    <a:pt x="586" y="283"/>
                  </a:lnTo>
                  <a:lnTo>
                    <a:pt x="588" y="279"/>
                  </a:lnTo>
                  <a:lnTo>
                    <a:pt x="592" y="271"/>
                  </a:lnTo>
                  <a:lnTo>
                    <a:pt x="596" y="263"/>
                  </a:lnTo>
                  <a:lnTo>
                    <a:pt x="606" y="253"/>
                  </a:lnTo>
                  <a:lnTo>
                    <a:pt x="612" y="246"/>
                  </a:lnTo>
                  <a:lnTo>
                    <a:pt x="616" y="244"/>
                  </a:lnTo>
                  <a:lnTo>
                    <a:pt x="616" y="242"/>
                  </a:lnTo>
                  <a:lnTo>
                    <a:pt x="618" y="242"/>
                  </a:lnTo>
                  <a:lnTo>
                    <a:pt x="618" y="242"/>
                  </a:lnTo>
                  <a:lnTo>
                    <a:pt x="616" y="242"/>
                  </a:lnTo>
                  <a:lnTo>
                    <a:pt x="616" y="240"/>
                  </a:lnTo>
                  <a:lnTo>
                    <a:pt x="618" y="240"/>
                  </a:lnTo>
                  <a:lnTo>
                    <a:pt x="616" y="238"/>
                  </a:lnTo>
                  <a:lnTo>
                    <a:pt x="614" y="238"/>
                  </a:lnTo>
                  <a:lnTo>
                    <a:pt x="614" y="238"/>
                  </a:lnTo>
                  <a:lnTo>
                    <a:pt x="612" y="238"/>
                  </a:lnTo>
                  <a:lnTo>
                    <a:pt x="612" y="236"/>
                  </a:lnTo>
                  <a:lnTo>
                    <a:pt x="610" y="236"/>
                  </a:lnTo>
                  <a:lnTo>
                    <a:pt x="610" y="236"/>
                  </a:lnTo>
                  <a:lnTo>
                    <a:pt x="610" y="234"/>
                  </a:lnTo>
                  <a:lnTo>
                    <a:pt x="610" y="234"/>
                  </a:lnTo>
                  <a:lnTo>
                    <a:pt x="612" y="234"/>
                  </a:lnTo>
                  <a:lnTo>
                    <a:pt x="612" y="234"/>
                  </a:lnTo>
                  <a:lnTo>
                    <a:pt x="612" y="234"/>
                  </a:lnTo>
                  <a:lnTo>
                    <a:pt x="614" y="232"/>
                  </a:lnTo>
                  <a:lnTo>
                    <a:pt x="614" y="232"/>
                  </a:lnTo>
                  <a:lnTo>
                    <a:pt x="614" y="228"/>
                  </a:lnTo>
                  <a:lnTo>
                    <a:pt x="614" y="228"/>
                  </a:lnTo>
                  <a:lnTo>
                    <a:pt x="612" y="226"/>
                  </a:lnTo>
                  <a:lnTo>
                    <a:pt x="612" y="226"/>
                  </a:lnTo>
                  <a:lnTo>
                    <a:pt x="610" y="226"/>
                  </a:lnTo>
                  <a:lnTo>
                    <a:pt x="610" y="226"/>
                  </a:lnTo>
                  <a:lnTo>
                    <a:pt x="608" y="220"/>
                  </a:lnTo>
                  <a:lnTo>
                    <a:pt x="610" y="222"/>
                  </a:lnTo>
                  <a:lnTo>
                    <a:pt x="610" y="222"/>
                  </a:lnTo>
                  <a:lnTo>
                    <a:pt x="610" y="220"/>
                  </a:lnTo>
                  <a:lnTo>
                    <a:pt x="612" y="220"/>
                  </a:lnTo>
                  <a:lnTo>
                    <a:pt x="612" y="222"/>
                  </a:lnTo>
                  <a:lnTo>
                    <a:pt x="614" y="222"/>
                  </a:lnTo>
                  <a:lnTo>
                    <a:pt x="614" y="222"/>
                  </a:lnTo>
                  <a:lnTo>
                    <a:pt x="612" y="222"/>
                  </a:lnTo>
                  <a:lnTo>
                    <a:pt x="612" y="224"/>
                  </a:lnTo>
                  <a:lnTo>
                    <a:pt x="614" y="224"/>
                  </a:lnTo>
                  <a:lnTo>
                    <a:pt x="618" y="228"/>
                  </a:lnTo>
                  <a:lnTo>
                    <a:pt x="618" y="228"/>
                  </a:lnTo>
                  <a:lnTo>
                    <a:pt x="618" y="230"/>
                  </a:lnTo>
                  <a:lnTo>
                    <a:pt x="616" y="234"/>
                  </a:lnTo>
                  <a:lnTo>
                    <a:pt x="614" y="236"/>
                  </a:lnTo>
                  <a:lnTo>
                    <a:pt x="618" y="236"/>
                  </a:lnTo>
                  <a:lnTo>
                    <a:pt x="618" y="236"/>
                  </a:lnTo>
                  <a:lnTo>
                    <a:pt x="618" y="236"/>
                  </a:lnTo>
                  <a:lnTo>
                    <a:pt x="620" y="238"/>
                  </a:lnTo>
                  <a:lnTo>
                    <a:pt x="623" y="238"/>
                  </a:lnTo>
                  <a:lnTo>
                    <a:pt x="625" y="236"/>
                  </a:lnTo>
                  <a:lnTo>
                    <a:pt x="625" y="234"/>
                  </a:lnTo>
                  <a:lnTo>
                    <a:pt x="627" y="234"/>
                  </a:lnTo>
                  <a:lnTo>
                    <a:pt x="631" y="226"/>
                  </a:lnTo>
                  <a:lnTo>
                    <a:pt x="633" y="224"/>
                  </a:lnTo>
                  <a:lnTo>
                    <a:pt x="633" y="224"/>
                  </a:lnTo>
                  <a:lnTo>
                    <a:pt x="633" y="222"/>
                  </a:lnTo>
                  <a:lnTo>
                    <a:pt x="633" y="222"/>
                  </a:lnTo>
                  <a:lnTo>
                    <a:pt x="633" y="222"/>
                  </a:lnTo>
                  <a:lnTo>
                    <a:pt x="633" y="222"/>
                  </a:lnTo>
                  <a:lnTo>
                    <a:pt x="635" y="222"/>
                  </a:lnTo>
                  <a:lnTo>
                    <a:pt x="635" y="222"/>
                  </a:lnTo>
                  <a:lnTo>
                    <a:pt x="635" y="222"/>
                  </a:lnTo>
                  <a:lnTo>
                    <a:pt x="637" y="220"/>
                  </a:lnTo>
                  <a:lnTo>
                    <a:pt x="637" y="218"/>
                  </a:lnTo>
                  <a:lnTo>
                    <a:pt x="637" y="218"/>
                  </a:lnTo>
                  <a:lnTo>
                    <a:pt x="635" y="216"/>
                  </a:lnTo>
                  <a:lnTo>
                    <a:pt x="635" y="216"/>
                  </a:lnTo>
                  <a:lnTo>
                    <a:pt x="635" y="214"/>
                  </a:lnTo>
                  <a:lnTo>
                    <a:pt x="637" y="214"/>
                  </a:lnTo>
                  <a:lnTo>
                    <a:pt x="637" y="214"/>
                  </a:lnTo>
                  <a:lnTo>
                    <a:pt x="637" y="216"/>
                  </a:lnTo>
                  <a:lnTo>
                    <a:pt x="639" y="218"/>
                  </a:lnTo>
                  <a:lnTo>
                    <a:pt x="639" y="220"/>
                  </a:lnTo>
                  <a:lnTo>
                    <a:pt x="639" y="222"/>
                  </a:lnTo>
                  <a:lnTo>
                    <a:pt x="639" y="222"/>
                  </a:lnTo>
                  <a:lnTo>
                    <a:pt x="641" y="222"/>
                  </a:lnTo>
                  <a:lnTo>
                    <a:pt x="641" y="220"/>
                  </a:lnTo>
                  <a:lnTo>
                    <a:pt x="653" y="214"/>
                  </a:lnTo>
                  <a:lnTo>
                    <a:pt x="655" y="212"/>
                  </a:lnTo>
                  <a:lnTo>
                    <a:pt x="672" y="209"/>
                  </a:lnTo>
                  <a:lnTo>
                    <a:pt x="672" y="207"/>
                  </a:lnTo>
                  <a:lnTo>
                    <a:pt x="670" y="205"/>
                  </a:lnTo>
                  <a:lnTo>
                    <a:pt x="670" y="205"/>
                  </a:lnTo>
                  <a:lnTo>
                    <a:pt x="668" y="207"/>
                  </a:lnTo>
                  <a:lnTo>
                    <a:pt x="668" y="207"/>
                  </a:lnTo>
                  <a:lnTo>
                    <a:pt x="666" y="207"/>
                  </a:lnTo>
                  <a:lnTo>
                    <a:pt x="668" y="205"/>
                  </a:lnTo>
                  <a:lnTo>
                    <a:pt x="668" y="203"/>
                  </a:lnTo>
                  <a:lnTo>
                    <a:pt x="670" y="201"/>
                  </a:lnTo>
                  <a:lnTo>
                    <a:pt x="672" y="201"/>
                  </a:lnTo>
                  <a:lnTo>
                    <a:pt x="674" y="201"/>
                  </a:lnTo>
                  <a:lnTo>
                    <a:pt x="674" y="203"/>
                  </a:lnTo>
                  <a:lnTo>
                    <a:pt x="676" y="207"/>
                  </a:lnTo>
                  <a:lnTo>
                    <a:pt x="676" y="209"/>
                  </a:lnTo>
                  <a:lnTo>
                    <a:pt x="680" y="209"/>
                  </a:lnTo>
                  <a:lnTo>
                    <a:pt x="680" y="207"/>
                  </a:lnTo>
                  <a:lnTo>
                    <a:pt x="678" y="197"/>
                  </a:lnTo>
                  <a:lnTo>
                    <a:pt x="678" y="197"/>
                  </a:lnTo>
                  <a:lnTo>
                    <a:pt x="680" y="199"/>
                  </a:lnTo>
                  <a:lnTo>
                    <a:pt x="682" y="201"/>
                  </a:lnTo>
                  <a:lnTo>
                    <a:pt x="682" y="203"/>
                  </a:lnTo>
                  <a:lnTo>
                    <a:pt x="682" y="203"/>
                  </a:lnTo>
                  <a:lnTo>
                    <a:pt x="684" y="205"/>
                  </a:lnTo>
                  <a:lnTo>
                    <a:pt x="686" y="205"/>
                  </a:lnTo>
                  <a:lnTo>
                    <a:pt x="688" y="205"/>
                  </a:lnTo>
                  <a:lnTo>
                    <a:pt x="688" y="205"/>
                  </a:lnTo>
                  <a:lnTo>
                    <a:pt x="690" y="203"/>
                  </a:lnTo>
                  <a:lnTo>
                    <a:pt x="690" y="203"/>
                  </a:lnTo>
                  <a:lnTo>
                    <a:pt x="690" y="201"/>
                  </a:lnTo>
                  <a:lnTo>
                    <a:pt x="688" y="201"/>
                  </a:lnTo>
                  <a:lnTo>
                    <a:pt x="688" y="201"/>
                  </a:lnTo>
                  <a:lnTo>
                    <a:pt x="690" y="199"/>
                  </a:lnTo>
                  <a:lnTo>
                    <a:pt x="690" y="199"/>
                  </a:lnTo>
                  <a:lnTo>
                    <a:pt x="690" y="199"/>
                  </a:lnTo>
                  <a:lnTo>
                    <a:pt x="690" y="199"/>
                  </a:lnTo>
                  <a:lnTo>
                    <a:pt x="692" y="195"/>
                  </a:lnTo>
                  <a:lnTo>
                    <a:pt x="694" y="193"/>
                  </a:lnTo>
                  <a:lnTo>
                    <a:pt x="694" y="191"/>
                  </a:lnTo>
                  <a:lnTo>
                    <a:pt x="694" y="191"/>
                  </a:lnTo>
                  <a:lnTo>
                    <a:pt x="694" y="189"/>
                  </a:lnTo>
                  <a:lnTo>
                    <a:pt x="694" y="187"/>
                  </a:lnTo>
                  <a:lnTo>
                    <a:pt x="694" y="187"/>
                  </a:lnTo>
                  <a:lnTo>
                    <a:pt x="694" y="187"/>
                  </a:lnTo>
                  <a:lnTo>
                    <a:pt x="696" y="187"/>
                  </a:lnTo>
                  <a:lnTo>
                    <a:pt x="696" y="189"/>
                  </a:lnTo>
                  <a:lnTo>
                    <a:pt x="696" y="189"/>
                  </a:lnTo>
                  <a:lnTo>
                    <a:pt x="698" y="187"/>
                  </a:lnTo>
                  <a:lnTo>
                    <a:pt x="700" y="185"/>
                  </a:lnTo>
                  <a:lnTo>
                    <a:pt x="700" y="185"/>
                  </a:lnTo>
                  <a:lnTo>
                    <a:pt x="700" y="183"/>
                  </a:lnTo>
                  <a:lnTo>
                    <a:pt x="698" y="183"/>
                  </a:lnTo>
                  <a:lnTo>
                    <a:pt x="698" y="181"/>
                  </a:lnTo>
                  <a:lnTo>
                    <a:pt x="698" y="181"/>
                  </a:lnTo>
                  <a:lnTo>
                    <a:pt x="700" y="179"/>
                  </a:lnTo>
                  <a:lnTo>
                    <a:pt x="700" y="179"/>
                  </a:lnTo>
                  <a:lnTo>
                    <a:pt x="702" y="179"/>
                  </a:lnTo>
                  <a:lnTo>
                    <a:pt x="702" y="179"/>
                  </a:lnTo>
                  <a:lnTo>
                    <a:pt x="704" y="177"/>
                  </a:lnTo>
                  <a:lnTo>
                    <a:pt x="704" y="177"/>
                  </a:lnTo>
                  <a:lnTo>
                    <a:pt x="704" y="175"/>
                  </a:lnTo>
                  <a:lnTo>
                    <a:pt x="702" y="175"/>
                  </a:lnTo>
                  <a:lnTo>
                    <a:pt x="700" y="173"/>
                  </a:lnTo>
                  <a:lnTo>
                    <a:pt x="698" y="171"/>
                  </a:lnTo>
                  <a:lnTo>
                    <a:pt x="696" y="171"/>
                  </a:lnTo>
                  <a:lnTo>
                    <a:pt x="696" y="173"/>
                  </a:lnTo>
                  <a:lnTo>
                    <a:pt x="698" y="175"/>
                  </a:lnTo>
                  <a:lnTo>
                    <a:pt x="700" y="177"/>
                  </a:lnTo>
                  <a:lnTo>
                    <a:pt x="698" y="177"/>
                  </a:lnTo>
                  <a:lnTo>
                    <a:pt x="696" y="177"/>
                  </a:lnTo>
                  <a:lnTo>
                    <a:pt x="696" y="179"/>
                  </a:lnTo>
                  <a:lnTo>
                    <a:pt x="694" y="181"/>
                  </a:lnTo>
                  <a:lnTo>
                    <a:pt x="694" y="181"/>
                  </a:lnTo>
                  <a:lnTo>
                    <a:pt x="690" y="181"/>
                  </a:lnTo>
                  <a:lnTo>
                    <a:pt x="688" y="183"/>
                  </a:lnTo>
                  <a:lnTo>
                    <a:pt x="688" y="183"/>
                  </a:lnTo>
                  <a:lnTo>
                    <a:pt x="688" y="181"/>
                  </a:lnTo>
                  <a:lnTo>
                    <a:pt x="688" y="181"/>
                  </a:lnTo>
                  <a:lnTo>
                    <a:pt x="688" y="181"/>
                  </a:lnTo>
                  <a:lnTo>
                    <a:pt x="688" y="179"/>
                  </a:lnTo>
                  <a:lnTo>
                    <a:pt x="688" y="179"/>
                  </a:lnTo>
                  <a:lnTo>
                    <a:pt x="688" y="179"/>
                  </a:lnTo>
                  <a:lnTo>
                    <a:pt x="690" y="177"/>
                  </a:lnTo>
                  <a:lnTo>
                    <a:pt x="692" y="177"/>
                  </a:lnTo>
                  <a:lnTo>
                    <a:pt x="690" y="175"/>
                  </a:lnTo>
                  <a:lnTo>
                    <a:pt x="688" y="173"/>
                  </a:lnTo>
                  <a:lnTo>
                    <a:pt x="688" y="173"/>
                  </a:lnTo>
                  <a:lnTo>
                    <a:pt x="688" y="171"/>
                  </a:lnTo>
                  <a:lnTo>
                    <a:pt x="688" y="171"/>
                  </a:lnTo>
                  <a:lnTo>
                    <a:pt x="688" y="171"/>
                  </a:lnTo>
                  <a:lnTo>
                    <a:pt x="686" y="168"/>
                  </a:lnTo>
                  <a:lnTo>
                    <a:pt x="686" y="168"/>
                  </a:lnTo>
                  <a:lnTo>
                    <a:pt x="686" y="168"/>
                  </a:lnTo>
                  <a:lnTo>
                    <a:pt x="686" y="171"/>
                  </a:lnTo>
                  <a:lnTo>
                    <a:pt x="684" y="173"/>
                  </a:lnTo>
                  <a:lnTo>
                    <a:pt x="684" y="173"/>
                  </a:lnTo>
                  <a:lnTo>
                    <a:pt x="684" y="175"/>
                  </a:lnTo>
                  <a:lnTo>
                    <a:pt x="686" y="177"/>
                  </a:lnTo>
                  <a:lnTo>
                    <a:pt x="686" y="177"/>
                  </a:lnTo>
                  <a:lnTo>
                    <a:pt x="686" y="179"/>
                  </a:lnTo>
                  <a:lnTo>
                    <a:pt x="684" y="177"/>
                  </a:lnTo>
                  <a:lnTo>
                    <a:pt x="682" y="177"/>
                  </a:lnTo>
                  <a:lnTo>
                    <a:pt x="680" y="177"/>
                  </a:lnTo>
                  <a:lnTo>
                    <a:pt x="680" y="177"/>
                  </a:lnTo>
                  <a:lnTo>
                    <a:pt x="678" y="179"/>
                  </a:lnTo>
                  <a:lnTo>
                    <a:pt x="678" y="181"/>
                  </a:lnTo>
                  <a:lnTo>
                    <a:pt x="682" y="183"/>
                  </a:lnTo>
                  <a:lnTo>
                    <a:pt x="682" y="185"/>
                  </a:lnTo>
                  <a:lnTo>
                    <a:pt x="680" y="185"/>
                  </a:lnTo>
                  <a:lnTo>
                    <a:pt x="678" y="183"/>
                  </a:lnTo>
                  <a:lnTo>
                    <a:pt x="676" y="183"/>
                  </a:lnTo>
                  <a:lnTo>
                    <a:pt x="676" y="183"/>
                  </a:lnTo>
                  <a:lnTo>
                    <a:pt x="676" y="181"/>
                  </a:lnTo>
                  <a:lnTo>
                    <a:pt x="674" y="181"/>
                  </a:lnTo>
                  <a:lnTo>
                    <a:pt x="674" y="181"/>
                  </a:lnTo>
                  <a:lnTo>
                    <a:pt x="674" y="181"/>
                  </a:lnTo>
                  <a:lnTo>
                    <a:pt x="672" y="181"/>
                  </a:lnTo>
                  <a:lnTo>
                    <a:pt x="670" y="183"/>
                  </a:lnTo>
                  <a:lnTo>
                    <a:pt x="670" y="185"/>
                  </a:lnTo>
                  <a:lnTo>
                    <a:pt x="668" y="187"/>
                  </a:lnTo>
                  <a:lnTo>
                    <a:pt x="668" y="187"/>
                  </a:lnTo>
                  <a:lnTo>
                    <a:pt x="666" y="189"/>
                  </a:lnTo>
                  <a:lnTo>
                    <a:pt x="663" y="191"/>
                  </a:lnTo>
                  <a:lnTo>
                    <a:pt x="663" y="191"/>
                  </a:lnTo>
                  <a:lnTo>
                    <a:pt x="663" y="191"/>
                  </a:lnTo>
                  <a:lnTo>
                    <a:pt x="663" y="191"/>
                  </a:lnTo>
                  <a:lnTo>
                    <a:pt x="661" y="189"/>
                  </a:lnTo>
                  <a:lnTo>
                    <a:pt x="659" y="189"/>
                  </a:lnTo>
                  <a:lnTo>
                    <a:pt x="653" y="187"/>
                  </a:lnTo>
                  <a:lnTo>
                    <a:pt x="649" y="187"/>
                  </a:lnTo>
                  <a:lnTo>
                    <a:pt x="647" y="187"/>
                  </a:lnTo>
                  <a:lnTo>
                    <a:pt x="643" y="183"/>
                  </a:lnTo>
                  <a:lnTo>
                    <a:pt x="639" y="179"/>
                  </a:lnTo>
                  <a:lnTo>
                    <a:pt x="637" y="177"/>
                  </a:lnTo>
                  <a:lnTo>
                    <a:pt x="635" y="177"/>
                  </a:lnTo>
                  <a:lnTo>
                    <a:pt x="635" y="177"/>
                  </a:lnTo>
                  <a:lnTo>
                    <a:pt x="631" y="171"/>
                  </a:lnTo>
                  <a:lnTo>
                    <a:pt x="633" y="171"/>
                  </a:lnTo>
                  <a:lnTo>
                    <a:pt x="639" y="177"/>
                  </a:lnTo>
                  <a:lnTo>
                    <a:pt x="643" y="177"/>
                  </a:lnTo>
                  <a:lnTo>
                    <a:pt x="643" y="177"/>
                  </a:lnTo>
                  <a:lnTo>
                    <a:pt x="649" y="181"/>
                  </a:lnTo>
                  <a:lnTo>
                    <a:pt x="651" y="183"/>
                  </a:lnTo>
                  <a:lnTo>
                    <a:pt x="655" y="183"/>
                  </a:lnTo>
                  <a:lnTo>
                    <a:pt x="657" y="183"/>
                  </a:lnTo>
                  <a:lnTo>
                    <a:pt x="661" y="183"/>
                  </a:lnTo>
                  <a:lnTo>
                    <a:pt x="663" y="181"/>
                  </a:lnTo>
                  <a:lnTo>
                    <a:pt x="666" y="179"/>
                  </a:lnTo>
                  <a:lnTo>
                    <a:pt x="668" y="177"/>
                  </a:lnTo>
                  <a:lnTo>
                    <a:pt x="670" y="173"/>
                  </a:lnTo>
                  <a:lnTo>
                    <a:pt x="672" y="171"/>
                  </a:lnTo>
                  <a:lnTo>
                    <a:pt x="672" y="168"/>
                  </a:lnTo>
                  <a:lnTo>
                    <a:pt x="674" y="166"/>
                  </a:lnTo>
                  <a:lnTo>
                    <a:pt x="676" y="164"/>
                  </a:lnTo>
                  <a:lnTo>
                    <a:pt x="676" y="162"/>
                  </a:lnTo>
                  <a:lnTo>
                    <a:pt x="674" y="158"/>
                  </a:lnTo>
                  <a:lnTo>
                    <a:pt x="672" y="160"/>
                  </a:lnTo>
                  <a:lnTo>
                    <a:pt x="672" y="160"/>
                  </a:lnTo>
                  <a:lnTo>
                    <a:pt x="674" y="160"/>
                  </a:lnTo>
                  <a:lnTo>
                    <a:pt x="674" y="160"/>
                  </a:lnTo>
                  <a:lnTo>
                    <a:pt x="674" y="160"/>
                  </a:lnTo>
                  <a:lnTo>
                    <a:pt x="674" y="162"/>
                  </a:lnTo>
                  <a:lnTo>
                    <a:pt x="672" y="162"/>
                  </a:lnTo>
                  <a:lnTo>
                    <a:pt x="672" y="162"/>
                  </a:lnTo>
                  <a:lnTo>
                    <a:pt x="670" y="162"/>
                  </a:lnTo>
                  <a:lnTo>
                    <a:pt x="666" y="162"/>
                  </a:lnTo>
                  <a:lnTo>
                    <a:pt x="666" y="162"/>
                  </a:lnTo>
                  <a:lnTo>
                    <a:pt x="666" y="160"/>
                  </a:lnTo>
                  <a:lnTo>
                    <a:pt x="668" y="160"/>
                  </a:lnTo>
                  <a:lnTo>
                    <a:pt x="668" y="158"/>
                  </a:lnTo>
                  <a:lnTo>
                    <a:pt x="670" y="158"/>
                  </a:lnTo>
                  <a:lnTo>
                    <a:pt x="670" y="158"/>
                  </a:lnTo>
                  <a:lnTo>
                    <a:pt x="670" y="156"/>
                  </a:lnTo>
                  <a:lnTo>
                    <a:pt x="672" y="156"/>
                  </a:lnTo>
                  <a:lnTo>
                    <a:pt x="674" y="156"/>
                  </a:lnTo>
                  <a:lnTo>
                    <a:pt x="676" y="156"/>
                  </a:lnTo>
                  <a:lnTo>
                    <a:pt x="676" y="156"/>
                  </a:lnTo>
                  <a:lnTo>
                    <a:pt x="678" y="154"/>
                  </a:lnTo>
                  <a:lnTo>
                    <a:pt x="676" y="154"/>
                  </a:lnTo>
                  <a:lnTo>
                    <a:pt x="676" y="154"/>
                  </a:lnTo>
                  <a:lnTo>
                    <a:pt x="674" y="152"/>
                  </a:lnTo>
                  <a:lnTo>
                    <a:pt x="674" y="152"/>
                  </a:lnTo>
                  <a:lnTo>
                    <a:pt x="678" y="152"/>
                  </a:lnTo>
                  <a:lnTo>
                    <a:pt x="680" y="152"/>
                  </a:lnTo>
                  <a:lnTo>
                    <a:pt x="680" y="150"/>
                  </a:lnTo>
                  <a:lnTo>
                    <a:pt x="680" y="150"/>
                  </a:lnTo>
                  <a:lnTo>
                    <a:pt x="680" y="148"/>
                  </a:lnTo>
                  <a:lnTo>
                    <a:pt x="680" y="146"/>
                  </a:lnTo>
                  <a:lnTo>
                    <a:pt x="678" y="146"/>
                  </a:lnTo>
                  <a:lnTo>
                    <a:pt x="678" y="144"/>
                  </a:lnTo>
                  <a:lnTo>
                    <a:pt x="678" y="144"/>
                  </a:lnTo>
                  <a:lnTo>
                    <a:pt x="676" y="144"/>
                  </a:lnTo>
                  <a:lnTo>
                    <a:pt x="666" y="144"/>
                  </a:lnTo>
                  <a:lnTo>
                    <a:pt x="659" y="142"/>
                  </a:lnTo>
                  <a:lnTo>
                    <a:pt x="653" y="140"/>
                  </a:lnTo>
                  <a:lnTo>
                    <a:pt x="647" y="140"/>
                  </a:lnTo>
                  <a:lnTo>
                    <a:pt x="645" y="140"/>
                  </a:lnTo>
                  <a:lnTo>
                    <a:pt x="643" y="138"/>
                  </a:lnTo>
                  <a:lnTo>
                    <a:pt x="639" y="138"/>
                  </a:lnTo>
                  <a:lnTo>
                    <a:pt x="635" y="138"/>
                  </a:lnTo>
                  <a:lnTo>
                    <a:pt x="633" y="140"/>
                  </a:lnTo>
                  <a:lnTo>
                    <a:pt x="631" y="136"/>
                  </a:lnTo>
                  <a:lnTo>
                    <a:pt x="631" y="136"/>
                  </a:lnTo>
                  <a:lnTo>
                    <a:pt x="629" y="134"/>
                  </a:lnTo>
                  <a:lnTo>
                    <a:pt x="627" y="134"/>
                  </a:lnTo>
                  <a:lnTo>
                    <a:pt x="627" y="134"/>
                  </a:lnTo>
                  <a:lnTo>
                    <a:pt x="625" y="130"/>
                  </a:lnTo>
                  <a:lnTo>
                    <a:pt x="629" y="132"/>
                  </a:lnTo>
                  <a:lnTo>
                    <a:pt x="631" y="134"/>
                  </a:lnTo>
                  <a:lnTo>
                    <a:pt x="635" y="134"/>
                  </a:lnTo>
                  <a:lnTo>
                    <a:pt x="639" y="136"/>
                  </a:lnTo>
                  <a:lnTo>
                    <a:pt x="641" y="136"/>
                  </a:lnTo>
                  <a:lnTo>
                    <a:pt x="645" y="134"/>
                  </a:lnTo>
                  <a:lnTo>
                    <a:pt x="647" y="136"/>
                  </a:lnTo>
                  <a:lnTo>
                    <a:pt x="649" y="136"/>
                  </a:lnTo>
                  <a:lnTo>
                    <a:pt x="651" y="138"/>
                  </a:lnTo>
                  <a:lnTo>
                    <a:pt x="657" y="136"/>
                  </a:lnTo>
                  <a:lnTo>
                    <a:pt x="659" y="136"/>
                  </a:lnTo>
                  <a:lnTo>
                    <a:pt x="659" y="134"/>
                  </a:lnTo>
                  <a:lnTo>
                    <a:pt x="659" y="134"/>
                  </a:lnTo>
                  <a:lnTo>
                    <a:pt x="659" y="134"/>
                  </a:lnTo>
                  <a:lnTo>
                    <a:pt x="661" y="134"/>
                  </a:lnTo>
                  <a:lnTo>
                    <a:pt x="661" y="136"/>
                  </a:lnTo>
                  <a:lnTo>
                    <a:pt x="663" y="136"/>
                  </a:lnTo>
                  <a:lnTo>
                    <a:pt x="666" y="136"/>
                  </a:lnTo>
                  <a:lnTo>
                    <a:pt x="668" y="136"/>
                  </a:lnTo>
                  <a:lnTo>
                    <a:pt x="668" y="134"/>
                  </a:lnTo>
                  <a:lnTo>
                    <a:pt x="668" y="134"/>
                  </a:lnTo>
                  <a:lnTo>
                    <a:pt x="666" y="134"/>
                  </a:lnTo>
                  <a:lnTo>
                    <a:pt x="666" y="134"/>
                  </a:lnTo>
                  <a:lnTo>
                    <a:pt x="666" y="134"/>
                  </a:lnTo>
                  <a:lnTo>
                    <a:pt x="666" y="134"/>
                  </a:lnTo>
                  <a:lnTo>
                    <a:pt x="666" y="132"/>
                  </a:lnTo>
                  <a:lnTo>
                    <a:pt x="666" y="132"/>
                  </a:lnTo>
                  <a:lnTo>
                    <a:pt x="666" y="132"/>
                  </a:lnTo>
                  <a:lnTo>
                    <a:pt x="666" y="132"/>
                  </a:lnTo>
                  <a:lnTo>
                    <a:pt x="663" y="132"/>
                  </a:lnTo>
                  <a:lnTo>
                    <a:pt x="663" y="130"/>
                  </a:lnTo>
                  <a:lnTo>
                    <a:pt x="663" y="130"/>
                  </a:lnTo>
                  <a:lnTo>
                    <a:pt x="663" y="128"/>
                  </a:lnTo>
                  <a:lnTo>
                    <a:pt x="663" y="125"/>
                  </a:lnTo>
                  <a:lnTo>
                    <a:pt x="661" y="125"/>
                  </a:lnTo>
                  <a:lnTo>
                    <a:pt x="661" y="123"/>
                  </a:lnTo>
                  <a:lnTo>
                    <a:pt x="659" y="123"/>
                  </a:lnTo>
                  <a:lnTo>
                    <a:pt x="661" y="121"/>
                  </a:lnTo>
                  <a:lnTo>
                    <a:pt x="663" y="119"/>
                  </a:lnTo>
                  <a:lnTo>
                    <a:pt x="666" y="119"/>
                  </a:lnTo>
                  <a:lnTo>
                    <a:pt x="670" y="119"/>
                  </a:lnTo>
                  <a:lnTo>
                    <a:pt x="672" y="119"/>
                  </a:lnTo>
                  <a:lnTo>
                    <a:pt x="674" y="119"/>
                  </a:lnTo>
                  <a:lnTo>
                    <a:pt x="674" y="121"/>
                  </a:lnTo>
                  <a:lnTo>
                    <a:pt x="674" y="123"/>
                  </a:lnTo>
                  <a:lnTo>
                    <a:pt x="668" y="123"/>
                  </a:lnTo>
                  <a:lnTo>
                    <a:pt x="666" y="123"/>
                  </a:lnTo>
                  <a:lnTo>
                    <a:pt x="666" y="125"/>
                  </a:lnTo>
                  <a:lnTo>
                    <a:pt x="668" y="128"/>
                  </a:lnTo>
                  <a:lnTo>
                    <a:pt x="670" y="128"/>
                  </a:lnTo>
                  <a:lnTo>
                    <a:pt x="670" y="128"/>
                  </a:lnTo>
                  <a:lnTo>
                    <a:pt x="668" y="130"/>
                  </a:lnTo>
                  <a:lnTo>
                    <a:pt x="670" y="130"/>
                  </a:lnTo>
                  <a:lnTo>
                    <a:pt x="674" y="132"/>
                  </a:lnTo>
                  <a:lnTo>
                    <a:pt x="674" y="132"/>
                  </a:lnTo>
                  <a:lnTo>
                    <a:pt x="674" y="132"/>
                  </a:lnTo>
                  <a:lnTo>
                    <a:pt x="674" y="132"/>
                  </a:lnTo>
                  <a:lnTo>
                    <a:pt x="672" y="134"/>
                  </a:lnTo>
                  <a:lnTo>
                    <a:pt x="674" y="134"/>
                  </a:lnTo>
                  <a:lnTo>
                    <a:pt x="676" y="136"/>
                  </a:lnTo>
                  <a:lnTo>
                    <a:pt x="678" y="136"/>
                  </a:lnTo>
                  <a:lnTo>
                    <a:pt x="678" y="136"/>
                  </a:lnTo>
                  <a:lnTo>
                    <a:pt x="678" y="136"/>
                  </a:lnTo>
                  <a:lnTo>
                    <a:pt x="678" y="134"/>
                  </a:lnTo>
                  <a:lnTo>
                    <a:pt x="676" y="134"/>
                  </a:lnTo>
                  <a:lnTo>
                    <a:pt x="676" y="134"/>
                  </a:lnTo>
                  <a:lnTo>
                    <a:pt x="678" y="132"/>
                  </a:lnTo>
                  <a:lnTo>
                    <a:pt x="678" y="132"/>
                  </a:lnTo>
                  <a:lnTo>
                    <a:pt x="680" y="134"/>
                  </a:lnTo>
                  <a:lnTo>
                    <a:pt x="680" y="130"/>
                  </a:lnTo>
                  <a:lnTo>
                    <a:pt x="680" y="128"/>
                  </a:lnTo>
                  <a:lnTo>
                    <a:pt x="680" y="125"/>
                  </a:lnTo>
                  <a:lnTo>
                    <a:pt x="682" y="125"/>
                  </a:lnTo>
                  <a:lnTo>
                    <a:pt x="684" y="128"/>
                  </a:lnTo>
                  <a:lnTo>
                    <a:pt x="684" y="132"/>
                  </a:lnTo>
                  <a:lnTo>
                    <a:pt x="684" y="134"/>
                  </a:lnTo>
                  <a:lnTo>
                    <a:pt x="686" y="134"/>
                  </a:lnTo>
                  <a:lnTo>
                    <a:pt x="686" y="134"/>
                  </a:lnTo>
                  <a:lnTo>
                    <a:pt x="682" y="136"/>
                  </a:lnTo>
                  <a:lnTo>
                    <a:pt x="682" y="136"/>
                  </a:lnTo>
                  <a:lnTo>
                    <a:pt x="684" y="136"/>
                  </a:lnTo>
                  <a:lnTo>
                    <a:pt x="684" y="136"/>
                  </a:lnTo>
                  <a:lnTo>
                    <a:pt x="684" y="136"/>
                  </a:lnTo>
                  <a:lnTo>
                    <a:pt x="686" y="138"/>
                  </a:lnTo>
                  <a:lnTo>
                    <a:pt x="686" y="138"/>
                  </a:lnTo>
                  <a:lnTo>
                    <a:pt x="688" y="138"/>
                  </a:lnTo>
                  <a:lnTo>
                    <a:pt x="688" y="136"/>
                  </a:lnTo>
                  <a:lnTo>
                    <a:pt x="688" y="134"/>
                  </a:lnTo>
                  <a:lnTo>
                    <a:pt x="686" y="134"/>
                  </a:lnTo>
                  <a:lnTo>
                    <a:pt x="686" y="134"/>
                  </a:lnTo>
                  <a:lnTo>
                    <a:pt x="686" y="132"/>
                  </a:lnTo>
                  <a:lnTo>
                    <a:pt x="686" y="130"/>
                  </a:lnTo>
                  <a:lnTo>
                    <a:pt x="688" y="132"/>
                  </a:lnTo>
                  <a:lnTo>
                    <a:pt x="690" y="132"/>
                  </a:lnTo>
                  <a:lnTo>
                    <a:pt x="692" y="134"/>
                  </a:lnTo>
                  <a:lnTo>
                    <a:pt x="694" y="136"/>
                  </a:lnTo>
                  <a:lnTo>
                    <a:pt x="696" y="136"/>
                  </a:lnTo>
                  <a:lnTo>
                    <a:pt x="696" y="134"/>
                  </a:lnTo>
                  <a:lnTo>
                    <a:pt x="696" y="134"/>
                  </a:lnTo>
                  <a:lnTo>
                    <a:pt x="696" y="132"/>
                  </a:lnTo>
                  <a:lnTo>
                    <a:pt x="696" y="132"/>
                  </a:lnTo>
                  <a:lnTo>
                    <a:pt x="698" y="134"/>
                  </a:lnTo>
                  <a:lnTo>
                    <a:pt x="700" y="134"/>
                  </a:lnTo>
                  <a:lnTo>
                    <a:pt x="707" y="134"/>
                  </a:lnTo>
                  <a:lnTo>
                    <a:pt x="707" y="134"/>
                  </a:lnTo>
                  <a:lnTo>
                    <a:pt x="707" y="132"/>
                  </a:lnTo>
                  <a:lnTo>
                    <a:pt x="709" y="130"/>
                  </a:lnTo>
                  <a:lnTo>
                    <a:pt x="711" y="128"/>
                  </a:lnTo>
                  <a:lnTo>
                    <a:pt x="713" y="128"/>
                  </a:lnTo>
                  <a:lnTo>
                    <a:pt x="713" y="128"/>
                  </a:lnTo>
                  <a:lnTo>
                    <a:pt x="711" y="125"/>
                  </a:lnTo>
                  <a:lnTo>
                    <a:pt x="711" y="123"/>
                  </a:lnTo>
                  <a:lnTo>
                    <a:pt x="713" y="121"/>
                  </a:lnTo>
                  <a:lnTo>
                    <a:pt x="715" y="121"/>
                  </a:lnTo>
                  <a:lnTo>
                    <a:pt x="713" y="123"/>
                  </a:lnTo>
                  <a:lnTo>
                    <a:pt x="715" y="123"/>
                  </a:lnTo>
                  <a:lnTo>
                    <a:pt x="715" y="123"/>
                  </a:lnTo>
                  <a:lnTo>
                    <a:pt x="715" y="123"/>
                  </a:lnTo>
                  <a:lnTo>
                    <a:pt x="715" y="121"/>
                  </a:lnTo>
                  <a:lnTo>
                    <a:pt x="715" y="119"/>
                  </a:lnTo>
                  <a:lnTo>
                    <a:pt x="717" y="119"/>
                  </a:lnTo>
                  <a:lnTo>
                    <a:pt x="717" y="117"/>
                  </a:lnTo>
                  <a:lnTo>
                    <a:pt x="715" y="117"/>
                  </a:lnTo>
                  <a:lnTo>
                    <a:pt x="717" y="115"/>
                  </a:lnTo>
                  <a:lnTo>
                    <a:pt x="717" y="115"/>
                  </a:lnTo>
                  <a:lnTo>
                    <a:pt x="719" y="115"/>
                  </a:lnTo>
                  <a:lnTo>
                    <a:pt x="719" y="113"/>
                  </a:lnTo>
                  <a:lnTo>
                    <a:pt x="717" y="113"/>
                  </a:lnTo>
                  <a:lnTo>
                    <a:pt x="717" y="113"/>
                  </a:lnTo>
                  <a:lnTo>
                    <a:pt x="717" y="111"/>
                  </a:lnTo>
                  <a:lnTo>
                    <a:pt x="717" y="111"/>
                  </a:lnTo>
                  <a:lnTo>
                    <a:pt x="719" y="111"/>
                  </a:lnTo>
                  <a:lnTo>
                    <a:pt x="719" y="111"/>
                  </a:lnTo>
                  <a:lnTo>
                    <a:pt x="723" y="105"/>
                  </a:lnTo>
                  <a:lnTo>
                    <a:pt x="723" y="103"/>
                  </a:lnTo>
                  <a:lnTo>
                    <a:pt x="723" y="101"/>
                  </a:lnTo>
                  <a:lnTo>
                    <a:pt x="721" y="99"/>
                  </a:lnTo>
                  <a:lnTo>
                    <a:pt x="723" y="97"/>
                  </a:lnTo>
                  <a:lnTo>
                    <a:pt x="723" y="101"/>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C</a:t>
              </a:r>
            </a:p>
          </p:txBody>
        </p:sp>
        <p:sp>
          <p:nvSpPr>
            <p:cNvPr id="107" name="Freeform 29">
              <a:extLst>
                <a:ext uri="{FF2B5EF4-FFF2-40B4-BE49-F238E27FC236}">
                  <a16:creationId xmlns:a16="http://schemas.microsoft.com/office/drawing/2014/main" id="{6163BA74-5A58-4709-6C33-07DFDCB59796}"/>
                </a:ext>
              </a:extLst>
            </p:cNvPr>
            <p:cNvSpPr>
              <a:spLocks/>
            </p:cNvSpPr>
            <p:nvPr/>
          </p:nvSpPr>
          <p:spPr bwMode="auto">
            <a:xfrm>
              <a:off x="1507" y="92"/>
              <a:ext cx="915" cy="511"/>
            </a:xfrm>
            <a:custGeom>
              <a:avLst/>
              <a:gdLst>
                <a:gd name="T0" fmla="*/ 874 w 915"/>
                <a:gd name="T1" fmla="*/ 494 h 511"/>
                <a:gd name="T2" fmla="*/ 745 w 915"/>
                <a:gd name="T3" fmla="*/ 488 h 511"/>
                <a:gd name="T4" fmla="*/ 616 w 915"/>
                <a:gd name="T5" fmla="*/ 480 h 511"/>
                <a:gd name="T6" fmla="*/ 487 w 915"/>
                <a:gd name="T7" fmla="*/ 470 h 511"/>
                <a:gd name="T8" fmla="*/ 360 w 915"/>
                <a:gd name="T9" fmla="*/ 459 h 511"/>
                <a:gd name="T10" fmla="*/ 342 w 915"/>
                <a:gd name="T11" fmla="*/ 496 h 511"/>
                <a:gd name="T12" fmla="*/ 330 w 915"/>
                <a:gd name="T13" fmla="*/ 498 h 511"/>
                <a:gd name="T14" fmla="*/ 319 w 915"/>
                <a:gd name="T15" fmla="*/ 480 h 511"/>
                <a:gd name="T16" fmla="*/ 311 w 915"/>
                <a:gd name="T17" fmla="*/ 486 h 511"/>
                <a:gd name="T18" fmla="*/ 307 w 915"/>
                <a:gd name="T19" fmla="*/ 496 h 511"/>
                <a:gd name="T20" fmla="*/ 307 w 915"/>
                <a:gd name="T21" fmla="*/ 500 h 511"/>
                <a:gd name="T22" fmla="*/ 280 w 915"/>
                <a:gd name="T23" fmla="*/ 500 h 511"/>
                <a:gd name="T24" fmla="*/ 260 w 915"/>
                <a:gd name="T25" fmla="*/ 496 h 511"/>
                <a:gd name="T26" fmla="*/ 244 w 915"/>
                <a:gd name="T27" fmla="*/ 494 h 511"/>
                <a:gd name="T28" fmla="*/ 233 w 915"/>
                <a:gd name="T29" fmla="*/ 500 h 511"/>
                <a:gd name="T30" fmla="*/ 207 w 915"/>
                <a:gd name="T31" fmla="*/ 496 h 511"/>
                <a:gd name="T32" fmla="*/ 196 w 915"/>
                <a:gd name="T33" fmla="*/ 504 h 511"/>
                <a:gd name="T34" fmla="*/ 186 w 915"/>
                <a:gd name="T35" fmla="*/ 492 h 511"/>
                <a:gd name="T36" fmla="*/ 184 w 915"/>
                <a:gd name="T37" fmla="*/ 480 h 511"/>
                <a:gd name="T38" fmla="*/ 184 w 915"/>
                <a:gd name="T39" fmla="*/ 472 h 511"/>
                <a:gd name="T40" fmla="*/ 176 w 915"/>
                <a:gd name="T41" fmla="*/ 457 h 511"/>
                <a:gd name="T42" fmla="*/ 164 w 915"/>
                <a:gd name="T43" fmla="*/ 455 h 511"/>
                <a:gd name="T44" fmla="*/ 158 w 915"/>
                <a:gd name="T45" fmla="*/ 441 h 511"/>
                <a:gd name="T46" fmla="*/ 155 w 915"/>
                <a:gd name="T47" fmla="*/ 422 h 511"/>
                <a:gd name="T48" fmla="*/ 149 w 915"/>
                <a:gd name="T49" fmla="*/ 412 h 511"/>
                <a:gd name="T50" fmla="*/ 141 w 915"/>
                <a:gd name="T51" fmla="*/ 400 h 511"/>
                <a:gd name="T52" fmla="*/ 141 w 915"/>
                <a:gd name="T53" fmla="*/ 386 h 511"/>
                <a:gd name="T54" fmla="*/ 139 w 915"/>
                <a:gd name="T55" fmla="*/ 373 h 511"/>
                <a:gd name="T56" fmla="*/ 127 w 915"/>
                <a:gd name="T57" fmla="*/ 359 h 511"/>
                <a:gd name="T58" fmla="*/ 121 w 915"/>
                <a:gd name="T59" fmla="*/ 363 h 511"/>
                <a:gd name="T60" fmla="*/ 115 w 915"/>
                <a:gd name="T61" fmla="*/ 371 h 511"/>
                <a:gd name="T62" fmla="*/ 102 w 915"/>
                <a:gd name="T63" fmla="*/ 377 h 511"/>
                <a:gd name="T64" fmla="*/ 90 w 915"/>
                <a:gd name="T65" fmla="*/ 371 h 511"/>
                <a:gd name="T66" fmla="*/ 82 w 915"/>
                <a:gd name="T67" fmla="*/ 361 h 511"/>
                <a:gd name="T68" fmla="*/ 84 w 915"/>
                <a:gd name="T69" fmla="*/ 349 h 511"/>
                <a:gd name="T70" fmla="*/ 88 w 915"/>
                <a:gd name="T71" fmla="*/ 338 h 511"/>
                <a:gd name="T72" fmla="*/ 96 w 915"/>
                <a:gd name="T73" fmla="*/ 330 h 511"/>
                <a:gd name="T74" fmla="*/ 92 w 915"/>
                <a:gd name="T75" fmla="*/ 320 h 511"/>
                <a:gd name="T76" fmla="*/ 92 w 915"/>
                <a:gd name="T77" fmla="*/ 306 h 511"/>
                <a:gd name="T78" fmla="*/ 98 w 915"/>
                <a:gd name="T79" fmla="*/ 299 h 511"/>
                <a:gd name="T80" fmla="*/ 102 w 915"/>
                <a:gd name="T81" fmla="*/ 287 h 511"/>
                <a:gd name="T82" fmla="*/ 106 w 915"/>
                <a:gd name="T83" fmla="*/ 275 h 511"/>
                <a:gd name="T84" fmla="*/ 108 w 915"/>
                <a:gd name="T85" fmla="*/ 269 h 511"/>
                <a:gd name="T86" fmla="*/ 112 w 915"/>
                <a:gd name="T87" fmla="*/ 256 h 511"/>
                <a:gd name="T88" fmla="*/ 98 w 915"/>
                <a:gd name="T89" fmla="*/ 254 h 511"/>
                <a:gd name="T90" fmla="*/ 90 w 915"/>
                <a:gd name="T91" fmla="*/ 248 h 511"/>
                <a:gd name="T92" fmla="*/ 80 w 915"/>
                <a:gd name="T93" fmla="*/ 246 h 511"/>
                <a:gd name="T94" fmla="*/ 72 w 915"/>
                <a:gd name="T95" fmla="*/ 234 h 511"/>
                <a:gd name="T96" fmla="*/ 67 w 915"/>
                <a:gd name="T97" fmla="*/ 220 h 511"/>
                <a:gd name="T98" fmla="*/ 51 w 915"/>
                <a:gd name="T99" fmla="*/ 197 h 511"/>
                <a:gd name="T100" fmla="*/ 43 w 915"/>
                <a:gd name="T101" fmla="*/ 185 h 511"/>
                <a:gd name="T102" fmla="*/ 16 w 915"/>
                <a:gd name="T103" fmla="*/ 162 h 511"/>
                <a:gd name="T104" fmla="*/ 22 w 915"/>
                <a:gd name="T105" fmla="*/ 158 h 511"/>
                <a:gd name="T106" fmla="*/ 20 w 915"/>
                <a:gd name="T107" fmla="*/ 148 h 511"/>
                <a:gd name="T108" fmla="*/ 16 w 915"/>
                <a:gd name="T109" fmla="*/ 129 h 511"/>
                <a:gd name="T110" fmla="*/ 6 w 915"/>
                <a:gd name="T111" fmla="*/ 113 h 511"/>
                <a:gd name="T112" fmla="*/ 10 w 915"/>
                <a:gd name="T113" fmla="*/ 25 h 511"/>
                <a:gd name="T114" fmla="*/ 211 w 915"/>
                <a:gd name="T115" fmla="*/ 27 h 511"/>
                <a:gd name="T116" fmla="*/ 457 w 915"/>
                <a:gd name="T117" fmla="*/ 54 h 511"/>
                <a:gd name="T118" fmla="*/ 688 w 915"/>
                <a:gd name="T119" fmla="*/ 72 h 511"/>
                <a:gd name="T120" fmla="*/ 915 w 915"/>
                <a:gd name="T121" fmla="*/ 103 h 511"/>
                <a:gd name="T122" fmla="*/ 905 w 915"/>
                <a:gd name="T123" fmla="*/ 39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5" h="511">
                  <a:moveTo>
                    <a:pt x="905" y="398"/>
                  </a:moveTo>
                  <a:lnTo>
                    <a:pt x="905" y="408"/>
                  </a:lnTo>
                  <a:lnTo>
                    <a:pt x="905" y="420"/>
                  </a:lnTo>
                  <a:lnTo>
                    <a:pt x="905" y="431"/>
                  </a:lnTo>
                  <a:lnTo>
                    <a:pt x="905" y="443"/>
                  </a:lnTo>
                  <a:lnTo>
                    <a:pt x="903" y="453"/>
                  </a:lnTo>
                  <a:lnTo>
                    <a:pt x="903" y="465"/>
                  </a:lnTo>
                  <a:lnTo>
                    <a:pt x="903" y="476"/>
                  </a:lnTo>
                  <a:lnTo>
                    <a:pt x="903" y="488"/>
                  </a:lnTo>
                  <a:lnTo>
                    <a:pt x="903" y="494"/>
                  </a:lnTo>
                  <a:lnTo>
                    <a:pt x="903" y="496"/>
                  </a:lnTo>
                  <a:lnTo>
                    <a:pt x="899" y="494"/>
                  </a:lnTo>
                  <a:lnTo>
                    <a:pt x="891" y="494"/>
                  </a:lnTo>
                  <a:lnTo>
                    <a:pt x="883" y="494"/>
                  </a:lnTo>
                  <a:lnTo>
                    <a:pt x="874" y="494"/>
                  </a:lnTo>
                  <a:lnTo>
                    <a:pt x="866" y="494"/>
                  </a:lnTo>
                  <a:lnTo>
                    <a:pt x="856" y="494"/>
                  </a:lnTo>
                  <a:lnTo>
                    <a:pt x="848" y="492"/>
                  </a:lnTo>
                  <a:lnTo>
                    <a:pt x="840" y="492"/>
                  </a:lnTo>
                  <a:lnTo>
                    <a:pt x="831" y="492"/>
                  </a:lnTo>
                  <a:lnTo>
                    <a:pt x="823" y="492"/>
                  </a:lnTo>
                  <a:lnTo>
                    <a:pt x="815" y="492"/>
                  </a:lnTo>
                  <a:lnTo>
                    <a:pt x="805" y="492"/>
                  </a:lnTo>
                  <a:lnTo>
                    <a:pt x="797" y="490"/>
                  </a:lnTo>
                  <a:lnTo>
                    <a:pt x="788" y="490"/>
                  </a:lnTo>
                  <a:lnTo>
                    <a:pt x="780" y="490"/>
                  </a:lnTo>
                  <a:lnTo>
                    <a:pt x="772" y="490"/>
                  </a:lnTo>
                  <a:lnTo>
                    <a:pt x="762" y="490"/>
                  </a:lnTo>
                  <a:lnTo>
                    <a:pt x="754" y="488"/>
                  </a:lnTo>
                  <a:lnTo>
                    <a:pt x="745" y="488"/>
                  </a:lnTo>
                  <a:lnTo>
                    <a:pt x="737" y="488"/>
                  </a:lnTo>
                  <a:lnTo>
                    <a:pt x="729" y="488"/>
                  </a:lnTo>
                  <a:lnTo>
                    <a:pt x="719" y="486"/>
                  </a:lnTo>
                  <a:lnTo>
                    <a:pt x="711" y="486"/>
                  </a:lnTo>
                  <a:lnTo>
                    <a:pt x="702" y="486"/>
                  </a:lnTo>
                  <a:lnTo>
                    <a:pt x="694" y="486"/>
                  </a:lnTo>
                  <a:lnTo>
                    <a:pt x="686" y="484"/>
                  </a:lnTo>
                  <a:lnTo>
                    <a:pt x="676" y="484"/>
                  </a:lnTo>
                  <a:lnTo>
                    <a:pt x="668" y="484"/>
                  </a:lnTo>
                  <a:lnTo>
                    <a:pt x="659" y="484"/>
                  </a:lnTo>
                  <a:lnTo>
                    <a:pt x="651" y="482"/>
                  </a:lnTo>
                  <a:lnTo>
                    <a:pt x="643" y="482"/>
                  </a:lnTo>
                  <a:lnTo>
                    <a:pt x="633" y="482"/>
                  </a:lnTo>
                  <a:lnTo>
                    <a:pt x="624" y="480"/>
                  </a:lnTo>
                  <a:lnTo>
                    <a:pt x="616" y="480"/>
                  </a:lnTo>
                  <a:lnTo>
                    <a:pt x="608" y="480"/>
                  </a:lnTo>
                  <a:lnTo>
                    <a:pt x="600" y="480"/>
                  </a:lnTo>
                  <a:lnTo>
                    <a:pt x="592" y="478"/>
                  </a:lnTo>
                  <a:lnTo>
                    <a:pt x="581" y="478"/>
                  </a:lnTo>
                  <a:lnTo>
                    <a:pt x="573" y="478"/>
                  </a:lnTo>
                  <a:lnTo>
                    <a:pt x="565" y="476"/>
                  </a:lnTo>
                  <a:lnTo>
                    <a:pt x="557" y="476"/>
                  </a:lnTo>
                  <a:lnTo>
                    <a:pt x="549" y="476"/>
                  </a:lnTo>
                  <a:lnTo>
                    <a:pt x="538" y="474"/>
                  </a:lnTo>
                  <a:lnTo>
                    <a:pt x="530" y="474"/>
                  </a:lnTo>
                  <a:lnTo>
                    <a:pt x="522" y="474"/>
                  </a:lnTo>
                  <a:lnTo>
                    <a:pt x="514" y="472"/>
                  </a:lnTo>
                  <a:lnTo>
                    <a:pt x="506" y="472"/>
                  </a:lnTo>
                  <a:lnTo>
                    <a:pt x="495" y="472"/>
                  </a:lnTo>
                  <a:lnTo>
                    <a:pt x="487" y="470"/>
                  </a:lnTo>
                  <a:lnTo>
                    <a:pt x="479" y="470"/>
                  </a:lnTo>
                  <a:lnTo>
                    <a:pt x="471" y="470"/>
                  </a:lnTo>
                  <a:lnTo>
                    <a:pt x="463" y="468"/>
                  </a:lnTo>
                  <a:lnTo>
                    <a:pt x="455" y="468"/>
                  </a:lnTo>
                  <a:lnTo>
                    <a:pt x="444" y="468"/>
                  </a:lnTo>
                  <a:lnTo>
                    <a:pt x="436" y="465"/>
                  </a:lnTo>
                  <a:lnTo>
                    <a:pt x="428" y="465"/>
                  </a:lnTo>
                  <a:lnTo>
                    <a:pt x="420" y="463"/>
                  </a:lnTo>
                  <a:lnTo>
                    <a:pt x="411" y="463"/>
                  </a:lnTo>
                  <a:lnTo>
                    <a:pt x="401" y="463"/>
                  </a:lnTo>
                  <a:lnTo>
                    <a:pt x="393" y="461"/>
                  </a:lnTo>
                  <a:lnTo>
                    <a:pt x="385" y="461"/>
                  </a:lnTo>
                  <a:lnTo>
                    <a:pt x="377" y="459"/>
                  </a:lnTo>
                  <a:lnTo>
                    <a:pt x="368" y="459"/>
                  </a:lnTo>
                  <a:lnTo>
                    <a:pt x="360" y="459"/>
                  </a:lnTo>
                  <a:lnTo>
                    <a:pt x="350" y="457"/>
                  </a:lnTo>
                  <a:lnTo>
                    <a:pt x="346" y="457"/>
                  </a:lnTo>
                  <a:lnTo>
                    <a:pt x="346" y="459"/>
                  </a:lnTo>
                  <a:lnTo>
                    <a:pt x="346" y="461"/>
                  </a:lnTo>
                  <a:lnTo>
                    <a:pt x="346" y="465"/>
                  </a:lnTo>
                  <a:lnTo>
                    <a:pt x="346" y="470"/>
                  </a:lnTo>
                  <a:lnTo>
                    <a:pt x="346" y="472"/>
                  </a:lnTo>
                  <a:lnTo>
                    <a:pt x="346" y="476"/>
                  </a:lnTo>
                  <a:lnTo>
                    <a:pt x="344" y="478"/>
                  </a:lnTo>
                  <a:lnTo>
                    <a:pt x="344" y="482"/>
                  </a:lnTo>
                  <a:lnTo>
                    <a:pt x="344" y="484"/>
                  </a:lnTo>
                  <a:lnTo>
                    <a:pt x="344" y="488"/>
                  </a:lnTo>
                  <a:lnTo>
                    <a:pt x="344" y="490"/>
                  </a:lnTo>
                  <a:lnTo>
                    <a:pt x="344" y="494"/>
                  </a:lnTo>
                  <a:lnTo>
                    <a:pt x="342" y="496"/>
                  </a:lnTo>
                  <a:lnTo>
                    <a:pt x="342" y="500"/>
                  </a:lnTo>
                  <a:lnTo>
                    <a:pt x="342" y="504"/>
                  </a:lnTo>
                  <a:lnTo>
                    <a:pt x="342" y="506"/>
                  </a:lnTo>
                  <a:lnTo>
                    <a:pt x="342" y="511"/>
                  </a:lnTo>
                  <a:lnTo>
                    <a:pt x="338" y="509"/>
                  </a:lnTo>
                  <a:lnTo>
                    <a:pt x="338" y="506"/>
                  </a:lnTo>
                  <a:lnTo>
                    <a:pt x="336" y="504"/>
                  </a:lnTo>
                  <a:lnTo>
                    <a:pt x="334" y="502"/>
                  </a:lnTo>
                  <a:lnTo>
                    <a:pt x="334" y="500"/>
                  </a:lnTo>
                  <a:lnTo>
                    <a:pt x="332" y="500"/>
                  </a:lnTo>
                  <a:lnTo>
                    <a:pt x="332" y="500"/>
                  </a:lnTo>
                  <a:lnTo>
                    <a:pt x="330" y="498"/>
                  </a:lnTo>
                  <a:lnTo>
                    <a:pt x="330" y="498"/>
                  </a:lnTo>
                  <a:lnTo>
                    <a:pt x="330" y="498"/>
                  </a:lnTo>
                  <a:lnTo>
                    <a:pt x="330" y="498"/>
                  </a:lnTo>
                  <a:lnTo>
                    <a:pt x="330" y="496"/>
                  </a:lnTo>
                  <a:lnTo>
                    <a:pt x="330" y="496"/>
                  </a:lnTo>
                  <a:lnTo>
                    <a:pt x="330" y="494"/>
                  </a:lnTo>
                  <a:lnTo>
                    <a:pt x="330" y="494"/>
                  </a:lnTo>
                  <a:lnTo>
                    <a:pt x="330" y="494"/>
                  </a:lnTo>
                  <a:lnTo>
                    <a:pt x="330" y="492"/>
                  </a:lnTo>
                  <a:lnTo>
                    <a:pt x="330" y="492"/>
                  </a:lnTo>
                  <a:lnTo>
                    <a:pt x="328" y="492"/>
                  </a:lnTo>
                  <a:lnTo>
                    <a:pt x="328" y="492"/>
                  </a:lnTo>
                  <a:lnTo>
                    <a:pt x="328" y="490"/>
                  </a:lnTo>
                  <a:lnTo>
                    <a:pt x="323" y="486"/>
                  </a:lnTo>
                  <a:lnTo>
                    <a:pt x="323" y="484"/>
                  </a:lnTo>
                  <a:lnTo>
                    <a:pt x="323" y="482"/>
                  </a:lnTo>
                  <a:lnTo>
                    <a:pt x="321" y="480"/>
                  </a:lnTo>
                  <a:lnTo>
                    <a:pt x="319" y="480"/>
                  </a:lnTo>
                  <a:lnTo>
                    <a:pt x="319" y="480"/>
                  </a:lnTo>
                  <a:lnTo>
                    <a:pt x="319" y="480"/>
                  </a:lnTo>
                  <a:lnTo>
                    <a:pt x="317" y="482"/>
                  </a:lnTo>
                  <a:lnTo>
                    <a:pt x="317" y="482"/>
                  </a:lnTo>
                  <a:lnTo>
                    <a:pt x="315" y="482"/>
                  </a:lnTo>
                  <a:lnTo>
                    <a:pt x="313" y="482"/>
                  </a:lnTo>
                  <a:lnTo>
                    <a:pt x="313" y="482"/>
                  </a:lnTo>
                  <a:lnTo>
                    <a:pt x="313" y="484"/>
                  </a:lnTo>
                  <a:lnTo>
                    <a:pt x="311" y="484"/>
                  </a:lnTo>
                  <a:lnTo>
                    <a:pt x="311" y="484"/>
                  </a:lnTo>
                  <a:lnTo>
                    <a:pt x="311" y="484"/>
                  </a:lnTo>
                  <a:lnTo>
                    <a:pt x="311" y="486"/>
                  </a:lnTo>
                  <a:lnTo>
                    <a:pt x="311" y="486"/>
                  </a:lnTo>
                  <a:lnTo>
                    <a:pt x="311" y="486"/>
                  </a:lnTo>
                  <a:lnTo>
                    <a:pt x="311" y="486"/>
                  </a:lnTo>
                  <a:lnTo>
                    <a:pt x="311" y="488"/>
                  </a:lnTo>
                  <a:lnTo>
                    <a:pt x="311" y="488"/>
                  </a:lnTo>
                  <a:lnTo>
                    <a:pt x="311" y="488"/>
                  </a:lnTo>
                  <a:lnTo>
                    <a:pt x="311" y="488"/>
                  </a:lnTo>
                  <a:lnTo>
                    <a:pt x="311" y="490"/>
                  </a:lnTo>
                  <a:lnTo>
                    <a:pt x="311" y="490"/>
                  </a:lnTo>
                  <a:lnTo>
                    <a:pt x="309" y="490"/>
                  </a:lnTo>
                  <a:lnTo>
                    <a:pt x="309" y="490"/>
                  </a:lnTo>
                  <a:lnTo>
                    <a:pt x="309" y="490"/>
                  </a:lnTo>
                  <a:lnTo>
                    <a:pt x="307" y="492"/>
                  </a:lnTo>
                  <a:lnTo>
                    <a:pt x="307" y="492"/>
                  </a:lnTo>
                  <a:lnTo>
                    <a:pt x="307" y="494"/>
                  </a:lnTo>
                  <a:lnTo>
                    <a:pt x="307" y="494"/>
                  </a:lnTo>
                  <a:lnTo>
                    <a:pt x="307" y="494"/>
                  </a:lnTo>
                  <a:lnTo>
                    <a:pt x="307" y="496"/>
                  </a:lnTo>
                  <a:lnTo>
                    <a:pt x="307" y="496"/>
                  </a:lnTo>
                  <a:lnTo>
                    <a:pt x="307" y="496"/>
                  </a:lnTo>
                  <a:lnTo>
                    <a:pt x="307" y="498"/>
                  </a:lnTo>
                  <a:lnTo>
                    <a:pt x="307" y="498"/>
                  </a:lnTo>
                  <a:lnTo>
                    <a:pt x="307" y="498"/>
                  </a:lnTo>
                  <a:lnTo>
                    <a:pt x="307" y="498"/>
                  </a:lnTo>
                  <a:lnTo>
                    <a:pt x="307" y="498"/>
                  </a:lnTo>
                  <a:lnTo>
                    <a:pt x="309" y="500"/>
                  </a:lnTo>
                  <a:lnTo>
                    <a:pt x="311" y="500"/>
                  </a:lnTo>
                  <a:lnTo>
                    <a:pt x="311" y="500"/>
                  </a:lnTo>
                  <a:lnTo>
                    <a:pt x="311" y="500"/>
                  </a:lnTo>
                  <a:lnTo>
                    <a:pt x="309" y="500"/>
                  </a:lnTo>
                  <a:lnTo>
                    <a:pt x="309" y="500"/>
                  </a:lnTo>
                  <a:lnTo>
                    <a:pt x="307" y="500"/>
                  </a:lnTo>
                  <a:lnTo>
                    <a:pt x="307" y="500"/>
                  </a:lnTo>
                  <a:lnTo>
                    <a:pt x="307" y="500"/>
                  </a:lnTo>
                  <a:lnTo>
                    <a:pt x="305" y="500"/>
                  </a:lnTo>
                  <a:lnTo>
                    <a:pt x="303" y="498"/>
                  </a:lnTo>
                  <a:lnTo>
                    <a:pt x="303" y="498"/>
                  </a:lnTo>
                  <a:lnTo>
                    <a:pt x="293" y="498"/>
                  </a:lnTo>
                  <a:lnTo>
                    <a:pt x="293" y="498"/>
                  </a:lnTo>
                  <a:lnTo>
                    <a:pt x="289" y="500"/>
                  </a:lnTo>
                  <a:lnTo>
                    <a:pt x="289" y="500"/>
                  </a:lnTo>
                  <a:lnTo>
                    <a:pt x="287" y="500"/>
                  </a:lnTo>
                  <a:lnTo>
                    <a:pt x="285" y="500"/>
                  </a:lnTo>
                  <a:lnTo>
                    <a:pt x="285" y="500"/>
                  </a:lnTo>
                  <a:lnTo>
                    <a:pt x="282" y="500"/>
                  </a:lnTo>
                  <a:lnTo>
                    <a:pt x="282" y="500"/>
                  </a:lnTo>
                  <a:lnTo>
                    <a:pt x="282" y="500"/>
                  </a:lnTo>
                  <a:lnTo>
                    <a:pt x="280" y="500"/>
                  </a:lnTo>
                  <a:lnTo>
                    <a:pt x="280" y="500"/>
                  </a:lnTo>
                  <a:lnTo>
                    <a:pt x="280" y="498"/>
                  </a:lnTo>
                  <a:lnTo>
                    <a:pt x="280" y="498"/>
                  </a:lnTo>
                  <a:lnTo>
                    <a:pt x="280" y="498"/>
                  </a:lnTo>
                  <a:lnTo>
                    <a:pt x="278" y="496"/>
                  </a:lnTo>
                  <a:lnTo>
                    <a:pt x="278" y="496"/>
                  </a:lnTo>
                  <a:lnTo>
                    <a:pt x="274" y="496"/>
                  </a:lnTo>
                  <a:lnTo>
                    <a:pt x="274" y="496"/>
                  </a:lnTo>
                  <a:lnTo>
                    <a:pt x="272" y="496"/>
                  </a:lnTo>
                  <a:lnTo>
                    <a:pt x="272" y="496"/>
                  </a:lnTo>
                  <a:lnTo>
                    <a:pt x="272" y="496"/>
                  </a:lnTo>
                  <a:lnTo>
                    <a:pt x="270" y="496"/>
                  </a:lnTo>
                  <a:lnTo>
                    <a:pt x="270" y="496"/>
                  </a:lnTo>
                  <a:lnTo>
                    <a:pt x="268" y="496"/>
                  </a:lnTo>
                  <a:lnTo>
                    <a:pt x="260" y="496"/>
                  </a:lnTo>
                  <a:lnTo>
                    <a:pt x="260" y="496"/>
                  </a:lnTo>
                  <a:lnTo>
                    <a:pt x="258" y="496"/>
                  </a:lnTo>
                  <a:lnTo>
                    <a:pt x="256" y="494"/>
                  </a:lnTo>
                  <a:lnTo>
                    <a:pt x="254" y="494"/>
                  </a:lnTo>
                  <a:lnTo>
                    <a:pt x="252" y="494"/>
                  </a:lnTo>
                  <a:lnTo>
                    <a:pt x="252" y="494"/>
                  </a:lnTo>
                  <a:lnTo>
                    <a:pt x="252" y="494"/>
                  </a:lnTo>
                  <a:lnTo>
                    <a:pt x="250" y="492"/>
                  </a:lnTo>
                  <a:lnTo>
                    <a:pt x="250" y="492"/>
                  </a:lnTo>
                  <a:lnTo>
                    <a:pt x="248" y="492"/>
                  </a:lnTo>
                  <a:lnTo>
                    <a:pt x="248" y="492"/>
                  </a:lnTo>
                  <a:lnTo>
                    <a:pt x="248" y="494"/>
                  </a:lnTo>
                  <a:lnTo>
                    <a:pt x="246" y="494"/>
                  </a:lnTo>
                  <a:lnTo>
                    <a:pt x="246" y="494"/>
                  </a:lnTo>
                  <a:lnTo>
                    <a:pt x="244" y="494"/>
                  </a:lnTo>
                  <a:lnTo>
                    <a:pt x="244" y="494"/>
                  </a:lnTo>
                  <a:lnTo>
                    <a:pt x="242" y="494"/>
                  </a:lnTo>
                  <a:lnTo>
                    <a:pt x="242" y="494"/>
                  </a:lnTo>
                  <a:lnTo>
                    <a:pt x="242" y="496"/>
                  </a:lnTo>
                  <a:lnTo>
                    <a:pt x="239" y="496"/>
                  </a:lnTo>
                  <a:lnTo>
                    <a:pt x="239" y="498"/>
                  </a:lnTo>
                  <a:lnTo>
                    <a:pt x="237" y="502"/>
                  </a:lnTo>
                  <a:lnTo>
                    <a:pt x="237" y="502"/>
                  </a:lnTo>
                  <a:lnTo>
                    <a:pt x="237" y="502"/>
                  </a:lnTo>
                  <a:lnTo>
                    <a:pt x="235" y="502"/>
                  </a:lnTo>
                  <a:lnTo>
                    <a:pt x="235" y="502"/>
                  </a:lnTo>
                  <a:lnTo>
                    <a:pt x="233" y="502"/>
                  </a:lnTo>
                  <a:lnTo>
                    <a:pt x="233" y="502"/>
                  </a:lnTo>
                  <a:lnTo>
                    <a:pt x="233" y="502"/>
                  </a:lnTo>
                  <a:lnTo>
                    <a:pt x="233" y="500"/>
                  </a:lnTo>
                  <a:lnTo>
                    <a:pt x="231" y="500"/>
                  </a:lnTo>
                  <a:lnTo>
                    <a:pt x="231" y="500"/>
                  </a:lnTo>
                  <a:lnTo>
                    <a:pt x="229" y="500"/>
                  </a:lnTo>
                  <a:lnTo>
                    <a:pt x="227" y="500"/>
                  </a:lnTo>
                  <a:lnTo>
                    <a:pt x="227" y="500"/>
                  </a:lnTo>
                  <a:lnTo>
                    <a:pt x="225" y="498"/>
                  </a:lnTo>
                  <a:lnTo>
                    <a:pt x="225" y="498"/>
                  </a:lnTo>
                  <a:lnTo>
                    <a:pt x="225" y="498"/>
                  </a:lnTo>
                  <a:lnTo>
                    <a:pt x="215" y="496"/>
                  </a:lnTo>
                  <a:lnTo>
                    <a:pt x="213" y="494"/>
                  </a:lnTo>
                  <a:lnTo>
                    <a:pt x="213" y="494"/>
                  </a:lnTo>
                  <a:lnTo>
                    <a:pt x="211" y="494"/>
                  </a:lnTo>
                  <a:lnTo>
                    <a:pt x="211" y="496"/>
                  </a:lnTo>
                  <a:lnTo>
                    <a:pt x="209" y="496"/>
                  </a:lnTo>
                  <a:lnTo>
                    <a:pt x="207" y="496"/>
                  </a:lnTo>
                  <a:lnTo>
                    <a:pt x="207" y="496"/>
                  </a:lnTo>
                  <a:lnTo>
                    <a:pt x="203" y="500"/>
                  </a:lnTo>
                  <a:lnTo>
                    <a:pt x="201" y="500"/>
                  </a:lnTo>
                  <a:lnTo>
                    <a:pt x="201" y="500"/>
                  </a:lnTo>
                  <a:lnTo>
                    <a:pt x="201" y="502"/>
                  </a:lnTo>
                  <a:lnTo>
                    <a:pt x="201" y="502"/>
                  </a:lnTo>
                  <a:lnTo>
                    <a:pt x="201" y="502"/>
                  </a:lnTo>
                  <a:lnTo>
                    <a:pt x="201" y="502"/>
                  </a:lnTo>
                  <a:lnTo>
                    <a:pt x="201" y="506"/>
                  </a:lnTo>
                  <a:lnTo>
                    <a:pt x="201" y="506"/>
                  </a:lnTo>
                  <a:lnTo>
                    <a:pt x="201" y="506"/>
                  </a:lnTo>
                  <a:lnTo>
                    <a:pt x="201" y="506"/>
                  </a:lnTo>
                  <a:lnTo>
                    <a:pt x="199" y="506"/>
                  </a:lnTo>
                  <a:lnTo>
                    <a:pt x="199" y="506"/>
                  </a:lnTo>
                  <a:lnTo>
                    <a:pt x="196" y="504"/>
                  </a:lnTo>
                  <a:lnTo>
                    <a:pt x="196" y="504"/>
                  </a:lnTo>
                  <a:lnTo>
                    <a:pt x="196" y="502"/>
                  </a:lnTo>
                  <a:lnTo>
                    <a:pt x="192" y="502"/>
                  </a:lnTo>
                  <a:lnTo>
                    <a:pt x="192" y="500"/>
                  </a:lnTo>
                  <a:lnTo>
                    <a:pt x="192" y="500"/>
                  </a:lnTo>
                  <a:lnTo>
                    <a:pt x="190" y="498"/>
                  </a:lnTo>
                  <a:lnTo>
                    <a:pt x="190" y="498"/>
                  </a:lnTo>
                  <a:lnTo>
                    <a:pt x="190" y="498"/>
                  </a:lnTo>
                  <a:lnTo>
                    <a:pt x="188" y="498"/>
                  </a:lnTo>
                  <a:lnTo>
                    <a:pt x="188" y="496"/>
                  </a:lnTo>
                  <a:lnTo>
                    <a:pt x="188" y="496"/>
                  </a:lnTo>
                  <a:lnTo>
                    <a:pt x="188" y="494"/>
                  </a:lnTo>
                  <a:lnTo>
                    <a:pt x="188" y="494"/>
                  </a:lnTo>
                  <a:lnTo>
                    <a:pt x="186" y="494"/>
                  </a:lnTo>
                  <a:lnTo>
                    <a:pt x="186" y="492"/>
                  </a:lnTo>
                  <a:lnTo>
                    <a:pt x="186" y="492"/>
                  </a:lnTo>
                  <a:lnTo>
                    <a:pt x="188" y="492"/>
                  </a:lnTo>
                  <a:lnTo>
                    <a:pt x="188" y="490"/>
                  </a:lnTo>
                  <a:lnTo>
                    <a:pt x="188" y="490"/>
                  </a:lnTo>
                  <a:lnTo>
                    <a:pt x="188" y="488"/>
                  </a:lnTo>
                  <a:lnTo>
                    <a:pt x="188" y="488"/>
                  </a:lnTo>
                  <a:lnTo>
                    <a:pt x="186" y="488"/>
                  </a:lnTo>
                  <a:lnTo>
                    <a:pt x="186" y="486"/>
                  </a:lnTo>
                  <a:lnTo>
                    <a:pt x="186" y="486"/>
                  </a:lnTo>
                  <a:lnTo>
                    <a:pt x="186" y="486"/>
                  </a:lnTo>
                  <a:lnTo>
                    <a:pt x="186" y="484"/>
                  </a:lnTo>
                  <a:lnTo>
                    <a:pt x="186" y="484"/>
                  </a:lnTo>
                  <a:lnTo>
                    <a:pt x="184" y="482"/>
                  </a:lnTo>
                  <a:lnTo>
                    <a:pt x="184" y="482"/>
                  </a:lnTo>
                  <a:lnTo>
                    <a:pt x="184" y="480"/>
                  </a:lnTo>
                  <a:lnTo>
                    <a:pt x="184" y="480"/>
                  </a:lnTo>
                  <a:lnTo>
                    <a:pt x="184" y="480"/>
                  </a:lnTo>
                  <a:lnTo>
                    <a:pt x="184" y="480"/>
                  </a:lnTo>
                  <a:lnTo>
                    <a:pt x="186" y="480"/>
                  </a:lnTo>
                  <a:lnTo>
                    <a:pt x="186" y="478"/>
                  </a:lnTo>
                  <a:lnTo>
                    <a:pt x="186" y="478"/>
                  </a:lnTo>
                  <a:lnTo>
                    <a:pt x="186" y="478"/>
                  </a:lnTo>
                  <a:lnTo>
                    <a:pt x="186" y="478"/>
                  </a:lnTo>
                  <a:lnTo>
                    <a:pt x="186" y="476"/>
                  </a:lnTo>
                  <a:lnTo>
                    <a:pt x="186" y="476"/>
                  </a:lnTo>
                  <a:lnTo>
                    <a:pt x="184" y="474"/>
                  </a:lnTo>
                  <a:lnTo>
                    <a:pt x="184" y="474"/>
                  </a:lnTo>
                  <a:lnTo>
                    <a:pt x="184" y="472"/>
                  </a:lnTo>
                  <a:lnTo>
                    <a:pt x="184" y="472"/>
                  </a:lnTo>
                  <a:lnTo>
                    <a:pt x="184" y="472"/>
                  </a:lnTo>
                  <a:lnTo>
                    <a:pt x="184" y="470"/>
                  </a:lnTo>
                  <a:lnTo>
                    <a:pt x="182" y="470"/>
                  </a:lnTo>
                  <a:lnTo>
                    <a:pt x="182" y="470"/>
                  </a:lnTo>
                  <a:lnTo>
                    <a:pt x="182" y="470"/>
                  </a:lnTo>
                  <a:lnTo>
                    <a:pt x="182" y="468"/>
                  </a:lnTo>
                  <a:lnTo>
                    <a:pt x="182" y="468"/>
                  </a:lnTo>
                  <a:lnTo>
                    <a:pt x="182" y="468"/>
                  </a:lnTo>
                  <a:lnTo>
                    <a:pt x="182" y="468"/>
                  </a:lnTo>
                  <a:lnTo>
                    <a:pt x="182" y="465"/>
                  </a:lnTo>
                  <a:lnTo>
                    <a:pt x="180" y="465"/>
                  </a:lnTo>
                  <a:lnTo>
                    <a:pt x="180" y="463"/>
                  </a:lnTo>
                  <a:lnTo>
                    <a:pt x="180" y="463"/>
                  </a:lnTo>
                  <a:lnTo>
                    <a:pt x="178" y="461"/>
                  </a:lnTo>
                  <a:lnTo>
                    <a:pt x="176" y="459"/>
                  </a:lnTo>
                  <a:lnTo>
                    <a:pt x="176" y="457"/>
                  </a:lnTo>
                  <a:lnTo>
                    <a:pt x="174" y="457"/>
                  </a:lnTo>
                  <a:lnTo>
                    <a:pt x="172" y="457"/>
                  </a:lnTo>
                  <a:lnTo>
                    <a:pt x="172" y="457"/>
                  </a:lnTo>
                  <a:lnTo>
                    <a:pt x="170" y="457"/>
                  </a:lnTo>
                  <a:lnTo>
                    <a:pt x="170" y="457"/>
                  </a:lnTo>
                  <a:lnTo>
                    <a:pt x="168" y="459"/>
                  </a:lnTo>
                  <a:lnTo>
                    <a:pt x="168" y="459"/>
                  </a:lnTo>
                  <a:lnTo>
                    <a:pt x="168" y="459"/>
                  </a:lnTo>
                  <a:lnTo>
                    <a:pt x="166" y="459"/>
                  </a:lnTo>
                  <a:lnTo>
                    <a:pt x="166" y="459"/>
                  </a:lnTo>
                  <a:lnTo>
                    <a:pt x="164" y="459"/>
                  </a:lnTo>
                  <a:lnTo>
                    <a:pt x="164" y="457"/>
                  </a:lnTo>
                  <a:lnTo>
                    <a:pt x="164" y="455"/>
                  </a:lnTo>
                  <a:lnTo>
                    <a:pt x="164" y="455"/>
                  </a:lnTo>
                  <a:lnTo>
                    <a:pt x="164" y="455"/>
                  </a:lnTo>
                  <a:lnTo>
                    <a:pt x="160" y="453"/>
                  </a:lnTo>
                  <a:lnTo>
                    <a:pt x="158" y="451"/>
                  </a:lnTo>
                  <a:lnTo>
                    <a:pt x="158" y="451"/>
                  </a:lnTo>
                  <a:lnTo>
                    <a:pt x="158" y="449"/>
                  </a:lnTo>
                  <a:lnTo>
                    <a:pt x="158" y="447"/>
                  </a:lnTo>
                  <a:lnTo>
                    <a:pt x="158" y="445"/>
                  </a:lnTo>
                  <a:lnTo>
                    <a:pt x="155" y="445"/>
                  </a:lnTo>
                  <a:lnTo>
                    <a:pt x="155" y="445"/>
                  </a:lnTo>
                  <a:lnTo>
                    <a:pt x="155" y="443"/>
                  </a:lnTo>
                  <a:lnTo>
                    <a:pt x="155" y="443"/>
                  </a:lnTo>
                  <a:lnTo>
                    <a:pt x="155" y="443"/>
                  </a:lnTo>
                  <a:lnTo>
                    <a:pt x="155" y="443"/>
                  </a:lnTo>
                  <a:lnTo>
                    <a:pt x="155" y="443"/>
                  </a:lnTo>
                  <a:lnTo>
                    <a:pt x="158" y="441"/>
                  </a:lnTo>
                  <a:lnTo>
                    <a:pt x="158" y="441"/>
                  </a:lnTo>
                  <a:lnTo>
                    <a:pt x="158" y="441"/>
                  </a:lnTo>
                  <a:lnTo>
                    <a:pt x="160" y="441"/>
                  </a:lnTo>
                  <a:lnTo>
                    <a:pt x="160" y="439"/>
                  </a:lnTo>
                  <a:lnTo>
                    <a:pt x="160" y="437"/>
                  </a:lnTo>
                  <a:lnTo>
                    <a:pt x="160" y="437"/>
                  </a:lnTo>
                  <a:lnTo>
                    <a:pt x="160" y="437"/>
                  </a:lnTo>
                  <a:lnTo>
                    <a:pt x="160" y="435"/>
                  </a:lnTo>
                  <a:lnTo>
                    <a:pt x="160" y="435"/>
                  </a:lnTo>
                  <a:lnTo>
                    <a:pt x="160" y="431"/>
                  </a:lnTo>
                  <a:lnTo>
                    <a:pt x="158" y="431"/>
                  </a:lnTo>
                  <a:lnTo>
                    <a:pt x="155" y="427"/>
                  </a:lnTo>
                  <a:lnTo>
                    <a:pt x="155" y="427"/>
                  </a:lnTo>
                  <a:lnTo>
                    <a:pt x="155" y="425"/>
                  </a:lnTo>
                  <a:lnTo>
                    <a:pt x="155" y="422"/>
                  </a:lnTo>
                  <a:lnTo>
                    <a:pt x="155" y="422"/>
                  </a:lnTo>
                  <a:lnTo>
                    <a:pt x="153" y="422"/>
                  </a:lnTo>
                  <a:lnTo>
                    <a:pt x="151" y="422"/>
                  </a:lnTo>
                  <a:lnTo>
                    <a:pt x="151" y="422"/>
                  </a:lnTo>
                  <a:lnTo>
                    <a:pt x="151" y="420"/>
                  </a:lnTo>
                  <a:lnTo>
                    <a:pt x="151" y="420"/>
                  </a:lnTo>
                  <a:lnTo>
                    <a:pt x="151" y="420"/>
                  </a:lnTo>
                  <a:lnTo>
                    <a:pt x="151" y="418"/>
                  </a:lnTo>
                  <a:lnTo>
                    <a:pt x="151" y="418"/>
                  </a:lnTo>
                  <a:lnTo>
                    <a:pt x="151" y="418"/>
                  </a:lnTo>
                  <a:lnTo>
                    <a:pt x="151" y="416"/>
                  </a:lnTo>
                  <a:lnTo>
                    <a:pt x="151" y="416"/>
                  </a:lnTo>
                  <a:lnTo>
                    <a:pt x="149" y="416"/>
                  </a:lnTo>
                  <a:lnTo>
                    <a:pt x="149" y="414"/>
                  </a:lnTo>
                  <a:lnTo>
                    <a:pt x="149" y="414"/>
                  </a:lnTo>
                  <a:lnTo>
                    <a:pt x="149" y="412"/>
                  </a:lnTo>
                  <a:lnTo>
                    <a:pt x="147" y="412"/>
                  </a:lnTo>
                  <a:lnTo>
                    <a:pt x="147" y="410"/>
                  </a:lnTo>
                  <a:lnTo>
                    <a:pt x="145" y="408"/>
                  </a:lnTo>
                  <a:lnTo>
                    <a:pt x="145" y="408"/>
                  </a:lnTo>
                  <a:lnTo>
                    <a:pt x="145" y="408"/>
                  </a:lnTo>
                  <a:lnTo>
                    <a:pt x="145" y="406"/>
                  </a:lnTo>
                  <a:lnTo>
                    <a:pt x="145" y="406"/>
                  </a:lnTo>
                  <a:lnTo>
                    <a:pt x="145" y="404"/>
                  </a:lnTo>
                  <a:lnTo>
                    <a:pt x="143" y="404"/>
                  </a:lnTo>
                  <a:lnTo>
                    <a:pt x="143" y="402"/>
                  </a:lnTo>
                  <a:lnTo>
                    <a:pt x="141" y="402"/>
                  </a:lnTo>
                  <a:lnTo>
                    <a:pt x="141" y="402"/>
                  </a:lnTo>
                  <a:lnTo>
                    <a:pt x="141" y="402"/>
                  </a:lnTo>
                  <a:lnTo>
                    <a:pt x="141" y="400"/>
                  </a:lnTo>
                  <a:lnTo>
                    <a:pt x="141" y="400"/>
                  </a:lnTo>
                  <a:lnTo>
                    <a:pt x="141" y="398"/>
                  </a:lnTo>
                  <a:lnTo>
                    <a:pt x="143" y="396"/>
                  </a:lnTo>
                  <a:lnTo>
                    <a:pt x="143" y="394"/>
                  </a:lnTo>
                  <a:lnTo>
                    <a:pt x="143" y="394"/>
                  </a:lnTo>
                  <a:lnTo>
                    <a:pt x="141" y="394"/>
                  </a:lnTo>
                  <a:lnTo>
                    <a:pt x="139" y="392"/>
                  </a:lnTo>
                  <a:lnTo>
                    <a:pt x="139" y="390"/>
                  </a:lnTo>
                  <a:lnTo>
                    <a:pt x="139" y="390"/>
                  </a:lnTo>
                  <a:lnTo>
                    <a:pt x="139" y="388"/>
                  </a:lnTo>
                  <a:lnTo>
                    <a:pt x="139" y="388"/>
                  </a:lnTo>
                  <a:lnTo>
                    <a:pt x="139" y="388"/>
                  </a:lnTo>
                  <a:lnTo>
                    <a:pt x="139" y="388"/>
                  </a:lnTo>
                  <a:lnTo>
                    <a:pt x="139" y="386"/>
                  </a:lnTo>
                  <a:lnTo>
                    <a:pt x="141" y="386"/>
                  </a:lnTo>
                  <a:lnTo>
                    <a:pt x="141" y="386"/>
                  </a:lnTo>
                  <a:lnTo>
                    <a:pt x="141" y="384"/>
                  </a:lnTo>
                  <a:lnTo>
                    <a:pt x="141" y="381"/>
                  </a:lnTo>
                  <a:lnTo>
                    <a:pt x="141" y="381"/>
                  </a:lnTo>
                  <a:lnTo>
                    <a:pt x="141" y="381"/>
                  </a:lnTo>
                  <a:lnTo>
                    <a:pt x="141" y="381"/>
                  </a:lnTo>
                  <a:lnTo>
                    <a:pt x="141" y="379"/>
                  </a:lnTo>
                  <a:lnTo>
                    <a:pt x="137" y="379"/>
                  </a:lnTo>
                  <a:lnTo>
                    <a:pt x="137" y="377"/>
                  </a:lnTo>
                  <a:lnTo>
                    <a:pt x="137" y="377"/>
                  </a:lnTo>
                  <a:lnTo>
                    <a:pt x="137" y="377"/>
                  </a:lnTo>
                  <a:lnTo>
                    <a:pt x="137" y="375"/>
                  </a:lnTo>
                  <a:lnTo>
                    <a:pt x="139" y="375"/>
                  </a:lnTo>
                  <a:lnTo>
                    <a:pt x="139" y="373"/>
                  </a:lnTo>
                  <a:lnTo>
                    <a:pt x="139" y="373"/>
                  </a:lnTo>
                  <a:lnTo>
                    <a:pt x="139" y="373"/>
                  </a:lnTo>
                  <a:lnTo>
                    <a:pt x="139" y="371"/>
                  </a:lnTo>
                  <a:lnTo>
                    <a:pt x="139" y="371"/>
                  </a:lnTo>
                  <a:lnTo>
                    <a:pt x="139" y="371"/>
                  </a:lnTo>
                  <a:lnTo>
                    <a:pt x="139" y="369"/>
                  </a:lnTo>
                  <a:lnTo>
                    <a:pt x="139" y="369"/>
                  </a:lnTo>
                  <a:lnTo>
                    <a:pt x="137" y="369"/>
                  </a:lnTo>
                  <a:lnTo>
                    <a:pt x="133" y="367"/>
                  </a:lnTo>
                  <a:lnTo>
                    <a:pt x="133" y="367"/>
                  </a:lnTo>
                  <a:lnTo>
                    <a:pt x="133" y="365"/>
                  </a:lnTo>
                  <a:lnTo>
                    <a:pt x="133" y="365"/>
                  </a:lnTo>
                  <a:lnTo>
                    <a:pt x="133" y="365"/>
                  </a:lnTo>
                  <a:lnTo>
                    <a:pt x="133" y="363"/>
                  </a:lnTo>
                  <a:lnTo>
                    <a:pt x="131" y="361"/>
                  </a:lnTo>
                  <a:lnTo>
                    <a:pt x="127" y="359"/>
                  </a:lnTo>
                  <a:lnTo>
                    <a:pt x="127" y="359"/>
                  </a:lnTo>
                  <a:lnTo>
                    <a:pt x="125" y="359"/>
                  </a:lnTo>
                  <a:lnTo>
                    <a:pt x="125" y="359"/>
                  </a:lnTo>
                  <a:lnTo>
                    <a:pt x="125" y="359"/>
                  </a:lnTo>
                  <a:lnTo>
                    <a:pt x="125" y="359"/>
                  </a:lnTo>
                  <a:lnTo>
                    <a:pt x="125" y="359"/>
                  </a:lnTo>
                  <a:lnTo>
                    <a:pt x="125" y="361"/>
                  </a:lnTo>
                  <a:lnTo>
                    <a:pt x="125" y="361"/>
                  </a:lnTo>
                  <a:lnTo>
                    <a:pt x="125" y="361"/>
                  </a:lnTo>
                  <a:lnTo>
                    <a:pt x="125" y="361"/>
                  </a:lnTo>
                  <a:lnTo>
                    <a:pt x="125" y="363"/>
                  </a:lnTo>
                  <a:lnTo>
                    <a:pt x="125" y="363"/>
                  </a:lnTo>
                  <a:lnTo>
                    <a:pt x="125" y="363"/>
                  </a:lnTo>
                  <a:lnTo>
                    <a:pt x="125" y="363"/>
                  </a:lnTo>
                  <a:lnTo>
                    <a:pt x="123" y="363"/>
                  </a:lnTo>
                  <a:lnTo>
                    <a:pt x="121" y="363"/>
                  </a:lnTo>
                  <a:lnTo>
                    <a:pt x="121" y="365"/>
                  </a:lnTo>
                  <a:lnTo>
                    <a:pt x="121" y="365"/>
                  </a:lnTo>
                  <a:lnTo>
                    <a:pt x="121" y="365"/>
                  </a:lnTo>
                  <a:lnTo>
                    <a:pt x="119" y="365"/>
                  </a:lnTo>
                  <a:lnTo>
                    <a:pt x="119" y="365"/>
                  </a:lnTo>
                  <a:lnTo>
                    <a:pt x="119" y="367"/>
                  </a:lnTo>
                  <a:lnTo>
                    <a:pt x="119" y="367"/>
                  </a:lnTo>
                  <a:lnTo>
                    <a:pt x="119" y="367"/>
                  </a:lnTo>
                  <a:lnTo>
                    <a:pt x="117" y="367"/>
                  </a:lnTo>
                  <a:lnTo>
                    <a:pt x="117" y="369"/>
                  </a:lnTo>
                  <a:lnTo>
                    <a:pt x="117" y="369"/>
                  </a:lnTo>
                  <a:lnTo>
                    <a:pt x="115" y="369"/>
                  </a:lnTo>
                  <a:lnTo>
                    <a:pt x="115" y="369"/>
                  </a:lnTo>
                  <a:lnTo>
                    <a:pt x="115" y="371"/>
                  </a:lnTo>
                  <a:lnTo>
                    <a:pt x="115" y="371"/>
                  </a:lnTo>
                  <a:lnTo>
                    <a:pt x="115" y="371"/>
                  </a:lnTo>
                  <a:lnTo>
                    <a:pt x="110" y="371"/>
                  </a:lnTo>
                  <a:lnTo>
                    <a:pt x="108" y="373"/>
                  </a:lnTo>
                  <a:lnTo>
                    <a:pt x="108" y="373"/>
                  </a:lnTo>
                  <a:lnTo>
                    <a:pt x="108" y="373"/>
                  </a:lnTo>
                  <a:lnTo>
                    <a:pt x="106" y="373"/>
                  </a:lnTo>
                  <a:lnTo>
                    <a:pt x="106" y="373"/>
                  </a:lnTo>
                  <a:lnTo>
                    <a:pt x="104" y="373"/>
                  </a:lnTo>
                  <a:lnTo>
                    <a:pt x="104" y="373"/>
                  </a:lnTo>
                  <a:lnTo>
                    <a:pt x="104" y="373"/>
                  </a:lnTo>
                  <a:lnTo>
                    <a:pt x="104" y="373"/>
                  </a:lnTo>
                  <a:lnTo>
                    <a:pt x="104" y="373"/>
                  </a:lnTo>
                  <a:lnTo>
                    <a:pt x="102" y="375"/>
                  </a:lnTo>
                  <a:lnTo>
                    <a:pt x="102" y="377"/>
                  </a:lnTo>
                  <a:lnTo>
                    <a:pt x="102" y="377"/>
                  </a:lnTo>
                  <a:lnTo>
                    <a:pt x="102" y="377"/>
                  </a:lnTo>
                  <a:lnTo>
                    <a:pt x="100" y="377"/>
                  </a:lnTo>
                  <a:lnTo>
                    <a:pt x="98" y="377"/>
                  </a:lnTo>
                  <a:lnTo>
                    <a:pt x="98" y="377"/>
                  </a:lnTo>
                  <a:lnTo>
                    <a:pt x="98" y="377"/>
                  </a:lnTo>
                  <a:lnTo>
                    <a:pt x="96" y="377"/>
                  </a:lnTo>
                  <a:lnTo>
                    <a:pt x="96" y="377"/>
                  </a:lnTo>
                  <a:lnTo>
                    <a:pt x="94" y="377"/>
                  </a:lnTo>
                  <a:lnTo>
                    <a:pt x="94" y="377"/>
                  </a:lnTo>
                  <a:lnTo>
                    <a:pt x="94" y="375"/>
                  </a:lnTo>
                  <a:lnTo>
                    <a:pt x="92" y="373"/>
                  </a:lnTo>
                  <a:lnTo>
                    <a:pt x="90" y="373"/>
                  </a:lnTo>
                  <a:lnTo>
                    <a:pt x="90" y="373"/>
                  </a:lnTo>
                  <a:lnTo>
                    <a:pt x="90" y="371"/>
                  </a:lnTo>
                  <a:lnTo>
                    <a:pt x="90" y="371"/>
                  </a:lnTo>
                  <a:lnTo>
                    <a:pt x="90" y="371"/>
                  </a:lnTo>
                  <a:lnTo>
                    <a:pt x="88" y="369"/>
                  </a:lnTo>
                  <a:lnTo>
                    <a:pt x="86" y="369"/>
                  </a:lnTo>
                  <a:lnTo>
                    <a:pt x="84" y="367"/>
                  </a:lnTo>
                  <a:lnTo>
                    <a:pt x="82" y="367"/>
                  </a:lnTo>
                  <a:lnTo>
                    <a:pt x="80" y="367"/>
                  </a:lnTo>
                  <a:lnTo>
                    <a:pt x="80" y="367"/>
                  </a:lnTo>
                  <a:lnTo>
                    <a:pt x="80" y="365"/>
                  </a:lnTo>
                  <a:lnTo>
                    <a:pt x="82" y="365"/>
                  </a:lnTo>
                  <a:lnTo>
                    <a:pt x="82" y="365"/>
                  </a:lnTo>
                  <a:lnTo>
                    <a:pt x="82" y="363"/>
                  </a:lnTo>
                  <a:lnTo>
                    <a:pt x="82" y="363"/>
                  </a:lnTo>
                  <a:lnTo>
                    <a:pt x="82" y="363"/>
                  </a:lnTo>
                  <a:lnTo>
                    <a:pt x="82" y="361"/>
                  </a:lnTo>
                  <a:lnTo>
                    <a:pt x="82" y="361"/>
                  </a:lnTo>
                  <a:lnTo>
                    <a:pt x="82" y="361"/>
                  </a:lnTo>
                  <a:lnTo>
                    <a:pt x="82" y="359"/>
                  </a:lnTo>
                  <a:lnTo>
                    <a:pt x="84" y="359"/>
                  </a:lnTo>
                  <a:lnTo>
                    <a:pt x="86" y="357"/>
                  </a:lnTo>
                  <a:lnTo>
                    <a:pt x="86" y="357"/>
                  </a:lnTo>
                  <a:lnTo>
                    <a:pt x="86" y="357"/>
                  </a:lnTo>
                  <a:lnTo>
                    <a:pt x="86" y="357"/>
                  </a:lnTo>
                  <a:lnTo>
                    <a:pt x="86" y="357"/>
                  </a:lnTo>
                  <a:lnTo>
                    <a:pt x="86" y="355"/>
                  </a:lnTo>
                  <a:lnTo>
                    <a:pt x="86" y="355"/>
                  </a:lnTo>
                  <a:lnTo>
                    <a:pt x="86" y="355"/>
                  </a:lnTo>
                  <a:lnTo>
                    <a:pt x="86" y="353"/>
                  </a:lnTo>
                  <a:lnTo>
                    <a:pt x="86" y="353"/>
                  </a:lnTo>
                  <a:lnTo>
                    <a:pt x="86" y="351"/>
                  </a:lnTo>
                  <a:lnTo>
                    <a:pt x="84" y="349"/>
                  </a:lnTo>
                  <a:lnTo>
                    <a:pt x="84" y="349"/>
                  </a:lnTo>
                  <a:lnTo>
                    <a:pt x="84" y="349"/>
                  </a:lnTo>
                  <a:lnTo>
                    <a:pt x="84" y="347"/>
                  </a:lnTo>
                  <a:lnTo>
                    <a:pt x="84" y="347"/>
                  </a:lnTo>
                  <a:lnTo>
                    <a:pt x="82" y="345"/>
                  </a:lnTo>
                  <a:lnTo>
                    <a:pt x="84" y="345"/>
                  </a:lnTo>
                  <a:lnTo>
                    <a:pt x="84" y="345"/>
                  </a:lnTo>
                  <a:lnTo>
                    <a:pt x="84" y="343"/>
                  </a:lnTo>
                  <a:lnTo>
                    <a:pt x="84" y="343"/>
                  </a:lnTo>
                  <a:lnTo>
                    <a:pt x="86" y="343"/>
                  </a:lnTo>
                  <a:lnTo>
                    <a:pt x="86" y="343"/>
                  </a:lnTo>
                  <a:lnTo>
                    <a:pt x="86" y="340"/>
                  </a:lnTo>
                  <a:lnTo>
                    <a:pt x="88" y="340"/>
                  </a:lnTo>
                  <a:lnTo>
                    <a:pt x="88" y="338"/>
                  </a:lnTo>
                  <a:lnTo>
                    <a:pt x="88" y="338"/>
                  </a:lnTo>
                  <a:lnTo>
                    <a:pt x="88" y="338"/>
                  </a:lnTo>
                  <a:lnTo>
                    <a:pt x="88" y="338"/>
                  </a:lnTo>
                  <a:lnTo>
                    <a:pt x="90" y="338"/>
                  </a:lnTo>
                  <a:lnTo>
                    <a:pt x="90" y="338"/>
                  </a:lnTo>
                  <a:lnTo>
                    <a:pt x="92" y="338"/>
                  </a:lnTo>
                  <a:lnTo>
                    <a:pt x="94" y="338"/>
                  </a:lnTo>
                  <a:lnTo>
                    <a:pt x="94" y="338"/>
                  </a:lnTo>
                  <a:lnTo>
                    <a:pt x="94" y="338"/>
                  </a:lnTo>
                  <a:lnTo>
                    <a:pt x="96" y="336"/>
                  </a:lnTo>
                  <a:lnTo>
                    <a:pt x="96" y="336"/>
                  </a:lnTo>
                  <a:lnTo>
                    <a:pt x="96" y="334"/>
                  </a:lnTo>
                  <a:lnTo>
                    <a:pt x="96" y="334"/>
                  </a:lnTo>
                  <a:lnTo>
                    <a:pt x="96" y="332"/>
                  </a:lnTo>
                  <a:lnTo>
                    <a:pt x="96" y="330"/>
                  </a:lnTo>
                  <a:lnTo>
                    <a:pt x="96" y="330"/>
                  </a:lnTo>
                  <a:lnTo>
                    <a:pt x="96" y="330"/>
                  </a:lnTo>
                  <a:lnTo>
                    <a:pt x="96" y="330"/>
                  </a:lnTo>
                  <a:lnTo>
                    <a:pt x="96" y="328"/>
                  </a:lnTo>
                  <a:lnTo>
                    <a:pt x="96" y="328"/>
                  </a:lnTo>
                  <a:lnTo>
                    <a:pt x="96" y="326"/>
                  </a:lnTo>
                  <a:lnTo>
                    <a:pt x="98" y="326"/>
                  </a:lnTo>
                  <a:lnTo>
                    <a:pt x="98" y="326"/>
                  </a:lnTo>
                  <a:lnTo>
                    <a:pt x="96" y="324"/>
                  </a:lnTo>
                  <a:lnTo>
                    <a:pt x="96" y="324"/>
                  </a:lnTo>
                  <a:lnTo>
                    <a:pt x="94" y="324"/>
                  </a:lnTo>
                  <a:lnTo>
                    <a:pt x="92" y="322"/>
                  </a:lnTo>
                  <a:lnTo>
                    <a:pt x="92" y="322"/>
                  </a:lnTo>
                  <a:lnTo>
                    <a:pt x="92" y="322"/>
                  </a:lnTo>
                  <a:lnTo>
                    <a:pt x="92" y="320"/>
                  </a:lnTo>
                  <a:lnTo>
                    <a:pt x="92" y="320"/>
                  </a:lnTo>
                  <a:lnTo>
                    <a:pt x="92" y="320"/>
                  </a:lnTo>
                  <a:lnTo>
                    <a:pt x="92" y="318"/>
                  </a:lnTo>
                  <a:lnTo>
                    <a:pt x="92" y="318"/>
                  </a:lnTo>
                  <a:lnTo>
                    <a:pt x="92" y="318"/>
                  </a:lnTo>
                  <a:lnTo>
                    <a:pt x="92" y="316"/>
                  </a:lnTo>
                  <a:lnTo>
                    <a:pt x="92" y="316"/>
                  </a:lnTo>
                  <a:lnTo>
                    <a:pt x="94" y="314"/>
                  </a:lnTo>
                  <a:lnTo>
                    <a:pt x="94" y="314"/>
                  </a:lnTo>
                  <a:lnTo>
                    <a:pt x="94" y="314"/>
                  </a:lnTo>
                  <a:lnTo>
                    <a:pt x="94" y="312"/>
                  </a:lnTo>
                  <a:lnTo>
                    <a:pt x="94" y="312"/>
                  </a:lnTo>
                  <a:lnTo>
                    <a:pt x="94" y="312"/>
                  </a:lnTo>
                  <a:lnTo>
                    <a:pt x="94" y="310"/>
                  </a:lnTo>
                  <a:lnTo>
                    <a:pt x="92" y="308"/>
                  </a:lnTo>
                  <a:lnTo>
                    <a:pt x="92" y="306"/>
                  </a:lnTo>
                  <a:lnTo>
                    <a:pt x="92" y="306"/>
                  </a:lnTo>
                  <a:lnTo>
                    <a:pt x="92" y="306"/>
                  </a:lnTo>
                  <a:lnTo>
                    <a:pt x="92" y="306"/>
                  </a:lnTo>
                  <a:lnTo>
                    <a:pt x="92" y="306"/>
                  </a:lnTo>
                  <a:lnTo>
                    <a:pt x="92" y="304"/>
                  </a:lnTo>
                  <a:lnTo>
                    <a:pt x="94" y="304"/>
                  </a:lnTo>
                  <a:lnTo>
                    <a:pt x="96" y="304"/>
                  </a:lnTo>
                  <a:lnTo>
                    <a:pt x="96" y="304"/>
                  </a:lnTo>
                  <a:lnTo>
                    <a:pt x="96" y="304"/>
                  </a:lnTo>
                  <a:lnTo>
                    <a:pt x="98" y="304"/>
                  </a:lnTo>
                  <a:lnTo>
                    <a:pt x="98" y="304"/>
                  </a:lnTo>
                  <a:lnTo>
                    <a:pt x="98" y="304"/>
                  </a:lnTo>
                  <a:lnTo>
                    <a:pt x="98" y="302"/>
                  </a:lnTo>
                  <a:lnTo>
                    <a:pt x="98" y="302"/>
                  </a:lnTo>
                  <a:lnTo>
                    <a:pt x="98" y="299"/>
                  </a:lnTo>
                  <a:lnTo>
                    <a:pt x="98" y="299"/>
                  </a:lnTo>
                  <a:lnTo>
                    <a:pt x="98" y="297"/>
                  </a:lnTo>
                  <a:lnTo>
                    <a:pt x="98" y="297"/>
                  </a:lnTo>
                  <a:lnTo>
                    <a:pt x="96" y="295"/>
                  </a:lnTo>
                  <a:lnTo>
                    <a:pt x="96" y="295"/>
                  </a:lnTo>
                  <a:lnTo>
                    <a:pt x="96" y="295"/>
                  </a:lnTo>
                  <a:lnTo>
                    <a:pt x="98" y="295"/>
                  </a:lnTo>
                  <a:lnTo>
                    <a:pt x="98" y="293"/>
                  </a:lnTo>
                  <a:lnTo>
                    <a:pt x="98" y="293"/>
                  </a:lnTo>
                  <a:lnTo>
                    <a:pt x="98" y="293"/>
                  </a:lnTo>
                  <a:lnTo>
                    <a:pt x="98" y="293"/>
                  </a:lnTo>
                  <a:lnTo>
                    <a:pt x="98" y="291"/>
                  </a:lnTo>
                  <a:lnTo>
                    <a:pt x="98" y="291"/>
                  </a:lnTo>
                  <a:lnTo>
                    <a:pt x="100" y="289"/>
                  </a:lnTo>
                  <a:lnTo>
                    <a:pt x="102" y="287"/>
                  </a:lnTo>
                  <a:lnTo>
                    <a:pt x="102" y="287"/>
                  </a:lnTo>
                  <a:lnTo>
                    <a:pt x="102" y="287"/>
                  </a:lnTo>
                  <a:lnTo>
                    <a:pt x="102" y="287"/>
                  </a:lnTo>
                  <a:lnTo>
                    <a:pt x="102" y="285"/>
                  </a:lnTo>
                  <a:lnTo>
                    <a:pt x="102" y="283"/>
                  </a:lnTo>
                  <a:lnTo>
                    <a:pt x="102" y="283"/>
                  </a:lnTo>
                  <a:lnTo>
                    <a:pt x="102" y="281"/>
                  </a:lnTo>
                  <a:lnTo>
                    <a:pt x="106" y="279"/>
                  </a:lnTo>
                  <a:lnTo>
                    <a:pt x="106" y="277"/>
                  </a:lnTo>
                  <a:lnTo>
                    <a:pt x="106" y="277"/>
                  </a:lnTo>
                  <a:lnTo>
                    <a:pt x="106" y="277"/>
                  </a:lnTo>
                  <a:lnTo>
                    <a:pt x="106" y="275"/>
                  </a:lnTo>
                  <a:lnTo>
                    <a:pt x="106" y="275"/>
                  </a:lnTo>
                  <a:lnTo>
                    <a:pt x="106" y="275"/>
                  </a:lnTo>
                  <a:lnTo>
                    <a:pt x="106" y="275"/>
                  </a:lnTo>
                  <a:lnTo>
                    <a:pt x="104" y="273"/>
                  </a:lnTo>
                  <a:lnTo>
                    <a:pt x="104" y="273"/>
                  </a:lnTo>
                  <a:lnTo>
                    <a:pt x="104" y="273"/>
                  </a:lnTo>
                  <a:lnTo>
                    <a:pt x="104" y="273"/>
                  </a:lnTo>
                  <a:lnTo>
                    <a:pt x="104" y="271"/>
                  </a:lnTo>
                  <a:lnTo>
                    <a:pt x="104" y="271"/>
                  </a:lnTo>
                  <a:lnTo>
                    <a:pt x="104" y="271"/>
                  </a:lnTo>
                  <a:lnTo>
                    <a:pt x="108" y="271"/>
                  </a:lnTo>
                  <a:lnTo>
                    <a:pt x="108" y="271"/>
                  </a:lnTo>
                  <a:lnTo>
                    <a:pt x="108" y="271"/>
                  </a:lnTo>
                  <a:lnTo>
                    <a:pt x="108" y="271"/>
                  </a:lnTo>
                  <a:lnTo>
                    <a:pt x="108" y="269"/>
                  </a:lnTo>
                  <a:lnTo>
                    <a:pt x="110" y="269"/>
                  </a:lnTo>
                  <a:lnTo>
                    <a:pt x="108" y="269"/>
                  </a:lnTo>
                  <a:lnTo>
                    <a:pt x="108" y="269"/>
                  </a:lnTo>
                  <a:lnTo>
                    <a:pt x="108" y="267"/>
                  </a:lnTo>
                  <a:lnTo>
                    <a:pt x="108" y="267"/>
                  </a:lnTo>
                  <a:lnTo>
                    <a:pt x="108" y="267"/>
                  </a:lnTo>
                  <a:lnTo>
                    <a:pt x="108" y="267"/>
                  </a:lnTo>
                  <a:lnTo>
                    <a:pt x="110" y="265"/>
                  </a:lnTo>
                  <a:lnTo>
                    <a:pt x="110" y="265"/>
                  </a:lnTo>
                  <a:lnTo>
                    <a:pt x="110" y="265"/>
                  </a:lnTo>
                  <a:lnTo>
                    <a:pt x="110" y="263"/>
                  </a:lnTo>
                  <a:lnTo>
                    <a:pt x="110" y="263"/>
                  </a:lnTo>
                  <a:lnTo>
                    <a:pt x="110" y="263"/>
                  </a:lnTo>
                  <a:lnTo>
                    <a:pt x="110" y="263"/>
                  </a:lnTo>
                  <a:lnTo>
                    <a:pt x="110" y="261"/>
                  </a:lnTo>
                  <a:lnTo>
                    <a:pt x="112" y="261"/>
                  </a:lnTo>
                  <a:lnTo>
                    <a:pt x="112" y="259"/>
                  </a:lnTo>
                  <a:lnTo>
                    <a:pt x="112" y="256"/>
                  </a:lnTo>
                  <a:lnTo>
                    <a:pt x="112" y="256"/>
                  </a:lnTo>
                  <a:lnTo>
                    <a:pt x="112" y="256"/>
                  </a:lnTo>
                  <a:lnTo>
                    <a:pt x="112" y="254"/>
                  </a:lnTo>
                  <a:lnTo>
                    <a:pt x="112" y="254"/>
                  </a:lnTo>
                  <a:lnTo>
                    <a:pt x="110" y="254"/>
                  </a:lnTo>
                  <a:lnTo>
                    <a:pt x="110" y="254"/>
                  </a:lnTo>
                  <a:lnTo>
                    <a:pt x="110" y="254"/>
                  </a:lnTo>
                  <a:lnTo>
                    <a:pt x="104" y="254"/>
                  </a:lnTo>
                  <a:lnTo>
                    <a:pt x="104" y="254"/>
                  </a:lnTo>
                  <a:lnTo>
                    <a:pt x="102" y="256"/>
                  </a:lnTo>
                  <a:lnTo>
                    <a:pt x="102" y="256"/>
                  </a:lnTo>
                  <a:lnTo>
                    <a:pt x="100" y="256"/>
                  </a:lnTo>
                  <a:lnTo>
                    <a:pt x="100" y="256"/>
                  </a:lnTo>
                  <a:lnTo>
                    <a:pt x="100" y="256"/>
                  </a:lnTo>
                  <a:lnTo>
                    <a:pt x="98" y="254"/>
                  </a:lnTo>
                  <a:lnTo>
                    <a:pt x="98" y="254"/>
                  </a:lnTo>
                  <a:lnTo>
                    <a:pt x="98" y="254"/>
                  </a:lnTo>
                  <a:lnTo>
                    <a:pt x="96" y="256"/>
                  </a:lnTo>
                  <a:lnTo>
                    <a:pt x="94" y="256"/>
                  </a:lnTo>
                  <a:lnTo>
                    <a:pt x="94" y="256"/>
                  </a:lnTo>
                  <a:lnTo>
                    <a:pt x="92" y="254"/>
                  </a:lnTo>
                  <a:lnTo>
                    <a:pt x="92" y="254"/>
                  </a:lnTo>
                  <a:lnTo>
                    <a:pt x="90" y="252"/>
                  </a:lnTo>
                  <a:lnTo>
                    <a:pt x="88" y="252"/>
                  </a:lnTo>
                  <a:lnTo>
                    <a:pt x="88" y="252"/>
                  </a:lnTo>
                  <a:lnTo>
                    <a:pt x="88" y="250"/>
                  </a:lnTo>
                  <a:lnTo>
                    <a:pt x="88" y="250"/>
                  </a:lnTo>
                  <a:lnTo>
                    <a:pt x="88" y="250"/>
                  </a:lnTo>
                  <a:lnTo>
                    <a:pt x="88" y="250"/>
                  </a:lnTo>
                  <a:lnTo>
                    <a:pt x="90" y="248"/>
                  </a:lnTo>
                  <a:lnTo>
                    <a:pt x="90" y="248"/>
                  </a:lnTo>
                  <a:lnTo>
                    <a:pt x="90" y="246"/>
                  </a:lnTo>
                  <a:lnTo>
                    <a:pt x="90" y="246"/>
                  </a:lnTo>
                  <a:lnTo>
                    <a:pt x="90" y="246"/>
                  </a:lnTo>
                  <a:lnTo>
                    <a:pt x="88" y="244"/>
                  </a:lnTo>
                  <a:lnTo>
                    <a:pt x="86" y="244"/>
                  </a:lnTo>
                  <a:lnTo>
                    <a:pt x="86" y="244"/>
                  </a:lnTo>
                  <a:lnTo>
                    <a:pt x="86" y="244"/>
                  </a:lnTo>
                  <a:lnTo>
                    <a:pt x="86" y="244"/>
                  </a:lnTo>
                  <a:lnTo>
                    <a:pt x="84" y="244"/>
                  </a:lnTo>
                  <a:lnTo>
                    <a:pt x="84" y="244"/>
                  </a:lnTo>
                  <a:lnTo>
                    <a:pt x="82" y="246"/>
                  </a:lnTo>
                  <a:lnTo>
                    <a:pt x="80" y="246"/>
                  </a:lnTo>
                  <a:lnTo>
                    <a:pt x="80" y="246"/>
                  </a:lnTo>
                  <a:lnTo>
                    <a:pt x="80" y="246"/>
                  </a:lnTo>
                  <a:lnTo>
                    <a:pt x="80" y="246"/>
                  </a:lnTo>
                  <a:lnTo>
                    <a:pt x="80" y="244"/>
                  </a:lnTo>
                  <a:lnTo>
                    <a:pt x="80" y="244"/>
                  </a:lnTo>
                  <a:lnTo>
                    <a:pt x="80" y="242"/>
                  </a:lnTo>
                  <a:lnTo>
                    <a:pt x="80" y="242"/>
                  </a:lnTo>
                  <a:lnTo>
                    <a:pt x="80" y="240"/>
                  </a:lnTo>
                  <a:lnTo>
                    <a:pt x="80" y="240"/>
                  </a:lnTo>
                  <a:lnTo>
                    <a:pt x="80" y="240"/>
                  </a:lnTo>
                  <a:lnTo>
                    <a:pt x="80" y="240"/>
                  </a:lnTo>
                  <a:lnTo>
                    <a:pt x="78" y="238"/>
                  </a:lnTo>
                  <a:lnTo>
                    <a:pt x="76" y="238"/>
                  </a:lnTo>
                  <a:lnTo>
                    <a:pt x="76" y="236"/>
                  </a:lnTo>
                  <a:lnTo>
                    <a:pt x="74" y="236"/>
                  </a:lnTo>
                  <a:lnTo>
                    <a:pt x="74" y="234"/>
                  </a:lnTo>
                  <a:lnTo>
                    <a:pt x="72" y="234"/>
                  </a:lnTo>
                  <a:lnTo>
                    <a:pt x="69" y="232"/>
                  </a:lnTo>
                  <a:lnTo>
                    <a:pt x="69" y="232"/>
                  </a:lnTo>
                  <a:lnTo>
                    <a:pt x="69" y="230"/>
                  </a:lnTo>
                  <a:lnTo>
                    <a:pt x="69" y="230"/>
                  </a:lnTo>
                  <a:lnTo>
                    <a:pt x="69" y="228"/>
                  </a:lnTo>
                  <a:lnTo>
                    <a:pt x="69" y="226"/>
                  </a:lnTo>
                  <a:lnTo>
                    <a:pt x="69" y="226"/>
                  </a:lnTo>
                  <a:lnTo>
                    <a:pt x="69" y="226"/>
                  </a:lnTo>
                  <a:lnTo>
                    <a:pt x="69" y="224"/>
                  </a:lnTo>
                  <a:lnTo>
                    <a:pt x="69" y="224"/>
                  </a:lnTo>
                  <a:lnTo>
                    <a:pt x="69" y="224"/>
                  </a:lnTo>
                  <a:lnTo>
                    <a:pt x="69" y="224"/>
                  </a:lnTo>
                  <a:lnTo>
                    <a:pt x="67" y="222"/>
                  </a:lnTo>
                  <a:lnTo>
                    <a:pt x="67" y="222"/>
                  </a:lnTo>
                  <a:lnTo>
                    <a:pt x="67" y="220"/>
                  </a:lnTo>
                  <a:lnTo>
                    <a:pt x="65" y="218"/>
                  </a:lnTo>
                  <a:lnTo>
                    <a:pt x="65" y="218"/>
                  </a:lnTo>
                  <a:lnTo>
                    <a:pt x="65" y="215"/>
                  </a:lnTo>
                  <a:lnTo>
                    <a:pt x="63" y="215"/>
                  </a:lnTo>
                  <a:lnTo>
                    <a:pt x="61" y="215"/>
                  </a:lnTo>
                  <a:lnTo>
                    <a:pt x="61" y="215"/>
                  </a:lnTo>
                  <a:lnTo>
                    <a:pt x="61" y="213"/>
                  </a:lnTo>
                  <a:lnTo>
                    <a:pt x="61" y="213"/>
                  </a:lnTo>
                  <a:lnTo>
                    <a:pt x="61" y="213"/>
                  </a:lnTo>
                  <a:lnTo>
                    <a:pt x="61" y="211"/>
                  </a:lnTo>
                  <a:lnTo>
                    <a:pt x="61" y="211"/>
                  </a:lnTo>
                  <a:lnTo>
                    <a:pt x="55" y="203"/>
                  </a:lnTo>
                  <a:lnTo>
                    <a:pt x="53" y="201"/>
                  </a:lnTo>
                  <a:lnTo>
                    <a:pt x="53" y="197"/>
                  </a:lnTo>
                  <a:lnTo>
                    <a:pt x="51" y="197"/>
                  </a:lnTo>
                  <a:lnTo>
                    <a:pt x="49" y="195"/>
                  </a:lnTo>
                  <a:lnTo>
                    <a:pt x="49" y="195"/>
                  </a:lnTo>
                  <a:lnTo>
                    <a:pt x="49" y="193"/>
                  </a:lnTo>
                  <a:lnTo>
                    <a:pt x="49" y="193"/>
                  </a:lnTo>
                  <a:lnTo>
                    <a:pt x="47" y="193"/>
                  </a:lnTo>
                  <a:lnTo>
                    <a:pt x="47" y="193"/>
                  </a:lnTo>
                  <a:lnTo>
                    <a:pt x="47" y="191"/>
                  </a:lnTo>
                  <a:lnTo>
                    <a:pt x="47" y="191"/>
                  </a:lnTo>
                  <a:lnTo>
                    <a:pt x="47" y="189"/>
                  </a:lnTo>
                  <a:lnTo>
                    <a:pt x="47" y="189"/>
                  </a:lnTo>
                  <a:lnTo>
                    <a:pt x="45" y="189"/>
                  </a:lnTo>
                  <a:lnTo>
                    <a:pt x="45" y="189"/>
                  </a:lnTo>
                  <a:lnTo>
                    <a:pt x="45" y="187"/>
                  </a:lnTo>
                  <a:lnTo>
                    <a:pt x="45" y="187"/>
                  </a:lnTo>
                  <a:lnTo>
                    <a:pt x="43" y="185"/>
                  </a:lnTo>
                  <a:lnTo>
                    <a:pt x="43" y="185"/>
                  </a:lnTo>
                  <a:lnTo>
                    <a:pt x="43" y="183"/>
                  </a:lnTo>
                  <a:lnTo>
                    <a:pt x="37" y="181"/>
                  </a:lnTo>
                  <a:lnTo>
                    <a:pt x="33" y="179"/>
                  </a:lnTo>
                  <a:lnTo>
                    <a:pt x="31" y="179"/>
                  </a:lnTo>
                  <a:lnTo>
                    <a:pt x="31" y="179"/>
                  </a:lnTo>
                  <a:lnTo>
                    <a:pt x="31" y="177"/>
                  </a:lnTo>
                  <a:lnTo>
                    <a:pt x="31" y="177"/>
                  </a:lnTo>
                  <a:lnTo>
                    <a:pt x="29" y="174"/>
                  </a:lnTo>
                  <a:lnTo>
                    <a:pt x="29" y="172"/>
                  </a:lnTo>
                  <a:lnTo>
                    <a:pt x="26" y="168"/>
                  </a:lnTo>
                  <a:lnTo>
                    <a:pt x="26" y="168"/>
                  </a:lnTo>
                  <a:lnTo>
                    <a:pt x="20" y="164"/>
                  </a:lnTo>
                  <a:lnTo>
                    <a:pt x="18" y="162"/>
                  </a:lnTo>
                  <a:lnTo>
                    <a:pt x="16" y="162"/>
                  </a:lnTo>
                  <a:lnTo>
                    <a:pt x="16" y="162"/>
                  </a:lnTo>
                  <a:lnTo>
                    <a:pt x="16" y="160"/>
                  </a:lnTo>
                  <a:lnTo>
                    <a:pt x="16" y="160"/>
                  </a:lnTo>
                  <a:lnTo>
                    <a:pt x="16" y="160"/>
                  </a:lnTo>
                  <a:lnTo>
                    <a:pt x="16" y="160"/>
                  </a:lnTo>
                  <a:lnTo>
                    <a:pt x="16" y="160"/>
                  </a:lnTo>
                  <a:lnTo>
                    <a:pt x="18" y="160"/>
                  </a:lnTo>
                  <a:lnTo>
                    <a:pt x="20" y="160"/>
                  </a:lnTo>
                  <a:lnTo>
                    <a:pt x="22" y="160"/>
                  </a:lnTo>
                  <a:lnTo>
                    <a:pt x="22" y="160"/>
                  </a:lnTo>
                  <a:lnTo>
                    <a:pt x="22" y="160"/>
                  </a:lnTo>
                  <a:lnTo>
                    <a:pt x="22" y="160"/>
                  </a:lnTo>
                  <a:lnTo>
                    <a:pt x="22" y="158"/>
                  </a:lnTo>
                  <a:lnTo>
                    <a:pt x="22" y="158"/>
                  </a:lnTo>
                  <a:lnTo>
                    <a:pt x="22" y="158"/>
                  </a:lnTo>
                  <a:lnTo>
                    <a:pt x="20" y="156"/>
                  </a:lnTo>
                  <a:lnTo>
                    <a:pt x="20" y="156"/>
                  </a:lnTo>
                  <a:lnTo>
                    <a:pt x="20" y="156"/>
                  </a:lnTo>
                  <a:lnTo>
                    <a:pt x="20" y="154"/>
                  </a:lnTo>
                  <a:lnTo>
                    <a:pt x="20" y="152"/>
                  </a:lnTo>
                  <a:lnTo>
                    <a:pt x="20" y="152"/>
                  </a:lnTo>
                  <a:lnTo>
                    <a:pt x="18" y="150"/>
                  </a:lnTo>
                  <a:lnTo>
                    <a:pt x="16" y="150"/>
                  </a:lnTo>
                  <a:lnTo>
                    <a:pt x="16" y="150"/>
                  </a:lnTo>
                  <a:lnTo>
                    <a:pt x="18" y="150"/>
                  </a:lnTo>
                  <a:lnTo>
                    <a:pt x="18" y="148"/>
                  </a:lnTo>
                  <a:lnTo>
                    <a:pt x="20" y="148"/>
                  </a:lnTo>
                  <a:lnTo>
                    <a:pt x="20" y="148"/>
                  </a:lnTo>
                  <a:lnTo>
                    <a:pt x="20" y="148"/>
                  </a:lnTo>
                  <a:lnTo>
                    <a:pt x="20" y="148"/>
                  </a:lnTo>
                  <a:lnTo>
                    <a:pt x="22" y="146"/>
                  </a:lnTo>
                  <a:lnTo>
                    <a:pt x="22" y="146"/>
                  </a:lnTo>
                  <a:lnTo>
                    <a:pt x="22" y="144"/>
                  </a:lnTo>
                  <a:lnTo>
                    <a:pt x="22" y="144"/>
                  </a:lnTo>
                  <a:lnTo>
                    <a:pt x="20" y="140"/>
                  </a:lnTo>
                  <a:lnTo>
                    <a:pt x="20" y="140"/>
                  </a:lnTo>
                  <a:lnTo>
                    <a:pt x="20" y="138"/>
                  </a:lnTo>
                  <a:lnTo>
                    <a:pt x="20" y="136"/>
                  </a:lnTo>
                  <a:lnTo>
                    <a:pt x="20" y="136"/>
                  </a:lnTo>
                  <a:lnTo>
                    <a:pt x="20" y="133"/>
                  </a:lnTo>
                  <a:lnTo>
                    <a:pt x="20" y="133"/>
                  </a:lnTo>
                  <a:lnTo>
                    <a:pt x="18" y="131"/>
                  </a:lnTo>
                  <a:lnTo>
                    <a:pt x="16" y="131"/>
                  </a:lnTo>
                  <a:lnTo>
                    <a:pt x="16" y="131"/>
                  </a:lnTo>
                  <a:lnTo>
                    <a:pt x="16" y="129"/>
                  </a:lnTo>
                  <a:lnTo>
                    <a:pt x="16" y="129"/>
                  </a:lnTo>
                  <a:lnTo>
                    <a:pt x="16" y="129"/>
                  </a:lnTo>
                  <a:lnTo>
                    <a:pt x="14" y="127"/>
                  </a:lnTo>
                  <a:lnTo>
                    <a:pt x="14" y="127"/>
                  </a:lnTo>
                  <a:lnTo>
                    <a:pt x="14" y="125"/>
                  </a:lnTo>
                  <a:lnTo>
                    <a:pt x="12" y="121"/>
                  </a:lnTo>
                  <a:lnTo>
                    <a:pt x="12" y="119"/>
                  </a:lnTo>
                  <a:lnTo>
                    <a:pt x="12" y="119"/>
                  </a:lnTo>
                  <a:lnTo>
                    <a:pt x="12" y="119"/>
                  </a:lnTo>
                  <a:lnTo>
                    <a:pt x="10" y="117"/>
                  </a:lnTo>
                  <a:lnTo>
                    <a:pt x="10" y="117"/>
                  </a:lnTo>
                  <a:lnTo>
                    <a:pt x="8" y="115"/>
                  </a:lnTo>
                  <a:lnTo>
                    <a:pt x="8" y="115"/>
                  </a:lnTo>
                  <a:lnTo>
                    <a:pt x="8" y="113"/>
                  </a:lnTo>
                  <a:lnTo>
                    <a:pt x="6" y="113"/>
                  </a:lnTo>
                  <a:lnTo>
                    <a:pt x="6" y="113"/>
                  </a:lnTo>
                  <a:lnTo>
                    <a:pt x="6" y="111"/>
                  </a:lnTo>
                  <a:lnTo>
                    <a:pt x="4" y="109"/>
                  </a:lnTo>
                  <a:lnTo>
                    <a:pt x="4" y="107"/>
                  </a:lnTo>
                  <a:lnTo>
                    <a:pt x="2" y="105"/>
                  </a:lnTo>
                  <a:lnTo>
                    <a:pt x="0" y="103"/>
                  </a:lnTo>
                  <a:lnTo>
                    <a:pt x="0" y="101"/>
                  </a:lnTo>
                  <a:lnTo>
                    <a:pt x="0" y="101"/>
                  </a:lnTo>
                  <a:lnTo>
                    <a:pt x="0" y="97"/>
                  </a:lnTo>
                  <a:lnTo>
                    <a:pt x="2" y="84"/>
                  </a:lnTo>
                  <a:lnTo>
                    <a:pt x="4" y="72"/>
                  </a:lnTo>
                  <a:lnTo>
                    <a:pt x="6" y="60"/>
                  </a:lnTo>
                  <a:lnTo>
                    <a:pt x="8" y="47"/>
                  </a:lnTo>
                  <a:lnTo>
                    <a:pt x="10" y="37"/>
                  </a:lnTo>
                  <a:lnTo>
                    <a:pt x="10" y="25"/>
                  </a:lnTo>
                  <a:lnTo>
                    <a:pt x="12" y="13"/>
                  </a:lnTo>
                  <a:lnTo>
                    <a:pt x="14" y="0"/>
                  </a:lnTo>
                  <a:lnTo>
                    <a:pt x="31" y="2"/>
                  </a:lnTo>
                  <a:lnTo>
                    <a:pt x="47" y="4"/>
                  </a:lnTo>
                  <a:lnTo>
                    <a:pt x="63" y="8"/>
                  </a:lnTo>
                  <a:lnTo>
                    <a:pt x="80" y="11"/>
                  </a:lnTo>
                  <a:lnTo>
                    <a:pt x="96" y="13"/>
                  </a:lnTo>
                  <a:lnTo>
                    <a:pt x="112" y="15"/>
                  </a:lnTo>
                  <a:lnTo>
                    <a:pt x="129" y="17"/>
                  </a:lnTo>
                  <a:lnTo>
                    <a:pt x="145" y="19"/>
                  </a:lnTo>
                  <a:lnTo>
                    <a:pt x="162" y="21"/>
                  </a:lnTo>
                  <a:lnTo>
                    <a:pt x="162" y="21"/>
                  </a:lnTo>
                  <a:lnTo>
                    <a:pt x="178" y="23"/>
                  </a:lnTo>
                  <a:lnTo>
                    <a:pt x="194" y="25"/>
                  </a:lnTo>
                  <a:lnTo>
                    <a:pt x="211" y="27"/>
                  </a:lnTo>
                  <a:lnTo>
                    <a:pt x="227" y="29"/>
                  </a:lnTo>
                  <a:lnTo>
                    <a:pt x="244" y="31"/>
                  </a:lnTo>
                  <a:lnTo>
                    <a:pt x="260" y="33"/>
                  </a:lnTo>
                  <a:lnTo>
                    <a:pt x="276" y="35"/>
                  </a:lnTo>
                  <a:lnTo>
                    <a:pt x="293" y="37"/>
                  </a:lnTo>
                  <a:lnTo>
                    <a:pt x="309" y="39"/>
                  </a:lnTo>
                  <a:lnTo>
                    <a:pt x="325" y="39"/>
                  </a:lnTo>
                  <a:lnTo>
                    <a:pt x="342" y="41"/>
                  </a:lnTo>
                  <a:lnTo>
                    <a:pt x="358" y="43"/>
                  </a:lnTo>
                  <a:lnTo>
                    <a:pt x="375" y="45"/>
                  </a:lnTo>
                  <a:lnTo>
                    <a:pt x="391" y="47"/>
                  </a:lnTo>
                  <a:lnTo>
                    <a:pt x="407" y="49"/>
                  </a:lnTo>
                  <a:lnTo>
                    <a:pt x="424" y="49"/>
                  </a:lnTo>
                  <a:lnTo>
                    <a:pt x="440" y="52"/>
                  </a:lnTo>
                  <a:lnTo>
                    <a:pt x="457" y="54"/>
                  </a:lnTo>
                  <a:lnTo>
                    <a:pt x="467" y="54"/>
                  </a:lnTo>
                  <a:lnTo>
                    <a:pt x="473" y="56"/>
                  </a:lnTo>
                  <a:lnTo>
                    <a:pt x="491" y="56"/>
                  </a:lnTo>
                  <a:lnTo>
                    <a:pt x="508" y="58"/>
                  </a:lnTo>
                  <a:lnTo>
                    <a:pt x="524" y="60"/>
                  </a:lnTo>
                  <a:lnTo>
                    <a:pt x="541" y="60"/>
                  </a:lnTo>
                  <a:lnTo>
                    <a:pt x="557" y="62"/>
                  </a:lnTo>
                  <a:lnTo>
                    <a:pt x="573" y="64"/>
                  </a:lnTo>
                  <a:lnTo>
                    <a:pt x="590" y="64"/>
                  </a:lnTo>
                  <a:lnTo>
                    <a:pt x="606" y="66"/>
                  </a:lnTo>
                  <a:lnTo>
                    <a:pt x="622" y="66"/>
                  </a:lnTo>
                  <a:lnTo>
                    <a:pt x="639" y="68"/>
                  </a:lnTo>
                  <a:lnTo>
                    <a:pt x="655" y="70"/>
                  </a:lnTo>
                  <a:lnTo>
                    <a:pt x="672" y="70"/>
                  </a:lnTo>
                  <a:lnTo>
                    <a:pt x="688" y="72"/>
                  </a:lnTo>
                  <a:lnTo>
                    <a:pt x="704" y="72"/>
                  </a:lnTo>
                  <a:lnTo>
                    <a:pt x="721" y="74"/>
                  </a:lnTo>
                  <a:lnTo>
                    <a:pt x="737" y="74"/>
                  </a:lnTo>
                  <a:lnTo>
                    <a:pt x="756" y="76"/>
                  </a:lnTo>
                  <a:lnTo>
                    <a:pt x="772" y="76"/>
                  </a:lnTo>
                  <a:lnTo>
                    <a:pt x="788" y="76"/>
                  </a:lnTo>
                  <a:lnTo>
                    <a:pt x="805" y="78"/>
                  </a:lnTo>
                  <a:lnTo>
                    <a:pt x="821" y="78"/>
                  </a:lnTo>
                  <a:lnTo>
                    <a:pt x="837" y="80"/>
                  </a:lnTo>
                  <a:lnTo>
                    <a:pt x="854" y="80"/>
                  </a:lnTo>
                  <a:lnTo>
                    <a:pt x="870" y="80"/>
                  </a:lnTo>
                  <a:lnTo>
                    <a:pt x="887" y="82"/>
                  </a:lnTo>
                  <a:lnTo>
                    <a:pt x="903" y="82"/>
                  </a:lnTo>
                  <a:lnTo>
                    <a:pt x="915" y="82"/>
                  </a:lnTo>
                  <a:lnTo>
                    <a:pt x="915" y="103"/>
                  </a:lnTo>
                  <a:lnTo>
                    <a:pt x="913" y="121"/>
                  </a:lnTo>
                  <a:lnTo>
                    <a:pt x="913" y="142"/>
                  </a:lnTo>
                  <a:lnTo>
                    <a:pt x="913" y="160"/>
                  </a:lnTo>
                  <a:lnTo>
                    <a:pt x="911" y="181"/>
                  </a:lnTo>
                  <a:lnTo>
                    <a:pt x="911" y="199"/>
                  </a:lnTo>
                  <a:lnTo>
                    <a:pt x="911" y="220"/>
                  </a:lnTo>
                  <a:lnTo>
                    <a:pt x="911" y="238"/>
                  </a:lnTo>
                  <a:lnTo>
                    <a:pt x="909" y="259"/>
                  </a:lnTo>
                  <a:lnTo>
                    <a:pt x="909" y="279"/>
                  </a:lnTo>
                  <a:lnTo>
                    <a:pt x="909" y="297"/>
                  </a:lnTo>
                  <a:lnTo>
                    <a:pt x="907" y="318"/>
                  </a:lnTo>
                  <a:lnTo>
                    <a:pt x="907" y="338"/>
                  </a:lnTo>
                  <a:lnTo>
                    <a:pt x="907" y="357"/>
                  </a:lnTo>
                  <a:lnTo>
                    <a:pt x="905" y="377"/>
                  </a:lnTo>
                  <a:lnTo>
                    <a:pt x="905" y="398"/>
                  </a:lnTo>
                  <a:lnTo>
                    <a:pt x="905" y="398"/>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T</a:t>
              </a:r>
            </a:p>
          </p:txBody>
        </p:sp>
        <p:sp>
          <p:nvSpPr>
            <p:cNvPr id="108" name="Freeform 30">
              <a:extLst>
                <a:ext uri="{FF2B5EF4-FFF2-40B4-BE49-F238E27FC236}">
                  <a16:creationId xmlns:a16="http://schemas.microsoft.com/office/drawing/2014/main" id="{F519B481-4C64-3D53-1969-8E59A1318D99}"/>
                </a:ext>
              </a:extLst>
            </p:cNvPr>
            <p:cNvSpPr>
              <a:spLocks noEditPoints="1"/>
            </p:cNvSpPr>
            <p:nvPr/>
          </p:nvSpPr>
          <p:spPr bwMode="auto">
            <a:xfrm>
              <a:off x="3502" y="1603"/>
              <a:ext cx="309" cy="535"/>
            </a:xfrm>
            <a:custGeom>
              <a:avLst/>
              <a:gdLst>
                <a:gd name="T0" fmla="*/ 245 w 309"/>
                <a:gd name="T1" fmla="*/ 522 h 535"/>
                <a:gd name="T2" fmla="*/ 247 w 309"/>
                <a:gd name="T3" fmla="*/ 524 h 535"/>
                <a:gd name="T4" fmla="*/ 247 w 309"/>
                <a:gd name="T5" fmla="*/ 518 h 535"/>
                <a:gd name="T6" fmla="*/ 258 w 309"/>
                <a:gd name="T7" fmla="*/ 522 h 535"/>
                <a:gd name="T8" fmla="*/ 309 w 309"/>
                <a:gd name="T9" fmla="*/ 516 h 535"/>
                <a:gd name="T10" fmla="*/ 299 w 309"/>
                <a:gd name="T11" fmla="*/ 436 h 535"/>
                <a:gd name="T12" fmla="*/ 286 w 309"/>
                <a:gd name="T13" fmla="*/ 346 h 535"/>
                <a:gd name="T14" fmla="*/ 284 w 309"/>
                <a:gd name="T15" fmla="*/ 297 h 535"/>
                <a:gd name="T16" fmla="*/ 284 w 309"/>
                <a:gd name="T17" fmla="*/ 190 h 535"/>
                <a:gd name="T18" fmla="*/ 284 w 309"/>
                <a:gd name="T19" fmla="*/ 65 h 535"/>
                <a:gd name="T20" fmla="*/ 284 w 309"/>
                <a:gd name="T21" fmla="*/ 10 h 535"/>
                <a:gd name="T22" fmla="*/ 249 w 309"/>
                <a:gd name="T23" fmla="*/ 4 h 535"/>
                <a:gd name="T24" fmla="*/ 157 w 309"/>
                <a:gd name="T25" fmla="*/ 12 h 535"/>
                <a:gd name="T26" fmla="*/ 92 w 309"/>
                <a:gd name="T27" fmla="*/ 22 h 535"/>
                <a:gd name="T28" fmla="*/ 77 w 309"/>
                <a:gd name="T29" fmla="*/ 45 h 535"/>
                <a:gd name="T30" fmla="*/ 67 w 309"/>
                <a:gd name="T31" fmla="*/ 55 h 535"/>
                <a:gd name="T32" fmla="*/ 61 w 309"/>
                <a:gd name="T33" fmla="*/ 88 h 535"/>
                <a:gd name="T34" fmla="*/ 55 w 309"/>
                <a:gd name="T35" fmla="*/ 94 h 535"/>
                <a:gd name="T36" fmla="*/ 49 w 309"/>
                <a:gd name="T37" fmla="*/ 98 h 535"/>
                <a:gd name="T38" fmla="*/ 38 w 309"/>
                <a:gd name="T39" fmla="*/ 116 h 535"/>
                <a:gd name="T40" fmla="*/ 32 w 309"/>
                <a:gd name="T41" fmla="*/ 131 h 535"/>
                <a:gd name="T42" fmla="*/ 32 w 309"/>
                <a:gd name="T43" fmla="*/ 141 h 535"/>
                <a:gd name="T44" fmla="*/ 28 w 309"/>
                <a:gd name="T45" fmla="*/ 155 h 535"/>
                <a:gd name="T46" fmla="*/ 18 w 309"/>
                <a:gd name="T47" fmla="*/ 168 h 535"/>
                <a:gd name="T48" fmla="*/ 20 w 309"/>
                <a:gd name="T49" fmla="*/ 178 h 535"/>
                <a:gd name="T50" fmla="*/ 28 w 309"/>
                <a:gd name="T51" fmla="*/ 190 h 535"/>
                <a:gd name="T52" fmla="*/ 30 w 309"/>
                <a:gd name="T53" fmla="*/ 209 h 535"/>
                <a:gd name="T54" fmla="*/ 30 w 309"/>
                <a:gd name="T55" fmla="*/ 225 h 535"/>
                <a:gd name="T56" fmla="*/ 34 w 309"/>
                <a:gd name="T57" fmla="*/ 244 h 535"/>
                <a:gd name="T58" fmla="*/ 34 w 309"/>
                <a:gd name="T59" fmla="*/ 256 h 535"/>
                <a:gd name="T60" fmla="*/ 38 w 309"/>
                <a:gd name="T61" fmla="*/ 272 h 535"/>
                <a:gd name="T62" fmla="*/ 34 w 309"/>
                <a:gd name="T63" fmla="*/ 282 h 535"/>
                <a:gd name="T64" fmla="*/ 38 w 309"/>
                <a:gd name="T65" fmla="*/ 295 h 535"/>
                <a:gd name="T66" fmla="*/ 53 w 309"/>
                <a:gd name="T67" fmla="*/ 309 h 535"/>
                <a:gd name="T68" fmla="*/ 51 w 309"/>
                <a:gd name="T69" fmla="*/ 325 h 535"/>
                <a:gd name="T70" fmla="*/ 47 w 309"/>
                <a:gd name="T71" fmla="*/ 342 h 535"/>
                <a:gd name="T72" fmla="*/ 32 w 309"/>
                <a:gd name="T73" fmla="*/ 360 h 535"/>
                <a:gd name="T74" fmla="*/ 18 w 309"/>
                <a:gd name="T75" fmla="*/ 377 h 535"/>
                <a:gd name="T76" fmla="*/ 10 w 309"/>
                <a:gd name="T77" fmla="*/ 403 h 535"/>
                <a:gd name="T78" fmla="*/ 12 w 309"/>
                <a:gd name="T79" fmla="*/ 418 h 535"/>
                <a:gd name="T80" fmla="*/ 0 w 309"/>
                <a:gd name="T81" fmla="*/ 432 h 535"/>
                <a:gd name="T82" fmla="*/ 4 w 309"/>
                <a:gd name="T83" fmla="*/ 440 h 535"/>
                <a:gd name="T84" fmla="*/ 6 w 309"/>
                <a:gd name="T85" fmla="*/ 459 h 535"/>
                <a:gd name="T86" fmla="*/ 90 w 309"/>
                <a:gd name="T87" fmla="*/ 453 h 535"/>
                <a:gd name="T88" fmla="*/ 172 w 309"/>
                <a:gd name="T89" fmla="*/ 444 h 535"/>
                <a:gd name="T90" fmla="*/ 174 w 309"/>
                <a:gd name="T91" fmla="*/ 467 h 535"/>
                <a:gd name="T92" fmla="*/ 176 w 309"/>
                <a:gd name="T93" fmla="*/ 483 h 535"/>
                <a:gd name="T94" fmla="*/ 190 w 309"/>
                <a:gd name="T95" fmla="*/ 502 h 535"/>
                <a:gd name="T96" fmla="*/ 194 w 309"/>
                <a:gd name="T97" fmla="*/ 518 h 535"/>
                <a:gd name="T98" fmla="*/ 206 w 309"/>
                <a:gd name="T99" fmla="*/ 528 h 535"/>
                <a:gd name="T100" fmla="*/ 213 w 309"/>
                <a:gd name="T101" fmla="*/ 528 h 535"/>
                <a:gd name="T102" fmla="*/ 215 w 309"/>
                <a:gd name="T103" fmla="*/ 520 h 535"/>
                <a:gd name="T104" fmla="*/ 221 w 309"/>
                <a:gd name="T105" fmla="*/ 510 h 535"/>
                <a:gd name="T106" fmla="*/ 229 w 309"/>
                <a:gd name="T107" fmla="*/ 512 h 535"/>
                <a:gd name="T108" fmla="*/ 251 w 309"/>
                <a:gd name="T109" fmla="*/ 504 h 535"/>
                <a:gd name="T110" fmla="*/ 256 w 309"/>
                <a:gd name="T111" fmla="*/ 498 h 535"/>
                <a:gd name="T112" fmla="*/ 290 w 309"/>
                <a:gd name="T113" fmla="*/ 498 h 535"/>
                <a:gd name="T114" fmla="*/ 299 w 309"/>
                <a:gd name="T115" fmla="*/ 504 h 535"/>
                <a:gd name="T116" fmla="*/ 309 w 309"/>
                <a:gd name="T117" fmla="*/ 500 h 535"/>
                <a:gd name="T118" fmla="*/ 282 w 309"/>
                <a:gd name="T119" fmla="*/ 514 h 535"/>
                <a:gd name="T120" fmla="*/ 290 w 309"/>
                <a:gd name="T121" fmla="*/ 51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9" h="535">
                  <a:moveTo>
                    <a:pt x="247" y="518"/>
                  </a:moveTo>
                  <a:lnTo>
                    <a:pt x="247" y="520"/>
                  </a:lnTo>
                  <a:lnTo>
                    <a:pt x="245" y="520"/>
                  </a:lnTo>
                  <a:lnTo>
                    <a:pt x="241" y="520"/>
                  </a:lnTo>
                  <a:lnTo>
                    <a:pt x="241" y="522"/>
                  </a:lnTo>
                  <a:lnTo>
                    <a:pt x="243" y="520"/>
                  </a:lnTo>
                  <a:lnTo>
                    <a:pt x="245" y="520"/>
                  </a:lnTo>
                  <a:lnTo>
                    <a:pt x="245" y="522"/>
                  </a:lnTo>
                  <a:lnTo>
                    <a:pt x="245" y="522"/>
                  </a:lnTo>
                  <a:lnTo>
                    <a:pt x="247" y="522"/>
                  </a:lnTo>
                  <a:lnTo>
                    <a:pt x="247" y="522"/>
                  </a:lnTo>
                  <a:lnTo>
                    <a:pt x="245" y="524"/>
                  </a:lnTo>
                  <a:lnTo>
                    <a:pt x="245" y="524"/>
                  </a:lnTo>
                  <a:lnTo>
                    <a:pt x="245" y="524"/>
                  </a:lnTo>
                  <a:lnTo>
                    <a:pt x="247" y="524"/>
                  </a:lnTo>
                  <a:lnTo>
                    <a:pt x="247" y="524"/>
                  </a:lnTo>
                  <a:lnTo>
                    <a:pt x="247" y="524"/>
                  </a:lnTo>
                  <a:lnTo>
                    <a:pt x="249" y="520"/>
                  </a:lnTo>
                  <a:lnTo>
                    <a:pt x="249" y="520"/>
                  </a:lnTo>
                  <a:lnTo>
                    <a:pt x="249" y="518"/>
                  </a:lnTo>
                  <a:lnTo>
                    <a:pt x="249" y="518"/>
                  </a:lnTo>
                  <a:lnTo>
                    <a:pt x="249" y="518"/>
                  </a:lnTo>
                  <a:lnTo>
                    <a:pt x="249" y="518"/>
                  </a:lnTo>
                  <a:lnTo>
                    <a:pt x="247" y="518"/>
                  </a:lnTo>
                  <a:close/>
                  <a:moveTo>
                    <a:pt x="215" y="532"/>
                  </a:moveTo>
                  <a:lnTo>
                    <a:pt x="215" y="535"/>
                  </a:lnTo>
                  <a:lnTo>
                    <a:pt x="217" y="535"/>
                  </a:lnTo>
                  <a:lnTo>
                    <a:pt x="217" y="532"/>
                  </a:lnTo>
                  <a:lnTo>
                    <a:pt x="217" y="532"/>
                  </a:lnTo>
                  <a:lnTo>
                    <a:pt x="215" y="532"/>
                  </a:lnTo>
                  <a:close/>
                  <a:moveTo>
                    <a:pt x="258" y="522"/>
                  </a:moveTo>
                  <a:lnTo>
                    <a:pt x="258" y="522"/>
                  </a:lnTo>
                  <a:lnTo>
                    <a:pt x="260" y="520"/>
                  </a:lnTo>
                  <a:lnTo>
                    <a:pt x="262" y="520"/>
                  </a:lnTo>
                  <a:lnTo>
                    <a:pt x="260" y="520"/>
                  </a:lnTo>
                  <a:lnTo>
                    <a:pt x="258" y="522"/>
                  </a:lnTo>
                  <a:close/>
                  <a:moveTo>
                    <a:pt x="301" y="516"/>
                  </a:moveTo>
                  <a:lnTo>
                    <a:pt x="305" y="516"/>
                  </a:lnTo>
                  <a:lnTo>
                    <a:pt x="307" y="516"/>
                  </a:lnTo>
                  <a:lnTo>
                    <a:pt x="309" y="516"/>
                  </a:lnTo>
                  <a:lnTo>
                    <a:pt x="301" y="516"/>
                  </a:lnTo>
                  <a:lnTo>
                    <a:pt x="301" y="516"/>
                  </a:lnTo>
                  <a:close/>
                  <a:moveTo>
                    <a:pt x="309" y="498"/>
                  </a:moveTo>
                  <a:lnTo>
                    <a:pt x="305" y="477"/>
                  </a:lnTo>
                  <a:lnTo>
                    <a:pt x="305" y="467"/>
                  </a:lnTo>
                  <a:lnTo>
                    <a:pt x="303" y="457"/>
                  </a:lnTo>
                  <a:lnTo>
                    <a:pt x="301" y="446"/>
                  </a:lnTo>
                  <a:lnTo>
                    <a:pt x="299" y="436"/>
                  </a:lnTo>
                  <a:lnTo>
                    <a:pt x="296" y="428"/>
                  </a:lnTo>
                  <a:lnTo>
                    <a:pt x="296" y="418"/>
                  </a:lnTo>
                  <a:lnTo>
                    <a:pt x="292" y="397"/>
                  </a:lnTo>
                  <a:lnTo>
                    <a:pt x="292" y="387"/>
                  </a:lnTo>
                  <a:lnTo>
                    <a:pt x="290" y="377"/>
                  </a:lnTo>
                  <a:lnTo>
                    <a:pt x="288" y="366"/>
                  </a:lnTo>
                  <a:lnTo>
                    <a:pt x="286" y="356"/>
                  </a:lnTo>
                  <a:lnTo>
                    <a:pt x="286" y="346"/>
                  </a:lnTo>
                  <a:lnTo>
                    <a:pt x="284" y="338"/>
                  </a:lnTo>
                  <a:lnTo>
                    <a:pt x="284" y="336"/>
                  </a:lnTo>
                  <a:lnTo>
                    <a:pt x="284" y="334"/>
                  </a:lnTo>
                  <a:lnTo>
                    <a:pt x="284" y="330"/>
                  </a:lnTo>
                  <a:lnTo>
                    <a:pt x="284" y="323"/>
                  </a:lnTo>
                  <a:lnTo>
                    <a:pt x="284" y="315"/>
                  </a:lnTo>
                  <a:lnTo>
                    <a:pt x="284" y="307"/>
                  </a:lnTo>
                  <a:lnTo>
                    <a:pt x="284" y="297"/>
                  </a:lnTo>
                  <a:lnTo>
                    <a:pt x="284" y="287"/>
                  </a:lnTo>
                  <a:lnTo>
                    <a:pt x="284" y="274"/>
                  </a:lnTo>
                  <a:lnTo>
                    <a:pt x="284" y="262"/>
                  </a:lnTo>
                  <a:lnTo>
                    <a:pt x="284" y="250"/>
                  </a:lnTo>
                  <a:lnTo>
                    <a:pt x="284" y="235"/>
                  </a:lnTo>
                  <a:lnTo>
                    <a:pt x="284" y="221"/>
                  </a:lnTo>
                  <a:lnTo>
                    <a:pt x="284" y="207"/>
                  </a:lnTo>
                  <a:lnTo>
                    <a:pt x="284" y="190"/>
                  </a:lnTo>
                  <a:lnTo>
                    <a:pt x="284" y="162"/>
                  </a:lnTo>
                  <a:lnTo>
                    <a:pt x="284" y="145"/>
                  </a:lnTo>
                  <a:lnTo>
                    <a:pt x="284" y="131"/>
                  </a:lnTo>
                  <a:lnTo>
                    <a:pt x="284" y="116"/>
                  </a:lnTo>
                  <a:lnTo>
                    <a:pt x="284" y="102"/>
                  </a:lnTo>
                  <a:lnTo>
                    <a:pt x="284" y="90"/>
                  </a:lnTo>
                  <a:lnTo>
                    <a:pt x="284" y="78"/>
                  </a:lnTo>
                  <a:lnTo>
                    <a:pt x="284" y="65"/>
                  </a:lnTo>
                  <a:lnTo>
                    <a:pt x="284" y="55"/>
                  </a:lnTo>
                  <a:lnTo>
                    <a:pt x="284" y="45"/>
                  </a:lnTo>
                  <a:lnTo>
                    <a:pt x="284" y="37"/>
                  </a:lnTo>
                  <a:lnTo>
                    <a:pt x="284" y="28"/>
                  </a:lnTo>
                  <a:lnTo>
                    <a:pt x="284" y="18"/>
                  </a:lnTo>
                  <a:lnTo>
                    <a:pt x="284" y="16"/>
                  </a:lnTo>
                  <a:lnTo>
                    <a:pt x="284" y="10"/>
                  </a:lnTo>
                  <a:lnTo>
                    <a:pt x="284" y="10"/>
                  </a:lnTo>
                  <a:lnTo>
                    <a:pt x="284" y="10"/>
                  </a:lnTo>
                  <a:lnTo>
                    <a:pt x="280" y="8"/>
                  </a:lnTo>
                  <a:lnTo>
                    <a:pt x="278" y="4"/>
                  </a:lnTo>
                  <a:lnTo>
                    <a:pt x="276" y="0"/>
                  </a:lnTo>
                  <a:lnTo>
                    <a:pt x="276" y="0"/>
                  </a:lnTo>
                  <a:lnTo>
                    <a:pt x="272" y="0"/>
                  </a:lnTo>
                  <a:lnTo>
                    <a:pt x="260" y="2"/>
                  </a:lnTo>
                  <a:lnTo>
                    <a:pt x="249" y="4"/>
                  </a:lnTo>
                  <a:lnTo>
                    <a:pt x="237" y="4"/>
                  </a:lnTo>
                  <a:lnTo>
                    <a:pt x="227" y="6"/>
                  </a:lnTo>
                  <a:lnTo>
                    <a:pt x="215" y="6"/>
                  </a:lnTo>
                  <a:lnTo>
                    <a:pt x="202" y="8"/>
                  </a:lnTo>
                  <a:lnTo>
                    <a:pt x="192" y="8"/>
                  </a:lnTo>
                  <a:lnTo>
                    <a:pt x="180" y="10"/>
                  </a:lnTo>
                  <a:lnTo>
                    <a:pt x="169" y="12"/>
                  </a:lnTo>
                  <a:lnTo>
                    <a:pt x="157" y="12"/>
                  </a:lnTo>
                  <a:lnTo>
                    <a:pt x="145" y="14"/>
                  </a:lnTo>
                  <a:lnTo>
                    <a:pt x="135" y="14"/>
                  </a:lnTo>
                  <a:lnTo>
                    <a:pt x="122" y="16"/>
                  </a:lnTo>
                  <a:lnTo>
                    <a:pt x="112" y="16"/>
                  </a:lnTo>
                  <a:lnTo>
                    <a:pt x="100" y="18"/>
                  </a:lnTo>
                  <a:lnTo>
                    <a:pt x="88" y="18"/>
                  </a:lnTo>
                  <a:lnTo>
                    <a:pt x="90" y="18"/>
                  </a:lnTo>
                  <a:lnTo>
                    <a:pt x="92" y="22"/>
                  </a:lnTo>
                  <a:lnTo>
                    <a:pt x="92" y="26"/>
                  </a:lnTo>
                  <a:lnTo>
                    <a:pt x="90" y="30"/>
                  </a:lnTo>
                  <a:lnTo>
                    <a:pt x="86" y="32"/>
                  </a:lnTo>
                  <a:lnTo>
                    <a:pt x="75" y="39"/>
                  </a:lnTo>
                  <a:lnTo>
                    <a:pt x="75" y="39"/>
                  </a:lnTo>
                  <a:lnTo>
                    <a:pt x="75" y="41"/>
                  </a:lnTo>
                  <a:lnTo>
                    <a:pt x="77" y="43"/>
                  </a:lnTo>
                  <a:lnTo>
                    <a:pt x="77" y="45"/>
                  </a:lnTo>
                  <a:lnTo>
                    <a:pt x="75" y="47"/>
                  </a:lnTo>
                  <a:lnTo>
                    <a:pt x="75" y="49"/>
                  </a:lnTo>
                  <a:lnTo>
                    <a:pt x="73" y="49"/>
                  </a:lnTo>
                  <a:lnTo>
                    <a:pt x="71" y="49"/>
                  </a:lnTo>
                  <a:lnTo>
                    <a:pt x="69" y="47"/>
                  </a:lnTo>
                  <a:lnTo>
                    <a:pt x="69" y="49"/>
                  </a:lnTo>
                  <a:lnTo>
                    <a:pt x="67" y="51"/>
                  </a:lnTo>
                  <a:lnTo>
                    <a:pt x="67" y="55"/>
                  </a:lnTo>
                  <a:lnTo>
                    <a:pt x="67" y="59"/>
                  </a:lnTo>
                  <a:lnTo>
                    <a:pt x="69" y="65"/>
                  </a:lnTo>
                  <a:lnTo>
                    <a:pt x="69" y="75"/>
                  </a:lnTo>
                  <a:lnTo>
                    <a:pt x="69" y="80"/>
                  </a:lnTo>
                  <a:lnTo>
                    <a:pt x="69" y="82"/>
                  </a:lnTo>
                  <a:lnTo>
                    <a:pt x="65" y="86"/>
                  </a:lnTo>
                  <a:lnTo>
                    <a:pt x="63" y="88"/>
                  </a:lnTo>
                  <a:lnTo>
                    <a:pt x="61" y="88"/>
                  </a:lnTo>
                  <a:lnTo>
                    <a:pt x="57" y="90"/>
                  </a:lnTo>
                  <a:lnTo>
                    <a:pt x="55" y="90"/>
                  </a:lnTo>
                  <a:lnTo>
                    <a:pt x="55" y="90"/>
                  </a:lnTo>
                  <a:lnTo>
                    <a:pt x="53" y="88"/>
                  </a:lnTo>
                  <a:lnTo>
                    <a:pt x="53" y="90"/>
                  </a:lnTo>
                  <a:lnTo>
                    <a:pt x="53" y="90"/>
                  </a:lnTo>
                  <a:lnTo>
                    <a:pt x="55" y="92"/>
                  </a:lnTo>
                  <a:lnTo>
                    <a:pt x="55" y="94"/>
                  </a:lnTo>
                  <a:lnTo>
                    <a:pt x="55" y="94"/>
                  </a:lnTo>
                  <a:lnTo>
                    <a:pt x="55" y="96"/>
                  </a:lnTo>
                  <a:lnTo>
                    <a:pt x="55" y="98"/>
                  </a:lnTo>
                  <a:lnTo>
                    <a:pt x="53" y="98"/>
                  </a:lnTo>
                  <a:lnTo>
                    <a:pt x="53" y="100"/>
                  </a:lnTo>
                  <a:lnTo>
                    <a:pt x="53" y="100"/>
                  </a:lnTo>
                  <a:lnTo>
                    <a:pt x="51" y="98"/>
                  </a:lnTo>
                  <a:lnTo>
                    <a:pt x="49" y="98"/>
                  </a:lnTo>
                  <a:lnTo>
                    <a:pt x="49" y="98"/>
                  </a:lnTo>
                  <a:lnTo>
                    <a:pt x="49" y="100"/>
                  </a:lnTo>
                  <a:lnTo>
                    <a:pt x="47" y="108"/>
                  </a:lnTo>
                  <a:lnTo>
                    <a:pt x="45" y="108"/>
                  </a:lnTo>
                  <a:lnTo>
                    <a:pt x="45" y="110"/>
                  </a:lnTo>
                  <a:lnTo>
                    <a:pt x="38" y="112"/>
                  </a:lnTo>
                  <a:lnTo>
                    <a:pt x="38" y="114"/>
                  </a:lnTo>
                  <a:lnTo>
                    <a:pt x="38" y="116"/>
                  </a:lnTo>
                  <a:lnTo>
                    <a:pt x="45" y="118"/>
                  </a:lnTo>
                  <a:lnTo>
                    <a:pt x="47" y="123"/>
                  </a:lnTo>
                  <a:lnTo>
                    <a:pt x="45" y="125"/>
                  </a:lnTo>
                  <a:lnTo>
                    <a:pt x="43" y="127"/>
                  </a:lnTo>
                  <a:lnTo>
                    <a:pt x="43" y="127"/>
                  </a:lnTo>
                  <a:lnTo>
                    <a:pt x="40" y="127"/>
                  </a:lnTo>
                  <a:lnTo>
                    <a:pt x="38" y="127"/>
                  </a:lnTo>
                  <a:lnTo>
                    <a:pt x="32" y="131"/>
                  </a:lnTo>
                  <a:lnTo>
                    <a:pt x="28" y="133"/>
                  </a:lnTo>
                  <a:lnTo>
                    <a:pt x="28" y="133"/>
                  </a:lnTo>
                  <a:lnTo>
                    <a:pt x="28" y="135"/>
                  </a:lnTo>
                  <a:lnTo>
                    <a:pt x="28" y="135"/>
                  </a:lnTo>
                  <a:lnTo>
                    <a:pt x="30" y="135"/>
                  </a:lnTo>
                  <a:lnTo>
                    <a:pt x="32" y="137"/>
                  </a:lnTo>
                  <a:lnTo>
                    <a:pt x="32" y="139"/>
                  </a:lnTo>
                  <a:lnTo>
                    <a:pt x="32" y="141"/>
                  </a:lnTo>
                  <a:lnTo>
                    <a:pt x="30" y="143"/>
                  </a:lnTo>
                  <a:lnTo>
                    <a:pt x="32" y="147"/>
                  </a:lnTo>
                  <a:lnTo>
                    <a:pt x="32" y="149"/>
                  </a:lnTo>
                  <a:lnTo>
                    <a:pt x="32" y="151"/>
                  </a:lnTo>
                  <a:lnTo>
                    <a:pt x="32" y="153"/>
                  </a:lnTo>
                  <a:lnTo>
                    <a:pt x="32" y="153"/>
                  </a:lnTo>
                  <a:lnTo>
                    <a:pt x="28" y="155"/>
                  </a:lnTo>
                  <a:lnTo>
                    <a:pt x="28" y="155"/>
                  </a:lnTo>
                  <a:lnTo>
                    <a:pt x="28" y="155"/>
                  </a:lnTo>
                  <a:lnTo>
                    <a:pt x="26" y="157"/>
                  </a:lnTo>
                  <a:lnTo>
                    <a:pt x="24" y="157"/>
                  </a:lnTo>
                  <a:lnTo>
                    <a:pt x="24" y="159"/>
                  </a:lnTo>
                  <a:lnTo>
                    <a:pt x="22" y="164"/>
                  </a:lnTo>
                  <a:lnTo>
                    <a:pt x="20" y="166"/>
                  </a:lnTo>
                  <a:lnTo>
                    <a:pt x="18" y="166"/>
                  </a:lnTo>
                  <a:lnTo>
                    <a:pt x="18" y="168"/>
                  </a:lnTo>
                  <a:lnTo>
                    <a:pt x="20" y="170"/>
                  </a:lnTo>
                  <a:lnTo>
                    <a:pt x="24" y="170"/>
                  </a:lnTo>
                  <a:lnTo>
                    <a:pt x="26" y="172"/>
                  </a:lnTo>
                  <a:lnTo>
                    <a:pt x="26" y="174"/>
                  </a:lnTo>
                  <a:lnTo>
                    <a:pt x="26" y="176"/>
                  </a:lnTo>
                  <a:lnTo>
                    <a:pt x="24" y="178"/>
                  </a:lnTo>
                  <a:lnTo>
                    <a:pt x="22" y="178"/>
                  </a:lnTo>
                  <a:lnTo>
                    <a:pt x="20" y="178"/>
                  </a:lnTo>
                  <a:lnTo>
                    <a:pt x="18" y="180"/>
                  </a:lnTo>
                  <a:lnTo>
                    <a:pt x="18" y="182"/>
                  </a:lnTo>
                  <a:lnTo>
                    <a:pt x="20" y="182"/>
                  </a:lnTo>
                  <a:lnTo>
                    <a:pt x="22" y="184"/>
                  </a:lnTo>
                  <a:lnTo>
                    <a:pt x="24" y="184"/>
                  </a:lnTo>
                  <a:lnTo>
                    <a:pt x="26" y="186"/>
                  </a:lnTo>
                  <a:lnTo>
                    <a:pt x="28" y="188"/>
                  </a:lnTo>
                  <a:lnTo>
                    <a:pt x="28" y="190"/>
                  </a:lnTo>
                  <a:lnTo>
                    <a:pt x="30" y="192"/>
                  </a:lnTo>
                  <a:lnTo>
                    <a:pt x="30" y="196"/>
                  </a:lnTo>
                  <a:lnTo>
                    <a:pt x="28" y="198"/>
                  </a:lnTo>
                  <a:lnTo>
                    <a:pt x="26" y="203"/>
                  </a:lnTo>
                  <a:lnTo>
                    <a:pt x="26" y="205"/>
                  </a:lnTo>
                  <a:lnTo>
                    <a:pt x="26" y="207"/>
                  </a:lnTo>
                  <a:lnTo>
                    <a:pt x="28" y="207"/>
                  </a:lnTo>
                  <a:lnTo>
                    <a:pt x="30" y="209"/>
                  </a:lnTo>
                  <a:lnTo>
                    <a:pt x="32" y="209"/>
                  </a:lnTo>
                  <a:lnTo>
                    <a:pt x="32" y="211"/>
                  </a:lnTo>
                  <a:lnTo>
                    <a:pt x="32" y="217"/>
                  </a:lnTo>
                  <a:lnTo>
                    <a:pt x="34" y="219"/>
                  </a:lnTo>
                  <a:lnTo>
                    <a:pt x="34" y="221"/>
                  </a:lnTo>
                  <a:lnTo>
                    <a:pt x="34" y="223"/>
                  </a:lnTo>
                  <a:lnTo>
                    <a:pt x="32" y="225"/>
                  </a:lnTo>
                  <a:lnTo>
                    <a:pt x="30" y="225"/>
                  </a:lnTo>
                  <a:lnTo>
                    <a:pt x="30" y="225"/>
                  </a:lnTo>
                  <a:lnTo>
                    <a:pt x="28" y="227"/>
                  </a:lnTo>
                  <a:lnTo>
                    <a:pt x="30" y="237"/>
                  </a:lnTo>
                  <a:lnTo>
                    <a:pt x="30" y="241"/>
                  </a:lnTo>
                  <a:lnTo>
                    <a:pt x="30" y="244"/>
                  </a:lnTo>
                  <a:lnTo>
                    <a:pt x="32" y="244"/>
                  </a:lnTo>
                  <a:lnTo>
                    <a:pt x="32" y="244"/>
                  </a:lnTo>
                  <a:lnTo>
                    <a:pt x="34" y="244"/>
                  </a:lnTo>
                  <a:lnTo>
                    <a:pt x="36" y="244"/>
                  </a:lnTo>
                  <a:lnTo>
                    <a:pt x="36" y="246"/>
                  </a:lnTo>
                  <a:lnTo>
                    <a:pt x="38" y="248"/>
                  </a:lnTo>
                  <a:lnTo>
                    <a:pt x="38" y="250"/>
                  </a:lnTo>
                  <a:lnTo>
                    <a:pt x="36" y="252"/>
                  </a:lnTo>
                  <a:lnTo>
                    <a:pt x="36" y="254"/>
                  </a:lnTo>
                  <a:lnTo>
                    <a:pt x="34" y="254"/>
                  </a:lnTo>
                  <a:lnTo>
                    <a:pt x="34" y="256"/>
                  </a:lnTo>
                  <a:lnTo>
                    <a:pt x="32" y="260"/>
                  </a:lnTo>
                  <a:lnTo>
                    <a:pt x="32" y="264"/>
                  </a:lnTo>
                  <a:lnTo>
                    <a:pt x="32" y="266"/>
                  </a:lnTo>
                  <a:lnTo>
                    <a:pt x="34" y="266"/>
                  </a:lnTo>
                  <a:lnTo>
                    <a:pt x="38" y="268"/>
                  </a:lnTo>
                  <a:lnTo>
                    <a:pt x="40" y="268"/>
                  </a:lnTo>
                  <a:lnTo>
                    <a:pt x="40" y="270"/>
                  </a:lnTo>
                  <a:lnTo>
                    <a:pt x="38" y="272"/>
                  </a:lnTo>
                  <a:lnTo>
                    <a:pt x="38" y="272"/>
                  </a:lnTo>
                  <a:lnTo>
                    <a:pt x="34" y="274"/>
                  </a:lnTo>
                  <a:lnTo>
                    <a:pt x="32" y="274"/>
                  </a:lnTo>
                  <a:lnTo>
                    <a:pt x="32" y="276"/>
                  </a:lnTo>
                  <a:lnTo>
                    <a:pt x="32" y="278"/>
                  </a:lnTo>
                  <a:lnTo>
                    <a:pt x="32" y="280"/>
                  </a:lnTo>
                  <a:lnTo>
                    <a:pt x="34" y="282"/>
                  </a:lnTo>
                  <a:lnTo>
                    <a:pt x="34" y="282"/>
                  </a:lnTo>
                  <a:lnTo>
                    <a:pt x="36" y="284"/>
                  </a:lnTo>
                  <a:lnTo>
                    <a:pt x="38" y="284"/>
                  </a:lnTo>
                  <a:lnTo>
                    <a:pt x="38" y="287"/>
                  </a:lnTo>
                  <a:lnTo>
                    <a:pt x="40" y="287"/>
                  </a:lnTo>
                  <a:lnTo>
                    <a:pt x="38" y="289"/>
                  </a:lnTo>
                  <a:lnTo>
                    <a:pt x="38" y="291"/>
                  </a:lnTo>
                  <a:lnTo>
                    <a:pt x="38" y="291"/>
                  </a:lnTo>
                  <a:lnTo>
                    <a:pt x="38" y="295"/>
                  </a:lnTo>
                  <a:lnTo>
                    <a:pt x="40" y="297"/>
                  </a:lnTo>
                  <a:lnTo>
                    <a:pt x="40" y="299"/>
                  </a:lnTo>
                  <a:lnTo>
                    <a:pt x="45" y="301"/>
                  </a:lnTo>
                  <a:lnTo>
                    <a:pt x="47" y="301"/>
                  </a:lnTo>
                  <a:lnTo>
                    <a:pt x="49" y="303"/>
                  </a:lnTo>
                  <a:lnTo>
                    <a:pt x="51" y="307"/>
                  </a:lnTo>
                  <a:lnTo>
                    <a:pt x="51" y="307"/>
                  </a:lnTo>
                  <a:lnTo>
                    <a:pt x="53" y="309"/>
                  </a:lnTo>
                  <a:lnTo>
                    <a:pt x="55" y="309"/>
                  </a:lnTo>
                  <a:lnTo>
                    <a:pt x="57" y="309"/>
                  </a:lnTo>
                  <a:lnTo>
                    <a:pt x="59" y="311"/>
                  </a:lnTo>
                  <a:lnTo>
                    <a:pt x="59" y="313"/>
                  </a:lnTo>
                  <a:lnTo>
                    <a:pt x="57" y="313"/>
                  </a:lnTo>
                  <a:lnTo>
                    <a:pt x="57" y="313"/>
                  </a:lnTo>
                  <a:lnTo>
                    <a:pt x="55" y="317"/>
                  </a:lnTo>
                  <a:lnTo>
                    <a:pt x="51" y="325"/>
                  </a:lnTo>
                  <a:lnTo>
                    <a:pt x="49" y="332"/>
                  </a:lnTo>
                  <a:lnTo>
                    <a:pt x="45" y="332"/>
                  </a:lnTo>
                  <a:lnTo>
                    <a:pt x="43" y="332"/>
                  </a:lnTo>
                  <a:lnTo>
                    <a:pt x="43" y="334"/>
                  </a:lnTo>
                  <a:lnTo>
                    <a:pt x="43" y="334"/>
                  </a:lnTo>
                  <a:lnTo>
                    <a:pt x="43" y="334"/>
                  </a:lnTo>
                  <a:lnTo>
                    <a:pt x="47" y="338"/>
                  </a:lnTo>
                  <a:lnTo>
                    <a:pt x="47" y="342"/>
                  </a:lnTo>
                  <a:lnTo>
                    <a:pt x="45" y="346"/>
                  </a:lnTo>
                  <a:lnTo>
                    <a:pt x="43" y="348"/>
                  </a:lnTo>
                  <a:lnTo>
                    <a:pt x="38" y="350"/>
                  </a:lnTo>
                  <a:lnTo>
                    <a:pt x="38" y="350"/>
                  </a:lnTo>
                  <a:lnTo>
                    <a:pt x="38" y="350"/>
                  </a:lnTo>
                  <a:lnTo>
                    <a:pt x="36" y="354"/>
                  </a:lnTo>
                  <a:lnTo>
                    <a:pt x="36" y="354"/>
                  </a:lnTo>
                  <a:lnTo>
                    <a:pt x="32" y="360"/>
                  </a:lnTo>
                  <a:lnTo>
                    <a:pt x="30" y="360"/>
                  </a:lnTo>
                  <a:lnTo>
                    <a:pt x="28" y="362"/>
                  </a:lnTo>
                  <a:lnTo>
                    <a:pt x="26" y="362"/>
                  </a:lnTo>
                  <a:lnTo>
                    <a:pt x="24" y="364"/>
                  </a:lnTo>
                  <a:lnTo>
                    <a:pt x="22" y="366"/>
                  </a:lnTo>
                  <a:lnTo>
                    <a:pt x="22" y="369"/>
                  </a:lnTo>
                  <a:lnTo>
                    <a:pt x="20" y="373"/>
                  </a:lnTo>
                  <a:lnTo>
                    <a:pt x="18" y="377"/>
                  </a:lnTo>
                  <a:lnTo>
                    <a:pt x="18" y="379"/>
                  </a:lnTo>
                  <a:lnTo>
                    <a:pt x="18" y="381"/>
                  </a:lnTo>
                  <a:lnTo>
                    <a:pt x="18" y="391"/>
                  </a:lnTo>
                  <a:lnTo>
                    <a:pt x="18" y="393"/>
                  </a:lnTo>
                  <a:lnTo>
                    <a:pt x="18" y="395"/>
                  </a:lnTo>
                  <a:lnTo>
                    <a:pt x="18" y="395"/>
                  </a:lnTo>
                  <a:lnTo>
                    <a:pt x="12" y="401"/>
                  </a:lnTo>
                  <a:lnTo>
                    <a:pt x="10" y="403"/>
                  </a:lnTo>
                  <a:lnTo>
                    <a:pt x="10" y="409"/>
                  </a:lnTo>
                  <a:lnTo>
                    <a:pt x="10" y="409"/>
                  </a:lnTo>
                  <a:lnTo>
                    <a:pt x="12" y="409"/>
                  </a:lnTo>
                  <a:lnTo>
                    <a:pt x="12" y="414"/>
                  </a:lnTo>
                  <a:lnTo>
                    <a:pt x="14" y="414"/>
                  </a:lnTo>
                  <a:lnTo>
                    <a:pt x="14" y="416"/>
                  </a:lnTo>
                  <a:lnTo>
                    <a:pt x="12" y="416"/>
                  </a:lnTo>
                  <a:lnTo>
                    <a:pt x="12" y="418"/>
                  </a:lnTo>
                  <a:lnTo>
                    <a:pt x="12" y="424"/>
                  </a:lnTo>
                  <a:lnTo>
                    <a:pt x="12" y="426"/>
                  </a:lnTo>
                  <a:lnTo>
                    <a:pt x="10" y="428"/>
                  </a:lnTo>
                  <a:lnTo>
                    <a:pt x="8" y="428"/>
                  </a:lnTo>
                  <a:lnTo>
                    <a:pt x="4" y="428"/>
                  </a:lnTo>
                  <a:lnTo>
                    <a:pt x="2" y="428"/>
                  </a:lnTo>
                  <a:lnTo>
                    <a:pt x="0" y="430"/>
                  </a:lnTo>
                  <a:lnTo>
                    <a:pt x="0" y="432"/>
                  </a:lnTo>
                  <a:lnTo>
                    <a:pt x="2" y="434"/>
                  </a:lnTo>
                  <a:lnTo>
                    <a:pt x="4" y="434"/>
                  </a:lnTo>
                  <a:lnTo>
                    <a:pt x="4" y="436"/>
                  </a:lnTo>
                  <a:lnTo>
                    <a:pt x="4" y="436"/>
                  </a:lnTo>
                  <a:lnTo>
                    <a:pt x="4" y="438"/>
                  </a:lnTo>
                  <a:lnTo>
                    <a:pt x="4" y="438"/>
                  </a:lnTo>
                  <a:lnTo>
                    <a:pt x="4" y="438"/>
                  </a:lnTo>
                  <a:lnTo>
                    <a:pt x="4" y="440"/>
                  </a:lnTo>
                  <a:lnTo>
                    <a:pt x="4" y="442"/>
                  </a:lnTo>
                  <a:lnTo>
                    <a:pt x="4" y="442"/>
                  </a:lnTo>
                  <a:lnTo>
                    <a:pt x="4" y="446"/>
                  </a:lnTo>
                  <a:lnTo>
                    <a:pt x="8" y="448"/>
                  </a:lnTo>
                  <a:lnTo>
                    <a:pt x="8" y="453"/>
                  </a:lnTo>
                  <a:lnTo>
                    <a:pt x="2" y="459"/>
                  </a:lnTo>
                  <a:lnTo>
                    <a:pt x="2" y="459"/>
                  </a:lnTo>
                  <a:lnTo>
                    <a:pt x="6" y="459"/>
                  </a:lnTo>
                  <a:lnTo>
                    <a:pt x="8" y="459"/>
                  </a:lnTo>
                  <a:lnTo>
                    <a:pt x="14" y="459"/>
                  </a:lnTo>
                  <a:lnTo>
                    <a:pt x="22" y="457"/>
                  </a:lnTo>
                  <a:lnTo>
                    <a:pt x="32" y="457"/>
                  </a:lnTo>
                  <a:lnTo>
                    <a:pt x="45" y="455"/>
                  </a:lnTo>
                  <a:lnTo>
                    <a:pt x="59" y="455"/>
                  </a:lnTo>
                  <a:lnTo>
                    <a:pt x="73" y="453"/>
                  </a:lnTo>
                  <a:lnTo>
                    <a:pt x="90" y="453"/>
                  </a:lnTo>
                  <a:lnTo>
                    <a:pt x="104" y="450"/>
                  </a:lnTo>
                  <a:lnTo>
                    <a:pt x="118" y="448"/>
                  </a:lnTo>
                  <a:lnTo>
                    <a:pt x="133" y="448"/>
                  </a:lnTo>
                  <a:lnTo>
                    <a:pt x="145" y="446"/>
                  </a:lnTo>
                  <a:lnTo>
                    <a:pt x="155" y="446"/>
                  </a:lnTo>
                  <a:lnTo>
                    <a:pt x="163" y="444"/>
                  </a:lnTo>
                  <a:lnTo>
                    <a:pt x="169" y="444"/>
                  </a:lnTo>
                  <a:lnTo>
                    <a:pt x="172" y="444"/>
                  </a:lnTo>
                  <a:lnTo>
                    <a:pt x="176" y="444"/>
                  </a:lnTo>
                  <a:lnTo>
                    <a:pt x="178" y="444"/>
                  </a:lnTo>
                  <a:lnTo>
                    <a:pt x="180" y="444"/>
                  </a:lnTo>
                  <a:lnTo>
                    <a:pt x="180" y="448"/>
                  </a:lnTo>
                  <a:lnTo>
                    <a:pt x="178" y="453"/>
                  </a:lnTo>
                  <a:lnTo>
                    <a:pt x="176" y="457"/>
                  </a:lnTo>
                  <a:lnTo>
                    <a:pt x="176" y="463"/>
                  </a:lnTo>
                  <a:lnTo>
                    <a:pt x="174" y="467"/>
                  </a:lnTo>
                  <a:lnTo>
                    <a:pt x="174" y="469"/>
                  </a:lnTo>
                  <a:lnTo>
                    <a:pt x="174" y="471"/>
                  </a:lnTo>
                  <a:lnTo>
                    <a:pt x="172" y="475"/>
                  </a:lnTo>
                  <a:lnTo>
                    <a:pt x="172" y="477"/>
                  </a:lnTo>
                  <a:lnTo>
                    <a:pt x="172" y="479"/>
                  </a:lnTo>
                  <a:lnTo>
                    <a:pt x="174" y="481"/>
                  </a:lnTo>
                  <a:lnTo>
                    <a:pt x="174" y="481"/>
                  </a:lnTo>
                  <a:lnTo>
                    <a:pt x="176" y="483"/>
                  </a:lnTo>
                  <a:lnTo>
                    <a:pt x="174" y="485"/>
                  </a:lnTo>
                  <a:lnTo>
                    <a:pt x="178" y="491"/>
                  </a:lnTo>
                  <a:lnTo>
                    <a:pt x="178" y="491"/>
                  </a:lnTo>
                  <a:lnTo>
                    <a:pt x="182" y="494"/>
                  </a:lnTo>
                  <a:lnTo>
                    <a:pt x="184" y="494"/>
                  </a:lnTo>
                  <a:lnTo>
                    <a:pt x="184" y="498"/>
                  </a:lnTo>
                  <a:lnTo>
                    <a:pt x="188" y="500"/>
                  </a:lnTo>
                  <a:lnTo>
                    <a:pt x="190" y="502"/>
                  </a:lnTo>
                  <a:lnTo>
                    <a:pt x="190" y="502"/>
                  </a:lnTo>
                  <a:lnTo>
                    <a:pt x="190" y="504"/>
                  </a:lnTo>
                  <a:lnTo>
                    <a:pt x="190" y="506"/>
                  </a:lnTo>
                  <a:lnTo>
                    <a:pt x="190" y="506"/>
                  </a:lnTo>
                  <a:lnTo>
                    <a:pt x="190" y="508"/>
                  </a:lnTo>
                  <a:lnTo>
                    <a:pt x="194" y="512"/>
                  </a:lnTo>
                  <a:lnTo>
                    <a:pt x="194" y="514"/>
                  </a:lnTo>
                  <a:lnTo>
                    <a:pt x="194" y="518"/>
                  </a:lnTo>
                  <a:lnTo>
                    <a:pt x="196" y="520"/>
                  </a:lnTo>
                  <a:lnTo>
                    <a:pt x="200" y="526"/>
                  </a:lnTo>
                  <a:lnTo>
                    <a:pt x="202" y="528"/>
                  </a:lnTo>
                  <a:lnTo>
                    <a:pt x="202" y="528"/>
                  </a:lnTo>
                  <a:lnTo>
                    <a:pt x="204" y="528"/>
                  </a:lnTo>
                  <a:lnTo>
                    <a:pt x="206" y="528"/>
                  </a:lnTo>
                  <a:lnTo>
                    <a:pt x="206" y="528"/>
                  </a:lnTo>
                  <a:lnTo>
                    <a:pt x="206" y="528"/>
                  </a:lnTo>
                  <a:lnTo>
                    <a:pt x="206" y="528"/>
                  </a:lnTo>
                  <a:lnTo>
                    <a:pt x="208" y="528"/>
                  </a:lnTo>
                  <a:lnTo>
                    <a:pt x="208" y="528"/>
                  </a:lnTo>
                  <a:lnTo>
                    <a:pt x="210" y="528"/>
                  </a:lnTo>
                  <a:lnTo>
                    <a:pt x="210" y="526"/>
                  </a:lnTo>
                  <a:lnTo>
                    <a:pt x="213" y="528"/>
                  </a:lnTo>
                  <a:lnTo>
                    <a:pt x="213" y="528"/>
                  </a:lnTo>
                  <a:lnTo>
                    <a:pt x="213" y="528"/>
                  </a:lnTo>
                  <a:lnTo>
                    <a:pt x="213" y="528"/>
                  </a:lnTo>
                  <a:lnTo>
                    <a:pt x="215" y="528"/>
                  </a:lnTo>
                  <a:lnTo>
                    <a:pt x="215" y="528"/>
                  </a:lnTo>
                  <a:lnTo>
                    <a:pt x="215" y="526"/>
                  </a:lnTo>
                  <a:lnTo>
                    <a:pt x="215" y="524"/>
                  </a:lnTo>
                  <a:lnTo>
                    <a:pt x="217" y="522"/>
                  </a:lnTo>
                  <a:lnTo>
                    <a:pt x="217" y="522"/>
                  </a:lnTo>
                  <a:lnTo>
                    <a:pt x="215" y="520"/>
                  </a:lnTo>
                  <a:lnTo>
                    <a:pt x="223" y="514"/>
                  </a:lnTo>
                  <a:lnTo>
                    <a:pt x="225" y="514"/>
                  </a:lnTo>
                  <a:lnTo>
                    <a:pt x="225" y="512"/>
                  </a:lnTo>
                  <a:lnTo>
                    <a:pt x="225" y="510"/>
                  </a:lnTo>
                  <a:lnTo>
                    <a:pt x="223" y="510"/>
                  </a:lnTo>
                  <a:lnTo>
                    <a:pt x="221" y="510"/>
                  </a:lnTo>
                  <a:lnTo>
                    <a:pt x="221" y="510"/>
                  </a:lnTo>
                  <a:lnTo>
                    <a:pt x="221" y="510"/>
                  </a:lnTo>
                  <a:lnTo>
                    <a:pt x="221" y="508"/>
                  </a:lnTo>
                  <a:lnTo>
                    <a:pt x="223" y="508"/>
                  </a:lnTo>
                  <a:lnTo>
                    <a:pt x="223" y="506"/>
                  </a:lnTo>
                  <a:lnTo>
                    <a:pt x="225" y="506"/>
                  </a:lnTo>
                  <a:lnTo>
                    <a:pt x="229" y="508"/>
                  </a:lnTo>
                  <a:lnTo>
                    <a:pt x="231" y="510"/>
                  </a:lnTo>
                  <a:lnTo>
                    <a:pt x="229" y="510"/>
                  </a:lnTo>
                  <a:lnTo>
                    <a:pt x="229" y="512"/>
                  </a:lnTo>
                  <a:lnTo>
                    <a:pt x="229" y="512"/>
                  </a:lnTo>
                  <a:lnTo>
                    <a:pt x="231" y="512"/>
                  </a:lnTo>
                  <a:lnTo>
                    <a:pt x="231" y="512"/>
                  </a:lnTo>
                  <a:lnTo>
                    <a:pt x="237" y="510"/>
                  </a:lnTo>
                  <a:lnTo>
                    <a:pt x="243" y="508"/>
                  </a:lnTo>
                  <a:lnTo>
                    <a:pt x="249" y="506"/>
                  </a:lnTo>
                  <a:lnTo>
                    <a:pt x="251" y="504"/>
                  </a:lnTo>
                  <a:lnTo>
                    <a:pt x="251" y="504"/>
                  </a:lnTo>
                  <a:lnTo>
                    <a:pt x="256" y="502"/>
                  </a:lnTo>
                  <a:lnTo>
                    <a:pt x="256" y="502"/>
                  </a:lnTo>
                  <a:lnTo>
                    <a:pt x="262" y="502"/>
                  </a:lnTo>
                  <a:lnTo>
                    <a:pt x="264" y="502"/>
                  </a:lnTo>
                  <a:lnTo>
                    <a:pt x="266" y="500"/>
                  </a:lnTo>
                  <a:lnTo>
                    <a:pt x="253" y="500"/>
                  </a:lnTo>
                  <a:lnTo>
                    <a:pt x="253" y="498"/>
                  </a:lnTo>
                  <a:lnTo>
                    <a:pt x="256" y="498"/>
                  </a:lnTo>
                  <a:lnTo>
                    <a:pt x="258" y="498"/>
                  </a:lnTo>
                  <a:lnTo>
                    <a:pt x="260" y="496"/>
                  </a:lnTo>
                  <a:lnTo>
                    <a:pt x="268" y="498"/>
                  </a:lnTo>
                  <a:lnTo>
                    <a:pt x="278" y="504"/>
                  </a:lnTo>
                  <a:lnTo>
                    <a:pt x="280" y="504"/>
                  </a:lnTo>
                  <a:lnTo>
                    <a:pt x="284" y="504"/>
                  </a:lnTo>
                  <a:lnTo>
                    <a:pt x="288" y="502"/>
                  </a:lnTo>
                  <a:lnTo>
                    <a:pt x="290" y="498"/>
                  </a:lnTo>
                  <a:lnTo>
                    <a:pt x="290" y="498"/>
                  </a:lnTo>
                  <a:lnTo>
                    <a:pt x="290" y="500"/>
                  </a:lnTo>
                  <a:lnTo>
                    <a:pt x="292" y="500"/>
                  </a:lnTo>
                  <a:lnTo>
                    <a:pt x="294" y="502"/>
                  </a:lnTo>
                  <a:lnTo>
                    <a:pt x="294" y="504"/>
                  </a:lnTo>
                  <a:lnTo>
                    <a:pt x="296" y="504"/>
                  </a:lnTo>
                  <a:lnTo>
                    <a:pt x="296" y="504"/>
                  </a:lnTo>
                  <a:lnTo>
                    <a:pt x="299" y="504"/>
                  </a:lnTo>
                  <a:lnTo>
                    <a:pt x="301" y="504"/>
                  </a:lnTo>
                  <a:lnTo>
                    <a:pt x="303" y="504"/>
                  </a:lnTo>
                  <a:lnTo>
                    <a:pt x="305" y="504"/>
                  </a:lnTo>
                  <a:lnTo>
                    <a:pt x="305" y="504"/>
                  </a:lnTo>
                  <a:lnTo>
                    <a:pt x="305" y="502"/>
                  </a:lnTo>
                  <a:lnTo>
                    <a:pt x="307" y="502"/>
                  </a:lnTo>
                  <a:lnTo>
                    <a:pt x="307" y="502"/>
                  </a:lnTo>
                  <a:lnTo>
                    <a:pt x="309" y="500"/>
                  </a:lnTo>
                  <a:lnTo>
                    <a:pt x="309" y="500"/>
                  </a:lnTo>
                  <a:lnTo>
                    <a:pt x="309" y="498"/>
                  </a:lnTo>
                  <a:lnTo>
                    <a:pt x="309" y="498"/>
                  </a:lnTo>
                  <a:lnTo>
                    <a:pt x="309" y="498"/>
                  </a:lnTo>
                  <a:close/>
                  <a:moveTo>
                    <a:pt x="290" y="516"/>
                  </a:moveTo>
                  <a:lnTo>
                    <a:pt x="288" y="516"/>
                  </a:lnTo>
                  <a:lnTo>
                    <a:pt x="286" y="514"/>
                  </a:lnTo>
                  <a:lnTo>
                    <a:pt x="282" y="514"/>
                  </a:lnTo>
                  <a:lnTo>
                    <a:pt x="280" y="514"/>
                  </a:lnTo>
                  <a:lnTo>
                    <a:pt x="278" y="516"/>
                  </a:lnTo>
                  <a:lnTo>
                    <a:pt x="278" y="516"/>
                  </a:lnTo>
                  <a:lnTo>
                    <a:pt x="296" y="516"/>
                  </a:lnTo>
                  <a:lnTo>
                    <a:pt x="296" y="516"/>
                  </a:lnTo>
                  <a:lnTo>
                    <a:pt x="299" y="516"/>
                  </a:lnTo>
                  <a:lnTo>
                    <a:pt x="296" y="516"/>
                  </a:lnTo>
                  <a:lnTo>
                    <a:pt x="290" y="516"/>
                  </a:lnTo>
                  <a:close/>
                  <a:moveTo>
                    <a:pt x="266" y="518"/>
                  </a:moveTo>
                  <a:lnTo>
                    <a:pt x="264" y="518"/>
                  </a:lnTo>
                  <a:lnTo>
                    <a:pt x="264" y="520"/>
                  </a:lnTo>
                  <a:lnTo>
                    <a:pt x="264" y="518"/>
                  </a:lnTo>
                  <a:lnTo>
                    <a:pt x="266" y="518"/>
                  </a:lnTo>
                  <a:lnTo>
                    <a:pt x="266" y="518"/>
                  </a:lnTo>
                  <a:lnTo>
                    <a:pt x="266" y="51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S</a:t>
              </a:r>
            </a:p>
          </p:txBody>
        </p:sp>
        <p:sp>
          <p:nvSpPr>
            <p:cNvPr id="109" name="Freeform 31">
              <a:extLst>
                <a:ext uri="{FF2B5EF4-FFF2-40B4-BE49-F238E27FC236}">
                  <a16:creationId xmlns:a16="http://schemas.microsoft.com/office/drawing/2014/main" id="{077EDD23-679F-7718-BC37-7C17311C6574}"/>
                </a:ext>
              </a:extLst>
            </p:cNvPr>
            <p:cNvSpPr>
              <a:spLocks/>
            </p:cNvSpPr>
            <p:nvPr/>
          </p:nvSpPr>
          <p:spPr bwMode="auto">
            <a:xfrm>
              <a:off x="3081" y="1029"/>
              <a:ext cx="592" cy="488"/>
            </a:xfrm>
            <a:custGeom>
              <a:avLst/>
              <a:gdLst>
                <a:gd name="T0" fmla="*/ 360 w 592"/>
                <a:gd name="T1" fmla="*/ 65 h 488"/>
                <a:gd name="T2" fmla="*/ 364 w 592"/>
                <a:gd name="T3" fmla="*/ 80 h 488"/>
                <a:gd name="T4" fmla="*/ 374 w 592"/>
                <a:gd name="T5" fmla="*/ 96 h 488"/>
                <a:gd name="T6" fmla="*/ 426 w 592"/>
                <a:gd name="T7" fmla="*/ 137 h 488"/>
                <a:gd name="T8" fmla="*/ 434 w 592"/>
                <a:gd name="T9" fmla="*/ 156 h 488"/>
                <a:gd name="T10" fmla="*/ 440 w 592"/>
                <a:gd name="T11" fmla="*/ 174 h 488"/>
                <a:gd name="T12" fmla="*/ 467 w 592"/>
                <a:gd name="T13" fmla="*/ 170 h 488"/>
                <a:gd name="T14" fmla="*/ 481 w 592"/>
                <a:gd name="T15" fmla="*/ 190 h 488"/>
                <a:gd name="T16" fmla="*/ 469 w 592"/>
                <a:gd name="T17" fmla="*/ 240 h 488"/>
                <a:gd name="T18" fmla="*/ 481 w 592"/>
                <a:gd name="T19" fmla="*/ 256 h 488"/>
                <a:gd name="T20" fmla="*/ 504 w 592"/>
                <a:gd name="T21" fmla="*/ 272 h 488"/>
                <a:gd name="T22" fmla="*/ 532 w 592"/>
                <a:gd name="T23" fmla="*/ 287 h 488"/>
                <a:gd name="T24" fmla="*/ 549 w 592"/>
                <a:gd name="T25" fmla="*/ 307 h 488"/>
                <a:gd name="T26" fmla="*/ 555 w 592"/>
                <a:gd name="T27" fmla="*/ 336 h 488"/>
                <a:gd name="T28" fmla="*/ 559 w 592"/>
                <a:gd name="T29" fmla="*/ 350 h 488"/>
                <a:gd name="T30" fmla="*/ 577 w 592"/>
                <a:gd name="T31" fmla="*/ 369 h 488"/>
                <a:gd name="T32" fmla="*/ 577 w 592"/>
                <a:gd name="T33" fmla="*/ 361 h 488"/>
                <a:gd name="T34" fmla="*/ 583 w 592"/>
                <a:gd name="T35" fmla="*/ 371 h 488"/>
                <a:gd name="T36" fmla="*/ 592 w 592"/>
                <a:gd name="T37" fmla="*/ 381 h 488"/>
                <a:gd name="T38" fmla="*/ 587 w 592"/>
                <a:gd name="T39" fmla="*/ 406 h 488"/>
                <a:gd name="T40" fmla="*/ 571 w 592"/>
                <a:gd name="T41" fmla="*/ 410 h 488"/>
                <a:gd name="T42" fmla="*/ 565 w 592"/>
                <a:gd name="T43" fmla="*/ 430 h 488"/>
                <a:gd name="T44" fmla="*/ 555 w 592"/>
                <a:gd name="T45" fmla="*/ 424 h 488"/>
                <a:gd name="T46" fmla="*/ 561 w 592"/>
                <a:gd name="T47" fmla="*/ 440 h 488"/>
                <a:gd name="T48" fmla="*/ 559 w 592"/>
                <a:gd name="T49" fmla="*/ 449 h 488"/>
                <a:gd name="T50" fmla="*/ 555 w 592"/>
                <a:gd name="T51" fmla="*/ 467 h 488"/>
                <a:gd name="T52" fmla="*/ 547 w 592"/>
                <a:gd name="T53" fmla="*/ 481 h 488"/>
                <a:gd name="T54" fmla="*/ 491 w 592"/>
                <a:gd name="T55" fmla="*/ 486 h 488"/>
                <a:gd name="T56" fmla="*/ 497 w 592"/>
                <a:gd name="T57" fmla="*/ 471 h 488"/>
                <a:gd name="T58" fmla="*/ 501 w 592"/>
                <a:gd name="T59" fmla="*/ 467 h 488"/>
                <a:gd name="T60" fmla="*/ 510 w 592"/>
                <a:gd name="T61" fmla="*/ 461 h 488"/>
                <a:gd name="T62" fmla="*/ 514 w 592"/>
                <a:gd name="T63" fmla="*/ 455 h 488"/>
                <a:gd name="T64" fmla="*/ 514 w 592"/>
                <a:gd name="T65" fmla="*/ 449 h 488"/>
                <a:gd name="T66" fmla="*/ 514 w 592"/>
                <a:gd name="T67" fmla="*/ 440 h 488"/>
                <a:gd name="T68" fmla="*/ 508 w 592"/>
                <a:gd name="T69" fmla="*/ 434 h 488"/>
                <a:gd name="T70" fmla="*/ 499 w 592"/>
                <a:gd name="T71" fmla="*/ 430 h 488"/>
                <a:gd name="T72" fmla="*/ 284 w 592"/>
                <a:gd name="T73" fmla="*/ 447 h 488"/>
                <a:gd name="T74" fmla="*/ 116 w 592"/>
                <a:gd name="T75" fmla="*/ 430 h 488"/>
                <a:gd name="T76" fmla="*/ 110 w 592"/>
                <a:gd name="T77" fmla="*/ 307 h 488"/>
                <a:gd name="T78" fmla="*/ 104 w 592"/>
                <a:gd name="T79" fmla="*/ 184 h 488"/>
                <a:gd name="T80" fmla="*/ 102 w 592"/>
                <a:gd name="T81" fmla="*/ 172 h 488"/>
                <a:gd name="T82" fmla="*/ 92 w 592"/>
                <a:gd name="T83" fmla="*/ 170 h 488"/>
                <a:gd name="T84" fmla="*/ 78 w 592"/>
                <a:gd name="T85" fmla="*/ 151 h 488"/>
                <a:gd name="T86" fmla="*/ 67 w 592"/>
                <a:gd name="T87" fmla="*/ 141 h 488"/>
                <a:gd name="T88" fmla="*/ 63 w 592"/>
                <a:gd name="T89" fmla="*/ 129 h 488"/>
                <a:gd name="T90" fmla="*/ 69 w 592"/>
                <a:gd name="T91" fmla="*/ 117 h 488"/>
                <a:gd name="T92" fmla="*/ 78 w 592"/>
                <a:gd name="T93" fmla="*/ 108 h 488"/>
                <a:gd name="T94" fmla="*/ 71 w 592"/>
                <a:gd name="T95" fmla="*/ 96 h 488"/>
                <a:gd name="T96" fmla="*/ 59 w 592"/>
                <a:gd name="T97" fmla="*/ 98 h 488"/>
                <a:gd name="T98" fmla="*/ 49 w 592"/>
                <a:gd name="T99" fmla="*/ 92 h 488"/>
                <a:gd name="T100" fmla="*/ 32 w 592"/>
                <a:gd name="T101" fmla="*/ 82 h 488"/>
                <a:gd name="T102" fmla="*/ 28 w 592"/>
                <a:gd name="T103" fmla="*/ 67 h 488"/>
                <a:gd name="T104" fmla="*/ 18 w 592"/>
                <a:gd name="T105" fmla="*/ 55 h 488"/>
                <a:gd name="T106" fmla="*/ 12 w 592"/>
                <a:gd name="T107" fmla="*/ 49 h 488"/>
                <a:gd name="T108" fmla="*/ 8 w 592"/>
                <a:gd name="T109" fmla="*/ 37 h 488"/>
                <a:gd name="T110" fmla="*/ 0 w 592"/>
                <a:gd name="T111" fmla="*/ 24 h 488"/>
                <a:gd name="T112" fmla="*/ 0 w 592"/>
                <a:gd name="T113" fmla="*/ 22 h 488"/>
                <a:gd name="T114" fmla="*/ 20 w 592"/>
                <a:gd name="T115" fmla="*/ 20 h 488"/>
                <a:gd name="T116" fmla="*/ 202 w 592"/>
                <a:gd name="T117" fmla="*/ 10 h 488"/>
                <a:gd name="T118" fmla="*/ 336 w 592"/>
                <a:gd name="T119" fmla="*/ 2 h 488"/>
                <a:gd name="T120" fmla="*/ 342 w 592"/>
                <a:gd name="T121" fmla="*/ 8 h 488"/>
                <a:gd name="T122" fmla="*/ 348 w 592"/>
                <a:gd name="T123" fmla="*/ 14 h 488"/>
                <a:gd name="T124" fmla="*/ 352 w 592"/>
                <a:gd name="T125" fmla="*/ 1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2" h="488">
                  <a:moveTo>
                    <a:pt x="362" y="24"/>
                  </a:moveTo>
                  <a:lnTo>
                    <a:pt x="362" y="24"/>
                  </a:lnTo>
                  <a:lnTo>
                    <a:pt x="358" y="26"/>
                  </a:lnTo>
                  <a:lnTo>
                    <a:pt x="358" y="33"/>
                  </a:lnTo>
                  <a:lnTo>
                    <a:pt x="356" y="39"/>
                  </a:lnTo>
                  <a:lnTo>
                    <a:pt x="356" y="43"/>
                  </a:lnTo>
                  <a:lnTo>
                    <a:pt x="356" y="47"/>
                  </a:lnTo>
                  <a:lnTo>
                    <a:pt x="360" y="65"/>
                  </a:lnTo>
                  <a:lnTo>
                    <a:pt x="360" y="65"/>
                  </a:lnTo>
                  <a:lnTo>
                    <a:pt x="362" y="67"/>
                  </a:lnTo>
                  <a:lnTo>
                    <a:pt x="364" y="70"/>
                  </a:lnTo>
                  <a:lnTo>
                    <a:pt x="364" y="70"/>
                  </a:lnTo>
                  <a:lnTo>
                    <a:pt x="364" y="72"/>
                  </a:lnTo>
                  <a:lnTo>
                    <a:pt x="364" y="72"/>
                  </a:lnTo>
                  <a:lnTo>
                    <a:pt x="364" y="74"/>
                  </a:lnTo>
                  <a:lnTo>
                    <a:pt x="364" y="76"/>
                  </a:lnTo>
                  <a:lnTo>
                    <a:pt x="364" y="78"/>
                  </a:lnTo>
                  <a:lnTo>
                    <a:pt x="364" y="80"/>
                  </a:lnTo>
                  <a:lnTo>
                    <a:pt x="366" y="80"/>
                  </a:lnTo>
                  <a:lnTo>
                    <a:pt x="366" y="82"/>
                  </a:lnTo>
                  <a:lnTo>
                    <a:pt x="366" y="84"/>
                  </a:lnTo>
                  <a:lnTo>
                    <a:pt x="370" y="84"/>
                  </a:lnTo>
                  <a:lnTo>
                    <a:pt x="370" y="86"/>
                  </a:lnTo>
                  <a:lnTo>
                    <a:pt x="370" y="88"/>
                  </a:lnTo>
                  <a:lnTo>
                    <a:pt x="370" y="90"/>
                  </a:lnTo>
                  <a:lnTo>
                    <a:pt x="372" y="92"/>
                  </a:lnTo>
                  <a:lnTo>
                    <a:pt x="374" y="96"/>
                  </a:lnTo>
                  <a:lnTo>
                    <a:pt x="397" y="113"/>
                  </a:lnTo>
                  <a:lnTo>
                    <a:pt x="399" y="115"/>
                  </a:lnTo>
                  <a:lnTo>
                    <a:pt x="399" y="117"/>
                  </a:lnTo>
                  <a:lnTo>
                    <a:pt x="399" y="119"/>
                  </a:lnTo>
                  <a:lnTo>
                    <a:pt x="401" y="121"/>
                  </a:lnTo>
                  <a:lnTo>
                    <a:pt x="401" y="121"/>
                  </a:lnTo>
                  <a:lnTo>
                    <a:pt x="422" y="133"/>
                  </a:lnTo>
                  <a:lnTo>
                    <a:pt x="424" y="135"/>
                  </a:lnTo>
                  <a:lnTo>
                    <a:pt x="426" y="137"/>
                  </a:lnTo>
                  <a:lnTo>
                    <a:pt x="430" y="141"/>
                  </a:lnTo>
                  <a:lnTo>
                    <a:pt x="430" y="143"/>
                  </a:lnTo>
                  <a:lnTo>
                    <a:pt x="432" y="145"/>
                  </a:lnTo>
                  <a:lnTo>
                    <a:pt x="432" y="147"/>
                  </a:lnTo>
                  <a:lnTo>
                    <a:pt x="432" y="149"/>
                  </a:lnTo>
                  <a:lnTo>
                    <a:pt x="432" y="151"/>
                  </a:lnTo>
                  <a:lnTo>
                    <a:pt x="432" y="154"/>
                  </a:lnTo>
                  <a:lnTo>
                    <a:pt x="434" y="156"/>
                  </a:lnTo>
                  <a:lnTo>
                    <a:pt x="434" y="156"/>
                  </a:lnTo>
                  <a:lnTo>
                    <a:pt x="434" y="158"/>
                  </a:lnTo>
                  <a:lnTo>
                    <a:pt x="434" y="158"/>
                  </a:lnTo>
                  <a:lnTo>
                    <a:pt x="434" y="160"/>
                  </a:lnTo>
                  <a:lnTo>
                    <a:pt x="434" y="162"/>
                  </a:lnTo>
                  <a:lnTo>
                    <a:pt x="434" y="162"/>
                  </a:lnTo>
                  <a:lnTo>
                    <a:pt x="436" y="164"/>
                  </a:lnTo>
                  <a:lnTo>
                    <a:pt x="436" y="166"/>
                  </a:lnTo>
                  <a:lnTo>
                    <a:pt x="436" y="168"/>
                  </a:lnTo>
                  <a:lnTo>
                    <a:pt x="440" y="174"/>
                  </a:lnTo>
                  <a:lnTo>
                    <a:pt x="442" y="178"/>
                  </a:lnTo>
                  <a:lnTo>
                    <a:pt x="446" y="178"/>
                  </a:lnTo>
                  <a:lnTo>
                    <a:pt x="450" y="176"/>
                  </a:lnTo>
                  <a:lnTo>
                    <a:pt x="454" y="170"/>
                  </a:lnTo>
                  <a:lnTo>
                    <a:pt x="458" y="168"/>
                  </a:lnTo>
                  <a:lnTo>
                    <a:pt x="461" y="168"/>
                  </a:lnTo>
                  <a:lnTo>
                    <a:pt x="463" y="170"/>
                  </a:lnTo>
                  <a:lnTo>
                    <a:pt x="465" y="170"/>
                  </a:lnTo>
                  <a:lnTo>
                    <a:pt x="467" y="170"/>
                  </a:lnTo>
                  <a:lnTo>
                    <a:pt x="471" y="172"/>
                  </a:lnTo>
                  <a:lnTo>
                    <a:pt x="481" y="176"/>
                  </a:lnTo>
                  <a:lnTo>
                    <a:pt x="483" y="178"/>
                  </a:lnTo>
                  <a:lnTo>
                    <a:pt x="485" y="180"/>
                  </a:lnTo>
                  <a:lnTo>
                    <a:pt x="485" y="182"/>
                  </a:lnTo>
                  <a:lnTo>
                    <a:pt x="483" y="186"/>
                  </a:lnTo>
                  <a:lnTo>
                    <a:pt x="483" y="188"/>
                  </a:lnTo>
                  <a:lnTo>
                    <a:pt x="481" y="188"/>
                  </a:lnTo>
                  <a:lnTo>
                    <a:pt x="481" y="190"/>
                  </a:lnTo>
                  <a:lnTo>
                    <a:pt x="481" y="192"/>
                  </a:lnTo>
                  <a:lnTo>
                    <a:pt x="481" y="197"/>
                  </a:lnTo>
                  <a:lnTo>
                    <a:pt x="481" y="203"/>
                  </a:lnTo>
                  <a:lnTo>
                    <a:pt x="481" y="205"/>
                  </a:lnTo>
                  <a:lnTo>
                    <a:pt x="477" y="213"/>
                  </a:lnTo>
                  <a:lnTo>
                    <a:pt x="473" y="225"/>
                  </a:lnTo>
                  <a:lnTo>
                    <a:pt x="471" y="231"/>
                  </a:lnTo>
                  <a:lnTo>
                    <a:pt x="469" y="235"/>
                  </a:lnTo>
                  <a:lnTo>
                    <a:pt x="469" y="240"/>
                  </a:lnTo>
                  <a:lnTo>
                    <a:pt x="471" y="244"/>
                  </a:lnTo>
                  <a:lnTo>
                    <a:pt x="471" y="246"/>
                  </a:lnTo>
                  <a:lnTo>
                    <a:pt x="471" y="248"/>
                  </a:lnTo>
                  <a:lnTo>
                    <a:pt x="473" y="248"/>
                  </a:lnTo>
                  <a:lnTo>
                    <a:pt x="473" y="250"/>
                  </a:lnTo>
                  <a:lnTo>
                    <a:pt x="477" y="252"/>
                  </a:lnTo>
                  <a:lnTo>
                    <a:pt x="479" y="254"/>
                  </a:lnTo>
                  <a:lnTo>
                    <a:pt x="481" y="256"/>
                  </a:lnTo>
                  <a:lnTo>
                    <a:pt x="481" y="256"/>
                  </a:lnTo>
                  <a:lnTo>
                    <a:pt x="483" y="258"/>
                  </a:lnTo>
                  <a:lnTo>
                    <a:pt x="483" y="260"/>
                  </a:lnTo>
                  <a:lnTo>
                    <a:pt x="487" y="260"/>
                  </a:lnTo>
                  <a:lnTo>
                    <a:pt x="489" y="262"/>
                  </a:lnTo>
                  <a:lnTo>
                    <a:pt x="491" y="266"/>
                  </a:lnTo>
                  <a:lnTo>
                    <a:pt x="495" y="268"/>
                  </a:lnTo>
                  <a:lnTo>
                    <a:pt x="497" y="268"/>
                  </a:lnTo>
                  <a:lnTo>
                    <a:pt x="504" y="272"/>
                  </a:lnTo>
                  <a:lnTo>
                    <a:pt x="504" y="272"/>
                  </a:lnTo>
                  <a:lnTo>
                    <a:pt x="508" y="272"/>
                  </a:lnTo>
                  <a:lnTo>
                    <a:pt x="508" y="272"/>
                  </a:lnTo>
                  <a:lnTo>
                    <a:pt x="512" y="272"/>
                  </a:lnTo>
                  <a:lnTo>
                    <a:pt x="514" y="274"/>
                  </a:lnTo>
                  <a:lnTo>
                    <a:pt x="520" y="279"/>
                  </a:lnTo>
                  <a:lnTo>
                    <a:pt x="522" y="281"/>
                  </a:lnTo>
                  <a:lnTo>
                    <a:pt x="528" y="283"/>
                  </a:lnTo>
                  <a:lnTo>
                    <a:pt x="530" y="285"/>
                  </a:lnTo>
                  <a:lnTo>
                    <a:pt x="532" y="287"/>
                  </a:lnTo>
                  <a:lnTo>
                    <a:pt x="534" y="293"/>
                  </a:lnTo>
                  <a:lnTo>
                    <a:pt x="536" y="295"/>
                  </a:lnTo>
                  <a:lnTo>
                    <a:pt x="547" y="297"/>
                  </a:lnTo>
                  <a:lnTo>
                    <a:pt x="549" y="299"/>
                  </a:lnTo>
                  <a:lnTo>
                    <a:pt x="549" y="301"/>
                  </a:lnTo>
                  <a:lnTo>
                    <a:pt x="549" y="301"/>
                  </a:lnTo>
                  <a:lnTo>
                    <a:pt x="549" y="303"/>
                  </a:lnTo>
                  <a:lnTo>
                    <a:pt x="549" y="305"/>
                  </a:lnTo>
                  <a:lnTo>
                    <a:pt x="549" y="307"/>
                  </a:lnTo>
                  <a:lnTo>
                    <a:pt x="549" y="309"/>
                  </a:lnTo>
                  <a:lnTo>
                    <a:pt x="549" y="311"/>
                  </a:lnTo>
                  <a:lnTo>
                    <a:pt x="549" y="313"/>
                  </a:lnTo>
                  <a:lnTo>
                    <a:pt x="553" y="317"/>
                  </a:lnTo>
                  <a:lnTo>
                    <a:pt x="555" y="320"/>
                  </a:lnTo>
                  <a:lnTo>
                    <a:pt x="557" y="324"/>
                  </a:lnTo>
                  <a:lnTo>
                    <a:pt x="559" y="328"/>
                  </a:lnTo>
                  <a:lnTo>
                    <a:pt x="557" y="332"/>
                  </a:lnTo>
                  <a:lnTo>
                    <a:pt x="555" y="336"/>
                  </a:lnTo>
                  <a:lnTo>
                    <a:pt x="553" y="338"/>
                  </a:lnTo>
                  <a:lnTo>
                    <a:pt x="553" y="342"/>
                  </a:lnTo>
                  <a:lnTo>
                    <a:pt x="553" y="344"/>
                  </a:lnTo>
                  <a:lnTo>
                    <a:pt x="555" y="344"/>
                  </a:lnTo>
                  <a:lnTo>
                    <a:pt x="555" y="344"/>
                  </a:lnTo>
                  <a:lnTo>
                    <a:pt x="557" y="344"/>
                  </a:lnTo>
                  <a:lnTo>
                    <a:pt x="557" y="346"/>
                  </a:lnTo>
                  <a:lnTo>
                    <a:pt x="557" y="348"/>
                  </a:lnTo>
                  <a:lnTo>
                    <a:pt x="559" y="350"/>
                  </a:lnTo>
                  <a:lnTo>
                    <a:pt x="561" y="352"/>
                  </a:lnTo>
                  <a:lnTo>
                    <a:pt x="565" y="358"/>
                  </a:lnTo>
                  <a:lnTo>
                    <a:pt x="565" y="361"/>
                  </a:lnTo>
                  <a:lnTo>
                    <a:pt x="565" y="365"/>
                  </a:lnTo>
                  <a:lnTo>
                    <a:pt x="567" y="365"/>
                  </a:lnTo>
                  <a:lnTo>
                    <a:pt x="571" y="369"/>
                  </a:lnTo>
                  <a:lnTo>
                    <a:pt x="575" y="369"/>
                  </a:lnTo>
                  <a:lnTo>
                    <a:pt x="577" y="369"/>
                  </a:lnTo>
                  <a:lnTo>
                    <a:pt x="577" y="369"/>
                  </a:lnTo>
                  <a:lnTo>
                    <a:pt x="577" y="367"/>
                  </a:lnTo>
                  <a:lnTo>
                    <a:pt x="575" y="367"/>
                  </a:lnTo>
                  <a:lnTo>
                    <a:pt x="575" y="365"/>
                  </a:lnTo>
                  <a:lnTo>
                    <a:pt x="573" y="365"/>
                  </a:lnTo>
                  <a:lnTo>
                    <a:pt x="573" y="363"/>
                  </a:lnTo>
                  <a:lnTo>
                    <a:pt x="573" y="361"/>
                  </a:lnTo>
                  <a:lnTo>
                    <a:pt x="575" y="361"/>
                  </a:lnTo>
                  <a:lnTo>
                    <a:pt x="577" y="361"/>
                  </a:lnTo>
                  <a:lnTo>
                    <a:pt x="577" y="361"/>
                  </a:lnTo>
                  <a:lnTo>
                    <a:pt x="577" y="363"/>
                  </a:lnTo>
                  <a:lnTo>
                    <a:pt x="579" y="365"/>
                  </a:lnTo>
                  <a:lnTo>
                    <a:pt x="579" y="365"/>
                  </a:lnTo>
                  <a:lnTo>
                    <a:pt x="581" y="367"/>
                  </a:lnTo>
                  <a:lnTo>
                    <a:pt x="581" y="367"/>
                  </a:lnTo>
                  <a:lnTo>
                    <a:pt x="583" y="369"/>
                  </a:lnTo>
                  <a:lnTo>
                    <a:pt x="583" y="369"/>
                  </a:lnTo>
                  <a:lnTo>
                    <a:pt x="583" y="371"/>
                  </a:lnTo>
                  <a:lnTo>
                    <a:pt x="583" y="371"/>
                  </a:lnTo>
                  <a:lnTo>
                    <a:pt x="585" y="371"/>
                  </a:lnTo>
                  <a:lnTo>
                    <a:pt x="585" y="371"/>
                  </a:lnTo>
                  <a:lnTo>
                    <a:pt x="587" y="371"/>
                  </a:lnTo>
                  <a:lnTo>
                    <a:pt x="587" y="371"/>
                  </a:lnTo>
                  <a:lnTo>
                    <a:pt x="590" y="371"/>
                  </a:lnTo>
                  <a:lnTo>
                    <a:pt x="590" y="373"/>
                  </a:lnTo>
                  <a:lnTo>
                    <a:pt x="590" y="377"/>
                  </a:lnTo>
                  <a:lnTo>
                    <a:pt x="592" y="381"/>
                  </a:lnTo>
                  <a:lnTo>
                    <a:pt x="592" y="381"/>
                  </a:lnTo>
                  <a:lnTo>
                    <a:pt x="590" y="383"/>
                  </a:lnTo>
                  <a:lnTo>
                    <a:pt x="590" y="383"/>
                  </a:lnTo>
                  <a:lnTo>
                    <a:pt x="590" y="385"/>
                  </a:lnTo>
                  <a:lnTo>
                    <a:pt x="590" y="385"/>
                  </a:lnTo>
                  <a:lnTo>
                    <a:pt x="590" y="387"/>
                  </a:lnTo>
                  <a:lnTo>
                    <a:pt x="592" y="391"/>
                  </a:lnTo>
                  <a:lnTo>
                    <a:pt x="592" y="393"/>
                  </a:lnTo>
                  <a:lnTo>
                    <a:pt x="592" y="397"/>
                  </a:lnTo>
                  <a:lnTo>
                    <a:pt x="587" y="406"/>
                  </a:lnTo>
                  <a:lnTo>
                    <a:pt x="587" y="412"/>
                  </a:lnTo>
                  <a:lnTo>
                    <a:pt x="585" y="414"/>
                  </a:lnTo>
                  <a:lnTo>
                    <a:pt x="583" y="416"/>
                  </a:lnTo>
                  <a:lnTo>
                    <a:pt x="579" y="414"/>
                  </a:lnTo>
                  <a:lnTo>
                    <a:pt x="577" y="414"/>
                  </a:lnTo>
                  <a:lnTo>
                    <a:pt x="575" y="410"/>
                  </a:lnTo>
                  <a:lnTo>
                    <a:pt x="573" y="410"/>
                  </a:lnTo>
                  <a:lnTo>
                    <a:pt x="571" y="410"/>
                  </a:lnTo>
                  <a:lnTo>
                    <a:pt x="571" y="410"/>
                  </a:lnTo>
                  <a:lnTo>
                    <a:pt x="571" y="412"/>
                  </a:lnTo>
                  <a:lnTo>
                    <a:pt x="569" y="416"/>
                  </a:lnTo>
                  <a:lnTo>
                    <a:pt x="569" y="418"/>
                  </a:lnTo>
                  <a:lnTo>
                    <a:pt x="569" y="424"/>
                  </a:lnTo>
                  <a:lnTo>
                    <a:pt x="569" y="424"/>
                  </a:lnTo>
                  <a:lnTo>
                    <a:pt x="569" y="426"/>
                  </a:lnTo>
                  <a:lnTo>
                    <a:pt x="567" y="428"/>
                  </a:lnTo>
                  <a:lnTo>
                    <a:pt x="565" y="428"/>
                  </a:lnTo>
                  <a:lnTo>
                    <a:pt x="565" y="430"/>
                  </a:lnTo>
                  <a:lnTo>
                    <a:pt x="563" y="430"/>
                  </a:lnTo>
                  <a:lnTo>
                    <a:pt x="561" y="428"/>
                  </a:lnTo>
                  <a:lnTo>
                    <a:pt x="563" y="426"/>
                  </a:lnTo>
                  <a:lnTo>
                    <a:pt x="563" y="424"/>
                  </a:lnTo>
                  <a:lnTo>
                    <a:pt x="563" y="424"/>
                  </a:lnTo>
                  <a:lnTo>
                    <a:pt x="561" y="420"/>
                  </a:lnTo>
                  <a:lnTo>
                    <a:pt x="559" y="418"/>
                  </a:lnTo>
                  <a:lnTo>
                    <a:pt x="555" y="420"/>
                  </a:lnTo>
                  <a:lnTo>
                    <a:pt x="555" y="424"/>
                  </a:lnTo>
                  <a:lnTo>
                    <a:pt x="557" y="424"/>
                  </a:lnTo>
                  <a:lnTo>
                    <a:pt x="557" y="426"/>
                  </a:lnTo>
                  <a:lnTo>
                    <a:pt x="557" y="426"/>
                  </a:lnTo>
                  <a:lnTo>
                    <a:pt x="559" y="428"/>
                  </a:lnTo>
                  <a:lnTo>
                    <a:pt x="557" y="430"/>
                  </a:lnTo>
                  <a:lnTo>
                    <a:pt x="559" y="430"/>
                  </a:lnTo>
                  <a:lnTo>
                    <a:pt x="561" y="436"/>
                  </a:lnTo>
                  <a:lnTo>
                    <a:pt x="561" y="438"/>
                  </a:lnTo>
                  <a:lnTo>
                    <a:pt x="561" y="440"/>
                  </a:lnTo>
                  <a:lnTo>
                    <a:pt x="559" y="440"/>
                  </a:lnTo>
                  <a:lnTo>
                    <a:pt x="557" y="442"/>
                  </a:lnTo>
                  <a:lnTo>
                    <a:pt x="555" y="442"/>
                  </a:lnTo>
                  <a:lnTo>
                    <a:pt x="553" y="442"/>
                  </a:lnTo>
                  <a:lnTo>
                    <a:pt x="553" y="445"/>
                  </a:lnTo>
                  <a:lnTo>
                    <a:pt x="555" y="447"/>
                  </a:lnTo>
                  <a:lnTo>
                    <a:pt x="557" y="449"/>
                  </a:lnTo>
                  <a:lnTo>
                    <a:pt x="559" y="449"/>
                  </a:lnTo>
                  <a:lnTo>
                    <a:pt x="559" y="449"/>
                  </a:lnTo>
                  <a:lnTo>
                    <a:pt x="559" y="451"/>
                  </a:lnTo>
                  <a:lnTo>
                    <a:pt x="559" y="451"/>
                  </a:lnTo>
                  <a:lnTo>
                    <a:pt x="557" y="453"/>
                  </a:lnTo>
                  <a:lnTo>
                    <a:pt x="549" y="453"/>
                  </a:lnTo>
                  <a:lnTo>
                    <a:pt x="549" y="453"/>
                  </a:lnTo>
                  <a:lnTo>
                    <a:pt x="553" y="461"/>
                  </a:lnTo>
                  <a:lnTo>
                    <a:pt x="557" y="465"/>
                  </a:lnTo>
                  <a:lnTo>
                    <a:pt x="555" y="467"/>
                  </a:lnTo>
                  <a:lnTo>
                    <a:pt x="555" y="467"/>
                  </a:lnTo>
                  <a:lnTo>
                    <a:pt x="553" y="467"/>
                  </a:lnTo>
                  <a:lnTo>
                    <a:pt x="551" y="469"/>
                  </a:lnTo>
                  <a:lnTo>
                    <a:pt x="551" y="469"/>
                  </a:lnTo>
                  <a:lnTo>
                    <a:pt x="551" y="471"/>
                  </a:lnTo>
                  <a:lnTo>
                    <a:pt x="549" y="477"/>
                  </a:lnTo>
                  <a:lnTo>
                    <a:pt x="549" y="479"/>
                  </a:lnTo>
                  <a:lnTo>
                    <a:pt x="547" y="479"/>
                  </a:lnTo>
                  <a:lnTo>
                    <a:pt x="547" y="479"/>
                  </a:lnTo>
                  <a:lnTo>
                    <a:pt x="547" y="481"/>
                  </a:lnTo>
                  <a:lnTo>
                    <a:pt x="547" y="481"/>
                  </a:lnTo>
                  <a:lnTo>
                    <a:pt x="534" y="481"/>
                  </a:lnTo>
                  <a:lnTo>
                    <a:pt x="522" y="483"/>
                  </a:lnTo>
                  <a:lnTo>
                    <a:pt x="510" y="486"/>
                  </a:lnTo>
                  <a:lnTo>
                    <a:pt x="497" y="486"/>
                  </a:lnTo>
                  <a:lnTo>
                    <a:pt x="491" y="488"/>
                  </a:lnTo>
                  <a:lnTo>
                    <a:pt x="491" y="488"/>
                  </a:lnTo>
                  <a:lnTo>
                    <a:pt x="491" y="486"/>
                  </a:lnTo>
                  <a:lnTo>
                    <a:pt x="491" y="486"/>
                  </a:lnTo>
                  <a:lnTo>
                    <a:pt x="491" y="486"/>
                  </a:lnTo>
                  <a:lnTo>
                    <a:pt x="493" y="479"/>
                  </a:lnTo>
                  <a:lnTo>
                    <a:pt x="493" y="477"/>
                  </a:lnTo>
                  <a:lnTo>
                    <a:pt x="495" y="475"/>
                  </a:lnTo>
                  <a:lnTo>
                    <a:pt x="495" y="473"/>
                  </a:lnTo>
                  <a:lnTo>
                    <a:pt x="497" y="473"/>
                  </a:lnTo>
                  <a:lnTo>
                    <a:pt x="497" y="473"/>
                  </a:lnTo>
                  <a:lnTo>
                    <a:pt x="497" y="471"/>
                  </a:lnTo>
                  <a:lnTo>
                    <a:pt x="497" y="471"/>
                  </a:lnTo>
                  <a:lnTo>
                    <a:pt x="499" y="471"/>
                  </a:lnTo>
                  <a:lnTo>
                    <a:pt x="499" y="471"/>
                  </a:lnTo>
                  <a:lnTo>
                    <a:pt x="499" y="471"/>
                  </a:lnTo>
                  <a:lnTo>
                    <a:pt x="501" y="471"/>
                  </a:lnTo>
                  <a:lnTo>
                    <a:pt x="501" y="469"/>
                  </a:lnTo>
                  <a:lnTo>
                    <a:pt x="501" y="469"/>
                  </a:lnTo>
                  <a:lnTo>
                    <a:pt x="501" y="469"/>
                  </a:lnTo>
                  <a:lnTo>
                    <a:pt x="501" y="469"/>
                  </a:lnTo>
                  <a:lnTo>
                    <a:pt x="501" y="467"/>
                  </a:lnTo>
                  <a:lnTo>
                    <a:pt x="501" y="467"/>
                  </a:lnTo>
                  <a:lnTo>
                    <a:pt x="501" y="465"/>
                  </a:lnTo>
                  <a:lnTo>
                    <a:pt x="501" y="465"/>
                  </a:lnTo>
                  <a:lnTo>
                    <a:pt x="501" y="465"/>
                  </a:lnTo>
                  <a:lnTo>
                    <a:pt x="504" y="465"/>
                  </a:lnTo>
                  <a:lnTo>
                    <a:pt x="504" y="465"/>
                  </a:lnTo>
                  <a:lnTo>
                    <a:pt x="506" y="463"/>
                  </a:lnTo>
                  <a:lnTo>
                    <a:pt x="506" y="463"/>
                  </a:lnTo>
                  <a:lnTo>
                    <a:pt x="510" y="461"/>
                  </a:lnTo>
                  <a:lnTo>
                    <a:pt x="510" y="461"/>
                  </a:lnTo>
                  <a:lnTo>
                    <a:pt x="510" y="461"/>
                  </a:lnTo>
                  <a:lnTo>
                    <a:pt x="510" y="459"/>
                  </a:lnTo>
                  <a:lnTo>
                    <a:pt x="510" y="459"/>
                  </a:lnTo>
                  <a:lnTo>
                    <a:pt x="510" y="457"/>
                  </a:lnTo>
                  <a:lnTo>
                    <a:pt x="510" y="457"/>
                  </a:lnTo>
                  <a:lnTo>
                    <a:pt x="510" y="457"/>
                  </a:lnTo>
                  <a:lnTo>
                    <a:pt x="512" y="455"/>
                  </a:lnTo>
                  <a:lnTo>
                    <a:pt x="514" y="455"/>
                  </a:lnTo>
                  <a:lnTo>
                    <a:pt x="514" y="455"/>
                  </a:lnTo>
                  <a:lnTo>
                    <a:pt x="514" y="455"/>
                  </a:lnTo>
                  <a:lnTo>
                    <a:pt x="514" y="455"/>
                  </a:lnTo>
                  <a:lnTo>
                    <a:pt x="514" y="453"/>
                  </a:lnTo>
                  <a:lnTo>
                    <a:pt x="514" y="453"/>
                  </a:lnTo>
                  <a:lnTo>
                    <a:pt x="516" y="453"/>
                  </a:lnTo>
                  <a:lnTo>
                    <a:pt x="516" y="453"/>
                  </a:lnTo>
                  <a:lnTo>
                    <a:pt x="516" y="451"/>
                  </a:lnTo>
                  <a:lnTo>
                    <a:pt x="514" y="449"/>
                  </a:lnTo>
                  <a:lnTo>
                    <a:pt x="514" y="447"/>
                  </a:lnTo>
                  <a:lnTo>
                    <a:pt x="514" y="445"/>
                  </a:lnTo>
                  <a:lnTo>
                    <a:pt x="514" y="445"/>
                  </a:lnTo>
                  <a:lnTo>
                    <a:pt x="514" y="445"/>
                  </a:lnTo>
                  <a:lnTo>
                    <a:pt x="514" y="442"/>
                  </a:lnTo>
                  <a:lnTo>
                    <a:pt x="514" y="442"/>
                  </a:lnTo>
                  <a:lnTo>
                    <a:pt x="514" y="442"/>
                  </a:lnTo>
                  <a:lnTo>
                    <a:pt x="514" y="442"/>
                  </a:lnTo>
                  <a:lnTo>
                    <a:pt x="514" y="440"/>
                  </a:lnTo>
                  <a:lnTo>
                    <a:pt x="512" y="440"/>
                  </a:lnTo>
                  <a:lnTo>
                    <a:pt x="510" y="440"/>
                  </a:lnTo>
                  <a:lnTo>
                    <a:pt x="510" y="438"/>
                  </a:lnTo>
                  <a:lnTo>
                    <a:pt x="510" y="438"/>
                  </a:lnTo>
                  <a:lnTo>
                    <a:pt x="510" y="438"/>
                  </a:lnTo>
                  <a:lnTo>
                    <a:pt x="508" y="438"/>
                  </a:lnTo>
                  <a:lnTo>
                    <a:pt x="508" y="436"/>
                  </a:lnTo>
                  <a:lnTo>
                    <a:pt x="508" y="436"/>
                  </a:lnTo>
                  <a:lnTo>
                    <a:pt x="508" y="434"/>
                  </a:lnTo>
                  <a:lnTo>
                    <a:pt x="508" y="434"/>
                  </a:lnTo>
                  <a:lnTo>
                    <a:pt x="508" y="434"/>
                  </a:lnTo>
                  <a:lnTo>
                    <a:pt x="508" y="434"/>
                  </a:lnTo>
                  <a:lnTo>
                    <a:pt x="506" y="434"/>
                  </a:lnTo>
                  <a:lnTo>
                    <a:pt x="506" y="432"/>
                  </a:lnTo>
                  <a:lnTo>
                    <a:pt x="506" y="430"/>
                  </a:lnTo>
                  <a:lnTo>
                    <a:pt x="506" y="430"/>
                  </a:lnTo>
                  <a:lnTo>
                    <a:pt x="506" y="430"/>
                  </a:lnTo>
                  <a:lnTo>
                    <a:pt x="499" y="430"/>
                  </a:lnTo>
                  <a:lnTo>
                    <a:pt x="475" y="432"/>
                  </a:lnTo>
                  <a:lnTo>
                    <a:pt x="450" y="434"/>
                  </a:lnTo>
                  <a:lnTo>
                    <a:pt x="428" y="436"/>
                  </a:lnTo>
                  <a:lnTo>
                    <a:pt x="403" y="438"/>
                  </a:lnTo>
                  <a:lnTo>
                    <a:pt x="379" y="440"/>
                  </a:lnTo>
                  <a:lnTo>
                    <a:pt x="356" y="442"/>
                  </a:lnTo>
                  <a:lnTo>
                    <a:pt x="331" y="445"/>
                  </a:lnTo>
                  <a:lnTo>
                    <a:pt x="309" y="447"/>
                  </a:lnTo>
                  <a:lnTo>
                    <a:pt x="284" y="447"/>
                  </a:lnTo>
                  <a:lnTo>
                    <a:pt x="260" y="449"/>
                  </a:lnTo>
                  <a:lnTo>
                    <a:pt x="237" y="451"/>
                  </a:lnTo>
                  <a:lnTo>
                    <a:pt x="213" y="453"/>
                  </a:lnTo>
                  <a:lnTo>
                    <a:pt x="188" y="453"/>
                  </a:lnTo>
                  <a:lnTo>
                    <a:pt x="166" y="455"/>
                  </a:lnTo>
                  <a:lnTo>
                    <a:pt x="141" y="455"/>
                  </a:lnTo>
                  <a:lnTo>
                    <a:pt x="116" y="457"/>
                  </a:lnTo>
                  <a:lnTo>
                    <a:pt x="116" y="445"/>
                  </a:lnTo>
                  <a:lnTo>
                    <a:pt x="116" y="430"/>
                  </a:lnTo>
                  <a:lnTo>
                    <a:pt x="114" y="416"/>
                  </a:lnTo>
                  <a:lnTo>
                    <a:pt x="114" y="404"/>
                  </a:lnTo>
                  <a:lnTo>
                    <a:pt x="114" y="389"/>
                  </a:lnTo>
                  <a:lnTo>
                    <a:pt x="112" y="375"/>
                  </a:lnTo>
                  <a:lnTo>
                    <a:pt x="112" y="363"/>
                  </a:lnTo>
                  <a:lnTo>
                    <a:pt x="112" y="348"/>
                  </a:lnTo>
                  <a:lnTo>
                    <a:pt x="110" y="334"/>
                  </a:lnTo>
                  <a:lnTo>
                    <a:pt x="110" y="322"/>
                  </a:lnTo>
                  <a:lnTo>
                    <a:pt x="110" y="307"/>
                  </a:lnTo>
                  <a:lnTo>
                    <a:pt x="108" y="293"/>
                  </a:lnTo>
                  <a:lnTo>
                    <a:pt x="108" y="281"/>
                  </a:lnTo>
                  <a:lnTo>
                    <a:pt x="108" y="266"/>
                  </a:lnTo>
                  <a:lnTo>
                    <a:pt x="106" y="252"/>
                  </a:lnTo>
                  <a:lnTo>
                    <a:pt x="106" y="240"/>
                  </a:lnTo>
                  <a:lnTo>
                    <a:pt x="106" y="225"/>
                  </a:lnTo>
                  <a:lnTo>
                    <a:pt x="104" y="211"/>
                  </a:lnTo>
                  <a:lnTo>
                    <a:pt x="104" y="199"/>
                  </a:lnTo>
                  <a:lnTo>
                    <a:pt x="104" y="184"/>
                  </a:lnTo>
                  <a:lnTo>
                    <a:pt x="104" y="176"/>
                  </a:lnTo>
                  <a:lnTo>
                    <a:pt x="104" y="176"/>
                  </a:lnTo>
                  <a:lnTo>
                    <a:pt x="102" y="176"/>
                  </a:lnTo>
                  <a:lnTo>
                    <a:pt x="102" y="176"/>
                  </a:lnTo>
                  <a:lnTo>
                    <a:pt x="102" y="174"/>
                  </a:lnTo>
                  <a:lnTo>
                    <a:pt x="102" y="174"/>
                  </a:lnTo>
                  <a:lnTo>
                    <a:pt x="104" y="174"/>
                  </a:lnTo>
                  <a:lnTo>
                    <a:pt x="104" y="172"/>
                  </a:lnTo>
                  <a:lnTo>
                    <a:pt x="102" y="172"/>
                  </a:lnTo>
                  <a:lnTo>
                    <a:pt x="100" y="172"/>
                  </a:lnTo>
                  <a:lnTo>
                    <a:pt x="100" y="172"/>
                  </a:lnTo>
                  <a:lnTo>
                    <a:pt x="100" y="170"/>
                  </a:lnTo>
                  <a:lnTo>
                    <a:pt x="100" y="170"/>
                  </a:lnTo>
                  <a:lnTo>
                    <a:pt x="98" y="170"/>
                  </a:lnTo>
                  <a:lnTo>
                    <a:pt x="98" y="170"/>
                  </a:lnTo>
                  <a:lnTo>
                    <a:pt x="96" y="170"/>
                  </a:lnTo>
                  <a:lnTo>
                    <a:pt x="94" y="170"/>
                  </a:lnTo>
                  <a:lnTo>
                    <a:pt x="92" y="170"/>
                  </a:lnTo>
                  <a:lnTo>
                    <a:pt x="88" y="168"/>
                  </a:lnTo>
                  <a:lnTo>
                    <a:pt x="86" y="168"/>
                  </a:lnTo>
                  <a:lnTo>
                    <a:pt x="86" y="166"/>
                  </a:lnTo>
                  <a:lnTo>
                    <a:pt x="84" y="164"/>
                  </a:lnTo>
                  <a:lnTo>
                    <a:pt x="84" y="162"/>
                  </a:lnTo>
                  <a:lnTo>
                    <a:pt x="84" y="162"/>
                  </a:lnTo>
                  <a:lnTo>
                    <a:pt x="80" y="160"/>
                  </a:lnTo>
                  <a:lnTo>
                    <a:pt x="78" y="156"/>
                  </a:lnTo>
                  <a:lnTo>
                    <a:pt x="78" y="151"/>
                  </a:lnTo>
                  <a:lnTo>
                    <a:pt x="78" y="149"/>
                  </a:lnTo>
                  <a:lnTo>
                    <a:pt x="75" y="147"/>
                  </a:lnTo>
                  <a:lnTo>
                    <a:pt x="73" y="147"/>
                  </a:lnTo>
                  <a:lnTo>
                    <a:pt x="73" y="145"/>
                  </a:lnTo>
                  <a:lnTo>
                    <a:pt x="73" y="145"/>
                  </a:lnTo>
                  <a:lnTo>
                    <a:pt x="69" y="143"/>
                  </a:lnTo>
                  <a:lnTo>
                    <a:pt x="67" y="143"/>
                  </a:lnTo>
                  <a:lnTo>
                    <a:pt x="67" y="141"/>
                  </a:lnTo>
                  <a:lnTo>
                    <a:pt x="67" y="141"/>
                  </a:lnTo>
                  <a:lnTo>
                    <a:pt x="65" y="137"/>
                  </a:lnTo>
                  <a:lnTo>
                    <a:pt x="63" y="137"/>
                  </a:lnTo>
                  <a:lnTo>
                    <a:pt x="63" y="135"/>
                  </a:lnTo>
                  <a:lnTo>
                    <a:pt x="61" y="135"/>
                  </a:lnTo>
                  <a:lnTo>
                    <a:pt x="59" y="133"/>
                  </a:lnTo>
                  <a:lnTo>
                    <a:pt x="59" y="129"/>
                  </a:lnTo>
                  <a:lnTo>
                    <a:pt x="61" y="129"/>
                  </a:lnTo>
                  <a:lnTo>
                    <a:pt x="63" y="129"/>
                  </a:lnTo>
                  <a:lnTo>
                    <a:pt x="63" y="129"/>
                  </a:lnTo>
                  <a:lnTo>
                    <a:pt x="63" y="127"/>
                  </a:lnTo>
                  <a:lnTo>
                    <a:pt x="63" y="127"/>
                  </a:lnTo>
                  <a:lnTo>
                    <a:pt x="63" y="125"/>
                  </a:lnTo>
                  <a:lnTo>
                    <a:pt x="63" y="123"/>
                  </a:lnTo>
                  <a:lnTo>
                    <a:pt x="65" y="121"/>
                  </a:lnTo>
                  <a:lnTo>
                    <a:pt x="67" y="119"/>
                  </a:lnTo>
                  <a:lnTo>
                    <a:pt x="69" y="117"/>
                  </a:lnTo>
                  <a:lnTo>
                    <a:pt x="69" y="117"/>
                  </a:lnTo>
                  <a:lnTo>
                    <a:pt x="69" y="117"/>
                  </a:lnTo>
                  <a:lnTo>
                    <a:pt x="69" y="113"/>
                  </a:lnTo>
                  <a:lnTo>
                    <a:pt x="69" y="113"/>
                  </a:lnTo>
                  <a:lnTo>
                    <a:pt x="71" y="110"/>
                  </a:lnTo>
                  <a:lnTo>
                    <a:pt x="71" y="110"/>
                  </a:lnTo>
                  <a:lnTo>
                    <a:pt x="75" y="113"/>
                  </a:lnTo>
                  <a:lnTo>
                    <a:pt x="78" y="113"/>
                  </a:lnTo>
                  <a:lnTo>
                    <a:pt x="80" y="110"/>
                  </a:lnTo>
                  <a:lnTo>
                    <a:pt x="80" y="108"/>
                  </a:lnTo>
                  <a:lnTo>
                    <a:pt x="78" y="108"/>
                  </a:lnTo>
                  <a:lnTo>
                    <a:pt x="78" y="108"/>
                  </a:lnTo>
                  <a:lnTo>
                    <a:pt x="78" y="106"/>
                  </a:lnTo>
                  <a:lnTo>
                    <a:pt x="78" y="106"/>
                  </a:lnTo>
                  <a:lnTo>
                    <a:pt x="78" y="102"/>
                  </a:lnTo>
                  <a:lnTo>
                    <a:pt x="78" y="102"/>
                  </a:lnTo>
                  <a:lnTo>
                    <a:pt x="78" y="100"/>
                  </a:lnTo>
                  <a:lnTo>
                    <a:pt x="73" y="98"/>
                  </a:lnTo>
                  <a:lnTo>
                    <a:pt x="71" y="98"/>
                  </a:lnTo>
                  <a:lnTo>
                    <a:pt x="71" y="96"/>
                  </a:lnTo>
                  <a:lnTo>
                    <a:pt x="71" y="96"/>
                  </a:lnTo>
                  <a:lnTo>
                    <a:pt x="71" y="94"/>
                  </a:lnTo>
                  <a:lnTo>
                    <a:pt x="71" y="94"/>
                  </a:lnTo>
                  <a:lnTo>
                    <a:pt x="69" y="94"/>
                  </a:lnTo>
                  <a:lnTo>
                    <a:pt x="67" y="94"/>
                  </a:lnTo>
                  <a:lnTo>
                    <a:pt x="65" y="94"/>
                  </a:lnTo>
                  <a:lnTo>
                    <a:pt x="63" y="96"/>
                  </a:lnTo>
                  <a:lnTo>
                    <a:pt x="61" y="98"/>
                  </a:lnTo>
                  <a:lnTo>
                    <a:pt x="59" y="98"/>
                  </a:lnTo>
                  <a:lnTo>
                    <a:pt x="57" y="98"/>
                  </a:lnTo>
                  <a:lnTo>
                    <a:pt x="55" y="96"/>
                  </a:lnTo>
                  <a:lnTo>
                    <a:pt x="55" y="94"/>
                  </a:lnTo>
                  <a:lnTo>
                    <a:pt x="53" y="94"/>
                  </a:lnTo>
                  <a:lnTo>
                    <a:pt x="53" y="94"/>
                  </a:lnTo>
                  <a:lnTo>
                    <a:pt x="51" y="94"/>
                  </a:lnTo>
                  <a:lnTo>
                    <a:pt x="51" y="94"/>
                  </a:lnTo>
                  <a:lnTo>
                    <a:pt x="51" y="92"/>
                  </a:lnTo>
                  <a:lnTo>
                    <a:pt x="49" y="92"/>
                  </a:lnTo>
                  <a:lnTo>
                    <a:pt x="49" y="92"/>
                  </a:lnTo>
                  <a:lnTo>
                    <a:pt x="49" y="90"/>
                  </a:lnTo>
                  <a:lnTo>
                    <a:pt x="47" y="90"/>
                  </a:lnTo>
                  <a:lnTo>
                    <a:pt x="47" y="90"/>
                  </a:lnTo>
                  <a:lnTo>
                    <a:pt x="45" y="88"/>
                  </a:lnTo>
                  <a:lnTo>
                    <a:pt x="41" y="84"/>
                  </a:lnTo>
                  <a:lnTo>
                    <a:pt x="39" y="82"/>
                  </a:lnTo>
                  <a:lnTo>
                    <a:pt x="37" y="82"/>
                  </a:lnTo>
                  <a:lnTo>
                    <a:pt x="32" y="82"/>
                  </a:lnTo>
                  <a:lnTo>
                    <a:pt x="32" y="80"/>
                  </a:lnTo>
                  <a:lnTo>
                    <a:pt x="30" y="78"/>
                  </a:lnTo>
                  <a:lnTo>
                    <a:pt x="32" y="76"/>
                  </a:lnTo>
                  <a:lnTo>
                    <a:pt x="32" y="74"/>
                  </a:lnTo>
                  <a:lnTo>
                    <a:pt x="32" y="74"/>
                  </a:lnTo>
                  <a:lnTo>
                    <a:pt x="32" y="72"/>
                  </a:lnTo>
                  <a:lnTo>
                    <a:pt x="30" y="70"/>
                  </a:lnTo>
                  <a:lnTo>
                    <a:pt x="28" y="67"/>
                  </a:lnTo>
                  <a:lnTo>
                    <a:pt x="28" y="67"/>
                  </a:lnTo>
                  <a:lnTo>
                    <a:pt x="26" y="63"/>
                  </a:lnTo>
                  <a:lnTo>
                    <a:pt x="26" y="61"/>
                  </a:lnTo>
                  <a:lnTo>
                    <a:pt x="26" y="59"/>
                  </a:lnTo>
                  <a:lnTo>
                    <a:pt x="26" y="59"/>
                  </a:lnTo>
                  <a:lnTo>
                    <a:pt x="24" y="59"/>
                  </a:lnTo>
                  <a:lnTo>
                    <a:pt x="20" y="57"/>
                  </a:lnTo>
                  <a:lnTo>
                    <a:pt x="20" y="57"/>
                  </a:lnTo>
                  <a:lnTo>
                    <a:pt x="18" y="57"/>
                  </a:lnTo>
                  <a:lnTo>
                    <a:pt x="18" y="55"/>
                  </a:lnTo>
                  <a:lnTo>
                    <a:pt x="18" y="53"/>
                  </a:lnTo>
                  <a:lnTo>
                    <a:pt x="16" y="53"/>
                  </a:lnTo>
                  <a:lnTo>
                    <a:pt x="14" y="53"/>
                  </a:lnTo>
                  <a:lnTo>
                    <a:pt x="12" y="53"/>
                  </a:lnTo>
                  <a:lnTo>
                    <a:pt x="12" y="53"/>
                  </a:lnTo>
                  <a:lnTo>
                    <a:pt x="10" y="51"/>
                  </a:lnTo>
                  <a:lnTo>
                    <a:pt x="12" y="51"/>
                  </a:lnTo>
                  <a:lnTo>
                    <a:pt x="12" y="49"/>
                  </a:lnTo>
                  <a:lnTo>
                    <a:pt x="12" y="49"/>
                  </a:lnTo>
                  <a:lnTo>
                    <a:pt x="12" y="49"/>
                  </a:lnTo>
                  <a:lnTo>
                    <a:pt x="12" y="45"/>
                  </a:lnTo>
                  <a:lnTo>
                    <a:pt x="10" y="43"/>
                  </a:lnTo>
                  <a:lnTo>
                    <a:pt x="10" y="43"/>
                  </a:lnTo>
                  <a:lnTo>
                    <a:pt x="10" y="43"/>
                  </a:lnTo>
                  <a:lnTo>
                    <a:pt x="10" y="41"/>
                  </a:lnTo>
                  <a:lnTo>
                    <a:pt x="10" y="39"/>
                  </a:lnTo>
                  <a:lnTo>
                    <a:pt x="8" y="39"/>
                  </a:lnTo>
                  <a:lnTo>
                    <a:pt x="8" y="37"/>
                  </a:lnTo>
                  <a:lnTo>
                    <a:pt x="6" y="35"/>
                  </a:lnTo>
                  <a:lnTo>
                    <a:pt x="6" y="33"/>
                  </a:lnTo>
                  <a:lnTo>
                    <a:pt x="6" y="33"/>
                  </a:lnTo>
                  <a:lnTo>
                    <a:pt x="6" y="31"/>
                  </a:lnTo>
                  <a:lnTo>
                    <a:pt x="6" y="31"/>
                  </a:lnTo>
                  <a:lnTo>
                    <a:pt x="4" y="29"/>
                  </a:lnTo>
                  <a:lnTo>
                    <a:pt x="2" y="29"/>
                  </a:lnTo>
                  <a:lnTo>
                    <a:pt x="0" y="29"/>
                  </a:lnTo>
                  <a:lnTo>
                    <a:pt x="0" y="24"/>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20" y="20"/>
                  </a:lnTo>
                  <a:lnTo>
                    <a:pt x="41" y="20"/>
                  </a:lnTo>
                  <a:lnTo>
                    <a:pt x="61" y="18"/>
                  </a:lnTo>
                  <a:lnTo>
                    <a:pt x="82" y="18"/>
                  </a:lnTo>
                  <a:lnTo>
                    <a:pt x="102" y="16"/>
                  </a:lnTo>
                  <a:lnTo>
                    <a:pt x="123" y="16"/>
                  </a:lnTo>
                  <a:lnTo>
                    <a:pt x="143" y="14"/>
                  </a:lnTo>
                  <a:lnTo>
                    <a:pt x="161" y="14"/>
                  </a:lnTo>
                  <a:lnTo>
                    <a:pt x="182" y="12"/>
                  </a:lnTo>
                  <a:lnTo>
                    <a:pt x="202" y="10"/>
                  </a:lnTo>
                  <a:lnTo>
                    <a:pt x="223" y="10"/>
                  </a:lnTo>
                  <a:lnTo>
                    <a:pt x="243" y="8"/>
                  </a:lnTo>
                  <a:lnTo>
                    <a:pt x="264" y="6"/>
                  </a:lnTo>
                  <a:lnTo>
                    <a:pt x="284" y="4"/>
                  </a:lnTo>
                  <a:lnTo>
                    <a:pt x="303" y="4"/>
                  </a:lnTo>
                  <a:lnTo>
                    <a:pt x="323" y="2"/>
                  </a:lnTo>
                  <a:lnTo>
                    <a:pt x="331" y="2"/>
                  </a:lnTo>
                  <a:lnTo>
                    <a:pt x="336" y="0"/>
                  </a:lnTo>
                  <a:lnTo>
                    <a:pt x="336" y="2"/>
                  </a:lnTo>
                  <a:lnTo>
                    <a:pt x="336" y="2"/>
                  </a:lnTo>
                  <a:lnTo>
                    <a:pt x="338" y="4"/>
                  </a:lnTo>
                  <a:lnTo>
                    <a:pt x="338" y="4"/>
                  </a:lnTo>
                  <a:lnTo>
                    <a:pt x="338" y="6"/>
                  </a:lnTo>
                  <a:lnTo>
                    <a:pt x="340" y="6"/>
                  </a:lnTo>
                  <a:lnTo>
                    <a:pt x="340" y="8"/>
                  </a:lnTo>
                  <a:lnTo>
                    <a:pt x="340" y="8"/>
                  </a:lnTo>
                  <a:lnTo>
                    <a:pt x="342" y="8"/>
                  </a:lnTo>
                  <a:lnTo>
                    <a:pt x="342" y="8"/>
                  </a:lnTo>
                  <a:lnTo>
                    <a:pt x="344" y="10"/>
                  </a:lnTo>
                  <a:lnTo>
                    <a:pt x="346" y="10"/>
                  </a:lnTo>
                  <a:lnTo>
                    <a:pt x="346" y="12"/>
                  </a:lnTo>
                  <a:lnTo>
                    <a:pt x="346" y="12"/>
                  </a:lnTo>
                  <a:lnTo>
                    <a:pt x="346" y="12"/>
                  </a:lnTo>
                  <a:lnTo>
                    <a:pt x="346" y="12"/>
                  </a:lnTo>
                  <a:lnTo>
                    <a:pt x="348" y="12"/>
                  </a:lnTo>
                  <a:lnTo>
                    <a:pt x="348" y="12"/>
                  </a:lnTo>
                  <a:lnTo>
                    <a:pt x="348" y="14"/>
                  </a:lnTo>
                  <a:lnTo>
                    <a:pt x="348" y="14"/>
                  </a:lnTo>
                  <a:lnTo>
                    <a:pt x="348" y="14"/>
                  </a:lnTo>
                  <a:lnTo>
                    <a:pt x="350" y="14"/>
                  </a:lnTo>
                  <a:lnTo>
                    <a:pt x="352" y="16"/>
                  </a:lnTo>
                  <a:lnTo>
                    <a:pt x="352" y="16"/>
                  </a:lnTo>
                  <a:lnTo>
                    <a:pt x="352" y="16"/>
                  </a:lnTo>
                  <a:lnTo>
                    <a:pt x="352" y="18"/>
                  </a:lnTo>
                  <a:lnTo>
                    <a:pt x="352" y="18"/>
                  </a:lnTo>
                  <a:lnTo>
                    <a:pt x="352" y="18"/>
                  </a:lnTo>
                  <a:lnTo>
                    <a:pt x="354" y="20"/>
                  </a:lnTo>
                  <a:lnTo>
                    <a:pt x="356" y="22"/>
                  </a:lnTo>
                  <a:lnTo>
                    <a:pt x="358" y="24"/>
                  </a:lnTo>
                  <a:lnTo>
                    <a:pt x="360" y="24"/>
                  </a:lnTo>
                  <a:lnTo>
                    <a:pt x="362" y="24"/>
                  </a:lnTo>
                  <a:lnTo>
                    <a:pt x="362" y="24"/>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O</a:t>
              </a:r>
            </a:p>
          </p:txBody>
        </p:sp>
        <p:sp>
          <p:nvSpPr>
            <p:cNvPr id="110" name="Freeform 32">
              <a:extLst>
                <a:ext uri="{FF2B5EF4-FFF2-40B4-BE49-F238E27FC236}">
                  <a16:creationId xmlns:a16="http://schemas.microsoft.com/office/drawing/2014/main" id="{8FD1BF0D-19F1-CF45-F811-80E522C63EB8}"/>
                </a:ext>
              </a:extLst>
            </p:cNvPr>
            <p:cNvSpPr>
              <a:spLocks/>
            </p:cNvSpPr>
            <p:nvPr/>
          </p:nvSpPr>
          <p:spPr bwMode="auto">
            <a:xfrm>
              <a:off x="2934" y="133"/>
              <a:ext cx="584" cy="613"/>
            </a:xfrm>
            <a:custGeom>
              <a:avLst/>
              <a:gdLst>
                <a:gd name="T0" fmla="*/ 562 w 584"/>
                <a:gd name="T1" fmla="*/ 115 h 613"/>
                <a:gd name="T2" fmla="*/ 516 w 584"/>
                <a:gd name="T3" fmla="*/ 109 h 613"/>
                <a:gd name="T4" fmla="*/ 500 w 584"/>
                <a:gd name="T5" fmla="*/ 111 h 613"/>
                <a:gd name="T6" fmla="*/ 488 w 584"/>
                <a:gd name="T7" fmla="*/ 99 h 613"/>
                <a:gd name="T8" fmla="*/ 455 w 584"/>
                <a:gd name="T9" fmla="*/ 115 h 613"/>
                <a:gd name="T10" fmla="*/ 432 w 584"/>
                <a:gd name="T11" fmla="*/ 115 h 613"/>
                <a:gd name="T12" fmla="*/ 410 w 584"/>
                <a:gd name="T13" fmla="*/ 107 h 613"/>
                <a:gd name="T14" fmla="*/ 379 w 584"/>
                <a:gd name="T15" fmla="*/ 92 h 613"/>
                <a:gd name="T16" fmla="*/ 371 w 584"/>
                <a:gd name="T17" fmla="*/ 105 h 613"/>
                <a:gd name="T18" fmla="*/ 349 w 584"/>
                <a:gd name="T19" fmla="*/ 86 h 613"/>
                <a:gd name="T20" fmla="*/ 342 w 584"/>
                <a:gd name="T21" fmla="*/ 74 h 613"/>
                <a:gd name="T22" fmla="*/ 287 w 584"/>
                <a:gd name="T23" fmla="*/ 76 h 613"/>
                <a:gd name="T24" fmla="*/ 254 w 584"/>
                <a:gd name="T25" fmla="*/ 70 h 613"/>
                <a:gd name="T26" fmla="*/ 224 w 584"/>
                <a:gd name="T27" fmla="*/ 64 h 613"/>
                <a:gd name="T28" fmla="*/ 191 w 584"/>
                <a:gd name="T29" fmla="*/ 52 h 613"/>
                <a:gd name="T30" fmla="*/ 181 w 584"/>
                <a:gd name="T31" fmla="*/ 8 h 613"/>
                <a:gd name="T32" fmla="*/ 156 w 584"/>
                <a:gd name="T33" fmla="*/ 37 h 613"/>
                <a:gd name="T34" fmla="*/ 39 w 584"/>
                <a:gd name="T35" fmla="*/ 43 h 613"/>
                <a:gd name="T36" fmla="*/ 2 w 584"/>
                <a:gd name="T37" fmla="*/ 54 h 613"/>
                <a:gd name="T38" fmla="*/ 9 w 584"/>
                <a:gd name="T39" fmla="*/ 86 h 613"/>
                <a:gd name="T40" fmla="*/ 11 w 584"/>
                <a:gd name="T41" fmla="*/ 115 h 613"/>
                <a:gd name="T42" fmla="*/ 19 w 584"/>
                <a:gd name="T43" fmla="*/ 156 h 613"/>
                <a:gd name="T44" fmla="*/ 23 w 584"/>
                <a:gd name="T45" fmla="*/ 166 h 613"/>
                <a:gd name="T46" fmla="*/ 33 w 584"/>
                <a:gd name="T47" fmla="*/ 187 h 613"/>
                <a:gd name="T48" fmla="*/ 33 w 584"/>
                <a:gd name="T49" fmla="*/ 203 h 613"/>
                <a:gd name="T50" fmla="*/ 35 w 584"/>
                <a:gd name="T51" fmla="*/ 232 h 613"/>
                <a:gd name="T52" fmla="*/ 39 w 584"/>
                <a:gd name="T53" fmla="*/ 252 h 613"/>
                <a:gd name="T54" fmla="*/ 41 w 584"/>
                <a:gd name="T55" fmla="*/ 256 h 613"/>
                <a:gd name="T56" fmla="*/ 41 w 584"/>
                <a:gd name="T57" fmla="*/ 275 h 613"/>
                <a:gd name="T58" fmla="*/ 45 w 584"/>
                <a:gd name="T59" fmla="*/ 299 h 613"/>
                <a:gd name="T60" fmla="*/ 56 w 584"/>
                <a:gd name="T61" fmla="*/ 318 h 613"/>
                <a:gd name="T62" fmla="*/ 60 w 584"/>
                <a:gd name="T63" fmla="*/ 336 h 613"/>
                <a:gd name="T64" fmla="*/ 60 w 584"/>
                <a:gd name="T65" fmla="*/ 361 h 613"/>
                <a:gd name="T66" fmla="*/ 45 w 584"/>
                <a:gd name="T67" fmla="*/ 384 h 613"/>
                <a:gd name="T68" fmla="*/ 49 w 584"/>
                <a:gd name="T69" fmla="*/ 408 h 613"/>
                <a:gd name="T70" fmla="*/ 70 w 584"/>
                <a:gd name="T71" fmla="*/ 424 h 613"/>
                <a:gd name="T72" fmla="*/ 76 w 584"/>
                <a:gd name="T73" fmla="*/ 590 h 613"/>
                <a:gd name="T74" fmla="*/ 312 w 584"/>
                <a:gd name="T75" fmla="*/ 603 h 613"/>
                <a:gd name="T76" fmla="*/ 496 w 584"/>
                <a:gd name="T77" fmla="*/ 584 h 613"/>
                <a:gd name="T78" fmla="*/ 494 w 584"/>
                <a:gd name="T79" fmla="*/ 562 h 613"/>
                <a:gd name="T80" fmla="*/ 488 w 584"/>
                <a:gd name="T81" fmla="*/ 547 h 613"/>
                <a:gd name="T82" fmla="*/ 478 w 584"/>
                <a:gd name="T83" fmla="*/ 537 h 613"/>
                <a:gd name="T84" fmla="*/ 457 w 584"/>
                <a:gd name="T85" fmla="*/ 533 h 613"/>
                <a:gd name="T86" fmla="*/ 404 w 584"/>
                <a:gd name="T87" fmla="*/ 494 h 613"/>
                <a:gd name="T88" fmla="*/ 375 w 584"/>
                <a:gd name="T89" fmla="*/ 478 h 613"/>
                <a:gd name="T90" fmla="*/ 365 w 584"/>
                <a:gd name="T91" fmla="*/ 449 h 613"/>
                <a:gd name="T92" fmla="*/ 363 w 584"/>
                <a:gd name="T93" fmla="*/ 427 h 613"/>
                <a:gd name="T94" fmla="*/ 365 w 584"/>
                <a:gd name="T95" fmla="*/ 406 h 613"/>
                <a:gd name="T96" fmla="*/ 361 w 584"/>
                <a:gd name="T97" fmla="*/ 384 h 613"/>
                <a:gd name="T98" fmla="*/ 357 w 584"/>
                <a:gd name="T99" fmla="*/ 357 h 613"/>
                <a:gd name="T100" fmla="*/ 373 w 584"/>
                <a:gd name="T101" fmla="*/ 338 h 613"/>
                <a:gd name="T102" fmla="*/ 383 w 584"/>
                <a:gd name="T103" fmla="*/ 332 h 613"/>
                <a:gd name="T104" fmla="*/ 392 w 584"/>
                <a:gd name="T105" fmla="*/ 322 h 613"/>
                <a:gd name="T106" fmla="*/ 389 w 584"/>
                <a:gd name="T107" fmla="*/ 267 h 613"/>
                <a:gd name="T108" fmla="*/ 396 w 584"/>
                <a:gd name="T109" fmla="*/ 263 h 613"/>
                <a:gd name="T110" fmla="*/ 400 w 584"/>
                <a:gd name="T111" fmla="*/ 256 h 613"/>
                <a:gd name="T112" fmla="*/ 428 w 584"/>
                <a:gd name="T113" fmla="*/ 230 h 613"/>
                <a:gd name="T114" fmla="*/ 441 w 584"/>
                <a:gd name="T115" fmla="*/ 218 h 613"/>
                <a:gd name="T116" fmla="*/ 549 w 584"/>
                <a:gd name="T117" fmla="*/ 133 h 613"/>
                <a:gd name="T118" fmla="*/ 584 w 584"/>
                <a:gd name="T119" fmla="*/ 11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4" h="613">
                  <a:moveTo>
                    <a:pt x="584" y="111"/>
                  </a:moveTo>
                  <a:lnTo>
                    <a:pt x="580" y="111"/>
                  </a:lnTo>
                  <a:lnTo>
                    <a:pt x="578" y="111"/>
                  </a:lnTo>
                  <a:lnTo>
                    <a:pt x="574" y="111"/>
                  </a:lnTo>
                  <a:lnTo>
                    <a:pt x="574" y="111"/>
                  </a:lnTo>
                  <a:lnTo>
                    <a:pt x="572" y="111"/>
                  </a:lnTo>
                  <a:lnTo>
                    <a:pt x="572" y="111"/>
                  </a:lnTo>
                  <a:lnTo>
                    <a:pt x="570" y="111"/>
                  </a:lnTo>
                  <a:lnTo>
                    <a:pt x="568" y="111"/>
                  </a:lnTo>
                  <a:lnTo>
                    <a:pt x="562" y="115"/>
                  </a:lnTo>
                  <a:lnTo>
                    <a:pt x="559" y="115"/>
                  </a:lnTo>
                  <a:lnTo>
                    <a:pt x="555" y="113"/>
                  </a:lnTo>
                  <a:lnTo>
                    <a:pt x="553" y="113"/>
                  </a:lnTo>
                  <a:lnTo>
                    <a:pt x="551" y="111"/>
                  </a:lnTo>
                  <a:lnTo>
                    <a:pt x="547" y="105"/>
                  </a:lnTo>
                  <a:lnTo>
                    <a:pt x="547" y="105"/>
                  </a:lnTo>
                  <a:lnTo>
                    <a:pt x="543" y="103"/>
                  </a:lnTo>
                  <a:lnTo>
                    <a:pt x="539" y="103"/>
                  </a:lnTo>
                  <a:lnTo>
                    <a:pt x="516" y="109"/>
                  </a:lnTo>
                  <a:lnTo>
                    <a:pt x="516" y="109"/>
                  </a:lnTo>
                  <a:lnTo>
                    <a:pt x="516" y="109"/>
                  </a:lnTo>
                  <a:lnTo>
                    <a:pt x="514" y="107"/>
                  </a:lnTo>
                  <a:lnTo>
                    <a:pt x="514" y="109"/>
                  </a:lnTo>
                  <a:lnTo>
                    <a:pt x="512" y="109"/>
                  </a:lnTo>
                  <a:lnTo>
                    <a:pt x="510" y="109"/>
                  </a:lnTo>
                  <a:lnTo>
                    <a:pt x="510" y="109"/>
                  </a:lnTo>
                  <a:lnTo>
                    <a:pt x="508" y="109"/>
                  </a:lnTo>
                  <a:lnTo>
                    <a:pt x="508" y="107"/>
                  </a:lnTo>
                  <a:lnTo>
                    <a:pt x="506" y="107"/>
                  </a:lnTo>
                  <a:lnTo>
                    <a:pt x="500" y="111"/>
                  </a:lnTo>
                  <a:lnTo>
                    <a:pt x="496" y="111"/>
                  </a:lnTo>
                  <a:lnTo>
                    <a:pt x="492" y="109"/>
                  </a:lnTo>
                  <a:lnTo>
                    <a:pt x="492" y="107"/>
                  </a:lnTo>
                  <a:lnTo>
                    <a:pt x="490" y="105"/>
                  </a:lnTo>
                  <a:lnTo>
                    <a:pt x="490" y="103"/>
                  </a:lnTo>
                  <a:lnTo>
                    <a:pt x="490" y="103"/>
                  </a:lnTo>
                  <a:lnTo>
                    <a:pt x="488" y="103"/>
                  </a:lnTo>
                  <a:lnTo>
                    <a:pt x="488" y="103"/>
                  </a:lnTo>
                  <a:lnTo>
                    <a:pt x="488" y="101"/>
                  </a:lnTo>
                  <a:lnTo>
                    <a:pt x="488" y="99"/>
                  </a:lnTo>
                  <a:lnTo>
                    <a:pt x="488" y="99"/>
                  </a:lnTo>
                  <a:lnTo>
                    <a:pt x="488" y="97"/>
                  </a:lnTo>
                  <a:lnTo>
                    <a:pt x="486" y="97"/>
                  </a:lnTo>
                  <a:lnTo>
                    <a:pt x="482" y="97"/>
                  </a:lnTo>
                  <a:lnTo>
                    <a:pt x="475" y="101"/>
                  </a:lnTo>
                  <a:lnTo>
                    <a:pt x="473" y="103"/>
                  </a:lnTo>
                  <a:lnTo>
                    <a:pt x="469" y="105"/>
                  </a:lnTo>
                  <a:lnTo>
                    <a:pt x="461" y="111"/>
                  </a:lnTo>
                  <a:lnTo>
                    <a:pt x="459" y="113"/>
                  </a:lnTo>
                  <a:lnTo>
                    <a:pt x="455" y="115"/>
                  </a:lnTo>
                  <a:lnTo>
                    <a:pt x="449" y="117"/>
                  </a:lnTo>
                  <a:lnTo>
                    <a:pt x="445" y="119"/>
                  </a:lnTo>
                  <a:lnTo>
                    <a:pt x="443" y="119"/>
                  </a:lnTo>
                  <a:lnTo>
                    <a:pt x="441" y="119"/>
                  </a:lnTo>
                  <a:lnTo>
                    <a:pt x="441" y="119"/>
                  </a:lnTo>
                  <a:lnTo>
                    <a:pt x="432" y="119"/>
                  </a:lnTo>
                  <a:lnTo>
                    <a:pt x="432" y="119"/>
                  </a:lnTo>
                  <a:lnTo>
                    <a:pt x="432" y="119"/>
                  </a:lnTo>
                  <a:lnTo>
                    <a:pt x="432" y="117"/>
                  </a:lnTo>
                  <a:lnTo>
                    <a:pt x="432" y="115"/>
                  </a:lnTo>
                  <a:lnTo>
                    <a:pt x="432" y="115"/>
                  </a:lnTo>
                  <a:lnTo>
                    <a:pt x="430" y="115"/>
                  </a:lnTo>
                  <a:lnTo>
                    <a:pt x="430" y="115"/>
                  </a:lnTo>
                  <a:lnTo>
                    <a:pt x="424" y="115"/>
                  </a:lnTo>
                  <a:lnTo>
                    <a:pt x="422" y="113"/>
                  </a:lnTo>
                  <a:lnTo>
                    <a:pt x="422" y="111"/>
                  </a:lnTo>
                  <a:lnTo>
                    <a:pt x="420" y="109"/>
                  </a:lnTo>
                  <a:lnTo>
                    <a:pt x="420" y="107"/>
                  </a:lnTo>
                  <a:lnTo>
                    <a:pt x="418" y="107"/>
                  </a:lnTo>
                  <a:lnTo>
                    <a:pt x="410" y="107"/>
                  </a:lnTo>
                  <a:lnTo>
                    <a:pt x="402" y="103"/>
                  </a:lnTo>
                  <a:lnTo>
                    <a:pt x="402" y="103"/>
                  </a:lnTo>
                  <a:lnTo>
                    <a:pt x="400" y="101"/>
                  </a:lnTo>
                  <a:lnTo>
                    <a:pt x="398" y="101"/>
                  </a:lnTo>
                  <a:lnTo>
                    <a:pt x="398" y="97"/>
                  </a:lnTo>
                  <a:lnTo>
                    <a:pt x="396" y="95"/>
                  </a:lnTo>
                  <a:lnTo>
                    <a:pt x="396" y="92"/>
                  </a:lnTo>
                  <a:lnTo>
                    <a:pt x="394" y="92"/>
                  </a:lnTo>
                  <a:lnTo>
                    <a:pt x="387" y="92"/>
                  </a:lnTo>
                  <a:lnTo>
                    <a:pt x="379" y="92"/>
                  </a:lnTo>
                  <a:lnTo>
                    <a:pt x="377" y="95"/>
                  </a:lnTo>
                  <a:lnTo>
                    <a:pt x="375" y="97"/>
                  </a:lnTo>
                  <a:lnTo>
                    <a:pt x="375" y="99"/>
                  </a:lnTo>
                  <a:lnTo>
                    <a:pt x="377" y="101"/>
                  </a:lnTo>
                  <a:lnTo>
                    <a:pt x="377" y="103"/>
                  </a:lnTo>
                  <a:lnTo>
                    <a:pt x="377" y="105"/>
                  </a:lnTo>
                  <a:lnTo>
                    <a:pt x="375" y="105"/>
                  </a:lnTo>
                  <a:lnTo>
                    <a:pt x="373" y="105"/>
                  </a:lnTo>
                  <a:lnTo>
                    <a:pt x="371" y="107"/>
                  </a:lnTo>
                  <a:lnTo>
                    <a:pt x="371" y="105"/>
                  </a:lnTo>
                  <a:lnTo>
                    <a:pt x="367" y="101"/>
                  </a:lnTo>
                  <a:lnTo>
                    <a:pt x="365" y="97"/>
                  </a:lnTo>
                  <a:lnTo>
                    <a:pt x="363" y="95"/>
                  </a:lnTo>
                  <a:lnTo>
                    <a:pt x="363" y="92"/>
                  </a:lnTo>
                  <a:lnTo>
                    <a:pt x="363" y="88"/>
                  </a:lnTo>
                  <a:lnTo>
                    <a:pt x="363" y="86"/>
                  </a:lnTo>
                  <a:lnTo>
                    <a:pt x="361" y="84"/>
                  </a:lnTo>
                  <a:lnTo>
                    <a:pt x="359" y="84"/>
                  </a:lnTo>
                  <a:lnTo>
                    <a:pt x="355" y="84"/>
                  </a:lnTo>
                  <a:lnTo>
                    <a:pt x="349" y="86"/>
                  </a:lnTo>
                  <a:lnTo>
                    <a:pt x="346" y="84"/>
                  </a:lnTo>
                  <a:lnTo>
                    <a:pt x="344" y="84"/>
                  </a:lnTo>
                  <a:lnTo>
                    <a:pt x="342" y="84"/>
                  </a:lnTo>
                  <a:lnTo>
                    <a:pt x="344" y="80"/>
                  </a:lnTo>
                  <a:lnTo>
                    <a:pt x="344" y="80"/>
                  </a:lnTo>
                  <a:lnTo>
                    <a:pt x="349" y="80"/>
                  </a:lnTo>
                  <a:lnTo>
                    <a:pt x="351" y="78"/>
                  </a:lnTo>
                  <a:lnTo>
                    <a:pt x="351" y="76"/>
                  </a:lnTo>
                  <a:lnTo>
                    <a:pt x="349" y="76"/>
                  </a:lnTo>
                  <a:lnTo>
                    <a:pt x="342" y="74"/>
                  </a:lnTo>
                  <a:lnTo>
                    <a:pt x="330" y="72"/>
                  </a:lnTo>
                  <a:lnTo>
                    <a:pt x="324" y="70"/>
                  </a:lnTo>
                  <a:lnTo>
                    <a:pt x="322" y="68"/>
                  </a:lnTo>
                  <a:lnTo>
                    <a:pt x="312" y="68"/>
                  </a:lnTo>
                  <a:lnTo>
                    <a:pt x="301" y="68"/>
                  </a:lnTo>
                  <a:lnTo>
                    <a:pt x="291" y="70"/>
                  </a:lnTo>
                  <a:lnTo>
                    <a:pt x="289" y="72"/>
                  </a:lnTo>
                  <a:lnTo>
                    <a:pt x="287" y="72"/>
                  </a:lnTo>
                  <a:lnTo>
                    <a:pt x="287" y="74"/>
                  </a:lnTo>
                  <a:lnTo>
                    <a:pt x="287" y="76"/>
                  </a:lnTo>
                  <a:lnTo>
                    <a:pt x="287" y="76"/>
                  </a:lnTo>
                  <a:lnTo>
                    <a:pt x="285" y="78"/>
                  </a:lnTo>
                  <a:lnTo>
                    <a:pt x="279" y="80"/>
                  </a:lnTo>
                  <a:lnTo>
                    <a:pt x="277" y="80"/>
                  </a:lnTo>
                  <a:lnTo>
                    <a:pt x="275" y="80"/>
                  </a:lnTo>
                  <a:lnTo>
                    <a:pt x="265" y="82"/>
                  </a:lnTo>
                  <a:lnTo>
                    <a:pt x="262" y="82"/>
                  </a:lnTo>
                  <a:lnTo>
                    <a:pt x="260" y="80"/>
                  </a:lnTo>
                  <a:lnTo>
                    <a:pt x="258" y="72"/>
                  </a:lnTo>
                  <a:lnTo>
                    <a:pt x="254" y="70"/>
                  </a:lnTo>
                  <a:lnTo>
                    <a:pt x="242" y="70"/>
                  </a:lnTo>
                  <a:lnTo>
                    <a:pt x="228" y="70"/>
                  </a:lnTo>
                  <a:lnTo>
                    <a:pt x="226" y="70"/>
                  </a:lnTo>
                  <a:lnTo>
                    <a:pt x="226" y="70"/>
                  </a:lnTo>
                  <a:lnTo>
                    <a:pt x="226" y="68"/>
                  </a:lnTo>
                  <a:lnTo>
                    <a:pt x="226" y="66"/>
                  </a:lnTo>
                  <a:lnTo>
                    <a:pt x="226" y="66"/>
                  </a:lnTo>
                  <a:lnTo>
                    <a:pt x="224" y="66"/>
                  </a:lnTo>
                  <a:lnTo>
                    <a:pt x="224" y="66"/>
                  </a:lnTo>
                  <a:lnTo>
                    <a:pt x="224" y="64"/>
                  </a:lnTo>
                  <a:lnTo>
                    <a:pt x="222" y="64"/>
                  </a:lnTo>
                  <a:lnTo>
                    <a:pt x="209" y="66"/>
                  </a:lnTo>
                  <a:lnTo>
                    <a:pt x="205" y="66"/>
                  </a:lnTo>
                  <a:lnTo>
                    <a:pt x="201" y="64"/>
                  </a:lnTo>
                  <a:lnTo>
                    <a:pt x="193" y="60"/>
                  </a:lnTo>
                  <a:lnTo>
                    <a:pt x="191" y="58"/>
                  </a:lnTo>
                  <a:lnTo>
                    <a:pt x="191" y="56"/>
                  </a:lnTo>
                  <a:lnTo>
                    <a:pt x="191" y="56"/>
                  </a:lnTo>
                  <a:lnTo>
                    <a:pt x="191" y="54"/>
                  </a:lnTo>
                  <a:lnTo>
                    <a:pt x="191" y="52"/>
                  </a:lnTo>
                  <a:lnTo>
                    <a:pt x="191" y="52"/>
                  </a:lnTo>
                  <a:lnTo>
                    <a:pt x="191" y="45"/>
                  </a:lnTo>
                  <a:lnTo>
                    <a:pt x="187" y="35"/>
                  </a:lnTo>
                  <a:lnTo>
                    <a:pt x="183" y="25"/>
                  </a:lnTo>
                  <a:lnTo>
                    <a:pt x="183" y="23"/>
                  </a:lnTo>
                  <a:lnTo>
                    <a:pt x="183" y="21"/>
                  </a:lnTo>
                  <a:lnTo>
                    <a:pt x="183" y="17"/>
                  </a:lnTo>
                  <a:lnTo>
                    <a:pt x="181" y="15"/>
                  </a:lnTo>
                  <a:lnTo>
                    <a:pt x="181" y="13"/>
                  </a:lnTo>
                  <a:lnTo>
                    <a:pt x="181" y="8"/>
                  </a:lnTo>
                  <a:lnTo>
                    <a:pt x="179" y="6"/>
                  </a:lnTo>
                  <a:lnTo>
                    <a:pt x="179" y="4"/>
                  </a:lnTo>
                  <a:lnTo>
                    <a:pt x="172" y="2"/>
                  </a:lnTo>
                  <a:lnTo>
                    <a:pt x="168" y="2"/>
                  </a:lnTo>
                  <a:lnTo>
                    <a:pt x="158" y="2"/>
                  </a:lnTo>
                  <a:lnTo>
                    <a:pt x="154" y="0"/>
                  </a:lnTo>
                  <a:lnTo>
                    <a:pt x="154" y="6"/>
                  </a:lnTo>
                  <a:lnTo>
                    <a:pt x="156" y="15"/>
                  </a:lnTo>
                  <a:lnTo>
                    <a:pt x="156" y="27"/>
                  </a:lnTo>
                  <a:lnTo>
                    <a:pt x="156" y="37"/>
                  </a:lnTo>
                  <a:lnTo>
                    <a:pt x="156" y="39"/>
                  </a:lnTo>
                  <a:lnTo>
                    <a:pt x="156" y="39"/>
                  </a:lnTo>
                  <a:lnTo>
                    <a:pt x="154" y="39"/>
                  </a:lnTo>
                  <a:lnTo>
                    <a:pt x="138" y="39"/>
                  </a:lnTo>
                  <a:lnTo>
                    <a:pt x="121" y="41"/>
                  </a:lnTo>
                  <a:lnTo>
                    <a:pt x="105" y="41"/>
                  </a:lnTo>
                  <a:lnTo>
                    <a:pt x="88" y="41"/>
                  </a:lnTo>
                  <a:lnTo>
                    <a:pt x="72" y="43"/>
                  </a:lnTo>
                  <a:lnTo>
                    <a:pt x="56" y="43"/>
                  </a:lnTo>
                  <a:lnTo>
                    <a:pt x="39" y="43"/>
                  </a:lnTo>
                  <a:lnTo>
                    <a:pt x="23" y="43"/>
                  </a:lnTo>
                  <a:lnTo>
                    <a:pt x="6" y="45"/>
                  </a:lnTo>
                  <a:lnTo>
                    <a:pt x="0" y="45"/>
                  </a:lnTo>
                  <a:lnTo>
                    <a:pt x="0" y="45"/>
                  </a:lnTo>
                  <a:lnTo>
                    <a:pt x="0" y="47"/>
                  </a:lnTo>
                  <a:lnTo>
                    <a:pt x="0" y="49"/>
                  </a:lnTo>
                  <a:lnTo>
                    <a:pt x="2" y="49"/>
                  </a:lnTo>
                  <a:lnTo>
                    <a:pt x="2" y="52"/>
                  </a:lnTo>
                  <a:lnTo>
                    <a:pt x="2" y="54"/>
                  </a:lnTo>
                  <a:lnTo>
                    <a:pt x="2" y="54"/>
                  </a:lnTo>
                  <a:lnTo>
                    <a:pt x="4" y="56"/>
                  </a:lnTo>
                  <a:lnTo>
                    <a:pt x="4" y="56"/>
                  </a:lnTo>
                  <a:lnTo>
                    <a:pt x="4" y="60"/>
                  </a:lnTo>
                  <a:lnTo>
                    <a:pt x="6" y="66"/>
                  </a:lnTo>
                  <a:lnTo>
                    <a:pt x="9" y="70"/>
                  </a:lnTo>
                  <a:lnTo>
                    <a:pt x="9" y="70"/>
                  </a:lnTo>
                  <a:lnTo>
                    <a:pt x="11" y="74"/>
                  </a:lnTo>
                  <a:lnTo>
                    <a:pt x="11" y="80"/>
                  </a:lnTo>
                  <a:lnTo>
                    <a:pt x="11" y="82"/>
                  </a:lnTo>
                  <a:lnTo>
                    <a:pt x="9" y="86"/>
                  </a:lnTo>
                  <a:lnTo>
                    <a:pt x="6" y="90"/>
                  </a:lnTo>
                  <a:lnTo>
                    <a:pt x="9" y="97"/>
                  </a:lnTo>
                  <a:lnTo>
                    <a:pt x="9" y="101"/>
                  </a:lnTo>
                  <a:lnTo>
                    <a:pt x="11" y="103"/>
                  </a:lnTo>
                  <a:lnTo>
                    <a:pt x="11" y="103"/>
                  </a:lnTo>
                  <a:lnTo>
                    <a:pt x="11" y="105"/>
                  </a:lnTo>
                  <a:lnTo>
                    <a:pt x="9" y="107"/>
                  </a:lnTo>
                  <a:lnTo>
                    <a:pt x="9" y="107"/>
                  </a:lnTo>
                  <a:lnTo>
                    <a:pt x="11" y="115"/>
                  </a:lnTo>
                  <a:lnTo>
                    <a:pt x="11" y="115"/>
                  </a:lnTo>
                  <a:lnTo>
                    <a:pt x="11" y="117"/>
                  </a:lnTo>
                  <a:lnTo>
                    <a:pt x="11" y="123"/>
                  </a:lnTo>
                  <a:lnTo>
                    <a:pt x="11" y="129"/>
                  </a:lnTo>
                  <a:lnTo>
                    <a:pt x="11" y="131"/>
                  </a:lnTo>
                  <a:lnTo>
                    <a:pt x="13" y="136"/>
                  </a:lnTo>
                  <a:lnTo>
                    <a:pt x="17" y="144"/>
                  </a:lnTo>
                  <a:lnTo>
                    <a:pt x="17" y="148"/>
                  </a:lnTo>
                  <a:lnTo>
                    <a:pt x="19" y="150"/>
                  </a:lnTo>
                  <a:lnTo>
                    <a:pt x="21" y="154"/>
                  </a:lnTo>
                  <a:lnTo>
                    <a:pt x="19" y="156"/>
                  </a:lnTo>
                  <a:lnTo>
                    <a:pt x="21" y="158"/>
                  </a:lnTo>
                  <a:lnTo>
                    <a:pt x="23" y="164"/>
                  </a:lnTo>
                  <a:lnTo>
                    <a:pt x="23" y="164"/>
                  </a:lnTo>
                  <a:lnTo>
                    <a:pt x="21" y="164"/>
                  </a:lnTo>
                  <a:lnTo>
                    <a:pt x="21" y="164"/>
                  </a:lnTo>
                  <a:lnTo>
                    <a:pt x="23" y="166"/>
                  </a:lnTo>
                  <a:lnTo>
                    <a:pt x="23" y="166"/>
                  </a:lnTo>
                  <a:lnTo>
                    <a:pt x="23" y="166"/>
                  </a:lnTo>
                  <a:lnTo>
                    <a:pt x="23" y="166"/>
                  </a:lnTo>
                  <a:lnTo>
                    <a:pt x="23" y="166"/>
                  </a:lnTo>
                  <a:lnTo>
                    <a:pt x="25" y="168"/>
                  </a:lnTo>
                  <a:lnTo>
                    <a:pt x="25" y="170"/>
                  </a:lnTo>
                  <a:lnTo>
                    <a:pt x="27" y="172"/>
                  </a:lnTo>
                  <a:lnTo>
                    <a:pt x="27" y="174"/>
                  </a:lnTo>
                  <a:lnTo>
                    <a:pt x="29" y="177"/>
                  </a:lnTo>
                  <a:lnTo>
                    <a:pt x="29" y="179"/>
                  </a:lnTo>
                  <a:lnTo>
                    <a:pt x="31" y="183"/>
                  </a:lnTo>
                  <a:lnTo>
                    <a:pt x="31" y="185"/>
                  </a:lnTo>
                  <a:lnTo>
                    <a:pt x="33" y="187"/>
                  </a:lnTo>
                  <a:lnTo>
                    <a:pt x="33" y="187"/>
                  </a:lnTo>
                  <a:lnTo>
                    <a:pt x="33" y="187"/>
                  </a:lnTo>
                  <a:lnTo>
                    <a:pt x="33" y="187"/>
                  </a:lnTo>
                  <a:lnTo>
                    <a:pt x="33" y="189"/>
                  </a:lnTo>
                  <a:lnTo>
                    <a:pt x="33" y="189"/>
                  </a:lnTo>
                  <a:lnTo>
                    <a:pt x="33" y="191"/>
                  </a:lnTo>
                  <a:lnTo>
                    <a:pt x="33" y="193"/>
                  </a:lnTo>
                  <a:lnTo>
                    <a:pt x="33" y="195"/>
                  </a:lnTo>
                  <a:lnTo>
                    <a:pt x="33" y="197"/>
                  </a:lnTo>
                  <a:lnTo>
                    <a:pt x="33" y="197"/>
                  </a:lnTo>
                  <a:lnTo>
                    <a:pt x="33" y="203"/>
                  </a:lnTo>
                  <a:lnTo>
                    <a:pt x="33" y="205"/>
                  </a:lnTo>
                  <a:lnTo>
                    <a:pt x="33" y="205"/>
                  </a:lnTo>
                  <a:lnTo>
                    <a:pt x="33" y="207"/>
                  </a:lnTo>
                  <a:lnTo>
                    <a:pt x="33" y="207"/>
                  </a:lnTo>
                  <a:lnTo>
                    <a:pt x="35" y="209"/>
                  </a:lnTo>
                  <a:lnTo>
                    <a:pt x="35" y="222"/>
                  </a:lnTo>
                  <a:lnTo>
                    <a:pt x="35" y="224"/>
                  </a:lnTo>
                  <a:lnTo>
                    <a:pt x="35" y="230"/>
                  </a:lnTo>
                  <a:lnTo>
                    <a:pt x="35" y="232"/>
                  </a:lnTo>
                  <a:lnTo>
                    <a:pt x="35" y="232"/>
                  </a:lnTo>
                  <a:lnTo>
                    <a:pt x="35" y="232"/>
                  </a:lnTo>
                  <a:lnTo>
                    <a:pt x="35" y="234"/>
                  </a:lnTo>
                  <a:lnTo>
                    <a:pt x="35" y="236"/>
                  </a:lnTo>
                  <a:lnTo>
                    <a:pt x="37" y="240"/>
                  </a:lnTo>
                  <a:lnTo>
                    <a:pt x="37" y="242"/>
                  </a:lnTo>
                  <a:lnTo>
                    <a:pt x="37" y="248"/>
                  </a:lnTo>
                  <a:lnTo>
                    <a:pt x="37" y="250"/>
                  </a:lnTo>
                  <a:lnTo>
                    <a:pt x="37" y="250"/>
                  </a:lnTo>
                  <a:lnTo>
                    <a:pt x="39" y="252"/>
                  </a:lnTo>
                  <a:lnTo>
                    <a:pt x="39" y="252"/>
                  </a:lnTo>
                  <a:lnTo>
                    <a:pt x="39" y="254"/>
                  </a:lnTo>
                  <a:lnTo>
                    <a:pt x="39" y="254"/>
                  </a:lnTo>
                  <a:lnTo>
                    <a:pt x="39" y="254"/>
                  </a:lnTo>
                  <a:lnTo>
                    <a:pt x="39" y="254"/>
                  </a:lnTo>
                  <a:lnTo>
                    <a:pt x="41" y="254"/>
                  </a:lnTo>
                  <a:lnTo>
                    <a:pt x="41" y="254"/>
                  </a:lnTo>
                  <a:lnTo>
                    <a:pt x="41" y="256"/>
                  </a:lnTo>
                  <a:lnTo>
                    <a:pt x="41" y="256"/>
                  </a:lnTo>
                  <a:lnTo>
                    <a:pt x="41" y="256"/>
                  </a:lnTo>
                  <a:lnTo>
                    <a:pt x="41" y="256"/>
                  </a:lnTo>
                  <a:lnTo>
                    <a:pt x="41" y="258"/>
                  </a:lnTo>
                  <a:lnTo>
                    <a:pt x="41" y="261"/>
                  </a:lnTo>
                  <a:lnTo>
                    <a:pt x="39" y="261"/>
                  </a:lnTo>
                  <a:lnTo>
                    <a:pt x="41" y="265"/>
                  </a:lnTo>
                  <a:lnTo>
                    <a:pt x="39" y="267"/>
                  </a:lnTo>
                  <a:lnTo>
                    <a:pt x="39" y="267"/>
                  </a:lnTo>
                  <a:lnTo>
                    <a:pt x="39" y="269"/>
                  </a:lnTo>
                  <a:lnTo>
                    <a:pt x="39" y="269"/>
                  </a:lnTo>
                  <a:lnTo>
                    <a:pt x="39" y="271"/>
                  </a:lnTo>
                  <a:lnTo>
                    <a:pt x="41" y="275"/>
                  </a:lnTo>
                  <a:lnTo>
                    <a:pt x="41" y="277"/>
                  </a:lnTo>
                  <a:lnTo>
                    <a:pt x="41" y="279"/>
                  </a:lnTo>
                  <a:lnTo>
                    <a:pt x="39" y="283"/>
                  </a:lnTo>
                  <a:lnTo>
                    <a:pt x="39" y="285"/>
                  </a:lnTo>
                  <a:lnTo>
                    <a:pt x="41" y="287"/>
                  </a:lnTo>
                  <a:lnTo>
                    <a:pt x="43" y="289"/>
                  </a:lnTo>
                  <a:lnTo>
                    <a:pt x="43" y="291"/>
                  </a:lnTo>
                  <a:lnTo>
                    <a:pt x="45" y="295"/>
                  </a:lnTo>
                  <a:lnTo>
                    <a:pt x="45" y="297"/>
                  </a:lnTo>
                  <a:lnTo>
                    <a:pt x="45" y="299"/>
                  </a:lnTo>
                  <a:lnTo>
                    <a:pt x="45" y="302"/>
                  </a:lnTo>
                  <a:lnTo>
                    <a:pt x="45" y="302"/>
                  </a:lnTo>
                  <a:lnTo>
                    <a:pt x="47" y="304"/>
                  </a:lnTo>
                  <a:lnTo>
                    <a:pt x="47" y="304"/>
                  </a:lnTo>
                  <a:lnTo>
                    <a:pt x="47" y="304"/>
                  </a:lnTo>
                  <a:lnTo>
                    <a:pt x="47" y="306"/>
                  </a:lnTo>
                  <a:lnTo>
                    <a:pt x="47" y="308"/>
                  </a:lnTo>
                  <a:lnTo>
                    <a:pt x="52" y="314"/>
                  </a:lnTo>
                  <a:lnTo>
                    <a:pt x="56" y="316"/>
                  </a:lnTo>
                  <a:lnTo>
                    <a:pt x="56" y="318"/>
                  </a:lnTo>
                  <a:lnTo>
                    <a:pt x="58" y="320"/>
                  </a:lnTo>
                  <a:lnTo>
                    <a:pt x="58" y="326"/>
                  </a:lnTo>
                  <a:lnTo>
                    <a:pt x="58" y="328"/>
                  </a:lnTo>
                  <a:lnTo>
                    <a:pt x="58" y="330"/>
                  </a:lnTo>
                  <a:lnTo>
                    <a:pt x="58" y="330"/>
                  </a:lnTo>
                  <a:lnTo>
                    <a:pt x="60" y="334"/>
                  </a:lnTo>
                  <a:lnTo>
                    <a:pt x="60" y="334"/>
                  </a:lnTo>
                  <a:lnTo>
                    <a:pt x="60" y="334"/>
                  </a:lnTo>
                  <a:lnTo>
                    <a:pt x="60" y="336"/>
                  </a:lnTo>
                  <a:lnTo>
                    <a:pt x="60" y="336"/>
                  </a:lnTo>
                  <a:lnTo>
                    <a:pt x="60" y="340"/>
                  </a:lnTo>
                  <a:lnTo>
                    <a:pt x="60" y="343"/>
                  </a:lnTo>
                  <a:lnTo>
                    <a:pt x="60" y="345"/>
                  </a:lnTo>
                  <a:lnTo>
                    <a:pt x="60" y="347"/>
                  </a:lnTo>
                  <a:lnTo>
                    <a:pt x="60" y="351"/>
                  </a:lnTo>
                  <a:lnTo>
                    <a:pt x="62" y="357"/>
                  </a:lnTo>
                  <a:lnTo>
                    <a:pt x="60" y="359"/>
                  </a:lnTo>
                  <a:lnTo>
                    <a:pt x="60" y="359"/>
                  </a:lnTo>
                  <a:lnTo>
                    <a:pt x="60" y="359"/>
                  </a:lnTo>
                  <a:lnTo>
                    <a:pt x="60" y="361"/>
                  </a:lnTo>
                  <a:lnTo>
                    <a:pt x="60" y="367"/>
                  </a:lnTo>
                  <a:lnTo>
                    <a:pt x="60" y="369"/>
                  </a:lnTo>
                  <a:lnTo>
                    <a:pt x="58" y="371"/>
                  </a:lnTo>
                  <a:lnTo>
                    <a:pt x="56" y="375"/>
                  </a:lnTo>
                  <a:lnTo>
                    <a:pt x="56" y="377"/>
                  </a:lnTo>
                  <a:lnTo>
                    <a:pt x="54" y="377"/>
                  </a:lnTo>
                  <a:lnTo>
                    <a:pt x="54" y="377"/>
                  </a:lnTo>
                  <a:lnTo>
                    <a:pt x="52" y="379"/>
                  </a:lnTo>
                  <a:lnTo>
                    <a:pt x="45" y="384"/>
                  </a:lnTo>
                  <a:lnTo>
                    <a:pt x="45" y="384"/>
                  </a:lnTo>
                  <a:lnTo>
                    <a:pt x="43" y="386"/>
                  </a:lnTo>
                  <a:lnTo>
                    <a:pt x="41" y="388"/>
                  </a:lnTo>
                  <a:lnTo>
                    <a:pt x="39" y="390"/>
                  </a:lnTo>
                  <a:lnTo>
                    <a:pt x="39" y="390"/>
                  </a:lnTo>
                  <a:lnTo>
                    <a:pt x="39" y="392"/>
                  </a:lnTo>
                  <a:lnTo>
                    <a:pt x="37" y="394"/>
                  </a:lnTo>
                  <a:lnTo>
                    <a:pt x="39" y="396"/>
                  </a:lnTo>
                  <a:lnTo>
                    <a:pt x="43" y="400"/>
                  </a:lnTo>
                  <a:lnTo>
                    <a:pt x="45" y="402"/>
                  </a:lnTo>
                  <a:lnTo>
                    <a:pt x="49" y="408"/>
                  </a:lnTo>
                  <a:lnTo>
                    <a:pt x="52" y="412"/>
                  </a:lnTo>
                  <a:lnTo>
                    <a:pt x="52" y="414"/>
                  </a:lnTo>
                  <a:lnTo>
                    <a:pt x="58" y="414"/>
                  </a:lnTo>
                  <a:lnTo>
                    <a:pt x="62" y="414"/>
                  </a:lnTo>
                  <a:lnTo>
                    <a:pt x="64" y="416"/>
                  </a:lnTo>
                  <a:lnTo>
                    <a:pt x="66" y="416"/>
                  </a:lnTo>
                  <a:lnTo>
                    <a:pt x="68" y="418"/>
                  </a:lnTo>
                  <a:lnTo>
                    <a:pt x="68" y="418"/>
                  </a:lnTo>
                  <a:lnTo>
                    <a:pt x="70" y="422"/>
                  </a:lnTo>
                  <a:lnTo>
                    <a:pt x="70" y="424"/>
                  </a:lnTo>
                  <a:lnTo>
                    <a:pt x="72" y="424"/>
                  </a:lnTo>
                  <a:lnTo>
                    <a:pt x="72" y="424"/>
                  </a:lnTo>
                  <a:lnTo>
                    <a:pt x="72" y="429"/>
                  </a:lnTo>
                  <a:lnTo>
                    <a:pt x="72" y="451"/>
                  </a:lnTo>
                  <a:lnTo>
                    <a:pt x="72" y="474"/>
                  </a:lnTo>
                  <a:lnTo>
                    <a:pt x="74" y="498"/>
                  </a:lnTo>
                  <a:lnTo>
                    <a:pt x="74" y="521"/>
                  </a:lnTo>
                  <a:lnTo>
                    <a:pt x="74" y="543"/>
                  </a:lnTo>
                  <a:lnTo>
                    <a:pt x="76" y="566"/>
                  </a:lnTo>
                  <a:lnTo>
                    <a:pt x="76" y="590"/>
                  </a:lnTo>
                  <a:lnTo>
                    <a:pt x="78" y="613"/>
                  </a:lnTo>
                  <a:lnTo>
                    <a:pt x="103" y="613"/>
                  </a:lnTo>
                  <a:lnTo>
                    <a:pt x="129" y="611"/>
                  </a:lnTo>
                  <a:lnTo>
                    <a:pt x="156" y="611"/>
                  </a:lnTo>
                  <a:lnTo>
                    <a:pt x="183" y="609"/>
                  </a:lnTo>
                  <a:lnTo>
                    <a:pt x="207" y="607"/>
                  </a:lnTo>
                  <a:lnTo>
                    <a:pt x="234" y="607"/>
                  </a:lnTo>
                  <a:lnTo>
                    <a:pt x="260" y="605"/>
                  </a:lnTo>
                  <a:lnTo>
                    <a:pt x="287" y="603"/>
                  </a:lnTo>
                  <a:lnTo>
                    <a:pt x="312" y="603"/>
                  </a:lnTo>
                  <a:lnTo>
                    <a:pt x="338" y="601"/>
                  </a:lnTo>
                  <a:lnTo>
                    <a:pt x="365" y="599"/>
                  </a:lnTo>
                  <a:lnTo>
                    <a:pt x="392" y="597"/>
                  </a:lnTo>
                  <a:lnTo>
                    <a:pt x="416" y="595"/>
                  </a:lnTo>
                  <a:lnTo>
                    <a:pt x="443" y="595"/>
                  </a:lnTo>
                  <a:lnTo>
                    <a:pt x="469" y="593"/>
                  </a:lnTo>
                  <a:lnTo>
                    <a:pt x="496" y="590"/>
                  </a:lnTo>
                  <a:lnTo>
                    <a:pt x="496" y="586"/>
                  </a:lnTo>
                  <a:lnTo>
                    <a:pt x="496" y="586"/>
                  </a:lnTo>
                  <a:lnTo>
                    <a:pt x="496" y="584"/>
                  </a:lnTo>
                  <a:lnTo>
                    <a:pt x="494" y="582"/>
                  </a:lnTo>
                  <a:lnTo>
                    <a:pt x="494" y="580"/>
                  </a:lnTo>
                  <a:lnTo>
                    <a:pt x="494" y="576"/>
                  </a:lnTo>
                  <a:lnTo>
                    <a:pt x="494" y="576"/>
                  </a:lnTo>
                  <a:lnTo>
                    <a:pt x="494" y="574"/>
                  </a:lnTo>
                  <a:lnTo>
                    <a:pt x="494" y="572"/>
                  </a:lnTo>
                  <a:lnTo>
                    <a:pt x="494" y="566"/>
                  </a:lnTo>
                  <a:lnTo>
                    <a:pt x="494" y="564"/>
                  </a:lnTo>
                  <a:lnTo>
                    <a:pt x="494" y="562"/>
                  </a:lnTo>
                  <a:lnTo>
                    <a:pt x="494" y="562"/>
                  </a:lnTo>
                  <a:lnTo>
                    <a:pt x="492" y="560"/>
                  </a:lnTo>
                  <a:lnTo>
                    <a:pt x="492" y="560"/>
                  </a:lnTo>
                  <a:lnTo>
                    <a:pt x="490" y="560"/>
                  </a:lnTo>
                  <a:lnTo>
                    <a:pt x="490" y="558"/>
                  </a:lnTo>
                  <a:lnTo>
                    <a:pt x="490" y="558"/>
                  </a:lnTo>
                  <a:lnTo>
                    <a:pt x="490" y="556"/>
                  </a:lnTo>
                  <a:lnTo>
                    <a:pt x="490" y="554"/>
                  </a:lnTo>
                  <a:lnTo>
                    <a:pt x="490" y="552"/>
                  </a:lnTo>
                  <a:lnTo>
                    <a:pt x="490" y="547"/>
                  </a:lnTo>
                  <a:lnTo>
                    <a:pt x="488" y="547"/>
                  </a:lnTo>
                  <a:lnTo>
                    <a:pt x="488" y="545"/>
                  </a:lnTo>
                  <a:lnTo>
                    <a:pt x="488" y="545"/>
                  </a:lnTo>
                  <a:lnTo>
                    <a:pt x="486" y="545"/>
                  </a:lnTo>
                  <a:lnTo>
                    <a:pt x="482" y="543"/>
                  </a:lnTo>
                  <a:lnTo>
                    <a:pt x="482" y="543"/>
                  </a:lnTo>
                  <a:lnTo>
                    <a:pt x="480" y="541"/>
                  </a:lnTo>
                  <a:lnTo>
                    <a:pt x="480" y="539"/>
                  </a:lnTo>
                  <a:lnTo>
                    <a:pt x="480" y="537"/>
                  </a:lnTo>
                  <a:lnTo>
                    <a:pt x="480" y="537"/>
                  </a:lnTo>
                  <a:lnTo>
                    <a:pt x="478" y="537"/>
                  </a:lnTo>
                  <a:lnTo>
                    <a:pt x="478" y="537"/>
                  </a:lnTo>
                  <a:lnTo>
                    <a:pt x="478" y="535"/>
                  </a:lnTo>
                  <a:lnTo>
                    <a:pt x="473" y="535"/>
                  </a:lnTo>
                  <a:lnTo>
                    <a:pt x="473" y="535"/>
                  </a:lnTo>
                  <a:lnTo>
                    <a:pt x="473" y="535"/>
                  </a:lnTo>
                  <a:lnTo>
                    <a:pt x="467" y="533"/>
                  </a:lnTo>
                  <a:lnTo>
                    <a:pt x="467" y="533"/>
                  </a:lnTo>
                  <a:lnTo>
                    <a:pt x="459" y="533"/>
                  </a:lnTo>
                  <a:lnTo>
                    <a:pt x="459" y="533"/>
                  </a:lnTo>
                  <a:lnTo>
                    <a:pt x="457" y="533"/>
                  </a:lnTo>
                  <a:lnTo>
                    <a:pt x="447" y="525"/>
                  </a:lnTo>
                  <a:lnTo>
                    <a:pt x="445" y="523"/>
                  </a:lnTo>
                  <a:lnTo>
                    <a:pt x="443" y="521"/>
                  </a:lnTo>
                  <a:lnTo>
                    <a:pt x="437" y="511"/>
                  </a:lnTo>
                  <a:lnTo>
                    <a:pt x="432" y="506"/>
                  </a:lnTo>
                  <a:lnTo>
                    <a:pt x="420" y="496"/>
                  </a:lnTo>
                  <a:lnTo>
                    <a:pt x="416" y="496"/>
                  </a:lnTo>
                  <a:lnTo>
                    <a:pt x="406" y="494"/>
                  </a:lnTo>
                  <a:lnTo>
                    <a:pt x="406" y="494"/>
                  </a:lnTo>
                  <a:lnTo>
                    <a:pt x="404" y="494"/>
                  </a:lnTo>
                  <a:lnTo>
                    <a:pt x="404" y="492"/>
                  </a:lnTo>
                  <a:lnTo>
                    <a:pt x="402" y="488"/>
                  </a:lnTo>
                  <a:lnTo>
                    <a:pt x="398" y="486"/>
                  </a:lnTo>
                  <a:lnTo>
                    <a:pt x="396" y="484"/>
                  </a:lnTo>
                  <a:lnTo>
                    <a:pt x="394" y="482"/>
                  </a:lnTo>
                  <a:lnTo>
                    <a:pt x="381" y="482"/>
                  </a:lnTo>
                  <a:lnTo>
                    <a:pt x="377" y="480"/>
                  </a:lnTo>
                  <a:lnTo>
                    <a:pt x="377" y="480"/>
                  </a:lnTo>
                  <a:lnTo>
                    <a:pt x="375" y="478"/>
                  </a:lnTo>
                  <a:lnTo>
                    <a:pt x="375" y="478"/>
                  </a:lnTo>
                  <a:lnTo>
                    <a:pt x="373" y="476"/>
                  </a:lnTo>
                  <a:lnTo>
                    <a:pt x="367" y="472"/>
                  </a:lnTo>
                  <a:lnTo>
                    <a:pt x="363" y="470"/>
                  </a:lnTo>
                  <a:lnTo>
                    <a:pt x="361" y="468"/>
                  </a:lnTo>
                  <a:lnTo>
                    <a:pt x="363" y="459"/>
                  </a:lnTo>
                  <a:lnTo>
                    <a:pt x="363" y="457"/>
                  </a:lnTo>
                  <a:lnTo>
                    <a:pt x="363" y="455"/>
                  </a:lnTo>
                  <a:lnTo>
                    <a:pt x="363" y="453"/>
                  </a:lnTo>
                  <a:lnTo>
                    <a:pt x="363" y="451"/>
                  </a:lnTo>
                  <a:lnTo>
                    <a:pt x="365" y="449"/>
                  </a:lnTo>
                  <a:lnTo>
                    <a:pt x="365" y="449"/>
                  </a:lnTo>
                  <a:lnTo>
                    <a:pt x="363" y="445"/>
                  </a:lnTo>
                  <a:lnTo>
                    <a:pt x="363" y="441"/>
                  </a:lnTo>
                  <a:lnTo>
                    <a:pt x="361" y="435"/>
                  </a:lnTo>
                  <a:lnTo>
                    <a:pt x="361" y="433"/>
                  </a:lnTo>
                  <a:lnTo>
                    <a:pt x="361" y="433"/>
                  </a:lnTo>
                  <a:lnTo>
                    <a:pt x="363" y="431"/>
                  </a:lnTo>
                  <a:lnTo>
                    <a:pt x="363" y="431"/>
                  </a:lnTo>
                  <a:lnTo>
                    <a:pt x="363" y="429"/>
                  </a:lnTo>
                  <a:lnTo>
                    <a:pt x="363" y="427"/>
                  </a:lnTo>
                  <a:lnTo>
                    <a:pt x="361" y="422"/>
                  </a:lnTo>
                  <a:lnTo>
                    <a:pt x="361" y="422"/>
                  </a:lnTo>
                  <a:lnTo>
                    <a:pt x="361" y="420"/>
                  </a:lnTo>
                  <a:lnTo>
                    <a:pt x="363" y="418"/>
                  </a:lnTo>
                  <a:lnTo>
                    <a:pt x="361" y="414"/>
                  </a:lnTo>
                  <a:lnTo>
                    <a:pt x="361" y="412"/>
                  </a:lnTo>
                  <a:lnTo>
                    <a:pt x="363" y="410"/>
                  </a:lnTo>
                  <a:lnTo>
                    <a:pt x="363" y="408"/>
                  </a:lnTo>
                  <a:lnTo>
                    <a:pt x="365" y="408"/>
                  </a:lnTo>
                  <a:lnTo>
                    <a:pt x="365" y="406"/>
                  </a:lnTo>
                  <a:lnTo>
                    <a:pt x="365" y="404"/>
                  </a:lnTo>
                  <a:lnTo>
                    <a:pt x="367" y="402"/>
                  </a:lnTo>
                  <a:lnTo>
                    <a:pt x="369" y="398"/>
                  </a:lnTo>
                  <a:lnTo>
                    <a:pt x="369" y="396"/>
                  </a:lnTo>
                  <a:lnTo>
                    <a:pt x="367" y="394"/>
                  </a:lnTo>
                  <a:lnTo>
                    <a:pt x="367" y="394"/>
                  </a:lnTo>
                  <a:lnTo>
                    <a:pt x="365" y="392"/>
                  </a:lnTo>
                  <a:lnTo>
                    <a:pt x="363" y="390"/>
                  </a:lnTo>
                  <a:lnTo>
                    <a:pt x="363" y="388"/>
                  </a:lnTo>
                  <a:lnTo>
                    <a:pt x="361" y="384"/>
                  </a:lnTo>
                  <a:lnTo>
                    <a:pt x="361" y="384"/>
                  </a:lnTo>
                  <a:lnTo>
                    <a:pt x="357" y="381"/>
                  </a:lnTo>
                  <a:lnTo>
                    <a:pt x="353" y="381"/>
                  </a:lnTo>
                  <a:lnTo>
                    <a:pt x="351" y="381"/>
                  </a:lnTo>
                  <a:lnTo>
                    <a:pt x="349" y="377"/>
                  </a:lnTo>
                  <a:lnTo>
                    <a:pt x="349" y="371"/>
                  </a:lnTo>
                  <a:lnTo>
                    <a:pt x="349" y="369"/>
                  </a:lnTo>
                  <a:lnTo>
                    <a:pt x="349" y="367"/>
                  </a:lnTo>
                  <a:lnTo>
                    <a:pt x="355" y="361"/>
                  </a:lnTo>
                  <a:lnTo>
                    <a:pt x="357" y="357"/>
                  </a:lnTo>
                  <a:lnTo>
                    <a:pt x="357" y="355"/>
                  </a:lnTo>
                  <a:lnTo>
                    <a:pt x="361" y="349"/>
                  </a:lnTo>
                  <a:lnTo>
                    <a:pt x="363" y="347"/>
                  </a:lnTo>
                  <a:lnTo>
                    <a:pt x="365" y="345"/>
                  </a:lnTo>
                  <a:lnTo>
                    <a:pt x="365" y="345"/>
                  </a:lnTo>
                  <a:lnTo>
                    <a:pt x="369" y="340"/>
                  </a:lnTo>
                  <a:lnTo>
                    <a:pt x="371" y="340"/>
                  </a:lnTo>
                  <a:lnTo>
                    <a:pt x="373" y="340"/>
                  </a:lnTo>
                  <a:lnTo>
                    <a:pt x="373" y="340"/>
                  </a:lnTo>
                  <a:lnTo>
                    <a:pt x="373" y="338"/>
                  </a:lnTo>
                  <a:lnTo>
                    <a:pt x="373" y="338"/>
                  </a:lnTo>
                  <a:lnTo>
                    <a:pt x="373" y="338"/>
                  </a:lnTo>
                  <a:lnTo>
                    <a:pt x="375" y="338"/>
                  </a:lnTo>
                  <a:lnTo>
                    <a:pt x="375" y="336"/>
                  </a:lnTo>
                  <a:lnTo>
                    <a:pt x="375" y="336"/>
                  </a:lnTo>
                  <a:lnTo>
                    <a:pt x="379" y="336"/>
                  </a:lnTo>
                  <a:lnTo>
                    <a:pt x="379" y="336"/>
                  </a:lnTo>
                  <a:lnTo>
                    <a:pt x="381" y="332"/>
                  </a:lnTo>
                  <a:lnTo>
                    <a:pt x="383" y="332"/>
                  </a:lnTo>
                  <a:lnTo>
                    <a:pt x="383" y="332"/>
                  </a:lnTo>
                  <a:lnTo>
                    <a:pt x="385" y="332"/>
                  </a:lnTo>
                  <a:lnTo>
                    <a:pt x="387" y="332"/>
                  </a:lnTo>
                  <a:lnTo>
                    <a:pt x="387" y="332"/>
                  </a:lnTo>
                  <a:lnTo>
                    <a:pt x="389" y="330"/>
                  </a:lnTo>
                  <a:lnTo>
                    <a:pt x="389" y="328"/>
                  </a:lnTo>
                  <a:lnTo>
                    <a:pt x="389" y="328"/>
                  </a:lnTo>
                  <a:lnTo>
                    <a:pt x="392" y="326"/>
                  </a:lnTo>
                  <a:lnTo>
                    <a:pt x="394" y="326"/>
                  </a:lnTo>
                  <a:lnTo>
                    <a:pt x="392" y="322"/>
                  </a:lnTo>
                  <a:lnTo>
                    <a:pt x="392" y="322"/>
                  </a:lnTo>
                  <a:lnTo>
                    <a:pt x="392" y="314"/>
                  </a:lnTo>
                  <a:lnTo>
                    <a:pt x="392" y="308"/>
                  </a:lnTo>
                  <a:lnTo>
                    <a:pt x="392" y="302"/>
                  </a:lnTo>
                  <a:lnTo>
                    <a:pt x="392" y="295"/>
                  </a:lnTo>
                  <a:lnTo>
                    <a:pt x="389" y="289"/>
                  </a:lnTo>
                  <a:lnTo>
                    <a:pt x="389" y="281"/>
                  </a:lnTo>
                  <a:lnTo>
                    <a:pt x="389" y="275"/>
                  </a:lnTo>
                  <a:lnTo>
                    <a:pt x="389" y="269"/>
                  </a:lnTo>
                  <a:lnTo>
                    <a:pt x="389" y="267"/>
                  </a:lnTo>
                  <a:lnTo>
                    <a:pt x="389" y="267"/>
                  </a:lnTo>
                  <a:lnTo>
                    <a:pt x="389" y="267"/>
                  </a:lnTo>
                  <a:lnTo>
                    <a:pt x="389" y="267"/>
                  </a:lnTo>
                  <a:lnTo>
                    <a:pt x="392" y="267"/>
                  </a:lnTo>
                  <a:lnTo>
                    <a:pt x="394" y="267"/>
                  </a:lnTo>
                  <a:lnTo>
                    <a:pt x="394" y="267"/>
                  </a:lnTo>
                  <a:lnTo>
                    <a:pt x="394" y="265"/>
                  </a:lnTo>
                  <a:lnTo>
                    <a:pt x="396" y="265"/>
                  </a:lnTo>
                  <a:lnTo>
                    <a:pt x="396" y="265"/>
                  </a:lnTo>
                  <a:lnTo>
                    <a:pt x="396" y="265"/>
                  </a:lnTo>
                  <a:lnTo>
                    <a:pt x="396" y="263"/>
                  </a:lnTo>
                  <a:lnTo>
                    <a:pt x="396" y="261"/>
                  </a:lnTo>
                  <a:lnTo>
                    <a:pt x="396" y="261"/>
                  </a:lnTo>
                  <a:lnTo>
                    <a:pt x="396" y="261"/>
                  </a:lnTo>
                  <a:lnTo>
                    <a:pt x="396" y="261"/>
                  </a:lnTo>
                  <a:lnTo>
                    <a:pt x="398" y="258"/>
                  </a:lnTo>
                  <a:lnTo>
                    <a:pt x="398" y="258"/>
                  </a:lnTo>
                  <a:lnTo>
                    <a:pt x="398" y="258"/>
                  </a:lnTo>
                  <a:lnTo>
                    <a:pt x="398" y="258"/>
                  </a:lnTo>
                  <a:lnTo>
                    <a:pt x="400" y="256"/>
                  </a:lnTo>
                  <a:lnTo>
                    <a:pt x="400" y="256"/>
                  </a:lnTo>
                  <a:lnTo>
                    <a:pt x="402" y="254"/>
                  </a:lnTo>
                  <a:lnTo>
                    <a:pt x="402" y="254"/>
                  </a:lnTo>
                  <a:lnTo>
                    <a:pt x="402" y="254"/>
                  </a:lnTo>
                  <a:lnTo>
                    <a:pt x="402" y="250"/>
                  </a:lnTo>
                  <a:lnTo>
                    <a:pt x="406" y="246"/>
                  </a:lnTo>
                  <a:lnTo>
                    <a:pt x="412" y="242"/>
                  </a:lnTo>
                  <a:lnTo>
                    <a:pt x="418" y="238"/>
                  </a:lnTo>
                  <a:lnTo>
                    <a:pt x="420" y="238"/>
                  </a:lnTo>
                  <a:lnTo>
                    <a:pt x="424" y="234"/>
                  </a:lnTo>
                  <a:lnTo>
                    <a:pt x="428" y="230"/>
                  </a:lnTo>
                  <a:lnTo>
                    <a:pt x="430" y="228"/>
                  </a:lnTo>
                  <a:lnTo>
                    <a:pt x="435" y="224"/>
                  </a:lnTo>
                  <a:lnTo>
                    <a:pt x="435" y="224"/>
                  </a:lnTo>
                  <a:lnTo>
                    <a:pt x="437" y="222"/>
                  </a:lnTo>
                  <a:lnTo>
                    <a:pt x="437" y="222"/>
                  </a:lnTo>
                  <a:lnTo>
                    <a:pt x="437" y="222"/>
                  </a:lnTo>
                  <a:lnTo>
                    <a:pt x="439" y="220"/>
                  </a:lnTo>
                  <a:lnTo>
                    <a:pt x="439" y="220"/>
                  </a:lnTo>
                  <a:lnTo>
                    <a:pt x="439" y="220"/>
                  </a:lnTo>
                  <a:lnTo>
                    <a:pt x="441" y="218"/>
                  </a:lnTo>
                  <a:lnTo>
                    <a:pt x="445" y="213"/>
                  </a:lnTo>
                  <a:lnTo>
                    <a:pt x="480" y="172"/>
                  </a:lnTo>
                  <a:lnTo>
                    <a:pt x="486" y="170"/>
                  </a:lnTo>
                  <a:lnTo>
                    <a:pt x="496" y="158"/>
                  </a:lnTo>
                  <a:lnTo>
                    <a:pt x="514" y="148"/>
                  </a:lnTo>
                  <a:lnTo>
                    <a:pt x="525" y="144"/>
                  </a:lnTo>
                  <a:lnTo>
                    <a:pt x="529" y="142"/>
                  </a:lnTo>
                  <a:lnTo>
                    <a:pt x="531" y="142"/>
                  </a:lnTo>
                  <a:lnTo>
                    <a:pt x="533" y="140"/>
                  </a:lnTo>
                  <a:lnTo>
                    <a:pt x="549" y="133"/>
                  </a:lnTo>
                  <a:lnTo>
                    <a:pt x="574" y="119"/>
                  </a:lnTo>
                  <a:lnTo>
                    <a:pt x="574" y="119"/>
                  </a:lnTo>
                  <a:lnTo>
                    <a:pt x="576" y="115"/>
                  </a:lnTo>
                  <a:lnTo>
                    <a:pt x="578" y="115"/>
                  </a:lnTo>
                  <a:lnTo>
                    <a:pt x="580" y="113"/>
                  </a:lnTo>
                  <a:lnTo>
                    <a:pt x="580" y="111"/>
                  </a:lnTo>
                  <a:lnTo>
                    <a:pt x="584" y="113"/>
                  </a:lnTo>
                  <a:lnTo>
                    <a:pt x="584" y="113"/>
                  </a:lnTo>
                  <a:lnTo>
                    <a:pt x="584" y="111"/>
                  </a:lnTo>
                  <a:lnTo>
                    <a:pt x="584" y="111"/>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240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N</a:t>
              </a:r>
            </a:p>
          </p:txBody>
        </p:sp>
        <p:sp>
          <p:nvSpPr>
            <p:cNvPr id="111" name="Freeform 33">
              <a:extLst>
                <a:ext uri="{FF2B5EF4-FFF2-40B4-BE49-F238E27FC236}">
                  <a16:creationId xmlns:a16="http://schemas.microsoft.com/office/drawing/2014/main" id="{629EA473-8035-2E87-D39F-E64962AB0769}"/>
                </a:ext>
              </a:extLst>
            </p:cNvPr>
            <p:cNvSpPr>
              <a:spLocks noEditPoints="1"/>
            </p:cNvSpPr>
            <p:nvPr/>
          </p:nvSpPr>
          <p:spPr bwMode="auto">
            <a:xfrm>
              <a:off x="3472" y="217"/>
              <a:ext cx="674" cy="654"/>
            </a:xfrm>
            <a:custGeom>
              <a:avLst/>
              <a:gdLst>
                <a:gd name="T0" fmla="*/ 541 w 674"/>
                <a:gd name="T1" fmla="*/ 179 h 654"/>
                <a:gd name="T2" fmla="*/ 516 w 674"/>
                <a:gd name="T3" fmla="*/ 179 h 654"/>
                <a:gd name="T4" fmla="*/ 477 w 674"/>
                <a:gd name="T5" fmla="*/ 138 h 654"/>
                <a:gd name="T6" fmla="*/ 485 w 674"/>
                <a:gd name="T7" fmla="*/ 129 h 654"/>
                <a:gd name="T8" fmla="*/ 395 w 674"/>
                <a:gd name="T9" fmla="*/ 187 h 654"/>
                <a:gd name="T10" fmla="*/ 446 w 674"/>
                <a:gd name="T11" fmla="*/ 195 h 654"/>
                <a:gd name="T12" fmla="*/ 475 w 674"/>
                <a:gd name="T13" fmla="*/ 185 h 654"/>
                <a:gd name="T14" fmla="*/ 496 w 674"/>
                <a:gd name="T15" fmla="*/ 170 h 654"/>
                <a:gd name="T16" fmla="*/ 479 w 674"/>
                <a:gd name="T17" fmla="*/ 144 h 654"/>
                <a:gd name="T18" fmla="*/ 420 w 674"/>
                <a:gd name="T19" fmla="*/ 140 h 654"/>
                <a:gd name="T20" fmla="*/ 332 w 674"/>
                <a:gd name="T21" fmla="*/ 134 h 654"/>
                <a:gd name="T22" fmla="*/ 270 w 674"/>
                <a:gd name="T23" fmla="*/ 160 h 654"/>
                <a:gd name="T24" fmla="*/ 225 w 674"/>
                <a:gd name="T25" fmla="*/ 150 h 654"/>
                <a:gd name="T26" fmla="*/ 172 w 674"/>
                <a:gd name="T27" fmla="*/ 125 h 654"/>
                <a:gd name="T28" fmla="*/ 147 w 674"/>
                <a:gd name="T29" fmla="*/ 144 h 654"/>
                <a:gd name="T30" fmla="*/ 141 w 674"/>
                <a:gd name="T31" fmla="*/ 111 h 654"/>
                <a:gd name="T32" fmla="*/ 76 w 674"/>
                <a:gd name="T33" fmla="*/ 142 h 654"/>
                <a:gd name="T34" fmla="*/ 10 w 674"/>
                <a:gd name="T35" fmla="*/ 185 h 654"/>
                <a:gd name="T36" fmla="*/ 98 w 674"/>
                <a:gd name="T37" fmla="*/ 213 h 654"/>
                <a:gd name="T38" fmla="*/ 145 w 674"/>
                <a:gd name="T39" fmla="*/ 224 h 654"/>
                <a:gd name="T40" fmla="*/ 172 w 674"/>
                <a:gd name="T41" fmla="*/ 226 h 654"/>
                <a:gd name="T42" fmla="*/ 190 w 674"/>
                <a:gd name="T43" fmla="*/ 244 h 654"/>
                <a:gd name="T44" fmla="*/ 211 w 674"/>
                <a:gd name="T45" fmla="*/ 254 h 654"/>
                <a:gd name="T46" fmla="*/ 209 w 674"/>
                <a:gd name="T47" fmla="*/ 281 h 654"/>
                <a:gd name="T48" fmla="*/ 223 w 674"/>
                <a:gd name="T49" fmla="*/ 293 h 654"/>
                <a:gd name="T50" fmla="*/ 262 w 674"/>
                <a:gd name="T51" fmla="*/ 246 h 654"/>
                <a:gd name="T52" fmla="*/ 276 w 674"/>
                <a:gd name="T53" fmla="*/ 242 h 654"/>
                <a:gd name="T54" fmla="*/ 307 w 674"/>
                <a:gd name="T55" fmla="*/ 222 h 654"/>
                <a:gd name="T56" fmla="*/ 303 w 674"/>
                <a:gd name="T57" fmla="*/ 248 h 654"/>
                <a:gd name="T58" fmla="*/ 321 w 674"/>
                <a:gd name="T59" fmla="*/ 226 h 654"/>
                <a:gd name="T60" fmla="*/ 293 w 674"/>
                <a:gd name="T61" fmla="*/ 156 h 654"/>
                <a:gd name="T62" fmla="*/ 145 w 674"/>
                <a:gd name="T63" fmla="*/ 105 h 654"/>
                <a:gd name="T64" fmla="*/ 162 w 674"/>
                <a:gd name="T65" fmla="*/ 99 h 654"/>
                <a:gd name="T66" fmla="*/ 199 w 674"/>
                <a:gd name="T67" fmla="*/ 72 h 654"/>
                <a:gd name="T68" fmla="*/ 80 w 674"/>
                <a:gd name="T69" fmla="*/ 35 h 654"/>
                <a:gd name="T70" fmla="*/ 133 w 674"/>
                <a:gd name="T71" fmla="*/ 0 h 654"/>
                <a:gd name="T72" fmla="*/ 352 w 674"/>
                <a:gd name="T73" fmla="*/ 302 h 654"/>
                <a:gd name="T74" fmla="*/ 471 w 674"/>
                <a:gd name="T75" fmla="*/ 185 h 654"/>
                <a:gd name="T76" fmla="*/ 674 w 674"/>
                <a:gd name="T77" fmla="*/ 478 h 654"/>
                <a:gd name="T78" fmla="*/ 600 w 674"/>
                <a:gd name="T79" fmla="*/ 379 h 654"/>
                <a:gd name="T80" fmla="*/ 563 w 674"/>
                <a:gd name="T81" fmla="*/ 427 h 654"/>
                <a:gd name="T82" fmla="*/ 555 w 674"/>
                <a:gd name="T83" fmla="*/ 386 h 654"/>
                <a:gd name="T84" fmla="*/ 577 w 674"/>
                <a:gd name="T85" fmla="*/ 347 h 654"/>
                <a:gd name="T86" fmla="*/ 561 w 674"/>
                <a:gd name="T87" fmla="*/ 279 h 654"/>
                <a:gd name="T88" fmla="*/ 569 w 674"/>
                <a:gd name="T89" fmla="*/ 263 h 654"/>
                <a:gd name="T90" fmla="*/ 522 w 674"/>
                <a:gd name="T91" fmla="*/ 238 h 654"/>
                <a:gd name="T92" fmla="*/ 428 w 674"/>
                <a:gd name="T93" fmla="*/ 215 h 654"/>
                <a:gd name="T94" fmla="*/ 407 w 674"/>
                <a:gd name="T95" fmla="*/ 300 h 654"/>
                <a:gd name="T96" fmla="*/ 397 w 674"/>
                <a:gd name="T97" fmla="*/ 308 h 654"/>
                <a:gd name="T98" fmla="*/ 393 w 674"/>
                <a:gd name="T99" fmla="*/ 295 h 654"/>
                <a:gd name="T100" fmla="*/ 366 w 674"/>
                <a:gd name="T101" fmla="*/ 308 h 654"/>
                <a:gd name="T102" fmla="*/ 344 w 674"/>
                <a:gd name="T103" fmla="*/ 338 h 654"/>
                <a:gd name="T104" fmla="*/ 342 w 674"/>
                <a:gd name="T105" fmla="*/ 433 h 654"/>
                <a:gd name="T106" fmla="*/ 369 w 674"/>
                <a:gd name="T107" fmla="*/ 517 h 654"/>
                <a:gd name="T108" fmla="*/ 420 w 674"/>
                <a:gd name="T109" fmla="*/ 644 h 654"/>
                <a:gd name="T110" fmla="*/ 596 w 674"/>
                <a:gd name="T111" fmla="*/ 621 h 654"/>
                <a:gd name="T112" fmla="*/ 629 w 674"/>
                <a:gd name="T113" fmla="*/ 586 h 654"/>
                <a:gd name="T114" fmla="*/ 647 w 674"/>
                <a:gd name="T115" fmla="*/ 535 h 654"/>
                <a:gd name="T116" fmla="*/ 663 w 674"/>
                <a:gd name="T117" fmla="*/ 517 h 654"/>
                <a:gd name="T118" fmla="*/ 391 w 674"/>
                <a:gd name="T119" fmla="*/ 215 h 654"/>
                <a:gd name="T120" fmla="*/ 475 w 674"/>
                <a:gd name="T121" fmla="*/ 207 h 654"/>
                <a:gd name="T122" fmla="*/ 391 w 674"/>
                <a:gd name="T123" fmla="*/ 226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4" h="654">
                  <a:moveTo>
                    <a:pt x="512" y="183"/>
                  </a:moveTo>
                  <a:lnTo>
                    <a:pt x="512" y="183"/>
                  </a:lnTo>
                  <a:lnTo>
                    <a:pt x="512" y="183"/>
                  </a:lnTo>
                  <a:lnTo>
                    <a:pt x="512" y="181"/>
                  </a:lnTo>
                  <a:lnTo>
                    <a:pt x="514" y="181"/>
                  </a:lnTo>
                  <a:lnTo>
                    <a:pt x="514" y="181"/>
                  </a:lnTo>
                  <a:lnTo>
                    <a:pt x="514" y="183"/>
                  </a:lnTo>
                  <a:lnTo>
                    <a:pt x="516" y="183"/>
                  </a:lnTo>
                  <a:lnTo>
                    <a:pt x="518" y="183"/>
                  </a:lnTo>
                  <a:lnTo>
                    <a:pt x="518" y="185"/>
                  </a:lnTo>
                  <a:lnTo>
                    <a:pt x="518" y="185"/>
                  </a:lnTo>
                  <a:lnTo>
                    <a:pt x="518" y="185"/>
                  </a:lnTo>
                  <a:lnTo>
                    <a:pt x="520" y="185"/>
                  </a:lnTo>
                  <a:lnTo>
                    <a:pt x="520" y="185"/>
                  </a:lnTo>
                  <a:lnTo>
                    <a:pt x="522" y="183"/>
                  </a:lnTo>
                  <a:lnTo>
                    <a:pt x="524" y="185"/>
                  </a:lnTo>
                  <a:lnTo>
                    <a:pt x="524" y="185"/>
                  </a:lnTo>
                  <a:lnTo>
                    <a:pt x="526" y="185"/>
                  </a:lnTo>
                  <a:lnTo>
                    <a:pt x="526" y="185"/>
                  </a:lnTo>
                  <a:lnTo>
                    <a:pt x="528" y="183"/>
                  </a:lnTo>
                  <a:lnTo>
                    <a:pt x="528" y="183"/>
                  </a:lnTo>
                  <a:lnTo>
                    <a:pt x="532" y="183"/>
                  </a:lnTo>
                  <a:lnTo>
                    <a:pt x="534" y="185"/>
                  </a:lnTo>
                  <a:lnTo>
                    <a:pt x="536" y="185"/>
                  </a:lnTo>
                  <a:lnTo>
                    <a:pt x="539" y="183"/>
                  </a:lnTo>
                  <a:lnTo>
                    <a:pt x="541" y="183"/>
                  </a:lnTo>
                  <a:lnTo>
                    <a:pt x="541" y="179"/>
                  </a:lnTo>
                  <a:lnTo>
                    <a:pt x="541" y="179"/>
                  </a:lnTo>
                  <a:lnTo>
                    <a:pt x="543" y="177"/>
                  </a:lnTo>
                  <a:lnTo>
                    <a:pt x="543" y="174"/>
                  </a:lnTo>
                  <a:lnTo>
                    <a:pt x="541" y="174"/>
                  </a:lnTo>
                  <a:lnTo>
                    <a:pt x="539" y="174"/>
                  </a:lnTo>
                  <a:lnTo>
                    <a:pt x="536" y="172"/>
                  </a:lnTo>
                  <a:lnTo>
                    <a:pt x="536" y="170"/>
                  </a:lnTo>
                  <a:lnTo>
                    <a:pt x="534" y="168"/>
                  </a:lnTo>
                  <a:lnTo>
                    <a:pt x="532" y="168"/>
                  </a:lnTo>
                  <a:lnTo>
                    <a:pt x="530" y="166"/>
                  </a:lnTo>
                  <a:lnTo>
                    <a:pt x="524" y="166"/>
                  </a:lnTo>
                  <a:lnTo>
                    <a:pt x="522" y="166"/>
                  </a:lnTo>
                  <a:lnTo>
                    <a:pt x="522" y="168"/>
                  </a:lnTo>
                  <a:lnTo>
                    <a:pt x="524" y="168"/>
                  </a:lnTo>
                  <a:lnTo>
                    <a:pt x="524" y="170"/>
                  </a:lnTo>
                  <a:lnTo>
                    <a:pt x="526" y="170"/>
                  </a:lnTo>
                  <a:lnTo>
                    <a:pt x="526" y="170"/>
                  </a:lnTo>
                  <a:lnTo>
                    <a:pt x="526" y="170"/>
                  </a:lnTo>
                  <a:lnTo>
                    <a:pt x="526" y="172"/>
                  </a:lnTo>
                  <a:lnTo>
                    <a:pt x="526" y="172"/>
                  </a:lnTo>
                  <a:lnTo>
                    <a:pt x="524" y="172"/>
                  </a:lnTo>
                  <a:lnTo>
                    <a:pt x="524" y="174"/>
                  </a:lnTo>
                  <a:lnTo>
                    <a:pt x="522" y="174"/>
                  </a:lnTo>
                  <a:lnTo>
                    <a:pt x="520" y="177"/>
                  </a:lnTo>
                  <a:lnTo>
                    <a:pt x="520" y="177"/>
                  </a:lnTo>
                  <a:lnTo>
                    <a:pt x="518" y="177"/>
                  </a:lnTo>
                  <a:lnTo>
                    <a:pt x="518" y="179"/>
                  </a:lnTo>
                  <a:lnTo>
                    <a:pt x="518" y="179"/>
                  </a:lnTo>
                  <a:lnTo>
                    <a:pt x="516" y="179"/>
                  </a:lnTo>
                  <a:lnTo>
                    <a:pt x="514" y="177"/>
                  </a:lnTo>
                  <a:lnTo>
                    <a:pt x="512" y="177"/>
                  </a:lnTo>
                  <a:lnTo>
                    <a:pt x="512" y="179"/>
                  </a:lnTo>
                  <a:lnTo>
                    <a:pt x="512" y="181"/>
                  </a:lnTo>
                  <a:lnTo>
                    <a:pt x="512" y="183"/>
                  </a:lnTo>
                  <a:close/>
                  <a:moveTo>
                    <a:pt x="485" y="150"/>
                  </a:moveTo>
                  <a:lnTo>
                    <a:pt x="483" y="150"/>
                  </a:lnTo>
                  <a:lnTo>
                    <a:pt x="483" y="150"/>
                  </a:lnTo>
                  <a:lnTo>
                    <a:pt x="483" y="152"/>
                  </a:lnTo>
                  <a:lnTo>
                    <a:pt x="483" y="154"/>
                  </a:lnTo>
                  <a:lnTo>
                    <a:pt x="483" y="156"/>
                  </a:lnTo>
                  <a:lnTo>
                    <a:pt x="485" y="158"/>
                  </a:lnTo>
                  <a:lnTo>
                    <a:pt x="487" y="158"/>
                  </a:lnTo>
                  <a:lnTo>
                    <a:pt x="489" y="156"/>
                  </a:lnTo>
                  <a:lnTo>
                    <a:pt x="489" y="154"/>
                  </a:lnTo>
                  <a:lnTo>
                    <a:pt x="487" y="152"/>
                  </a:lnTo>
                  <a:lnTo>
                    <a:pt x="487" y="150"/>
                  </a:lnTo>
                  <a:lnTo>
                    <a:pt x="485" y="150"/>
                  </a:lnTo>
                  <a:close/>
                  <a:moveTo>
                    <a:pt x="629" y="566"/>
                  </a:moveTo>
                  <a:lnTo>
                    <a:pt x="629" y="568"/>
                  </a:lnTo>
                  <a:lnTo>
                    <a:pt x="629" y="574"/>
                  </a:lnTo>
                  <a:lnTo>
                    <a:pt x="629" y="576"/>
                  </a:lnTo>
                  <a:lnTo>
                    <a:pt x="629" y="578"/>
                  </a:lnTo>
                  <a:lnTo>
                    <a:pt x="631" y="576"/>
                  </a:lnTo>
                  <a:lnTo>
                    <a:pt x="631" y="572"/>
                  </a:lnTo>
                  <a:lnTo>
                    <a:pt x="629" y="566"/>
                  </a:lnTo>
                  <a:close/>
                  <a:moveTo>
                    <a:pt x="475" y="136"/>
                  </a:moveTo>
                  <a:lnTo>
                    <a:pt x="477" y="138"/>
                  </a:lnTo>
                  <a:lnTo>
                    <a:pt x="477" y="138"/>
                  </a:lnTo>
                  <a:lnTo>
                    <a:pt x="479" y="142"/>
                  </a:lnTo>
                  <a:lnTo>
                    <a:pt x="479" y="144"/>
                  </a:lnTo>
                  <a:lnTo>
                    <a:pt x="481" y="144"/>
                  </a:lnTo>
                  <a:lnTo>
                    <a:pt x="483" y="144"/>
                  </a:lnTo>
                  <a:lnTo>
                    <a:pt x="483" y="146"/>
                  </a:lnTo>
                  <a:lnTo>
                    <a:pt x="483" y="148"/>
                  </a:lnTo>
                  <a:lnTo>
                    <a:pt x="483" y="148"/>
                  </a:lnTo>
                  <a:lnTo>
                    <a:pt x="483" y="148"/>
                  </a:lnTo>
                  <a:lnTo>
                    <a:pt x="485" y="148"/>
                  </a:lnTo>
                  <a:lnTo>
                    <a:pt x="485" y="148"/>
                  </a:lnTo>
                  <a:lnTo>
                    <a:pt x="487" y="148"/>
                  </a:lnTo>
                  <a:lnTo>
                    <a:pt x="487" y="148"/>
                  </a:lnTo>
                  <a:lnTo>
                    <a:pt x="487" y="148"/>
                  </a:lnTo>
                  <a:lnTo>
                    <a:pt x="487" y="148"/>
                  </a:lnTo>
                  <a:lnTo>
                    <a:pt x="487" y="148"/>
                  </a:lnTo>
                  <a:lnTo>
                    <a:pt x="487" y="146"/>
                  </a:lnTo>
                  <a:lnTo>
                    <a:pt x="487" y="146"/>
                  </a:lnTo>
                  <a:lnTo>
                    <a:pt x="483" y="142"/>
                  </a:lnTo>
                  <a:lnTo>
                    <a:pt x="481" y="140"/>
                  </a:lnTo>
                  <a:lnTo>
                    <a:pt x="481" y="140"/>
                  </a:lnTo>
                  <a:lnTo>
                    <a:pt x="481" y="138"/>
                  </a:lnTo>
                  <a:lnTo>
                    <a:pt x="481" y="136"/>
                  </a:lnTo>
                  <a:lnTo>
                    <a:pt x="483" y="131"/>
                  </a:lnTo>
                  <a:lnTo>
                    <a:pt x="483" y="129"/>
                  </a:lnTo>
                  <a:lnTo>
                    <a:pt x="483" y="129"/>
                  </a:lnTo>
                  <a:lnTo>
                    <a:pt x="485" y="129"/>
                  </a:lnTo>
                  <a:lnTo>
                    <a:pt x="485" y="129"/>
                  </a:lnTo>
                  <a:lnTo>
                    <a:pt x="483" y="127"/>
                  </a:lnTo>
                  <a:lnTo>
                    <a:pt x="479" y="127"/>
                  </a:lnTo>
                  <a:lnTo>
                    <a:pt x="479" y="127"/>
                  </a:lnTo>
                  <a:lnTo>
                    <a:pt x="479" y="127"/>
                  </a:lnTo>
                  <a:lnTo>
                    <a:pt x="475" y="131"/>
                  </a:lnTo>
                  <a:lnTo>
                    <a:pt x="475" y="134"/>
                  </a:lnTo>
                  <a:lnTo>
                    <a:pt x="473" y="136"/>
                  </a:lnTo>
                  <a:lnTo>
                    <a:pt x="475" y="136"/>
                  </a:lnTo>
                  <a:lnTo>
                    <a:pt x="475" y="136"/>
                  </a:lnTo>
                  <a:close/>
                  <a:moveTo>
                    <a:pt x="344" y="205"/>
                  </a:moveTo>
                  <a:lnTo>
                    <a:pt x="350" y="207"/>
                  </a:lnTo>
                  <a:lnTo>
                    <a:pt x="354" y="209"/>
                  </a:lnTo>
                  <a:lnTo>
                    <a:pt x="354" y="207"/>
                  </a:lnTo>
                  <a:lnTo>
                    <a:pt x="354" y="205"/>
                  </a:lnTo>
                  <a:lnTo>
                    <a:pt x="356" y="203"/>
                  </a:lnTo>
                  <a:lnTo>
                    <a:pt x="364" y="201"/>
                  </a:lnTo>
                  <a:lnTo>
                    <a:pt x="375" y="201"/>
                  </a:lnTo>
                  <a:lnTo>
                    <a:pt x="375" y="199"/>
                  </a:lnTo>
                  <a:lnTo>
                    <a:pt x="377" y="199"/>
                  </a:lnTo>
                  <a:lnTo>
                    <a:pt x="377" y="195"/>
                  </a:lnTo>
                  <a:lnTo>
                    <a:pt x="381" y="189"/>
                  </a:lnTo>
                  <a:lnTo>
                    <a:pt x="383" y="187"/>
                  </a:lnTo>
                  <a:lnTo>
                    <a:pt x="389" y="187"/>
                  </a:lnTo>
                  <a:lnTo>
                    <a:pt x="391" y="185"/>
                  </a:lnTo>
                  <a:lnTo>
                    <a:pt x="391" y="185"/>
                  </a:lnTo>
                  <a:lnTo>
                    <a:pt x="393" y="185"/>
                  </a:lnTo>
                  <a:lnTo>
                    <a:pt x="393" y="187"/>
                  </a:lnTo>
                  <a:lnTo>
                    <a:pt x="395" y="187"/>
                  </a:lnTo>
                  <a:lnTo>
                    <a:pt x="395" y="187"/>
                  </a:lnTo>
                  <a:lnTo>
                    <a:pt x="397" y="185"/>
                  </a:lnTo>
                  <a:lnTo>
                    <a:pt x="399" y="185"/>
                  </a:lnTo>
                  <a:lnTo>
                    <a:pt x="401" y="187"/>
                  </a:lnTo>
                  <a:lnTo>
                    <a:pt x="403" y="187"/>
                  </a:lnTo>
                  <a:lnTo>
                    <a:pt x="409" y="187"/>
                  </a:lnTo>
                  <a:lnTo>
                    <a:pt x="412" y="187"/>
                  </a:lnTo>
                  <a:lnTo>
                    <a:pt x="416" y="189"/>
                  </a:lnTo>
                  <a:lnTo>
                    <a:pt x="422" y="191"/>
                  </a:lnTo>
                  <a:lnTo>
                    <a:pt x="424" y="191"/>
                  </a:lnTo>
                  <a:lnTo>
                    <a:pt x="428" y="193"/>
                  </a:lnTo>
                  <a:lnTo>
                    <a:pt x="428" y="195"/>
                  </a:lnTo>
                  <a:lnTo>
                    <a:pt x="430" y="195"/>
                  </a:lnTo>
                  <a:lnTo>
                    <a:pt x="432" y="197"/>
                  </a:lnTo>
                  <a:lnTo>
                    <a:pt x="432" y="197"/>
                  </a:lnTo>
                  <a:lnTo>
                    <a:pt x="434" y="197"/>
                  </a:lnTo>
                  <a:lnTo>
                    <a:pt x="436" y="199"/>
                  </a:lnTo>
                  <a:lnTo>
                    <a:pt x="438" y="199"/>
                  </a:lnTo>
                  <a:lnTo>
                    <a:pt x="438" y="201"/>
                  </a:lnTo>
                  <a:lnTo>
                    <a:pt x="440" y="203"/>
                  </a:lnTo>
                  <a:lnTo>
                    <a:pt x="444" y="203"/>
                  </a:lnTo>
                  <a:lnTo>
                    <a:pt x="446" y="205"/>
                  </a:lnTo>
                  <a:lnTo>
                    <a:pt x="448" y="201"/>
                  </a:lnTo>
                  <a:lnTo>
                    <a:pt x="448" y="201"/>
                  </a:lnTo>
                  <a:lnTo>
                    <a:pt x="446" y="199"/>
                  </a:lnTo>
                  <a:lnTo>
                    <a:pt x="446" y="197"/>
                  </a:lnTo>
                  <a:lnTo>
                    <a:pt x="448" y="195"/>
                  </a:lnTo>
                  <a:lnTo>
                    <a:pt x="446" y="195"/>
                  </a:lnTo>
                  <a:lnTo>
                    <a:pt x="446" y="195"/>
                  </a:lnTo>
                  <a:lnTo>
                    <a:pt x="446" y="193"/>
                  </a:lnTo>
                  <a:lnTo>
                    <a:pt x="446" y="191"/>
                  </a:lnTo>
                  <a:lnTo>
                    <a:pt x="448" y="191"/>
                  </a:lnTo>
                  <a:lnTo>
                    <a:pt x="448" y="191"/>
                  </a:lnTo>
                  <a:lnTo>
                    <a:pt x="448" y="191"/>
                  </a:lnTo>
                  <a:lnTo>
                    <a:pt x="448" y="185"/>
                  </a:lnTo>
                  <a:lnTo>
                    <a:pt x="450" y="183"/>
                  </a:lnTo>
                  <a:lnTo>
                    <a:pt x="453" y="183"/>
                  </a:lnTo>
                  <a:lnTo>
                    <a:pt x="455" y="185"/>
                  </a:lnTo>
                  <a:lnTo>
                    <a:pt x="457" y="183"/>
                  </a:lnTo>
                  <a:lnTo>
                    <a:pt x="459" y="183"/>
                  </a:lnTo>
                  <a:lnTo>
                    <a:pt x="461" y="185"/>
                  </a:lnTo>
                  <a:lnTo>
                    <a:pt x="461" y="187"/>
                  </a:lnTo>
                  <a:lnTo>
                    <a:pt x="461" y="187"/>
                  </a:lnTo>
                  <a:lnTo>
                    <a:pt x="461" y="189"/>
                  </a:lnTo>
                  <a:lnTo>
                    <a:pt x="463" y="189"/>
                  </a:lnTo>
                  <a:lnTo>
                    <a:pt x="463" y="187"/>
                  </a:lnTo>
                  <a:lnTo>
                    <a:pt x="463" y="187"/>
                  </a:lnTo>
                  <a:lnTo>
                    <a:pt x="465" y="187"/>
                  </a:lnTo>
                  <a:lnTo>
                    <a:pt x="467" y="189"/>
                  </a:lnTo>
                  <a:lnTo>
                    <a:pt x="467" y="187"/>
                  </a:lnTo>
                  <a:lnTo>
                    <a:pt x="467" y="185"/>
                  </a:lnTo>
                  <a:lnTo>
                    <a:pt x="471" y="185"/>
                  </a:lnTo>
                  <a:lnTo>
                    <a:pt x="473" y="187"/>
                  </a:lnTo>
                  <a:lnTo>
                    <a:pt x="475" y="187"/>
                  </a:lnTo>
                  <a:lnTo>
                    <a:pt x="475" y="187"/>
                  </a:lnTo>
                  <a:lnTo>
                    <a:pt x="475" y="185"/>
                  </a:lnTo>
                  <a:lnTo>
                    <a:pt x="475" y="185"/>
                  </a:lnTo>
                  <a:lnTo>
                    <a:pt x="477" y="185"/>
                  </a:lnTo>
                  <a:lnTo>
                    <a:pt x="477" y="185"/>
                  </a:lnTo>
                  <a:lnTo>
                    <a:pt x="479" y="185"/>
                  </a:lnTo>
                  <a:lnTo>
                    <a:pt x="479" y="185"/>
                  </a:lnTo>
                  <a:lnTo>
                    <a:pt x="485" y="185"/>
                  </a:lnTo>
                  <a:lnTo>
                    <a:pt x="502" y="185"/>
                  </a:lnTo>
                  <a:lnTo>
                    <a:pt x="502" y="185"/>
                  </a:lnTo>
                  <a:lnTo>
                    <a:pt x="502" y="185"/>
                  </a:lnTo>
                  <a:lnTo>
                    <a:pt x="504" y="185"/>
                  </a:lnTo>
                  <a:lnTo>
                    <a:pt x="504" y="185"/>
                  </a:lnTo>
                  <a:lnTo>
                    <a:pt x="504" y="185"/>
                  </a:lnTo>
                  <a:lnTo>
                    <a:pt x="508" y="183"/>
                  </a:lnTo>
                  <a:lnTo>
                    <a:pt x="510" y="183"/>
                  </a:lnTo>
                  <a:lnTo>
                    <a:pt x="510" y="183"/>
                  </a:lnTo>
                  <a:lnTo>
                    <a:pt x="510" y="181"/>
                  </a:lnTo>
                  <a:lnTo>
                    <a:pt x="510" y="179"/>
                  </a:lnTo>
                  <a:lnTo>
                    <a:pt x="510" y="179"/>
                  </a:lnTo>
                  <a:lnTo>
                    <a:pt x="508" y="179"/>
                  </a:lnTo>
                  <a:lnTo>
                    <a:pt x="506" y="177"/>
                  </a:lnTo>
                  <a:lnTo>
                    <a:pt x="506" y="177"/>
                  </a:lnTo>
                  <a:lnTo>
                    <a:pt x="504" y="177"/>
                  </a:lnTo>
                  <a:lnTo>
                    <a:pt x="504" y="177"/>
                  </a:lnTo>
                  <a:lnTo>
                    <a:pt x="502" y="177"/>
                  </a:lnTo>
                  <a:lnTo>
                    <a:pt x="500" y="174"/>
                  </a:lnTo>
                  <a:lnTo>
                    <a:pt x="498" y="172"/>
                  </a:lnTo>
                  <a:lnTo>
                    <a:pt x="496" y="172"/>
                  </a:lnTo>
                  <a:lnTo>
                    <a:pt x="496" y="170"/>
                  </a:lnTo>
                  <a:lnTo>
                    <a:pt x="496" y="168"/>
                  </a:lnTo>
                  <a:lnTo>
                    <a:pt x="498" y="168"/>
                  </a:lnTo>
                  <a:lnTo>
                    <a:pt x="498" y="166"/>
                  </a:lnTo>
                  <a:lnTo>
                    <a:pt x="498" y="166"/>
                  </a:lnTo>
                  <a:lnTo>
                    <a:pt x="496" y="166"/>
                  </a:lnTo>
                  <a:lnTo>
                    <a:pt x="493" y="166"/>
                  </a:lnTo>
                  <a:lnTo>
                    <a:pt x="493" y="166"/>
                  </a:lnTo>
                  <a:lnTo>
                    <a:pt x="491" y="166"/>
                  </a:lnTo>
                  <a:lnTo>
                    <a:pt x="491" y="166"/>
                  </a:lnTo>
                  <a:lnTo>
                    <a:pt x="491" y="166"/>
                  </a:lnTo>
                  <a:lnTo>
                    <a:pt x="489" y="164"/>
                  </a:lnTo>
                  <a:lnTo>
                    <a:pt x="489" y="164"/>
                  </a:lnTo>
                  <a:lnTo>
                    <a:pt x="487" y="164"/>
                  </a:lnTo>
                  <a:lnTo>
                    <a:pt x="485" y="164"/>
                  </a:lnTo>
                  <a:lnTo>
                    <a:pt x="483" y="164"/>
                  </a:lnTo>
                  <a:lnTo>
                    <a:pt x="483" y="166"/>
                  </a:lnTo>
                  <a:lnTo>
                    <a:pt x="481" y="164"/>
                  </a:lnTo>
                  <a:lnTo>
                    <a:pt x="479" y="162"/>
                  </a:lnTo>
                  <a:lnTo>
                    <a:pt x="479" y="162"/>
                  </a:lnTo>
                  <a:lnTo>
                    <a:pt x="481" y="160"/>
                  </a:lnTo>
                  <a:lnTo>
                    <a:pt x="483" y="158"/>
                  </a:lnTo>
                  <a:lnTo>
                    <a:pt x="485" y="158"/>
                  </a:lnTo>
                  <a:lnTo>
                    <a:pt x="483" y="156"/>
                  </a:lnTo>
                  <a:lnTo>
                    <a:pt x="481" y="154"/>
                  </a:lnTo>
                  <a:lnTo>
                    <a:pt x="481" y="152"/>
                  </a:lnTo>
                  <a:lnTo>
                    <a:pt x="479" y="148"/>
                  </a:lnTo>
                  <a:lnTo>
                    <a:pt x="479" y="146"/>
                  </a:lnTo>
                  <a:lnTo>
                    <a:pt x="479" y="144"/>
                  </a:lnTo>
                  <a:lnTo>
                    <a:pt x="475" y="140"/>
                  </a:lnTo>
                  <a:lnTo>
                    <a:pt x="473" y="138"/>
                  </a:lnTo>
                  <a:lnTo>
                    <a:pt x="471" y="134"/>
                  </a:lnTo>
                  <a:lnTo>
                    <a:pt x="469" y="134"/>
                  </a:lnTo>
                  <a:lnTo>
                    <a:pt x="467" y="134"/>
                  </a:lnTo>
                  <a:lnTo>
                    <a:pt x="465" y="134"/>
                  </a:lnTo>
                  <a:lnTo>
                    <a:pt x="463" y="134"/>
                  </a:lnTo>
                  <a:lnTo>
                    <a:pt x="463" y="134"/>
                  </a:lnTo>
                  <a:lnTo>
                    <a:pt x="461" y="140"/>
                  </a:lnTo>
                  <a:lnTo>
                    <a:pt x="459" y="142"/>
                  </a:lnTo>
                  <a:lnTo>
                    <a:pt x="455" y="144"/>
                  </a:lnTo>
                  <a:lnTo>
                    <a:pt x="453" y="144"/>
                  </a:lnTo>
                  <a:lnTo>
                    <a:pt x="448" y="144"/>
                  </a:lnTo>
                  <a:lnTo>
                    <a:pt x="450" y="142"/>
                  </a:lnTo>
                  <a:lnTo>
                    <a:pt x="446" y="138"/>
                  </a:lnTo>
                  <a:lnTo>
                    <a:pt x="444" y="138"/>
                  </a:lnTo>
                  <a:lnTo>
                    <a:pt x="442" y="138"/>
                  </a:lnTo>
                  <a:lnTo>
                    <a:pt x="440" y="140"/>
                  </a:lnTo>
                  <a:lnTo>
                    <a:pt x="438" y="142"/>
                  </a:lnTo>
                  <a:lnTo>
                    <a:pt x="434" y="142"/>
                  </a:lnTo>
                  <a:lnTo>
                    <a:pt x="432" y="144"/>
                  </a:lnTo>
                  <a:lnTo>
                    <a:pt x="430" y="144"/>
                  </a:lnTo>
                  <a:lnTo>
                    <a:pt x="428" y="142"/>
                  </a:lnTo>
                  <a:lnTo>
                    <a:pt x="424" y="142"/>
                  </a:lnTo>
                  <a:lnTo>
                    <a:pt x="424" y="142"/>
                  </a:lnTo>
                  <a:lnTo>
                    <a:pt x="422" y="140"/>
                  </a:lnTo>
                  <a:lnTo>
                    <a:pt x="422" y="140"/>
                  </a:lnTo>
                  <a:lnTo>
                    <a:pt x="420" y="140"/>
                  </a:lnTo>
                  <a:lnTo>
                    <a:pt x="418" y="142"/>
                  </a:lnTo>
                  <a:lnTo>
                    <a:pt x="418" y="142"/>
                  </a:lnTo>
                  <a:lnTo>
                    <a:pt x="416" y="142"/>
                  </a:lnTo>
                  <a:lnTo>
                    <a:pt x="414" y="142"/>
                  </a:lnTo>
                  <a:lnTo>
                    <a:pt x="414" y="140"/>
                  </a:lnTo>
                  <a:lnTo>
                    <a:pt x="414" y="138"/>
                  </a:lnTo>
                  <a:lnTo>
                    <a:pt x="416" y="136"/>
                  </a:lnTo>
                  <a:lnTo>
                    <a:pt x="416" y="134"/>
                  </a:lnTo>
                  <a:lnTo>
                    <a:pt x="414" y="129"/>
                  </a:lnTo>
                  <a:lnTo>
                    <a:pt x="414" y="117"/>
                  </a:lnTo>
                  <a:lnTo>
                    <a:pt x="414" y="117"/>
                  </a:lnTo>
                  <a:lnTo>
                    <a:pt x="416" y="115"/>
                  </a:lnTo>
                  <a:lnTo>
                    <a:pt x="416" y="113"/>
                  </a:lnTo>
                  <a:lnTo>
                    <a:pt x="418" y="113"/>
                  </a:lnTo>
                  <a:lnTo>
                    <a:pt x="418" y="111"/>
                  </a:lnTo>
                  <a:lnTo>
                    <a:pt x="416" y="111"/>
                  </a:lnTo>
                  <a:lnTo>
                    <a:pt x="412" y="113"/>
                  </a:lnTo>
                  <a:lnTo>
                    <a:pt x="412" y="113"/>
                  </a:lnTo>
                  <a:lnTo>
                    <a:pt x="403" y="113"/>
                  </a:lnTo>
                  <a:lnTo>
                    <a:pt x="399" y="115"/>
                  </a:lnTo>
                  <a:lnTo>
                    <a:pt x="391" y="117"/>
                  </a:lnTo>
                  <a:lnTo>
                    <a:pt x="379" y="125"/>
                  </a:lnTo>
                  <a:lnTo>
                    <a:pt x="375" y="127"/>
                  </a:lnTo>
                  <a:lnTo>
                    <a:pt x="348" y="127"/>
                  </a:lnTo>
                  <a:lnTo>
                    <a:pt x="346" y="129"/>
                  </a:lnTo>
                  <a:lnTo>
                    <a:pt x="346" y="127"/>
                  </a:lnTo>
                  <a:lnTo>
                    <a:pt x="344" y="129"/>
                  </a:lnTo>
                  <a:lnTo>
                    <a:pt x="332" y="134"/>
                  </a:lnTo>
                  <a:lnTo>
                    <a:pt x="330" y="134"/>
                  </a:lnTo>
                  <a:lnTo>
                    <a:pt x="328" y="134"/>
                  </a:lnTo>
                  <a:lnTo>
                    <a:pt x="317" y="142"/>
                  </a:lnTo>
                  <a:lnTo>
                    <a:pt x="309" y="146"/>
                  </a:lnTo>
                  <a:lnTo>
                    <a:pt x="307" y="148"/>
                  </a:lnTo>
                  <a:lnTo>
                    <a:pt x="303" y="150"/>
                  </a:lnTo>
                  <a:lnTo>
                    <a:pt x="303" y="150"/>
                  </a:lnTo>
                  <a:lnTo>
                    <a:pt x="299" y="154"/>
                  </a:lnTo>
                  <a:lnTo>
                    <a:pt x="299" y="154"/>
                  </a:lnTo>
                  <a:lnTo>
                    <a:pt x="295" y="160"/>
                  </a:lnTo>
                  <a:lnTo>
                    <a:pt x="293" y="162"/>
                  </a:lnTo>
                  <a:lnTo>
                    <a:pt x="291" y="164"/>
                  </a:lnTo>
                  <a:lnTo>
                    <a:pt x="291" y="164"/>
                  </a:lnTo>
                  <a:lnTo>
                    <a:pt x="291" y="162"/>
                  </a:lnTo>
                  <a:lnTo>
                    <a:pt x="291" y="162"/>
                  </a:lnTo>
                  <a:lnTo>
                    <a:pt x="289" y="162"/>
                  </a:lnTo>
                  <a:lnTo>
                    <a:pt x="287" y="162"/>
                  </a:lnTo>
                  <a:lnTo>
                    <a:pt x="287" y="160"/>
                  </a:lnTo>
                  <a:lnTo>
                    <a:pt x="285" y="160"/>
                  </a:lnTo>
                  <a:lnTo>
                    <a:pt x="283" y="158"/>
                  </a:lnTo>
                  <a:lnTo>
                    <a:pt x="280" y="158"/>
                  </a:lnTo>
                  <a:lnTo>
                    <a:pt x="278" y="162"/>
                  </a:lnTo>
                  <a:lnTo>
                    <a:pt x="276" y="162"/>
                  </a:lnTo>
                  <a:lnTo>
                    <a:pt x="274" y="164"/>
                  </a:lnTo>
                  <a:lnTo>
                    <a:pt x="272" y="164"/>
                  </a:lnTo>
                  <a:lnTo>
                    <a:pt x="272" y="162"/>
                  </a:lnTo>
                  <a:lnTo>
                    <a:pt x="272" y="162"/>
                  </a:lnTo>
                  <a:lnTo>
                    <a:pt x="270" y="160"/>
                  </a:lnTo>
                  <a:lnTo>
                    <a:pt x="270" y="162"/>
                  </a:lnTo>
                  <a:lnTo>
                    <a:pt x="268" y="160"/>
                  </a:lnTo>
                  <a:lnTo>
                    <a:pt x="266" y="158"/>
                  </a:lnTo>
                  <a:lnTo>
                    <a:pt x="266" y="158"/>
                  </a:lnTo>
                  <a:lnTo>
                    <a:pt x="266" y="156"/>
                  </a:lnTo>
                  <a:lnTo>
                    <a:pt x="266" y="156"/>
                  </a:lnTo>
                  <a:lnTo>
                    <a:pt x="264" y="156"/>
                  </a:lnTo>
                  <a:lnTo>
                    <a:pt x="264" y="156"/>
                  </a:lnTo>
                  <a:lnTo>
                    <a:pt x="262" y="154"/>
                  </a:lnTo>
                  <a:lnTo>
                    <a:pt x="262" y="156"/>
                  </a:lnTo>
                  <a:lnTo>
                    <a:pt x="260" y="156"/>
                  </a:lnTo>
                  <a:lnTo>
                    <a:pt x="260" y="156"/>
                  </a:lnTo>
                  <a:lnTo>
                    <a:pt x="260" y="156"/>
                  </a:lnTo>
                  <a:lnTo>
                    <a:pt x="258" y="156"/>
                  </a:lnTo>
                  <a:lnTo>
                    <a:pt x="256" y="158"/>
                  </a:lnTo>
                  <a:lnTo>
                    <a:pt x="256" y="160"/>
                  </a:lnTo>
                  <a:lnTo>
                    <a:pt x="256" y="160"/>
                  </a:lnTo>
                  <a:lnTo>
                    <a:pt x="254" y="160"/>
                  </a:lnTo>
                  <a:lnTo>
                    <a:pt x="250" y="160"/>
                  </a:lnTo>
                  <a:lnTo>
                    <a:pt x="246" y="162"/>
                  </a:lnTo>
                  <a:lnTo>
                    <a:pt x="237" y="162"/>
                  </a:lnTo>
                  <a:lnTo>
                    <a:pt x="235" y="160"/>
                  </a:lnTo>
                  <a:lnTo>
                    <a:pt x="233" y="158"/>
                  </a:lnTo>
                  <a:lnTo>
                    <a:pt x="231" y="154"/>
                  </a:lnTo>
                  <a:lnTo>
                    <a:pt x="231" y="154"/>
                  </a:lnTo>
                  <a:lnTo>
                    <a:pt x="231" y="152"/>
                  </a:lnTo>
                  <a:lnTo>
                    <a:pt x="227" y="152"/>
                  </a:lnTo>
                  <a:lnTo>
                    <a:pt x="225" y="150"/>
                  </a:lnTo>
                  <a:lnTo>
                    <a:pt x="225" y="150"/>
                  </a:lnTo>
                  <a:lnTo>
                    <a:pt x="225" y="148"/>
                  </a:lnTo>
                  <a:lnTo>
                    <a:pt x="223" y="148"/>
                  </a:lnTo>
                  <a:lnTo>
                    <a:pt x="221" y="146"/>
                  </a:lnTo>
                  <a:lnTo>
                    <a:pt x="221" y="144"/>
                  </a:lnTo>
                  <a:lnTo>
                    <a:pt x="219" y="144"/>
                  </a:lnTo>
                  <a:lnTo>
                    <a:pt x="215" y="140"/>
                  </a:lnTo>
                  <a:lnTo>
                    <a:pt x="215" y="138"/>
                  </a:lnTo>
                  <a:lnTo>
                    <a:pt x="213" y="134"/>
                  </a:lnTo>
                  <a:lnTo>
                    <a:pt x="211" y="131"/>
                  </a:lnTo>
                  <a:lnTo>
                    <a:pt x="209" y="134"/>
                  </a:lnTo>
                  <a:lnTo>
                    <a:pt x="209" y="134"/>
                  </a:lnTo>
                  <a:lnTo>
                    <a:pt x="209" y="131"/>
                  </a:lnTo>
                  <a:lnTo>
                    <a:pt x="207" y="129"/>
                  </a:lnTo>
                  <a:lnTo>
                    <a:pt x="207" y="129"/>
                  </a:lnTo>
                  <a:lnTo>
                    <a:pt x="205" y="131"/>
                  </a:lnTo>
                  <a:lnTo>
                    <a:pt x="205" y="131"/>
                  </a:lnTo>
                  <a:lnTo>
                    <a:pt x="203" y="129"/>
                  </a:lnTo>
                  <a:lnTo>
                    <a:pt x="203" y="129"/>
                  </a:lnTo>
                  <a:lnTo>
                    <a:pt x="201" y="127"/>
                  </a:lnTo>
                  <a:lnTo>
                    <a:pt x="201" y="127"/>
                  </a:lnTo>
                  <a:lnTo>
                    <a:pt x="201" y="127"/>
                  </a:lnTo>
                  <a:lnTo>
                    <a:pt x="199" y="127"/>
                  </a:lnTo>
                  <a:lnTo>
                    <a:pt x="199" y="127"/>
                  </a:lnTo>
                  <a:lnTo>
                    <a:pt x="199" y="125"/>
                  </a:lnTo>
                  <a:lnTo>
                    <a:pt x="188" y="125"/>
                  </a:lnTo>
                  <a:lnTo>
                    <a:pt x="176" y="125"/>
                  </a:lnTo>
                  <a:lnTo>
                    <a:pt x="172" y="125"/>
                  </a:lnTo>
                  <a:lnTo>
                    <a:pt x="166" y="129"/>
                  </a:lnTo>
                  <a:lnTo>
                    <a:pt x="166" y="129"/>
                  </a:lnTo>
                  <a:lnTo>
                    <a:pt x="166" y="131"/>
                  </a:lnTo>
                  <a:lnTo>
                    <a:pt x="164" y="134"/>
                  </a:lnTo>
                  <a:lnTo>
                    <a:pt x="162" y="136"/>
                  </a:lnTo>
                  <a:lnTo>
                    <a:pt x="160" y="138"/>
                  </a:lnTo>
                  <a:lnTo>
                    <a:pt x="160" y="136"/>
                  </a:lnTo>
                  <a:lnTo>
                    <a:pt x="162" y="134"/>
                  </a:lnTo>
                  <a:lnTo>
                    <a:pt x="162" y="131"/>
                  </a:lnTo>
                  <a:lnTo>
                    <a:pt x="164" y="129"/>
                  </a:lnTo>
                  <a:lnTo>
                    <a:pt x="168" y="125"/>
                  </a:lnTo>
                  <a:lnTo>
                    <a:pt x="170" y="123"/>
                  </a:lnTo>
                  <a:lnTo>
                    <a:pt x="170" y="121"/>
                  </a:lnTo>
                  <a:lnTo>
                    <a:pt x="168" y="121"/>
                  </a:lnTo>
                  <a:lnTo>
                    <a:pt x="168" y="123"/>
                  </a:lnTo>
                  <a:lnTo>
                    <a:pt x="164" y="125"/>
                  </a:lnTo>
                  <a:lnTo>
                    <a:pt x="160" y="129"/>
                  </a:lnTo>
                  <a:lnTo>
                    <a:pt x="158" y="129"/>
                  </a:lnTo>
                  <a:lnTo>
                    <a:pt x="156" y="134"/>
                  </a:lnTo>
                  <a:lnTo>
                    <a:pt x="156" y="134"/>
                  </a:lnTo>
                  <a:lnTo>
                    <a:pt x="153" y="134"/>
                  </a:lnTo>
                  <a:lnTo>
                    <a:pt x="151" y="136"/>
                  </a:lnTo>
                  <a:lnTo>
                    <a:pt x="153" y="136"/>
                  </a:lnTo>
                  <a:lnTo>
                    <a:pt x="149" y="142"/>
                  </a:lnTo>
                  <a:lnTo>
                    <a:pt x="147" y="146"/>
                  </a:lnTo>
                  <a:lnTo>
                    <a:pt x="145" y="144"/>
                  </a:lnTo>
                  <a:lnTo>
                    <a:pt x="145" y="144"/>
                  </a:lnTo>
                  <a:lnTo>
                    <a:pt x="147" y="144"/>
                  </a:lnTo>
                  <a:lnTo>
                    <a:pt x="147" y="144"/>
                  </a:lnTo>
                  <a:lnTo>
                    <a:pt x="147" y="142"/>
                  </a:lnTo>
                  <a:lnTo>
                    <a:pt x="147" y="142"/>
                  </a:lnTo>
                  <a:lnTo>
                    <a:pt x="147" y="142"/>
                  </a:lnTo>
                  <a:lnTo>
                    <a:pt x="145" y="138"/>
                  </a:lnTo>
                  <a:lnTo>
                    <a:pt x="145" y="138"/>
                  </a:lnTo>
                  <a:lnTo>
                    <a:pt x="145" y="136"/>
                  </a:lnTo>
                  <a:lnTo>
                    <a:pt x="145" y="136"/>
                  </a:lnTo>
                  <a:lnTo>
                    <a:pt x="145" y="134"/>
                  </a:lnTo>
                  <a:lnTo>
                    <a:pt x="145" y="134"/>
                  </a:lnTo>
                  <a:lnTo>
                    <a:pt x="145" y="131"/>
                  </a:lnTo>
                  <a:lnTo>
                    <a:pt x="147" y="131"/>
                  </a:lnTo>
                  <a:lnTo>
                    <a:pt x="147" y="127"/>
                  </a:lnTo>
                  <a:lnTo>
                    <a:pt x="147" y="125"/>
                  </a:lnTo>
                  <a:lnTo>
                    <a:pt x="147" y="123"/>
                  </a:lnTo>
                  <a:lnTo>
                    <a:pt x="147" y="121"/>
                  </a:lnTo>
                  <a:lnTo>
                    <a:pt x="145" y="119"/>
                  </a:lnTo>
                  <a:lnTo>
                    <a:pt x="143" y="117"/>
                  </a:lnTo>
                  <a:lnTo>
                    <a:pt x="143" y="117"/>
                  </a:lnTo>
                  <a:lnTo>
                    <a:pt x="141" y="117"/>
                  </a:lnTo>
                  <a:lnTo>
                    <a:pt x="141" y="117"/>
                  </a:lnTo>
                  <a:lnTo>
                    <a:pt x="141" y="117"/>
                  </a:lnTo>
                  <a:lnTo>
                    <a:pt x="141" y="117"/>
                  </a:lnTo>
                  <a:lnTo>
                    <a:pt x="141" y="117"/>
                  </a:lnTo>
                  <a:lnTo>
                    <a:pt x="141" y="115"/>
                  </a:lnTo>
                  <a:lnTo>
                    <a:pt x="141" y="113"/>
                  </a:lnTo>
                  <a:lnTo>
                    <a:pt x="141" y="111"/>
                  </a:lnTo>
                  <a:lnTo>
                    <a:pt x="141" y="111"/>
                  </a:lnTo>
                  <a:lnTo>
                    <a:pt x="139" y="109"/>
                  </a:lnTo>
                  <a:lnTo>
                    <a:pt x="135" y="109"/>
                  </a:lnTo>
                  <a:lnTo>
                    <a:pt x="133" y="109"/>
                  </a:lnTo>
                  <a:lnTo>
                    <a:pt x="131" y="107"/>
                  </a:lnTo>
                  <a:lnTo>
                    <a:pt x="131" y="105"/>
                  </a:lnTo>
                  <a:lnTo>
                    <a:pt x="131" y="103"/>
                  </a:lnTo>
                  <a:lnTo>
                    <a:pt x="131" y="101"/>
                  </a:lnTo>
                  <a:lnTo>
                    <a:pt x="129" y="99"/>
                  </a:lnTo>
                  <a:lnTo>
                    <a:pt x="129" y="99"/>
                  </a:lnTo>
                  <a:lnTo>
                    <a:pt x="127" y="101"/>
                  </a:lnTo>
                  <a:lnTo>
                    <a:pt x="115" y="111"/>
                  </a:lnTo>
                  <a:lnTo>
                    <a:pt x="113" y="113"/>
                  </a:lnTo>
                  <a:lnTo>
                    <a:pt x="113" y="113"/>
                  </a:lnTo>
                  <a:lnTo>
                    <a:pt x="110" y="117"/>
                  </a:lnTo>
                  <a:lnTo>
                    <a:pt x="110" y="117"/>
                  </a:lnTo>
                  <a:lnTo>
                    <a:pt x="110" y="117"/>
                  </a:lnTo>
                  <a:lnTo>
                    <a:pt x="108" y="121"/>
                  </a:lnTo>
                  <a:lnTo>
                    <a:pt x="106" y="123"/>
                  </a:lnTo>
                  <a:lnTo>
                    <a:pt x="106" y="123"/>
                  </a:lnTo>
                  <a:lnTo>
                    <a:pt x="102" y="125"/>
                  </a:lnTo>
                  <a:lnTo>
                    <a:pt x="100" y="125"/>
                  </a:lnTo>
                  <a:lnTo>
                    <a:pt x="100" y="125"/>
                  </a:lnTo>
                  <a:lnTo>
                    <a:pt x="96" y="125"/>
                  </a:lnTo>
                  <a:lnTo>
                    <a:pt x="94" y="125"/>
                  </a:lnTo>
                  <a:lnTo>
                    <a:pt x="92" y="127"/>
                  </a:lnTo>
                  <a:lnTo>
                    <a:pt x="88" y="134"/>
                  </a:lnTo>
                  <a:lnTo>
                    <a:pt x="82" y="140"/>
                  </a:lnTo>
                  <a:lnTo>
                    <a:pt x="76" y="142"/>
                  </a:lnTo>
                  <a:lnTo>
                    <a:pt x="45" y="150"/>
                  </a:lnTo>
                  <a:lnTo>
                    <a:pt x="41" y="150"/>
                  </a:lnTo>
                  <a:lnTo>
                    <a:pt x="29" y="164"/>
                  </a:lnTo>
                  <a:lnTo>
                    <a:pt x="27" y="166"/>
                  </a:lnTo>
                  <a:lnTo>
                    <a:pt x="12" y="172"/>
                  </a:lnTo>
                  <a:lnTo>
                    <a:pt x="8" y="174"/>
                  </a:lnTo>
                  <a:lnTo>
                    <a:pt x="8" y="174"/>
                  </a:lnTo>
                  <a:lnTo>
                    <a:pt x="6" y="174"/>
                  </a:lnTo>
                  <a:lnTo>
                    <a:pt x="4" y="177"/>
                  </a:lnTo>
                  <a:lnTo>
                    <a:pt x="2" y="177"/>
                  </a:lnTo>
                  <a:lnTo>
                    <a:pt x="0" y="179"/>
                  </a:lnTo>
                  <a:lnTo>
                    <a:pt x="0" y="179"/>
                  </a:lnTo>
                  <a:lnTo>
                    <a:pt x="0" y="181"/>
                  </a:lnTo>
                  <a:lnTo>
                    <a:pt x="0" y="183"/>
                  </a:lnTo>
                  <a:lnTo>
                    <a:pt x="0" y="183"/>
                  </a:lnTo>
                  <a:lnTo>
                    <a:pt x="2" y="183"/>
                  </a:lnTo>
                  <a:lnTo>
                    <a:pt x="2" y="183"/>
                  </a:lnTo>
                  <a:lnTo>
                    <a:pt x="2" y="183"/>
                  </a:lnTo>
                  <a:lnTo>
                    <a:pt x="4" y="183"/>
                  </a:lnTo>
                  <a:lnTo>
                    <a:pt x="4" y="181"/>
                  </a:lnTo>
                  <a:lnTo>
                    <a:pt x="6" y="181"/>
                  </a:lnTo>
                  <a:lnTo>
                    <a:pt x="6" y="181"/>
                  </a:lnTo>
                  <a:lnTo>
                    <a:pt x="6" y="183"/>
                  </a:lnTo>
                  <a:lnTo>
                    <a:pt x="8" y="183"/>
                  </a:lnTo>
                  <a:lnTo>
                    <a:pt x="8" y="183"/>
                  </a:lnTo>
                  <a:lnTo>
                    <a:pt x="10" y="183"/>
                  </a:lnTo>
                  <a:lnTo>
                    <a:pt x="10" y="185"/>
                  </a:lnTo>
                  <a:lnTo>
                    <a:pt x="10" y="185"/>
                  </a:lnTo>
                  <a:lnTo>
                    <a:pt x="12" y="185"/>
                  </a:lnTo>
                  <a:lnTo>
                    <a:pt x="12" y="185"/>
                  </a:lnTo>
                  <a:lnTo>
                    <a:pt x="14" y="185"/>
                  </a:lnTo>
                  <a:lnTo>
                    <a:pt x="14" y="185"/>
                  </a:lnTo>
                  <a:lnTo>
                    <a:pt x="16" y="187"/>
                  </a:lnTo>
                  <a:lnTo>
                    <a:pt x="16" y="187"/>
                  </a:lnTo>
                  <a:lnTo>
                    <a:pt x="18" y="189"/>
                  </a:lnTo>
                  <a:lnTo>
                    <a:pt x="18" y="193"/>
                  </a:lnTo>
                  <a:lnTo>
                    <a:pt x="20" y="197"/>
                  </a:lnTo>
                  <a:lnTo>
                    <a:pt x="22" y="199"/>
                  </a:lnTo>
                  <a:lnTo>
                    <a:pt x="24" y="201"/>
                  </a:lnTo>
                  <a:lnTo>
                    <a:pt x="24" y="201"/>
                  </a:lnTo>
                  <a:lnTo>
                    <a:pt x="24" y="201"/>
                  </a:lnTo>
                  <a:lnTo>
                    <a:pt x="27" y="203"/>
                  </a:lnTo>
                  <a:lnTo>
                    <a:pt x="27" y="203"/>
                  </a:lnTo>
                  <a:lnTo>
                    <a:pt x="31" y="203"/>
                  </a:lnTo>
                  <a:lnTo>
                    <a:pt x="33" y="203"/>
                  </a:lnTo>
                  <a:lnTo>
                    <a:pt x="39" y="203"/>
                  </a:lnTo>
                  <a:lnTo>
                    <a:pt x="43" y="205"/>
                  </a:lnTo>
                  <a:lnTo>
                    <a:pt x="51" y="205"/>
                  </a:lnTo>
                  <a:lnTo>
                    <a:pt x="57" y="207"/>
                  </a:lnTo>
                  <a:lnTo>
                    <a:pt x="63" y="209"/>
                  </a:lnTo>
                  <a:lnTo>
                    <a:pt x="72" y="209"/>
                  </a:lnTo>
                  <a:lnTo>
                    <a:pt x="78" y="211"/>
                  </a:lnTo>
                  <a:lnTo>
                    <a:pt x="84" y="211"/>
                  </a:lnTo>
                  <a:lnTo>
                    <a:pt x="90" y="211"/>
                  </a:lnTo>
                  <a:lnTo>
                    <a:pt x="94" y="213"/>
                  </a:lnTo>
                  <a:lnTo>
                    <a:pt x="98" y="213"/>
                  </a:lnTo>
                  <a:lnTo>
                    <a:pt x="100" y="213"/>
                  </a:lnTo>
                  <a:lnTo>
                    <a:pt x="100" y="213"/>
                  </a:lnTo>
                  <a:lnTo>
                    <a:pt x="104" y="215"/>
                  </a:lnTo>
                  <a:lnTo>
                    <a:pt x="106" y="215"/>
                  </a:lnTo>
                  <a:lnTo>
                    <a:pt x="110" y="218"/>
                  </a:lnTo>
                  <a:lnTo>
                    <a:pt x="115" y="220"/>
                  </a:lnTo>
                  <a:lnTo>
                    <a:pt x="121" y="222"/>
                  </a:lnTo>
                  <a:lnTo>
                    <a:pt x="125" y="224"/>
                  </a:lnTo>
                  <a:lnTo>
                    <a:pt x="127" y="224"/>
                  </a:lnTo>
                  <a:lnTo>
                    <a:pt x="127" y="224"/>
                  </a:lnTo>
                  <a:lnTo>
                    <a:pt x="129" y="224"/>
                  </a:lnTo>
                  <a:lnTo>
                    <a:pt x="129" y="224"/>
                  </a:lnTo>
                  <a:lnTo>
                    <a:pt x="131" y="224"/>
                  </a:lnTo>
                  <a:lnTo>
                    <a:pt x="131" y="224"/>
                  </a:lnTo>
                  <a:lnTo>
                    <a:pt x="131" y="224"/>
                  </a:lnTo>
                  <a:lnTo>
                    <a:pt x="133" y="224"/>
                  </a:lnTo>
                  <a:lnTo>
                    <a:pt x="133" y="224"/>
                  </a:lnTo>
                  <a:lnTo>
                    <a:pt x="135" y="224"/>
                  </a:lnTo>
                  <a:lnTo>
                    <a:pt x="135" y="224"/>
                  </a:lnTo>
                  <a:lnTo>
                    <a:pt x="135" y="224"/>
                  </a:lnTo>
                  <a:lnTo>
                    <a:pt x="137" y="224"/>
                  </a:lnTo>
                  <a:lnTo>
                    <a:pt x="137" y="224"/>
                  </a:lnTo>
                  <a:lnTo>
                    <a:pt x="139" y="224"/>
                  </a:lnTo>
                  <a:lnTo>
                    <a:pt x="143" y="226"/>
                  </a:lnTo>
                  <a:lnTo>
                    <a:pt x="143" y="226"/>
                  </a:lnTo>
                  <a:lnTo>
                    <a:pt x="143" y="226"/>
                  </a:lnTo>
                  <a:lnTo>
                    <a:pt x="145" y="224"/>
                  </a:lnTo>
                  <a:lnTo>
                    <a:pt x="145" y="224"/>
                  </a:lnTo>
                  <a:lnTo>
                    <a:pt x="147" y="224"/>
                  </a:lnTo>
                  <a:lnTo>
                    <a:pt x="147" y="224"/>
                  </a:lnTo>
                  <a:lnTo>
                    <a:pt x="147" y="224"/>
                  </a:lnTo>
                  <a:lnTo>
                    <a:pt x="147" y="224"/>
                  </a:lnTo>
                  <a:lnTo>
                    <a:pt x="149" y="224"/>
                  </a:lnTo>
                  <a:lnTo>
                    <a:pt x="149" y="224"/>
                  </a:lnTo>
                  <a:lnTo>
                    <a:pt x="149" y="222"/>
                  </a:lnTo>
                  <a:lnTo>
                    <a:pt x="151" y="222"/>
                  </a:lnTo>
                  <a:lnTo>
                    <a:pt x="151" y="224"/>
                  </a:lnTo>
                  <a:lnTo>
                    <a:pt x="153" y="224"/>
                  </a:lnTo>
                  <a:lnTo>
                    <a:pt x="153" y="224"/>
                  </a:lnTo>
                  <a:lnTo>
                    <a:pt x="156" y="224"/>
                  </a:lnTo>
                  <a:lnTo>
                    <a:pt x="156" y="224"/>
                  </a:lnTo>
                  <a:lnTo>
                    <a:pt x="156" y="224"/>
                  </a:lnTo>
                  <a:lnTo>
                    <a:pt x="156" y="224"/>
                  </a:lnTo>
                  <a:lnTo>
                    <a:pt x="158" y="224"/>
                  </a:lnTo>
                  <a:lnTo>
                    <a:pt x="160" y="226"/>
                  </a:lnTo>
                  <a:lnTo>
                    <a:pt x="160" y="226"/>
                  </a:lnTo>
                  <a:lnTo>
                    <a:pt x="162" y="226"/>
                  </a:lnTo>
                  <a:lnTo>
                    <a:pt x="164" y="224"/>
                  </a:lnTo>
                  <a:lnTo>
                    <a:pt x="164" y="224"/>
                  </a:lnTo>
                  <a:lnTo>
                    <a:pt x="164" y="224"/>
                  </a:lnTo>
                  <a:lnTo>
                    <a:pt x="166" y="226"/>
                  </a:lnTo>
                  <a:lnTo>
                    <a:pt x="168" y="226"/>
                  </a:lnTo>
                  <a:lnTo>
                    <a:pt x="168" y="226"/>
                  </a:lnTo>
                  <a:lnTo>
                    <a:pt x="170" y="226"/>
                  </a:lnTo>
                  <a:lnTo>
                    <a:pt x="172" y="226"/>
                  </a:lnTo>
                  <a:lnTo>
                    <a:pt x="172" y="226"/>
                  </a:lnTo>
                  <a:lnTo>
                    <a:pt x="174" y="228"/>
                  </a:lnTo>
                  <a:lnTo>
                    <a:pt x="176" y="228"/>
                  </a:lnTo>
                  <a:lnTo>
                    <a:pt x="176" y="228"/>
                  </a:lnTo>
                  <a:lnTo>
                    <a:pt x="176" y="228"/>
                  </a:lnTo>
                  <a:lnTo>
                    <a:pt x="178" y="226"/>
                  </a:lnTo>
                  <a:lnTo>
                    <a:pt x="178" y="226"/>
                  </a:lnTo>
                  <a:lnTo>
                    <a:pt x="178" y="228"/>
                  </a:lnTo>
                  <a:lnTo>
                    <a:pt x="180" y="228"/>
                  </a:lnTo>
                  <a:lnTo>
                    <a:pt x="182" y="228"/>
                  </a:lnTo>
                  <a:lnTo>
                    <a:pt x="182" y="228"/>
                  </a:lnTo>
                  <a:lnTo>
                    <a:pt x="184" y="230"/>
                  </a:lnTo>
                  <a:lnTo>
                    <a:pt x="184" y="230"/>
                  </a:lnTo>
                  <a:lnTo>
                    <a:pt x="186" y="234"/>
                  </a:lnTo>
                  <a:lnTo>
                    <a:pt x="186" y="234"/>
                  </a:lnTo>
                  <a:lnTo>
                    <a:pt x="186" y="236"/>
                  </a:lnTo>
                  <a:lnTo>
                    <a:pt x="186" y="236"/>
                  </a:lnTo>
                  <a:lnTo>
                    <a:pt x="186" y="236"/>
                  </a:lnTo>
                  <a:lnTo>
                    <a:pt x="184" y="238"/>
                  </a:lnTo>
                  <a:lnTo>
                    <a:pt x="184" y="240"/>
                  </a:lnTo>
                  <a:lnTo>
                    <a:pt x="184" y="240"/>
                  </a:lnTo>
                  <a:lnTo>
                    <a:pt x="184" y="240"/>
                  </a:lnTo>
                  <a:lnTo>
                    <a:pt x="184" y="242"/>
                  </a:lnTo>
                  <a:lnTo>
                    <a:pt x="186" y="242"/>
                  </a:lnTo>
                  <a:lnTo>
                    <a:pt x="186" y="242"/>
                  </a:lnTo>
                  <a:lnTo>
                    <a:pt x="188" y="242"/>
                  </a:lnTo>
                  <a:lnTo>
                    <a:pt x="188" y="244"/>
                  </a:lnTo>
                  <a:lnTo>
                    <a:pt x="190" y="244"/>
                  </a:lnTo>
                  <a:lnTo>
                    <a:pt x="190" y="244"/>
                  </a:lnTo>
                  <a:lnTo>
                    <a:pt x="192" y="244"/>
                  </a:lnTo>
                  <a:lnTo>
                    <a:pt x="194" y="242"/>
                  </a:lnTo>
                  <a:lnTo>
                    <a:pt x="194" y="242"/>
                  </a:lnTo>
                  <a:lnTo>
                    <a:pt x="194" y="242"/>
                  </a:lnTo>
                  <a:lnTo>
                    <a:pt x="194" y="242"/>
                  </a:lnTo>
                  <a:lnTo>
                    <a:pt x="196" y="244"/>
                  </a:lnTo>
                  <a:lnTo>
                    <a:pt x="196" y="244"/>
                  </a:lnTo>
                  <a:lnTo>
                    <a:pt x="196" y="244"/>
                  </a:lnTo>
                  <a:lnTo>
                    <a:pt x="196" y="244"/>
                  </a:lnTo>
                  <a:lnTo>
                    <a:pt x="199" y="244"/>
                  </a:lnTo>
                  <a:lnTo>
                    <a:pt x="203" y="244"/>
                  </a:lnTo>
                  <a:lnTo>
                    <a:pt x="203" y="244"/>
                  </a:lnTo>
                  <a:lnTo>
                    <a:pt x="203" y="246"/>
                  </a:lnTo>
                  <a:lnTo>
                    <a:pt x="203" y="246"/>
                  </a:lnTo>
                  <a:lnTo>
                    <a:pt x="205" y="246"/>
                  </a:lnTo>
                  <a:lnTo>
                    <a:pt x="205" y="246"/>
                  </a:lnTo>
                  <a:lnTo>
                    <a:pt x="205" y="248"/>
                  </a:lnTo>
                  <a:lnTo>
                    <a:pt x="207" y="248"/>
                  </a:lnTo>
                  <a:lnTo>
                    <a:pt x="209" y="248"/>
                  </a:lnTo>
                  <a:lnTo>
                    <a:pt x="209" y="250"/>
                  </a:lnTo>
                  <a:lnTo>
                    <a:pt x="211" y="250"/>
                  </a:lnTo>
                  <a:lnTo>
                    <a:pt x="211" y="252"/>
                  </a:lnTo>
                  <a:lnTo>
                    <a:pt x="211" y="252"/>
                  </a:lnTo>
                  <a:lnTo>
                    <a:pt x="211" y="252"/>
                  </a:lnTo>
                  <a:lnTo>
                    <a:pt x="211" y="252"/>
                  </a:lnTo>
                  <a:lnTo>
                    <a:pt x="211" y="252"/>
                  </a:lnTo>
                  <a:lnTo>
                    <a:pt x="211" y="254"/>
                  </a:lnTo>
                  <a:lnTo>
                    <a:pt x="211" y="254"/>
                  </a:lnTo>
                  <a:lnTo>
                    <a:pt x="211" y="254"/>
                  </a:lnTo>
                  <a:lnTo>
                    <a:pt x="211" y="256"/>
                  </a:lnTo>
                  <a:lnTo>
                    <a:pt x="213" y="259"/>
                  </a:lnTo>
                  <a:lnTo>
                    <a:pt x="213" y="259"/>
                  </a:lnTo>
                  <a:lnTo>
                    <a:pt x="213" y="261"/>
                  </a:lnTo>
                  <a:lnTo>
                    <a:pt x="213" y="261"/>
                  </a:lnTo>
                  <a:lnTo>
                    <a:pt x="213" y="263"/>
                  </a:lnTo>
                  <a:lnTo>
                    <a:pt x="213" y="263"/>
                  </a:lnTo>
                  <a:lnTo>
                    <a:pt x="213" y="263"/>
                  </a:lnTo>
                  <a:lnTo>
                    <a:pt x="213" y="263"/>
                  </a:lnTo>
                  <a:lnTo>
                    <a:pt x="211" y="263"/>
                  </a:lnTo>
                  <a:lnTo>
                    <a:pt x="211" y="265"/>
                  </a:lnTo>
                  <a:lnTo>
                    <a:pt x="211" y="265"/>
                  </a:lnTo>
                  <a:lnTo>
                    <a:pt x="213" y="267"/>
                  </a:lnTo>
                  <a:lnTo>
                    <a:pt x="213" y="271"/>
                  </a:lnTo>
                  <a:lnTo>
                    <a:pt x="213" y="271"/>
                  </a:lnTo>
                  <a:lnTo>
                    <a:pt x="213" y="271"/>
                  </a:lnTo>
                  <a:lnTo>
                    <a:pt x="213" y="271"/>
                  </a:lnTo>
                  <a:lnTo>
                    <a:pt x="213" y="273"/>
                  </a:lnTo>
                  <a:lnTo>
                    <a:pt x="213" y="273"/>
                  </a:lnTo>
                  <a:lnTo>
                    <a:pt x="213" y="275"/>
                  </a:lnTo>
                  <a:lnTo>
                    <a:pt x="211" y="275"/>
                  </a:lnTo>
                  <a:lnTo>
                    <a:pt x="209" y="277"/>
                  </a:lnTo>
                  <a:lnTo>
                    <a:pt x="209" y="277"/>
                  </a:lnTo>
                  <a:lnTo>
                    <a:pt x="209" y="277"/>
                  </a:lnTo>
                  <a:lnTo>
                    <a:pt x="209" y="279"/>
                  </a:lnTo>
                  <a:lnTo>
                    <a:pt x="209" y="279"/>
                  </a:lnTo>
                  <a:lnTo>
                    <a:pt x="209" y="281"/>
                  </a:lnTo>
                  <a:lnTo>
                    <a:pt x="209" y="281"/>
                  </a:lnTo>
                  <a:lnTo>
                    <a:pt x="209" y="283"/>
                  </a:lnTo>
                  <a:lnTo>
                    <a:pt x="209" y="285"/>
                  </a:lnTo>
                  <a:lnTo>
                    <a:pt x="209" y="285"/>
                  </a:lnTo>
                  <a:lnTo>
                    <a:pt x="209" y="285"/>
                  </a:lnTo>
                  <a:lnTo>
                    <a:pt x="211" y="287"/>
                  </a:lnTo>
                  <a:lnTo>
                    <a:pt x="211" y="287"/>
                  </a:lnTo>
                  <a:lnTo>
                    <a:pt x="213" y="285"/>
                  </a:lnTo>
                  <a:lnTo>
                    <a:pt x="213" y="285"/>
                  </a:lnTo>
                  <a:lnTo>
                    <a:pt x="213" y="285"/>
                  </a:lnTo>
                  <a:lnTo>
                    <a:pt x="213" y="285"/>
                  </a:lnTo>
                  <a:lnTo>
                    <a:pt x="215" y="285"/>
                  </a:lnTo>
                  <a:lnTo>
                    <a:pt x="217" y="285"/>
                  </a:lnTo>
                  <a:lnTo>
                    <a:pt x="217" y="285"/>
                  </a:lnTo>
                  <a:lnTo>
                    <a:pt x="217" y="285"/>
                  </a:lnTo>
                  <a:lnTo>
                    <a:pt x="223" y="281"/>
                  </a:lnTo>
                  <a:lnTo>
                    <a:pt x="223" y="281"/>
                  </a:lnTo>
                  <a:lnTo>
                    <a:pt x="223" y="281"/>
                  </a:lnTo>
                  <a:lnTo>
                    <a:pt x="225" y="281"/>
                  </a:lnTo>
                  <a:lnTo>
                    <a:pt x="225" y="283"/>
                  </a:lnTo>
                  <a:lnTo>
                    <a:pt x="225" y="283"/>
                  </a:lnTo>
                  <a:lnTo>
                    <a:pt x="227" y="283"/>
                  </a:lnTo>
                  <a:lnTo>
                    <a:pt x="227" y="285"/>
                  </a:lnTo>
                  <a:lnTo>
                    <a:pt x="227" y="285"/>
                  </a:lnTo>
                  <a:lnTo>
                    <a:pt x="227" y="285"/>
                  </a:lnTo>
                  <a:lnTo>
                    <a:pt x="225" y="287"/>
                  </a:lnTo>
                  <a:lnTo>
                    <a:pt x="225" y="287"/>
                  </a:lnTo>
                  <a:lnTo>
                    <a:pt x="223" y="293"/>
                  </a:lnTo>
                  <a:lnTo>
                    <a:pt x="223" y="297"/>
                  </a:lnTo>
                  <a:lnTo>
                    <a:pt x="221" y="297"/>
                  </a:lnTo>
                  <a:lnTo>
                    <a:pt x="221" y="302"/>
                  </a:lnTo>
                  <a:lnTo>
                    <a:pt x="223" y="302"/>
                  </a:lnTo>
                  <a:lnTo>
                    <a:pt x="223" y="304"/>
                  </a:lnTo>
                  <a:lnTo>
                    <a:pt x="225" y="304"/>
                  </a:lnTo>
                  <a:lnTo>
                    <a:pt x="225" y="306"/>
                  </a:lnTo>
                  <a:lnTo>
                    <a:pt x="227" y="308"/>
                  </a:lnTo>
                  <a:lnTo>
                    <a:pt x="227" y="308"/>
                  </a:lnTo>
                  <a:lnTo>
                    <a:pt x="227" y="308"/>
                  </a:lnTo>
                  <a:lnTo>
                    <a:pt x="229" y="310"/>
                  </a:lnTo>
                  <a:lnTo>
                    <a:pt x="233" y="310"/>
                  </a:lnTo>
                  <a:lnTo>
                    <a:pt x="233" y="310"/>
                  </a:lnTo>
                  <a:lnTo>
                    <a:pt x="233" y="306"/>
                  </a:lnTo>
                  <a:lnTo>
                    <a:pt x="233" y="304"/>
                  </a:lnTo>
                  <a:lnTo>
                    <a:pt x="235" y="302"/>
                  </a:lnTo>
                  <a:lnTo>
                    <a:pt x="250" y="275"/>
                  </a:lnTo>
                  <a:lnTo>
                    <a:pt x="250" y="273"/>
                  </a:lnTo>
                  <a:lnTo>
                    <a:pt x="250" y="271"/>
                  </a:lnTo>
                  <a:lnTo>
                    <a:pt x="250" y="271"/>
                  </a:lnTo>
                  <a:lnTo>
                    <a:pt x="252" y="269"/>
                  </a:lnTo>
                  <a:lnTo>
                    <a:pt x="252" y="267"/>
                  </a:lnTo>
                  <a:lnTo>
                    <a:pt x="254" y="263"/>
                  </a:lnTo>
                  <a:lnTo>
                    <a:pt x="254" y="261"/>
                  </a:lnTo>
                  <a:lnTo>
                    <a:pt x="256" y="256"/>
                  </a:lnTo>
                  <a:lnTo>
                    <a:pt x="258" y="254"/>
                  </a:lnTo>
                  <a:lnTo>
                    <a:pt x="260" y="248"/>
                  </a:lnTo>
                  <a:lnTo>
                    <a:pt x="262" y="246"/>
                  </a:lnTo>
                  <a:lnTo>
                    <a:pt x="264" y="244"/>
                  </a:lnTo>
                  <a:lnTo>
                    <a:pt x="266" y="244"/>
                  </a:lnTo>
                  <a:lnTo>
                    <a:pt x="266" y="240"/>
                  </a:lnTo>
                  <a:lnTo>
                    <a:pt x="266" y="240"/>
                  </a:lnTo>
                  <a:lnTo>
                    <a:pt x="266" y="236"/>
                  </a:lnTo>
                  <a:lnTo>
                    <a:pt x="268" y="232"/>
                  </a:lnTo>
                  <a:lnTo>
                    <a:pt x="268" y="230"/>
                  </a:lnTo>
                  <a:lnTo>
                    <a:pt x="270" y="228"/>
                  </a:lnTo>
                  <a:lnTo>
                    <a:pt x="270" y="228"/>
                  </a:lnTo>
                  <a:lnTo>
                    <a:pt x="270" y="222"/>
                  </a:lnTo>
                  <a:lnTo>
                    <a:pt x="272" y="220"/>
                  </a:lnTo>
                  <a:lnTo>
                    <a:pt x="272" y="220"/>
                  </a:lnTo>
                  <a:lnTo>
                    <a:pt x="274" y="222"/>
                  </a:lnTo>
                  <a:lnTo>
                    <a:pt x="274" y="222"/>
                  </a:lnTo>
                  <a:lnTo>
                    <a:pt x="274" y="224"/>
                  </a:lnTo>
                  <a:lnTo>
                    <a:pt x="272" y="226"/>
                  </a:lnTo>
                  <a:lnTo>
                    <a:pt x="272" y="228"/>
                  </a:lnTo>
                  <a:lnTo>
                    <a:pt x="272" y="228"/>
                  </a:lnTo>
                  <a:lnTo>
                    <a:pt x="272" y="230"/>
                  </a:lnTo>
                  <a:lnTo>
                    <a:pt x="272" y="232"/>
                  </a:lnTo>
                  <a:lnTo>
                    <a:pt x="272" y="234"/>
                  </a:lnTo>
                  <a:lnTo>
                    <a:pt x="274" y="234"/>
                  </a:lnTo>
                  <a:lnTo>
                    <a:pt x="274" y="236"/>
                  </a:lnTo>
                  <a:lnTo>
                    <a:pt x="274" y="240"/>
                  </a:lnTo>
                  <a:lnTo>
                    <a:pt x="274" y="242"/>
                  </a:lnTo>
                  <a:lnTo>
                    <a:pt x="276" y="244"/>
                  </a:lnTo>
                  <a:lnTo>
                    <a:pt x="276" y="244"/>
                  </a:lnTo>
                  <a:lnTo>
                    <a:pt x="276" y="242"/>
                  </a:lnTo>
                  <a:lnTo>
                    <a:pt x="276" y="242"/>
                  </a:lnTo>
                  <a:lnTo>
                    <a:pt x="280" y="240"/>
                  </a:lnTo>
                  <a:lnTo>
                    <a:pt x="283" y="240"/>
                  </a:lnTo>
                  <a:lnTo>
                    <a:pt x="283" y="240"/>
                  </a:lnTo>
                  <a:lnTo>
                    <a:pt x="285" y="238"/>
                  </a:lnTo>
                  <a:lnTo>
                    <a:pt x="285" y="238"/>
                  </a:lnTo>
                  <a:lnTo>
                    <a:pt x="285" y="236"/>
                  </a:lnTo>
                  <a:lnTo>
                    <a:pt x="287" y="232"/>
                  </a:lnTo>
                  <a:lnTo>
                    <a:pt x="287" y="232"/>
                  </a:lnTo>
                  <a:lnTo>
                    <a:pt x="287" y="230"/>
                  </a:lnTo>
                  <a:lnTo>
                    <a:pt x="289" y="230"/>
                  </a:lnTo>
                  <a:lnTo>
                    <a:pt x="289" y="228"/>
                  </a:lnTo>
                  <a:lnTo>
                    <a:pt x="289" y="228"/>
                  </a:lnTo>
                  <a:lnTo>
                    <a:pt x="289" y="226"/>
                  </a:lnTo>
                  <a:lnTo>
                    <a:pt x="289" y="224"/>
                  </a:lnTo>
                  <a:lnTo>
                    <a:pt x="291" y="224"/>
                  </a:lnTo>
                  <a:lnTo>
                    <a:pt x="291" y="224"/>
                  </a:lnTo>
                  <a:lnTo>
                    <a:pt x="295" y="226"/>
                  </a:lnTo>
                  <a:lnTo>
                    <a:pt x="297" y="226"/>
                  </a:lnTo>
                  <a:lnTo>
                    <a:pt x="299" y="224"/>
                  </a:lnTo>
                  <a:lnTo>
                    <a:pt x="299" y="224"/>
                  </a:lnTo>
                  <a:lnTo>
                    <a:pt x="301" y="222"/>
                  </a:lnTo>
                  <a:lnTo>
                    <a:pt x="301" y="220"/>
                  </a:lnTo>
                  <a:lnTo>
                    <a:pt x="303" y="220"/>
                  </a:lnTo>
                  <a:lnTo>
                    <a:pt x="305" y="220"/>
                  </a:lnTo>
                  <a:lnTo>
                    <a:pt x="305" y="220"/>
                  </a:lnTo>
                  <a:lnTo>
                    <a:pt x="307" y="220"/>
                  </a:lnTo>
                  <a:lnTo>
                    <a:pt x="307" y="222"/>
                  </a:lnTo>
                  <a:lnTo>
                    <a:pt x="305" y="228"/>
                  </a:lnTo>
                  <a:lnTo>
                    <a:pt x="305" y="230"/>
                  </a:lnTo>
                  <a:lnTo>
                    <a:pt x="307" y="230"/>
                  </a:lnTo>
                  <a:lnTo>
                    <a:pt x="307" y="230"/>
                  </a:lnTo>
                  <a:lnTo>
                    <a:pt x="307" y="230"/>
                  </a:lnTo>
                  <a:lnTo>
                    <a:pt x="307" y="232"/>
                  </a:lnTo>
                  <a:lnTo>
                    <a:pt x="305" y="232"/>
                  </a:lnTo>
                  <a:lnTo>
                    <a:pt x="305" y="230"/>
                  </a:lnTo>
                  <a:lnTo>
                    <a:pt x="303" y="230"/>
                  </a:lnTo>
                  <a:lnTo>
                    <a:pt x="303" y="230"/>
                  </a:lnTo>
                  <a:lnTo>
                    <a:pt x="301" y="232"/>
                  </a:lnTo>
                  <a:lnTo>
                    <a:pt x="301" y="232"/>
                  </a:lnTo>
                  <a:lnTo>
                    <a:pt x="301" y="232"/>
                  </a:lnTo>
                  <a:lnTo>
                    <a:pt x="301" y="232"/>
                  </a:lnTo>
                  <a:lnTo>
                    <a:pt x="301" y="234"/>
                  </a:lnTo>
                  <a:lnTo>
                    <a:pt x="301" y="234"/>
                  </a:lnTo>
                  <a:lnTo>
                    <a:pt x="301" y="234"/>
                  </a:lnTo>
                  <a:lnTo>
                    <a:pt x="301" y="234"/>
                  </a:lnTo>
                  <a:lnTo>
                    <a:pt x="299" y="234"/>
                  </a:lnTo>
                  <a:lnTo>
                    <a:pt x="299" y="236"/>
                  </a:lnTo>
                  <a:lnTo>
                    <a:pt x="299" y="238"/>
                  </a:lnTo>
                  <a:lnTo>
                    <a:pt x="299" y="240"/>
                  </a:lnTo>
                  <a:lnTo>
                    <a:pt x="297" y="242"/>
                  </a:lnTo>
                  <a:lnTo>
                    <a:pt x="297" y="242"/>
                  </a:lnTo>
                  <a:lnTo>
                    <a:pt x="297" y="244"/>
                  </a:lnTo>
                  <a:lnTo>
                    <a:pt x="299" y="246"/>
                  </a:lnTo>
                  <a:lnTo>
                    <a:pt x="301" y="248"/>
                  </a:lnTo>
                  <a:lnTo>
                    <a:pt x="303" y="248"/>
                  </a:lnTo>
                  <a:lnTo>
                    <a:pt x="303" y="248"/>
                  </a:lnTo>
                  <a:lnTo>
                    <a:pt x="305" y="248"/>
                  </a:lnTo>
                  <a:lnTo>
                    <a:pt x="305" y="248"/>
                  </a:lnTo>
                  <a:lnTo>
                    <a:pt x="305" y="248"/>
                  </a:lnTo>
                  <a:lnTo>
                    <a:pt x="305" y="246"/>
                  </a:lnTo>
                  <a:lnTo>
                    <a:pt x="303" y="246"/>
                  </a:lnTo>
                  <a:lnTo>
                    <a:pt x="303" y="246"/>
                  </a:lnTo>
                  <a:lnTo>
                    <a:pt x="303" y="244"/>
                  </a:lnTo>
                  <a:lnTo>
                    <a:pt x="303" y="244"/>
                  </a:lnTo>
                  <a:lnTo>
                    <a:pt x="303" y="242"/>
                  </a:lnTo>
                  <a:lnTo>
                    <a:pt x="303" y="242"/>
                  </a:lnTo>
                  <a:lnTo>
                    <a:pt x="305" y="242"/>
                  </a:lnTo>
                  <a:lnTo>
                    <a:pt x="305" y="242"/>
                  </a:lnTo>
                  <a:lnTo>
                    <a:pt x="305" y="238"/>
                  </a:lnTo>
                  <a:lnTo>
                    <a:pt x="307" y="238"/>
                  </a:lnTo>
                  <a:lnTo>
                    <a:pt x="309" y="236"/>
                  </a:lnTo>
                  <a:lnTo>
                    <a:pt x="309" y="236"/>
                  </a:lnTo>
                  <a:lnTo>
                    <a:pt x="309" y="234"/>
                  </a:lnTo>
                  <a:lnTo>
                    <a:pt x="309" y="234"/>
                  </a:lnTo>
                  <a:lnTo>
                    <a:pt x="309" y="232"/>
                  </a:lnTo>
                  <a:lnTo>
                    <a:pt x="311" y="232"/>
                  </a:lnTo>
                  <a:lnTo>
                    <a:pt x="313" y="232"/>
                  </a:lnTo>
                  <a:lnTo>
                    <a:pt x="315" y="230"/>
                  </a:lnTo>
                  <a:lnTo>
                    <a:pt x="315" y="230"/>
                  </a:lnTo>
                  <a:lnTo>
                    <a:pt x="317" y="228"/>
                  </a:lnTo>
                  <a:lnTo>
                    <a:pt x="317" y="228"/>
                  </a:lnTo>
                  <a:lnTo>
                    <a:pt x="317" y="228"/>
                  </a:lnTo>
                  <a:lnTo>
                    <a:pt x="321" y="226"/>
                  </a:lnTo>
                  <a:lnTo>
                    <a:pt x="321" y="226"/>
                  </a:lnTo>
                  <a:lnTo>
                    <a:pt x="321" y="224"/>
                  </a:lnTo>
                  <a:lnTo>
                    <a:pt x="321" y="224"/>
                  </a:lnTo>
                  <a:lnTo>
                    <a:pt x="323" y="218"/>
                  </a:lnTo>
                  <a:lnTo>
                    <a:pt x="326" y="213"/>
                  </a:lnTo>
                  <a:lnTo>
                    <a:pt x="328" y="209"/>
                  </a:lnTo>
                  <a:lnTo>
                    <a:pt x="342" y="205"/>
                  </a:lnTo>
                  <a:lnTo>
                    <a:pt x="344" y="205"/>
                  </a:lnTo>
                  <a:close/>
                  <a:moveTo>
                    <a:pt x="287" y="156"/>
                  </a:moveTo>
                  <a:lnTo>
                    <a:pt x="287" y="156"/>
                  </a:lnTo>
                  <a:lnTo>
                    <a:pt x="289" y="156"/>
                  </a:lnTo>
                  <a:lnTo>
                    <a:pt x="289" y="158"/>
                  </a:lnTo>
                  <a:lnTo>
                    <a:pt x="289" y="158"/>
                  </a:lnTo>
                  <a:lnTo>
                    <a:pt x="289" y="160"/>
                  </a:lnTo>
                  <a:lnTo>
                    <a:pt x="289" y="160"/>
                  </a:lnTo>
                  <a:lnTo>
                    <a:pt x="291" y="160"/>
                  </a:lnTo>
                  <a:lnTo>
                    <a:pt x="291" y="160"/>
                  </a:lnTo>
                  <a:lnTo>
                    <a:pt x="291" y="160"/>
                  </a:lnTo>
                  <a:lnTo>
                    <a:pt x="291" y="158"/>
                  </a:lnTo>
                  <a:lnTo>
                    <a:pt x="291" y="158"/>
                  </a:lnTo>
                  <a:lnTo>
                    <a:pt x="291" y="160"/>
                  </a:lnTo>
                  <a:lnTo>
                    <a:pt x="293" y="160"/>
                  </a:lnTo>
                  <a:lnTo>
                    <a:pt x="293" y="160"/>
                  </a:lnTo>
                  <a:lnTo>
                    <a:pt x="293" y="160"/>
                  </a:lnTo>
                  <a:lnTo>
                    <a:pt x="295" y="160"/>
                  </a:lnTo>
                  <a:lnTo>
                    <a:pt x="295" y="158"/>
                  </a:lnTo>
                  <a:lnTo>
                    <a:pt x="295" y="158"/>
                  </a:lnTo>
                  <a:lnTo>
                    <a:pt x="293" y="156"/>
                  </a:lnTo>
                  <a:lnTo>
                    <a:pt x="293" y="158"/>
                  </a:lnTo>
                  <a:lnTo>
                    <a:pt x="291" y="158"/>
                  </a:lnTo>
                  <a:lnTo>
                    <a:pt x="291" y="156"/>
                  </a:lnTo>
                  <a:lnTo>
                    <a:pt x="291" y="156"/>
                  </a:lnTo>
                  <a:lnTo>
                    <a:pt x="293" y="154"/>
                  </a:lnTo>
                  <a:lnTo>
                    <a:pt x="291" y="152"/>
                  </a:lnTo>
                  <a:lnTo>
                    <a:pt x="291" y="150"/>
                  </a:lnTo>
                  <a:lnTo>
                    <a:pt x="291" y="150"/>
                  </a:lnTo>
                  <a:lnTo>
                    <a:pt x="289" y="150"/>
                  </a:lnTo>
                  <a:lnTo>
                    <a:pt x="287" y="150"/>
                  </a:lnTo>
                  <a:lnTo>
                    <a:pt x="287" y="152"/>
                  </a:lnTo>
                  <a:lnTo>
                    <a:pt x="287" y="154"/>
                  </a:lnTo>
                  <a:lnTo>
                    <a:pt x="287" y="156"/>
                  </a:lnTo>
                  <a:close/>
                  <a:moveTo>
                    <a:pt x="133" y="99"/>
                  </a:moveTo>
                  <a:lnTo>
                    <a:pt x="131" y="101"/>
                  </a:lnTo>
                  <a:lnTo>
                    <a:pt x="131" y="103"/>
                  </a:lnTo>
                  <a:lnTo>
                    <a:pt x="131" y="107"/>
                  </a:lnTo>
                  <a:lnTo>
                    <a:pt x="133" y="109"/>
                  </a:lnTo>
                  <a:lnTo>
                    <a:pt x="139" y="109"/>
                  </a:lnTo>
                  <a:lnTo>
                    <a:pt x="141" y="109"/>
                  </a:lnTo>
                  <a:lnTo>
                    <a:pt x="143" y="111"/>
                  </a:lnTo>
                  <a:lnTo>
                    <a:pt x="143" y="111"/>
                  </a:lnTo>
                  <a:lnTo>
                    <a:pt x="145" y="109"/>
                  </a:lnTo>
                  <a:lnTo>
                    <a:pt x="147" y="109"/>
                  </a:lnTo>
                  <a:lnTo>
                    <a:pt x="147" y="107"/>
                  </a:lnTo>
                  <a:lnTo>
                    <a:pt x="145" y="105"/>
                  </a:lnTo>
                  <a:lnTo>
                    <a:pt x="143" y="107"/>
                  </a:lnTo>
                  <a:lnTo>
                    <a:pt x="145" y="105"/>
                  </a:lnTo>
                  <a:lnTo>
                    <a:pt x="145" y="103"/>
                  </a:lnTo>
                  <a:lnTo>
                    <a:pt x="147" y="101"/>
                  </a:lnTo>
                  <a:lnTo>
                    <a:pt x="147" y="101"/>
                  </a:lnTo>
                  <a:lnTo>
                    <a:pt x="147" y="103"/>
                  </a:lnTo>
                  <a:lnTo>
                    <a:pt x="147" y="107"/>
                  </a:lnTo>
                  <a:lnTo>
                    <a:pt x="147" y="107"/>
                  </a:lnTo>
                  <a:lnTo>
                    <a:pt x="147" y="109"/>
                  </a:lnTo>
                  <a:lnTo>
                    <a:pt x="147" y="111"/>
                  </a:lnTo>
                  <a:lnTo>
                    <a:pt x="145" y="113"/>
                  </a:lnTo>
                  <a:lnTo>
                    <a:pt x="143" y="113"/>
                  </a:lnTo>
                  <a:lnTo>
                    <a:pt x="143" y="115"/>
                  </a:lnTo>
                  <a:lnTo>
                    <a:pt x="143" y="115"/>
                  </a:lnTo>
                  <a:lnTo>
                    <a:pt x="149" y="121"/>
                  </a:lnTo>
                  <a:lnTo>
                    <a:pt x="149" y="121"/>
                  </a:lnTo>
                  <a:lnTo>
                    <a:pt x="151" y="119"/>
                  </a:lnTo>
                  <a:lnTo>
                    <a:pt x="151" y="117"/>
                  </a:lnTo>
                  <a:lnTo>
                    <a:pt x="153" y="111"/>
                  </a:lnTo>
                  <a:lnTo>
                    <a:pt x="153" y="111"/>
                  </a:lnTo>
                  <a:lnTo>
                    <a:pt x="158" y="109"/>
                  </a:lnTo>
                  <a:lnTo>
                    <a:pt x="158" y="107"/>
                  </a:lnTo>
                  <a:lnTo>
                    <a:pt x="158" y="105"/>
                  </a:lnTo>
                  <a:lnTo>
                    <a:pt x="158" y="105"/>
                  </a:lnTo>
                  <a:lnTo>
                    <a:pt x="160" y="105"/>
                  </a:lnTo>
                  <a:lnTo>
                    <a:pt x="162" y="105"/>
                  </a:lnTo>
                  <a:lnTo>
                    <a:pt x="162" y="103"/>
                  </a:lnTo>
                  <a:lnTo>
                    <a:pt x="160" y="103"/>
                  </a:lnTo>
                  <a:lnTo>
                    <a:pt x="160" y="101"/>
                  </a:lnTo>
                  <a:lnTo>
                    <a:pt x="162" y="99"/>
                  </a:lnTo>
                  <a:lnTo>
                    <a:pt x="162" y="97"/>
                  </a:lnTo>
                  <a:lnTo>
                    <a:pt x="164" y="97"/>
                  </a:lnTo>
                  <a:lnTo>
                    <a:pt x="164" y="97"/>
                  </a:lnTo>
                  <a:lnTo>
                    <a:pt x="166" y="97"/>
                  </a:lnTo>
                  <a:lnTo>
                    <a:pt x="166" y="95"/>
                  </a:lnTo>
                  <a:lnTo>
                    <a:pt x="168" y="93"/>
                  </a:lnTo>
                  <a:lnTo>
                    <a:pt x="170" y="90"/>
                  </a:lnTo>
                  <a:lnTo>
                    <a:pt x="172" y="90"/>
                  </a:lnTo>
                  <a:lnTo>
                    <a:pt x="172" y="90"/>
                  </a:lnTo>
                  <a:lnTo>
                    <a:pt x="172" y="86"/>
                  </a:lnTo>
                  <a:lnTo>
                    <a:pt x="174" y="86"/>
                  </a:lnTo>
                  <a:lnTo>
                    <a:pt x="176" y="86"/>
                  </a:lnTo>
                  <a:lnTo>
                    <a:pt x="176" y="84"/>
                  </a:lnTo>
                  <a:lnTo>
                    <a:pt x="180" y="80"/>
                  </a:lnTo>
                  <a:lnTo>
                    <a:pt x="180" y="80"/>
                  </a:lnTo>
                  <a:lnTo>
                    <a:pt x="176" y="78"/>
                  </a:lnTo>
                  <a:lnTo>
                    <a:pt x="174" y="78"/>
                  </a:lnTo>
                  <a:lnTo>
                    <a:pt x="176" y="78"/>
                  </a:lnTo>
                  <a:lnTo>
                    <a:pt x="176" y="76"/>
                  </a:lnTo>
                  <a:lnTo>
                    <a:pt x="180" y="76"/>
                  </a:lnTo>
                  <a:lnTo>
                    <a:pt x="184" y="74"/>
                  </a:lnTo>
                  <a:lnTo>
                    <a:pt x="186" y="74"/>
                  </a:lnTo>
                  <a:lnTo>
                    <a:pt x="188" y="74"/>
                  </a:lnTo>
                  <a:lnTo>
                    <a:pt x="190" y="76"/>
                  </a:lnTo>
                  <a:lnTo>
                    <a:pt x="192" y="76"/>
                  </a:lnTo>
                  <a:lnTo>
                    <a:pt x="194" y="74"/>
                  </a:lnTo>
                  <a:lnTo>
                    <a:pt x="196" y="72"/>
                  </a:lnTo>
                  <a:lnTo>
                    <a:pt x="199" y="72"/>
                  </a:lnTo>
                  <a:lnTo>
                    <a:pt x="199" y="72"/>
                  </a:lnTo>
                  <a:lnTo>
                    <a:pt x="196" y="72"/>
                  </a:lnTo>
                  <a:lnTo>
                    <a:pt x="194" y="68"/>
                  </a:lnTo>
                  <a:lnTo>
                    <a:pt x="194" y="68"/>
                  </a:lnTo>
                  <a:lnTo>
                    <a:pt x="190" y="66"/>
                  </a:lnTo>
                  <a:lnTo>
                    <a:pt x="188" y="66"/>
                  </a:lnTo>
                  <a:lnTo>
                    <a:pt x="172" y="68"/>
                  </a:lnTo>
                  <a:lnTo>
                    <a:pt x="166" y="70"/>
                  </a:lnTo>
                  <a:lnTo>
                    <a:pt x="160" y="72"/>
                  </a:lnTo>
                  <a:lnTo>
                    <a:pt x="160" y="74"/>
                  </a:lnTo>
                  <a:lnTo>
                    <a:pt x="158" y="76"/>
                  </a:lnTo>
                  <a:lnTo>
                    <a:pt x="158" y="76"/>
                  </a:lnTo>
                  <a:lnTo>
                    <a:pt x="156" y="76"/>
                  </a:lnTo>
                  <a:lnTo>
                    <a:pt x="156" y="76"/>
                  </a:lnTo>
                  <a:lnTo>
                    <a:pt x="153" y="76"/>
                  </a:lnTo>
                  <a:lnTo>
                    <a:pt x="153" y="76"/>
                  </a:lnTo>
                  <a:lnTo>
                    <a:pt x="151" y="78"/>
                  </a:lnTo>
                  <a:lnTo>
                    <a:pt x="145" y="80"/>
                  </a:lnTo>
                  <a:lnTo>
                    <a:pt x="143" y="82"/>
                  </a:lnTo>
                  <a:lnTo>
                    <a:pt x="137" y="93"/>
                  </a:lnTo>
                  <a:lnTo>
                    <a:pt x="137" y="95"/>
                  </a:lnTo>
                  <a:lnTo>
                    <a:pt x="133" y="97"/>
                  </a:lnTo>
                  <a:lnTo>
                    <a:pt x="133" y="99"/>
                  </a:lnTo>
                  <a:close/>
                  <a:moveTo>
                    <a:pt x="80" y="35"/>
                  </a:moveTo>
                  <a:lnTo>
                    <a:pt x="84" y="33"/>
                  </a:lnTo>
                  <a:lnTo>
                    <a:pt x="84" y="33"/>
                  </a:lnTo>
                  <a:lnTo>
                    <a:pt x="80" y="35"/>
                  </a:lnTo>
                  <a:lnTo>
                    <a:pt x="80" y="35"/>
                  </a:lnTo>
                  <a:lnTo>
                    <a:pt x="80" y="39"/>
                  </a:lnTo>
                  <a:lnTo>
                    <a:pt x="80" y="39"/>
                  </a:lnTo>
                  <a:lnTo>
                    <a:pt x="80" y="39"/>
                  </a:lnTo>
                  <a:lnTo>
                    <a:pt x="80" y="39"/>
                  </a:lnTo>
                  <a:lnTo>
                    <a:pt x="80" y="39"/>
                  </a:lnTo>
                  <a:lnTo>
                    <a:pt x="82" y="41"/>
                  </a:lnTo>
                  <a:lnTo>
                    <a:pt x="84" y="41"/>
                  </a:lnTo>
                  <a:lnTo>
                    <a:pt x="86" y="41"/>
                  </a:lnTo>
                  <a:lnTo>
                    <a:pt x="98" y="33"/>
                  </a:lnTo>
                  <a:lnTo>
                    <a:pt x="102" y="33"/>
                  </a:lnTo>
                  <a:lnTo>
                    <a:pt x="102" y="33"/>
                  </a:lnTo>
                  <a:lnTo>
                    <a:pt x="94" y="33"/>
                  </a:lnTo>
                  <a:lnTo>
                    <a:pt x="96" y="31"/>
                  </a:lnTo>
                  <a:lnTo>
                    <a:pt x="98" y="29"/>
                  </a:lnTo>
                  <a:lnTo>
                    <a:pt x="98" y="29"/>
                  </a:lnTo>
                  <a:lnTo>
                    <a:pt x="117" y="19"/>
                  </a:lnTo>
                  <a:lnTo>
                    <a:pt x="121" y="17"/>
                  </a:lnTo>
                  <a:lnTo>
                    <a:pt x="125" y="15"/>
                  </a:lnTo>
                  <a:lnTo>
                    <a:pt x="125" y="13"/>
                  </a:lnTo>
                  <a:lnTo>
                    <a:pt x="125" y="13"/>
                  </a:lnTo>
                  <a:lnTo>
                    <a:pt x="123" y="11"/>
                  </a:lnTo>
                  <a:lnTo>
                    <a:pt x="123" y="11"/>
                  </a:lnTo>
                  <a:lnTo>
                    <a:pt x="125" y="8"/>
                  </a:lnTo>
                  <a:lnTo>
                    <a:pt x="131" y="4"/>
                  </a:lnTo>
                  <a:lnTo>
                    <a:pt x="133" y="2"/>
                  </a:lnTo>
                  <a:lnTo>
                    <a:pt x="133" y="0"/>
                  </a:lnTo>
                  <a:lnTo>
                    <a:pt x="133" y="0"/>
                  </a:lnTo>
                  <a:lnTo>
                    <a:pt x="133" y="0"/>
                  </a:lnTo>
                  <a:lnTo>
                    <a:pt x="133" y="0"/>
                  </a:lnTo>
                  <a:lnTo>
                    <a:pt x="131" y="2"/>
                  </a:lnTo>
                  <a:lnTo>
                    <a:pt x="129" y="2"/>
                  </a:lnTo>
                  <a:lnTo>
                    <a:pt x="129" y="2"/>
                  </a:lnTo>
                  <a:lnTo>
                    <a:pt x="131" y="0"/>
                  </a:lnTo>
                  <a:lnTo>
                    <a:pt x="131" y="0"/>
                  </a:lnTo>
                  <a:lnTo>
                    <a:pt x="127" y="2"/>
                  </a:lnTo>
                  <a:lnTo>
                    <a:pt x="125" y="4"/>
                  </a:lnTo>
                  <a:lnTo>
                    <a:pt x="123" y="4"/>
                  </a:lnTo>
                  <a:lnTo>
                    <a:pt x="121" y="6"/>
                  </a:lnTo>
                  <a:lnTo>
                    <a:pt x="121" y="4"/>
                  </a:lnTo>
                  <a:lnTo>
                    <a:pt x="115" y="11"/>
                  </a:lnTo>
                  <a:lnTo>
                    <a:pt x="115" y="8"/>
                  </a:lnTo>
                  <a:lnTo>
                    <a:pt x="113" y="11"/>
                  </a:lnTo>
                  <a:lnTo>
                    <a:pt x="108" y="13"/>
                  </a:lnTo>
                  <a:lnTo>
                    <a:pt x="106" y="15"/>
                  </a:lnTo>
                  <a:lnTo>
                    <a:pt x="104" y="17"/>
                  </a:lnTo>
                  <a:lnTo>
                    <a:pt x="102" y="17"/>
                  </a:lnTo>
                  <a:lnTo>
                    <a:pt x="100" y="19"/>
                  </a:lnTo>
                  <a:lnTo>
                    <a:pt x="98" y="19"/>
                  </a:lnTo>
                  <a:lnTo>
                    <a:pt x="98" y="19"/>
                  </a:lnTo>
                  <a:lnTo>
                    <a:pt x="96" y="21"/>
                  </a:lnTo>
                  <a:lnTo>
                    <a:pt x="86" y="27"/>
                  </a:lnTo>
                  <a:lnTo>
                    <a:pt x="78" y="33"/>
                  </a:lnTo>
                  <a:lnTo>
                    <a:pt x="80" y="35"/>
                  </a:lnTo>
                  <a:lnTo>
                    <a:pt x="80" y="35"/>
                  </a:lnTo>
                  <a:close/>
                  <a:moveTo>
                    <a:pt x="352" y="302"/>
                  </a:moveTo>
                  <a:lnTo>
                    <a:pt x="352" y="302"/>
                  </a:lnTo>
                  <a:lnTo>
                    <a:pt x="350" y="302"/>
                  </a:lnTo>
                  <a:lnTo>
                    <a:pt x="350" y="302"/>
                  </a:lnTo>
                  <a:lnTo>
                    <a:pt x="348" y="304"/>
                  </a:lnTo>
                  <a:lnTo>
                    <a:pt x="348" y="306"/>
                  </a:lnTo>
                  <a:lnTo>
                    <a:pt x="348" y="306"/>
                  </a:lnTo>
                  <a:lnTo>
                    <a:pt x="350" y="308"/>
                  </a:lnTo>
                  <a:lnTo>
                    <a:pt x="352" y="306"/>
                  </a:lnTo>
                  <a:lnTo>
                    <a:pt x="352" y="304"/>
                  </a:lnTo>
                  <a:lnTo>
                    <a:pt x="354" y="302"/>
                  </a:lnTo>
                  <a:lnTo>
                    <a:pt x="352" y="302"/>
                  </a:lnTo>
                  <a:lnTo>
                    <a:pt x="352" y="302"/>
                  </a:lnTo>
                  <a:close/>
                  <a:moveTo>
                    <a:pt x="358" y="297"/>
                  </a:moveTo>
                  <a:lnTo>
                    <a:pt x="360" y="297"/>
                  </a:lnTo>
                  <a:lnTo>
                    <a:pt x="360" y="295"/>
                  </a:lnTo>
                  <a:lnTo>
                    <a:pt x="360" y="295"/>
                  </a:lnTo>
                  <a:lnTo>
                    <a:pt x="360" y="293"/>
                  </a:lnTo>
                  <a:lnTo>
                    <a:pt x="360" y="291"/>
                  </a:lnTo>
                  <a:lnTo>
                    <a:pt x="360" y="291"/>
                  </a:lnTo>
                  <a:lnTo>
                    <a:pt x="358" y="289"/>
                  </a:lnTo>
                  <a:lnTo>
                    <a:pt x="358" y="289"/>
                  </a:lnTo>
                  <a:lnTo>
                    <a:pt x="356" y="289"/>
                  </a:lnTo>
                  <a:lnTo>
                    <a:pt x="356" y="289"/>
                  </a:lnTo>
                  <a:lnTo>
                    <a:pt x="354" y="289"/>
                  </a:lnTo>
                  <a:lnTo>
                    <a:pt x="354" y="291"/>
                  </a:lnTo>
                  <a:lnTo>
                    <a:pt x="356" y="297"/>
                  </a:lnTo>
                  <a:lnTo>
                    <a:pt x="358" y="297"/>
                  </a:lnTo>
                  <a:close/>
                  <a:moveTo>
                    <a:pt x="473" y="187"/>
                  </a:moveTo>
                  <a:lnTo>
                    <a:pt x="471" y="185"/>
                  </a:lnTo>
                  <a:lnTo>
                    <a:pt x="469" y="187"/>
                  </a:lnTo>
                  <a:lnTo>
                    <a:pt x="469" y="187"/>
                  </a:lnTo>
                  <a:lnTo>
                    <a:pt x="469" y="187"/>
                  </a:lnTo>
                  <a:lnTo>
                    <a:pt x="469" y="187"/>
                  </a:lnTo>
                  <a:lnTo>
                    <a:pt x="469" y="189"/>
                  </a:lnTo>
                  <a:lnTo>
                    <a:pt x="471" y="189"/>
                  </a:lnTo>
                  <a:lnTo>
                    <a:pt x="471" y="189"/>
                  </a:lnTo>
                  <a:lnTo>
                    <a:pt x="469" y="189"/>
                  </a:lnTo>
                  <a:lnTo>
                    <a:pt x="471" y="189"/>
                  </a:lnTo>
                  <a:lnTo>
                    <a:pt x="473" y="191"/>
                  </a:lnTo>
                  <a:lnTo>
                    <a:pt x="477" y="189"/>
                  </a:lnTo>
                  <a:lnTo>
                    <a:pt x="475" y="189"/>
                  </a:lnTo>
                  <a:lnTo>
                    <a:pt x="475" y="189"/>
                  </a:lnTo>
                  <a:lnTo>
                    <a:pt x="473" y="187"/>
                  </a:lnTo>
                  <a:lnTo>
                    <a:pt x="473" y="189"/>
                  </a:lnTo>
                  <a:lnTo>
                    <a:pt x="473" y="187"/>
                  </a:lnTo>
                  <a:lnTo>
                    <a:pt x="473" y="187"/>
                  </a:lnTo>
                  <a:close/>
                  <a:moveTo>
                    <a:pt x="364" y="256"/>
                  </a:moveTo>
                  <a:lnTo>
                    <a:pt x="364" y="256"/>
                  </a:lnTo>
                  <a:lnTo>
                    <a:pt x="364" y="256"/>
                  </a:lnTo>
                  <a:lnTo>
                    <a:pt x="362" y="256"/>
                  </a:lnTo>
                  <a:lnTo>
                    <a:pt x="366" y="263"/>
                  </a:lnTo>
                  <a:lnTo>
                    <a:pt x="369" y="263"/>
                  </a:lnTo>
                  <a:lnTo>
                    <a:pt x="369" y="261"/>
                  </a:lnTo>
                  <a:lnTo>
                    <a:pt x="369" y="261"/>
                  </a:lnTo>
                  <a:lnTo>
                    <a:pt x="366" y="259"/>
                  </a:lnTo>
                  <a:lnTo>
                    <a:pt x="364" y="256"/>
                  </a:lnTo>
                  <a:close/>
                  <a:moveTo>
                    <a:pt x="674" y="478"/>
                  </a:moveTo>
                  <a:lnTo>
                    <a:pt x="674" y="476"/>
                  </a:lnTo>
                  <a:lnTo>
                    <a:pt x="674" y="472"/>
                  </a:lnTo>
                  <a:lnTo>
                    <a:pt x="674" y="472"/>
                  </a:lnTo>
                  <a:lnTo>
                    <a:pt x="672" y="470"/>
                  </a:lnTo>
                  <a:lnTo>
                    <a:pt x="670" y="465"/>
                  </a:lnTo>
                  <a:lnTo>
                    <a:pt x="668" y="463"/>
                  </a:lnTo>
                  <a:lnTo>
                    <a:pt x="668" y="463"/>
                  </a:lnTo>
                  <a:lnTo>
                    <a:pt x="661" y="445"/>
                  </a:lnTo>
                  <a:lnTo>
                    <a:pt x="655" y="429"/>
                  </a:lnTo>
                  <a:lnTo>
                    <a:pt x="653" y="420"/>
                  </a:lnTo>
                  <a:lnTo>
                    <a:pt x="643" y="392"/>
                  </a:lnTo>
                  <a:lnTo>
                    <a:pt x="639" y="386"/>
                  </a:lnTo>
                  <a:lnTo>
                    <a:pt x="639" y="386"/>
                  </a:lnTo>
                  <a:lnTo>
                    <a:pt x="639" y="384"/>
                  </a:lnTo>
                  <a:lnTo>
                    <a:pt x="637" y="381"/>
                  </a:lnTo>
                  <a:lnTo>
                    <a:pt x="633" y="375"/>
                  </a:lnTo>
                  <a:lnTo>
                    <a:pt x="629" y="373"/>
                  </a:lnTo>
                  <a:lnTo>
                    <a:pt x="627" y="371"/>
                  </a:lnTo>
                  <a:lnTo>
                    <a:pt x="616" y="369"/>
                  </a:lnTo>
                  <a:lnTo>
                    <a:pt x="614" y="369"/>
                  </a:lnTo>
                  <a:lnTo>
                    <a:pt x="612" y="369"/>
                  </a:lnTo>
                  <a:lnTo>
                    <a:pt x="608" y="371"/>
                  </a:lnTo>
                  <a:lnTo>
                    <a:pt x="608" y="371"/>
                  </a:lnTo>
                  <a:lnTo>
                    <a:pt x="606" y="375"/>
                  </a:lnTo>
                  <a:lnTo>
                    <a:pt x="604" y="375"/>
                  </a:lnTo>
                  <a:lnTo>
                    <a:pt x="602" y="377"/>
                  </a:lnTo>
                  <a:lnTo>
                    <a:pt x="600" y="377"/>
                  </a:lnTo>
                  <a:lnTo>
                    <a:pt x="600" y="379"/>
                  </a:lnTo>
                  <a:lnTo>
                    <a:pt x="598" y="379"/>
                  </a:lnTo>
                  <a:lnTo>
                    <a:pt x="592" y="381"/>
                  </a:lnTo>
                  <a:lnTo>
                    <a:pt x="592" y="381"/>
                  </a:lnTo>
                  <a:lnTo>
                    <a:pt x="592" y="381"/>
                  </a:lnTo>
                  <a:lnTo>
                    <a:pt x="590" y="381"/>
                  </a:lnTo>
                  <a:lnTo>
                    <a:pt x="588" y="386"/>
                  </a:lnTo>
                  <a:lnTo>
                    <a:pt x="588" y="388"/>
                  </a:lnTo>
                  <a:lnTo>
                    <a:pt x="588" y="388"/>
                  </a:lnTo>
                  <a:lnTo>
                    <a:pt x="579" y="390"/>
                  </a:lnTo>
                  <a:lnTo>
                    <a:pt x="582" y="390"/>
                  </a:lnTo>
                  <a:lnTo>
                    <a:pt x="584" y="390"/>
                  </a:lnTo>
                  <a:lnTo>
                    <a:pt x="586" y="390"/>
                  </a:lnTo>
                  <a:lnTo>
                    <a:pt x="586" y="392"/>
                  </a:lnTo>
                  <a:lnTo>
                    <a:pt x="584" y="394"/>
                  </a:lnTo>
                  <a:lnTo>
                    <a:pt x="584" y="396"/>
                  </a:lnTo>
                  <a:lnTo>
                    <a:pt x="582" y="398"/>
                  </a:lnTo>
                  <a:lnTo>
                    <a:pt x="582" y="400"/>
                  </a:lnTo>
                  <a:lnTo>
                    <a:pt x="579" y="406"/>
                  </a:lnTo>
                  <a:lnTo>
                    <a:pt x="577" y="412"/>
                  </a:lnTo>
                  <a:lnTo>
                    <a:pt x="577" y="414"/>
                  </a:lnTo>
                  <a:lnTo>
                    <a:pt x="575" y="414"/>
                  </a:lnTo>
                  <a:lnTo>
                    <a:pt x="575" y="412"/>
                  </a:lnTo>
                  <a:lnTo>
                    <a:pt x="575" y="412"/>
                  </a:lnTo>
                  <a:lnTo>
                    <a:pt x="573" y="410"/>
                  </a:lnTo>
                  <a:lnTo>
                    <a:pt x="573" y="412"/>
                  </a:lnTo>
                  <a:lnTo>
                    <a:pt x="569" y="420"/>
                  </a:lnTo>
                  <a:lnTo>
                    <a:pt x="567" y="422"/>
                  </a:lnTo>
                  <a:lnTo>
                    <a:pt x="563" y="427"/>
                  </a:lnTo>
                  <a:lnTo>
                    <a:pt x="561" y="425"/>
                  </a:lnTo>
                  <a:lnTo>
                    <a:pt x="557" y="425"/>
                  </a:lnTo>
                  <a:lnTo>
                    <a:pt x="553" y="422"/>
                  </a:lnTo>
                  <a:lnTo>
                    <a:pt x="551" y="422"/>
                  </a:lnTo>
                  <a:lnTo>
                    <a:pt x="547" y="420"/>
                  </a:lnTo>
                  <a:lnTo>
                    <a:pt x="545" y="420"/>
                  </a:lnTo>
                  <a:lnTo>
                    <a:pt x="543" y="418"/>
                  </a:lnTo>
                  <a:lnTo>
                    <a:pt x="541" y="416"/>
                  </a:lnTo>
                  <a:lnTo>
                    <a:pt x="541" y="414"/>
                  </a:lnTo>
                  <a:lnTo>
                    <a:pt x="541" y="410"/>
                  </a:lnTo>
                  <a:lnTo>
                    <a:pt x="541" y="410"/>
                  </a:lnTo>
                  <a:lnTo>
                    <a:pt x="541" y="406"/>
                  </a:lnTo>
                  <a:lnTo>
                    <a:pt x="541" y="404"/>
                  </a:lnTo>
                  <a:lnTo>
                    <a:pt x="541" y="404"/>
                  </a:lnTo>
                  <a:lnTo>
                    <a:pt x="541" y="402"/>
                  </a:lnTo>
                  <a:lnTo>
                    <a:pt x="541" y="402"/>
                  </a:lnTo>
                  <a:lnTo>
                    <a:pt x="541" y="400"/>
                  </a:lnTo>
                  <a:lnTo>
                    <a:pt x="541" y="392"/>
                  </a:lnTo>
                  <a:lnTo>
                    <a:pt x="543" y="388"/>
                  </a:lnTo>
                  <a:lnTo>
                    <a:pt x="547" y="386"/>
                  </a:lnTo>
                  <a:lnTo>
                    <a:pt x="547" y="386"/>
                  </a:lnTo>
                  <a:lnTo>
                    <a:pt x="549" y="386"/>
                  </a:lnTo>
                  <a:lnTo>
                    <a:pt x="551" y="386"/>
                  </a:lnTo>
                  <a:lnTo>
                    <a:pt x="551" y="386"/>
                  </a:lnTo>
                  <a:lnTo>
                    <a:pt x="553" y="386"/>
                  </a:lnTo>
                  <a:lnTo>
                    <a:pt x="553" y="384"/>
                  </a:lnTo>
                  <a:lnTo>
                    <a:pt x="553" y="384"/>
                  </a:lnTo>
                  <a:lnTo>
                    <a:pt x="555" y="386"/>
                  </a:lnTo>
                  <a:lnTo>
                    <a:pt x="557" y="384"/>
                  </a:lnTo>
                  <a:lnTo>
                    <a:pt x="557" y="384"/>
                  </a:lnTo>
                  <a:lnTo>
                    <a:pt x="557" y="381"/>
                  </a:lnTo>
                  <a:lnTo>
                    <a:pt x="557" y="379"/>
                  </a:lnTo>
                  <a:lnTo>
                    <a:pt x="559" y="379"/>
                  </a:lnTo>
                  <a:lnTo>
                    <a:pt x="563" y="377"/>
                  </a:lnTo>
                  <a:lnTo>
                    <a:pt x="563" y="377"/>
                  </a:lnTo>
                  <a:lnTo>
                    <a:pt x="563" y="375"/>
                  </a:lnTo>
                  <a:lnTo>
                    <a:pt x="563" y="375"/>
                  </a:lnTo>
                  <a:lnTo>
                    <a:pt x="563" y="373"/>
                  </a:lnTo>
                  <a:lnTo>
                    <a:pt x="563" y="373"/>
                  </a:lnTo>
                  <a:lnTo>
                    <a:pt x="565" y="373"/>
                  </a:lnTo>
                  <a:lnTo>
                    <a:pt x="565" y="371"/>
                  </a:lnTo>
                  <a:lnTo>
                    <a:pt x="563" y="363"/>
                  </a:lnTo>
                  <a:lnTo>
                    <a:pt x="563" y="359"/>
                  </a:lnTo>
                  <a:lnTo>
                    <a:pt x="565" y="355"/>
                  </a:lnTo>
                  <a:lnTo>
                    <a:pt x="567" y="353"/>
                  </a:lnTo>
                  <a:lnTo>
                    <a:pt x="569" y="353"/>
                  </a:lnTo>
                  <a:lnTo>
                    <a:pt x="571" y="353"/>
                  </a:lnTo>
                  <a:lnTo>
                    <a:pt x="571" y="353"/>
                  </a:lnTo>
                  <a:lnTo>
                    <a:pt x="571" y="355"/>
                  </a:lnTo>
                  <a:lnTo>
                    <a:pt x="571" y="355"/>
                  </a:lnTo>
                  <a:lnTo>
                    <a:pt x="571" y="355"/>
                  </a:lnTo>
                  <a:lnTo>
                    <a:pt x="573" y="349"/>
                  </a:lnTo>
                  <a:lnTo>
                    <a:pt x="575" y="349"/>
                  </a:lnTo>
                  <a:lnTo>
                    <a:pt x="575" y="347"/>
                  </a:lnTo>
                  <a:lnTo>
                    <a:pt x="577" y="347"/>
                  </a:lnTo>
                  <a:lnTo>
                    <a:pt x="577" y="347"/>
                  </a:lnTo>
                  <a:lnTo>
                    <a:pt x="579" y="345"/>
                  </a:lnTo>
                  <a:lnTo>
                    <a:pt x="579" y="345"/>
                  </a:lnTo>
                  <a:lnTo>
                    <a:pt x="579" y="343"/>
                  </a:lnTo>
                  <a:lnTo>
                    <a:pt x="579" y="338"/>
                  </a:lnTo>
                  <a:lnTo>
                    <a:pt x="577" y="316"/>
                  </a:lnTo>
                  <a:lnTo>
                    <a:pt x="577" y="314"/>
                  </a:lnTo>
                  <a:lnTo>
                    <a:pt x="577" y="310"/>
                  </a:lnTo>
                  <a:lnTo>
                    <a:pt x="577" y="308"/>
                  </a:lnTo>
                  <a:lnTo>
                    <a:pt x="577" y="306"/>
                  </a:lnTo>
                  <a:lnTo>
                    <a:pt x="575" y="302"/>
                  </a:lnTo>
                  <a:lnTo>
                    <a:pt x="575" y="295"/>
                  </a:lnTo>
                  <a:lnTo>
                    <a:pt x="573" y="293"/>
                  </a:lnTo>
                  <a:lnTo>
                    <a:pt x="573" y="291"/>
                  </a:lnTo>
                  <a:lnTo>
                    <a:pt x="571" y="291"/>
                  </a:lnTo>
                  <a:lnTo>
                    <a:pt x="571" y="289"/>
                  </a:lnTo>
                  <a:lnTo>
                    <a:pt x="571" y="289"/>
                  </a:lnTo>
                  <a:lnTo>
                    <a:pt x="571" y="289"/>
                  </a:lnTo>
                  <a:lnTo>
                    <a:pt x="569" y="287"/>
                  </a:lnTo>
                  <a:lnTo>
                    <a:pt x="569" y="287"/>
                  </a:lnTo>
                  <a:lnTo>
                    <a:pt x="567" y="287"/>
                  </a:lnTo>
                  <a:lnTo>
                    <a:pt x="565" y="285"/>
                  </a:lnTo>
                  <a:lnTo>
                    <a:pt x="563" y="285"/>
                  </a:lnTo>
                  <a:lnTo>
                    <a:pt x="563" y="283"/>
                  </a:lnTo>
                  <a:lnTo>
                    <a:pt x="561" y="283"/>
                  </a:lnTo>
                  <a:lnTo>
                    <a:pt x="561" y="281"/>
                  </a:lnTo>
                  <a:lnTo>
                    <a:pt x="561" y="281"/>
                  </a:lnTo>
                  <a:lnTo>
                    <a:pt x="561" y="279"/>
                  </a:lnTo>
                  <a:lnTo>
                    <a:pt x="561" y="279"/>
                  </a:lnTo>
                  <a:lnTo>
                    <a:pt x="559" y="279"/>
                  </a:lnTo>
                  <a:lnTo>
                    <a:pt x="559" y="279"/>
                  </a:lnTo>
                  <a:lnTo>
                    <a:pt x="559" y="277"/>
                  </a:lnTo>
                  <a:lnTo>
                    <a:pt x="559" y="277"/>
                  </a:lnTo>
                  <a:lnTo>
                    <a:pt x="559" y="277"/>
                  </a:lnTo>
                  <a:lnTo>
                    <a:pt x="561" y="277"/>
                  </a:lnTo>
                  <a:lnTo>
                    <a:pt x="559" y="273"/>
                  </a:lnTo>
                  <a:lnTo>
                    <a:pt x="561" y="271"/>
                  </a:lnTo>
                  <a:lnTo>
                    <a:pt x="561" y="271"/>
                  </a:lnTo>
                  <a:lnTo>
                    <a:pt x="565" y="269"/>
                  </a:lnTo>
                  <a:lnTo>
                    <a:pt x="565" y="269"/>
                  </a:lnTo>
                  <a:lnTo>
                    <a:pt x="567" y="271"/>
                  </a:lnTo>
                  <a:lnTo>
                    <a:pt x="569" y="273"/>
                  </a:lnTo>
                  <a:lnTo>
                    <a:pt x="569" y="273"/>
                  </a:lnTo>
                  <a:lnTo>
                    <a:pt x="571" y="273"/>
                  </a:lnTo>
                  <a:lnTo>
                    <a:pt x="573" y="273"/>
                  </a:lnTo>
                  <a:lnTo>
                    <a:pt x="573" y="271"/>
                  </a:lnTo>
                  <a:lnTo>
                    <a:pt x="569" y="269"/>
                  </a:lnTo>
                  <a:lnTo>
                    <a:pt x="569" y="267"/>
                  </a:lnTo>
                  <a:lnTo>
                    <a:pt x="569" y="267"/>
                  </a:lnTo>
                  <a:lnTo>
                    <a:pt x="569" y="267"/>
                  </a:lnTo>
                  <a:lnTo>
                    <a:pt x="569" y="267"/>
                  </a:lnTo>
                  <a:lnTo>
                    <a:pt x="569" y="267"/>
                  </a:lnTo>
                  <a:lnTo>
                    <a:pt x="569" y="265"/>
                  </a:lnTo>
                  <a:lnTo>
                    <a:pt x="569" y="265"/>
                  </a:lnTo>
                  <a:lnTo>
                    <a:pt x="569" y="265"/>
                  </a:lnTo>
                  <a:lnTo>
                    <a:pt x="569" y="265"/>
                  </a:lnTo>
                  <a:lnTo>
                    <a:pt x="569" y="263"/>
                  </a:lnTo>
                  <a:lnTo>
                    <a:pt x="567" y="261"/>
                  </a:lnTo>
                  <a:lnTo>
                    <a:pt x="567" y="261"/>
                  </a:lnTo>
                  <a:lnTo>
                    <a:pt x="567" y="261"/>
                  </a:lnTo>
                  <a:lnTo>
                    <a:pt x="565" y="261"/>
                  </a:lnTo>
                  <a:lnTo>
                    <a:pt x="565" y="259"/>
                  </a:lnTo>
                  <a:lnTo>
                    <a:pt x="563" y="259"/>
                  </a:lnTo>
                  <a:lnTo>
                    <a:pt x="561" y="256"/>
                  </a:lnTo>
                  <a:lnTo>
                    <a:pt x="559" y="252"/>
                  </a:lnTo>
                  <a:lnTo>
                    <a:pt x="559" y="252"/>
                  </a:lnTo>
                  <a:lnTo>
                    <a:pt x="559" y="250"/>
                  </a:lnTo>
                  <a:lnTo>
                    <a:pt x="559" y="250"/>
                  </a:lnTo>
                  <a:lnTo>
                    <a:pt x="561" y="248"/>
                  </a:lnTo>
                  <a:lnTo>
                    <a:pt x="557" y="246"/>
                  </a:lnTo>
                  <a:lnTo>
                    <a:pt x="553" y="244"/>
                  </a:lnTo>
                  <a:lnTo>
                    <a:pt x="549" y="242"/>
                  </a:lnTo>
                  <a:lnTo>
                    <a:pt x="547" y="242"/>
                  </a:lnTo>
                  <a:lnTo>
                    <a:pt x="543" y="242"/>
                  </a:lnTo>
                  <a:lnTo>
                    <a:pt x="543" y="242"/>
                  </a:lnTo>
                  <a:lnTo>
                    <a:pt x="539" y="242"/>
                  </a:lnTo>
                  <a:lnTo>
                    <a:pt x="539" y="242"/>
                  </a:lnTo>
                  <a:lnTo>
                    <a:pt x="536" y="240"/>
                  </a:lnTo>
                  <a:lnTo>
                    <a:pt x="534" y="238"/>
                  </a:lnTo>
                  <a:lnTo>
                    <a:pt x="532" y="238"/>
                  </a:lnTo>
                  <a:lnTo>
                    <a:pt x="532" y="238"/>
                  </a:lnTo>
                  <a:lnTo>
                    <a:pt x="528" y="238"/>
                  </a:lnTo>
                  <a:lnTo>
                    <a:pt x="528" y="238"/>
                  </a:lnTo>
                  <a:lnTo>
                    <a:pt x="526" y="238"/>
                  </a:lnTo>
                  <a:lnTo>
                    <a:pt x="522" y="238"/>
                  </a:lnTo>
                  <a:lnTo>
                    <a:pt x="520" y="236"/>
                  </a:lnTo>
                  <a:lnTo>
                    <a:pt x="518" y="234"/>
                  </a:lnTo>
                  <a:lnTo>
                    <a:pt x="514" y="232"/>
                  </a:lnTo>
                  <a:lnTo>
                    <a:pt x="502" y="234"/>
                  </a:lnTo>
                  <a:lnTo>
                    <a:pt x="500" y="234"/>
                  </a:lnTo>
                  <a:lnTo>
                    <a:pt x="500" y="232"/>
                  </a:lnTo>
                  <a:lnTo>
                    <a:pt x="498" y="230"/>
                  </a:lnTo>
                  <a:lnTo>
                    <a:pt x="498" y="228"/>
                  </a:lnTo>
                  <a:lnTo>
                    <a:pt x="498" y="226"/>
                  </a:lnTo>
                  <a:lnTo>
                    <a:pt x="496" y="226"/>
                  </a:lnTo>
                  <a:lnTo>
                    <a:pt x="493" y="222"/>
                  </a:lnTo>
                  <a:lnTo>
                    <a:pt x="489" y="222"/>
                  </a:lnTo>
                  <a:lnTo>
                    <a:pt x="485" y="220"/>
                  </a:lnTo>
                  <a:lnTo>
                    <a:pt x="483" y="220"/>
                  </a:lnTo>
                  <a:lnTo>
                    <a:pt x="479" y="220"/>
                  </a:lnTo>
                  <a:lnTo>
                    <a:pt x="471" y="220"/>
                  </a:lnTo>
                  <a:lnTo>
                    <a:pt x="469" y="220"/>
                  </a:lnTo>
                  <a:lnTo>
                    <a:pt x="461" y="215"/>
                  </a:lnTo>
                  <a:lnTo>
                    <a:pt x="450" y="211"/>
                  </a:lnTo>
                  <a:lnTo>
                    <a:pt x="448" y="209"/>
                  </a:lnTo>
                  <a:lnTo>
                    <a:pt x="446" y="209"/>
                  </a:lnTo>
                  <a:lnTo>
                    <a:pt x="444" y="211"/>
                  </a:lnTo>
                  <a:lnTo>
                    <a:pt x="444" y="211"/>
                  </a:lnTo>
                  <a:lnTo>
                    <a:pt x="444" y="213"/>
                  </a:lnTo>
                  <a:lnTo>
                    <a:pt x="442" y="213"/>
                  </a:lnTo>
                  <a:lnTo>
                    <a:pt x="442" y="215"/>
                  </a:lnTo>
                  <a:lnTo>
                    <a:pt x="432" y="215"/>
                  </a:lnTo>
                  <a:lnTo>
                    <a:pt x="428" y="215"/>
                  </a:lnTo>
                  <a:lnTo>
                    <a:pt x="428" y="215"/>
                  </a:lnTo>
                  <a:lnTo>
                    <a:pt x="430" y="215"/>
                  </a:lnTo>
                  <a:lnTo>
                    <a:pt x="432" y="220"/>
                  </a:lnTo>
                  <a:lnTo>
                    <a:pt x="432" y="220"/>
                  </a:lnTo>
                  <a:lnTo>
                    <a:pt x="432" y="220"/>
                  </a:lnTo>
                  <a:lnTo>
                    <a:pt x="430" y="226"/>
                  </a:lnTo>
                  <a:lnTo>
                    <a:pt x="426" y="230"/>
                  </a:lnTo>
                  <a:lnTo>
                    <a:pt x="424" y="232"/>
                  </a:lnTo>
                  <a:lnTo>
                    <a:pt x="422" y="234"/>
                  </a:lnTo>
                  <a:lnTo>
                    <a:pt x="422" y="238"/>
                  </a:lnTo>
                  <a:lnTo>
                    <a:pt x="424" y="242"/>
                  </a:lnTo>
                  <a:lnTo>
                    <a:pt x="426" y="246"/>
                  </a:lnTo>
                  <a:lnTo>
                    <a:pt x="426" y="248"/>
                  </a:lnTo>
                  <a:lnTo>
                    <a:pt x="430" y="250"/>
                  </a:lnTo>
                  <a:lnTo>
                    <a:pt x="430" y="250"/>
                  </a:lnTo>
                  <a:lnTo>
                    <a:pt x="438" y="250"/>
                  </a:lnTo>
                  <a:lnTo>
                    <a:pt x="440" y="250"/>
                  </a:lnTo>
                  <a:lnTo>
                    <a:pt x="438" y="254"/>
                  </a:lnTo>
                  <a:lnTo>
                    <a:pt x="434" y="256"/>
                  </a:lnTo>
                  <a:lnTo>
                    <a:pt x="430" y="256"/>
                  </a:lnTo>
                  <a:lnTo>
                    <a:pt x="424" y="256"/>
                  </a:lnTo>
                  <a:lnTo>
                    <a:pt x="420" y="259"/>
                  </a:lnTo>
                  <a:lnTo>
                    <a:pt x="407" y="267"/>
                  </a:lnTo>
                  <a:lnTo>
                    <a:pt x="405" y="269"/>
                  </a:lnTo>
                  <a:lnTo>
                    <a:pt x="405" y="273"/>
                  </a:lnTo>
                  <a:lnTo>
                    <a:pt x="405" y="277"/>
                  </a:lnTo>
                  <a:lnTo>
                    <a:pt x="407" y="289"/>
                  </a:lnTo>
                  <a:lnTo>
                    <a:pt x="407" y="300"/>
                  </a:lnTo>
                  <a:lnTo>
                    <a:pt x="407" y="308"/>
                  </a:lnTo>
                  <a:lnTo>
                    <a:pt x="403" y="316"/>
                  </a:lnTo>
                  <a:lnTo>
                    <a:pt x="399" y="324"/>
                  </a:lnTo>
                  <a:lnTo>
                    <a:pt x="399" y="326"/>
                  </a:lnTo>
                  <a:lnTo>
                    <a:pt x="399" y="326"/>
                  </a:lnTo>
                  <a:lnTo>
                    <a:pt x="397" y="326"/>
                  </a:lnTo>
                  <a:lnTo>
                    <a:pt x="397" y="324"/>
                  </a:lnTo>
                  <a:lnTo>
                    <a:pt x="397" y="324"/>
                  </a:lnTo>
                  <a:lnTo>
                    <a:pt x="397" y="322"/>
                  </a:lnTo>
                  <a:lnTo>
                    <a:pt x="397" y="320"/>
                  </a:lnTo>
                  <a:lnTo>
                    <a:pt x="397" y="318"/>
                  </a:lnTo>
                  <a:lnTo>
                    <a:pt x="397" y="318"/>
                  </a:lnTo>
                  <a:lnTo>
                    <a:pt x="399" y="316"/>
                  </a:lnTo>
                  <a:lnTo>
                    <a:pt x="401" y="314"/>
                  </a:lnTo>
                  <a:lnTo>
                    <a:pt x="401" y="312"/>
                  </a:lnTo>
                  <a:lnTo>
                    <a:pt x="401" y="310"/>
                  </a:lnTo>
                  <a:lnTo>
                    <a:pt x="401" y="306"/>
                  </a:lnTo>
                  <a:lnTo>
                    <a:pt x="401" y="306"/>
                  </a:lnTo>
                  <a:lnTo>
                    <a:pt x="401" y="304"/>
                  </a:lnTo>
                  <a:lnTo>
                    <a:pt x="401" y="304"/>
                  </a:lnTo>
                  <a:lnTo>
                    <a:pt x="401" y="302"/>
                  </a:lnTo>
                  <a:lnTo>
                    <a:pt x="399" y="302"/>
                  </a:lnTo>
                  <a:lnTo>
                    <a:pt x="399" y="302"/>
                  </a:lnTo>
                  <a:lnTo>
                    <a:pt x="397" y="302"/>
                  </a:lnTo>
                  <a:lnTo>
                    <a:pt x="397" y="302"/>
                  </a:lnTo>
                  <a:lnTo>
                    <a:pt x="397" y="304"/>
                  </a:lnTo>
                  <a:lnTo>
                    <a:pt x="397" y="308"/>
                  </a:lnTo>
                  <a:lnTo>
                    <a:pt x="397" y="308"/>
                  </a:lnTo>
                  <a:lnTo>
                    <a:pt x="397" y="310"/>
                  </a:lnTo>
                  <a:lnTo>
                    <a:pt x="395" y="312"/>
                  </a:lnTo>
                  <a:lnTo>
                    <a:pt x="395" y="312"/>
                  </a:lnTo>
                  <a:lnTo>
                    <a:pt x="397" y="312"/>
                  </a:lnTo>
                  <a:lnTo>
                    <a:pt x="397" y="312"/>
                  </a:lnTo>
                  <a:lnTo>
                    <a:pt x="395" y="314"/>
                  </a:lnTo>
                  <a:lnTo>
                    <a:pt x="395" y="316"/>
                  </a:lnTo>
                  <a:lnTo>
                    <a:pt x="395" y="318"/>
                  </a:lnTo>
                  <a:lnTo>
                    <a:pt x="395" y="320"/>
                  </a:lnTo>
                  <a:lnTo>
                    <a:pt x="395" y="322"/>
                  </a:lnTo>
                  <a:lnTo>
                    <a:pt x="395" y="324"/>
                  </a:lnTo>
                  <a:lnTo>
                    <a:pt x="393" y="324"/>
                  </a:lnTo>
                  <a:lnTo>
                    <a:pt x="393" y="324"/>
                  </a:lnTo>
                  <a:lnTo>
                    <a:pt x="391" y="322"/>
                  </a:lnTo>
                  <a:lnTo>
                    <a:pt x="389" y="320"/>
                  </a:lnTo>
                  <a:lnTo>
                    <a:pt x="389" y="318"/>
                  </a:lnTo>
                  <a:lnTo>
                    <a:pt x="389" y="314"/>
                  </a:lnTo>
                  <a:lnTo>
                    <a:pt x="391" y="308"/>
                  </a:lnTo>
                  <a:lnTo>
                    <a:pt x="391" y="306"/>
                  </a:lnTo>
                  <a:lnTo>
                    <a:pt x="391" y="304"/>
                  </a:lnTo>
                  <a:lnTo>
                    <a:pt x="391" y="304"/>
                  </a:lnTo>
                  <a:lnTo>
                    <a:pt x="391" y="304"/>
                  </a:lnTo>
                  <a:lnTo>
                    <a:pt x="389" y="304"/>
                  </a:lnTo>
                  <a:lnTo>
                    <a:pt x="389" y="302"/>
                  </a:lnTo>
                  <a:lnTo>
                    <a:pt x="389" y="300"/>
                  </a:lnTo>
                  <a:lnTo>
                    <a:pt x="391" y="297"/>
                  </a:lnTo>
                  <a:lnTo>
                    <a:pt x="393" y="295"/>
                  </a:lnTo>
                  <a:lnTo>
                    <a:pt x="393" y="295"/>
                  </a:lnTo>
                  <a:lnTo>
                    <a:pt x="391" y="293"/>
                  </a:lnTo>
                  <a:lnTo>
                    <a:pt x="389" y="289"/>
                  </a:lnTo>
                  <a:lnTo>
                    <a:pt x="389" y="287"/>
                  </a:lnTo>
                  <a:lnTo>
                    <a:pt x="391" y="285"/>
                  </a:lnTo>
                  <a:lnTo>
                    <a:pt x="391" y="285"/>
                  </a:lnTo>
                  <a:lnTo>
                    <a:pt x="393" y="285"/>
                  </a:lnTo>
                  <a:lnTo>
                    <a:pt x="393" y="283"/>
                  </a:lnTo>
                  <a:lnTo>
                    <a:pt x="393" y="281"/>
                  </a:lnTo>
                  <a:lnTo>
                    <a:pt x="393" y="279"/>
                  </a:lnTo>
                  <a:lnTo>
                    <a:pt x="391" y="279"/>
                  </a:lnTo>
                  <a:lnTo>
                    <a:pt x="389" y="281"/>
                  </a:lnTo>
                  <a:lnTo>
                    <a:pt x="389" y="281"/>
                  </a:lnTo>
                  <a:lnTo>
                    <a:pt x="387" y="281"/>
                  </a:lnTo>
                  <a:lnTo>
                    <a:pt x="387" y="283"/>
                  </a:lnTo>
                  <a:lnTo>
                    <a:pt x="387" y="283"/>
                  </a:lnTo>
                  <a:lnTo>
                    <a:pt x="383" y="291"/>
                  </a:lnTo>
                  <a:lnTo>
                    <a:pt x="383" y="293"/>
                  </a:lnTo>
                  <a:lnTo>
                    <a:pt x="379" y="295"/>
                  </a:lnTo>
                  <a:lnTo>
                    <a:pt x="379" y="297"/>
                  </a:lnTo>
                  <a:lnTo>
                    <a:pt x="379" y="300"/>
                  </a:lnTo>
                  <a:lnTo>
                    <a:pt x="375" y="308"/>
                  </a:lnTo>
                  <a:lnTo>
                    <a:pt x="375" y="310"/>
                  </a:lnTo>
                  <a:lnTo>
                    <a:pt x="373" y="310"/>
                  </a:lnTo>
                  <a:lnTo>
                    <a:pt x="373" y="310"/>
                  </a:lnTo>
                  <a:lnTo>
                    <a:pt x="369" y="308"/>
                  </a:lnTo>
                  <a:lnTo>
                    <a:pt x="369" y="308"/>
                  </a:lnTo>
                  <a:lnTo>
                    <a:pt x="366" y="308"/>
                  </a:lnTo>
                  <a:lnTo>
                    <a:pt x="366" y="308"/>
                  </a:lnTo>
                  <a:lnTo>
                    <a:pt x="366" y="308"/>
                  </a:lnTo>
                  <a:lnTo>
                    <a:pt x="364" y="308"/>
                  </a:lnTo>
                  <a:lnTo>
                    <a:pt x="364" y="308"/>
                  </a:lnTo>
                  <a:lnTo>
                    <a:pt x="364" y="308"/>
                  </a:lnTo>
                  <a:lnTo>
                    <a:pt x="364" y="310"/>
                  </a:lnTo>
                  <a:lnTo>
                    <a:pt x="362" y="314"/>
                  </a:lnTo>
                  <a:lnTo>
                    <a:pt x="362" y="316"/>
                  </a:lnTo>
                  <a:lnTo>
                    <a:pt x="360" y="316"/>
                  </a:lnTo>
                  <a:lnTo>
                    <a:pt x="360" y="314"/>
                  </a:lnTo>
                  <a:lnTo>
                    <a:pt x="360" y="314"/>
                  </a:lnTo>
                  <a:lnTo>
                    <a:pt x="358" y="314"/>
                  </a:lnTo>
                  <a:lnTo>
                    <a:pt x="356" y="314"/>
                  </a:lnTo>
                  <a:lnTo>
                    <a:pt x="356" y="316"/>
                  </a:lnTo>
                  <a:lnTo>
                    <a:pt x="356" y="316"/>
                  </a:lnTo>
                  <a:lnTo>
                    <a:pt x="356" y="320"/>
                  </a:lnTo>
                  <a:lnTo>
                    <a:pt x="356" y="330"/>
                  </a:lnTo>
                  <a:lnTo>
                    <a:pt x="356" y="330"/>
                  </a:lnTo>
                  <a:lnTo>
                    <a:pt x="356" y="332"/>
                  </a:lnTo>
                  <a:lnTo>
                    <a:pt x="356" y="334"/>
                  </a:lnTo>
                  <a:lnTo>
                    <a:pt x="354" y="334"/>
                  </a:lnTo>
                  <a:lnTo>
                    <a:pt x="354" y="334"/>
                  </a:lnTo>
                  <a:lnTo>
                    <a:pt x="352" y="334"/>
                  </a:lnTo>
                  <a:lnTo>
                    <a:pt x="352" y="334"/>
                  </a:lnTo>
                  <a:lnTo>
                    <a:pt x="350" y="334"/>
                  </a:lnTo>
                  <a:lnTo>
                    <a:pt x="350" y="334"/>
                  </a:lnTo>
                  <a:lnTo>
                    <a:pt x="348" y="334"/>
                  </a:lnTo>
                  <a:lnTo>
                    <a:pt x="346" y="336"/>
                  </a:lnTo>
                  <a:lnTo>
                    <a:pt x="344" y="338"/>
                  </a:lnTo>
                  <a:lnTo>
                    <a:pt x="344" y="340"/>
                  </a:lnTo>
                  <a:lnTo>
                    <a:pt x="344" y="345"/>
                  </a:lnTo>
                  <a:lnTo>
                    <a:pt x="346" y="347"/>
                  </a:lnTo>
                  <a:lnTo>
                    <a:pt x="348" y="349"/>
                  </a:lnTo>
                  <a:lnTo>
                    <a:pt x="348" y="351"/>
                  </a:lnTo>
                  <a:lnTo>
                    <a:pt x="346" y="359"/>
                  </a:lnTo>
                  <a:lnTo>
                    <a:pt x="346" y="359"/>
                  </a:lnTo>
                  <a:lnTo>
                    <a:pt x="346" y="361"/>
                  </a:lnTo>
                  <a:lnTo>
                    <a:pt x="346" y="365"/>
                  </a:lnTo>
                  <a:lnTo>
                    <a:pt x="346" y="365"/>
                  </a:lnTo>
                  <a:lnTo>
                    <a:pt x="348" y="369"/>
                  </a:lnTo>
                  <a:lnTo>
                    <a:pt x="348" y="373"/>
                  </a:lnTo>
                  <a:lnTo>
                    <a:pt x="346" y="377"/>
                  </a:lnTo>
                  <a:lnTo>
                    <a:pt x="344" y="386"/>
                  </a:lnTo>
                  <a:lnTo>
                    <a:pt x="340" y="394"/>
                  </a:lnTo>
                  <a:lnTo>
                    <a:pt x="340" y="398"/>
                  </a:lnTo>
                  <a:lnTo>
                    <a:pt x="334" y="404"/>
                  </a:lnTo>
                  <a:lnTo>
                    <a:pt x="332" y="406"/>
                  </a:lnTo>
                  <a:lnTo>
                    <a:pt x="332" y="410"/>
                  </a:lnTo>
                  <a:lnTo>
                    <a:pt x="334" y="412"/>
                  </a:lnTo>
                  <a:lnTo>
                    <a:pt x="336" y="414"/>
                  </a:lnTo>
                  <a:lnTo>
                    <a:pt x="336" y="416"/>
                  </a:lnTo>
                  <a:lnTo>
                    <a:pt x="338" y="418"/>
                  </a:lnTo>
                  <a:lnTo>
                    <a:pt x="338" y="418"/>
                  </a:lnTo>
                  <a:lnTo>
                    <a:pt x="338" y="422"/>
                  </a:lnTo>
                  <a:lnTo>
                    <a:pt x="338" y="422"/>
                  </a:lnTo>
                  <a:lnTo>
                    <a:pt x="340" y="425"/>
                  </a:lnTo>
                  <a:lnTo>
                    <a:pt x="342" y="433"/>
                  </a:lnTo>
                  <a:lnTo>
                    <a:pt x="342" y="437"/>
                  </a:lnTo>
                  <a:lnTo>
                    <a:pt x="340" y="441"/>
                  </a:lnTo>
                  <a:lnTo>
                    <a:pt x="336" y="447"/>
                  </a:lnTo>
                  <a:lnTo>
                    <a:pt x="336" y="451"/>
                  </a:lnTo>
                  <a:lnTo>
                    <a:pt x="336" y="455"/>
                  </a:lnTo>
                  <a:lnTo>
                    <a:pt x="336" y="457"/>
                  </a:lnTo>
                  <a:lnTo>
                    <a:pt x="338" y="459"/>
                  </a:lnTo>
                  <a:lnTo>
                    <a:pt x="340" y="463"/>
                  </a:lnTo>
                  <a:lnTo>
                    <a:pt x="354" y="492"/>
                  </a:lnTo>
                  <a:lnTo>
                    <a:pt x="356" y="492"/>
                  </a:lnTo>
                  <a:lnTo>
                    <a:pt x="358" y="492"/>
                  </a:lnTo>
                  <a:lnTo>
                    <a:pt x="362" y="488"/>
                  </a:lnTo>
                  <a:lnTo>
                    <a:pt x="362" y="490"/>
                  </a:lnTo>
                  <a:lnTo>
                    <a:pt x="362" y="492"/>
                  </a:lnTo>
                  <a:lnTo>
                    <a:pt x="360" y="494"/>
                  </a:lnTo>
                  <a:lnTo>
                    <a:pt x="358" y="494"/>
                  </a:lnTo>
                  <a:lnTo>
                    <a:pt x="358" y="494"/>
                  </a:lnTo>
                  <a:lnTo>
                    <a:pt x="358" y="496"/>
                  </a:lnTo>
                  <a:lnTo>
                    <a:pt x="364" y="506"/>
                  </a:lnTo>
                  <a:lnTo>
                    <a:pt x="364" y="511"/>
                  </a:lnTo>
                  <a:lnTo>
                    <a:pt x="366" y="513"/>
                  </a:lnTo>
                  <a:lnTo>
                    <a:pt x="369" y="515"/>
                  </a:lnTo>
                  <a:lnTo>
                    <a:pt x="369" y="517"/>
                  </a:lnTo>
                  <a:lnTo>
                    <a:pt x="369" y="517"/>
                  </a:lnTo>
                  <a:lnTo>
                    <a:pt x="369" y="517"/>
                  </a:lnTo>
                  <a:lnTo>
                    <a:pt x="369" y="517"/>
                  </a:lnTo>
                  <a:lnTo>
                    <a:pt x="369" y="517"/>
                  </a:lnTo>
                  <a:lnTo>
                    <a:pt x="369" y="517"/>
                  </a:lnTo>
                  <a:lnTo>
                    <a:pt x="369" y="517"/>
                  </a:lnTo>
                  <a:lnTo>
                    <a:pt x="369" y="517"/>
                  </a:lnTo>
                  <a:lnTo>
                    <a:pt x="369" y="519"/>
                  </a:lnTo>
                  <a:lnTo>
                    <a:pt x="371" y="521"/>
                  </a:lnTo>
                  <a:lnTo>
                    <a:pt x="373" y="547"/>
                  </a:lnTo>
                  <a:lnTo>
                    <a:pt x="373" y="572"/>
                  </a:lnTo>
                  <a:lnTo>
                    <a:pt x="371" y="580"/>
                  </a:lnTo>
                  <a:lnTo>
                    <a:pt x="366" y="597"/>
                  </a:lnTo>
                  <a:lnTo>
                    <a:pt x="358" y="611"/>
                  </a:lnTo>
                  <a:lnTo>
                    <a:pt x="352" y="631"/>
                  </a:lnTo>
                  <a:lnTo>
                    <a:pt x="348" y="640"/>
                  </a:lnTo>
                  <a:lnTo>
                    <a:pt x="344" y="646"/>
                  </a:lnTo>
                  <a:lnTo>
                    <a:pt x="340" y="648"/>
                  </a:lnTo>
                  <a:lnTo>
                    <a:pt x="338" y="650"/>
                  </a:lnTo>
                  <a:lnTo>
                    <a:pt x="338" y="652"/>
                  </a:lnTo>
                  <a:lnTo>
                    <a:pt x="336" y="654"/>
                  </a:lnTo>
                  <a:lnTo>
                    <a:pt x="338" y="654"/>
                  </a:lnTo>
                  <a:lnTo>
                    <a:pt x="344" y="652"/>
                  </a:lnTo>
                  <a:lnTo>
                    <a:pt x="350" y="652"/>
                  </a:lnTo>
                  <a:lnTo>
                    <a:pt x="356" y="650"/>
                  </a:lnTo>
                  <a:lnTo>
                    <a:pt x="362" y="650"/>
                  </a:lnTo>
                  <a:lnTo>
                    <a:pt x="369" y="650"/>
                  </a:lnTo>
                  <a:lnTo>
                    <a:pt x="381" y="648"/>
                  </a:lnTo>
                  <a:lnTo>
                    <a:pt x="387" y="648"/>
                  </a:lnTo>
                  <a:lnTo>
                    <a:pt x="395" y="646"/>
                  </a:lnTo>
                  <a:lnTo>
                    <a:pt x="401" y="646"/>
                  </a:lnTo>
                  <a:lnTo>
                    <a:pt x="407" y="644"/>
                  </a:lnTo>
                  <a:lnTo>
                    <a:pt x="420" y="644"/>
                  </a:lnTo>
                  <a:lnTo>
                    <a:pt x="426" y="642"/>
                  </a:lnTo>
                  <a:lnTo>
                    <a:pt x="432" y="642"/>
                  </a:lnTo>
                  <a:lnTo>
                    <a:pt x="438" y="640"/>
                  </a:lnTo>
                  <a:lnTo>
                    <a:pt x="444" y="640"/>
                  </a:lnTo>
                  <a:lnTo>
                    <a:pt x="450" y="640"/>
                  </a:lnTo>
                  <a:lnTo>
                    <a:pt x="457" y="638"/>
                  </a:lnTo>
                  <a:lnTo>
                    <a:pt x="463" y="638"/>
                  </a:lnTo>
                  <a:lnTo>
                    <a:pt x="471" y="636"/>
                  </a:lnTo>
                  <a:lnTo>
                    <a:pt x="477" y="636"/>
                  </a:lnTo>
                  <a:lnTo>
                    <a:pt x="483" y="636"/>
                  </a:lnTo>
                  <a:lnTo>
                    <a:pt x="489" y="634"/>
                  </a:lnTo>
                  <a:lnTo>
                    <a:pt x="496" y="634"/>
                  </a:lnTo>
                  <a:lnTo>
                    <a:pt x="502" y="631"/>
                  </a:lnTo>
                  <a:lnTo>
                    <a:pt x="502" y="638"/>
                  </a:lnTo>
                  <a:lnTo>
                    <a:pt x="510" y="638"/>
                  </a:lnTo>
                  <a:lnTo>
                    <a:pt x="516" y="636"/>
                  </a:lnTo>
                  <a:lnTo>
                    <a:pt x="522" y="636"/>
                  </a:lnTo>
                  <a:lnTo>
                    <a:pt x="530" y="634"/>
                  </a:lnTo>
                  <a:lnTo>
                    <a:pt x="536" y="631"/>
                  </a:lnTo>
                  <a:lnTo>
                    <a:pt x="543" y="631"/>
                  </a:lnTo>
                  <a:lnTo>
                    <a:pt x="549" y="629"/>
                  </a:lnTo>
                  <a:lnTo>
                    <a:pt x="557" y="629"/>
                  </a:lnTo>
                  <a:lnTo>
                    <a:pt x="563" y="627"/>
                  </a:lnTo>
                  <a:lnTo>
                    <a:pt x="569" y="625"/>
                  </a:lnTo>
                  <a:lnTo>
                    <a:pt x="577" y="625"/>
                  </a:lnTo>
                  <a:lnTo>
                    <a:pt x="584" y="623"/>
                  </a:lnTo>
                  <a:lnTo>
                    <a:pt x="590" y="623"/>
                  </a:lnTo>
                  <a:lnTo>
                    <a:pt x="596" y="621"/>
                  </a:lnTo>
                  <a:lnTo>
                    <a:pt x="604" y="619"/>
                  </a:lnTo>
                  <a:lnTo>
                    <a:pt x="610" y="619"/>
                  </a:lnTo>
                  <a:lnTo>
                    <a:pt x="610" y="617"/>
                  </a:lnTo>
                  <a:lnTo>
                    <a:pt x="610" y="617"/>
                  </a:lnTo>
                  <a:lnTo>
                    <a:pt x="610" y="615"/>
                  </a:lnTo>
                  <a:lnTo>
                    <a:pt x="612" y="615"/>
                  </a:lnTo>
                  <a:lnTo>
                    <a:pt x="612" y="615"/>
                  </a:lnTo>
                  <a:lnTo>
                    <a:pt x="612" y="615"/>
                  </a:lnTo>
                  <a:lnTo>
                    <a:pt x="612" y="613"/>
                  </a:lnTo>
                  <a:lnTo>
                    <a:pt x="612" y="611"/>
                  </a:lnTo>
                  <a:lnTo>
                    <a:pt x="612" y="609"/>
                  </a:lnTo>
                  <a:lnTo>
                    <a:pt x="616" y="603"/>
                  </a:lnTo>
                  <a:lnTo>
                    <a:pt x="616" y="601"/>
                  </a:lnTo>
                  <a:lnTo>
                    <a:pt x="618" y="601"/>
                  </a:lnTo>
                  <a:lnTo>
                    <a:pt x="618" y="599"/>
                  </a:lnTo>
                  <a:lnTo>
                    <a:pt x="620" y="597"/>
                  </a:lnTo>
                  <a:lnTo>
                    <a:pt x="620" y="595"/>
                  </a:lnTo>
                  <a:lnTo>
                    <a:pt x="625" y="595"/>
                  </a:lnTo>
                  <a:lnTo>
                    <a:pt x="625" y="595"/>
                  </a:lnTo>
                  <a:lnTo>
                    <a:pt x="625" y="593"/>
                  </a:lnTo>
                  <a:lnTo>
                    <a:pt x="622" y="591"/>
                  </a:lnTo>
                  <a:lnTo>
                    <a:pt x="622" y="591"/>
                  </a:lnTo>
                  <a:lnTo>
                    <a:pt x="625" y="591"/>
                  </a:lnTo>
                  <a:lnTo>
                    <a:pt x="627" y="588"/>
                  </a:lnTo>
                  <a:lnTo>
                    <a:pt x="627" y="584"/>
                  </a:lnTo>
                  <a:lnTo>
                    <a:pt x="627" y="584"/>
                  </a:lnTo>
                  <a:lnTo>
                    <a:pt x="629" y="584"/>
                  </a:lnTo>
                  <a:lnTo>
                    <a:pt x="629" y="586"/>
                  </a:lnTo>
                  <a:lnTo>
                    <a:pt x="629" y="584"/>
                  </a:lnTo>
                  <a:lnTo>
                    <a:pt x="629" y="584"/>
                  </a:lnTo>
                  <a:lnTo>
                    <a:pt x="629" y="582"/>
                  </a:lnTo>
                  <a:lnTo>
                    <a:pt x="627" y="582"/>
                  </a:lnTo>
                  <a:lnTo>
                    <a:pt x="627" y="582"/>
                  </a:lnTo>
                  <a:lnTo>
                    <a:pt x="627" y="580"/>
                  </a:lnTo>
                  <a:lnTo>
                    <a:pt x="627" y="580"/>
                  </a:lnTo>
                  <a:lnTo>
                    <a:pt x="627" y="578"/>
                  </a:lnTo>
                  <a:lnTo>
                    <a:pt x="627" y="578"/>
                  </a:lnTo>
                  <a:lnTo>
                    <a:pt x="627" y="576"/>
                  </a:lnTo>
                  <a:lnTo>
                    <a:pt x="627" y="576"/>
                  </a:lnTo>
                  <a:lnTo>
                    <a:pt x="627" y="574"/>
                  </a:lnTo>
                  <a:lnTo>
                    <a:pt x="629" y="562"/>
                  </a:lnTo>
                  <a:lnTo>
                    <a:pt x="629" y="560"/>
                  </a:lnTo>
                  <a:lnTo>
                    <a:pt x="633" y="554"/>
                  </a:lnTo>
                  <a:lnTo>
                    <a:pt x="633" y="552"/>
                  </a:lnTo>
                  <a:lnTo>
                    <a:pt x="635" y="550"/>
                  </a:lnTo>
                  <a:lnTo>
                    <a:pt x="639" y="547"/>
                  </a:lnTo>
                  <a:lnTo>
                    <a:pt x="641" y="547"/>
                  </a:lnTo>
                  <a:lnTo>
                    <a:pt x="643" y="545"/>
                  </a:lnTo>
                  <a:lnTo>
                    <a:pt x="643" y="545"/>
                  </a:lnTo>
                  <a:lnTo>
                    <a:pt x="645" y="543"/>
                  </a:lnTo>
                  <a:lnTo>
                    <a:pt x="645" y="541"/>
                  </a:lnTo>
                  <a:lnTo>
                    <a:pt x="647" y="539"/>
                  </a:lnTo>
                  <a:lnTo>
                    <a:pt x="647" y="539"/>
                  </a:lnTo>
                  <a:lnTo>
                    <a:pt x="647" y="537"/>
                  </a:lnTo>
                  <a:lnTo>
                    <a:pt x="647" y="535"/>
                  </a:lnTo>
                  <a:lnTo>
                    <a:pt x="647" y="535"/>
                  </a:lnTo>
                  <a:lnTo>
                    <a:pt x="645" y="533"/>
                  </a:lnTo>
                  <a:lnTo>
                    <a:pt x="645" y="531"/>
                  </a:lnTo>
                  <a:lnTo>
                    <a:pt x="645" y="529"/>
                  </a:lnTo>
                  <a:lnTo>
                    <a:pt x="645" y="527"/>
                  </a:lnTo>
                  <a:lnTo>
                    <a:pt x="645" y="525"/>
                  </a:lnTo>
                  <a:lnTo>
                    <a:pt x="647" y="525"/>
                  </a:lnTo>
                  <a:lnTo>
                    <a:pt x="649" y="523"/>
                  </a:lnTo>
                  <a:lnTo>
                    <a:pt x="651" y="523"/>
                  </a:lnTo>
                  <a:lnTo>
                    <a:pt x="651" y="521"/>
                  </a:lnTo>
                  <a:lnTo>
                    <a:pt x="651" y="521"/>
                  </a:lnTo>
                  <a:lnTo>
                    <a:pt x="651" y="519"/>
                  </a:lnTo>
                  <a:lnTo>
                    <a:pt x="649" y="519"/>
                  </a:lnTo>
                  <a:lnTo>
                    <a:pt x="649" y="517"/>
                  </a:lnTo>
                  <a:lnTo>
                    <a:pt x="647" y="515"/>
                  </a:lnTo>
                  <a:lnTo>
                    <a:pt x="649" y="513"/>
                  </a:lnTo>
                  <a:lnTo>
                    <a:pt x="651" y="513"/>
                  </a:lnTo>
                  <a:lnTo>
                    <a:pt x="653" y="511"/>
                  </a:lnTo>
                  <a:lnTo>
                    <a:pt x="653" y="511"/>
                  </a:lnTo>
                  <a:lnTo>
                    <a:pt x="655" y="509"/>
                  </a:lnTo>
                  <a:lnTo>
                    <a:pt x="657" y="509"/>
                  </a:lnTo>
                  <a:lnTo>
                    <a:pt x="661" y="511"/>
                  </a:lnTo>
                  <a:lnTo>
                    <a:pt x="661" y="509"/>
                  </a:lnTo>
                  <a:lnTo>
                    <a:pt x="661" y="511"/>
                  </a:lnTo>
                  <a:lnTo>
                    <a:pt x="661" y="513"/>
                  </a:lnTo>
                  <a:lnTo>
                    <a:pt x="661" y="515"/>
                  </a:lnTo>
                  <a:lnTo>
                    <a:pt x="661" y="515"/>
                  </a:lnTo>
                  <a:lnTo>
                    <a:pt x="663" y="515"/>
                  </a:lnTo>
                  <a:lnTo>
                    <a:pt x="663" y="517"/>
                  </a:lnTo>
                  <a:lnTo>
                    <a:pt x="663" y="519"/>
                  </a:lnTo>
                  <a:lnTo>
                    <a:pt x="666" y="519"/>
                  </a:lnTo>
                  <a:lnTo>
                    <a:pt x="666" y="519"/>
                  </a:lnTo>
                  <a:lnTo>
                    <a:pt x="663" y="521"/>
                  </a:lnTo>
                  <a:lnTo>
                    <a:pt x="663" y="523"/>
                  </a:lnTo>
                  <a:lnTo>
                    <a:pt x="663" y="523"/>
                  </a:lnTo>
                  <a:lnTo>
                    <a:pt x="666" y="521"/>
                  </a:lnTo>
                  <a:lnTo>
                    <a:pt x="668" y="521"/>
                  </a:lnTo>
                  <a:lnTo>
                    <a:pt x="670" y="519"/>
                  </a:lnTo>
                  <a:lnTo>
                    <a:pt x="672" y="515"/>
                  </a:lnTo>
                  <a:lnTo>
                    <a:pt x="672" y="511"/>
                  </a:lnTo>
                  <a:lnTo>
                    <a:pt x="674" y="504"/>
                  </a:lnTo>
                  <a:lnTo>
                    <a:pt x="674" y="498"/>
                  </a:lnTo>
                  <a:lnTo>
                    <a:pt x="674" y="496"/>
                  </a:lnTo>
                  <a:lnTo>
                    <a:pt x="674" y="496"/>
                  </a:lnTo>
                  <a:lnTo>
                    <a:pt x="674" y="494"/>
                  </a:lnTo>
                  <a:lnTo>
                    <a:pt x="672" y="494"/>
                  </a:lnTo>
                  <a:lnTo>
                    <a:pt x="672" y="492"/>
                  </a:lnTo>
                  <a:lnTo>
                    <a:pt x="672" y="488"/>
                  </a:lnTo>
                  <a:lnTo>
                    <a:pt x="672" y="486"/>
                  </a:lnTo>
                  <a:lnTo>
                    <a:pt x="672" y="482"/>
                  </a:lnTo>
                  <a:lnTo>
                    <a:pt x="674" y="478"/>
                  </a:lnTo>
                  <a:close/>
                  <a:moveTo>
                    <a:pt x="393" y="218"/>
                  </a:moveTo>
                  <a:lnTo>
                    <a:pt x="393" y="218"/>
                  </a:lnTo>
                  <a:lnTo>
                    <a:pt x="393" y="218"/>
                  </a:lnTo>
                  <a:lnTo>
                    <a:pt x="393" y="215"/>
                  </a:lnTo>
                  <a:lnTo>
                    <a:pt x="393" y="215"/>
                  </a:lnTo>
                  <a:lnTo>
                    <a:pt x="391" y="215"/>
                  </a:lnTo>
                  <a:lnTo>
                    <a:pt x="391" y="215"/>
                  </a:lnTo>
                  <a:lnTo>
                    <a:pt x="389" y="215"/>
                  </a:lnTo>
                  <a:lnTo>
                    <a:pt x="389" y="215"/>
                  </a:lnTo>
                  <a:lnTo>
                    <a:pt x="387" y="215"/>
                  </a:lnTo>
                  <a:lnTo>
                    <a:pt x="387" y="215"/>
                  </a:lnTo>
                  <a:lnTo>
                    <a:pt x="387" y="215"/>
                  </a:lnTo>
                  <a:lnTo>
                    <a:pt x="387" y="213"/>
                  </a:lnTo>
                  <a:lnTo>
                    <a:pt x="387" y="215"/>
                  </a:lnTo>
                  <a:lnTo>
                    <a:pt x="389" y="218"/>
                  </a:lnTo>
                  <a:lnTo>
                    <a:pt x="389" y="218"/>
                  </a:lnTo>
                  <a:lnTo>
                    <a:pt x="391" y="220"/>
                  </a:lnTo>
                  <a:lnTo>
                    <a:pt x="391" y="218"/>
                  </a:lnTo>
                  <a:lnTo>
                    <a:pt x="393" y="218"/>
                  </a:lnTo>
                  <a:close/>
                  <a:moveTo>
                    <a:pt x="463" y="205"/>
                  </a:moveTo>
                  <a:lnTo>
                    <a:pt x="461" y="205"/>
                  </a:lnTo>
                  <a:lnTo>
                    <a:pt x="461" y="207"/>
                  </a:lnTo>
                  <a:lnTo>
                    <a:pt x="461" y="207"/>
                  </a:lnTo>
                  <a:lnTo>
                    <a:pt x="465" y="211"/>
                  </a:lnTo>
                  <a:lnTo>
                    <a:pt x="469" y="213"/>
                  </a:lnTo>
                  <a:lnTo>
                    <a:pt x="469" y="213"/>
                  </a:lnTo>
                  <a:lnTo>
                    <a:pt x="471" y="213"/>
                  </a:lnTo>
                  <a:lnTo>
                    <a:pt x="473" y="213"/>
                  </a:lnTo>
                  <a:lnTo>
                    <a:pt x="473" y="213"/>
                  </a:lnTo>
                  <a:lnTo>
                    <a:pt x="475" y="213"/>
                  </a:lnTo>
                  <a:lnTo>
                    <a:pt x="475" y="211"/>
                  </a:lnTo>
                  <a:lnTo>
                    <a:pt x="477" y="209"/>
                  </a:lnTo>
                  <a:lnTo>
                    <a:pt x="477" y="207"/>
                  </a:lnTo>
                  <a:lnTo>
                    <a:pt x="475" y="207"/>
                  </a:lnTo>
                  <a:lnTo>
                    <a:pt x="473" y="207"/>
                  </a:lnTo>
                  <a:lnTo>
                    <a:pt x="473" y="205"/>
                  </a:lnTo>
                  <a:lnTo>
                    <a:pt x="473" y="203"/>
                  </a:lnTo>
                  <a:lnTo>
                    <a:pt x="471" y="205"/>
                  </a:lnTo>
                  <a:lnTo>
                    <a:pt x="471" y="205"/>
                  </a:lnTo>
                  <a:lnTo>
                    <a:pt x="471" y="207"/>
                  </a:lnTo>
                  <a:lnTo>
                    <a:pt x="471" y="207"/>
                  </a:lnTo>
                  <a:lnTo>
                    <a:pt x="469" y="205"/>
                  </a:lnTo>
                  <a:lnTo>
                    <a:pt x="463" y="205"/>
                  </a:lnTo>
                  <a:close/>
                  <a:moveTo>
                    <a:pt x="385" y="226"/>
                  </a:moveTo>
                  <a:lnTo>
                    <a:pt x="385" y="226"/>
                  </a:lnTo>
                  <a:lnTo>
                    <a:pt x="383" y="228"/>
                  </a:lnTo>
                  <a:lnTo>
                    <a:pt x="383" y="230"/>
                  </a:lnTo>
                  <a:lnTo>
                    <a:pt x="383" y="230"/>
                  </a:lnTo>
                  <a:lnTo>
                    <a:pt x="383" y="234"/>
                  </a:lnTo>
                  <a:lnTo>
                    <a:pt x="381" y="236"/>
                  </a:lnTo>
                  <a:lnTo>
                    <a:pt x="381" y="238"/>
                  </a:lnTo>
                  <a:lnTo>
                    <a:pt x="383" y="240"/>
                  </a:lnTo>
                  <a:lnTo>
                    <a:pt x="385" y="240"/>
                  </a:lnTo>
                  <a:lnTo>
                    <a:pt x="389" y="240"/>
                  </a:lnTo>
                  <a:lnTo>
                    <a:pt x="391" y="238"/>
                  </a:lnTo>
                  <a:lnTo>
                    <a:pt x="391" y="236"/>
                  </a:lnTo>
                  <a:lnTo>
                    <a:pt x="391" y="234"/>
                  </a:lnTo>
                  <a:lnTo>
                    <a:pt x="391" y="230"/>
                  </a:lnTo>
                  <a:lnTo>
                    <a:pt x="391" y="230"/>
                  </a:lnTo>
                  <a:lnTo>
                    <a:pt x="391" y="228"/>
                  </a:lnTo>
                  <a:lnTo>
                    <a:pt x="391" y="228"/>
                  </a:lnTo>
                  <a:lnTo>
                    <a:pt x="391" y="226"/>
                  </a:lnTo>
                  <a:lnTo>
                    <a:pt x="389" y="224"/>
                  </a:lnTo>
                  <a:lnTo>
                    <a:pt x="389" y="224"/>
                  </a:lnTo>
                  <a:lnTo>
                    <a:pt x="389" y="224"/>
                  </a:lnTo>
                  <a:lnTo>
                    <a:pt x="389" y="222"/>
                  </a:lnTo>
                  <a:lnTo>
                    <a:pt x="391" y="222"/>
                  </a:lnTo>
                  <a:lnTo>
                    <a:pt x="389" y="222"/>
                  </a:lnTo>
                  <a:lnTo>
                    <a:pt x="387" y="222"/>
                  </a:lnTo>
                  <a:lnTo>
                    <a:pt x="385" y="222"/>
                  </a:lnTo>
                  <a:lnTo>
                    <a:pt x="385" y="224"/>
                  </a:lnTo>
                  <a:lnTo>
                    <a:pt x="385" y="224"/>
                  </a:lnTo>
                  <a:lnTo>
                    <a:pt x="385" y="226"/>
                  </a:lnTo>
                  <a:close/>
                </a:path>
              </a:pathLst>
            </a:custGeom>
            <a:solidFill>
              <a:schemeClr val="accent1"/>
            </a:solidFill>
            <a:ln w="3175" cap="rnd">
              <a:solidFill>
                <a:schemeClr val="bg1"/>
              </a:solidFill>
              <a:prstDash val="solid"/>
              <a:round/>
              <a:headEnd/>
              <a:tailEnd/>
            </a:ln>
          </p:spPr>
          <p:txBody>
            <a:bodyPr vert="horz" wrap="square" lIns="0" tIns="0" rIns="192000" bIns="144000" numCol="1" anchor="b"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I</a:t>
              </a:r>
            </a:p>
          </p:txBody>
        </p:sp>
        <p:sp>
          <p:nvSpPr>
            <p:cNvPr id="112" name="Freeform 34">
              <a:extLst>
                <a:ext uri="{FF2B5EF4-FFF2-40B4-BE49-F238E27FC236}">
                  <a16:creationId xmlns:a16="http://schemas.microsoft.com/office/drawing/2014/main" id="{55292B26-A11E-9E87-7512-E58CFB248E05}"/>
                </a:ext>
              </a:extLst>
            </p:cNvPr>
            <p:cNvSpPr>
              <a:spLocks noEditPoints="1"/>
            </p:cNvSpPr>
            <p:nvPr/>
          </p:nvSpPr>
          <p:spPr bwMode="auto">
            <a:xfrm>
              <a:off x="4981" y="0"/>
              <a:ext cx="328" cy="484"/>
            </a:xfrm>
            <a:custGeom>
              <a:avLst/>
              <a:gdLst>
                <a:gd name="T0" fmla="*/ 211 w 328"/>
                <a:gd name="T1" fmla="*/ 338 h 484"/>
                <a:gd name="T2" fmla="*/ 213 w 328"/>
                <a:gd name="T3" fmla="*/ 322 h 484"/>
                <a:gd name="T4" fmla="*/ 234 w 328"/>
                <a:gd name="T5" fmla="*/ 295 h 484"/>
                <a:gd name="T6" fmla="*/ 240 w 328"/>
                <a:gd name="T7" fmla="*/ 314 h 484"/>
                <a:gd name="T8" fmla="*/ 326 w 328"/>
                <a:gd name="T9" fmla="*/ 223 h 484"/>
                <a:gd name="T10" fmla="*/ 316 w 328"/>
                <a:gd name="T11" fmla="*/ 219 h 484"/>
                <a:gd name="T12" fmla="*/ 312 w 328"/>
                <a:gd name="T13" fmla="*/ 219 h 484"/>
                <a:gd name="T14" fmla="*/ 310 w 328"/>
                <a:gd name="T15" fmla="*/ 203 h 484"/>
                <a:gd name="T16" fmla="*/ 293 w 328"/>
                <a:gd name="T17" fmla="*/ 193 h 484"/>
                <a:gd name="T18" fmla="*/ 269 w 328"/>
                <a:gd name="T19" fmla="*/ 166 h 484"/>
                <a:gd name="T20" fmla="*/ 242 w 328"/>
                <a:gd name="T21" fmla="*/ 156 h 484"/>
                <a:gd name="T22" fmla="*/ 232 w 328"/>
                <a:gd name="T23" fmla="*/ 131 h 484"/>
                <a:gd name="T24" fmla="*/ 183 w 328"/>
                <a:gd name="T25" fmla="*/ 10 h 484"/>
                <a:gd name="T26" fmla="*/ 146 w 328"/>
                <a:gd name="T27" fmla="*/ 10 h 484"/>
                <a:gd name="T28" fmla="*/ 97 w 328"/>
                <a:gd name="T29" fmla="*/ 25 h 484"/>
                <a:gd name="T30" fmla="*/ 43 w 328"/>
                <a:gd name="T31" fmla="*/ 107 h 484"/>
                <a:gd name="T32" fmla="*/ 41 w 328"/>
                <a:gd name="T33" fmla="*/ 164 h 484"/>
                <a:gd name="T34" fmla="*/ 45 w 328"/>
                <a:gd name="T35" fmla="*/ 182 h 484"/>
                <a:gd name="T36" fmla="*/ 35 w 328"/>
                <a:gd name="T37" fmla="*/ 213 h 484"/>
                <a:gd name="T38" fmla="*/ 19 w 328"/>
                <a:gd name="T39" fmla="*/ 246 h 484"/>
                <a:gd name="T40" fmla="*/ 4 w 328"/>
                <a:gd name="T41" fmla="*/ 260 h 484"/>
                <a:gd name="T42" fmla="*/ 25 w 328"/>
                <a:gd name="T43" fmla="*/ 340 h 484"/>
                <a:gd name="T44" fmla="*/ 58 w 328"/>
                <a:gd name="T45" fmla="*/ 437 h 484"/>
                <a:gd name="T46" fmla="*/ 66 w 328"/>
                <a:gd name="T47" fmla="*/ 461 h 484"/>
                <a:gd name="T48" fmla="*/ 88 w 328"/>
                <a:gd name="T49" fmla="*/ 480 h 484"/>
                <a:gd name="T50" fmla="*/ 99 w 328"/>
                <a:gd name="T51" fmla="*/ 451 h 484"/>
                <a:gd name="T52" fmla="*/ 107 w 328"/>
                <a:gd name="T53" fmla="*/ 437 h 484"/>
                <a:gd name="T54" fmla="*/ 117 w 328"/>
                <a:gd name="T55" fmla="*/ 418 h 484"/>
                <a:gd name="T56" fmla="*/ 119 w 328"/>
                <a:gd name="T57" fmla="*/ 394 h 484"/>
                <a:gd name="T58" fmla="*/ 127 w 328"/>
                <a:gd name="T59" fmla="*/ 400 h 484"/>
                <a:gd name="T60" fmla="*/ 133 w 328"/>
                <a:gd name="T61" fmla="*/ 391 h 484"/>
                <a:gd name="T62" fmla="*/ 137 w 328"/>
                <a:gd name="T63" fmla="*/ 387 h 484"/>
                <a:gd name="T64" fmla="*/ 142 w 328"/>
                <a:gd name="T65" fmla="*/ 389 h 484"/>
                <a:gd name="T66" fmla="*/ 135 w 328"/>
                <a:gd name="T67" fmla="*/ 363 h 484"/>
                <a:gd name="T68" fmla="*/ 144 w 328"/>
                <a:gd name="T69" fmla="*/ 387 h 484"/>
                <a:gd name="T70" fmla="*/ 142 w 328"/>
                <a:gd name="T71" fmla="*/ 379 h 484"/>
                <a:gd name="T72" fmla="*/ 150 w 328"/>
                <a:gd name="T73" fmla="*/ 373 h 484"/>
                <a:gd name="T74" fmla="*/ 154 w 328"/>
                <a:gd name="T75" fmla="*/ 375 h 484"/>
                <a:gd name="T76" fmla="*/ 156 w 328"/>
                <a:gd name="T77" fmla="*/ 371 h 484"/>
                <a:gd name="T78" fmla="*/ 162 w 328"/>
                <a:gd name="T79" fmla="*/ 379 h 484"/>
                <a:gd name="T80" fmla="*/ 168 w 328"/>
                <a:gd name="T81" fmla="*/ 357 h 484"/>
                <a:gd name="T82" fmla="*/ 180 w 328"/>
                <a:gd name="T83" fmla="*/ 363 h 484"/>
                <a:gd name="T84" fmla="*/ 191 w 328"/>
                <a:gd name="T85" fmla="*/ 342 h 484"/>
                <a:gd name="T86" fmla="*/ 187 w 328"/>
                <a:gd name="T87" fmla="*/ 310 h 484"/>
                <a:gd name="T88" fmla="*/ 197 w 328"/>
                <a:gd name="T89" fmla="*/ 289 h 484"/>
                <a:gd name="T90" fmla="*/ 203 w 328"/>
                <a:gd name="T91" fmla="*/ 301 h 484"/>
                <a:gd name="T92" fmla="*/ 201 w 328"/>
                <a:gd name="T93" fmla="*/ 312 h 484"/>
                <a:gd name="T94" fmla="*/ 226 w 328"/>
                <a:gd name="T95" fmla="*/ 310 h 484"/>
                <a:gd name="T96" fmla="*/ 226 w 328"/>
                <a:gd name="T97" fmla="*/ 301 h 484"/>
                <a:gd name="T98" fmla="*/ 230 w 328"/>
                <a:gd name="T99" fmla="*/ 297 h 484"/>
                <a:gd name="T100" fmla="*/ 238 w 328"/>
                <a:gd name="T101" fmla="*/ 283 h 484"/>
                <a:gd name="T102" fmla="*/ 246 w 328"/>
                <a:gd name="T103" fmla="*/ 283 h 484"/>
                <a:gd name="T104" fmla="*/ 258 w 328"/>
                <a:gd name="T105" fmla="*/ 295 h 484"/>
                <a:gd name="T106" fmla="*/ 262 w 328"/>
                <a:gd name="T107" fmla="*/ 283 h 484"/>
                <a:gd name="T108" fmla="*/ 267 w 328"/>
                <a:gd name="T109" fmla="*/ 285 h 484"/>
                <a:gd name="T110" fmla="*/ 269 w 328"/>
                <a:gd name="T111" fmla="*/ 273 h 484"/>
                <a:gd name="T112" fmla="*/ 275 w 328"/>
                <a:gd name="T113" fmla="*/ 269 h 484"/>
                <a:gd name="T114" fmla="*/ 285 w 328"/>
                <a:gd name="T115" fmla="*/ 266 h 484"/>
                <a:gd name="T116" fmla="*/ 289 w 328"/>
                <a:gd name="T117" fmla="*/ 254 h 484"/>
                <a:gd name="T118" fmla="*/ 299 w 328"/>
                <a:gd name="T119" fmla="*/ 254 h 484"/>
                <a:gd name="T120" fmla="*/ 303 w 328"/>
                <a:gd name="T121" fmla="*/ 242 h 484"/>
                <a:gd name="T122" fmla="*/ 314 w 328"/>
                <a:gd name="T123" fmla="*/ 24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484">
                  <a:moveTo>
                    <a:pt x="211" y="338"/>
                  </a:moveTo>
                  <a:lnTo>
                    <a:pt x="207" y="338"/>
                  </a:lnTo>
                  <a:lnTo>
                    <a:pt x="205" y="338"/>
                  </a:lnTo>
                  <a:lnTo>
                    <a:pt x="203" y="336"/>
                  </a:lnTo>
                  <a:lnTo>
                    <a:pt x="201" y="336"/>
                  </a:lnTo>
                  <a:lnTo>
                    <a:pt x="201" y="338"/>
                  </a:lnTo>
                  <a:lnTo>
                    <a:pt x="203" y="338"/>
                  </a:lnTo>
                  <a:lnTo>
                    <a:pt x="205" y="340"/>
                  </a:lnTo>
                  <a:lnTo>
                    <a:pt x="205" y="340"/>
                  </a:lnTo>
                  <a:lnTo>
                    <a:pt x="205" y="342"/>
                  </a:lnTo>
                  <a:lnTo>
                    <a:pt x="209" y="344"/>
                  </a:lnTo>
                  <a:lnTo>
                    <a:pt x="211" y="344"/>
                  </a:lnTo>
                  <a:lnTo>
                    <a:pt x="211" y="342"/>
                  </a:lnTo>
                  <a:lnTo>
                    <a:pt x="211" y="342"/>
                  </a:lnTo>
                  <a:lnTo>
                    <a:pt x="211" y="340"/>
                  </a:lnTo>
                  <a:lnTo>
                    <a:pt x="213" y="340"/>
                  </a:lnTo>
                  <a:lnTo>
                    <a:pt x="211" y="338"/>
                  </a:lnTo>
                  <a:lnTo>
                    <a:pt x="211" y="338"/>
                  </a:lnTo>
                  <a:close/>
                  <a:moveTo>
                    <a:pt x="219" y="324"/>
                  </a:moveTo>
                  <a:lnTo>
                    <a:pt x="217" y="324"/>
                  </a:lnTo>
                  <a:lnTo>
                    <a:pt x="217" y="324"/>
                  </a:lnTo>
                  <a:lnTo>
                    <a:pt x="217" y="322"/>
                  </a:lnTo>
                  <a:lnTo>
                    <a:pt x="219" y="322"/>
                  </a:lnTo>
                  <a:lnTo>
                    <a:pt x="221" y="320"/>
                  </a:lnTo>
                  <a:lnTo>
                    <a:pt x="219" y="320"/>
                  </a:lnTo>
                  <a:lnTo>
                    <a:pt x="219" y="318"/>
                  </a:lnTo>
                  <a:lnTo>
                    <a:pt x="219" y="318"/>
                  </a:lnTo>
                  <a:lnTo>
                    <a:pt x="217" y="316"/>
                  </a:lnTo>
                  <a:lnTo>
                    <a:pt x="215" y="316"/>
                  </a:lnTo>
                  <a:lnTo>
                    <a:pt x="213" y="316"/>
                  </a:lnTo>
                  <a:lnTo>
                    <a:pt x="213" y="318"/>
                  </a:lnTo>
                  <a:lnTo>
                    <a:pt x="213" y="318"/>
                  </a:lnTo>
                  <a:lnTo>
                    <a:pt x="213" y="320"/>
                  </a:lnTo>
                  <a:lnTo>
                    <a:pt x="213" y="322"/>
                  </a:lnTo>
                  <a:lnTo>
                    <a:pt x="215" y="322"/>
                  </a:lnTo>
                  <a:lnTo>
                    <a:pt x="213" y="322"/>
                  </a:lnTo>
                  <a:lnTo>
                    <a:pt x="213" y="322"/>
                  </a:lnTo>
                  <a:lnTo>
                    <a:pt x="211" y="322"/>
                  </a:lnTo>
                  <a:lnTo>
                    <a:pt x="213" y="324"/>
                  </a:lnTo>
                  <a:lnTo>
                    <a:pt x="213" y="326"/>
                  </a:lnTo>
                  <a:lnTo>
                    <a:pt x="213" y="326"/>
                  </a:lnTo>
                  <a:lnTo>
                    <a:pt x="213" y="328"/>
                  </a:lnTo>
                  <a:lnTo>
                    <a:pt x="213" y="328"/>
                  </a:lnTo>
                  <a:lnTo>
                    <a:pt x="217" y="328"/>
                  </a:lnTo>
                  <a:lnTo>
                    <a:pt x="219" y="328"/>
                  </a:lnTo>
                  <a:lnTo>
                    <a:pt x="221" y="326"/>
                  </a:lnTo>
                  <a:lnTo>
                    <a:pt x="221" y="324"/>
                  </a:lnTo>
                  <a:lnTo>
                    <a:pt x="219" y="324"/>
                  </a:lnTo>
                  <a:close/>
                  <a:moveTo>
                    <a:pt x="244" y="293"/>
                  </a:moveTo>
                  <a:lnTo>
                    <a:pt x="242" y="291"/>
                  </a:lnTo>
                  <a:lnTo>
                    <a:pt x="240" y="291"/>
                  </a:lnTo>
                  <a:lnTo>
                    <a:pt x="236" y="291"/>
                  </a:lnTo>
                  <a:lnTo>
                    <a:pt x="234" y="293"/>
                  </a:lnTo>
                  <a:lnTo>
                    <a:pt x="234" y="295"/>
                  </a:lnTo>
                  <a:lnTo>
                    <a:pt x="234" y="297"/>
                  </a:lnTo>
                  <a:lnTo>
                    <a:pt x="234" y="297"/>
                  </a:lnTo>
                  <a:lnTo>
                    <a:pt x="234" y="299"/>
                  </a:lnTo>
                  <a:lnTo>
                    <a:pt x="232" y="299"/>
                  </a:lnTo>
                  <a:lnTo>
                    <a:pt x="232" y="299"/>
                  </a:lnTo>
                  <a:lnTo>
                    <a:pt x="232" y="301"/>
                  </a:lnTo>
                  <a:lnTo>
                    <a:pt x="232" y="305"/>
                  </a:lnTo>
                  <a:lnTo>
                    <a:pt x="232" y="307"/>
                  </a:lnTo>
                  <a:lnTo>
                    <a:pt x="232" y="307"/>
                  </a:lnTo>
                  <a:lnTo>
                    <a:pt x="232" y="307"/>
                  </a:lnTo>
                  <a:lnTo>
                    <a:pt x="234" y="307"/>
                  </a:lnTo>
                  <a:lnTo>
                    <a:pt x="234" y="310"/>
                  </a:lnTo>
                  <a:lnTo>
                    <a:pt x="234" y="310"/>
                  </a:lnTo>
                  <a:lnTo>
                    <a:pt x="234" y="310"/>
                  </a:lnTo>
                  <a:lnTo>
                    <a:pt x="234" y="312"/>
                  </a:lnTo>
                  <a:lnTo>
                    <a:pt x="238" y="312"/>
                  </a:lnTo>
                  <a:lnTo>
                    <a:pt x="238" y="314"/>
                  </a:lnTo>
                  <a:lnTo>
                    <a:pt x="240" y="314"/>
                  </a:lnTo>
                  <a:lnTo>
                    <a:pt x="240" y="312"/>
                  </a:lnTo>
                  <a:lnTo>
                    <a:pt x="240" y="312"/>
                  </a:lnTo>
                  <a:lnTo>
                    <a:pt x="242" y="314"/>
                  </a:lnTo>
                  <a:lnTo>
                    <a:pt x="242" y="314"/>
                  </a:lnTo>
                  <a:lnTo>
                    <a:pt x="244" y="312"/>
                  </a:lnTo>
                  <a:lnTo>
                    <a:pt x="244" y="310"/>
                  </a:lnTo>
                  <a:lnTo>
                    <a:pt x="244" y="310"/>
                  </a:lnTo>
                  <a:lnTo>
                    <a:pt x="242" y="307"/>
                  </a:lnTo>
                  <a:lnTo>
                    <a:pt x="240" y="307"/>
                  </a:lnTo>
                  <a:lnTo>
                    <a:pt x="240" y="303"/>
                  </a:lnTo>
                  <a:lnTo>
                    <a:pt x="242" y="303"/>
                  </a:lnTo>
                  <a:lnTo>
                    <a:pt x="244" y="305"/>
                  </a:lnTo>
                  <a:lnTo>
                    <a:pt x="246" y="303"/>
                  </a:lnTo>
                  <a:lnTo>
                    <a:pt x="250" y="301"/>
                  </a:lnTo>
                  <a:lnTo>
                    <a:pt x="250" y="299"/>
                  </a:lnTo>
                  <a:lnTo>
                    <a:pt x="248" y="297"/>
                  </a:lnTo>
                  <a:lnTo>
                    <a:pt x="244" y="293"/>
                  </a:lnTo>
                  <a:close/>
                  <a:moveTo>
                    <a:pt x="326" y="223"/>
                  </a:moveTo>
                  <a:lnTo>
                    <a:pt x="326" y="219"/>
                  </a:lnTo>
                  <a:lnTo>
                    <a:pt x="324" y="219"/>
                  </a:lnTo>
                  <a:lnTo>
                    <a:pt x="324" y="219"/>
                  </a:lnTo>
                  <a:lnTo>
                    <a:pt x="324" y="219"/>
                  </a:lnTo>
                  <a:lnTo>
                    <a:pt x="324" y="219"/>
                  </a:lnTo>
                  <a:lnTo>
                    <a:pt x="324" y="219"/>
                  </a:lnTo>
                  <a:lnTo>
                    <a:pt x="324" y="219"/>
                  </a:lnTo>
                  <a:lnTo>
                    <a:pt x="320" y="217"/>
                  </a:lnTo>
                  <a:lnTo>
                    <a:pt x="320" y="217"/>
                  </a:lnTo>
                  <a:lnTo>
                    <a:pt x="318" y="217"/>
                  </a:lnTo>
                  <a:lnTo>
                    <a:pt x="322" y="221"/>
                  </a:lnTo>
                  <a:lnTo>
                    <a:pt x="322" y="223"/>
                  </a:lnTo>
                  <a:lnTo>
                    <a:pt x="320" y="223"/>
                  </a:lnTo>
                  <a:lnTo>
                    <a:pt x="320" y="221"/>
                  </a:lnTo>
                  <a:lnTo>
                    <a:pt x="318" y="219"/>
                  </a:lnTo>
                  <a:lnTo>
                    <a:pt x="316" y="217"/>
                  </a:lnTo>
                  <a:lnTo>
                    <a:pt x="316" y="219"/>
                  </a:lnTo>
                  <a:lnTo>
                    <a:pt x="316" y="219"/>
                  </a:lnTo>
                  <a:lnTo>
                    <a:pt x="316" y="219"/>
                  </a:lnTo>
                  <a:lnTo>
                    <a:pt x="316" y="221"/>
                  </a:lnTo>
                  <a:lnTo>
                    <a:pt x="316" y="221"/>
                  </a:lnTo>
                  <a:lnTo>
                    <a:pt x="316" y="221"/>
                  </a:lnTo>
                  <a:lnTo>
                    <a:pt x="316" y="223"/>
                  </a:lnTo>
                  <a:lnTo>
                    <a:pt x="314" y="221"/>
                  </a:lnTo>
                  <a:lnTo>
                    <a:pt x="314" y="221"/>
                  </a:lnTo>
                  <a:lnTo>
                    <a:pt x="314" y="223"/>
                  </a:lnTo>
                  <a:lnTo>
                    <a:pt x="314" y="225"/>
                  </a:lnTo>
                  <a:lnTo>
                    <a:pt x="314" y="228"/>
                  </a:lnTo>
                  <a:lnTo>
                    <a:pt x="312" y="221"/>
                  </a:lnTo>
                  <a:lnTo>
                    <a:pt x="310" y="221"/>
                  </a:lnTo>
                  <a:lnTo>
                    <a:pt x="307" y="219"/>
                  </a:lnTo>
                  <a:lnTo>
                    <a:pt x="307" y="219"/>
                  </a:lnTo>
                  <a:lnTo>
                    <a:pt x="307" y="217"/>
                  </a:lnTo>
                  <a:lnTo>
                    <a:pt x="307" y="217"/>
                  </a:lnTo>
                  <a:lnTo>
                    <a:pt x="312" y="219"/>
                  </a:lnTo>
                  <a:lnTo>
                    <a:pt x="312" y="219"/>
                  </a:lnTo>
                  <a:lnTo>
                    <a:pt x="314" y="217"/>
                  </a:lnTo>
                  <a:lnTo>
                    <a:pt x="314" y="217"/>
                  </a:lnTo>
                  <a:lnTo>
                    <a:pt x="314" y="215"/>
                  </a:lnTo>
                  <a:lnTo>
                    <a:pt x="312" y="215"/>
                  </a:lnTo>
                  <a:lnTo>
                    <a:pt x="312" y="213"/>
                  </a:lnTo>
                  <a:lnTo>
                    <a:pt x="314" y="213"/>
                  </a:lnTo>
                  <a:lnTo>
                    <a:pt x="314" y="213"/>
                  </a:lnTo>
                  <a:lnTo>
                    <a:pt x="316" y="215"/>
                  </a:lnTo>
                  <a:lnTo>
                    <a:pt x="318" y="213"/>
                  </a:lnTo>
                  <a:lnTo>
                    <a:pt x="318" y="211"/>
                  </a:lnTo>
                  <a:lnTo>
                    <a:pt x="318" y="209"/>
                  </a:lnTo>
                  <a:lnTo>
                    <a:pt x="318" y="209"/>
                  </a:lnTo>
                  <a:lnTo>
                    <a:pt x="316" y="207"/>
                  </a:lnTo>
                  <a:lnTo>
                    <a:pt x="314" y="205"/>
                  </a:lnTo>
                  <a:lnTo>
                    <a:pt x="314" y="205"/>
                  </a:lnTo>
                  <a:lnTo>
                    <a:pt x="312" y="205"/>
                  </a:lnTo>
                  <a:lnTo>
                    <a:pt x="310" y="203"/>
                  </a:lnTo>
                  <a:lnTo>
                    <a:pt x="310" y="203"/>
                  </a:lnTo>
                  <a:lnTo>
                    <a:pt x="310" y="201"/>
                  </a:lnTo>
                  <a:lnTo>
                    <a:pt x="307" y="199"/>
                  </a:lnTo>
                  <a:lnTo>
                    <a:pt x="307" y="197"/>
                  </a:lnTo>
                  <a:lnTo>
                    <a:pt x="305" y="197"/>
                  </a:lnTo>
                  <a:lnTo>
                    <a:pt x="305" y="197"/>
                  </a:lnTo>
                  <a:lnTo>
                    <a:pt x="305" y="197"/>
                  </a:lnTo>
                  <a:lnTo>
                    <a:pt x="303" y="197"/>
                  </a:lnTo>
                  <a:lnTo>
                    <a:pt x="303" y="195"/>
                  </a:lnTo>
                  <a:lnTo>
                    <a:pt x="303" y="195"/>
                  </a:lnTo>
                  <a:lnTo>
                    <a:pt x="301" y="195"/>
                  </a:lnTo>
                  <a:lnTo>
                    <a:pt x="301" y="193"/>
                  </a:lnTo>
                  <a:lnTo>
                    <a:pt x="301" y="193"/>
                  </a:lnTo>
                  <a:lnTo>
                    <a:pt x="299" y="195"/>
                  </a:lnTo>
                  <a:lnTo>
                    <a:pt x="299" y="195"/>
                  </a:lnTo>
                  <a:lnTo>
                    <a:pt x="299" y="193"/>
                  </a:lnTo>
                  <a:lnTo>
                    <a:pt x="297" y="193"/>
                  </a:lnTo>
                  <a:lnTo>
                    <a:pt x="295" y="193"/>
                  </a:lnTo>
                  <a:lnTo>
                    <a:pt x="293" y="193"/>
                  </a:lnTo>
                  <a:lnTo>
                    <a:pt x="293" y="193"/>
                  </a:lnTo>
                  <a:lnTo>
                    <a:pt x="293" y="193"/>
                  </a:lnTo>
                  <a:lnTo>
                    <a:pt x="293" y="195"/>
                  </a:lnTo>
                  <a:lnTo>
                    <a:pt x="293" y="195"/>
                  </a:lnTo>
                  <a:lnTo>
                    <a:pt x="293" y="197"/>
                  </a:lnTo>
                  <a:lnTo>
                    <a:pt x="291" y="199"/>
                  </a:lnTo>
                  <a:lnTo>
                    <a:pt x="287" y="199"/>
                  </a:lnTo>
                  <a:lnTo>
                    <a:pt x="285" y="197"/>
                  </a:lnTo>
                  <a:lnTo>
                    <a:pt x="281" y="193"/>
                  </a:lnTo>
                  <a:lnTo>
                    <a:pt x="277" y="191"/>
                  </a:lnTo>
                  <a:lnTo>
                    <a:pt x="275" y="189"/>
                  </a:lnTo>
                  <a:lnTo>
                    <a:pt x="275" y="187"/>
                  </a:lnTo>
                  <a:lnTo>
                    <a:pt x="275" y="185"/>
                  </a:lnTo>
                  <a:lnTo>
                    <a:pt x="277" y="182"/>
                  </a:lnTo>
                  <a:lnTo>
                    <a:pt x="275" y="178"/>
                  </a:lnTo>
                  <a:lnTo>
                    <a:pt x="269" y="172"/>
                  </a:lnTo>
                  <a:lnTo>
                    <a:pt x="267" y="168"/>
                  </a:lnTo>
                  <a:lnTo>
                    <a:pt x="269" y="166"/>
                  </a:lnTo>
                  <a:lnTo>
                    <a:pt x="271" y="164"/>
                  </a:lnTo>
                  <a:lnTo>
                    <a:pt x="271" y="164"/>
                  </a:lnTo>
                  <a:lnTo>
                    <a:pt x="271" y="160"/>
                  </a:lnTo>
                  <a:lnTo>
                    <a:pt x="269" y="158"/>
                  </a:lnTo>
                  <a:lnTo>
                    <a:pt x="267" y="156"/>
                  </a:lnTo>
                  <a:lnTo>
                    <a:pt x="264" y="156"/>
                  </a:lnTo>
                  <a:lnTo>
                    <a:pt x="262" y="158"/>
                  </a:lnTo>
                  <a:lnTo>
                    <a:pt x="260" y="158"/>
                  </a:lnTo>
                  <a:lnTo>
                    <a:pt x="254" y="158"/>
                  </a:lnTo>
                  <a:lnTo>
                    <a:pt x="250" y="158"/>
                  </a:lnTo>
                  <a:lnTo>
                    <a:pt x="248" y="158"/>
                  </a:lnTo>
                  <a:lnTo>
                    <a:pt x="246" y="156"/>
                  </a:lnTo>
                  <a:lnTo>
                    <a:pt x="246" y="156"/>
                  </a:lnTo>
                  <a:lnTo>
                    <a:pt x="244" y="154"/>
                  </a:lnTo>
                  <a:lnTo>
                    <a:pt x="244" y="154"/>
                  </a:lnTo>
                  <a:lnTo>
                    <a:pt x="244" y="154"/>
                  </a:lnTo>
                  <a:lnTo>
                    <a:pt x="244" y="156"/>
                  </a:lnTo>
                  <a:lnTo>
                    <a:pt x="242" y="156"/>
                  </a:lnTo>
                  <a:lnTo>
                    <a:pt x="242" y="156"/>
                  </a:lnTo>
                  <a:lnTo>
                    <a:pt x="240" y="156"/>
                  </a:lnTo>
                  <a:lnTo>
                    <a:pt x="238" y="156"/>
                  </a:lnTo>
                  <a:lnTo>
                    <a:pt x="238" y="154"/>
                  </a:lnTo>
                  <a:lnTo>
                    <a:pt x="236" y="150"/>
                  </a:lnTo>
                  <a:lnTo>
                    <a:pt x="236" y="148"/>
                  </a:lnTo>
                  <a:lnTo>
                    <a:pt x="236" y="146"/>
                  </a:lnTo>
                  <a:lnTo>
                    <a:pt x="236" y="144"/>
                  </a:lnTo>
                  <a:lnTo>
                    <a:pt x="236" y="141"/>
                  </a:lnTo>
                  <a:lnTo>
                    <a:pt x="236" y="141"/>
                  </a:lnTo>
                  <a:lnTo>
                    <a:pt x="234" y="139"/>
                  </a:lnTo>
                  <a:lnTo>
                    <a:pt x="234" y="137"/>
                  </a:lnTo>
                  <a:lnTo>
                    <a:pt x="234" y="135"/>
                  </a:lnTo>
                  <a:lnTo>
                    <a:pt x="234" y="133"/>
                  </a:lnTo>
                  <a:lnTo>
                    <a:pt x="234" y="133"/>
                  </a:lnTo>
                  <a:lnTo>
                    <a:pt x="234" y="131"/>
                  </a:lnTo>
                  <a:lnTo>
                    <a:pt x="234" y="131"/>
                  </a:lnTo>
                  <a:lnTo>
                    <a:pt x="232" y="131"/>
                  </a:lnTo>
                  <a:lnTo>
                    <a:pt x="232" y="129"/>
                  </a:lnTo>
                  <a:lnTo>
                    <a:pt x="232" y="129"/>
                  </a:lnTo>
                  <a:lnTo>
                    <a:pt x="228" y="115"/>
                  </a:lnTo>
                  <a:lnTo>
                    <a:pt x="223" y="103"/>
                  </a:lnTo>
                  <a:lnTo>
                    <a:pt x="219" y="88"/>
                  </a:lnTo>
                  <a:lnTo>
                    <a:pt x="215" y="76"/>
                  </a:lnTo>
                  <a:lnTo>
                    <a:pt x="211" y="62"/>
                  </a:lnTo>
                  <a:lnTo>
                    <a:pt x="207" y="49"/>
                  </a:lnTo>
                  <a:lnTo>
                    <a:pt x="203" y="35"/>
                  </a:lnTo>
                  <a:lnTo>
                    <a:pt x="199" y="23"/>
                  </a:lnTo>
                  <a:lnTo>
                    <a:pt x="197" y="19"/>
                  </a:lnTo>
                  <a:lnTo>
                    <a:pt x="197" y="19"/>
                  </a:lnTo>
                  <a:lnTo>
                    <a:pt x="193" y="16"/>
                  </a:lnTo>
                  <a:lnTo>
                    <a:pt x="191" y="16"/>
                  </a:lnTo>
                  <a:lnTo>
                    <a:pt x="189" y="14"/>
                  </a:lnTo>
                  <a:lnTo>
                    <a:pt x="185" y="12"/>
                  </a:lnTo>
                  <a:lnTo>
                    <a:pt x="183" y="12"/>
                  </a:lnTo>
                  <a:lnTo>
                    <a:pt x="183" y="10"/>
                  </a:lnTo>
                  <a:lnTo>
                    <a:pt x="183" y="10"/>
                  </a:lnTo>
                  <a:lnTo>
                    <a:pt x="178" y="8"/>
                  </a:lnTo>
                  <a:lnTo>
                    <a:pt x="174" y="6"/>
                  </a:lnTo>
                  <a:lnTo>
                    <a:pt x="168" y="4"/>
                  </a:lnTo>
                  <a:lnTo>
                    <a:pt x="168" y="4"/>
                  </a:lnTo>
                  <a:lnTo>
                    <a:pt x="164" y="4"/>
                  </a:lnTo>
                  <a:lnTo>
                    <a:pt x="164" y="4"/>
                  </a:lnTo>
                  <a:lnTo>
                    <a:pt x="162" y="2"/>
                  </a:lnTo>
                  <a:lnTo>
                    <a:pt x="160" y="0"/>
                  </a:lnTo>
                  <a:lnTo>
                    <a:pt x="156" y="0"/>
                  </a:lnTo>
                  <a:lnTo>
                    <a:pt x="152" y="0"/>
                  </a:lnTo>
                  <a:lnTo>
                    <a:pt x="148" y="2"/>
                  </a:lnTo>
                  <a:lnTo>
                    <a:pt x="148" y="6"/>
                  </a:lnTo>
                  <a:lnTo>
                    <a:pt x="148" y="8"/>
                  </a:lnTo>
                  <a:lnTo>
                    <a:pt x="148" y="8"/>
                  </a:lnTo>
                  <a:lnTo>
                    <a:pt x="148" y="8"/>
                  </a:lnTo>
                  <a:lnTo>
                    <a:pt x="146" y="10"/>
                  </a:lnTo>
                  <a:lnTo>
                    <a:pt x="146" y="10"/>
                  </a:lnTo>
                  <a:lnTo>
                    <a:pt x="144" y="10"/>
                  </a:lnTo>
                  <a:lnTo>
                    <a:pt x="142" y="10"/>
                  </a:lnTo>
                  <a:lnTo>
                    <a:pt x="140" y="10"/>
                  </a:lnTo>
                  <a:lnTo>
                    <a:pt x="137" y="10"/>
                  </a:lnTo>
                  <a:lnTo>
                    <a:pt x="135" y="12"/>
                  </a:lnTo>
                  <a:lnTo>
                    <a:pt x="133" y="14"/>
                  </a:lnTo>
                  <a:lnTo>
                    <a:pt x="131" y="16"/>
                  </a:lnTo>
                  <a:lnTo>
                    <a:pt x="131" y="19"/>
                  </a:lnTo>
                  <a:lnTo>
                    <a:pt x="129" y="21"/>
                  </a:lnTo>
                  <a:lnTo>
                    <a:pt x="127" y="21"/>
                  </a:lnTo>
                  <a:lnTo>
                    <a:pt x="125" y="21"/>
                  </a:lnTo>
                  <a:lnTo>
                    <a:pt x="121" y="23"/>
                  </a:lnTo>
                  <a:lnTo>
                    <a:pt x="113" y="31"/>
                  </a:lnTo>
                  <a:lnTo>
                    <a:pt x="113" y="31"/>
                  </a:lnTo>
                  <a:lnTo>
                    <a:pt x="101" y="29"/>
                  </a:lnTo>
                  <a:lnTo>
                    <a:pt x="99" y="27"/>
                  </a:lnTo>
                  <a:lnTo>
                    <a:pt x="99" y="25"/>
                  </a:lnTo>
                  <a:lnTo>
                    <a:pt x="97" y="25"/>
                  </a:lnTo>
                  <a:lnTo>
                    <a:pt x="97" y="21"/>
                  </a:lnTo>
                  <a:lnTo>
                    <a:pt x="94" y="14"/>
                  </a:lnTo>
                  <a:lnTo>
                    <a:pt x="94" y="12"/>
                  </a:lnTo>
                  <a:lnTo>
                    <a:pt x="92" y="10"/>
                  </a:lnTo>
                  <a:lnTo>
                    <a:pt x="80" y="10"/>
                  </a:lnTo>
                  <a:lnTo>
                    <a:pt x="80" y="12"/>
                  </a:lnTo>
                  <a:lnTo>
                    <a:pt x="80" y="12"/>
                  </a:lnTo>
                  <a:lnTo>
                    <a:pt x="78" y="14"/>
                  </a:lnTo>
                  <a:lnTo>
                    <a:pt x="74" y="25"/>
                  </a:lnTo>
                  <a:lnTo>
                    <a:pt x="70" y="35"/>
                  </a:lnTo>
                  <a:lnTo>
                    <a:pt x="66" y="47"/>
                  </a:lnTo>
                  <a:lnTo>
                    <a:pt x="62" y="57"/>
                  </a:lnTo>
                  <a:lnTo>
                    <a:pt x="58" y="68"/>
                  </a:lnTo>
                  <a:lnTo>
                    <a:pt x="54" y="78"/>
                  </a:lnTo>
                  <a:lnTo>
                    <a:pt x="49" y="90"/>
                  </a:lnTo>
                  <a:lnTo>
                    <a:pt x="45" y="100"/>
                  </a:lnTo>
                  <a:lnTo>
                    <a:pt x="43" y="103"/>
                  </a:lnTo>
                  <a:lnTo>
                    <a:pt x="43" y="107"/>
                  </a:lnTo>
                  <a:lnTo>
                    <a:pt x="45" y="113"/>
                  </a:lnTo>
                  <a:lnTo>
                    <a:pt x="45" y="123"/>
                  </a:lnTo>
                  <a:lnTo>
                    <a:pt x="47" y="129"/>
                  </a:lnTo>
                  <a:lnTo>
                    <a:pt x="47" y="133"/>
                  </a:lnTo>
                  <a:lnTo>
                    <a:pt x="43" y="139"/>
                  </a:lnTo>
                  <a:lnTo>
                    <a:pt x="41" y="139"/>
                  </a:lnTo>
                  <a:lnTo>
                    <a:pt x="39" y="141"/>
                  </a:lnTo>
                  <a:lnTo>
                    <a:pt x="39" y="144"/>
                  </a:lnTo>
                  <a:lnTo>
                    <a:pt x="41" y="146"/>
                  </a:lnTo>
                  <a:lnTo>
                    <a:pt x="41" y="146"/>
                  </a:lnTo>
                  <a:lnTo>
                    <a:pt x="39" y="148"/>
                  </a:lnTo>
                  <a:lnTo>
                    <a:pt x="39" y="150"/>
                  </a:lnTo>
                  <a:lnTo>
                    <a:pt x="37" y="154"/>
                  </a:lnTo>
                  <a:lnTo>
                    <a:pt x="37" y="158"/>
                  </a:lnTo>
                  <a:lnTo>
                    <a:pt x="37" y="160"/>
                  </a:lnTo>
                  <a:lnTo>
                    <a:pt x="39" y="160"/>
                  </a:lnTo>
                  <a:lnTo>
                    <a:pt x="41" y="162"/>
                  </a:lnTo>
                  <a:lnTo>
                    <a:pt x="41" y="164"/>
                  </a:lnTo>
                  <a:lnTo>
                    <a:pt x="41" y="166"/>
                  </a:lnTo>
                  <a:lnTo>
                    <a:pt x="41" y="168"/>
                  </a:lnTo>
                  <a:lnTo>
                    <a:pt x="39" y="170"/>
                  </a:lnTo>
                  <a:lnTo>
                    <a:pt x="39" y="172"/>
                  </a:lnTo>
                  <a:lnTo>
                    <a:pt x="39" y="172"/>
                  </a:lnTo>
                  <a:lnTo>
                    <a:pt x="39" y="172"/>
                  </a:lnTo>
                  <a:lnTo>
                    <a:pt x="39" y="172"/>
                  </a:lnTo>
                  <a:lnTo>
                    <a:pt x="39" y="172"/>
                  </a:lnTo>
                  <a:lnTo>
                    <a:pt x="41" y="174"/>
                  </a:lnTo>
                  <a:lnTo>
                    <a:pt x="41" y="174"/>
                  </a:lnTo>
                  <a:lnTo>
                    <a:pt x="41" y="174"/>
                  </a:lnTo>
                  <a:lnTo>
                    <a:pt x="39" y="174"/>
                  </a:lnTo>
                  <a:lnTo>
                    <a:pt x="39" y="176"/>
                  </a:lnTo>
                  <a:lnTo>
                    <a:pt x="41" y="180"/>
                  </a:lnTo>
                  <a:lnTo>
                    <a:pt x="41" y="180"/>
                  </a:lnTo>
                  <a:lnTo>
                    <a:pt x="41" y="182"/>
                  </a:lnTo>
                  <a:lnTo>
                    <a:pt x="43" y="182"/>
                  </a:lnTo>
                  <a:lnTo>
                    <a:pt x="45" y="182"/>
                  </a:lnTo>
                  <a:lnTo>
                    <a:pt x="45" y="182"/>
                  </a:lnTo>
                  <a:lnTo>
                    <a:pt x="47" y="187"/>
                  </a:lnTo>
                  <a:lnTo>
                    <a:pt x="45" y="191"/>
                  </a:lnTo>
                  <a:lnTo>
                    <a:pt x="43" y="193"/>
                  </a:lnTo>
                  <a:lnTo>
                    <a:pt x="39" y="199"/>
                  </a:lnTo>
                  <a:lnTo>
                    <a:pt x="39" y="201"/>
                  </a:lnTo>
                  <a:lnTo>
                    <a:pt x="39" y="201"/>
                  </a:lnTo>
                  <a:lnTo>
                    <a:pt x="39" y="203"/>
                  </a:lnTo>
                  <a:lnTo>
                    <a:pt x="39" y="203"/>
                  </a:lnTo>
                  <a:lnTo>
                    <a:pt x="39" y="203"/>
                  </a:lnTo>
                  <a:lnTo>
                    <a:pt x="39" y="205"/>
                  </a:lnTo>
                  <a:lnTo>
                    <a:pt x="41" y="207"/>
                  </a:lnTo>
                  <a:lnTo>
                    <a:pt x="41" y="209"/>
                  </a:lnTo>
                  <a:lnTo>
                    <a:pt x="41" y="209"/>
                  </a:lnTo>
                  <a:lnTo>
                    <a:pt x="39" y="211"/>
                  </a:lnTo>
                  <a:lnTo>
                    <a:pt x="39" y="211"/>
                  </a:lnTo>
                  <a:lnTo>
                    <a:pt x="37" y="213"/>
                  </a:lnTo>
                  <a:lnTo>
                    <a:pt x="35" y="213"/>
                  </a:lnTo>
                  <a:lnTo>
                    <a:pt x="33" y="215"/>
                  </a:lnTo>
                  <a:lnTo>
                    <a:pt x="31" y="219"/>
                  </a:lnTo>
                  <a:lnTo>
                    <a:pt x="29" y="219"/>
                  </a:lnTo>
                  <a:lnTo>
                    <a:pt x="25" y="230"/>
                  </a:lnTo>
                  <a:lnTo>
                    <a:pt x="23" y="238"/>
                  </a:lnTo>
                  <a:lnTo>
                    <a:pt x="23" y="240"/>
                  </a:lnTo>
                  <a:lnTo>
                    <a:pt x="25" y="242"/>
                  </a:lnTo>
                  <a:lnTo>
                    <a:pt x="25" y="242"/>
                  </a:lnTo>
                  <a:lnTo>
                    <a:pt x="29" y="244"/>
                  </a:lnTo>
                  <a:lnTo>
                    <a:pt x="31" y="244"/>
                  </a:lnTo>
                  <a:lnTo>
                    <a:pt x="31" y="246"/>
                  </a:lnTo>
                  <a:lnTo>
                    <a:pt x="31" y="248"/>
                  </a:lnTo>
                  <a:lnTo>
                    <a:pt x="29" y="248"/>
                  </a:lnTo>
                  <a:lnTo>
                    <a:pt x="29" y="248"/>
                  </a:lnTo>
                  <a:lnTo>
                    <a:pt x="27" y="248"/>
                  </a:lnTo>
                  <a:lnTo>
                    <a:pt x="23" y="246"/>
                  </a:lnTo>
                  <a:lnTo>
                    <a:pt x="21" y="246"/>
                  </a:lnTo>
                  <a:lnTo>
                    <a:pt x="19" y="246"/>
                  </a:lnTo>
                  <a:lnTo>
                    <a:pt x="19" y="248"/>
                  </a:lnTo>
                  <a:lnTo>
                    <a:pt x="19" y="250"/>
                  </a:lnTo>
                  <a:lnTo>
                    <a:pt x="19" y="252"/>
                  </a:lnTo>
                  <a:lnTo>
                    <a:pt x="19" y="254"/>
                  </a:lnTo>
                  <a:lnTo>
                    <a:pt x="19" y="258"/>
                  </a:lnTo>
                  <a:lnTo>
                    <a:pt x="21" y="260"/>
                  </a:lnTo>
                  <a:lnTo>
                    <a:pt x="19" y="260"/>
                  </a:lnTo>
                  <a:lnTo>
                    <a:pt x="19" y="262"/>
                  </a:lnTo>
                  <a:lnTo>
                    <a:pt x="19" y="262"/>
                  </a:lnTo>
                  <a:lnTo>
                    <a:pt x="19" y="264"/>
                  </a:lnTo>
                  <a:lnTo>
                    <a:pt x="19" y="266"/>
                  </a:lnTo>
                  <a:lnTo>
                    <a:pt x="19" y="266"/>
                  </a:lnTo>
                  <a:lnTo>
                    <a:pt x="17" y="269"/>
                  </a:lnTo>
                  <a:lnTo>
                    <a:pt x="17" y="266"/>
                  </a:lnTo>
                  <a:lnTo>
                    <a:pt x="10" y="260"/>
                  </a:lnTo>
                  <a:lnTo>
                    <a:pt x="8" y="258"/>
                  </a:lnTo>
                  <a:lnTo>
                    <a:pt x="6" y="258"/>
                  </a:lnTo>
                  <a:lnTo>
                    <a:pt x="4" y="260"/>
                  </a:lnTo>
                  <a:lnTo>
                    <a:pt x="4" y="260"/>
                  </a:lnTo>
                  <a:lnTo>
                    <a:pt x="4" y="262"/>
                  </a:lnTo>
                  <a:lnTo>
                    <a:pt x="2" y="264"/>
                  </a:lnTo>
                  <a:lnTo>
                    <a:pt x="2" y="264"/>
                  </a:lnTo>
                  <a:lnTo>
                    <a:pt x="0" y="264"/>
                  </a:lnTo>
                  <a:lnTo>
                    <a:pt x="2" y="271"/>
                  </a:lnTo>
                  <a:lnTo>
                    <a:pt x="4" y="277"/>
                  </a:lnTo>
                  <a:lnTo>
                    <a:pt x="6" y="281"/>
                  </a:lnTo>
                  <a:lnTo>
                    <a:pt x="8" y="287"/>
                  </a:lnTo>
                  <a:lnTo>
                    <a:pt x="10" y="291"/>
                  </a:lnTo>
                  <a:lnTo>
                    <a:pt x="13" y="303"/>
                  </a:lnTo>
                  <a:lnTo>
                    <a:pt x="15" y="307"/>
                  </a:lnTo>
                  <a:lnTo>
                    <a:pt x="17" y="314"/>
                  </a:lnTo>
                  <a:lnTo>
                    <a:pt x="19" y="318"/>
                  </a:lnTo>
                  <a:lnTo>
                    <a:pt x="21" y="324"/>
                  </a:lnTo>
                  <a:lnTo>
                    <a:pt x="23" y="330"/>
                  </a:lnTo>
                  <a:lnTo>
                    <a:pt x="23" y="334"/>
                  </a:lnTo>
                  <a:lnTo>
                    <a:pt x="25" y="340"/>
                  </a:lnTo>
                  <a:lnTo>
                    <a:pt x="27" y="344"/>
                  </a:lnTo>
                  <a:lnTo>
                    <a:pt x="29" y="351"/>
                  </a:lnTo>
                  <a:lnTo>
                    <a:pt x="31" y="357"/>
                  </a:lnTo>
                  <a:lnTo>
                    <a:pt x="33" y="361"/>
                  </a:lnTo>
                  <a:lnTo>
                    <a:pt x="35" y="367"/>
                  </a:lnTo>
                  <a:lnTo>
                    <a:pt x="35" y="371"/>
                  </a:lnTo>
                  <a:lnTo>
                    <a:pt x="37" y="377"/>
                  </a:lnTo>
                  <a:lnTo>
                    <a:pt x="39" y="383"/>
                  </a:lnTo>
                  <a:lnTo>
                    <a:pt x="41" y="387"/>
                  </a:lnTo>
                  <a:lnTo>
                    <a:pt x="43" y="394"/>
                  </a:lnTo>
                  <a:lnTo>
                    <a:pt x="45" y="400"/>
                  </a:lnTo>
                  <a:lnTo>
                    <a:pt x="47" y="404"/>
                  </a:lnTo>
                  <a:lnTo>
                    <a:pt x="47" y="410"/>
                  </a:lnTo>
                  <a:lnTo>
                    <a:pt x="49" y="414"/>
                  </a:lnTo>
                  <a:lnTo>
                    <a:pt x="51" y="420"/>
                  </a:lnTo>
                  <a:lnTo>
                    <a:pt x="54" y="426"/>
                  </a:lnTo>
                  <a:lnTo>
                    <a:pt x="56" y="430"/>
                  </a:lnTo>
                  <a:lnTo>
                    <a:pt x="58" y="437"/>
                  </a:lnTo>
                  <a:lnTo>
                    <a:pt x="58" y="439"/>
                  </a:lnTo>
                  <a:lnTo>
                    <a:pt x="60" y="443"/>
                  </a:lnTo>
                  <a:lnTo>
                    <a:pt x="60" y="445"/>
                  </a:lnTo>
                  <a:lnTo>
                    <a:pt x="60" y="445"/>
                  </a:lnTo>
                  <a:lnTo>
                    <a:pt x="60" y="447"/>
                  </a:lnTo>
                  <a:lnTo>
                    <a:pt x="60" y="447"/>
                  </a:lnTo>
                  <a:lnTo>
                    <a:pt x="60" y="447"/>
                  </a:lnTo>
                  <a:lnTo>
                    <a:pt x="60" y="449"/>
                  </a:lnTo>
                  <a:lnTo>
                    <a:pt x="62" y="451"/>
                  </a:lnTo>
                  <a:lnTo>
                    <a:pt x="62" y="451"/>
                  </a:lnTo>
                  <a:lnTo>
                    <a:pt x="62" y="455"/>
                  </a:lnTo>
                  <a:lnTo>
                    <a:pt x="62" y="455"/>
                  </a:lnTo>
                  <a:lnTo>
                    <a:pt x="62" y="455"/>
                  </a:lnTo>
                  <a:lnTo>
                    <a:pt x="62" y="457"/>
                  </a:lnTo>
                  <a:lnTo>
                    <a:pt x="62" y="457"/>
                  </a:lnTo>
                  <a:lnTo>
                    <a:pt x="62" y="459"/>
                  </a:lnTo>
                  <a:lnTo>
                    <a:pt x="64" y="459"/>
                  </a:lnTo>
                  <a:lnTo>
                    <a:pt x="66" y="461"/>
                  </a:lnTo>
                  <a:lnTo>
                    <a:pt x="70" y="463"/>
                  </a:lnTo>
                  <a:lnTo>
                    <a:pt x="74" y="467"/>
                  </a:lnTo>
                  <a:lnTo>
                    <a:pt x="76" y="467"/>
                  </a:lnTo>
                  <a:lnTo>
                    <a:pt x="78" y="469"/>
                  </a:lnTo>
                  <a:lnTo>
                    <a:pt x="78" y="469"/>
                  </a:lnTo>
                  <a:lnTo>
                    <a:pt x="78" y="471"/>
                  </a:lnTo>
                  <a:lnTo>
                    <a:pt x="78" y="471"/>
                  </a:lnTo>
                  <a:lnTo>
                    <a:pt x="78" y="471"/>
                  </a:lnTo>
                  <a:lnTo>
                    <a:pt x="78" y="476"/>
                  </a:lnTo>
                  <a:lnTo>
                    <a:pt x="80" y="478"/>
                  </a:lnTo>
                  <a:lnTo>
                    <a:pt x="80" y="478"/>
                  </a:lnTo>
                  <a:lnTo>
                    <a:pt x="82" y="480"/>
                  </a:lnTo>
                  <a:lnTo>
                    <a:pt x="84" y="482"/>
                  </a:lnTo>
                  <a:lnTo>
                    <a:pt x="88" y="484"/>
                  </a:lnTo>
                  <a:lnTo>
                    <a:pt x="88" y="484"/>
                  </a:lnTo>
                  <a:lnTo>
                    <a:pt x="88" y="480"/>
                  </a:lnTo>
                  <a:lnTo>
                    <a:pt x="88" y="480"/>
                  </a:lnTo>
                  <a:lnTo>
                    <a:pt x="88" y="480"/>
                  </a:lnTo>
                  <a:lnTo>
                    <a:pt x="90" y="480"/>
                  </a:lnTo>
                  <a:lnTo>
                    <a:pt x="92" y="482"/>
                  </a:lnTo>
                  <a:lnTo>
                    <a:pt x="94" y="482"/>
                  </a:lnTo>
                  <a:lnTo>
                    <a:pt x="94" y="480"/>
                  </a:lnTo>
                  <a:lnTo>
                    <a:pt x="94" y="476"/>
                  </a:lnTo>
                  <a:lnTo>
                    <a:pt x="97" y="471"/>
                  </a:lnTo>
                  <a:lnTo>
                    <a:pt x="97" y="469"/>
                  </a:lnTo>
                  <a:lnTo>
                    <a:pt x="99" y="469"/>
                  </a:lnTo>
                  <a:lnTo>
                    <a:pt x="97" y="469"/>
                  </a:lnTo>
                  <a:lnTo>
                    <a:pt x="97" y="467"/>
                  </a:lnTo>
                  <a:lnTo>
                    <a:pt x="99" y="465"/>
                  </a:lnTo>
                  <a:lnTo>
                    <a:pt x="97" y="463"/>
                  </a:lnTo>
                  <a:lnTo>
                    <a:pt x="94" y="461"/>
                  </a:lnTo>
                  <a:lnTo>
                    <a:pt x="97" y="457"/>
                  </a:lnTo>
                  <a:lnTo>
                    <a:pt x="97" y="455"/>
                  </a:lnTo>
                  <a:lnTo>
                    <a:pt x="99" y="451"/>
                  </a:lnTo>
                  <a:lnTo>
                    <a:pt x="99" y="451"/>
                  </a:lnTo>
                  <a:lnTo>
                    <a:pt x="99" y="451"/>
                  </a:lnTo>
                  <a:lnTo>
                    <a:pt x="101" y="449"/>
                  </a:lnTo>
                  <a:lnTo>
                    <a:pt x="103" y="449"/>
                  </a:lnTo>
                  <a:lnTo>
                    <a:pt x="105" y="447"/>
                  </a:lnTo>
                  <a:lnTo>
                    <a:pt x="105" y="445"/>
                  </a:lnTo>
                  <a:lnTo>
                    <a:pt x="107" y="443"/>
                  </a:lnTo>
                  <a:lnTo>
                    <a:pt x="107" y="443"/>
                  </a:lnTo>
                  <a:lnTo>
                    <a:pt x="107" y="443"/>
                  </a:lnTo>
                  <a:lnTo>
                    <a:pt x="109" y="443"/>
                  </a:lnTo>
                  <a:lnTo>
                    <a:pt x="109" y="441"/>
                  </a:lnTo>
                  <a:lnTo>
                    <a:pt x="109" y="441"/>
                  </a:lnTo>
                  <a:lnTo>
                    <a:pt x="109" y="439"/>
                  </a:lnTo>
                  <a:lnTo>
                    <a:pt x="109" y="437"/>
                  </a:lnTo>
                  <a:lnTo>
                    <a:pt x="109" y="437"/>
                  </a:lnTo>
                  <a:lnTo>
                    <a:pt x="111" y="435"/>
                  </a:lnTo>
                  <a:lnTo>
                    <a:pt x="111" y="435"/>
                  </a:lnTo>
                  <a:lnTo>
                    <a:pt x="109" y="435"/>
                  </a:lnTo>
                  <a:lnTo>
                    <a:pt x="109" y="435"/>
                  </a:lnTo>
                  <a:lnTo>
                    <a:pt x="107" y="437"/>
                  </a:lnTo>
                  <a:lnTo>
                    <a:pt x="107" y="435"/>
                  </a:lnTo>
                  <a:lnTo>
                    <a:pt x="107" y="432"/>
                  </a:lnTo>
                  <a:lnTo>
                    <a:pt x="105" y="430"/>
                  </a:lnTo>
                  <a:lnTo>
                    <a:pt x="107" y="428"/>
                  </a:lnTo>
                  <a:lnTo>
                    <a:pt x="107" y="426"/>
                  </a:lnTo>
                  <a:lnTo>
                    <a:pt x="107" y="424"/>
                  </a:lnTo>
                  <a:lnTo>
                    <a:pt x="109" y="424"/>
                  </a:lnTo>
                  <a:lnTo>
                    <a:pt x="109" y="426"/>
                  </a:lnTo>
                  <a:lnTo>
                    <a:pt x="111" y="426"/>
                  </a:lnTo>
                  <a:lnTo>
                    <a:pt x="111" y="424"/>
                  </a:lnTo>
                  <a:lnTo>
                    <a:pt x="113" y="422"/>
                  </a:lnTo>
                  <a:lnTo>
                    <a:pt x="113" y="422"/>
                  </a:lnTo>
                  <a:lnTo>
                    <a:pt x="113" y="424"/>
                  </a:lnTo>
                  <a:lnTo>
                    <a:pt x="113" y="424"/>
                  </a:lnTo>
                  <a:lnTo>
                    <a:pt x="115" y="422"/>
                  </a:lnTo>
                  <a:lnTo>
                    <a:pt x="117" y="422"/>
                  </a:lnTo>
                  <a:lnTo>
                    <a:pt x="117" y="420"/>
                  </a:lnTo>
                  <a:lnTo>
                    <a:pt x="117" y="418"/>
                  </a:lnTo>
                  <a:lnTo>
                    <a:pt x="115" y="416"/>
                  </a:lnTo>
                  <a:lnTo>
                    <a:pt x="115" y="414"/>
                  </a:lnTo>
                  <a:lnTo>
                    <a:pt x="113" y="414"/>
                  </a:lnTo>
                  <a:lnTo>
                    <a:pt x="111" y="414"/>
                  </a:lnTo>
                  <a:lnTo>
                    <a:pt x="109" y="414"/>
                  </a:lnTo>
                  <a:lnTo>
                    <a:pt x="107" y="414"/>
                  </a:lnTo>
                  <a:lnTo>
                    <a:pt x="111" y="414"/>
                  </a:lnTo>
                  <a:lnTo>
                    <a:pt x="111" y="412"/>
                  </a:lnTo>
                  <a:lnTo>
                    <a:pt x="111" y="412"/>
                  </a:lnTo>
                  <a:lnTo>
                    <a:pt x="111" y="410"/>
                  </a:lnTo>
                  <a:lnTo>
                    <a:pt x="111" y="410"/>
                  </a:lnTo>
                  <a:lnTo>
                    <a:pt x="111" y="408"/>
                  </a:lnTo>
                  <a:lnTo>
                    <a:pt x="113" y="406"/>
                  </a:lnTo>
                  <a:lnTo>
                    <a:pt x="113" y="402"/>
                  </a:lnTo>
                  <a:lnTo>
                    <a:pt x="115" y="400"/>
                  </a:lnTo>
                  <a:lnTo>
                    <a:pt x="117" y="394"/>
                  </a:lnTo>
                  <a:lnTo>
                    <a:pt x="117" y="394"/>
                  </a:lnTo>
                  <a:lnTo>
                    <a:pt x="119" y="394"/>
                  </a:lnTo>
                  <a:lnTo>
                    <a:pt x="119" y="394"/>
                  </a:lnTo>
                  <a:lnTo>
                    <a:pt x="121" y="391"/>
                  </a:lnTo>
                  <a:lnTo>
                    <a:pt x="121" y="391"/>
                  </a:lnTo>
                  <a:lnTo>
                    <a:pt x="123" y="389"/>
                  </a:lnTo>
                  <a:lnTo>
                    <a:pt x="123" y="387"/>
                  </a:lnTo>
                  <a:lnTo>
                    <a:pt x="123" y="387"/>
                  </a:lnTo>
                  <a:lnTo>
                    <a:pt x="125" y="385"/>
                  </a:lnTo>
                  <a:lnTo>
                    <a:pt x="125" y="387"/>
                  </a:lnTo>
                  <a:lnTo>
                    <a:pt x="125" y="389"/>
                  </a:lnTo>
                  <a:lnTo>
                    <a:pt x="123" y="389"/>
                  </a:lnTo>
                  <a:lnTo>
                    <a:pt x="123" y="389"/>
                  </a:lnTo>
                  <a:lnTo>
                    <a:pt x="125" y="389"/>
                  </a:lnTo>
                  <a:lnTo>
                    <a:pt x="127" y="387"/>
                  </a:lnTo>
                  <a:lnTo>
                    <a:pt x="127" y="387"/>
                  </a:lnTo>
                  <a:lnTo>
                    <a:pt x="127" y="389"/>
                  </a:lnTo>
                  <a:lnTo>
                    <a:pt x="125" y="396"/>
                  </a:lnTo>
                  <a:lnTo>
                    <a:pt x="125" y="400"/>
                  </a:lnTo>
                  <a:lnTo>
                    <a:pt x="127" y="400"/>
                  </a:lnTo>
                  <a:lnTo>
                    <a:pt x="127" y="398"/>
                  </a:lnTo>
                  <a:lnTo>
                    <a:pt x="127" y="396"/>
                  </a:lnTo>
                  <a:lnTo>
                    <a:pt x="127" y="394"/>
                  </a:lnTo>
                  <a:lnTo>
                    <a:pt x="127" y="391"/>
                  </a:lnTo>
                  <a:lnTo>
                    <a:pt x="129" y="389"/>
                  </a:lnTo>
                  <a:lnTo>
                    <a:pt x="129" y="387"/>
                  </a:lnTo>
                  <a:lnTo>
                    <a:pt x="129" y="385"/>
                  </a:lnTo>
                  <a:lnTo>
                    <a:pt x="131" y="387"/>
                  </a:lnTo>
                  <a:lnTo>
                    <a:pt x="129" y="400"/>
                  </a:lnTo>
                  <a:lnTo>
                    <a:pt x="129" y="400"/>
                  </a:lnTo>
                  <a:lnTo>
                    <a:pt x="129" y="400"/>
                  </a:lnTo>
                  <a:lnTo>
                    <a:pt x="129" y="400"/>
                  </a:lnTo>
                  <a:lnTo>
                    <a:pt x="129" y="398"/>
                  </a:lnTo>
                  <a:lnTo>
                    <a:pt x="129" y="398"/>
                  </a:lnTo>
                  <a:lnTo>
                    <a:pt x="129" y="396"/>
                  </a:lnTo>
                  <a:lnTo>
                    <a:pt x="131" y="396"/>
                  </a:lnTo>
                  <a:lnTo>
                    <a:pt x="133" y="391"/>
                  </a:lnTo>
                  <a:lnTo>
                    <a:pt x="133" y="391"/>
                  </a:lnTo>
                  <a:lnTo>
                    <a:pt x="133" y="391"/>
                  </a:lnTo>
                  <a:lnTo>
                    <a:pt x="135" y="389"/>
                  </a:lnTo>
                  <a:lnTo>
                    <a:pt x="135" y="389"/>
                  </a:lnTo>
                  <a:lnTo>
                    <a:pt x="135" y="387"/>
                  </a:lnTo>
                  <a:lnTo>
                    <a:pt x="133" y="385"/>
                  </a:lnTo>
                  <a:lnTo>
                    <a:pt x="133" y="385"/>
                  </a:lnTo>
                  <a:lnTo>
                    <a:pt x="131" y="385"/>
                  </a:lnTo>
                  <a:lnTo>
                    <a:pt x="131" y="383"/>
                  </a:lnTo>
                  <a:lnTo>
                    <a:pt x="133" y="383"/>
                  </a:lnTo>
                  <a:lnTo>
                    <a:pt x="133" y="383"/>
                  </a:lnTo>
                  <a:lnTo>
                    <a:pt x="133" y="383"/>
                  </a:lnTo>
                  <a:lnTo>
                    <a:pt x="135" y="383"/>
                  </a:lnTo>
                  <a:lnTo>
                    <a:pt x="135" y="383"/>
                  </a:lnTo>
                  <a:lnTo>
                    <a:pt x="135" y="383"/>
                  </a:lnTo>
                  <a:lnTo>
                    <a:pt x="135" y="385"/>
                  </a:lnTo>
                  <a:lnTo>
                    <a:pt x="135" y="385"/>
                  </a:lnTo>
                  <a:lnTo>
                    <a:pt x="137" y="387"/>
                  </a:lnTo>
                  <a:lnTo>
                    <a:pt x="137" y="387"/>
                  </a:lnTo>
                  <a:lnTo>
                    <a:pt x="137" y="389"/>
                  </a:lnTo>
                  <a:lnTo>
                    <a:pt x="137" y="389"/>
                  </a:lnTo>
                  <a:lnTo>
                    <a:pt x="137" y="389"/>
                  </a:lnTo>
                  <a:lnTo>
                    <a:pt x="137" y="389"/>
                  </a:lnTo>
                  <a:lnTo>
                    <a:pt x="137" y="394"/>
                  </a:lnTo>
                  <a:lnTo>
                    <a:pt x="137" y="394"/>
                  </a:lnTo>
                  <a:lnTo>
                    <a:pt x="140" y="396"/>
                  </a:lnTo>
                  <a:lnTo>
                    <a:pt x="140" y="396"/>
                  </a:lnTo>
                  <a:lnTo>
                    <a:pt x="142" y="398"/>
                  </a:lnTo>
                  <a:lnTo>
                    <a:pt x="142" y="400"/>
                  </a:lnTo>
                  <a:lnTo>
                    <a:pt x="142" y="398"/>
                  </a:lnTo>
                  <a:lnTo>
                    <a:pt x="142" y="398"/>
                  </a:lnTo>
                  <a:lnTo>
                    <a:pt x="144" y="396"/>
                  </a:lnTo>
                  <a:lnTo>
                    <a:pt x="144" y="396"/>
                  </a:lnTo>
                  <a:lnTo>
                    <a:pt x="144" y="394"/>
                  </a:lnTo>
                  <a:lnTo>
                    <a:pt x="144" y="391"/>
                  </a:lnTo>
                  <a:lnTo>
                    <a:pt x="144" y="391"/>
                  </a:lnTo>
                  <a:lnTo>
                    <a:pt x="142" y="389"/>
                  </a:lnTo>
                  <a:lnTo>
                    <a:pt x="140" y="385"/>
                  </a:lnTo>
                  <a:lnTo>
                    <a:pt x="140" y="383"/>
                  </a:lnTo>
                  <a:lnTo>
                    <a:pt x="135" y="375"/>
                  </a:lnTo>
                  <a:lnTo>
                    <a:pt x="133" y="371"/>
                  </a:lnTo>
                  <a:lnTo>
                    <a:pt x="133" y="373"/>
                  </a:lnTo>
                  <a:lnTo>
                    <a:pt x="133" y="373"/>
                  </a:lnTo>
                  <a:lnTo>
                    <a:pt x="131" y="375"/>
                  </a:lnTo>
                  <a:lnTo>
                    <a:pt x="131" y="375"/>
                  </a:lnTo>
                  <a:lnTo>
                    <a:pt x="129" y="373"/>
                  </a:lnTo>
                  <a:lnTo>
                    <a:pt x="129" y="373"/>
                  </a:lnTo>
                  <a:lnTo>
                    <a:pt x="129" y="371"/>
                  </a:lnTo>
                  <a:lnTo>
                    <a:pt x="133" y="365"/>
                  </a:lnTo>
                  <a:lnTo>
                    <a:pt x="133" y="365"/>
                  </a:lnTo>
                  <a:lnTo>
                    <a:pt x="135" y="363"/>
                  </a:lnTo>
                  <a:lnTo>
                    <a:pt x="135" y="363"/>
                  </a:lnTo>
                  <a:lnTo>
                    <a:pt x="135" y="361"/>
                  </a:lnTo>
                  <a:lnTo>
                    <a:pt x="137" y="363"/>
                  </a:lnTo>
                  <a:lnTo>
                    <a:pt x="135" y="363"/>
                  </a:lnTo>
                  <a:lnTo>
                    <a:pt x="135" y="365"/>
                  </a:lnTo>
                  <a:lnTo>
                    <a:pt x="135" y="367"/>
                  </a:lnTo>
                  <a:lnTo>
                    <a:pt x="135" y="371"/>
                  </a:lnTo>
                  <a:lnTo>
                    <a:pt x="135" y="371"/>
                  </a:lnTo>
                  <a:lnTo>
                    <a:pt x="137" y="373"/>
                  </a:lnTo>
                  <a:lnTo>
                    <a:pt x="137" y="375"/>
                  </a:lnTo>
                  <a:lnTo>
                    <a:pt x="137" y="375"/>
                  </a:lnTo>
                  <a:lnTo>
                    <a:pt x="137" y="377"/>
                  </a:lnTo>
                  <a:lnTo>
                    <a:pt x="140" y="379"/>
                  </a:lnTo>
                  <a:lnTo>
                    <a:pt x="140" y="379"/>
                  </a:lnTo>
                  <a:lnTo>
                    <a:pt x="140" y="381"/>
                  </a:lnTo>
                  <a:lnTo>
                    <a:pt x="142" y="381"/>
                  </a:lnTo>
                  <a:lnTo>
                    <a:pt x="144" y="387"/>
                  </a:lnTo>
                  <a:lnTo>
                    <a:pt x="144" y="387"/>
                  </a:lnTo>
                  <a:lnTo>
                    <a:pt x="144" y="387"/>
                  </a:lnTo>
                  <a:lnTo>
                    <a:pt x="144" y="387"/>
                  </a:lnTo>
                  <a:lnTo>
                    <a:pt x="144" y="387"/>
                  </a:lnTo>
                  <a:lnTo>
                    <a:pt x="144" y="387"/>
                  </a:lnTo>
                  <a:lnTo>
                    <a:pt x="144" y="387"/>
                  </a:lnTo>
                  <a:lnTo>
                    <a:pt x="144" y="387"/>
                  </a:lnTo>
                  <a:lnTo>
                    <a:pt x="144" y="389"/>
                  </a:lnTo>
                  <a:lnTo>
                    <a:pt x="146" y="391"/>
                  </a:lnTo>
                  <a:lnTo>
                    <a:pt x="146" y="391"/>
                  </a:lnTo>
                  <a:lnTo>
                    <a:pt x="148" y="389"/>
                  </a:lnTo>
                  <a:lnTo>
                    <a:pt x="148" y="383"/>
                  </a:lnTo>
                  <a:lnTo>
                    <a:pt x="148" y="381"/>
                  </a:lnTo>
                  <a:lnTo>
                    <a:pt x="146" y="381"/>
                  </a:lnTo>
                  <a:lnTo>
                    <a:pt x="146" y="383"/>
                  </a:lnTo>
                  <a:lnTo>
                    <a:pt x="146" y="385"/>
                  </a:lnTo>
                  <a:lnTo>
                    <a:pt x="146" y="385"/>
                  </a:lnTo>
                  <a:lnTo>
                    <a:pt x="146" y="383"/>
                  </a:lnTo>
                  <a:lnTo>
                    <a:pt x="146" y="381"/>
                  </a:lnTo>
                  <a:lnTo>
                    <a:pt x="144" y="379"/>
                  </a:lnTo>
                  <a:lnTo>
                    <a:pt x="144" y="379"/>
                  </a:lnTo>
                  <a:lnTo>
                    <a:pt x="142" y="379"/>
                  </a:lnTo>
                  <a:lnTo>
                    <a:pt x="142" y="379"/>
                  </a:lnTo>
                  <a:lnTo>
                    <a:pt x="142" y="377"/>
                  </a:lnTo>
                  <a:lnTo>
                    <a:pt x="146" y="365"/>
                  </a:lnTo>
                  <a:lnTo>
                    <a:pt x="148" y="363"/>
                  </a:lnTo>
                  <a:lnTo>
                    <a:pt x="148" y="363"/>
                  </a:lnTo>
                  <a:lnTo>
                    <a:pt x="150" y="361"/>
                  </a:lnTo>
                  <a:lnTo>
                    <a:pt x="150" y="363"/>
                  </a:lnTo>
                  <a:lnTo>
                    <a:pt x="148" y="363"/>
                  </a:lnTo>
                  <a:lnTo>
                    <a:pt x="148" y="365"/>
                  </a:lnTo>
                  <a:lnTo>
                    <a:pt x="148" y="369"/>
                  </a:lnTo>
                  <a:lnTo>
                    <a:pt x="148" y="369"/>
                  </a:lnTo>
                  <a:lnTo>
                    <a:pt x="148" y="371"/>
                  </a:lnTo>
                  <a:lnTo>
                    <a:pt x="150" y="371"/>
                  </a:lnTo>
                  <a:lnTo>
                    <a:pt x="150" y="371"/>
                  </a:lnTo>
                  <a:lnTo>
                    <a:pt x="152" y="373"/>
                  </a:lnTo>
                  <a:lnTo>
                    <a:pt x="152" y="373"/>
                  </a:lnTo>
                  <a:lnTo>
                    <a:pt x="150" y="373"/>
                  </a:lnTo>
                  <a:lnTo>
                    <a:pt x="150" y="373"/>
                  </a:lnTo>
                  <a:lnTo>
                    <a:pt x="150" y="373"/>
                  </a:lnTo>
                  <a:lnTo>
                    <a:pt x="150" y="375"/>
                  </a:lnTo>
                  <a:lnTo>
                    <a:pt x="150" y="375"/>
                  </a:lnTo>
                  <a:lnTo>
                    <a:pt x="150" y="375"/>
                  </a:lnTo>
                  <a:lnTo>
                    <a:pt x="150" y="379"/>
                  </a:lnTo>
                  <a:lnTo>
                    <a:pt x="150" y="379"/>
                  </a:lnTo>
                  <a:lnTo>
                    <a:pt x="150" y="379"/>
                  </a:lnTo>
                  <a:lnTo>
                    <a:pt x="152" y="381"/>
                  </a:lnTo>
                  <a:lnTo>
                    <a:pt x="154" y="381"/>
                  </a:lnTo>
                  <a:lnTo>
                    <a:pt x="154" y="381"/>
                  </a:lnTo>
                  <a:lnTo>
                    <a:pt x="156" y="379"/>
                  </a:lnTo>
                  <a:lnTo>
                    <a:pt x="156" y="383"/>
                  </a:lnTo>
                  <a:lnTo>
                    <a:pt x="158" y="383"/>
                  </a:lnTo>
                  <a:lnTo>
                    <a:pt x="158" y="381"/>
                  </a:lnTo>
                  <a:lnTo>
                    <a:pt x="158" y="379"/>
                  </a:lnTo>
                  <a:lnTo>
                    <a:pt x="156" y="377"/>
                  </a:lnTo>
                  <a:lnTo>
                    <a:pt x="156" y="377"/>
                  </a:lnTo>
                  <a:lnTo>
                    <a:pt x="154" y="375"/>
                  </a:lnTo>
                  <a:lnTo>
                    <a:pt x="154" y="375"/>
                  </a:lnTo>
                  <a:lnTo>
                    <a:pt x="154" y="373"/>
                  </a:lnTo>
                  <a:lnTo>
                    <a:pt x="154" y="373"/>
                  </a:lnTo>
                  <a:lnTo>
                    <a:pt x="154" y="373"/>
                  </a:lnTo>
                  <a:lnTo>
                    <a:pt x="154" y="373"/>
                  </a:lnTo>
                  <a:lnTo>
                    <a:pt x="154" y="371"/>
                  </a:lnTo>
                  <a:lnTo>
                    <a:pt x="154" y="371"/>
                  </a:lnTo>
                  <a:lnTo>
                    <a:pt x="154" y="369"/>
                  </a:lnTo>
                  <a:lnTo>
                    <a:pt x="154" y="369"/>
                  </a:lnTo>
                  <a:lnTo>
                    <a:pt x="154" y="367"/>
                  </a:lnTo>
                  <a:lnTo>
                    <a:pt x="154" y="367"/>
                  </a:lnTo>
                  <a:lnTo>
                    <a:pt x="154" y="363"/>
                  </a:lnTo>
                  <a:lnTo>
                    <a:pt x="154" y="361"/>
                  </a:lnTo>
                  <a:lnTo>
                    <a:pt x="156" y="361"/>
                  </a:lnTo>
                  <a:lnTo>
                    <a:pt x="156" y="363"/>
                  </a:lnTo>
                  <a:lnTo>
                    <a:pt x="156" y="367"/>
                  </a:lnTo>
                  <a:lnTo>
                    <a:pt x="156" y="369"/>
                  </a:lnTo>
                  <a:lnTo>
                    <a:pt x="156" y="369"/>
                  </a:lnTo>
                  <a:lnTo>
                    <a:pt x="156" y="371"/>
                  </a:lnTo>
                  <a:lnTo>
                    <a:pt x="156" y="371"/>
                  </a:lnTo>
                  <a:lnTo>
                    <a:pt x="156" y="371"/>
                  </a:lnTo>
                  <a:lnTo>
                    <a:pt x="156" y="373"/>
                  </a:lnTo>
                  <a:lnTo>
                    <a:pt x="156" y="373"/>
                  </a:lnTo>
                  <a:lnTo>
                    <a:pt x="156" y="375"/>
                  </a:lnTo>
                  <a:lnTo>
                    <a:pt x="156" y="375"/>
                  </a:lnTo>
                  <a:lnTo>
                    <a:pt x="158" y="377"/>
                  </a:lnTo>
                  <a:lnTo>
                    <a:pt x="158" y="377"/>
                  </a:lnTo>
                  <a:lnTo>
                    <a:pt x="158" y="379"/>
                  </a:lnTo>
                  <a:lnTo>
                    <a:pt x="160" y="379"/>
                  </a:lnTo>
                  <a:lnTo>
                    <a:pt x="158" y="377"/>
                  </a:lnTo>
                  <a:lnTo>
                    <a:pt x="158" y="375"/>
                  </a:lnTo>
                  <a:lnTo>
                    <a:pt x="158" y="373"/>
                  </a:lnTo>
                  <a:lnTo>
                    <a:pt x="158" y="373"/>
                  </a:lnTo>
                  <a:lnTo>
                    <a:pt x="160" y="375"/>
                  </a:lnTo>
                  <a:lnTo>
                    <a:pt x="160" y="375"/>
                  </a:lnTo>
                  <a:lnTo>
                    <a:pt x="162" y="377"/>
                  </a:lnTo>
                  <a:lnTo>
                    <a:pt x="162" y="379"/>
                  </a:lnTo>
                  <a:lnTo>
                    <a:pt x="164" y="377"/>
                  </a:lnTo>
                  <a:lnTo>
                    <a:pt x="164" y="373"/>
                  </a:lnTo>
                  <a:lnTo>
                    <a:pt x="164" y="365"/>
                  </a:lnTo>
                  <a:lnTo>
                    <a:pt x="164" y="363"/>
                  </a:lnTo>
                  <a:lnTo>
                    <a:pt x="164" y="361"/>
                  </a:lnTo>
                  <a:lnTo>
                    <a:pt x="164" y="361"/>
                  </a:lnTo>
                  <a:lnTo>
                    <a:pt x="166" y="361"/>
                  </a:lnTo>
                  <a:lnTo>
                    <a:pt x="166" y="359"/>
                  </a:lnTo>
                  <a:lnTo>
                    <a:pt x="166" y="357"/>
                  </a:lnTo>
                  <a:lnTo>
                    <a:pt x="166" y="357"/>
                  </a:lnTo>
                  <a:lnTo>
                    <a:pt x="166" y="355"/>
                  </a:lnTo>
                  <a:lnTo>
                    <a:pt x="168" y="355"/>
                  </a:lnTo>
                  <a:lnTo>
                    <a:pt x="168" y="353"/>
                  </a:lnTo>
                  <a:lnTo>
                    <a:pt x="168" y="353"/>
                  </a:lnTo>
                  <a:lnTo>
                    <a:pt x="168" y="353"/>
                  </a:lnTo>
                  <a:lnTo>
                    <a:pt x="168" y="355"/>
                  </a:lnTo>
                  <a:lnTo>
                    <a:pt x="168" y="357"/>
                  </a:lnTo>
                  <a:lnTo>
                    <a:pt x="168" y="357"/>
                  </a:lnTo>
                  <a:lnTo>
                    <a:pt x="170" y="357"/>
                  </a:lnTo>
                  <a:lnTo>
                    <a:pt x="170" y="357"/>
                  </a:lnTo>
                  <a:lnTo>
                    <a:pt x="170" y="359"/>
                  </a:lnTo>
                  <a:lnTo>
                    <a:pt x="170" y="361"/>
                  </a:lnTo>
                  <a:lnTo>
                    <a:pt x="170" y="361"/>
                  </a:lnTo>
                  <a:lnTo>
                    <a:pt x="172" y="359"/>
                  </a:lnTo>
                  <a:lnTo>
                    <a:pt x="172" y="359"/>
                  </a:lnTo>
                  <a:lnTo>
                    <a:pt x="174" y="359"/>
                  </a:lnTo>
                  <a:lnTo>
                    <a:pt x="174" y="363"/>
                  </a:lnTo>
                  <a:lnTo>
                    <a:pt x="174" y="363"/>
                  </a:lnTo>
                  <a:lnTo>
                    <a:pt x="176" y="363"/>
                  </a:lnTo>
                  <a:lnTo>
                    <a:pt x="178" y="355"/>
                  </a:lnTo>
                  <a:lnTo>
                    <a:pt x="180" y="355"/>
                  </a:lnTo>
                  <a:lnTo>
                    <a:pt x="180" y="357"/>
                  </a:lnTo>
                  <a:lnTo>
                    <a:pt x="178" y="361"/>
                  </a:lnTo>
                  <a:lnTo>
                    <a:pt x="178" y="363"/>
                  </a:lnTo>
                  <a:lnTo>
                    <a:pt x="178" y="363"/>
                  </a:lnTo>
                  <a:lnTo>
                    <a:pt x="180" y="363"/>
                  </a:lnTo>
                  <a:lnTo>
                    <a:pt x="180" y="363"/>
                  </a:lnTo>
                  <a:lnTo>
                    <a:pt x="185" y="361"/>
                  </a:lnTo>
                  <a:lnTo>
                    <a:pt x="183" y="359"/>
                  </a:lnTo>
                  <a:lnTo>
                    <a:pt x="183" y="359"/>
                  </a:lnTo>
                  <a:lnTo>
                    <a:pt x="183" y="357"/>
                  </a:lnTo>
                  <a:lnTo>
                    <a:pt x="183" y="357"/>
                  </a:lnTo>
                  <a:lnTo>
                    <a:pt x="183" y="357"/>
                  </a:lnTo>
                  <a:lnTo>
                    <a:pt x="185" y="355"/>
                  </a:lnTo>
                  <a:lnTo>
                    <a:pt x="185" y="355"/>
                  </a:lnTo>
                  <a:lnTo>
                    <a:pt x="185" y="355"/>
                  </a:lnTo>
                  <a:lnTo>
                    <a:pt x="187" y="355"/>
                  </a:lnTo>
                  <a:lnTo>
                    <a:pt x="187" y="353"/>
                  </a:lnTo>
                  <a:lnTo>
                    <a:pt x="187" y="351"/>
                  </a:lnTo>
                  <a:lnTo>
                    <a:pt x="187" y="348"/>
                  </a:lnTo>
                  <a:lnTo>
                    <a:pt x="189" y="348"/>
                  </a:lnTo>
                  <a:lnTo>
                    <a:pt x="191" y="346"/>
                  </a:lnTo>
                  <a:lnTo>
                    <a:pt x="191" y="344"/>
                  </a:lnTo>
                  <a:lnTo>
                    <a:pt x="191" y="342"/>
                  </a:lnTo>
                  <a:lnTo>
                    <a:pt x="189" y="344"/>
                  </a:lnTo>
                  <a:lnTo>
                    <a:pt x="187" y="342"/>
                  </a:lnTo>
                  <a:lnTo>
                    <a:pt x="187" y="340"/>
                  </a:lnTo>
                  <a:lnTo>
                    <a:pt x="187" y="340"/>
                  </a:lnTo>
                  <a:lnTo>
                    <a:pt x="187" y="338"/>
                  </a:lnTo>
                  <a:lnTo>
                    <a:pt x="187" y="338"/>
                  </a:lnTo>
                  <a:lnTo>
                    <a:pt x="187" y="336"/>
                  </a:lnTo>
                  <a:lnTo>
                    <a:pt x="187" y="334"/>
                  </a:lnTo>
                  <a:lnTo>
                    <a:pt x="187" y="328"/>
                  </a:lnTo>
                  <a:lnTo>
                    <a:pt x="189" y="326"/>
                  </a:lnTo>
                  <a:lnTo>
                    <a:pt x="189" y="322"/>
                  </a:lnTo>
                  <a:lnTo>
                    <a:pt x="189" y="320"/>
                  </a:lnTo>
                  <a:lnTo>
                    <a:pt x="191" y="320"/>
                  </a:lnTo>
                  <a:lnTo>
                    <a:pt x="193" y="318"/>
                  </a:lnTo>
                  <a:lnTo>
                    <a:pt x="193" y="316"/>
                  </a:lnTo>
                  <a:lnTo>
                    <a:pt x="191" y="314"/>
                  </a:lnTo>
                  <a:lnTo>
                    <a:pt x="189" y="312"/>
                  </a:lnTo>
                  <a:lnTo>
                    <a:pt x="187" y="310"/>
                  </a:lnTo>
                  <a:lnTo>
                    <a:pt x="187" y="310"/>
                  </a:lnTo>
                  <a:lnTo>
                    <a:pt x="187" y="310"/>
                  </a:lnTo>
                  <a:lnTo>
                    <a:pt x="187" y="307"/>
                  </a:lnTo>
                  <a:lnTo>
                    <a:pt x="187" y="305"/>
                  </a:lnTo>
                  <a:lnTo>
                    <a:pt x="191" y="303"/>
                  </a:lnTo>
                  <a:lnTo>
                    <a:pt x="191" y="303"/>
                  </a:lnTo>
                  <a:lnTo>
                    <a:pt x="193" y="301"/>
                  </a:lnTo>
                  <a:lnTo>
                    <a:pt x="193" y="299"/>
                  </a:lnTo>
                  <a:lnTo>
                    <a:pt x="195" y="299"/>
                  </a:lnTo>
                  <a:lnTo>
                    <a:pt x="195" y="301"/>
                  </a:lnTo>
                  <a:lnTo>
                    <a:pt x="195" y="301"/>
                  </a:lnTo>
                  <a:lnTo>
                    <a:pt x="197" y="301"/>
                  </a:lnTo>
                  <a:lnTo>
                    <a:pt x="199" y="299"/>
                  </a:lnTo>
                  <a:lnTo>
                    <a:pt x="197" y="299"/>
                  </a:lnTo>
                  <a:lnTo>
                    <a:pt x="197" y="299"/>
                  </a:lnTo>
                  <a:lnTo>
                    <a:pt x="197" y="293"/>
                  </a:lnTo>
                  <a:lnTo>
                    <a:pt x="197" y="289"/>
                  </a:lnTo>
                  <a:lnTo>
                    <a:pt x="197" y="289"/>
                  </a:lnTo>
                  <a:lnTo>
                    <a:pt x="197" y="289"/>
                  </a:lnTo>
                  <a:lnTo>
                    <a:pt x="201" y="289"/>
                  </a:lnTo>
                  <a:lnTo>
                    <a:pt x="201" y="291"/>
                  </a:lnTo>
                  <a:lnTo>
                    <a:pt x="201" y="297"/>
                  </a:lnTo>
                  <a:lnTo>
                    <a:pt x="201" y="297"/>
                  </a:lnTo>
                  <a:lnTo>
                    <a:pt x="201" y="299"/>
                  </a:lnTo>
                  <a:lnTo>
                    <a:pt x="201" y="299"/>
                  </a:lnTo>
                  <a:lnTo>
                    <a:pt x="201" y="299"/>
                  </a:lnTo>
                  <a:lnTo>
                    <a:pt x="199" y="301"/>
                  </a:lnTo>
                  <a:lnTo>
                    <a:pt x="199" y="301"/>
                  </a:lnTo>
                  <a:lnTo>
                    <a:pt x="199" y="303"/>
                  </a:lnTo>
                  <a:lnTo>
                    <a:pt x="199" y="305"/>
                  </a:lnTo>
                  <a:lnTo>
                    <a:pt x="199" y="305"/>
                  </a:lnTo>
                  <a:lnTo>
                    <a:pt x="201" y="307"/>
                  </a:lnTo>
                  <a:lnTo>
                    <a:pt x="201" y="307"/>
                  </a:lnTo>
                  <a:lnTo>
                    <a:pt x="201" y="305"/>
                  </a:lnTo>
                  <a:lnTo>
                    <a:pt x="203" y="303"/>
                  </a:lnTo>
                  <a:lnTo>
                    <a:pt x="203" y="301"/>
                  </a:lnTo>
                  <a:lnTo>
                    <a:pt x="205" y="299"/>
                  </a:lnTo>
                  <a:lnTo>
                    <a:pt x="207" y="301"/>
                  </a:lnTo>
                  <a:lnTo>
                    <a:pt x="209" y="303"/>
                  </a:lnTo>
                  <a:lnTo>
                    <a:pt x="207" y="303"/>
                  </a:lnTo>
                  <a:lnTo>
                    <a:pt x="207" y="303"/>
                  </a:lnTo>
                  <a:lnTo>
                    <a:pt x="205" y="303"/>
                  </a:lnTo>
                  <a:lnTo>
                    <a:pt x="205" y="303"/>
                  </a:lnTo>
                  <a:lnTo>
                    <a:pt x="205" y="303"/>
                  </a:lnTo>
                  <a:lnTo>
                    <a:pt x="203" y="305"/>
                  </a:lnTo>
                  <a:lnTo>
                    <a:pt x="205" y="305"/>
                  </a:lnTo>
                  <a:lnTo>
                    <a:pt x="205" y="307"/>
                  </a:lnTo>
                  <a:lnTo>
                    <a:pt x="205" y="307"/>
                  </a:lnTo>
                  <a:lnTo>
                    <a:pt x="205" y="310"/>
                  </a:lnTo>
                  <a:lnTo>
                    <a:pt x="203" y="310"/>
                  </a:lnTo>
                  <a:lnTo>
                    <a:pt x="203" y="307"/>
                  </a:lnTo>
                  <a:lnTo>
                    <a:pt x="203" y="307"/>
                  </a:lnTo>
                  <a:lnTo>
                    <a:pt x="201" y="310"/>
                  </a:lnTo>
                  <a:lnTo>
                    <a:pt x="201" y="312"/>
                  </a:lnTo>
                  <a:lnTo>
                    <a:pt x="201" y="316"/>
                  </a:lnTo>
                  <a:lnTo>
                    <a:pt x="203" y="314"/>
                  </a:lnTo>
                  <a:lnTo>
                    <a:pt x="205" y="312"/>
                  </a:lnTo>
                  <a:lnTo>
                    <a:pt x="207" y="312"/>
                  </a:lnTo>
                  <a:lnTo>
                    <a:pt x="211" y="314"/>
                  </a:lnTo>
                  <a:lnTo>
                    <a:pt x="213" y="314"/>
                  </a:lnTo>
                  <a:lnTo>
                    <a:pt x="213" y="314"/>
                  </a:lnTo>
                  <a:lnTo>
                    <a:pt x="217" y="314"/>
                  </a:lnTo>
                  <a:lnTo>
                    <a:pt x="226" y="316"/>
                  </a:lnTo>
                  <a:lnTo>
                    <a:pt x="228" y="316"/>
                  </a:lnTo>
                  <a:lnTo>
                    <a:pt x="226" y="316"/>
                  </a:lnTo>
                  <a:lnTo>
                    <a:pt x="226" y="314"/>
                  </a:lnTo>
                  <a:lnTo>
                    <a:pt x="226" y="314"/>
                  </a:lnTo>
                  <a:lnTo>
                    <a:pt x="223" y="314"/>
                  </a:lnTo>
                  <a:lnTo>
                    <a:pt x="226" y="314"/>
                  </a:lnTo>
                  <a:lnTo>
                    <a:pt x="226" y="314"/>
                  </a:lnTo>
                  <a:lnTo>
                    <a:pt x="226" y="312"/>
                  </a:lnTo>
                  <a:lnTo>
                    <a:pt x="226" y="310"/>
                  </a:lnTo>
                  <a:lnTo>
                    <a:pt x="223" y="310"/>
                  </a:lnTo>
                  <a:lnTo>
                    <a:pt x="223" y="310"/>
                  </a:lnTo>
                  <a:lnTo>
                    <a:pt x="221" y="310"/>
                  </a:lnTo>
                  <a:lnTo>
                    <a:pt x="221" y="310"/>
                  </a:lnTo>
                  <a:lnTo>
                    <a:pt x="221" y="307"/>
                  </a:lnTo>
                  <a:lnTo>
                    <a:pt x="221" y="305"/>
                  </a:lnTo>
                  <a:lnTo>
                    <a:pt x="221" y="303"/>
                  </a:lnTo>
                  <a:lnTo>
                    <a:pt x="219" y="303"/>
                  </a:lnTo>
                  <a:lnTo>
                    <a:pt x="219" y="301"/>
                  </a:lnTo>
                  <a:lnTo>
                    <a:pt x="217" y="299"/>
                  </a:lnTo>
                  <a:lnTo>
                    <a:pt x="219" y="299"/>
                  </a:lnTo>
                  <a:lnTo>
                    <a:pt x="221" y="299"/>
                  </a:lnTo>
                  <a:lnTo>
                    <a:pt x="223" y="297"/>
                  </a:lnTo>
                  <a:lnTo>
                    <a:pt x="223" y="295"/>
                  </a:lnTo>
                  <a:lnTo>
                    <a:pt x="226" y="297"/>
                  </a:lnTo>
                  <a:lnTo>
                    <a:pt x="226" y="297"/>
                  </a:lnTo>
                  <a:lnTo>
                    <a:pt x="226" y="299"/>
                  </a:lnTo>
                  <a:lnTo>
                    <a:pt x="226" y="301"/>
                  </a:lnTo>
                  <a:lnTo>
                    <a:pt x="228" y="299"/>
                  </a:lnTo>
                  <a:lnTo>
                    <a:pt x="228" y="297"/>
                  </a:lnTo>
                  <a:lnTo>
                    <a:pt x="228" y="297"/>
                  </a:lnTo>
                  <a:lnTo>
                    <a:pt x="228" y="297"/>
                  </a:lnTo>
                  <a:lnTo>
                    <a:pt x="228" y="295"/>
                  </a:lnTo>
                  <a:lnTo>
                    <a:pt x="226" y="295"/>
                  </a:lnTo>
                  <a:lnTo>
                    <a:pt x="226" y="295"/>
                  </a:lnTo>
                  <a:lnTo>
                    <a:pt x="226" y="295"/>
                  </a:lnTo>
                  <a:lnTo>
                    <a:pt x="226" y="295"/>
                  </a:lnTo>
                  <a:lnTo>
                    <a:pt x="226" y="293"/>
                  </a:lnTo>
                  <a:lnTo>
                    <a:pt x="226" y="293"/>
                  </a:lnTo>
                  <a:lnTo>
                    <a:pt x="226" y="293"/>
                  </a:lnTo>
                  <a:lnTo>
                    <a:pt x="223" y="289"/>
                  </a:lnTo>
                  <a:lnTo>
                    <a:pt x="226" y="289"/>
                  </a:lnTo>
                  <a:lnTo>
                    <a:pt x="226" y="289"/>
                  </a:lnTo>
                  <a:lnTo>
                    <a:pt x="228" y="291"/>
                  </a:lnTo>
                  <a:lnTo>
                    <a:pt x="230" y="295"/>
                  </a:lnTo>
                  <a:lnTo>
                    <a:pt x="230" y="297"/>
                  </a:lnTo>
                  <a:lnTo>
                    <a:pt x="230" y="297"/>
                  </a:lnTo>
                  <a:lnTo>
                    <a:pt x="232" y="295"/>
                  </a:lnTo>
                  <a:lnTo>
                    <a:pt x="232" y="295"/>
                  </a:lnTo>
                  <a:lnTo>
                    <a:pt x="234" y="291"/>
                  </a:lnTo>
                  <a:lnTo>
                    <a:pt x="234" y="289"/>
                  </a:lnTo>
                  <a:lnTo>
                    <a:pt x="234" y="291"/>
                  </a:lnTo>
                  <a:lnTo>
                    <a:pt x="236" y="289"/>
                  </a:lnTo>
                  <a:lnTo>
                    <a:pt x="240" y="289"/>
                  </a:lnTo>
                  <a:lnTo>
                    <a:pt x="240" y="289"/>
                  </a:lnTo>
                  <a:lnTo>
                    <a:pt x="240" y="289"/>
                  </a:lnTo>
                  <a:lnTo>
                    <a:pt x="238" y="289"/>
                  </a:lnTo>
                  <a:lnTo>
                    <a:pt x="238" y="287"/>
                  </a:lnTo>
                  <a:lnTo>
                    <a:pt x="238" y="285"/>
                  </a:lnTo>
                  <a:lnTo>
                    <a:pt x="238" y="285"/>
                  </a:lnTo>
                  <a:lnTo>
                    <a:pt x="234" y="285"/>
                  </a:lnTo>
                  <a:lnTo>
                    <a:pt x="234" y="283"/>
                  </a:lnTo>
                  <a:lnTo>
                    <a:pt x="236" y="281"/>
                  </a:lnTo>
                  <a:lnTo>
                    <a:pt x="238" y="283"/>
                  </a:lnTo>
                  <a:lnTo>
                    <a:pt x="238" y="281"/>
                  </a:lnTo>
                  <a:lnTo>
                    <a:pt x="240" y="283"/>
                  </a:lnTo>
                  <a:lnTo>
                    <a:pt x="240" y="285"/>
                  </a:lnTo>
                  <a:lnTo>
                    <a:pt x="242" y="287"/>
                  </a:lnTo>
                  <a:lnTo>
                    <a:pt x="244" y="285"/>
                  </a:lnTo>
                  <a:lnTo>
                    <a:pt x="242" y="285"/>
                  </a:lnTo>
                  <a:lnTo>
                    <a:pt x="242" y="283"/>
                  </a:lnTo>
                  <a:lnTo>
                    <a:pt x="242" y="281"/>
                  </a:lnTo>
                  <a:lnTo>
                    <a:pt x="244" y="281"/>
                  </a:lnTo>
                  <a:lnTo>
                    <a:pt x="244" y="283"/>
                  </a:lnTo>
                  <a:lnTo>
                    <a:pt x="246" y="285"/>
                  </a:lnTo>
                  <a:lnTo>
                    <a:pt x="246" y="285"/>
                  </a:lnTo>
                  <a:lnTo>
                    <a:pt x="246" y="287"/>
                  </a:lnTo>
                  <a:lnTo>
                    <a:pt x="248" y="285"/>
                  </a:lnTo>
                  <a:lnTo>
                    <a:pt x="248" y="285"/>
                  </a:lnTo>
                  <a:lnTo>
                    <a:pt x="248" y="285"/>
                  </a:lnTo>
                  <a:lnTo>
                    <a:pt x="248" y="285"/>
                  </a:lnTo>
                  <a:lnTo>
                    <a:pt x="246" y="283"/>
                  </a:lnTo>
                  <a:lnTo>
                    <a:pt x="246" y="283"/>
                  </a:lnTo>
                  <a:lnTo>
                    <a:pt x="246" y="283"/>
                  </a:lnTo>
                  <a:lnTo>
                    <a:pt x="246" y="281"/>
                  </a:lnTo>
                  <a:lnTo>
                    <a:pt x="248" y="281"/>
                  </a:lnTo>
                  <a:lnTo>
                    <a:pt x="248" y="281"/>
                  </a:lnTo>
                  <a:lnTo>
                    <a:pt x="248" y="281"/>
                  </a:lnTo>
                  <a:lnTo>
                    <a:pt x="248" y="283"/>
                  </a:lnTo>
                  <a:lnTo>
                    <a:pt x="248" y="283"/>
                  </a:lnTo>
                  <a:lnTo>
                    <a:pt x="250" y="283"/>
                  </a:lnTo>
                  <a:lnTo>
                    <a:pt x="252" y="285"/>
                  </a:lnTo>
                  <a:lnTo>
                    <a:pt x="252" y="287"/>
                  </a:lnTo>
                  <a:lnTo>
                    <a:pt x="252" y="289"/>
                  </a:lnTo>
                  <a:lnTo>
                    <a:pt x="254" y="291"/>
                  </a:lnTo>
                  <a:lnTo>
                    <a:pt x="256" y="293"/>
                  </a:lnTo>
                  <a:lnTo>
                    <a:pt x="256" y="293"/>
                  </a:lnTo>
                  <a:lnTo>
                    <a:pt x="258" y="291"/>
                  </a:lnTo>
                  <a:lnTo>
                    <a:pt x="258" y="293"/>
                  </a:lnTo>
                  <a:lnTo>
                    <a:pt x="258" y="295"/>
                  </a:lnTo>
                  <a:lnTo>
                    <a:pt x="258" y="295"/>
                  </a:lnTo>
                  <a:lnTo>
                    <a:pt x="260" y="297"/>
                  </a:lnTo>
                  <a:lnTo>
                    <a:pt x="260" y="295"/>
                  </a:lnTo>
                  <a:lnTo>
                    <a:pt x="260" y="291"/>
                  </a:lnTo>
                  <a:lnTo>
                    <a:pt x="260" y="289"/>
                  </a:lnTo>
                  <a:lnTo>
                    <a:pt x="260" y="289"/>
                  </a:lnTo>
                  <a:lnTo>
                    <a:pt x="260" y="289"/>
                  </a:lnTo>
                  <a:lnTo>
                    <a:pt x="262" y="289"/>
                  </a:lnTo>
                  <a:lnTo>
                    <a:pt x="262" y="289"/>
                  </a:lnTo>
                  <a:lnTo>
                    <a:pt x="262" y="289"/>
                  </a:lnTo>
                  <a:lnTo>
                    <a:pt x="262" y="289"/>
                  </a:lnTo>
                  <a:lnTo>
                    <a:pt x="264" y="289"/>
                  </a:lnTo>
                  <a:lnTo>
                    <a:pt x="264" y="289"/>
                  </a:lnTo>
                  <a:lnTo>
                    <a:pt x="264" y="287"/>
                  </a:lnTo>
                  <a:lnTo>
                    <a:pt x="264" y="287"/>
                  </a:lnTo>
                  <a:lnTo>
                    <a:pt x="264" y="287"/>
                  </a:lnTo>
                  <a:lnTo>
                    <a:pt x="262" y="287"/>
                  </a:lnTo>
                  <a:lnTo>
                    <a:pt x="262" y="283"/>
                  </a:lnTo>
                  <a:lnTo>
                    <a:pt x="262" y="283"/>
                  </a:lnTo>
                  <a:lnTo>
                    <a:pt x="258" y="283"/>
                  </a:lnTo>
                  <a:lnTo>
                    <a:pt x="258" y="281"/>
                  </a:lnTo>
                  <a:lnTo>
                    <a:pt x="258" y="281"/>
                  </a:lnTo>
                  <a:lnTo>
                    <a:pt x="260" y="281"/>
                  </a:lnTo>
                  <a:lnTo>
                    <a:pt x="260" y="281"/>
                  </a:lnTo>
                  <a:lnTo>
                    <a:pt x="260" y="281"/>
                  </a:lnTo>
                  <a:lnTo>
                    <a:pt x="260" y="279"/>
                  </a:lnTo>
                  <a:lnTo>
                    <a:pt x="260" y="279"/>
                  </a:lnTo>
                  <a:lnTo>
                    <a:pt x="260" y="277"/>
                  </a:lnTo>
                  <a:lnTo>
                    <a:pt x="260" y="277"/>
                  </a:lnTo>
                  <a:lnTo>
                    <a:pt x="264" y="283"/>
                  </a:lnTo>
                  <a:lnTo>
                    <a:pt x="264" y="285"/>
                  </a:lnTo>
                  <a:lnTo>
                    <a:pt x="264" y="285"/>
                  </a:lnTo>
                  <a:lnTo>
                    <a:pt x="264" y="285"/>
                  </a:lnTo>
                  <a:lnTo>
                    <a:pt x="264" y="285"/>
                  </a:lnTo>
                  <a:lnTo>
                    <a:pt x="267" y="285"/>
                  </a:lnTo>
                  <a:lnTo>
                    <a:pt x="267" y="285"/>
                  </a:lnTo>
                  <a:lnTo>
                    <a:pt x="267" y="283"/>
                  </a:lnTo>
                  <a:lnTo>
                    <a:pt x="264" y="281"/>
                  </a:lnTo>
                  <a:lnTo>
                    <a:pt x="264" y="279"/>
                  </a:lnTo>
                  <a:lnTo>
                    <a:pt x="267" y="279"/>
                  </a:lnTo>
                  <a:lnTo>
                    <a:pt x="267" y="277"/>
                  </a:lnTo>
                  <a:lnTo>
                    <a:pt x="267" y="279"/>
                  </a:lnTo>
                  <a:lnTo>
                    <a:pt x="267" y="283"/>
                  </a:lnTo>
                  <a:lnTo>
                    <a:pt x="267" y="285"/>
                  </a:lnTo>
                  <a:lnTo>
                    <a:pt x="269" y="287"/>
                  </a:lnTo>
                  <a:lnTo>
                    <a:pt x="269" y="283"/>
                  </a:lnTo>
                  <a:lnTo>
                    <a:pt x="269" y="279"/>
                  </a:lnTo>
                  <a:lnTo>
                    <a:pt x="269" y="277"/>
                  </a:lnTo>
                  <a:lnTo>
                    <a:pt x="269" y="277"/>
                  </a:lnTo>
                  <a:lnTo>
                    <a:pt x="271" y="277"/>
                  </a:lnTo>
                  <a:lnTo>
                    <a:pt x="271" y="277"/>
                  </a:lnTo>
                  <a:lnTo>
                    <a:pt x="271" y="275"/>
                  </a:lnTo>
                  <a:lnTo>
                    <a:pt x="271" y="275"/>
                  </a:lnTo>
                  <a:lnTo>
                    <a:pt x="269" y="273"/>
                  </a:lnTo>
                  <a:lnTo>
                    <a:pt x="267" y="271"/>
                  </a:lnTo>
                  <a:lnTo>
                    <a:pt x="267" y="271"/>
                  </a:lnTo>
                  <a:lnTo>
                    <a:pt x="269" y="271"/>
                  </a:lnTo>
                  <a:lnTo>
                    <a:pt x="269" y="269"/>
                  </a:lnTo>
                  <a:lnTo>
                    <a:pt x="269" y="266"/>
                  </a:lnTo>
                  <a:lnTo>
                    <a:pt x="269" y="266"/>
                  </a:lnTo>
                  <a:lnTo>
                    <a:pt x="271" y="264"/>
                  </a:lnTo>
                  <a:lnTo>
                    <a:pt x="271" y="266"/>
                  </a:lnTo>
                  <a:lnTo>
                    <a:pt x="271" y="264"/>
                  </a:lnTo>
                  <a:lnTo>
                    <a:pt x="273" y="262"/>
                  </a:lnTo>
                  <a:lnTo>
                    <a:pt x="273" y="262"/>
                  </a:lnTo>
                  <a:lnTo>
                    <a:pt x="273" y="264"/>
                  </a:lnTo>
                  <a:lnTo>
                    <a:pt x="273" y="266"/>
                  </a:lnTo>
                  <a:lnTo>
                    <a:pt x="273" y="269"/>
                  </a:lnTo>
                  <a:lnTo>
                    <a:pt x="273" y="269"/>
                  </a:lnTo>
                  <a:lnTo>
                    <a:pt x="275" y="271"/>
                  </a:lnTo>
                  <a:lnTo>
                    <a:pt x="275" y="271"/>
                  </a:lnTo>
                  <a:lnTo>
                    <a:pt x="275" y="269"/>
                  </a:lnTo>
                  <a:lnTo>
                    <a:pt x="275" y="269"/>
                  </a:lnTo>
                  <a:lnTo>
                    <a:pt x="275" y="262"/>
                  </a:lnTo>
                  <a:lnTo>
                    <a:pt x="275" y="262"/>
                  </a:lnTo>
                  <a:lnTo>
                    <a:pt x="277" y="262"/>
                  </a:lnTo>
                  <a:lnTo>
                    <a:pt x="277" y="269"/>
                  </a:lnTo>
                  <a:lnTo>
                    <a:pt x="277" y="271"/>
                  </a:lnTo>
                  <a:lnTo>
                    <a:pt x="279" y="271"/>
                  </a:lnTo>
                  <a:lnTo>
                    <a:pt x="279" y="271"/>
                  </a:lnTo>
                  <a:lnTo>
                    <a:pt x="281" y="271"/>
                  </a:lnTo>
                  <a:lnTo>
                    <a:pt x="281" y="266"/>
                  </a:lnTo>
                  <a:lnTo>
                    <a:pt x="283" y="264"/>
                  </a:lnTo>
                  <a:lnTo>
                    <a:pt x="283" y="264"/>
                  </a:lnTo>
                  <a:lnTo>
                    <a:pt x="283" y="262"/>
                  </a:lnTo>
                  <a:lnTo>
                    <a:pt x="285" y="262"/>
                  </a:lnTo>
                  <a:lnTo>
                    <a:pt x="285" y="264"/>
                  </a:lnTo>
                  <a:lnTo>
                    <a:pt x="285" y="264"/>
                  </a:lnTo>
                  <a:lnTo>
                    <a:pt x="285" y="266"/>
                  </a:lnTo>
                  <a:lnTo>
                    <a:pt x="285" y="266"/>
                  </a:lnTo>
                  <a:lnTo>
                    <a:pt x="285" y="266"/>
                  </a:lnTo>
                  <a:lnTo>
                    <a:pt x="287" y="266"/>
                  </a:lnTo>
                  <a:lnTo>
                    <a:pt x="287" y="266"/>
                  </a:lnTo>
                  <a:lnTo>
                    <a:pt x="287" y="266"/>
                  </a:lnTo>
                  <a:lnTo>
                    <a:pt x="289" y="266"/>
                  </a:lnTo>
                  <a:lnTo>
                    <a:pt x="289" y="266"/>
                  </a:lnTo>
                  <a:lnTo>
                    <a:pt x="289" y="264"/>
                  </a:lnTo>
                  <a:lnTo>
                    <a:pt x="289" y="264"/>
                  </a:lnTo>
                  <a:lnTo>
                    <a:pt x="291" y="264"/>
                  </a:lnTo>
                  <a:lnTo>
                    <a:pt x="291" y="264"/>
                  </a:lnTo>
                  <a:lnTo>
                    <a:pt x="289" y="262"/>
                  </a:lnTo>
                  <a:lnTo>
                    <a:pt x="289" y="262"/>
                  </a:lnTo>
                  <a:lnTo>
                    <a:pt x="289" y="260"/>
                  </a:lnTo>
                  <a:lnTo>
                    <a:pt x="289" y="260"/>
                  </a:lnTo>
                  <a:lnTo>
                    <a:pt x="289" y="256"/>
                  </a:lnTo>
                  <a:lnTo>
                    <a:pt x="287" y="256"/>
                  </a:lnTo>
                  <a:lnTo>
                    <a:pt x="287" y="256"/>
                  </a:lnTo>
                  <a:lnTo>
                    <a:pt x="289" y="254"/>
                  </a:lnTo>
                  <a:lnTo>
                    <a:pt x="289" y="252"/>
                  </a:lnTo>
                  <a:lnTo>
                    <a:pt x="291" y="254"/>
                  </a:lnTo>
                  <a:lnTo>
                    <a:pt x="291" y="254"/>
                  </a:lnTo>
                  <a:lnTo>
                    <a:pt x="291" y="254"/>
                  </a:lnTo>
                  <a:lnTo>
                    <a:pt x="293" y="254"/>
                  </a:lnTo>
                  <a:lnTo>
                    <a:pt x="293" y="254"/>
                  </a:lnTo>
                  <a:lnTo>
                    <a:pt x="293" y="256"/>
                  </a:lnTo>
                  <a:lnTo>
                    <a:pt x="295" y="256"/>
                  </a:lnTo>
                  <a:lnTo>
                    <a:pt x="295" y="256"/>
                  </a:lnTo>
                  <a:lnTo>
                    <a:pt x="297" y="254"/>
                  </a:lnTo>
                  <a:lnTo>
                    <a:pt x="299" y="254"/>
                  </a:lnTo>
                  <a:lnTo>
                    <a:pt x="297" y="254"/>
                  </a:lnTo>
                  <a:lnTo>
                    <a:pt x="297" y="252"/>
                  </a:lnTo>
                  <a:lnTo>
                    <a:pt x="295" y="250"/>
                  </a:lnTo>
                  <a:lnTo>
                    <a:pt x="295" y="248"/>
                  </a:lnTo>
                  <a:lnTo>
                    <a:pt x="297" y="248"/>
                  </a:lnTo>
                  <a:lnTo>
                    <a:pt x="299" y="250"/>
                  </a:lnTo>
                  <a:lnTo>
                    <a:pt x="299" y="254"/>
                  </a:lnTo>
                  <a:lnTo>
                    <a:pt x="301" y="254"/>
                  </a:lnTo>
                  <a:lnTo>
                    <a:pt x="301" y="254"/>
                  </a:lnTo>
                  <a:lnTo>
                    <a:pt x="301" y="252"/>
                  </a:lnTo>
                  <a:lnTo>
                    <a:pt x="301" y="252"/>
                  </a:lnTo>
                  <a:lnTo>
                    <a:pt x="303" y="252"/>
                  </a:lnTo>
                  <a:lnTo>
                    <a:pt x="303" y="252"/>
                  </a:lnTo>
                  <a:lnTo>
                    <a:pt x="303" y="250"/>
                  </a:lnTo>
                  <a:lnTo>
                    <a:pt x="301" y="250"/>
                  </a:lnTo>
                  <a:lnTo>
                    <a:pt x="301" y="248"/>
                  </a:lnTo>
                  <a:lnTo>
                    <a:pt x="301" y="246"/>
                  </a:lnTo>
                  <a:lnTo>
                    <a:pt x="299" y="246"/>
                  </a:lnTo>
                  <a:lnTo>
                    <a:pt x="299" y="244"/>
                  </a:lnTo>
                  <a:lnTo>
                    <a:pt x="299" y="244"/>
                  </a:lnTo>
                  <a:lnTo>
                    <a:pt x="301" y="244"/>
                  </a:lnTo>
                  <a:lnTo>
                    <a:pt x="301" y="244"/>
                  </a:lnTo>
                  <a:lnTo>
                    <a:pt x="303" y="244"/>
                  </a:lnTo>
                  <a:lnTo>
                    <a:pt x="301" y="244"/>
                  </a:lnTo>
                  <a:lnTo>
                    <a:pt x="303" y="242"/>
                  </a:lnTo>
                  <a:lnTo>
                    <a:pt x="305" y="242"/>
                  </a:lnTo>
                  <a:lnTo>
                    <a:pt x="305" y="244"/>
                  </a:lnTo>
                  <a:lnTo>
                    <a:pt x="305" y="246"/>
                  </a:lnTo>
                  <a:lnTo>
                    <a:pt x="305" y="246"/>
                  </a:lnTo>
                  <a:lnTo>
                    <a:pt x="307" y="248"/>
                  </a:lnTo>
                  <a:lnTo>
                    <a:pt x="307" y="248"/>
                  </a:lnTo>
                  <a:lnTo>
                    <a:pt x="310" y="248"/>
                  </a:lnTo>
                  <a:lnTo>
                    <a:pt x="312" y="248"/>
                  </a:lnTo>
                  <a:lnTo>
                    <a:pt x="310" y="246"/>
                  </a:lnTo>
                  <a:lnTo>
                    <a:pt x="310" y="246"/>
                  </a:lnTo>
                  <a:lnTo>
                    <a:pt x="310" y="246"/>
                  </a:lnTo>
                  <a:lnTo>
                    <a:pt x="312" y="244"/>
                  </a:lnTo>
                  <a:lnTo>
                    <a:pt x="312" y="246"/>
                  </a:lnTo>
                  <a:lnTo>
                    <a:pt x="314" y="246"/>
                  </a:lnTo>
                  <a:lnTo>
                    <a:pt x="314" y="246"/>
                  </a:lnTo>
                  <a:lnTo>
                    <a:pt x="316" y="246"/>
                  </a:lnTo>
                  <a:lnTo>
                    <a:pt x="316" y="244"/>
                  </a:lnTo>
                  <a:lnTo>
                    <a:pt x="314" y="244"/>
                  </a:lnTo>
                  <a:lnTo>
                    <a:pt x="316" y="244"/>
                  </a:lnTo>
                  <a:lnTo>
                    <a:pt x="316" y="242"/>
                  </a:lnTo>
                  <a:lnTo>
                    <a:pt x="318" y="242"/>
                  </a:lnTo>
                  <a:lnTo>
                    <a:pt x="320" y="236"/>
                  </a:lnTo>
                  <a:lnTo>
                    <a:pt x="320" y="234"/>
                  </a:lnTo>
                  <a:lnTo>
                    <a:pt x="320" y="232"/>
                  </a:lnTo>
                  <a:lnTo>
                    <a:pt x="322" y="234"/>
                  </a:lnTo>
                  <a:lnTo>
                    <a:pt x="322" y="232"/>
                  </a:lnTo>
                  <a:lnTo>
                    <a:pt x="322" y="230"/>
                  </a:lnTo>
                  <a:lnTo>
                    <a:pt x="322" y="230"/>
                  </a:lnTo>
                  <a:lnTo>
                    <a:pt x="322" y="230"/>
                  </a:lnTo>
                  <a:lnTo>
                    <a:pt x="324" y="230"/>
                  </a:lnTo>
                  <a:lnTo>
                    <a:pt x="324" y="230"/>
                  </a:lnTo>
                  <a:lnTo>
                    <a:pt x="326" y="228"/>
                  </a:lnTo>
                  <a:lnTo>
                    <a:pt x="326" y="223"/>
                  </a:lnTo>
                  <a:lnTo>
                    <a:pt x="328" y="223"/>
                  </a:lnTo>
                  <a:lnTo>
                    <a:pt x="326" y="223"/>
                  </a:lnTo>
                  <a:close/>
                </a:path>
              </a:pathLst>
            </a:custGeom>
            <a:solidFill>
              <a:schemeClr val="accent1"/>
            </a:solidFill>
            <a:ln w="3175" cap="rnd">
              <a:solidFill>
                <a:schemeClr val="bg1"/>
              </a:solidFill>
              <a:prstDash val="solid"/>
              <a:round/>
              <a:headEnd/>
              <a:tailEnd/>
            </a:ln>
          </p:spPr>
          <p:txBody>
            <a:bodyPr vert="horz" wrap="square" lIns="0" tIns="0" rIns="48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E</a:t>
              </a:r>
            </a:p>
          </p:txBody>
        </p:sp>
        <p:sp>
          <p:nvSpPr>
            <p:cNvPr id="113" name="Freeform 35">
              <a:extLst>
                <a:ext uri="{FF2B5EF4-FFF2-40B4-BE49-F238E27FC236}">
                  <a16:creationId xmlns:a16="http://schemas.microsoft.com/office/drawing/2014/main" id="{7BC0837C-A3AA-F63D-CCE3-07946F17B593}"/>
                </a:ext>
              </a:extLst>
            </p:cNvPr>
            <p:cNvSpPr>
              <a:spLocks noEditPoints="1"/>
            </p:cNvSpPr>
            <p:nvPr/>
          </p:nvSpPr>
          <p:spPr bwMode="auto">
            <a:xfrm>
              <a:off x="4447" y="930"/>
              <a:ext cx="395" cy="189"/>
            </a:xfrm>
            <a:custGeom>
              <a:avLst/>
              <a:gdLst>
                <a:gd name="T0" fmla="*/ 323 w 395"/>
                <a:gd name="T1" fmla="*/ 181 h 189"/>
                <a:gd name="T2" fmla="*/ 389 w 395"/>
                <a:gd name="T3" fmla="*/ 162 h 189"/>
                <a:gd name="T4" fmla="*/ 395 w 395"/>
                <a:gd name="T5" fmla="*/ 128 h 189"/>
                <a:gd name="T6" fmla="*/ 389 w 395"/>
                <a:gd name="T7" fmla="*/ 128 h 189"/>
                <a:gd name="T8" fmla="*/ 385 w 395"/>
                <a:gd name="T9" fmla="*/ 121 h 189"/>
                <a:gd name="T10" fmla="*/ 317 w 395"/>
                <a:gd name="T11" fmla="*/ 46 h 189"/>
                <a:gd name="T12" fmla="*/ 190 w 395"/>
                <a:gd name="T13" fmla="*/ 25 h 189"/>
                <a:gd name="T14" fmla="*/ 18 w 395"/>
                <a:gd name="T15" fmla="*/ 58 h 189"/>
                <a:gd name="T16" fmla="*/ 30 w 395"/>
                <a:gd name="T17" fmla="*/ 93 h 189"/>
                <a:gd name="T18" fmla="*/ 45 w 395"/>
                <a:gd name="T19" fmla="*/ 82 h 189"/>
                <a:gd name="T20" fmla="*/ 57 w 395"/>
                <a:gd name="T21" fmla="*/ 68 h 189"/>
                <a:gd name="T22" fmla="*/ 63 w 395"/>
                <a:gd name="T23" fmla="*/ 62 h 189"/>
                <a:gd name="T24" fmla="*/ 78 w 395"/>
                <a:gd name="T25" fmla="*/ 68 h 189"/>
                <a:gd name="T26" fmla="*/ 96 w 395"/>
                <a:gd name="T27" fmla="*/ 52 h 189"/>
                <a:gd name="T28" fmla="*/ 133 w 395"/>
                <a:gd name="T29" fmla="*/ 50 h 189"/>
                <a:gd name="T30" fmla="*/ 141 w 395"/>
                <a:gd name="T31" fmla="*/ 56 h 189"/>
                <a:gd name="T32" fmla="*/ 149 w 395"/>
                <a:gd name="T33" fmla="*/ 72 h 189"/>
                <a:gd name="T34" fmla="*/ 174 w 395"/>
                <a:gd name="T35" fmla="*/ 91 h 189"/>
                <a:gd name="T36" fmla="*/ 217 w 395"/>
                <a:gd name="T37" fmla="*/ 97 h 189"/>
                <a:gd name="T38" fmla="*/ 219 w 395"/>
                <a:gd name="T39" fmla="*/ 138 h 189"/>
                <a:gd name="T40" fmla="*/ 211 w 395"/>
                <a:gd name="T41" fmla="*/ 152 h 189"/>
                <a:gd name="T42" fmla="*/ 223 w 395"/>
                <a:gd name="T43" fmla="*/ 154 h 189"/>
                <a:gd name="T44" fmla="*/ 231 w 395"/>
                <a:gd name="T45" fmla="*/ 156 h 189"/>
                <a:gd name="T46" fmla="*/ 258 w 395"/>
                <a:gd name="T47" fmla="*/ 173 h 189"/>
                <a:gd name="T48" fmla="*/ 284 w 395"/>
                <a:gd name="T49" fmla="*/ 175 h 189"/>
                <a:gd name="T50" fmla="*/ 295 w 395"/>
                <a:gd name="T51" fmla="*/ 173 h 189"/>
                <a:gd name="T52" fmla="*/ 264 w 395"/>
                <a:gd name="T53" fmla="*/ 150 h 189"/>
                <a:gd name="T54" fmla="*/ 270 w 395"/>
                <a:gd name="T55" fmla="*/ 150 h 189"/>
                <a:gd name="T56" fmla="*/ 270 w 395"/>
                <a:gd name="T57" fmla="*/ 134 h 189"/>
                <a:gd name="T58" fmla="*/ 262 w 395"/>
                <a:gd name="T59" fmla="*/ 101 h 189"/>
                <a:gd name="T60" fmla="*/ 262 w 395"/>
                <a:gd name="T61" fmla="*/ 89 h 189"/>
                <a:gd name="T62" fmla="*/ 270 w 395"/>
                <a:gd name="T63" fmla="*/ 84 h 189"/>
                <a:gd name="T64" fmla="*/ 264 w 395"/>
                <a:gd name="T65" fmla="*/ 72 h 189"/>
                <a:gd name="T66" fmla="*/ 248 w 395"/>
                <a:gd name="T67" fmla="*/ 62 h 189"/>
                <a:gd name="T68" fmla="*/ 258 w 395"/>
                <a:gd name="T69" fmla="*/ 58 h 189"/>
                <a:gd name="T70" fmla="*/ 268 w 395"/>
                <a:gd name="T71" fmla="*/ 48 h 189"/>
                <a:gd name="T72" fmla="*/ 272 w 395"/>
                <a:gd name="T73" fmla="*/ 33 h 189"/>
                <a:gd name="T74" fmla="*/ 284 w 395"/>
                <a:gd name="T75" fmla="*/ 21 h 189"/>
                <a:gd name="T76" fmla="*/ 303 w 395"/>
                <a:gd name="T77" fmla="*/ 15 h 189"/>
                <a:gd name="T78" fmla="*/ 307 w 395"/>
                <a:gd name="T79" fmla="*/ 35 h 189"/>
                <a:gd name="T80" fmla="*/ 278 w 395"/>
                <a:gd name="T81" fmla="*/ 66 h 189"/>
                <a:gd name="T82" fmla="*/ 293 w 395"/>
                <a:gd name="T83" fmla="*/ 66 h 189"/>
                <a:gd name="T84" fmla="*/ 278 w 395"/>
                <a:gd name="T85" fmla="*/ 82 h 189"/>
                <a:gd name="T86" fmla="*/ 278 w 395"/>
                <a:gd name="T87" fmla="*/ 93 h 189"/>
                <a:gd name="T88" fmla="*/ 293 w 395"/>
                <a:gd name="T89" fmla="*/ 91 h 189"/>
                <a:gd name="T90" fmla="*/ 293 w 395"/>
                <a:gd name="T91" fmla="*/ 105 h 189"/>
                <a:gd name="T92" fmla="*/ 282 w 395"/>
                <a:gd name="T93" fmla="*/ 117 h 189"/>
                <a:gd name="T94" fmla="*/ 293 w 395"/>
                <a:gd name="T95" fmla="*/ 115 h 189"/>
                <a:gd name="T96" fmla="*/ 299 w 395"/>
                <a:gd name="T97" fmla="*/ 119 h 189"/>
                <a:gd name="T98" fmla="*/ 311 w 395"/>
                <a:gd name="T99" fmla="*/ 123 h 189"/>
                <a:gd name="T100" fmla="*/ 288 w 395"/>
                <a:gd name="T101" fmla="*/ 130 h 189"/>
                <a:gd name="T102" fmla="*/ 293 w 395"/>
                <a:gd name="T103" fmla="*/ 134 h 189"/>
                <a:gd name="T104" fmla="*/ 299 w 395"/>
                <a:gd name="T105" fmla="*/ 152 h 189"/>
                <a:gd name="T106" fmla="*/ 317 w 395"/>
                <a:gd name="T107" fmla="*/ 152 h 189"/>
                <a:gd name="T108" fmla="*/ 323 w 395"/>
                <a:gd name="T109" fmla="*/ 150 h 189"/>
                <a:gd name="T110" fmla="*/ 336 w 395"/>
                <a:gd name="T111" fmla="*/ 156 h 189"/>
                <a:gd name="T112" fmla="*/ 342 w 395"/>
                <a:gd name="T113" fmla="*/ 164 h 189"/>
                <a:gd name="T114" fmla="*/ 342 w 395"/>
                <a:gd name="T115" fmla="*/ 169 h 189"/>
                <a:gd name="T116" fmla="*/ 338 w 395"/>
                <a:gd name="T117" fmla="*/ 183 h 189"/>
                <a:gd name="T118" fmla="*/ 356 w 395"/>
                <a:gd name="T119" fmla="*/ 181 h 189"/>
                <a:gd name="T120" fmla="*/ 383 w 395"/>
                <a:gd name="T121" fmla="*/ 15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5" h="189">
                  <a:moveTo>
                    <a:pt x="323" y="181"/>
                  </a:moveTo>
                  <a:lnTo>
                    <a:pt x="323" y="179"/>
                  </a:lnTo>
                  <a:lnTo>
                    <a:pt x="321" y="179"/>
                  </a:lnTo>
                  <a:lnTo>
                    <a:pt x="321" y="179"/>
                  </a:lnTo>
                  <a:lnTo>
                    <a:pt x="321" y="181"/>
                  </a:lnTo>
                  <a:lnTo>
                    <a:pt x="321" y="183"/>
                  </a:lnTo>
                  <a:lnTo>
                    <a:pt x="325" y="183"/>
                  </a:lnTo>
                  <a:lnTo>
                    <a:pt x="325" y="183"/>
                  </a:lnTo>
                  <a:lnTo>
                    <a:pt x="325" y="185"/>
                  </a:lnTo>
                  <a:lnTo>
                    <a:pt x="321" y="185"/>
                  </a:lnTo>
                  <a:lnTo>
                    <a:pt x="321" y="185"/>
                  </a:lnTo>
                  <a:lnTo>
                    <a:pt x="323" y="187"/>
                  </a:lnTo>
                  <a:lnTo>
                    <a:pt x="325" y="187"/>
                  </a:lnTo>
                  <a:lnTo>
                    <a:pt x="325" y="187"/>
                  </a:lnTo>
                  <a:lnTo>
                    <a:pt x="325" y="185"/>
                  </a:lnTo>
                  <a:lnTo>
                    <a:pt x="327" y="183"/>
                  </a:lnTo>
                  <a:lnTo>
                    <a:pt x="325" y="181"/>
                  </a:lnTo>
                  <a:lnTo>
                    <a:pt x="323" y="181"/>
                  </a:lnTo>
                  <a:close/>
                  <a:moveTo>
                    <a:pt x="319" y="164"/>
                  </a:moveTo>
                  <a:lnTo>
                    <a:pt x="319" y="162"/>
                  </a:lnTo>
                  <a:lnTo>
                    <a:pt x="317" y="162"/>
                  </a:lnTo>
                  <a:lnTo>
                    <a:pt x="315" y="162"/>
                  </a:lnTo>
                  <a:lnTo>
                    <a:pt x="315" y="164"/>
                  </a:lnTo>
                  <a:lnTo>
                    <a:pt x="315" y="166"/>
                  </a:lnTo>
                  <a:lnTo>
                    <a:pt x="317" y="166"/>
                  </a:lnTo>
                  <a:lnTo>
                    <a:pt x="319" y="166"/>
                  </a:lnTo>
                  <a:lnTo>
                    <a:pt x="321" y="166"/>
                  </a:lnTo>
                  <a:lnTo>
                    <a:pt x="321" y="164"/>
                  </a:lnTo>
                  <a:lnTo>
                    <a:pt x="319" y="164"/>
                  </a:lnTo>
                  <a:close/>
                  <a:moveTo>
                    <a:pt x="393" y="138"/>
                  </a:moveTo>
                  <a:lnTo>
                    <a:pt x="391" y="146"/>
                  </a:lnTo>
                  <a:lnTo>
                    <a:pt x="391" y="150"/>
                  </a:lnTo>
                  <a:lnTo>
                    <a:pt x="391" y="154"/>
                  </a:lnTo>
                  <a:lnTo>
                    <a:pt x="391" y="156"/>
                  </a:lnTo>
                  <a:lnTo>
                    <a:pt x="391" y="158"/>
                  </a:lnTo>
                  <a:lnTo>
                    <a:pt x="389" y="162"/>
                  </a:lnTo>
                  <a:lnTo>
                    <a:pt x="387" y="166"/>
                  </a:lnTo>
                  <a:lnTo>
                    <a:pt x="389" y="166"/>
                  </a:lnTo>
                  <a:lnTo>
                    <a:pt x="389" y="164"/>
                  </a:lnTo>
                  <a:lnTo>
                    <a:pt x="389" y="164"/>
                  </a:lnTo>
                  <a:lnTo>
                    <a:pt x="391" y="160"/>
                  </a:lnTo>
                  <a:lnTo>
                    <a:pt x="393" y="150"/>
                  </a:lnTo>
                  <a:lnTo>
                    <a:pt x="393" y="144"/>
                  </a:lnTo>
                  <a:lnTo>
                    <a:pt x="395" y="138"/>
                  </a:lnTo>
                  <a:lnTo>
                    <a:pt x="395" y="136"/>
                  </a:lnTo>
                  <a:lnTo>
                    <a:pt x="393" y="136"/>
                  </a:lnTo>
                  <a:lnTo>
                    <a:pt x="393" y="138"/>
                  </a:lnTo>
                  <a:close/>
                  <a:moveTo>
                    <a:pt x="395" y="121"/>
                  </a:moveTo>
                  <a:lnTo>
                    <a:pt x="395" y="119"/>
                  </a:lnTo>
                  <a:lnTo>
                    <a:pt x="395" y="119"/>
                  </a:lnTo>
                  <a:lnTo>
                    <a:pt x="393" y="119"/>
                  </a:lnTo>
                  <a:lnTo>
                    <a:pt x="393" y="119"/>
                  </a:lnTo>
                  <a:lnTo>
                    <a:pt x="395" y="121"/>
                  </a:lnTo>
                  <a:lnTo>
                    <a:pt x="395" y="128"/>
                  </a:lnTo>
                  <a:lnTo>
                    <a:pt x="395" y="132"/>
                  </a:lnTo>
                  <a:lnTo>
                    <a:pt x="395" y="130"/>
                  </a:lnTo>
                  <a:lnTo>
                    <a:pt x="395" y="125"/>
                  </a:lnTo>
                  <a:lnTo>
                    <a:pt x="395" y="121"/>
                  </a:lnTo>
                  <a:close/>
                  <a:moveTo>
                    <a:pt x="391" y="142"/>
                  </a:moveTo>
                  <a:lnTo>
                    <a:pt x="391" y="138"/>
                  </a:lnTo>
                  <a:lnTo>
                    <a:pt x="393" y="136"/>
                  </a:lnTo>
                  <a:lnTo>
                    <a:pt x="393" y="134"/>
                  </a:lnTo>
                  <a:lnTo>
                    <a:pt x="393" y="132"/>
                  </a:lnTo>
                  <a:lnTo>
                    <a:pt x="393" y="130"/>
                  </a:lnTo>
                  <a:lnTo>
                    <a:pt x="393" y="130"/>
                  </a:lnTo>
                  <a:lnTo>
                    <a:pt x="391" y="130"/>
                  </a:lnTo>
                  <a:lnTo>
                    <a:pt x="391" y="130"/>
                  </a:lnTo>
                  <a:lnTo>
                    <a:pt x="389" y="130"/>
                  </a:lnTo>
                  <a:lnTo>
                    <a:pt x="389" y="130"/>
                  </a:lnTo>
                  <a:lnTo>
                    <a:pt x="389" y="130"/>
                  </a:lnTo>
                  <a:lnTo>
                    <a:pt x="391" y="128"/>
                  </a:lnTo>
                  <a:lnTo>
                    <a:pt x="389" y="128"/>
                  </a:lnTo>
                  <a:lnTo>
                    <a:pt x="389" y="128"/>
                  </a:lnTo>
                  <a:lnTo>
                    <a:pt x="389" y="128"/>
                  </a:lnTo>
                  <a:lnTo>
                    <a:pt x="389" y="125"/>
                  </a:lnTo>
                  <a:lnTo>
                    <a:pt x="389" y="125"/>
                  </a:lnTo>
                  <a:lnTo>
                    <a:pt x="385" y="125"/>
                  </a:lnTo>
                  <a:lnTo>
                    <a:pt x="385" y="123"/>
                  </a:lnTo>
                  <a:lnTo>
                    <a:pt x="387" y="123"/>
                  </a:lnTo>
                  <a:lnTo>
                    <a:pt x="389" y="123"/>
                  </a:lnTo>
                  <a:lnTo>
                    <a:pt x="391" y="123"/>
                  </a:lnTo>
                  <a:lnTo>
                    <a:pt x="391" y="123"/>
                  </a:lnTo>
                  <a:lnTo>
                    <a:pt x="391" y="123"/>
                  </a:lnTo>
                  <a:lnTo>
                    <a:pt x="389" y="121"/>
                  </a:lnTo>
                  <a:lnTo>
                    <a:pt x="391" y="121"/>
                  </a:lnTo>
                  <a:lnTo>
                    <a:pt x="391" y="121"/>
                  </a:lnTo>
                  <a:lnTo>
                    <a:pt x="391" y="119"/>
                  </a:lnTo>
                  <a:lnTo>
                    <a:pt x="391" y="119"/>
                  </a:lnTo>
                  <a:lnTo>
                    <a:pt x="389" y="119"/>
                  </a:lnTo>
                  <a:lnTo>
                    <a:pt x="385" y="121"/>
                  </a:lnTo>
                  <a:lnTo>
                    <a:pt x="379" y="121"/>
                  </a:lnTo>
                  <a:lnTo>
                    <a:pt x="372" y="123"/>
                  </a:lnTo>
                  <a:lnTo>
                    <a:pt x="366" y="125"/>
                  </a:lnTo>
                  <a:lnTo>
                    <a:pt x="360" y="125"/>
                  </a:lnTo>
                  <a:lnTo>
                    <a:pt x="352" y="128"/>
                  </a:lnTo>
                  <a:lnTo>
                    <a:pt x="346" y="130"/>
                  </a:lnTo>
                  <a:lnTo>
                    <a:pt x="340" y="132"/>
                  </a:lnTo>
                  <a:lnTo>
                    <a:pt x="338" y="125"/>
                  </a:lnTo>
                  <a:lnTo>
                    <a:pt x="338" y="121"/>
                  </a:lnTo>
                  <a:lnTo>
                    <a:pt x="336" y="113"/>
                  </a:lnTo>
                  <a:lnTo>
                    <a:pt x="334" y="105"/>
                  </a:lnTo>
                  <a:lnTo>
                    <a:pt x="331" y="99"/>
                  </a:lnTo>
                  <a:lnTo>
                    <a:pt x="329" y="91"/>
                  </a:lnTo>
                  <a:lnTo>
                    <a:pt x="327" y="82"/>
                  </a:lnTo>
                  <a:lnTo>
                    <a:pt x="325" y="76"/>
                  </a:lnTo>
                  <a:lnTo>
                    <a:pt x="321" y="60"/>
                  </a:lnTo>
                  <a:lnTo>
                    <a:pt x="319" y="54"/>
                  </a:lnTo>
                  <a:lnTo>
                    <a:pt x="317" y="46"/>
                  </a:lnTo>
                  <a:lnTo>
                    <a:pt x="315" y="37"/>
                  </a:lnTo>
                  <a:lnTo>
                    <a:pt x="311" y="29"/>
                  </a:lnTo>
                  <a:lnTo>
                    <a:pt x="309" y="23"/>
                  </a:lnTo>
                  <a:lnTo>
                    <a:pt x="307" y="15"/>
                  </a:lnTo>
                  <a:lnTo>
                    <a:pt x="305" y="7"/>
                  </a:lnTo>
                  <a:lnTo>
                    <a:pt x="303" y="0"/>
                  </a:lnTo>
                  <a:lnTo>
                    <a:pt x="295" y="3"/>
                  </a:lnTo>
                  <a:lnTo>
                    <a:pt x="284" y="5"/>
                  </a:lnTo>
                  <a:lnTo>
                    <a:pt x="276" y="7"/>
                  </a:lnTo>
                  <a:lnTo>
                    <a:pt x="266" y="9"/>
                  </a:lnTo>
                  <a:lnTo>
                    <a:pt x="256" y="11"/>
                  </a:lnTo>
                  <a:lnTo>
                    <a:pt x="248" y="13"/>
                  </a:lnTo>
                  <a:lnTo>
                    <a:pt x="237" y="15"/>
                  </a:lnTo>
                  <a:lnTo>
                    <a:pt x="227" y="17"/>
                  </a:lnTo>
                  <a:lnTo>
                    <a:pt x="219" y="19"/>
                  </a:lnTo>
                  <a:lnTo>
                    <a:pt x="209" y="21"/>
                  </a:lnTo>
                  <a:lnTo>
                    <a:pt x="200" y="23"/>
                  </a:lnTo>
                  <a:lnTo>
                    <a:pt x="190" y="25"/>
                  </a:lnTo>
                  <a:lnTo>
                    <a:pt x="180" y="27"/>
                  </a:lnTo>
                  <a:lnTo>
                    <a:pt x="172" y="29"/>
                  </a:lnTo>
                  <a:lnTo>
                    <a:pt x="162" y="31"/>
                  </a:lnTo>
                  <a:lnTo>
                    <a:pt x="151" y="33"/>
                  </a:lnTo>
                  <a:lnTo>
                    <a:pt x="143" y="33"/>
                  </a:lnTo>
                  <a:lnTo>
                    <a:pt x="133" y="35"/>
                  </a:lnTo>
                  <a:lnTo>
                    <a:pt x="123" y="37"/>
                  </a:lnTo>
                  <a:lnTo>
                    <a:pt x="114" y="39"/>
                  </a:lnTo>
                  <a:lnTo>
                    <a:pt x="104" y="41"/>
                  </a:lnTo>
                  <a:lnTo>
                    <a:pt x="94" y="43"/>
                  </a:lnTo>
                  <a:lnTo>
                    <a:pt x="86" y="46"/>
                  </a:lnTo>
                  <a:lnTo>
                    <a:pt x="75" y="48"/>
                  </a:lnTo>
                  <a:lnTo>
                    <a:pt x="67" y="50"/>
                  </a:lnTo>
                  <a:lnTo>
                    <a:pt x="57" y="52"/>
                  </a:lnTo>
                  <a:lnTo>
                    <a:pt x="47" y="54"/>
                  </a:lnTo>
                  <a:lnTo>
                    <a:pt x="39" y="56"/>
                  </a:lnTo>
                  <a:lnTo>
                    <a:pt x="28" y="56"/>
                  </a:lnTo>
                  <a:lnTo>
                    <a:pt x="18" y="58"/>
                  </a:lnTo>
                  <a:lnTo>
                    <a:pt x="10" y="60"/>
                  </a:lnTo>
                  <a:lnTo>
                    <a:pt x="0" y="62"/>
                  </a:lnTo>
                  <a:lnTo>
                    <a:pt x="8" y="115"/>
                  </a:lnTo>
                  <a:lnTo>
                    <a:pt x="10" y="117"/>
                  </a:lnTo>
                  <a:lnTo>
                    <a:pt x="10" y="117"/>
                  </a:lnTo>
                  <a:lnTo>
                    <a:pt x="10" y="115"/>
                  </a:lnTo>
                  <a:lnTo>
                    <a:pt x="12" y="115"/>
                  </a:lnTo>
                  <a:lnTo>
                    <a:pt x="18" y="105"/>
                  </a:lnTo>
                  <a:lnTo>
                    <a:pt x="20" y="105"/>
                  </a:lnTo>
                  <a:lnTo>
                    <a:pt x="22" y="103"/>
                  </a:lnTo>
                  <a:lnTo>
                    <a:pt x="24" y="103"/>
                  </a:lnTo>
                  <a:lnTo>
                    <a:pt x="24" y="103"/>
                  </a:lnTo>
                  <a:lnTo>
                    <a:pt x="24" y="101"/>
                  </a:lnTo>
                  <a:lnTo>
                    <a:pt x="24" y="99"/>
                  </a:lnTo>
                  <a:lnTo>
                    <a:pt x="26" y="97"/>
                  </a:lnTo>
                  <a:lnTo>
                    <a:pt x="28" y="95"/>
                  </a:lnTo>
                  <a:lnTo>
                    <a:pt x="30" y="93"/>
                  </a:lnTo>
                  <a:lnTo>
                    <a:pt x="30" y="93"/>
                  </a:lnTo>
                  <a:lnTo>
                    <a:pt x="32" y="93"/>
                  </a:lnTo>
                  <a:lnTo>
                    <a:pt x="32" y="91"/>
                  </a:lnTo>
                  <a:lnTo>
                    <a:pt x="35" y="89"/>
                  </a:lnTo>
                  <a:lnTo>
                    <a:pt x="35" y="89"/>
                  </a:lnTo>
                  <a:lnTo>
                    <a:pt x="35" y="89"/>
                  </a:lnTo>
                  <a:lnTo>
                    <a:pt x="35" y="89"/>
                  </a:lnTo>
                  <a:lnTo>
                    <a:pt x="35" y="87"/>
                  </a:lnTo>
                  <a:lnTo>
                    <a:pt x="35" y="84"/>
                  </a:lnTo>
                  <a:lnTo>
                    <a:pt x="35" y="84"/>
                  </a:lnTo>
                  <a:lnTo>
                    <a:pt x="35" y="82"/>
                  </a:lnTo>
                  <a:lnTo>
                    <a:pt x="37" y="82"/>
                  </a:lnTo>
                  <a:lnTo>
                    <a:pt x="39" y="80"/>
                  </a:lnTo>
                  <a:lnTo>
                    <a:pt x="39" y="80"/>
                  </a:lnTo>
                  <a:lnTo>
                    <a:pt x="41" y="80"/>
                  </a:lnTo>
                  <a:lnTo>
                    <a:pt x="41" y="80"/>
                  </a:lnTo>
                  <a:lnTo>
                    <a:pt x="43" y="80"/>
                  </a:lnTo>
                  <a:lnTo>
                    <a:pt x="45" y="82"/>
                  </a:lnTo>
                  <a:lnTo>
                    <a:pt x="45" y="82"/>
                  </a:lnTo>
                  <a:lnTo>
                    <a:pt x="47" y="82"/>
                  </a:lnTo>
                  <a:lnTo>
                    <a:pt x="47" y="82"/>
                  </a:lnTo>
                  <a:lnTo>
                    <a:pt x="49" y="82"/>
                  </a:lnTo>
                  <a:lnTo>
                    <a:pt x="49" y="82"/>
                  </a:lnTo>
                  <a:lnTo>
                    <a:pt x="49" y="80"/>
                  </a:lnTo>
                  <a:lnTo>
                    <a:pt x="49" y="80"/>
                  </a:lnTo>
                  <a:lnTo>
                    <a:pt x="53" y="74"/>
                  </a:lnTo>
                  <a:lnTo>
                    <a:pt x="53" y="72"/>
                  </a:lnTo>
                  <a:lnTo>
                    <a:pt x="55" y="70"/>
                  </a:lnTo>
                  <a:lnTo>
                    <a:pt x="55" y="70"/>
                  </a:lnTo>
                  <a:lnTo>
                    <a:pt x="55" y="70"/>
                  </a:lnTo>
                  <a:lnTo>
                    <a:pt x="55" y="70"/>
                  </a:lnTo>
                  <a:lnTo>
                    <a:pt x="55" y="68"/>
                  </a:lnTo>
                  <a:lnTo>
                    <a:pt x="55" y="68"/>
                  </a:lnTo>
                  <a:lnTo>
                    <a:pt x="57" y="68"/>
                  </a:lnTo>
                  <a:lnTo>
                    <a:pt x="57" y="68"/>
                  </a:lnTo>
                  <a:lnTo>
                    <a:pt x="57" y="68"/>
                  </a:lnTo>
                  <a:lnTo>
                    <a:pt x="57" y="68"/>
                  </a:lnTo>
                  <a:lnTo>
                    <a:pt x="57" y="66"/>
                  </a:lnTo>
                  <a:lnTo>
                    <a:pt x="57" y="66"/>
                  </a:lnTo>
                  <a:lnTo>
                    <a:pt x="57" y="66"/>
                  </a:lnTo>
                  <a:lnTo>
                    <a:pt x="57" y="66"/>
                  </a:lnTo>
                  <a:lnTo>
                    <a:pt x="57" y="64"/>
                  </a:lnTo>
                  <a:lnTo>
                    <a:pt x="59" y="62"/>
                  </a:lnTo>
                  <a:lnTo>
                    <a:pt x="59" y="62"/>
                  </a:lnTo>
                  <a:lnTo>
                    <a:pt x="59" y="60"/>
                  </a:lnTo>
                  <a:lnTo>
                    <a:pt x="59" y="60"/>
                  </a:lnTo>
                  <a:lnTo>
                    <a:pt x="59" y="60"/>
                  </a:lnTo>
                  <a:lnTo>
                    <a:pt x="59" y="60"/>
                  </a:lnTo>
                  <a:lnTo>
                    <a:pt x="59" y="60"/>
                  </a:lnTo>
                  <a:lnTo>
                    <a:pt x="61" y="60"/>
                  </a:lnTo>
                  <a:lnTo>
                    <a:pt x="61" y="60"/>
                  </a:lnTo>
                  <a:lnTo>
                    <a:pt x="61" y="62"/>
                  </a:lnTo>
                  <a:lnTo>
                    <a:pt x="63" y="62"/>
                  </a:lnTo>
                  <a:lnTo>
                    <a:pt x="63" y="62"/>
                  </a:lnTo>
                  <a:lnTo>
                    <a:pt x="63" y="62"/>
                  </a:lnTo>
                  <a:lnTo>
                    <a:pt x="63" y="62"/>
                  </a:lnTo>
                  <a:lnTo>
                    <a:pt x="61" y="64"/>
                  </a:lnTo>
                  <a:lnTo>
                    <a:pt x="61" y="64"/>
                  </a:lnTo>
                  <a:lnTo>
                    <a:pt x="61" y="64"/>
                  </a:lnTo>
                  <a:lnTo>
                    <a:pt x="61" y="64"/>
                  </a:lnTo>
                  <a:lnTo>
                    <a:pt x="61" y="64"/>
                  </a:lnTo>
                  <a:lnTo>
                    <a:pt x="61" y="64"/>
                  </a:lnTo>
                  <a:lnTo>
                    <a:pt x="61" y="66"/>
                  </a:lnTo>
                  <a:lnTo>
                    <a:pt x="61" y="66"/>
                  </a:lnTo>
                  <a:lnTo>
                    <a:pt x="63" y="66"/>
                  </a:lnTo>
                  <a:lnTo>
                    <a:pt x="63" y="66"/>
                  </a:lnTo>
                  <a:lnTo>
                    <a:pt x="63" y="66"/>
                  </a:lnTo>
                  <a:lnTo>
                    <a:pt x="67" y="66"/>
                  </a:lnTo>
                  <a:lnTo>
                    <a:pt x="67" y="68"/>
                  </a:lnTo>
                  <a:lnTo>
                    <a:pt x="67" y="68"/>
                  </a:lnTo>
                  <a:lnTo>
                    <a:pt x="69" y="68"/>
                  </a:lnTo>
                  <a:lnTo>
                    <a:pt x="71" y="68"/>
                  </a:lnTo>
                  <a:lnTo>
                    <a:pt x="78" y="68"/>
                  </a:lnTo>
                  <a:lnTo>
                    <a:pt x="78" y="68"/>
                  </a:lnTo>
                  <a:lnTo>
                    <a:pt x="82" y="66"/>
                  </a:lnTo>
                  <a:lnTo>
                    <a:pt x="86" y="66"/>
                  </a:lnTo>
                  <a:lnTo>
                    <a:pt x="90" y="64"/>
                  </a:lnTo>
                  <a:lnTo>
                    <a:pt x="90" y="62"/>
                  </a:lnTo>
                  <a:lnTo>
                    <a:pt x="88" y="62"/>
                  </a:lnTo>
                  <a:lnTo>
                    <a:pt x="88" y="62"/>
                  </a:lnTo>
                  <a:lnTo>
                    <a:pt x="88" y="60"/>
                  </a:lnTo>
                  <a:lnTo>
                    <a:pt x="88" y="60"/>
                  </a:lnTo>
                  <a:lnTo>
                    <a:pt x="90" y="60"/>
                  </a:lnTo>
                  <a:lnTo>
                    <a:pt x="90" y="58"/>
                  </a:lnTo>
                  <a:lnTo>
                    <a:pt x="88" y="56"/>
                  </a:lnTo>
                  <a:lnTo>
                    <a:pt x="88" y="56"/>
                  </a:lnTo>
                  <a:lnTo>
                    <a:pt x="90" y="56"/>
                  </a:lnTo>
                  <a:lnTo>
                    <a:pt x="92" y="56"/>
                  </a:lnTo>
                  <a:lnTo>
                    <a:pt x="92" y="54"/>
                  </a:lnTo>
                  <a:lnTo>
                    <a:pt x="94" y="54"/>
                  </a:lnTo>
                  <a:lnTo>
                    <a:pt x="96" y="52"/>
                  </a:lnTo>
                  <a:lnTo>
                    <a:pt x="98" y="52"/>
                  </a:lnTo>
                  <a:lnTo>
                    <a:pt x="100" y="52"/>
                  </a:lnTo>
                  <a:lnTo>
                    <a:pt x="100" y="52"/>
                  </a:lnTo>
                  <a:lnTo>
                    <a:pt x="102" y="50"/>
                  </a:lnTo>
                  <a:lnTo>
                    <a:pt x="102" y="48"/>
                  </a:lnTo>
                  <a:lnTo>
                    <a:pt x="104" y="46"/>
                  </a:lnTo>
                  <a:lnTo>
                    <a:pt x="104" y="43"/>
                  </a:lnTo>
                  <a:lnTo>
                    <a:pt x="106" y="43"/>
                  </a:lnTo>
                  <a:lnTo>
                    <a:pt x="106" y="43"/>
                  </a:lnTo>
                  <a:lnTo>
                    <a:pt x="110" y="43"/>
                  </a:lnTo>
                  <a:lnTo>
                    <a:pt x="114" y="43"/>
                  </a:lnTo>
                  <a:lnTo>
                    <a:pt x="123" y="50"/>
                  </a:lnTo>
                  <a:lnTo>
                    <a:pt x="125" y="50"/>
                  </a:lnTo>
                  <a:lnTo>
                    <a:pt x="127" y="50"/>
                  </a:lnTo>
                  <a:lnTo>
                    <a:pt x="129" y="50"/>
                  </a:lnTo>
                  <a:lnTo>
                    <a:pt x="129" y="50"/>
                  </a:lnTo>
                  <a:lnTo>
                    <a:pt x="131" y="50"/>
                  </a:lnTo>
                  <a:lnTo>
                    <a:pt x="133" y="50"/>
                  </a:lnTo>
                  <a:lnTo>
                    <a:pt x="133" y="48"/>
                  </a:lnTo>
                  <a:lnTo>
                    <a:pt x="133" y="48"/>
                  </a:lnTo>
                  <a:lnTo>
                    <a:pt x="135" y="48"/>
                  </a:lnTo>
                  <a:lnTo>
                    <a:pt x="135" y="48"/>
                  </a:lnTo>
                  <a:lnTo>
                    <a:pt x="137" y="48"/>
                  </a:lnTo>
                  <a:lnTo>
                    <a:pt x="139" y="50"/>
                  </a:lnTo>
                  <a:lnTo>
                    <a:pt x="139" y="50"/>
                  </a:lnTo>
                  <a:lnTo>
                    <a:pt x="137" y="52"/>
                  </a:lnTo>
                  <a:lnTo>
                    <a:pt x="135" y="54"/>
                  </a:lnTo>
                  <a:lnTo>
                    <a:pt x="135" y="54"/>
                  </a:lnTo>
                  <a:lnTo>
                    <a:pt x="137" y="58"/>
                  </a:lnTo>
                  <a:lnTo>
                    <a:pt x="139" y="58"/>
                  </a:lnTo>
                  <a:lnTo>
                    <a:pt x="139" y="56"/>
                  </a:lnTo>
                  <a:lnTo>
                    <a:pt x="139" y="56"/>
                  </a:lnTo>
                  <a:lnTo>
                    <a:pt x="139" y="54"/>
                  </a:lnTo>
                  <a:lnTo>
                    <a:pt x="139" y="54"/>
                  </a:lnTo>
                  <a:lnTo>
                    <a:pt x="141" y="56"/>
                  </a:lnTo>
                  <a:lnTo>
                    <a:pt x="141" y="56"/>
                  </a:lnTo>
                  <a:lnTo>
                    <a:pt x="139" y="58"/>
                  </a:lnTo>
                  <a:lnTo>
                    <a:pt x="139" y="58"/>
                  </a:lnTo>
                  <a:lnTo>
                    <a:pt x="141" y="60"/>
                  </a:lnTo>
                  <a:lnTo>
                    <a:pt x="143" y="58"/>
                  </a:lnTo>
                  <a:lnTo>
                    <a:pt x="143" y="58"/>
                  </a:lnTo>
                  <a:lnTo>
                    <a:pt x="145" y="58"/>
                  </a:lnTo>
                  <a:lnTo>
                    <a:pt x="145" y="58"/>
                  </a:lnTo>
                  <a:lnTo>
                    <a:pt x="145" y="58"/>
                  </a:lnTo>
                  <a:lnTo>
                    <a:pt x="143" y="60"/>
                  </a:lnTo>
                  <a:lnTo>
                    <a:pt x="143" y="62"/>
                  </a:lnTo>
                  <a:lnTo>
                    <a:pt x="145" y="62"/>
                  </a:lnTo>
                  <a:lnTo>
                    <a:pt x="143" y="64"/>
                  </a:lnTo>
                  <a:lnTo>
                    <a:pt x="145" y="64"/>
                  </a:lnTo>
                  <a:lnTo>
                    <a:pt x="149" y="66"/>
                  </a:lnTo>
                  <a:lnTo>
                    <a:pt x="149" y="68"/>
                  </a:lnTo>
                  <a:lnTo>
                    <a:pt x="149" y="68"/>
                  </a:lnTo>
                  <a:lnTo>
                    <a:pt x="149" y="72"/>
                  </a:lnTo>
                  <a:lnTo>
                    <a:pt x="149" y="72"/>
                  </a:lnTo>
                  <a:lnTo>
                    <a:pt x="151" y="74"/>
                  </a:lnTo>
                  <a:lnTo>
                    <a:pt x="151" y="74"/>
                  </a:lnTo>
                  <a:lnTo>
                    <a:pt x="153" y="76"/>
                  </a:lnTo>
                  <a:lnTo>
                    <a:pt x="157" y="74"/>
                  </a:lnTo>
                  <a:lnTo>
                    <a:pt x="159" y="74"/>
                  </a:lnTo>
                  <a:lnTo>
                    <a:pt x="164" y="74"/>
                  </a:lnTo>
                  <a:lnTo>
                    <a:pt x="168" y="76"/>
                  </a:lnTo>
                  <a:lnTo>
                    <a:pt x="168" y="76"/>
                  </a:lnTo>
                  <a:lnTo>
                    <a:pt x="170" y="78"/>
                  </a:lnTo>
                  <a:lnTo>
                    <a:pt x="172" y="78"/>
                  </a:lnTo>
                  <a:lnTo>
                    <a:pt x="174" y="78"/>
                  </a:lnTo>
                  <a:lnTo>
                    <a:pt x="176" y="80"/>
                  </a:lnTo>
                  <a:lnTo>
                    <a:pt x="178" y="80"/>
                  </a:lnTo>
                  <a:lnTo>
                    <a:pt x="178" y="82"/>
                  </a:lnTo>
                  <a:lnTo>
                    <a:pt x="176" y="84"/>
                  </a:lnTo>
                  <a:lnTo>
                    <a:pt x="174" y="89"/>
                  </a:lnTo>
                  <a:lnTo>
                    <a:pt x="174" y="91"/>
                  </a:lnTo>
                  <a:lnTo>
                    <a:pt x="174" y="91"/>
                  </a:lnTo>
                  <a:lnTo>
                    <a:pt x="176" y="93"/>
                  </a:lnTo>
                  <a:lnTo>
                    <a:pt x="178" y="93"/>
                  </a:lnTo>
                  <a:lnTo>
                    <a:pt x="182" y="97"/>
                  </a:lnTo>
                  <a:lnTo>
                    <a:pt x="184" y="97"/>
                  </a:lnTo>
                  <a:lnTo>
                    <a:pt x="190" y="95"/>
                  </a:lnTo>
                  <a:lnTo>
                    <a:pt x="194" y="97"/>
                  </a:lnTo>
                  <a:lnTo>
                    <a:pt x="196" y="97"/>
                  </a:lnTo>
                  <a:lnTo>
                    <a:pt x="198" y="99"/>
                  </a:lnTo>
                  <a:lnTo>
                    <a:pt x="198" y="99"/>
                  </a:lnTo>
                  <a:lnTo>
                    <a:pt x="200" y="101"/>
                  </a:lnTo>
                  <a:lnTo>
                    <a:pt x="200" y="103"/>
                  </a:lnTo>
                  <a:lnTo>
                    <a:pt x="202" y="103"/>
                  </a:lnTo>
                  <a:lnTo>
                    <a:pt x="202" y="103"/>
                  </a:lnTo>
                  <a:lnTo>
                    <a:pt x="207" y="103"/>
                  </a:lnTo>
                  <a:lnTo>
                    <a:pt x="209" y="103"/>
                  </a:lnTo>
                  <a:lnTo>
                    <a:pt x="211" y="103"/>
                  </a:lnTo>
                  <a:lnTo>
                    <a:pt x="211" y="105"/>
                  </a:lnTo>
                  <a:lnTo>
                    <a:pt x="217" y="97"/>
                  </a:lnTo>
                  <a:lnTo>
                    <a:pt x="227" y="107"/>
                  </a:lnTo>
                  <a:lnTo>
                    <a:pt x="223" y="117"/>
                  </a:lnTo>
                  <a:lnTo>
                    <a:pt x="223" y="119"/>
                  </a:lnTo>
                  <a:lnTo>
                    <a:pt x="225" y="121"/>
                  </a:lnTo>
                  <a:lnTo>
                    <a:pt x="225" y="123"/>
                  </a:lnTo>
                  <a:lnTo>
                    <a:pt x="225" y="123"/>
                  </a:lnTo>
                  <a:lnTo>
                    <a:pt x="223" y="123"/>
                  </a:lnTo>
                  <a:lnTo>
                    <a:pt x="223" y="125"/>
                  </a:lnTo>
                  <a:lnTo>
                    <a:pt x="225" y="125"/>
                  </a:lnTo>
                  <a:lnTo>
                    <a:pt x="225" y="128"/>
                  </a:lnTo>
                  <a:lnTo>
                    <a:pt x="221" y="130"/>
                  </a:lnTo>
                  <a:lnTo>
                    <a:pt x="219" y="130"/>
                  </a:lnTo>
                  <a:lnTo>
                    <a:pt x="219" y="132"/>
                  </a:lnTo>
                  <a:lnTo>
                    <a:pt x="219" y="132"/>
                  </a:lnTo>
                  <a:lnTo>
                    <a:pt x="219" y="134"/>
                  </a:lnTo>
                  <a:lnTo>
                    <a:pt x="219" y="136"/>
                  </a:lnTo>
                  <a:lnTo>
                    <a:pt x="219" y="136"/>
                  </a:lnTo>
                  <a:lnTo>
                    <a:pt x="219" y="138"/>
                  </a:lnTo>
                  <a:lnTo>
                    <a:pt x="217" y="140"/>
                  </a:lnTo>
                  <a:lnTo>
                    <a:pt x="217" y="140"/>
                  </a:lnTo>
                  <a:lnTo>
                    <a:pt x="215" y="140"/>
                  </a:lnTo>
                  <a:lnTo>
                    <a:pt x="215" y="140"/>
                  </a:lnTo>
                  <a:lnTo>
                    <a:pt x="215" y="142"/>
                  </a:lnTo>
                  <a:lnTo>
                    <a:pt x="213" y="142"/>
                  </a:lnTo>
                  <a:lnTo>
                    <a:pt x="213" y="142"/>
                  </a:lnTo>
                  <a:lnTo>
                    <a:pt x="213" y="142"/>
                  </a:lnTo>
                  <a:lnTo>
                    <a:pt x="213" y="144"/>
                  </a:lnTo>
                  <a:lnTo>
                    <a:pt x="213" y="144"/>
                  </a:lnTo>
                  <a:lnTo>
                    <a:pt x="213" y="144"/>
                  </a:lnTo>
                  <a:lnTo>
                    <a:pt x="215" y="144"/>
                  </a:lnTo>
                  <a:lnTo>
                    <a:pt x="215" y="144"/>
                  </a:lnTo>
                  <a:lnTo>
                    <a:pt x="213" y="146"/>
                  </a:lnTo>
                  <a:lnTo>
                    <a:pt x="213" y="146"/>
                  </a:lnTo>
                  <a:lnTo>
                    <a:pt x="211" y="148"/>
                  </a:lnTo>
                  <a:lnTo>
                    <a:pt x="211" y="150"/>
                  </a:lnTo>
                  <a:lnTo>
                    <a:pt x="211" y="152"/>
                  </a:lnTo>
                  <a:lnTo>
                    <a:pt x="209" y="152"/>
                  </a:lnTo>
                  <a:lnTo>
                    <a:pt x="209" y="154"/>
                  </a:lnTo>
                  <a:lnTo>
                    <a:pt x="211" y="158"/>
                  </a:lnTo>
                  <a:lnTo>
                    <a:pt x="211" y="160"/>
                  </a:lnTo>
                  <a:lnTo>
                    <a:pt x="213" y="162"/>
                  </a:lnTo>
                  <a:lnTo>
                    <a:pt x="213" y="164"/>
                  </a:lnTo>
                  <a:lnTo>
                    <a:pt x="215" y="166"/>
                  </a:lnTo>
                  <a:lnTo>
                    <a:pt x="217" y="166"/>
                  </a:lnTo>
                  <a:lnTo>
                    <a:pt x="219" y="166"/>
                  </a:lnTo>
                  <a:lnTo>
                    <a:pt x="219" y="164"/>
                  </a:lnTo>
                  <a:lnTo>
                    <a:pt x="221" y="164"/>
                  </a:lnTo>
                  <a:lnTo>
                    <a:pt x="223" y="162"/>
                  </a:lnTo>
                  <a:lnTo>
                    <a:pt x="223" y="158"/>
                  </a:lnTo>
                  <a:lnTo>
                    <a:pt x="221" y="158"/>
                  </a:lnTo>
                  <a:lnTo>
                    <a:pt x="221" y="156"/>
                  </a:lnTo>
                  <a:lnTo>
                    <a:pt x="221" y="156"/>
                  </a:lnTo>
                  <a:lnTo>
                    <a:pt x="221" y="156"/>
                  </a:lnTo>
                  <a:lnTo>
                    <a:pt x="223" y="154"/>
                  </a:lnTo>
                  <a:lnTo>
                    <a:pt x="223" y="154"/>
                  </a:lnTo>
                  <a:lnTo>
                    <a:pt x="223" y="154"/>
                  </a:lnTo>
                  <a:lnTo>
                    <a:pt x="223" y="154"/>
                  </a:lnTo>
                  <a:lnTo>
                    <a:pt x="223" y="156"/>
                  </a:lnTo>
                  <a:lnTo>
                    <a:pt x="223" y="156"/>
                  </a:lnTo>
                  <a:lnTo>
                    <a:pt x="223" y="156"/>
                  </a:lnTo>
                  <a:lnTo>
                    <a:pt x="223" y="158"/>
                  </a:lnTo>
                  <a:lnTo>
                    <a:pt x="225" y="158"/>
                  </a:lnTo>
                  <a:lnTo>
                    <a:pt x="225" y="160"/>
                  </a:lnTo>
                  <a:lnTo>
                    <a:pt x="227" y="158"/>
                  </a:lnTo>
                  <a:lnTo>
                    <a:pt x="227" y="158"/>
                  </a:lnTo>
                  <a:lnTo>
                    <a:pt x="229" y="156"/>
                  </a:lnTo>
                  <a:lnTo>
                    <a:pt x="229" y="154"/>
                  </a:lnTo>
                  <a:lnTo>
                    <a:pt x="229" y="154"/>
                  </a:lnTo>
                  <a:lnTo>
                    <a:pt x="229" y="152"/>
                  </a:lnTo>
                  <a:lnTo>
                    <a:pt x="229" y="152"/>
                  </a:lnTo>
                  <a:lnTo>
                    <a:pt x="231" y="154"/>
                  </a:lnTo>
                  <a:lnTo>
                    <a:pt x="231" y="156"/>
                  </a:lnTo>
                  <a:lnTo>
                    <a:pt x="235" y="162"/>
                  </a:lnTo>
                  <a:lnTo>
                    <a:pt x="237" y="164"/>
                  </a:lnTo>
                  <a:lnTo>
                    <a:pt x="245" y="169"/>
                  </a:lnTo>
                  <a:lnTo>
                    <a:pt x="248" y="171"/>
                  </a:lnTo>
                  <a:lnTo>
                    <a:pt x="250" y="171"/>
                  </a:lnTo>
                  <a:lnTo>
                    <a:pt x="250" y="166"/>
                  </a:lnTo>
                  <a:lnTo>
                    <a:pt x="248" y="164"/>
                  </a:lnTo>
                  <a:lnTo>
                    <a:pt x="245" y="162"/>
                  </a:lnTo>
                  <a:lnTo>
                    <a:pt x="243" y="158"/>
                  </a:lnTo>
                  <a:lnTo>
                    <a:pt x="245" y="158"/>
                  </a:lnTo>
                  <a:lnTo>
                    <a:pt x="248" y="160"/>
                  </a:lnTo>
                  <a:lnTo>
                    <a:pt x="250" y="162"/>
                  </a:lnTo>
                  <a:lnTo>
                    <a:pt x="252" y="166"/>
                  </a:lnTo>
                  <a:lnTo>
                    <a:pt x="252" y="169"/>
                  </a:lnTo>
                  <a:lnTo>
                    <a:pt x="252" y="169"/>
                  </a:lnTo>
                  <a:lnTo>
                    <a:pt x="254" y="171"/>
                  </a:lnTo>
                  <a:lnTo>
                    <a:pt x="256" y="173"/>
                  </a:lnTo>
                  <a:lnTo>
                    <a:pt x="258" y="173"/>
                  </a:lnTo>
                  <a:lnTo>
                    <a:pt x="264" y="171"/>
                  </a:lnTo>
                  <a:lnTo>
                    <a:pt x="268" y="169"/>
                  </a:lnTo>
                  <a:lnTo>
                    <a:pt x="270" y="171"/>
                  </a:lnTo>
                  <a:lnTo>
                    <a:pt x="272" y="171"/>
                  </a:lnTo>
                  <a:lnTo>
                    <a:pt x="274" y="173"/>
                  </a:lnTo>
                  <a:lnTo>
                    <a:pt x="274" y="173"/>
                  </a:lnTo>
                  <a:lnTo>
                    <a:pt x="276" y="175"/>
                  </a:lnTo>
                  <a:lnTo>
                    <a:pt x="276" y="175"/>
                  </a:lnTo>
                  <a:lnTo>
                    <a:pt x="278" y="179"/>
                  </a:lnTo>
                  <a:lnTo>
                    <a:pt x="278" y="179"/>
                  </a:lnTo>
                  <a:lnTo>
                    <a:pt x="280" y="179"/>
                  </a:lnTo>
                  <a:lnTo>
                    <a:pt x="280" y="179"/>
                  </a:lnTo>
                  <a:lnTo>
                    <a:pt x="280" y="175"/>
                  </a:lnTo>
                  <a:lnTo>
                    <a:pt x="282" y="177"/>
                  </a:lnTo>
                  <a:lnTo>
                    <a:pt x="282" y="179"/>
                  </a:lnTo>
                  <a:lnTo>
                    <a:pt x="284" y="177"/>
                  </a:lnTo>
                  <a:lnTo>
                    <a:pt x="284" y="175"/>
                  </a:lnTo>
                  <a:lnTo>
                    <a:pt x="284" y="175"/>
                  </a:lnTo>
                  <a:lnTo>
                    <a:pt x="284" y="173"/>
                  </a:lnTo>
                  <a:lnTo>
                    <a:pt x="284" y="173"/>
                  </a:lnTo>
                  <a:lnTo>
                    <a:pt x="282" y="171"/>
                  </a:lnTo>
                  <a:lnTo>
                    <a:pt x="282" y="171"/>
                  </a:lnTo>
                  <a:lnTo>
                    <a:pt x="284" y="173"/>
                  </a:lnTo>
                  <a:lnTo>
                    <a:pt x="286" y="175"/>
                  </a:lnTo>
                  <a:lnTo>
                    <a:pt x="288" y="179"/>
                  </a:lnTo>
                  <a:lnTo>
                    <a:pt x="288" y="179"/>
                  </a:lnTo>
                  <a:lnTo>
                    <a:pt x="291" y="181"/>
                  </a:lnTo>
                  <a:lnTo>
                    <a:pt x="299" y="185"/>
                  </a:lnTo>
                  <a:lnTo>
                    <a:pt x="299" y="183"/>
                  </a:lnTo>
                  <a:lnTo>
                    <a:pt x="297" y="183"/>
                  </a:lnTo>
                  <a:lnTo>
                    <a:pt x="297" y="181"/>
                  </a:lnTo>
                  <a:lnTo>
                    <a:pt x="297" y="181"/>
                  </a:lnTo>
                  <a:lnTo>
                    <a:pt x="297" y="179"/>
                  </a:lnTo>
                  <a:lnTo>
                    <a:pt x="297" y="177"/>
                  </a:lnTo>
                  <a:lnTo>
                    <a:pt x="297" y="175"/>
                  </a:lnTo>
                  <a:lnTo>
                    <a:pt x="295" y="173"/>
                  </a:lnTo>
                  <a:lnTo>
                    <a:pt x="293" y="169"/>
                  </a:lnTo>
                  <a:lnTo>
                    <a:pt x="288" y="169"/>
                  </a:lnTo>
                  <a:lnTo>
                    <a:pt x="288" y="166"/>
                  </a:lnTo>
                  <a:lnTo>
                    <a:pt x="286" y="164"/>
                  </a:lnTo>
                  <a:lnTo>
                    <a:pt x="286" y="164"/>
                  </a:lnTo>
                  <a:lnTo>
                    <a:pt x="288" y="162"/>
                  </a:lnTo>
                  <a:lnTo>
                    <a:pt x="288" y="160"/>
                  </a:lnTo>
                  <a:lnTo>
                    <a:pt x="286" y="158"/>
                  </a:lnTo>
                  <a:lnTo>
                    <a:pt x="284" y="158"/>
                  </a:lnTo>
                  <a:lnTo>
                    <a:pt x="282" y="160"/>
                  </a:lnTo>
                  <a:lnTo>
                    <a:pt x="280" y="160"/>
                  </a:lnTo>
                  <a:lnTo>
                    <a:pt x="278" y="160"/>
                  </a:lnTo>
                  <a:lnTo>
                    <a:pt x="276" y="158"/>
                  </a:lnTo>
                  <a:lnTo>
                    <a:pt x="276" y="156"/>
                  </a:lnTo>
                  <a:lnTo>
                    <a:pt x="274" y="154"/>
                  </a:lnTo>
                  <a:lnTo>
                    <a:pt x="274" y="154"/>
                  </a:lnTo>
                  <a:lnTo>
                    <a:pt x="268" y="152"/>
                  </a:lnTo>
                  <a:lnTo>
                    <a:pt x="264" y="150"/>
                  </a:lnTo>
                  <a:lnTo>
                    <a:pt x="262" y="148"/>
                  </a:lnTo>
                  <a:lnTo>
                    <a:pt x="260" y="146"/>
                  </a:lnTo>
                  <a:lnTo>
                    <a:pt x="258" y="142"/>
                  </a:lnTo>
                  <a:lnTo>
                    <a:pt x="258" y="140"/>
                  </a:lnTo>
                  <a:lnTo>
                    <a:pt x="258" y="140"/>
                  </a:lnTo>
                  <a:lnTo>
                    <a:pt x="258" y="140"/>
                  </a:lnTo>
                  <a:lnTo>
                    <a:pt x="256" y="138"/>
                  </a:lnTo>
                  <a:lnTo>
                    <a:pt x="256" y="136"/>
                  </a:lnTo>
                  <a:lnTo>
                    <a:pt x="254" y="128"/>
                  </a:lnTo>
                  <a:lnTo>
                    <a:pt x="254" y="128"/>
                  </a:lnTo>
                  <a:lnTo>
                    <a:pt x="254" y="125"/>
                  </a:lnTo>
                  <a:lnTo>
                    <a:pt x="254" y="125"/>
                  </a:lnTo>
                  <a:lnTo>
                    <a:pt x="256" y="128"/>
                  </a:lnTo>
                  <a:lnTo>
                    <a:pt x="260" y="142"/>
                  </a:lnTo>
                  <a:lnTo>
                    <a:pt x="262" y="144"/>
                  </a:lnTo>
                  <a:lnTo>
                    <a:pt x="262" y="144"/>
                  </a:lnTo>
                  <a:lnTo>
                    <a:pt x="270" y="150"/>
                  </a:lnTo>
                  <a:lnTo>
                    <a:pt x="270" y="150"/>
                  </a:lnTo>
                  <a:lnTo>
                    <a:pt x="274" y="150"/>
                  </a:lnTo>
                  <a:lnTo>
                    <a:pt x="274" y="150"/>
                  </a:lnTo>
                  <a:lnTo>
                    <a:pt x="276" y="152"/>
                  </a:lnTo>
                  <a:lnTo>
                    <a:pt x="276" y="152"/>
                  </a:lnTo>
                  <a:lnTo>
                    <a:pt x="278" y="152"/>
                  </a:lnTo>
                  <a:lnTo>
                    <a:pt x="278" y="154"/>
                  </a:lnTo>
                  <a:lnTo>
                    <a:pt x="278" y="154"/>
                  </a:lnTo>
                  <a:lnTo>
                    <a:pt x="280" y="156"/>
                  </a:lnTo>
                  <a:lnTo>
                    <a:pt x="280" y="156"/>
                  </a:lnTo>
                  <a:lnTo>
                    <a:pt x="284" y="154"/>
                  </a:lnTo>
                  <a:lnTo>
                    <a:pt x="286" y="154"/>
                  </a:lnTo>
                  <a:lnTo>
                    <a:pt x="286" y="152"/>
                  </a:lnTo>
                  <a:lnTo>
                    <a:pt x="284" y="150"/>
                  </a:lnTo>
                  <a:lnTo>
                    <a:pt x="282" y="148"/>
                  </a:lnTo>
                  <a:lnTo>
                    <a:pt x="280" y="144"/>
                  </a:lnTo>
                  <a:lnTo>
                    <a:pt x="272" y="140"/>
                  </a:lnTo>
                  <a:lnTo>
                    <a:pt x="270" y="136"/>
                  </a:lnTo>
                  <a:lnTo>
                    <a:pt x="270" y="134"/>
                  </a:lnTo>
                  <a:lnTo>
                    <a:pt x="270" y="125"/>
                  </a:lnTo>
                  <a:lnTo>
                    <a:pt x="268" y="125"/>
                  </a:lnTo>
                  <a:lnTo>
                    <a:pt x="268" y="123"/>
                  </a:lnTo>
                  <a:lnTo>
                    <a:pt x="266" y="121"/>
                  </a:lnTo>
                  <a:lnTo>
                    <a:pt x="266" y="117"/>
                  </a:lnTo>
                  <a:lnTo>
                    <a:pt x="264" y="117"/>
                  </a:lnTo>
                  <a:lnTo>
                    <a:pt x="262" y="115"/>
                  </a:lnTo>
                  <a:lnTo>
                    <a:pt x="262" y="113"/>
                  </a:lnTo>
                  <a:lnTo>
                    <a:pt x="262" y="111"/>
                  </a:lnTo>
                  <a:lnTo>
                    <a:pt x="266" y="109"/>
                  </a:lnTo>
                  <a:lnTo>
                    <a:pt x="266" y="107"/>
                  </a:lnTo>
                  <a:lnTo>
                    <a:pt x="266" y="105"/>
                  </a:lnTo>
                  <a:lnTo>
                    <a:pt x="266" y="105"/>
                  </a:lnTo>
                  <a:lnTo>
                    <a:pt x="264" y="107"/>
                  </a:lnTo>
                  <a:lnTo>
                    <a:pt x="262" y="105"/>
                  </a:lnTo>
                  <a:lnTo>
                    <a:pt x="262" y="103"/>
                  </a:lnTo>
                  <a:lnTo>
                    <a:pt x="262" y="101"/>
                  </a:lnTo>
                  <a:lnTo>
                    <a:pt x="262" y="101"/>
                  </a:lnTo>
                  <a:lnTo>
                    <a:pt x="260" y="101"/>
                  </a:lnTo>
                  <a:lnTo>
                    <a:pt x="260" y="101"/>
                  </a:lnTo>
                  <a:lnTo>
                    <a:pt x="262" y="99"/>
                  </a:lnTo>
                  <a:lnTo>
                    <a:pt x="264" y="99"/>
                  </a:lnTo>
                  <a:lnTo>
                    <a:pt x="264" y="101"/>
                  </a:lnTo>
                  <a:lnTo>
                    <a:pt x="266" y="99"/>
                  </a:lnTo>
                  <a:lnTo>
                    <a:pt x="264" y="97"/>
                  </a:lnTo>
                  <a:lnTo>
                    <a:pt x="262" y="97"/>
                  </a:lnTo>
                  <a:lnTo>
                    <a:pt x="260" y="95"/>
                  </a:lnTo>
                  <a:lnTo>
                    <a:pt x="260" y="95"/>
                  </a:lnTo>
                  <a:lnTo>
                    <a:pt x="258" y="93"/>
                  </a:lnTo>
                  <a:lnTo>
                    <a:pt x="260" y="93"/>
                  </a:lnTo>
                  <a:lnTo>
                    <a:pt x="262" y="93"/>
                  </a:lnTo>
                  <a:lnTo>
                    <a:pt x="266" y="95"/>
                  </a:lnTo>
                  <a:lnTo>
                    <a:pt x="268" y="95"/>
                  </a:lnTo>
                  <a:lnTo>
                    <a:pt x="268" y="95"/>
                  </a:lnTo>
                  <a:lnTo>
                    <a:pt x="266" y="93"/>
                  </a:lnTo>
                  <a:lnTo>
                    <a:pt x="262" y="89"/>
                  </a:lnTo>
                  <a:lnTo>
                    <a:pt x="260" y="87"/>
                  </a:lnTo>
                  <a:lnTo>
                    <a:pt x="258" y="84"/>
                  </a:lnTo>
                  <a:lnTo>
                    <a:pt x="256" y="84"/>
                  </a:lnTo>
                  <a:lnTo>
                    <a:pt x="256" y="84"/>
                  </a:lnTo>
                  <a:lnTo>
                    <a:pt x="254" y="84"/>
                  </a:lnTo>
                  <a:lnTo>
                    <a:pt x="254" y="82"/>
                  </a:lnTo>
                  <a:lnTo>
                    <a:pt x="254" y="82"/>
                  </a:lnTo>
                  <a:lnTo>
                    <a:pt x="256" y="80"/>
                  </a:lnTo>
                  <a:lnTo>
                    <a:pt x="256" y="80"/>
                  </a:lnTo>
                  <a:lnTo>
                    <a:pt x="258" y="82"/>
                  </a:lnTo>
                  <a:lnTo>
                    <a:pt x="260" y="84"/>
                  </a:lnTo>
                  <a:lnTo>
                    <a:pt x="264" y="89"/>
                  </a:lnTo>
                  <a:lnTo>
                    <a:pt x="266" y="87"/>
                  </a:lnTo>
                  <a:lnTo>
                    <a:pt x="266" y="87"/>
                  </a:lnTo>
                  <a:lnTo>
                    <a:pt x="266" y="87"/>
                  </a:lnTo>
                  <a:lnTo>
                    <a:pt x="268" y="87"/>
                  </a:lnTo>
                  <a:lnTo>
                    <a:pt x="270" y="84"/>
                  </a:lnTo>
                  <a:lnTo>
                    <a:pt x="270" y="84"/>
                  </a:lnTo>
                  <a:lnTo>
                    <a:pt x="268" y="82"/>
                  </a:lnTo>
                  <a:lnTo>
                    <a:pt x="266" y="80"/>
                  </a:lnTo>
                  <a:lnTo>
                    <a:pt x="262" y="80"/>
                  </a:lnTo>
                  <a:lnTo>
                    <a:pt x="260" y="80"/>
                  </a:lnTo>
                  <a:lnTo>
                    <a:pt x="260" y="80"/>
                  </a:lnTo>
                  <a:lnTo>
                    <a:pt x="258" y="78"/>
                  </a:lnTo>
                  <a:lnTo>
                    <a:pt x="258" y="78"/>
                  </a:lnTo>
                  <a:lnTo>
                    <a:pt x="258" y="78"/>
                  </a:lnTo>
                  <a:lnTo>
                    <a:pt x="258" y="78"/>
                  </a:lnTo>
                  <a:lnTo>
                    <a:pt x="262" y="78"/>
                  </a:lnTo>
                  <a:lnTo>
                    <a:pt x="262" y="78"/>
                  </a:lnTo>
                  <a:lnTo>
                    <a:pt x="264" y="78"/>
                  </a:lnTo>
                  <a:lnTo>
                    <a:pt x="266" y="78"/>
                  </a:lnTo>
                  <a:lnTo>
                    <a:pt x="266" y="80"/>
                  </a:lnTo>
                  <a:lnTo>
                    <a:pt x="266" y="80"/>
                  </a:lnTo>
                  <a:lnTo>
                    <a:pt x="266" y="76"/>
                  </a:lnTo>
                  <a:lnTo>
                    <a:pt x="264" y="74"/>
                  </a:lnTo>
                  <a:lnTo>
                    <a:pt x="264" y="72"/>
                  </a:lnTo>
                  <a:lnTo>
                    <a:pt x="262" y="70"/>
                  </a:lnTo>
                  <a:lnTo>
                    <a:pt x="260" y="70"/>
                  </a:lnTo>
                  <a:lnTo>
                    <a:pt x="258" y="72"/>
                  </a:lnTo>
                  <a:lnTo>
                    <a:pt x="258" y="70"/>
                  </a:lnTo>
                  <a:lnTo>
                    <a:pt x="256" y="70"/>
                  </a:lnTo>
                  <a:lnTo>
                    <a:pt x="256" y="68"/>
                  </a:lnTo>
                  <a:lnTo>
                    <a:pt x="256" y="68"/>
                  </a:lnTo>
                  <a:lnTo>
                    <a:pt x="254" y="68"/>
                  </a:lnTo>
                  <a:lnTo>
                    <a:pt x="254" y="66"/>
                  </a:lnTo>
                  <a:lnTo>
                    <a:pt x="252" y="66"/>
                  </a:lnTo>
                  <a:lnTo>
                    <a:pt x="250" y="66"/>
                  </a:lnTo>
                  <a:lnTo>
                    <a:pt x="250" y="64"/>
                  </a:lnTo>
                  <a:lnTo>
                    <a:pt x="250" y="64"/>
                  </a:lnTo>
                  <a:lnTo>
                    <a:pt x="248" y="64"/>
                  </a:lnTo>
                  <a:lnTo>
                    <a:pt x="245" y="64"/>
                  </a:lnTo>
                  <a:lnTo>
                    <a:pt x="245" y="64"/>
                  </a:lnTo>
                  <a:lnTo>
                    <a:pt x="245" y="62"/>
                  </a:lnTo>
                  <a:lnTo>
                    <a:pt x="248" y="62"/>
                  </a:lnTo>
                  <a:lnTo>
                    <a:pt x="250" y="62"/>
                  </a:lnTo>
                  <a:lnTo>
                    <a:pt x="250" y="60"/>
                  </a:lnTo>
                  <a:lnTo>
                    <a:pt x="250" y="62"/>
                  </a:lnTo>
                  <a:lnTo>
                    <a:pt x="256" y="62"/>
                  </a:lnTo>
                  <a:lnTo>
                    <a:pt x="256" y="64"/>
                  </a:lnTo>
                  <a:lnTo>
                    <a:pt x="258" y="64"/>
                  </a:lnTo>
                  <a:lnTo>
                    <a:pt x="258" y="64"/>
                  </a:lnTo>
                  <a:lnTo>
                    <a:pt x="260" y="64"/>
                  </a:lnTo>
                  <a:lnTo>
                    <a:pt x="260" y="66"/>
                  </a:lnTo>
                  <a:lnTo>
                    <a:pt x="260" y="64"/>
                  </a:lnTo>
                  <a:lnTo>
                    <a:pt x="260" y="64"/>
                  </a:lnTo>
                  <a:lnTo>
                    <a:pt x="262" y="64"/>
                  </a:lnTo>
                  <a:lnTo>
                    <a:pt x="262" y="66"/>
                  </a:lnTo>
                  <a:lnTo>
                    <a:pt x="266" y="62"/>
                  </a:lnTo>
                  <a:lnTo>
                    <a:pt x="266" y="62"/>
                  </a:lnTo>
                  <a:lnTo>
                    <a:pt x="262" y="62"/>
                  </a:lnTo>
                  <a:lnTo>
                    <a:pt x="260" y="60"/>
                  </a:lnTo>
                  <a:lnTo>
                    <a:pt x="258" y="58"/>
                  </a:lnTo>
                  <a:lnTo>
                    <a:pt x="256" y="56"/>
                  </a:lnTo>
                  <a:lnTo>
                    <a:pt x="258" y="56"/>
                  </a:lnTo>
                  <a:lnTo>
                    <a:pt x="260" y="56"/>
                  </a:lnTo>
                  <a:lnTo>
                    <a:pt x="262" y="58"/>
                  </a:lnTo>
                  <a:lnTo>
                    <a:pt x="262" y="60"/>
                  </a:lnTo>
                  <a:lnTo>
                    <a:pt x="264" y="60"/>
                  </a:lnTo>
                  <a:lnTo>
                    <a:pt x="264" y="58"/>
                  </a:lnTo>
                  <a:lnTo>
                    <a:pt x="264" y="58"/>
                  </a:lnTo>
                  <a:lnTo>
                    <a:pt x="260" y="54"/>
                  </a:lnTo>
                  <a:lnTo>
                    <a:pt x="260" y="54"/>
                  </a:lnTo>
                  <a:lnTo>
                    <a:pt x="260" y="54"/>
                  </a:lnTo>
                  <a:lnTo>
                    <a:pt x="266" y="54"/>
                  </a:lnTo>
                  <a:lnTo>
                    <a:pt x="266" y="52"/>
                  </a:lnTo>
                  <a:lnTo>
                    <a:pt x="264" y="52"/>
                  </a:lnTo>
                  <a:lnTo>
                    <a:pt x="266" y="50"/>
                  </a:lnTo>
                  <a:lnTo>
                    <a:pt x="266" y="50"/>
                  </a:lnTo>
                  <a:lnTo>
                    <a:pt x="266" y="50"/>
                  </a:lnTo>
                  <a:lnTo>
                    <a:pt x="268" y="48"/>
                  </a:lnTo>
                  <a:lnTo>
                    <a:pt x="266" y="48"/>
                  </a:lnTo>
                  <a:lnTo>
                    <a:pt x="266" y="48"/>
                  </a:lnTo>
                  <a:lnTo>
                    <a:pt x="264" y="46"/>
                  </a:lnTo>
                  <a:lnTo>
                    <a:pt x="262" y="46"/>
                  </a:lnTo>
                  <a:lnTo>
                    <a:pt x="260" y="46"/>
                  </a:lnTo>
                  <a:lnTo>
                    <a:pt x="266" y="41"/>
                  </a:lnTo>
                  <a:lnTo>
                    <a:pt x="268" y="43"/>
                  </a:lnTo>
                  <a:lnTo>
                    <a:pt x="270" y="48"/>
                  </a:lnTo>
                  <a:lnTo>
                    <a:pt x="272" y="52"/>
                  </a:lnTo>
                  <a:lnTo>
                    <a:pt x="274" y="48"/>
                  </a:lnTo>
                  <a:lnTo>
                    <a:pt x="274" y="48"/>
                  </a:lnTo>
                  <a:lnTo>
                    <a:pt x="274" y="48"/>
                  </a:lnTo>
                  <a:lnTo>
                    <a:pt x="274" y="46"/>
                  </a:lnTo>
                  <a:lnTo>
                    <a:pt x="272" y="43"/>
                  </a:lnTo>
                  <a:lnTo>
                    <a:pt x="272" y="35"/>
                  </a:lnTo>
                  <a:lnTo>
                    <a:pt x="272" y="35"/>
                  </a:lnTo>
                  <a:lnTo>
                    <a:pt x="272" y="35"/>
                  </a:lnTo>
                  <a:lnTo>
                    <a:pt x="272" y="33"/>
                  </a:lnTo>
                  <a:lnTo>
                    <a:pt x="274" y="33"/>
                  </a:lnTo>
                  <a:lnTo>
                    <a:pt x="274" y="33"/>
                  </a:lnTo>
                  <a:lnTo>
                    <a:pt x="274" y="35"/>
                  </a:lnTo>
                  <a:lnTo>
                    <a:pt x="274" y="37"/>
                  </a:lnTo>
                  <a:lnTo>
                    <a:pt x="274" y="41"/>
                  </a:lnTo>
                  <a:lnTo>
                    <a:pt x="276" y="43"/>
                  </a:lnTo>
                  <a:lnTo>
                    <a:pt x="276" y="46"/>
                  </a:lnTo>
                  <a:lnTo>
                    <a:pt x="278" y="41"/>
                  </a:lnTo>
                  <a:lnTo>
                    <a:pt x="282" y="37"/>
                  </a:lnTo>
                  <a:lnTo>
                    <a:pt x="286" y="33"/>
                  </a:lnTo>
                  <a:lnTo>
                    <a:pt x="286" y="33"/>
                  </a:lnTo>
                  <a:lnTo>
                    <a:pt x="286" y="31"/>
                  </a:lnTo>
                  <a:lnTo>
                    <a:pt x="286" y="31"/>
                  </a:lnTo>
                  <a:lnTo>
                    <a:pt x="282" y="31"/>
                  </a:lnTo>
                  <a:lnTo>
                    <a:pt x="282" y="29"/>
                  </a:lnTo>
                  <a:lnTo>
                    <a:pt x="282" y="23"/>
                  </a:lnTo>
                  <a:lnTo>
                    <a:pt x="282" y="23"/>
                  </a:lnTo>
                  <a:lnTo>
                    <a:pt x="284" y="21"/>
                  </a:lnTo>
                  <a:lnTo>
                    <a:pt x="284" y="21"/>
                  </a:lnTo>
                  <a:lnTo>
                    <a:pt x="291" y="21"/>
                  </a:lnTo>
                  <a:lnTo>
                    <a:pt x="291" y="19"/>
                  </a:lnTo>
                  <a:lnTo>
                    <a:pt x="293" y="17"/>
                  </a:lnTo>
                  <a:lnTo>
                    <a:pt x="293" y="15"/>
                  </a:lnTo>
                  <a:lnTo>
                    <a:pt x="295" y="15"/>
                  </a:lnTo>
                  <a:lnTo>
                    <a:pt x="295" y="19"/>
                  </a:lnTo>
                  <a:lnTo>
                    <a:pt x="295" y="21"/>
                  </a:lnTo>
                  <a:lnTo>
                    <a:pt x="293" y="23"/>
                  </a:lnTo>
                  <a:lnTo>
                    <a:pt x="293" y="27"/>
                  </a:lnTo>
                  <a:lnTo>
                    <a:pt x="291" y="29"/>
                  </a:lnTo>
                  <a:lnTo>
                    <a:pt x="293" y="31"/>
                  </a:lnTo>
                  <a:lnTo>
                    <a:pt x="293" y="29"/>
                  </a:lnTo>
                  <a:lnTo>
                    <a:pt x="299" y="23"/>
                  </a:lnTo>
                  <a:lnTo>
                    <a:pt x="299" y="21"/>
                  </a:lnTo>
                  <a:lnTo>
                    <a:pt x="301" y="19"/>
                  </a:lnTo>
                  <a:lnTo>
                    <a:pt x="301" y="17"/>
                  </a:lnTo>
                  <a:lnTo>
                    <a:pt x="303" y="15"/>
                  </a:lnTo>
                  <a:lnTo>
                    <a:pt x="303" y="17"/>
                  </a:lnTo>
                  <a:lnTo>
                    <a:pt x="303" y="21"/>
                  </a:lnTo>
                  <a:lnTo>
                    <a:pt x="301" y="23"/>
                  </a:lnTo>
                  <a:lnTo>
                    <a:pt x="299" y="25"/>
                  </a:lnTo>
                  <a:lnTo>
                    <a:pt x="301" y="25"/>
                  </a:lnTo>
                  <a:lnTo>
                    <a:pt x="303" y="27"/>
                  </a:lnTo>
                  <a:lnTo>
                    <a:pt x="305" y="27"/>
                  </a:lnTo>
                  <a:lnTo>
                    <a:pt x="305" y="27"/>
                  </a:lnTo>
                  <a:lnTo>
                    <a:pt x="303" y="29"/>
                  </a:lnTo>
                  <a:lnTo>
                    <a:pt x="299" y="27"/>
                  </a:lnTo>
                  <a:lnTo>
                    <a:pt x="297" y="29"/>
                  </a:lnTo>
                  <a:lnTo>
                    <a:pt x="297" y="29"/>
                  </a:lnTo>
                  <a:lnTo>
                    <a:pt x="295" y="31"/>
                  </a:lnTo>
                  <a:lnTo>
                    <a:pt x="293" y="35"/>
                  </a:lnTo>
                  <a:lnTo>
                    <a:pt x="293" y="37"/>
                  </a:lnTo>
                  <a:lnTo>
                    <a:pt x="295" y="37"/>
                  </a:lnTo>
                  <a:lnTo>
                    <a:pt x="303" y="35"/>
                  </a:lnTo>
                  <a:lnTo>
                    <a:pt x="307" y="35"/>
                  </a:lnTo>
                  <a:lnTo>
                    <a:pt x="307" y="37"/>
                  </a:lnTo>
                  <a:lnTo>
                    <a:pt x="305" y="37"/>
                  </a:lnTo>
                  <a:lnTo>
                    <a:pt x="305" y="37"/>
                  </a:lnTo>
                  <a:lnTo>
                    <a:pt x="301" y="39"/>
                  </a:lnTo>
                  <a:lnTo>
                    <a:pt x="293" y="41"/>
                  </a:lnTo>
                  <a:lnTo>
                    <a:pt x="284" y="43"/>
                  </a:lnTo>
                  <a:lnTo>
                    <a:pt x="284" y="43"/>
                  </a:lnTo>
                  <a:lnTo>
                    <a:pt x="284" y="46"/>
                  </a:lnTo>
                  <a:lnTo>
                    <a:pt x="284" y="48"/>
                  </a:lnTo>
                  <a:lnTo>
                    <a:pt x="282" y="48"/>
                  </a:lnTo>
                  <a:lnTo>
                    <a:pt x="282" y="48"/>
                  </a:lnTo>
                  <a:lnTo>
                    <a:pt x="280" y="50"/>
                  </a:lnTo>
                  <a:lnTo>
                    <a:pt x="280" y="50"/>
                  </a:lnTo>
                  <a:lnTo>
                    <a:pt x="280" y="52"/>
                  </a:lnTo>
                  <a:lnTo>
                    <a:pt x="280" y="54"/>
                  </a:lnTo>
                  <a:lnTo>
                    <a:pt x="278" y="62"/>
                  </a:lnTo>
                  <a:lnTo>
                    <a:pt x="278" y="66"/>
                  </a:lnTo>
                  <a:lnTo>
                    <a:pt x="278" y="66"/>
                  </a:lnTo>
                  <a:lnTo>
                    <a:pt x="278" y="68"/>
                  </a:lnTo>
                  <a:lnTo>
                    <a:pt x="278" y="68"/>
                  </a:lnTo>
                  <a:lnTo>
                    <a:pt x="280" y="70"/>
                  </a:lnTo>
                  <a:lnTo>
                    <a:pt x="280" y="70"/>
                  </a:lnTo>
                  <a:lnTo>
                    <a:pt x="282" y="70"/>
                  </a:lnTo>
                  <a:lnTo>
                    <a:pt x="282" y="72"/>
                  </a:lnTo>
                  <a:lnTo>
                    <a:pt x="282" y="76"/>
                  </a:lnTo>
                  <a:lnTo>
                    <a:pt x="282" y="78"/>
                  </a:lnTo>
                  <a:lnTo>
                    <a:pt x="284" y="78"/>
                  </a:lnTo>
                  <a:lnTo>
                    <a:pt x="284" y="78"/>
                  </a:lnTo>
                  <a:lnTo>
                    <a:pt x="284" y="74"/>
                  </a:lnTo>
                  <a:lnTo>
                    <a:pt x="284" y="70"/>
                  </a:lnTo>
                  <a:lnTo>
                    <a:pt x="288" y="68"/>
                  </a:lnTo>
                  <a:lnTo>
                    <a:pt x="288" y="68"/>
                  </a:lnTo>
                  <a:lnTo>
                    <a:pt x="286" y="68"/>
                  </a:lnTo>
                  <a:lnTo>
                    <a:pt x="288" y="68"/>
                  </a:lnTo>
                  <a:lnTo>
                    <a:pt x="291" y="68"/>
                  </a:lnTo>
                  <a:lnTo>
                    <a:pt x="293" y="66"/>
                  </a:lnTo>
                  <a:lnTo>
                    <a:pt x="295" y="66"/>
                  </a:lnTo>
                  <a:lnTo>
                    <a:pt x="293" y="68"/>
                  </a:lnTo>
                  <a:lnTo>
                    <a:pt x="291" y="72"/>
                  </a:lnTo>
                  <a:lnTo>
                    <a:pt x="288" y="74"/>
                  </a:lnTo>
                  <a:lnTo>
                    <a:pt x="291" y="74"/>
                  </a:lnTo>
                  <a:lnTo>
                    <a:pt x="288" y="76"/>
                  </a:lnTo>
                  <a:lnTo>
                    <a:pt x="286" y="76"/>
                  </a:lnTo>
                  <a:lnTo>
                    <a:pt x="288" y="76"/>
                  </a:lnTo>
                  <a:lnTo>
                    <a:pt x="288" y="78"/>
                  </a:lnTo>
                  <a:lnTo>
                    <a:pt x="288" y="78"/>
                  </a:lnTo>
                  <a:lnTo>
                    <a:pt x="291" y="78"/>
                  </a:lnTo>
                  <a:lnTo>
                    <a:pt x="291" y="80"/>
                  </a:lnTo>
                  <a:lnTo>
                    <a:pt x="288" y="82"/>
                  </a:lnTo>
                  <a:lnTo>
                    <a:pt x="286" y="84"/>
                  </a:lnTo>
                  <a:lnTo>
                    <a:pt x="284" y="84"/>
                  </a:lnTo>
                  <a:lnTo>
                    <a:pt x="282" y="84"/>
                  </a:lnTo>
                  <a:lnTo>
                    <a:pt x="282" y="84"/>
                  </a:lnTo>
                  <a:lnTo>
                    <a:pt x="278" y="82"/>
                  </a:lnTo>
                  <a:lnTo>
                    <a:pt x="278" y="82"/>
                  </a:lnTo>
                  <a:lnTo>
                    <a:pt x="276" y="80"/>
                  </a:lnTo>
                  <a:lnTo>
                    <a:pt x="276" y="82"/>
                  </a:lnTo>
                  <a:lnTo>
                    <a:pt x="276" y="84"/>
                  </a:lnTo>
                  <a:lnTo>
                    <a:pt x="276" y="87"/>
                  </a:lnTo>
                  <a:lnTo>
                    <a:pt x="274" y="89"/>
                  </a:lnTo>
                  <a:lnTo>
                    <a:pt x="276" y="91"/>
                  </a:lnTo>
                  <a:lnTo>
                    <a:pt x="276" y="99"/>
                  </a:lnTo>
                  <a:lnTo>
                    <a:pt x="276" y="101"/>
                  </a:lnTo>
                  <a:lnTo>
                    <a:pt x="278" y="99"/>
                  </a:lnTo>
                  <a:lnTo>
                    <a:pt x="278" y="99"/>
                  </a:lnTo>
                  <a:lnTo>
                    <a:pt x="280" y="97"/>
                  </a:lnTo>
                  <a:lnTo>
                    <a:pt x="278" y="97"/>
                  </a:lnTo>
                  <a:lnTo>
                    <a:pt x="278" y="97"/>
                  </a:lnTo>
                  <a:lnTo>
                    <a:pt x="278" y="95"/>
                  </a:lnTo>
                  <a:lnTo>
                    <a:pt x="278" y="95"/>
                  </a:lnTo>
                  <a:lnTo>
                    <a:pt x="278" y="93"/>
                  </a:lnTo>
                  <a:lnTo>
                    <a:pt x="278" y="93"/>
                  </a:lnTo>
                  <a:lnTo>
                    <a:pt x="280" y="93"/>
                  </a:lnTo>
                  <a:lnTo>
                    <a:pt x="282" y="91"/>
                  </a:lnTo>
                  <a:lnTo>
                    <a:pt x="282" y="91"/>
                  </a:lnTo>
                  <a:lnTo>
                    <a:pt x="282" y="91"/>
                  </a:lnTo>
                  <a:lnTo>
                    <a:pt x="282" y="89"/>
                  </a:lnTo>
                  <a:lnTo>
                    <a:pt x="282" y="89"/>
                  </a:lnTo>
                  <a:lnTo>
                    <a:pt x="284" y="89"/>
                  </a:lnTo>
                  <a:lnTo>
                    <a:pt x="284" y="87"/>
                  </a:lnTo>
                  <a:lnTo>
                    <a:pt x="284" y="87"/>
                  </a:lnTo>
                  <a:lnTo>
                    <a:pt x="288" y="89"/>
                  </a:lnTo>
                  <a:lnTo>
                    <a:pt x="288" y="91"/>
                  </a:lnTo>
                  <a:lnTo>
                    <a:pt x="288" y="93"/>
                  </a:lnTo>
                  <a:lnTo>
                    <a:pt x="288" y="93"/>
                  </a:lnTo>
                  <a:lnTo>
                    <a:pt x="291" y="93"/>
                  </a:lnTo>
                  <a:lnTo>
                    <a:pt x="291" y="93"/>
                  </a:lnTo>
                  <a:lnTo>
                    <a:pt x="291" y="91"/>
                  </a:lnTo>
                  <a:lnTo>
                    <a:pt x="291" y="91"/>
                  </a:lnTo>
                  <a:lnTo>
                    <a:pt x="293" y="91"/>
                  </a:lnTo>
                  <a:lnTo>
                    <a:pt x="293" y="91"/>
                  </a:lnTo>
                  <a:lnTo>
                    <a:pt x="293" y="93"/>
                  </a:lnTo>
                  <a:lnTo>
                    <a:pt x="293" y="93"/>
                  </a:lnTo>
                  <a:lnTo>
                    <a:pt x="297" y="95"/>
                  </a:lnTo>
                  <a:lnTo>
                    <a:pt x="295" y="95"/>
                  </a:lnTo>
                  <a:lnTo>
                    <a:pt x="293" y="97"/>
                  </a:lnTo>
                  <a:lnTo>
                    <a:pt x="291" y="99"/>
                  </a:lnTo>
                  <a:lnTo>
                    <a:pt x="293" y="101"/>
                  </a:lnTo>
                  <a:lnTo>
                    <a:pt x="293" y="103"/>
                  </a:lnTo>
                  <a:lnTo>
                    <a:pt x="295" y="103"/>
                  </a:lnTo>
                  <a:lnTo>
                    <a:pt x="297" y="103"/>
                  </a:lnTo>
                  <a:lnTo>
                    <a:pt x="297" y="101"/>
                  </a:lnTo>
                  <a:lnTo>
                    <a:pt x="299" y="103"/>
                  </a:lnTo>
                  <a:lnTo>
                    <a:pt x="299" y="103"/>
                  </a:lnTo>
                  <a:lnTo>
                    <a:pt x="297" y="105"/>
                  </a:lnTo>
                  <a:lnTo>
                    <a:pt x="297" y="105"/>
                  </a:lnTo>
                  <a:lnTo>
                    <a:pt x="295" y="107"/>
                  </a:lnTo>
                  <a:lnTo>
                    <a:pt x="293" y="105"/>
                  </a:lnTo>
                  <a:lnTo>
                    <a:pt x="291" y="105"/>
                  </a:lnTo>
                  <a:lnTo>
                    <a:pt x="291" y="105"/>
                  </a:lnTo>
                  <a:lnTo>
                    <a:pt x="288" y="103"/>
                  </a:lnTo>
                  <a:lnTo>
                    <a:pt x="288" y="101"/>
                  </a:lnTo>
                  <a:lnTo>
                    <a:pt x="288" y="101"/>
                  </a:lnTo>
                  <a:lnTo>
                    <a:pt x="286" y="101"/>
                  </a:lnTo>
                  <a:lnTo>
                    <a:pt x="286" y="101"/>
                  </a:lnTo>
                  <a:lnTo>
                    <a:pt x="284" y="99"/>
                  </a:lnTo>
                  <a:lnTo>
                    <a:pt x="282" y="101"/>
                  </a:lnTo>
                  <a:lnTo>
                    <a:pt x="282" y="103"/>
                  </a:lnTo>
                  <a:lnTo>
                    <a:pt x="282" y="105"/>
                  </a:lnTo>
                  <a:lnTo>
                    <a:pt x="282" y="105"/>
                  </a:lnTo>
                  <a:lnTo>
                    <a:pt x="280" y="111"/>
                  </a:lnTo>
                  <a:lnTo>
                    <a:pt x="280" y="113"/>
                  </a:lnTo>
                  <a:lnTo>
                    <a:pt x="280" y="115"/>
                  </a:lnTo>
                  <a:lnTo>
                    <a:pt x="280" y="117"/>
                  </a:lnTo>
                  <a:lnTo>
                    <a:pt x="282" y="117"/>
                  </a:lnTo>
                  <a:lnTo>
                    <a:pt x="282" y="117"/>
                  </a:lnTo>
                  <a:lnTo>
                    <a:pt x="284" y="117"/>
                  </a:lnTo>
                  <a:lnTo>
                    <a:pt x="284" y="115"/>
                  </a:lnTo>
                  <a:lnTo>
                    <a:pt x="284" y="115"/>
                  </a:lnTo>
                  <a:lnTo>
                    <a:pt x="282" y="113"/>
                  </a:lnTo>
                  <a:lnTo>
                    <a:pt x="282" y="109"/>
                  </a:lnTo>
                  <a:lnTo>
                    <a:pt x="284" y="107"/>
                  </a:lnTo>
                  <a:lnTo>
                    <a:pt x="284" y="107"/>
                  </a:lnTo>
                  <a:lnTo>
                    <a:pt x="284" y="107"/>
                  </a:lnTo>
                  <a:lnTo>
                    <a:pt x="284" y="111"/>
                  </a:lnTo>
                  <a:lnTo>
                    <a:pt x="286" y="113"/>
                  </a:lnTo>
                  <a:lnTo>
                    <a:pt x="286" y="111"/>
                  </a:lnTo>
                  <a:lnTo>
                    <a:pt x="288" y="107"/>
                  </a:lnTo>
                  <a:lnTo>
                    <a:pt x="291" y="107"/>
                  </a:lnTo>
                  <a:lnTo>
                    <a:pt x="291" y="109"/>
                  </a:lnTo>
                  <a:lnTo>
                    <a:pt x="291" y="113"/>
                  </a:lnTo>
                  <a:lnTo>
                    <a:pt x="291" y="113"/>
                  </a:lnTo>
                  <a:lnTo>
                    <a:pt x="293" y="115"/>
                  </a:lnTo>
                  <a:lnTo>
                    <a:pt x="293" y="115"/>
                  </a:lnTo>
                  <a:lnTo>
                    <a:pt x="295" y="115"/>
                  </a:lnTo>
                  <a:lnTo>
                    <a:pt x="295" y="113"/>
                  </a:lnTo>
                  <a:lnTo>
                    <a:pt x="295" y="111"/>
                  </a:lnTo>
                  <a:lnTo>
                    <a:pt x="295" y="111"/>
                  </a:lnTo>
                  <a:lnTo>
                    <a:pt x="295" y="111"/>
                  </a:lnTo>
                  <a:lnTo>
                    <a:pt x="297" y="113"/>
                  </a:lnTo>
                  <a:lnTo>
                    <a:pt x="295" y="113"/>
                  </a:lnTo>
                  <a:lnTo>
                    <a:pt x="295" y="115"/>
                  </a:lnTo>
                  <a:lnTo>
                    <a:pt x="297" y="115"/>
                  </a:lnTo>
                  <a:lnTo>
                    <a:pt x="297" y="115"/>
                  </a:lnTo>
                  <a:lnTo>
                    <a:pt x="299" y="115"/>
                  </a:lnTo>
                  <a:lnTo>
                    <a:pt x="301" y="113"/>
                  </a:lnTo>
                  <a:lnTo>
                    <a:pt x="301" y="115"/>
                  </a:lnTo>
                  <a:lnTo>
                    <a:pt x="301" y="115"/>
                  </a:lnTo>
                  <a:lnTo>
                    <a:pt x="299" y="117"/>
                  </a:lnTo>
                  <a:lnTo>
                    <a:pt x="297" y="117"/>
                  </a:lnTo>
                  <a:lnTo>
                    <a:pt x="299" y="117"/>
                  </a:lnTo>
                  <a:lnTo>
                    <a:pt x="299" y="119"/>
                  </a:lnTo>
                  <a:lnTo>
                    <a:pt x="301" y="117"/>
                  </a:lnTo>
                  <a:lnTo>
                    <a:pt x="301" y="117"/>
                  </a:lnTo>
                  <a:lnTo>
                    <a:pt x="303" y="117"/>
                  </a:lnTo>
                  <a:lnTo>
                    <a:pt x="303" y="119"/>
                  </a:lnTo>
                  <a:lnTo>
                    <a:pt x="305" y="119"/>
                  </a:lnTo>
                  <a:lnTo>
                    <a:pt x="307" y="121"/>
                  </a:lnTo>
                  <a:lnTo>
                    <a:pt x="309" y="121"/>
                  </a:lnTo>
                  <a:lnTo>
                    <a:pt x="311" y="119"/>
                  </a:lnTo>
                  <a:lnTo>
                    <a:pt x="313" y="117"/>
                  </a:lnTo>
                  <a:lnTo>
                    <a:pt x="313" y="113"/>
                  </a:lnTo>
                  <a:lnTo>
                    <a:pt x="313" y="113"/>
                  </a:lnTo>
                  <a:lnTo>
                    <a:pt x="313" y="115"/>
                  </a:lnTo>
                  <a:lnTo>
                    <a:pt x="315" y="115"/>
                  </a:lnTo>
                  <a:lnTo>
                    <a:pt x="313" y="117"/>
                  </a:lnTo>
                  <a:lnTo>
                    <a:pt x="315" y="119"/>
                  </a:lnTo>
                  <a:lnTo>
                    <a:pt x="313" y="121"/>
                  </a:lnTo>
                  <a:lnTo>
                    <a:pt x="313" y="123"/>
                  </a:lnTo>
                  <a:lnTo>
                    <a:pt x="311" y="123"/>
                  </a:lnTo>
                  <a:lnTo>
                    <a:pt x="309" y="123"/>
                  </a:lnTo>
                  <a:lnTo>
                    <a:pt x="301" y="123"/>
                  </a:lnTo>
                  <a:lnTo>
                    <a:pt x="299" y="123"/>
                  </a:lnTo>
                  <a:lnTo>
                    <a:pt x="297" y="123"/>
                  </a:lnTo>
                  <a:lnTo>
                    <a:pt x="297" y="121"/>
                  </a:lnTo>
                  <a:lnTo>
                    <a:pt x="297" y="121"/>
                  </a:lnTo>
                  <a:lnTo>
                    <a:pt x="299" y="121"/>
                  </a:lnTo>
                  <a:lnTo>
                    <a:pt x="297" y="121"/>
                  </a:lnTo>
                  <a:lnTo>
                    <a:pt x="295" y="123"/>
                  </a:lnTo>
                  <a:lnTo>
                    <a:pt x="293" y="123"/>
                  </a:lnTo>
                  <a:lnTo>
                    <a:pt x="293" y="123"/>
                  </a:lnTo>
                  <a:lnTo>
                    <a:pt x="288" y="123"/>
                  </a:lnTo>
                  <a:lnTo>
                    <a:pt x="288" y="125"/>
                  </a:lnTo>
                  <a:lnTo>
                    <a:pt x="291" y="125"/>
                  </a:lnTo>
                  <a:lnTo>
                    <a:pt x="291" y="125"/>
                  </a:lnTo>
                  <a:lnTo>
                    <a:pt x="291" y="125"/>
                  </a:lnTo>
                  <a:lnTo>
                    <a:pt x="288" y="128"/>
                  </a:lnTo>
                  <a:lnTo>
                    <a:pt x="288" y="130"/>
                  </a:lnTo>
                  <a:lnTo>
                    <a:pt x="291" y="130"/>
                  </a:lnTo>
                  <a:lnTo>
                    <a:pt x="293" y="130"/>
                  </a:lnTo>
                  <a:lnTo>
                    <a:pt x="295" y="130"/>
                  </a:lnTo>
                  <a:lnTo>
                    <a:pt x="295" y="128"/>
                  </a:lnTo>
                  <a:lnTo>
                    <a:pt x="295" y="128"/>
                  </a:lnTo>
                  <a:lnTo>
                    <a:pt x="295" y="128"/>
                  </a:lnTo>
                  <a:lnTo>
                    <a:pt x="295" y="128"/>
                  </a:lnTo>
                  <a:lnTo>
                    <a:pt x="297" y="125"/>
                  </a:lnTo>
                  <a:lnTo>
                    <a:pt x="297" y="125"/>
                  </a:lnTo>
                  <a:lnTo>
                    <a:pt x="297" y="125"/>
                  </a:lnTo>
                  <a:lnTo>
                    <a:pt x="297" y="125"/>
                  </a:lnTo>
                  <a:lnTo>
                    <a:pt x="299" y="128"/>
                  </a:lnTo>
                  <a:lnTo>
                    <a:pt x="299" y="128"/>
                  </a:lnTo>
                  <a:lnTo>
                    <a:pt x="297" y="130"/>
                  </a:lnTo>
                  <a:lnTo>
                    <a:pt x="299" y="130"/>
                  </a:lnTo>
                  <a:lnTo>
                    <a:pt x="297" y="132"/>
                  </a:lnTo>
                  <a:lnTo>
                    <a:pt x="295" y="132"/>
                  </a:lnTo>
                  <a:lnTo>
                    <a:pt x="293" y="134"/>
                  </a:lnTo>
                  <a:lnTo>
                    <a:pt x="293" y="136"/>
                  </a:lnTo>
                  <a:lnTo>
                    <a:pt x="293" y="138"/>
                  </a:lnTo>
                  <a:lnTo>
                    <a:pt x="293" y="140"/>
                  </a:lnTo>
                  <a:lnTo>
                    <a:pt x="293" y="140"/>
                  </a:lnTo>
                  <a:lnTo>
                    <a:pt x="291" y="138"/>
                  </a:lnTo>
                  <a:lnTo>
                    <a:pt x="291" y="136"/>
                  </a:lnTo>
                  <a:lnTo>
                    <a:pt x="288" y="136"/>
                  </a:lnTo>
                  <a:lnTo>
                    <a:pt x="288" y="138"/>
                  </a:lnTo>
                  <a:lnTo>
                    <a:pt x="288" y="140"/>
                  </a:lnTo>
                  <a:lnTo>
                    <a:pt x="288" y="140"/>
                  </a:lnTo>
                  <a:lnTo>
                    <a:pt x="291" y="140"/>
                  </a:lnTo>
                  <a:lnTo>
                    <a:pt x="291" y="142"/>
                  </a:lnTo>
                  <a:lnTo>
                    <a:pt x="293" y="144"/>
                  </a:lnTo>
                  <a:lnTo>
                    <a:pt x="293" y="144"/>
                  </a:lnTo>
                  <a:lnTo>
                    <a:pt x="293" y="146"/>
                  </a:lnTo>
                  <a:lnTo>
                    <a:pt x="295" y="146"/>
                  </a:lnTo>
                  <a:lnTo>
                    <a:pt x="297" y="150"/>
                  </a:lnTo>
                  <a:lnTo>
                    <a:pt x="299" y="152"/>
                  </a:lnTo>
                  <a:lnTo>
                    <a:pt x="301" y="154"/>
                  </a:lnTo>
                  <a:lnTo>
                    <a:pt x="301" y="154"/>
                  </a:lnTo>
                  <a:lnTo>
                    <a:pt x="301" y="152"/>
                  </a:lnTo>
                  <a:lnTo>
                    <a:pt x="299" y="148"/>
                  </a:lnTo>
                  <a:lnTo>
                    <a:pt x="299" y="146"/>
                  </a:lnTo>
                  <a:lnTo>
                    <a:pt x="301" y="148"/>
                  </a:lnTo>
                  <a:lnTo>
                    <a:pt x="307" y="152"/>
                  </a:lnTo>
                  <a:lnTo>
                    <a:pt x="309" y="154"/>
                  </a:lnTo>
                  <a:lnTo>
                    <a:pt x="309" y="154"/>
                  </a:lnTo>
                  <a:lnTo>
                    <a:pt x="311" y="154"/>
                  </a:lnTo>
                  <a:lnTo>
                    <a:pt x="313" y="156"/>
                  </a:lnTo>
                  <a:lnTo>
                    <a:pt x="315" y="160"/>
                  </a:lnTo>
                  <a:lnTo>
                    <a:pt x="317" y="160"/>
                  </a:lnTo>
                  <a:lnTo>
                    <a:pt x="317" y="158"/>
                  </a:lnTo>
                  <a:lnTo>
                    <a:pt x="317" y="156"/>
                  </a:lnTo>
                  <a:lnTo>
                    <a:pt x="317" y="154"/>
                  </a:lnTo>
                  <a:lnTo>
                    <a:pt x="317" y="154"/>
                  </a:lnTo>
                  <a:lnTo>
                    <a:pt x="317" y="152"/>
                  </a:lnTo>
                  <a:lnTo>
                    <a:pt x="315" y="152"/>
                  </a:lnTo>
                  <a:lnTo>
                    <a:pt x="317" y="150"/>
                  </a:lnTo>
                  <a:lnTo>
                    <a:pt x="319" y="146"/>
                  </a:lnTo>
                  <a:lnTo>
                    <a:pt x="319" y="144"/>
                  </a:lnTo>
                  <a:lnTo>
                    <a:pt x="321" y="146"/>
                  </a:lnTo>
                  <a:lnTo>
                    <a:pt x="321" y="148"/>
                  </a:lnTo>
                  <a:lnTo>
                    <a:pt x="319" y="150"/>
                  </a:lnTo>
                  <a:lnTo>
                    <a:pt x="319" y="150"/>
                  </a:lnTo>
                  <a:lnTo>
                    <a:pt x="319" y="152"/>
                  </a:lnTo>
                  <a:lnTo>
                    <a:pt x="321" y="152"/>
                  </a:lnTo>
                  <a:lnTo>
                    <a:pt x="321" y="152"/>
                  </a:lnTo>
                  <a:lnTo>
                    <a:pt x="321" y="154"/>
                  </a:lnTo>
                  <a:lnTo>
                    <a:pt x="321" y="154"/>
                  </a:lnTo>
                  <a:lnTo>
                    <a:pt x="323" y="156"/>
                  </a:lnTo>
                  <a:lnTo>
                    <a:pt x="323" y="156"/>
                  </a:lnTo>
                  <a:lnTo>
                    <a:pt x="323" y="156"/>
                  </a:lnTo>
                  <a:lnTo>
                    <a:pt x="323" y="156"/>
                  </a:lnTo>
                  <a:lnTo>
                    <a:pt x="323" y="150"/>
                  </a:lnTo>
                  <a:lnTo>
                    <a:pt x="325" y="148"/>
                  </a:lnTo>
                  <a:lnTo>
                    <a:pt x="327" y="142"/>
                  </a:lnTo>
                  <a:lnTo>
                    <a:pt x="327" y="142"/>
                  </a:lnTo>
                  <a:lnTo>
                    <a:pt x="327" y="140"/>
                  </a:lnTo>
                  <a:lnTo>
                    <a:pt x="327" y="140"/>
                  </a:lnTo>
                  <a:lnTo>
                    <a:pt x="327" y="138"/>
                  </a:lnTo>
                  <a:lnTo>
                    <a:pt x="329" y="138"/>
                  </a:lnTo>
                  <a:lnTo>
                    <a:pt x="329" y="140"/>
                  </a:lnTo>
                  <a:lnTo>
                    <a:pt x="329" y="140"/>
                  </a:lnTo>
                  <a:lnTo>
                    <a:pt x="329" y="142"/>
                  </a:lnTo>
                  <a:lnTo>
                    <a:pt x="329" y="144"/>
                  </a:lnTo>
                  <a:lnTo>
                    <a:pt x="327" y="148"/>
                  </a:lnTo>
                  <a:lnTo>
                    <a:pt x="327" y="152"/>
                  </a:lnTo>
                  <a:lnTo>
                    <a:pt x="327" y="154"/>
                  </a:lnTo>
                  <a:lnTo>
                    <a:pt x="329" y="156"/>
                  </a:lnTo>
                  <a:lnTo>
                    <a:pt x="329" y="156"/>
                  </a:lnTo>
                  <a:lnTo>
                    <a:pt x="334" y="156"/>
                  </a:lnTo>
                  <a:lnTo>
                    <a:pt x="336" y="156"/>
                  </a:lnTo>
                  <a:lnTo>
                    <a:pt x="334" y="158"/>
                  </a:lnTo>
                  <a:lnTo>
                    <a:pt x="329" y="160"/>
                  </a:lnTo>
                  <a:lnTo>
                    <a:pt x="327" y="162"/>
                  </a:lnTo>
                  <a:lnTo>
                    <a:pt x="327" y="166"/>
                  </a:lnTo>
                  <a:lnTo>
                    <a:pt x="327" y="169"/>
                  </a:lnTo>
                  <a:lnTo>
                    <a:pt x="327" y="169"/>
                  </a:lnTo>
                  <a:lnTo>
                    <a:pt x="329" y="169"/>
                  </a:lnTo>
                  <a:lnTo>
                    <a:pt x="329" y="169"/>
                  </a:lnTo>
                  <a:lnTo>
                    <a:pt x="329" y="169"/>
                  </a:lnTo>
                  <a:lnTo>
                    <a:pt x="329" y="166"/>
                  </a:lnTo>
                  <a:lnTo>
                    <a:pt x="329" y="166"/>
                  </a:lnTo>
                  <a:lnTo>
                    <a:pt x="331" y="164"/>
                  </a:lnTo>
                  <a:lnTo>
                    <a:pt x="336" y="164"/>
                  </a:lnTo>
                  <a:lnTo>
                    <a:pt x="338" y="164"/>
                  </a:lnTo>
                  <a:lnTo>
                    <a:pt x="338" y="164"/>
                  </a:lnTo>
                  <a:lnTo>
                    <a:pt x="340" y="162"/>
                  </a:lnTo>
                  <a:lnTo>
                    <a:pt x="340" y="164"/>
                  </a:lnTo>
                  <a:lnTo>
                    <a:pt x="342" y="164"/>
                  </a:lnTo>
                  <a:lnTo>
                    <a:pt x="340" y="164"/>
                  </a:lnTo>
                  <a:lnTo>
                    <a:pt x="338" y="166"/>
                  </a:lnTo>
                  <a:lnTo>
                    <a:pt x="338" y="166"/>
                  </a:lnTo>
                  <a:lnTo>
                    <a:pt x="338" y="166"/>
                  </a:lnTo>
                  <a:lnTo>
                    <a:pt x="338" y="169"/>
                  </a:lnTo>
                  <a:lnTo>
                    <a:pt x="338" y="169"/>
                  </a:lnTo>
                  <a:lnTo>
                    <a:pt x="336" y="171"/>
                  </a:lnTo>
                  <a:lnTo>
                    <a:pt x="336" y="171"/>
                  </a:lnTo>
                  <a:lnTo>
                    <a:pt x="336" y="173"/>
                  </a:lnTo>
                  <a:lnTo>
                    <a:pt x="336" y="173"/>
                  </a:lnTo>
                  <a:lnTo>
                    <a:pt x="336" y="173"/>
                  </a:lnTo>
                  <a:lnTo>
                    <a:pt x="336" y="173"/>
                  </a:lnTo>
                  <a:lnTo>
                    <a:pt x="338" y="173"/>
                  </a:lnTo>
                  <a:lnTo>
                    <a:pt x="338" y="171"/>
                  </a:lnTo>
                  <a:lnTo>
                    <a:pt x="340" y="171"/>
                  </a:lnTo>
                  <a:lnTo>
                    <a:pt x="342" y="171"/>
                  </a:lnTo>
                  <a:lnTo>
                    <a:pt x="342" y="171"/>
                  </a:lnTo>
                  <a:lnTo>
                    <a:pt x="342" y="169"/>
                  </a:lnTo>
                  <a:lnTo>
                    <a:pt x="344" y="166"/>
                  </a:lnTo>
                  <a:lnTo>
                    <a:pt x="344" y="166"/>
                  </a:lnTo>
                  <a:lnTo>
                    <a:pt x="344" y="171"/>
                  </a:lnTo>
                  <a:lnTo>
                    <a:pt x="342" y="175"/>
                  </a:lnTo>
                  <a:lnTo>
                    <a:pt x="340" y="175"/>
                  </a:lnTo>
                  <a:lnTo>
                    <a:pt x="340" y="177"/>
                  </a:lnTo>
                  <a:lnTo>
                    <a:pt x="338" y="177"/>
                  </a:lnTo>
                  <a:lnTo>
                    <a:pt x="338" y="177"/>
                  </a:lnTo>
                  <a:lnTo>
                    <a:pt x="338" y="179"/>
                  </a:lnTo>
                  <a:lnTo>
                    <a:pt x="336" y="183"/>
                  </a:lnTo>
                  <a:lnTo>
                    <a:pt x="336" y="183"/>
                  </a:lnTo>
                  <a:lnTo>
                    <a:pt x="336" y="183"/>
                  </a:lnTo>
                  <a:lnTo>
                    <a:pt x="336" y="183"/>
                  </a:lnTo>
                  <a:lnTo>
                    <a:pt x="336" y="183"/>
                  </a:lnTo>
                  <a:lnTo>
                    <a:pt x="336" y="183"/>
                  </a:lnTo>
                  <a:lnTo>
                    <a:pt x="338" y="183"/>
                  </a:lnTo>
                  <a:lnTo>
                    <a:pt x="338" y="183"/>
                  </a:lnTo>
                  <a:lnTo>
                    <a:pt x="338" y="183"/>
                  </a:lnTo>
                  <a:lnTo>
                    <a:pt x="338" y="181"/>
                  </a:lnTo>
                  <a:lnTo>
                    <a:pt x="340" y="181"/>
                  </a:lnTo>
                  <a:lnTo>
                    <a:pt x="340" y="183"/>
                  </a:lnTo>
                  <a:lnTo>
                    <a:pt x="338" y="185"/>
                  </a:lnTo>
                  <a:lnTo>
                    <a:pt x="338" y="185"/>
                  </a:lnTo>
                  <a:lnTo>
                    <a:pt x="338" y="185"/>
                  </a:lnTo>
                  <a:lnTo>
                    <a:pt x="338" y="187"/>
                  </a:lnTo>
                  <a:lnTo>
                    <a:pt x="338" y="187"/>
                  </a:lnTo>
                  <a:lnTo>
                    <a:pt x="338" y="187"/>
                  </a:lnTo>
                  <a:lnTo>
                    <a:pt x="338" y="189"/>
                  </a:lnTo>
                  <a:lnTo>
                    <a:pt x="340" y="189"/>
                  </a:lnTo>
                  <a:lnTo>
                    <a:pt x="340" y="187"/>
                  </a:lnTo>
                  <a:lnTo>
                    <a:pt x="342" y="185"/>
                  </a:lnTo>
                  <a:lnTo>
                    <a:pt x="344" y="183"/>
                  </a:lnTo>
                  <a:lnTo>
                    <a:pt x="346" y="181"/>
                  </a:lnTo>
                  <a:lnTo>
                    <a:pt x="354" y="181"/>
                  </a:lnTo>
                  <a:lnTo>
                    <a:pt x="356" y="181"/>
                  </a:lnTo>
                  <a:lnTo>
                    <a:pt x="356" y="181"/>
                  </a:lnTo>
                  <a:lnTo>
                    <a:pt x="356" y="179"/>
                  </a:lnTo>
                  <a:lnTo>
                    <a:pt x="358" y="177"/>
                  </a:lnTo>
                  <a:lnTo>
                    <a:pt x="358" y="177"/>
                  </a:lnTo>
                  <a:lnTo>
                    <a:pt x="360" y="177"/>
                  </a:lnTo>
                  <a:lnTo>
                    <a:pt x="362" y="175"/>
                  </a:lnTo>
                  <a:lnTo>
                    <a:pt x="366" y="175"/>
                  </a:lnTo>
                  <a:lnTo>
                    <a:pt x="370" y="173"/>
                  </a:lnTo>
                  <a:lnTo>
                    <a:pt x="375" y="171"/>
                  </a:lnTo>
                  <a:lnTo>
                    <a:pt x="377" y="171"/>
                  </a:lnTo>
                  <a:lnTo>
                    <a:pt x="377" y="171"/>
                  </a:lnTo>
                  <a:lnTo>
                    <a:pt x="377" y="169"/>
                  </a:lnTo>
                  <a:lnTo>
                    <a:pt x="379" y="162"/>
                  </a:lnTo>
                  <a:lnTo>
                    <a:pt x="377" y="162"/>
                  </a:lnTo>
                  <a:lnTo>
                    <a:pt x="379" y="162"/>
                  </a:lnTo>
                  <a:lnTo>
                    <a:pt x="379" y="160"/>
                  </a:lnTo>
                  <a:lnTo>
                    <a:pt x="379" y="158"/>
                  </a:lnTo>
                  <a:lnTo>
                    <a:pt x="381" y="158"/>
                  </a:lnTo>
                  <a:lnTo>
                    <a:pt x="383" y="158"/>
                  </a:lnTo>
                  <a:lnTo>
                    <a:pt x="383" y="158"/>
                  </a:lnTo>
                  <a:lnTo>
                    <a:pt x="383" y="158"/>
                  </a:lnTo>
                  <a:lnTo>
                    <a:pt x="383" y="154"/>
                  </a:lnTo>
                  <a:lnTo>
                    <a:pt x="383" y="154"/>
                  </a:lnTo>
                  <a:lnTo>
                    <a:pt x="385" y="152"/>
                  </a:lnTo>
                  <a:lnTo>
                    <a:pt x="383" y="146"/>
                  </a:lnTo>
                  <a:lnTo>
                    <a:pt x="385" y="144"/>
                  </a:lnTo>
                  <a:lnTo>
                    <a:pt x="385" y="144"/>
                  </a:lnTo>
                  <a:lnTo>
                    <a:pt x="387" y="142"/>
                  </a:lnTo>
                  <a:lnTo>
                    <a:pt x="387" y="144"/>
                  </a:lnTo>
                  <a:lnTo>
                    <a:pt x="387" y="144"/>
                  </a:lnTo>
                  <a:lnTo>
                    <a:pt x="391" y="144"/>
                  </a:lnTo>
                  <a:lnTo>
                    <a:pt x="391" y="14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48000" tIns="48000" rIns="0" bIns="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MD</a:t>
              </a:r>
            </a:p>
          </p:txBody>
        </p:sp>
        <p:sp>
          <p:nvSpPr>
            <p:cNvPr id="115" name="Freeform 36">
              <a:extLst>
                <a:ext uri="{FF2B5EF4-FFF2-40B4-BE49-F238E27FC236}">
                  <a16:creationId xmlns:a16="http://schemas.microsoft.com/office/drawing/2014/main" id="{A6F345FC-2052-53C4-DF55-4C40E7178E74}"/>
                </a:ext>
              </a:extLst>
            </p:cNvPr>
            <p:cNvSpPr>
              <a:spLocks noEditPoints="1"/>
            </p:cNvSpPr>
            <p:nvPr/>
          </p:nvSpPr>
          <p:spPr bwMode="auto">
            <a:xfrm>
              <a:off x="4877" y="506"/>
              <a:ext cx="305" cy="158"/>
            </a:xfrm>
            <a:custGeom>
              <a:avLst/>
              <a:gdLst>
                <a:gd name="T0" fmla="*/ 295 w 305"/>
                <a:gd name="T1" fmla="*/ 144 h 158"/>
                <a:gd name="T2" fmla="*/ 293 w 305"/>
                <a:gd name="T3" fmla="*/ 148 h 158"/>
                <a:gd name="T4" fmla="*/ 303 w 305"/>
                <a:gd name="T5" fmla="*/ 144 h 158"/>
                <a:gd name="T6" fmla="*/ 264 w 305"/>
                <a:gd name="T7" fmla="*/ 146 h 158"/>
                <a:gd name="T8" fmla="*/ 250 w 305"/>
                <a:gd name="T9" fmla="*/ 138 h 158"/>
                <a:gd name="T10" fmla="*/ 239 w 305"/>
                <a:gd name="T11" fmla="*/ 152 h 158"/>
                <a:gd name="T12" fmla="*/ 239 w 305"/>
                <a:gd name="T13" fmla="*/ 156 h 158"/>
                <a:gd name="T14" fmla="*/ 295 w 305"/>
                <a:gd name="T15" fmla="*/ 109 h 158"/>
                <a:gd name="T16" fmla="*/ 293 w 305"/>
                <a:gd name="T17" fmla="*/ 92 h 158"/>
                <a:gd name="T18" fmla="*/ 291 w 305"/>
                <a:gd name="T19" fmla="*/ 88 h 158"/>
                <a:gd name="T20" fmla="*/ 266 w 305"/>
                <a:gd name="T21" fmla="*/ 66 h 158"/>
                <a:gd name="T22" fmla="*/ 262 w 305"/>
                <a:gd name="T23" fmla="*/ 72 h 158"/>
                <a:gd name="T24" fmla="*/ 274 w 305"/>
                <a:gd name="T25" fmla="*/ 72 h 158"/>
                <a:gd name="T26" fmla="*/ 282 w 305"/>
                <a:gd name="T27" fmla="*/ 80 h 158"/>
                <a:gd name="T28" fmla="*/ 284 w 305"/>
                <a:gd name="T29" fmla="*/ 95 h 158"/>
                <a:gd name="T30" fmla="*/ 266 w 305"/>
                <a:gd name="T31" fmla="*/ 107 h 158"/>
                <a:gd name="T32" fmla="*/ 237 w 305"/>
                <a:gd name="T33" fmla="*/ 88 h 158"/>
                <a:gd name="T34" fmla="*/ 227 w 305"/>
                <a:gd name="T35" fmla="*/ 80 h 158"/>
                <a:gd name="T36" fmla="*/ 233 w 305"/>
                <a:gd name="T37" fmla="*/ 84 h 158"/>
                <a:gd name="T38" fmla="*/ 219 w 305"/>
                <a:gd name="T39" fmla="*/ 70 h 158"/>
                <a:gd name="T40" fmla="*/ 201 w 305"/>
                <a:gd name="T41" fmla="*/ 60 h 158"/>
                <a:gd name="T42" fmla="*/ 201 w 305"/>
                <a:gd name="T43" fmla="*/ 66 h 158"/>
                <a:gd name="T44" fmla="*/ 196 w 305"/>
                <a:gd name="T45" fmla="*/ 64 h 158"/>
                <a:gd name="T46" fmla="*/ 190 w 305"/>
                <a:gd name="T47" fmla="*/ 60 h 158"/>
                <a:gd name="T48" fmla="*/ 190 w 305"/>
                <a:gd name="T49" fmla="*/ 56 h 158"/>
                <a:gd name="T50" fmla="*/ 192 w 305"/>
                <a:gd name="T51" fmla="*/ 49 h 158"/>
                <a:gd name="T52" fmla="*/ 196 w 305"/>
                <a:gd name="T53" fmla="*/ 43 h 158"/>
                <a:gd name="T54" fmla="*/ 198 w 305"/>
                <a:gd name="T55" fmla="*/ 37 h 158"/>
                <a:gd name="T56" fmla="*/ 201 w 305"/>
                <a:gd name="T57" fmla="*/ 31 h 158"/>
                <a:gd name="T58" fmla="*/ 215 w 305"/>
                <a:gd name="T59" fmla="*/ 23 h 158"/>
                <a:gd name="T60" fmla="*/ 215 w 305"/>
                <a:gd name="T61" fmla="*/ 17 h 158"/>
                <a:gd name="T62" fmla="*/ 209 w 305"/>
                <a:gd name="T63" fmla="*/ 21 h 158"/>
                <a:gd name="T64" fmla="*/ 196 w 305"/>
                <a:gd name="T65" fmla="*/ 13 h 158"/>
                <a:gd name="T66" fmla="*/ 192 w 305"/>
                <a:gd name="T67" fmla="*/ 6 h 158"/>
                <a:gd name="T68" fmla="*/ 184 w 305"/>
                <a:gd name="T69" fmla="*/ 0 h 158"/>
                <a:gd name="T70" fmla="*/ 172 w 305"/>
                <a:gd name="T71" fmla="*/ 13 h 158"/>
                <a:gd name="T72" fmla="*/ 166 w 305"/>
                <a:gd name="T73" fmla="*/ 19 h 158"/>
                <a:gd name="T74" fmla="*/ 160 w 305"/>
                <a:gd name="T75" fmla="*/ 29 h 158"/>
                <a:gd name="T76" fmla="*/ 112 w 305"/>
                <a:gd name="T77" fmla="*/ 39 h 158"/>
                <a:gd name="T78" fmla="*/ 67 w 305"/>
                <a:gd name="T79" fmla="*/ 49 h 158"/>
                <a:gd name="T80" fmla="*/ 67 w 305"/>
                <a:gd name="T81" fmla="*/ 49 h 158"/>
                <a:gd name="T82" fmla="*/ 26 w 305"/>
                <a:gd name="T83" fmla="*/ 58 h 158"/>
                <a:gd name="T84" fmla="*/ 2 w 305"/>
                <a:gd name="T85" fmla="*/ 99 h 158"/>
                <a:gd name="T86" fmla="*/ 43 w 305"/>
                <a:gd name="T87" fmla="*/ 129 h 158"/>
                <a:gd name="T88" fmla="*/ 76 w 305"/>
                <a:gd name="T89" fmla="*/ 123 h 158"/>
                <a:gd name="T90" fmla="*/ 151 w 305"/>
                <a:gd name="T91" fmla="*/ 105 h 158"/>
                <a:gd name="T92" fmla="*/ 176 w 305"/>
                <a:gd name="T93" fmla="*/ 111 h 158"/>
                <a:gd name="T94" fmla="*/ 180 w 305"/>
                <a:gd name="T95" fmla="*/ 121 h 158"/>
                <a:gd name="T96" fmla="*/ 190 w 305"/>
                <a:gd name="T97" fmla="*/ 127 h 158"/>
                <a:gd name="T98" fmla="*/ 194 w 305"/>
                <a:gd name="T99" fmla="*/ 129 h 158"/>
                <a:gd name="T100" fmla="*/ 205 w 305"/>
                <a:gd name="T101" fmla="*/ 146 h 158"/>
                <a:gd name="T102" fmla="*/ 209 w 305"/>
                <a:gd name="T103" fmla="*/ 144 h 158"/>
                <a:gd name="T104" fmla="*/ 219 w 305"/>
                <a:gd name="T105" fmla="*/ 133 h 158"/>
                <a:gd name="T106" fmla="*/ 223 w 305"/>
                <a:gd name="T107" fmla="*/ 129 h 158"/>
                <a:gd name="T108" fmla="*/ 231 w 305"/>
                <a:gd name="T109" fmla="*/ 121 h 158"/>
                <a:gd name="T110" fmla="*/ 237 w 305"/>
                <a:gd name="T111" fmla="*/ 113 h 158"/>
                <a:gd name="T112" fmla="*/ 237 w 305"/>
                <a:gd name="T113" fmla="*/ 119 h 158"/>
                <a:gd name="T114" fmla="*/ 254 w 305"/>
                <a:gd name="T115" fmla="*/ 125 h 158"/>
                <a:gd name="T116" fmla="*/ 266 w 305"/>
                <a:gd name="T117" fmla="*/ 115 h 158"/>
                <a:gd name="T118" fmla="*/ 276 w 305"/>
                <a:gd name="T119" fmla="*/ 1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5" h="158">
                  <a:moveTo>
                    <a:pt x="303" y="144"/>
                  </a:moveTo>
                  <a:lnTo>
                    <a:pt x="299" y="140"/>
                  </a:lnTo>
                  <a:lnTo>
                    <a:pt x="297" y="136"/>
                  </a:lnTo>
                  <a:lnTo>
                    <a:pt x="297" y="136"/>
                  </a:lnTo>
                  <a:lnTo>
                    <a:pt x="295" y="133"/>
                  </a:lnTo>
                  <a:lnTo>
                    <a:pt x="295" y="133"/>
                  </a:lnTo>
                  <a:lnTo>
                    <a:pt x="295" y="133"/>
                  </a:lnTo>
                  <a:lnTo>
                    <a:pt x="295" y="138"/>
                  </a:lnTo>
                  <a:lnTo>
                    <a:pt x="295" y="140"/>
                  </a:lnTo>
                  <a:lnTo>
                    <a:pt x="295" y="144"/>
                  </a:lnTo>
                  <a:lnTo>
                    <a:pt x="295" y="144"/>
                  </a:lnTo>
                  <a:lnTo>
                    <a:pt x="297" y="140"/>
                  </a:lnTo>
                  <a:lnTo>
                    <a:pt x="299" y="140"/>
                  </a:lnTo>
                  <a:lnTo>
                    <a:pt x="299" y="142"/>
                  </a:lnTo>
                  <a:lnTo>
                    <a:pt x="297" y="142"/>
                  </a:lnTo>
                  <a:lnTo>
                    <a:pt x="297" y="144"/>
                  </a:lnTo>
                  <a:lnTo>
                    <a:pt x="295" y="146"/>
                  </a:lnTo>
                  <a:lnTo>
                    <a:pt x="295" y="146"/>
                  </a:lnTo>
                  <a:lnTo>
                    <a:pt x="295" y="146"/>
                  </a:lnTo>
                  <a:lnTo>
                    <a:pt x="293" y="148"/>
                  </a:lnTo>
                  <a:lnTo>
                    <a:pt x="293" y="146"/>
                  </a:lnTo>
                  <a:lnTo>
                    <a:pt x="291" y="146"/>
                  </a:lnTo>
                  <a:lnTo>
                    <a:pt x="289" y="148"/>
                  </a:lnTo>
                  <a:lnTo>
                    <a:pt x="282" y="150"/>
                  </a:lnTo>
                  <a:lnTo>
                    <a:pt x="282" y="150"/>
                  </a:lnTo>
                  <a:lnTo>
                    <a:pt x="293" y="152"/>
                  </a:lnTo>
                  <a:lnTo>
                    <a:pt x="297" y="150"/>
                  </a:lnTo>
                  <a:lnTo>
                    <a:pt x="301" y="150"/>
                  </a:lnTo>
                  <a:lnTo>
                    <a:pt x="305" y="146"/>
                  </a:lnTo>
                  <a:lnTo>
                    <a:pt x="303" y="144"/>
                  </a:lnTo>
                  <a:close/>
                  <a:moveTo>
                    <a:pt x="262" y="142"/>
                  </a:moveTo>
                  <a:lnTo>
                    <a:pt x="260" y="140"/>
                  </a:lnTo>
                  <a:lnTo>
                    <a:pt x="260" y="142"/>
                  </a:lnTo>
                  <a:lnTo>
                    <a:pt x="260" y="144"/>
                  </a:lnTo>
                  <a:lnTo>
                    <a:pt x="258" y="146"/>
                  </a:lnTo>
                  <a:lnTo>
                    <a:pt x="258" y="146"/>
                  </a:lnTo>
                  <a:lnTo>
                    <a:pt x="260" y="148"/>
                  </a:lnTo>
                  <a:lnTo>
                    <a:pt x="262" y="148"/>
                  </a:lnTo>
                  <a:lnTo>
                    <a:pt x="262" y="148"/>
                  </a:lnTo>
                  <a:lnTo>
                    <a:pt x="264" y="146"/>
                  </a:lnTo>
                  <a:lnTo>
                    <a:pt x="262" y="146"/>
                  </a:lnTo>
                  <a:lnTo>
                    <a:pt x="262" y="142"/>
                  </a:lnTo>
                  <a:close/>
                  <a:moveTo>
                    <a:pt x="254" y="144"/>
                  </a:moveTo>
                  <a:lnTo>
                    <a:pt x="252" y="144"/>
                  </a:lnTo>
                  <a:lnTo>
                    <a:pt x="252" y="144"/>
                  </a:lnTo>
                  <a:lnTo>
                    <a:pt x="252" y="142"/>
                  </a:lnTo>
                  <a:lnTo>
                    <a:pt x="254" y="142"/>
                  </a:lnTo>
                  <a:lnTo>
                    <a:pt x="254" y="140"/>
                  </a:lnTo>
                  <a:lnTo>
                    <a:pt x="252" y="138"/>
                  </a:lnTo>
                  <a:lnTo>
                    <a:pt x="250" y="138"/>
                  </a:lnTo>
                  <a:lnTo>
                    <a:pt x="250" y="140"/>
                  </a:lnTo>
                  <a:lnTo>
                    <a:pt x="250" y="142"/>
                  </a:lnTo>
                  <a:lnTo>
                    <a:pt x="248" y="142"/>
                  </a:lnTo>
                  <a:lnTo>
                    <a:pt x="248" y="140"/>
                  </a:lnTo>
                  <a:lnTo>
                    <a:pt x="248" y="140"/>
                  </a:lnTo>
                  <a:lnTo>
                    <a:pt x="244" y="142"/>
                  </a:lnTo>
                  <a:lnTo>
                    <a:pt x="241" y="146"/>
                  </a:lnTo>
                  <a:lnTo>
                    <a:pt x="241" y="146"/>
                  </a:lnTo>
                  <a:lnTo>
                    <a:pt x="239" y="148"/>
                  </a:lnTo>
                  <a:lnTo>
                    <a:pt x="239" y="152"/>
                  </a:lnTo>
                  <a:lnTo>
                    <a:pt x="239" y="152"/>
                  </a:lnTo>
                  <a:lnTo>
                    <a:pt x="237" y="154"/>
                  </a:lnTo>
                  <a:lnTo>
                    <a:pt x="231" y="156"/>
                  </a:lnTo>
                  <a:lnTo>
                    <a:pt x="233" y="156"/>
                  </a:lnTo>
                  <a:lnTo>
                    <a:pt x="233" y="156"/>
                  </a:lnTo>
                  <a:lnTo>
                    <a:pt x="235" y="158"/>
                  </a:lnTo>
                  <a:lnTo>
                    <a:pt x="237" y="158"/>
                  </a:lnTo>
                  <a:lnTo>
                    <a:pt x="237" y="158"/>
                  </a:lnTo>
                  <a:lnTo>
                    <a:pt x="239" y="158"/>
                  </a:lnTo>
                  <a:lnTo>
                    <a:pt x="239" y="156"/>
                  </a:lnTo>
                  <a:lnTo>
                    <a:pt x="241" y="156"/>
                  </a:lnTo>
                  <a:lnTo>
                    <a:pt x="244" y="154"/>
                  </a:lnTo>
                  <a:lnTo>
                    <a:pt x="246" y="152"/>
                  </a:lnTo>
                  <a:lnTo>
                    <a:pt x="258" y="150"/>
                  </a:lnTo>
                  <a:lnTo>
                    <a:pt x="258" y="148"/>
                  </a:lnTo>
                  <a:lnTo>
                    <a:pt x="256" y="144"/>
                  </a:lnTo>
                  <a:lnTo>
                    <a:pt x="254" y="144"/>
                  </a:lnTo>
                  <a:close/>
                  <a:moveTo>
                    <a:pt x="293" y="117"/>
                  </a:moveTo>
                  <a:lnTo>
                    <a:pt x="293" y="111"/>
                  </a:lnTo>
                  <a:lnTo>
                    <a:pt x="295" y="109"/>
                  </a:lnTo>
                  <a:lnTo>
                    <a:pt x="295" y="109"/>
                  </a:lnTo>
                  <a:lnTo>
                    <a:pt x="295" y="107"/>
                  </a:lnTo>
                  <a:lnTo>
                    <a:pt x="293" y="107"/>
                  </a:lnTo>
                  <a:lnTo>
                    <a:pt x="293" y="107"/>
                  </a:lnTo>
                  <a:lnTo>
                    <a:pt x="293" y="109"/>
                  </a:lnTo>
                  <a:lnTo>
                    <a:pt x="293" y="119"/>
                  </a:lnTo>
                  <a:lnTo>
                    <a:pt x="293" y="117"/>
                  </a:lnTo>
                  <a:close/>
                  <a:moveTo>
                    <a:pt x="295" y="105"/>
                  </a:moveTo>
                  <a:lnTo>
                    <a:pt x="293" y="97"/>
                  </a:lnTo>
                  <a:lnTo>
                    <a:pt x="293" y="92"/>
                  </a:lnTo>
                  <a:lnTo>
                    <a:pt x="291" y="90"/>
                  </a:lnTo>
                  <a:lnTo>
                    <a:pt x="289" y="90"/>
                  </a:lnTo>
                  <a:lnTo>
                    <a:pt x="289" y="92"/>
                  </a:lnTo>
                  <a:lnTo>
                    <a:pt x="289" y="90"/>
                  </a:lnTo>
                  <a:lnTo>
                    <a:pt x="287" y="88"/>
                  </a:lnTo>
                  <a:lnTo>
                    <a:pt x="287" y="86"/>
                  </a:lnTo>
                  <a:lnTo>
                    <a:pt x="289" y="86"/>
                  </a:lnTo>
                  <a:lnTo>
                    <a:pt x="291" y="88"/>
                  </a:lnTo>
                  <a:lnTo>
                    <a:pt x="291" y="88"/>
                  </a:lnTo>
                  <a:lnTo>
                    <a:pt x="291" y="88"/>
                  </a:lnTo>
                  <a:lnTo>
                    <a:pt x="291" y="86"/>
                  </a:lnTo>
                  <a:lnTo>
                    <a:pt x="291" y="86"/>
                  </a:lnTo>
                  <a:lnTo>
                    <a:pt x="289" y="84"/>
                  </a:lnTo>
                  <a:lnTo>
                    <a:pt x="282" y="74"/>
                  </a:lnTo>
                  <a:lnTo>
                    <a:pt x="280" y="72"/>
                  </a:lnTo>
                  <a:lnTo>
                    <a:pt x="274" y="68"/>
                  </a:lnTo>
                  <a:lnTo>
                    <a:pt x="272" y="68"/>
                  </a:lnTo>
                  <a:lnTo>
                    <a:pt x="268" y="66"/>
                  </a:lnTo>
                  <a:lnTo>
                    <a:pt x="266" y="66"/>
                  </a:lnTo>
                  <a:lnTo>
                    <a:pt x="266" y="66"/>
                  </a:lnTo>
                  <a:lnTo>
                    <a:pt x="262" y="68"/>
                  </a:lnTo>
                  <a:lnTo>
                    <a:pt x="260" y="68"/>
                  </a:lnTo>
                  <a:lnTo>
                    <a:pt x="260" y="68"/>
                  </a:lnTo>
                  <a:lnTo>
                    <a:pt x="260" y="68"/>
                  </a:lnTo>
                  <a:lnTo>
                    <a:pt x="260" y="70"/>
                  </a:lnTo>
                  <a:lnTo>
                    <a:pt x="260" y="70"/>
                  </a:lnTo>
                  <a:lnTo>
                    <a:pt x="260" y="70"/>
                  </a:lnTo>
                  <a:lnTo>
                    <a:pt x="260" y="70"/>
                  </a:lnTo>
                  <a:lnTo>
                    <a:pt x="260" y="70"/>
                  </a:lnTo>
                  <a:lnTo>
                    <a:pt x="262" y="72"/>
                  </a:lnTo>
                  <a:lnTo>
                    <a:pt x="264" y="74"/>
                  </a:lnTo>
                  <a:lnTo>
                    <a:pt x="264" y="74"/>
                  </a:lnTo>
                  <a:lnTo>
                    <a:pt x="266" y="72"/>
                  </a:lnTo>
                  <a:lnTo>
                    <a:pt x="266" y="72"/>
                  </a:lnTo>
                  <a:lnTo>
                    <a:pt x="266" y="72"/>
                  </a:lnTo>
                  <a:lnTo>
                    <a:pt x="264" y="72"/>
                  </a:lnTo>
                  <a:lnTo>
                    <a:pt x="266" y="70"/>
                  </a:lnTo>
                  <a:lnTo>
                    <a:pt x="268" y="68"/>
                  </a:lnTo>
                  <a:lnTo>
                    <a:pt x="272" y="70"/>
                  </a:lnTo>
                  <a:lnTo>
                    <a:pt x="274" y="72"/>
                  </a:lnTo>
                  <a:lnTo>
                    <a:pt x="274" y="74"/>
                  </a:lnTo>
                  <a:lnTo>
                    <a:pt x="276" y="78"/>
                  </a:lnTo>
                  <a:lnTo>
                    <a:pt x="276" y="80"/>
                  </a:lnTo>
                  <a:lnTo>
                    <a:pt x="278" y="84"/>
                  </a:lnTo>
                  <a:lnTo>
                    <a:pt x="278" y="82"/>
                  </a:lnTo>
                  <a:lnTo>
                    <a:pt x="278" y="80"/>
                  </a:lnTo>
                  <a:lnTo>
                    <a:pt x="278" y="78"/>
                  </a:lnTo>
                  <a:lnTo>
                    <a:pt x="280" y="78"/>
                  </a:lnTo>
                  <a:lnTo>
                    <a:pt x="280" y="80"/>
                  </a:lnTo>
                  <a:lnTo>
                    <a:pt x="282" y="80"/>
                  </a:lnTo>
                  <a:lnTo>
                    <a:pt x="284" y="80"/>
                  </a:lnTo>
                  <a:lnTo>
                    <a:pt x="284" y="80"/>
                  </a:lnTo>
                  <a:lnTo>
                    <a:pt x="282" y="82"/>
                  </a:lnTo>
                  <a:lnTo>
                    <a:pt x="282" y="82"/>
                  </a:lnTo>
                  <a:lnTo>
                    <a:pt x="282" y="82"/>
                  </a:lnTo>
                  <a:lnTo>
                    <a:pt x="284" y="84"/>
                  </a:lnTo>
                  <a:lnTo>
                    <a:pt x="284" y="86"/>
                  </a:lnTo>
                  <a:lnTo>
                    <a:pt x="287" y="90"/>
                  </a:lnTo>
                  <a:lnTo>
                    <a:pt x="284" y="95"/>
                  </a:lnTo>
                  <a:lnTo>
                    <a:pt x="284" y="95"/>
                  </a:lnTo>
                  <a:lnTo>
                    <a:pt x="280" y="97"/>
                  </a:lnTo>
                  <a:lnTo>
                    <a:pt x="278" y="99"/>
                  </a:lnTo>
                  <a:lnTo>
                    <a:pt x="272" y="103"/>
                  </a:lnTo>
                  <a:lnTo>
                    <a:pt x="270" y="105"/>
                  </a:lnTo>
                  <a:lnTo>
                    <a:pt x="266" y="107"/>
                  </a:lnTo>
                  <a:lnTo>
                    <a:pt x="264" y="109"/>
                  </a:lnTo>
                  <a:lnTo>
                    <a:pt x="262" y="109"/>
                  </a:lnTo>
                  <a:lnTo>
                    <a:pt x="262" y="107"/>
                  </a:lnTo>
                  <a:lnTo>
                    <a:pt x="262" y="107"/>
                  </a:lnTo>
                  <a:lnTo>
                    <a:pt x="266" y="107"/>
                  </a:lnTo>
                  <a:lnTo>
                    <a:pt x="266" y="105"/>
                  </a:lnTo>
                  <a:lnTo>
                    <a:pt x="256" y="107"/>
                  </a:lnTo>
                  <a:lnTo>
                    <a:pt x="254" y="107"/>
                  </a:lnTo>
                  <a:lnTo>
                    <a:pt x="248" y="105"/>
                  </a:lnTo>
                  <a:lnTo>
                    <a:pt x="244" y="103"/>
                  </a:lnTo>
                  <a:lnTo>
                    <a:pt x="244" y="101"/>
                  </a:lnTo>
                  <a:lnTo>
                    <a:pt x="244" y="97"/>
                  </a:lnTo>
                  <a:lnTo>
                    <a:pt x="241" y="92"/>
                  </a:lnTo>
                  <a:lnTo>
                    <a:pt x="239" y="90"/>
                  </a:lnTo>
                  <a:lnTo>
                    <a:pt x="237" y="88"/>
                  </a:lnTo>
                  <a:lnTo>
                    <a:pt x="233" y="90"/>
                  </a:lnTo>
                  <a:lnTo>
                    <a:pt x="233" y="90"/>
                  </a:lnTo>
                  <a:lnTo>
                    <a:pt x="231" y="90"/>
                  </a:lnTo>
                  <a:lnTo>
                    <a:pt x="225" y="86"/>
                  </a:lnTo>
                  <a:lnTo>
                    <a:pt x="225" y="86"/>
                  </a:lnTo>
                  <a:lnTo>
                    <a:pt x="227" y="84"/>
                  </a:lnTo>
                  <a:lnTo>
                    <a:pt x="227" y="84"/>
                  </a:lnTo>
                  <a:lnTo>
                    <a:pt x="227" y="86"/>
                  </a:lnTo>
                  <a:lnTo>
                    <a:pt x="227" y="80"/>
                  </a:lnTo>
                  <a:lnTo>
                    <a:pt x="227" y="80"/>
                  </a:lnTo>
                  <a:lnTo>
                    <a:pt x="229" y="80"/>
                  </a:lnTo>
                  <a:lnTo>
                    <a:pt x="229" y="80"/>
                  </a:lnTo>
                  <a:lnTo>
                    <a:pt x="231" y="84"/>
                  </a:lnTo>
                  <a:lnTo>
                    <a:pt x="231" y="84"/>
                  </a:lnTo>
                  <a:lnTo>
                    <a:pt x="231" y="84"/>
                  </a:lnTo>
                  <a:lnTo>
                    <a:pt x="229" y="84"/>
                  </a:lnTo>
                  <a:lnTo>
                    <a:pt x="231" y="84"/>
                  </a:lnTo>
                  <a:lnTo>
                    <a:pt x="231" y="84"/>
                  </a:lnTo>
                  <a:lnTo>
                    <a:pt x="233" y="84"/>
                  </a:lnTo>
                  <a:lnTo>
                    <a:pt x="233" y="84"/>
                  </a:lnTo>
                  <a:lnTo>
                    <a:pt x="233" y="82"/>
                  </a:lnTo>
                  <a:lnTo>
                    <a:pt x="233" y="82"/>
                  </a:lnTo>
                  <a:lnTo>
                    <a:pt x="233" y="82"/>
                  </a:lnTo>
                  <a:lnTo>
                    <a:pt x="229" y="80"/>
                  </a:lnTo>
                  <a:lnTo>
                    <a:pt x="229" y="78"/>
                  </a:lnTo>
                  <a:lnTo>
                    <a:pt x="229" y="76"/>
                  </a:lnTo>
                  <a:lnTo>
                    <a:pt x="225" y="76"/>
                  </a:lnTo>
                  <a:lnTo>
                    <a:pt x="223" y="72"/>
                  </a:lnTo>
                  <a:lnTo>
                    <a:pt x="221" y="70"/>
                  </a:lnTo>
                  <a:lnTo>
                    <a:pt x="219" y="70"/>
                  </a:lnTo>
                  <a:lnTo>
                    <a:pt x="219" y="70"/>
                  </a:lnTo>
                  <a:lnTo>
                    <a:pt x="219" y="70"/>
                  </a:lnTo>
                  <a:lnTo>
                    <a:pt x="219" y="66"/>
                  </a:lnTo>
                  <a:lnTo>
                    <a:pt x="219" y="66"/>
                  </a:lnTo>
                  <a:lnTo>
                    <a:pt x="215" y="64"/>
                  </a:lnTo>
                  <a:lnTo>
                    <a:pt x="213" y="64"/>
                  </a:lnTo>
                  <a:lnTo>
                    <a:pt x="211" y="62"/>
                  </a:lnTo>
                  <a:lnTo>
                    <a:pt x="207" y="62"/>
                  </a:lnTo>
                  <a:lnTo>
                    <a:pt x="205" y="62"/>
                  </a:lnTo>
                  <a:lnTo>
                    <a:pt x="201" y="60"/>
                  </a:lnTo>
                  <a:lnTo>
                    <a:pt x="201" y="60"/>
                  </a:lnTo>
                  <a:lnTo>
                    <a:pt x="203" y="62"/>
                  </a:lnTo>
                  <a:lnTo>
                    <a:pt x="203" y="62"/>
                  </a:lnTo>
                  <a:lnTo>
                    <a:pt x="205" y="64"/>
                  </a:lnTo>
                  <a:lnTo>
                    <a:pt x="205" y="64"/>
                  </a:lnTo>
                  <a:lnTo>
                    <a:pt x="205" y="66"/>
                  </a:lnTo>
                  <a:lnTo>
                    <a:pt x="205" y="66"/>
                  </a:lnTo>
                  <a:lnTo>
                    <a:pt x="203" y="64"/>
                  </a:lnTo>
                  <a:lnTo>
                    <a:pt x="203" y="66"/>
                  </a:lnTo>
                  <a:lnTo>
                    <a:pt x="201" y="66"/>
                  </a:lnTo>
                  <a:lnTo>
                    <a:pt x="201" y="68"/>
                  </a:lnTo>
                  <a:lnTo>
                    <a:pt x="198" y="68"/>
                  </a:lnTo>
                  <a:lnTo>
                    <a:pt x="198" y="68"/>
                  </a:lnTo>
                  <a:lnTo>
                    <a:pt x="198" y="68"/>
                  </a:lnTo>
                  <a:lnTo>
                    <a:pt x="198" y="68"/>
                  </a:lnTo>
                  <a:lnTo>
                    <a:pt x="198" y="68"/>
                  </a:lnTo>
                  <a:lnTo>
                    <a:pt x="196" y="68"/>
                  </a:lnTo>
                  <a:lnTo>
                    <a:pt x="198" y="66"/>
                  </a:lnTo>
                  <a:lnTo>
                    <a:pt x="198" y="66"/>
                  </a:lnTo>
                  <a:lnTo>
                    <a:pt x="196" y="64"/>
                  </a:lnTo>
                  <a:lnTo>
                    <a:pt x="194" y="64"/>
                  </a:lnTo>
                  <a:lnTo>
                    <a:pt x="194" y="64"/>
                  </a:lnTo>
                  <a:lnTo>
                    <a:pt x="194" y="62"/>
                  </a:lnTo>
                  <a:lnTo>
                    <a:pt x="192" y="64"/>
                  </a:lnTo>
                  <a:lnTo>
                    <a:pt x="192" y="64"/>
                  </a:lnTo>
                  <a:lnTo>
                    <a:pt x="190" y="64"/>
                  </a:lnTo>
                  <a:lnTo>
                    <a:pt x="188" y="62"/>
                  </a:lnTo>
                  <a:lnTo>
                    <a:pt x="188" y="60"/>
                  </a:lnTo>
                  <a:lnTo>
                    <a:pt x="190" y="60"/>
                  </a:lnTo>
                  <a:lnTo>
                    <a:pt x="190" y="60"/>
                  </a:lnTo>
                  <a:lnTo>
                    <a:pt x="190" y="58"/>
                  </a:lnTo>
                  <a:lnTo>
                    <a:pt x="190" y="58"/>
                  </a:lnTo>
                  <a:lnTo>
                    <a:pt x="188" y="58"/>
                  </a:lnTo>
                  <a:lnTo>
                    <a:pt x="188" y="58"/>
                  </a:lnTo>
                  <a:lnTo>
                    <a:pt x="188" y="56"/>
                  </a:lnTo>
                  <a:lnTo>
                    <a:pt x="190" y="56"/>
                  </a:lnTo>
                  <a:lnTo>
                    <a:pt x="192" y="58"/>
                  </a:lnTo>
                  <a:lnTo>
                    <a:pt x="192" y="56"/>
                  </a:lnTo>
                  <a:lnTo>
                    <a:pt x="192" y="56"/>
                  </a:lnTo>
                  <a:lnTo>
                    <a:pt x="190" y="56"/>
                  </a:lnTo>
                  <a:lnTo>
                    <a:pt x="190" y="56"/>
                  </a:lnTo>
                  <a:lnTo>
                    <a:pt x="192" y="56"/>
                  </a:lnTo>
                  <a:lnTo>
                    <a:pt x="192" y="56"/>
                  </a:lnTo>
                  <a:lnTo>
                    <a:pt x="194" y="56"/>
                  </a:lnTo>
                  <a:lnTo>
                    <a:pt x="196" y="56"/>
                  </a:lnTo>
                  <a:lnTo>
                    <a:pt x="194" y="56"/>
                  </a:lnTo>
                  <a:lnTo>
                    <a:pt x="194" y="54"/>
                  </a:lnTo>
                  <a:lnTo>
                    <a:pt x="192" y="51"/>
                  </a:lnTo>
                  <a:lnTo>
                    <a:pt x="192" y="49"/>
                  </a:lnTo>
                  <a:lnTo>
                    <a:pt x="192" y="49"/>
                  </a:lnTo>
                  <a:lnTo>
                    <a:pt x="192" y="47"/>
                  </a:lnTo>
                  <a:lnTo>
                    <a:pt x="194" y="47"/>
                  </a:lnTo>
                  <a:lnTo>
                    <a:pt x="196" y="49"/>
                  </a:lnTo>
                  <a:lnTo>
                    <a:pt x="198" y="47"/>
                  </a:lnTo>
                  <a:lnTo>
                    <a:pt x="196" y="47"/>
                  </a:lnTo>
                  <a:lnTo>
                    <a:pt x="196" y="47"/>
                  </a:lnTo>
                  <a:lnTo>
                    <a:pt x="194" y="45"/>
                  </a:lnTo>
                  <a:lnTo>
                    <a:pt x="194" y="45"/>
                  </a:lnTo>
                  <a:lnTo>
                    <a:pt x="196" y="43"/>
                  </a:lnTo>
                  <a:lnTo>
                    <a:pt x="196" y="43"/>
                  </a:lnTo>
                  <a:lnTo>
                    <a:pt x="196" y="43"/>
                  </a:lnTo>
                  <a:lnTo>
                    <a:pt x="198" y="43"/>
                  </a:lnTo>
                  <a:lnTo>
                    <a:pt x="198" y="41"/>
                  </a:lnTo>
                  <a:lnTo>
                    <a:pt x="198" y="41"/>
                  </a:lnTo>
                  <a:lnTo>
                    <a:pt x="201" y="39"/>
                  </a:lnTo>
                  <a:lnTo>
                    <a:pt x="201" y="39"/>
                  </a:lnTo>
                  <a:lnTo>
                    <a:pt x="201" y="39"/>
                  </a:lnTo>
                  <a:lnTo>
                    <a:pt x="201" y="39"/>
                  </a:lnTo>
                  <a:lnTo>
                    <a:pt x="198" y="37"/>
                  </a:lnTo>
                  <a:lnTo>
                    <a:pt x="198" y="37"/>
                  </a:lnTo>
                  <a:lnTo>
                    <a:pt x="198" y="37"/>
                  </a:lnTo>
                  <a:lnTo>
                    <a:pt x="196" y="39"/>
                  </a:lnTo>
                  <a:lnTo>
                    <a:pt x="196" y="39"/>
                  </a:lnTo>
                  <a:lnTo>
                    <a:pt x="196" y="39"/>
                  </a:lnTo>
                  <a:lnTo>
                    <a:pt x="196" y="37"/>
                  </a:lnTo>
                  <a:lnTo>
                    <a:pt x="196" y="37"/>
                  </a:lnTo>
                  <a:lnTo>
                    <a:pt x="196" y="37"/>
                  </a:lnTo>
                  <a:lnTo>
                    <a:pt x="196" y="35"/>
                  </a:lnTo>
                  <a:lnTo>
                    <a:pt x="198" y="35"/>
                  </a:lnTo>
                  <a:lnTo>
                    <a:pt x="201" y="31"/>
                  </a:lnTo>
                  <a:lnTo>
                    <a:pt x="209" y="27"/>
                  </a:lnTo>
                  <a:lnTo>
                    <a:pt x="211" y="27"/>
                  </a:lnTo>
                  <a:lnTo>
                    <a:pt x="211" y="25"/>
                  </a:lnTo>
                  <a:lnTo>
                    <a:pt x="211" y="25"/>
                  </a:lnTo>
                  <a:lnTo>
                    <a:pt x="211" y="23"/>
                  </a:lnTo>
                  <a:lnTo>
                    <a:pt x="213" y="23"/>
                  </a:lnTo>
                  <a:lnTo>
                    <a:pt x="213" y="25"/>
                  </a:lnTo>
                  <a:lnTo>
                    <a:pt x="213" y="25"/>
                  </a:lnTo>
                  <a:lnTo>
                    <a:pt x="215" y="25"/>
                  </a:lnTo>
                  <a:lnTo>
                    <a:pt x="215" y="23"/>
                  </a:lnTo>
                  <a:lnTo>
                    <a:pt x="215" y="23"/>
                  </a:lnTo>
                  <a:lnTo>
                    <a:pt x="215" y="23"/>
                  </a:lnTo>
                  <a:lnTo>
                    <a:pt x="215" y="21"/>
                  </a:lnTo>
                  <a:lnTo>
                    <a:pt x="217" y="21"/>
                  </a:lnTo>
                  <a:lnTo>
                    <a:pt x="217" y="21"/>
                  </a:lnTo>
                  <a:lnTo>
                    <a:pt x="217" y="19"/>
                  </a:lnTo>
                  <a:lnTo>
                    <a:pt x="217" y="19"/>
                  </a:lnTo>
                  <a:lnTo>
                    <a:pt x="217" y="17"/>
                  </a:lnTo>
                  <a:lnTo>
                    <a:pt x="217" y="17"/>
                  </a:lnTo>
                  <a:lnTo>
                    <a:pt x="215" y="17"/>
                  </a:lnTo>
                  <a:lnTo>
                    <a:pt x="215" y="17"/>
                  </a:lnTo>
                  <a:lnTo>
                    <a:pt x="213" y="17"/>
                  </a:lnTo>
                  <a:lnTo>
                    <a:pt x="213" y="17"/>
                  </a:lnTo>
                  <a:lnTo>
                    <a:pt x="213" y="15"/>
                  </a:lnTo>
                  <a:lnTo>
                    <a:pt x="211" y="17"/>
                  </a:lnTo>
                  <a:lnTo>
                    <a:pt x="211" y="17"/>
                  </a:lnTo>
                  <a:lnTo>
                    <a:pt x="209" y="19"/>
                  </a:lnTo>
                  <a:lnTo>
                    <a:pt x="211" y="21"/>
                  </a:lnTo>
                  <a:lnTo>
                    <a:pt x="211" y="23"/>
                  </a:lnTo>
                  <a:lnTo>
                    <a:pt x="209" y="21"/>
                  </a:lnTo>
                  <a:lnTo>
                    <a:pt x="209" y="21"/>
                  </a:lnTo>
                  <a:lnTo>
                    <a:pt x="205" y="21"/>
                  </a:lnTo>
                  <a:lnTo>
                    <a:pt x="203" y="19"/>
                  </a:lnTo>
                  <a:lnTo>
                    <a:pt x="203" y="19"/>
                  </a:lnTo>
                  <a:lnTo>
                    <a:pt x="203" y="19"/>
                  </a:lnTo>
                  <a:lnTo>
                    <a:pt x="205" y="19"/>
                  </a:lnTo>
                  <a:lnTo>
                    <a:pt x="198" y="17"/>
                  </a:lnTo>
                  <a:lnTo>
                    <a:pt x="196" y="17"/>
                  </a:lnTo>
                  <a:lnTo>
                    <a:pt x="196" y="13"/>
                  </a:lnTo>
                  <a:lnTo>
                    <a:pt x="196" y="13"/>
                  </a:lnTo>
                  <a:lnTo>
                    <a:pt x="201" y="17"/>
                  </a:lnTo>
                  <a:lnTo>
                    <a:pt x="201" y="15"/>
                  </a:lnTo>
                  <a:lnTo>
                    <a:pt x="196" y="8"/>
                  </a:lnTo>
                  <a:lnTo>
                    <a:pt x="196" y="8"/>
                  </a:lnTo>
                  <a:lnTo>
                    <a:pt x="194" y="8"/>
                  </a:lnTo>
                  <a:lnTo>
                    <a:pt x="194" y="6"/>
                  </a:lnTo>
                  <a:lnTo>
                    <a:pt x="194" y="6"/>
                  </a:lnTo>
                  <a:lnTo>
                    <a:pt x="194" y="8"/>
                  </a:lnTo>
                  <a:lnTo>
                    <a:pt x="194" y="8"/>
                  </a:lnTo>
                  <a:lnTo>
                    <a:pt x="192" y="6"/>
                  </a:lnTo>
                  <a:lnTo>
                    <a:pt x="190" y="6"/>
                  </a:lnTo>
                  <a:lnTo>
                    <a:pt x="190" y="6"/>
                  </a:lnTo>
                  <a:lnTo>
                    <a:pt x="192" y="6"/>
                  </a:lnTo>
                  <a:lnTo>
                    <a:pt x="194" y="4"/>
                  </a:lnTo>
                  <a:lnTo>
                    <a:pt x="194" y="4"/>
                  </a:lnTo>
                  <a:lnTo>
                    <a:pt x="192" y="0"/>
                  </a:lnTo>
                  <a:lnTo>
                    <a:pt x="192" y="0"/>
                  </a:lnTo>
                  <a:lnTo>
                    <a:pt x="190" y="2"/>
                  </a:lnTo>
                  <a:lnTo>
                    <a:pt x="188" y="2"/>
                  </a:lnTo>
                  <a:lnTo>
                    <a:pt x="184" y="0"/>
                  </a:lnTo>
                  <a:lnTo>
                    <a:pt x="184" y="0"/>
                  </a:lnTo>
                  <a:lnTo>
                    <a:pt x="184" y="2"/>
                  </a:lnTo>
                  <a:lnTo>
                    <a:pt x="176" y="6"/>
                  </a:lnTo>
                  <a:lnTo>
                    <a:pt x="176" y="8"/>
                  </a:lnTo>
                  <a:lnTo>
                    <a:pt x="176" y="8"/>
                  </a:lnTo>
                  <a:lnTo>
                    <a:pt x="174" y="11"/>
                  </a:lnTo>
                  <a:lnTo>
                    <a:pt x="174" y="11"/>
                  </a:lnTo>
                  <a:lnTo>
                    <a:pt x="174" y="11"/>
                  </a:lnTo>
                  <a:lnTo>
                    <a:pt x="172" y="13"/>
                  </a:lnTo>
                  <a:lnTo>
                    <a:pt x="172" y="13"/>
                  </a:lnTo>
                  <a:lnTo>
                    <a:pt x="172" y="13"/>
                  </a:lnTo>
                  <a:lnTo>
                    <a:pt x="170" y="13"/>
                  </a:lnTo>
                  <a:lnTo>
                    <a:pt x="170" y="13"/>
                  </a:lnTo>
                  <a:lnTo>
                    <a:pt x="168" y="13"/>
                  </a:lnTo>
                  <a:lnTo>
                    <a:pt x="168" y="13"/>
                  </a:lnTo>
                  <a:lnTo>
                    <a:pt x="168" y="15"/>
                  </a:lnTo>
                  <a:lnTo>
                    <a:pt x="168" y="15"/>
                  </a:lnTo>
                  <a:lnTo>
                    <a:pt x="168" y="15"/>
                  </a:lnTo>
                  <a:lnTo>
                    <a:pt x="166" y="17"/>
                  </a:lnTo>
                  <a:lnTo>
                    <a:pt x="166" y="19"/>
                  </a:lnTo>
                  <a:lnTo>
                    <a:pt x="166" y="19"/>
                  </a:lnTo>
                  <a:lnTo>
                    <a:pt x="166" y="21"/>
                  </a:lnTo>
                  <a:lnTo>
                    <a:pt x="166" y="21"/>
                  </a:lnTo>
                  <a:lnTo>
                    <a:pt x="164" y="23"/>
                  </a:lnTo>
                  <a:lnTo>
                    <a:pt x="164" y="23"/>
                  </a:lnTo>
                  <a:lnTo>
                    <a:pt x="162" y="23"/>
                  </a:lnTo>
                  <a:lnTo>
                    <a:pt x="162" y="25"/>
                  </a:lnTo>
                  <a:lnTo>
                    <a:pt x="162" y="27"/>
                  </a:lnTo>
                  <a:lnTo>
                    <a:pt x="160" y="27"/>
                  </a:lnTo>
                  <a:lnTo>
                    <a:pt x="160" y="29"/>
                  </a:lnTo>
                  <a:lnTo>
                    <a:pt x="158" y="29"/>
                  </a:lnTo>
                  <a:lnTo>
                    <a:pt x="158" y="29"/>
                  </a:lnTo>
                  <a:lnTo>
                    <a:pt x="151" y="31"/>
                  </a:lnTo>
                  <a:lnTo>
                    <a:pt x="145" y="31"/>
                  </a:lnTo>
                  <a:lnTo>
                    <a:pt x="139" y="33"/>
                  </a:lnTo>
                  <a:lnTo>
                    <a:pt x="135" y="33"/>
                  </a:lnTo>
                  <a:lnTo>
                    <a:pt x="129" y="35"/>
                  </a:lnTo>
                  <a:lnTo>
                    <a:pt x="123" y="37"/>
                  </a:lnTo>
                  <a:lnTo>
                    <a:pt x="117" y="37"/>
                  </a:lnTo>
                  <a:lnTo>
                    <a:pt x="112" y="39"/>
                  </a:lnTo>
                  <a:lnTo>
                    <a:pt x="106" y="41"/>
                  </a:lnTo>
                  <a:lnTo>
                    <a:pt x="94" y="43"/>
                  </a:lnTo>
                  <a:lnTo>
                    <a:pt x="90" y="43"/>
                  </a:lnTo>
                  <a:lnTo>
                    <a:pt x="84" y="45"/>
                  </a:lnTo>
                  <a:lnTo>
                    <a:pt x="78" y="47"/>
                  </a:lnTo>
                  <a:lnTo>
                    <a:pt x="71" y="47"/>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3" y="49"/>
                  </a:lnTo>
                  <a:lnTo>
                    <a:pt x="59" y="51"/>
                  </a:lnTo>
                  <a:lnTo>
                    <a:pt x="55" y="51"/>
                  </a:lnTo>
                  <a:lnTo>
                    <a:pt x="51" y="54"/>
                  </a:lnTo>
                  <a:lnTo>
                    <a:pt x="47" y="54"/>
                  </a:lnTo>
                  <a:lnTo>
                    <a:pt x="43" y="54"/>
                  </a:lnTo>
                  <a:lnTo>
                    <a:pt x="39" y="56"/>
                  </a:lnTo>
                  <a:lnTo>
                    <a:pt x="35" y="56"/>
                  </a:lnTo>
                  <a:lnTo>
                    <a:pt x="31" y="56"/>
                  </a:lnTo>
                  <a:lnTo>
                    <a:pt x="26" y="58"/>
                  </a:lnTo>
                  <a:lnTo>
                    <a:pt x="24" y="58"/>
                  </a:lnTo>
                  <a:lnTo>
                    <a:pt x="20" y="60"/>
                  </a:lnTo>
                  <a:lnTo>
                    <a:pt x="16" y="60"/>
                  </a:lnTo>
                  <a:lnTo>
                    <a:pt x="4" y="62"/>
                  </a:lnTo>
                  <a:lnTo>
                    <a:pt x="4" y="64"/>
                  </a:lnTo>
                  <a:lnTo>
                    <a:pt x="4" y="68"/>
                  </a:lnTo>
                  <a:lnTo>
                    <a:pt x="2" y="74"/>
                  </a:lnTo>
                  <a:lnTo>
                    <a:pt x="2" y="82"/>
                  </a:lnTo>
                  <a:lnTo>
                    <a:pt x="2" y="90"/>
                  </a:lnTo>
                  <a:lnTo>
                    <a:pt x="2" y="99"/>
                  </a:lnTo>
                  <a:lnTo>
                    <a:pt x="2" y="107"/>
                  </a:lnTo>
                  <a:lnTo>
                    <a:pt x="2" y="123"/>
                  </a:lnTo>
                  <a:lnTo>
                    <a:pt x="2" y="131"/>
                  </a:lnTo>
                  <a:lnTo>
                    <a:pt x="0" y="133"/>
                  </a:lnTo>
                  <a:lnTo>
                    <a:pt x="0" y="136"/>
                  </a:lnTo>
                  <a:lnTo>
                    <a:pt x="4" y="138"/>
                  </a:lnTo>
                  <a:lnTo>
                    <a:pt x="14" y="136"/>
                  </a:lnTo>
                  <a:lnTo>
                    <a:pt x="22" y="133"/>
                  </a:lnTo>
                  <a:lnTo>
                    <a:pt x="33" y="131"/>
                  </a:lnTo>
                  <a:lnTo>
                    <a:pt x="43" y="129"/>
                  </a:lnTo>
                  <a:lnTo>
                    <a:pt x="49" y="129"/>
                  </a:lnTo>
                  <a:lnTo>
                    <a:pt x="53" y="127"/>
                  </a:lnTo>
                  <a:lnTo>
                    <a:pt x="57" y="127"/>
                  </a:lnTo>
                  <a:lnTo>
                    <a:pt x="59" y="129"/>
                  </a:lnTo>
                  <a:lnTo>
                    <a:pt x="61" y="129"/>
                  </a:lnTo>
                  <a:lnTo>
                    <a:pt x="61" y="127"/>
                  </a:lnTo>
                  <a:lnTo>
                    <a:pt x="71" y="123"/>
                  </a:lnTo>
                  <a:lnTo>
                    <a:pt x="74" y="123"/>
                  </a:lnTo>
                  <a:lnTo>
                    <a:pt x="76" y="123"/>
                  </a:lnTo>
                  <a:lnTo>
                    <a:pt x="76" y="123"/>
                  </a:lnTo>
                  <a:lnTo>
                    <a:pt x="78" y="123"/>
                  </a:lnTo>
                  <a:lnTo>
                    <a:pt x="82" y="121"/>
                  </a:lnTo>
                  <a:lnTo>
                    <a:pt x="94" y="119"/>
                  </a:lnTo>
                  <a:lnTo>
                    <a:pt x="104" y="115"/>
                  </a:lnTo>
                  <a:lnTo>
                    <a:pt x="117" y="113"/>
                  </a:lnTo>
                  <a:lnTo>
                    <a:pt x="129" y="111"/>
                  </a:lnTo>
                  <a:lnTo>
                    <a:pt x="137" y="109"/>
                  </a:lnTo>
                  <a:lnTo>
                    <a:pt x="137" y="109"/>
                  </a:lnTo>
                  <a:lnTo>
                    <a:pt x="145" y="107"/>
                  </a:lnTo>
                  <a:lnTo>
                    <a:pt x="151" y="105"/>
                  </a:lnTo>
                  <a:lnTo>
                    <a:pt x="160" y="103"/>
                  </a:lnTo>
                  <a:lnTo>
                    <a:pt x="166" y="101"/>
                  </a:lnTo>
                  <a:lnTo>
                    <a:pt x="170" y="101"/>
                  </a:lnTo>
                  <a:lnTo>
                    <a:pt x="172" y="101"/>
                  </a:lnTo>
                  <a:lnTo>
                    <a:pt x="172" y="105"/>
                  </a:lnTo>
                  <a:lnTo>
                    <a:pt x="174" y="111"/>
                  </a:lnTo>
                  <a:lnTo>
                    <a:pt x="174" y="111"/>
                  </a:lnTo>
                  <a:lnTo>
                    <a:pt x="174" y="113"/>
                  </a:lnTo>
                  <a:lnTo>
                    <a:pt x="176" y="113"/>
                  </a:lnTo>
                  <a:lnTo>
                    <a:pt x="176" y="111"/>
                  </a:lnTo>
                  <a:lnTo>
                    <a:pt x="178" y="111"/>
                  </a:lnTo>
                  <a:lnTo>
                    <a:pt x="178" y="113"/>
                  </a:lnTo>
                  <a:lnTo>
                    <a:pt x="178" y="113"/>
                  </a:lnTo>
                  <a:lnTo>
                    <a:pt x="178" y="113"/>
                  </a:lnTo>
                  <a:lnTo>
                    <a:pt x="178" y="115"/>
                  </a:lnTo>
                  <a:lnTo>
                    <a:pt x="178" y="115"/>
                  </a:lnTo>
                  <a:lnTo>
                    <a:pt x="178" y="115"/>
                  </a:lnTo>
                  <a:lnTo>
                    <a:pt x="180" y="117"/>
                  </a:lnTo>
                  <a:lnTo>
                    <a:pt x="180" y="121"/>
                  </a:lnTo>
                  <a:lnTo>
                    <a:pt x="180" y="121"/>
                  </a:lnTo>
                  <a:lnTo>
                    <a:pt x="180" y="121"/>
                  </a:lnTo>
                  <a:lnTo>
                    <a:pt x="180" y="123"/>
                  </a:lnTo>
                  <a:lnTo>
                    <a:pt x="182" y="123"/>
                  </a:lnTo>
                  <a:lnTo>
                    <a:pt x="184" y="123"/>
                  </a:lnTo>
                  <a:lnTo>
                    <a:pt x="184" y="123"/>
                  </a:lnTo>
                  <a:lnTo>
                    <a:pt x="186" y="123"/>
                  </a:lnTo>
                  <a:lnTo>
                    <a:pt x="188" y="125"/>
                  </a:lnTo>
                  <a:lnTo>
                    <a:pt x="190" y="129"/>
                  </a:lnTo>
                  <a:lnTo>
                    <a:pt x="190" y="127"/>
                  </a:lnTo>
                  <a:lnTo>
                    <a:pt x="190" y="127"/>
                  </a:lnTo>
                  <a:lnTo>
                    <a:pt x="192" y="125"/>
                  </a:lnTo>
                  <a:lnTo>
                    <a:pt x="192" y="125"/>
                  </a:lnTo>
                  <a:lnTo>
                    <a:pt x="194" y="125"/>
                  </a:lnTo>
                  <a:lnTo>
                    <a:pt x="194" y="125"/>
                  </a:lnTo>
                  <a:lnTo>
                    <a:pt x="196" y="125"/>
                  </a:lnTo>
                  <a:lnTo>
                    <a:pt x="196" y="119"/>
                  </a:lnTo>
                  <a:lnTo>
                    <a:pt x="196" y="117"/>
                  </a:lnTo>
                  <a:lnTo>
                    <a:pt x="198" y="117"/>
                  </a:lnTo>
                  <a:lnTo>
                    <a:pt x="198" y="121"/>
                  </a:lnTo>
                  <a:lnTo>
                    <a:pt x="194" y="129"/>
                  </a:lnTo>
                  <a:lnTo>
                    <a:pt x="194" y="133"/>
                  </a:lnTo>
                  <a:lnTo>
                    <a:pt x="194" y="136"/>
                  </a:lnTo>
                  <a:lnTo>
                    <a:pt x="196" y="140"/>
                  </a:lnTo>
                  <a:lnTo>
                    <a:pt x="196" y="144"/>
                  </a:lnTo>
                  <a:lnTo>
                    <a:pt x="198" y="148"/>
                  </a:lnTo>
                  <a:lnTo>
                    <a:pt x="198" y="148"/>
                  </a:lnTo>
                  <a:lnTo>
                    <a:pt x="198" y="150"/>
                  </a:lnTo>
                  <a:lnTo>
                    <a:pt x="201" y="150"/>
                  </a:lnTo>
                  <a:lnTo>
                    <a:pt x="201" y="152"/>
                  </a:lnTo>
                  <a:lnTo>
                    <a:pt x="205" y="146"/>
                  </a:lnTo>
                  <a:lnTo>
                    <a:pt x="207" y="144"/>
                  </a:lnTo>
                  <a:lnTo>
                    <a:pt x="207" y="144"/>
                  </a:lnTo>
                  <a:lnTo>
                    <a:pt x="205" y="144"/>
                  </a:lnTo>
                  <a:lnTo>
                    <a:pt x="209" y="142"/>
                  </a:lnTo>
                  <a:lnTo>
                    <a:pt x="209" y="142"/>
                  </a:lnTo>
                  <a:lnTo>
                    <a:pt x="209" y="140"/>
                  </a:lnTo>
                  <a:lnTo>
                    <a:pt x="211" y="140"/>
                  </a:lnTo>
                  <a:lnTo>
                    <a:pt x="211" y="142"/>
                  </a:lnTo>
                  <a:lnTo>
                    <a:pt x="211" y="144"/>
                  </a:lnTo>
                  <a:lnTo>
                    <a:pt x="209" y="144"/>
                  </a:lnTo>
                  <a:lnTo>
                    <a:pt x="213" y="146"/>
                  </a:lnTo>
                  <a:lnTo>
                    <a:pt x="215" y="144"/>
                  </a:lnTo>
                  <a:lnTo>
                    <a:pt x="217" y="140"/>
                  </a:lnTo>
                  <a:lnTo>
                    <a:pt x="217" y="142"/>
                  </a:lnTo>
                  <a:lnTo>
                    <a:pt x="217" y="142"/>
                  </a:lnTo>
                  <a:lnTo>
                    <a:pt x="217" y="142"/>
                  </a:lnTo>
                  <a:lnTo>
                    <a:pt x="219" y="140"/>
                  </a:lnTo>
                  <a:lnTo>
                    <a:pt x="219" y="138"/>
                  </a:lnTo>
                  <a:lnTo>
                    <a:pt x="219" y="136"/>
                  </a:lnTo>
                  <a:lnTo>
                    <a:pt x="219" y="133"/>
                  </a:lnTo>
                  <a:lnTo>
                    <a:pt x="219" y="131"/>
                  </a:lnTo>
                  <a:lnTo>
                    <a:pt x="219" y="129"/>
                  </a:lnTo>
                  <a:lnTo>
                    <a:pt x="221" y="129"/>
                  </a:lnTo>
                  <a:lnTo>
                    <a:pt x="221" y="129"/>
                  </a:lnTo>
                  <a:lnTo>
                    <a:pt x="223" y="129"/>
                  </a:lnTo>
                  <a:lnTo>
                    <a:pt x="223" y="131"/>
                  </a:lnTo>
                  <a:lnTo>
                    <a:pt x="225" y="131"/>
                  </a:lnTo>
                  <a:lnTo>
                    <a:pt x="225" y="131"/>
                  </a:lnTo>
                  <a:lnTo>
                    <a:pt x="225" y="131"/>
                  </a:lnTo>
                  <a:lnTo>
                    <a:pt x="223" y="129"/>
                  </a:lnTo>
                  <a:lnTo>
                    <a:pt x="225" y="127"/>
                  </a:lnTo>
                  <a:lnTo>
                    <a:pt x="225" y="127"/>
                  </a:lnTo>
                  <a:lnTo>
                    <a:pt x="227" y="125"/>
                  </a:lnTo>
                  <a:lnTo>
                    <a:pt x="227" y="125"/>
                  </a:lnTo>
                  <a:lnTo>
                    <a:pt x="227" y="125"/>
                  </a:lnTo>
                  <a:lnTo>
                    <a:pt x="227" y="125"/>
                  </a:lnTo>
                  <a:lnTo>
                    <a:pt x="227" y="123"/>
                  </a:lnTo>
                  <a:lnTo>
                    <a:pt x="229" y="125"/>
                  </a:lnTo>
                  <a:lnTo>
                    <a:pt x="231" y="123"/>
                  </a:lnTo>
                  <a:lnTo>
                    <a:pt x="231" y="121"/>
                  </a:lnTo>
                  <a:lnTo>
                    <a:pt x="231" y="119"/>
                  </a:lnTo>
                  <a:lnTo>
                    <a:pt x="233" y="119"/>
                  </a:lnTo>
                  <a:lnTo>
                    <a:pt x="231" y="119"/>
                  </a:lnTo>
                  <a:lnTo>
                    <a:pt x="231" y="117"/>
                  </a:lnTo>
                  <a:lnTo>
                    <a:pt x="231" y="113"/>
                  </a:lnTo>
                  <a:lnTo>
                    <a:pt x="231" y="113"/>
                  </a:lnTo>
                  <a:lnTo>
                    <a:pt x="233" y="113"/>
                  </a:lnTo>
                  <a:lnTo>
                    <a:pt x="237" y="115"/>
                  </a:lnTo>
                  <a:lnTo>
                    <a:pt x="237" y="115"/>
                  </a:lnTo>
                  <a:lnTo>
                    <a:pt x="237" y="113"/>
                  </a:lnTo>
                  <a:lnTo>
                    <a:pt x="237" y="113"/>
                  </a:lnTo>
                  <a:lnTo>
                    <a:pt x="237" y="113"/>
                  </a:lnTo>
                  <a:lnTo>
                    <a:pt x="239" y="113"/>
                  </a:lnTo>
                  <a:lnTo>
                    <a:pt x="239" y="113"/>
                  </a:lnTo>
                  <a:lnTo>
                    <a:pt x="237" y="115"/>
                  </a:lnTo>
                  <a:lnTo>
                    <a:pt x="239" y="115"/>
                  </a:lnTo>
                  <a:lnTo>
                    <a:pt x="239" y="117"/>
                  </a:lnTo>
                  <a:lnTo>
                    <a:pt x="237" y="117"/>
                  </a:lnTo>
                  <a:lnTo>
                    <a:pt x="237" y="119"/>
                  </a:lnTo>
                  <a:lnTo>
                    <a:pt x="237" y="119"/>
                  </a:lnTo>
                  <a:lnTo>
                    <a:pt x="239" y="121"/>
                  </a:lnTo>
                  <a:lnTo>
                    <a:pt x="241" y="129"/>
                  </a:lnTo>
                  <a:lnTo>
                    <a:pt x="241" y="133"/>
                  </a:lnTo>
                  <a:lnTo>
                    <a:pt x="239" y="136"/>
                  </a:lnTo>
                  <a:lnTo>
                    <a:pt x="241" y="133"/>
                  </a:lnTo>
                  <a:lnTo>
                    <a:pt x="246" y="131"/>
                  </a:lnTo>
                  <a:lnTo>
                    <a:pt x="248" y="129"/>
                  </a:lnTo>
                  <a:lnTo>
                    <a:pt x="252" y="129"/>
                  </a:lnTo>
                  <a:lnTo>
                    <a:pt x="254" y="127"/>
                  </a:lnTo>
                  <a:lnTo>
                    <a:pt x="254" y="125"/>
                  </a:lnTo>
                  <a:lnTo>
                    <a:pt x="256" y="123"/>
                  </a:lnTo>
                  <a:lnTo>
                    <a:pt x="258" y="119"/>
                  </a:lnTo>
                  <a:lnTo>
                    <a:pt x="258" y="117"/>
                  </a:lnTo>
                  <a:lnTo>
                    <a:pt x="258" y="117"/>
                  </a:lnTo>
                  <a:lnTo>
                    <a:pt x="260" y="119"/>
                  </a:lnTo>
                  <a:lnTo>
                    <a:pt x="262" y="119"/>
                  </a:lnTo>
                  <a:lnTo>
                    <a:pt x="262" y="117"/>
                  </a:lnTo>
                  <a:lnTo>
                    <a:pt x="264" y="117"/>
                  </a:lnTo>
                  <a:lnTo>
                    <a:pt x="266" y="117"/>
                  </a:lnTo>
                  <a:lnTo>
                    <a:pt x="266" y="115"/>
                  </a:lnTo>
                  <a:lnTo>
                    <a:pt x="268" y="115"/>
                  </a:lnTo>
                  <a:lnTo>
                    <a:pt x="270" y="113"/>
                  </a:lnTo>
                  <a:lnTo>
                    <a:pt x="270" y="117"/>
                  </a:lnTo>
                  <a:lnTo>
                    <a:pt x="270" y="117"/>
                  </a:lnTo>
                  <a:lnTo>
                    <a:pt x="270" y="117"/>
                  </a:lnTo>
                  <a:lnTo>
                    <a:pt x="272" y="115"/>
                  </a:lnTo>
                  <a:lnTo>
                    <a:pt x="272" y="113"/>
                  </a:lnTo>
                  <a:lnTo>
                    <a:pt x="272" y="113"/>
                  </a:lnTo>
                  <a:lnTo>
                    <a:pt x="274" y="113"/>
                  </a:lnTo>
                  <a:lnTo>
                    <a:pt x="276" y="111"/>
                  </a:lnTo>
                  <a:lnTo>
                    <a:pt x="280" y="109"/>
                  </a:lnTo>
                  <a:lnTo>
                    <a:pt x="291" y="105"/>
                  </a:lnTo>
                  <a:lnTo>
                    <a:pt x="295" y="105"/>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A</a:t>
              </a:r>
            </a:p>
          </p:txBody>
        </p:sp>
        <p:sp>
          <p:nvSpPr>
            <p:cNvPr id="116" name="Freeform 37">
              <a:extLst>
                <a:ext uri="{FF2B5EF4-FFF2-40B4-BE49-F238E27FC236}">
                  <a16:creationId xmlns:a16="http://schemas.microsoft.com/office/drawing/2014/main" id="{EB6EB60E-1305-0D46-E2EC-99A78DBDE526}"/>
                </a:ext>
              </a:extLst>
            </p:cNvPr>
            <p:cNvSpPr>
              <a:spLocks noEditPoints="1"/>
            </p:cNvSpPr>
            <p:nvPr/>
          </p:nvSpPr>
          <p:spPr bwMode="auto">
            <a:xfrm>
              <a:off x="3272" y="1840"/>
              <a:ext cx="506" cy="427"/>
            </a:xfrm>
            <a:custGeom>
              <a:avLst/>
              <a:gdLst>
                <a:gd name="T0" fmla="*/ 232 w 506"/>
                <a:gd name="T1" fmla="*/ 382 h 427"/>
                <a:gd name="T2" fmla="*/ 338 w 506"/>
                <a:gd name="T3" fmla="*/ 423 h 427"/>
                <a:gd name="T4" fmla="*/ 494 w 506"/>
                <a:gd name="T5" fmla="*/ 347 h 427"/>
                <a:gd name="T6" fmla="*/ 475 w 506"/>
                <a:gd name="T7" fmla="*/ 365 h 427"/>
                <a:gd name="T8" fmla="*/ 461 w 506"/>
                <a:gd name="T9" fmla="*/ 304 h 427"/>
                <a:gd name="T10" fmla="*/ 469 w 506"/>
                <a:gd name="T11" fmla="*/ 291 h 427"/>
                <a:gd name="T12" fmla="*/ 459 w 506"/>
                <a:gd name="T13" fmla="*/ 320 h 427"/>
                <a:gd name="T14" fmla="*/ 494 w 506"/>
                <a:gd name="T15" fmla="*/ 394 h 427"/>
                <a:gd name="T16" fmla="*/ 477 w 506"/>
                <a:gd name="T17" fmla="*/ 382 h 427"/>
                <a:gd name="T18" fmla="*/ 459 w 506"/>
                <a:gd name="T19" fmla="*/ 377 h 427"/>
                <a:gd name="T20" fmla="*/ 445 w 506"/>
                <a:gd name="T21" fmla="*/ 369 h 427"/>
                <a:gd name="T22" fmla="*/ 430 w 506"/>
                <a:gd name="T23" fmla="*/ 351 h 427"/>
                <a:gd name="T24" fmla="*/ 434 w 506"/>
                <a:gd name="T25" fmla="*/ 345 h 427"/>
                <a:gd name="T26" fmla="*/ 457 w 506"/>
                <a:gd name="T27" fmla="*/ 332 h 427"/>
                <a:gd name="T28" fmla="*/ 451 w 506"/>
                <a:gd name="T29" fmla="*/ 322 h 427"/>
                <a:gd name="T30" fmla="*/ 453 w 506"/>
                <a:gd name="T31" fmla="*/ 306 h 427"/>
                <a:gd name="T32" fmla="*/ 436 w 506"/>
                <a:gd name="T33" fmla="*/ 312 h 427"/>
                <a:gd name="T34" fmla="*/ 412 w 506"/>
                <a:gd name="T35" fmla="*/ 310 h 427"/>
                <a:gd name="T36" fmla="*/ 420 w 506"/>
                <a:gd name="T37" fmla="*/ 300 h 427"/>
                <a:gd name="T38" fmla="*/ 404 w 506"/>
                <a:gd name="T39" fmla="*/ 300 h 427"/>
                <a:gd name="T40" fmla="*/ 391 w 506"/>
                <a:gd name="T41" fmla="*/ 283 h 427"/>
                <a:gd name="T42" fmla="*/ 430 w 506"/>
                <a:gd name="T43" fmla="*/ 295 h 427"/>
                <a:gd name="T44" fmla="*/ 406 w 506"/>
                <a:gd name="T45" fmla="*/ 246 h 427"/>
                <a:gd name="T46" fmla="*/ 262 w 506"/>
                <a:gd name="T47" fmla="*/ 220 h 427"/>
                <a:gd name="T48" fmla="*/ 242 w 506"/>
                <a:gd name="T49" fmla="*/ 181 h 427"/>
                <a:gd name="T50" fmla="*/ 268 w 506"/>
                <a:gd name="T51" fmla="*/ 113 h 427"/>
                <a:gd name="T52" fmla="*/ 268 w 506"/>
                <a:gd name="T53" fmla="*/ 58 h 427"/>
                <a:gd name="T54" fmla="*/ 268 w 506"/>
                <a:gd name="T55" fmla="*/ 13 h 427"/>
                <a:gd name="T56" fmla="*/ 2 w 506"/>
                <a:gd name="T57" fmla="*/ 58 h 427"/>
                <a:gd name="T58" fmla="*/ 27 w 506"/>
                <a:gd name="T59" fmla="*/ 154 h 427"/>
                <a:gd name="T60" fmla="*/ 37 w 506"/>
                <a:gd name="T61" fmla="*/ 179 h 427"/>
                <a:gd name="T62" fmla="*/ 43 w 506"/>
                <a:gd name="T63" fmla="*/ 195 h 427"/>
                <a:gd name="T64" fmla="*/ 55 w 506"/>
                <a:gd name="T65" fmla="*/ 220 h 427"/>
                <a:gd name="T66" fmla="*/ 51 w 506"/>
                <a:gd name="T67" fmla="*/ 265 h 427"/>
                <a:gd name="T68" fmla="*/ 45 w 506"/>
                <a:gd name="T69" fmla="*/ 316 h 427"/>
                <a:gd name="T70" fmla="*/ 41 w 506"/>
                <a:gd name="T71" fmla="*/ 371 h 427"/>
                <a:gd name="T72" fmla="*/ 166 w 506"/>
                <a:gd name="T73" fmla="*/ 382 h 427"/>
                <a:gd name="T74" fmla="*/ 193 w 506"/>
                <a:gd name="T75" fmla="*/ 365 h 427"/>
                <a:gd name="T76" fmla="*/ 223 w 506"/>
                <a:gd name="T77" fmla="*/ 349 h 427"/>
                <a:gd name="T78" fmla="*/ 250 w 506"/>
                <a:gd name="T79" fmla="*/ 367 h 427"/>
                <a:gd name="T80" fmla="*/ 279 w 506"/>
                <a:gd name="T81" fmla="*/ 377 h 427"/>
                <a:gd name="T82" fmla="*/ 295 w 506"/>
                <a:gd name="T83" fmla="*/ 402 h 427"/>
                <a:gd name="T84" fmla="*/ 281 w 506"/>
                <a:gd name="T85" fmla="*/ 406 h 427"/>
                <a:gd name="T86" fmla="*/ 322 w 506"/>
                <a:gd name="T87" fmla="*/ 410 h 427"/>
                <a:gd name="T88" fmla="*/ 342 w 506"/>
                <a:gd name="T89" fmla="*/ 408 h 427"/>
                <a:gd name="T90" fmla="*/ 352 w 506"/>
                <a:gd name="T91" fmla="*/ 396 h 427"/>
                <a:gd name="T92" fmla="*/ 375 w 506"/>
                <a:gd name="T93" fmla="*/ 398 h 427"/>
                <a:gd name="T94" fmla="*/ 393 w 506"/>
                <a:gd name="T95" fmla="*/ 400 h 427"/>
                <a:gd name="T96" fmla="*/ 393 w 506"/>
                <a:gd name="T97" fmla="*/ 375 h 427"/>
                <a:gd name="T98" fmla="*/ 391 w 506"/>
                <a:gd name="T99" fmla="*/ 367 h 427"/>
                <a:gd name="T100" fmla="*/ 420 w 506"/>
                <a:gd name="T101" fmla="*/ 379 h 427"/>
                <a:gd name="T102" fmla="*/ 447 w 506"/>
                <a:gd name="T103" fmla="*/ 392 h 427"/>
                <a:gd name="T104" fmla="*/ 469 w 506"/>
                <a:gd name="T105" fmla="*/ 402 h 427"/>
                <a:gd name="T106" fmla="*/ 473 w 506"/>
                <a:gd name="T107" fmla="*/ 410 h 427"/>
                <a:gd name="T108" fmla="*/ 490 w 506"/>
                <a:gd name="T109" fmla="*/ 404 h 427"/>
                <a:gd name="T110" fmla="*/ 451 w 506"/>
                <a:gd name="T111" fmla="*/ 338 h 427"/>
                <a:gd name="T112" fmla="*/ 500 w 506"/>
                <a:gd name="T113" fmla="*/ 302 h 427"/>
                <a:gd name="T114" fmla="*/ 367 w 506"/>
                <a:gd name="T115" fmla="*/ 414 h 427"/>
                <a:gd name="T116" fmla="*/ 375 w 506"/>
                <a:gd name="T117" fmla="*/ 416 h 427"/>
                <a:gd name="T118" fmla="*/ 397 w 506"/>
                <a:gd name="T119" fmla="*/ 375 h 427"/>
                <a:gd name="T120" fmla="*/ 500 w 506"/>
                <a:gd name="T121" fmla="*/ 322 h 427"/>
                <a:gd name="T122" fmla="*/ 443 w 506"/>
                <a:gd name="T123" fmla="*/ 345 h 427"/>
                <a:gd name="T124" fmla="*/ 465 w 506"/>
                <a:gd name="T125" fmla="*/ 314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 h="427">
                  <a:moveTo>
                    <a:pt x="236" y="375"/>
                  </a:moveTo>
                  <a:lnTo>
                    <a:pt x="234" y="375"/>
                  </a:lnTo>
                  <a:lnTo>
                    <a:pt x="230" y="373"/>
                  </a:lnTo>
                  <a:lnTo>
                    <a:pt x="230" y="373"/>
                  </a:lnTo>
                  <a:lnTo>
                    <a:pt x="227" y="373"/>
                  </a:lnTo>
                  <a:lnTo>
                    <a:pt x="225" y="371"/>
                  </a:lnTo>
                  <a:lnTo>
                    <a:pt x="223" y="369"/>
                  </a:lnTo>
                  <a:lnTo>
                    <a:pt x="217" y="369"/>
                  </a:lnTo>
                  <a:lnTo>
                    <a:pt x="217" y="369"/>
                  </a:lnTo>
                  <a:lnTo>
                    <a:pt x="217" y="369"/>
                  </a:lnTo>
                  <a:lnTo>
                    <a:pt x="215" y="371"/>
                  </a:lnTo>
                  <a:lnTo>
                    <a:pt x="215" y="371"/>
                  </a:lnTo>
                  <a:lnTo>
                    <a:pt x="213" y="373"/>
                  </a:lnTo>
                  <a:lnTo>
                    <a:pt x="211" y="373"/>
                  </a:lnTo>
                  <a:lnTo>
                    <a:pt x="209" y="373"/>
                  </a:lnTo>
                  <a:lnTo>
                    <a:pt x="207" y="375"/>
                  </a:lnTo>
                  <a:lnTo>
                    <a:pt x="207" y="377"/>
                  </a:lnTo>
                  <a:lnTo>
                    <a:pt x="209" y="377"/>
                  </a:lnTo>
                  <a:lnTo>
                    <a:pt x="219" y="382"/>
                  </a:lnTo>
                  <a:lnTo>
                    <a:pt x="219" y="384"/>
                  </a:lnTo>
                  <a:lnTo>
                    <a:pt x="221" y="384"/>
                  </a:lnTo>
                  <a:lnTo>
                    <a:pt x="227" y="386"/>
                  </a:lnTo>
                  <a:lnTo>
                    <a:pt x="230" y="386"/>
                  </a:lnTo>
                  <a:lnTo>
                    <a:pt x="232" y="386"/>
                  </a:lnTo>
                  <a:lnTo>
                    <a:pt x="232" y="386"/>
                  </a:lnTo>
                  <a:lnTo>
                    <a:pt x="232" y="384"/>
                  </a:lnTo>
                  <a:lnTo>
                    <a:pt x="232" y="382"/>
                  </a:lnTo>
                  <a:lnTo>
                    <a:pt x="232" y="382"/>
                  </a:lnTo>
                  <a:lnTo>
                    <a:pt x="234" y="379"/>
                  </a:lnTo>
                  <a:lnTo>
                    <a:pt x="238" y="377"/>
                  </a:lnTo>
                  <a:lnTo>
                    <a:pt x="238" y="375"/>
                  </a:lnTo>
                  <a:lnTo>
                    <a:pt x="238" y="375"/>
                  </a:lnTo>
                  <a:lnTo>
                    <a:pt x="236" y="375"/>
                  </a:lnTo>
                  <a:close/>
                  <a:moveTo>
                    <a:pt x="313" y="425"/>
                  </a:moveTo>
                  <a:lnTo>
                    <a:pt x="313" y="425"/>
                  </a:lnTo>
                  <a:lnTo>
                    <a:pt x="313" y="425"/>
                  </a:lnTo>
                  <a:lnTo>
                    <a:pt x="313" y="425"/>
                  </a:lnTo>
                  <a:close/>
                  <a:moveTo>
                    <a:pt x="313" y="425"/>
                  </a:moveTo>
                  <a:lnTo>
                    <a:pt x="318" y="427"/>
                  </a:lnTo>
                  <a:lnTo>
                    <a:pt x="320" y="425"/>
                  </a:lnTo>
                  <a:lnTo>
                    <a:pt x="318" y="425"/>
                  </a:lnTo>
                  <a:lnTo>
                    <a:pt x="313" y="425"/>
                  </a:lnTo>
                  <a:close/>
                  <a:moveTo>
                    <a:pt x="326" y="425"/>
                  </a:moveTo>
                  <a:lnTo>
                    <a:pt x="324" y="425"/>
                  </a:lnTo>
                  <a:lnTo>
                    <a:pt x="324" y="425"/>
                  </a:lnTo>
                  <a:lnTo>
                    <a:pt x="324" y="427"/>
                  </a:lnTo>
                  <a:lnTo>
                    <a:pt x="324" y="427"/>
                  </a:lnTo>
                  <a:lnTo>
                    <a:pt x="326" y="427"/>
                  </a:lnTo>
                  <a:lnTo>
                    <a:pt x="326" y="427"/>
                  </a:lnTo>
                  <a:lnTo>
                    <a:pt x="326" y="427"/>
                  </a:lnTo>
                  <a:lnTo>
                    <a:pt x="326" y="425"/>
                  </a:lnTo>
                  <a:close/>
                  <a:moveTo>
                    <a:pt x="342" y="423"/>
                  </a:moveTo>
                  <a:lnTo>
                    <a:pt x="342" y="423"/>
                  </a:lnTo>
                  <a:lnTo>
                    <a:pt x="340" y="423"/>
                  </a:lnTo>
                  <a:lnTo>
                    <a:pt x="340" y="423"/>
                  </a:lnTo>
                  <a:lnTo>
                    <a:pt x="338" y="423"/>
                  </a:lnTo>
                  <a:lnTo>
                    <a:pt x="338" y="423"/>
                  </a:lnTo>
                  <a:lnTo>
                    <a:pt x="336" y="423"/>
                  </a:lnTo>
                  <a:lnTo>
                    <a:pt x="336" y="423"/>
                  </a:lnTo>
                  <a:lnTo>
                    <a:pt x="336" y="423"/>
                  </a:lnTo>
                  <a:lnTo>
                    <a:pt x="334" y="425"/>
                  </a:lnTo>
                  <a:lnTo>
                    <a:pt x="334" y="425"/>
                  </a:lnTo>
                  <a:lnTo>
                    <a:pt x="332" y="425"/>
                  </a:lnTo>
                  <a:lnTo>
                    <a:pt x="332" y="427"/>
                  </a:lnTo>
                  <a:lnTo>
                    <a:pt x="332" y="427"/>
                  </a:lnTo>
                  <a:lnTo>
                    <a:pt x="340" y="423"/>
                  </a:lnTo>
                  <a:lnTo>
                    <a:pt x="342" y="423"/>
                  </a:lnTo>
                  <a:lnTo>
                    <a:pt x="342" y="423"/>
                  </a:lnTo>
                  <a:lnTo>
                    <a:pt x="342" y="420"/>
                  </a:lnTo>
                  <a:lnTo>
                    <a:pt x="342" y="423"/>
                  </a:lnTo>
                  <a:lnTo>
                    <a:pt x="342" y="423"/>
                  </a:lnTo>
                  <a:close/>
                  <a:moveTo>
                    <a:pt x="365" y="420"/>
                  </a:moveTo>
                  <a:lnTo>
                    <a:pt x="363" y="420"/>
                  </a:lnTo>
                  <a:lnTo>
                    <a:pt x="361" y="420"/>
                  </a:lnTo>
                  <a:lnTo>
                    <a:pt x="354" y="420"/>
                  </a:lnTo>
                  <a:lnTo>
                    <a:pt x="354" y="420"/>
                  </a:lnTo>
                  <a:lnTo>
                    <a:pt x="359" y="423"/>
                  </a:lnTo>
                  <a:lnTo>
                    <a:pt x="365" y="423"/>
                  </a:lnTo>
                  <a:lnTo>
                    <a:pt x="365" y="423"/>
                  </a:lnTo>
                  <a:lnTo>
                    <a:pt x="365" y="423"/>
                  </a:lnTo>
                  <a:lnTo>
                    <a:pt x="365" y="420"/>
                  </a:lnTo>
                  <a:close/>
                  <a:moveTo>
                    <a:pt x="494" y="347"/>
                  </a:moveTo>
                  <a:lnTo>
                    <a:pt x="494" y="345"/>
                  </a:lnTo>
                  <a:lnTo>
                    <a:pt x="494" y="347"/>
                  </a:lnTo>
                  <a:lnTo>
                    <a:pt x="494" y="347"/>
                  </a:lnTo>
                  <a:lnTo>
                    <a:pt x="494" y="347"/>
                  </a:lnTo>
                  <a:lnTo>
                    <a:pt x="494" y="347"/>
                  </a:lnTo>
                  <a:close/>
                  <a:moveTo>
                    <a:pt x="465" y="318"/>
                  </a:moveTo>
                  <a:lnTo>
                    <a:pt x="465" y="318"/>
                  </a:lnTo>
                  <a:lnTo>
                    <a:pt x="465" y="316"/>
                  </a:lnTo>
                  <a:lnTo>
                    <a:pt x="465" y="316"/>
                  </a:lnTo>
                  <a:lnTo>
                    <a:pt x="465" y="316"/>
                  </a:lnTo>
                  <a:lnTo>
                    <a:pt x="463" y="316"/>
                  </a:lnTo>
                  <a:lnTo>
                    <a:pt x="461" y="316"/>
                  </a:lnTo>
                  <a:lnTo>
                    <a:pt x="461" y="318"/>
                  </a:lnTo>
                  <a:lnTo>
                    <a:pt x="461" y="318"/>
                  </a:lnTo>
                  <a:lnTo>
                    <a:pt x="461" y="318"/>
                  </a:lnTo>
                  <a:lnTo>
                    <a:pt x="463" y="318"/>
                  </a:lnTo>
                  <a:lnTo>
                    <a:pt x="465" y="318"/>
                  </a:lnTo>
                  <a:lnTo>
                    <a:pt x="465" y="318"/>
                  </a:lnTo>
                  <a:close/>
                  <a:moveTo>
                    <a:pt x="475" y="365"/>
                  </a:moveTo>
                  <a:lnTo>
                    <a:pt x="477" y="365"/>
                  </a:lnTo>
                  <a:lnTo>
                    <a:pt x="477" y="363"/>
                  </a:lnTo>
                  <a:lnTo>
                    <a:pt x="477" y="363"/>
                  </a:lnTo>
                  <a:lnTo>
                    <a:pt x="477" y="363"/>
                  </a:lnTo>
                  <a:lnTo>
                    <a:pt x="477" y="363"/>
                  </a:lnTo>
                  <a:lnTo>
                    <a:pt x="477" y="363"/>
                  </a:lnTo>
                  <a:lnTo>
                    <a:pt x="477" y="363"/>
                  </a:lnTo>
                  <a:lnTo>
                    <a:pt x="475" y="365"/>
                  </a:lnTo>
                  <a:lnTo>
                    <a:pt x="471" y="367"/>
                  </a:lnTo>
                  <a:lnTo>
                    <a:pt x="473" y="367"/>
                  </a:lnTo>
                  <a:lnTo>
                    <a:pt x="475" y="365"/>
                  </a:lnTo>
                  <a:close/>
                  <a:moveTo>
                    <a:pt x="359" y="402"/>
                  </a:moveTo>
                  <a:lnTo>
                    <a:pt x="361" y="400"/>
                  </a:lnTo>
                  <a:lnTo>
                    <a:pt x="361" y="400"/>
                  </a:lnTo>
                  <a:lnTo>
                    <a:pt x="361" y="400"/>
                  </a:lnTo>
                  <a:lnTo>
                    <a:pt x="359" y="400"/>
                  </a:lnTo>
                  <a:lnTo>
                    <a:pt x="359" y="402"/>
                  </a:lnTo>
                  <a:lnTo>
                    <a:pt x="359" y="404"/>
                  </a:lnTo>
                  <a:lnTo>
                    <a:pt x="359" y="402"/>
                  </a:lnTo>
                  <a:lnTo>
                    <a:pt x="359" y="402"/>
                  </a:lnTo>
                  <a:close/>
                  <a:moveTo>
                    <a:pt x="483" y="359"/>
                  </a:moveTo>
                  <a:lnTo>
                    <a:pt x="488" y="355"/>
                  </a:lnTo>
                  <a:lnTo>
                    <a:pt x="488" y="355"/>
                  </a:lnTo>
                  <a:lnTo>
                    <a:pt x="488" y="355"/>
                  </a:lnTo>
                  <a:lnTo>
                    <a:pt x="486" y="355"/>
                  </a:lnTo>
                  <a:lnTo>
                    <a:pt x="483" y="359"/>
                  </a:lnTo>
                  <a:lnTo>
                    <a:pt x="483" y="359"/>
                  </a:lnTo>
                  <a:lnTo>
                    <a:pt x="483" y="359"/>
                  </a:lnTo>
                  <a:close/>
                  <a:moveTo>
                    <a:pt x="455" y="306"/>
                  </a:moveTo>
                  <a:lnTo>
                    <a:pt x="457" y="306"/>
                  </a:lnTo>
                  <a:lnTo>
                    <a:pt x="457" y="304"/>
                  </a:lnTo>
                  <a:lnTo>
                    <a:pt x="457" y="304"/>
                  </a:lnTo>
                  <a:lnTo>
                    <a:pt x="459" y="304"/>
                  </a:lnTo>
                  <a:lnTo>
                    <a:pt x="459" y="304"/>
                  </a:lnTo>
                  <a:lnTo>
                    <a:pt x="459" y="304"/>
                  </a:lnTo>
                  <a:lnTo>
                    <a:pt x="459" y="304"/>
                  </a:lnTo>
                  <a:lnTo>
                    <a:pt x="461" y="304"/>
                  </a:lnTo>
                  <a:lnTo>
                    <a:pt x="461" y="304"/>
                  </a:lnTo>
                  <a:lnTo>
                    <a:pt x="461" y="304"/>
                  </a:lnTo>
                  <a:lnTo>
                    <a:pt x="461" y="304"/>
                  </a:lnTo>
                  <a:lnTo>
                    <a:pt x="461" y="302"/>
                  </a:lnTo>
                  <a:lnTo>
                    <a:pt x="463" y="302"/>
                  </a:lnTo>
                  <a:lnTo>
                    <a:pt x="463" y="302"/>
                  </a:lnTo>
                  <a:lnTo>
                    <a:pt x="463" y="304"/>
                  </a:lnTo>
                  <a:lnTo>
                    <a:pt x="463" y="304"/>
                  </a:lnTo>
                  <a:lnTo>
                    <a:pt x="463" y="304"/>
                  </a:lnTo>
                  <a:lnTo>
                    <a:pt x="465" y="306"/>
                  </a:lnTo>
                  <a:lnTo>
                    <a:pt x="465" y="306"/>
                  </a:lnTo>
                  <a:lnTo>
                    <a:pt x="467" y="306"/>
                  </a:lnTo>
                  <a:lnTo>
                    <a:pt x="467" y="306"/>
                  </a:lnTo>
                  <a:lnTo>
                    <a:pt x="469" y="304"/>
                  </a:lnTo>
                  <a:lnTo>
                    <a:pt x="469" y="302"/>
                  </a:lnTo>
                  <a:lnTo>
                    <a:pt x="469" y="302"/>
                  </a:lnTo>
                  <a:lnTo>
                    <a:pt x="467" y="302"/>
                  </a:lnTo>
                  <a:lnTo>
                    <a:pt x="467" y="302"/>
                  </a:lnTo>
                  <a:lnTo>
                    <a:pt x="467" y="302"/>
                  </a:lnTo>
                  <a:lnTo>
                    <a:pt x="467" y="304"/>
                  </a:lnTo>
                  <a:lnTo>
                    <a:pt x="467" y="304"/>
                  </a:lnTo>
                  <a:lnTo>
                    <a:pt x="467" y="304"/>
                  </a:lnTo>
                  <a:lnTo>
                    <a:pt x="465" y="302"/>
                  </a:lnTo>
                  <a:lnTo>
                    <a:pt x="465" y="300"/>
                  </a:lnTo>
                  <a:lnTo>
                    <a:pt x="465" y="300"/>
                  </a:lnTo>
                  <a:lnTo>
                    <a:pt x="463" y="300"/>
                  </a:lnTo>
                  <a:lnTo>
                    <a:pt x="463" y="298"/>
                  </a:lnTo>
                  <a:lnTo>
                    <a:pt x="467" y="293"/>
                  </a:lnTo>
                  <a:lnTo>
                    <a:pt x="467" y="293"/>
                  </a:lnTo>
                  <a:lnTo>
                    <a:pt x="469" y="291"/>
                  </a:lnTo>
                  <a:lnTo>
                    <a:pt x="469" y="291"/>
                  </a:lnTo>
                  <a:lnTo>
                    <a:pt x="467" y="291"/>
                  </a:lnTo>
                  <a:lnTo>
                    <a:pt x="465" y="293"/>
                  </a:lnTo>
                  <a:lnTo>
                    <a:pt x="465" y="295"/>
                  </a:lnTo>
                  <a:lnTo>
                    <a:pt x="463" y="298"/>
                  </a:lnTo>
                  <a:lnTo>
                    <a:pt x="461" y="298"/>
                  </a:lnTo>
                  <a:lnTo>
                    <a:pt x="459" y="300"/>
                  </a:lnTo>
                  <a:lnTo>
                    <a:pt x="461" y="300"/>
                  </a:lnTo>
                  <a:lnTo>
                    <a:pt x="459" y="302"/>
                  </a:lnTo>
                  <a:lnTo>
                    <a:pt x="459" y="302"/>
                  </a:lnTo>
                  <a:lnTo>
                    <a:pt x="457" y="302"/>
                  </a:lnTo>
                  <a:lnTo>
                    <a:pt x="457" y="302"/>
                  </a:lnTo>
                  <a:lnTo>
                    <a:pt x="457" y="304"/>
                  </a:lnTo>
                  <a:lnTo>
                    <a:pt x="455" y="304"/>
                  </a:lnTo>
                  <a:lnTo>
                    <a:pt x="455" y="304"/>
                  </a:lnTo>
                  <a:lnTo>
                    <a:pt x="455" y="306"/>
                  </a:lnTo>
                  <a:lnTo>
                    <a:pt x="455" y="306"/>
                  </a:lnTo>
                  <a:close/>
                  <a:moveTo>
                    <a:pt x="459" y="318"/>
                  </a:moveTo>
                  <a:lnTo>
                    <a:pt x="461" y="316"/>
                  </a:lnTo>
                  <a:lnTo>
                    <a:pt x="461" y="314"/>
                  </a:lnTo>
                  <a:lnTo>
                    <a:pt x="461" y="312"/>
                  </a:lnTo>
                  <a:lnTo>
                    <a:pt x="461" y="312"/>
                  </a:lnTo>
                  <a:lnTo>
                    <a:pt x="461" y="314"/>
                  </a:lnTo>
                  <a:lnTo>
                    <a:pt x="459" y="316"/>
                  </a:lnTo>
                  <a:lnTo>
                    <a:pt x="459" y="318"/>
                  </a:lnTo>
                  <a:lnTo>
                    <a:pt x="459" y="318"/>
                  </a:lnTo>
                  <a:lnTo>
                    <a:pt x="457" y="320"/>
                  </a:lnTo>
                  <a:lnTo>
                    <a:pt x="459" y="320"/>
                  </a:lnTo>
                  <a:lnTo>
                    <a:pt x="459" y="318"/>
                  </a:lnTo>
                  <a:close/>
                  <a:moveTo>
                    <a:pt x="463" y="330"/>
                  </a:moveTo>
                  <a:lnTo>
                    <a:pt x="463" y="330"/>
                  </a:lnTo>
                  <a:lnTo>
                    <a:pt x="461" y="330"/>
                  </a:lnTo>
                  <a:lnTo>
                    <a:pt x="461" y="330"/>
                  </a:lnTo>
                  <a:lnTo>
                    <a:pt x="457" y="330"/>
                  </a:lnTo>
                  <a:lnTo>
                    <a:pt x="457" y="332"/>
                  </a:lnTo>
                  <a:lnTo>
                    <a:pt x="463" y="334"/>
                  </a:lnTo>
                  <a:lnTo>
                    <a:pt x="463" y="330"/>
                  </a:lnTo>
                  <a:close/>
                  <a:moveTo>
                    <a:pt x="328" y="425"/>
                  </a:moveTo>
                  <a:lnTo>
                    <a:pt x="328" y="425"/>
                  </a:lnTo>
                  <a:lnTo>
                    <a:pt x="328" y="427"/>
                  </a:lnTo>
                  <a:lnTo>
                    <a:pt x="328" y="427"/>
                  </a:lnTo>
                  <a:lnTo>
                    <a:pt x="328" y="427"/>
                  </a:lnTo>
                  <a:lnTo>
                    <a:pt x="330" y="425"/>
                  </a:lnTo>
                  <a:lnTo>
                    <a:pt x="330" y="425"/>
                  </a:lnTo>
                  <a:lnTo>
                    <a:pt x="330" y="425"/>
                  </a:lnTo>
                  <a:lnTo>
                    <a:pt x="328" y="425"/>
                  </a:lnTo>
                  <a:close/>
                  <a:moveTo>
                    <a:pt x="492" y="396"/>
                  </a:moveTo>
                  <a:lnTo>
                    <a:pt x="492" y="398"/>
                  </a:lnTo>
                  <a:lnTo>
                    <a:pt x="492" y="398"/>
                  </a:lnTo>
                  <a:lnTo>
                    <a:pt x="492" y="396"/>
                  </a:lnTo>
                  <a:lnTo>
                    <a:pt x="494" y="396"/>
                  </a:lnTo>
                  <a:lnTo>
                    <a:pt x="496" y="396"/>
                  </a:lnTo>
                  <a:lnTo>
                    <a:pt x="494" y="396"/>
                  </a:lnTo>
                  <a:lnTo>
                    <a:pt x="494" y="396"/>
                  </a:lnTo>
                  <a:lnTo>
                    <a:pt x="494" y="396"/>
                  </a:lnTo>
                  <a:lnTo>
                    <a:pt x="494" y="394"/>
                  </a:lnTo>
                  <a:lnTo>
                    <a:pt x="494" y="394"/>
                  </a:lnTo>
                  <a:lnTo>
                    <a:pt x="494" y="392"/>
                  </a:lnTo>
                  <a:lnTo>
                    <a:pt x="492" y="392"/>
                  </a:lnTo>
                  <a:lnTo>
                    <a:pt x="492" y="392"/>
                  </a:lnTo>
                  <a:lnTo>
                    <a:pt x="490" y="392"/>
                  </a:lnTo>
                  <a:lnTo>
                    <a:pt x="490" y="394"/>
                  </a:lnTo>
                  <a:lnTo>
                    <a:pt x="490" y="394"/>
                  </a:lnTo>
                  <a:lnTo>
                    <a:pt x="490" y="394"/>
                  </a:lnTo>
                  <a:lnTo>
                    <a:pt x="488" y="394"/>
                  </a:lnTo>
                  <a:lnTo>
                    <a:pt x="486" y="394"/>
                  </a:lnTo>
                  <a:lnTo>
                    <a:pt x="486" y="392"/>
                  </a:lnTo>
                  <a:lnTo>
                    <a:pt x="481" y="392"/>
                  </a:lnTo>
                  <a:lnTo>
                    <a:pt x="481" y="390"/>
                  </a:lnTo>
                  <a:lnTo>
                    <a:pt x="481" y="390"/>
                  </a:lnTo>
                  <a:lnTo>
                    <a:pt x="483" y="390"/>
                  </a:lnTo>
                  <a:lnTo>
                    <a:pt x="483" y="388"/>
                  </a:lnTo>
                  <a:lnTo>
                    <a:pt x="483" y="388"/>
                  </a:lnTo>
                  <a:lnTo>
                    <a:pt x="483" y="388"/>
                  </a:lnTo>
                  <a:lnTo>
                    <a:pt x="483" y="386"/>
                  </a:lnTo>
                  <a:lnTo>
                    <a:pt x="483" y="386"/>
                  </a:lnTo>
                  <a:lnTo>
                    <a:pt x="481" y="384"/>
                  </a:lnTo>
                  <a:lnTo>
                    <a:pt x="481" y="384"/>
                  </a:lnTo>
                  <a:lnTo>
                    <a:pt x="479" y="386"/>
                  </a:lnTo>
                  <a:lnTo>
                    <a:pt x="479" y="384"/>
                  </a:lnTo>
                  <a:lnTo>
                    <a:pt x="479" y="384"/>
                  </a:lnTo>
                  <a:lnTo>
                    <a:pt x="479" y="384"/>
                  </a:lnTo>
                  <a:lnTo>
                    <a:pt x="477" y="382"/>
                  </a:lnTo>
                  <a:lnTo>
                    <a:pt x="477" y="382"/>
                  </a:lnTo>
                  <a:lnTo>
                    <a:pt x="477" y="382"/>
                  </a:lnTo>
                  <a:lnTo>
                    <a:pt x="477" y="382"/>
                  </a:lnTo>
                  <a:lnTo>
                    <a:pt x="477" y="379"/>
                  </a:lnTo>
                  <a:lnTo>
                    <a:pt x="475" y="379"/>
                  </a:lnTo>
                  <a:lnTo>
                    <a:pt x="475" y="379"/>
                  </a:lnTo>
                  <a:lnTo>
                    <a:pt x="475" y="379"/>
                  </a:lnTo>
                  <a:lnTo>
                    <a:pt x="475" y="379"/>
                  </a:lnTo>
                  <a:lnTo>
                    <a:pt x="475" y="379"/>
                  </a:lnTo>
                  <a:lnTo>
                    <a:pt x="475" y="379"/>
                  </a:lnTo>
                  <a:lnTo>
                    <a:pt x="475" y="382"/>
                  </a:lnTo>
                  <a:lnTo>
                    <a:pt x="473" y="382"/>
                  </a:lnTo>
                  <a:lnTo>
                    <a:pt x="471" y="384"/>
                  </a:lnTo>
                  <a:lnTo>
                    <a:pt x="471" y="384"/>
                  </a:lnTo>
                  <a:lnTo>
                    <a:pt x="469" y="382"/>
                  </a:lnTo>
                  <a:lnTo>
                    <a:pt x="469" y="379"/>
                  </a:lnTo>
                  <a:lnTo>
                    <a:pt x="469" y="379"/>
                  </a:lnTo>
                  <a:lnTo>
                    <a:pt x="467" y="379"/>
                  </a:lnTo>
                  <a:lnTo>
                    <a:pt x="467" y="379"/>
                  </a:lnTo>
                  <a:lnTo>
                    <a:pt x="465" y="379"/>
                  </a:lnTo>
                  <a:lnTo>
                    <a:pt x="465" y="379"/>
                  </a:lnTo>
                  <a:lnTo>
                    <a:pt x="463" y="382"/>
                  </a:lnTo>
                  <a:lnTo>
                    <a:pt x="463" y="382"/>
                  </a:lnTo>
                  <a:lnTo>
                    <a:pt x="461" y="382"/>
                  </a:lnTo>
                  <a:lnTo>
                    <a:pt x="459" y="379"/>
                  </a:lnTo>
                  <a:lnTo>
                    <a:pt x="459" y="379"/>
                  </a:lnTo>
                  <a:lnTo>
                    <a:pt x="459" y="379"/>
                  </a:lnTo>
                  <a:lnTo>
                    <a:pt x="459" y="379"/>
                  </a:lnTo>
                  <a:lnTo>
                    <a:pt x="459" y="377"/>
                  </a:lnTo>
                  <a:lnTo>
                    <a:pt x="459" y="377"/>
                  </a:lnTo>
                  <a:lnTo>
                    <a:pt x="461" y="377"/>
                  </a:lnTo>
                  <a:lnTo>
                    <a:pt x="461" y="377"/>
                  </a:lnTo>
                  <a:lnTo>
                    <a:pt x="463" y="377"/>
                  </a:lnTo>
                  <a:lnTo>
                    <a:pt x="463" y="375"/>
                  </a:lnTo>
                  <a:lnTo>
                    <a:pt x="461" y="375"/>
                  </a:lnTo>
                  <a:lnTo>
                    <a:pt x="459" y="375"/>
                  </a:lnTo>
                  <a:lnTo>
                    <a:pt x="459" y="375"/>
                  </a:lnTo>
                  <a:lnTo>
                    <a:pt x="459" y="377"/>
                  </a:lnTo>
                  <a:lnTo>
                    <a:pt x="457" y="377"/>
                  </a:lnTo>
                  <a:lnTo>
                    <a:pt x="457" y="377"/>
                  </a:lnTo>
                  <a:lnTo>
                    <a:pt x="457" y="377"/>
                  </a:lnTo>
                  <a:lnTo>
                    <a:pt x="455" y="377"/>
                  </a:lnTo>
                  <a:lnTo>
                    <a:pt x="455" y="377"/>
                  </a:lnTo>
                  <a:lnTo>
                    <a:pt x="453" y="375"/>
                  </a:lnTo>
                  <a:lnTo>
                    <a:pt x="451" y="375"/>
                  </a:lnTo>
                  <a:lnTo>
                    <a:pt x="445" y="377"/>
                  </a:lnTo>
                  <a:lnTo>
                    <a:pt x="445" y="377"/>
                  </a:lnTo>
                  <a:lnTo>
                    <a:pt x="443" y="377"/>
                  </a:lnTo>
                  <a:lnTo>
                    <a:pt x="443" y="375"/>
                  </a:lnTo>
                  <a:lnTo>
                    <a:pt x="443" y="375"/>
                  </a:lnTo>
                  <a:lnTo>
                    <a:pt x="445" y="375"/>
                  </a:lnTo>
                  <a:lnTo>
                    <a:pt x="445" y="375"/>
                  </a:lnTo>
                  <a:lnTo>
                    <a:pt x="445" y="373"/>
                  </a:lnTo>
                  <a:lnTo>
                    <a:pt x="443" y="373"/>
                  </a:lnTo>
                  <a:lnTo>
                    <a:pt x="443" y="373"/>
                  </a:lnTo>
                  <a:lnTo>
                    <a:pt x="443" y="371"/>
                  </a:lnTo>
                  <a:lnTo>
                    <a:pt x="445" y="369"/>
                  </a:lnTo>
                  <a:lnTo>
                    <a:pt x="445" y="369"/>
                  </a:lnTo>
                  <a:lnTo>
                    <a:pt x="443" y="369"/>
                  </a:lnTo>
                  <a:lnTo>
                    <a:pt x="438" y="367"/>
                  </a:lnTo>
                  <a:lnTo>
                    <a:pt x="438" y="367"/>
                  </a:lnTo>
                  <a:lnTo>
                    <a:pt x="438" y="367"/>
                  </a:lnTo>
                  <a:lnTo>
                    <a:pt x="438" y="367"/>
                  </a:lnTo>
                  <a:lnTo>
                    <a:pt x="438" y="367"/>
                  </a:lnTo>
                  <a:lnTo>
                    <a:pt x="436" y="367"/>
                  </a:lnTo>
                  <a:lnTo>
                    <a:pt x="434" y="367"/>
                  </a:lnTo>
                  <a:lnTo>
                    <a:pt x="432" y="365"/>
                  </a:lnTo>
                  <a:lnTo>
                    <a:pt x="430" y="365"/>
                  </a:lnTo>
                  <a:lnTo>
                    <a:pt x="428" y="365"/>
                  </a:lnTo>
                  <a:lnTo>
                    <a:pt x="428" y="363"/>
                  </a:lnTo>
                  <a:lnTo>
                    <a:pt x="428" y="361"/>
                  </a:lnTo>
                  <a:lnTo>
                    <a:pt x="426" y="359"/>
                  </a:lnTo>
                  <a:lnTo>
                    <a:pt x="424" y="357"/>
                  </a:lnTo>
                  <a:lnTo>
                    <a:pt x="424" y="355"/>
                  </a:lnTo>
                  <a:lnTo>
                    <a:pt x="424" y="355"/>
                  </a:lnTo>
                  <a:lnTo>
                    <a:pt x="424" y="355"/>
                  </a:lnTo>
                  <a:lnTo>
                    <a:pt x="424" y="355"/>
                  </a:lnTo>
                  <a:lnTo>
                    <a:pt x="422" y="355"/>
                  </a:lnTo>
                  <a:lnTo>
                    <a:pt x="420" y="353"/>
                  </a:lnTo>
                  <a:lnTo>
                    <a:pt x="424" y="353"/>
                  </a:lnTo>
                  <a:lnTo>
                    <a:pt x="432" y="355"/>
                  </a:lnTo>
                  <a:lnTo>
                    <a:pt x="432" y="353"/>
                  </a:lnTo>
                  <a:lnTo>
                    <a:pt x="430" y="351"/>
                  </a:lnTo>
                  <a:lnTo>
                    <a:pt x="430" y="351"/>
                  </a:lnTo>
                  <a:lnTo>
                    <a:pt x="430" y="351"/>
                  </a:lnTo>
                  <a:lnTo>
                    <a:pt x="430" y="351"/>
                  </a:lnTo>
                  <a:lnTo>
                    <a:pt x="428" y="349"/>
                  </a:lnTo>
                  <a:lnTo>
                    <a:pt x="428" y="349"/>
                  </a:lnTo>
                  <a:lnTo>
                    <a:pt x="430" y="349"/>
                  </a:lnTo>
                  <a:lnTo>
                    <a:pt x="428" y="347"/>
                  </a:lnTo>
                  <a:lnTo>
                    <a:pt x="426" y="347"/>
                  </a:lnTo>
                  <a:lnTo>
                    <a:pt x="424" y="345"/>
                  </a:lnTo>
                  <a:lnTo>
                    <a:pt x="428" y="347"/>
                  </a:lnTo>
                  <a:lnTo>
                    <a:pt x="432" y="349"/>
                  </a:lnTo>
                  <a:lnTo>
                    <a:pt x="434" y="349"/>
                  </a:lnTo>
                  <a:lnTo>
                    <a:pt x="438" y="349"/>
                  </a:lnTo>
                  <a:lnTo>
                    <a:pt x="440" y="349"/>
                  </a:lnTo>
                  <a:lnTo>
                    <a:pt x="443" y="349"/>
                  </a:lnTo>
                  <a:lnTo>
                    <a:pt x="443" y="351"/>
                  </a:lnTo>
                  <a:lnTo>
                    <a:pt x="445" y="351"/>
                  </a:lnTo>
                  <a:lnTo>
                    <a:pt x="447" y="351"/>
                  </a:lnTo>
                  <a:lnTo>
                    <a:pt x="447" y="351"/>
                  </a:lnTo>
                  <a:lnTo>
                    <a:pt x="443" y="349"/>
                  </a:lnTo>
                  <a:lnTo>
                    <a:pt x="440" y="347"/>
                  </a:lnTo>
                  <a:lnTo>
                    <a:pt x="440" y="347"/>
                  </a:lnTo>
                  <a:lnTo>
                    <a:pt x="443" y="347"/>
                  </a:lnTo>
                  <a:lnTo>
                    <a:pt x="443" y="347"/>
                  </a:lnTo>
                  <a:lnTo>
                    <a:pt x="443" y="347"/>
                  </a:lnTo>
                  <a:lnTo>
                    <a:pt x="443" y="347"/>
                  </a:lnTo>
                  <a:lnTo>
                    <a:pt x="440" y="347"/>
                  </a:lnTo>
                  <a:lnTo>
                    <a:pt x="438" y="347"/>
                  </a:lnTo>
                  <a:lnTo>
                    <a:pt x="436" y="347"/>
                  </a:lnTo>
                  <a:lnTo>
                    <a:pt x="434" y="345"/>
                  </a:lnTo>
                  <a:lnTo>
                    <a:pt x="434" y="343"/>
                  </a:lnTo>
                  <a:lnTo>
                    <a:pt x="434" y="341"/>
                  </a:lnTo>
                  <a:lnTo>
                    <a:pt x="434" y="341"/>
                  </a:lnTo>
                  <a:lnTo>
                    <a:pt x="436" y="338"/>
                  </a:lnTo>
                  <a:lnTo>
                    <a:pt x="438" y="338"/>
                  </a:lnTo>
                  <a:lnTo>
                    <a:pt x="438" y="338"/>
                  </a:lnTo>
                  <a:lnTo>
                    <a:pt x="440" y="338"/>
                  </a:lnTo>
                  <a:lnTo>
                    <a:pt x="440" y="338"/>
                  </a:lnTo>
                  <a:lnTo>
                    <a:pt x="440" y="336"/>
                  </a:lnTo>
                  <a:lnTo>
                    <a:pt x="443" y="334"/>
                  </a:lnTo>
                  <a:lnTo>
                    <a:pt x="445" y="332"/>
                  </a:lnTo>
                  <a:lnTo>
                    <a:pt x="445" y="332"/>
                  </a:lnTo>
                  <a:lnTo>
                    <a:pt x="445" y="330"/>
                  </a:lnTo>
                  <a:lnTo>
                    <a:pt x="445" y="330"/>
                  </a:lnTo>
                  <a:lnTo>
                    <a:pt x="447" y="330"/>
                  </a:lnTo>
                  <a:lnTo>
                    <a:pt x="447" y="330"/>
                  </a:lnTo>
                  <a:lnTo>
                    <a:pt x="449" y="332"/>
                  </a:lnTo>
                  <a:lnTo>
                    <a:pt x="449" y="332"/>
                  </a:lnTo>
                  <a:lnTo>
                    <a:pt x="451" y="334"/>
                  </a:lnTo>
                  <a:lnTo>
                    <a:pt x="451" y="334"/>
                  </a:lnTo>
                  <a:lnTo>
                    <a:pt x="451" y="334"/>
                  </a:lnTo>
                  <a:lnTo>
                    <a:pt x="451" y="336"/>
                  </a:lnTo>
                  <a:lnTo>
                    <a:pt x="451" y="336"/>
                  </a:lnTo>
                  <a:lnTo>
                    <a:pt x="453" y="336"/>
                  </a:lnTo>
                  <a:lnTo>
                    <a:pt x="453" y="334"/>
                  </a:lnTo>
                  <a:lnTo>
                    <a:pt x="453" y="332"/>
                  </a:lnTo>
                  <a:lnTo>
                    <a:pt x="455" y="332"/>
                  </a:lnTo>
                  <a:lnTo>
                    <a:pt x="457" y="332"/>
                  </a:lnTo>
                  <a:lnTo>
                    <a:pt x="457" y="332"/>
                  </a:lnTo>
                  <a:lnTo>
                    <a:pt x="455" y="332"/>
                  </a:lnTo>
                  <a:lnTo>
                    <a:pt x="455" y="332"/>
                  </a:lnTo>
                  <a:lnTo>
                    <a:pt x="455" y="330"/>
                  </a:lnTo>
                  <a:lnTo>
                    <a:pt x="453" y="328"/>
                  </a:lnTo>
                  <a:lnTo>
                    <a:pt x="455" y="328"/>
                  </a:lnTo>
                  <a:lnTo>
                    <a:pt x="455" y="328"/>
                  </a:lnTo>
                  <a:lnTo>
                    <a:pt x="455" y="326"/>
                  </a:lnTo>
                  <a:lnTo>
                    <a:pt x="457" y="326"/>
                  </a:lnTo>
                  <a:lnTo>
                    <a:pt x="457" y="326"/>
                  </a:lnTo>
                  <a:lnTo>
                    <a:pt x="457" y="326"/>
                  </a:lnTo>
                  <a:lnTo>
                    <a:pt x="455" y="326"/>
                  </a:lnTo>
                  <a:lnTo>
                    <a:pt x="455" y="324"/>
                  </a:lnTo>
                  <a:lnTo>
                    <a:pt x="455" y="324"/>
                  </a:lnTo>
                  <a:lnTo>
                    <a:pt x="457" y="324"/>
                  </a:lnTo>
                  <a:lnTo>
                    <a:pt x="455" y="322"/>
                  </a:lnTo>
                  <a:lnTo>
                    <a:pt x="455" y="322"/>
                  </a:lnTo>
                  <a:lnTo>
                    <a:pt x="453" y="322"/>
                  </a:lnTo>
                  <a:lnTo>
                    <a:pt x="453" y="324"/>
                  </a:lnTo>
                  <a:lnTo>
                    <a:pt x="451" y="324"/>
                  </a:lnTo>
                  <a:lnTo>
                    <a:pt x="451" y="324"/>
                  </a:lnTo>
                  <a:lnTo>
                    <a:pt x="453" y="322"/>
                  </a:lnTo>
                  <a:lnTo>
                    <a:pt x="455" y="320"/>
                  </a:lnTo>
                  <a:lnTo>
                    <a:pt x="453" y="320"/>
                  </a:lnTo>
                  <a:lnTo>
                    <a:pt x="453" y="320"/>
                  </a:lnTo>
                  <a:lnTo>
                    <a:pt x="451" y="320"/>
                  </a:lnTo>
                  <a:lnTo>
                    <a:pt x="451" y="320"/>
                  </a:lnTo>
                  <a:lnTo>
                    <a:pt x="451" y="322"/>
                  </a:lnTo>
                  <a:lnTo>
                    <a:pt x="449" y="322"/>
                  </a:lnTo>
                  <a:lnTo>
                    <a:pt x="449" y="322"/>
                  </a:lnTo>
                  <a:lnTo>
                    <a:pt x="449" y="322"/>
                  </a:lnTo>
                  <a:lnTo>
                    <a:pt x="449" y="322"/>
                  </a:lnTo>
                  <a:lnTo>
                    <a:pt x="449" y="320"/>
                  </a:lnTo>
                  <a:lnTo>
                    <a:pt x="447" y="320"/>
                  </a:lnTo>
                  <a:lnTo>
                    <a:pt x="447" y="318"/>
                  </a:lnTo>
                  <a:lnTo>
                    <a:pt x="449" y="316"/>
                  </a:lnTo>
                  <a:lnTo>
                    <a:pt x="451" y="318"/>
                  </a:lnTo>
                  <a:lnTo>
                    <a:pt x="453" y="318"/>
                  </a:lnTo>
                  <a:lnTo>
                    <a:pt x="453" y="316"/>
                  </a:lnTo>
                  <a:lnTo>
                    <a:pt x="451" y="314"/>
                  </a:lnTo>
                  <a:lnTo>
                    <a:pt x="451" y="314"/>
                  </a:lnTo>
                  <a:lnTo>
                    <a:pt x="447" y="314"/>
                  </a:lnTo>
                  <a:lnTo>
                    <a:pt x="447" y="314"/>
                  </a:lnTo>
                  <a:lnTo>
                    <a:pt x="445" y="314"/>
                  </a:lnTo>
                  <a:lnTo>
                    <a:pt x="445" y="314"/>
                  </a:lnTo>
                  <a:lnTo>
                    <a:pt x="447" y="314"/>
                  </a:lnTo>
                  <a:lnTo>
                    <a:pt x="447" y="312"/>
                  </a:lnTo>
                  <a:lnTo>
                    <a:pt x="447" y="312"/>
                  </a:lnTo>
                  <a:lnTo>
                    <a:pt x="447" y="312"/>
                  </a:lnTo>
                  <a:lnTo>
                    <a:pt x="447" y="310"/>
                  </a:lnTo>
                  <a:lnTo>
                    <a:pt x="447" y="310"/>
                  </a:lnTo>
                  <a:lnTo>
                    <a:pt x="447" y="308"/>
                  </a:lnTo>
                  <a:lnTo>
                    <a:pt x="451" y="308"/>
                  </a:lnTo>
                  <a:lnTo>
                    <a:pt x="451" y="308"/>
                  </a:lnTo>
                  <a:lnTo>
                    <a:pt x="453" y="306"/>
                  </a:lnTo>
                  <a:lnTo>
                    <a:pt x="453" y="306"/>
                  </a:lnTo>
                  <a:lnTo>
                    <a:pt x="453" y="306"/>
                  </a:lnTo>
                  <a:lnTo>
                    <a:pt x="451" y="306"/>
                  </a:lnTo>
                  <a:lnTo>
                    <a:pt x="451" y="306"/>
                  </a:lnTo>
                  <a:lnTo>
                    <a:pt x="449" y="306"/>
                  </a:lnTo>
                  <a:lnTo>
                    <a:pt x="447" y="308"/>
                  </a:lnTo>
                  <a:lnTo>
                    <a:pt x="447" y="308"/>
                  </a:lnTo>
                  <a:lnTo>
                    <a:pt x="447" y="308"/>
                  </a:lnTo>
                  <a:lnTo>
                    <a:pt x="447" y="308"/>
                  </a:lnTo>
                  <a:lnTo>
                    <a:pt x="447" y="308"/>
                  </a:lnTo>
                  <a:lnTo>
                    <a:pt x="447" y="306"/>
                  </a:lnTo>
                  <a:lnTo>
                    <a:pt x="447" y="306"/>
                  </a:lnTo>
                  <a:lnTo>
                    <a:pt x="447" y="306"/>
                  </a:lnTo>
                  <a:lnTo>
                    <a:pt x="447" y="306"/>
                  </a:lnTo>
                  <a:lnTo>
                    <a:pt x="447" y="306"/>
                  </a:lnTo>
                  <a:lnTo>
                    <a:pt x="445" y="304"/>
                  </a:lnTo>
                  <a:lnTo>
                    <a:pt x="443" y="304"/>
                  </a:lnTo>
                  <a:lnTo>
                    <a:pt x="443" y="304"/>
                  </a:lnTo>
                  <a:lnTo>
                    <a:pt x="443" y="304"/>
                  </a:lnTo>
                  <a:lnTo>
                    <a:pt x="440" y="304"/>
                  </a:lnTo>
                  <a:lnTo>
                    <a:pt x="440" y="304"/>
                  </a:lnTo>
                  <a:lnTo>
                    <a:pt x="440" y="306"/>
                  </a:lnTo>
                  <a:lnTo>
                    <a:pt x="440" y="306"/>
                  </a:lnTo>
                  <a:lnTo>
                    <a:pt x="440" y="308"/>
                  </a:lnTo>
                  <a:lnTo>
                    <a:pt x="440" y="308"/>
                  </a:lnTo>
                  <a:lnTo>
                    <a:pt x="440" y="310"/>
                  </a:lnTo>
                  <a:lnTo>
                    <a:pt x="438" y="310"/>
                  </a:lnTo>
                  <a:lnTo>
                    <a:pt x="438" y="310"/>
                  </a:lnTo>
                  <a:lnTo>
                    <a:pt x="436" y="312"/>
                  </a:lnTo>
                  <a:lnTo>
                    <a:pt x="436" y="312"/>
                  </a:lnTo>
                  <a:lnTo>
                    <a:pt x="434" y="312"/>
                  </a:lnTo>
                  <a:lnTo>
                    <a:pt x="434" y="314"/>
                  </a:lnTo>
                  <a:lnTo>
                    <a:pt x="434" y="318"/>
                  </a:lnTo>
                  <a:lnTo>
                    <a:pt x="434" y="320"/>
                  </a:lnTo>
                  <a:lnTo>
                    <a:pt x="434" y="322"/>
                  </a:lnTo>
                  <a:lnTo>
                    <a:pt x="432" y="324"/>
                  </a:lnTo>
                  <a:lnTo>
                    <a:pt x="430" y="326"/>
                  </a:lnTo>
                  <a:lnTo>
                    <a:pt x="428" y="326"/>
                  </a:lnTo>
                  <a:lnTo>
                    <a:pt x="426" y="326"/>
                  </a:lnTo>
                  <a:lnTo>
                    <a:pt x="424" y="326"/>
                  </a:lnTo>
                  <a:lnTo>
                    <a:pt x="422" y="324"/>
                  </a:lnTo>
                  <a:lnTo>
                    <a:pt x="420" y="322"/>
                  </a:lnTo>
                  <a:lnTo>
                    <a:pt x="420" y="322"/>
                  </a:lnTo>
                  <a:lnTo>
                    <a:pt x="422" y="320"/>
                  </a:lnTo>
                  <a:lnTo>
                    <a:pt x="422" y="318"/>
                  </a:lnTo>
                  <a:lnTo>
                    <a:pt x="420" y="318"/>
                  </a:lnTo>
                  <a:lnTo>
                    <a:pt x="418" y="320"/>
                  </a:lnTo>
                  <a:lnTo>
                    <a:pt x="416" y="320"/>
                  </a:lnTo>
                  <a:lnTo>
                    <a:pt x="414" y="320"/>
                  </a:lnTo>
                  <a:lnTo>
                    <a:pt x="412" y="320"/>
                  </a:lnTo>
                  <a:lnTo>
                    <a:pt x="412" y="320"/>
                  </a:lnTo>
                  <a:lnTo>
                    <a:pt x="410" y="318"/>
                  </a:lnTo>
                  <a:lnTo>
                    <a:pt x="410" y="316"/>
                  </a:lnTo>
                  <a:lnTo>
                    <a:pt x="410" y="314"/>
                  </a:lnTo>
                  <a:lnTo>
                    <a:pt x="410" y="312"/>
                  </a:lnTo>
                  <a:lnTo>
                    <a:pt x="410" y="310"/>
                  </a:lnTo>
                  <a:lnTo>
                    <a:pt x="412" y="310"/>
                  </a:lnTo>
                  <a:lnTo>
                    <a:pt x="414" y="310"/>
                  </a:lnTo>
                  <a:lnTo>
                    <a:pt x="418" y="310"/>
                  </a:lnTo>
                  <a:lnTo>
                    <a:pt x="420" y="312"/>
                  </a:lnTo>
                  <a:lnTo>
                    <a:pt x="420" y="310"/>
                  </a:lnTo>
                  <a:lnTo>
                    <a:pt x="420" y="310"/>
                  </a:lnTo>
                  <a:lnTo>
                    <a:pt x="420" y="308"/>
                  </a:lnTo>
                  <a:lnTo>
                    <a:pt x="420" y="308"/>
                  </a:lnTo>
                  <a:lnTo>
                    <a:pt x="420" y="306"/>
                  </a:lnTo>
                  <a:lnTo>
                    <a:pt x="422" y="306"/>
                  </a:lnTo>
                  <a:lnTo>
                    <a:pt x="424" y="304"/>
                  </a:lnTo>
                  <a:lnTo>
                    <a:pt x="424" y="302"/>
                  </a:lnTo>
                  <a:lnTo>
                    <a:pt x="424" y="300"/>
                  </a:lnTo>
                  <a:lnTo>
                    <a:pt x="426" y="298"/>
                  </a:lnTo>
                  <a:lnTo>
                    <a:pt x="424" y="298"/>
                  </a:lnTo>
                  <a:lnTo>
                    <a:pt x="424" y="295"/>
                  </a:lnTo>
                  <a:lnTo>
                    <a:pt x="422" y="295"/>
                  </a:lnTo>
                  <a:lnTo>
                    <a:pt x="420" y="298"/>
                  </a:lnTo>
                  <a:lnTo>
                    <a:pt x="420" y="298"/>
                  </a:lnTo>
                  <a:lnTo>
                    <a:pt x="420" y="298"/>
                  </a:lnTo>
                  <a:lnTo>
                    <a:pt x="420" y="298"/>
                  </a:lnTo>
                  <a:lnTo>
                    <a:pt x="420" y="298"/>
                  </a:lnTo>
                  <a:lnTo>
                    <a:pt x="420" y="298"/>
                  </a:lnTo>
                  <a:lnTo>
                    <a:pt x="422" y="298"/>
                  </a:lnTo>
                  <a:lnTo>
                    <a:pt x="422" y="298"/>
                  </a:lnTo>
                  <a:lnTo>
                    <a:pt x="422" y="298"/>
                  </a:lnTo>
                  <a:lnTo>
                    <a:pt x="422" y="300"/>
                  </a:lnTo>
                  <a:lnTo>
                    <a:pt x="422" y="300"/>
                  </a:lnTo>
                  <a:lnTo>
                    <a:pt x="420" y="300"/>
                  </a:lnTo>
                  <a:lnTo>
                    <a:pt x="420" y="300"/>
                  </a:lnTo>
                  <a:lnTo>
                    <a:pt x="418" y="300"/>
                  </a:lnTo>
                  <a:lnTo>
                    <a:pt x="418" y="300"/>
                  </a:lnTo>
                  <a:lnTo>
                    <a:pt x="418" y="302"/>
                  </a:lnTo>
                  <a:lnTo>
                    <a:pt x="416" y="304"/>
                  </a:lnTo>
                  <a:lnTo>
                    <a:pt x="416" y="304"/>
                  </a:lnTo>
                  <a:lnTo>
                    <a:pt x="416" y="302"/>
                  </a:lnTo>
                  <a:lnTo>
                    <a:pt x="416" y="302"/>
                  </a:lnTo>
                  <a:lnTo>
                    <a:pt x="416" y="302"/>
                  </a:lnTo>
                  <a:lnTo>
                    <a:pt x="416" y="302"/>
                  </a:lnTo>
                  <a:lnTo>
                    <a:pt x="416" y="298"/>
                  </a:lnTo>
                  <a:lnTo>
                    <a:pt x="418" y="298"/>
                  </a:lnTo>
                  <a:lnTo>
                    <a:pt x="416" y="295"/>
                  </a:lnTo>
                  <a:lnTo>
                    <a:pt x="416" y="295"/>
                  </a:lnTo>
                  <a:lnTo>
                    <a:pt x="416" y="298"/>
                  </a:lnTo>
                  <a:lnTo>
                    <a:pt x="416" y="298"/>
                  </a:lnTo>
                  <a:lnTo>
                    <a:pt x="414" y="300"/>
                  </a:lnTo>
                  <a:lnTo>
                    <a:pt x="414" y="302"/>
                  </a:lnTo>
                  <a:lnTo>
                    <a:pt x="412" y="304"/>
                  </a:lnTo>
                  <a:lnTo>
                    <a:pt x="412" y="304"/>
                  </a:lnTo>
                  <a:lnTo>
                    <a:pt x="412" y="304"/>
                  </a:lnTo>
                  <a:lnTo>
                    <a:pt x="410" y="304"/>
                  </a:lnTo>
                  <a:lnTo>
                    <a:pt x="410" y="304"/>
                  </a:lnTo>
                  <a:lnTo>
                    <a:pt x="408" y="302"/>
                  </a:lnTo>
                  <a:lnTo>
                    <a:pt x="408" y="302"/>
                  </a:lnTo>
                  <a:lnTo>
                    <a:pt x="406" y="300"/>
                  </a:lnTo>
                  <a:lnTo>
                    <a:pt x="406" y="300"/>
                  </a:lnTo>
                  <a:lnTo>
                    <a:pt x="404" y="300"/>
                  </a:lnTo>
                  <a:lnTo>
                    <a:pt x="402" y="302"/>
                  </a:lnTo>
                  <a:lnTo>
                    <a:pt x="399" y="306"/>
                  </a:lnTo>
                  <a:lnTo>
                    <a:pt x="393" y="310"/>
                  </a:lnTo>
                  <a:lnTo>
                    <a:pt x="391" y="312"/>
                  </a:lnTo>
                  <a:lnTo>
                    <a:pt x="389" y="312"/>
                  </a:lnTo>
                  <a:lnTo>
                    <a:pt x="383" y="314"/>
                  </a:lnTo>
                  <a:lnTo>
                    <a:pt x="381" y="316"/>
                  </a:lnTo>
                  <a:lnTo>
                    <a:pt x="379" y="316"/>
                  </a:lnTo>
                  <a:lnTo>
                    <a:pt x="373" y="314"/>
                  </a:lnTo>
                  <a:lnTo>
                    <a:pt x="369" y="312"/>
                  </a:lnTo>
                  <a:lnTo>
                    <a:pt x="363" y="312"/>
                  </a:lnTo>
                  <a:lnTo>
                    <a:pt x="359" y="312"/>
                  </a:lnTo>
                  <a:lnTo>
                    <a:pt x="354" y="308"/>
                  </a:lnTo>
                  <a:lnTo>
                    <a:pt x="352" y="304"/>
                  </a:lnTo>
                  <a:lnTo>
                    <a:pt x="352" y="300"/>
                  </a:lnTo>
                  <a:lnTo>
                    <a:pt x="354" y="295"/>
                  </a:lnTo>
                  <a:lnTo>
                    <a:pt x="361" y="289"/>
                  </a:lnTo>
                  <a:lnTo>
                    <a:pt x="363" y="285"/>
                  </a:lnTo>
                  <a:lnTo>
                    <a:pt x="365" y="281"/>
                  </a:lnTo>
                  <a:lnTo>
                    <a:pt x="367" y="279"/>
                  </a:lnTo>
                  <a:lnTo>
                    <a:pt x="369" y="277"/>
                  </a:lnTo>
                  <a:lnTo>
                    <a:pt x="373" y="275"/>
                  </a:lnTo>
                  <a:lnTo>
                    <a:pt x="377" y="277"/>
                  </a:lnTo>
                  <a:lnTo>
                    <a:pt x="381" y="277"/>
                  </a:lnTo>
                  <a:lnTo>
                    <a:pt x="385" y="279"/>
                  </a:lnTo>
                  <a:lnTo>
                    <a:pt x="389" y="281"/>
                  </a:lnTo>
                  <a:lnTo>
                    <a:pt x="391" y="281"/>
                  </a:lnTo>
                  <a:lnTo>
                    <a:pt x="391" y="283"/>
                  </a:lnTo>
                  <a:lnTo>
                    <a:pt x="393" y="287"/>
                  </a:lnTo>
                  <a:lnTo>
                    <a:pt x="393" y="287"/>
                  </a:lnTo>
                  <a:lnTo>
                    <a:pt x="397" y="287"/>
                  </a:lnTo>
                  <a:lnTo>
                    <a:pt x="399" y="287"/>
                  </a:lnTo>
                  <a:lnTo>
                    <a:pt x="402" y="287"/>
                  </a:lnTo>
                  <a:lnTo>
                    <a:pt x="402" y="287"/>
                  </a:lnTo>
                  <a:lnTo>
                    <a:pt x="404" y="287"/>
                  </a:lnTo>
                  <a:lnTo>
                    <a:pt x="408" y="289"/>
                  </a:lnTo>
                  <a:lnTo>
                    <a:pt x="410" y="289"/>
                  </a:lnTo>
                  <a:lnTo>
                    <a:pt x="414" y="289"/>
                  </a:lnTo>
                  <a:lnTo>
                    <a:pt x="414" y="289"/>
                  </a:lnTo>
                  <a:lnTo>
                    <a:pt x="416" y="291"/>
                  </a:lnTo>
                  <a:lnTo>
                    <a:pt x="416" y="291"/>
                  </a:lnTo>
                  <a:lnTo>
                    <a:pt x="416" y="291"/>
                  </a:lnTo>
                  <a:lnTo>
                    <a:pt x="416" y="293"/>
                  </a:lnTo>
                  <a:lnTo>
                    <a:pt x="416" y="293"/>
                  </a:lnTo>
                  <a:lnTo>
                    <a:pt x="416" y="293"/>
                  </a:lnTo>
                  <a:lnTo>
                    <a:pt x="418" y="295"/>
                  </a:lnTo>
                  <a:lnTo>
                    <a:pt x="420" y="295"/>
                  </a:lnTo>
                  <a:lnTo>
                    <a:pt x="420" y="293"/>
                  </a:lnTo>
                  <a:lnTo>
                    <a:pt x="422" y="293"/>
                  </a:lnTo>
                  <a:lnTo>
                    <a:pt x="426" y="295"/>
                  </a:lnTo>
                  <a:lnTo>
                    <a:pt x="426" y="293"/>
                  </a:lnTo>
                  <a:lnTo>
                    <a:pt x="428" y="293"/>
                  </a:lnTo>
                  <a:lnTo>
                    <a:pt x="430" y="293"/>
                  </a:lnTo>
                  <a:lnTo>
                    <a:pt x="430" y="293"/>
                  </a:lnTo>
                  <a:lnTo>
                    <a:pt x="430" y="295"/>
                  </a:lnTo>
                  <a:lnTo>
                    <a:pt x="430" y="295"/>
                  </a:lnTo>
                  <a:lnTo>
                    <a:pt x="428" y="295"/>
                  </a:lnTo>
                  <a:lnTo>
                    <a:pt x="430" y="295"/>
                  </a:lnTo>
                  <a:lnTo>
                    <a:pt x="432" y="295"/>
                  </a:lnTo>
                  <a:lnTo>
                    <a:pt x="434" y="293"/>
                  </a:lnTo>
                  <a:lnTo>
                    <a:pt x="436" y="291"/>
                  </a:lnTo>
                  <a:lnTo>
                    <a:pt x="436" y="291"/>
                  </a:lnTo>
                  <a:lnTo>
                    <a:pt x="434" y="291"/>
                  </a:lnTo>
                  <a:lnTo>
                    <a:pt x="432" y="291"/>
                  </a:lnTo>
                  <a:lnTo>
                    <a:pt x="432" y="291"/>
                  </a:lnTo>
                  <a:lnTo>
                    <a:pt x="430" y="289"/>
                  </a:lnTo>
                  <a:lnTo>
                    <a:pt x="426" y="283"/>
                  </a:lnTo>
                  <a:lnTo>
                    <a:pt x="424" y="281"/>
                  </a:lnTo>
                  <a:lnTo>
                    <a:pt x="424" y="277"/>
                  </a:lnTo>
                  <a:lnTo>
                    <a:pt x="424" y="275"/>
                  </a:lnTo>
                  <a:lnTo>
                    <a:pt x="420" y="271"/>
                  </a:lnTo>
                  <a:lnTo>
                    <a:pt x="420" y="269"/>
                  </a:lnTo>
                  <a:lnTo>
                    <a:pt x="420" y="269"/>
                  </a:lnTo>
                  <a:lnTo>
                    <a:pt x="420" y="267"/>
                  </a:lnTo>
                  <a:lnTo>
                    <a:pt x="420" y="265"/>
                  </a:lnTo>
                  <a:lnTo>
                    <a:pt x="420" y="265"/>
                  </a:lnTo>
                  <a:lnTo>
                    <a:pt x="418" y="263"/>
                  </a:lnTo>
                  <a:lnTo>
                    <a:pt x="414" y="261"/>
                  </a:lnTo>
                  <a:lnTo>
                    <a:pt x="414" y="257"/>
                  </a:lnTo>
                  <a:lnTo>
                    <a:pt x="412" y="257"/>
                  </a:lnTo>
                  <a:lnTo>
                    <a:pt x="408" y="254"/>
                  </a:lnTo>
                  <a:lnTo>
                    <a:pt x="408" y="254"/>
                  </a:lnTo>
                  <a:lnTo>
                    <a:pt x="404" y="248"/>
                  </a:lnTo>
                  <a:lnTo>
                    <a:pt x="406" y="246"/>
                  </a:lnTo>
                  <a:lnTo>
                    <a:pt x="404" y="244"/>
                  </a:lnTo>
                  <a:lnTo>
                    <a:pt x="404" y="244"/>
                  </a:lnTo>
                  <a:lnTo>
                    <a:pt x="402" y="242"/>
                  </a:lnTo>
                  <a:lnTo>
                    <a:pt x="402" y="240"/>
                  </a:lnTo>
                  <a:lnTo>
                    <a:pt x="402" y="238"/>
                  </a:lnTo>
                  <a:lnTo>
                    <a:pt x="404" y="234"/>
                  </a:lnTo>
                  <a:lnTo>
                    <a:pt x="404" y="232"/>
                  </a:lnTo>
                  <a:lnTo>
                    <a:pt x="404" y="230"/>
                  </a:lnTo>
                  <a:lnTo>
                    <a:pt x="406" y="226"/>
                  </a:lnTo>
                  <a:lnTo>
                    <a:pt x="406" y="220"/>
                  </a:lnTo>
                  <a:lnTo>
                    <a:pt x="408" y="216"/>
                  </a:lnTo>
                  <a:lnTo>
                    <a:pt x="410" y="211"/>
                  </a:lnTo>
                  <a:lnTo>
                    <a:pt x="410" y="207"/>
                  </a:lnTo>
                  <a:lnTo>
                    <a:pt x="408" y="207"/>
                  </a:lnTo>
                  <a:lnTo>
                    <a:pt x="406" y="207"/>
                  </a:lnTo>
                  <a:lnTo>
                    <a:pt x="402" y="207"/>
                  </a:lnTo>
                  <a:lnTo>
                    <a:pt x="399" y="207"/>
                  </a:lnTo>
                  <a:lnTo>
                    <a:pt x="393" y="207"/>
                  </a:lnTo>
                  <a:lnTo>
                    <a:pt x="385" y="209"/>
                  </a:lnTo>
                  <a:lnTo>
                    <a:pt x="375" y="209"/>
                  </a:lnTo>
                  <a:lnTo>
                    <a:pt x="363" y="211"/>
                  </a:lnTo>
                  <a:lnTo>
                    <a:pt x="348" y="211"/>
                  </a:lnTo>
                  <a:lnTo>
                    <a:pt x="334" y="213"/>
                  </a:lnTo>
                  <a:lnTo>
                    <a:pt x="320" y="216"/>
                  </a:lnTo>
                  <a:lnTo>
                    <a:pt x="303" y="216"/>
                  </a:lnTo>
                  <a:lnTo>
                    <a:pt x="289" y="218"/>
                  </a:lnTo>
                  <a:lnTo>
                    <a:pt x="275" y="218"/>
                  </a:lnTo>
                  <a:lnTo>
                    <a:pt x="262" y="220"/>
                  </a:lnTo>
                  <a:lnTo>
                    <a:pt x="252" y="220"/>
                  </a:lnTo>
                  <a:lnTo>
                    <a:pt x="244" y="222"/>
                  </a:lnTo>
                  <a:lnTo>
                    <a:pt x="238" y="222"/>
                  </a:lnTo>
                  <a:lnTo>
                    <a:pt x="236" y="222"/>
                  </a:lnTo>
                  <a:lnTo>
                    <a:pt x="232" y="222"/>
                  </a:lnTo>
                  <a:lnTo>
                    <a:pt x="232" y="222"/>
                  </a:lnTo>
                  <a:lnTo>
                    <a:pt x="238" y="216"/>
                  </a:lnTo>
                  <a:lnTo>
                    <a:pt x="238" y="211"/>
                  </a:lnTo>
                  <a:lnTo>
                    <a:pt x="234" y="209"/>
                  </a:lnTo>
                  <a:lnTo>
                    <a:pt x="234" y="205"/>
                  </a:lnTo>
                  <a:lnTo>
                    <a:pt x="234" y="205"/>
                  </a:lnTo>
                  <a:lnTo>
                    <a:pt x="234" y="203"/>
                  </a:lnTo>
                  <a:lnTo>
                    <a:pt x="234" y="201"/>
                  </a:lnTo>
                  <a:lnTo>
                    <a:pt x="234" y="201"/>
                  </a:lnTo>
                  <a:lnTo>
                    <a:pt x="234" y="201"/>
                  </a:lnTo>
                  <a:lnTo>
                    <a:pt x="234" y="199"/>
                  </a:lnTo>
                  <a:lnTo>
                    <a:pt x="234" y="199"/>
                  </a:lnTo>
                  <a:lnTo>
                    <a:pt x="234" y="197"/>
                  </a:lnTo>
                  <a:lnTo>
                    <a:pt x="232" y="197"/>
                  </a:lnTo>
                  <a:lnTo>
                    <a:pt x="230" y="195"/>
                  </a:lnTo>
                  <a:lnTo>
                    <a:pt x="230" y="193"/>
                  </a:lnTo>
                  <a:lnTo>
                    <a:pt x="232" y="191"/>
                  </a:lnTo>
                  <a:lnTo>
                    <a:pt x="234" y="191"/>
                  </a:lnTo>
                  <a:lnTo>
                    <a:pt x="238" y="191"/>
                  </a:lnTo>
                  <a:lnTo>
                    <a:pt x="240" y="191"/>
                  </a:lnTo>
                  <a:lnTo>
                    <a:pt x="242" y="189"/>
                  </a:lnTo>
                  <a:lnTo>
                    <a:pt x="242" y="187"/>
                  </a:lnTo>
                  <a:lnTo>
                    <a:pt x="242" y="181"/>
                  </a:lnTo>
                  <a:lnTo>
                    <a:pt x="242" y="179"/>
                  </a:lnTo>
                  <a:lnTo>
                    <a:pt x="244" y="179"/>
                  </a:lnTo>
                  <a:lnTo>
                    <a:pt x="244" y="177"/>
                  </a:lnTo>
                  <a:lnTo>
                    <a:pt x="242" y="177"/>
                  </a:lnTo>
                  <a:lnTo>
                    <a:pt x="242" y="172"/>
                  </a:lnTo>
                  <a:lnTo>
                    <a:pt x="240" y="172"/>
                  </a:lnTo>
                  <a:lnTo>
                    <a:pt x="240" y="172"/>
                  </a:lnTo>
                  <a:lnTo>
                    <a:pt x="240" y="166"/>
                  </a:lnTo>
                  <a:lnTo>
                    <a:pt x="242" y="164"/>
                  </a:lnTo>
                  <a:lnTo>
                    <a:pt x="248" y="158"/>
                  </a:lnTo>
                  <a:lnTo>
                    <a:pt x="248" y="158"/>
                  </a:lnTo>
                  <a:lnTo>
                    <a:pt x="248" y="156"/>
                  </a:lnTo>
                  <a:lnTo>
                    <a:pt x="248" y="154"/>
                  </a:lnTo>
                  <a:lnTo>
                    <a:pt x="248" y="144"/>
                  </a:lnTo>
                  <a:lnTo>
                    <a:pt x="248" y="142"/>
                  </a:lnTo>
                  <a:lnTo>
                    <a:pt x="248" y="140"/>
                  </a:lnTo>
                  <a:lnTo>
                    <a:pt x="250" y="136"/>
                  </a:lnTo>
                  <a:lnTo>
                    <a:pt x="252" y="132"/>
                  </a:lnTo>
                  <a:lnTo>
                    <a:pt x="252" y="129"/>
                  </a:lnTo>
                  <a:lnTo>
                    <a:pt x="254" y="127"/>
                  </a:lnTo>
                  <a:lnTo>
                    <a:pt x="256" y="125"/>
                  </a:lnTo>
                  <a:lnTo>
                    <a:pt x="258" y="125"/>
                  </a:lnTo>
                  <a:lnTo>
                    <a:pt x="260" y="123"/>
                  </a:lnTo>
                  <a:lnTo>
                    <a:pt x="262" y="123"/>
                  </a:lnTo>
                  <a:lnTo>
                    <a:pt x="266" y="117"/>
                  </a:lnTo>
                  <a:lnTo>
                    <a:pt x="266" y="117"/>
                  </a:lnTo>
                  <a:lnTo>
                    <a:pt x="268" y="113"/>
                  </a:lnTo>
                  <a:lnTo>
                    <a:pt x="268" y="113"/>
                  </a:lnTo>
                  <a:lnTo>
                    <a:pt x="268" y="113"/>
                  </a:lnTo>
                  <a:lnTo>
                    <a:pt x="273" y="111"/>
                  </a:lnTo>
                  <a:lnTo>
                    <a:pt x="275" y="109"/>
                  </a:lnTo>
                  <a:lnTo>
                    <a:pt x="277" y="105"/>
                  </a:lnTo>
                  <a:lnTo>
                    <a:pt x="277" y="101"/>
                  </a:lnTo>
                  <a:lnTo>
                    <a:pt x="273" y="97"/>
                  </a:lnTo>
                  <a:lnTo>
                    <a:pt x="273" y="97"/>
                  </a:lnTo>
                  <a:lnTo>
                    <a:pt x="273" y="97"/>
                  </a:lnTo>
                  <a:lnTo>
                    <a:pt x="273" y="95"/>
                  </a:lnTo>
                  <a:lnTo>
                    <a:pt x="275" y="95"/>
                  </a:lnTo>
                  <a:lnTo>
                    <a:pt x="279" y="95"/>
                  </a:lnTo>
                  <a:lnTo>
                    <a:pt x="281" y="88"/>
                  </a:lnTo>
                  <a:lnTo>
                    <a:pt x="285" y="80"/>
                  </a:lnTo>
                  <a:lnTo>
                    <a:pt x="287" y="76"/>
                  </a:lnTo>
                  <a:lnTo>
                    <a:pt x="287" y="76"/>
                  </a:lnTo>
                  <a:lnTo>
                    <a:pt x="289" y="76"/>
                  </a:lnTo>
                  <a:lnTo>
                    <a:pt x="289" y="74"/>
                  </a:lnTo>
                  <a:lnTo>
                    <a:pt x="287" y="72"/>
                  </a:lnTo>
                  <a:lnTo>
                    <a:pt x="285" y="72"/>
                  </a:lnTo>
                  <a:lnTo>
                    <a:pt x="283" y="72"/>
                  </a:lnTo>
                  <a:lnTo>
                    <a:pt x="281" y="70"/>
                  </a:lnTo>
                  <a:lnTo>
                    <a:pt x="281" y="70"/>
                  </a:lnTo>
                  <a:lnTo>
                    <a:pt x="279" y="66"/>
                  </a:lnTo>
                  <a:lnTo>
                    <a:pt x="277" y="64"/>
                  </a:lnTo>
                  <a:lnTo>
                    <a:pt x="275" y="64"/>
                  </a:lnTo>
                  <a:lnTo>
                    <a:pt x="270" y="62"/>
                  </a:lnTo>
                  <a:lnTo>
                    <a:pt x="270" y="60"/>
                  </a:lnTo>
                  <a:lnTo>
                    <a:pt x="268" y="58"/>
                  </a:lnTo>
                  <a:lnTo>
                    <a:pt x="268" y="54"/>
                  </a:lnTo>
                  <a:lnTo>
                    <a:pt x="268" y="54"/>
                  </a:lnTo>
                  <a:lnTo>
                    <a:pt x="268" y="52"/>
                  </a:lnTo>
                  <a:lnTo>
                    <a:pt x="270" y="50"/>
                  </a:lnTo>
                  <a:lnTo>
                    <a:pt x="268" y="50"/>
                  </a:lnTo>
                  <a:lnTo>
                    <a:pt x="268" y="47"/>
                  </a:lnTo>
                  <a:lnTo>
                    <a:pt x="266" y="47"/>
                  </a:lnTo>
                  <a:lnTo>
                    <a:pt x="264" y="45"/>
                  </a:lnTo>
                  <a:lnTo>
                    <a:pt x="264" y="45"/>
                  </a:lnTo>
                  <a:lnTo>
                    <a:pt x="262" y="43"/>
                  </a:lnTo>
                  <a:lnTo>
                    <a:pt x="262" y="41"/>
                  </a:lnTo>
                  <a:lnTo>
                    <a:pt x="262" y="39"/>
                  </a:lnTo>
                  <a:lnTo>
                    <a:pt x="262" y="37"/>
                  </a:lnTo>
                  <a:lnTo>
                    <a:pt x="264" y="37"/>
                  </a:lnTo>
                  <a:lnTo>
                    <a:pt x="268" y="35"/>
                  </a:lnTo>
                  <a:lnTo>
                    <a:pt x="268" y="35"/>
                  </a:lnTo>
                  <a:lnTo>
                    <a:pt x="270" y="33"/>
                  </a:lnTo>
                  <a:lnTo>
                    <a:pt x="270" y="31"/>
                  </a:lnTo>
                  <a:lnTo>
                    <a:pt x="268" y="31"/>
                  </a:lnTo>
                  <a:lnTo>
                    <a:pt x="264" y="29"/>
                  </a:lnTo>
                  <a:lnTo>
                    <a:pt x="262" y="29"/>
                  </a:lnTo>
                  <a:lnTo>
                    <a:pt x="262" y="27"/>
                  </a:lnTo>
                  <a:lnTo>
                    <a:pt x="262" y="23"/>
                  </a:lnTo>
                  <a:lnTo>
                    <a:pt x="264" y="19"/>
                  </a:lnTo>
                  <a:lnTo>
                    <a:pt x="264" y="17"/>
                  </a:lnTo>
                  <a:lnTo>
                    <a:pt x="266" y="17"/>
                  </a:lnTo>
                  <a:lnTo>
                    <a:pt x="266" y="15"/>
                  </a:lnTo>
                  <a:lnTo>
                    <a:pt x="268" y="13"/>
                  </a:lnTo>
                  <a:lnTo>
                    <a:pt x="268" y="11"/>
                  </a:lnTo>
                  <a:lnTo>
                    <a:pt x="266" y="9"/>
                  </a:lnTo>
                  <a:lnTo>
                    <a:pt x="266" y="7"/>
                  </a:lnTo>
                  <a:lnTo>
                    <a:pt x="264" y="7"/>
                  </a:lnTo>
                  <a:lnTo>
                    <a:pt x="262" y="7"/>
                  </a:lnTo>
                  <a:lnTo>
                    <a:pt x="262" y="7"/>
                  </a:lnTo>
                  <a:lnTo>
                    <a:pt x="260" y="7"/>
                  </a:lnTo>
                  <a:lnTo>
                    <a:pt x="260" y="4"/>
                  </a:lnTo>
                  <a:lnTo>
                    <a:pt x="260" y="0"/>
                  </a:lnTo>
                  <a:lnTo>
                    <a:pt x="258" y="2"/>
                  </a:lnTo>
                  <a:lnTo>
                    <a:pt x="242" y="2"/>
                  </a:lnTo>
                  <a:lnTo>
                    <a:pt x="225" y="4"/>
                  </a:lnTo>
                  <a:lnTo>
                    <a:pt x="209" y="4"/>
                  </a:lnTo>
                  <a:lnTo>
                    <a:pt x="193" y="7"/>
                  </a:lnTo>
                  <a:lnTo>
                    <a:pt x="178" y="9"/>
                  </a:lnTo>
                  <a:lnTo>
                    <a:pt x="162" y="9"/>
                  </a:lnTo>
                  <a:lnTo>
                    <a:pt x="146" y="11"/>
                  </a:lnTo>
                  <a:lnTo>
                    <a:pt x="129" y="11"/>
                  </a:lnTo>
                  <a:lnTo>
                    <a:pt x="113" y="13"/>
                  </a:lnTo>
                  <a:lnTo>
                    <a:pt x="96" y="13"/>
                  </a:lnTo>
                  <a:lnTo>
                    <a:pt x="80" y="15"/>
                  </a:lnTo>
                  <a:lnTo>
                    <a:pt x="64" y="15"/>
                  </a:lnTo>
                  <a:lnTo>
                    <a:pt x="47" y="17"/>
                  </a:lnTo>
                  <a:lnTo>
                    <a:pt x="31" y="17"/>
                  </a:lnTo>
                  <a:lnTo>
                    <a:pt x="17" y="19"/>
                  </a:lnTo>
                  <a:lnTo>
                    <a:pt x="0" y="19"/>
                  </a:lnTo>
                  <a:lnTo>
                    <a:pt x="0" y="31"/>
                  </a:lnTo>
                  <a:lnTo>
                    <a:pt x="2" y="58"/>
                  </a:lnTo>
                  <a:lnTo>
                    <a:pt x="2" y="70"/>
                  </a:lnTo>
                  <a:lnTo>
                    <a:pt x="2" y="82"/>
                  </a:lnTo>
                  <a:lnTo>
                    <a:pt x="4" y="95"/>
                  </a:lnTo>
                  <a:lnTo>
                    <a:pt x="4" y="107"/>
                  </a:lnTo>
                  <a:lnTo>
                    <a:pt x="4" y="121"/>
                  </a:lnTo>
                  <a:lnTo>
                    <a:pt x="4" y="127"/>
                  </a:lnTo>
                  <a:lnTo>
                    <a:pt x="6" y="129"/>
                  </a:lnTo>
                  <a:lnTo>
                    <a:pt x="6" y="129"/>
                  </a:lnTo>
                  <a:lnTo>
                    <a:pt x="6" y="129"/>
                  </a:lnTo>
                  <a:lnTo>
                    <a:pt x="6" y="129"/>
                  </a:lnTo>
                  <a:lnTo>
                    <a:pt x="8" y="132"/>
                  </a:lnTo>
                  <a:lnTo>
                    <a:pt x="8" y="132"/>
                  </a:lnTo>
                  <a:lnTo>
                    <a:pt x="10" y="132"/>
                  </a:lnTo>
                  <a:lnTo>
                    <a:pt x="12" y="136"/>
                  </a:lnTo>
                  <a:lnTo>
                    <a:pt x="12" y="136"/>
                  </a:lnTo>
                  <a:lnTo>
                    <a:pt x="12" y="136"/>
                  </a:lnTo>
                  <a:lnTo>
                    <a:pt x="12" y="136"/>
                  </a:lnTo>
                  <a:lnTo>
                    <a:pt x="17" y="138"/>
                  </a:lnTo>
                  <a:lnTo>
                    <a:pt x="17" y="138"/>
                  </a:lnTo>
                  <a:lnTo>
                    <a:pt x="19" y="140"/>
                  </a:lnTo>
                  <a:lnTo>
                    <a:pt x="21" y="142"/>
                  </a:lnTo>
                  <a:lnTo>
                    <a:pt x="21" y="144"/>
                  </a:lnTo>
                  <a:lnTo>
                    <a:pt x="21" y="144"/>
                  </a:lnTo>
                  <a:lnTo>
                    <a:pt x="23" y="146"/>
                  </a:lnTo>
                  <a:lnTo>
                    <a:pt x="23" y="146"/>
                  </a:lnTo>
                  <a:lnTo>
                    <a:pt x="25" y="150"/>
                  </a:lnTo>
                  <a:lnTo>
                    <a:pt x="25" y="150"/>
                  </a:lnTo>
                  <a:lnTo>
                    <a:pt x="27" y="154"/>
                  </a:lnTo>
                  <a:lnTo>
                    <a:pt x="27" y="156"/>
                  </a:lnTo>
                  <a:lnTo>
                    <a:pt x="27" y="156"/>
                  </a:lnTo>
                  <a:lnTo>
                    <a:pt x="27" y="156"/>
                  </a:lnTo>
                  <a:lnTo>
                    <a:pt x="27" y="158"/>
                  </a:lnTo>
                  <a:lnTo>
                    <a:pt x="29" y="158"/>
                  </a:lnTo>
                  <a:lnTo>
                    <a:pt x="29" y="158"/>
                  </a:lnTo>
                  <a:lnTo>
                    <a:pt x="29" y="158"/>
                  </a:lnTo>
                  <a:lnTo>
                    <a:pt x="27" y="160"/>
                  </a:lnTo>
                  <a:lnTo>
                    <a:pt x="27" y="162"/>
                  </a:lnTo>
                  <a:lnTo>
                    <a:pt x="27" y="164"/>
                  </a:lnTo>
                  <a:lnTo>
                    <a:pt x="27" y="166"/>
                  </a:lnTo>
                  <a:lnTo>
                    <a:pt x="27" y="166"/>
                  </a:lnTo>
                  <a:lnTo>
                    <a:pt x="27" y="166"/>
                  </a:lnTo>
                  <a:lnTo>
                    <a:pt x="27" y="168"/>
                  </a:lnTo>
                  <a:lnTo>
                    <a:pt x="27" y="168"/>
                  </a:lnTo>
                  <a:lnTo>
                    <a:pt x="27" y="170"/>
                  </a:lnTo>
                  <a:lnTo>
                    <a:pt x="27" y="170"/>
                  </a:lnTo>
                  <a:lnTo>
                    <a:pt x="27" y="170"/>
                  </a:lnTo>
                  <a:lnTo>
                    <a:pt x="29" y="172"/>
                  </a:lnTo>
                  <a:lnTo>
                    <a:pt x="29" y="175"/>
                  </a:lnTo>
                  <a:lnTo>
                    <a:pt x="31" y="177"/>
                  </a:lnTo>
                  <a:lnTo>
                    <a:pt x="33" y="177"/>
                  </a:lnTo>
                  <a:lnTo>
                    <a:pt x="33" y="177"/>
                  </a:lnTo>
                  <a:lnTo>
                    <a:pt x="33" y="177"/>
                  </a:lnTo>
                  <a:lnTo>
                    <a:pt x="35" y="179"/>
                  </a:lnTo>
                  <a:lnTo>
                    <a:pt x="37" y="179"/>
                  </a:lnTo>
                  <a:lnTo>
                    <a:pt x="37" y="179"/>
                  </a:lnTo>
                  <a:lnTo>
                    <a:pt x="37" y="179"/>
                  </a:lnTo>
                  <a:lnTo>
                    <a:pt x="37" y="179"/>
                  </a:lnTo>
                  <a:lnTo>
                    <a:pt x="37" y="181"/>
                  </a:lnTo>
                  <a:lnTo>
                    <a:pt x="37" y="181"/>
                  </a:lnTo>
                  <a:lnTo>
                    <a:pt x="37" y="181"/>
                  </a:lnTo>
                  <a:lnTo>
                    <a:pt x="37" y="181"/>
                  </a:lnTo>
                  <a:lnTo>
                    <a:pt x="35" y="181"/>
                  </a:lnTo>
                  <a:lnTo>
                    <a:pt x="35" y="181"/>
                  </a:lnTo>
                  <a:lnTo>
                    <a:pt x="35" y="183"/>
                  </a:lnTo>
                  <a:lnTo>
                    <a:pt x="35" y="183"/>
                  </a:lnTo>
                  <a:lnTo>
                    <a:pt x="35" y="183"/>
                  </a:lnTo>
                  <a:lnTo>
                    <a:pt x="37" y="185"/>
                  </a:lnTo>
                  <a:lnTo>
                    <a:pt x="37" y="185"/>
                  </a:lnTo>
                  <a:lnTo>
                    <a:pt x="37" y="185"/>
                  </a:lnTo>
                  <a:lnTo>
                    <a:pt x="39" y="185"/>
                  </a:lnTo>
                  <a:lnTo>
                    <a:pt x="39" y="185"/>
                  </a:lnTo>
                  <a:lnTo>
                    <a:pt x="39" y="185"/>
                  </a:lnTo>
                  <a:lnTo>
                    <a:pt x="39" y="185"/>
                  </a:lnTo>
                  <a:lnTo>
                    <a:pt x="39" y="187"/>
                  </a:lnTo>
                  <a:lnTo>
                    <a:pt x="39" y="189"/>
                  </a:lnTo>
                  <a:lnTo>
                    <a:pt x="41" y="189"/>
                  </a:lnTo>
                  <a:lnTo>
                    <a:pt x="41" y="189"/>
                  </a:lnTo>
                  <a:lnTo>
                    <a:pt x="41" y="191"/>
                  </a:lnTo>
                  <a:lnTo>
                    <a:pt x="43" y="193"/>
                  </a:lnTo>
                  <a:lnTo>
                    <a:pt x="45" y="193"/>
                  </a:lnTo>
                  <a:lnTo>
                    <a:pt x="45" y="193"/>
                  </a:lnTo>
                  <a:lnTo>
                    <a:pt x="45" y="193"/>
                  </a:lnTo>
                  <a:lnTo>
                    <a:pt x="43" y="195"/>
                  </a:lnTo>
                  <a:lnTo>
                    <a:pt x="43" y="195"/>
                  </a:lnTo>
                  <a:lnTo>
                    <a:pt x="43" y="197"/>
                  </a:lnTo>
                  <a:lnTo>
                    <a:pt x="43" y="197"/>
                  </a:lnTo>
                  <a:lnTo>
                    <a:pt x="43" y="199"/>
                  </a:lnTo>
                  <a:lnTo>
                    <a:pt x="43" y="199"/>
                  </a:lnTo>
                  <a:lnTo>
                    <a:pt x="43" y="199"/>
                  </a:lnTo>
                  <a:lnTo>
                    <a:pt x="43" y="201"/>
                  </a:lnTo>
                  <a:lnTo>
                    <a:pt x="47" y="203"/>
                  </a:lnTo>
                  <a:lnTo>
                    <a:pt x="47" y="203"/>
                  </a:lnTo>
                  <a:lnTo>
                    <a:pt x="47" y="203"/>
                  </a:lnTo>
                  <a:lnTo>
                    <a:pt x="47" y="205"/>
                  </a:lnTo>
                  <a:lnTo>
                    <a:pt x="47" y="205"/>
                  </a:lnTo>
                  <a:lnTo>
                    <a:pt x="49" y="205"/>
                  </a:lnTo>
                  <a:lnTo>
                    <a:pt x="49" y="207"/>
                  </a:lnTo>
                  <a:lnTo>
                    <a:pt x="49" y="207"/>
                  </a:lnTo>
                  <a:lnTo>
                    <a:pt x="49" y="207"/>
                  </a:lnTo>
                  <a:lnTo>
                    <a:pt x="49" y="209"/>
                  </a:lnTo>
                  <a:lnTo>
                    <a:pt x="49" y="211"/>
                  </a:lnTo>
                  <a:lnTo>
                    <a:pt x="51" y="211"/>
                  </a:lnTo>
                  <a:lnTo>
                    <a:pt x="51" y="211"/>
                  </a:lnTo>
                  <a:lnTo>
                    <a:pt x="51" y="213"/>
                  </a:lnTo>
                  <a:lnTo>
                    <a:pt x="51" y="213"/>
                  </a:lnTo>
                  <a:lnTo>
                    <a:pt x="51" y="213"/>
                  </a:lnTo>
                  <a:lnTo>
                    <a:pt x="51" y="213"/>
                  </a:lnTo>
                  <a:lnTo>
                    <a:pt x="51" y="213"/>
                  </a:lnTo>
                  <a:lnTo>
                    <a:pt x="53" y="211"/>
                  </a:lnTo>
                  <a:lnTo>
                    <a:pt x="55" y="213"/>
                  </a:lnTo>
                  <a:lnTo>
                    <a:pt x="55" y="213"/>
                  </a:lnTo>
                  <a:lnTo>
                    <a:pt x="55" y="220"/>
                  </a:lnTo>
                  <a:lnTo>
                    <a:pt x="55" y="220"/>
                  </a:lnTo>
                  <a:lnTo>
                    <a:pt x="55" y="222"/>
                  </a:lnTo>
                  <a:lnTo>
                    <a:pt x="55" y="224"/>
                  </a:lnTo>
                  <a:lnTo>
                    <a:pt x="57" y="226"/>
                  </a:lnTo>
                  <a:lnTo>
                    <a:pt x="60" y="228"/>
                  </a:lnTo>
                  <a:lnTo>
                    <a:pt x="60" y="228"/>
                  </a:lnTo>
                  <a:lnTo>
                    <a:pt x="60" y="230"/>
                  </a:lnTo>
                  <a:lnTo>
                    <a:pt x="60" y="230"/>
                  </a:lnTo>
                  <a:lnTo>
                    <a:pt x="55" y="232"/>
                  </a:lnTo>
                  <a:lnTo>
                    <a:pt x="55" y="232"/>
                  </a:lnTo>
                  <a:lnTo>
                    <a:pt x="53" y="232"/>
                  </a:lnTo>
                  <a:lnTo>
                    <a:pt x="55" y="236"/>
                  </a:lnTo>
                  <a:lnTo>
                    <a:pt x="57" y="238"/>
                  </a:lnTo>
                  <a:lnTo>
                    <a:pt x="57" y="238"/>
                  </a:lnTo>
                  <a:lnTo>
                    <a:pt x="57" y="240"/>
                  </a:lnTo>
                  <a:lnTo>
                    <a:pt x="57" y="240"/>
                  </a:lnTo>
                  <a:lnTo>
                    <a:pt x="57" y="240"/>
                  </a:lnTo>
                  <a:lnTo>
                    <a:pt x="55" y="242"/>
                  </a:lnTo>
                  <a:lnTo>
                    <a:pt x="55" y="244"/>
                  </a:lnTo>
                  <a:lnTo>
                    <a:pt x="55" y="244"/>
                  </a:lnTo>
                  <a:lnTo>
                    <a:pt x="55" y="246"/>
                  </a:lnTo>
                  <a:lnTo>
                    <a:pt x="55" y="248"/>
                  </a:lnTo>
                  <a:lnTo>
                    <a:pt x="55" y="248"/>
                  </a:lnTo>
                  <a:lnTo>
                    <a:pt x="55" y="250"/>
                  </a:lnTo>
                  <a:lnTo>
                    <a:pt x="55" y="250"/>
                  </a:lnTo>
                  <a:lnTo>
                    <a:pt x="55" y="252"/>
                  </a:lnTo>
                  <a:lnTo>
                    <a:pt x="53" y="259"/>
                  </a:lnTo>
                  <a:lnTo>
                    <a:pt x="51" y="265"/>
                  </a:lnTo>
                  <a:lnTo>
                    <a:pt x="51" y="267"/>
                  </a:lnTo>
                  <a:lnTo>
                    <a:pt x="47" y="269"/>
                  </a:lnTo>
                  <a:lnTo>
                    <a:pt x="47" y="271"/>
                  </a:lnTo>
                  <a:lnTo>
                    <a:pt x="47" y="275"/>
                  </a:lnTo>
                  <a:lnTo>
                    <a:pt x="47" y="277"/>
                  </a:lnTo>
                  <a:lnTo>
                    <a:pt x="45" y="277"/>
                  </a:lnTo>
                  <a:lnTo>
                    <a:pt x="43" y="279"/>
                  </a:lnTo>
                  <a:lnTo>
                    <a:pt x="43" y="281"/>
                  </a:lnTo>
                  <a:lnTo>
                    <a:pt x="43" y="283"/>
                  </a:lnTo>
                  <a:lnTo>
                    <a:pt x="43" y="283"/>
                  </a:lnTo>
                  <a:lnTo>
                    <a:pt x="43" y="283"/>
                  </a:lnTo>
                  <a:lnTo>
                    <a:pt x="43" y="285"/>
                  </a:lnTo>
                  <a:lnTo>
                    <a:pt x="43" y="287"/>
                  </a:lnTo>
                  <a:lnTo>
                    <a:pt x="43" y="287"/>
                  </a:lnTo>
                  <a:lnTo>
                    <a:pt x="45" y="289"/>
                  </a:lnTo>
                  <a:lnTo>
                    <a:pt x="45" y="291"/>
                  </a:lnTo>
                  <a:lnTo>
                    <a:pt x="45" y="293"/>
                  </a:lnTo>
                  <a:lnTo>
                    <a:pt x="45" y="295"/>
                  </a:lnTo>
                  <a:lnTo>
                    <a:pt x="43" y="298"/>
                  </a:lnTo>
                  <a:lnTo>
                    <a:pt x="41" y="300"/>
                  </a:lnTo>
                  <a:lnTo>
                    <a:pt x="41" y="302"/>
                  </a:lnTo>
                  <a:lnTo>
                    <a:pt x="41" y="306"/>
                  </a:lnTo>
                  <a:lnTo>
                    <a:pt x="43" y="308"/>
                  </a:lnTo>
                  <a:lnTo>
                    <a:pt x="45" y="310"/>
                  </a:lnTo>
                  <a:lnTo>
                    <a:pt x="45" y="312"/>
                  </a:lnTo>
                  <a:lnTo>
                    <a:pt x="47" y="314"/>
                  </a:lnTo>
                  <a:lnTo>
                    <a:pt x="45" y="314"/>
                  </a:lnTo>
                  <a:lnTo>
                    <a:pt x="45" y="316"/>
                  </a:lnTo>
                  <a:lnTo>
                    <a:pt x="45" y="318"/>
                  </a:lnTo>
                  <a:lnTo>
                    <a:pt x="45" y="318"/>
                  </a:lnTo>
                  <a:lnTo>
                    <a:pt x="47" y="320"/>
                  </a:lnTo>
                  <a:lnTo>
                    <a:pt x="47" y="322"/>
                  </a:lnTo>
                  <a:lnTo>
                    <a:pt x="47" y="324"/>
                  </a:lnTo>
                  <a:lnTo>
                    <a:pt x="47" y="324"/>
                  </a:lnTo>
                  <a:lnTo>
                    <a:pt x="47" y="326"/>
                  </a:lnTo>
                  <a:lnTo>
                    <a:pt x="47" y="328"/>
                  </a:lnTo>
                  <a:lnTo>
                    <a:pt x="45" y="330"/>
                  </a:lnTo>
                  <a:lnTo>
                    <a:pt x="45" y="332"/>
                  </a:lnTo>
                  <a:lnTo>
                    <a:pt x="47" y="334"/>
                  </a:lnTo>
                  <a:lnTo>
                    <a:pt x="41" y="341"/>
                  </a:lnTo>
                  <a:lnTo>
                    <a:pt x="39" y="343"/>
                  </a:lnTo>
                  <a:lnTo>
                    <a:pt x="39" y="343"/>
                  </a:lnTo>
                  <a:lnTo>
                    <a:pt x="41" y="343"/>
                  </a:lnTo>
                  <a:lnTo>
                    <a:pt x="43" y="345"/>
                  </a:lnTo>
                  <a:lnTo>
                    <a:pt x="43" y="345"/>
                  </a:lnTo>
                  <a:lnTo>
                    <a:pt x="43" y="353"/>
                  </a:lnTo>
                  <a:lnTo>
                    <a:pt x="39" y="361"/>
                  </a:lnTo>
                  <a:lnTo>
                    <a:pt x="37" y="361"/>
                  </a:lnTo>
                  <a:lnTo>
                    <a:pt x="33" y="361"/>
                  </a:lnTo>
                  <a:lnTo>
                    <a:pt x="31" y="363"/>
                  </a:lnTo>
                  <a:lnTo>
                    <a:pt x="31" y="365"/>
                  </a:lnTo>
                  <a:lnTo>
                    <a:pt x="33" y="369"/>
                  </a:lnTo>
                  <a:lnTo>
                    <a:pt x="35" y="373"/>
                  </a:lnTo>
                  <a:lnTo>
                    <a:pt x="37" y="373"/>
                  </a:lnTo>
                  <a:lnTo>
                    <a:pt x="39" y="373"/>
                  </a:lnTo>
                  <a:lnTo>
                    <a:pt x="41" y="371"/>
                  </a:lnTo>
                  <a:lnTo>
                    <a:pt x="43" y="371"/>
                  </a:lnTo>
                  <a:lnTo>
                    <a:pt x="45" y="369"/>
                  </a:lnTo>
                  <a:lnTo>
                    <a:pt x="47" y="367"/>
                  </a:lnTo>
                  <a:lnTo>
                    <a:pt x="51" y="367"/>
                  </a:lnTo>
                  <a:lnTo>
                    <a:pt x="60" y="365"/>
                  </a:lnTo>
                  <a:lnTo>
                    <a:pt x="60" y="365"/>
                  </a:lnTo>
                  <a:lnTo>
                    <a:pt x="60" y="365"/>
                  </a:lnTo>
                  <a:lnTo>
                    <a:pt x="60" y="365"/>
                  </a:lnTo>
                  <a:lnTo>
                    <a:pt x="70" y="365"/>
                  </a:lnTo>
                  <a:lnTo>
                    <a:pt x="72" y="365"/>
                  </a:lnTo>
                  <a:lnTo>
                    <a:pt x="74" y="365"/>
                  </a:lnTo>
                  <a:lnTo>
                    <a:pt x="78" y="365"/>
                  </a:lnTo>
                  <a:lnTo>
                    <a:pt x="80" y="365"/>
                  </a:lnTo>
                  <a:lnTo>
                    <a:pt x="82" y="363"/>
                  </a:lnTo>
                  <a:lnTo>
                    <a:pt x="86" y="363"/>
                  </a:lnTo>
                  <a:lnTo>
                    <a:pt x="92" y="361"/>
                  </a:lnTo>
                  <a:lnTo>
                    <a:pt x="96" y="363"/>
                  </a:lnTo>
                  <a:lnTo>
                    <a:pt x="107" y="365"/>
                  </a:lnTo>
                  <a:lnTo>
                    <a:pt x="113" y="367"/>
                  </a:lnTo>
                  <a:lnTo>
                    <a:pt x="125" y="369"/>
                  </a:lnTo>
                  <a:lnTo>
                    <a:pt x="131" y="373"/>
                  </a:lnTo>
                  <a:lnTo>
                    <a:pt x="133" y="375"/>
                  </a:lnTo>
                  <a:lnTo>
                    <a:pt x="143" y="379"/>
                  </a:lnTo>
                  <a:lnTo>
                    <a:pt x="160" y="382"/>
                  </a:lnTo>
                  <a:lnTo>
                    <a:pt x="162" y="379"/>
                  </a:lnTo>
                  <a:lnTo>
                    <a:pt x="164" y="382"/>
                  </a:lnTo>
                  <a:lnTo>
                    <a:pt x="164" y="379"/>
                  </a:lnTo>
                  <a:lnTo>
                    <a:pt x="166" y="382"/>
                  </a:lnTo>
                  <a:lnTo>
                    <a:pt x="182" y="384"/>
                  </a:lnTo>
                  <a:lnTo>
                    <a:pt x="184" y="382"/>
                  </a:lnTo>
                  <a:lnTo>
                    <a:pt x="186" y="382"/>
                  </a:lnTo>
                  <a:lnTo>
                    <a:pt x="193" y="377"/>
                  </a:lnTo>
                  <a:lnTo>
                    <a:pt x="197" y="377"/>
                  </a:lnTo>
                  <a:lnTo>
                    <a:pt x="203" y="377"/>
                  </a:lnTo>
                  <a:lnTo>
                    <a:pt x="205" y="377"/>
                  </a:lnTo>
                  <a:lnTo>
                    <a:pt x="205" y="375"/>
                  </a:lnTo>
                  <a:lnTo>
                    <a:pt x="203" y="375"/>
                  </a:lnTo>
                  <a:lnTo>
                    <a:pt x="205" y="373"/>
                  </a:lnTo>
                  <a:lnTo>
                    <a:pt x="205" y="373"/>
                  </a:lnTo>
                  <a:lnTo>
                    <a:pt x="209" y="371"/>
                  </a:lnTo>
                  <a:lnTo>
                    <a:pt x="207" y="371"/>
                  </a:lnTo>
                  <a:lnTo>
                    <a:pt x="205" y="371"/>
                  </a:lnTo>
                  <a:lnTo>
                    <a:pt x="203" y="371"/>
                  </a:lnTo>
                  <a:lnTo>
                    <a:pt x="201" y="373"/>
                  </a:lnTo>
                  <a:lnTo>
                    <a:pt x="201" y="373"/>
                  </a:lnTo>
                  <a:lnTo>
                    <a:pt x="199" y="371"/>
                  </a:lnTo>
                  <a:lnTo>
                    <a:pt x="197" y="365"/>
                  </a:lnTo>
                  <a:lnTo>
                    <a:pt x="199" y="365"/>
                  </a:lnTo>
                  <a:lnTo>
                    <a:pt x="201" y="363"/>
                  </a:lnTo>
                  <a:lnTo>
                    <a:pt x="199" y="363"/>
                  </a:lnTo>
                  <a:lnTo>
                    <a:pt x="199" y="363"/>
                  </a:lnTo>
                  <a:lnTo>
                    <a:pt x="199" y="363"/>
                  </a:lnTo>
                  <a:lnTo>
                    <a:pt x="197" y="365"/>
                  </a:lnTo>
                  <a:lnTo>
                    <a:pt x="195" y="365"/>
                  </a:lnTo>
                  <a:lnTo>
                    <a:pt x="195" y="365"/>
                  </a:lnTo>
                  <a:lnTo>
                    <a:pt x="193" y="365"/>
                  </a:lnTo>
                  <a:lnTo>
                    <a:pt x="193" y="363"/>
                  </a:lnTo>
                  <a:lnTo>
                    <a:pt x="191" y="361"/>
                  </a:lnTo>
                  <a:lnTo>
                    <a:pt x="191" y="359"/>
                  </a:lnTo>
                  <a:lnTo>
                    <a:pt x="193" y="359"/>
                  </a:lnTo>
                  <a:lnTo>
                    <a:pt x="193" y="359"/>
                  </a:lnTo>
                  <a:lnTo>
                    <a:pt x="193" y="359"/>
                  </a:lnTo>
                  <a:lnTo>
                    <a:pt x="195" y="357"/>
                  </a:lnTo>
                  <a:lnTo>
                    <a:pt x="195" y="357"/>
                  </a:lnTo>
                  <a:lnTo>
                    <a:pt x="197" y="357"/>
                  </a:lnTo>
                  <a:lnTo>
                    <a:pt x="197" y="359"/>
                  </a:lnTo>
                  <a:lnTo>
                    <a:pt x="197" y="359"/>
                  </a:lnTo>
                  <a:lnTo>
                    <a:pt x="195" y="361"/>
                  </a:lnTo>
                  <a:lnTo>
                    <a:pt x="197" y="361"/>
                  </a:lnTo>
                  <a:lnTo>
                    <a:pt x="199" y="361"/>
                  </a:lnTo>
                  <a:lnTo>
                    <a:pt x="201" y="357"/>
                  </a:lnTo>
                  <a:lnTo>
                    <a:pt x="201" y="357"/>
                  </a:lnTo>
                  <a:lnTo>
                    <a:pt x="209" y="353"/>
                  </a:lnTo>
                  <a:lnTo>
                    <a:pt x="209" y="353"/>
                  </a:lnTo>
                  <a:lnTo>
                    <a:pt x="211" y="351"/>
                  </a:lnTo>
                  <a:lnTo>
                    <a:pt x="211" y="351"/>
                  </a:lnTo>
                  <a:lnTo>
                    <a:pt x="211" y="349"/>
                  </a:lnTo>
                  <a:lnTo>
                    <a:pt x="211" y="349"/>
                  </a:lnTo>
                  <a:lnTo>
                    <a:pt x="213" y="349"/>
                  </a:lnTo>
                  <a:lnTo>
                    <a:pt x="213" y="351"/>
                  </a:lnTo>
                  <a:lnTo>
                    <a:pt x="215" y="351"/>
                  </a:lnTo>
                  <a:lnTo>
                    <a:pt x="217" y="349"/>
                  </a:lnTo>
                  <a:lnTo>
                    <a:pt x="219" y="349"/>
                  </a:lnTo>
                  <a:lnTo>
                    <a:pt x="223" y="349"/>
                  </a:lnTo>
                  <a:lnTo>
                    <a:pt x="223" y="349"/>
                  </a:lnTo>
                  <a:lnTo>
                    <a:pt x="225" y="351"/>
                  </a:lnTo>
                  <a:lnTo>
                    <a:pt x="225" y="351"/>
                  </a:lnTo>
                  <a:lnTo>
                    <a:pt x="225" y="353"/>
                  </a:lnTo>
                  <a:lnTo>
                    <a:pt x="223" y="353"/>
                  </a:lnTo>
                  <a:lnTo>
                    <a:pt x="223" y="353"/>
                  </a:lnTo>
                  <a:lnTo>
                    <a:pt x="223" y="351"/>
                  </a:lnTo>
                  <a:lnTo>
                    <a:pt x="221" y="353"/>
                  </a:lnTo>
                  <a:lnTo>
                    <a:pt x="221" y="355"/>
                  </a:lnTo>
                  <a:lnTo>
                    <a:pt x="221" y="357"/>
                  </a:lnTo>
                  <a:lnTo>
                    <a:pt x="221" y="357"/>
                  </a:lnTo>
                  <a:lnTo>
                    <a:pt x="221" y="359"/>
                  </a:lnTo>
                  <a:lnTo>
                    <a:pt x="221" y="359"/>
                  </a:lnTo>
                  <a:lnTo>
                    <a:pt x="223" y="361"/>
                  </a:lnTo>
                  <a:lnTo>
                    <a:pt x="225" y="361"/>
                  </a:lnTo>
                  <a:lnTo>
                    <a:pt x="230" y="357"/>
                  </a:lnTo>
                  <a:lnTo>
                    <a:pt x="230" y="357"/>
                  </a:lnTo>
                  <a:lnTo>
                    <a:pt x="240" y="357"/>
                  </a:lnTo>
                  <a:lnTo>
                    <a:pt x="242" y="357"/>
                  </a:lnTo>
                  <a:lnTo>
                    <a:pt x="244" y="357"/>
                  </a:lnTo>
                  <a:lnTo>
                    <a:pt x="244" y="359"/>
                  </a:lnTo>
                  <a:lnTo>
                    <a:pt x="244" y="363"/>
                  </a:lnTo>
                  <a:lnTo>
                    <a:pt x="244" y="365"/>
                  </a:lnTo>
                  <a:lnTo>
                    <a:pt x="244" y="367"/>
                  </a:lnTo>
                  <a:lnTo>
                    <a:pt x="244" y="369"/>
                  </a:lnTo>
                  <a:lnTo>
                    <a:pt x="246" y="369"/>
                  </a:lnTo>
                  <a:lnTo>
                    <a:pt x="248" y="367"/>
                  </a:lnTo>
                  <a:lnTo>
                    <a:pt x="250" y="367"/>
                  </a:lnTo>
                  <a:lnTo>
                    <a:pt x="250" y="367"/>
                  </a:lnTo>
                  <a:lnTo>
                    <a:pt x="252" y="367"/>
                  </a:lnTo>
                  <a:lnTo>
                    <a:pt x="252" y="369"/>
                  </a:lnTo>
                  <a:lnTo>
                    <a:pt x="252" y="369"/>
                  </a:lnTo>
                  <a:lnTo>
                    <a:pt x="252" y="371"/>
                  </a:lnTo>
                  <a:lnTo>
                    <a:pt x="254" y="373"/>
                  </a:lnTo>
                  <a:lnTo>
                    <a:pt x="254" y="375"/>
                  </a:lnTo>
                  <a:lnTo>
                    <a:pt x="254" y="377"/>
                  </a:lnTo>
                  <a:lnTo>
                    <a:pt x="252" y="377"/>
                  </a:lnTo>
                  <a:lnTo>
                    <a:pt x="254" y="379"/>
                  </a:lnTo>
                  <a:lnTo>
                    <a:pt x="258" y="377"/>
                  </a:lnTo>
                  <a:lnTo>
                    <a:pt x="262" y="375"/>
                  </a:lnTo>
                  <a:lnTo>
                    <a:pt x="264" y="375"/>
                  </a:lnTo>
                  <a:lnTo>
                    <a:pt x="266" y="375"/>
                  </a:lnTo>
                  <a:lnTo>
                    <a:pt x="266" y="375"/>
                  </a:lnTo>
                  <a:lnTo>
                    <a:pt x="264" y="377"/>
                  </a:lnTo>
                  <a:lnTo>
                    <a:pt x="264" y="377"/>
                  </a:lnTo>
                  <a:lnTo>
                    <a:pt x="264" y="379"/>
                  </a:lnTo>
                  <a:lnTo>
                    <a:pt x="266" y="379"/>
                  </a:lnTo>
                  <a:lnTo>
                    <a:pt x="268" y="379"/>
                  </a:lnTo>
                  <a:lnTo>
                    <a:pt x="270" y="379"/>
                  </a:lnTo>
                  <a:lnTo>
                    <a:pt x="275" y="382"/>
                  </a:lnTo>
                  <a:lnTo>
                    <a:pt x="277" y="382"/>
                  </a:lnTo>
                  <a:lnTo>
                    <a:pt x="277" y="382"/>
                  </a:lnTo>
                  <a:lnTo>
                    <a:pt x="279" y="379"/>
                  </a:lnTo>
                  <a:lnTo>
                    <a:pt x="279" y="377"/>
                  </a:lnTo>
                  <a:lnTo>
                    <a:pt x="279" y="377"/>
                  </a:lnTo>
                  <a:lnTo>
                    <a:pt x="279" y="377"/>
                  </a:lnTo>
                  <a:lnTo>
                    <a:pt x="279" y="375"/>
                  </a:lnTo>
                  <a:lnTo>
                    <a:pt x="279" y="375"/>
                  </a:lnTo>
                  <a:lnTo>
                    <a:pt x="281" y="371"/>
                  </a:lnTo>
                  <a:lnTo>
                    <a:pt x="281" y="371"/>
                  </a:lnTo>
                  <a:lnTo>
                    <a:pt x="281" y="367"/>
                  </a:lnTo>
                  <a:lnTo>
                    <a:pt x="281" y="367"/>
                  </a:lnTo>
                  <a:lnTo>
                    <a:pt x="283" y="369"/>
                  </a:lnTo>
                  <a:lnTo>
                    <a:pt x="283" y="369"/>
                  </a:lnTo>
                  <a:lnTo>
                    <a:pt x="285" y="371"/>
                  </a:lnTo>
                  <a:lnTo>
                    <a:pt x="285" y="373"/>
                  </a:lnTo>
                  <a:lnTo>
                    <a:pt x="283" y="373"/>
                  </a:lnTo>
                  <a:lnTo>
                    <a:pt x="283" y="373"/>
                  </a:lnTo>
                  <a:lnTo>
                    <a:pt x="281" y="375"/>
                  </a:lnTo>
                  <a:lnTo>
                    <a:pt x="281" y="377"/>
                  </a:lnTo>
                  <a:lnTo>
                    <a:pt x="281" y="382"/>
                  </a:lnTo>
                  <a:lnTo>
                    <a:pt x="281" y="384"/>
                  </a:lnTo>
                  <a:lnTo>
                    <a:pt x="283" y="386"/>
                  </a:lnTo>
                  <a:lnTo>
                    <a:pt x="283" y="386"/>
                  </a:lnTo>
                  <a:lnTo>
                    <a:pt x="285" y="386"/>
                  </a:lnTo>
                  <a:lnTo>
                    <a:pt x="285" y="388"/>
                  </a:lnTo>
                  <a:lnTo>
                    <a:pt x="285" y="388"/>
                  </a:lnTo>
                  <a:lnTo>
                    <a:pt x="285" y="390"/>
                  </a:lnTo>
                  <a:lnTo>
                    <a:pt x="285" y="390"/>
                  </a:lnTo>
                  <a:lnTo>
                    <a:pt x="287" y="392"/>
                  </a:lnTo>
                  <a:lnTo>
                    <a:pt x="289" y="392"/>
                  </a:lnTo>
                  <a:lnTo>
                    <a:pt x="295" y="396"/>
                  </a:lnTo>
                  <a:lnTo>
                    <a:pt x="297" y="398"/>
                  </a:lnTo>
                  <a:lnTo>
                    <a:pt x="295" y="402"/>
                  </a:lnTo>
                  <a:lnTo>
                    <a:pt x="295" y="402"/>
                  </a:lnTo>
                  <a:lnTo>
                    <a:pt x="295" y="402"/>
                  </a:lnTo>
                  <a:lnTo>
                    <a:pt x="295" y="404"/>
                  </a:lnTo>
                  <a:lnTo>
                    <a:pt x="297" y="404"/>
                  </a:lnTo>
                  <a:lnTo>
                    <a:pt x="295" y="404"/>
                  </a:lnTo>
                  <a:lnTo>
                    <a:pt x="295" y="406"/>
                  </a:lnTo>
                  <a:lnTo>
                    <a:pt x="293" y="406"/>
                  </a:lnTo>
                  <a:lnTo>
                    <a:pt x="293" y="404"/>
                  </a:lnTo>
                  <a:lnTo>
                    <a:pt x="293" y="404"/>
                  </a:lnTo>
                  <a:lnTo>
                    <a:pt x="291" y="404"/>
                  </a:lnTo>
                  <a:lnTo>
                    <a:pt x="291" y="404"/>
                  </a:lnTo>
                  <a:lnTo>
                    <a:pt x="291" y="402"/>
                  </a:lnTo>
                  <a:lnTo>
                    <a:pt x="291" y="400"/>
                  </a:lnTo>
                  <a:lnTo>
                    <a:pt x="291" y="396"/>
                  </a:lnTo>
                  <a:lnTo>
                    <a:pt x="289" y="398"/>
                  </a:lnTo>
                  <a:lnTo>
                    <a:pt x="287" y="396"/>
                  </a:lnTo>
                  <a:lnTo>
                    <a:pt x="285" y="394"/>
                  </a:lnTo>
                  <a:lnTo>
                    <a:pt x="285" y="394"/>
                  </a:lnTo>
                  <a:lnTo>
                    <a:pt x="283" y="394"/>
                  </a:lnTo>
                  <a:lnTo>
                    <a:pt x="283" y="394"/>
                  </a:lnTo>
                  <a:lnTo>
                    <a:pt x="281" y="396"/>
                  </a:lnTo>
                  <a:lnTo>
                    <a:pt x="281" y="398"/>
                  </a:lnTo>
                  <a:lnTo>
                    <a:pt x="279" y="400"/>
                  </a:lnTo>
                  <a:lnTo>
                    <a:pt x="277" y="400"/>
                  </a:lnTo>
                  <a:lnTo>
                    <a:pt x="277" y="400"/>
                  </a:lnTo>
                  <a:lnTo>
                    <a:pt x="275" y="398"/>
                  </a:lnTo>
                  <a:lnTo>
                    <a:pt x="277" y="402"/>
                  </a:lnTo>
                  <a:lnTo>
                    <a:pt x="281" y="406"/>
                  </a:lnTo>
                  <a:lnTo>
                    <a:pt x="287" y="408"/>
                  </a:lnTo>
                  <a:lnTo>
                    <a:pt x="295" y="408"/>
                  </a:lnTo>
                  <a:lnTo>
                    <a:pt x="297" y="410"/>
                  </a:lnTo>
                  <a:lnTo>
                    <a:pt x="299" y="410"/>
                  </a:lnTo>
                  <a:lnTo>
                    <a:pt x="301" y="412"/>
                  </a:lnTo>
                  <a:lnTo>
                    <a:pt x="301" y="412"/>
                  </a:lnTo>
                  <a:lnTo>
                    <a:pt x="303" y="410"/>
                  </a:lnTo>
                  <a:lnTo>
                    <a:pt x="303" y="410"/>
                  </a:lnTo>
                  <a:lnTo>
                    <a:pt x="303" y="408"/>
                  </a:lnTo>
                  <a:lnTo>
                    <a:pt x="305" y="408"/>
                  </a:lnTo>
                  <a:lnTo>
                    <a:pt x="305" y="408"/>
                  </a:lnTo>
                  <a:lnTo>
                    <a:pt x="307" y="408"/>
                  </a:lnTo>
                  <a:lnTo>
                    <a:pt x="309" y="410"/>
                  </a:lnTo>
                  <a:lnTo>
                    <a:pt x="307" y="410"/>
                  </a:lnTo>
                  <a:lnTo>
                    <a:pt x="307" y="410"/>
                  </a:lnTo>
                  <a:lnTo>
                    <a:pt x="307" y="412"/>
                  </a:lnTo>
                  <a:lnTo>
                    <a:pt x="307" y="412"/>
                  </a:lnTo>
                  <a:lnTo>
                    <a:pt x="309" y="412"/>
                  </a:lnTo>
                  <a:lnTo>
                    <a:pt x="311" y="412"/>
                  </a:lnTo>
                  <a:lnTo>
                    <a:pt x="316" y="412"/>
                  </a:lnTo>
                  <a:lnTo>
                    <a:pt x="320" y="416"/>
                  </a:lnTo>
                  <a:lnTo>
                    <a:pt x="320" y="416"/>
                  </a:lnTo>
                  <a:lnTo>
                    <a:pt x="320" y="416"/>
                  </a:lnTo>
                  <a:lnTo>
                    <a:pt x="320" y="416"/>
                  </a:lnTo>
                  <a:lnTo>
                    <a:pt x="322" y="414"/>
                  </a:lnTo>
                  <a:lnTo>
                    <a:pt x="324" y="414"/>
                  </a:lnTo>
                  <a:lnTo>
                    <a:pt x="324" y="412"/>
                  </a:lnTo>
                  <a:lnTo>
                    <a:pt x="322" y="410"/>
                  </a:lnTo>
                  <a:lnTo>
                    <a:pt x="324" y="412"/>
                  </a:lnTo>
                  <a:lnTo>
                    <a:pt x="326" y="412"/>
                  </a:lnTo>
                  <a:lnTo>
                    <a:pt x="328" y="412"/>
                  </a:lnTo>
                  <a:lnTo>
                    <a:pt x="330" y="412"/>
                  </a:lnTo>
                  <a:lnTo>
                    <a:pt x="330" y="414"/>
                  </a:lnTo>
                  <a:lnTo>
                    <a:pt x="330" y="414"/>
                  </a:lnTo>
                  <a:lnTo>
                    <a:pt x="328" y="416"/>
                  </a:lnTo>
                  <a:lnTo>
                    <a:pt x="326" y="416"/>
                  </a:lnTo>
                  <a:lnTo>
                    <a:pt x="328" y="416"/>
                  </a:lnTo>
                  <a:lnTo>
                    <a:pt x="332" y="418"/>
                  </a:lnTo>
                  <a:lnTo>
                    <a:pt x="332" y="418"/>
                  </a:lnTo>
                  <a:lnTo>
                    <a:pt x="332" y="416"/>
                  </a:lnTo>
                  <a:lnTo>
                    <a:pt x="334" y="416"/>
                  </a:lnTo>
                  <a:lnTo>
                    <a:pt x="336" y="416"/>
                  </a:lnTo>
                  <a:lnTo>
                    <a:pt x="336" y="416"/>
                  </a:lnTo>
                  <a:lnTo>
                    <a:pt x="336" y="416"/>
                  </a:lnTo>
                  <a:lnTo>
                    <a:pt x="338" y="416"/>
                  </a:lnTo>
                  <a:lnTo>
                    <a:pt x="338" y="416"/>
                  </a:lnTo>
                  <a:lnTo>
                    <a:pt x="338" y="414"/>
                  </a:lnTo>
                  <a:lnTo>
                    <a:pt x="338" y="414"/>
                  </a:lnTo>
                  <a:lnTo>
                    <a:pt x="338" y="412"/>
                  </a:lnTo>
                  <a:lnTo>
                    <a:pt x="338" y="412"/>
                  </a:lnTo>
                  <a:lnTo>
                    <a:pt x="340" y="412"/>
                  </a:lnTo>
                  <a:lnTo>
                    <a:pt x="340" y="412"/>
                  </a:lnTo>
                  <a:lnTo>
                    <a:pt x="342" y="412"/>
                  </a:lnTo>
                  <a:lnTo>
                    <a:pt x="342" y="414"/>
                  </a:lnTo>
                  <a:lnTo>
                    <a:pt x="342" y="412"/>
                  </a:lnTo>
                  <a:lnTo>
                    <a:pt x="342" y="408"/>
                  </a:lnTo>
                  <a:lnTo>
                    <a:pt x="342" y="408"/>
                  </a:lnTo>
                  <a:lnTo>
                    <a:pt x="342" y="408"/>
                  </a:lnTo>
                  <a:lnTo>
                    <a:pt x="342" y="404"/>
                  </a:lnTo>
                  <a:lnTo>
                    <a:pt x="342" y="404"/>
                  </a:lnTo>
                  <a:lnTo>
                    <a:pt x="342" y="402"/>
                  </a:lnTo>
                  <a:lnTo>
                    <a:pt x="344" y="404"/>
                  </a:lnTo>
                  <a:lnTo>
                    <a:pt x="344" y="404"/>
                  </a:lnTo>
                  <a:lnTo>
                    <a:pt x="346" y="406"/>
                  </a:lnTo>
                  <a:lnTo>
                    <a:pt x="346" y="404"/>
                  </a:lnTo>
                  <a:lnTo>
                    <a:pt x="344" y="402"/>
                  </a:lnTo>
                  <a:lnTo>
                    <a:pt x="346" y="402"/>
                  </a:lnTo>
                  <a:lnTo>
                    <a:pt x="346" y="400"/>
                  </a:lnTo>
                  <a:lnTo>
                    <a:pt x="346" y="398"/>
                  </a:lnTo>
                  <a:lnTo>
                    <a:pt x="344" y="398"/>
                  </a:lnTo>
                  <a:lnTo>
                    <a:pt x="344" y="398"/>
                  </a:lnTo>
                  <a:lnTo>
                    <a:pt x="344" y="396"/>
                  </a:lnTo>
                  <a:lnTo>
                    <a:pt x="344" y="396"/>
                  </a:lnTo>
                  <a:lnTo>
                    <a:pt x="344" y="396"/>
                  </a:lnTo>
                  <a:lnTo>
                    <a:pt x="346" y="396"/>
                  </a:lnTo>
                  <a:lnTo>
                    <a:pt x="346" y="396"/>
                  </a:lnTo>
                  <a:lnTo>
                    <a:pt x="346" y="394"/>
                  </a:lnTo>
                  <a:lnTo>
                    <a:pt x="346" y="394"/>
                  </a:lnTo>
                  <a:lnTo>
                    <a:pt x="348" y="394"/>
                  </a:lnTo>
                  <a:lnTo>
                    <a:pt x="348" y="396"/>
                  </a:lnTo>
                  <a:lnTo>
                    <a:pt x="346" y="396"/>
                  </a:lnTo>
                  <a:lnTo>
                    <a:pt x="348" y="396"/>
                  </a:lnTo>
                  <a:lnTo>
                    <a:pt x="350" y="398"/>
                  </a:lnTo>
                  <a:lnTo>
                    <a:pt x="352" y="396"/>
                  </a:lnTo>
                  <a:lnTo>
                    <a:pt x="352" y="396"/>
                  </a:lnTo>
                  <a:lnTo>
                    <a:pt x="354" y="396"/>
                  </a:lnTo>
                  <a:lnTo>
                    <a:pt x="356" y="396"/>
                  </a:lnTo>
                  <a:lnTo>
                    <a:pt x="356" y="394"/>
                  </a:lnTo>
                  <a:lnTo>
                    <a:pt x="359" y="392"/>
                  </a:lnTo>
                  <a:lnTo>
                    <a:pt x="359" y="392"/>
                  </a:lnTo>
                  <a:lnTo>
                    <a:pt x="359" y="390"/>
                  </a:lnTo>
                  <a:lnTo>
                    <a:pt x="359" y="390"/>
                  </a:lnTo>
                  <a:lnTo>
                    <a:pt x="361" y="390"/>
                  </a:lnTo>
                  <a:lnTo>
                    <a:pt x="361" y="390"/>
                  </a:lnTo>
                  <a:lnTo>
                    <a:pt x="361" y="392"/>
                  </a:lnTo>
                  <a:lnTo>
                    <a:pt x="363" y="394"/>
                  </a:lnTo>
                  <a:lnTo>
                    <a:pt x="365" y="396"/>
                  </a:lnTo>
                  <a:lnTo>
                    <a:pt x="365" y="402"/>
                  </a:lnTo>
                  <a:lnTo>
                    <a:pt x="367" y="398"/>
                  </a:lnTo>
                  <a:lnTo>
                    <a:pt x="367" y="396"/>
                  </a:lnTo>
                  <a:lnTo>
                    <a:pt x="367" y="396"/>
                  </a:lnTo>
                  <a:lnTo>
                    <a:pt x="367" y="394"/>
                  </a:lnTo>
                  <a:lnTo>
                    <a:pt x="369" y="394"/>
                  </a:lnTo>
                  <a:lnTo>
                    <a:pt x="369" y="394"/>
                  </a:lnTo>
                  <a:lnTo>
                    <a:pt x="369" y="394"/>
                  </a:lnTo>
                  <a:lnTo>
                    <a:pt x="369" y="396"/>
                  </a:lnTo>
                  <a:lnTo>
                    <a:pt x="373" y="398"/>
                  </a:lnTo>
                  <a:lnTo>
                    <a:pt x="375" y="400"/>
                  </a:lnTo>
                  <a:lnTo>
                    <a:pt x="375" y="402"/>
                  </a:lnTo>
                  <a:lnTo>
                    <a:pt x="375" y="400"/>
                  </a:lnTo>
                  <a:lnTo>
                    <a:pt x="375" y="398"/>
                  </a:lnTo>
                  <a:lnTo>
                    <a:pt x="375" y="398"/>
                  </a:lnTo>
                  <a:lnTo>
                    <a:pt x="377" y="398"/>
                  </a:lnTo>
                  <a:lnTo>
                    <a:pt x="377" y="398"/>
                  </a:lnTo>
                  <a:lnTo>
                    <a:pt x="377" y="400"/>
                  </a:lnTo>
                  <a:lnTo>
                    <a:pt x="377" y="400"/>
                  </a:lnTo>
                  <a:lnTo>
                    <a:pt x="377" y="402"/>
                  </a:lnTo>
                  <a:lnTo>
                    <a:pt x="377" y="404"/>
                  </a:lnTo>
                  <a:lnTo>
                    <a:pt x="377" y="404"/>
                  </a:lnTo>
                  <a:lnTo>
                    <a:pt x="377" y="406"/>
                  </a:lnTo>
                  <a:lnTo>
                    <a:pt x="377" y="406"/>
                  </a:lnTo>
                  <a:lnTo>
                    <a:pt x="377" y="408"/>
                  </a:lnTo>
                  <a:lnTo>
                    <a:pt x="377" y="408"/>
                  </a:lnTo>
                  <a:lnTo>
                    <a:pt x="379" y="410"/>
                  </a:lnTo>
                  <a:lnTo>
                    <a:pt x="379" y="412"/>
                  </a:lnTo>
                  <a:lnTo>
                    <a:pt x="381" y="412"/>
                  </a:lnTo>
                  <a:lnTo>
                    <a:pt x="381" y="414"/>
                  </a:lnTo>
                  <a:lnTo>
                    <a:pt x="381" y="416"/>
                  </a:lnTo>
                  <a:lnTo>
                    <a:pt x="379" y="416"/>
                  </a:lnTo>
                  <a:lnTo>
                    <a:pt x="381" y="416"/>
                  </a:lnTo>
                  <a:lnTo>
                    <a:pt x="383" y="414"/>
                  </a:lnTo>
                  <a:lnTo>
                    <a:pt x="389" y="412"/>
                  </a:lnTo>
                  <a:lnTo>
                    <a:pt x="389" y="410"/>
                  </a:lnTo>
                  <a:lnTo>
                    <a:pt x="391" y="410"/>
                  </a:lnTo>
                  <a:lnTo>
                    <a:pt x="393" y="408"/>
                  </a:lnTo>
                  <a:lnTo>
                    <a:pt x="393" y="406"/>
                  </a:lnTo>
                  <a:lnTo>
                    <a:pt x="395" y="406"/>
                  </a:lnTo>
                  <a:lnTo>
                    <a:pt x="395" y="402"/>
                  </a:lnTo>
                  <a:lnTo>
                    <a:pt x="397" y="400"/>
                  </a:lnTo>
                  <a:lnTo>
                    <a:pt x="393" y="400"/>
                  </a:lnTo>
                  <a:lnTo>
                    <a:pt x="391" y="398"/>
                  </a:lnTo>
                  <a:lnTo>
                    <a:pt x="391" y="394"/>
                  </a:lnTo>
                  <a:lnTo>
                    <a:pt x="395" y="394"/>
                  </a:lnTo>
                  <a:lnTo>
                    <a:pt x="393" y="392"/>
                  </a:lnTo>
                  <a:lnTo>
                    <a:pt x="393" y="392"/>
                  </a:lnTo>
                  <a:lnTo>
                    <a:pt x="395" y="392"/>
                  </a:lnTo>
                  <a:lnTo>
                    <a:pt x="397" y="394"/>
                  </a:lnTo>
                  <a:lnTo>
                    <a:pt x="399" y="392"/>
                  </a:lnTo>
                  <a:lnTo>
                    <a:pt x="399" y="392"/>
                  </a:lnTo>
                  <a:lnTo>
                    <a:pt x="397" y="390"/>
                  </a:lnTo>
                  <a:lnTo>
                    <a:pt x="395" y="390"/>
                  </a:lnTo>
                  <a:lnTo>
                    <a:pt x="395" y="388"/>
                  </a:lnTo>
                  <a:lnTo>
                    <a:pt x="395" y="386"/>
                  </a:lnTo>
                  <a:lnTo>
                    <a:pt x="395" y="386"/>
                  </a:lnTo>
                  <a:lnTo>
                    <a:pt x="395" y="386"/>
                  </a:lnTo>
                  <a:lnTo>
                    <a:pt x="397" y="388"/>
                  </a:lnTo>
                  <a:lnTo>
                    <a:pt x="397" y="388"/>
                  </a:lnTo>
                  <a:lnTo>
                    <a:pt x="397" y="386"/>
                  </a:lnTo>
                  <a:lnTo>
                    <a:pt x="397" y="384"/>
                  </a:lnTo>
                  <a:lnTo>
                    <a:pt x="395" y="384"/>
                  </a:lnTo>
                  <a:lnTo>
                    <a:pt x="395" y="384"/>
                  </a:lnTo>
                  <a:lnTo>
                    <a:pt x="395" y="382"/>
                  </a:lnTo>
                  <a:lnTo>
                    <a:pt x="395" y="382"/>
                  </a:lnTo>
                  <a:lnTo>
                    <a:pt x="395" y="379"/>
                  </a:lnTo>
                  <a:lnTo>
                    <a:pt x="395" y="379"/>
                  </a:lnTo>
                  <a:lnTo>
                    <a:pt x="397" y="377"/>
                  </a:lnTo>
                  <a:lnTo>
                    <a:pt x="395" y="375"/>
                  </a:lnTo>
                  <a:lnTo>
                    <a:pt x="393" y="375"/>
                  </a:lnTo>
                  <a:lnTo>
                    <a:pt x="391" y="375"/>
                  </a:lnTo>
                  <a:lnTo>
                    <a:pt x="387" y="375"/>
                  </a:lnTo>
                  <a:lnTo>
                    <a:pt x="387" y="375"/>
                  </a:lnTo>
                  <a:lnTo>
                    <a:pt x="385" y="373"/>
                  </a:lnTo>
                  <a:lnTo>
                    <a:pt x="381" y="371"/>
                  </a:lnTo>
                  <a:lnTo>
                    <a:pt x="381" y="369"/>
                  </a:lnTo>
                  <a:lnTo>
                    <a:pt x="379" y="371"/>
                  </a:lnTo>
                  <a:lnTo>
                    <a:pt x="379" y="371"/>
                  </a:lnTo>
                  <a:lnTo>
                    <a:pt x="379" y="371"/>
                  </a:lnTo>
                  <a:lnTo>
                    <a:pt x="379" y="369"/>
                  </a:lnTo>
                  <a:lnTo>
                    <a:pt x="379" y="369"/>
                  </a:lnTo>
                  <a:lnTo>
                    <a:pt x="381" y="369"/>
                  </a:lnTo>
                  <a:lnTo>
                    <a:pt x="381" y="369"/>
                  </a:lnTo>
                  <a:lnTo>
                    <a:pt x="381" y="367"/>
                  </a:lnTo>
                  <a:lnTo>
                    <a:pt x="381" y="367"/>
                  </a:lnTo>
                  <a:lnTo>
                    <a:pt x="379" y="367"/>
                  </a:lnTo>
                  <a:lnTo>
                    <a:pt x="379" y="367"/>
                  </a:lnTo>
                  <a:lnTo>
                    <a:pt x="381" y="365"/>
                  </a:lnTo>
                  <a:lnTo>
                    <a:pt x="381" y="363"/>
                  </a:lnTo>
                  <a:lnTo>
                    <a:pt x="383" y="365"/>
                  </a:lnTo>
                  <a:lnTo>
                    <a:pt x="385" y="367"/>
                  </a:lnTo>
                  <a:lnTo>
                    <a:pt x="387" y="369"/>
                  </a:lnTo>
                  <a:lnTo>
                    <a:pt x="387" y="367"/>
                  </a:lnTo>
                  <a:lnTo>
                    <a:pt x="385" y="367"/>
                  </a:lnTo>
                  <a:lnTo>
                    <a:pt x="387" y="367"/>
                  </a:lnTo>
                  <a:lnTo>
                    <a:pt x="387" y="365"/>
                  </a:lnTo>
                  <a:lnTo>
                    <a:pt x="389" y="367"/>
                  </a:lnTo>
                  <a:lnTo>
                    <a:pt x="391" y="367"/>
                  </a:lnTo>
                  <a:lnTo>
                    <a:pt x="402" y="373"/>
                  </a:lnTo>
                  <a:lnTo>
                    <a:pt x="406" y="373"/>
                  </a:lnTo>
                  <a:lnTo>
                    <a:pt x="408" y="371"/>
                  </a:lnTo>
                  <a:lnTo>
                    <a:pt x="412" y="375"/>
                  </a:lnTo>
                  <a:lnTo>
                    <a:pt x="412" y="375"/>
                  </a:lnTo>
                  <a:lnTo>
                    <a:pt x="414" y="373"/>
                  </a:lnTo>
                  <a:lnTo>
                    <a:pt x="414" y="371"/>
                  </a:lnTo>
                  <a:lnTo>
                    <a:pt x="414" y="371"/>
                  </a:lnTo>
                  <a:lnTo>
                    <a:pt x="414" y="371"/>
                  </a:lnTo>
                  <a:lnTo>
                    <a:pt x="416" y="371"/>
                  </a:lnTo>
                  <a:lnTo>
                    <a:pt x="416" y="371"/>
                  </a:lnTo>
                  <a:lnTo>
                    <a:pt x="416" y="373"/>
                  </a:lnTo>
                  <a:lnTo>
                    <a:pt x="416" y="373"/>
                  </a:lnTo>
                  <a:lnTo>
                    <a:pt x="416" y="373"/>
                  </a:lnTo>
                  <a:lnTo>
                    <a:pt x="416" y="375"/>
                  </a:lnTo>
                  <a:lnTo>
                    <a:pt x="416" y="375"/>
                  </a:lnTo>
                  <a:lnTo>
                    <a:pt x="416" y="375"/>
                  </a:lnTo>
                  <a:lnTo>
                    <a:pt x="416" y="375"/>
                  </a:lnTo>
                  <a:lnTo>
                    <a:pt x="416" y="375"/>
                  </a:lnTo>
                  <a:lnTo>
                    <a:pt x="416" y="375"/>
                  </a:lnTo>
                  <a:lnTo>
                    <a:pt x="416" y="377"/>
                  </a:lnTo>
                  <a:lnTo>
                    <a:pt x="416" y="377"/>
                  </a:lnTo>
                  <a:lnTo>
                    <a:pt x="418" y="377"/>
                  </a:lnTo>
                  <a:lnTo>
                    <a:pt x="418" y="377"/>
                  </a:lnTo>
                  <a:lnTo>
                    <a:pt x="420" y="377"/>
                  </a:lnTo>
                  <a:lnTo>
                    <a:pt x="420" y="377"/>
                  </a:lnTo>
                  <a:lnTo>
                    <a:pt x="422" y="377"/>
                  </a:lnTo>
                  <a:lnTo>
                    <a:pt x="420" y="379"/>
                  </a:lnTo>
                  <a:lnTo>
                    <a:pt x="420" y="379"/>
                  </a:lnTo>
                  <a:lnTo>
                    <a:pt x="420" y="379"/>
                  </a:lnTo>
                  <a:lnTo>
                    <a:pt x="420" y="382"/>
                  </a:lnTo>
                  <a:lnTo>
                    <a:pt x="422" y="382"/>
                  </a:lnTo>
                  <a:lnTo>
                    <a:pt x="422" y="379"/>
                  </a:lnTo>
                  <a:lnTo>
                    <a:pt x="422" y="379"/>
                  </a:lnTo>
                  <a:lnTo>
                    <a:pt x="422" y="379"/>
                  </a:lnTo>
                  <a:lnTo>
                    <a:pt x="422" y="382"/>
                  </a:lnTo>
                  <a:lnTo>
                    <a:pt x="424" y="382"/>
                  </a:lnTo>
                  <a:lnTo>
                    <a:pt x="424" y="384"/>
                  </a:lnTo>
                  <a:lnTo>
                    <a:pt x="422" y="386"/>
                  </a:lnTo>
                  <a:lnTo>
                    <a:pt x="422" y="386"/>
                  </a:lnTo>
                  <a:lnTo>
                    <a:pt x="420" y="388"/>
                  </a:lnTo>
                  <a:lnTo>
                    <a:pt x="418" y="388"/>
                  </a:lnTo>
                  <a:lnTo>
                    <a:pt x="430" y="388"/>
                  </a:lnTo>
                  <a:lnTo>
                    <a:pt x="430" y="388"/>
                  </a:lnTo>
                  <a:lnTo>
                    <a:pt x="434" y="386"/>
                  </a:lnTo>
                  <a:lnTo>
                    <a:pt x="434" y="384"/>
                  </a:lnTo>
                  <a:lnTo>
                    <a:pt x="436" y="386"/>
                  </a:lnTo>
                  <a:lnTo>
                    <a:pt x="436" y="386"/>
                  </a:lnTo>
                  <a:lnTo>
                    <a:pt x="434" y="390"/>
                  </a:lnTo>
                  <a:lnTo>
                    <a:pt x="436" y="390"/>
                  </a:lnTo>
                  <a:lnTo>
                    <a:pt x="436" y="392"/>
                  </a:lnTo>
                  <a:lnTo>
                    <a:pt x="438" y="394"/>
                  </a:lnTo>
                  <a:lnTo>
                    <a:pt x="440" y="394"/>
                  </a:lnTo>
                  <a:lnTo>
                    <a:pt x="443" y="394"/>
                  </a:lnTo>
                  <a:lnTo>
                    <a:pt x="449" y="394"/>
                  </a:lnTo>
                  <a:lnTo>
                    <a:pt x="447" y="392"/>
                  </a:lnTo>
                  <a:lnTo>
                    <a:pt x="449" y="392"/>
                  </a:lnTo>
                  <a:lnTo>
                    <a:pt x="451" y="392"/>
                  </a:lnTo>
                  <a:lnTo>
                    <a:pt x="453" y="392"/>
                  </a:lnTo>
                  <a:lnTo>
                    <a:pt x="451" y="394"/>
                  </a:lnTo>
                  <a:lnTo>
                    <a:pt x="451" y="394"/>
                  </a:lnTo>
                  <a:lnTo>
                    <a:pt x="457" y="402"/>
                  </a:lnTo>
                  <a:lnTo>
                    <a:pt x="459" y="402"/>
                  </a:lnTo>
                  <a:lnTo>
                    <a:pt x="459" y="404"/>
                  </a:lnTo>
                  <a:lnTo>
                    <a:pt x="459" y="404"/>
                  </a:lnTo>
                  <a:lnTo>
                    <a:pt x="459" y="406"/>
                  </a:lnTo>
                  <a:lnTo>
                    <a:pt x="459" y="408"/>
                  </a:lnTo>
                  <a:lnTo>
                    <a:pt x="461" y="408"/>
                  </a:lnTo>
                  <a:lnTo>
                    <a:pt x="463" y="408"/>
                  </a:lnTo>
                  <a:lnTo>
                    <a:pt x="465" y="406"/>
                  </a:lnTo>
                  <a:lnTo>
                    <a:pt x="465" y="406"/>
                  </a:lnTo>
                  <a:lnTo>
                    <a:pt x="465" y="404"/>
                  </a:lnTo>
                  <a:lnTo>
                    <a:pt x="465" y="402"/>
                  </a:lnTo>
                  <a:lnTo>
                    <a:pt x="465" y="400"/>
                  </a:lnTo>
                  <a:lnTo>
                    <a:pt x="465" y="400"/>
                  </a:lnTo>
                  <a:lnTo>
                    <a:pt x="465" y="398"/>
                  </a:lnTo>
                  <a:lnTo>
                    <a:pt x="467" y="398"/>
                  </a:lnTo>
                  <a:lnTo>
                    <a:pt x="467" y="400"/>
                  </a:lnTo>
                  <a:lnTo>
                    <a:pt x="467" y="402"/>
                  </a:lnTo>
                  <a:lnTo>
                    <a:pt x="467" y="404"/>
                  </a:lnTo>
                  <a:lnTo>
                    <a:pt x="467" y="404"/>
                  </a:lnTo>
                  <a:lnTo>
                    <a:pt x="469" y="404"/>
                  </a:lnTo>
                  <a:lnTo>
                    <a:pt x="469" y="402"/>
                  </a:lnTo>
                  <a:lnTo>
                    <a:pt x="469" y="402"/>
                  </a:lnTo>
                  <a:lnTo>
                    <a:pt x="469" y="400"/>
                  </a:lnTo>
                  <a:lnTo>
                    <a:pt x="471" y="400"/>
                  </a:lnTo>
                  <a:lnTo>
                    <a:pt x="471" y="402"/>
                  </a:lnTo>
                  <a:lnTo>
                    <a:pt x="469" y="404"/>
                  </a:lnTo>
                  <a:lnTo>
                    <a:pt x="469" y="406"/>
                  </a:lnTo>
                  <a:lnTo>
                    <a:pt x="467" y="410"/>
                  </a:lnTo>
                  <a:lnTo>
                    <a:pt x="467" y="410"/>
                  </a:lnTo>
                  <a:lnTo>
                    <a:pt x="465" y="410"/>
                  </a:lnTo>
                  <a:lnTo>
                    <a:pt x="465" y="412"/>
                  </a:lnTo>
                  <a:lnTo>
                    <a:pt x="465" y="412"/>
                  </a:lnTo>
                  <a:lnTo>
                    <a:pt x="465" y="414"/>
                  </a:lnTo>
                  <a:lnTo>
                    <a:pt x="465" y="414"/>
                  </a:lnTo>
                  <a:lnTo>
                    <a:pt x="465" y="416"/>
                  </a:lnTo>
                  <a:lnTo>
                    <a:pt x="463" y="418"/>
                  </a:lnTo>
                  <a:lnTo>
                    <a:pt x="461" y="420"/>
                  </a:lnTo>
                  <a:lnTo>
                    <a:pt x="461" y="420"/>
                  </a:lnTo>
                  <a:lnTo>
                    <a:pt x="459" y="423"/>
                  </a:lnTo>
                  <a:lnTo>
                    <a:pt x="459" y="423"/>
                  </a:lnTo>
                  <a:lnTo>
                    <a:pt x="459" y="427"/>
                  </a:lnTo>
                  <a:lnTo>
                    <a:pt x="461" y="427"/>
                  </a:lnTo>
                  <a:lnTo>
                    <a:pt x="463" y="425"/>
                  </a:lnTo>
                  <a:lnTo>
                    <a:pt x="467" y="416"/>
                  </a:lnTo>
                  <a:lnTo>
                    <a:pt x="467" y="416"/>
                  </a:lnTo>
                  <a:lnTo>
                    <a:pt x="467" y="414"/>
                  </a:lnTo>
                  <a:lnTo>
                    <a:pt x="467" y="412"/>
                  </a:lnTo>
                  <a:lnTo>
                    <a:pt x="469" y="412"/>
                  </a:lnTo>
                  <a:lnTo>
                    <a:pt x="471" y="410"/>
                  </a:lnTo>
                  <a:lnTo>
                    <a:pt x="473" y="410"/>
                  </a:lnTo>
                  <a:lnTo>
                    <a:pt x="473" y="410"/>
                  </a:lnTo>
                  <a:lnTo>
                    <a:pt x="473" y="408"/>
                  </a:lnTo>
                  <a:lnTo>
                    <a:pt x="473" y="408"/>
                  </a:lnTo>
                  <a:lnTo>
                    <a:pt x="473" y="406"/>
                  </a:lnTo>
                  <a:lnTo>
                    <a:pt x="473" y="406"/>
                  </a:lnTo>
                  <a:lnTo>
                    <a:pt x="473" y="406"/>
                  </a:lnTo>
                  <a:lnTo>
                    <a:pt x="475" y="406"/>
                  </a:lnTo>
                  <a:lnTo>
                    <a:pt x="475" y="408"/>
                  </a:lnTo>
                  <a:lnTo>
                    <a:pt x="479" y="410"/>
                  </a:lnTo>
                  <a:lnTo>
                    <a:pt x="479" y="412"/>
                  </a:lnTo>
                  <a:lnTo>
                    <a:pt x="479" y="414"/>
                  </a:lnTo>
                  <a:lnTo>
                    <a:pt x="483" y="416"/>
                  </a:lnTo>
                  <a:lnTo>
                    <a:pt x="483" y="416"/>
                  </a:lnTo>
                  <a:lnTo>
                    <a:pt x="486" y="416"/>
                  </a:lnTo>
                  <a:lnTo>
                    <a:pt x="483" y="412"/>
                  </a:lnTo>
                  <a:lnTo>
                    <a:pt x="483" y="410"/>
                  </a:lnTo>
                  <a:lnTo>
                    <a:pt x="486" y="408"/>
                  </a:lnTo>
                  <a:lnTo>
                    <a:pt x="486" y="406"/>
                  </a:lnTo>
                  <a:lnTo>
                    <a:pt x="488" y="406"/>
                  </a:lnTo>
                  <a:lnTo>
                    <a:pt x="488" y="406"/>
                  </a:lnTo>
                  <a:lnTo>
                    <a:pt x="488" y="406"/>
                  </a:lnTo>
                  <a:lnTo>
                    <a:pt x="490" y="408"/>
                  </a:lnTo>
                  <a:lnTo>
                    <a:pt x="490" y="406"/>
                  </a:lnTo>
                  <a:lnTo>
                    <a:pt x="488" y="404"/>
                  </a:lnTo>
                  <a:lnTo>
                    <a:pt x="488" y="404"/>
                  </a:lnTo>
                  <a:lnTo>
                    <a:pt x="488" y="402"/>
                  </a:lnTo>
                  <a:lnTo>
                    <a:pt x="490" y="402"/>
                  </a:lnTo>
                  <a:lnTo>
                    <a:pt x="490" y="404"/>
                  </a:lnTo>
                  <a:lnTo>
                    <a:pt x="490" y="404"/>
                  </a:lnTo>
                  <a:lnTo>
                    <a:pt x="492" y="406"/>
                  </a:lnTo>
                  <a:lnTo>
                    <a:pt x="492" y="404"/>
                  </a:lnTo>
                  <a:lnTo>
                    <a:pt x="494" y="400"/>
                  </a:lnTo>
                  <a:lnTo>
                    <a:pt x="488" y="400"/>
                  </a:lnTo>
                  <a:lnTo>
                    <a:pt x="488" y="400"/>
                  </a:lnTo>
                  <a:lnTo>
                    <a:pt x="488" y="398"/>
                  </a:lnTo>
                  <a:lnTo>
                    <a:pt x="488" y="398"/>
                  </a:lnTo>
                  <a:lnTo>
                    <a:pt x="490" y="396"/>
                  </a:lnTo>
                  <a:lnTo>
                    <a:pt x="492" y="396"/>
                  </a:lnTo>
                  <a:lnTo>
                    <a:pt x="492" y="396"/>
                  </a:lnTo>
                  <a:lnTo>
                    <a:pt x="492" y="396"/>
                  </a:lnTo>
                  <a:close/>
                  <a:moveTo>
                    <a:pt x="449" y="336"/>
                  </a:moveTo>
                  <a:lnTo>
                    <a:pt x="449" y="334"/>
                  </a:lnTo>
                  <a:lnTo>
                    <a:pt x="447" y="334"/>
                  </a:lnTo>
                  <a:lnTo>
                    <a:pt x="447" y="334"/>
                  </a:lnTo>
                  <a:lnTo>
                    <a:pt x="447" y="334"/>
                  </a:lnTo>
                  <a:lnTo>
                    <a:pt x="445" y="332"/>
                  </a:lnTo>
                  <a:lnTo>
                    <a:pt x="443" y="334"/>
                  </a:lnTo>
                  <a:lnTo>
                    <a:pt x="443" y="336"/>
                  </a:lnTo>
                  <a:lnTo>
                    <a:pt x="445" y="341"/>
                  </a:lnTo>
                  <a:lnTo>
                    <a:pt x="445" y="338"/>
                  </a:lnTo>
                  <a:lnTo>
                    <a:pt x="447" y="336"/>
                  </a:lnTo>
                  <a:lnTo>
                    <a:pt x="447" y="336"/>
                  </a:lnTo>
                  <a:lnTo>
                    <a:pt x="447" y="336"/>
                  </a:lnTo>
                  <a:lnTo>
                    <a:pt x="449" y="338"/>
                  </a:lnTo>
                  <a:lnTo>
                    <a:pt x="449" y="338"/>
                  </a:lnTo>
                  <a:lnTo>
                    <a:pt x="451" y="338"/>
                  </a:lnTo>
                  <a:lnTo>
                    <a:pt x="449" y="338"/>
                  </a:lnTo>
                  <a:lnTo>
                    <a:pt x="449" y="336"/>
                  </a:lnTo>
                  <a:close/>
                  <a:moveTo>
                    <a:pt x="498" y="341"/>
                  </a:moveTo>
                  <a:lnTo>
                    <a:pt x="500" y="336"/>
                  </a:lnTo>
                  <a:lnTo>
                    <a:pt x="502" y="334"/>
                  </a:lnTo>
                  <a:lnTo>
                    <a:pt x="496" y="343"/>
                  </a:lnTo>
                  <a:lnTo>
                    <a:pt x="498" y="341"/>
                  </a:lnTo>
                  <a:close/>
                  <a:moveTo>
                    <a:pt x="412" y="388"/>
                  </a:moveTo>
                  <a:lnTo>
                    <a:pt x="412" y="388"/>
                  </a:lnTo>
                  <a:lnTo>
                    <a:pt x="412" y="388"/>
                  </a:lnTo>
                  <a:lnTo>
                    <a:pt x="412" y="388"/>
                  </a:lnTo>
                  <a:lnTo>
                    <a:pt x="410" y="388"/>
                  </a:lnTo>
                  <a:lnTo>
                    <a:pt x="410" y="388"/>
                  </a:lnTo>
                  <a:lnTo>
                    <a:pt x="410" y="388"/>
                  </a:lnTo>
                  <a:lnTo>
                    <a:pt x="410" y="390"/>
                  </a:lnTo>
                  <a:lnTo>
                    <a:pt x="412" y="390"/>
                  </a:lnTo>
                  <a:lnTo>
                    <a:pt x="412" y="390"/>
                  </a:lnTo>
                  <a:lnTo>
                    <a:pt x="412" y="390"/>
                  </a:lnTo>
                  <a:lnTo>
                    <a:pt x="412" y="390"/>
                  </a:lnTo>
                  <a:lnTo>
                    <a:pt x="412" y="390"/>
                  </a:lnTo>
                  <a:lnTo>
                    <a:pt x="414" y="388"/>
                  </a:lnTo>
                  <a:lnTo>
                    <a:pt x="414" y="388"/>
                  </a:lnTo>
                  <a:lnTo>
                    <a:pt x="412" y="388"/>
                  </a:lnTo>
                  <a:lnTo>
                    <a:pt x="412" y="388"/>
                  </a:lnTo>
                  <a:close/>
                  <a:moveTo>
                    <a:pt x="504" y="308"/>
                  </a:moveTo>
                  <a:lnTo>
                    <a:pt x="502" y="306"/>
                  </a:lnTo>
                  <a:lnTo>
                    <a:pt x="502" y="304"/>
                  </a:lnTo>
                  <a:lnTo>
                    <a:pt x="500" y="302"/>
                  </a:lnTo>
                  <a:lnTo>
                    <a:pt x="498" y="300"/>
                  </a:lnTo>
                  <a:lnTo>
                    <a:pt x="500" y="302"/>
                  </a:lnTo>
                  <a:lnTo>
                    <a:pt x="502" y="302"/>
                  </a:lnTo>
                  <a:lnTo>
                    <a:pt x="502" y="306"/>
                  </a:lnTo>
                  <a:lnTo>
                    <a:pt x="502" y="308"/>
                  </a:lnTo>
                  <a:lnTo>
                    <a:pt x="502" y="308"/>
                  </a:lnTo>
                  <a:lnTo>
                    <a:pt x="504" y="310"/>
                  </a:lnTo>
                  <a:lnTo>
                    <a:pt x="504" y="312"/>
                  </a:lnTo>
                  <a:lnTo>
                    <a:pt x="504" y="314"/>
                  </a:lnTo>
                  <a:lnTo>
                    <a:pt x="504" y="316"/>
                  </a:lnTo>
                  <a:lnTo>
                    <a:pt x="506" y="320"/>
                  </a:lnTo>
                  <a:lnTo>
                    <a:pt x="504" y="322"/>
                  </a:lnTo>
                  <a:lnTo>
                    <a:pt x="502" y="328"/>
                  </a:lnTo>
                  <a:lnTo>
                    <a:pt x="502" y="328"/>
                  </a:lnTo>
                  <a:lnTo>
                    <a:pt x="504" y="330"/>
                  </a:lnTo>
                  <a:lnTo>
                    <a:pt x="504" y="330"/>
                  </a:lnTo>
                  <a:lnTo>
                    <a:pt x="504" y="330"/>
                  </a:lnTo>
                  <a:lnTo>
                    <a:pt x="506" y="326"/>
                  </a:lnTo>
                  <a:lnTo>
                    <a:pt x="506" y="324"/>
                  </a:lnTo>
                  <a:lnTo>
                    <a:pt x="506" y="314"/>
                  </a:lnTo>
                  <a:lnTo>
                    <a:pt x="504" y="308"/>
                  </a:lnTo>
                  <a:close/>
                  <a:moveTo>
                    <a:pt x="371" y="412"/>
                  </a:moveTo>
                  <a:lnTo>
                    <a:pt x="369" y="412"/>
                  </a:lnTo>
                  <a:lnTo>
                    <a:pt x="369" y="412"/>
                  </a:lnTo>
                  <a:lnTo>
                    <a:pt x="369" y="412"/>
                  </a:lnTo>
                  <a:lnTo>
                    <a:pt x="369" y="414"/>
                  </a:lnTo>
                  <a:lnTo>
                    <a:pt x="369" y="414"/>
                  </a:lnTo>
                  <a:lnTo>
                    <a:pt x="367" y="414"/>
                  </a:lnTo>
                  <a:lnTo>
                    <a:pt x="365" y="416"/>
                  </a:lnTo>
                  <a:lnTo>
                    <a:pt x="365" y="416"/>
                  </a:lnTo>
                  <a:lnTo>
                    <a:pt x="365" y="416"/>
                  </a:lnTo>
                  <a:lnTo>
                    <a:pt x="371" y="414"/>
                  </a:lnTo>
                  <a:lnTo>
                    <a:pt x="371" y="414"/>
                  </a:lnTo>
                  <a:lnTo>
                    <a:pt x="371" y="412"/>
                  </a:lnTo>
                  <a:close/>
                  <a:moveTo>
                    <a:pt x="406" y="394"/>
                  </a:moveTo>
                  <a:lnTo>
                    <a:pt x="404" y="394"/>
                  </a:lnTo>
                  <a:lnTo>
                    <a:pt x="404" y="396"/>
                  </a:lnTo>
                  <a:lnTo>
                    <a:pt x="402" y="398"/>
                  </a:lnTo>
                  <a:lnTo>
                    <a:pt x="399" y="398"/>
                  </a:lnTo>
                  <a:lnTo>
                    <a:pt x="399" y="400"/>
                  </a:lnTo>
                  <a:lnTo>
                    <a:pt x="399" y="400"/>
                  </a:lnTo>
                  <a:lnTo>
                    <a:pt x="399" y="400"/>
                  </a:lnTo>
                  <a:lnTo>
                    <a:pt x="404" y="398"/>
                  </a:lnTo>
                  <a:lnTo>
                    <a:pt x="406" y="396"/>
                  </a:lnTo>
                  <a:lnTo>
                    <a:pt x="406" y="396"/>
                  </a:lnTo>
                  <a:lnTo>
                    <a:pt x="406" y="394"/>
                  </a:lnTo>
                  <a:close/>
                  <a:moveTo>
                    <a:pt x="408" y="392"/>
                  </a:moveTo>
                  <a:lnTo>
                    <a:pt x="408" y="392"/>
                  </a:lnTo>
                  <a:lnTo>
                    <a:pt x="408" y="394"/>
                  </a:lnTo>
                  <a:lnTo>
                    <a:pt x="408" y="394"/>
                  </a:lnTo>
                  <a:lnTo>
                    <a:pt x="410" y="392"/>
                  </a:lnTo>
                  <a:lnTo>
                    <a:pt x="410" y="392"/>
                  </a:lnTo>
                  <a:lnTo>
                    <a:pt x="408" y="392"/>
                  </a:lnTo>
                  <a:lnTo>
                    <a:pt x="408" y="392"/>
                  </a:lnTo>
                  <a:close/>
                  <a:moveTo>
                    <a:pt x="375" y="416"/>
                  </a:moveTo>
                  <a:lnTo>
                    <a:pt x="375" y="416"/>
                  </a:lnTo>
                  <a:lnTo>
                    <a:pt x="373" y="418"/>
                  </a:lnTo>
                  <a:lnTo>
                    <a:pt x="373" y="418"/>
                  </a:lnTo>
                  <a:lnTo>
                    <a:pt x="371" y="420"/>
                  </a:lnTo>
                  <a:lnTo>
                    <a:pt x="377" y="418"/>
                  </a:lnTo>
                  <a:lnTo>
                    <a:pt x="377" y="416"/>
                  </a:lnTo>
                  <a:lnTo>
                    <a:pt x="375" y="416"/>
                  </a:lnTo>
                  <a:close/>
                  <a:moveTo>
                    <a:pt x="393" y="373"/>
                  </a:moveTo>
                  <a:lnTo>
                    <a:pt x="393" y="373"/>
                  </a:lnTo>
                  <a:lnTo>
                    <a:pt x="393" y="375"/>
                  </a:lnTo>
                  <a:lnTo>
                    <a:pt x="395" y="375"/>
                  </a:lnTo>
                  <a:lnTo>
                    <a:pt x="395" y="375"/>
                  </a:lnTo>
                  <a:lnTo>
                    <a:pt x="395" y="373"/>
                  </a:lnTo>
                  <a:lnTo>
                    <a:pt x="395" y="375"/>
                  </a:lnTo>
                  <a:lnTo>
                    <a:pt x="397" y="375"/>
                  </a:lnTo>
                  <a:lnTo>
                    <a:pt x="397" y="375"/>
                  </a:lnTo>
                  <a:lnTo>
                    <a:pt x="397" y="375"/>
                  </a:lnTo>
                  <a:lnTo>
                    <a:pt x="399" y="375"/>
                  </a:lnTo>
                  <a:lnTo>
                    <a:pt x="399" y="375"/>
                  </a:lnTo>
                  <a:lnTo>
                    <a:pt x="399" y="375"/>
                  </a:lnTo>
                  <a:lnTo>
                    <a:pt x="399" y="375"/>
                  </a:lnTo>
                  <a:lnTo>
                    <a:pt x="399" y="375"/>
                  </a:lnTo>
                  <a:lnTo>
                    <a:pt x="399" y="375"/>
                  </a:lnTo>
                  <a:lnTo>
                    <a:pt x="399" y="375"/>
                  </a:lnTo>
                  <a:lnTo>
                    <a:pt x="399" y="373"/>
                  </a:lnTo>
                  <a:lnTo>
                    <a:pt x="399" y="373"/>
                  </a:lnTo>
                  <a:lnTo>
                    <a:pt x="399" y="373"/>
                  </a:lnTo>
                  <a:lnTo>
                    <a:pt x="399" y="375"/>
                  </a:lnTo>
                  <a:lnTo>
                    <a:pt x="397" y="375"/>
                  </a:lnTo>
                  <a:lnTo>
                    <a:pt x="397" y="375"/>
                  </a:lnTo>
                  <a:lnTo>
                    <a:pt x="397" y="373"/>
                  </a:lnTo>
                  <a:lnTo>
                    <a:pt x="395" y="373"/>
                  </a:lnTo>
                  <a:lnTo>
                    <a:pt x="397" y="373"/>
                  </a:lnTo>
                  <a:lnTo>
                    <a:pt x="397" y="373"/>
                  </a:lnTo>
                  <a:lnTo>
                    <a:pt x="397" y="371"/>
                  </a:lnTo>
                  <a:lnTo>
                    <a:pt x="395" y="371"/>
                  </a:lnTo>
                  <a:lnTo>
                    <a:pt x="395" y="371"/>
                  </a:lnTo>
                  <a:lnTo>
                    <a:pt x="393" y="371"/>
                  </a:lnTo>
                  <a:lnTo>
                    <a:pt x="393" y="371"/>
                  </a:lnTo>
                  <a:lnTo>
                    <a:pt x="393" y="369"/>
                  </a:lnTo>
                  <a:lnTo>
                    <a:pt x="391" y="369"/>
                  </a:lnTo>
                  <a:lnTo>
                    <a:pt x="389" y="369"/>
                  </a:lnTo>
                  <a:lnTo>
                    <a:pt x="389" y="369"/>
                  </a:lnTo>
                  <a:lnTo>
                    <a:pt x="387" y="369"/>
                  </a:lnTo>
                  <a:lnTo>
                    <a:pt x="387" y="371"/>
                  </a:lnTo>
                  <a:lnTo>
                    <a:pt x="387" y="371"/>
                  </a:lnTo>
                  <a:lnTo>
                    <a:pt x="389" y="373"/>
                  </a:lnTo>
                  <a:lnTo>
                    <a:pt x="391" y="373"/>
                  </a:lnTo>
                  <a:lnTo>
                    <a:pt x="391" y="373"/>
                  </a:lnTo>
                  <a:lnTo>
                    <a:pt x="393" y="373"/>
                  </a:lnTo>
                  <a:lnTo>
                    <a:pt x="393" y="373"/>
                  </a:lnTo>
                  <a:lnTo>
                    <a:pt x="393" y="373"/>
                  </a:lnTo>
                  <a:lnTo>
                    <a:pt x="393" y="373"/>
                  </a:lnTo>
                  <a:close/>
                  <a:moveTo>
                    <a:pt x="500" y="322"/>
                  </a:moveTo>
                  <a:lnTo>
                    <a:pt x="502" y="322"/>
                  </a:lnTo>
                  <a:lnTo>
                    <a:pt x="502" y="322"/>
                  </a:lnTo>
                  <a:lnTo>
                    <a:pt x="500" y="322"/>
                  </a:lnTo>
                  <a:close/>
                  <a:moveTo>
                    <a:pt x="498" y="320"/>
                  </a:moveTo>
                  <a:lnTo>
                    <a:pt x="498" y="320"/>
                  </a:lnTo>
                  <a:lnTo>
                    <a:pt x="496" y="320"/>
                  </a:lnTo>
                  <a:lnTo>
                    <a:pt x="496" y="322"/>
                  </a:lnTo>
                  <a:lnTo>
                    <a:pt x="496" y="322"/>
                  </a:lnTo>
                  <a:lnTo>
                    <a:pt x="498" y="320"/>
                  </a:lnTo>
                  <a:lnTo>
                    <a:pt x="498" y="320"/>
                  </a:lnTo>
                  <a:close/>
                  <a:moveTo>
                    <a:pt x="498" y="318"/>
                  </a:moveTo>
                  <a:lnTo>
                    <a:pt x="500" y="318"/>
                  </a:lnTo>
                  <a:lnTo>
                    <a:pt x="500" y="318"/>
                  </a:lnTo>
                  <a:lnTo>
                    <a:pt x="498" y="318"/>
                  </a:lnTo>
                  <a:lnTo>
                    <a:pt x="498" y="320"/>
                  </a:lnTo>
                  <a:lnTo>
                    <a:pt x="498" y="320"/>
                  </a:lnTo>
                  <a:lnTo>
                    <a:pt x="498" y="320"/>
                  </a:lnTo>
                  <a:lnTo>
                    <a:pt x="498" y="318"/>
                  </a:lnTo>
                  <a:close/>
                  <a:moveTo>
                    <a:pt x="500" y="318"/>
                  </a:moveTo>
                  <a:lnTo>
                    <a:pt x="500" y="318"/>
                  </a:lnTo>
                  <a:lnTo>
                    <a:pt x="500" y="320"/>
                  </a:lnTo>
                  <a:lnTo>
                    <a:pt x="500" y="320"/>
                  </a:lnTo>
                  <a:lnTo>
                    <a:pt x="500" y="318"/>
                  </a:lnTo>
                  <a:close/>
                  <a:moveTo>
                    <a:pt x="440" y="345"/>
                  </a:moveTo>
                  <a:lnTo>
                    <a:pt x="443" y="345"/>
                  </a:lnTo>
                  <a:lnTo>
                    <a:pt x="443" y="345"/>
                  </a:lnTo>
                  <a:lnTo>
                    <a:pt x="443" y="345"/>
                  </a:lnTo>
                  <a:lnTo>
                    <a:pt x="443" y="345"/>
                  </a:lnTo>
                  <a:lnTo>
                    <a:pt x="443" y="345"/>
                  </a:lnTo>
                  <a:lnTo>
                    <a:pt x="443" y="345"/>
                  </a:lnTo>
                  <a:lnTo>
                    <a:pt x="443" y="345"/>
                  </a:lnTo>
                  <a:lnTo>
                    <a:pt x="440" y="343"/>
                  </a:lnTo>
                  <a:lnTo>
                    <a:pt x="440" y="343"/>
                  </a:lnTo>
                  <a:lnTo>
                    <a:pt x="440" y="343"/>
                  </a:lnTo>
                  <a:lnTo>
                    <a:pt x="440" y="343"/>
                  </a:lnTo>
                  <a:lnTo>
                    <a:pt x="440" y="345"/>
                  </a:lnTo>
                  <a:lnTo>
                    <a:pt x="440" y="345"/>
                  </a:lnTo>
                  <a:lnTo>
                    <a:pt x="440" y="345"/>
                  </a:lnTo>
                  <a:lnTo>
                    <a:pt x="440" y="345"/>
                  </a:lnTo>
                  <a:lnTo>
                    <a:pt x="440" y="345"/>
                  </a:lnTo>
                  <a:lnTo>
                    <a:pt x="440" y="345"/>
                  </a:lnTo>
                  <a:lnTo>
                    <a:pt x="440" y="345"/>
                  </a:lnTo>
                  <a:close/>
                  <a:moveTo>
                    <a:pt x="492" y="328"/>
                  </a:moveTo>
                  <a:lnTo>
                    <a:pt x="492" y="328"/>
                  </a:lnTo>
                  <a:lnTo>
                    <a:pt x="492" y="326"/>
                  </a:lnTo>
                  <a:lnTo>
                    <a:pt x="492" y="326"/>
                  </a:lnTo>
                  <a:lnTo>
                    <a:pt x="492" y="328"/>
                  </a:lnTo>
                  <a:lnTo>
                    <a:pt x="492" y="330"/>
                  </a:lnTo>
                  <a:lnTo>
                    <a:pt x="492" y="330"/>
                  </a:lnTo>
                  <a:lnTo>
                    <a:pt x="492" y="328"/>
                  </a:lnTo>
                  <a:close/>
                  <a:moveTo>
                    <a:pt x="467" y="314"/>
                  </a:moveTo>
                  <a:lnTo>
                    <a:pt x="467" y="312"/>
                  </a:lnTo>
                  <a:lnTo>
                    <a:pt x="465" y="312"/>
                  </a:lnTo>
                  <a:lnTo>
                    <a:pt x="465" y="314"/>
                  </a:lnTo>
                  <a:lnTo>
                    <a:pt x="463" y="316"/>
                  </a:lnTo>
                  <a:lnTo>
                    <a:pt x="463" y="316"/>
                  </a:lnTo>
                  <a:lnTo>
                    <a:pt x="463" y="316"/>
                  </a:lnTo>
                  <a:lnTo>
                    <a:pt x="465" y="316"/>
                  </a:lnTo>
                  <a:lnTo>
                    <a:pt x="465" y="314"/>
                  </a:lnTo>
                  <a:lnTo>
                    <a:pt x="465" y="314"/>
                  </a:lnTo>
                  <a:lnTo>
                    <a:pt x="467" y="314"/>
                  </a:lnTo>
                  <a:close/>
                </a:path>
              </a:pathLst>
            </a:custGeom>
            <a:solidFill>
              <a:schemeClr val="tx1"/>
            </a:solidFill>
            <a:ln w="3175" cap="rnd">
              <a:solidFill>
                <a:schemeClr val="bg1"/>
              </a:solidFill>
              <a:prstDash val="solid"/>
              <a:round/>
              <a:headEnd/>
              <a:tailEnd/>
            </a:ln>
          </p:spPr>
          <p:txBody>
            <a:bodyPr vert="horz" wrap="square" lIns="144000" tIns="0" rIns="0" bIns="240000" numCol="1" anchor="ctr"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LA</a:t>
              </a:r>
            </a:p>
          </p:txBody>
        </p:sp>
        <p:sp>
          <p:nvSpPr>
            <p:cNvPr id="117" name="Freeform 38">
              <a:extLst>
                <a:ext uri="{FF2B5EF4-FFF2-40B4-BE49-F238E27FC236}">
                  <a16:creationId xmlns:a16="http://schemas.microsoft.com/office/drawing/2014/main" id="{6CCA3279-D9B7-B76B-44D4-8C26EF19334F}"/>
                </a:ext>
              </a:extLst>
            </p:cNvPr>
            <p:cNvSpPr>
              <a:spLocks noEditPoints="1"/>
            </p:cNvSpPr>
            <p:nvPr/>
          </p:nvSpPr>
          <p:spPr bwMode="auto">
            <a:xfrm>
              <a:off x="3639" y="1125"/>
              <a:ext cx="641" cy="330"/>
            </a:xfrm>
            <a:custGeom>
              <a:avLst/>
              <a:gdLst>
                <a:gd name="T0" fmla="*/ 624 w 641"/>
                <a:gd name="T1" fmla="*/ 131 h 330"/>
                <a:gd name="T2" fmla="*/ 616 w 641"/>
                <a:gd name="T3" fmla="*/ 125 h 330"/>
                <a:gd name="T4" fmla="*/ 606 w 641"/>
                <a:gd name="T5" fmla="*/ 117 h 330"/>
                <a:gd name="T6" fmla="*/ 596 w 641"/>
                <a:gd name="T7" fmla="*/ 103 h 330"/>
                <a:gd name="T8" fmla="*/ 590 w 641"/>
                <a:gd name="T9" fmla="*/ 94 h 330"/>
                <a:gd name="T10" fmla="*/ 573 w 641"/>
                <a:gd name="T11" fmla="*/ 76 h 330"/>
                <a:gd name="T12" fmla="*/ 575 w 641"/>
                <a:gd name="T13" fmla="*/ 70 h 330"/>
                <a:gd name="T14" fmla="*/ 577 w 641"/>
                <a:gd name="T15" fmla="*/ 66 h 330"/>
                <a:gd name="T16" fmla="*/ 573 w 641"/>
                <a:gd name="T17" fmla="*/ 51 h 330"/>
                <a:gd name="T18" fmla="*/ 547 w 641"/>
                <a:gd name="T19" fmla="*/ 31 h 330"/>
                <a:gd name="T20" fmla="*/ 530 w 641"/>
                <a:gd name="T21" fmla="*/ 25 h 330"/>
                <a:gd name="T22" fmla="*/ 516 w 641"/>
                <a:gd name="T23" fmla="*/ 35 h 330"/>
                <a:gd name="T24" fmla="*/ 499 w 641"/>
                <a:gd name="T25" fmla="*/ 33 h 330"/>
                <a:gd name="T26" fmla="*/ 481 w 641"/>
                <a:gd name="T27" fmla="*/ 37 h 330"/>
                <a:gd name="T28" fmla="*/ 456 w 641"/>
                <a:gd name="T29" fmla="*/ 29 h 330"/>
                <a:gd name="T30" fmla="*/ 426 w 641"/>
                <a:gd name="T31" fmla="*/ 19 h 330"/>
                <a:gd name="T32" fmla="*/ 413 w 641"/>
                <a:gd name="T33" fmla="*/ 6 h 330"/>
                <a:gd name="T34" fmla="*/ 385 w 641"/>
                <a:gd name="T35" fmla="*/ 2 h 330"/>
                <a:gd name="T36" fmla="*/ 370 w 641"/>
                <a:gd name="T37" fmla="*/ 10 h 330"/>
                <a:gd name="T38" fmla="*/ 379 w 641"/>
                <a:gd name="T39" fmla="*/ 27 h 330"/>
                <a:gd name="T40" fmla="*/ 364 w 641"/>
                <a:gd name="T41" fmla="*/ 41 h 330"/>
                <a:gd name="T42" fmla="*/ 327 w 641"/>
                <a:gd name="T43" fmla="*/ 55 h 330"/>
                <a:gd name="T44" fmla="*/ 321 w 641"/>
                <a:gd name="T45" fmla="*/ 82 h 330"/>
                <a:gd name="T46" fmla="*/ 305 w 641"/>
                <a:gd name="T47" fmla="*/ 103 h 330"/>
                <a:gd name="T48" fmla="*/ 297 w 641"/>
                <a:gd name="T49" fmla="*/ 117 h 330"/>
                <a:gd name="T50" fmla="*/ 286 w 641"/>
                <a:gd name="T51" fmla="*/ 139 h 330"/>
                <a:gd name="T52" fmla="*/ 264 w 641"/>
                <a:gd name="T53" fmla="*/ 127 h 330"/>
                <a:gd name="T54" fmla="*/ 260 w 641"/>
                <a:gd name="T55" fmla="*/ 123 h 330"/>
                <a:gd name="T56" fmla="*/ 250 w 641"/>
                <a:gd name="T57" fmla="*/ 127 h 330"/>
                <a:gd name="T58" fmla="*/ 245 w 641"/>
                <a:gd name="T59" fmla="*/ 148 h 330"/>
                <a:gd name="T60" fmla="*/ 237 w 641"/>
                <a:gd name="T61" fmla="*/ 152 h 330"/>
                <a:gd name="T62" fmla="*/ 213 w 641"/>
                <a:gd name="T63" fmla="*/ 152 h 330"/>
                <a:gd name="T64" fmla="*/ 196 w 641"/>
                <a:gd name="T65" fmla="*/ 168 h 330"/>
                <a:gd name="T66" fmla="*/ 184 w 641"/>
                <a:gd name="T67" fmla="*/ 162 h 330"/>
                <a:gd name="T68" fmla="*/ 155 w 641"/>
                <a:gd name="T69" fmla="*/ 158 h 330"/>
                <a:gd name="T70" fmla="*/ 155 w 641"/>
                <a:gd name="T71" fmla="*/ 164 h 330"/>
                <a:gd name="T72" fmla="*/ 145 w 641"/>
                <a:gd name="T73" fmla="*/ 164 h 330"/>
                <a:gd name="T74" fmla="*/ 129 w 641"/>
                <a:gd name="T75" fmla="*/ 162 h 330"/>
                <a:gd name="T76" fmla="*/ 119 w 641"/>
                <a:gd name="T77" fmla="*/ 176 h 330"/>
                <a:gd name="T78" fmla="*/ 112 w 641"/>
                <a:gd name="T79" fmla="*/ 201 h 330"/>
                <a:gd name="T80" fmla="*/ 88 w 641"/>
                <a:gd name="T81" fmla="*/ 221 h 330"/>
                <a:gd name="T82" fmla="*/ 92 w 641"/>
                <a:gd name="T83" fmla="*/ 252 h 330"/>
                <a:gd name="T84" fmla="*/ 37 w 641"/>
                <a:gd name="T85" fmla="*/ 252 h 330"/>
                <a:gd name="T86" fmla="*/ 37 w 641"/>
                <a:gd name="T87" fmla="*/ 285 h 330"/>
                <a:gd name="T88" fmla="*/ 32 w 641"/>
                <a:gd name="T89" fmla="*/ 310 h 330"/>
                <a:gd name="T90" fmla="*/ 16 w 641"/>
                <a:gd name="T91" fmla="*/ 316 h 330"/>
                <a:gd name="T92" fmla="*/ 104 w 641"/>
                <a:gd name="T93" fmla="*/ 320 h 330"/>
                <a:gd name="T94" fmla="*/ 129 w 641"/>
                <a:gd name="T95" fmla="*/ 295 h 330"/>
                <a:gd name="T96" fmla="*/ 149 w 641"/>
                <a:gd name="T97" fmla="*/ 299 h 330"/>
                <a:gd name="T98" fmla="*/ 215 w 641"/>
                <a:gd name="T99" fmla="*/ 291 h 330"/>
                <a:gd name="T100" fmla="*/ 264 w 641"/>
                <a:gd name="T101" fmla="*/ 283 h 330"/>
                <a:gd name="T102" fmla="*/ 407 w 641"/>
                <a:gd name="T103" fmla="*/ 271 h 330"/>
                <a:gd name="T104" fmla="*/ 510 w 641"/>
                <a:gd name="T105" fmla="*/ 256 h 330"/>
                <a:gd name="T106" fmla="*/ 545 w 641"/>
                <a:gd name="T107" fmla="*/ 236 h 330"/>
                <a:gd name="T108" fmla="*/ 557 w 641"/>
                <a:gd name="T109" fmla="*/ 228 h 330"/>
                <a:gd name="T110" fmla="*/ 575 w 641"/>
                <a:gd name="T111" fmla="*/ 213 h 330"/>
                <a:gd name="T112" fmla="*/ 577 w 641"/>
                <a:gd name="T113" fmla="*/ 203 h 330"/>
                <a:gd name="T114" fmla="*/ 583 w 641"/>
                <a:gd name="T115" fmla="*/ 189 h 330"/>
                <a:gd name="T116" fmla="*/ 631 w 641"/>
                <a:gd name="T117" fmla="*/ 146 h 330"/>
                <a:gd name="T118" fmla="*/ 8 w 641"/>
                <a:gd name="T119" fmla="*/ 32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1" h="330">
                  <a:moveTo>
                    <a:pt x="639" y="133"/>
                  </a:moveTo>
                  <a:lnTo>
                    <a:pt x="639" y="133"/>
                  </a:lnTo>
                  <a:lnTo>
                    <a:pt x="635" y="135"/>
                  </a:lnTo>
                  <a:lnTo>
                    <a:pt x="635" y="135"/>
                  </a:lnTo>
                  <a:lnTo>
                    <a:pt x="626" y="133"/>
                  </a:lnTo>
                  <a:lnTo>
                    <a:pt x="626" y="133"/>
                  </a:lnTo>
                  <a:lnTo>
                    <a:pt x="624" y="133"/>
                  </a:lnTo>
                  <a:lnTo>
                    <a:pt x="624" y="131"/>
                  </a:lnTo>
                  <a:lnTo>
                    <a:pt x="624" y="131"/>
                  </a:lnTo>
                  <a:lnTo>
                    <a:pt x="624" y="131"/>
                  </a:lnTo>
                  <a:lnTo>
                    <a:pt x="624" y="131"/>
                  </a:lnTo>
                  <a:lnTo>
                    <a:pt x="624" y="129"/>
                  </a:lnTo>
                  <a:lnTo>
                    <a:pt x="624" y="129"/>
                  </a:lnTo>
                  <a:lnTo>
                    <a:pt x="620" y="127"/>
                  </a:lnTo>
                  <a:lnTo>
                    <a:pt x="620" y="127"/>
                  </a:lnTo>
                  <a:lnTo>
                    <a:pt x="620" y="127"/>
                  </a:lnTo>
                  <a:lnTo>
                    <a:pt x="618" y="127"/>
                  </a:lnTo>
                  <a:lnTo>
                    <a:pt x="618" y="127"/>
                  </a:lnTo>
                  <a:lnTo>
                    <a:pt x="616" y="125"/>
                  </a:lnTo>
                  <a:lnTo>
                    <a:pt x="616" y="125"/>
                  </a:lnTo>
                  <a:lnTo>
                    <a:pt x="616" y="125"/>
                  </a:lnTo>
                  <a:lnTo>
                    <a:pt x="614" y="125"/>
                  </a:lnTo>
                  <a:lnTo>
                    <a:pt x="610" y="123"/>
                  </a:lnTo>
                  <a:lnTo>
                    <a:pt x="610" y="123"/>
                  </a:lnTo>
                  <a:lnTo>
                    <a:pt x="610" y="123"/>
                  </a:lnTo>
                  <a:lnTo>
                    <a:pt x="610" y="121"/>
                  </a:lnTo>
                  <a:lnTo>
                    <a:pt x="608" y="119"/>
                  </a:lnTo>
                  <a:lnTo>
                    <a:pt x="608" y="117"/>
                  </a:lnTo>
                  <a:lnTo>
                    <a:pt x="608" y="117"/>
                  </a:lnTo>
                  <a:lnTo>
                    <a:pt x="606" y="117"/>
                  </a:lnTo>
                  <a:lnTo>
                    <a:pt x="606" y="115"/>
                  </a:lnTo>
                  <a:lnTo>
                    <a:pt x="598" y="111"/>
                  </a:lnTo>
                  <a:lnTo>
                    <a:pt x="598" y="109"/>
                  </a:lnTo>
                  <a:lnTo>
                    <a:pt x="598" y="109"/>
                  </a:lnTo>
                  <a:lnTo>
                    <a:pt x="598" y="109"/>
                  </a:lnTo>
                  <a:lnTo>
                    <a:pt x="598" y="105"/>
                  </a:lnTo>
                  <a:lnTo>
                    <a:pt x="596" y="105"/>
                  </a:lnTo>
                  <a:lnTo>
                    <a:pt x="596" y="103"/>
                  </a:lnTo>
                  <a:lnTo>
                    <a:pt x="596" y="103"/>
                  </a:lnTo>
                  <a:lnTo>
                    <a:pt x="596" y="103"/>
                  </a:lnTo>
                  <a:lnTo>
                    <a:pt x="594" y="103"/>
                  </a:lnTo>
                  <a:lnTo>
                    <a:pt x="590" y="101"/>
                  </a:lnTo>
                  <a:lnTo>
                    <a:pt x="590" y="99"/>
                  </a:lnTo>
                  <a:lnTo>
                    <a:pt x="590" y="99"/>
                  </a:lnTo>
                  <a:lnTo>
                    <a:pt x="590" y="99"/>
                  </a:lnTo>
                  <a:lnTo>
                    <a:pt x="590" y="96"/>
                  </a:lnTo>
                  <a:lnTo>
                    <a:pt x="592" y="96"/>
                  </a:lnTo>
                  <a:lnTo>
                    <a:pt x="592" y="96"/>
                  </a:lnTo>
                  <a:lnTo>
                    <a:pt x="590" y="94"/>
                  </a:lnTo>
                  <a:lnTo>
                    <a:pt x="590" y="94"/>
                  </a:lnTo>
                  <a:lnTo>
                    <a:pt x="590" y="94"/>
                  </a:lnTo>
                  <a:lnTo>
                    <a:pt x="590" y="94"/>
                  </a:lnTo>
                  <a:lnTo>
                    <a:pt x="583" y="90"/>
                  </a:lnTo>
                  <a:lnTo>
                    <a:pt x="583" y="90"/>
                  </a:lnTo>
                  <a:lnTo>
                    <a:pt x="583" y="88"/>
                  </a:lnTo>
                  <a:lnTo>
                    <a:pt x="581" y="86"/>
                  </a:lnTo>
                  <a:lnTo>
                    <a:pt x="581" y="86"/>
                  </a:lnTo>
                  <a:lnTo>
                    <a:pt x="573" y="78"/>
                  </a:lnTo>
                  <a:lnTo>
                    <a:pt x="573" y="78"/>
                  </a:lnTo>
                  <a:lnTo>
                    <a:pt x="573" y="76"/>
                  </a:lnTo>
                  <a:lnTo>
                    <a:pt x="573" y="76"/>
                  </a:lnTo>
                  <a:lnTo>
                    <a:pt x="573" y="76"/>
                  </a:lnTo>
                  <a:lnTo>
                    <a:pt x="573" y="76"/>
                  </a:lnTo>
                  <a:lnTo>
                    <a:pt x="573" y="76"/>
                  </a:lnTo>
                  <a:lnTo>
                    <a:pt x="575" y="74"/>
                  </a:lnTo>
                  <a:lnTo>
                    <a:pt x="575" y="74"/>
                  </a:lnTo>
                  <a:lnTo>
                    <a:pt x="575" y="72"/>
                  </a:lnTo>
                  <a:lnTo>
                    <a:pt x="575" y="72"/>
                  </a:lnTo>
                  <a:lnTo>
                    <a:pt x="575" y="72"/>
                  </a:lnTo>
                  <a:lnTo>
                    <a:pt x="575" y="70"/>
                  </a:lnTo>
                  <a:lnTo>
                    <a:pt x="575" y="70"/>
                  </a:lnTo>
                  <a:lnTo>
                    <a:pt x="575" y="70"/>
                  </a:lnTo>
                  <a:lnTo>
                    <a:pt x="575" y="68"/>
                  </a:lnTo>
                  <a:lnTo>
                    <a:pt x="575" y="68"/>
                  </a:lnTo>
                  <a:lnTo>
                    <a:pt x="577" y="68"/>
                  </a:lnTo>
                  <a:lnTo>
                    <a:pt x="577" y="68"/>
                  </a:lnTo>
                  <a:lnTo>
                    <a:pt x="577" y="68"/>
                  </a:lnTo>
                  <a:lnTo>
                    <a:pt x="577" y="68"/>
                  </a:lnTo>
                  <a:lnTo>
                    <a:pt x="577" y="66"/>
                  </a:lnTo>
                  <a:lnTo>
                    <a:pt x="577" y="66"/>
                  </a:lnTo>
                  <a:lnTo>
                    <a:pt x="577" y="64"/>
                  </a:lnTo>
                  <a:lnTo>
                    <a:pt x="577" y="62"/>
                  </a:lnTo>
                  <a:lnTo>
                    <a:pt x="577" y="62"/>
                  </a:lnTo>
                  <a:lnTo>
                    <a:pt x="575" y="60"/>
                  </a:lnTo>
                  <a:lnTo>
                    <a:pt x="575" y="60"/>
                  </a:lnTo>
                  <a:lnTo>
                    <a:pt x="573" y="55"/>
                  </a:lnTo>
                  <a:lnTo>
                    <a:pt x="573" y="55"/>
                  </a:lnTo>
                  <a:lnTo>
                    <a:pt x="573" y="55"/>
                  </a:lnTo>
                  <a:lnTo>
                    <a:pt x="573" y="53"/>
                  </a:lnTo>
                  <a:lnTo>
                    <a:pt x="573" y="51"/>
                  </a:lnTo>
                  <a:lnTo>
                    <a:pt x="573" y="49"/>
                  </a:lnTo>
                  <a:lnTo>
                    <a:pt x="573" y="49"/>
                  </a:lnTo>
                  <a:lnTo>
                    <a:pt x="571" y="49"/>
                  </a:lnTo>
                  <a:lnTo>
                    <a:pt x="569" y="45"/>
                  </a:lnTo>
                  <a:lnTo>
                    <a:pt x="569" y="43"/>
                  </a:lnTo>
                  <a:lnTo>
                    <a:pt x="561" y="39"/>
                  </a:lnTo>
                  <a:lnTo>
                    <a:pt x="559" y="37"/>
                  </a:lnTo>
                  <a:lnTo>
                    <a:pt x="555" y="37"/>
                  </a:lnTo>
                  <a:lnTo>
                    <a:pt x="551" y="35"/>
                  </a:lnTo>
                  <a:lnTo>
                    <a:pt x="547" y="31"/>
                  </a:lnTo>
                  <a:lnTo>
                    <a:pt x="545" y="25"/>
                  </a:lnTo>
                  <a:lnTo>
                    <a:pt x="542" y="23"/>
                  </a:lnTo>
                  <a:lnTo>
                    <a:pt x="542" y="21"/>
                  </a:lnTo>
                  <a:lnTo>
                    <a:pt x="542" y="19"/>
                  </a:lnTo>
                  <a:lnTo>
                    <a:pt x="540" y="19"/>
                  </a:lnTo>
                  <a:lnTo>
                    <a:pt x="538" y="19"/>
                  </a:lnTo>
                  <a:lnTo>
                    <a:pt x="534" y="23"/>
                  </a:lnTo>
                  <a:lnTo>
                    <a:pt x="532" y="23"/>
                  </a:lnTo>
                  <a:lnTo>
                    <a:pt x="530" y="25"/>
                  </a:lnTo>
                  <a:lnTo>
                    <a:pt x="530" y="25"/>
                  </a:lnTo>
                  <a:lnTo>
                    <a:pt x="528" y="27"/>
                  </a:lnTo>
                  <a:lnTo>
                    <a:pt x="528" y="29"/>
                  </a:lnTo>
                  <a:lnTo>
                    <a:pt x="526" y="29"/>
                  </a:lnTo>
                  <a:lnTo>
                    <a:pt x="524" y="31"/>
                  </a:lnTo>
                  <a:lnTo>
                    <a:pt x="524" y="31"/>
                  </a:lnTo>
                  <a:lnTo>
                    <a:pt x="524" y="33"/>
                  </a:lnTo>
                  <a:lnTo>
                    <a:pt x="524" y="35"/>
                  </a:lnTo>
                  <a:lnTo>
                    <a:pt x="522" y="35"/>
                  </a:lnTo>
                  <a:lnTo>
                    <a:pt x="520" y="37"/>
                  </a:lnTo>
                  <a:lnTo>
                    <a:pt x="516" y="35"/>
                  </a:lnTo>
                  <a:lnTo>
                    <a:pt x="514" y="37"/>
                  </a:lnTo>
                  <a:lnTo>
                    <a:pt x="514" y="37"/>
                  </a:lnTo>
                  <a:lnTo>
                    <a:pt x="512" y="39"/>
                  </a:lnTo>
                  <a:lnTo>
                    <a:pt x="510" y="39"/>
                  </a:lnTo>
                  <a:lnTo>
                    <a:pt x="508" y="39"/>
                  </a:lnTo>
                  <a:lnTo>
                    <a:pt x="508" y="39"/>
                  </a:lnTo>
                  <a:lnTo>
                    <a:pt x="506" y="35"/>
                  </a:lnTo>
                  <a:lnTo>
                    <a:pt x="504" y="35"/>
                  </a:lnTo>
                  <a:lnTo>
                    <a:pt x="504" y="35"/>
                  </a:lnTo>
                  <a:lnTo>
                    <a:pt x="499" y="33"/>
                  </a:lnTo>
                  <a:lnTo>
                    <a:pt x="499" y="33"/>
                  </a:lnTo>
                  <a:lnTo>
                    <a:pt x="495" y="33"/>
                  </a:lnTo>
                  <a:lnTo>
                    <a:pt x="495" y="33"/>
                  </a:lnTo>
                  <a:lnTo>
                    <a:pt x="493" y="33"/>
                  </a:lnTo>
                  <a:lnTo>
                    <a:pt x="491" y="31"/>
                  </a:lnTo>
                  <a:lnTo>
                    <a:pt x="489" y="31"/>
                  </a:lnTo>
                  <a:lnTo>
                    <a:pt x="489" y="31"/>
                  </a:lnTo>
                  <a:lnTo>
                    <a:pt x="483" y="35"/>
                  </a:lnTo>
                  <a:lnTo>
                    <a:pt x="481" y="35"/>
                  </a:lnTo>
                  <a:lnTo>
                    <a:pt x="481" y="37"/>
                  </a:lnTo>
                  <a:lnTo>
                    <a:pt x="481" y="39"/>
                  </a:lnTo>
                  <a:lnTo>
                    <a:pt x="479" y="41"/>
                  </a:lnTo>
                  <a:lnTo>
                    <a:pt x="479" y="41"/>
                  </a:lnTo>
                  <a:lnTo>
                    <a:pt x="475" y="41"/>
                  </a:lnTo>
                  <a:lnTo>
                    <a:pt x="471" y="39"/>
                  </a:lnTo>
                  <a:lnTo>
                    <a:pt x="465" y="35"/>
                  </a:lnTo>
                  <a:lnTo>
                    <a:pt x="463" y="33"/>
                  </a:lnTo>
                  <a:lnTo>
                    <a:pt x="461" y="31"/>
                  </a:lnTo>
                  <a:lnTo>
                    <a:pt x="461" y="29"/>
                  </a:lnTo>
                  <a:lnTo>
                    <a:pt x="456" y="29"/>
                  </a:lnTo>
                  <a:lnTo>
                    <a:pt x="452" y="29"/>
                  </a:lnTo>
                  <a:lnTo>
                    <a:pt x="450" y="29"/>
                  </a:lnTo>
                  <a:lnTo>
                    <a:pt x="442" y="31"/>
                  </a:lnTo>
                  <a:lnTo>
                    <a:pt x="440" y="31"/>
                  </a:lnTo>
                  <a:lnTo>
                    <a:pt x="432" y="29"/>
                  </a:lnTo>
                  <a:lnTo>
                    <a:pt x="430" y="27"/>
                  </a:lnTo>
                  <a:lnTo>
                    <a:pt x="428" y="25"/>
                  </a:lnTo>
                  <a:lnTo>
                    <a:pt x="428" y="23"/>
                  </a:lnTo>
                  <a:lnTo>
                    <a:pt x="428" y="21"/>
                  </a:lnTo>
                  <a:lnTo>
                    <a:pt x="426" y="19"/>
                  </a:lnTo>
                  <a:lnTo>
                    <a:pt x="426" y="19"/>
                  </a:lnTo>
                  <a:lnTo>
                    <a:pt x="424" y="17"/>
                  </a:lnTo>
                  <a:lnTo>
                    <a:pt x="424" y="17"/>
                  </a:lnTo>
                  <a:lnTo>
                    <a:pt x="422" y="14"/>
                  </a:lnTo>
                  <a:lnTo>
                    <a:pt x="422" y="12"/>
                  </a:lnTo>
                  <a:lnTo>
                    <a:pt x="420" y="12"/>
                  </a:lnTo>
                  <a:lnTo>
                    <a:pt x="420" y="10"/>
                  </a:lnTo>
                  <a:lnTo>
                    <a:pt x="420" y="8"/>
                  </a:lnTo>
                  <a:lnTo>
                    <a:pt x="418" y="6"/>
                  </a:lnTo>
                  <a:lnTo>
                    <a:pt x="413" y="6"/>
                  </a:lnTo>
                  <a:lnTo>
                    <a:pt x="411" y="4"/>
                  </a:lnTo>
                  <a:lnTo>
                    <a:pt x="409" y="4"/>
                  </a:lnTo>
                  <a:lnTo>
                    <a:pt x="409" y="4"/>
                  </a:lnTo>
                  <a:lnTo>
                    <a:pt x="407" y="2"/>
                  </a:lnTo>
                  <a:lnTo>
                    <a:pt x="405" y="0"/>
                  </a:lnTo>
                  <a:lnTo>
                    <a:pt x="403" y="0"/>
                  </a:lnTo>
                  <a:lnTo>
                    <a:pt x="401" y="0"/>
                  </a:lnTo>
                  <a:lnTo>
                    <a:pt x="393" y="6"/>
                  </a:lnTo>
                  <a:lnTo>
                    <a:pt x="391" y="6"/>
                  </a:lnTo>
                  <a:lnTo>
                    <a:pt x="385" y="2"/>
                  </a:lnTo>
                  <a:lnTo>
                    <a:pt x="385" y="2"/>
                  </a:lnTo>
                  <a:lnTo>
                    <a:pt x="383" y="0"/>
                  </a:lnTo>
                  <a:lnTo>
                    <a:pt x="383" y="0"/>
                  </a:lnTo>
                  <a:lnTo>
                    <a:pt x="381" y="0"/>
                  </a:lnTo>
                  <a:lnTo>
                    <a:pt x="381" y="0"/>
                  </a:lnTo>
                  <a:lnTo>
                    <a:pt x="379" y="0"/>
                  </a:lnTo>
                  <a:lnTo>
                    <a:pt x="379" y="2"/>
                  </a:lnTo>
                  <a:lnTo>
                    <a:pt x="375" y="6"/>
                  </a:lnTo>
                  <a:lnTo>
                    <a:pt x="372" y="6"/>
                  </a:lnTo>
                  <a:lnTo>
                    <a:pt x="370" y="10"/>
                  </a:lnTo>
                  <a:lnTo>
                    <a:pt x="370" y="12"/>
                  </a:lnTo>
                  <a:lnTo>
                    <a:pt x="375" y="14"/>
                  </a:lnTo>
                  <a:lnTo>
                    <a:pt x="375" y="17"/>
                  </a:lnTo>
                  <a:lnTo>
                    <a:pt x="377" y="19"/>
                  </a:lnTo>
                  <a:lnTo>
                    <a:pt x="375" y="21"/>
                  </a:lnTo>
                  <a:lnTo>
                    <a:pt x="372" y="25"/>
                  </a:lnTo>
                  <a:lnTo>
                    <a:pt x="372" y="25"/>
                  </a:lnTo>
                  <a:lnTo>
                    <a:pt x="372" y="27"/>
                  </a:lnTo>
                  <a:lnTo>
                    <a:pt x="375" y="27"/>
                  </a:lnTo>
                  <a:lnTo>
                    <a:pt x="379" y="27"/>
                  </a:lnTo>
                  <a:lnTo>
                    <a:pt x="381" y="27"/>
                  </a:lnTo>
                  <a:lnTo>
                    <a:pt x="381" y="29"/>
                  </a:lnTo>
                  <a:lnTo>
                    <a:pt x="379" y="31"/>
                  </a:lnTo>
                  <a:lnTo>
                    <a:pt x="379" y="31"/>
                  </a:lnTo>
                  <a:lnTo>
                    <a:pt x="379" y="35"/>
                  </a:lnTo>
                  <a:lnTo>
                    <a:pt x="381" y="37"/>
                  </a:lnTo>
                  <a:lnTo>
                    <a:pt x="379" y="39"/>
                  </a:lnTo>
                  <a:lnTo>
                    <a:pt x="372" y="39"/>
                  </a:lnTo>
                  <a:lnTo>
                    <a:pt x="368" y="39"/>
                  </a:lnTo>
                  <a:lnTo>
                    <a:pt x="364" y="41"/>
                  </a:lnTo>
                  <a:lnTo>
                    <a:pt x="352" y="51"/>
                  </a:lnTo>
                  <a:lnTo>
                    <a:pt x="350" y="53"/>
                  </a:lnTo>
                  <a:lnTo>
                    <a:pt x="348" y="51"/>
                  </a:lnTo>
                  <a:lnTo>
                    <a:pt x="344" y="49"/>
                  </a:lnTo>
                  <a:lnTo>
                    <a:pt x="342" y="47"/>
                  </a:lnTo>
                  <a:lnTo>
                    <a:pt x="338" y="49"/>
                  </a:lnTo>
                  <a:lnTo>
                    <a:pt x="327" y="51"/>
                  </a:lnTo>
                  <a:lnTo>
                    <a:pt x="325" y="51"/>
                  </a:lnTo>
                  <a:lnTo>
                    <a:pt x="327" y="53"/>
                  </a:lnTo>
                  <a:lnTo>
                    <a:pt x="327" y="55"/>
                  </a:lnTo>
                  <a:lnTo>
                    <a:pt x="327" y="58"/>
                  </a:lnTo>
                  <a:lnTo>
                    <a:pt x="329" y="64"/>
                  </a:lnTo>
                  <a:lnTo>
                    <a:pt x="332" y="68"/>
                  </a:lnTo>
                  <a:lnTo>
                    <a:pt x="332" y="70"/>
                  </a:lnTo>
                  <a:lnTo>
                    <a:pt x="332" y="72"/>
                  </a:lnTo>
                  <a:lnTo>
                    <a:pt x="327" y="76"/>
                  </a:lnTo>
                  <a:lnTo>
                    <a:pt x="325" y="78"/>
                  </a:lnTo>
                  <a:lnTo>
                    <a:pt x="325" y="80"/>
                  </a:lnTo>
                  <a:lnTo>
                    <a:pt x="323" y="80"/>
                  </a:lnTo>
                  <a:lnTo>
                    <a:pt x="321" y="82"/>
                  </a:lnTo>
                  <a:lnTo>
                    <a:pt x="319" y="82"/>
                  </a:lnTo>
                  <a:lnTo>
                    <a:pt x="317" y="84"/>
                  </a:lnTo>
                  <a:lnTo>
                    <a:pt x="315" y="94"/>
                  </a:lnTo>
                  <a:lnTo>
                    <a:pt x="315" y="99"/>
                  </a:lnTo>
                  <a:lnTo>
                    <a:pt x="311" y="101"/>
                  </a:lnTo>
                  <a:lnTo>
                    <a:pt x="311" y="103"/>
                  </a:lnTo>
                  <a:lnTo>
                    <a:pt x="307" y="105"/>
                  </a:lnTo>
                  <a:lnTo>
                    <a:pt x="307" y="105"/>
                  </a:lnTo>
                  <a:lnTo>
                    <a:pt x="305" y="103"/>
                  </a:lnTo>
                  <a:lnTo>
                    <a:pt x="305" y="103"/>
                  </a:lnTo>
                  <a:lnTo>
                    <a:pt x="305" y="103"/>
                  </a:lnTo>
                  <a:lnTo>
                    <a:pt x="303" y="103"/>
                  </a:lnTo>
                  <a:lnTo>
                    <a:pt x="301" y="103"/>
                  </a:lnTo>
                  <a:lnTo>
                    <a:pt x="301" y="105"/>
                  </a:lnTo>
                  <a:lnTo>
                    <a:pt x="299" y="109"/>
                  </a:lnTo>
                  <a:lnTo>
                    <a:pt x="299" y="109"/>
                  </a:lnTo>
                  <a:lnTo>
                    <a:pt x="297" y="111"/>
                  </a:lnTo>
                  <a:lnTo>
                    <a:pt x="297" y="113"/>
                  </a:lnTo>
                  <a:lnTo>
                    <a:pt x="297" y="115"/>
                  </a:lnTo>
                  <a:lnTo>
                    <a:pt x="297" y="117"/>
                  </a:lnTo>
                  <a:lnTo>
                    <a:pt x="297" y="127"/>
                  </a:lnTo>
                  <a:lnTo>
                    <a:pt x="297" y="131"/>
                  </a:lnTo>
                  <a:lnTo>
                    <a:pt x="295" y="131"/>
                  </a:lnTo>
                  <a:lnTo>
                    <a:pt x="295" y="133"/>
                  </a:lnTo>
                  <a:lnTo>
                    <a:pt x="295" y="133"/>
                  </a:lnTo>
                  <a:lnTo>
                    <a:pt x="293" y="133"/>
                  </a:lnTo>
                  <a:lnTo>
                    <a:pt x="289" y="135"/>
                  </a:lnTo>
                  <a:lnTo>
                    <a:pt x="289" y="135"/>
                  </a:lnTo>
                  <a:lnTo>
                    <a:pt x="286" y="137"/>
                  </a:lnTo>
                  <a:lnTo>
                    <a:pt x="286" y="139"/>
                  </a:lnTo>
                  <a:lnTo>
                    <a:pt x="284" y="137"/>
                  </a:lnTo>
                  <a:lnTo>
                    <a:pt x="280" y="135"/>
                  </a:lnTo>
                  <a:lnTo>
                    <a:pt x="278" y="135"/>
                  </a:lnTo>
                  <a:lnTo>
                    <a:pt x="274" y="135"/>
                  </a:lnTo>
                  <a:lnTo>
                    <a:pt x="272" y="133"/>
                  </a:lnTo>
                  <a:lnTo>
                    <a:pt x="270" y="133"/>
                  </a:lnTo>
                  <a:lnTo>
                    <a:pt x="268" y="131"/>
                  </a:lnTo>
                  <a:lnTo>
                    <a:pt x="266" y="131"/>
                  </a:lnTo>
                  <a:lnTo>
                    <a:pt x="264" y="129"/>
                  </a:lnTo>
                  <a:lnTo>
                    <a:pt x="264" y="127"/>
                  </a:lnTo>
                  <a:lnTo>
                    <a:pt x="264" y="123"/>
                  </a:lnTo>
                  <a:lnTo>
                    <a:pt x="264" y="121"/>
                  </a:lnTo>
                  <a:lnTo>
                    <a:pt x="258" y="119"/>
                  </a:lnTo>
                  <a:lnTo>
                    <a:pt x="258" y="119"/>
                  </a:lnTo>
                  <a:lnTo>
                    <a:pt x="256" y="119"/>
                  </a:lnTo>
                  <a:lnTo>
                    <a:pt x="254" y="119"/>
                  </a:lnTo>
                  <a:lnTo>
                    <a:pt x="256" y="121"/>
                  </a:lnTo>
                  <a:lnTo>
                    <a:pt x="258" y="123"/>
                  </a:lnTo>
                  <a:lnTo>
                    <a:pt x="260" y="123"/>
                  </a:lnTo>
                  <a:lnTo>
                    <a:pt x="260" y="123"/>
                  </a:lnTo>
                  <a:lnTo>
                    <a:pt x="258" y="125"/>
                  </a:lnTo>
                  <a:lnTo>
                    <a:pt x="256" y="127"/>
                  </a:lnTo>
                  <a:lnTo>
                    <a:pt x="254" y="127"/>
                  </a:lnTo>
                  <a:lnTo>
                    <a:pt x="252" y="127"/>
                  </a:lnTo>
                  <a:lnTo>
                    <a:pt x="252" y="127"/>
                  </a:lnTo>
                  <a:lnTo>
                    <a:pt x="252" y="125"/>
                  </a:lnTo>
                  <a:lnTo>
                    <a:pt x="250" y="125"/>
                  </a:lnTo>
                  <a:lnTo>
                    <a:pt x="250" y="125"/>
                  </a:lnTo>
                  <a:lnTo>
                    <a:pt x="250" y="127"/>
                  </a:lnTo>
                  <a:lnTo>
                    <a:pt x="250" y="127"/>
                  </a:lnTo>
                  <a:lnTo>
                    <a:pt x="252" y="129"/>
                  </a:lnTo>
                  <a:lnTo>
                    <a:pt x="252" y="131"/>
                  </a:lnTo>
                  <a:lnTo>
                    <a:pt x="252" y="133"/>
                  </a:lnTo>
                  <a:lnTo>
                    <a:pt x="250" y="133"/>
                  </a:lnTo>
                  <a:lnTo>
                    <a:pt x="248" y="135"/>
                  </a:lnTo>
                  <a:lnTo>
                    <a:pt x="245" y="135"/>
                  </a:lnTo>
                  <a:lnTo>
                    <a:pt x="245" y="137"/>
                  </a:lnTo>
                  <a:lnTo>
                    <a:pt x="245" y="139"/>
                  </a:lnTo>
                  <a:lnTo>
                    <a:pt x="245" y="146"/>
                  </a:lnTo>
                  <a:lnTo>
                    <a:pt x="245" y="148"/>
                  </a:lnTo>
                  <a:lnTo>
                    <a:pt x="245" y="148"/>
                  </a:lnTo>
                  <a:lnTo>
                    <a:pt x="241" y="150"/>
                  </a:lnTo>
                  <a:lnTo>
                    <a:pt x="241" y="152"/>
                  </a:lnTo>
                  <a:lnTo>
                    <a:pt x="241" y="154"/>
                  </a:lnTo>
                  <a:lnTo>
                    <a:pt x="241" y="156"/>
                  </a:lnTo>
                  <a:lnTo>
                    <a:pt x="239" y="158"/>
                  </a:lnTo>
                  <a:lnTo>
                    <a:pt x="237" y="158"/>
                  </a:lnTo>
                  <a:lnTo>
                    <a:pt x="235" y="156"/>
                  </a:lnTo>
                  <a:lnTo>
                    <a:pt x="235" y="156"/>
                  </a:lnTo>
                  <a:lnTo>
                    <a:pt x="237" y="152"/>
                  </a:lnTo>
                  <a:lnTo>
                    <a:pt x="235" y="152"/>
                  </a:lnTo>
                  <a:lnTo>
                    <a:pt x="231" y="154"/>
                  </a:lnTo>
                  <a:lnTo>
                    <a:pt x="229" y="154"/>
                  </a:lnTo>
                  <a:lnTo>
                    <a:pt x="225" y="152"/>
                  </a:lnTo>
                  <a:lnTo>
                    <a:pt x="223" y="150"/>
                  </a:lnTo>
                  <a:lnTo>
                    <a:pt x="223" y="146"/>
                  </a:lnTo>
                  <a:lnTo>
                    <a:pt x="221" y="144"/>
                  </a:lnTo>
                  <a:lnTo>
                    <a:pt x="217" y="146"/>
                  </a:lnTo>
                  <a:lnTo>
                    <a:pt x="215" y="150"/>
                  </a:lnTo>
                  <a:lnTo>
                    <a:pt x="213" y="152"/>
                  </a:lnTo>
                  <a:lnTo>
                    <a:pt x="213" y="152"/>
                  </a:lnTo>
                  <a:lnTo>
                    <a:pt x="207" y="152"/>
                  </a:lnTo>
                  <a:lnTo>
                    <a:pt x="205" y="154"/>
                  </a:lnTo>
                  <a:lnTo>
                    <a:pt x="205" y="154"/>
                  </a:lnTo>
                  <a:lnTo>
                    <a:pt x="205" y="156"/>
                  </a:lnTo>
                  <a:lnTo>
                    <a:pt x="202" y="158"/>
                  </a:lnTo>
                  <a:lnTo>
                    <a:pt x="200" y="164"/>
                  </a:lnTo>
                  <a:lnTo>
                    <a:pt x="200" y="168"/>
                  </a:lnTo>
                  <a:lnTo>
                    <a:pt x="198" y="170"/>
                  </a:lnTo>
                  <a:lnTo>
                    <a:pt x="196" y="168"/>
                  </a:lnTo>
                  <a:lnTo>
                    <a:pt x="196" y="168"/>
                  </a:lnTo>
                  <a:lnTo>
                    <a:pt x="194" y="166"/>
                  </a:lnTo>
                  <a:lnTo>
                    <a:pt x="194" y="166"/>
                  </a:lnTo>
                  <a:lnTo>
                    <a:pt x="194" y="164"/>
                  </a:lnTo>
                  <a:lnTo>
                    <a:pt x="192" y="164"/>
                  </a:lnTo>
                  <a:lnTo>
                    <a:pt x="192" y="164"/>
                  </a:lnTo>
                  <a:lnTo>
                    <a:pt x="190" y="164"/>
                  </a:lnTo>
                  <a:lnTo>
                    <a:pt x="188" y="164"/>
                  </a:lnTo>
                  <a:lnTo>
                    <a:pt x="188" y="162"/>
                  </a:lnTo>
                  <a:lnTo>
                    <a:pt x="184" y="162"/>
                  </a:lnTo>
                  <a:lnTo>
                    <a:pt x="178" y="160"/>
                  </a:lnTo>
                  <a:lnTo>
                    <a:pt x="178" y="158"/>
                  </a:lnTo>
                  <a:lnTo>
                    <a:pt x="176" y="158"/>
                  </a:lnTo>
                  <a:lnTo>
                    <a:pt x="174" y="156"/>
                  </a:lnTo>
                  <a:lnTo>
                    <a:pt x="172" y="156"/>
                  </a:lnTo>
                  <a:lnTo>
                    <a:pt x="170" y="156"/>
                  </a:lnTo>
                  <a:lnTo>
                    <a:pt x="166" y="158"/>
                  </a:lnTo>
                  <a:lnTo>
                    <a:pt x="164" y="160"/>
                  </a:lnTo>
                  <a:lnTo>
                    <a:pt x="159" y="160"/>
                  </a:lnTo>
                  <a:lnTo>
                    <a:pt x="155" y="158"/>
                  </a:lnTo>
                  <a:lnTo>
                    <a:pt x="155" y="156"/>
                  </a:lnTo>
                  <a:lnTo>
                    <a:pt x="155" y="156"/>
                  </a:lnTo>
                  <a:lnTo>
                    <a:pt x="155" y="154"/>
                  </a:lnTo>
                  <a:lnTo>
                    <a:pt x="153" y="154"/>
                  </a:lnTo>
                  <a:lnTo>
                    <a:pt x="153" y="154"/>
                  </a:lnTo>
                  <a:lnTo>
                    <a:pt x="153" y="156"/>
                  </a:lnTo>
                  <a:lnTo>
                    <a:pt x="153" y="156"/>
                  </a:lnTo>
                  <a:lnTo>
                    <a:pt x="153" y="158"/>
                  </a:lnTo>
                  <a:lnTo>
                    <a:pt x="155" y="162"/>
                  </a:lnTo>
                  <a:lnTo>
                    <a:pt x="155" y="164"/>
                  </a:lnTo>
                  <a:lnTo>
                    <a:pt x="155" y="166"/>
                  </a:lnTo>
                  <a:lnTo>
                    <a:pt x="153" y="170"/>
                  </a:lnTo>
                  <a:lnTo>
                    <a:pt x="151" y="170"/>
                  </a:lnTo>
                  <a:lnTo>
                    <a:pt x="149" y="170"/>
                  </a:lnTo>
                  <a:lnTo>
                    <a:pt x="149" y="168"/>
                  </a:lnTo>
                  <a:lnTo>
                    <a:pt x="149" y="164"/>
                  </a:lnTo>
                  <a:lnTo>
                    <a:pt x="149" y="164"/>
                  </a:lnTo>
                  <a:lnTo>
                    <a:pt x="147" y="162"/>
                  </a:lnTo>
                  <a:lnTo>
                    <a:pt x="147" y="162"/>
                  </a:lnTo>
                  <a:lnTo>
                    <a:pt x="145" y="164"/>
                  </a:lnTo>
                  <a:lnTo>
                    <a:pt x="145" y="164"/>
                  </a:lnTo>
                  <a:lnTo>
                    <a:pt x="143" y="164"/>
                  </a:lnTo>
                  <a:lnTo>
                    <a:pt x="141" y="166"/>
                  </a:lnTo>
                  <a:lnTo>
                    <a:pt x="139" y="166"/>
                  </a:lnTo>
                  <a:lnTo>
                    <a:pt x="137" y="166"/>
                  </a:lnTo>
                  <a:lnTo>
                    <a:pt x="135" y="166"/>
                  </a:lnTo>
                  <a:lnTo>
                    <a:pt x="133" y="164"/>
                  </a:lnTo>
                  <a:lnTo>
                    <a:pt x="133" y="164"/>
                  </a:lnTo>
                  <a:lnTo>
                    <a:pt x="131" y="162"/>
                  </a:lnTo>
                  <a:lnTo>
                    <a:pt x="129" y="162"/>
                  </a:lnTo>
                  <a:lnTo>
                    <a:pt x="127" y="162"/>
                  </a:lnTo>
                  <a:lnTo>
                    <a:pt x="127" y="166"/>
                  </a:lnTo>
                  <a:lnTo>
                    <a:pt x="127" y="166"/>
                  </a:lnTo>
                  <a:lnTo>
                    <a:pt x="131" y="172"/>
                  </a:lnTo>
                  <a:lnTo>
                    <a:pt x="127" y="178"/>
                  </a:lnTo>
                  <a:lnTo>
                    <a:pt x="127" y="178"/>
                  </a:lnTo>
                  <a:lnTo>
                    <a:pt x="125" y="178"/>
                  </a:lnTo>
                  <a:lnTo>
                    <a:pt x="123" y="176"/>
                  </a:lnTo>
                  <a:lnTo>
                    <a:pt x="121" y="176"/>
                  </a:lnTo>
                  <a:lnTo>
                    <a:pt x="119" y="176"/>
                  </a:lnTo>
                  <a:lnTo>
                    <a:pt x="119" y="178"/>
                  </a:lnTo>
                  <a:lnTo>
                    <a:pt x="119" y="180"/>
                  </a:lnTo>
                  <a:lnTo>
                    <a:pt x="119" y="183"/>
                  </a:lnTo>
                  <a:lnTo>
                    <a:pt x="116" y="185"/>
                  </a:lnTo>
                  <a:lnTo>
                    <a:pt x="112" y="189"/>
                  </a:lnTo>
                  <a:lnTo>
                    <a:pt x="110" y="191"/>
                  </a:lnTo>
                  <a:lnTo>
                    <a:pt x="110" y="193"/>
                  </a:lnTo>
                  <a:lnTo>
                    <a:pt x="110" y="195"/>
                  </a:lnTo>
                  <a:lnTo>
                    <a:pt x="110" y="197"/>
                  </a:lnTo>
                  <a:lnTo>
                    <a:pt x="112" y="201"/>
                  </a:lnTo>
                  <a:lnTo>
                    <a:pt x="112" y="201"/>
                  </a:lnTo>
                  <a:lnTo>
                    <a:pt x="116" y="203"/>
                  </a:lnTo>
                  <a:lnTo>
                    <a:pt x="119" y="207"/>
                  </a:lnTo>
                  <a:lnTo>
                    <a:pt x="119" y="211"/>
                  </a:lnTo>
                  <a:lnTo>
                    <a:pt x="114" y="213"/>
                  </a:lnTo>
                  <a:lnTo>
                    <a:pt x="100" y="217"/>
                  </a:lnTo>
                  <a:lnTo>
                    <a:pt x="96" y="221"/>
                  </a:lnTo>
                  <a:lnTo>
                    <a:pt x="94" y="221"/>
                  </a:lnTo>
                  <a:lnTo>
                    <a:pt x="90" y="221"/>
                  </a:lnTo>
                  <a:lnTo>
                    <a:pt x="88" y="221"/>
                  </a:lnTo>
                  <a:lnTo>
                    <a:pt x="86" y="224"/>
                  </a:lnTo>
                  <a:lnTo>
                    <a:pt x="86" y="224"/>
                  </a:lnTo>
                  <a:lnTo>
                    <a:pt x="86" y="226"/>
                  </a:lnTo>
                  <a:lnTo>
                    <a:pt x="84" y="230"/>
                  </a:lnTo>
                  <a:lnTo>
                    <a:pt x="84" y="234"/>
                  </a:lnTo>
                  <a:lnTo>
                    <a:pt x="86" y="238"/>
                  </a:lnTo>
                  <a:lnTo>
                    <a:pt x="88" y="242"/>
                  </a:lnTo>
                  <a:lnTo>
                    <a:pt x="90" y="246"/>
                  </a:lnTo>
                  <a:lnTo>
                    <a:pt x="92" y="248"/>
                  </a:lnTo>
                  <a:lnTo>
                    <a:pt x="92" y="252"/>
                  </a:lnTo>
                  <a:lnTo>
                    <a:pt x="92" y="256"/>
                  </a:lnTo>
                  <a:lnTo>
                    <a:pt x="90" y="258"/>
                  </a:lnTo>
                  <a:lnTo>
                    <a:pt x="86" y="260"/>
                  </a:lnTo>
                  <a:lnTo>
                    <a:pt x="82" y="258"/>
                  </a:lnTo>
                  <a:lnTo>
                    <a:pt x="76" y="256"/>
                  </a:lnTo>
                  <a:lnTo>
                    <a:pt x="51" y="246"/>
                  </a:lnTo>
                  <a:lnTo>
                    <a:pt x="47" y="246"/>
                  </a:lnTo>
                  <a:lnTo>
                    <a:pt x="43" y="248"/>
                  </a:lnTo>
                  <a:lnTo>
                    <a:pt x="39" y="250"/>
                  </a:lnTo>
                  <a:lnTo>
                    <a:pt x="37" y="252"/>
                  </a:lnTo>
                  <a:lnTo>
                    <a:pt x="37" y="254"/>
                  </a:lnTo>
                  <a:lnTo>
                    <a:pt x="32" y="258"/>
                  </a:lnTo>
                  <a:lnTo>
                    <a:pt x="30" y="262"/>
                  </a:lnTo>
                  <a:lnTo>
                    <a:pt x="28" y="267"/>
                  </a:lnTo>
                  <a:lnTo>
                    <a:pt x="30" y="269"/>
                  </a:lnTo>
                  <a:lnTo>
                    <a:pt x="30" y="271"/>
                  </a:lnTo>
                  <a:lnTo>
                    <a:pt x="35" y="275"/>
                  </a:lnTo>
                  <a:lnTo>
                    <a:pt x="35" y="277"/>
                  </a:lnTo>
                  <a:lnTo>
                    <a:pt x="35" y="281"/>
                  </a:lnTo>
                  <a:lnTo>
                    <a:pt x="37" y="285"/>
                  </a:lnTo>
                  <a:lnTo>
                    <a:pt x="37" y="285"/>
                  </a:lnTo>
                  <a:lnTo>
                    <a:pt x="35" y="287"/>
                  </a:lnTo>
                  <a:lnTo>
                    <a:pt x="35" y="287"/>
                  </a:lnTo>
                  <a:lnTo>
                    <a:pt x="35" y="289"/>
                  </a:lnTo>
                  <a:lnTo>
                    <a:pt x="35" y="289"/>
                  </a:lnTo>
                  <a:lnTo>
                    <a:pt x="35" y="291"/>
                  </a:lnTo>
                  <a:lnTo>
                    <a:pt x="37" y="295"/>
                  </a:lnTo>
                  <a:lnTo>
                    <a:pt x="37" y="297"/>
                  </a:lnTo>
                  <a:lnTo>
                    <a:pt x="37" y="301"/>
                  </a:lnTo>
                  <a:lnTo>
                    <a:pt x="32" y="310"/>
                  </a:lnTo>
                  <a:lnTo>
                    <a:pt x="32" y="316"/>
                  </a:lnTo>
                  <a:lnTo>
                    <a:pt x="30" y="318"/>
                  </a:lnTo>
                  <a:lnTo>
                    <a:pt x="28" y="320"/>
                  </a:lnTo>
                  <a:lnTo>
                    <a:pt x="24" y="318"/>
                  </a:lnTo>
                  <a:lnTo>
                    <a:pt x="22" y="318"/>
                  </a:lnTo>
                  <a:lnTo>
                    <a:pt x="20" y="314"/>
                  </a:lnTo>
                  <a:lnTo>
                    <a:pt x="18" y="314"/>
                  </a:lnTo>
                  <a:lnTo>
                    <a:pt x="16" y="314"/>
                  </a:lnTo>
                  <a:lnTo>
                    <a:pt x="16" y="314"/>
                  </a:lnTo>
                  <a:lnTo>
                    <a:pt x="16" y="316"/>
                  </a:lnTo>
                  <a:lnTo>
                    <a:pt x="14" y="320"/>
                  </a:lnTo>
                  <a:lnTo>
                    <a:pt x="14" y="322"/>
                  </a:lnTo>
                  <a:lnTo>
                    <a:pt x="14" y="328"/>
                  </a:lnTo>
                  <a:lnTo>
                    <a:pt x="14" y="328"/>
                  </a:lnTo>
                  <a:lnTo>
                    <a:pt x="28" y="326"/>
                  </a:lnTo>
                  <a:lnTo>
                    <a:pt x="43" y="326"/>
                  </a:lnTo>
                  <a:lnTo>
                    <a:pt x="59" y="324"/>
                  </a:lnTo>
                  <a:lnTo>
                    <a:pt x="73" y="322"/>
                  </a:lnTo>
                  <a:lnTo>
                    <a:pt x="88" y="322"/>
                  </a:lnTo>
                  <a:lnTo>
                    <a:pt x="104" y="320"/>
                  </a:lnTo>
                  <a:lnTo>
                    <a:pt x="119" y="318"/>
                  </a:lnTo>
                  <a:lnTo>
                    <a:pt x="133" y="316"/>
                  </a:lnTo>
                  <a:lnTo>
                    <a:pt x="133" y="314"/>
                  </a:lnTo>
                  <a:lnTo>
                    <a:pt x="133" y="310"/>
                  </a:lnTo>
                  <a:lnTo>
                    <a:pt x="133" y="308"/>
                  </a:lnTo>
                  <a:lnTo>
                    <a:pt x="131" y="303"/>
                  </a:lnTo>
                  <a:lnTo>
                    <a:pt x="129" y="297"/>
                  </a:lnTo>
                  <a:lnTo>
                    <a:pt x="129" y="297"/>
                  </a:lnTo>
                  <a:lnTo>
                    <a:pt x="129" y="295"/>
                  </a:lnTo>
                  <a:lnTo>
                    <a:pt x="129" y="295"/>
                  </a:lnTo>
                  <a:lnTo>
                    <a:pt x="129" y="295"/>
                  </a:lnTo>
                  <a:lnTo>
                    <a:pt x="135" y="295"/>
                  </a:lnTo>
                  <a:lnTo>
                    <a:pt x="141" y="295"/>
                  </a:lnTo>
                  <a:lnTo>
                    <a:pt x="147" y="295"/>
                  </a:lnTo>
                  <a:lnTo>
                    <a:pt x="147" y="295"/>
                  </a:lnTo>
                  <a:lnTo>
                    <a:pt x="147" y="297"/>
                  </a:lnTo>
                  <a:lnTo>
                    <a:pt x="149" y="297"/>
                  </a:lnTo>
                  <a:lnTo>
                    <a:pt x="149" y="299"/>
                  </a:lnTo>
                  <a:lnTo>
                    <a:pt x="149" y="299"/>
                  </a:lnTo>
                  <a:lnTo>
                    <a:pt x="149" y="299"/>
                  </a:lnTo>
                  <a:lnTo>
                    <a:pt x="153" y="297"/>
                  </a:lnTo>
                  <a:lnTo>
                    <a:pt x="155" y="297"/>
                  </a:lnTo>
                  <a:lnTo>
                    <a:pt x="157" y="297"/>
                  </a:lnTo>
                  <a:lnTo>
                    <a:pt x="164" y="297"/>
                  </a:lnTo>
                  <a:lnTo>
                    <a:pt x="170" y="295"/>
                  </a:lnTo>
                  <a:lnTo>
                    <a:pt x="178" y="295"/>
                  </a:lnTo>
                  <a:lnTo>
                    <a:pt x="186" y="293"/>
                  </a:lnTo>
                  <a:lnTo>
                    <a:pt x="196" y="293"/>
                  </a:lnTo>
                  <a:lnTo>
                    <a:pt x="205" y="291"/>
                  </a:lnTo>
                  <a:lnTo>
                    <a:pt x="215" y="291"/>
                  </a:lnTo>
                  <a:lnTo>
                    <a:pt x="225" y="289"/>
                  </a:lnTo>
                  <a:lnTo>
                    <a:pt x="233" y="289"/>
                  </a:lnTo>
                  <a:lnTo>
                    <a:pt x="241" y="287"/>
                  </a:lnTo>
                  <a:lnTo>
                    <a:pt x="248" y="287"/>
                  </a:lnTo>
                  <a:lnTo>
                    <a:pt x="252" y="285"/>
                  </a:lnTo>
                  <a:lnTo>
                    <a:pt x="256" y="285"/>
                  </a:lnTo>
                  <a:lnTo>
                    <a:pt x="258" y="285"/>
                  </a:lnTo>
                  <a:lnTo>
                    <a:pt x="260" y="285"/>
                  </a:lnTo>
                  <a:lnTo>
                    <a:pt x="264" y="283"/>
                  </a:lnTo>
                  <a:lnTo>
                    <a:pt x="264" y="283"/>
                  </a:lnTo>
                  <a:lnTo>
                    <a:pt x="268" y="283"/>
                  </a:lnTo>
                  <a:lnTo>
                    <a:pt x="270" y="283"/>
                  </a:lnTo>
                  <a:lnTo>
                    <a:pt x="278" y="283"/>
                  </a:lnTo>
                  <a:lnTo>
                    <a:pt x="291" y="281"/>
                  </a:lnTo>
                  <a:lnTo>
                    <a:pt x="305" y="279"/>
                  </a:lnTo>
                  <a:lnTo>
                    <a:pt x="321" y="279"/>
                  </a:lnTo>
                  <a:lnTo>
                    <a:pt x="342" y="277"/>
                  </a:lnTo>
                  <a:lnTo>
                    <a:pt x="362" y="275"/>
                  </a:lnTo>
                  <a:lnTo>
                    <a:pt x="385" y="273"/>
                  </a:lnTo>
                  <a:lnTo>
                    <a:pt x="407" y="271"/>
                  </a:lnTo>
                  <a:lnTo>
                    <a:pt x="428" y="267"/>
                  </a:lnTo>
                  <a:lnTo>
                    <a:pt x="446" y="265"/>
                  </a:lnTo>
                  <a:lnTo>
                    <a:pt x="465" y="265"/>
                  </a:lnTo>
                  <a:lnTo>
                    <a:pt x="479" y="262"/>
                  </a:lnTo>
                  <a:lnTo>
                    <a:pt x="491" y="260"/>
                  </a:lnTo>
                  <a:lnTo>
                    <a:pt x="497" y="260"/>
                  </a:lnTo>
                  <a:lnTo>
                    <a:pt x="502" y="260"/>
                  </a:lnTo>
                  <a:lnTo>
                    <a:pt x="506" y="258"/>
                  </a:lnTo>
                  <a:lnTo>
                    <a:pt x="508" y="258"/>
                  </a:lnTo>
                  <a:lnTo>
                    <a:pt x="510" y="256"/>
                  </a:lnTo>
                  <a:lnTo>
                    <a:pt x="514" y="252"/>
                  </a:lnTo>
                  <a:lnTo>
                    <a:pt x="516" y="252"/>
                  </a:lnTo>
                  <a:lnTo>
                    <a:pt x="516" y="252"/>
                  </a:lnTo>
                  <a:lnTo>
                    <a:pt x="522" y="248"/>
                  </a:lnTo>
                  <a:lnTo>
                    <a:pt x="530" y="246"/>
                  </a:lnTo>
                  <a:lnTo>
                    <a:pt x="532" y="244"/>
                  </a:lnTo>
                  <a:lnTo>
                    <a:pt x="532" y="244"/>
                  </a:lnTo>
                  <a:lnTo>
                    <a:pt x="534" y="244"/>
                  </a:lnTo>
                  <a:lnTo>
                    <a:pt x="536" y="240"/>
                  </a:lnTo>
                  <a:lnTo>
                    <a:pt x="545" y="236"/>
                  </a:lnTo>
                  <a:lnTo>
                    <a:pt x="553" y="234"/>
                  </a:lnTo>
                  <a:lnTo>
                    <a:pt x="555" y="234"/>
                  </a:lnTo>
                  <a:lnTo>
                    <a:pt x="555" y="234"/>
                  </a:lnTo>
                  <a:lnTo>
                    <a:pt x="555" y="232"/>
                  </a:lnTo>
                  <a:lnTo>
                    <a:pt x="555" y="232"/>
                  </a:lnTo>
                  <a:lnTo>
                    <a:pt x="555" y="232"/>
                  </a:lnTo>
                  <a:lnTo>
                    <a:pt x="555" y="230"/>
                  </a:lnTo>
                  <a:lnTo>
                    <a:pt x="555" y="230"/>
                  </a:lnTo>
                  <a:lnTo>
                    <a:pt x="555" y="230"/>
                  </a:lnTo>
                  <a:lnTo>
                    <a:pt x="557" y="228"/>
                  </a:lnTo>
                  <a:lnTo>
                    <a:pt x="557" y="224"/>
                  </a:lnTo>
                  <a:lnTo>
                    <a:pt x="559" y="221"/>
                  </a:lnTo>
                  <a:lnTo>
                    <a:pt x="559" y="221"/>
                  </a:lnTo>
                  <a:lnTo>
                    <a:pt x="559" y="221"/>
                  </a:lnTo>
                  <a:lnTo>
                    <a:pt x="563" y="221"/>
                  </a:lnTo>
                  <a:lnTo>
                    <a:pt x="567" y="217"/>
                  </a:lnTo>
                  <a:lnTo>
                    <a:pt x="573" y="215"/>
                  </a:lnTo>
                  <a:lnTo>
                    <a:pt x="573" y="215"/>
                  </a:lnTo>
                  <a:lnTo>
                    <a:pt x="575" y="213"/>
                  </a:lnTo>
                  <a:lnTo>
                    <a:pt x="575" y="213"/>
                  </a:lnTo>
                  <a:lnTo>
                    <a:pt x="575" y="213"/>
                  </a:lnTo>
                  <a:lnTo>
                    <a:pt x="575" y="211"/>
                  </a:lnTo>
                  <a:lnTo>
                    <a:pt x="575" y="211"/>
                  </a:lnTo>
                  <a:lnTo>
                    <a:pt x="575" y="209"/>
                  </a:lnTo>
                  <a:lnTo>
                    <a:pt x="575" y="209"/>
                  </a:lnTo>
                  <a:lnTo>
                    <a:pt x="575" y="209"/>
                  </a:lnTo>
                  <a:lnTo>
                    <a:pt x="573" y="207"/>
                  </a:lnTo>
                  <a:lnTo>
                    <a:pt x="575" y="205"/>
                  </a:lnTo>
                  <a:lnTo>
                    <a:pt x="575" y="205"/>
                  </a:lnTo>
                  <a:lnTo>
                    <a:pt x="577" y="203"/>
                  </a:lnTo>
                  <a:lnTo>
                    <a:pt x="583" y="197"/>
                  </a:lnTo>
                  <a:lnTo>
                    <a:pt x="585" y="197"/>
                  </a:lnTo>
                  <a:lnTo>
                    <a:pt x="585" y="197"/>
                  </a:lnTo>
                  <a:lnTo>
                    <a:pt x="585" y="197"/>
                  </a:lnTo>
                  <a:lnTo>
                    <a:pt x="585" y="195"/>
                  </a:lnTo>
                  <a:lnTo>
                    <a:pt x="585" y="195"/>
                  </a:lnTo>
                  <a:lnTo>
                    <a:pt x="585" y="195"/>
                  </a:lnTo>
                  <a:lnTo>
                    <a:pt x="585" y="193"/>
                  </a:lnTo>
                  <a:lnTo>
                    <a:pt x="585" y="191"/>
                  </a:lnTo>
                  <a:lnTo>
                    <a:pt x="583" y="189"/>
                  </a:lnTo>
                  <a:lnTo>
                    <a:pt x="585" y="189"/>
                  </a:lnTo>
                  <a:lnTo>
                    <a:pt x="585" y="187"/>
                  </a:lnTo>
                  <a:lnTo>
                    <a:pt x="590" y="183"/>
                  </a:lnTo>
                  <a:lnTo>
                    <a:pt x="598" y="176"/>
                  </a:lnTo>
                  <a:lnTo>
                    <a:pt x="604" y="172"/>
                  </a:lnTo>
                  <a:lnTo>
                    <a:pt x="610" y="168"/>
                  </a:lnTo>
                  <a:lnTo>
                    <a:pt x="612" y="168"/>
                  </a:lnTo>
                  <a:lnTo>
                    <a:pt x="618" y="160"/>
                  </a:lnTo>
                  <a:lnTo>
                    <a:pt x="626" y="152"/>
                  </a:lnTo>
                  <a:lnTo>
                    <a:pt x="631" y="146"/>
                  </a:lnTo>
                  <a:lnTo>
                    <a:pt x="637" y="139"/>
                  </a:lnTo>
                  <a:lnTo>
                    <a:pt x="641" y="133"/>
                  </a:lnTo>
                  <a:lnTo>
                    <a:pt x="639" y="133"/>
                  </a:lnTo>
                  <a:close/>
                  <a:moveTo>
                    <a:pt x="4" y="322"/>
                  </a:moveTo>
                  <a:lnTo>
                    <a:pt x="0" y="324"/>
                  </a:lnTo>
                  <a:lnTo>
                    <a:pt x="0" y="328"/>
                  </a:lnTo>
                  <a:lnTo>
                    <a:pt x="2" y="328"/>
                  </a:lnTo>
                  <a:lnTo>
                    <a:pt x="2" y="330"/>
                  </a:lnTo>
                  <a:lnTo>
                    <a:pt x="8" y="328"/>
                  </a:lnTo>
                  <a:lnTo>
                    <a:pt x="8" y="328"/>
                  </a:lnTo>
                  <a:lnTo>
                    <a:pt x="6" y="324"/>
                  </a:lnTo>
                  <a:lnTo>
                    <a:pt x="4" y="322"/>
                  </a:lnTo>
                  <a:close/>
                </a:path>
              </a:pathLst>
            </a:custGeom>
            <a:solidFill>
              <a:schemeClr val="tx1"/>
            </a:solidFill>
            <a:ln w="3175" cap="rnd">
              <a:solidFill>
                <a:schemeClr val="bg1"/>
              </a:solidFill>
              <a:prstDash val="solid"/>
              <a:round/>
              <a:headEnd/>
              <a:tailEnd/>
            </a:ln>
          </p:spPr>
          <p:txBody>
            <a:bodyPr vert="horz" wrap="square" lIns="144000" tIns="9600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KY</a:t>
              </a:r>
            </a:p>
          </p:txBody>
        </p:sp>
        <p:sp>
          <p:nvSpPr>
            <p:cNvPr id="118" name="Freeform 39">
              <a:extLst>
                <a:ext uri="{FF2B5EF4-FFF2-40B4-BE49-F238E27FC236}">
                  <a16:creationId xmlns:a16="http://schemas.microsoft.com/office/drawing/2014/main" id="{D79C0542-718F-2235-6FA5-79DD1B2F0A1F}"/>
                </a:ext>
              </a:extLst>
            </p:cNvPr>
            <p:cNvSpPr>
              <a:spLocks/>
            </p:cNvSpPr>
            <p:nvPr/>
          </p:nvSpPr>
          <p:spPr bwMode="auto">
            <a:xfrm>
              <a:off x="2551" y="1113"/>
              <a:ext cx="641" cy="330"/>
            </a:xfrm>
            <a:custGeom>
              <a:avLst/>
              <a:gdLst>
                <a:gd name="T0" fmla="*/ 582 w 641"/>
                <a:gd name="T1" fmla="*/ 322 h 330"/>
                <a:gd name="T2" fmla="*/ 502 w 641"/>
                <a:gd name="T3" fmla="*/ 326 h 330"/>
                <a:gd name="T4" fmla="*/ 420 w 641"/>
                <a:gd name="T5" fmla="*/ 328 h 330"/>
                <a:gd name="T6" fmla="*/ 340 w 641"/>
                <a:gd name="T7" fmla="*/ 330 h 330"/>
                <a:gd name="T8" fmla="*/ 260 w 641"/>
                <a:gd name="T9" fmla="*/ 330 h 330"/>
                <a:gd name="T10" fmla="*/ 181 w 641"/>
                <a:gd name="T11" fmla="*/ 330 h 330"/>
                <a:gd name="T12" fmla="*/ 101 w 641"/>
                <a:gd name="T13" fmla="*/ 330 h 330"/>
                <a:gd name="T14" fmla="*/ 21 w 641"/>
                <a:gd name="T15" fmla="*/ 330 h 330"/>
                <a:gd name="T16" fmla="*/ 0 w 641"/>
                <a:gd name="T17" fmla="*/ 299 h 330"/>
                <a:gd name="T18" fmla="*/ 2 w 641"/>
                <a:gd name="T19" fmla="*/ 258 h 330"/>
                <a:gd name="T20" fmla="*/ 2 w 641"/>
                <a:gd name="T21" fmla="*/ 219 h 330"/>
                <a:gd name="T22" fmla="*/ 2 w 641"/>
                <a:gd name="T23" fmla="*/ 178 h 330"/>
                <a:gd name="T24" fmla="*/ 2 w 641"/>
                <a:gd name="T25" fmla="*/ 137 h 330"/>
                <a:gd name="T26" fmla="*/ 4 w 641"/>
                <a:gd name="T27" fmla="*/ 98 h 330"/>
                <a:gd name="T28" fmla="*/ 4 w 641"/>
                <a:gd name="T29" fmla="*/ 57 h 330"/>
                <a:gd name="T30" fmla="*/ 4 w 641"/>
                <a:gd name="T31" fmla="*/ 18 h 330"/>
                <a:gd name="T32" fmla="*/ 58 w 641"/>
                <a:gd name="T33" fmla="*/ 8 h 330"/>
                <a:gd name="T34" fmla="*/ 127 w 641"/>
                <a:gd name="T35" fmla="*/ 8 h 330"/>
                <a:gd name="T36" fmla="*/ 199 w 641"/>
                <a:gd name="T37" fmla="*/ 8 h 330"/>
                <a:gd name="T38" fmla="*/ 269 w 641"/>
                <a:gd name="T39" fmla="*/ 8 h 330"/>
                <a:gd name="T40" fmla="*/ 338 w 641"/>
                <a:gd name="T41" fmla="*/ 8 h 330"/>
                <a:gd name="T42" fmla="*/ 410 w 641"/>
                <a:gd name="T43" fmla="*/ 6 h 330"/>
                <a:gd name="T44" fmla="*/ 480 w 641"/>
                <a:gd name="T45" fmla="*/ 4 h 330"/>
                <a:gd name="T46" fmla="*/ 549 w 641"/>
                <a:gd name="T47" fmla="*/ 2 h 330"/>
                <a:gd name="T48" fmla="*/ 574 w 641"/>
                <a:gd name="T49" fmla="*/ 6 h 330"/>
                <a:gd name="T50" fmla="*/ 578 w 641"/>
                <a:gd name="T51" fmla="*/ 8 h 330"/>
                <a:gd name="T52" fmla="*/ 580 w 641"/>
                <a:gd name="T53" fmla="*/ 10 h 330"/>
                <a:gd name="T54" fmla="*/ 586 w 641"/>
                <a:gd name="T55" fmla="*/ 14 h 330"/>
                <a:gd name="T56" fmla="*/ 594 w 641"/>
                <a:gd name="T57" fmla="*/ 10 h 330"/>
                <a:gd name="T58" fmla="*/ 598 w 641"/>
                <a:gd name="T59" fmla="*/ 12 h 330"/>
                <a:gd name="T60" fmla="*/ 605 w 641"/>
                <a:gd name="T61" fmla="*/ 16 h 330"/>
                <a:gd name="T62" fmla="*/ 605 w 641"/>
                <a:gd name="T63" fmla="*/ 22 h 330"/>
                <a:gd name="T64" fmla="*/ 607 w 641"/>
                <a:gd name="T65" fmla="*/ 26 h 330"/>
                <a:gd name="T66" fmla="*/ 598 w 641"/>
                <a:gd name="T67" fmla="*/ 26 h 330"/>
                <a:gd name="T68" fmla="*/ 596 w 641"/>
                <a:gd name="T69" fmla="*/ 33 h 330"/>
                <a:gd name="T70" fmla="*/ 590 w 641"/>
                <a:gd name="T71" fmla="*/ 39 h 330"/>
                <a:gd name="T72" fmla="*/ 590 w 641"/>
                <a:gd name="T73" fmla="*/ 45 h 330"/>
                <a:gd name="T74" fmla="*/ 586 w 641"/>
                <a:gd name="T75" fmla="*/ 49 h 330"/>
                <a:gd name="T76" fmla="*/ 592 w 641"/>
                <a:gd name="T77" fmla="*/ 53 h 330"/>
                <a:gd name="T78" fmla="*/ 596 w 641"/>
                <a:gd name="T79" fmla="*/ 59 h 330"/>
                <a:gd name="T80" fmla="*/ 602 w 641"/>
                <a:gd name="T81" fmla="*/ 63 h 330"/>
                <a:gd name="T82" fmla="*/ 607 w 641"/>
                <a:gd name="T83" fmla="*/ 76 h 330"/>
                <a:gd name="T84" fmla="*/ 613 w 641"/>
                <a:gd name="T85" fmla="*/ 82 h 330"/>
                <a:gd name="T86" fmla="*/ 621 w 641"/>
                <a:gd name="T87" fmla="*/ 86 h 330"/>
                <a:gd name="T88" fmla="*/ 627 w 641"/>
                <a:gd name="T89" fmla="*/ 86 h 330"/>
                <a:gd name="T90" fmla="*/ 629 w 641"/>
                <a:gd name="T91" fmla="*/ 88 h 330"/>
                <a:gd name="T92" fmla="*/ 629 w 641"/>
                <a:gd name="T93" fmla="*/ 90 h 330"/>
                <a:gd name="T94" fmla="*/ 631 w 641"/>
                <a:gd name="T95" fmla="*/ 92 h 330"/>
                <a:gd name="T96" fmla="*/ 633 w 641"/>
                <a:gd name="T97" fmla="*/ 141 h 330"/>
                <a:gd name="T98" fmla="*/ 635 w 641"/>
                <a:gd name="T99" fmla="*/ 197 h 330"/>
                <a:gd name="T100" fmla="*/ 637 w 641"/>
                <a:gd name="T101" fmla="*/ 250 h 330"/>
                <a:gd name="T102" fmla="*/ 641 w 641"/>
                <a:gd name="T103" fmla="*/ 30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1" h="330">
                  <a:moveTo>
                    <a:pt x="641" y="320"/>
                  </a:moveTo>
                  <a:lnTo>
                    <a:pt x="621" y="320"/>
                  </a:lnTo>
                  <a:lnTo>
                    <a:pt x="600" y="322"/>
                  </a:lnTo>
                  <a:lnTo>
                    <a:pt x="582" y="322"/>
                  </a:lnTo>
                  <a:lnTo>
                    <a:pt x="562" y="324"/>
                  </a:lnTo>
                  <a:lnTo>
                    <a:pt x="541" y="324"/>
                  </a:lnTo>
                  <a:lnTo>
                    <a:pt x="521" y="324"/>
                  </a:lnTo>
                  <a:lnTo>
                    <a:pt x="502" y="326"/>
                  </a:lnTo>
                  <a:lnTo>
                    <a:pt x="482" y="326"/>
                  </a:lnTo>
                  <a:lnTo>
                    <a:pt x="461" y="326"/>
                  </a:lnTo>
                  <a:lnTo>
                    <a:pt x="441" y="328"/>
                  </a:lnTo>
                  <a:lnTo>
                    <a:pt x="420" y="328"/>
                  </a:lnTo>
                  <a:lnTo>
                    <a:pt x="402" y="328"/>
                  </a:lnTo>
                  <a:lnTo>
                    <a:pt x="381" y="328"/>
                  </a:lnTo>
                  <a:lnTo>
                    <a:pt x="361" y="330"/>
                  </a:lnTo>
                  <a:lnTo>
                    <a:pt x="340" y="330"/>
                  </a:lnTo>
                  <a:lnTo>
                    <a:pt x="322" y="330"/>
                  </a:lnTo>
                  <a:lnTo>
                    <a:pt x="301" y="330"/>
                  </a:lnTo>
                  <a:lnTo>
                    <a:pt x="281" y="330"/>
                  </a:lnTo>
                  <a:lnTo>
                    <a:pt x="260" y="330"/>
                  </a:lnTo>
                  <a:lnTo>
                    <a:pt x="240" y="330"/>
                  </a:lnTo>
                  <a:lnTo>
                    <a:pt x="222" y="330"/>
                  </a:lnTo>
                  <a:lnTo>
                    <a:pt x="201" y="330"/>
                  </a:lnTo>
                  <a:lnTo>
                    <a:pt x="181" y="330"/>
                  </a:lnTo>
                  <a:lnTo>
                    <a:pt x="160" y="330"/>
                  </a:lnTo>
                  <a:lnTo>
                    <a:pt x="140" y="330"/>
                  </a:lnTo>
                  <a:lnTo>
                    <a:pt x="121" y="330"/>
                  </a:lnTo>
                  <a:lnTo>
                    <a:pt x="101" y="330"/>
                  </a:lnTo>
                  <a:lnTo>
                    <a:pt x="80" y="330"/>
                  </a:lnTo>
                  <a:lnTo>
                    <a:pt x="60" y="330"/>
                  </a:lnTo>
                  <a:lnTo>
                    <a:pt x="41" y="330"/>
                  </a:lnTo>
                  <a:lnTo>
                    <a:pt x="21" y="330"/>
                  </a:lnTo>
                  <a:lnTo>
                    <a:pt x="0" y="330"/>
                  </a:lnTo>
                  <a:lnTo>
                    <a:pt x="0" y="320"/>
                  </a:lnTo>
                  <a:lnTo>
                    <a:pt x="0" y="309"/>
                  </a:lnTo>
                  <a:lnTo>
                    <a:pt x="0" y="299"/>
                  </a:lnTo>
                  <a:lnTo>
                    <a:pt x="0" y="289"/>
                  </a:lnTo>
                  <a:lnTo>
                    <a:pt x="0" y="279"/>
                  </a:lnTo>
                  <a:lnTo>
                    <a:pt x="0" y="268"/>
                  </a:lnTo>
                  <a:lnTo>
                    <a:pt x="2" y="258"/>
                  </a:lnTo>
                  <a:lnTo>
                    <a:pt x="2" y="248"/>
                  </a:lnTo>
                  <a:lnTo>
                    <a:pt x="2" y="238"/>
                  </a:lnTo>
                  <a:lnTo>
                    <a:pt x="2" y="227"/>
                  </a:lnTo>
                  <a:lnTo>
                    <a:pt x="2" y="219"/>
                  </a:lnTo>
                  <a:lnTo>
                    <a:pt x="2" y="209"/>
                  </a:lnTo>
                  <a:lnTo>
                    <a:pt x="2" y="199"/>
                  </a:lnTo>
                  <a:lnTo>
                    <a:pt x="2" y="188"/>
                  </a:lnTo>
                  <a:lnTo>
                    <a:pt x="2" y="178"/>
                  </a:lnTo>
                  <a:lnTo>
                    <a:pt x="2" y="168"/>
                  </a:lnTo>
                  <a:lnTo>
                    <a:pt x="2" y="158"/>
                  </a:lnTo>
                  <a:lnTo>
                    <a:pt x="2" y="147"/>
                  </a:lnTo>
                  <a:lnTo>
                    <a:pt x="2" y="137"/>
                  </a:lnTo>
                  <a:lnTo>
                    <a:pt x="2" y="127"/>
                  </a:lnTo>
                  <a:lnTo>
                    <a:pt x="4" y="119"/>
                  </a:lnTo>
                  <a:lnTo>
                    <a:pt x="4" y="108"/>
                  </a:lnTo>
                  <a:lnTo>
                    <a:pt x="4" y="98"/>
                  </a:lnTo>
                  <a:lnTo>
                    <a:pt x="4" y="88"/>
                  </a:lnTo>
                  <a:lnTo>
                    <a:pt x="4" y="78"/>
                  </a:lnTo>
                  <a:lnTo>
                    <a:pt x="4" y="67"/>
                  </a:lnTo>
                  <a:lnTo>
                    <a:pt x="4" y="57"/>
                  </a:lnTo>
                  <a:lnTo>
                    <a:pt x="4" y="47"/>
                  </a:lnTo>
                  <a:lnTo>
                    <a:pt x="4" y="37"/>
                  </a:lnTo>
                  <a:lnTo>
                    <a:pt x="4" y="26"/>
                  </a:lnTo>
                  <a:lnTo>
                    <a:pt x="4" y="18"/>
                  </a:lnTo>
                  <a:lnTo>
                    <a:pt x="4" y="8"/>
                  </a:lnTo>
                  <a:lnTo>
                    <a:pt x="23" y="8"/>
                  </a:lnTo>
                  <a:lnTo>
                    <a:pt x="41" y="8"/>
                  </a:lnTo>
                  <a:lnTo>
                    <a:pt x="58" y="8"/>
                  </a:lnTo>
                  <a:lnTo>
                    <a:pt x="76" y="8"/>
                  </a:lnTo>
                  <a:lnTo>
                    <a:pt x="93" y="8"/>
                  </a:lnTo>
                  <a:lnTo>
                    <a:pt x="111" y="8"/>
                  </a:lnTo>
                  <a:lnTo>
                    <a:pt x="127" y="8"/>
                  </a:lnTo>
                  <a:lnTo>
                    <a:pt x="146" y="8"/>
                  </a:lnTo>
                  <a:lnTo>
                    <a:pt x="164" y="8"/>
                  </a:lnTo>
                  <a:lnTo>
                    <a:pt x="181" y="8"/>
                  </a:lnTo>
                  <a:lnTo>
                    <a:pt x="199" y="8"/>
                  </a:lnTo>
                  <a:lnTo>
                    <a:pt x="215" y="8"/>
                  </a:lnTo>
                  <a:lnTo>
                    <a:pt x="234" y="8"/>
                  </a:lnTo>
                  <a:lnTo>
                    <a:pt x="250" y="8"/>
                  </a:lnTo>
                  <a:lnTo>
                    <a:pt x="269" y="8"/>
                  </a:lnTo>
                  <a:lnTo>
                    <a:pt x="287" y="8"/>
                  </a:lnTo>
                  <a:lnTo>
                    <a:pt x="303" y="8"/>
                  </a:lnTo>
                  <a:lnTo>
                    <a:pt x="322" y="8"/>
                  </a:lnTo>
                  <a:lnTo>
                    <a:pt x="338" y="8"/>
                  </a:lnTo>
                  <a:lnTo>
                    <a:pt x="357" y="8"/>
                  </a:lnTo>
                  <a:lnTo>
                    <a:pt x="373" y="6"/>
                  </a:lnTo>
                  <a:lnTo>
                    <a:pt x="392" y="6"/>
                  </a:lnTo>
                  <a:lnTo>
                    <a:pt x="410" y="6"/>
                  </a:lnTo>
                  <a:lnTo>
                    <a:pt x="426" y="6"/>
                  </a:lnTo>
                  <a:lnTo>
                    <a:pt x="445" y="6"/>
                  </a:lnTo>
                  <a:lnTo>
                    <a:pt x="461" y="4"/>
                  </a:lnTo>
                  <a:lnTo>
                    <a:pt x="480" y="4"/>
                  </a:lnTo>
                  <a:lnTo>
                    <a:pt x="498" y="4"/>
                  </a:lnTo>
                  <a:lnTo>
                    <a:pt x="514" y="2"/>
                  </a:lnTo>
                  <a:lnTo>
                    <a:pt x="533" y="2"/>
                  </a:lnTo>
                  <a:lnTo>
                    <a:pt x="549" y="2"/>
                  </a:lnTo>
                  <a:lnTo>
                    <a:pt x="568" y="0"/>
                  </a:lnTo>
                  <a:lnTo>
                    <a:pt x="572" y="4"/>
                  </a:lnTo>
                  <a:lnTo>
                    <a:pt x="574" y="6"/>
                  </a:lnTo>
                  <a:lnTo>
                    <a:pt x="574" y="6"/>
                  </a:lnTo>
                  <a:lnTo>
                    <a:pt x="576" y="6"/>
                  </a:lnTo>
                  <a:lnTo>
                    <a:pt x="576" y="8"/>
                  </a:lnTo>
                  <a:lnTo>
                    <a:pt x="576" y="8"/>
                  </a:lnTo>
                  <a:lnTo>
                    <a:pt x="578" y="8"/>
                  </a:lnTo>
                  <a:lnTo>
                    <a:pt x="578" y="10"/>
                  </a:lnTo>
                  <a:lnTo>
                    <a:pt x="578" y="10"/>
                  </a:lnTo>
                  <a:lnTo>
                    <a:pt x="580" y="10"/>
                  </a:lnTo>
                  <a:lnTo>
                    <a:pt x="580" y="10"/>
                  </a:lnTo>
                  <a:lnTo>
                    <a:pt x="582" y="10"/>
                  </a:lnTo>
                  <a:lnTo>
                    <a:pt x="582" y="12"/>
                  </a:lnTo>
                  <a:lnTo>
                    <a:pt x="584" y="14"/>
                  </a:lnTo>
                  <a:lnTo>
                    <a:pt x="586" y="14"/>
                  </a:lnTo>
                  <a:lnTo>
                    <a:pt x="588" y="14"/>
                  </a:lnTo>
                  <a:lnTo>
                    <a:pt x="590" y="12"/>
                  </a:lnTo>
                  <a:lnTo>
                    <a:pt x="592" y="10"/>
                  </a:lnTo>
                  <a:lnTo>
                    <a:pt x="594" y="10"/>
                  </a:lnTo>
                  <a:lnTo>
                    <a:pt x="596" y="10"/>
                  </a:lnTo>
                  <a:lnTo>
                    <a:pt x="598" y="10"/>
                  </a:lnTo>
                  <a:lnTo>
                    <a:pt x="598" y="10"/>
                  </a:lnTo>
                  <a:lnTo>
                    <a:pt x="598" y="12"/>
                  </a:lnTo>
                  <a:lnTo>
                    <a:pt x="598" y="12"/>
                  </a:lnTo>
                  <a:lnTo>
                    <a:pt x="598" y="14"/>
                  </a:lnTo>
                  <a:lnTo>
                    <a:pt x="600" y="14"/>
                  </a:lnTo>
                  <a:lnTo>
                    <a:pt x="605" y="16"/>
                  </a:lnTo>
                  <a:lnTo>
                    <a:pt x="605" y="18"/>
                  </a:lnTo>
                  <a:lnTo>
                    <a:pt x="605" y="18"/>
                  </a:lnTo>
                  <a:lnTo>
                    <a:pt x="605" y="22"/>
                  </a:lnTo>
                  <a:lnTo>
                    <a:pt x="605" y="22"/>
                  </a:lnTo>
                  <a:lnTo>
                    <a:pt x="605" y="24"/>
                  </a:lnTo>
                  <a:lnTo>
                    <a:pt x="605" y="24"/>
                  </a:lnTo>
                  <a:lnTo>
                    <a:pt x="607" y="24"/>
                  </a:lnTo>
                  <a:lnTo>
                    <a:pt x="607" y="26"/>
                  </a:lnTo>
                  <a:lnTo>
                    <a:pt x="605" y="29"/>
                  </a:lnTo>
                  <a:lnTo>
                    <a:pt x="602" y="29"/>
                  </a:lnTo>
                  <a:lnTo>
                    <a:pt x="598" y="26"/>
                  </a:lnTo>
                  <a:lnTo>
                    <a:pt x="598" y="26"/>
                  </a:lnTo>
                  <a:lnTo>
                    <a:pt x="596" y="29"/>
                  </a:lnTo>
                  <a:lnTo>
                    <a:pt x="596" y="29"/>
                  </a:lnTo>
                  <a:lnTo>
                    <a:pt x="596" y="33"/>
                  </a:lnTo>
                  <a:lnTo>
                    <a:pt x="596" y="33"/>
                  </a:lnTo>
                  <a:lnTo>
                    <a:pt x="596" y="33"/>
                  </a:lnTo>
                  <a:lnTo>
                    <a:pt x="594" y="35"/>
                  </a:lnTo>
                  <a:lnTo>
                    <a:pt x="592" y="37"/>
                  </a:lnTo>
                  <a:lnTo>
                    <a:pt x="590" y="39"/>
                  </a:lnTo>
                  <a:lnTo>
                    <a:pt x="590" y="41"/>
                  </a:lnTo>
                  <a:lnTo>
                    <a:pt x="590" y="43"/>
                  </a:lnTo>
                  <a:lnTo>
                    <a:pt x="590" y="43"/>
                  </a:lnTo>
                  <a:lnTo>
                    <a:pt x="590" y="45"/>
                  </a:lnTo>
                  <a:lnTo>
                    <a:pt x="590" y="45"/>
                  </a:lnTo>
                  <a:lnTo>
                    <a:pt x="588" y="45"/>
                  </a:lnTo>
                  <a:lnTo>
                    <a:pt x="586" y="45"/>
                  </a:lnTo>
                  <a:lnTo>
                    <a:pt x="586" y="49"/>
                  </a:lnTo>
                  <a:lnTo>
                    <a:pt x="588" y="51"/>
                  </a:lnTo>
                  <a:lnTo>
                    <a:pt x="590" y="51"/>
                  </a:lnTo>
                  <a:lnTo>
                    <a:pt x="590" y="53"/>
                  </a:lnTo>
                  <a:lnTo>
                    <a:pt x="592" y="53"/>
                  </a:lnTo>
                  <a:lnTo>
                    <a:pt x="594" y="57"/>
                  </a:lnTo>
                  <a:lnTo>
                    <a:pt x="594" y="57"/>
                  </a:lnTo>
                  <a:lnTo>
                    <a:pt x="594" y="59"/>
                  </a:lnTo>
                  <a:lnTo>
                    <a:pt x="596" y="59"/>
                  </a:lnTo>
                  <a:lnTo>
                    <a:pt x="600" y="61"/>
                  </a:lnTo>
                  <a:lnTo>
                    <a:pt x="600" y="61"/>
                  </a:lnTo>
                  <a:lnTo>
                    <a:pt x="600" y="63"/>
                  </a:lnTo>
                  <a:lnTo>
                    <a:pt x="602" y="63"/>
                  </a:lnTo>
                  <a:lnTo>
                    <a:pt x="605" y="65"/>
                  </a:lnTo>
                  <a:lnTo>
                    <a:pt x="605" y="67"/>
                  </a:lnTo>
                  <a:lnTo>
                    <a:pt x="605" y="72"/>
                  </a:lnTo>
                  <a:lnTo>
                    <a:pt x="607" y="76"/>
                  </a:lnTo>
                  <a:lnTo>
                    <a:pt x="611" y="78"/>
                  </a:lnTo>
                  <a:lnTo>
                    <a:pt x="611" y="78"/>
                  </a:lnTo>
                  <a:lnTo>
                    <a:pt x="611" y="80"/>
                  </a:lnTo>
                  <a:lnTo>
                    <a:pt x="613" y="82"/>
                  </a:lnTo>
                  <a:lnTo>
                    <a:pt x="613" y="84"/>
                  </a:lnTo>
                  <a:lnTo>
                    <a:pt x="615" y="84"/>
                  </a:lnTo>
                  <a:lnTo>
                    <a:pt x="619" y="86"/>
                  </a:lnTo>
                  <a:lnTo>
                    <a:pt x="621" y="86"/>
                  </a:lnTo>
                  <a:lnTo>
                    <a:pt x="623" y="86"/>
                  </a:lnTo>
                  <a:lnTo>
                    <a:pt x="625" y="86"/>
                  </a:lnTo>
                  <a:lnTo>
                    <a:pt x="625" y="86"/>
                  </a:lnTo>
                  <a:lnTo>
                    <a:pt x="627" y="86"/>
                  </a:lnTo>
                  <a:lnTo>
                    <a:pt x="627" y="86"/>
                  </a:lnTo>
                  <a:lnTo>
                    <a:pt x="627" y="88"/>
                  </a:lnTo>
                  <a:lnTo>
                    <a:pt x="627" y="88"/>
                  </a:lnTo>
                  <a:lnTo>
                    <a:pt x="629" y="88"/>
                  </a:lnTo>
                  <a:lnTo>
                    <a:pt x="631" y="88"/>
                  </a:lnTo>
                  <a:lnTo>
                    <a:pt x="631" y="90"/>
                  </a:lnTo>
                  <a:lnTo>
                    <a:pt x="629" y="90"/>
                  </a:lnTo>
                  <a:lnTo>
                    <a:pt x="629" y="90"/>
                  </a:lnTo>
                  <a:lnTo>
                    <a:pt x="629" y="92"/>
                  </a:lnTo>
                  <a:lnTo>
                    <a:pt x="629" y="92"/>
                  </a:lnTo>
                  <a:lnTo>
                    <a:pt x="631" y="92"/>
                  </a:lnTo>
                  <a:lnTo>
                    <a:pt x="631" y="92"/>
                  </a:lnTo>
                  <a:lnTo>
                    <a:pt x="631" y="100"/>
                  </a:lnTo>
                  <a:lnTo>
                    <a:pt x="631" y="115"/>
                  </a:lnTo>
                  <a:lnTo>
                    <a:pt x="631" y="127"/>
                  </a:lnTo>
                  <a:lnTo>
                    <a:pt x="633" y="141"/>
                  </a:lnTo>
                  <a:lnTo>
                    <a:pt x="633" y="156"/>
                  </a:lnTo>
                  <a:lnTo>
                    <a:pt x="633" y="168"/>
                  </a:lnTo>
                  <a:lnTo>
                    <a:pt x="635" y="182"/>
                  </a:lnTo>
                  <a:lnTo>
                    <a:pt x="635" y="197"/>
                  </a:lnTo>
                  <a:lnTo>
                    <a:pt x="635" y="209"/>
                  </a:lnTo>
                  <a:lnTo>
                    <a:pt x="637" y="223"/>
                  </a:lnTo>
                  <a:lnTo>
                    <a:pt x="637" y="238"/>
                  </a:lnTo>
                  <a:lnTo>
                    <a:pt x="637" y="250"/>
                  </a:lnTo>
                  <a:lnTo>
                    <a:pt x="639" y="264"/>
                  </a:lnTo>
                  <a:lnTo>
                    <a:pt x="639" y="279"/>
                  </a:lnTo>
                  <a:lnTo>
                    <a:pt x="639" y="291"/>
                  </a:lnTo>
                  <a:lnTo>
                    <a:pt x="641" y="305"/>
                  </a:lnTo>
                  <a:lnTo>
                    <a:pt x="641" y="320"/>
                  </a:lnTo>
                  <a:lnTo>
                    <a:pt x="641" y="320"/>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KS</a:t>
              </a:r>
            </a:p>
          </p:txBody>
        </p:sp>
        <p:sp>
          <p:nvSpPr>
            <p:cNvPr id="119" name="Freeform 40">
              <a:extLst>
                <a:ext uri="{FF2B5EF4-FFF2-40B4-BE49-F238E27FC236}">
                  <a16:creationId xmlns:a16="http://schemas.microsoft.com/office/drawing/2014/main" id="{5E56BC02-142D-C976-45E8-686E79F87811}"/>
                </a:ext>
              </a:extLst>
            </p:cNvPr>
            <p:cNvSpPr>
              <a:spLocks/>
            </p:cNvSpPr>
            <p:nvPr/>
          </p:nvSpPr>
          <p:spPr bwMode="auto">
            <a:xfrm>
              <a:off x="3748" y="848"/>
              <a:ext cx="269" cy="455"/>
            </a:xfrm>
            <a:custGeom>
              <a:avLst/>
              <a:gdLst>
                <a:gd name="T0" fmla="*/ 260 w 269"/>
                <a:gd name="T1" fmla="*/ 302 h 455"/>
                <a:gd name="T2" fmla="*/ 258 w 269"/>
                <a:gd name="T3" fmla="*/ 287 h 455"/>
                <a:gd name="T4" fmla="*/ 256 w 269"/>
                <a:gd name="T5" fmla="*/ 240 h 455"/>
                <a:gd name="T6" fmla="*/ 248 w 269"/>
                <a:gd name="T7" fmla="*/ 179 h 455"/>
                <a:gd name="T8" fmla="*/ 240 w 269"/>
                <a:gd name="T9" fmla="*/ 119 h 455"/>
                <a:gd name="T10" fmla="*/ 234 w 269"/>
                <a:gd name="T11" fmla="*/ 58 h 455"/>
                <a:gd name="T12" fmla="*/ 220 w 269"/>
                <a:gd name="T13" fmla="*/ 3 h 455"/>
                <a:gd name="T14" fmla="*/ 174 w 269"/>
                <a:gd name="T15" fmla="*/ 9 h 455"/>
                <a:gd name="T16" fmla="*/ 125 w 269"/>
                <a:gd name="T17" fmla="*/ 15 h 455"/>
                <a:gd name="T18" fmla="*/ 74 w 269"/>
                <a:gd name="T19" fmla="*/ 21 h 455"/>
                <a:gd name="T20" fmla="*/ 17 w 269"/>
                <a:gd name="T21" fmla="*/ 39 h 455"/>
                <a:gd name="T22" fmla="*/ 4 w 269"/>
                <a:gd name="T23" fmla="*/ 33 h 455"/>
                <a:gd name="T24" fmla="*/ 15 w 269"/>
                <a:gd name="T25" fmla="*/ 125 h 455"/>
                <a:gd name="T26" fmla="*/ 27 w 269"/>
                <a:gd name="T27" fmla="*/ 248 h 455"/>
                <a:gd name="T28" fmla="*/ 25 w 269"/>
                <a:gd name="T29" fmla="*/ 291 h 455"/>
                <a:gd name="T30" fmla="*/ 25 w 269"/>
                <a:gd name="T31" fmla="*/ 312 h 455"/>
                <a:gd name="T32" fmla="*/ 35 w 269"/>
                <a:gd name="T33" fmla="*/ 324 h 455"/>
                <a:gd name="T34" fmla="*/ 39 w 269"/>
                <a:gd name="T35" fmla="*/ 343 h 455"/>
                <a:gd name="T36" fmla="*/ 33 w 269"/>
                <a:gd name="T37" fmla="*/ 357 h 455"/>
                <a:gd name="T38" fmla="*/ 31 w 269"/>
                <a:gd name="T39" fmla="*/ 365 h 455"/>
                <a:gd name="T40" fmla="*/ 31 w 269"/>
                <a:gd name="T41" fmla="*/ 373 h 455"/>
                <a:gd name="T42" fmla="*/ 29 w 269"/>
                <a:gd name="T43" fmla="*/ 378 h 455"/>
                <a:gd name="T44" fmla="*/ 23 w 269"/>
                <a:gd name="T45" fmla="*/ 388 h 455"/>
                <a:gd name="T46" fmla="*/ 17 w 269"/>
                <a:gd name="T47" fmla="*/ 396 h 455"/>
                <a:gd name="T48" fmla="*/ 15 w 269"/>
                <a:gd name="T49" fmla="*/ 398 h 455"/>
                <a:gd name="T50" fmla="*/ 11 w 269"/>
                <a:gd name="T51" fmla="*/ 400 h 455"/>
                <a:gd name="T52" fmla="*/ 7 w 269"/>
                <a:gd name="T53" fmla="*/ 406 h 455"/>
                <a:gd name="T54" fmla="*/ 9 w 269"/>
                <a:gd name="T55" fmla="*/ 412 h 455"/>
                <a:gd name="T56" fmla="*/ 7 w 269"/>
                <a:gd name="T57" fmla="*/ 421 h 455"/>
                <a:gd name="T58" fmla="*/ 7 w 269"/>
                <a:gd name="T59" fmla="*/ 427 h 455"/>
                <a:gd name="T60" fmla="*/ 4 w 269"/>
                <a:gd name="T61" fmla="*/ 435 h 455"/>
                <a:gd name="T62" fmla="*/ 4 w 269"/>
                <a:gd name="T63" fmla="*/ 443 h 455"/>
                <a:gd name="T64" fmla="*/ 7 w 269"/>
                <a:gd name="T65" fmla="*/ 451 h 455"/>
                <a:gd name="T66" fmla="*/ 4 w 269"/>
                <a:gd name="T67" fmla="*/ 453 h 455"/>
                <a:gd name="T68" fmla="*/ 19 w 269"/>
                <a:gd name="T69" fmla="*/ 449 h 455"/>
                <a:gd name="T70" fmla="*/ 21 w 269"/>
                <a:gd name="T71" fmla="*/ 441 h 455"/>
                <a:gd name="T72" fmla="*/ 33 w 269"/>
                <a:gd name="T73" fmla="*/ 441 h 455"/>
                <a:gd name="T74" fmla="*/ 39 w 269"/>
                <a:gd name="T75" fmla="*/ 447 h 455"/>
                <a:gd name="T76" fmla="*/ 41 w 269"/>
                <a:gd name="T77" fmla="*/ 433 h 455"/>
                <a:gd name="T78" fmla="*/ 47 w 269"/>
                <a:gd name="T79" fmla="*/ 437 h 455"/>
                <a:gd name="T80" fmla="*/ 66 w 269"/>
                <a:gd name="T81" fmla="*/ 435 h 455"/>
                <a:gd name="T82" fmla="*/ 80 w 269"/>
                <a:gd name="T83" fmla="*/ 441 h 455"/>
                <a:gd name="T84" fmla="*/ 88 w 269"/>
                <a:gd name="T85" fmla="*/ 445 h 455"/>
                <a:gd name="T86" fmla="*/ 101 w 269"/>
                <a:gd name="T87" fmla="*/ 429 h 455"/>
                <a:gd name="T88" fmla="*/ 113 w 269"/>
                <a:gd name="T89" fmla="*/ 429 h 455"/>
                <a:gd name="T90" fmla="*/ 125 w 269"/>
                <a:gd name="T91" fmla="*/ 435 h 455"/>
                <a:gd name="T92" fmla="*/ 133 w 269"/>
                <a:gd name="T93" fmla="*/ 425 h 455"/>
                <a:gd name="T94" fmla="*/ 140 w 269"/>
                <a:gd name="T95" fmla="*/ 410 h 455"/>
                <a:gd name="T96" fmla="*/ 140 w 269"/>
                <a:gd name="T97" fmla="*/ 402 h 455"/>
                <a:gd name="T98" fmla="*/ 148 w 269"/>
                <a:gd name="T99" fmla="*/ 400 h 455"/>
                <a:gd name="T100" fmla="*/ 152 w 269"/>
                <a:gd name="T101" fmla="*/ 398 h 455"/>
                <a:gd name="T102" fmla="*/ 160 w 269"/>
                <a:gd name="T103" fmla="*/ 410 h 455"/>
                <a:gd name="T104" fmla="*/ 177 w 269"/>
                <a:gd name="T105" fmla="*/ 412 h 455"/>
                <a:gd name="T106" fmla="*/ 185 w 269"/>
                <a:gd name="T107" fmla="*/ 404 h 455"/>
                <a:gd name="T108" fmla="*/ 189 w 269"/>
                <a:gd name="T109" fmla="*/ 382 h 455"/>
                <a:gd name="T110" fmla="*/ 195 w 269"/>
                <a:gd name="T111" fmla="*/ 382 h 455"/>
                <a:gd name="T112" fmla="*/ 209 w 269"/>
                <a:gd name="T113" fmla="*/ 359 h 455"/>
                <a:gd name="T114" fmla="*/ 220 w 269"/>
                <a:gd name="T115" fmla="*/ 345 h 455"/>
                <a:gd name="T116" fmla="*/ 226 w 269"/>
                <a:gd name="T117" fmla="*/ 326 h 455"/>
                <a:gd name="T118" fmla="*/ 256 w 269"/>
                <a:gd name="T119" fmla="*/ 316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455">
                  <a:moveTo>
                    <a:pt x="267" y="308"/>
                  </a:moveTo>
                  <a:lnTo>
                    <a:pt x="269" y="306"/>
                  </a:lnTo>
                  <a:lnTo>
                    <a:pt x="269" y="304"/>
                  </a:lnTo>
                  <a:lnTo>
                    <a:pt x="267" y="304"/>
                  </a:lnTo>
                  <a:lnTo>
                    <a:pt x="263" y="304"/>
                  </a:lnTo>
                  <a:lnTo>
                    <a:pt x="260" y="304"/>
                  </a:lnTo>
                  <a:lnTo>
                    <a:pt x="260" y="302"/>
                  </a:lnTo>
                  <a:lnTo>
                    <a:pt x="260" y="302"/>
                  </a:lnTo>
                  <a:lnTo>
                    <a:pt x="263" y="298"/>
                  </a:lnTo>
                  <a:lnTo>
                    <a:pt x="265" y="296"/>
                  </a:lnTo>
                  <a:lnTo>
                    <a:pt x="263" y="294"/>
                  </a:lnTo>
                  <a:lnTo>
                    <a:pt x="263" y="291"/>
                  </a:lnTo>
                  <a:lnTo>
                    <a:pt x="258" y="289"/>
                  </a:lnTo>
                  <a:lnTo>
                    <a:pt x="258" y="287"/>
                  </a:lnTo>
                  <a:lnTo>
                    <a:pt x="260" y="283"/>
                  </a:lnTo>
                  <a:lnTo>
                    <a:pt x="263" y="283"/>
                  </a:lnTo>
                  <a:lnTo>
                    <a:pt x="260" y="273"/>
                  </a:lnTo>
                  <a:lnTo>
                    <a:pt x="260" y="265"/>
                  </a:lnTo>
                  <a:lnTo>
                    <a:pt x="258" y="257"/>
                  </a:lnTo>
                  <a:lnTo>
                    <a:pt x="258" y="248"/>
                  </a:lnTo>
                  <a:lnTo>
                    <a:pt x="256" y="240"/>
                  </a:lnTo>
                  <a:lnTo>
                    <a:pt x="254" y="230"/>
                  </a:lnTo>
                  <a:lnTo>
                    <a:pt x="254" y="222"/>
                  </a:lnTo>
                  <a:lnTo>
                    <a:pt x="252" y="214"/>
                  </a:lnTo>
                  <a:lnTo>
                    <a:pt x="252" y="205"/>
                  </a:lnTo>
                  <a:lnTo>
                    <a:pt x="250" y="197"/>
                  </a:lnTo>
                  <a:lnTo>
                    <a:pt x="250" y="187"/>
                  </a:lnTo>
                  <a:lnTo>
                    <a:pt x="248" y="179"/>
                  </a:lnTo>
                  <a:lnTo>
                    <a:pt x="248" y="171"/>
                  </a:lnTo>
                  <a:lnTo>
                    <a:pt x="246" y="162"/>
                  </a:lnTo>
                  <a:lnTo>
                    <a:pt x="246" y="154"/>
                  </a:lnTo>
                  <a:lnTo>
                    <a:pt x="244" y="144"/>
                  </a:lnTo>
                  <a:lnTo>
                    <a:pt x="244" y="136"/>
                  </a:lnTo>
                  <a:lnTo>
                    <a:pt x="242" y="128"/>
                  </a:lnTo>
                  <a:lnTo>
                    <a:pt x="240" y="119"/>
                  </a:lnTo>
                  <a:lnTo>
                    <a:pt x="240" y="111"/>
                  </a:lnTo>
                  <a:lnTo>
                    <a:pt x="238" y="101"/>
                  </a:lnTo>
                  <a:lnTo>
                    <a:pt x="238" y="93"/>
                  </a:lnTo>
                  <a:lnTo>
                    <a:pt x="236" y="85"/>
                  </a:lnTo>
                  <a:lnTo>
                    <a:pt x="236" y="76"/>
                  </a:lnTo>
                  <a:lnTo>
                    <a:pt x="234" y="68"/>
                  </a:lnTo>
                  <a:lnTo>
                    <a:pt x="234" y="58"/>
                  </a:lnTo>
                  <a:lnTo>
                    <a:pt x="232" y="50"/>
                  </a:lnTo>
                  <a:lnTo>
                    <a:pt x="232" y="41"/>
                  </a:lnTo>
                  <a:lnTo>
                    <a:pt x="228" y="25"/>
                  </a:lnTo>
                  <a:lnTo>
                    <a:pt x="228" y="15"/>
                  </a:lnTo>
                  <a:lnTo>
                    <a:pt x="226" y="7"/>
                  </a:lnTo>
                  <a:lnTo>
                    <a:pt x="226" y="0"/>
                  </a:lnTo>
                  <a:lnTo>
                    <a:pt x="220" y="3"/>
                  </a:lnTo>
                  <a:lnTo>
                    <a:pt x="213" y="3"/>
                  </a:lnTo>
                  <a:lnTo>
                    <a:pt x="207" y="5"/>
                  </a:lnTo>
                  <a:lnTo>
                    <a:pt x="201" y="5"/>
                  </a:lnTo>
                  <a:lnTo>
                    <a:pt x="195" y="5"/>
                  </a:lnTo>
                  <a:lnTo>
                    <a:pt x="187" y="7"/>
                  </a:lnTo>
                  <a:lnTo>
                    <a:pt x="181" y="7"/>
                  </a:lnTo>
                  <a:lnTo>
                    <a:pt x="174" y="9"/>
                  </a:lnTo>
                  <a:lnTo>
                    <a:pt x="168" y="9"/>
                  </a:lnTo>
                  <a:lnTo>
                    <a:pt x="162" y="9"/>
                  </a:lnTo>
                  <a:lnTo>
                    <a:pt x="156" y="11"/>
                  </a:lnTo>
                  <a:lnTo>
                    <a:pt x="150" y="11"/>
                  </a:lnTo>
                  <a:lnTo>
                    <a:pt x="144" y="13"/>
                  </a:lnTo>
                  <a:lnTo>
                    <a:pt x="131" y="13"/>
                  </a:lnTo>
                  <a:lnTo>
                    <a:pt x="125" y="15"/>
                  </a:lnTo>
                  <a:lnTo>
                    <a:pt x="119" y="15"/>
                  </a:lnTo>
                  <a:lnTo>
                    <a:pt x="111" y="17"/>
                  </a:lnTo>
                  <a:lnTo>
                    <a:pt x="105" y="17"/>
                  </a:lnTo>
                  <a:lnTo>
                    <a:pt x="93" y="19"/>
                  </a:lnTo>
                  <a:lnTo>
                    <a:pt x="86" y="19"/>
                  </a:lnTo>
                  <a:lnTo>
                    <a:pt x="80" y="19"/>
                  </a:lnTo>
                  <a:lnTo>
                    <a:pt x="74" y="21"/>
                  </a:lnTo>
                  <a:lnTo>
                    <a:pt x="68" y="21"/>
                  </a:lnTo>
                  <a:lnTo>
                    <a:pt x="62" y="23"/>
                  </a:lnTo>
                  <a:lnTo>
                    <a:pt x="60" y="23"/>
                  </a:lnTo>
                  <a:lnTo>
                    <a:pt x="45" y="33"/>
                  </a:lnTo>
                  <a:lnTo>
                    <a:pt x="31" y="39"/>
                  </a:lnTo>
                  <a:lnTo>
                    <a:pt x="23" y="41"/>
                  </a:lnTo>
                  <a:lnTo>
                    <a:pt x="17" y="39"/>
                  </a:lnTo>
                  <a:lnTo>
                    <a:pt x="15" y="39"/>
                  </a:lnTo>
                  <a:lnTo>
                    <a:pt x="13" y="39"/>
                  </a:lnTo>
                  <a:lnTo>
                    <a:pt x="13" y="37"/>
                  </a:lnTo>
                  <a:lnTo>
                    <a:pt x="13" y="35"/>
                  </a:lnTo>
                  <a:lnTo>
                    <a:pt x="9" y="37"/>
                  </a:lnTo>
                  <a:lnTo>
                    <a:pt x="7" y="35"/>
                  </a:lnTo>
                  <a:lnTo>
                    <a:pt x="4" y="33"/>
                  </a:lnTo>
                  <a:lnTo>
                    <a:pt x="4" y="33"/>
                  </a:lnTo>
                  <a:lnTo>
                    <a:pt x="7" y="50"/>
                  </a:lnTo>
                  <a:lnTo>
                    <a:pt x="7" y="64"/>
                  </a:lnTo>
                  <a:lnTo>
                    <a:pt x="9" y="78"/>
                  </a:lnTo>
                  <a:lnTo>
                    <a:pt x="11" y="95"/>
                  </a:lnTo>
                  <a:lnTo>
                    <a:pt x="13" y="109"/>
                  </a:lnTo>
                  <a:lnTo>
                    <a:pt x="15" y="125"/>
                  </a:lnTo>
                  <a:lnTo>
                    <a:pt x="15" y="140"/>
                  </a:lnTo>
                  <a:lnTo>
                    <a:pt x="17" y="156"/>
                  </a:lnTo>
                  <a:lnTo>
                    <a:pt x="19" y="171"/>
                  </a:lnTo>
                  <a:lnTo>
                    <a:pt x="21" y="187"/>
                  </a:lnTo>
                  <a:lnTo>
                    <a:pt x="23" y="201"/>
                  </a:lnTo>
                  <a:lnTo>
                    <a:pt x="25" y="232"/>
                  </a:lnTo>
                  <a:lnTo>
                    <a:pt x="27" y="248"/>
                  </a:lnTo>
                  <a:lnTo>
                    <a:pt x="29" y="263"/>
                  </a:lnTo>
                  <a:lnTo>
                    <a:pt x="31" y="279"/>
                  </a:lnTo>
                  <a:lnTo>
                    <a:pt x="31" y="283"/>
                  </a:lnTo>
                  <a:lnTo>
                    <a:pt x="31" y="283"/>
                  </a:lnTo>
                  <a:lnTo>
                    <a:pt x="27" y="287"/>
                  </a:lnTo>
                  <a:lnTo>
                    <a:pt x="25" y="287"/>
                  </a:lnTo>
                  <a:lnTo>
                    <a:pt x="25" y="291"/>
                  </a:lnTo>
                  <a:lnTo>
                    <a:pt x="25" y="291"/>
                  </a:lnTo>
                  <a:lnTo>
                    <a:pt x="27" y="296"/>
                  </a:lnTo>
                  <a:lnTo>
                    <a:pt x="27" y="300"/>
                  </a:lnTo>
                  <a:lnTo>
                    <a:pt x="23" y="306"/>
                  </a:lnTo>
                  <a:lnTo>
                    <a:pt x="23" y="310"/>
                  </a:lnTo>
                  <a:lnTo>
                    <a:pt x="23" y="312"/>
                  </a:lnTo>
                  <a:lnTo>
                    <a:pt x="25" y="312"/>
                  </a:lnTo>
                  <a:lnTo>
                    <a:pt x="25" y="312"/>
                  </a:lnTo>
                  <a:lnTo>
                    <a:pt x="29" y="314"/>
                  </a:lnTo>
                  <a:lnTo>
                    <a:pt x="29" y="316"/>
                  </a:lnTo>
                  <a:lnTo>
                    <a:pt x="31" y="320"/>
                  </a:lnTo>
                  <a:lnTo>
                    <a:pt x="31" y="322"/>
                  </a:lnTo>
                  <a:lnTo>
                    <a:pt x="33" y="322"/>
                  </a:lnTo>
                  <a:lnTo>
                    <a:pt x="35" y="324"/>
                  </a:lnTo>
                  <a:lnTo>
                    <a:pt x="35" y="326"/>
                  </a:lnTo>
                  <a:lnTo>
                    <a:pt x="37" y="330"/>
                  </a:lnTo>
                  <a:lnTo>
                    <a:pt x="35" y="332"/>
                  </a:lnTo>
                  <a:lnTo>
                    <a:pt x="35" y="332"/>
                  </a:lnTo>
                  <a:lnTo>
                    <a:pt x="35" y="335"/>
                  </a:lnTo>
                  <a:lnTo>
                    <a:pt x="37" y="339"/>
                  </a:lnTo>
                  <a:lnTo>
                    <a:pt x="39" y="343"/>
                  </a:lnTo>
                  <a:lnTo>
                    <a:pt x="39" y="347"/>
                  </a:lnTo>
                  <a:lnTo>
                    <a:pt x="39" y="355"/>
                  </a:lnTo>
                  <a:lnTo>
                    <a:pt x="37" y="355"/>
                  </a:lnTo>
                  <a:lnTo>
                    <a:pt x="37" y="355"/>
                  </a:lnTo>
                  <a:lnTo>
                    <a:pt x="35" y="355"/>
                  </a:lnTo>
                  <a:lnTo>
                    <a:pt x="35" y="357"/>
                  </a:lnTo>
                  <a:lnTo>
                    <a:pt x="33" y="357"/>
                  </a:lnTo>
                  <a:lnTo>
                    <a:pt x="33" y="359"/>
                  </a:lnTo>
                  <a:lnTo>
                    <a:pt x="33" y="361"/>
                  </a:lnTo>
                  <a:lnTo>
                    <a:pt x="33" y="363"/>
                  </a:lnTo>
                  <a:lnTo>
                    <a:pt x="33" y="363"/>
                  </a:lnTo>
                  <a:lnTo>
                    <a:pt x="33" y="365"/>
                  </a:lnTo>
                  <a:lnTo>
                    <a:pt x="33" y="365"/>
                  </a:lnTo>
                  <a:lnTo>
                    <a:pt x="31" y="365"/>
                  </a:lnTo>
                  <a:lnTo>
                    <a:pt x="33" y="365"/>
                  </a:lnTo>
                  <a:lnTo>
                    <a:pt x="31" y="365"/>
                  </a:lnTo>
                  <a:lnTo>
                    <a:pt x="31" y="367"/>
                  </a:lnTo>
                  <a:lnTo>
                    <a:pt x="29" y="367"/>
                  </a:lnTo>
                  <a:lnTo>
                    <a:pt x="29" y="369"/>
                  </a:lnTo>
                  <a:lnTo>
                    <a:pt x="29" y="371"/>
                  </a:lnTo>
                  <a:lnTo>
                    <a:pt x="31" y="373"/>
                  </a:lnTo>
                  <a:lnTo>
                    <a:pt x="31" y="376"/>
                  </a:lnTo>
                  <a:lnTo>
                    <a:pt x="31" y="376"/>
                  </a:lnTo>
                  <a:lnTo>
                    <a:pt x="31" y="376"/>
                  </a:lnTo>
                  <a:lnTo>
                    <a:pt x="31" y="376"/>
                  </a:lnTo>
                  <a:lnTo>
                    <a:pt x="29" y="376"/>
                  </a:lnTo>
                  <a:lnTo>
                    <a:pt x="29" y="376"/>
                  </a:lnTo>
                  <a:lnTo>
                    <a:pt x="29" y="378"/>
                  </a:lnTo>
                  <a:lnTo>
                    <a:pt x="27" y="378"/>
                  </a:lnTo>
                  <a:lnTo>
                    <a:pt x="25" y="380"/>
                  </a:lnTo>
                  <a:lnTo>
                    <a:pt x="23" y="382"/>
                  </a:lnTo>
                  <a:lnTo>
                    <a:pt x="23" y="382"/>
                  </a:lnTo>
                  <a:lnTo>
                    <a:pt x="25" y="384"/>
                  </a:lnTo>
                  <a:lnTo>
                    <a:pt x="25" y="386"/>
                  </a:lnTo>
                  <a:lnTo>
                    <a:pt x="23" y="388"/>
                  </a:lnTo>
                  <a:lnTo>
                    <a:pt x="21" y="390"/>
                  </a:lnTo>
                  <a:lnTo>
                    <a:pt x="21" y="390"/>
                  </a:lnTo>
                  <a:lnTo>
                    <a:pt x="19" y="390"/>
                  </a:lnTo>
                  <a:lnTo>
                    <a:pt x="19" y="392"/>
                  </a:lnTo>
                  <a:lnTo>
                    <a:pt x="19" y="392"/>
                  </a:lnTo>
                  <a:lnTo>
                    <a:pt x="19" y="394"/>
                  </a:lnTo>
                  <a:lnTo>
                    <a:pt x="17" y="396"/>
                  </a:lnTo>
                  <a:lnTo>
                    <a:pt x="17" y="398"/>
                  </a:lnTo>
                  <a:lnTo>
                    <a:pt x="17" y="398"/>
                  </a:lnTo>
                  <a:lnTo>
                    <a:pt x="17" y="400"/>
                  </a:lnTo>
                  <a:lnTo>
                    <a:pt x="17" y="400"/>
                  </a:lnTo>
                  <a:lnTo>
                    <a:pt x="17" y="400"/>
                  </a:lnTo>
                  <a:lnTo>
                    <a:pt x="15" y="398"/>
                  </a:lnTo>
                  <a:lnTo>
                    <a:pt x="15" y="398"/>
                  </a:lnTo>
                  <a:lnTo>
                    <a:pt x="15" y="398"/>
                  </a:lnTo>
                  <a:lnTo>
                    <a:pt x="15" y="398"/>
                  </a:lnTo>
                  <a:lnTo>
                    <a:pt x="13" y="398"/>
                  </a:lnTo>
                  <a:lnTo>
                    <a:pt x="13" y="400"/>
                  </a:lnTo>
                  <a:lnTo>
                    <a:pt x="13" y="402"/>
                  </a:lnTo>
                  <a:lnTo>
                    <a:pt x="13" y="402"/>
                  </a:lnTo>
                  <a:lnTo>
                    <a:pt x="11" y="400"/>
                  </a:lnTo>
                  <a:lnTo>
                    <a:pt x="11" y="400"/>
                  </a:lnTo>
                  <a:lnTo>
                    <a:pt x="9" y="400"/>
                  </a:lnTo>
                  <a:lnTo>
                    <a:pt x="9" y="402"/>
                  </a:lnTo>
                  <a:lnTo>
                    <a:pt x="9" y="404"/>
                  </a:lnTo>
                  <a:lnTo>
                    <a:pt x="9" y="404"/>
                  </a:lnTo>
                  <a:lnTo>
                    <a:pt x="7" y="406"/>
                  </a:lnTo>
                  <a:lnTo>
                    <a:pt x="7" y="406"/>
                  </a:lnTo>
                  <a:lnTo>
                    <a:pt x="7" y="408"/>
                  </a:lnTo>
                  <a:lnTo>
                    <a:pt x="7" y="408"/>
                  </a:lnTo>
                  <a:lnTo>
                    <a:pt x="7" y="410"/>
                  </a:lnTo>
                  <a:lnTo>
                    <a:pt x="7" y="410"/>
                  </a:lnTo>
                  <a:lnTo>
                    <a:pt x="7" y="410"/>
                  </a:lnTo>
                  <a:lnTo>
                    <a:pt x="9" y="412"/>
                  </a:lnTo>
                  <a:lnTo>
                    <a:pt x="9" y="412"/>
                  </a:lnTo>
                  <a:lnTo>
                    <a:pt x="11" y="414"/>
                  </a:lnTo>
                  <a:lnTo>
                    <a:pt x="11" y="414"/>
                  </a:lnTo>
                  <a:lnTo>
                    <a:pt x="11" y="416"/>
                  </a:lnTo>
                  <a:lnTo>
                    <a:pt x="11" y="416"/>
                  </a:lnTo>
                  <a:lnTo>
                    <a:pt x="9" y="419"/>
                  </a:lnTo>
                  <a:lnTo>
                    <a:pt x="9" y="419"/>
                  </a:lnTo>
                  <a:lnTo>
                    <a:pt x="7" y="421"/>
                  </a:lnTo>
                  <a:lnTo>
                    <a:pt x="4" y="423"/>
                  </a:lnTo>
                  <a:lnTo>
                    <a:pt x="7" y="423"/>
                  </a:lnTo>
                  <a:lnTo>
                    <a:pt x="9" y="423"/>
                  </a:lnTo>
                  <a:lnTo>
                    <a:pt x="11" y="423"/>
                  </a:lnTo>
                  <a:lnTo>
                    <a:pt x="9" y="425"/>
                  </a:lnTo>
                  <a:lnTo>
                    <a:pt x="7" y="425"/>
                  </a:lnTo>
                  <a:lnTo>
                    <a:pt x="7" y="427"/>
                  </a:lnTo>
                  <a:lnTo>
                    <a:pt x="4" y="427"/>
                  </a:lnTo>
                  <a:lnTo>
                    <a:pt x="2" y="427"/>
                  </a:lnTo>
                  <a:lnTo>
                    <a:pt x="4" y="429"/>
                  </a:lnTo>
                  <a:lnTo>
                    <a:pt x="4" y="431"/>
                  </a:lnTo>
                  <a:lnTo>
                    <a:pt x="4" y="433"/>
                  </a:lnTo>
                  <a:lnTo>
                    <a:pt x="4" y="433"/>
                  </a:lnTo>
                  <a:lnTo>
                    <a:pt x="4" y="435"/>
                  </a:lnTo>
                  <a:lnTo>
                    <a:pt x="4" y="437"/>
                  </a:lnTo>
                  <a:lnTo>
                    <a:pt x="4" y="437"/>
                  </a:lnTo>
                  <a:lnTo>
                    <a:pt x="4" y="439"/>
                  </a:lnTo>
                  <a:lnTo>
                    <a:pt x="4" y="441"/>
                  </a:lnTo>
                  <a:lnTo>
                    <a:pt x="4" y="441"/>
                  </a:lnTo>
                  <a:lnTo>
                    <a:pt x="7" y="443"/>
                  </a:lnTo>
                  <a:lnTo>
                    <a:pt x="4" y="443"/>
                  </a:lnTo>
                  <a:lnTo>
                    <a:pt x="4" y="445"/>
                  </a:lnTo>
                  <a:lnTo>
                    <a:pt x="2" y="445"/>
                  </a:lnTo>
                  <a:lnTo>
                    <a:pt x="0" y="445"/>
                  </a:lnTo>
                  <a:lnTo>
                    <a:pt x="0" y="445"/>
                  </a:lnTo>
                  <a:lnTo>
                    <a:pt x="7" y="449"/>
                  </a:lnTo>
                  <a:lnTo>
                    <a:pt x="7" y="451"/>
                  </a:lnTo>
                  <a:lnTo>
                    <a:pt x="7" y="451"/>
                  </a:lnTo>
                  <a:lnTo>
                    <a:pt x="4" y="451"/>
                  </a:lnTo>
                  <a:lnTo>
                    <a:pt x="2" y="451"/>
                  </a:lnTo>
                  <a:lnTo>
                    <a:pt x="2" y="451"/>
                  </a:lnTo>
                  <a:lnTo>
                    <a:pt x="2" y="451"/>
                  </a:lnTo>
                  <a:lnTo>
                    <a:pt x="2" y="453"/>
                  </a:lnTo>
                  <a:lnTo>
                    <a:pt x="2" y="453"/>
                  </a:lnTo>
                  <a:lnTo>
                    <a:pt x="4" y="453"/>
                  </a:lnTo>
                  <a:lnTo>
                    <a:pt x="7" y="453"/>
                  </a:lnTo>
                  <a:lnTo>
                    <a:pt x="9" y="453"/>
                  </a:lnTo>
                  <a:lnTo>
                    <a:pt x="11" y="453"/>
                  </a:lnTo>
                  <a:lnTo>
                    <a:pt x="13" y="455"/>
                  </a:lnTo>
                  <a:lnTo>
                    <a:pt x="15" y="455"/>
                  </a:lnTo>
                  <a:lnTo>
                    <a:pt x="15" y="455"/>
                  </a:lnTo>
                  <a:lnTo>
                    <a:pt x="19" y="449"/>
                  </a:lnTo>
                  <a:lnTo>
                    <a:pt x="15" y="443"/>
                  </a:lnTo>
                  <a:lnTo>
                    <a:pt x="15" y="443"/>
                  </a:lnTo>
                  <a:lnTo>
                    <a:pt x="15" y="439"/>
                  </a:lnTo>
                  <a:lnTo>
                    <a:pt x="17" y="439"/>
                  </a:lnTo>
                  <a:lnTo>
                    <a:pt x="19" y="439"/>
                  </a:lnTo>
                  <a:lnTo>
                    <a:pt x="21" y="441"/>
                  </a:lnTo>
                  <a:lnTo>
                    <a:pt x="21" y="441"/>
                  </a:lnTo>
                  <a:lnTo>
                    <a:pt x="23" y="443"/>
                  </a:lnTo>
                  <a:lnTo>
                    <a:pt x="25" y="443"/>
                  </a:lnTo>
                  <a:lnTo>
                    <a:pt x="27" y="443"/>
                  </a:lnTo>
                  <a:lnTo>
                    <a:pt x="29" y="443"/>
                  </a:lnTo>
                  <a:lnTo>
                    <a:pt x="31" y="441"/>
                  </a:lnTo>
                  <a:lnTo>
                    <a:pt x="33" y="441"/>
                  </a:lnTo>
                  <a:lnTo>
                    <a:pt x="33" y="441"/>
                  </a:lnTo>
                  <a:lnTo>
                    <a:pt x="35" y="439"/>
                  </a:lnTo>
                  <a:lnTo>
                    <a:pt x="35" y="439"/>
                  </a:lnTo>
                  <a:lnTo>
                    <a:pt x="37" y="441"/>
                  </a:lnTo>
                  <a:lnTo>
                    <a:pt x="37" y="441"/>
                  </a:lnTo>
                  <a:lnTo>
                    <a:pt x="37" y="445"/>
                  </a:lnTo>
                  <a:lnTo>
                    <a:pt x="37" y="447"/>
                  </a:lnTo>
                  <a:lnTo>
                    <a:pt x="39" y="447"/>
                  </a:lnTo>
                  <a:lnTo>
                    <a:pt x="41" y="447"/>
                  </a:lnTo>
                  <a:lnTo>
                    <a:pt x="43" y="443"/>
                  </a:lnTo>
                  <a:lnTo>
                    <a:pt x="43" y="441"/>
                  </a:lnTo>
                  <a:lnTo>
                    <a:pt x="43" y="439"/>
                  </a:lnTo>
                  <a:lnTo>
                    <a:pt x="41" y="435"/>
                  </a:lnTo>
                  <a:lnTo>
                    <a:pt x="41" y="433"/>
                  </a:lnTo>
                  <a:lnTo>
                    <a:pt x="41" y="433"/>
                  </a:lnTo>
                  <a:lnTo>
                    <a:pt x="41" y="431"/>
                  </a:lnTo>
                  <a:lnTo>
                    <a:pt x="41" y="431"/>
                  </a:lnTo>
                  <a:lnTo>
                    <a:pt x="43" y="431"/>
                  </a:lnTo>
                  <a:lnTo>
                    <a:pt x="43" y="433"/>
                  </a:lnTo>
                  <a:lnTo>
                    <a:pt x="43" y="433"/>
                  </a:lnTo>
                  <a:lnTo>
                    <a:pt x="43" y="435"/>
                  </a:lnTo>
                  <a:lnTo>
                    <a:pt x="47" y="437"/>
                  </a:lnTo>
                  <a:lnTo>
                    <a:pt x="52" y="437"/>
                  </a:lnTo>
                  <a:lnTo>
                    <a:pt x="54" y="435"/>
                  </a:lnTo>
                  <a:lnTo>
                    <a:pt x="58" y="433"/>
                  </a:lnTo>
                  <a:lnTo>
                    <a:pt x="60" y="433"/>
                  </a:lnTo>
                  <a:lnTo>
                    <a:pt x="62" y="433"/>
                  </a:lnTo>
                  <a:lnTo>
                    <a:pt x="64" y="435"/>
                  </a:lnTo>
                  <a:lnTo>
                    <a:pt x="66" y="435"/>
                  </a:lnTo>
                  <a:lnTo>
                    <a:pt x="66" y="437"/>
                  </a:lnTo>
                  <a:lnTo>
                    <a:pt x="72" y="439"/>
                  </a:lnTo>
                  <a:lnTo>
                    <a:pt x="76" y="439"/>
                  </a:lnTo>
                  <a:lnTo>
                    <a:pt x="76" y="441"/>
                  </a:lnTo>
                  <a:lnTo>
                    <a:pt x="78" y="441"/>
                  </a:lnTo>
                  <a:lnTo>
                    <a:pt x="80" y="441"/>
                  </a:lnTo>
                  <a:lnTo>
                    <a:pt x="80" y="441"/>
                  </a:lnTo>
                  <a:lnTo>
                    <a:pt x="82" y="441"/>
                  </a:lnTo>
                  <a:lnTo>
                    <a:pt x="82" y="443"/>
                  </a:lnTo>
                  <a:lnTo>
                    <a:pt x="82" y="443"/>
                  </a:lnTo>
                  <a:lnTo>
                    <a:pt x="84" y="445"/>
                  </a:lnTo>
                  <a:lnTo>
                    <a:pt x="84" y="445"/>
                  </a:lnTo>
                  <a:lnTo>
                    <a:pt x="86" y="447"/>
                  </a:lnTo>
                  <a:lnTo>
                    <a:pt x="88" y="445"/>
                  </a:lnTo>
                  <a:lnTo>
                    <a:pt x="88" y="441"/>
                  </a:lnTo>
                  <a:lnTo>
                    <a:pt x="90" y="435"/>
                  </a:lnTo>
                  <a:lnTo>
                    <a:pt x="93" y="433"/>
                  </a:lnTo>
                  <a:lnTo>
                    <a:pt x="93" y="431"/>
                  </a:lnTo>
                  <a:lnTo>
                    <a:pt x="93" y="431"/>
                  </a:lnTo>
                  <a:lnTo>
                    <a:pt x="95" y="429"/>
                  </a:lnTo>
                  <a:lnTo>
                    <a:pt x="101" y="429"/>
                  </a:lnTo>
                  <a:lnTo>
                    <a:pt x="101" y="429"/>
                  </a:lnTo>
                  <a:lnTo>
                    <a:pt x="103" y="427"/>
                  </a:lnTo>
                  <a:lnTo>
                    <a:pt x="105" y="423"/>
                  </a:lnTo>
                  <a:lnTo>
                    <a:pt x="109" y="421"/>
                  </a:lnTo>
                  <a:lnTo>
                    <a:pt x="111" y="423"/>
                  </a:lnTo>
                  <a:lnTo>
                    <a:pt x="111" y="427"/>
                  </a:lnTo>
                  <a:lnTo>
                    <a:pt x="113" y="429"/>
                  </a:lnTo>
                  <a:lnTo>
                    <a:pt x="117" y="431"/>
                  </a:lnTo>
                  <a:lnTo>
                    <a:pt x="119" y="431"/>
                  </a:lnTo>
                  <a:lnTo>
                    <a:pt x="123" y="429"/>
                  </a:lnTo>
                  <a:lnTo>
                    <a:pt x="125" y="429"/>
                  </a:lnTo>
                  <a:lnTo>
                    <a:pt x="123" y="433"/>
                  </a:lnTo>
                  <a:lnTo>
                    <a:pt x="123" y="433"/>
                  </a:lnTo>
                  <a:lnTo>
                    <a:pt x="125" y="435"/>
                  </a:lnTo>
                  <a:lnTo>
                    <a:pt x="127" y="435"/>
                  </a:lnTo>
                  <a:lnTo>
                    <a:pt x="129" y="433"/>
                  </a:lnTo>
                  <a:lnTo>
                    <a:pt x="129" y="431"/>
                  </a:lnTo>
                  <a:lnTo>
                    <a:pt x="129" y="429"/>
                  </a:lnTo>
                  <a:lnTo>
                    <a:pt x="129" y="427"/>
                  </a:lnTo>
                  <a:lnTo>
                    <a:pt x="133" y="425"/>
                  </a:lnTo>
                  <a:lnTo>
                    <a:pt x="133" y="425"/>
                  </a:lnTo>
                  <a:lnTo>
                    <a:pt x="133" y="423"/>
                  </a:lnTo>
                  <a:lnTo>
                    <a:pt x="133" y="416"/>
                  </a:lnTo>
                  <a:lnTo>
                    <a:pt x="133" y="414"/>
                  </a:lnTo>
                  <a:lnTo>
                    <a:pt x="133" y="412"/>
                  </a:lnTo>
                  <a:lnTo>
                    <a:pt x="136" y="412"/>
                  </a:lnTo>
                  <a:lnTo>
                    <a:pt x="138" y="410"/>
                  </a:lnTo>
                  <a:lnTo>
                    <a:pt x="140" y="410"/>
                  </a:lnTo>
                  <a:lnTo>
                    <a:pt x="140" y="408"/>
                  </a:lnTo>
                  <a:lnTo>
                    <a:pt x="140" y="406"/>
                  </a:lnTo>
                  <a:lnTo>
                    <a:pt x="138" y="404"/>
                  </a:lnTo>
                  <a:lnTo>
                    <a:pt x="138" y="404"/>
                  </a:lnTo>
                  <a:lnTo>
                    <a:pt x="138" y="402"/>
                  </a:lnTo>
                  <a:lnTo>
                    <a:pt x="138" y="402"/>
                  </a:lnTo>
                  <a:lnTo>
                    <a:pt x="140" y="402"/>
                  </a:lnTo>
                  <a:lnTo>
                    <a:pt x="140" y="404"/>
                  </a:lnTo>
                  <a:lnTo>
                    <a:pt x="140" y="404"/>
                  </a:lnTo>
                  <a:lnTo>
                    <a:pt x="142" y="404"/>
                  </a:lnTo>
                  <a:lnTo>
                    <a:pt x="144" y="404"/>
                  </a:lnTo>
                  <a:lnTo>
                    <a:pt x="146" y="402"/>
                  </a:lnTo>
                  <a:lnTo>
                    <a:pt x="148" y="400"/>
                  </a:lnTo>
                  <a:lnTo>
                    <a:pt x="148" y="400"/>
                  </a:lnTo>
                  <a:lnTo>
                    <a:pt x="146" y="400"/>
                  </a:lnTo>
                  <a:lnTo>
                    <a:pt x="144" y="398"/>
                  </a:lnTo>
                  <a:lnTo>
                    <a:pt x="142" y="396"/>
                  </a:lnTo>
                  <a:lnTo>
                    <a:pt x="144" y="396"/>
                  </a:lnTo>
                  <a:lnTo>
                    <a:pt x="146" y="396"/>
                  </a:lnTo>
                  <a:lnTo>
                    <a:pt x="146" y="396"/>
                  </a:lnTo>
                  <a:lnTo>
                    <a:pt x="152" y="398"/>
                  </a:lnTo>
                  <a:lnTo>
                    <a:pt x="152" y="400"/>
                  </a:lnTo>
                  <a:lnTo>
                    <a:pt x="152" y="404"/>
                  </a:lnTo>
                  <a:lnTo>
                    <a:pt x="152" y="406"/>
                  </a:lnTo>
                  <a:lnTo>
                    <a:pt x="154" y="408"/>
                  </a:lnTo>
                  <a:lnTo>
                    <a:pt x="156" y="408"/>
                  </a:lnTo>
                  <a:lnTo>
                    <a:pt x="158" y="410"/>
                  </a:lnTo>
                  <a:lnTo>
                    <a:pt x="160" y="410"/>
                  </a:lnTo>
                  <a:lnTo>
                    <a:pt x="162" y="412"/>
                  </a:lnTo>
                  <a:lnTo>
                    <a:pt x="166" y="412"/>
                  </a:lnTo>
                  <a:lnTo>
                    <a:pt x="168" y="412"/>
                  </a:lnTo>
                  <a:lnTo>
                    <a:pt x="172" y="414"/>
                  </a:lnTo>
                  <a:lnTo>
                    <a:pt x="174" y="416"/>
                  </a:lnTo>
                  <a:lnTo>
                    <a:pt x="174" y="414"/>
                  </a:lnTo>
                  <a:lnTo>
                    <a:pt x="177" y="412"/>
                  </a:lnTo>
                  <a:lnTo>
                    <a:pt x="177" y="412"/>
                  </a:lnTo>
                  <a:lnTo>
                    <a:pt x="181" y="410"/>
                  </a:lnTo>
                  <a:lnTo>
                    <a:pt x="183" y="410"/>
                  </a:lnTo>
                  <a:lnTo>
                    <a:pt x="183" y="410"/>
                  </a:lnTo>
                  <a:lnTo>
                    <a:pt x="183" y="408"/>
                  </a:lnTo>
                  <a:lnTo>
                    <a:pt x="185" y="408"/>
                  </a:lnTo>
                  <a:lnTo>
                    <a:pt x="185" y="404"/>
                  </a:lnTo>
                  <a:lnTo>
                    <a:pt x="185" y="394"/>
                  </a:lnTo>
                  <a:lnTo>
                    <a:pt x="185" y="392"/>
                  </a:lnTo>
                  <a:lnTo>
                    <a:pt x="185" y="390"/>
                  </a:lnTo>
                  <a:lnTo>
                    <a:pt x="185" y="388"/>
                  </a:lnTo>
                  <a:lnTo>
                    <a:pt x="187" y="386"/>
                  </a:lnTo>
                  <a:lnTo>
                    <a:pt x="187" y="386"/>
                  </a:lnTo>
                  <a:lnTo>
                    <a:pt x="189" y="382"/>
                  </a:lnTo>
                  <a:lnTo>
                    <a:pt x="189" y="380"/>
                  </a:lnTo>
                  <a:lnTo>
                    <a:pt x="191" y="380"/>
                  </a:lnTo>
                  <a:lnTo>
                    <a:pt x="193" y="380"/>
                  </a:lnTo>
                  <a:lnTo>
                    <a:pt x="193" y="380"/>
                  </a:lnTo>
                  <a:lnTo>
                    <a:pt x="193" y="380"/>
                  </a:lnTo>
                  <a:lnTo>
                    <a:pt x="195" y="382"/>
                  </a:lnTo>
                  <a:lnTo>
                    <a:pt x="195" y="382"/>
                  </a:lnTo>
                  <a:lnTo>
                    <a:pt x="199" y="380"/>
                  </a:lnTo>
                  <a:lnTo>
                    <a:pt x="199" y="378"/>
                  </a:lnTo>
                  <a:lnTo>
                    <a:pt x="203" y="376"/>
                  </a:lnTo>
                  <a:lnTo>
                    <a:pt x="203" y="371"/>
                  </a:lnTo>
                  <a:lnTo>
                    <a:pt x="205" y="361"/>
                  </a:lnTo>
                  <a:lnTo>
                    <a:pt x="207" y="359"/>
                  </a:lnTo>
                  <a:lnTo>
                    <a:pt x="209" y="359"/>
                  </a:lnTo>
                  <a:lnTo>
                    <a:pt x="211" y="357"/>
                  </a:lnTo>
                  <a:lnTo>
                    <a:pt x="213" y="357"/>
                  </a:lnTo>
                  <a:lnTo>
                    <a:pt x="213" y="355"/>
                  </a:lnTo>
                  <a:lnTo>
                    <a:pt x="215" y="353"/>
                  </a:lnTo>
                  <a:lnTo>
                    <a:pt x="220" y="349"/>
                  </a:lnTo>
                  <a:lnTo>
                    <a:pt x="220" y="347"/>
                  </a:lnTo>
                  <a:lnTo>
                    <a:pt x="220" y="345"/>
                  </a:lnTo>
                  <a:lnTo>
                    <a:pt x="217" y="341"/>
                  </a:lnTo>
                  <a:lnTo>
                    <a:pt x="215" y="335"/>
                  </a:lnTo>
                  <a:lnTo>
                    <a:pt x="215" y="332"/>
                  </a:lnTo>
                  <a:lnTo>
                    <a:pt x="215" y="330"/>
                  </a:lnTo>
                  <a:lnTo>
                    <a:pt x="213" y="328"/>
                  </a:lnTo>
                  <a:lnTo>
                    <a:pt x="215" y="328"/>
                  </a:lnTo>
                  <a:lnTo>
                    <a:pt x="226" y="326"/>
                  </a:lnTo>
                  <a:lnTo>
                    <a:pt x="230" y="324"/>
                  </a:lnTo>
                  <a:lnTo>
                    <a:pt x="232" y="326"/>
                  </a:lnTo>
                  <a:lnTo>
                    <a:pt x="236" y="328"/>
                  </a:lnTo>
                  <a:lnTo>
                    <a:pt x="238" y="330"/>
                  </a:lnTo>
                  <a:lnTo>
                    <a:pt x="240" y="328"/>
                  </a:lnTo>
                  <a:lnTo>
                    <a:pt x="252" y="318"/>
                  </a:lnTo>
                  <a:lnTo>
                    <a:pt x="256" y="316"/>
                  </a:lnTo>
                  <a:lnTo>
                    <a:pt x="260" y="316"/>
                  </a:lnTo>
                  <a:lnTo>
                    <a:pt x="267" y="316"/>
                  </a:lnTo>
                  <a:lnTo>
                    <a:pt x="269" y="314"/>
                  </a:lnTo>
                  <a:lnTo>
                    <a:pt x="267" y="312"/>
                  </a:lnTo>
                  <a:lnTo>
                    <a:pt x="267" y="308"/>
                  </a:lnTo>
                  <a:lnTo>
                    <a:pt x="267" y="308"/>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N</a:t>
              </a:r>
            </a:p>
          </p:txBody>
        </p:sp>
        <p:sp>
          <p:nvSpPr>
            <p:cNvPr id="120" name="Freeform 41">
              <a:extLst>
                <a:ext uri="{FF2B5EF4-FFF2-40B4-BE49-F238E27FC236}">
                  <a16:creationId xmlns:a16="http://schemas.microsoft.com/office/drawing/2014/main" id="{C807ADB5-CC20-94D6-7730-9938BC09B461}"/>
                </a:ext>
              </a:extLst>
            </p:cNvPr>
            <p:cNvSpPr>
              <a:spLocks/>
            </p:cNvSpPr>
            <p:nvPr/>
          </p:nvSpPr>
          <p:spPr bwMode="auto">
            <a:xfrm>
              <a:off x="3437" y="803"/>
              <a:ext cx="350" cy="597"/>
            </a:xfrm>
            <a:custGeom>
              <a:avLst/>
              <a:gdLst>
                <a:gd name="T0" fmla="*/ 342 w 350"/>
                <a:gd name="T1" fmla="*/ 367 h 597"/>
                <a:gd name="T2" fmla="*/ 338 w 350"/>
                <a:gd name="T3" fmla="*/ 345 h 597"/>
                <a:gd name="T4" fmla="*/ 340 w 350"/>
                <a:gd name="T5" fmla="*/ 308 h 597"/>
                <a:gd name="T6" fmla="*/ 324 w 350"/>
                <a:gd name="T7" fmla="*/ 154 h 597"/>
                <a:gd name="T8" fmla="*/ 305 w 350"/>
                <a:gd name="T9" fmla="*/ 60 h 597"/>
                <a:gd name="T10" fmla="*/ 293 w 350"/>
                <a:gd name="T11" fmla="*/ 39 h 597"/>
                <a:gd name="T12" fmla="*/ 283 w 350"/>
                <a:gd name="T13" fmla="*/ 15 h 597"/>
                <a:gd name="T14" fmla="*/ 240 w 350"/>
                <a:gd name="T15" fmla="*/ 5 h 597"/>
                <a:gd name="T16" fmla="*/ 111 w 350"/>
                <a:gd name="T17" fmla="*/ 15 h 597"/>
                <a:gd name="T18" fmla="*/ 53 w 350"/>
                <a:gd name="T19" fmla="*/ 19 h 597"/>
                <a:gd name="T20" fmla="*/ 53 w 350"/>
                <a:gd name="T21" fmla="*/ 19 h 597"/>
                <a:gd name="T22" fmla="*/ 74 w 350"/>
                <a:gd name="T23" fmla="*/ 39 h 597"/>
                <a:gd name="T24" fmla="*/ 90 w 350"/>
                <a:gd name="T25" fmla="*/ 54 h 597"/>
                <a:gd name="T26" fmla="*/ 98 w 350"/>
                <a:gd name="T27" fmla="*/ 68 h 597"/>
                <a:gd name="T28" fmla="*/ 88 w 350"/>
                <a:gd name="T29" fmla="*/ 97 h 597"/>
                <a:gd name="T30" fmla="*/ 86 w 350"/>
                <a:gd name="T31" fmla="*/ 111 h 597"/>
                <a:gd name="T32" fmla="*/ 66 w 350"/>
                <a:gd name="T33" fmla="*/ 125 h 597"/>
                <a:gd name="T34" fmla="*/ 27 w 350"/>
                <a:gd name="T35" fmla="*/ 150 h 597"/>
                <a:gd name="T36" fmla="*/ 41 w 350"/>
                <a:gd name="T37" fmla="*/ 175 h 597"/>
                <a:gd name="T38" fmla="*/ 31 w 350"/>
                <a:gd name="T39" fmla="*/ 209 h 597"/>
                <a:gd name="T40" fmla="*/ 6 w 350"/>
                <a:gd name="T41" fmla="*/ 230 h 597"/>
                <a:gd name="T42" fmla="*/ 10 w 350"/>
                <a:gd name="T43" fmla="*/ 244 h 597"/>
                <a:gd name="T44" fmla="*/ 0 w 350"/>
                <a:gd name="T45" fmla="*/ 273 h 597"/>
                <a:gd name="T46" fmla="*/ 8 w 350"/>
                <a:gd name="T47" fmla="*/ 302 h 597"/>
                <a:gd name="T48" fmla="*/ 14 w 350"/>
                <a:gd name="T49" fmla="*/ 316 h 597"/>
                <a:gd name="T50" fmla="*/ 66 w 350"/>
                <a:gd name="T51" fmla="*/ 359 h 597"/>
                <a:gd name="T52" fmla="*/ 76 w 350"/>
                <a:gd name="T53" fmla="*/ 380 h 597"/>
                <a:gd name="T54" fmla="*/ 80 w 350"/>
                <a:gd name="T55" fmla="*/ 392 h 597"/>
                <a:gd name="T56" fmla="*/ 107 w 350"/>
                <a:gd name="T57" fmla="*/ 396 h 597"/>
                <a:gd name="T58" fmla="*/ 127 w 350"/>
                <a:gd name="T59" fmla="*/ 414 h 597"/>
                <a:gd name="T60" fmla="*/ 115 w 350"/>
                <a:gd name="T61" fmla="*/ 457 h 597"/>
                <a:gd name="T62" fmla="*/ 123 w 350"/>
                <a:gd name="T63" fmla="*/ 480 h 597"/>
                <a:gd name="T64" fmla="*/ 141 w 350"/>
                <a:gd name="T65" fmla="*/ 494 h 597"/>
                <a:gd name="T66" fmla="*/ 172 w 350"/>
                <a:gd name="T67" fmla="*/ 509 h 597"/>
                <a:gd name="T68" fmla="*/ 193 w 350"/>
                <a:gd name="T69" fmla="*/ 529 h 597"/>
                <a:gd name="T70" fmla="*/ 203 w 350"/>
                <a:gd name="T71" fmla="*/ 554 h 597"/>
                <a:gd name="T72" fmla="*/ 201 w 350"/>
                <a:gd name="T73" fmla="*/ 572 h 597"/>
                <a:gd name="T74" fmla="*/ 219 w 350"/>
                <a:gd name="T75" fmla="*/ 595 h 597"/>
                <a:gd name="T76" fmla="*/ 219 w 350"/>
                <a:gd name="T77" fmla="*/ 587 h 597"/>
                <a:gd name="T78" fmla="*/ 227 w 350"/>
                <a:gd name="T79" fmla="*/ 595 h 597"/>
                <a:gd name="T80" fmla="*/ 229 w 350"/>
                <a:gd name="T81" fmla="*/ 591 h 597"/>
                <a:gd name="T82" fmla="*/ 250 w 350"/>
                <a:gd name="T83" fmla="*/ 568 h 597"/>
                <a:gd name="T84" fmla="*/ 287 w 350"/>
                <a:gd name="T85" fmla="*/ 564 h 597"/>
                <a:gd name="T86" fmla="*/ 293 w 350"/>
                <a:gd name="T87" fmla="*/ 543 h 597"/>
                <a:gd name="T88" fmla="*/ 309 w 350"/>
                <a:gd name="T89" fmla="*/ 519 h 597"/>
                <a:gd name="T90" fmla="*/ 318 w 350"/>
                <a:gd name="T91" fmla="*/ 498 h 597"/>
                <a:gd name="T92" fmla="*/ 318 w 350"/>
                <a:gd name="T93" fmla="*/ 496 h 597"/>
                <a:gd name="T94" fmla="*/ 315 w 350"/>
                <a:gd name="T95" fmla="*/ 486 h 597"/>
                <a:gd name="T96" fmla="*/ 313 w 350"/>
                <a:gd name="T97" fmla="*/ 472 h 597"/>
                <a:gd name="T98" fmla="*/ 318 w 350"/>
                <a:gd name="T99" fmla="*/ 466 h 597"/>
                <a:gd name="T100" fmla="*/ 318 w 350"/>
                <a:gd name="T101" fmla="*/ 455 h 597"/>
                <a:gd name="T102" fmla="*/ 320 w 350"/>
                <a:gd name="T103" fmla="*/ 447 h 597"/>
                <a:gd name="T104" fmla="*/ 326 w 350"/>
                <a:gd name="T105" fmla="*/ 443 h 597"/>
                <a:gd name="T106" fmla="*/ 330 w 350"/>
                <a:gd name="T107" fmla="*/ 439 h 597"/>
                <a:gd name="T108" fmla="*/ 334 w 350"/>
                <a:gd name="T109" fmla="*/ 427 h 597"/>
                <a:gd name="T110" fmla="*/ 342 w 350"/>
                <a:gd name="T111" fmla="*/ 421 h 597"/>
                <a:gd name="T112" fmla="*/ 342 w 350"/>
                <a:gd name="T113" fmla="*/ 410 h 597"/>
                <a:gd name="T114" fmla="*/ 346 w 350"/>
                <a:gd name="T115" fmla="*/ 40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597">
                  <a:moveTo>
                    <a:pt x="348" y="384"/>
                  </a:moveTo>
                  <a:lnTo>
                    <a:pt x="346" y="380"/>
                  </a:lnTo>
                  <a:lnTo>
                    <a:pt x="346" y="377"/>
                  </a:lnTo>
                  <a:lnTo>
                    <a:pt x="346" y="377"/>
                  </a:lnTo>
                  <a:lnTo>
                    <a:pt x="348" y="375"/>
                  </a:lnTo>
                  <a:lnTo>
                    <a:pt x="346" y="371"/>
                  </a:lnTo>
                  <a:lnTo>
                    <a:pt x="346" y="369"/>
                  </a:lnTo>
                  <a:lnTo>
                    <a:pt x="344" y="367"/>
                  </a:lnTo>
                  <a:lnTo>
                    <a:pt x="342" y="367"/>
                  </a:lnTo>
                  <a:lnTo>
                    <a:pt x="342" y="365"/>
                  </a:lnTo>
                  <a:lnTo>
                    <a:pt x="340" y="361"/>
                  </a:lnTo>
                  <a:lnTo>
                    <a:pt x="340" y="359"/>
                  </a:lnTo>
                  <a:lnTo>
                    <a:pt x="336" y="357"/>
                  </a:lnTo>
                  <a:lnTo>
                    <a:pt x="336" y="357"/>
                  </a:lnTo>
                  <a:lnTo>
                    <a:pt x="334" y="357"/>
                  </a:lnTo>
                  <a:lnTo>
                    <a:pt x="334" y="355"/>
                  </a:lnTo>
                  <a:lnTo>
                    <a:pt x="334" y="351"/>
                  </a:lnTo>
                  <a:lnTo>
                    <a:pt x="338" y="345"/>
                  </a:lnTo>
                  <a:lnTo>
                    <a:pt x="338" y="341"/>
                  </a:lnTo>
                  <a:lnTo>
                    <a:pt x="336" y="336"/>
                  </a:lnTo>
                  <a:lnTo>
                    <a:pt x="336" y="336"/>
                  </a:lnTo>
                  <a:lnTo>
                    <a:pt x="336" y="332"/>
                  </a:lnTo>
                  <a:lnTo>
                    <a:pt x="338" y="332"/>
                  </a:lnTo>
                  <a:lnTo>
                    <a:pt x="342" y="328"/>
                  </a:lnTo>
                  <a:lnTo>
                    <a:pt x="342" y="328"/>
                  </a:lnTo>
                  <a:lnTo>
                    <a:pt x="342" y="324"/>
                  </a:lnTo>
                  <a:lnTo>
                    <a:pt x="340" y="308"/>
                  </a:lnTo>
                  <a:lnTo>
                    <a:pt x="338" y="293"/>
                  </a:lnTo>
                  <a:lnTo>
                    <a:pt x="336" y="277"/>
                  </a:lnTo>
                  <a:lnTo>
                    <a:pt x="334" y="246"/>
                  </a:lnTo>
                  <a:lnTo>
                    <a:pt x="332" y="232"/>
                  </a:lnTo>
                  <a:lnTo>
                    <a:pt x="330" y="216"/>
                  </a:lnTo>
                  <a:lnTo>
                    <a:pt x="328" y="201"/>
                  </a:lnTo>
                  <a:lnTo>
                    <a:pt x="326" y="185"/>
                  </a:lnTo>
                  <a:lnTo>
                    <a:pt x="326" y="170"/>
                  </a:lnTo>
                  <a:lnTo>
                    <a:pt x="324" y="154"/>
                  </a:lnTo>
                  <a:lnTo>
                    <a:pt x="322" y="140"/>
                  </a:lnTo>
                  <a:lnTo>
                    <a:pt x="320" y="123"/>
                  </a:lnTo>
                  <a:lnTo>
                    <a:pt x="318" y="109"/>
                  </a:lnTo>
                  <a:lnTo>
                    <a:pt x="318" y="95"/>
                  </a:lnTo>
                  <a:lnTo>
                    <a:pt x="315" y="78"/>
                  </a:lnTo>
                  <a:lnTo>
                    <a:pt x="315" y="78"/>
                  </a:lnTo>
                  <a:lnTo>
                    <a:pt x="309" y="72"/>
                  </a:lnTo>
                  <a:lnTo>
                    <a:pt x="307" y="68"/>
                  </a:lnTo>
                  <a:lnTo>
                    <a:pt x="305" y="60"/>
                  </a:lnTo>
                  <a:lnTo>
                    <a:pt x="301" y="56"/>
                  </a:lnTo>
                  <a:lnTo>
                    <a:pt x="299" y="45"/>
                  </a:lnTo>
                  <a:lnTo>
                    <a:pt x="299" y="45"/>
                  </a:lnTo>
                  <a:lnTo>
                    <a:pt x="299" y="43"/>
                  </a:lnTo>
                  <a:lnTo>
                    <a:pt x="297" y="41"/>
                  </a:lnTo>
                  <a:lnTo>
                    <a:pt x="297" y="41"/>
                  </a:lnTo>
                  <a:lnTo>
                    <a:pt x="295" y="39"/>
                  </a:lnTo>
                  <a:lnTo>
                    <a:pt x="293" y="39"/>
                  </a:lnTo>
                  <a:lnTo>
                    <a:pt x="293" y="39"/>
                  </a:lnTo>
                  <a:lnTo>
                    <a:pt x="293" y="39"/>
                  </a:lnTo>
                  <a:lnTo>
                    <a:pt x="291" y="37"/>
                  </a:lnTo>
                  <a:lnTo>
                    <a:pt x="291" y="37"/>
                  </a:lnTo>
                  <a:lnTo>
                    <a:pt x="291" y="35"/>
                  </a:lnTo>
                  <a:lnTo>
                    <a:pt x="291" y="35"/>
                  </a:lnTo>
                  <a:lnTo>
                    <a:pt x="287" y="29"/>
                  </a:lnTo>
                  <a:lnTo>
                    <a:pt x="285" y="25"/>
                  </a:lnTo>
                  <a:lnTo>
                    <a:pt x="285" y="23"/>
                  </a:lnTo>
                  <a:lnTo>
                    <a:pt x="283" y="15"/>
                  </a:lnTo>
                  <a:lnTo>
                    <a:pt x="283" y="13"/>
                  </a:lnTo>
                  <a:lnTo>
                    <a:pt x="283" y="13"/>
                  </a:lnTo>
                  <a:lnTo>
                    <a:pt x="283" y="11"/>
                  </a:lnTo>
                  <a:lnTo>
                    <a:pt x="283" y="11"/>
                  </a:lnTo>
                  <a:lnTo>
                    <a:pt x="283" y="0"/>
                  </a:lnTo>
                  <a:lnTo>
                    <a:pt x="283" y="0"/>
                  </a:lnTo>
                  <a:lnTo>
                    <a:pt x="268" y="0"/>
                  </a:lnTo>
                  <a:lnTo>
                    <a:pt x="254" y="2"/>
                  </a:lnTo>
                  <a:lnTo>
                    <a:pt x="240" y="5"/>
                  </a:lnTo>
                  <a:lnTo>
                    <a:pt x="225" y="5"/>
                  </a:lnTo>
                  <a:lnTo>
                    <a:pt x="211" y="7"/>
                  </a:lnTo>
                  <a:lnTo>
                    <a:pt x="197" y="9"/>
                  </a:lnTo>
                  <a:lnTo>
                    <a:pt x="182" y="9"/>
                  </a:lnTo>
                  <a:lnTo>
                    <a:pt x="168" y="11"/>
                  </a:lnTo>
                  <a:lnTo>
                    <a:pt x="154" y="11"/>
                  </a:lnTo>
                  <a:lnTo>
                    <a:pt x="139" y="13"/>
                  </a:lnTo>
                  <a:lnTo>
                    <a:pt x="125" y="15"/>
                  </a:lnTo>
                  <a:lnTo>
                    <a:pt x="111" y="15"/>
                  </a:lnTo>
                  <a:lnTo>
                    <a:pt x="96" y="17"/>
                  </a:lnTo>
                  <a:lnTo>
                    <a:pt x="82" y="17"/>
                  </a:lnTo>
                  <a:lnTo>
                    <a:pt x="68"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1" y="23"/>
                  </a:lnTo>
                  <a:lnTo>
                    <a:pt x="53" y="23"/>
                  </a:lnTo>
                  <a:lnTo>
                    <a:pt x="55" y="25"/>
                  </a:lnTo>
                  <a:lnTo>
                    <a:pt x="57" y="25"/>
                  </a:lnTo>
                  <a:lnTo>
                    <a:pt x="57" y="27"/>
                  </a:lnTo>
                  <a:lnTo>
                    <a:pt x="62" y="29"/>
                  </a:lnTo>
                  <a:lnTo>
                    <a:pt x="68" y="33"/>
                  </a:lnTo>
                  <a:lnTo>
                    <a:pt x="72" y="35"/>
                  </a:lnTo>
                  <a:lnTo>
                    <a:pt x="74" y="39"/>
                  </a:lnTo>
                  <a:lnTo>
                    <a:pt x="74" y="37"/>
                  </a:lnTo>
                  <a:lnTo>
                    <a:pt x="74" y="43"/>
                  </a:lnTo>
                  <a:lnTo>
                    <a:pt x="74" y="45"/>
                  </a:lnTo>
                  <a:lnTo>
                    <a:pt x="78" y="48"/>
                  </a:lnTo>
                  <a:lnTo>
                    <a:pt x="80" y="50"/>
                  </a:lnTo>
                  <a:lnTo>
                    <a:pt x="80" y="50"/>
                  </a:lnTo>
                  <a:lnTo>
                    <a:pt x="82" y="50"/>
                  </a:lnTo>
                  <a:lnTo>
                    <a:pt x="88" y="54"/>
                  </a:lnTo>
                  <a:lnTo>
                    <a:pt x="90" y="54"/>
                  </a:lnTo>
                  <a:lnTo>
                    <a:pt x="92" y="58"/>
                  </a:lnTo>
                  <a:lnTo>
                    <a:pt x="92" y="58"/>
                  </a:lnTo>
                  <a:lnTo>
                    <a:pt x="94" y="58"/>
                  </a:lnTo>
                  <a:lnTo>
                    <a:pt x="94" y="58"/>
                  </a:lnTo>
                  <a:lnTo>
                    <a:pt x="94" y="60"/>
                  </a:lnTo>
                  <a:lnTo>
                    <a:pt x="94" y="62"/>
                  </a:lnTo>
                  <a:lnTo>
                    <a:pt x="96" y="62"/>
                  </a:lnTo>
                  <a:lnTo>
                    <a:pt x="98" y="66"/>
                  </a:lnTo>
                  <a:lnTo>
                    <a:pt x="98" y="68"/>
                  </a:lnTo>
                  <a:lnTo>
                    <a:pt x="98" y="72"/>
                  </a:lnTo>
                  <a:lnTo>
                    <a:pt x="96" y="76"/>
                  </a:lnTo>
                  <a:lnTo>
                    <a:pt x="96" y="82"/>
                  </a:lnTo>
                  <a:lnTo>
                    <a:pt x="96" y="89"/>
                  </a:lnTo>
                  <a:lnTo>
                    <a:pt x="94" y="91"/>
                  </a:lnTo>
                  <a:lnTo>
                    <a:pt x="94" y="91"/>
                  </a:lnTo>
                  <a:lnTo>
                    <a:pt x="92" y="93"/>
                  </a:lnTo>
                  <a:lnTo>
                    <a:pt x="90" y="95"/>
                  </a:lnTo>
                  <a:lnTo>
                    <a:pt x="88" y="97"/>
                  </a:lnTo>
                  <a:lnTo>
                    <a:pt x="88" y="99"/>
                  </a:lnTo>
                  <a:lnTo>
                    <a:pt x="86" y="101"/>
                  </a:lnTo>
                  <a:lnTo>
                    <a:pt x="86" y="103"/>
                  </a:lnTo>
                  <a:lnTo>
                    <a:pt x="86" y="105"/>
                  </a:lnTo>
                  <a:lnTo>
                    <a:pt x="84" y="107"/>
                  </a:lnTo>
                  <a:lnTo>
                    <a:pt x="84" y="107"/>
                  </a:lnTo>
                  <a:lnTo>
                    <a:pt x="86" y="109"/>
                  </a:lnTo>
                  <a:lnTo>
                    <a:pt x="86" y="109"/>
                  </a:lnTo>
                  <a:lnTo>
                    <a:pt x="86" y="111"/>
                  </a:lnTo>
                  <a:lnTo>
                    <a:pt x="86" y="113"/>
                  </a:lnTo>
                  <a:lnTo>
                    <a:pt x="86" y="113"/>
                  </a:lnTo>
                  <a:lnTo>
                    <a:pt x="84" y="115"/>
                  </a:lnTo>
                  <a:lnTo>
                    <a:pt x="80" y="117"/>
                  </a:lnTo>
                  <a:lnTo>
                    <a:pt x="80" y="117"/>
                  </a:lnTo>
                  <a:lnTo>
                    <a:pt x="80" y="119"/>
                  </a:lnTo>
                  <a:lnTo>
                    <a:pt x="78" y="121"/>
                  </a:lnTo>
                  <a:lnTo>
                    <a:pt x="74" y="121"/>
                  </a:lnTo>
                  <a:lnTo>
                    <a:pt x="66" y="125"/>
                  </a:lnTo>
                  <a:lnTo>
                    <a:pt x="66" y="125"/>
                  </a:lnTo>
                  <a:lnTo>
                    <a:pt x="62" y="130"/>
                  </a:lnTo>
                  <a:lnTo>
                    <a:pt x="62" y="132"/>
                  </a:lnTo>
                  <a:lnTo>
                    <a:pt x="57" y="132"/>
                  </a:lnTo>
                  <a:lnTo>
                    <a:pt x="33" y="136"/>
                  </a:lnTo>
                  <a:lnTo>
                    <a:pt x="31" y="138"/>
                  </a:lnTo>
                  <a:lnTo>
                    <a:pt x="29" y="142"/>
                  </a:lnTo>
                  <a:lnTo>
                    <a:pt x="27" y="146"/>
                  </a:lnTo>
                  <a:lnTo>
                    <a:pt x="27" y="150"/>
                  </a:lnTo>
                  <a:lnTo>
                    <a:pt x="27" y="156"/>
                  </a:lnTo>
                  <a:lnTo>
                    <a:pt x="27" y="158"/>
                  </a:lnTo>
                  <a:lnTo>
                    <a:pt x="27" y="160"/>
                  </a:lnTo>
                  <a:lnTo>
                    <a:pt x="29" y="162"/>
                  </a:lnTo>
                  <a:lnTo>
                    <a:pt x="31" y="162"/>
                  </a:lnTo>
                  <a:lnTo>
                    <a:pt x="31" y="164"/>
                  </a:lnTo>
                  <a:lnTo>
                    <a:pt x="35" y="166"/>
                  </a:lnTo>
                  <a:lnTo>
                    <a:pt x="39" y="170"/>
                  </a:lnTo>
                  <a:lnTo>
                    <a:pt x="41" y="175"/>
                  </a:lnTo>
                  <a:lnTo>
                    <a:pt x="41" y="179"/>
                  </a:lnTo>
                  <a:lnTo>
                    <a:pt x="41" y="183"/>
                  </a:lnTo>
                  <a:lnTo>
                    <a:pt x="39" y="187"/>
                  </a:lnTo>
                  <a:lnTo>
                    <a:pt x="33" y="197"/>
                  </a:lnTo>
                  <a:lnTo>
                    <a:pt x="31" y="199"/>
                  </a:lnTo>
                  <a:lnTo>
                    <a:pt x="31" y="201"/>
                  </a:lnTo>
                  <a:lnTo>
                    <a:pt x="31" y="203"/>
                  </a:lnTo>
                  <a:lnTo>
                    <a:pt x="31" y="207"/>
                  </a:lnTo>
                  <a:lnTo>
                    <a:pt x="31" y="209"/>
                  </a:lnTo>
                  <a:lnTo>
                    <a:pt x="29" y="216"/>
                  </a:lnTo>
                  <a:lnTo>
                    <a:pt x="27" y="218"/>
                  </a:lnTo>
                  <a:lnTo>
                    <a:pt x="25" y="220"/>
                  </a:lnTo>
                  <a:lnTo>
                    <a:pt x="21" y="222"/>
                  </a:lnTo>
                  <a:lnTo>
                    <a:pt x="18" y="222"/>
                  </a:lnTo>
                  <a:lnTo>
                    <a:pt x="14" y="224"/>
                  </a:lnTo>
                  <a:lnTo>
                    <a:pt x="12" y="226"/>
                  </a:lnTo>
                  <a:lnTo>
                    <a:pt x="8" y="228"/>
                  </a:lnTo>
                  <a:lnTo>
                    <a:pt x="6" y="230"/>
                  </a:lnTo>
                  <a:lnTo>
                    <a:pt x="6" y="230"/>
                  </a:lnTo>
                  <a:lnTo>
                    <a:pt x="6" y="232"/>
                  </a:lnTo>
                  <a:lnTo>
                    <a:pt x="6" y="232"/>
                  </a:lnTo>
                  <a:lnTo>
                    <a:pt x="6" y="234"/>
                  </a:lnTo>
                  <a:lnTo>
                    <a:pt x="8" y="234"/>
                  </a:lnTo>
                  <a:lnTo>
                    <a:pt x="10" y="236"/>
                  </a:lnTo>
                  <a:lnTo>
                    <a:pt x="10" y="238"/>
                  </a:lnTo>
                  <a:lnTo>
                    <a:pt x="10" y="242"/>
                  </a:lnTo>
                  <a:lnTo>
                    <a:pt x="10" y="244"/>
                  </a:lnTo>
                  <a:lnTo>
                    <a:pt x="10" y="246"/>
                  </a:lnTo>
                  <a:lnTo>
                    <a:pt x="10" y="248"/>
                  </a:lnTo>
                  <a:lnTo>
                    <a:pt x="10" y="248"/>
                  </a:lnTo>
                  <a:lnTo>
                    <a:pt x="6" y="250"/>
                  </a:lnTo>
                  <a:lnTo>
                    <a:pt x="2" y="252"/>
                  </a:lnTo>
                  <a:lnTo>
                    <a:pt x="2" y="259"/>
                  </a:lnTo>
                  <a:lnTo>
                    <a:pt x="0" y="265"/>
                  </a:lnTo>
                  <a:lnTo>
                    <a:pt x="0" y="269"/>
                  </a:lnTo>
                  <a:lnTo>
                    <a:pt x="0" y="273"/>
                  </a:lnTo>
                  <a:lnTo>
                    <a:pt x="4" y="291"/>
                  </a:lnTo>
                  <a:lnTo>
                    <a:pt x="4" y="291"/>
                  </a:lnTo>
                  <a:lnTo>
                    <a:pt x="6" y="293"/>
                  </a:lnTo>
                  <a:lnTo>
                    <a:pt x="8" y="296"/>
                  </a:lnTo>
                  <a:lnTo>
                    <a:pt x="8" y="296"/>
                  </a:lnTo>
                  <a:lnTo>
                    <a:pt x="8" y="298"/>
                  </a:lnTo>
                  <a:lnTo>
                    <a:pt x="8" y="298"/>
                  </a:lnTo>
                  <a:lnTo>
                    <a:pt x="8" y="300"/>
                  </a:lnTo>
                  <a:lnTo>
                    <a:pt x="8" y="302"/>
                  </a:lnTo>
                  <a:lnTo>
                    <a:pt x="8" y="304"/>
                  </a:lnTo>
                  <a:lnTo>
                    <a:pt x="8" y="306"/>
                  </a:lnTo>
                  <a:lnTo>
                    <a:pt x="10" y="306"/>
                  </a:lnTo>
                  <a:lnTo>
                    <a:pt x="10" y="308"/>
                  </a:lnTo>
                  <a:lnTo>
                    <a:pt x="10" y="310"/>
                  </a:lnTo>
                  <a:lnTo>
                    <a:pt x="14" y="310"/>
                  </a:lnTo>
                  <a:lnTo>
                    <a:pt x="14" y="312"/>
                  </a:lnTo>
                  <a:lnTo>
                    <a:pt x="14" y="314"/>
                  </a:lnTo>
                  <a:lnTo>
                    <a:pt x="14" y="316"/>
                  </a:lnTo>
                  <a:lnTo>
                    <a:pt x="16" y="318"/>
                  </a:lnTo>
                  <a:lnTo>
                    <a:pt x="18" y="322"/>
                  </a:lnTo>
                  <a:lnTo>
                    <a:pt x="41" y="339"/>
                  </a:lnTo>
                  <a:lnTo>
                    <a:pt x="43" y="341"/>
                  </a:lnTo>
                  <a:lnTo>
                    <a:pt x="43" y="343"/>
                  </a:lnTo>
                  <a:lnTo>
                    <a:pt x="43" y="345"/>
                  </a:lnTo>
                  <a:lnTo>
                    <a:pt x="45" y="347"/>
                  </a:lnTo>
                  <a:lnTo>
                    <a:pt x="45" y="347"/>
                  </a:lnTo>
                  <a:lnTo>
                    <a:pt x="66" y="359"/>
                  </a:lnTo>
                  <a:lnTo>
                    <a:pt x="68" y="361"/>
                  </a:lnTo>
                  <a:lnTo>
                    <a:pt x="70" y="363"/>
                  </a:lnTo>
                  <a:lnTo>
                    <a:pt x="74" y="367"/>
                  </a:lnTo>
                  <a:lnTo>
                    <a:pt x="74" y="369"/>
                  </a:lnTo>
                  <a:lnTo>
                    <a:pt x="76" y="371"/>
                  </a:lnTo>
                  <a:lnTo>
                    <a:pt x="76" y="373"/>
                  </a:lnTo>
                  <a:lnTo>
                    <a:pt x="76" y="375"/>
                  </a:lnTo>
                  <a:lnTo>
                    <a:pt x="76" y="377"/>
                  </a:lnTo>
                  <a:lnTo>
                    <a:pt x="76" y="380"/>
                  </a:lnTo>
                  <a:lnTo>
                    <a:pt x="78" y="382"/>
                  </a:lnTo>
                  <a:lnTo>
                    <a:pt x="78" y="382"/>
                  </a:lnTo>
                  <a:lnTo>
                    <a:pt x="78" y="384"/>
                  </a:lnTo>
                  <a:lnTo>
                    <a:pt x="78" y="384"/>
                  </a:lnTo>
                  <a:lnTo>
                    <a:pt x="78" y="386"/>
                  </a:lnTo>
                  <a:lnTo>
                    <a:pt x="78" y="388"/>
                  </a:lnTo>
                  <a:lnTo>
                    <a:pt x="78" y="388"/>
                  </a:lnTo>
                  <a:lnTo>
                    <a:pt x="80" y="390"/>
                  </a:lnTo>
                  <a:lnTo>
                    <a:pt x="80" y="392"/>
                  </a:lnTo>
                  <a:lnTo>
                    <a:pt x="80" y="394"/>
                  </a:lnTo>
                  <a:lnTo>
                    <a:pt x="84" y="400"/>
                  </a:lnTo>
                  <a:lnTo>
                    <a:pt x="86" y="404"/>
                  </a:lnTo>
                  <a:lnTo>
                    <a:pt x="90" y="404"/>
                  </a:lnTo>
                  <a:lnTo>
                    <a:pt x="94" y="402"/>
                  </a:lnTo>
                  <a:lnTo>
                    <a:pt x="98" y="396"/>
                  </a:lnTo>
                  <a:lnTo>
                    <a:pt x="102" y="394"/>
                  </a:lnTo>
                  <a:lnTo>
                    <a:pt x="105" y="394"/>
                  </a:lnTo>
                  <a:lnTo>
                    <a:pt x="107" y="396"/>
                  </a:lnTo>
                  <a:lnTo>
                    <a:pt x="109" y="396"/>
                  </a:lnTo>
                  <a:lnTo>
                    <a:pt x="111" y="396"/>
                  </a:lnTo>
                  <a:lnTo>
                    <a:pt x="115" y="398"/>
                  </a:lnTo>
                  <a:lnTo>
                    <a:pt x="125" y="402"/>
                  </a:lnTo>
                  <a:lnTo>
                    <a:pt x="127" y="404"/>
                  </a:lnTo>
                  <a:lnTo>
                    <a:pt x="129" y="406"/>
                  </a:lnTo>
                  <a:lnTo>
                    <a:pt x="129" y="408"/>
                  </a:lnTo>
                  <a:lnTo>
                    <a:pt x="127" y="412"/>
                  </a:lnTo>
                  <a:lnTo>
                    <a:pt x="127" y="414"/>
                  </a:lnTo>
                  <a:lnTo>
                    <a:pt x="125" y="414"/>
                  </a:lnTo>
                  <a:lnTo>
                    <a:pt x="125" y="416"/>
                  </a:lnTo>
                  <a:lnTo>
                    <a:pt x="125" y="418"/>
                  </a:lnTo>
                  <a:lnTo>
                    <a:pt x="125" y="423"/>
                  </a:lnTo>
                  <a:lnTo>
                    <a:pt x="125" y="429"/>
                  </a:lnTo>
                  <a:lnTo>
                    <a:pt x="125" y="431"/>
                  </a:lnTo>
                  <a:lnTo>
                    <a:pt x="121" y="439"/>
                  </a:lnTo>
                  <a:lnTo>
                    <a:pt x="117" y="451"/>
                  </a:lnTo>
                  <a:lnTo>
                    <a:pt x="115" y="457"/>
                  </a:lnTo>
                  <a:lnTo>
                    <a:pt x="113" y="461"/>
                  </a:lnTo>
                  <a:lnTo>
                    <a:pt x="113" y="466"/>
                  </a:lnTo>
                  <a:lnTo>
                    <a:pt x="115" y="470"/>
                  </a:lnTo>
                  <a:lnTo>
                    <a:pt x="115" y="472"/>
                  </a:lnTo>
                  <a:lnTo>
                    <a:pt x="115" y="474"/>
                  </a:lnTo>
                  <a:lnTo>
                    <a:pt x="117" y="474"/>
                  </a:lnTo>
                  <a:lnTo>
                    <a:pt x="117" y="476"/>
                  </a:lnTo>
                  <a:lnTo>
                    <a:pt x="121" y="478"/>
                  </a:lnTo>
                  <a:lnTo>
                    <a:pt x="123" y="480"/>
                  </a:lnTo>
                  <a:lnTo>
                    <a:pt x="125" y="482"/>
                  </a:lnTo>
                  <a:lnTo>
                    <a:pt x="125" y="482"/>
                  </a:lnTo>
                  <a:lnTo>
                    <a:pt x="127" y="484"/>
                  </a:lnTo>
                  <a:lnTo>
                    <a:pt x="127" y="486"/>
                  </a:lnTo>
                  <a:lnTo>
                    <a:pt x="131" y="486"/>
                  </a:lnTo>
                  <a:lnTo>
                    <a:pt x="133" y="488"/>
                  </a:lnTo>
                  <a:lnTo>
                    <a:pt x="135" y="492"/>
                  </a:lnTo>
                  <a:lnTo>
                    <a:pt x="139" y="494"/>
                  </a:lnTo>
                  <a:lnTo>
                    <a:pt x="141" y="494"/>
                  </a:lnTo>
                  <a:lnTo>
                    <a:pt x="148" y="498"/>
                  </a:lnTo>
                  <a:lnTo>
                    <a:pt x="148" y="498"/>
                  </a:lnTo>
                  <a:lnTo>
                    <a:pt x="152" y="498"/>
                  </a:lnTo>
                  <a:lnTo>
                    <a:pt x="152" y="498"/>
                  </a:lnTo>
                  <a:lnTo>
                    <a:pt x="156" y="498"/>
                  </a:lnTo>
                  <a:lnTo>
                    <a:pt x="158" y="500"/>
                  </a:lnTo>
                  <a:lnTo>
                    <a:pt x="164" y="505"/>
                  </a:lnTo>
                  <a:lnTo>
                    <a:pt x="166" y="507"/>
                  </a:lnTo>
                  <a:lnTo>
                    <a:pt x="172" y="509"/>
                  </a:lnTo>
                  <a:lnTo>
                    <a:pt x="174" y="511"/>
                  </a:lnTo>
                  <a:lnTo>
                    <a:pt x="176" y="513"/>
                  </a:lnTo>
                  <a:lnTo>
                    <a:pt x="178" y="519"/>
                  </a:lnTo>
                  <a:lnTo>
                    <a:pt x="180" y="521"/>
                  </a:lnTo>
                  <a:lnTo>
                    <a:pt x="191" y="523"/>
                  </a:lnTo>
                  <a:lnTo>
                    <a:pt x="193" y="525"/>
                  </a:lnTo>
                  <a:lnTo>
                    <a:pt x="193" y="527"/>
                  </a:lnTo>
                  <a:lnTo>
                    <a:pt x="193" y="527"/>
                  </a:lnTo>
                  <a:lnTo>
                    <a:pt x="193" y="529"/>
                  </a:lnTo>
                  <a:lnTo>
                    <a:pt x="193" y="531"/>
                  </a:lnTo>
                  <a:lnTo>
                    <a:pt x="193" y="533"/>
                  </a:lnTo>
                  <a:lnTo>
                    <a:pt x="193" y="535"/>
                  </a:lnTo>
                  <a:lnTo>
                    <a:pt x="193" y="537"/>
                  </a:lnTo>
                  <a:lnTo>
                    <a:pt x="193" y="539"/>
                  </a:lnTo>
                  <a:lnTo>
                    <a:pt x="197" y="543"/>
                  </a:lnTo>
                  <a:lnTo>
                    <a:pt x="199" y="546"/>
                  </a:lnTo>
                  <a:lnTo>
                    <a:pt x="201" y="550"/>
                  </a:lnTo>
                  <a:lnTo>
                    <a:pt x="203" y="554"/>
                  </a:lnTo>
                  <a:lnTo>
                    <a:pt x="201" y="558"/>
                  </a:lnTo>
                  <a:lnTo>
                    <a:pt x="199" y="562"/>
                  </a:lnTo>
                  <a:lnTo>
                    <a:pt x="197" y="564"/>
                  </a:lnTo>
                  <a:lnTo>
                    <a:pt x="197" y="568"/>
                  </a:lnTo>
                  <a:lnTo>
                    <a:pt x="197" y="570"/>
                  </a:lnTo>
                  <a:lnTo>
                    <a:pt x="199" y="570"/>
                  </a:lnTo>
                  <a:lnTo>
                    <a:pt x="199" y="570"/>
                  </a:lnTo>
                  <a:lnTo>
                    <a:pt x="201" y="570"/>
                  </a:lnTo>
                  <a:lnTo>
                    <a:pt x="201" y="572"/>
                  </a:lnTo>
                  <a:lnTo>
                    <a:pt x="201" y="574"/>
                  </a:lnTo>
                  <a:lnTo>
                    <a:pt x="203" y="576"/>
                  </a:lnTo>
                  <a:lnTo>
                    <a:pt x="205" y="578"/>
                  </a:lnTo>
                  <a:lnTo>
                    <a:pt x="209" y="584"/>
                  </a:lnTo>
                  <a:lnTo>
                    <a:pt x="209" y="587"/>
                  </a:lnTo>
                  <a:lnTo>
                    <a:pt x="209" y="591"/>
                  </a:lnTo>
                  <a:lnTo>
                    <a:pt x="211" y="591"/>
                  </a:lnTo>
                  <a:lnTo>
                    <a:pt x="215" y="595"/>
                  </a:lnTo>
                  <a:lnTo>
                    <a:pt x="219" y="595"/>
                  </a:lnTo>
                  <a:lnTo>
                    <a:pt x="221" y="595"/>
                  </a:lnTo>
                  <a:lnTo>
                    <a:pt x="221" y="595"/>
                  </a:lnTo>
                  <a:lnTo>
                    <a:pt x="221" y="593"/>
                  </a:lnTo>
                  <a:lnTo>
                    <a:pt x="219" y="593"/>
                  </a:lnTo>
                  <a:lnTo>
                    <a:pt x="219" y="591"/>
                  </a:lnTo>
                  <a:lnTo>
                    <a:pt x="217" y="591"/>
                  </a:lnTo>
                  <a:lnTo>
                    <a:pt x="217" y="589"/>
                  </a:lnTo>
                  <a:lnTo>
                    <a:pt x="217" y="587"/>
                  </a:lnTo>
                  <a:lnTo>
                    <a:pt x="219" y="587"/>
                  </a:lnTo>
                  <a:lnTo>
                    <a:pt x="221" y="587"/>
                  </a:lnTo>
                  <a:lnTo>
                    <a:pt x="221" y="587"/>
                  </a:lnTo>
                  <a:lnTo>
                    <a:pt x="221" y="589"/>
                  </a:lnTo>
                  <a:lnTo>
                    <a:pt x="223" y="591"/>
                  </a:lnTo>
                  <a:lnTo>
                    <a:pt x="223" y="591"/>
                  </a:lnTo>
                  <a:lnTo>
                    <a:pt x="225" y="593"/>
                  </a:lnTo>
                  <a:lnTo>
                    <a:pt x="225" y="593"/>
                  </a:lnTo>
                  <a:lnTo>
                    <a:pt x="227" y="595"/>
                  </a:lnTo>
                  <a:lnTo>
                    <a:pt x="227" y="595"/>
                  </a:lnTo>
                  <a:lnTo>
                    <a:pt x="227" y="597"/>
                  </a:lnTo>
                  <a:lnTo>
                    <a:pt x="227" y="597"/>
                  </a:lnTo>
                  <a:lnTo>
                    <a:pt x="229" y="597"/>
                  </a:lnTo>
                  <a:lnTo>
                    <a:pt x="229" y="597"/>
                  </a:lnTo>
                  <a:lnTo>
                    <a:pt x="231" y="597"/>
                  </a:lnTo>
                  <a:lnTo>
                    <a:pt x="231" y="597"/>
                  </a:lnTo>
                  <a:lnTo>
                    <a:pt x="234" y="597"/>
                  </a:lnTo>
                  <a:lnTo>
                    <a:pt x="229" y="593"/>
                  </a:lnTo>
                  <a:lnTo>
                    <a:pt x="229" y="591"/>
                  </a:lnTo>
                  <a:lnTo>
                    <a:pt x="227" y="589"/>
                  </a:lnTo>
                  <a:lnTo>
                    <a:pt x="229" y="584"/>
                  </a:lnTo>
                  <a:lnTo>
                    <a:pt x="231" y="580"/>
                  </a:lnTo>
                  <a:lnTo>
                    <a:pt x="236" y="576"/>
                  </a:lnTo>
                  <a:lnTo>
                    <a:pt x="236" y="574"/>
                  </a:lnTo>
                  <a:lnTo>
                    <a:pt x="238" y="572"/>
                  </a:lnTo>
                  <a:lnTo>
                    <a:pt x="242" y="570"/>
                  </a:lnTo>
                  <a:lnTo>
                    <a:pt x="246" y="568"/>
                  </a:lnTo>
                  <a:lnTo>
                    <a:pt x="250" y="568"/>
                  </a:lnTo>
                  <a:lnTo>
                    <a:pt x="275" y="578"/>
                  </a:lnTo>
                  <a:lnTo>
                    <a:pt x="281" y="580"/>
                  </a:lnTo>
                  <a:lnTo>
                    <a:pt x="285" y="582"/>
                  </a:lnTo>
                  <a:lnTo>
                    <a:pt x="289" y="580"/>
                  </a:lnTo>
                  <a:lnTo>
                    <a:pt x="291" y="578"/>
                  </a:lnTo>
                  <a:lnTo>
                    <a:pt x="291" y="574"/>
                  </a:lnTo>
                  <a:lnTo>
                    <a:pt x="291" y="570"/>
                  </a:lnTo>
                  <a:lnTo>
                    <a:pt x="289" y="568"/>
                  </a:lnTo>
                  <a:lnTo>
                    <a:pt x="287" y="564"/>
                  </a:lnTo>
                  <a:lnTo>
                    <a:pt x="285" y="560"/>
                  </a:lnTo>
                  <a:lnTo>
                    <a:pt x="283" y="556"/>
                  </a:lnTo>
                  <a:lnTo>
                    <a:pt x="283" y="552"/>
                  </a:lnTo>
                  <a:lnTo>
                    <a:pt x="285" y="548"/>
                  </a:lnTo>
                  <a:lnTo>
                    <a:pt x="285" y="546"/>
                  </a:lnTo>
                  <a:lnTo>
                    <a:pt x="285" y="546"/>
                  </a:lnTo>
                  <a:lnTo>
                    <a:pt x="287" y="543"/>
                  </a:lnTo>
                  <a:lnTo>
                    <a:pt x="289" y="543"/>
                  </a:lnTo>
                  <a:lnTo>
                    <a:pt x="293" y="543"/>
                  </a:lnTo>
                  <a:lnTo>
                    <a:pt x="295" y="543"/>
                  </a:lnTo>
                  <a:lnTo>
                    <a:pt x="299" y="539"/>
                  </a:lnTo>
                  <a:lnTo>
                    <a:pt x="313" y="535"/>
                  </a:lnTo>
                  <a:lnTo>
                    <a:pt x="318" y="533"/>
                  </a:lnTo>
                  <a:lnTo>
                    <a:pt x="318" y="529"/>
                  </a:lnTo>
                  <a:lnTo>
                    <a:pt x="315" y="525"/>
                  </a:lnTo>
                  <a:lnTo>
                    <a:pt x="311" y="523"/>
                  </a:lnTo>
                  <a:lnTo>
                    <a:pt x="311" y="523"/>
                  </a:lnTo>
                  <a:lnTo>
                    <a:pt x="309" y="519"/>
                  </a:lnTo>
                  <a:lnTo>
                    <a:pt x="309" y="517"/>
                  </a:lnTo>
                  <a:lnTo>
                    <a:pt x="309" y="515"/>
                  </a:lnTo>
                  <a:lnTo>
                    <a:pt x="309" y="513"/>
                  </a:lnTo>
                  <a:lnTo>
                    <a:pt x="311" y="511"/>
                  </a:lnTo>
                  <a:lnTo>
                    <a:pt x="315" y="507"/>
                  </a:lnTo>
                  <a:lnTo>
                    <a:pt x="318" y="505"/>
                  </a:lnTo>
                  <a:lnTo>
                    <a:pt x="318" y="502"/>
                  </a:lnTo>
                  <a:lnTo>
                    <a:pt x="318" y="500"/>
                  </a:lnTo>
                  <a:lnTo>
                    <a:pt x="318" y="498"/>
                  </a:lnTo>
                  <a:lnTo>
                    <a:pt x="315" y="498"/>
                  </a:lnTo>
                  <a:lnTo>
                    <a:pt x="313" y="498"/>
                  </a:lnTo>
                  <a:lnTo>
                    <a:pt x="313" y="498"/>
                  </a:lnTo>
                  <a:lnTo>
                    <a:pt x="313" y="496"/>
                  </a:lnTo>
                  <a:lnTo>
                    <a:pt x="313" y="496"/>
                  </a:lnTo>
                  <a:lnTo>
                    <a:pt x="313" y="496"/>
                  </a:lnTo>
                  <a:lnTo>
                    <a:pt x="315" y="496"/>
                  </a:lnTo>
                  <a:lnTo>
                    <a:pt x="318" y="496"/>
                  </a:lnTo>
                  <a:lnTo>
                    <a:pt x="318" y="496"/>
                  </a:lnTo>
                  <a:lnTo>
                    <a:pt x="318" y="494"/>
                  </a:lnTo>
                  <a:lnTo>
                    <a:pt x="311" y="490"/>
                  </a:lnTo>
                  <a:lnTo>
                    <a:pt x="311" y="490"/>
                  </a:lnTo>
                  <a:lnTo>
                    <a:pt x="313" y="490"/>
                  </a:lnTo>
                  <a:lnTo>
                    <a:pt x="315" y="490"/>
                  </a:lnTo>
                  <a:lnTo>
                    <a:pt x="315" y="488"/>
                  </a:lnTo>
                  <a:lnTo>
                    <a:pt x="318" y="488"/>
                  </a:lnTo>
                  <a:lnTo>
                    <a:pt x="315" y="486"/>
                  </a:lnTo>
                  <a:lnTo>
                    <a:pt x="315" y="486"/>
                  </a:lnTo>
                  <a:lnTo>
                    <a:pt x="315" y="484"/>
                  </a:lnTo>
                  <a:lnTo>
                    <a:pt x="315" y="482"/>
                  </a:lnTo>
                  <a:lnTo>
                    <a:pt x="315" y="482"/>
                  </a:lnTo>
                  <a:lnTo>
                    <a:pt x="315" y="480"/>
                  </a:lnTo>
                  <a:lnTo>
                    <a:pt x="315" y="478"/>
                  </a:lnTo>
                  <a:lnTo>
                    <a:pt x="315" y="478"/>
                  </a:lnTo>
                  <a:lnTo>
                    <a:pt x="315" y="476"/>
                  </a:lnTo>
                  <a:lnTo>
                    <a:pt x="315" y="474"/>
                  </a:lnTo>
                  <a:lnTo>
                    <a:pt x="313" y="472"/>
                  </a:lnTo>
                  <a:lnTo>
                    <a:pt x="315" y="472"/>
                  </a:lnTo>
                  <a:lnTo>
                    <a:pt x="318" y="472"/>
                  </a:lnTo>
                  <a:lnTo>
                    <a:pt x="318" y="470"/>
                  </a:lnTo>
                  <a:lnTo>
                    <a:pt x="320" y="470"/>
                  </a:lnTo>
                  <a:lnTo>
                    <a:pt x="322" y="468"/>
                  </a:lnTo>
                  <a:lnTo>
                    <a:pt x="320" y="468"/>
                  </a:lnTo>
                  <a:lnTo>
                    <a:pt x="318" y="468"/>
                  </a:lnTo>
                  <a:lnTo>
                    <a:pt x="315" y="468"/>
                  </a:lnTo>
                  <a:lnTo>
                    <a:pt x="318" y="466"/>
                  </a:lnTo>
                  <a:lnTo>
                    <a:pt x="320" y="464"/>
                  </a:lnTo>
                  <a:lnTo>
                    <a:pt x="320" y="464"/>
                  </a:lnTo>
                  <a:lnTo>
                    <a:pt x="322" y="461"/>
                  </a:lnTo>
                  <a:lnTo>
                    <a:pt x="322" y="461"/>
                  </a:lnTo>
                  <a:lnTo>
                    <a:pt x="322" y="459"/>
                  </a:lnTo>
                  <a:lnTo>
                    <a:pt x="322" y="459"/>
                  </a:lnTo>
                  <a:lnTo>
                    <a:pt x="320" y="457"/>
                  </a:lnTo>
                  <a:lnTo>
                    <a:pt x="320" y="457"/>
                  </a:lnTo>
                  <a:lnTo>
                    <a:pt x="318" y="455"/>
                  </a:lnTo>
                  <a:lnTo>
                    <a:pt x="318" y="455"/>
                  </a:lnTo>
                  <a:lnTo>
                    <a:pt x="318" y="455"/>
                  </a:lnTo>
                  <a:lnTo>
                    <a:pt x="318" y="453"/>
                  </a:lnTo>
                  <a:lnTo>
                    <a:pt x="318" y="453"/>
                  </a:lnTo>
                  <a:lnTo>
                    <a:pt x="318" y="451"/>
                  </a:lnTo>
                  <a:lnTo>
                    <a:pt x="318" y="451"/>
                  </a:lnTo>
                  <a:lnTo>
                    <a:pt x="320" y="449"/>
                  </a:lnTo>
                  <a:lnTo>
                    <a:pt x="320" y="449"/>
                  </a:lnTo>
                  <a:lnTo>
                    <a:pt x="320" y="447"/>
                  </a:lnTo>
                  <a:lnTo>
                    <a:pt x="320" y="445"/>
                  </a:lnTo>
                  <a:lnTo>
                    <a:pt x="322" y="445"/>
                  </a:lnTo>
                  <a:lnTo>
                    <a:pt x="322" y="445"/>
                  </a:lnTo>
                  <a:lnTo>
                    <a:pt x="324" y="447"/>
                  </a:lnTo>
                  <a:lnTo>
                    <a:pt x="324" y="447"/>
                  </a:lnTo>
                  <a:lnTo>
                    <a:pt x="324" y="445"/>
                  </a:lnTo>
                  <a:lnTo>
                    <a:pt x="324" y="443"/>
                  </a:lnTo>
                  <a:lnTo>
                    <a:pt x="326" y="443"/>
                  </a:lnTo>
                  <a:lnTo>
                    <a:pt x="326" y="443"/>
                  </a:lnTo>
                  <a:lnTo>
                    <a:pt x="326" y="443"/>
                  </a:lnTo>
                  <a:lnTo>
                    <a:pt x="326" y="443"/>
                  </a:lnTo>
                  <a:lnTo>
                    <a:pt x="328" y="445"/>
                  </a:lnTo>
                  <a:lnTo>
                    <a:pt x="328" y="445"/>
                  </a:lnTo>
                  <a:lnTo>
                    <a:pt x="328" y="445"/>
                  </a:lnTo>
                  <a:lnTo>
                    <a:pt x="328" y="443"/>
                  </a:lnTo>
                  <a:lnTo>
                    <a:pt x="328" y="443"/>
                  </a:lnTo>
                  <a:lnTo>
                    <a:pt x="328" y="441"/>
                  </a:lnTo>
                  <a:lnTo>
                    <a:pt x="330" y="439"/>
                  </a:lnTo>
                  <a:lnTo>
                    <a:pt x="330" y="437"/>
                  </a:lnTo>
                  <a:lnTo>
                    <a:pt x="330" y="437"/>
                  </a:lnTo>
                  <a:lnTo>
                    <a:pt x="330" y="435"/>
                  </a:lnTo>
                  <a:lnTo>
                    <a:pt x="332" y="435"/>
                  </a:lnTo>
                  <a:lnTo>
                    <a:pt x="332" y="435"/>
                  </a:lnTo>
                  <a:lnTo>
                    <a:pt x="334" y="433"/>
                  </a:lnTo>
                  <a:lnTo>
                    <a:pt x="336" y="431"/>
                  </a:lnTo>
                  <a:lnTo>
                    <a:pt x="336" y="429"/>
                  </a:lnTo>
                  <a:lnTo>
                    <a:pt x="334" y="427"/>
                  </a:lnTo>
                  <a:lnTo>
                    <a:pt x="334" y="427"/>
                  </a:lnTo>
                  <a:lnTo>
                    <a:pt x="336" y="425"/>
                  </a:lnTo>
                  <a:lnTo>
                    <a:pt x="338" y="423"/>
                  </a:lnTo>
                  <a:lnTo>
                    <a:pt x="340" y="423"/>
                  </a:lnTo>
                  <a:lnTo>
                    <a:pt x="340" y="421"/>
                  </a:lnTo>
                  <a:lnTo>
                    <a:pt x="340" y="421"/>
                  </a:lnTo>
                  <a:lnTo>
                    <a:pt x="342" y="421"/>
                  </a:lnTo>
                  <a:lnTo>
                    <a:pt x="342" y="421"/>
                  </a:lnTo>
                  <a:lnTo>
                    <a:pt x="342" y="421"/>
                  </a:lnTo>
                  <a:lnTo>
                    <a:pt x="342" y="421"/>
                  </a:lnTo>
                  <a:lnTo>
                    <a:pt x="342" y="418"/>
                  </a:lnTo>
                  <a:lnTo>
                    <a:pt x="340" y="416"/>
                  </a:lnTo>
                  <a:lnTo>
                    <a:pt x="340" y="414"/>
                  </a:lnTo>
                  <a:lnTo>
                    <a:pt x="340" y="412"/>
                  </a:lnTo>
                  <a:lnTo>
                    <a:pt x="342" y="412"/>
                  </a:lnTo>
                  <a:lnTo>
                    <a:pt x="342" y="410"/>
                  </a:lnTo>
                  <a:lnTo>
                    <a:pt x="344" y="410"/>
                  </a:lnTo>
                  <a:lnTo>
                    <a:pt x="342" y="410"/>
                  </a:lnTo>
                  <a:lnTo>
                    <a:pt x="344" y="410"/>
                  </a:lnTo>
                  <a:lnTo>
                    <a:pt x="344" y="410"/>
                  </a:lnTo>
                  <a:lnTo>
                    <a:pt x="344" y="408"/>
                  </a:lnTo>
                  <a:lnTo>
                    <a:pt x="344" y="408"/>
                  </a:lnTo>
                  <a:lnTo>
                    <a:pt x="344" y="406"/>
                  </a:lnTo>
                  <a:lnTo>
                    <a:pt x="344" y="404"/>
                  </a:lnTo>
                  <a:lnTo>
                    <a:pt x="344" y="402"/>
                  </a:lnTo>
                  <a:lnTo>
                    <a:pt x="346" y="402"/>
                  </a:lnTo>
                  <a:lnTo>
                    <a:pt x="346" y="400"/>
                  </a:lnTo>
                  <a:lnTo>
                    <a:pt x="348" y="400"/>
                  </a:lnTo>
                  <a:lnTo>
                    <a:pt x="348" y="400"/>
                  </a:lnTo>
                  <a:lnTo>
                    <a:pt x="350" y="400"/>
                  </a:lnTo>
                  <a:lnTo>
                    <a:pt x="350" y="392"/>
                  </a:lnTo>
                  <a:lnTo>
                    <a:pt x="350" y="388"/>
                  </a:lnTo>
                  <a:lnTo>
                    <a:pt x="348" y="384"/>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L</a:t>
              </a:r>
            </a:p>
          </p:txBody>
        </p:sp>
        <p:sp>
          <p:nvSpPr>
            <p:cNvPr id="121" name="Freeform 42">
              <a:extLst>
                <a:ext uri="{FF2B5EF4-FFF2-40B4-BE49-F238E27FC236}">
                  <a16:creationId xmlns:a16="http://schemas.microsoft.com/office/drawing/2014/main" id="{B35BA8A3-71AC-B6FD-6BE9-BF4428A7E256}"/>
                </a:ext>
              </a:extLst>
            </p:cNvPr>
            <p:cNvSpPr>
              <a:spLocks/>
            </p:cNvSpPr>
            <p:nvPr/>
          </p:nvSpPr>
          <p:spPr bwMode="auto">
            <a:xfrm>
              <a:off x="1337" y="82"/>
              <a:ext cx="512" cy="783"/>
            </a:xfrm>
            <a:custGeom>
              <a:avLst/>
              <a:gdLst>
                <a:gd name="T0" fmla="*/ 487 w 512"/>
                <a:gd name="T1" fmla="*/ 766 h 783"/>
                <a:gd name="T2" fmla="*/ 258 w 512"/>
                <a:gd name="T3" fmla="*/ 756 h 783"/>
                <a:gd name="T4" fmla="*/ 16 w 512"/>
                <a:gd name="T5" fmla="*/ 723 h 783"/>
                <a:gd name="T6" fmla="*/ 26 w 512"/>
                <a:gd name="T7" fmla="*/ 557 h 783"/>
                <a:gd name="T8" fmla="*/ 39 w 512"/>
                <a:gd name="T9" fmla="*/ 512 h 783"/>
                <a:gd name="T10" fmla="*/ 45 w 512"/>
                <a:gd name="T11" fmla="*/ 494 h 783"/>
                <a:gd name="T12" fmla="*/ 33 w 512"/>
                <a:gd name="T13" fmla="*/ 482 h 783"/>
                <a:gd name="T14" fmla="*/ 24 w 512"/>
                <a:gd name="T15" fmla="*/ 465 h 783"/>
                <a:gd name="T16" fmla="*/ 41 w 512"/>
                <a:gd name="T17" fmla="*/ 441 h 783"/>
                <a:gd name="T18" fmla="*/ 63 w 512"/>
                <a:gd name="T19" fmla="*/ 408 h 783"/>
                <a:gd name="T20" fmla="*/ 98 w 512"/>
                <a:gd name="T21" fmla="*/ 359 h 783"/>
                <a:gd name="T22" fmla="*/ 82 w 512"/>
                <a:gd name="T23" fmla="*/ 324 h 783"/>
                <a:gd name="T24" fmla="*/ 72 w 512"/>
                <a:gd name="T25" fmla="*/ 273 h 783"/>
                <a:gd name="T26" fmla="*/ 98 w 512"/>
                <a:gd name="T27" fmla="*/ 80 h 783"/>
                <a:gd name="T28" fmla="*/ 176 w 512"/>
                <a:gd name="T29" fmla="*/ 70 h 783"/>
                <a:gd name="T30" fmla="*/ 180 w 512"/>
                <a:gd name="T31" fmla="*/ 127 h 783"/>
                <a:gd name="T32" fmla="*/ 190 w 512"/>
                <a:gd name="T33" fmla="*/ 143 h 783"/>
                <a:gd name="T34" fmla="*/ 186 w 512"/>
                <a:gd name="T35" fmla="*/ 160 h 783"/>
                <a:gd name="T36" fmla="*/ 190 w 512"/>
                <a:gd name="T37" fmla="*/ 170 h 783"/>
                <a:gd name="T38" fmla="*/ 201 w 512"/>
                <a:gd name="T39" fmla="*/ 187 h 783"/>
                <a:gd name="T40" fmla="*/ 217 w 512"/>
                <a:gd name="T41" fmla="*/ 203 h 783"/>
                <a:gd name="T42" fmla="*/ 231 w 512"/>
                <a:gd name="T43" fmla="*/ 225 h 783"/>
                <a:gd name="T44" fmla="*/ 239 w 512"/>
                <a:gd name="T45" fmla="*/ 240 h 783"/>
                <a:gd name="T46" fmla="*/ 250 w 512"/>
                <a:gd name="T47" fmla="*/ 254 h 783"/>
                <a:gd name="T48" fmla="*/ 260 w 512"/>
                <a:gd name="T49" fmla="*/ 256 h 783"/>
                <a:gd name="T50" fmla="*/ 268 w 512"/>
                <a:gd name="T51" fmla="*/ 264 h 783"/>
                <a:gd name="T52" fmla="*/ 282 w 512"/>
                <a:gd name="T53" fmla="*/ 266 h 783"/>
                <a:gd name="T54" fmla="*/ 278 w 512"/>
                <a:gd name="T55" fmla="*/ 279 h 783"/>
                <a:gd name="T56" fmla="*/ 276 w 512"/>
                <a:gd name="T57" fmla="*/ 285 h 783"/>
                <a:gd name="T58" fmla="*/ 268 w 512"/>
                <a:gd name="T59" fmla="*/ 301 h 783"/>
                <a:gd name="T60" fmla="*/ 268 w 512"/>
                <a:gd name="T61" fmla="*/ 314 h 783"/>
                <a:gd name="T62" fmla="*/ 264 w 512"/>
                <a:gd name="T63" fmla="*/ 322 h 783"/>
                <a:gd name="T64" fmla="*/ 266 w 512"/>
                <a:gd name="T65" fmla="*/ 334 h 783"/>
                <a:gd name="T66" fmla="*/ 264 w 512"/>
                <a:gd name="T67" fmla="*/ 348 h 783"/>
                <a:gd name="T68" fmla="*/ 254 w 512"/>
                <a:gd name="T69" fmla="*/ 355 h 783"/>
                <a:gd name="T70" fmla="*/ 256 w 512"/>
                <a:gd name="T71" fmla="*/ 367 h 783"/>
                <a:gd name="T72" fmla="*/ 252 w 512"/>
                <a:gd name="T73" fmla="*/ 377 h 783"/>
                <a:gd name="T74" fmla="*/ 268 w 512"/>
                <a:gd name="T75" fmla="*/ 387 h 783"/>
                <a:gd name="T76" fmla="*/ 278 w 512"/>
                <a:gd name="T77" fmla="*/ 383 h 783"/>
                <a:gd name="T78" fmla="*/ 291 w 512"/>
                <a:gd name="T79" fmla="*/ 375 h 783"/>
                <a:gd name="T80" fmla="*/ 295 w 512"/>
                <a:gd name="T81" fmla="*/ 369 h 783"/>
                <a:gd name="T82" fmla="*/ 309 w 512"/>
                <a:gd name="T83" fmla="*/ 383 h 783"/>
                <a:gd name="T84" fmla="*/ 311 w 512"/>
                <a:gd name="T85" fmla="*/ 396 h 783"/>
                <a:gd name="T86" fmla="*/ 311 w 512"/>
                <a:gd name="T87" fmla="*/ 412 h 783"/>
                <a:gd name="T88" fmla="*/ 319 w 512"/>
                <a:gd name="T89" fmla="*/ 426 h 783"/>
                <a:gd name="T90" fmla="*/ 325 w 512"/>
                <a:gd name="T91" fmla="*/ 437 h 783"/>
                <a:gd name="T92" fmla="*/ 325 w 512"/>
                <a:gd name="T93" fmla="*/ 453 h 783"/>
                <a:gd name="T94" fmla="*/ 336 w 512"/>
                <a:gd name="T95" fmla="*/ 469 h 783"/>
                <a:gd name="T96" fmla="*/ 352 w 512"/>
                <a:gd name="T97" fmla="*/ 478 h 783"/>
                <a:gd name="T98" fmla="*/ 356 w 512"/>
                <a:gd name="T99" fmla="*/ 488 h 783"/>
                <a:gd name="T100" fmla="*/ 358 w 512"/>
                <a:gd name="T101" fmla="*/ 498 h 783"/>
                <a:gd name="T102" fmla="*/ 362 w 512"/>
                <a:gd name="T103" fmla="*/ 510 h 783"/>
                <a:gd name="T104" fmla="*/ 371 w 512"/>
                <a:gd name="T105" fmla="*/ 510 h 783"/>
                <a:gd name="T106" fmla="*/ 399 w 512"/>
                <a:gd name="T107" fmla="*/ 510 h 783"/>
                <a:gd name="T108" fmla="*/ 412 w 512"/>
                <a:gd name="T109" fmla="*/ 504 h 783"/>
                <a:gd name="T110" fmla="*/ 430 w 512"/>
                <a:gd name="T111" fmla="*/ 506 h 783"/>
                <a:gd name="T112" fmla="*/ 450 w 512"/>
                <a:gd name="T113" fmla="*/ 510 h 783"/>
                <a:gd name="T114" fmla="*/ 477 w 512"/>
                <a:gd name="T115" fmla="*/ 510 h 783"/>
                <a:gd name="T116" fmla="*/ 477 w 512"/>
                <a:gd name="T117" fmla="*/ 504 h 783"/>
                <a:gd name="T118" fmla="*/ 481 w 512"/>
                <a:gd name="T119" fmla="*/ 496 h 783"/>
                <a:gd name="T120" fmla="*/ 493 w 512"/>
                <a:gd name="T121" fmla="*/ 496 h 783"/>
                <a:gd name="T122" fmla="*/ 502 w 512"/>
                <a:gd name="T123" fmla="*/ 51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783">
                  <a:moveTo>
                    <a:pt x="512" y="521"/>
                  </a:moveTo>
                  <a:lnTo>
                    <a:pt x="510" y="537"/>
                  </a:lnTo>
                  <a:lnTo>
                    <a:pt x="508" y="553"/>
                  </a:lnTo>
                  <a:lnTo>
                    <a:pt x="506" y="568"/>
                  </a:lnTo>
                  <a:lnTo>
                    <a:pt x="506" y="584"/>
                  </a:lnTo>
                  <a:lnTo>
                    <a:pt x="504" y="600"/>
                  </a:lnTo>
                  <a:lnTo>
                    <a:pt x="502" y="617"/>
                  </a:lnTo>
                  <a:lnTo>
                    <a:pt x="500" y="633"/>
                  </a:lnTo>
                  <a:lnTo>
                    <a:pt x="498" y="650"/>
                  </a:lnTo>
                  <a:lnTo>
                    <a:pt x="498" y="666"/>
                  </a:lnTo>
                  <a:lnTo>
                    <a:pt x="495" y="682"/>
                  </a:lnTo>
                  <a:lnTo>
                    <a:pt x="493" y="699"/>
                  </a:lnTo>
                  <a:lnTo>
                    <a:pt x="491" y="715"/>
                  </a:lnTo>
                  <a:lnTo>
                    <a:pt x="491" y="732"/>
                  </a:lnTo>
                  <a:lnTo>
                    <a:pt x="489" y="750"/>
                  </a:lnTo>
                  <a:lnTo>
                    <a:pt x="487" y="766"/>
                  </a:lnTo>
                  <a:lnTo>
                    <a:pt x="485" y="783"/>
                  </a:lnTo>
                  <a:lnTo>
                    <a:pt x="471" y="781"/>
                  </a:lnTo>
                  <a:lnTo>
                    <a:pt x="455" y="779"/>
                  </a:lnTo>
                  <a:lnTo>
                    <a:pt x="440" y="777"/>
                  </a:lnTo>
                  <a:lnTo>
                    <a:pt x="424" y="777"/>
                  </a:lnTo>
                  <a:lnTo>
                    <a:pt x="409" y="775"/>
                  </a:lnTo>
                  <a:lnTo>
                    <a:pt x="393" y="773"/>
                  </a:lnTo>
                  <a:lnTo>
                    <a:pt x="379" y="771"/>
                  </a:lnTo>
                  <a:lnTo>
                    <a:pt x="364" y="769"/>
                  </a:lnTo>
                  <a:lnTo>
                    <a:pt x="348" y="766"/>
                  </a:lnTo>
                  <a:lnTo>
                    <a:pt x="334" y="766"/>
                  </a:lnTo>
                  <a:lnTo>
                    <a:pt x="317" y="764"/>
                  </a:lnTo>
                  <a:lnTo>
                    <a:pt x="303" y="762"/>
                  </a:lnTo>
                  <a:lnTo>
                    <a:pt x="287" y="760"/>
                  </a:lnTo>
                  <a:lnTo>
                    <a:pt x="272" y="758"/>
                  </a:lnTo>
                  <a:lnTo>
                    <a:pt x="258" y="756"/>
                  </a:lnTo>
                  <a:lnTo>
                    <a:pt x="242" y="754"/>
                  </a:lnTo>
                  <a:lnTo>
                    <a:pt x="227" y="752"/>
                  </a:lnTo>
                  <a:lnTo>
                    <a:pt x="211" y="750"/>
                  </a:lnTo>
                  <a:lnTo>
                    <a:pt x="196" y="748"/>
                  </a:lnTo>
                  <a:lnTo>
                    <a:pt x="182" y="746"/>
                  </a:lnTo>
                  <a:lnTo>
                    <a:pt x="166" y="744"/>
                  </a:lnTo>
                  <a:lnTo>
                    <a:pt x="151" y="742"/>
                  </a:lnTo>
                  <a:lnTo>
                    <a:pt x="137" y="740"/>
                  </a:lnTo>
                  <a:lnTo>
                    <a:pt x="121" y="738"/>
                  </a:lnTo>
                  <a:lnTo>
                    <a:pt x="106" y="736"/>
                  </a:lnTo>
                  <a:lnTo>
                    <a:pt x="92" y="734"/>
                  </a:lnTo>
                  <a:lnTo>
                    <a:pt x="76" y="732"/>
                  </a:lnTo>
                  <a:lnTo>
                    <a:pt x="61" y="730"/>
                  </a:lnTo>
                  <a:lnTo>
                    <a:pt x="47" y="728"/>
                  </a:lnTo>
                  <a:lnTo>
                    <a:pt x="31" y="726"/>
                  </a:lnTo>
                  <a:lnTo>
                    <a:pt x="16" y="723"/>
                  </a:lnTo>
                  <a:lnTo>
                    <a:pt x="0" y="719"/>
                  </a:lnTo>
                  <a:lnTo>
                    <a:pt x="2" y="709"/>
                  </a:lnTo>
                  <a:lnTo>
                    <a:pt x="4" y="699"/>
                  </a:lnTo>
                  <a:lnTo>
                    <a:pt x="6" y="689"/>
                  </a:lnTo>
                  <a:lnTo>
                    <a:pt x="8" y="676"/>
                  </a:lnTo>
                  <a:lnTo>
                    <a:pt x="10" y="666"/>
                  </a:lnTo>
                  <a:lnTo>
                    <a:pt x="10" y="656"/>
                  </a:lnTo>
                  <a:lnTo>
                    <a:pt x="12" y="646"/>
                  </a:lnTo>
                  <a:lnTo>
                    <a:pt x="14" y="633"/>
                  </a:lnTo>
                  <a:lnTo>
                    <a:pt x="16" y="623"/>
                  </a:lnTo>
                  <a:lnTo>
                    <a:pt x="18" y="613"/>
                  </a:lnTo>
                  <a:lnTo>
                    <a:pt x="18" y="603"/>
                  </a:lnTo>
                  <a:lnTo>
                    <a:pt x="20" y="590"/>
                  </a:lnTo>
                  <a:lnTo>
                    <a:pt x="22" y="580"/>
                  </a:lnTo>
                  <a:lnTo>
                    <a:pt x="24" y="570"/>
                  </a:lnTo>
                  <a:lnTo>
                    <a:pt x="26" y="557"/>
                  </a:lnTo>
                  <a:lnTo>
                    <a:pt x="26" y="547"/>
                  </a:lnTo>
                  <a:lnTo>
                    <a:pt x="29" y="543"/>
                  </a:lnTo>
                  <a:lnTo>
                    <a:pt x="29" y="533"/>
                  </a:lnTo>
                  <a:lnTo>
                    <a:pt x="29" y="533"/>
                  </a:lnTo>
                  <a:lnTo>
                    <a:pt x="29" y="533"/>
                  </a:lnTo>
                  <a:lnTo>
                    <a:pt x="29" y="531"/>
                  </a:lnTo>
                  <a:lnTo>
                    <a:pt x="29" y="529"/>
                  </a:lnTo>
                  <a:lnTo>
                    <a:pt x="31" y="527"/>
                  </a:lnTo>
                  <a:lnTo>
                    <a:pt x="33" y="527"/>
                  </a:lnTo>
                  <a:lnTo>
                    <a:pt x="35" y="525"/>
                  </a:lnTo>
                  <a:lnTo>
                    <a:pt x="35" y="523"/>
                  </a:lnTo>
                  <a:lnTo>
                    <a:pt x="37" y="521"/>
                  </a:lnTo>
                  <a:lnTo>
                    <a:pt x="37" y="516"/>
                  </a:lnTo>
                  <a:lnTo>
                    <a:pt x="39" y="512"/>
                  </a:lnTo>
                  <a:lnTo>
                    <a:pt x="39" y="512"/>
                  </a:lnTo>
                  <a:lnTo>
                    <a:pt x="39" y="512"/>
                  </a:lnTo>
                  <a:lnTo>
                    <a:pt x="41" y="510"/>
                  </a:lnTo>
                  <a:lnTo>
                    <a:pt x="41" y="510"/>
                  </a:lnTo>
                  <a:lnTo>
                    <a:pt x="41" y="506"/>
                  </a:lnTo>
                  <a:lnTo>
                    <a:pt x="39" y="504"/>
                  </a:lnTo>
                  <a:lnTo>
                    <a:pt x="39" y="502"/>
                  </a:lnTo>
                  <a:lnTo>
                    <a:pt x="39" y="500"/>
                  </a:lnTo>
                  <a:lnTo>
                    <a:pt x="41" y="500"/>
                  </a:lnTo>
                  <a:lnTo>
                    <a:pt x="41" y="500"/>
                  </a:lnTo>
                  <a:lnTo>
                    <a:pt x="43" y="500"/>
                  </a:lnTo>
                  <a:lnTo>
                    <a:pt x="43" y="500"/>
                  </a:lnTo>
                  <a:lnTo>
                    <a:pt x="43" y="498"/>
                  </a:lnTo>
                  <a:lnTo>
                    <a:pt x="45" y="498"/>
                  </a:lnTo>
                  <a:lnTo>
                    <a:pt x="45" y="496"/>
                  </a:lnTo>
                  <a:lnTo>
                    <a:pt x="45" y="496"/>
                  </a:lnTo>
                  <a:lnTo>
                    <a:pt x="45" y="496"/>
                  </a:lnTo>
                  <a:lnTo>
                    <a:pt x="45" y="494"/>
                  </a:lnTo>
                  <a:lnTo>
                    <a:pt x="45" y="494"/>
                  </a:lnTo>
                  <a:lnTo>
                    <a:pt x="45" y="492"/>
                  </a:lnTo>
                  <a:lnTo>
                    <a:pt x="43" y="490"/>
                  </a:lnTo>
                  <a:lnTo>
                    <a:pt x="41" y="490"/>
                  </a:lnTo>
                  <a:lnTo>
                    <a:pt x="41" y="490"/>
                  </a:lnTo>
                  <a:lnTo>
                    <a:pt x="41" y="488"/>
                  </a:lnTo>
                  <a:lnTo>
                    <a:pt x="41" y="486"/>
                  </a:lnTo>
                  <a:lnTo>
                    <a:pt x="41" y="486"/>
                  </a:lnTo>
                  <a:lnTo>
                    <a:pt x="41" y="484"/>
                  </a:lnTo>
                  <a:lnTo>
                    <a:pt x="41" y="484"/>
                  </a:lnTo>
                  <a:lnTo>
                    <a:pt x="39" y="484"/>
                  </a:lnTo>
                  <a:lnTo>
                    <a:pt x="37" y="484"/>
                  </a:lnTo>
                  <a:lnTo>
                    <a:pt x="35" y="484"/>
                  </a:lnTo>
                  <a:lnTo>
                    <a:pt x="33" y="484"/>
                  </a:lnTo>
                  <a:lnTo>
                    <a:pt x="33" y="482"/>
                  </a:lnTo>
                  <a:lnTo>
                    <a:pt x="33" y="482"/>
                  </a:lnTo>
                  <a:lnTo>
                    <a:pt x="33" y="480"/>
                  </a:lnTo>
                  <a:lnTo>
                    <a:pt x="31" y="480"/>
                  </a:lnTo>
                  <a:lnTo>
                    <a:pt x="31" y="480"/>
                  </a:lnTo>
                  <a:lnTo>
                    <a:pt x="29" y="482"/>
                  </a:lnTo>
                  <a:lnTo>
                    <a:pt x="29" y="482"/>
                  </a:lnTo>
                  <a:lnTo>
                    <a:pt x="29" y="482"/>
                  </a:lnTo>
                  <a:lnTo>
                    <a:pt x="24" y="480"/>
                  </a:lnTo>
                  <a:lnTo>
                    <a:pt x="24" y="478"/>
                  </a:lnTo>
                  <a:lnTo>
                    <a:pt x="24" y="475"/>
                  </a:lnTo>
                  <a:lnTo>
                    <a:pt x="24" y="475"/>
                  </a:lnTo>
                  <a:lnTo>
                    <a:pt x="24" y="473"/>
                  </a:lnTo>
                  <a:lnTo>
                    <a:pt x="24" y="473"/>
                  </a:lnTo>
                  <a:lnTo>
                    <a:pt x="24" y="471"/>
                  </a:lnTo>
                  <a:lnTo>
                    <a:pt x="24" y="469"/>
                  </a:lnTo>
                  <a:lnTo>
                    <a:pt x="24" y="467"/>
                  </a:lnTo>
                  <a:lnTo>
                    <a:pt x="24" y="465"/>
                  </a:lnTo>
                  <a:lnTo>
                    <a:pt x="26" y="463"/>
                  </a:lnTo>
                  <a:lnTo>
                    <a:pt x="26" y="461"/>
                  </a:lnTo>
                  <a:lnTo>
                    <a:pt x="26" y="459"/>
                  </a:lnTo>
                  <a:lnTo>
                    <a:pt x="26" y="459"/>
                  </a:lnTo>
                  <a:lnTo>
                    <a:pt x="29" y="457"/>
                  </a:lnTo>
                  <a:lnTo>
                    <a:pt x="29" y="457"/>
                  </a:lnTo>
                  <a:lnTo>
                    <a:pt x="29" y="457"/>
                  </a:lnTo>
                  <a:lnTo>
                    <a:pt x="29" y="455"/>
                  </a:lnTo>
                  <a:lnTo>
                    <a:pt x="31" y="455"/>
                  </a:lnTo>
                  <a:lnTo>
                    <a:pt x="31" y="455"/>
                  </a:lnTo>
                  <a:lnTo>
                    <a:pt x="33" y="455"/>
                  </a:lnTo>
                  <a:lnTo>
                    <a:pt x="35" y="453"/>
                  </a:lnTo>
                  <a:lnTo>
                    <a:pt x="35" y="451"/>
                  </a:lnTo>
                  <a:lnTo>
                    <a:pt x="37" y="447"/>
                  </a:lnTo>
                  <a:lnTo>
                    <a:pt x="37" y="445"/>
                  </a:lnTo>
                  <a:lnTo>
                    <a:pt x="41" y="441"/>
                  </a:lnTo>
                  <a:lnTo>
                    <a:pt x="43" y="437"/>
                  </a:lnTo>
                  <a:lnTo>
                    <a:pt x="45" y="435"/>
                  </a:lnTo>
                  <a:lnTo>
                    <a:pt x="45" y="435"/>
                  </a:lnTo>
                  <a:lnTo>
                    <a:pt x="51" y="432"/>
                  </a:lnTo>
                  <a:lnTo>
                    <a:pt x="53" y="430"/>
                  </a:lnTo>
                  <a:lnTo>
                    <a:pt x="53" y="428"/>
                  </a:lnTo>
                  <a:lnTo>
                    <a:pt x="59" y="424"/>
                  </a:lnTo>
                  <a:lnTo>
                    <a:pt x="61" y="420"/>
                  </a:lnTo>
                  <a:lnTo>
                    <a:pt x="61" y="418"/>
                  </a:lnTo>
                  <a:lnTo>
                    <a:pt x="63" y="414"/>
                  </a:lnTo>
                  <a:lnTo>
                    <a:pt x="63" y="412"/>
                  </a:lnTo>
                  <a:lnTo>
                    <a:pt x="63" y="412"/>
                  </a:lnTo>
                  <a:lnTo>
                    <a:pt x="63" y="410"/>
                  </a:lnTo>
                  <a:lnTo>
                    <a:pt x="63" y="410"/>
                  </a:lnTo>
                  <a:lnTo>
                    <a:pt x="63" y="408"/>
                  </a:lnTo>
                  <a:lnTo>
                    <a:pt x="63" y="408"/>
                  </a:lnTo>
                  <a:lnTo>
                    <a:pt x="65" y="406"/>
                  </a:lnTo>
                  <a:lnTo>
                    <a:pt x="76" y="396"/>
                  </a:lnTo>
                  <a:lnTo>
                    <a:pt x="78" y="391"/>
                  </a:lnTo>
                  <a:lnTo>
                    <a:pt x="80" y="385"/>
                  </a:lnTo>
                  <a:lnTo>
                    <a:pt x="82" y="383"/>
                  </a:lnTo>
                  <a:lnTo>
                    <a:pt x="82" y="383"/>
                  </a:lnTo>
                  <a:lnTo>
                    <a:pt x="82" y="379"/>
                  </a:lnTo>
                  <a:lnTo>
                    <a:pt x="84" y="377"/>
                  </a:lnTo>
                  <a:lnTo>
                    <a:pt x="84" y="375"/>
                  </a:lnTo>
                  <a:lnTo>
                    <a:pt x="88" y="371"/>
                  </a:lnTo>
                  <a:lnTo>
                    <a:pt x="90" y="369"/>
                  </a:lnTo>
                  <a:lnTo>
                    <a:pt x="94" y="365"/>
                  </a:lnTo>
                  <a:lnTo>
                    <a:pt x="94" y="363"/>
                  </a:lnTo>
                  <a:lnTo>
                    <a:pt x="94" y="361"/>
                  </a:lnTo>
                  <a:lnTo>
                    <a:pt x="96" y="359"/>
                  </a:lnTo>
                  <a:lnTo>
                    <a:pt x="98" y="359"/>
                  </a:lnTo>
                  <a:lnTo>
                    <a:pt x="100" y="357"/>
                  </a:lnTo>
                  <a:lnTo>
                    <a:pt x="102" y="355"/>
                  </a:lnTo>
                  <a:lnTo>
                    <a:pt x="102" y="353"/>
                  </a:lnTo>
                  <a:lnTo>
                    <a:pt x="102" y="350"/>
                  </a:lnTo>
                  <a:lnTo>
                    <a:pt x="102" y="348"/>
                  </a:lnTo>
                  <a:lnTo>
                    <a:pt x="100" y="342"/>
                  </a:lnTo>
                  <a:lnTo>
                    <a:pt x="100" y="338"/>
                  </a:lnTo>
                  <a:lnTo>
                    <a:pt x="98" y="336"/>
                  </a:lnTo>
                  <a:lnTo>
                    <a:pt x="98" y="334"/>
                  </a:lnTo>
                  <a:lnTo>
                    <a:pt x="96" y="334"/>
                  </a:lnTo>
                  <a:lnTo>
                    <a:pt x="94" y="332"/>
                  </a:lnTo>
                  <a:lnTo>
                    <a:pt x="90" y="330"/>
                  </a:lnTo>
                  <a:lnTo>
                    <a:pt x="88" y="328"/>
                  </a:lnTo>
                  <a:lnTo>
                    <a:pt x="88" y="326"/>
                  </a:lnTo>
                  <a:lnTo>
                    <a:pt x="82" y="324"/>
                  </a:lnTo>
                  <a:lnTo>
                    <a:pt x="82" y="324"/>
                  </a:lnTo>
                  <a:lnTo>
                    <a:pt x="82" y="322"/>
                  </a:lnTo>
                  <a:lnTo>
                    <a:pt x="78" y="316"/>
                  </a:lnTo>
                  <a:lnTo>
                    <a:pt x="76" y="309"/>
                  </a:lnTo>
                  <a:lnTo>
                    <a:pt x="76" y="307"/>
                  </a:lnTo>
                  <a:lnTo>
                    <a:pt x="76" y="305"/>
                  </a:lnTo>
                  <a:lnTo>
                    <a:pt x="76" y="301"/>
                  </a:lnTo>
                  <a:lnTo>
                    <a:pt x="72" y="295"/>
                  </a:lnTo>
                  <a:lnTo>
                    <a:pt x="72" y="295"/>
                  </a:lnTo>
                  <a:lnTo>
                    <a:pt x="74" y="293"/>
                  </a:lnTo>
                  <a:lnTo>
                    <a:pt x="76" y="291"/>
                  </a:lnTo>
                  <a:lnTo>
                    <a:pt x="76" y="289"/>
                  </a:lnTo>
                  <a:lnTo>
                    <a:pt x="76" y="287"/>
                  </a:lnTo>
                  <a:lnTo>
                    <a:pt x="76" y="285"/>
                  </a:lnTo>
                  <a:lnTo>
                    <a:pt x="76" y="279"/>
                  </a:lnTo>
                  <a:lnTo>
                    <a:pt x="74" y="277"/>
                  </a:lnTo>
                  <a:lnTo>
                    <a:pt x="72" y="273"/>
                  </a:lnTo>
                  <a:lnTo>
                    <a:pt x="69" y="266"/>
                  </a:lnTo>
                  <a:lnTo>
                    <a:pt x="69" y="266"/>
                  </a:lnTo>
                  <a:lnTo>
                    <a:pt x="69" y="264"/>
                  </a:lnTo>
                  <a:lnTo>
                    <a:pt x="72" y="260"/>
                  </a:lnTo>
                  <a:lnTo>
                    <a:pt x="72" y="258"/>
                  </a:lnTo>
                  <a:lnTo>
                    <a:pt x="74" y="242"/>
                  </a:lnTo>
                  <a:lnTo>
                    <a:pt x="78" y="225"/>
                  </a:lnTo>
                  <a:lnTo>
                    <a:pt x="80" y="209"/>
                  </a:lnTo>
                  <a:lnTo>
                    <a:pt x="82" y="193"/>
                  </a:lnTo>
                  <a:lnTo>
                    <a:pt x="84" y="176"/>
                  </a:lnTo>
                  <a:lnTo>
                    <a:pt x="86" y="160"/>
                  </a:lnTo>
                  <a:lnTo>
                    <a:pt x="88" y="143"/>
                  </a:lnTo>
                  <a:lnTo>
                    <a:pt x="92" y="127"/>
                  </a:lnTo>
                  <a:lnTo>
                    <a:pt x="94" y="113"/>
                  </a:lnTo>
                  <a:lnTo>
                    <a:pt x="96" y="96"/>
                  </a:lnTo>
                  <a:lnTo>
                    <a:pt x="98" y="80"/>
                  </a:lnTo>
                  <a:lnTo>
                    <a:pt x="100" y="64"/>
                  </a:lnTo>
                  <a:lnTo>
                    <a:pt x="104" y="47"/>
                  </a:lnTo>
                  <a:lnTo>
                    <a:pt x="106" y="31"/>
                  </a:lnTo>
                  <a:lnTo>
                    <a:pt x="108" y="16"/>
                  </a:lnTo>
                  <a:lnTo>
                    <a:pt x="110" y="0"/>
                  </a:lnTo>
                  <a:lnTo>
                    <a:pt x="119" y="0"/>
                  </a:lnTo>
                  <a:lnTo>
                    <a:pt x="135" y="4"/>
                  </a:lnTo>
                  <a:lnTo>
                    <a:pt x="151" y="6"/>
                  </a:lnTo>
                  <a:lnTo>
                    <a:pt x="168" y="8"/>
                  </a:lnTo>
                  <a:lnTo>
                    <a:pt x="184" y="10"/>
                  </a:lnTo>
                  <a:lnTo>
                    <a:pt x="184" y="10"/>
                  </a:lnTo>
                  <a:lnTo>
                    <a:pt x="182" y="23"/>
                  </a:lnTo>
                  <a:lnTo>
                    <a:pt x="180" y="35"/>
                  </a:lnTo>
                  <a:lnTo>
                    <a:pt x="180" y="47"/>
                  </a:lnTo>
                  <a:lnTo>
                    <a:pt x="178" y="57"/>
                  </a:lnTo>
                  <a:lnTo>
                    <a:pt x="176" y="70"/>
                  </a:lnTo>
                  <a:lnTo>
                    <a:pt x="174" y="82"/>
                  </a:lnTo>
                  <a:lnTo>
                    <a:pt x="172" y="94"/>
                  </a:lnTo>
                  <a:lnTo>
                    <a:pt x="170" y="107"/>
                  </a:lnTo>
                  <a:lnTo>
                    <a:pt x="170" y="111"/>
                  </a:lnTo>
                  <a:lnTo>
                    <a:pt x="170" y="111"/>
                  </a:lnTo>
                  <a:lnTo>
                    <a:pt x="170" y="113"/>
                  </a:lnTo>
                  <a:lnTo>
                    <a:pt x="172" y="115"/>
                  </a:lnTo>
                  <a:lnTo>
                    <a:pt x="174" y="117"/>
                  </a:lnTo>
                  <a:lnTo>
                    <a:pt x="174" y="119"/>
                  </a:lnTo>
                  <a:lnTo>
                    <a:pt x="176" y="121"/>
                  </a:lnTo>
                  <a:lnTo>
                    <a:pt x="176" y="123"/>
                  </a:lnTo>
                  <a:lnTo>
                    <a:pt x="176" y="123"/>
                  </a:lnTo>
                  <a:lnTo>
                    <a:pt x="178" y="123"/>
                  </a:lnTo>
                  <a:lnTo>
                    <a:pt x="178" y="125"/>
                  </a:lnTo>
                  <a:lnTo>
                    <a:pt x="178" y="125"/>
                  </a:lnTo>
                  <a:lnTo>
                    <a:pt x="180" y="127"/>
                  </a:lnTo>
                  <a:lnTo>
                    <a:pt x="180" y="127"/>
                  </a:lnTo>
                  <a:lnTo>
                    <a:pt x="182" y="129"/>
                  </a:lnTo>
                  <a:lnTo>
                    <a:pt x="182" y="129"/>
                  </a:lnTo>
                  <a:lnTo>
                    <a:pt x="182" y="129"/>
                  </a:lnTo>
                  <a:lnTo>
                    <a:pt x="182" y="131"/>
                  </a:lnTo>
                  <a:lnTo>
                    <a:pt x="184" y="135"/>
                  </a:lnTo>
                  <a:lnTo>
                    <a:pt x="184" y="137"/>
                  </a:lnTo>
                  <a:lnTo>
                    <a:pt x="184" y="137"/>
                  </a:lnTo>
                  <a:lnTo>
                    <a:pt x="186" y="139"/>
                  </a:lnTo>
                  <a:lnTo>
                    <a:pt x="186" y="139"/>
                  </a:lnTo>
                  <a:lnTo>
                    <a:pt x="186" y="139"/>
                  </a:lnTo>
                  <a:lnTo>
                    <a:pt x="186" y="141"/>
                  </a:lnTo>
                  <a:lnTo>
                    <a:pt x="186" y="141"/>
                  </a:lnTo>
                  <a:lnTo>
                    <a:pt x="188" y="141"/>
                  </a:lnTo>
                  <a:lnTo>
                    <a:pt x="190" y="143"/>
                  </a:lnTo>
                  <a:lnTo>
                    <a:pt x="190" y="143"/>
                  </a:lnTo>
                  <a:lnTo>
                    <a:pt x="190" y="146"/>
                  </a:lnTo>
                  <a:lnTo>
                    <a:pt x="190" y="146"/>
                  </a:lnTo>
                  <a:lnTo>
                    <a:pt x="190" y="148"/>
                  </a:lnTo>
                  <a:lnTo>
                    <a:pt x="190" y="150"/>
                  </a:lnTo>
                  <a:lnTo>
                    <a:pt x="190" y="150"/>
                  </a:lnTo>
                  <a:lnTo>
                    <a:pt x="192" y="154"/>
                  </a:lnTo>
                  <a:lnTo>
                    <a:pt x="192" y="154"/>
                  </a:lnTo>
                  <a:lnTo>
                    <a:pt x="192" y="156"/>
                  </a:lnTo>
                  <a:lnTo>
                    <a:pt x="192" y="156"/>
                  </a:lnTo>
                  <a:lnTo>
                    <a:pt x="190" y="158"/>
                  </a:lnTo>
                  <a:lnTo>
                    <a:pt x="190" y="158"/>
                  </a:lnTo>
                  <a:lnTo>
                    <a:pt x="190" y="158"/>
                  </a:lnTo>
                  <a:lnTo>
                    <a:pt x="190" y="158"/>
                  </a:lnTo>
                  <a:lnTo>
                    <a:pt x="188" y="158"/>
                  </a:lnTo>
                  <a:lnTo>
                    <a:pt x="188" y="160"/>
                  </a:lnTo>
                  <a:lnTo>
                    <a:pt x="186" y="160"/>
                  </a:lnTo>
                  <a:lnTo>
                    <a:pt x="186" y="160"/>
                  </a:lnTo>
                  <a:lnTo>
                    <a:pt x="188" y="160"/>
                  </a:lnTo>
                  <a:lnTo>
                    <a:pt x="190" y="162"/>
                  </a:lnTo>
                  <a:lnTo>
                    <a:pt x="190" y="162"/>
                  </a:lnTo>
                  <a:lnTo>
                    <a:pt x="190" y="164"/>
                  </a:lnTo>
                  <a:lnTo>
                    <a:pt x="190" y="166"/>
                  </a:lnTo>
                  <a:lnTo>
                    <a:pt x="190" y="166"/>
                  </a:lnTo>
                  <a:lnTo>
                    <a:pt x="190" y="166"/>
                  </a:lnTo>
                  <a:lnTo>
                    <a:pt x="192" y="168"/>
                  </a:lnTo>
                  <a:lnTo>
                    <a:pt x="192" y="168"/>
                  </a:lnTo>
                  <a:lnTo>
                    <a:pt x="192" y="168"/>
                  </a:lnTo>
                  <a:lnTo>
                    <a:pt x="192" y="170"/>
                  </a:lnTo>
                  <a:lnTo>
                    <a:pt x="192" y="170"/>
                  </a:lnTo>
                  <a:lnTo>
                    <a:pt x="192" y="170"/>
                  </a:lnTo>
                  <a:lnTo>
                    <a:pt x="192" y="170"/>
                  </a:lnTo>
                  <a:lnTo>
                    <a:pt x="190" y="170"/>
                  </a:lnTo>
                  <a:lnTo>
                    <a:pt x="188" y="170"/>
                  </a:lnTo>
                  <a:lnTo>
                    <a:pt x="186" y="170"/>
                  </a:lnTo>
                  <a:lnTo>
                    <a:pt x="186" y="170"/>
                  </a:lnTo>
                  <a:lnTo>
                    <a:pt x="186" y="170"/>
                  </a:lnTo>
                  <a:lnTo>
                    <a:pt x="186" y="170"/>
                  </a:lnTo>
                  <a:lnTo>
                    <a:pt x="186" y="170"/>
                  </a:lnTo>
                  <a:lnTo>
                    <a:pt x="186" y="172"/>
                  </a:lnTo>
                  <a:lnTo>
                    <a:pt x="186" y="172"/>
                  </a:lnTo>
                  <a:lnTo>
                    <a:pt x="188" y="172"/>
                  </a:lnTo>
                  <a:lnTo>
                    <a:pt x="190" y="174"/>
                  </a:lnTo>
                  <a:lnTo>
                    <a:pt x="196" y="178"/>
                  </a:lnTo>
                  <a:lnTo>
                    <a:pt x="196" y="178"/>
                  </a:lnTo>
                  <a:lnTo>
                    <a:pt x="199" y="182"/>
                  </a:lnTo>
                  <a:lnTo>
                    <a:pt x="199" y="184"/>
                  </a:lnTo>
                  <a:lnTo>
                    <a:pt x="201" y="187"/>
                  </a:lnTo>
                  <a:lnTo>
                    <a:pt x="201" y="187"/>
                  </a:lnTo>
                  <a:lnTo>
                    <a:pt x="201" y="189"/>
                  </a:lnTo>
                  <a:lnTo>
                    <a:pt x="201" y="189"/>
                  </a:lnTo>
                  <a:lnTo>
                    <a:pt x="203" y="189"/>
                  </a:lnTo>
                  <a:lnTo>
                    <a:pt x="207" y="191"/>
                  </a:lnTo>
                  <a:lnTo>
                    <a:pt x="213" y="193"/>
                  </a:lnTo>
                  <a:lnTo>
                    <a:pt x="213" y="195"/>
                  </a:lnTo>
                  <a:lnTo>
                    <a:pt x="213" y="195"/>
                  </a:lnTo>
                  <a:lnTo>
                    <a:pt x="215" y="197"/>
                  </a:lnTo>
                  <a:lnTo>
                    <a:pt x="215" y="197"/>
                  </a:lnTo>
                  <a:lnTo>
                    <a:pt x="215" y="199"/>
                  </a:lnTo>
                  <a:lnTo>
                    <a:pt x="215" y="199"/>
                  </a:lnTo>
                  <a:lnTo>
                    <a:pt x="217" y="199"/>
                  </a:lnTo>
                  <a:lnTo>
                    <a:pt x="217" y="199"/>
                  </a:lnTo>
                  <a:lnTo>
                    <a:pt x="217" y="201"/>
                  </a:lnTo>
                  <a:lnTo>
                    <a:pt x="217" y="201"/>
                  </a:lnTo>
                  <a:lnTo>
                    <a:pt x="217" y="203"/>
                  </a:lnTo>
                  <a:lnTo>
                    <a:pt x="217" y="203"/>
                  </a:lnTo>
                  <a:lnTo>
                    <a:pt x="219" y="203"/>
                  </a:lnTo>
                  <a:lnTo>
                    <a:pt x="219" y="203"/>
                  </a:lnTo>
                  <a:lnTo>
                    <a:pt x="219" y="205"/>
                  </a:lnTo>
                  <a:lnTo>
                    <a:pt x="219" y="205"/>
                  </a:lnTo>
                  <a:lnTo>
                    <a:pt x="221" y="207"/>
                  </a:lnTo>
                  <a:lnTo>
                    <a:pt x="223" y="207"/>
                  </a:lnTo>
                  <a:lnTo>
                    <a:pt x="223" y="211"/>
                  </a:lnTo>
                  <a:lnTo>
                    <a:pt x="225" y="213"/>
                  </a:lnTo>
                  <a:lnTo>
                    <a:pt x="231" y="221"/>
                  </a:lnTo>
                  <a:lnTo>
                    <a:pt x="231" y="221"/>
                  </a:lnTo>
                  <a:lnTo>
                    <a:pt x="231" y="223"/>
                  </a:lnTo>
                  <a:lnTo>
                    <a:pt x="231" y="223"/>
                  </a:lnTo>
                  <a:lnTo>
                    <a:pt x="231" y="223"/>
                  </a:lnTo>
                  <a:lnTo>
                    <a:pt x="231" y="225"/>
                  </a:lnTo>
                  <a:lnTo>
                    <a:pt x="231" y="225"/>
                  </a:lnTo>
                  <a:lnTo>
                    <a:pt x="233" y="225"/>
                  </a:lnTo>
                  <a:lnTo>
                    <a:pt x="235" y="225"/>
                  </a:lnTo>
                  <a:lnTo>
                    <a:pt x="235" y="228"/>
                  </a:lnTo>
                  <a:lnTo>
                    <a:pt x="235" y="228"/>
                  </a:lnTo>
                  <a:lnTo>
                    <a:pt x="237" y="230"/>
                  </a:lnTo>
                  <a:lnTo>
                    <a:pt x="237" y="232"/>
                  </a:lnTo>
                  <a:lnTo>
                    <a:pt x="237" y="232"/>
                  </a:lnTo>
                  <a:lnTo>
                    <a:pt x="239" y="234"/>
                  </a:lnTo>
                  <a:lnTo>
                    <a:pt x="239" y="234"/>
                  </a:lnTo>
                  <a:lnTo>
                    <a:pt x="239" y="234"/>
                  </a:lnTo>
                  <a:lnTo>
                    <a:pt x="239" y="234"/>
                  </a:lnTo>
                  <a:lnTo>
                    <a:pt x="239" y="236"/>
                  </a:lnTo>
                  <a:lnTo>
                    <a:pt x="239" y="236"/>
                  </a:lnTo>
                  <a:lnTo>
                    <a:pt x="239" y="236"/>
                  </a:lnTo>
                  <a:lnTo>
                    <a:pt x="239" y="238"/>
                  </a:lnTo>
                  <a:lnTo>
                    <a:pt x="239" y="240"/>
                  </a:lnTo>
                  <a:lnTo>
                    <a:pt x="239" y="240"/>
                  </a:lnTo>
                  <a:lnTo>
                    <a:pt x="239" y="242"/>
                  </a:lnTo>
                  <a:lnTo>
                    <a:pt x="239" y="242"/>
                  </a:lnTo>
                  <a:lnTo>
                    <a:pt x="242" y="244"/>
                  </a:lnTo>
                  <a:lnTo>
                    <a:pt x="244" y="244"/>
                  </a:lnTo>
                  <a:lnTo>
                    <a:pt x="244" y="246"/>
                  </a:lnTo>
                  <a:lnTo>
                    <a:pt x="246" y="246"/>
                  </a:lnTo>
                  <a:lnTo>
                    <a:pt x="246" y="248"/>
                  </a:lnTo>
                  <a:lnTo>
                    <a:pt x="248" y="248"/>
                  </a:lnTo>
                  <a:lnTo>
                    <a:pt x="250" y="250"/>
                  </a:lnTo>
                  <a:lnTo>
                    <a:pt x="250" y="250"/>
                  </a:lnTo>
                  <a:lnTo>
                    <a:pt x="250" y="250"/>
                  </a:lnTo>
                  <a:lnTo>
                    <a:pt x="250" y="250"/>
                  </a:lnTo>
                  <a:lnTo>
                    <a:pt x="250" y="252"/>
                  </a:lnTo>
                  <a:lnTo>
                    <a:pt x="250" y="252"/>
                  </a:lnTo>
                  <a:lnTo>
                    <a:pt x="250" y="254"/>
                  </a:lnTo>
                  <a:lnTo>
                    <a:pt x="250" y="254"/>
                  </a:lnTo>
                  <a:lnTo>
                    <a:pt x="250" y="256"/>
                  </a:lnTo>
                  <a:lnTo>
                    <a:pt x="250" y="256"/>
                  </a:lnTo>
                  <a:lnTo>
                    <a:pt x="250" y="256"/>
                  </a:lnTo>
                  <a:lnTo>
                    <a:pt x="250" y="256"/>
                  </a:lnTo>
                  <a:lnTo>
                    <a:pt x="252" y="256"/>
                  </a:lnTo>
                  <a:lnTo>
                    <a:pt x="254" y="254"/>
                  </a:lnTo>
                  <a:lnTo>
                    <a:pt x="254" y="254"/>
                  </a:lnTo>
                  <a:lnTo>
                    <a:pt x="256" y="254"/>
                  </a:lnTo>
                  <a:lnTo>
                    <a:pt x="256" y="254"/>
                  </a:lnTo>
                  <a:lnTo>
                    <a:pt x="256" y="254"/>
                  </a:lnTo>
                  <a:lnTo>
                    <a:pt x="256" y="254"/>
                  </a:lnTo>
                  <a:lnTo>
                    <a:pt x="258" y="254"/>
                  </a:lnTo>
                  <a:lnTo>
                    <a:pt x="260" y="256"/>
                  </a:lnTo>
                  <a:lnTo>
                    <a:pt x="260" y="256"/>
                  </a:lnTo>
                  <a:lnTo>
                    <a:pt x="260" y="256"/>
                  </a:lnTo>
                  <a:lnTo>
                    <a:pt x="260" y="258"/>
                  </a:lnTo>
                  <a:lnTo>
                    <a:pt x="260" y="258"/>
                  </a:lnTo>
                  <a:lnTo>
                    <a:pt x="258" y="260"/>
                  </a:lnTo>
                  <a:lnTo>
                    <a:pt x="258" y="260"/>
                  </a:lnTo>
                  <a:lnTo>
                    <a:pt x="258" y="260"/>
                  </a:lnTo>
                  <a:lnTo>
                    <a:pt x="258" y="260"/>
                  </a:lnTo>
                  <a:lnTo>
                    <a:pt x="258" y="262"/>
                  </a:lnTo>
                  <a:lnTo>
                    <a:pt x="258" y="262"/>
                  </a:lnTo>
                  <a:lnTo>
                    <a:pt x="260" y="262"/>
                  </a:lnTo>
                  <a:lnTo>
                    <a:pt x="262" y="264"/>
                  </a:lnTo>
                  <a:lnTo>
                    <a:pt x="262" y="264"/>
                  </a:lnTo>
                  <a:lnTo>
                    <a:pt x="264" y="266"/>
                  </a:lnTo>
                  <a:lnTo>
                    <a:pt x="264" y="266"/>
                  </a:lnTo>
                  <a:lnTo>
                    <a:pt x="266" y="266"/>
                  </a:lnTo>
                  <a:lnTo>
                    <a:pt x="268" y="264"/>
                  </a:lnTo>
                  <a:lnTo>
                    <a:pt x="268" y="264"/>
                  </a:lnTo>
                  <a:lnTo>
                    <a:pt x="268" y="264"/>
                  </a:lnTo>
                  <a:lnTo>
                    <a:pt x="270" y="266"/>
                  </a:lnTo>
                  <a:lnTo>
                    <a:pt x="270" y="266"/>
                  </a:lnTo>
                  <a:lnTo>
                    <a:pt x="270" y="266"/>
                  </a:lnTo>
                  <a:lnTo>
                    <a:pt x="272" y="266"/>
                  </a:lnTo>
                  <a:lnTo>
                    <a:pt x="272" y="266"/>
                  </a:lnTo>
                  <a:lnTo>
                    <a:pt x="274" y="264"/>
                  </a:lnTo>
                  <a:lnTo>
                    <a:pt x="274" y="264"/>
                  </a:lnTo>
                  <a:lnTo>
                    <a:pt x="280" y="264"/>
                  </a:lnTo>
                  <a:lnTo>
                    <a:pt x="280" y="264"/>
                  </a:lnTo>
                  <a:lnTo>
                    <a:pt x="280" y="264"/>
                  </a:lnTo>
                  <a:lnTo>
                    <a:pt x="282" y="264"/>
                  </a:lnTo>
                  <a:lnTo>
                    <a:pt x="282" y="264"/>
                  </a:lnTo>
                  <a:lnTo>
                    <a:pt x="282" y="266"/>
                  </a:lnTo>
                  <a:lnTo>
                    <a:pt x="282" y="266"/>
                  </a:lnTo>
                  <a:lnTo>
                    <a:pt x="282" y="266"/>
                  </a:lnTo>
                  <a:lnTo>
                    <a:pt x="282" y="269"/>
                  </a:lnTo>
                  <a:lnTo>
                    <a:pt x="282" y="271"/>
                  </a:lnTo>
                  <a:lnTo>
                    <a:pt x="280" y="271"/>
                  </a:lnTo>
                  <a:lnTo>
                    <a:pt x="280" y="273"/>
                  </a:lnTo>
                  <a:lnTo>
                    <a:pt x="280" y="273"/>
                  </a:lnTo>
                  <a:lnTo>
                    <a:pt x="280" y="273"/>
                  </a:lnTo>
                  <a:lnTo>
                    <a:pt x="280" y="273"/>
                  </a:lnTo>
                  <a:lnTo>
                    <a:pt x="280" y="275"/>
                  </a:lnTo>
                  <a:lnTo>
                    <a:pt x="280" y="275"/>
                  </a:lnTo>
                  <a:lnTo>
                    <a:pt x="280" y="275"/>
                  </a:lnTo>
                  <a:lnTo>
                    <a:pt x="278" y="277"/>
                  </a:lnTo>
                  <a:lnTo>
                    <a:pt x="278" y="277"/>
                  </a:lnTo>
                  <a:lnTo>
                    <a:pt x="278" y="277"/>
                  </a:lnTo>
                  <a:lnTo>
                    <a:pt x="278" y="277"/>
                  </a:lnTo>
                  <a:lnTo>
                    <a:pt x="278" y="279"/>
                  </a:lnTo>
                  <a:lnTo>
                    <a:pt x="278" y="279"/>
                  </a:lnTo>
                  <a:lnTo>
                    <a:pt x="280" y="279"/>
                  </a:lnTo>
                  <a:lnTo>
                    <a:pt x="278" y="279"/>
                  </a:lnTo>
                  <a:lnTo>
                    <a:pt x="278" y="281"/>
                  </a:lnTo>
                  <a:lnTo>
                    <a:pt x="278" y="281"/>
                  </a:lnTo>
                  <a:lnTo>
                    <a:pt x="278" y="281"/>
                  </a:lnTo>
                  <a:lnTo>
                    <a:pt x="278" y="281"/>
                  </a:lnTo>
                  <a:lnTo>
                    <a:pt x="274" y="281"/>
                  </a:lnTo>
                  <a:lnTo>
                    <a:pt x="274" y="281"/>
                  </a:lnTo>
                  <a:lnTo>
                    <a:pt x="274" y="281"/>
                  </a:lnTo>
                  <a:lnTo>
                    <a:pt x="274" y="283"/>
                  </a:lnTo>
                  <a:lnTo>
                    <a:pt x="274" y="283"/>
                  </a:lnTo>
                  <a:lnTo>
                    <a:pt x="274" y="283"/>
                  </a:lnTo>
                  <a:lnTo>
                    <a:pt x="274" y="283"/>
                  </a:lnTo>
                  <a:lnTo>
                    <a:pt x="276" y="285"/>
                  </a:lnTo>
                  <a:lnTo>
                    <a:pt x="276" y="285"/>
                  </a:lnTo>
                  <a:lnTo>
                    <a:pt x="276" y="285"/>
                  </a:lnTo>
                  <a:lnTo>
                    <a:pt x="276" y="285"/>
                  </a:lnTo>
                  <a:lnTo>
                    <a:pt x="276" y="287"/>
                  </a:lnTo>
                  <a:lnTo>
                    <a:pt x="276" y="287"/>
                  </a:lnTo>
                  <a:lnTo>
                    <a:pt x="276" y="287"/>
                  </a:lnTo>
                  <a:lnTo>
                    <a:pt x="276" y="289"/>
                  </a:lnTo>
                  <a:lnTo>
                    <a:pt x="272" y="291"/>
                  </a:lnTo>
                  <a:lnTo>
                    <a:pt x="272" y="293"/>
                  </a:lnTo>
                  <a:lnTo>
                    <a:pt x="272" y="293"/>
                  </a:lnTo>
                  <a:lnTo>
                    <a:pt x="272" y="295"/>
                  </a:lnTo>
                  <a:lnTo>
                    <a:pt x="272" y="297"/>
                  </a:lnTo>
                  <a:lnTo>
                    <a:pt x="272" y="297"/>
                  </a:lnTo>
                  <a:lnTo>
                    <a:pt x="272" y="297"/>
                  </a:lnTo>
                  <a:lnTo>
                    <a:pt x="272" y="297"/>
                  </a:lnTo>
                  <a:lnTo>
                    <a:pt x="270" y="299"/>
                  </a:lnTo>
                  <a:lnTo>
                    <a:pt x="268" y="301"/>
                  </a:lnTo>
                  <a:lnTo>
                    <a:pt x="268" y="301"/>
                  </a:lnTo>
                  <a:lnTo>
                    <a:pt x="268" y="303"/>
                  </a:lnTo>
                  <a:lnTo>
                    <a:pt x="268" y="303"/>
                  </a:lnTo>
                  <a:lnTo>
                    <a:pt x="268" y="303"/>
                  </a:lnTo>
                  <a:lnTo>
                    <a:pt x="268" y="303"/>
                  </a:lnTo>
                  <a:lnTo>
                    <a:pt x="268" y="305"/>
                  </a:lnTo>
                  <a:lnTo>
                    <a:pt x="266" y="305"/>
                  </a:lnTo>
                  <a:lnTo>
                    <a:pt x="266" y="305"/>
                  </a:lnTo>
                  <a:lnTo>
                    <a:pt x="266" y="305"/>
                  </a:lnTo>
                  <a:lnTo>
                    <a:pt x="268" y="307"/>
                  </a:lnTo>
                  <a:lnTo>
                    <a:pt x="268" y="307"/>
                  </a:lnTo>
                  <a:lnTo>
                    <a:pt x="268" y="309"/>
                  </a:lnTo>
                  <a:lnTo>
                    <a:pt x="268" y="309"/>
                  </a:lnTo>
                  <a:lnTo>
                    <a:pt x="268" y="312"/>
                  </a:lnTo>
                  <a:lnTo>
                    <a:pt x="268" y="312"/>
                  </a:lnTo>
                  <a:lnTo>
                    <a:pt x="268" y="314"/>
                  </a:lnTo>
                  <a:lnTo>
                    <a:pt x="268" y="314"/>
                  </a:lnTo>
                  <a:lnTo>
                    <a:pt x="268" y="314"/>
                  </a:lnTo>
                  <a:lnTo>
                    <a:pt x="266" y="314"/>
                  </a:lnTo>
                  <a:lnTo>
                    <a:pt x="266" y="314"/>
                  </a:lnTo>
                  <a:lnTo>
                    <a:pt x="266" y="314"/>
                  </a:lnTo>
                  <a:lnTo>
                    <a:pt x="264" y="314"/>
                  </a:lnTo>
                  <a:lnTo>
                    <a:pt x="262" y="314"/>
                  </a:lnTo>
                  <a:lnTo>
                    <a:pt x="262" y="316"/>
                  </a:lnTo>
                  <a:lnTo>
                    <a:pt x="262" y="316"/>
                  </a:lnTo>
                  <a:lnTo>
                    <a:pt x="262" y="316"/>
                  </a:lnTo>
                  <a:lnTo>
                    <a:pt x="262" y="316"/>
                  </a:lnTo>
                  <a:lnTo>
                    <a:pt x="262" y="316"/>
                  </a:lnTo>
                  <a:lnTo>
                    <a:pt x="262" y="318"/>
                  </a:lnTo>
                  <a:lnTo>
                    <a:pt x="264" y="320"/>
                  </a:lnTo>
                  <a:lnTo>
                    <a:pt x="264" y="322"/>
                  </a:lnTo>
                  <a:lnTo>
                    <a:pt x="264" y="322"/>
                  </a:lnTo>
                  <a:lnTo>
                    <a:pt x="264" y="322"/>
                  </a:lnTo>
                  <a:lnTo>
                    <a:pt x="264" y="324"/>
                  </a:lnTo>
                  <a:lnTo>
                    <a:pt x="264" y="324"/>
                  </a:lnTo>
                  <a:lnTo>
                    <a:pt x="264" y="324"/>
                  </a:lnTo>
                  <a:lnTo>
                    <a:pt x="262" y="326"/>
                  </a:lnTo>
                  <a:lnTo>
                    <a:pt x="262" y="326"/>
                  </a:lnTo>
                  <a:lnTo>
                    <a:pt x="262" y="328"/>
                  </a:lnTo>
                  <a:lnTo>
                    <a:pt x="262" y="328"/>
                  </a:lnTo>
                  <a:lnTo>
                    <a:pt x="262" y="328"/>
                  </a:lnTo>
                  <a:lnTo>
                    <a:pt x="262" y="330"/>
                  </a:lnTo>
                  <a:lnTo>
                    <a:pt x="262" y="330"/>
                  </a:lnTo>
                  <a:lnTo>
                    <a:pt x="262" y="330"/>
                  </a:lnTo>
                  <a:lnTo>
                    <a:pt x="262" y="332"/>
                  </a:lnTo>
                  <a:lnTo>
                    <a:pt x="262" y="332"/>
                  </a:lnTo>
                  <a:lnTo>
                    <a:pt x="262" y="332"/>
                  </a:lnTo>
                  <a:lnTo>
                    <a:pt x="264" y="334"/>
                  </a:lnTo>
                  <a:lnTo>
                    <a:pt x="266" y="334"/>
                  </a:lnTo>
                  <a:lnTo>
                    <a:pt x="266" y="334"/>
                  </a:lnTo>
                  <a:lnTo>
                    <a:pt x="268" y="336"/>
                  </a:lnTo>
                  <a:lnTo>
                    <a:pt x="268" y="336"/>
                  </a:lnTo>
                  <a:lnTo>
                    <a:pt x="266" y="336"/>
                  </a:lnTo>
                  <a:lnTo>
                    <a:pt x="266" y="338"/>
                  </a:lnTo>
                  <a:lnTo>
                    <a:pt x="266" y="338"/>
                  </a:lnTo>
                  <a:lnTo>
                    <a:pt x="266" y="340"/>
                  </a:lnTo>
                  <a:lnTo>
                    <a:pt x="266" y="340"/>
                  </a:lnTo>
                  <a:lnTo>
                    <a:pt x="266" y="340"/>
                  </a:lnTo>
                  <a:lnTo>
                    <a:pt x="266" y="340"/>
                  </a:lnTo>
                  <a:lnTo>
                    <a:pt x="266" y="342"/>
                  </a:lnTo>
                  <a:lnTo>
                    <a:pt x="266" y="344"/>
                  </a:lnTo>
                  <a:lnTo>
                    <a:pt x="266" y="344"/>
                  </a:lnTo>
                  <a:lnTo>
                    <a:pt x="266" y="346"/>
                  </a:lnTo>
                  <a:lnTo>
                    <a:pt x="266" y="346"/>
                  </a:lnTo>
                  <a:lnTo>
                    <a:pt x="264" y="348"/>
                  </a:lnTo>
                  <a:lnTo>
                    <a:pt x="264" y="348"/>
                  </a:lnTo>
                  <a:lnTo>
                    <a:pt x="264" y="348"/>
                  </a:lnTo>
                  <a:lnTo>
                    <a:pt x="262" y="348"/>
                  </a:lnTo>
                  <a:lnTo>
                    <a:pt x="260" y="348"/>
                  </a:lnTo>
                  <a:lnTo>
                    <a:pt x="260" y="348"/>
                  </a:lnTo>
                  <a:lnTo>
                    <a:pt x="258" y="348"/>
                  </a:lnTo>
                  <a:lnTo>
                    <a:pt x="258" y="348"/>
                  </a:lnTo>
                  <a:lnTo>
                    <a:pt x="258" y="348"/>
                  </a:lnTo>
                  <a:lnTo>
                    <a:pt x="258" y="348"/>
                  </a:lnTo>
                  <a:lnTo>
                    <a:pt x="258" y="350"/>
                  </a:lnTo>
                  <a:lnTo>
                    <a:pt x="256" y="350"/>
                  </a:lnTo>
                  <a:lnTo>
                    <a:pt x="256" y="353"/>
                  </a:lnTo>
                  <a:lnTo>
                    <a:pt x="256" y="353"/>
                  </a:lnTo>
                  <a:lnTo>
                    <a:pt x="254" y="353"/>
                  </a:lnTo>
                  <a:lnTo>
                    <a:pt x="254" y="353"/>
                  </a:lnTo>
                  <a:lnTo>
                    <a:pt x="254" y="355"/>
                  </a:lnTo>
                  <a:lnTo>
                    <a:pt x="254" y="355"/>
                  </a:lnTo>
                  <a:lnTo>
                    <a:pt x="252" y="355"/>
                  </a:lnTo>
                  <a:lnTo>
                    <a:pt x="254" y="357"/>
                  </a:lnTo>
                  <a:lnTo>
                    <a:pt x="254" y="357"/>
                  </a:lnTo>
                  <a:lnTo>
                    <a:pt x="254" y="359"/>
                  </a:lnTo>
                  <a:lnTo>
                    <a:pt x="254" y="359"/>
                  </a:lnTo>
                  <a:lnTo>
                    <a:pt x="254" y="359"/>
                  </a:lnTo>
                  <a:lnTo>
                    <a:pt x="256" y="361"/>
                  </a:lnTo>
                  <a:lnTo>
                    <a:pt x="256" y="363"/>
                  </a:lnTo>
                  <a:lnTo>
                    <a:pt x="256" y="363"/>
                  </a:lnTo>
                  <a:lnTo>
                    <a:pt x="256" y="365"/>
                  </a:lnTo>
                  <a:lnTo>
                    <a:pt x="256" y="365"/>
                  </a:lnTo>
                  <a:lnTo>
                    <a:pt x="256" y="365"/>
                  </a:lnTo>
                  <a:lnTo>
                    <a:pt x="256" y="367"/>
                  </a:lnTo>
                  <a:lnTo>
                    <a:pt x="256" y="367"/>
                  </a:lnTo>
                  <a:lnTo>
                    <a:pt x="256" y="367"/>
                  </a:lnTo>
                  <a:lnTo>
                    <a:pt x="256" y="367"/>
                  </a:lnTo>
                  <a:lnTo>
                    <a:pt x="256" y="367"/>
                  </a:lnTo>
                  <a:lnTo>
                    <a:pt x="254" y="369"/>
                  </a:lnTo>
                  <a:lnTo>
                    <a:pt x="252" y="369"/>
                  </a:lnTo>
                  <a:lnTo>
                    <a:pt x="252" y="371"/>
                  </a:lnTo>
                  <a:lnTo>
                    <a:pt x="252" y="371"/>
                  </a:lnTo>
                  <a:lnTo>
                    <a:pt x="252" y="371"/>
                  </a:lnTo>
                  <a:lnTo>
                    <a:pt x="252" y="373"/>
                  </a:lnTo>
                  <a:lnTo>
                    <a:pt x="252" y="373"/>
                  </a:lnTo>
                  <a:lnTo>
                    <a:pt x="252" y="373"/>
                  </a:lnTo>
                  <a:lnTo>
                    <a:pt x="252" y="375"/>
                  </a:lnTo>
                  <a:lnTo>
                    <a:pt x="252" y="375"/>
                  </a:lnTo>
                  <a:lnTo>
                    <a:pt x="250" y="375"/>
                  </a:lnTo>
                  <a:lnTo>
                    <a:pt x="250" y="377"/>
                  </a:lnTo>
                  <a:lnTo>
                    <a:pt x="250" y="377"/>
                  </a:lnTo>
                  <a:lnTo>
                    <a:pt x="252" y="377"/>
                  </a:lnTo>
                  <a:lnTo>
                    <a:pt x="254" y="377"/>
                  </a:lnTo>
                  <a:lnTo>
                    <a:pt x="256" y="379"/>
                  </a:lnTo>
                  <a:lnTo>
                    <a:pt x="258" y="379"/>
                  </a:lnTo>
                  <a:lnTo>
                    <a:pt x="260" y="381"/>
                  </a:lnTo>
                  <a:lnTo>
                    <a:pt x="260" y="381"/>
                  </a:lnTo>
                  <a:lnTo>
                    <a:pt x="260" y="381"/>
                  </a:lnTo>
                  <a:lnTo>
                    <a:pt x="260" y="383"/>
                  </a:lnTo>
                  <a:lnTo>
                    <a:pt x="260" y="383"/>
                  </a:lnTo>
                  <a:lnTo>
                    <a:pt x="262" y="383"/>
                  </a:lnTo>
                  <a:lnTo>
                    <a:pt x="264" y="385"/>
                  </a:lnTo>
                  <a:lnTo>
                    <a:pt x="264" y="387"/>
                  </a:lnTo>
                  <a:lnTo>
                    <a:pt x="264" y="387"/>
                  </a:lnTo>
                  <a:lnTo>
                    <a:pt x="266" y="387"/>
                  </a:lnTo>
                  <a:lnTo>
                    <a:pt x="266" y="387"/>
                  </a:lnTo>
                  <a:lnTo>
                    <a:pt x="268" y="387"/>
                  </a:lnTo>
                  <a:lnTo>
                    <a:pt x="268" y="387"/>
                  </a:lnTo>
                  <a:lnTo>
                    <a:pt x="268" y="387"/>
                  </a:lnTo>
                  <a:lnTo>
                    <a:pt x="270" y="387"/>
                  </a:lnTo>
                  <a:lnTo>
                    <a:pt x="272" y="387"/>
                  </a:lnTo>
                  <a:lnTo>
                    <a:pt x="272" y="387"/>
                  </a:lnTo>
                  <a:lnTo>
                    <a:pt x="272" y="387"/>
                  </a:lnTo>
                  <a:lnTo>
                    <a:pt x="272" y="385"/>
                  </a:lnTo>
                  <a:lnTo>
                    <a:pt x="274" y="383"/>
                  </a:lnTo>
                  <a:lnTo>
                    <a:pt x="274" y="383"/>
                  </a:lnTo>
                  <a:lnTo>
                    <a:pt x="274" y="383"/>
                  </a:lnTo>
                  <a:lnTo>
                    <a:pt x="274" y="383"/>
                  </a:lnTo>
                  <a:lnTo>
                    <a:pt x="274" y="383"/>
                  </a:lnTo>
                  <a:lnTo>
                    <a:pt x="276" y="383"/>
                  </a:lnTo>
                  <a:lnTo>
                    <a:pt x="276" y="383"/>
                  </a:lnTo>
                  <a:lnTo>
                    <a:pt x="278" y="383"/>
                  </a:lnTo>
                  <a:lnTo>
                    <a:pt x="278" y="383"/>
                  </a:lnTo>
                  <a:lnTo>
                    <a:pt x="278" y="383"/>
                  </a:lnTo>
                  <a:lnTo>
                    <a:pt x="280" y="381"/>
                  </a:lnTo>
                  <a:lnTo>
                    <a:pt x="285" y="381"/>
                  </a:lnTo>
                  <a:lnTo>
                    <a:pt x="285" y="381"/>
                  </a:lnTo>
                  <a:lnTo>
                    <a:pt x="285" y="381"/>
                  </a:lnTo>
                  <a:lnTo>
                    <a:pt x="285" y="379"/>
                  </a:lnTo>
                  <a:lnTo>
                    <a:pt x="285" y="379"/>
                  </a:lnTo>
                  <a:lnTo>
                    <a:pt x="287" y="379"/>
                  </a:lnTo>
                  <a:lnTo>
                    <a:pt x="287" y="379"/>
                  </a:lnTo>
                  <a:lnTo>
                    <a:pt x="287" y="377"/>
                  </a:lnTo>
                  <a:lnTo>
                    <a:pt x="289" y="377"/>
                  </a:lnTo>
                  <a:lnTo>
                    <a:pt x="289" y="377"/>
                  </a:lnTo>
                  <a:lnTo>
                    <a:pt x="289" y="377"/>
                  </a:lnTo>
                  <a:lnTo>
                    <a:pt x="289" y="375"/>
                  </a:lnTo>
                  <a:lnTo>
                    <a:pt x="289" y="375"/>
                  </a:lnTo>
                  <a:lnTo>
                    <a:pt x="291" y="375"/>
                  </a:lnTo>
                  <a:lnTo>
                    <a:pt x="291" y="375"/>
                  </a:lnTo>
                  <a:lnTo>
                    <a:pt x="291" y="375"/>
                  </a:lnTo>
                  <a:lnTo>
                    <a:pt x="291" y="373"/>
                  </a:lnTo>
                  <a:lnTo>
                    <a:pt x="293" y="373"/>
                  </a:lnTo>
                  <a:lnTo>
                    <a:pt x="295" y="373"/>
                  </a:lnTo>
                  <a:lnTo>
                    <a:pt x="295" y="373"/>
                  </a:lnTo>
                  <a:lnTo>
                    <a:pt x="295" y="373"/>
                  </a:lnTo>
                  <a:lnTo>
                    <a:pt x="295" y="373"/>
                  </a:lnTo>
                  <a:lnTo>
                    <a:pt x="295" y="371"/>
                  </a:lnTo>
                  <a:lnTo>
                    <a:pt x="295" y="371"/>
                  </a:lnTo>
                  <a:lnTo>
                    <a:pt x="295" y="371"/>
                  </a:lnTo>
                  <a:lnTo>
                    <a:pt x="295" y="371"/>
                  </a:lnTo>
                  <a:lnTo>
                    <a:pt x="295" y="369"/>
                  </a:lnTo>
                  <a:lnTo>
                    <a:pt x="295" y="369"/>
                  </a:lnTo>
                  <a:lnTo>
                    <a:pt x="295" y="369"/>
                  </a:lnTo>
                  <a:lnTo>
                    <a:pt x="295" y="369"/>
                  </a:lnTo>
                  <a:lnTo>
                    <a:pt x="295" y="369"/>
                  </a:lnTo>
                  <a:lnTo>
                    <a:pt x="297" y="369"/>
                  </a:lnTo>
                  <a:lnTo>
                    <a:pt x="297" y="369"/>
                  </a:lnTo>
                  <a:lnTo>
                    <a:pt x="301" y="371"/>
                  </a:lnTo>
                  <a:lnTo>
                    <a:pt x="303" y="373"/>
                  </a:lnTo>
                  <a:lnTo>
                    <a:pt x="303" y="375"/>
                  </a:lnTo>
                  <a:lnTo>
                    <a:pt x="303" y="375"/>
                  </a:lnTo>
                  <a:lnTo>
                    <a:pt x="303" y="375"/>
                  </a:lnTo>
                  <a:lnTo>
                    <a:pt x="303" y="377"/>
                  </a:lnTo>
                  <a:lnTo>
                    <a:pt x="303" y="377"/>
                  </a:lnTo>
                  <a:lnTo>
                    <a:pt x="307" y="379"/>
                  </a:lnTo>
                  <a:lnTo>
                    <a:pt x="309" y="379"/>
                  </a:lnTo>
                  <a:lnTo>
                    <a:pt x="309" y="379"/>
                  </a:lnTo>
                  <a:lnTo>
                    <a:pt x="309" y="381"/>
                  </a:lnTo>
                  <a:lnTo>
                    <a:pt x="309" y="381"/>
                  </a:lnTo>
                  <a:lnTo>
                    <a:pt x="309" y="381"/>
                  </a:lnTo>
                  <a:lnTo>
                    <a:pt x="309" y="383"/>
                  </a:lnTo>
                  <a:lnTo>
                    <a:pt x="309" y="383"/>
                  </a:lnTo>
                  <a:lnTo>
                    <a:pt x="309" y="383"/>
                  </a:lnTo>
                  <a:lnTo>
                    <a:pt x="309" y="385"/>
                  </a:lnTo>
                  <a:lnTo>
                    <a:pt x="307" y="385"/>
                  </a:lnTo>
                  <a:lnTo>
                    <a:pt x="307" y="387"/>
                  </a:lnTo>
                  <a:lnTo>
                    <a:pt x="307" y="387"/>
                  </a:lnTo>
                  <a:lnTo>
                    <a:pt x="307" y="387"/>
                  </a:lnTo>
                  <a:lnTo>
                    <a:pt x="307" y="389"/>
                  </a:lnTo>
                  <a:lnTo>
                    <a:pt x="311" y="389"/>
                  </a:lnTo>
                  <a:lnTo>
                    <a:pt x="311" y="391"/>
                  </a:lnTo>
                  <a:lnTo>
                    <a:pt x="311" y="391"/>
                  </a:lnTo>
                  <a:lnTo>
                    <a:pt x="311" y="391"/>
                  </a:lnTo>
                  <a:lnTo>
                    <a:pt x="311" y="391"/>
                  </a:lnTo>
                  <a:lnTo>
                    <a:pt x="311" y="394"/>
                  </a:lnTo>
                  <a:lnTo>
                    <a:pt x="311" y="396"/>
                  </a:lnTo>
                  <a:lnTo>
                    <a:pt x="311" y="396"/>
                  </a:lnTo>
                  <a:lnTo>
                    <a:pt x="309" y="396"/>
                  </a:lnTo>
                  <a:lnTo>
                    <a:pt x="309" y="398"/>
                  </a:lnTo>
                  <a:lnTo>
                    <a:pt x="309" y="398"/>
                  </a:lnTo>
                  <a:lnTo>
                    <a:pt x="309" y="398"/>
                  </a:lnTo>
                  <a:lnTo>
                    <a:pt x="309" y="398"/>
                  </a:lnTo>
                  <a:lnTo>
                    <a:pt x="309" y="400"/>
                  </a:lnTo>
                  <a:lnTo>
                    <a:pt x="309" y="400"/>
                  </a:lnTo>
                  <a:lnTo>
                    <a:pt x="309" y="402"/>
                  </a:lnTo>
                  <a:lnTo>
                    <a:pt x="311" y="404"/>
                  </a:lnTo>
                  <a:lnTo>
                    <a:pt x="313" y="404"/>
                  </a:lnTo>
                  <a:lnTo>
                    <a:pt x="313" y="404"/>
                  </a:lnTo>
                  <a:lnTo>
                    <a:pt x="313" y="406"/>
                  </a:lnTo>
                  <a:lnTo>
                    <a:pt x="311" y="408"/>
                  </a:lnTo>
                  <a:lnTo>
                    <a:pt x="311" y="410"/>
                  </a:lnTo>
                  <a:lnTo>
                    <a:pt x="311" y="410"/>
                  </a:lnTo>
                  <a:lnTo>
                    <a:pt x="311" y="412"/>
                  </a:lnTo>
                  <a:lnTo>
                    <a:pt x="311" y="412"/>
                  </a:lnTo>
                  <a:lnTo>
                    <a:pt x="311" y="412"/>
                  </a:lnTo>
                  <a:lnTo>
                    <a:pt x="313" y="412"/>
                  </a:lnTo>
                  <a:lnTo>
                    <a:pt x="313" y="414"/>
                  </a:lnTo>
                  <a:lnTo>
                    <a:pt x="315" y="414"/>
                  </a:lnTo>
                  <a:lnTo>
                    <a:pt x="315" y="416"/>
                  </a:lnTo>
                  <a:lnTo>
                    <a:pt x="315" y="416"/>
                  </a:lnTo>
                  <a:lnTo>
                    <a:pt x="315" y="418"/>
                  </a:lnTo>
                  <a:lnTo>
                    <a:pt x="315" y="418"/>
                  </a:lnTo>
                  <a:lnTo>
                    <a:pt x="315" y="418"/>
                  </a:lnTo>
                  <a:lnTo>
                    <a:pt x="317" y="420"/>
                  </a:lnTo>
                  <a:lnTo>
                    <a:pt x="317" y="422"/>
                  </a:lnTo>
                  <a:lnTo>
                    <a:pt x="319" y="422"/>
                  </a:lnTo>
                  <a:lnTo>
                    <a:pt x="319" y="424"/>
                  </a:lnTo>
                  <a:lnTo>
                    <a:pt x="319" y="424"/>
                  </a:lnTo>
                  <a:lnTo>
                    <a:pt x="319" y="426"/>
                  </a:lnTo>
                  <a:lnTo>
                    <a:pt x="321" y="426"/>
                  </a:lnTo>
                  <a:lnTo>
                    <a:pt x="321" y="426"/>
                  </a:lnTo>
                  <a:lnTo>
                    <a:pt x="321" y="428"/>
                  </a:lnTo>
                  <a:lnTo>
                    <a:pt x="321" y="428"/>
                  </a:lnTo>
                  <a:lnTo>
                    <a:pt x="321" y="428"/>
                  </a:lnTo>
                  <a:lnTo>
                    <a:pt x="321" y="430"/>
                  </a:lnTo>
                  <a:lnTo>
                    <a:pt x="321" y="430"/>
                  </a:lnTo>
                  <a:lnTo>
                    <a:pt x="321" y="430"/>
                  </a:lnTo>
                  <a:lnTo>
                    <a:pt x="321" y="432"/>
                  </a:lnTo>
                  <a:lnTo>
                    <a:pt x="321" y="432"/>
                  </a:lnTo>
                  <a:lnTo>
                    <a:pt x="323" y="432"/>
                  </a:lnTo>
                  <a:lnTo>
                    <a:pt x="325" y="432"/>
                  </a:lnTo>
                  <a:lnTo>
                    <a:pt x="325" y="432"/>
                  </a:lnTo>
                  <a:lnTo>
                    <a:pt x="325" y="435"/>
                  </a:lnTo>
                  <a:lnTo>
                    <a:pt x="325" y="437"/>
                  </a:lnTo>
                  <a:lnTo>
                    <a:pt x="325" y="437"/>
                  </a:lnTo>
                  <a:lnTo>
                    <a:pt x="328" y="441"/>
                  </a:lnTo>
                  <a:lnTo>
                    <a:pt x="330" y="441"/>
                  </a:lnTo>
                  <a:lnTo>
                    <a:pt x="330" y="445"/>
                  </a:lnTo>
                  <a:lnTo>
                    <a:pt x="330" y="445"/>
                  </a:lnTo>
                  <a:lnTo>
                    <a:pt x="330" y="447"/>
                  </a:lnTo>
                  <a:lnTo>
                    <a:pt x="330" y="447"/>
                  </a:lnTo>
                  <a:lnTo>
                    <a:pt x="330" y="447"/>
                  </a:lnTo>
                  <a:lnTo>
                    <a:pt x="330" y="449"/>
                  </a:lnTo>
                  <a:lnTo>
                    <a:pt x="330" y="451"/>
                  </a:lnTo>
                  <a:lnTo>
                    <a:pt x="328" y="451"/>
                  </a:lnTo>
                  <a:lnTo>
                    <a:pt x="328" y="451"/>
                  </a:lnTo>
                  <a:lnTo>
                    <a:pt x="328" y="451"/>
                  </a:lnTo>
                  <a:lnTo>
                    <a:pt x="325" y="453"/>
                  </a:lnTo>
                  <a:lnTo>
                    <a:pt x="325" y="453"/>
                  </a:lnTo>
                  <a:lnTo>
                    <a:pt x="325" y="453"/>
                  </a:lnTo>
                  <a:lnTo>
                    <a:pt x="325" y="453"/>
                  </a:lnTo>
                  <a:lnTo>
                    <a:pt x="325" y="453"/>
                  </a:lnTo>
                  <a:lnTo>
                    <a:pt x="325" y="455"/>
                  </a:lnTo>
                  <a:lnTo>
                    <a:pt x="325" y="455"/>
                  </a:lnTo>
                  <a:lnTo>
                    <a:pt x="328" y="455"/>
                  </a:lnTo>
                  <a:lnTo>
                    <a:pt x="328" y="457"/>
                  </a:lnTo>
                  <a:lnTo>
                    <a:pt x="328" y="459"/>
                  </a:lnTo>
                  <a:lnTo>
                    <a:pt x="328" y="461"/>
                  </a:lnTo>
                  <a:lnTo>
                    <a:pt x="328" y="461"/>
                  </a:lnTo>
                  <a:lnTo>
                    <a:pt x="330" y="463"/>
                  </a:lnTo>
                  <a:lnTo>
                    <a:pt x="334" y="465"/>
                  </a:lnTo>
                  <a:lnTo>
                    <a:pt x="334" y="465"/>
                  </a:lnTo>
                  <a:lnTo>
                    <a:pt x="334" y="465"/>
                  </a:lnTo>
                  <a:lnTo>
                    <a:pt x="334" y="467"/>
                  </a:lnTo>
                  <a:lnTo>
                    <a:pt x="334" y="469"/>
                  </a:lnTo>
                  <a:lnTo>
                    <a:pt x="336" y="469"/>
                  </a:lnTo>
                  <a:lnTo>
                    <a:pt x="336" y="469"/>
                  </a:lnTo>
                  <a:lnTo>
                    <a:pt x="338" y="469"/>
                  </a:lnTo>
                  <a:lnTo>
                    <a:pt x="338" y="469"/>
                  </a:lnTo>
                  <a:lnTo>
                    <a:pt x="338" y="469"/>
                  </a:lnTo>
                  <a:lnTo>
                    <a:pt x="340" y="467"/>
                  </a:lnTo>
                  <a:lnTo>
                    <a:pt x="340" y="467"/>
                  </a:lnTo>
                  <a:lnTo>
                    <a:pt x="342" y="467"/>
                  </a:lnTo>
                  <a:lnTo>
                    <a:pt x="342" y="467"/>
                  </a:lnTo>
                  <a:lnTo>
                    <a:pt x="344" y="467"/>
                  </a:lnTo>
                  <a:lnTo>
                    <a:pt x="346" y="467"/>
                  </a:lnTo>
                  <a:lnTo>
                    <a:pt x="346" y="469"/>
                  </a:lnTo>
                  <a:lnTo>
                    <a:pt x="348" y="471"/>
                  </a:lnTo>
                  <a:lnTo>
                    <a:pt x="350" y="473"/>
                  </a:lnTo>
                  <a:lnTo>
                    <a:pt x="350" y="473"/>
                  </a:lnTo>
                  <a:lnTo>
                    <a:pt x="350" y="475"/>
                  </a:lnTo>
                  <a:lnTo>
                    <a:pt x="352" y="475"/>
                  </a:lnTo>
                  <a:lnTo>
                    <a:pt x="352" y="478"/>
                  </a:lnTo>
                  <a:lnTo>
                    <a:pt x="352" y="478"/>
                  </a:lnTo>
                  <a:lnTo>
                    <a:pt x="352" y="478"/>
                  </a:lnTo>
                  <a:lnTo>
                    <a:pt x="352" y="478"/>
                  </a:lnTo>
                  <a:lnTo>
                    <a:pt x="352" y="480"/>
                  </a:lnTo>
                  <a:lnTo>
                    <a:pt x="352" y="480"/>
                  </a:lnTo>
                  <a:lnTo>
                    <a:pt x="352" y="480"/>
                  </a:lnTo>
                  <a:lnTo>
                    <a:pt x="354" y="480"/>
                  </a:lnTo>
                  <a:lnTo>
                    <a:pt x="354" y="482"/>
                  </a:lnTo>
                  <a:lnTo>
                    <a:pt x="354" y="482"/>
                  </a:lnTo>
                  <a:lnTo>
                    <a:pt x="354" y="482"/>
                  </a:lnTo>
                  <a:lnTo>
                    <a:pt x="354" y="484"/>
                  </a:lnTo>
                  <a:lnTo>
                    <a:pt x="354" y="484"/>
                  </a:lnTo>
                  <a:lnTo>
                    <a:pt x="356" y="486"/>
                  </a:lnTo>
                  <a:lnTo>
                    <a:pt x="356" y="486"/>
                  </a:lnTo>
                  <a:lnTo>
                    <a:pt x="356" y="488"/>
                  </a:lnTo>
                  <a:lnTo>
                    <a:pt x="356" y="488"/>
                  </a:lnTo>
                  <a:lnTo>
                    <a:pt x="356" y="488"/>
                  </a:lnTo>
                  <a:lnTo>
                    <a:pt x="356" y="488"/>
                  </a:lnTo>
                  <a:lnTo>
                    <a:pt x="356" y="490"/>
                  </a:lnTo>
                  <a:lnTo>
                    <a:pt x="354" y="490"/>
                  </a:lnTo>
                  <a:lnTo>
                    <a:pt x="354" y="490"/>
                  </a:lnTo>
                  <a:lnTo>
                    <a:pt x="354" y="490"/>
                  </a:lnTo>
                  <a:lnTo>
                    <a:pt x="354" y="490"/>
                  </a:lnTo>
                  <a:lnTo>
                    <a:pt x="354" y="492"/>
                  </a:lnTo>
                  <a:lnTo>
                    <a:pt x="354" y="492"/>
                  </a:lnTo>
                  <a:lnTo>
                    <a:pt x="356" y="494"/>
                  </a:lnTo>
                  <a:lnTo>
                    <a:pt x="356" y="494"/>
                  </a:lnTo>
                  <a:lnTo>
                    <a:pt x="356" y="496"/>
                  </a:lnTo>
                  <a:lnTo>
                    <a:pt x="356" y="496"/>
                  </a:lnTo>
                  <a:lnTo>
                    <a:pt x="356" y="496"/>
                  </a:lnTo>
                  <a:lnTo>
                    <a:pt x="356" y="498"/>
                  </a:lnTo>
                  <a:lnTo>
                    <a:pt x="358" y="498"/>
                  </a:lnTo>
                  <a:lnTo>
                    <a:pt x="358" y="498"/>
                  </a:lnTo>
                  <a:lnTo>
                    <a:pt x="358" y="500"/>
                  </a:lnTo>
                  <a:lnTo>
                    <a:pt x="358" y="500"/>
                  </a:lnTo>
                  <a:lnTo>
                    <a:pt x="358" y="502"/>
                  </a:lnTo>
                  <a:lnTo>
                    <a:pt x="356" y="502"/>
                  </a:lnTo>
                  <a:lnTo>
                    <a:pt x="356" y="502"/>
                  </a:lnTo>
                  <a:lnTo>
                    <a:pt x="356" y="504"/>
                  </a:lnTo>
                  <a:lnTo>
                    <a:pt x="358" y="504"/>
                  </a:lnTo>
                  <a:lnTo>
                    <a:pt x="358" y="504"/>
                  </a:lnTo>
                  <a:lnTo>
                    <a:pt x="358" y="506"/>
                  </a:lnTo>
                  <a:lnTo>
                    <a:pt x="358" y="506"/>
                  </a:lnTo>
                  <a:lnTo>
                    <a:pt x="358" y="508"/>
                  </a:lnTo>
                  <a:lnTo>
                    <a:pt x="360" y="508"/>
                  </a:lnTo>
                  <a:lnTo>
                    <a:pt x="360" y="508"/>
                  </a:lnTo>
                  <a:lnTo>
                    <a:pt x="360" y="508"/>
                  </a:lnTo>
                  <a:lnTo>
                    <a:pt x="362" y="510"/>
                  </a:lnTo>
                  <a:lnTo>
                    <a:pt x="362" y="510"/>
                  </a:lnTo>
                  <a:lnTo>
                    <a:pt x="362" y="512"/>
                  </a:lnTo>
                  <a:lnTo>
                    <a:pt x="366" y="512"/>
                  </a:lnTo>
                  <a:lnTo>
                    <a:pt x="366" y="514"/>
                  </a:lnTo>
                  <a:lnTo>
                    <a:pt x="366" y="514"/>
                  </a:lnTo>
                  <a:lnTo>
                    <a:pt x="369" y="516"/>
                  </a:lnTo>
                  <a:lnTo>
                    <a:pt x="369" y="516"/>
                  </a:lnTo>
                  <a:lnTo>
                    <a:pt x="371" y="516"/>
                  </a:lnTo>
                  <a:lnTo>
                    <a:pt x="371" y="516"/>
                  </a:lnTo>
                  <a:lnTo>
                    <a:pt x="371" y="516"/>
                  </a:lnTo>
                  <a:lnTo>
                    <a:pt x="371" y="516"/>
                  </a:lnTo>
                  <a:lnTo>
                    <a:pt x="371" y="512"/>
                  </a:lnTo>
                  <a:lnTo>
                    <a:pt x="371" y="512"/>
                  </a:lnTo>
                  <a:lnTo>
                    <a:pt x="371" y="512"/>
                  </a:lnTo>
                  <a:lnTo>
                    <a:pt x="371" y="512"/>
                  </a:lnTo>
                  <a:lnTo>
                    <a:pt x="371" y="510"/>
                  </a:lnTo>
                  <a:lnTo>
                    <a:pt x="371" y="510"/>
                  </a:lnTo>
                  <a:lnTo>
                    <a:pt x="373" y="510"/>
                  </a:lnTo>
                  <a:lnTo>
                    <a:pt x="377" y="506"/>
                  </a:lnTo>
                  <a:lnTo>
                    <a:pt x="377" y="506"/>
                  </a:lnTo>
                  <a:lnTo>
                    <a:pt x="379" y="506"/>
                  </a:lnTo>
                  <a:lnTo>
                    <a:pt x="381" y="506"/>
                  </a:lnTo>
                  <a:lnTo>
                    <a:pt x="381" y="504"/>
                  </a:lnTo>
                  <a:lnTo>
                    <a:pt x="383" y="504"/>
                  </a:lnTo>
                  <a:lnTo>
                    <a:pt x="383" y="504"/>
                  </a:lnTo>
                  <a:lnTo>
                    <a:pt x="385" y="506"/>
                  </a:lnTo>
                  <a:lnTo>
                    <a:pt x="395" y="508"/>
                  </a:lnTo>
                  <a:lnTo>
                    <a:pt x="395" y="508"/>
                  </a:lnTo>
                  <a:lnTo>
                    <a:pt x="395" y="508"/>
                  </a:lnTo>
                  <a:lnTo>
                    <a:pt x="397" y="510"/>
                  </a:lnTo>
                  <a:lnTo>
                    <a:pt x="397" y="510"/>
                  </a:lnTo>
                  <a:lnTo>
                    <a:pt x="399" y="510"/>
                  </a:lnTo>
                  <a:lnTo>
                    <a:pt x="401" y="510"/>
                  </a:lnTo>
                  <a:lnTo>
                    <a:pt x="401" y="510"/>
                  </a:lnTo>
                  <a:lnTo>
                    <a:pt x="403" y="510"/>
                  </a:lnTo>
                  <a:lnTo>
                    <a:pt x="403" y="512"/>
                  </a:lnTo>
                  <a:lnTo>
                    <a:pt x="403" y="512"/>
                  </a:lnTo>
                  <a:lnTo>
                    <a:pt x="403" y="512"/>
                  </a:lnTo>
                  <a:lnTo>
                    <a:pt x="405" y="512"/>
                  </a:lnTo>
                  <a:lnTo>
                    <a:pt x="405" y="512"/>
                  </a:lnTo>
                  <a:lnTo>
                    <a:pt x="407" y="512"/>
                  </a:lnTo>
                  <a:lnTo>
                    <a:pt x="407" y="512"/>
                  </a:lnTo>
                  <a:lnTo>
                    <a:pt x="407" y="512"/>
                  </a:lnTo>
                  <a:lnTo>
                    <a:pt x="409" y="508"/>
                  </a:lnTo>
                  <a:lnTo>
                    <a:pt x="409" y="506"/>
                  </a:lnTo>
                  <a:lnTo>
                    <a:pt x="412" y="506"/>
                  </a:lnTo>
                  <a:lnTo>
                    <a:pt x="412" y="504"/>
                  </a:lnTo>
                  <a:lnTo>
                    <a:pt x="412" y="504"/>
                  </a:lnTo>
                  <a:lnTo>
                    <a:pt x="414" y="504"/>
                  </a:lnTo>
                  <a:lnTo>
                    <a:pt x="414" y="504"/>
                  </a:lnTo>
                  <a:lnTo>
                    <a:pt x="416" y="504"/>
                  </a:lnTo>
                  <a:lnTo>
                    <a:pt x="416" y="504"/>
                  </a:lnTo>
                  <a:lnTo>
                    <a:pt x="418" y="504"/>
                  </a:lnTo>
                  <a:lnTo>
                    <a:pt x="418" y="502"/>
                  </a:lnTo>
                  <a:lnTo>
                    <a:pt x="418" y="502"/>
                  </a:lnTo>
                  <a:lnTo>
                    <a:pt x="420" y="502"/>
                  </a:lnTo>
                  <a:lnTo>
                    <a:pt x="420" y="502"/>
                  </a:lnTo>
                  <a:lnTo>
                    <a:pt x="422" y="504"/>
                  </a:lnTo>
                  <a:lnTo>
                    <a:pt x="422" y="504"/>
                  </a:lnTo>
                  <a:lnTo>
                    <a:pt x="422" y="504"/>
                  </a:lnTo>
                  <a:lnTo>
                    <a:pt x="424" y="504"/>
                  </a:lnTo>
                  <a:lnTo>
                    <a:pt x="426" y="504"/>
                  </a:lnTo>
                  <a:lnTo>
                    <a:pt x="428" y="506"/>
                  </a:lnTo>
                  <a:lnTo>
                    <a:pt x="430" y="506"/>
                  </a:lnTo>
                  <a:lnTo>
                    <a:pt x="430" y="506"/>
                  </a:lnTo>
                  <a:lnTo>
                    <a:pt x="438" y="506"/>
                  </a:lnTo>
                  <a:lnTo>
                    <a:pt x="440" y="506"/>
                  </a:lnTo>
                  <a:lnTo>
                    <a:pt x="440" y="506"/>
                  </a:lnTo>
                  <a:lnTo>
                    <a:pt x="442" y="506"/>
                  </a:lnTo>
                  <a:lnTo>
                    <a:pt x="442" y="506"/>
                  </a:lnTo>
                  <a:lnTo>
                    <a:pt x="442" y="506"/>
                  </a:lnTo>
                  <a:lnTo>
                    <a:pt x="444" y="506"/>
                  </a:lnTo>
                  <a:lnTo>
                    <a:pt x="444" y="506"/>
                  </a:lnTo>
                  <a:lnTo>
                    <a:pt x="448" y="506"/>
                  </a:lnTo>
                  <a:lnTo>
                    <a:pt x="448" y="506"/>
                  </a:lnTo>
                  <a:lnTo>
                    <a:pt x="450" y="508"/>
                  </a:lnTo>
                  <a:lnTo>
                    <a:pt x="450" y="508"/>
                  </a:lnTo>
                  <a:lnTo>
                    <a:pt x="450" y="508"/>
                  </a:lnTo>
                  <a:lnTo>
                    <a:pt x="450" y="510"/>
                  </a:lnTo>
                  <a:lnTo>
                    <a:pt x="450" y="510"/>
                  </a:lnTo>
                  <a:lnTo>
                    <a:pt x="452" y="510"/>
                  </a:lnTo>
                  <a:lnTo>
                    <a:pt x="452" y="510"/>
                  </a:lnTo>
                  <a:lnTo>
                    <a:pt x="452" y="510"/>
                  </a:lnTo>
                  <a:lnTo>
                    <a:pt x="455" y="510"/>
                  </a:lnTo>
                  <a:lnTo>
                    <a:pt x="455" y="510"/>
                  </a:lnTo>
                  <a:lnTo>
                    <a:pt x="457" y="510"/>
                  </a:lnTo>
                  <a:lnTo>
                    <a:pt x="459" y="510"/>
                  </a:lnTo>
                  <a:lnTo>
                    <a:pt x="459" y="510"/>
                  </a:lnTo>
                  <a:lnTo>
                    <a:pt x="463" y="508"/>
                  </a:lnTo>
                  <a:lnTo>
                    <a:pt x="463" y="508"/>
                  </a:lnTo>
                  <a:lnTo>
                    <a:pt x="473" y="508"/>
                  </a:lnTo>
                  <a:lnTo>
                    <a:pt x="473" y="508"/>
                  </a:lnTo>
                  <a:lnTo>
                    <a:pt x="475" y="510"/>
                  </a:lnTo>
                  <a:lnTo>
                    <a:pt x="477" y="510"/>
                  </a:lnTo>
                  <a:lnTo>
                    <a:pt x="477" y="510"/>
                  </a:lnTo>
                  <a:lnTo>
                    <a:pt x="477" y="510"/>
                  </a:lnTo>
                  <a:lnTo>
                    <a:pt x="479" y="510"/>
                  </a:lnTo>
                  <a:lnTo>
                    <a:pt x="479" y="510"/>
                  </a:lnTo>
                  <a:lnTo>
                    <a:pt x="481" y="510"/>
                  </a:lnTo>
                  <a:lnTo>
                    <a:pt x="481" y="510"/>
                  </a:lnTo>
                  <a:lnTo>
                    <a:pt x="481" y="510"/>
                  </a:lnTo>
                  <a:lnTo>
                    <a:pt x="479" y="510"/>
                  </a:lnTo>
                  <a:lnTo>
                    <a:pt x="477" y="508"/>
                  </a:lnTo>
                  <a:lnTo>
                    <a:pt x="477" y="508"/>
                  </a:lnTo>
                  <a:lnTo>
                    <a:pt x="477" y="508"/>
                  </a:lnTo>
                  <a:lnTo>
                    <a:pt x="477" y="508"/>
                  </a:lnTo>
                  <a:lnTo>
                    <a:pt x="477" y="508"/>
                  </a:lnTo>
                  <a:lnTo>
                    <a:pt x="477" y="506"/>
                  </a:lnTo>
                  <a:lnTo>
                    <a:pt x="477" y="506"/>
                  </a:lnTo>
                  <a:lnTo>
                    <a:pt x="477" y="506"/>
                  </a:lnTo>
                  <a:lnTo>
                    <a:pt x="477" y="504"/>
                  </a:lnTo>
                  <a:lnTo>
                    <a:pt x="477" y="504"/>
                  </a:lnTo>
                  <a:lnTo>
                    <a:pt x="477" y="504"/>
                  </a:lnTo>
                  <a:lnTo>
                    <a:pt x="477" y="502"/>
                  </a:lnTo>
                  <a:lnTo>
                    <a:pt x="477" y="502"/>
                  </a:lnTo>
                  <a:lnTo>
                    <a:pt x="479" y="500"/>
                  </a:lnTo>
                  <a:lnTo>
                    <a:pt x="479" y="500"/>
                  </a:lnTo>
                  <a:lnTo>
                    <a:pt x="479" y="500"/>
                  </a:lnTo>
                  <a:lnTo>
                    <a:pt x="481" y="500"/>
                  </a:lnTo>
                  <a:lnTo>
                    <a:pt x="481" y="500"/>
                  </a:lnTo>
                  <a:lnTo>
                    <a:pt x="481" y="498"/>
                  </a:lnTo>
                  <a:lnTo>
                    <a:pt x="481" y="498"/>
                  </a:lnTo>
                  <a:lnTo>
                    <a:pt x="481" y="498"/>
                  </a:lnTo>
                  <a:lnTo>
                    <a:pt x="481" y="498"/>
                  </a:lnTo>
                  <a:lnTo>
                    <a:pt x="481" y="496"/>
                  </a:lnTo>
                  <a:lnTo>
                    <a:pt x="481" y="496"/>
                  </a:lnTo>
                  <a:lnTo>
                    <a:pt x="481" y="496"/>
                  </a:lnTo>
                  <a:lnTo>
                    <a:pt x="481" y="496"/>
                  </a:lnTo>
                  <a:lnTo>
                    <a:pt x="481" y="494"/>
                  </a:lnTo>
                  <a:lnTo>
                    <a:pt x="481" y="494"/>
                  </a:lnTo>
                  <a:lnTo>
                    <a:pt x="481" y="494"/>
                  </a:lnTo>
                  <a:lnTo>
                    <a:pt x="483" y="494"/>
                  </a:lnTo>
                  <a:lnTo>
                    <a:pt x="483" y="492"/>
                  </a:lnTo>
                  <a:lnTo>
                    <a:pt x="483" y="492"/>
                  </a:lnTo>
                  <a:lnTo>
                    <a:pt x="485" y="492"/>
                  </a:lnTo>
                  <a:lnTo>
                    <a:pt x="487" y="492"/>
                  </a:lnTo>
                  <a:lnTo>
                    <a:pt x="487" y="492"/>
                  </a:lnTo>
                  <a:lnTo>
                    <a:pt x="489" y="490"/>
                  </a:lnTo>
                  <a:lnTo>
                    <a:pt x="489" y="490"/>
                  </a:lnTo>
                  <a:lnTo>
                    <a:pt x="489" y="490"/>
                  </a:lnTo>
                  <a:lnTo>
                    <a:pt x="491" y="490"/>
                  </a:lnTo>
                  <a:lnTo>
                    <a:pt x="493" y="492"/>
                  </a:lnTo>
                  <a:lnTo>
                    <a:pt x="493" y="494"/>
                  </a:lnTo>
                  <a:lnTo>
                    <a:pt x="493" y="496"/>
                  </a:lnTo>
                  <a:lnTo>
                    <a:pt x="498" y="500"/>
                  </a:lnTo>
                  <a:lnTo>
                    <a:pt x="498" y="502"/>
                  </a:lnTo>
                  <a:lnTo>
                    <a:pt x="498" y="502"/>
                  </a:lnTo>
                  <a:lnTo>
                    <a:pt x="500" y="502"/>
                  </a:lnTo>
                  <a:lnTo>
                    <a:pt x="500" y="502"/>
                  </a:lnTo>
                  <a:lnTo>
                    <a:pt x="500" y="504"/>
                  </a:lnTo>
                  <a:lnTo>
                    <a:pt x="500" y="504"/>
                  </a:lnTo>
                  <a:lnTo>
                    <a:pt x="500" y="504"/>
                  </a:lnTo>
                  <a:lnTo>
                    <a:pt x="500" y="506"/>
                  </a:lnTo>
                  <a:lnTo>
                    <a:pt x="500" y="506"/>
                  </a:lnTo>
                  <a:lnTo>
                    <a:pt x="500" y="508"/>
                  </a:lnTo>
                  <a:lnTo>
                    <a:pt x="500" y="508"/>
                  </a:lnTo>
                  <a:lnTo>
                    <a:pt x="500" y="508"/>
                  </a:lnTo>
                  <a:lnTo>
                    <a:pt x="500" y="508"/>
                  </a:lnTo>
                  <a:lnTo>
                    <a:pt x="502" y="510"/>
                  </a:lnTo>
                  <a:lnTo>
                    <a:pt x="502" y="510"/>
                  </a:lnTo>
                  <a:lnTo>
                    <a:pt x="504" y="510"/>
                  </a:lnTo>
                  <a:lnTo>
                    <a:pt x="504" y="512"/>
                  </a:lnTo>
                  <a:lnTo>
                    <a:pt x="506" y="514"/>
                  </a:lnTo>
                  <a:lnTo>
                    <a:pt x="508" y="516"/>
                  </a:lnTo>
                  <a:lnTo>
                    <a:pt x="508" y="519"/>
                  </a:lnTo>
                  <a:lnTo>
                    <a:pt x="512" y="521"/>
                  </a:lnTo>
                  <a:lnTo>
                    <a:pt x="512" y="521"/>
                  </a:lnTo>
                  <a:close/>
                </a:path>
              </a:pathLst>
            </a:custGeom>
            <a:solidFill>
              <a:schemeClr val="accent1"/>
            </a:solidFill>
            <a:ln w="3175" cap="rnd">
              <a:solidFill>
                <a:schemeClr val="bg1"/>
              </a:solidFill>
              <a:prstDash val="solid"/>
              <a:round/>
              <a:headEnd/>
              <a:tailEnd/>
            </a:ln>
          </p:spPr>
          <p:txBody>
            <a:bodyPr vert="horz" wrap="square" lIns="0" tIns="0" rIns="0" bIns="240000" numCol="1" anchor="b"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ID</a:t>
              </a:r>
            </a:p>
          </p:txBody>
        </p:sp>
        <p:sp>
          <p:nvSpPr>
            <p:cNvPr id="122" name="Freeform 43">
              <a:extLst>
                <a:ext uri="{FF2B5EF4-FFF2-40B4-BE49-F238E27FC236}">
                  <a16:creationId xmlns:a16="http://schemas.microsoft.com/office/drawing/2014/main" id="{415303A1-B628-0FD2-82B5-805AD8214110}"/>
                </a:ext>
              </a:extLst>
            </p:cNvPr>
            <p:cNvSpPr>
              <a:spLocks/>
            </p:cNvSpPr>
            <p:nvPr/>
          </p:nvSpPr>
          <p:spPr bwMode="auto">
            <a:xfrm>
              <a:off x="3001" y="723"/>
              <a:ext cx="534" cy="330"/>
            </a:xfrm>
            <a:custGeom>
              <a:avLst/>
              <a:gdLst>
                <a:gd name="T0" fmla="*/ 504 w 534"/>
                <a:gd name="T1" fmla="*/ 113 h 330"/>
                <a:gd name="T2" fmla="*/ 516 w 534"/>
                <a:gd name="T3" fmla="*/ 130 h 330"/>
                <a:gd name="T4" fmla="*/ 530 w 534"/>
                <a:gd name="T5" fmla="*/ 140 h 330"/>
                <a:gd name="T6" fmla="*/ 532 w 534"/>
                <a:gd name="T7" fmla="*/ 169 h 330"/>
                <a:gd name="T8" fmla="*/ 522 w 534"/>
                <a:gd name="T9" fmla="*/ 183 h 330"/>
                <a:gd name="T10" fmla="*/ 522 w 534"/>
                <a:gd name="T11" fmla="*/ 193 h 330"/>
                <a:gd name="T12" fmla="*/ 502 w 534"/>
                <a:gd name="T13" fmla="*/ 205 h 330"/>
                <a:gd name="T14" fmla="*/ 463 w 534"/>
                <a:gd name="T15" fmla="*/ 230 h 330"/>
                <a:gd name="T16" fmla="*/ 475 w 534"/>
                <a:gd name="T17" fmla="*/ 250 h 330"/>
                <a:gd name="T18" fmla="*/ 467 w 534"/>
                <a:gd name="T19" fmla="*/ 283 h 330"/>
                <a:gd name="T20" fmla="*/ 450 w 534"/>
                <a:gd name="T21" fmla="*/ 304 h 330"/>
                <a:gd name="T22" fmla="*/ 444 w 534"/>
                <a:gd name="T23" fmla="*/ 314 h 330"/>
                <a:gd name="T24" fmla="*/ 442 w 534"/>
                <a:gd name="T25" fmla="*/ 330 h 330"/>
                <a:gd name="T26" fmla="*/ 432 w 534"/>
                <a:gd name="T27" fmla="*/ 322 h 330"/>
                <a:gd name="T28" fmla="*/ 428 w 534"/>
                <a:gd name="T29" fmla="*/ 318 h 330"/>
                <a:gd name="T30" fmla="*/ 422 w 534"/>
                <a:gd name="T31" fmla="*/ 314 h 330"/>
                <a:gd name="T32" fmla="*/ 416 w 534"/>
                <a:gd name="T33" fmla="*/ 308 h 330"/>
                <a:gd name="T34" fmla="*/ 303 w 534"/>
                <a:gd name="T35" fmla="*/ 316 h 330"/>
                <a:gd name="T36" fmla="*/ 141 w 534"/>
                <a:gd name="T37" fmla="*/ 324 h 330"/>
                <a:gd name="T38" fmla="*/ 80 w 534"/>
                <a:gd name="T39" fmla="*/ 328 h 330"/>
                <a:gd name="T40" fmla="*/ 80 w 534"/>
                <a:gd name="T41" fmla="*/ 328 h 330"/>
                <a:gd name="T42" fmla="*/ 74 w 534"/>
                <a:gd name="T43" fmla="*/ 320 h 330"/>
                <a:gd name="T44" fmla="*/ 74 w 534"/>
                <a:gd name="T45" fmla="*/ 310 h 330"/>
                <a:gd name="T46" fmla="*/ 74 w 534"/>
                <a:gd name="T47" fmla="*/ 296 h 330"/>
                <a:gd name="T48" fmla="*/ 69 w 534"/>
                <a:gd name="T49" fmla="*/ 283 h 330"/>
                <a:gd name="T50" fmla="*/ 69 w 534"/>
                <a:gd name="T51" fmla="*/ 279 h 330"/>
                <a:gd name="T52" fmla="*/ 69 w 534"/>
                <a:gd name="T53" fmla="*/ 267 h 330"/>
                <a:gd name="T54" fmla="*/ 67 w 534"/>
                <a:gd name="T55" fmla="*/ 253 h 330"/>
                <a:gd name="T56" fmla="*/ 63 w 534"/>
                <a:gd name="T57" fmla="*/ 236 h 330"/>
                <a:gd name="T58" fmla="*/ 57 w 534"/>
                <a:gd name="T59" fmla="*/ 230 h 330"/>
                <a:gd name="T60" fmla="*/ 51 w 534"/>
                <a:gd name="T61" fmla="*/ 228 h 330"/>
                <a:gd name="T62" fmla="*/ 49 w 534"/>
                <a:gd name="T63" fmla="*/ 214 h 330"/>
                <a:gd name="T64" fmla="*/ 51 w 534"/>
                <a:gd name="T65" fmla="*/ 201 h 330"/>
                <a:gd name="T66" fmla="*/ 45 w 534"/>
                <a:gd name="T67" fmla="*/ 187 h 330"/>
                <a:gd name="T68" fmla="*/ 33 w 534"/>
                <a:gd name="T69" fmla="*/ 166 h 330"/>
                <a:gd name="T70" fmla="*/ 26 w 534"/>
                <a:gd name="T71" fmla="*/ 152 h 330"/>
                <a:gd name="T72" fmla="*/ 20 w 534"/>
                <a:gd name="T73" fmla="*/ 130 h 330"/>
                <a:gd name="T74" fmla="*/ 12 w 534"/>
                <a:gd name="T75" fmla="*/ 119 h 330"/>
                <a:gd name="T76" fmla="*/ 10 w 534"/>
                <a:gd name="T77" fmla="*/ 115 h 330"/>
                <a:gd name="T78" fmla="*/ 10 w 534"/>
                <a:gd name="T79" fmla="*/ 111 h 330"/>
                <a:gd name="T80" fmla="*/ 0 w 534"/>
                <a:gd name="T81" fmla="*/ 103 h 330"/>
                <a:gd name="T82" fmla="*/ 4 w 534"/>
                <a:gd name="T83" fmla="*/ 95 h 330"/>
                <a:gd name="T84" fmla="*/ 6 w 534"/>
                <a:gd name="T85" fmla="*/ 91 h 330"/>
                <a:gd name="T86" fmla="*/ 8 w 534"/>
                <a:gd name="T87" fmla="*/ 85 h 330"/>
                <a:gd name="T88" fmla="*/ 10 w 534"/>
                <a:gd name="T89" fmla="*/ 76 h 330"/>
                <a:gd name="T90" fmla="*/ 10 w 534"/>
                <a:gd name="T91" fmla="*/ 72 h 330"/>
                <a:gd name="T92" fmla="*/ 14 w 534"/>
                <a:gd name="T93" fmla="*/ 62 h 330"/>
                <a:gd name="T94" fmla="*/ 10 w 534"/>
                <a:gd name="T95" fmla="*/ 52 h 330"/>
                <a:gd name="T96" fmla="*/ 4 w 534"/>
                <a:gd name="T97" fmla="*/ 52 h 330"/>
                <a:gd name="T98" fmla="*/ 4 w 534"/>
                <a:gd name="T99" fmla="*/ 48 h 330"/>
                <a:gd name="T100" fmla="*/ 8 w 534"/>
                <a:gd name="T101" fmla="*/ 44 h 330"/>
                <a:gd name="T102" fmla="*/ 2 w 534"/>
                <a:gd name="T103" fmla="*/ 31 h 330"/>
                <a:gd name="T104" fmla="*/ 2 w 534"/>
                <a:gd name="T105" fmla="*/ 23 h 330"/>
                <a:gd name="T106" fmla="*/ 170 w 534"/>
                <a:gd name="T107" fmla="*/ 17 h 330"/>
                <a:gd name="T108" fmla="*/ 379 w 534"/>
                <a:gd name="T109" fmla="*/ 5 h 330"/>
                <a:gd name="T110" fmla="*/ 434 w 534"/>
                <a:gd name="T111" fmla="*/ 7 h 330"/>
                <a:gd name="T112" fmla="*/ 446 w 534"/>
                <a:gd name="T113" fmla="*/ 21 h 330"/>
                <a:gd name="T114" fmla="*/ 444 w 534"/>
                <a:gd name="T115" fmla="*/ 52 h 330"/>
                <a:gd name="T116" fmla="*/ 450 w 534"/>
                <a:gd name="T117" fmla="*/ 72 h 330"/>
                <a:gd name="T118" fmla="*/ 483 w 534"/>
                <a:gd name="T119" fmla="*/ 85 h 330"/>
                <a:gd name="T120" fmla="*/ 489 w 534"/>
                <a:gd name="T121" fmla="*/ 99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4" h="330">
                  <a:moveTo>
                    <a:pt x="489" y="99"/>
                  </a:moveTo>
                  <a:lnTo>
                    <a:pt x="487" y="103"/>
                  </a:lnTo>
                  <a:lnTo>
                    <a:pt x="489" y="103"/>
                  </a:lnTo>
                  <a:lnTo>
                    <a:pt x="491" y="105"/>
                  </a:lnTo>
                  <a:lnTo>
                    <a:pt x="493" y="105"/>
                  </a:lnTo>
                  <a:lnTo>
                    <a:pt x="493" y="107"/>
                  </a:lnTo>
                  <a:lnTo>
                    <a:pt x="498" y="109"/>
                  </a:lnTo>
                  <a:lnTo>
                    <a:pt x="504" y="113"/>
                  </a:lnTo>
                  <a:lnTo>
                    <a:pt x="508" y="115"/>
                  </a:lnTo>
                  <a:lnTo>
                    <a:pt x="510" y="119"/>
                  </a:lnTo>
                  <a:lnTo>
                    <a:pt x="510" y="117"/>
                  </a:lnTo>
                  <a:lnTo>
                    <a:pt x="510" y="123"/>
                  </a:lnTo>
                  <a:lnTo>
                    <a:pt x="510" y="125"/>
                  </a:lnTo>
                  <a:lnTo>
                    <a:pt x="514" y="128"/>
                  </a:lnTo>
                  <a:lnTo>
                    <a:pt x="516" y="130"/>
                  </a:lnTo>
                  <a:lnTo>
                    <a:pt x="516" y="130"/>
                  </a:lnTo>
                  <a:lnTo>
                    <a:pt x="518" y="130"/>
                  </a:lnTo>
                  <a:lnTo>
                    <a:pt x="524" y="134"/>
                  </a:lnTo>
                  <a:lnTo>
                    <a:pt x="526" y="134"/>
                  </a:lnTo>
                  <a:lnTo>
                    <a:pt x="528" y="138"/>
                  </a:lnTo>
                  <a:lnTo>
                    <a:pt x="528" y="138"/>
                  </a:lnTo>
                  <a:lnTo>
                    <a:pt x="530" y="138"/>
                  </a:lnTo>
                  <a:lnTo>
                    <a:pt x="530" y="138"/>
                  </a:lnTo>
                  <a:lnTo>
                    <a:pt x="530" y="140"/>
                  </a:lnTo>
                  <a:lnTo>
                    <a:pt x="530" y="142"/>
                  </a:lnTo>
                  <a:lnTo>
                    <a:pt x="532" y="142"/>
                  </a:lnTo>
                  <a:lnTo>
                    <a:pt x="534" y="146"/>
                  </a:lnTo>
                  <a:lnTo>
                    <a:pt x="534" y="148"/>
                  </a:lnTo>
                  <a:lnTo>
                    <a:pt x="534" y="152"/>
                  </a:lnTo>
                  <a:lnTo>
                    <a:pt x="532" y="156"/>
                  </a:lnTo>
                  <a:lnTo>
                    <a:pt x="532" y="162"/>
                  </a:lnTo>
                  <a:lnTo>
                    <a:pt x="532" y="169"/>
                  </a:lnTo>
                  <a:lnTo>
                    <a:pt x="530" y="171"/>
                  </a:lnTo>
                  <a:lnTo>
                    <a:pt x="530" y="171"/>
                  </a:lnTo>
                  <a:lnTo>
                    <a:pt x="528" y="173"/>
                  </a:lnTo>
                  <a:lnTo>
                    <a:pt x="526" y="175"/>
                  </a:lnTo>
                  <a:lnTo>
                    <a:pt x="524" y="177"/>
                  </a:lnTo>
                  <a:lnTo>
                    <a:pt x="524" y="179"/>
                  </a:lnTo>
                  <a:lnTo>
                    <a:pt x="522" y="181"/>
                  </a:lnTo>
                  <a:lnTo>
                    <a:pt x="522" y="183"/>
                  </a:lnTo>
                  <a:lnTo>
                    <a:pt x="522" y="185"/>
                  </a:lnTo>
                  <a:lnTo>
                    <a:pt x="520" y="187"/>
                  </a:lnTo>
                  <a:lnTo>
                    <a:pt x="520" y="187"/>
                  </a:lnTo>
                  <a:lnTo>
                    <a:pt x="522" y="189"/>
                  </a:lnTo>
                  <a:lnTo>
                    <a:pt x="522" y="189"/>
                  </a:lnTo>
                  <a:lnTo>
                    <a:pt x="522" y="191"/>
                  </a:lnTo>
                  <a:lnTo>
                    <a:pt x="522" y="193"/>
                  </a:lnTo>
                  <a:lnTo>
                    <a:pt x="522" y="193"/>
                  </a:lnTo>
                  <a:lnTo>
                    <a:pt x="520" y="195"/>
                  </a:lnTo>
                  <a:lnTo>
                    <a:pt x="516" y="197"/>
                  </a:lnTo>
                  <a:lnTo>
                    <a:pt x="516" y="197"/>
                  </a:lnTo>
                  <a:lnTo>
                    <a:pt x="516" y="199"/>
                  </a:lnTo>
                  <a:lnTo>
                    <a:pt x="514" y="201"/>
                  </a:lnTo>
                  <a:lnTo>
                    <a:pt x="510" y="201"/>
                  </a:lnTo>
                  <a:lnTo>
                    <a:pt x="502" y="205"/>
                  </a:lnTo>
                  <a:lnTo>
                    <a:pt x="502" y="205"/>
                  </a:lnTo>
                  <a:lnTo>
                    <a:pt x="498" y="210"/>
                  </a:lnTo>
                  <a:lnTo>
                    <a:pt x="498" y="212"/>
                  </a:lnTo>
                  <a:lnTo>
                    <a:pt x="493" y="212"/>
                  </a:lnTo>
                  <a:lnTo>
                    <a:pt x="469" y="216"/>
                  </a:lnTo>
                  <a:lnTo>
                    <a:pt x="467" y="218"/>
                  </a:lnTo>
                  <a:lnTo>
                    <a:pt x="465" y="222"/>
                  </a:lnTo>
                  <a:lnTo>
                    <a:pt x="463" y="226"/>
                  </a:lnTo>
                  <a:lnTo>
                    <a:pt x="463" y="230"/>
                  </a:lnTo>
                  <a:lnTo>
                    <a:pt x="463" y="236"/>
                  </a:lnTo>
                  <a:lnTo>
                    <a:pt x="463" y="238"/>
                  </a:lnTo>
                  <a:lnTo>
                    <a:pt x="463" y="240"/>
                  </a:lnTo>
                  <a:lnTo>
                    <a:pt x="465" y="242"/>
                  </a:lnTo>
                  <a:lnTo>
                    <a:pt x="467" y="242"/>
                  </a:lnTo>
                  <a:lnTo>
                    <a:pt x="467" y="244"/>
                  </a:lnTo>
                  <a:lnTo>
                    <a:pt x="471" y="246"/>
                  </a:lnTo>
                  <a:lnTo>
                    <a:pt x="475" y="250"/>
                  </a:lnTo>
                  <a:lnTo>
                    <a:pt x="477" y="255"/>
                  </a:lnTo>
                  <a:lnTo>
                    <a:pt x="477" y="259"/>
                  </a:lnTo>
                  <a:lnTo>
                    <a:pt x="477" y="263"/>
                  </a:lnTo>
                  <a:lnTo>
                    <a:pt x="475" y="267"/>
                  </a:lnTo>
                  <a:lnTo>
                    <a:pt x="469" y="277"/>
                  </a:lnTo>
                  <a:lnTo>
                    <a:pt x="467" y="279"/>
                  </a:lnTo>
                  <a:lnTo>
                    <a:pt x="467" y="281"/>
                  </a:lnTo>
                  <a:lnTo>
                    <a:pt x="467" y="283"/>
                  </a:lnTo>
                  <a:lnTo>
                    <a:pt x="467" y="287"/>
                  </a:lnTo>
                  <a:lnTo>
                    <a:pt x="467" y="289"/>
                  </a:lnTo>
                  <a:lnTo>
                    <a:pt x="465" y="296"/>
                  </a:lnTo>
                  <a:lnTo>
                    <a:pt x="463" y="298"/>
                  </a:lnTo>
                  <a:lnTo>
                    <a:pt x="461" y="300"/>
                  </a:lnTo>
                  <a:lnTo>
                    <a:pt x="457" y="302"/>
                  </a:lnTo>
                  <a:lnTo>
                    <a:pt x="454" y="302"/>
                  </a:lnTo>
                  <a:lnTo>
                    <a:pt x="450" y="304"/>
                  </a:lnTo>
                  <a:lnTo>
                    <a:pt x="448" y="306"/>
                  </a:lnTo>
                  <a:lnTo>
                    <a:pt x="444" y="308"/>
                  </a:lnTo>
                  <a:lnTo>
                    <a:pt x="442" y="310"/>
                  </a:lnTo>
                  <a:lnTo>
                    <a:pt x="442" y="310"/>
                  </a:lnTo>
                  <a:lnTo>
                    <a:pt x="442" y="312"/>
                  </a:lnTo>
                  <a:lnTo>
                    <a:pt x="442" y="312"/>
                  </a:lnTo>
                  <a:lnTo>
                    <a:pt x="442" y="314"/>
                  </a:lnTo>
                  <a:lnTo>
                    <a:pt x="444" y="314"/>
                  </a:lnTo>
                  <a:lnTo>
                    <a:pt x="446" y="316"/>
                  </a:lnTo>
                  <a:lnTo>
                    <a:pt x="446" y="318"/>
                  </a:lnTo>
                  <a:lnTo>
                    <a:pt x="446" y="322"/>
                  </a:lnTo>
                  <a:lnTo>
                    <a:pt x="446" y="324"/>
                  </a:lnTo>
                  <a:lnTo>
                    <a:pt x="446" y="326"/>
                  </a:lnTo>
                  <a:lnTo>
                    <a:pt x="446" y="328"/>
                  </a:lnTo>
                  <a:lnTo>
                    <a:pt x="446" y="328"/>
                  </a:lnTo>
                  <a:lnTo>
                    <a:pt x="442" y="330"/>
                  </a:lnTo>
                  <a:lnTo>
                    <a:pt x="440" y="330"/>
                  </a:lnTo>
                  <a:lnTo>
                    <a:pt x="438" y="330"/>
                  </a:lnTo>
                  <a:lnTo>
                    <a:pt x="436" y="328"/>
                  </a:lnTo>
                  <a:lnTo>
                    <a:pt x="434" y="326"/>
                  </a:lnTo>
                  <a:lnTo>
                    <a:pt x="432" y="324"/>
                  </a:lnTo>
                  <a:lnTo>
                    <a:pt x="432" y="324"/>
                  </a:lnTo>
                  <a:lnTo>
                    <a:pt x="432" y="324"/>
                  </a:lnTo>
                  <a:lnTo>
                    <a:pt x="432" y="322"/>
                  </a:lnTo>
                  <a:lnTo>
                    <a:pt x="432" y="322"/>
                  </a:lnTo>
                  <a:lnTo>
                    <a:pt x="432" y="322"/>
                  </a:lnTo>
                  <a:lnTo>
                    <a:pt x="430" y="320"/>
                  </a:lnTo>
                  <a:lnTo>
                    <a:pt x="428" y="320"/>
                  </a:lnTo>
                  <a:lnTo>
                    <a:pt x="428" y="320"/>
                  </a:lnTo>
                  <a:lnTo>
                    <a:pt x="428" y="320"/>
                  </a:lnTo>
                  <a:lnTo>
                    <a:pt x="428" y="318"/>
                  </a:lnTo>
                  <a:lnTo>
                    <a:pt x="428" y="318"/>
                  </a:lnTo>
                  <a:lnTo>
                    <a:pt x="426" y="318"/>
                  </a:lnTo>
                  <a:lnTo>
                    <a:pt x="426" y="318"/>
                  </a:lnTo>
                  <a:lnTo>
                    <a:pt x="426" y="318"/>
                  </a:lnTo>
                  <a:lnTo>
                    <a:pt x="426" y="318"/>
                  </a:lnTo>
                  <a:lnTo>
                    <a:pt x="426" y="316"/>
                  </a:lnTo>
                  <a:lnTo>
                    <a:pt x="424" y="316"/>
                  </a:lnTo>
                  <a:lnTo>
                    <a:pt x="422" y="314"/>
                  </a:lnTo>
                  <a:lnTo>
                    <a:pt x="422" y="314"/>
                  </a:lnTo>
                  <a:lnTo>
                    <a:pt x="420" y="314"/>
                  </a:lnTo>
                  <a:lnTo>
                    <a:pt x="420" y="314"/>
                  </a:lnTo>
                  <a:lnTo>
                    <a:pt x="420" y="312"/>
                  </a:lnTo>
                  <a:lnTo>
                    <a:pt x="418" y="312"/>
                  </a:lnTo>
                  <a:lnTo>
                    <a:pt x="418" y="310"/>
                  </a:lnTo>
                  <a:lnTo>
                    <a:pt x="418" y="310"/>
                  </a:lnTo>
                  <a:lnTo>
                    <a:pt x="416" y="308"/>
                  </a:lnTo>
                  <a:lnTo>
                    <a:pt x="416" y="308"/>
                  </a:lnTo>
                  <a:lnTo>
                    <a:pt x="416" y="306"/>
                  </a:lnTo>
                  <a:lnTo>
                    <a:pt x="411" y="308"/>
                  </a:lnTo>
                  <a:lnTo>
                    <a:pt x="403" y="308"/>
                  </a:lnTo>
                  <a:lnTo>
                    <a:pt x="383" y="310"/>
                  </a:lnTo>
                  <a:lnTo>
                    <a:pt x="364" y="310"/>
                  </a:lnTo>
                  <a:lnTo>
                    <a:pt x="344" y="312"/>
                  </a:lnTo>
                  <a:lnTo>
                    <a:pt x="323" y="314"/>
                  </a:lnTo>
                  <a:lnTo>
                    <a:pt x="303" y="316"/>
                  </a:lnTo>
                  <a:lnTo>
                    <a:pt x="282" y="316"/>
                  </a:lnTo>
                  <a:lnTo>
                    <a:pt x="262" y="318"/>
                  </a:lnTo>
                  <a:lnTo>
                    <a:pt x="241" y="320"/>
                  </a:lnTo>
                  <a:lnTo>
                    <a:pt x="223" y="320"/>
                  </a:lnTo>
                  <a:lnTo>
                    <a:pt x="203" y="322"/>
                  </a:lnTo>
                  <a:lnTo>
                    <a:pt x="182" y="322"/>
                  </a:lnTo>
                  <a:lnTo>
                    <a:pt x="162" y="324"/>
                  </a:lnTo>
                  <a:lnTo>
                    <a:pt x="141" y="324"/>
                  </a:lnTo>
                  <a:lnTo>
                    <a:pt x="121" y="326"/>
                  </a:lnTo>
                  <a:lnTo>
                    <a:pt x="100" y="326"/>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6"/>
                  </a:lnTo>
                  <a:lnTo>
                    <a:pt x="80" y="324"/>
                  </a:lnTo>
                  <a:lnTo>
                    <a:pt x="80" y="322"/>
                  </a:lnTo>
                  <a:lnTo>
                    <a:pt x="78" y="320"/>
                  </a:lnTo>
                  <a:lnTo>
                    <a:pt x="74" y="320"/>
                  </a:lnTo>
                  <a:lnTo>
                    <a:pt x="72" y="318"/>
                  </a:lnTo>
                  <a:lnTo>
                    <a:pt x="72" y="316"/>
                  </a:lnTo>
                  <a:lnTo>
                    <a:pt x="72" y="316"/>
                  </a:lnTo>
                  <a:lnTo>
                    <a:pt x="72" y="314"/>
                  </a:lnTo>
                  <a:lnTo>
                    <a:pt x="72" y="314"/>
                  </a:lnTo>
                  <a:lnTo>
                    <a:pt x="72" y="312"/>
                  </a:lnTo>
                  <a:lnTo>
                    <a:pt x="72" y="312"/>
                  </a:lnTo>
                  <a:lnTo>
                    <a:pt x="74" y="310"/>
                  </a:lnTo>
                  <a:lnTo>
                    <a:pt x="74" y="308"/>
                  </a:lnTo>
                  <a:lnTo>
                    <a:pt x="74" y="308"/>
                  </a:lnTo>
                  <a:lnTo>
                    <a:pt x="74" y="306"/>
                  </a:lnTo>
                  <a:lnTo>
                    <a:pt x="74" y="304"/>
                  </a:lnTo>
                  <a:lnTo>
                    <a:pt x="74" y="302"/>
                  </a:lnTo>
                  <a:lnTo>
                    <a:pt x="74" y="300"/>
                  </a:lnTo>
                  <a:lnTo>
                    <a:pt x="74" y="298"/>
                  </a:lnTo>
                  <a:lnTo>
                    <a:pt x="74" y="296"/>
                  </a:lnTo>
                  <a:lnTo>
                    <a:pt x="74" y="291"/>
                  </a:lnTo>
                  <a:lnTo>
                    <a:pt x="72" y="291"/>
                  </a:lnTo>
                  <a:lnTo>
                    <a:pt x="74" y="289"/>
                  </a:lnTo>
                  <a:lnTo>
                    <a:pt x="74" y="287"/>
                  </a:lnTo>
                  <a:lnTo>
                    <a:pt x="72" y="287"/>
                  </a:lnTo>
                  <a:lnTo>
                    <a:pt x="72" y="285"/>
                  </a:lnTo>
                  <a:lnTo>
                    <a:pt x="69" y="285"/>
                  </a:lnTo>
                  <a:lnTo>
                    <a:pt x="69" y="283"/>
                  </a:lnTo>
                  <a:lnTo>
                    <a:pt x="69" y="283"/>
                  </a:lnTo>
                  <a:lnTo>
                    <a:pt x="69" y="281"/>
                  </a:lnTo>
                  <a:lnTo>
                    <a:pt x="69" y="281"/>
                  </a:lnTo>
                  <a:lnTo>
                    <a:pt x="69" y="281"/>
                  </a:lnTo>
                  <a:lnTo>
                    <a:pt x="69" y="279"/>
                  </a:lnTo>
                  <a:lnTo>
                    <a:pt x="69" y="279"/>
                  </a:lnTo>
                  <a:lnTo>
                    <a:pt x="69" y="279"/>
                  </a:lnTo>
                  <a:lnTo>
                    <a:pt x="69" y="279"/>
                  </a:lnTo>
                  <a:lnTo>
                    <a:pt x="69" y="279"/>
                  </a:lnTo>
                  <a:lnTo>
                    <a:pt x="69" y="277"/>
                  </a:lnTo>
                  <a:lnTo>
                    <a:pt x="69" y="275"/>
                  </a:lnTo>
                  <a:lnTo>
                    <a:pt x="69" y="273"/>
                  </a:lnTo>
                  <a:lnTo>
                    <a:pt x="69" y="269"/>
                  </a:lnTo>
                  <a:lnTo>
                    <a:pt x="69" y="269"/>
                  </a:lnTo>
                  <a:lnTo>
                    <a:pt x="72" y="267"/>
                  </a:lnTo>
                  <a:lnTo>
                    <a:pt x="69" y="267"/>
                  </a:lnTo>
                  <a:lnTo>
                    <a:pt x="65" y="265"/>
                  </a:lnTo>
                  <a:lnTo>
                    <a:pt x="65" y="265"/>
                  </a:lnTo>
                  <a:lnTo>
                    <a:pt x="65" y="263"/>
                  </a:lnTo>
                  <a:lnTo>
                    <a:pt x="65" y="259"/>
                  </a:lnTo>
                  <a:lnTo>
                    <a:pt x="65" y="257"/>
                  </a:lnTo>
                  <a:lnTo>
                    <a:pt x="67" y="255"/>
                  </a:lnTo>
                  <a:lnTo>
                    <a:pt x="69" y="253"/>
                  </a:lnTo>
                  <a:lnTo>
                    <a:pt x="67" y="253"/>
                  </a:lnTo>
                  <a:lnTo>
                    <a:pt x="67" y="253"/>
                  </a:lnTo>
                  <a:lnTo>
                    <a:pt x="63" y="250"/>
                  </a:lnTo>
                  <a:lnTo>
                    <a:pt x="61" y="250"/>
                  </a:lnTo>
                  <a:lnTo>
                    <a:pt x="63" y="244"/>
                  </a:lnTo>
                  <a:lnTo>
                    <a:pt x="63" y="242"/>
                  </a:lnTo>
                  <a:lnTo>
                    <a:pt x="63" y="238"/>
                  </a:lnTo>
                  <a:lnTo>
                    <a:pt x="63" y="236"/>
                  </a:lnTo>
                  <a:lnTo>
                    <a:pt x="63" y="236"/>
                  </a:lnTo>
                  <a:lnTo>
                    <a:pt x="61" y="236"/>
                  </a:lnTo>
                  <a:lnTo>
                    <a:pt x="59" y="236"/>
                  </a:lnTo>
                  <a:lnTo>
                    <a:pt x="57" y="236"/>
                  </a:lnTo>
                  <a:lnTo>
                    <a:pt x="57" y="234"/>
                  </a:lnTo>
                  <a:lnTo>
                    <a:pt x="57" y="234"/>
                  </a:lnTo>
                  <a:lnTo>
                    <a:pt x="57" y="232"/>
                  </a:lnTo>
                  <a:lnTo>
                    <a:pt x="57" y="230"/>
                  </a:lnTo>
                  <a:lnTo>
                    <a:pt x="57" y="230"/>
                  </a:lnTo>
                  <a:lnTo>
                    <a:pt x="57" y="230"/>
                  </a:lnTo>
                  <a:lnTo>
                    <a:pt x="57" y="228"/>
                  </a:lnTo>
                  <a:lnTo>
                    <a:pt x="57" y="228"/>
                  </a:lnTo>
                  <a:lnTo>
                    <a:pt x="55" y="228"/>
                  </a:lnTo>
                  <a:lnTo>
                    <a:pt x="55" y="228"/>
                  </a:lnTo>
                  <a:lnTo>
                    <a:pt x="53" y="230"/>
                  </a:lnTo>
                  <a:lnTo>
                    <a:pt x="53" y="230"/>
                  </a:lnTo>
                  <a:lnTo>
                    <a:pt x="51" y="228"/>
                  </a:lnTo>
                  <a:lnTo>
                    <a:pt x="51" y="226"/>
                  </a:lnTo>
                  <a:lnTo>
                    <a:pt x="51" y="224"/>
                  </a:lnTo>
                  <a:lnTo>
                    <a:pt x="51" y="224"/>
                  </a:lnTo>
                  <a:lnTo>
                    <a:pt x="49" y="222"/>
                  </a:lnTo>
                  <a:lnTo>
                    <a:pt x="49" y="220"/>
                  </a:lnTo>
                  <a:lnTo>
                    <a:pt x="49" y="218"/>
                  </a:lnTo>
                  <a:lnTo>
                    <a:pt x="49" y="214"/>
                  </a:lnTo>
                  <a:lnTo>
                    <a:pt x="49" y="214"/>
                  </a:lnTo>
                  <a:lnTo>
                    <a:pt x="49" y="212"/>
                  </a:lnTo>
                  <a:lnTo>
                    <a:pt x="49" y="212"/>
                  </a:lnTo>
                  <a:lnTo>
                    <a:pt x="49" y="210"/>
                  </a:lnTo>
                  <a:lnTo>
                    <a:pt x="49" y="210"/>
                  </a:lnTo>
                  <a:lnTo>
                    <a:pt x="49" y="207"/>
                  </a:lnTo>
                  <a:lnTo>
                    <a:pt x="49" y="205"/>
                  </a:lnTo>
                  <a:lnTo>
                    <a:pt x="51" y="203"/>
                  </a:lnTo>
                  <a:lnTo>
                    <a:pt x="51" y="201"/>
                  </a:lnTo>
                  <a:lnTo>
                    <a:pt x="49" y="199"/>
                  </a:lnTo>
                  <a:lnTo>
                    <a:pt x="45" y="195"/>
                  </a:lnTo>
                  <a:lnTo>
                    <a:pt x="45" y="195"/>
                  </a:lnTo>
                  <a:lnTo>
                    <a:pt x="43" y="191"/>
                  </a:lnTo>
                  <a:lnTo>
                    <a:pt x="43" y="191"/>
                  </a:lnTo>
                  <a:lnTo>
                    <a:pt x="43" y="189"/>
                  </a:lnTo>
                  <a:lnTo>
                    <a:pt x="43" y="187"/>
                  </a:lnTo>
                  <a:lnTo>
                    <a:pt x="45" y="187"/>
                  </a:lnTo>
                  <a:lnTo>
                    <a:pt x="43" y="183"/>
                  </a:lnTo>
                  <a:lnTo>
                    <a:pt x="39" y="179"/>
                  </a:lnTo>
                  <a:lnTo>
                    <a:pt x="37" y="179"/>
                  </a:lnTo>
                  <a:lnTo>
                    <a:pt x="35" y="175"/>
                  </a:lnTo>
                  <a:lnTo>
                    <a:pt x="33" y="173"/>
                  </a:lnTo>
                  <a:lnTo>
                    <a:pt x="33" y="171"/>
                  </a:lnTo>
                  <a:lnTo>
                    <a:pt x="33" y="169"/>
                  </a:lnTo>
                  <a:lnTo>
                    <a:pt x="33" y="166"/>
                  </a:lnTo>
                  <a:lnTo>
                    <a:pt x="31" y="164"/>
                  </a:lnTo>
                  <a:lnTo>
                    <a:pt x="28" y="164"/>
                  </a:lnTo>
                  <a:lnTo>
                    <a:pt x="26" y="162"/>
                  </a:lnTo>
                  <a:lnTo>
                    <a:pt x="26" y="160"/>
                  </a:lnTo>
                  <a:lnTo>
                    <a:pt x="26" y="158"/>
                  </a:lnTo>
                  <a:lnTo>
                    <a:pt x="26" y="156"/>
                  </a:lnTo>
                  <a:lnTo>
                    <a:pt x="26" y="154"/>
                  </a:lnTo>
                  <a:lnTo>
                    <a:pt x="26" y="152"/>
                  </a:lnTo>
                  <a:lnTo>
                    <a:pt x="26" y="150"/>
                  </a:lnTo>
                  <a:lnTo>
                    <a:pt x="24" y="148"/>
                  </a:lnTo>
                  <a:lnTo>
                    <a:pt x="24" y="148"/>
                  </a:lnTo>
                  <a:lnTo>
                    <a:pt x="24" y="146"/>
                  </a:lnTo>
                  <a:lnTo>
                    <a:pt x="20" y="142"/>
                  </a:lnTo>
                  <a:lnTo>
                    <a:pt x="22" y="138"/>
                  </a:lnTo>
                  <a:lnTo>
                    <a:pt x="22" y="134"/>
                  </a:lnTo>
                  <a:lnTo>
                    <a:pt x="20" y="130"/>
                  </a:lnTo>
                  <a:lnTo>
                    <a:pt x="20" y="128"/>
                  </a:lnTo>
                  <a:lnTo>
                    <a:pt x="18" y="128"/>
                  </a:lnTo>
                  <a:lnTo>
                    <a:pt x="14" y="128"/>
                  </a:lnTo>
                  <a:lnTo>
                    <a:pt x="14" y="123"/>
                  </a:lnTo>
                  <a:lnTo>
                    <a:pt x="14" y="121"/>
                  </a:lnTo>
                  <a:lnTo>
                    <a:pt x="12" y="121"/>
                  </a:lnTo>
                  <a:lnTo>
                    <a:pt x="12" y="121"/>
                  </a:lnTo>
                  <a:lnTo>
                    <a:pt x="12" y="119"/>
                  </a:lnTo>
                  <a:lnTo>
                    <a:pt x="12" y="119"/>
                  </a:lnTo>
                  <a:lnTo>
                    <a:pt x="12" y="119"/>
                  </a:lnTo>
                  <a:lnTo>
                    <a:pt x="12" y="117"/>
                  </a:lnTo>
                  <a:lnTo>
                    <a:pt x="12" y="117"/>
                  </a:lnTo>
                  <a:lnTo>
                    <a:pt x="12" y="117"/>
                  </a:lnTo>
                  <a:lnTo>
                    <a:pt x="10" y="117"/>
                  </a:lnTo>
                  <a:lnTo>
                    <a:pt x="10" y="115"/>
                  </a:lnTo>
                  <a:lnTo>
                    <a:pt x="10" y="115"/>
                  </a:lnTo>
                  <a:lnTo>
                    <a:pt x="8" y="115"/>
                  </a:lnTo>
                  <a:lnTo>
                    <a:pt x="8" y="115"/>
                  </a:lnTo>
                  <a:lnTo>
                    <a:pt x="10" y="115"/>
                  </a:lnTo>
                  <a:lnTo>
                    <a:pt x="10" y="113"/>
                  </a:lnTo>
                  <a:lnTo>
                    <a:pt x="10" y="113"/>
                  </a:lnTo>
                  <a:lnTo>
                    <a:pt x="10" y="113"/>
                  </a:lnTo>
                  <a:lnTo>
                    <a:pt x="10" y="113"/>
                  </a:lnTo>
                  <a:lnTo>
                    <a:pt x="10" y="111"/>
                  </a:lnTo>
                  <a:lnTo>
                    <a:pt x="10" y="111"/>
                  </a:lnTo>
                  <a:lnTo>
                    <a:pt x="8" y="111"/>
                  </a:lnTo>
                  <a:lnTo>
                    <a:pt x="4" y="107"/>
                  </a:lnTo>
                  <a:lnTo>
                    <a:pt x="4" y="107"/>
                  </a:lnTo>
                  <a:lnTo>
                    <a:pt x="2" y="107"/>
                  </a:lnTo>
                  <a:lnTo>
                    <a:pt x="2" y="105"/>
                  </a:lnTo>
                  <a:lnTo>
                    <a:pt x="2" y="103"/>
                  </a:lnTo>
                  <a:lnTo>
                    <a:pt x="0" y="103"/>
                  </a:lnTo>
                  <a:lnTo>
                    <a:pt x="2" y="101"/>
                  </a:lnTo>
                  <a:lnTo>
                    <a:pt x="2" y="101"/>
                  </a:lnTo>
                  <a:lnTo>
                    <a:pt x="2" y="99"/>
                  </a:lnTo>
                  <a:lnTo>
                    <a:pt x="4" y="97"/>
                  </a:lnTo>
                  <a:lnTo>
                    <a:pt x="4" y="97"/>
                  </a:lnTo>
                  <a:lnTo>
                    <a:pt x="4" y="95"/>
                  </a:lnTo>
                  <a:lnTo>
                    <a:pt x="4" y="95"/>
                  </a:lnTo>
                  <a:lnTo>
                    <a:pt x="4" y="95"/>
                  </a:lnTo>
                  <a:lnTo>
                    <a:pt x="4" y="95"/>
                  </a:lnTo>
                  <a:lnTo>
                    <a:pt x="4" y="93"/>
                  </a:lnTo>
                  <a:lnTo>
                    <a:pt x="4" y="93"/>
                  </a:lnTo>
                  <a:lnTo>
                    <a:pt x="4" y="93"/>
                  </a:lnTo>
                  <a:lnTo>
                    <a:pt x="6" y="93"/>
                  </a:lnTo>
                  <a:lnTo>
                    <a:pt x="6" y="93"/>
                  </a:lnTo>
                  <a:lnTo>
                    <a:pt x="6" y="93"/>
                  </a:lnTo>
                  <a:lnTo>
                    <a:pt x="6" y="91"/>
                  </a:lnTo>
                  <a:lnTo>
                    <a:pt x="6" y="91"/>
                  </a:lnTo>
                  <a:lnTo>
                    <a:pt x="6" y="89"/>
                  </a:lnTo>
                  <a:lnTo>
                    <a:pt x="8" y="89"/>
                  </a:lnTo>
                  <a:lnTo>
                    <a:pt x="8" y="89"/>
                  </a:lnTo>
                  <a:lnTo>
                    <a:pt x="8" y="89"/>
                  </a:lnTo>
                  <a:lnTo>
                    <a:pt x="8" y="89"/>
                  </a:lnTo>
                  <a:lnTo>
                    <a:pt x="8" y="87"/>
                  </a:lnTo>
                  <a:lnTo>
                    <a:pt x="8" y="85"/>
                  </a:lnTo>
                  <a:lnTo>
                    <a:pt x="8" y="82"/>
                  </a:lnTo>
                  <a:lnTo>
                    <a:pt x="8" y="82"/>
                  </a:lnTo>
                  <a:lnTo>
                    <a:pt x="10" y="80"/>
                  </a:lnTo>
                  <a:lnTo>
                    <a:pt x="10" y="80"/>
                  </a:lnTo>
                  <a:lnTo>
                    <a:pt x="10" y="80"/>
                  </a:lnTo>
                  <a:lnTo>
                    <a:pt x="10" y="78"/>
                  </a:lnTo>
                  <a:lnTo>
                    <a:pt x="10" y="76"/>
                  </a:lnTo>
                  <a:lnTo>
                    <a:pt x="10" y="76"/>
                  </a:lnTo>
                  <a:lnTo>
                    <a:pt x="10" y="76"/>
                  </a:lnTo>
                  <a:lnTo>
                    <a:pt x="10" y="76"/>
                  </a:lnTo>
                  <a:lnTo>
                    <a:pt x="10" y="74"/>
                  </a:lnTo>
                  <a:lnTo>
                    <a:pt x="12" y="74"/>
                  </a:lnTo>
                  <a:lnTo>
                    <a:pt x="10" y="74"/>
                  </a:lnTo>
                  <a:lnTo>
                    <a:pt x="10" y="72"/>
                  </a:lnTo>
                  <a:lnTo>
                    <a:pt x="10" y="72"/>
                  </a:lnTo>
                  <a:lnTo>
                    <a:pt x="10" y="72"/>
                  </a:lnTo>
                  <a:lnTo>
                    <a:pt x="10" y="72"/>
                  </a:lnTo>
                  <a:lnTo>
                    <a:pt x="10" y="70"/>
                  </a:lnTo>
                  <a:lnTo>
                    <a:pt x="12" y="68"/>
                  </a:lnTo>
                  <a:lnTo>
                    <a:pt x="14" y="68"/>
                  </a:lnTo>
                  <a:lnTo>
                    <a:pt x="14" y="68"/>
                  </a:lnTo>
                  <a:lnTo>
                    <a:pt x="14" y="62"/>
                  </a:lnTo>
                  <a:lnTo>
                    <a:pt x="14" y="62"/>
                  </a:lnTo>
                  <a:lnTo>
                    <a:pt x="14" y="62"/>
                  </a:lnTo>
                  <a:lnTo>
                    <a:pt x="14" y="60"/>
                  </a:lnTo>
                  <a:lnTo>
                    <a:pt x="14" y="60"/>
                  </a:lnTo>
                  <a:lnTo>
                    <a:pt x="12" y="56"/>
                  </a:lnTo>
                  <a:lnTo>
                    <a:pt x="12" y="54"/>
                  </a:lnTo>
                  <a:lnTo>
                    <a:pt x="12" y="54"/>
                  </a:lnTo>
                  <a:lnTo>
                    <a:pt x="12" y="54"/>
                  </a:lnTo>
                  <a:lnTo>
                    <a:pt x="12" y="52"/>
                  </a:lnTo>
                  <a:lnTo>
                    <a:pt x="10" y="52"/>
                  </a:lnTo>
                  <a:lnTo>
                    <a:pt x="10" y="54"/>
                  </a:lnTo>
                  <a:lnTo>
                    <a:pt x="10" y="54"/>
                  </a:lnTo>
                  <a:lnTo>
                    <a:pt x="8" y="52"/>
                  </a:lnTo>
                  <a:lnTo>
                    <a:pt x="6" y="52"/>
                  </a:lnTo>
                  <a:lnTo>
                    <a:pt x="6" y="52"/>
                  </a:lnTo>
                  <a:lnTo>
                    <a:pt x="6" y="52"/>
                  </a:lnTo>
                  <a:lnTo>
                    <a:pt x="4" y="52"/>
                  </a:lnTo>
                  <a:lnTo>
                    <a:pt x="4" y="52"/>
                  </a:lnTo>
                  <a:lnTo>
                    <a:pt x="4" y="52"/>
                  </a:lnTo>
                  <a:lnTo>
                    <a:pt x="4" y="50"/>
                  </a:lnTo>
                  <a:lnTo>
                    <a:pt x="6" y="50"/>
                  </a:lnTo>
                  <a:lnTo>
                    <a:pt x="6" y="50"/>
                  </a:lnTo>
                  <a:lnTo>
                    <a:pt x="6" y="50"/>
                  </a:lnTo>
                  <a:lnTo>
                    <a:pt x="6" y="48"/>
                  </a:lnTo>
                  <a:lnTo>
                    <a:pt x="4" y="48"/>
                  </a:lnTo>
                  <a:lnTo>
                    <a:pt x="4" y="48"/>
                  </a:lnTo>
                  <a:lnTo>
                    <a:pt x="4" y="46"/>
                  </a:lnTo>
                  <a:lnTo>
                    <a:pt x="4" y="46"/>
                  </a:lnTo>
                  <a:lnTo>
                    <a:pt x="4" y="46"/>
                  </a:lnTo>
                  <a:lnTo>
                    <a:pt x="6" y="46"/>
                  </a:lnTo>
                  <a:lnTo>
                    <a:pt x="6" y="46"/>
                  </a:lnTo>
                  <a:lnTo>
                    <a:pt x="6" y="46"/>
                  </a:lnTo>
                  <a:lnTo>
                    <a:pt x="6" y="46"/>
                  </a:lnTo>
                  <a:lnTo>
                    <a:pt x="8" y="44"/>
                  </a:lnTo>
                  <a:lnTo>
                    <a:pt x="8" y="41"/>
                  </a:lnTo>
                  <a:lnTo>
                    <a:pt x="8" y="35"/>
                  </a:lnTo>
                  <a:lnTo>
                    <a:pt x="6" y="35"/>
                  </a:lnTo>
                  <a:lnTo>
                    <a:pt x="6" y="35"/>
                  </a:lnTo>
                  <a:lnTo>
                    <a:pt x="6" y="33"/>
                  </a:lnTo>
                  <a:lnTo>
                    <a:pt x="4" y="33"/>
                  </a:lnTo>
                  <a:lnTo>
                    <a:pt x="4" y="31"/>
                  </a:lnTo>
                  <a:lnTo>
                    <a:pt x="2" y="31"/>
                  </a:lnTo>
                  <a:lnTo>
                    <a:pt x="2" y="29"/>
                  </a:lnTo>
                  <a:lnTo>
                    <a:pt x="2" y="29"/>
                  </a:lnTo>
                  <a:lnTo>
                    <a:pt x="2" y="27"/>
                  </a:lnTo>
                  <a:lnTo>
                    <a:pt x="2" y="27"/>
                  </a:lnTo>
                  <a:lnTo>
                    <a:pt x="2" y="25"/>
                  </a:lnTo>
                  <a:lnTo>
                    <a:pt x="2" y="25"/>
                  </a:lnTo>
                  <a:lnTo>
                    <a:pt x="2" y="25"/>
                  </a:lnTo>
                  <a:lnTo>
                    <a:pt x="2" y="23"/>
                  </a:lnTo>
                  <a:lnTo>
                    <a:pt x="2" y="23"/>
                  </a:lnTo>
                  <a:lnTo>
                    <a:pt x="14" y="23"/>
                  </a:lnTo>
                  <a:lnTo>
                    <a:pt x="39" y="23"/>
                  </a:lnTo>
                  <a:lnTo>
                    <a:pt x="65" y="21"/>
                  </a:lnTo>
                  <a:lnTo>
                    <a:pt x="92" y="21"/>
                  </a:lnTo>
                  <a:lnTo>
                    <a:pt x="119" y="19"/>
                  </a:lnTo>
                  <a:lnTo>
                    <a:pt x="143" y="17"/>
                  </a:lnTo>
                  <a:lnTo>
                    <a:pt x="170" y="17"/>
                  </a:lnTo>
                  <a:lnTo>
                    <a:pt x="196" y="15"/>
                  </a:lnTo>
                  <a:lnTo>
                    <a:pt x="223" y="13"/>
                  </a:lnTo>
                  <a:lnTo>
                    <a:pt x="248" y="13"/>
                  </a:lnTo>
                  <a:lnTo>
                    <a:pt x="274" y="11"/>
                  </a:lnTo>
                  <a:lnTo>
                    <a:pt x="301" y="9"/>
                  </a:lnTo>
                  <a:lnTo>
                    <a:pt x="328" y="7"/>
                  </a:lnTo>
                  <a:lnTo>
                    <a:pt x="352" y="5"/>
                  </a:lnTo>
                  <a:lnTo>
                    <a:pt x="379" y="5"/>
                  </a:lnTo>
                  <a:lnTo>
                    <a:pt x="405" y="3"/>
                  </a:lnTo>
                  <a:lnTo>
                    <a:pt x="432" y="0"/>
                  </a:lnTo>
                  <a:lnTo>
                    <a:pt x="432" y="0"/>
                  </a:lnTo>
                  <a:lnTo>
                    <a:pt x="432" y="0"/>
                  </a:lnTo>
                  <a:lnTo>
                    <a:pt x="432" y="3"/>
                  </a:lnTo>
                  <a:lnTo>
                    <a:pt x="432" y="5"/>
                  </a:lnTo>
                  <a:lnTo>
                    <a:pt x="432" y="5"/>
                  </a:lnTo>
                  <a:lnTo>
                    <a:pt x="434" y="7"/>
                  </a:lnTo>
                  <a:lnTo>
                    <a:pt x="434" y="9"/>
                  </a:lnTo>
                  <a:lnTo>
                    <a:pt x="434" y="9"/>
                  </a:lnTo>
                  <a:lnTo>
                    <a:pt x="434" y="13"/>
                  </a:lnTo>
                  <a:lnTo>
                    <a:pt x="436" y="13"/>
                  </a:lnTo>
                  <a:lnTo>
                    <a:pt x="436" y="13"/>
                  </a:lnTo>
                  <a:lnTo>
                    <a:pt x="444" y="15"/>
                  </a:lnTo>
                  <a:lnTo>
                    <a:pt x="446" y="17"/>
                  </a:lnTo>
                  <a:lnTo>
                    <a:pt x="446" y="21"/>
                  </a:lnTo>
                  <a:lnTo>
                    <a:pt x="444" y="25"/>
                  </a:lnTo>
                  <a:lnTo>
                    <a:pt x="442" y="31"/>
                  </a:lnTo>
                  <a:lnTo>
                    <a:pt x="440" y="35"/>
                  </a:lnTo>
                  <a:lnTo>
                    <a:pt x="442" y="41"/>
                  </a:lnTo>
                  <a:lnTo>
                    <a:pt x="442" y="46"/>
                  </a:lnTo>
                  <a:lnTo>
                    <a:pt x="442" y="50"/>
                  </a:lnTo>
                  <a:lnTo>
                    <a:pt x="442" y="52"/>
                  </a:lnTo>
                  <a:lnTo>
                    <a:pt x="444" y="52"/>
                  </a:lnTo>
                  <a:lnTo>
                    <a:pt x="444" y="58"/>
                  </a:lnTo>
                  <a:lnTo>
                    <a:pt x="444" y="60"/>
                  </a:lnTo>
                  <a:lnTo>
                    <a:pt x="446" y="60"/>
                  </a:lnTo>
                  <a:lnTo>
                    <a:pt x="448" y="64"/>
                  </a:lnTo>
                  <a:lnTo>
                    <a:pt x="448" y="64"/>
                  </a:lnTo>
                  <a:lnTo>
                    <a:pt x="450" y="66"/>
                  </a:lnTo>
                  <a:lnTo>
                    <a:pt x="450" y="72"/>
                  </a:lnTo>
                  <a:lnTo>
                    <a:pt x="450" y="72"/>
                  </a:lnTo>
                  <a:lnTo>
                    <a:pt x="454" y="78"/>
                  </a:lnTo>
                  <a:lnTo>
                    <a:pt x="454" y="80"/>
                  </a:lnTo>
                  <a:lnTo>
                    <a:pt x="457" y="80"/>
                  </a:lnTo>
                  <a:lnTo>
                    <a:pt x="461" y="82"/>
                  </a:lnTo>
                  <a:lnTo>
                    <a:pt x="475" y="82"/>
                  </a:lnTo>
                  <a:lnTo>
                    <a:pt x="479" y="85"/>
                  </a:lnTo>
                  <a:lnTo>
                    <a:pt x="481" y="85"/>
                  </a:lnTo>
                  <a:lnTo>
                    <a:pt x="483" y="85"/>
                  </a:lnTo>
                  <a:lnTo>
                    <a:pt x="483" y="87"/>
                  </a:lnTo>
                  <a:lnTo>
                    <a:pt x="485" y="91"/>
                  </a:lnTo>
                  <a:lnTo>
                    <a:pt x="487" y="93"/>
                  </a:lnTo>
                  <a:lnTo>
                    <a:pt x="489" y="95"/>
                  </a:lnTo>
                  <a:lnTo>
                    <a:pt x="489" y="97"/>
                  </a:lnTo>
                  <a:lnTo>
                    <a:pt x="489" y="97"/>
                  </a:lnTo>
                  <a:lnTo>
                    <a:pt x="489" y="99"/>
                  </a:lnTo>
                  <a:lnTo>
                    <a:pt x="489" y="99"/>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A</a:t>
              </a:r>
            </a:p>
          </p:txBody>
        </p:sp>
        <p:sp>
          <p:nvSpPr>
            <p:cNvPr id="123" name="Freeform 44">
              <a:extLst>
                <a:ext uri="{FF2B5EF4-FFF2-40B4-BE49-F238E27FC236}">
                  <a16:creationId xmlns:a16="http://schemas.microsoft.com/office/drawing/2014/main" id="{23324D3E-85B7-D106-68A9-688028455DAC}"/>
                </a:ext>
              </a:extLst>
            </p:cNvPr>
            <p:cNvSpPr>
              <a:spLocks noEditPoints="1"/>
            </p:cNvSpPr>
            <p:nvPr/>
          </p:nvSpPr>
          <p:spPr bwMode="auto">
            <a:xfrm>
              <a:off x="3435" y="2477"/>
              <a:ext cx="645" cy="391"/>
            </a:xfrm>
            <a:custGeom>
              <a:avLst/>
              <a:gdLst>
                <a:gd name="T0" fmla="*/ 485 w 645"/>
                <a:gd name="T1" fmla="*/ 161 h 391"/>
                <a:gd name="T2" fmla="*/ 471 w 645"/>
                <a:gd name="T3" fmla="*/ 153 h 391"/>
                <a:gd name="T4" fmla="*/ 457 w 645"/>
                <a:gd name="T5" fmla="*/ 155 h 391"/>
                <a:gd name="T6" fmla="*/ 438 w 645"/>
                <a:gd name="T7" fmla="*/ 147 h 391"/>
                <a:gd name="T8" fmla="*/ 426 w 645"/>
                <a:gd name="T9" fmla="*/ 143 h 391"/>
                <a:gd name="T10" fmla="*/ 426 w 645"/>
                <a:gd name="T11" fmla="*/ 168 h 391"/>
                <a:gd name="T12" fmla="*/ 440 w 645"/>
                <a:gd name="T13" fmla="*/ 170 h 391"/>
                <a:gd name="T14" fmla="*/ 448 w 645"/>
                <a:gd name="T15" fmla="*/ 190 h 391"/>
                <a:gd name="T16" fmla="*/ 469 w 645"/>
                <a:gd name="T17" fmla="*/ 194 h 391"/>
                <a:gd name="T18" fmla="*/ 502 w 645"/>
                <a:gd name="T19" fmla="*/ 180 h 391"/>
                <a:gd name="T20" fmla="*/ 422 w 645"/>
                <a:gd name="T21" fmla="*/ 204 h 391"/>
                <a:gd name="T22" fmla="*/ 635 w 645"/>
                <a:gd name="T23" fmla="*/ 313 h 391"/>
                <a:gd name="T24" fmla="*/ 612 w 645"/>
                <a:gd name="T25" fmla="*/ 295 h 391"/>
                <a:gd name="T26" fmla="*/ 561 w 645"/>
                <a:gd name="T27" fmla="*/ 252 h 391"/>
                <a:gd name="T28" fmla="*/ 545 w 645"/>
                <a:gd name="T29" fmla="*/ 245 h 391"/>
                <a:gd name="T30" fmla="*/ 522 w 645"/>
                <a:gd name="T31" fmla="*/ 233 h 391"/>
                <a:gd name="T32" fmla="*/ 524 w 645"/>
                <a:gd name="T33" fmla="*/ 262 h 391"/>
                <a:gd name="T34" fmla="*/ 504 w 645"/>
                <a:gd name="T35" fmla="*/ 284 h 391"/>
                <a:gd name="T36" fmla="*/ 506 w 645"/>
                <a:gd name="T37" fmla="*/ 309 h 391"/>
                <a:gd name="T38" fmla="*/ 512 w 645"/>
                <a:gd name="T39" fmla="*/ 325 h 391"/>
                <a:gd name="T40" fmla="*/ 514 w 645"/>
                <a:gd name="T41" fmla="*/ 370 h 391"/>
                <a:gd name="T42" fmla="*/ 526 w 645"/>
                <a:gd name="T43" fmla="*/ 381 h 391"/>
                <a:gd name="T44" fmla="*/ 547 w 645"/>
                <a:gd name="T45" fmla="*/ 387 h 391"/>
                <a:gd name="T46" fmla="*/ 575 w 645"/>
                <a:gd name="T47" fmla="*/ 358 h 391"/>
                <a:gd name="T48" fmla="*/ 608 w 645"/>
                <a:gd name="T49" fmla="*/ 348 h 391"/>
                <a:gd name="T50" fmla="*/ 643 w 645"/>
                <a:gd name="T51" fmla="*/ 323 h 391"/>
                <a:gd name="T52" fmla="*/ 410 w 645"/>
                <a:gd name="T53" fmla="*/ 127 h 391"/>
                <a:gd name="T54" fmla="*/ 389 w 645"/>
                <a:gd name="T55" fmla="*/ 123 h 391"/>
                <a:gd name="T56" fmla="*/ 362 w 645"/>
                <a:gd name="T57" fmla="*/ 123 h 391"/>
                <a:gd name="T58" fmla="*/ 354 w 645"/>
                <a:gd name="T59" fmla="*/ 123 h 391"/>
                <a:gd name="T60" fmla="*/ 354 w 645"/>
                <a:gd name="T61" fmla="*/ 137 h 391"/>
                <a:gd name="T62" fmla="*/ 403 w 645"/>
                <a:gd name="T63" fmla="*/ 139 h 391"/>
                <a:gd name="T64" fmla="*/ 111 w 645"/>
                <a:gd name="T65" fmla="*/ 8 h 391"/>
                <a:gd name="T66" fmla="*/ 98 w 645"/>
                <a:gd name="T67" fmla="*/ 2 h 391"/>
                <a:gd name="T68" fmla="*/ 72 w 645"/>
                <a:gd name="T69" fmla="*/ 6 h 391"/>
                <a:gd name="T70" fmla="*/ 53 w 645"/>
                <a:gd name="T71" fmla="*/ 22 h 391"/>
                <a:gd name="T72" fmla="*/ 68 w 645"/>
                <a:gd name="T73" fmla="*/ 34 h 391"/>
                <a:gd name="T74" fmla="*/ 94 w 645"/>
                <a:gd name="T75" fmla="*/ 45 h 391"/>
                <a:gd name="T76" fmla="*/ 108 w 645"/>
                <a:gd name="T77" fmla="*/ 26 h 391"/>
                <a:gd name="T78" fmla="*/ 12 w 645"/>
                <a:gd name="T79" fmla="*/ 32 h 391"/>
                <a:gd name="T80" fmla="*/ 4 w 645"/>
                <a:gd name="T81" fmla="*/ 53 h 391"/>
                <a:gd name="T82" fmla="*/ 16 w 645"/>
                <a:gd name="T83" fmla="*/ 41 h 391"/>
                <a:gd name="T84" fmla="*/ 301 w 645"/>
                <a:gd name="T85" fmla="*/ 104 h 391"/>
                <a:gd name="T86" fmla="*/ 293 w 645"/>
                <a:gd name="T87" fmla="*/ 92 h 391"/>
                <a:gd name="T88" fmla="*/ 285 w 645"/>
                <a:gd name="T89" fmla="*/ 90 h 391"/>
                <a:gd name="T90" fmla="*/ 278 w 645"/>
                <a:gd name="T91" fmla="*/ 75 h 391"/>
                <a:gd name="T92" fmla="*/ 268 w 645"/>
                <a:gd name="T93" fmla="*/ 63 h 391"/>
                <a:gd name="T94" fmla="*/ 252 w 645"/>
                <a:gd name="T95" fmla="*/ 75 h 391"/>
                <a:gd name="T96" fmla="*/ 233 w 645"/>
                <a:gd name="T97" fmla="*/ 79 h 391"/>
                <a:gd name="T98" fmla="*/ 246 w 645"/>
                <a:gd name="T99" fmla="*/ 100 h 391"/>
                <a:gd name="T100" fmla="*/ 256 w 645"/>
                <a:gd name="T101" fmla="*/ 112 h 391"/>
                <a:gd name="T102" fmla="*/ 264 w 645"/>
                <a:gd name="T103" fmla="*/ 102 h 391"/>
                <a:gd name="T104" fmla="*/ 272 w 645"/>
                <a:gd name="T105" fmla="*/ 102 h 391"/>
                <a:gd name="T106" fmla="*/ 278 w 645"/>
                <a:gd name="T107" fmla="*/ 108 h 391"/>
                <a:gd name="T108" fmla="*/ 293 w 645"/>
                <a:gd name="T109" fmla="*/ 114 h 391"/>
                <a:gd name="T110" fmla="*/ 401 w 645"/>
                <a:gd name="T111" fmla="*/ 161 h 391"/>
                <a:gd name="T112" fmla="*/ 385 w 645"/>
                <a:gd name="T113" fmla="*/ 170 h 391"/>
                <a:gd name="T114" fmla="*/ 407 w 645"/>
                <a:gd name="T115" fmla="*/ 166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5" h="391">
                  <a:moveTo>
                    <a:pt x="502" y="180"/>
                  </a:moveTo>
                  <a:lnTo>
                    <a:pt x="504" y="174"/>
                  </a:lnTo>
                  <a:lnTo>
                    <a:pt x="502" y="170"/>
                  </a:lnTo>
                  <a:lnTo>
                    <a:pt x="496" y="168"/>
                  </a:lnTo>
                  <a:lnTo>
                    <a:pt x="494" y="166"/>
                  </a:lnTo>
                  <a:lnTo>
                    <a:pt x="487" y="166"/>
                  </a:lnTo>
                  <a:lnTo>
                    <a:pt x="487" y="164"/>
                  </a:lnTo>
                  <a:lnTo>
                    <a:pt x="485" y="161"/>
                  </a:lnTo>
                  <a:lnTo>
                    <a:pt x="485" y="161"/>
                  </a:lnTo>
                  <a:lnTo>
                    <a:pt x="481" y="159"/>
                  </a:lnTo>
                  <a:lnTo>
                    <a:pt x="479" y="159"/>
                  </a:lnTo>
                  <a:lnTo>
                    <a:pt x="477" y="157"/>
                  </a:lnTo>
                  <a:lnTo>
                    <a:pt x="477" y="157"/>
                  </a:lnTo>
                  <a:lnTo>
                    <a:pt x="475" y="155"/>
                  </a:lnTo>
                  <a:lnTo>
                    <a:pt x="473" y="153"/>
                  </a:lnTo>
                  <a:lnTo>
                    <a:pt x="471" y="155"/>
                  </a:lnTo>
                  <a:lnTo>
                    <a:pt x="471" y="153"/>
                  </a:lnTo>
                  <a:lnTo>
                    <a:pt x="471" y="153"/>
                  </a:lnTo>
                  <a:lnTo>
                    <a:pt x="471" y="153"/>
                  </a:lnTo>
                  <a:lnTo>
                    <a:pt x="471" y="153"/>
                  </a:lnTo>
                  <a:lnTo>
                    <a:pt x="469" y="153"/>
                  </a:lnTo>
                  <a:lnTo>
                    <a:pt x="467" y="153"/>
                  </a:lnTo>
                  <a:lnTo>
                    <a:pt x="465" y="153"/>
                  </a:lnTo>
                  <a:lnTo>
                    <a:pt x="463" y="153"/>
                  </a:lnTo>
                  <a:lnTo>
                    <a:pt x="461" y="153"/>
                  </a:lnTo>
                  <a:lnTo>
                    <a:pt x="457" y="155"/>
                  </a:lnTo>
                  <a:lnTo>
                    <a:pt x="457" y="155"/>
                  </a:lnTo>
                  <a:lnTo>
                    <a:pt x="453" y="157"/>
                  </a:lnTo>
                  <a:lnTo>
                    <a:pt x="451" y="157"/>
                  </a:lnTo>
                  <a:lnTo>
                    <a:pt x="448" y="157"/>
                  </a:lnTo>
                  <a:lnTo>
                    <a:pt x="446" y="157"/>
                  </a:lnTo>
                  <a:lnTo>
                    <a:pt x="446" y="159"/>
                  </a:lnTo>
                  <a:lnTo>
                    <a:pt x="444" y="157"/>
                  </a:lnTo>
                  <a:lnTo>
                    <a:pt x="440" y="149"/>
                  </a:lnTo>
                  <a:lnTo>
                    <a:pt x="440" y="149"/>
                  </a:lnTo>
                  <a:lnTo>
                    <a:pt x="438" y="147"/>
                  </a:lnTo>
                  <a:lnTo>
                    <a:pt x="434" y="143"/>
                  </a:lnTo>
                  <a:lnTo>
                    <a:pt x="432" y="143"/>
                  </a:lnTo>
                  <a:lnTo>
                    <a:pt x="432" y="141"/>
                  </a:lnTo>
                  <a:lnTo>
                    <a:pt x="430" y="141"/>
                  </a:lnTo>
                  <a:lnTo>
                    <a:pt x="430" y="141"/>
                  </a:lnTo>
                  <a:lnTo>
                    <a:pt x="430" y="143"/>
                  </a:lnTo>
                  <a:lnTo>
                    <a:pt x="428" y="143"/>
                  </a:lnTo>
                  <a:lnTo>
                    <a:pt x="428" y="143"/>
                  </a:lnTo>
                  <a:lnTo>
                    <a:pt x="426" y="143"/>
                  </a:lnTo>
                  <a:lnTo>
                    <a:pt x="426" y="143"/>
                  </a:lnTo>
                  <a:lnTo>
                    <a:pt x="426" y="145"/>
                  </a:lnTo>
                  <a:lnTo>
                    <a:pt x="426" y="145"/>
                  </a:lnTo>
                  <a:lnTo>
                    <a:pt x="426" y="145"/>
                  </a:lnTo>
                  <a:lnTo>
                    <a:pt x="424" y="145"/>
                  </a:lnTo>
                  <a:lnTo>
                    <a:pt x="424" y="145"/>
                  </a:lnTo>
                  <a:lnTo>
                    <a:pt x="422" y="147"/>
                  </a:lnTo>
                  <a:lnTo>
                    <a:pt x="418" y="155"/>
                  </a:lnTo>
                  <a:lnTo>
                    <a:pt x="426" y="168"/>
                  </a:lnTo>
                  <a:lnTo>
                    <a:pt x="426" y="168"/>
                  </a:lnTo>
                  <a:lnTo>
                    <a:pt x="428" y="168"/>
                  </a:lnTo>
                  <a:lnTo>
                    <a:pt x="430" y="168"/>
                  </a:lnTo>
                  <a:lnTo>
                    <a:pt x="432" y="170"/>
                  </a:lnTo>
                  <a:lnTo>
                    <a:pt x="436" y="172"/>
                  </a:lnTo>
                  <a:lnTo>
                    <a:pt x="438" y="172"/>
                  </a:lnTo>
                  <a:lnTo>
                    <a:pt x="438" y="172"/>
                  </a:lnTo>
                  <a:lnTo>
                    <a:pt x="440" y="172"/>
                  </a:lnTo>
                  <a:lnTo>
                    <a:pt x="440" y="170"/>
                  </a:lnTo>
                  <a:lnTo>
                    <a:pt x="444" y="170"/>
                  </a:lnTo>
                  <a:lnTo>
                    <a:pt x="444" y="172"/>
                  </a:lnTo>
                  <a:lnTo>
                    <a:pt x="446" y="172"/>
                  </a:lnTo>
                  <a:lnTo>
                    <a:pt x="446" y="174"/>
                  </a:lnTo>
                  <a:lnTo>
                    <a:pt x="446" y="176"/>
                  </a:lnTo>
                  <a:lnTo>
                    <a:pt x="446" y="176"/>
                  </a:lnTo>
                  <a:lnTo>
                    <a:pt x="448" y="178"/>
                  </a:lnTo>
                  <a:lnTo>
                    <a:pt x="448" y="180"/>
                  </a:lnTo>
                  <a:lnTo>
                    <a:pt x="448" y="190"/>
                  </a:lnTo>
                  <a:lnTo>
                    <a:pt x="451" y="194"/>
                  </a:lnTo>
                  <a:lnTo>
                    <a:pt x="453" y="196"/>
                  </a:lnTo>
                  <a:lnTo>
                    <a:pt x="459" y="196"/>
                  </a:lnTo>
                  <a:lnTo>
                    <a:pt x="461" y="194"/>
                  </a:lnTo>
                  <a:lnTo>
                    <a:pt x="463" y="194"/>
                  </a:lnTo>
                  <a:lnTo>
                    <a:pt x="463" y="194"/>
                  </a:lnTo>
                  <a:lnTo>
                    <a:pt x="463" y="194"/>
                  </a:lnTo>
                  <a:lnTo>
                    <a:pt x="465" y="194"/>
                  </a:lnTo>
                  <a:lnTo>
                    <a:pt x="469" y="194"/>
                  </a:lnTo>
                  <a:lnTo>
                    <a:pt x="475" y="190"/>
                  </a:lnTo>
                  <a:lnTo>
                    <a:pt x="477" y="190"/>
                  </a:lnTo>
                  <a:lnTo>
                    <a:pt x="481" y="190"/>
                  </a:lnTo>
                  <a:lnTo>
                    <a:pt x="483" y="190"/>
                  </a:lnTo>
                  <a:lnTo>
                    <a:pt x="485" y="190"/>
                  </a:lnTo>
                  <a:lnTo>
                    <a:pt x="487" y="190"/>
                  </a:lnTo>
                  <a:lnTo>
                    <a:pt x="496" y="186"/>
                  </a:lnTo>
                  <a:lnTo>
                    <a:pt x="500" y="184"/>
                  </a:lnTo>
                  <a:lnTo>
                    <a:pt x="502" y="180"/>
                  </a:lnTo>
                  <a:close/>
                  <a:moveTo>
                    <a:pt x="436" y="194"/>
                  </a:moveTo>
                  <a:lnTo>
                    <a:pt x="434" y="192"/>
                  </a:lnTo>
                  <a:lnTo>
                    <a:pt x="432" y="194"/>
                  </a:lnTo>
                  <a:lnTo>
                    <a:pt x="430" y="194"/>
                  </a:lnTo>
                  <a:lnTo>
                    <a:pt x="426" y="196"/>
                  </a:lnTo>
                  <a:lnTo>
                    <a:pt x="422" y="198"/>
                  </a:lnTo>
                  <a:lnTo>
                    <a:pt x="420" y="200"/>
                  </a:lnTo>
                  <a:lnTo>
                    <a:pt x="420" y="202"/>
                  </a:lnTo>
                  <a:lnTo>
                    <a:pt x="422" y="204"/>
                  </a:lnTo>
                  <a:lnTo>
                    <a:pt x="424" y="204"/>
                  </a:lnTo>
                  <a:lnTo>
                    <a:pt x="428" y="202"/>
                  </a:lnTo>
                  <a:lnTo>
                    <a:pt x="428" y="202"/>
                  </a:lnTo>
                  <a:lnTo>
                    <a:pt x="434" y="202"/>
                  </a:lnTo>
                  <a:lnTo>
                    <a:pt x="436" y="202"/>
                  </a:lnTo>
                  <a:lnTo>
                    <a:pt x="438" y="200"/>
                  </a:lnTo>
                  <a:lnTo>
                    <a:pt x="436" y="200"/>
                  </a:lnTo>
                  <a:lnTo>
                    <a:pt x="436" y="194"/>
                  </a:lnTo>
                  <a:close/>
                  <a:moveTo>
                    <a:pt x="635" y="313"/>
                  </a:moveTo>
                  <a:lnTo>
                    <a:pt x="629" y="311"/>
                  </a:lnTo>
                  <a:lnTo>
                    <a:pt x="625" y="307"/>
                  </a:lnTo>
                  <a:lnTo>
                    <a:pt x="625" y="305"/>
                  </a:lnTo>
                  <a:lnTo>
                    <a:pt x="623" y="299"/>
                  </a:lnTo>
                  <a:lnTo>
                    <a:pt x="623" y="297"/>
                  </a:lnTo>
                  <a:lnTo>
                    <a:pt x="620" y="295"/>
                  </a:lnTo>
                  <a:lnTo>
                    <a:pt x="618" y="295"/>
                  </a:lnTo>
                  <a:lnTo>
                    <a:pt x="612" y="297"/>
                  </a:lnTo>
                  <a:lnTo>
                    <a:pt x="612" y="295"/>
                  </a:lnTo>
                  <a:lnTo>
                    <a:pt x="610" y="293"/>
                  </a:lnTo>
                  <a:lnTo>
                    <a:pt x="610" y="284"/>
                  </a:lnTo>
                  <a:lnTo>
                    <a:pt x="610" y="280"/>
                  </a:lnTo>
                  <a:lnTo>
                    <a:pt x="610" y="278"/>
                  </a:lnTo>
                  <a:lnTo>
                    <a:pt x="600" y="268"/>
                  </a:lnTo>
                  <a:lnTo>
                    <a:pt x="596" y="266"/>
                  </a:lnTo>
                  <a:lnTo>
                    <a:pt x="580" y="258"/>
                  </a:lnTo>
                  <a:lnTo>
                    <a:pt x="567" y="254"/>
                  </a:lnTo>
                  <a:lnTo>
                    <a:pt x="561" y="252"/>
                  </a:lnTo>
                  <a:lnTo>
                    <a:pt x="557" y="250"/>
                  </a:lnTo>
                  <a:lnTo>
                    <a:pt x="555" y="248"/>
                  </a:lnTo>
                  <a:lnTo>
                    <a:pt x="555" y="250"/>
                  </a:lnTo>
                  <a:lnTo>
                    <a:pt x="553" y="250"/>
                  </a:lnTo>
                  <a:lnTo>
                    <a:pt x="551" y="250"/>
                  </a:lnTo>
                  <a:lnTo>
                    <a:pt x="551" y="250"/>
                  </a:lnTo>
                  <a:lnTo>
                    <a:pt x="549" y="248"/>
                  </a:lnTo>
                  <a:lnTo>
                    <a:pt x="547" y="248"/>
                  </a:lnTo>
                  <a:lnTo>
                    <a:pt x="545" y="245"/>
                  </a:lnTo>
                  <a:lnTo>
                    <a:pt x="543" y="243"/>
                  </a:lnTo>
                  <a:lnTo>
                    <a:pt x="534" y="241"/>
                  </a:lnTo>
                  <a:lnTo>
                    <a:pt x="534" y="239"/>
                  </a:lnTo>
                  <a:lnTo>
                    <a:pt x="534" y="239"/>
                  </a:lnTo>
                  <a:lnTo>
                    <a:pt x="534" y="237"/>
                  </a:lnTo>
                  <a:lnTo>
                    <a:pt x="534" y="237"/>
                  </a:lnTo>
                  <a:lnTo>
                    <a:pt x="532" y="237"/>
                  </a:lnTo>
                  <a:lnTo>
                    <a:pt x="530" y="235"/>
                  </a:lnTo>
                  <a:lnTo>
                    <a:pt x="522" y="233"/>
                  </a:lnTo>
                  <a:lnTo>
                    <a:pt x="518" y="233"/>
                  </a:lnTo>
                  <a:lnTo>
                    <a:pt x="516" y="235"/>
                  </a:lnTo>
                  <a:lnTo>
                    <a:pt x="514" y="239"/>
                  </a:lnTo>
                  <a:lnTo>
                    <a:pt x="514" y="243"/>
                  </a:lnTo>
                  <a:lnTo>
                    <a:pt x="514" y="248"/>
                  </a:lnTo>
                  <a:lnTo>
                    <a:pt x="516" y="252"/>
                  </a:lnTo>
                  <a:lnTo>
                    <a:pt x="522" y="260"/>
                  </a:lnTo>
                  <a:lnTo>
                    <a:pt x="524" y="260"/>
                  </a:lnTo>
                  <a:lnTo>
                    <a:pt x="524" y="262"/>
                  </a:lnTo>
                  <a:lnTo>
                    <a:pt x="524" y="264"/>
                  </a:lnTo>
                  <a:lnTo>
                    <a:pt x="524" y="266"/>
                  </a:lnTo>
                  <a:lnTo>
                    <a:pt x="520" y="268"/>
                  </a:lnTo>
                  <a:lnTo>
                    <a:pt x="518" y="268"/>
                  </a:lnTo>
                  <a:lnTo>
                    <a:pt x="514" y="276"/>
                  </a:lnTo>
                  <a:lnTo>
                    <a:pt x="514" y="276"/>
                  </a:lnTo>
                  <a:lnTo>
                    <a:pt x="510" y="280"/>
                  </a:lnTo>
                  <a:lnTo>
                    <a:pt x="506" y="282"/>
                  </a:lnTo>
                  <a:lnTo>
                    <a:pt x="504" y="284"/>
                  </a:lnTo>
                  <a:lnTo>
                    <a:pt x="504" y="286"/>
                  </a:lnTo>
                  <a:lnTo>
                    <a:pt x="502" y="286"/>
                  </a:lnTo>
                  <a:lnTo>
                    <a:pt x="500" y="289"/>
                  </a:lnTo>
                  <a:lnTo>
                    <a:pt x="498" y="291"/>
                  </a:lnTo>
                  <a:lnTo>
                    <a:pt x="496" y="295"/>
                  </a:lnTo>
                  <a:lnTo>
                    <a:pt x="498" y="299"/>
                  </a:lnTo>
                  <a:lnTo>
                    <a:pt x="500" y="303"/>
                  </a:lnTo>
                  <a:lnTo>
                    <a:pt x="502" y="305"/>
                  </a:lnTo>
                  <a:lnTo>
                    <a:pt x="506" y="309"/>
                  </a:lnTo>
                  <a:lnTo>
                    <a:pt x="506" y="313"/>
                  </a:lnTo>
                  <a:lnTo>
                    <a:pt x="506" y="315"/>
                  </a:lnTo>
                  <a:lnTo>
                    <a:pt x="508" y="317"/>
                  </a:lnTo>
                  <a:lnTo>
                    <a:pt x="508" y="319"/>
                  </a:lnTo>
                  <a:lnTo>
                    <a:pt x="508" y="321"/>
                  </a:lnTo>
                  <a:lnTo>
                    <a:pt x="510" y="325"/>
                  </a:lnTo>
                  <a:lnTo>
                    <a:pt x="510" y="325"/>
                  </a:lnTo>
                  <a:lnTo>
                    <a:pt x="512" y="325"/>
                  </a:lnTo>
                  <a:lnTo>
                    <a:pt x="512" y="325"/>
                  </a:lnTo>
                  <a:lnTo>
                    <a:pt x="512" y="325"/>
                  </a:lnTo>
                  <a:lnTo>
                    <a:pt x="512" y="327"/>
                  </a:lnTo>
                  <a:lnTo>
                    <a:pt x="512" y="327"/>
                  </a:lnTo>
                  <a:lnTo>
                    <a:pt x="514" y="338"/>
                  </a:lnTo>
                  <a:lnTo>
                    <a:pt x="516" y="340"/>
                  </a:lnTo>
                  <a:lnTo>
                    <a:pt x="516" y="342"/>
                  </a:lnTo>
                  <a:lnTo>
                    <a:pt x="516" y="342"/>
                  </a:lnTo>
                  <a:lnTo>
                    <a:pt x="514" y="362"/>
                  </a:lnTo>
                  <a:lnTo>
                    <a:pt x="514" y="370"/>
                  </a:lnTo>
                  <a:lnTo>
                    <a:pt x="514" y="375"/>
                  </a:lnTo>
                  <a:lnTo>
                    <a:pt x="516" y="375"/>
                  </a:lnTo>
                  <a:lnTo>
                    <a:pt x="516" y="375"/>
                  </a:lnTo>
                  <a:lnTo>
                    <a:pt x="516" y="377"/>
                  </a:lnTo>
                  <a:lnTo>
                    <a:pt x="518" y="379"/>
                  </a:lnTo>
                  <a:lnTo>
                    <a:pt x="518" y="379"/>
                  </a:lnTo>
                  <a:lnTo>
                    <a:pt x="518" y="381"/>
                  </a:lnTo>
                  <a:lnTo>
                    <a:pt x="522" y="379"/>
                  </a:lnTo>
                  <a:lnTo>
                    <a:pt x="526" y="381"/>
                  </a:lnTo>
                  <a:lnTo>
                    <a:pt x="532" y="383"/>
                  </a:lnTo>
                  <a:lnTo>
                    <a:pt x="537" y="385"/>
                  </a:lnTo>
                  <a:lnTo>
                    <a:pt x="539" y="387"/>
                  </a:lnTo>
                  <a:lnTo>
                    <a:pt x="541" y="391"/>
                  </a:lnTo>
                  <a:lnTo>
                    <a:pt x="541" y="391"/>
                  </a:lnTo>
                  <a:lnTo>
                    <a:pt x="543" y="391"/>
                  </a:lnTo>
                  <a:lnTo>
                    <a:pt x="545" y="389"/>
                  </a:lnTo>
                  <a:lnTo>
                    <a:pt x="547" y="389"/>
                  </a:lnTo>
                  <a:lnTo>
                    <a:pt x="547" y="387"/>
                  </a:lnTo>
                  <a:lnTo>
                    <a:pt x="553" y="381"/>
                  </a:lnTo>
                  <a:lnTo>
                    <a:pt x="555" y="375"/>
                  </a:lnTo>
                  <a:lnTo>
                    <a:pt x="555" y="373"/>
                  </a:lnTo>
                  <a:lnTo>
                    <a:pt x="561" y="366"/>
                  </a:lnTo>
                  <a:lnTo>
                    <a:pt x="563" y="366"/>
                  </a:lnTo>
                  <a:lnTo>
                    <a:pt x="569" y="364"/>
                  </a:lnTo>
                  <a:lnTo>
                    <a:pt x="569" y="362"/>
                  </a:lnTo>
                  <a:lnTo>
                    <a:pt x="573" y="360"/>
                  </a:lnTo>
                  <a:lnTo>
                    <a:pt x="575" y="358"/>
                  </a:lnTo>
                  <a:lnTo>
                    <a:pt x="577" y="358"/>
                  </a:lnTo>
                  <a:lnTo>
                    <a:pt x="577" y="358"/>
                  </a:lnTo>
                  <a:lnTo>
                    <a:pt x="582" y="354"/>
                  </a:lnTo>
                  <a:lnTo>
                    <a:pt x="586" y="352"/>
                  </a:lnTo>
                  <a:lnTo>
                    <a:pt x="586" y="350"/>
                  </a:lnTo>
                  <a:lnTo>
                    <a:pt x="588" y="350"/>
                  </a:lnTo>
                  <a:lnTo>
                    <a:pt x="598" y="350"/>
                  </a:lnTo>
                  <a:lnTo>
                    <a:pt x="600" y="350"/>
                  </a:lnTo>
                  <a:lnTo>
                    <a:pt x="608" y="348"/>
                  </a:lnTo>
                  <a:lnTo>
                    <a:pt x="612" y="346"/>
                  </a:lnTo>
                  <a:lnTo>
                    <a:pt x="614" y="346"/>
                  </a:lnTo>
                  <a:lnTo>
                    <a:pt x="616" y="344"/>
                  </a:lnTo>
                  <a:lnTo>
                    <a:pt x="618" y="344"/>
                  </a:lnTo>
                  <a:lnTo>
                    <a:pt x="631" y="336"/>
                  </a:lnTo>
                  <a:lnTo>
                    <a:pt x="631" y="334"/>
                  </a:lnTo>
                  <a:lnTo>
                    <a:pt x="641" y="329"/>
                  </a:lnTo>
                  <a:lnTo>
                    <a:pt x="641" y="327"/>
                  </a:lnTo>
                  <a:lnTo>
                    <a:pt x="643" y="323"/>
                  </a:lnTo>
                  <a:lnTo>
                    <a:pt x="643" y="321"/>
                  </a:lnTo>
                  <a:lnTo>
                    <a:pt x="645" y="319"/>
                  </a:lnTo>
                  <a:lnTo>
                    <a:pt x="635" y="313"/>
                  </a:lnTo>
                  <a:close/>
                  <a:moveTo>
                    <a:pt x="418" y="127"/>
                  </a:moveTo>
                  <a:lnTo>
                    <a:pt x="414" y="127"/>
                  </a:lnTo>
                  <a:lnTo>
                    <a:pt x="412" y="127"/>
                  </a:lnTo>
                  <a:lnTo>
                    <a:pt x="412" y="127"/>
                  </a:lnTo>
                  <a:lnTo>
                    <a:pt x="410" y="127"/>
                  </a:lnTo>
                  <a:lnTo>
                    <a:pt x="410" y="127"/>
                  </a:lnTo>
                  <a:lnTo>
                    <a:pt x="410" y="127"/>
                  </a:lnTo>
                  <a:lnTo>
                    <a:pt x="407" y="127"/>
                  </a:lnTo>
                  <a:lnTo>
                    <a:pt x="407" y="127"/>
                  </a:lnTo>
                  <a:lnTo>
                    <a:pt x="405" y="127"/>
                  </a:lnTo>
                  <a:lnTo>
                    <a:pt x="405" y="127"/>
                  </a:lnTo>
                  <a:lnTo>
                    <a:pt x="397" y="127"/>
                  </a:lnTo>
                  <a:lnTo>
                    <a:pt x="395" y="127"/>
                  </a:lnTo>
                  <a:lnTo>
                    <a:pt x="393" y="127"/>
                  </a:lnTo>
                  <a:lnTo>
                    <a:pt x="389" y="123"/>
                  </a:lnTo>
                  <a:lnTo>
                    <a:pt x="387" y="123"/>
                  </a:lnTo>
                  <a:lnTo>
                    <a:pt x="387" y="123"/>
                  </a:lnTo>
                  <a:lnTo>
                    <a:pt x="387" y="125"/>
                  </a:lnTo>
                  <a:lnTo>
                    <a:pt x="387" y="125"/>
                  </a:lnTo>
                  <a:lnTo>
                    <a:pt x="385" y="125"/>
                  </a:lnTo>
                  <a:lnTo>
                    <a:pt x="381" y="125"/>
                  </a:lnTo>
                  <a:lnTo>
                    <a:pt x="379" y="123"/>
                  </a:lnTo>
                  <a:lnTo>
                    <a:pt x="362" y="123"/>
                  </a:lnTo>
                  <a:lnTo>
                    <a:pt x="362" y="123"/>
                  </a:lnTo>
                  <a:lnTo>
                    <a:pt x="360" y="120"/>
                  </a:lnTo>
                  <a:lnTo>
                    <a:pt x="358" y="120"/>
                  </a:lnTo>
                  <a:lnTo>
                    <a:pt x="358" y="120"/>
                  </a:lnTo>
                  <a:lnTo>
                    <a:pt x="356" y="120"/>
                  </a:lnTo>
                  <a:lnTo>
                    <a:pt x="356" y="120"/>
                  </a:lnTo>
                  <a:lnTo>
                    <a:pt x="354" y="120"/>
                  </a:lnTo>
                  <a:lnTo>
                    <a:pt x="354" y="120"/>
                  </a:lnTo>
                  <a:lnTo>
                    <a:pt x="354" y="123"/>
                  </a:lnTo>
                  <a:lnTo>
                    <a:pt x="354" y="123"/>
                  </a:lnTo>
                  <a:lnTo>
                    <a:pt x="354" y="125"/>
                  </a:lnTo>
                  <a:lnTo>
                    <a:pt x="350" y="127"/>
                  </a:lnTo>
                  <a:lnTo>
                    <a:pt x="350" y="129"/>
                  </a:lnTo>
                  <a:lnTo>
                    <a:pt x="348" y="131"/>
                  </a:lnTo>
                  <a:lnTo>
                    <a:pt x="348" y="133"/>
                  </a:lnTo>
                  <a:lnTo>
                    <a:pt x="348" y="135"/>
                  </a:lnTo>
                  <a:lnTo>
                    <a:pt x="350" y="135"/>
                  </a:lnTo>
                  <a:lnTo>
                    <a:pt x="352" y="137"/>
                  </a:lnTo>
                  <a:lnTo>
                    <a:pt x="354" y="137"/>
                  </a:lnTo>
                  <a:lnTo>
                    <a:pt x="356" y="135"/>
                  </a:lnTo>
                  <a:lnTo>
                    <a:pt x="358" y="135"/>
                  </a:lnTo>
                  <a:lnTo>
                    <a:pt x="367" y="135"/>
                  </a:lnTo>
                  <a:lnTo>
                    <a:pt x="377" y="135"/>
                  </a:lnTo>
                  <a:lnTo>
                    <a:pt x="379" y="135"/>
                  </a:lnTo>
                  <a:lnTo>
                    <a:pt x="389" y="139"/>
                  </a:lnTo>
                  <a:lnTo>
                    <a:pt x="395" y="141"/>
                  </a:lnTo>
                  <a:lnTo>
                    <a:pt x="399" y="141"/>
                  </a:lnTo>
                  <a:lnTo>
                    <a:pt x="403" y="139"/>
                  </a:lnTo>
                  <a:lnTo>
                    <a:pt x="407" y="139"/>
                  </a:lnTo>
                  <a:lnTo>
                    <a:pt x="414" y="135"/>
                  </a:lnTo>
                  <a:lnTo>
                    <a:pt x="416" y="133"/>
                  </a:lnTo>
                  <a:lnTo>
                    <a:pt x="418" y="127"/>
                  </a:lnTo>
                  <a:lnTo>
                    <a:pt x="418" y="127"/>
                  </a:lnTo>
                  <a:close/>
                  <a:moveTo>
                    <a:pt x="113" y="10"/>
                  </a:moveTo>
                  <a:lnTo>
                    <a:pt x="111" y="10"/>
                  </a:lnTo>
                  <a:lnTo>
                    <a:pt x="111" y="10"/>
                  </a:lnTo>
                  <a:lnTo>
                    <a:pt x="111" y="8"/>
                  </a:lnTo>
                  <a:lnTo>
                    <a:pt x="111" y="6"/>
                  </a:lnTo>
                  <a:lnTo>
                    <a:pt x="108" y="6"/>
                  </a:lnTo>
                  <a:lnTo>
                    <a:pt x="106" y="4"/>
                  </a:lnTo>
                  <a:lnTo>
                    <a:pt x="104" y="2"/>
                  </a:lnTo>
                  <a:lnTo>
                    <a:pt x="102" y="2"/>
                  </a:lnTo>
                  <a:lnTo>
                    <a:pt x="100" y="2"/>
                  </a:lnTo>
                  <a:lnTo>
                    <a:pt x="100" y="0"/>
                  </a:lnTo>
                  <a:lnTo>
                    <a:pt x="98" y="2"/>
                  </a:lnTo>
                  <a:lnTo>
                    <a:pt x="98" y="2"/>
                  </a:lnTo>
                  <a:lnTo>
                    <a:pt x="96" y="2"/>
                  </a:lnTo>
                  <a:lnTo>
                    <a:pt x="88" y="4"/>
                  </a:lnTo>
                  <a:lnTo>
                    <a:pt x="86" y="4"/>
                  </a:lnTo>
                  <a:lnTo>
                    <a:pt x="86" y="2"/>
                  </a:lnTo>
                  <a:lnTo>
                    <a:pt x="84" y="2"/>
                  </a:lnTo>
                  <a:lnTo>
                    <a:pt x="82" y="2"/>
                  </a:lnTo>
                  <a:lnTo>
                    <a:pt x="80" y="2"/>
                  </a:lnTo>
                  <a:lnTo>
                    <a:pt x="78" y="2"/>
                  </a:lnTo>
                  <a:lnTo>
                    <a:pt x="72" y="6"/>
                  </a:lnTo>
                  <a:lnTo>
                    <a:pt x="61" y="12"/>
                  </a:lnTo>
                  <a:lnTo>
                    <a:pt x="61" y="12"/>
                  </a:lnTo>
                  <a:lnTo>
                    <a:pt x="61" y="12"/>
                  </a:lnTo>
                  <a:lnTo>
                    <a:pt x="61" y="12"/>
                  </a:lnTo>
                  <a:lnTo>
                    <a:pt x="61" y="14"/>
                  </a:lnTo>
                  <a:lnTo>
                    <a:pt x="59" y="14"/>
                  </a:lnTo>
                  <a:lnTo>
                    <a:pt x="55" y="20"/>
                  </a:lnTo>
                  <a:lnTo>
                    <a:pt x="55" y="22"/>
                  </a:lnTo>
                  <a:lnTo>
                    <a:pt x="53" y="22"/>
                  </a:lnTo>
                  <a:lnTo>
                    <a:pt x="55" y="26"/>
                  </a:lnTo>
                  <a:lnTo>
                    <a:pt x="55" y="28"/>
                  </a:lnTo>
                  <a:lnTo>
                    <a:pt x="57" y="28"/>
                  </a:lnTo>
                  <a:lnTo>
                    <a:pt x="57" y="30"/>
                  </a:lnTo>
                  <a:lnTo>
                    <a:pt x="59" y="30"/>
                  </a:lnTo>
                  <a:lnTo>
                    <a:pt x="61" y="32"/>
                  </a:lnTo>
                  <a:lnTo>
                    <a:pt x="63" y="32"/>
                  </a:lnTo>
                  <a:lnTo>
                    <a:pt x="65" y="34"/>
                  </a:lnTo>
                  <a:lnTo>
                    <a:pt x="68" y="34"/>
                  </a:lnTo>
                  <a:lnTo>
                    <a:pt x="70" y="34"/>
                  </a:lnTo>
                  <a:lnTo>
                    <a:pt x="72" y="36"/>
                  </a:lnTo>
                  <a:lnTo>
                    <a:pt x="76" y="41"/>
                  </a:lnTo>
                  <a:lnTo>
                    <a:pt x="76" y="41"/>
                  </a:lnTo>
                  <a:lnTo>
                    <a:pt x="78" y="41"/>
                  </a:lnTo>
                  <a:lnTo>
                    <a:pt x="80" y="41"/>
                  </a:lnTo>
                  <a:lnTo>
                    <a:pt x="86" y="41"/>
                  </a:lnTo>
                  <a:lnTo>
                    <a:pt x="90" y="43"/>
                  </a:lnTo>
                  <a:lnTo>
                    <a:pt x="94" y="45"/>
                  </a:lnTo>
                  <a:lnTo>
                    <a:pt x="100" y="41"/>
                  </a:lnTo>
                  <a:lnTo>
                    <a:pt x="106" y="34"/>
                  </a:lnTo>
                  <a:lnTo>
                    <a:pt x="106" y="32"/>
                  </a:lnTo>
                  <a:lnTo>
                    <a:pt x="106" y="32"/>
                  </a:lnTo>
                  <a:lnTo>
                    <a:pt x="106" y="32"/>
                  </a:lnTo>
                  <a:lnTo>
                    <a:pt x="108" y="32"/>
                  </a:lnTo>
                  <a:lnTo>
                    <a:pt x="108" y="30"/>
                  </a:lnTo>
                  <a:lnTo>
                    <a:pt x="108" y="28"/>
                  </a:lnTo>
                  <a:lnTo>
                    <a:pt x="108" y="26"/>
                  </a:lnTo>
                  <a:lnTo>
                    <a:pt x="106" y="24"/>
                  </a:lnTo>
                  <a:lnTo>
                    <a:pt x="111" y="18"/>
                  </a:lnTo>
                  <a:lnTo>
                    <a:pt x="113" y="12"/>
                  </a:lnTo>
                  <a:lnTo>
                    <a:pt x="113" y="12"/>
                  </a:lnTo>
                  <a:lnTo>
                    <a:pt x="113" y="10"/>
                  </a:lnTo>
                  <a:close/>
                  <a:moveTo>
                    <a:pt x="18" y="26"/>
                  </a:moveTo>
                  <a:lnTo>
                    <a:pt x="16" y="28"/>
                  </a:lnTo>
                  <a:lnTo>
                    <a:pt x="16" y="28"/>
                  </a:lnTo>
                  <a:lnTo>
                    <a:pt x="12" y="32"/>
                  </a:lnTo>
                  <a:lnTo>
                    <a:pt x="12" y="32"/>
                  </a:lnTo>
                  <a:lnTo>
                    <a:pt x="10" y="34"/>
                  </a:lnTo>
                  <a:lnTo>
                    <a:pt x="10" y="36"/>
                  </a:lnTo>
                  <a:lnTo>
                    <a:pt x="6" y="36"/>
                  </a:lnTo>
                  <a:lnTo>
                    <a:pt x="2" y="43"/>
                  </a:lnTo>
                  <a:lnTo>
                    <a:pt x="0" y="45"/>
                  </a:lnTo>
                  <a:lnTo>
                    <a:pt x="0" y="49"/>
                  </a:lnTo>
                  <a:lnTo>
                    <a:pt x="0" y="51"/>
                  </a:lnTo>
                  <a:lnTo>
                    <a:pt x="4" y="53"/>
                  </a:lnTo>
                  <a:lnTo>
                    <a:pt x="4" y="53"/>
                  </a:lnTo>
                  <a:lnTo>
                    <a:pt x="6" y="53"/>
                  </a:lnTo>
                  <a:lnTo>
                    <a:pt x="6" y="51"/>
                  </a:lnTo>
                  <a:lnTo>
                    <a:pt x="8" y="49"/>
                  </a:lnTo>
                  <a:lnTo>
                    <a:pt x="8" y="47"/>
                  </a:lnTo>
                  <a:lnTo>
                    <a:pt x="12" y="43"/>
                  </a:lnTo>
                  <a:lnTo>
                    <a:pt x="12" y="43"/>
                  </a:lnTo>
                  <a:lnTo>
                    <a:pt x="16" y="43"/>
                  </a:lnTo>
                  <a:lnTo>
                    <a:pt x="16" y="41"/>
                  </a:lnTo>
                  <a:lnTo>
                    <a:pt x="18" y="41"/>
                  </a:lnTo>
                  <a:lnTo>
                    <a:pt x="20" y="38"/>
                  </a:lnTo>
                  <a:lnTo>
                    <a:pt x="20" y="36"/>
                  </a:lnTo>
                  <a:lnTo>
                    <a:pt x="20" y="32"/>
                  </a:lnTo>
                  <a:lnTo>
                    <a:pt x="22" y="30"/>
                  </a:lnTo>
                  <a:lnTo>
                    <a:pt x="25" y="28"/>
                  </a:lnTo>
                  <a:lnTo>
                    <a:pt x="22" y="26"/>
                  </a:lnTo>
                  <a:lnTo>
                    <a:pt x="18" y="26"/>
                  </a:lnTo>
                  <a:close/>
                  <a:moveTo>
                    <a:pt x="301" y="104"/>
                  </a:moveTo>
                  <a:lnTo>
                    <a:pt x="301" y="102"/>
                  </a:lnTo>
                  <a:lnTo>
                    <a:pt x="301" y="100"/>
                  </a:lnTo>
                  <a:lnTo>
                    <a:pt x="301" y="98"/>
                  </a:lnTo>
                  <a:lnTo>
                    <a:pt x="299" y="98"/>
                  </a:lnTo>
                  <a:lnTo>
                    <a:pt x="297" y="98"/>
                  </a:lnTo>
                  <a:lnTo>
                    <a:pt x="297" y="96"/>
                  </a:lnTo>
                  <a:lnTo>
                    <a:pt x="297" y="94"/>
                  </a:lnTo>
                  <a:lnTo>
                    <a:pt x="299" y="92"/>
                  </a:lnTo>
                  <a:lnTo>
                    <a:pt x="293" y="92"/>
                  </a:lnTo>
                  <a:lnTo>
                    <a:pt x="291" y="92"/>
                  </a:lnTo>
                  <a:lnTo>
                    <a:pt x="295" y="96"/>
                  </a:lnTo>
                  <a:lnTo>
                    <a:pt x="293" y="96"/>
                  </a:lnTo>
                  <a:lnTo>
                    <a:pt x="291" y="96"/>
                  </a:lnTo>
                  <a:lnTo>
                    <a:pt x="291" y="96"/>
                  </a:lnTo>
                  <a:lnTo>
                    <a:pt x="291" y="96"/>
                  </a:lnTo>
                  <a:lnTo>
                    <a:pt x="287" y="92"/>
                  </a:lnTo>
                  <a:lnTo>
                    <a:pt x="285" y="92"/>
                  </a:lnTo>
                  <a:lnTo>
                    <a:pt x="285" y="90"/>
                  </a:lnTo>
                  <a:lnTo>
                    <a:pt x="283" y="86"/>
                  </a:lnTo>
                  <a:lnTo>
                    <a:pt x="283" y="86"/>
                  </a:lnTo>
                  <a:lnTo>
                    <a:pt x="283" y="86"/>
                  </a:lnTo>
                  <a:lnTo>
                    <a:pt x="285" y="86"/>
                  </a:lnTo>
                  <a:lnTo>
                    <a:pt x="285" y="84"/>
                  </a:lnTo>
                  <a:lnTo>
                    <a:pt x="285" y="82"/>
                  </a:lnTo>
                  <a:lnTo>
                    <a:pt x="283" y="82"/>
                  </a:lnTo>
                  <a:lnTo>
                    <a:pt x="281" y="79"/>
                  </a:lnTo>
                  <a:lnTo>
                    <a:pt x="278" y="75"/>
                  </a:lnTo>
                  <a:lnTo>
                    <a:pt x="276" y="73"/>
                  </a:lnTo>
                  <a:lnTo>
                    <a:pt x="276" y="71"/>
                  </a:lnTo>
                  <a:lnTo>
                    <a:pt x="274" y="69"/>
                  </a:lnTo>
                  <a:lnTo>
                    <a:pt x="272" y="67"/>
                  </a:lnTo>
                  <a:lnTo>
                    <a:pt x="272" y="65"/>
                  </a:lnTo>
                  <a:lnTo>
                    <a:pt x="270" y="65"/>
                  </a:lnTo>
                  <a:lnTo>
                    <a:pt x="268" y="63"/>
                  </a:lnTo>
                  <a:lnTo>
                    <a:pt x="268" y="63"/>
                  </a:lnTo>
                  <a:lnTo>
                    <a:pt x="268" y="63"/>
                  </a:lnTo>
                  <a:lnTo>
                    <a:pt x="268" y="63"/>
                  </a:lnTo>
                  <a:lnTo>
                    <a:pt x="262" y="65"/>
                  </a:lnTo>
                  <a:lnTo>
                    <a:pt x="260" y="67"/>
                  </a:lnTo>
                  <a:lnTo>
                    <a:pt x="258" y="69"/>
                  </a:lnTo>
                  <a:lnTo>
                    <a:pt x="258" y="71"/>
                  </a:lnTo>
                  <a:lnTo>
                    <a:pt x="256" y="71"/>
                  </a:lnTo>
                  <a:lnTo>
                    <a:pt x="256" y="71"/>
                  </a:lnTo>
                  <a:lnTo>
                    <a:pt x="252" y="73"/>
                  </a:lnTo>
                  <a:lnTo>
                    <a:pt x="252" y="75"/>
                  </a:lnTo>
                  <a:lnTo>
                    <a:pt x="252" y="75"/>
                  </a:lnTo>
                  <a:lnTo>
                    <a:pt x="252" y="77"/>
                  </a:lnTo>
                  <a:lnTo>
                    <a:pt x="250" y="77"/>
                  </a:lnTo>
                  <a:lnTo>
                    <a:pt x="248" y="77"/>
                  </a:lnTo>
                  <a:lnTo>
                    <a:pt x="246" y="77"/>
                  </a:lnTo>
                  <a:lnTo>
                    <a:pt x="240" y="75"/>
                  </a:lnTo>
                  <a:lnTo>
                    <a:pt x="238" y="77"/>
                  </a:lnTo>
                  <a:lnTo>
                    <a:pt x="235" y="77"/>
                  </a:lnTo>
                  <a:lnTo>
                    <a:pt x="233" y="79"/>
                  </a:lnTo>
                  <a:lnTo>
                    <a:pt x="238" y="84"/>
                  </a:lnTo>
                  <a:lnTo>
                    <a:pt x="238" y="86"/>
                  </a:lnTo>
                  <a:lnTo>
                    <a:pt x="235" y="88"/>
                  </a:lnTo>
                  <a:lnTo>
                    <a:pt x="238" y="90"/>
                  </a:lnTo>
                  <a:lnTo>
                    <a:pt x="240" y="92"/>
                  </a:lnTo>
                  <a:lnTo>
                    <a:pt x="242" y="92"/>
                  </a:lnTo>
                  <a:lnTo>
                    <a:pt x="242" y="94"/>
                  </a:lnTo>
                  <a:lnTo>
                    <a:pt x="244" y="98"/>
                  </a:lnTo>
                  <a:lnTo>
                    <a:pt x="246" y="100"/>
                  </a:lnTo>
                  <a:lnTo>
                    <a:pt x="248" y="102"/>
                  </a:lnTo>
                  <a:lnTo>
                    <a:pt x="250" y="102"/>
                  </a:lnTo>
                  <a:lnTo>
                    <a:pt x="250" y="102"/>
                  </a:lnTo>
                  <a:lnTo>
                    <a:pt x="250" y="104"/>
                  </a:lnTo>
                  <a:lnTo>
                    <a:pt x="252" y="112"/>
                  </a:lnTo>
                  <a:lnTo>
                    <a:pt x="254" y="112"/>
                  </a:lnTo>
                  <a:lnTo>
                    <a:pt x="254" y="112"/>
                  </a:lnTo>
                  <a:lnTo>
                    <a:pt x="254" y="112"/>
                  </a:lnTo>
                  <a:lnTo>
                    <a:pt x="256" y="112"/>
                  </a:lnTo>
                  <a:lnTo>
                    <a:pt x="258" y="110"/>
                  </a:lnTo>
                  <a:lnTo>
                    <a:pt x="262" y="110"/>
                  </a:lnTo>
                  <a:lnTo>
                    <a:pt x="266" y="110"/>
                  </a:lnTo>
                  <a:lnTo>
                    <a:pt x="268" y="110"/>
                  </a:lnTo>
                  <a:lnTo>
                    <a:pt x="268" y="106"/>
                  </a:lnTo>
                  <a:lnTo>
                    <a:pt x="266" y="106"/>
                  </a:lnTo>
                  <a:lnTo>
                    <a:pt x="264" y="104"/>
                  </a:lnTo>
                  <a:lnTo>
                    <a:pt x="262" y="102"/>
                  </a:lnTo>
                  <a:lnTo>
                    <a:pt x="264" y="102"/>
                  </a:lnTo>
                  <a:lnTo>
                    <a:pt x="266" y="104"/>
                  </a:lnTo>
                  <a:lnTo>
                    <a:pt x="268" y="104"/>
                  </a:lnTo>
                  <a:lnTo>
                    <a:pt x="266" y="100"/>
                  </a:lnTo>
                  <a:lnTo>
                    <a:pt x="268" y="102"/>
                  </a:lnTo>
                  <a:lnTo>
                    <a:pt x="270" y="102"/>
                  </a:lnTo>
                  <a:lnTo>
                    <a:pt x="270" y="100"/>
                  </a:lnTo>
                  <a:lnTo>
                    <a:pt x="270" y="100"/>
                  </a:lnTo>
                  <a:lnTo>
                    <a:pt x="272" y="102"/>
                  </a:lnTo>
                  <a:lnTo>
                    <a:pt x="272" y="102"/>
                  </a:lnTo>
                  <a:lnTo>
                    <a:pt x="272" y="104"/>
                  </a:lnTo>
                  <a:lnTo>
                    <a:pt x="272" y="104"/>
                  </a:lnTo>
                  <a:lnTo>
                    <a:pt x="270" y="104"/>
                  </a:lnTo>
                  <a:lnTo>
                    <a:pt x="270" y="106"/>
                  </a:lnTo>
                  <a:lnTo>
                    <a:pt x="270" y="108"/>
                  </a:lnTo>
                  <a:lnTo>
                    <a:pt x="272" y="108"/>
                  </a:lnTo>
                  <a:lnTo>
                    <a:pt x="274" y="108"/>
                  </a:lnTo>
                  <a:lnTo>
                    <a:pt x="276" y="106"/>
                  </a:lnTo>
                  <a:lnTo>
                    <a:pt x="278" y="108"/>
                  </a:lnTo>
                  <a:lnTo>
                    <a:pt x="281" y="108"/>
                  </a:lnTo>
                  <a:lnTo>
                    <a:pt x="281" y="110"/>
                  </a:lnTo>
                  <a:lnTo>
                    <a:pt x="281" y="110"/>
                  </a:lnTo>
                  <a:lnTo>
                    <a:pt x="283" y="112"/>
                  </a:lnTo>
                  <a:lnTo>
                    <a:pt x="285" y="114"/>
                  </a:lnTo>
                  <a:lnTo>
                    <a:pt x="287" y="114"/>
                  </a:lnTo>
                  <a:lnTo>
                    <a:pt x="289" y="116"/>
                  </a:lnTo>
                  <a:lnTo>
                    <a:pt x="291" y="116"/>
                  </a:lnTo>
                  <a:lnTo>
                    <a:pt x="293" y="114"/>
                  </a:lnTo>
                  <a:lnTo>
                    <a:pt x="295" y="114"/>
                  </a:lnTo>
                  <a:lnTo>
                    <a:pt x="299" y="112"/>
                  </a:lnTo>
                  <a:lnTo>
                    <a:pt x="301" y="116"/>
                  </a:lnTo>
                  <a:lnTo>
                    <a:pt x="301" y="114"/>
                  </a:lnTo>
                  <a:lnTo>
                    <a:pt x="307" y="110"/>
                  </a:lnTo>
                  <a:lnTo>
                    <a:pt x="307" y="108"/>
                  </a:lnTo>
                  <a:lnTo>
                    <a:pt x="301" y="104"/>
                  </a:lnTo>
                  <a:close/>
                  <a:moveTo>
                    <a:pt x="403" y="161"/>
                  </a:moveTo>
                  <a:lnTo>
                    <a:pt x="401" y="161"/>
                  </a:lnTo>
                  <a:lnTo>
                    <a:pt x="399" y="161"/>
                  </a:lnTo>
                  <a:lnTo>
                    <a:pt x="393" y="155"/>
                  </a:lnTo>
                  <a:lnTo>
                    <a:pt x="381" y="155"/>
                  </a:lnTo>
                  <a:lnTo>
                    <a:pt x="377" y="157"/>
                  </a:lnTo>
                  <a:lnTo>
                    <a:pt x="379" y="161"/>
                  </a:lnTo>
                  <a:lnTo>
                    <a:pt x="383" y="164"/>
                  </a:lnTo>
                  <a:lnTo>
                    <a:pt x="385" y="166"/>
                  </a:lnTo>
                  <a:lnTo>
                    <a:pt x="385" y="168"/>
                  </a:lnTo>
                  <a:lnTo>
                    <a:pt x="385" y="170"/>
                  </a:lnTo>
                  <a:lnTo>
                    <a:pt x="385" y="174"/>
                  </a:lnTo>
                  <a:lnTo>
                    <a:pt x="387" y="176"/>
                  </a:lnTo>
                  <a:lnTo>
                    <a:pt x="389" y="178"/>
                  </a:lnTo>
                  <a:lnTo>
                    <a:pt x="393" y="178"/>
                  </a:lnTo>
                  <a:lnTo>
                    <a:pt x="399" y="176"/>
                  </a:lnTo>
                  <a:lnTo>
                    <a:pt x="403" y="174"/>
                  </a:lnTo>
                  <a:lnTo>
                    <a:pt x="405" y="170"/>
                  </a:lnTo>
                  <a:lnTo>
                    <a:pt x="407" y="168"/>
                  </a:lnTo>
                  <a:lnTo>
                    <a:pt x="407" y="166"/>
                  </a:lnTo>
                  <a:lnTo>
                    <a:pt x="405" y="166"/>
                  </a:lnTo>
                  <a:lnTo>
                    <a:pt x="403" y="161"/>
                  </a:lnTo>
                  <a:close/>
                </a:path>
              </a:pathLst>
            </a:custGeom>
            <a:solidFill>
              <a:schemeClr val="accent1">
                <a:lumMod val="60000"/>
                <a:lumOff val="40000"/>
              </a:schemeClr>
            </a:solidFill>
            <a:ln w="3175" cap="flat">
              <a:solidFill>
                <a:schemeClr val="bg1"/>
              </a:solidFill>
              <a:prstDash val="solid"/>
              <a:miter lim="800000"/>
              <a:headEnd/>
              <a:tailEnd/>
            </a:ln>
          </p:spPr>
          <p:txBody>
            <a:bodyPr vert="horz" wrap="square" lIns="0" tIns="0" rIns="72000" bIns="72000" numCol="1" anchor="b"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HI</a:t>
              </a:r>
            </a:p>
          </p:txBody>
        </p:sp>
        <p:sp>
          <p:nvSpPr>
            <p:cNvPr id="124" name="Freeform 45">
              <a:extLst>
                <a:ext uri="{FF2B5EF4-FFF2-40B4-BE49-F238E27FC236}">
                  <a16:creationId xmlns:a16="http://schemas.microsoft.com/office/drawing/2014/main" id="{93C7BCB5-8D6C-6D76-BED4-A42653CFA41A}"/>
                </a:ext>
              </a:extLst>
            </p:cNvPr>
            <p:cNvSpPr>
              <a:spLocks noEditPoints="1"/>
            </p:cNvSpPr>
            <p:nvPr/>
          </p:nvSpPr>
          <p:spPr bwMode="auto">
            <a:xfrm>
              <a:off x="4002" y="1545"/>
              <a:ext cx="475" cy="480"/>
            </a:xfrm>
            <a:custGeom>
              <a:avLst/>
              <a:gdLst>
                <a:gd name="T0" fmla="*/ 437 w 475"/>
                <a:gd name="T1" fmla="*/ 416 h 480"/>
                <a:gd name="T2" fmla="*/ 471 w 475"/>
                <a:gd name="T3" fmla="*/ 283 h 480"/>
                <a:gd name="T4" fmla="*/ 451 w 475"/>
                <a:gd name="T5" fmla="*/ 281 h 480"/>
                <a:gd name="T6" fmla="*/ 443 w 475"/>
                <a:gd name="T7" fmla="*/ 269 h 480"/>
                <a:gd name="T8" fmla="*/ 434 w 475"/>
                <a:gd name="T9" fmla="*/ 246 h 480"/>
                <a:gd name="T10" fmla="*/ 424 w 475"/>
                <a:gd name="T11" fmla="*/ 234 h 480"/>
                <a:gd name="T12" fmla="*/ 412 w 475"/>
                <a:gd name="T13" fmla="*/ 222 h 480"/>
                <a:gd name="T14" fmla="*/ 408 w 475"/>
                <a:gd name="T15" fmla="*/ 209 h 480"/>
                <a:gd name="T16" fmla="*/ 389 w 475"/>
                <a:gd name="T17" fmla="*/ 185 h 480"/>
                <a:gd name="T18" fmla="*/ 363 w 475"/>
                <a:gd name="T19" fmla="*/ 166 h 480"/>
                <a:gd name="T20" fmla="*/ 353 w 475"/>
                <a:gd name="T21" fmla="*/ 158 h 480"/>
                <a:gd name="T22" fmla="*/ 340 w 475"/>
                <a:gd name="T23" fmla="*/ 138 h 480"/>
                <a:gd name="T24" fmla="*/ 310 w 475"/>
                <a:gd name="T25" fmla="*/ 115 h 480"/>
                <a:gd name="T26" fmla="*/ 283 w 475"/>
                <a:gd name="T27" fmla="*/ 97 h 480"/>
                <a:gd name="T28" fmla="*/ 267 w 475"/>
                <a:gd name="T29" fmla="*/ 82 h 480"/>
                <a:gd name="T30" fmla="*/ 232 w 475"/>
                <a:gd name="T31" fmla="*/ 51 h 480"/>
                <a:gd name="T32" fmla="*/ 203 w 475"/>
                <a:gd name="T33" fmla="*/ 29 h 480"/>
                <a:gd name="T34" fmla="*/ 211 w 475"/>
                <a:gd name="T35" fmla="*/ 13 h 480"/>
                <a:gd name="T36" fmla="*/ 207 w 475"/>
                <a:gd name="T37" fmla="*/ 2 h 480"/>
                <a:gd name="T38" fmla="*/ 121 w 475"/>
                <a:gd name="T39" fmla="*/ 17 h 480"/>
                <a:gd name="T40" fmla="*/ 23 w 475"/>
                <a:gd name="T41" fmla="*/ 29 h 480"/>
                <a:gd name="T42" fmla="*/ 15 w 475"/>
                <a:gd name="T43" fmla="*/ 80 h 480"/>
                <a:gd name="T44" fmla="*/ 49 w 475"/>
                <a:gd name="T45" fmla="*/ 193 h 480"/>
                <a:gd name="T46" fmla="*/ 66 w 475"/>
                <a:gd name="T47" fmla="*/ 246 h 480"/>
                <a:gd name="T48" fmla="*/ 76 w 475"/>
                <a:gd name="T49" fmla="*/ 267 h 480"/>
                <a:gd name="T50" fmla="*/ 92 w 475"/>
                <a:gd name="T51" fmla="*/ 293 h 480"/>
                <a:gd name="T52" fmla="*/ 94 w 475"/>
                <a:gd name="T53" fmla="*/ 308 h 480"/>
                <a:gd name="T54" fmla="*/ 101 w 475"/>
                <a:gd name="T55" fmla="*/ 316 h 480"/>
                <a:gd name="T56" fmla="*/ 94 w 475"/>
                <a:gd name="T57" fmla="*/ 326 h 480"/>
                <a:gd name="T58" fmla="*/ 92 w 475"/>
                <a:gd name="T59" fmla="*/ 347 h 480"/>
                <a:gd name="T60" fmla="*/ 99 w 475"/>
                <a:gd name="T61" fmla="*/ 386 h 480"/>
                <a:gd name="T62" fmla="*/ 101 w 475"/>
                <a:gd name="T63" fmla="*/ 412 h 480"/>
                <a:gd name="T64" fmla="*/ 107 w 475"/>
                <a:gd name="T65" fmla="*/ 439 h 480"/>
                <a:gd name="T66" fmla="*/ 115 w 475"/>
                <a:gd name="T67" fmla="*/ 455 h 480"/>
                <a:gd name="T68" fmla="*/ 135 w 475"/>
                <a:gd name="T69" fmla="*/ 480 h 480"/>
                <a:gd name="T70" fmla="*/ 219 w 475"/>
                <a:gd name="T71" fmla="*/ 474 h 480"/>
                <a:gd name="T72" fmla="*/ 336 w 475"/>
                <a:gd name="T73" fmla="*/ 463 h 480"/>
                <a:gd name="T74" fmla="*/ 373 w 475"/>
                <a:gd name="T75" fmla="*/ 463 h 480"/>
                <a:gd name="T76" fmla="*/ 377 w 475"/>
                <a:gd name="T77" fmla="*/ 474 h 480"/>
                <a:gd name="T78" fmla="*/ 389 w 475"/>
                <a:gd name="T79" fmla="*/ 480 h 480"/>
                <a:gd name="T80" fmla="*/ 394 w 475"/>
                <a:gd name="T81" fmla="*/ 457 h 480"/>
                <a:gd name="T82" fmla="*/ 389 w 475"/>
                <a:gd name="T83" fmla="*/ 443 h 480"/>
                <a:gd name="T84" fmla="*/ 391 w 475"/>
                <a:gd name="T85" fmla="*/ 433 h 480"/>
                <a:gd name="T86" fmla="*/ 396 w 475"/>
                <a:gd name="T87" fmla="*/ 429 h 480"/>
                <a:gd name="T88" fmla="*/ 414 w 475"/>
                <a:gd name="T89" fmla="*/ 433 h 480"/>
                <a:gd name="T90" fmla="*/ 432 w 475"/>
                <a:gd name="T91" fmla="*/ 435 h 480"/>
                <a:gd name="T92" fmla="*/ 434 w 475"/>
                <a:gd name="T93" fmla="*/ 420 h 480"/>
                <a:gd name="T94" fmla="*/ 434 w 475"/>
                <a:gd name="T95" fmla="*/ 414 h 480"/>
                <a:gd name="T96" fmla="*/ 437 w 475"/>
                <a:gd name="T97" fmla="*/ 398 h 480"/>
                <a:gd name="T98" fmla="*/ 439 w 475"/>
                <a:gd name="T99" fmla="*/ 394 h 480"/>
                <a:gd name="T100" fmla="*/ 437 w 475"/>
                <a:gd name="T101" fmla="*/ 377 h 480"/>
                <a:gd name="T102" fmla="*/ 449 w 475"/>
                <a:gd name="T103" fmla="*/ 369 h 480"/>
                <a:gd name="T104" fmla="*/ 443 w 475"/>
                <a:gd name="T105" fmla="*/ 365 h 480"/>
                <a:gd name="T106" fmla="*/ 443 w 475"/>
                <a:gd name="T107" fmla="*/ 355 h 480"/>
                <a:gd name="T108" fmla="*/ 451 w 475"/>
                <a:gd name="T109" fmla="*/ 340 h 480"/>
                <a:gd name="T110" fmla="*/ 439 w 475"/>
                <a:gd name="T111" fmla="*/ 340 h 480"/>
                <a:gd name="T112" fmla="*/ 449 w 475"/>
                <a:gd name="T113" fmla="*/ 330 h 480"/>
                <a:gd name="T114" fmla="*/ 451 w 475"/>
                <a:gd name="T115" fmla="*/ 324 h 480"/>
                <a:gd name="T116" fmla="*/ 443 w 475"/>
                <a:gd name="T117" fmla="*/ 318 h 480"/>
                <a:gd name="T118" fmla="*/ 459 w 475"/>
                <a:gd name="T119" fmla="*/ 308 h 480"/>
                <a:gd name="T120" fmla="*/ 455 w 475"/>
                <a:gd name="T121" fmla="*/ 302 h 480"/>
                <a:gd name="T122" fmla="*/ 465 w 475"/>
                <a:gd name="T123" fmla="*/ 291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5" h="480">
                  <a:moveTo>
                    <a:pt x="441" y="424"/>
                  </a:moveTo>
                  <a:lnTo>
                    <a:pt x="441" y="424"/>
                  </a:lnTo>
                  <a:lnTo>
                    <a:pt x="443" y="420"/>
                  </a:lnTo>
                  <a:lnTo>
                    <a:pt x="443" y="416"/>
                  </a:lnTo>
                  <a:lnTo>
                    <a:pt x="443" y="412"/>
                  </a:lnTo>
                  <a:lnTo>
                    <a:pt x="443" y="410"/>
                  </a:lnTo>
                  <a:lnTo>
                    <a:pt x="443" y="406"/>
                  </a:lnTo>
                  <a:lnTo>
                    <a:pt x="441" y="404"/>
                  </a:lnTo>
                  <a:lnTo>
                    <a:pt x="441" y="404"/>
                  </a:lnTo>
                  <a:lnTo>
                    <a:pt x="441" y="408"/>
                  </a:lnTo>
                  <a:lnTo>
                    <a:pt x="437" y="412"/>
                  </a:lnTo>
                  <a:lnTo>
                    <a:pt x="437" y="416"/>
                  </a:lnTo>
                  <a:lnTo>
                    <a:pt x="437" y="416"/>
                  </a:lnTo>
                  <a:lnTo>
                    <a:pt x="439" y="418"/>
                  </a:lnTo>
                  <a:lnTo>
                    <a:pt x="439" y="420"/>
                  </a:lnTo>
                  <a:lnTo>
                    <a:pt x="439" y="420"/>
                  </a:lnTo>
                  <a:lnTo>
                    <a:pt x="439" y="422"/>
                  </a:lnTo>
                  <a:lnTo>
                    <a:pt x="441" y="431"/>
                  </a:lnTo>
                  <a:lnTo>
                    <a:pt x="443" y="431"/>
                  </a:lnTo>
                  <a:lnTo>
                    <a:pt x="443" y="431"/>
                  </a:lnTo>
                  <a:lnTo>
                    <a:pt x="443" y="429"/>
                  </a:lnTo>
                  <a:lnTo>
                    <a:pt x="441" y="424"/>
                  </a:lnTo>
                  <a:close/>
                  <a:moveTo>
                    <a:pt x="473" y="283"/>
                  </a:moveTo>
                  <a:lnTo>
                    <a:pt x="471" y="283"/>
                  </a:lnTo>
                  <a:lnTo>
                    <a:pt x="471" y="283"/>
                  </a:lnTo>
                  <a:lnTo>
                    <a:pt x="469" y="283"/>
                  </a:lnTo>
                  <a:lnTo>
                    <a:pt x="469" y="283"/>
                  </a:lnTo>
                  <a:lnTo>
                    <a:pt x="469" y="283"/>
                  </a:lnTo>
                  <a:lnTo>
                    <a:pt x="467" y="283"/>
                  </a:lnTo>
                  <a:lnTo>
                    <a:pt x="465" y="283"/>
                  </a:lnTo>
                  <a:lnTo>
                    <a:pt x="465" y="283"/>
                  </a:lnTo>
                  <a:lnTo>
                    <a:pt x="463" y="281"/>
                  </a:lnTo>
                  <a:lnTo>
                    <a:pt x="463" y="281"/>
                  </a:lnTo>
                  <a:lnTo>
                    <a:pt x="459" y="279"/>
                  </a:lnTo>
                  <a:lnTo>
                    <a:pt x="457" y="279"/>
                  </a:lnTo>
                  <a:lnTo>
                    <a:pt x="451" y="281"/>
                  </a:lnTo>
                  <a:lnTo>
                    <a:pt x="451" y="281"/>
                  </a:lnTo>
                  <a:lnTo>
                    <a:pt x="449" y="277"/>
                  </a:lnTo>
                  <a:lnTo>
                    <a:pt x="447" y="277"/>
                  </a:lnTo>
                  <a:lnTo>
                    <a:pt x="447" y="277"/>
                  </a:lnTo>
                  <a:lnTo>
                    <a:pt x="447" y="277"/>
                  </a:lnTo>
                  <a:lnTo>
                    <a:pt x="445" y="275"/>
                  </a:lnTo>
                  <a:lnTo>
                    <a:pt x="445" y="275"/>
                  </a:lnTo>
                  <a:lnTo>
                    <a:pt x="445" y="275"/>
                  </a:lnTo>
                  <a:lnTo>
                    <a:pt x="445" y="275"/>
                  </a:lnTo>
                  <a:lnTo>
                    <a:pt x="443" y="271"/>
                  </a:lnTo>
                  <a:lnTo>
                    <a:pt x="443" y="271"/>
                  </a:lnTo>
                  <a:lnTo>
                    <a:pt x="443" y="269"/>
                  </a:lnTo>
                  <a:lnTo>
                    <a:pt x="443" y="267"/>
                  </a:lnTo>
                  <a:lnTo>
                    <a:pt x="443" y="267"/>
                  </a:lnTo>
                  <a:lnTo>
                    <a:pt x="443" y="265"/>
                  </a:lnTo>
                  <a:lnTo>
                    <a:pt x="443" y="263"/>
                  </a:lnTo>
                  <a:lnTo>
                    <a:pt x="443" y="263"/>
                  </a:lnTo>
                  <a:lnTo>
                    <a:pt x="443" y="261"/>
                  </a:lnTo>
                  <a:lnTo>
                    <a:pt x="443" y="258"/>
                  </a:lnTo>
                  <a:lnTo>
                    <a:pt x="443" y="256"/>
                  </a:lnTo>
                  <a:lnTo>
                    <a:pt x="443" y="254"/>
                  </a:lnTo>
                  <a:lnTo>
                    <a:pt x="441" y="254"/>
                  </a:lnTo>
                  <a:lnTo>
                    <a:pt x="439" y="254"/>
                  </a:lnTo>
                  <a:lnTo>
                    <a:pt x="434" y="246"/>
                  </a:lnTo>
                  <a:lnTo>
                    <a:pt x="434" y="242"/>
                  </a:lnTo>
                  <a:lnTo>
                    <a:pt x="434" y="240"/>
                  </a:lnTo>
                  <a:lnTo>
                    <a:pt x="432" y="240"/>
                  </a:lnTo>
                  <a:lnTo>
                    <a:pt x="430" y="240"/>
                  </a:lnTo>
                  <a:lnTo>
                    <a:pt x="430" y="238"/>
                  </a:lnTo>
                  <a:lnTo>
                    <a:pt x="430" y="238"/>
                  </a:lnTo>
                  <a:lnTo>
                    <a:pt x="428" y="236"/>
                  </a:lnTo>
                  <a:lnTo>
                    <a:pt x="428" y="236"/>
                  </a:lnTo>
                  <a:lnTo>
                    <a:pt x="426" y="236"/>
                  </a:lnTo>
                  <a:lnTo>
                    <a:pt x="426" y="236"/>
                  </a:lnTo>
                  <a:lnTo>
                    <a:pt x="426" y="236"/>
                  </a:lnTo>
                  <a:lnTo>
                    <a:pt x="424" y="234"/>
                  </a:lnTo>
                  <a:lnTo>
                    <a:pt x="424" y="234"/>
                  </a:lnTo>
                  <a:lnTo>
                    <a:pt x="422" y="232"/>
                  </a:lnTo>
                  <a:lnTo>
                    <a:pt x="422" y="232"/>
                  </a:lnTo>
                  <a:lnTo>
                    <a:pt x="418" y="232"/>
                  </a:lnTo>
                  <a:lnTo>
                    <a:pt x="416" y="232"/>
                  </a:lnTo>
                  <a:lnTo>
                    <a:pt x="416" y="232"/>
                  </a:lnTo>
                  <a:lnTo>
                    <a:pt x="414" y="230"/>
                  </a:lnTo>
                  <a:lnTo>
                    <a:pt x="412" y="228"/>
                  </a:lnTo>
                  <a:lnTo>
                    <a:pt x="412" y="228"/>
                  </a:lnTo>
                  <a:lnTo>
                    <a:pt x="412" y="226"/>
                  </a:lnTo>
                  <a:lnTo>
                    <a:pt x="412" y="224"/>
                  </a:lnTo>
                  <a:lnTo>
                    <a:pt x="412" y="222"/>
                  </a:lnTo>
                  <a:lnTo>
                    <a:pt x="412" y="222"/>
                  </a:lnTo>
                  <a:lnTo>
                    <a:pt x="412" y="222"/>
                  </a:lnTo>
                  <a:lnTo>
                    <a:pt x="410" y="222"/>
                  </a:lnTo>
                  <a:lnTo>
                    <a:pt x="410" y="220"/>
                  </a:lnTo>
                  <a:lnTo>
                    <a:pt x="410" y="220"/>
                  </a:lnTo>
                  <a:lnTo>
                    <a:pt x="410" y="217"/>
                  </a:lnTo>
                  <a:lnTo>
                    <a:pt x="410" y="217"/>
                  </a:lnTo>
                  <a:lnTo>
                    <a:pt x="410" y="215"/>
                  </a:lnTo>
                  <a:lnTo>
                    <a:pt x="410" y="213"/>
                  </a:lnTo>
                  <a:lnTo>
                    <a:pt x="408" y="213"/>
                  </a:lnTo>
                  <a:lnTo>
                    <a:pt x="408" y="211"/>
                  </a:lnTo>
                  <a:lnTo>
                    <a:pt x="408" y="209"/>
                  </a:lnTo>
                  <a:lnTo>
                    <a:pt x="408" y="207"/>
                  </a:lnTo>
                  <a:lnTo>
                    <a:pt x="406" y="205"/>
                  </a:lnTo>
                  <a:lnTo>
                    <a:pt x="400" y="197"/>
                  </a:lnTo>
                  <a:lnTo>
                    <a:pt x="398" y="197"/>
                  </a:lnTo>
                  <a:lnTo>
                    <a:pt x="398" y="195"/>
                  </a:lnTo>
                  <a:lnTo>
                    <a:pt x="398" y="191"/>
                  </a:lnTo>
                  <a:lnTo>
                    <a:pt x="398" y="189"/>
                  </a:lnTo>
                  <a:lnTo>
                    <a:pt x="396" y="187"/>
                  </a:lnTo>
                  <a:lnTo>
                    <a:pt x="396" y="187"/>
                  </a:lnTo>
                  <a:lnTo>
                    <a:pt x="394" y="185"/>
                  </a:lnTo>
                  <a:lnTo>
                    <a:pt x="391" y="185"/>
                  </a:lnTo>
                  <a:lnTo>
                    <a:pt x="389" y="185"/>
                  </a:lnTo>
                  <a:lnTo>
                    <a:pt x="387" y="183"/>
                  </a:lnTo>
                  <a:lnTo>
                    <a:pt x="383" y="181"/>
                  </a:lnTo>
                  <a:lnTo>
                    <a:pt x="375" y="179"/>
                  </a:lnTo>
                  <a:lnTo>
                    <a:pt x="371" y="176"/>
                  </a:lnTo>
                  <a:lnTo>
                    <a:pt x="371" y="176"/>
                  </a:lnTo>
                  <a:lnTo>
                    <a:pt x="369" y="172"/>
                  </a:lnTo>
                  <a:lnTo>
                    <a:pt x="369" y="170"/>
                  </a:lnTo>
                  <a:lnTo>
                    <a:pt x="367" y="170"/>
                  </a:lnTo>
                  <a:lnTo>
                    <a:pt x="365" y="170"/>
                  </a:lnTo>
                  <a:lnTo>
                    <a:pt x="363" y="170"/>
                  </a:lnTo>
                  <a:lnTo>
                    <a:pt x="361" y="168"/>
                  </a:lnTo>
                  <a:lnTo>
                    <a:pt x="363" y="166"/>
                  </a:lnTo>
                  <a:lnTo>
                    <a:pt x="363" y="166"/>
                  </a:lnTo>
                  <a:lnTo>
                    <a:pt x="363" y="164"/>
                  </a:lnTo>
                  <a:lnTo>
                    <a:pt x="361" y="164"/>
                  </a:lnTo>
                  <a:lnTo>
                    <a:pt x="361" y="162"/>
                  </a:lnTo>
                  <a:lnTo>
                    <a:pt x="361" y="162"/>
                  </a:lnTo>
                  <a:lnTo>
                    <a:pt x="361" y="162"/>
                  </a:lnTo>
                  <a:lnTo>
                    <a:pt x="359" y="160"/>
                  </a:lnTo>
                  <a:lnTo>
                    <a:pt x="359" y="162"/>
                  </a:lnTo>
                  <a:lnTo>
                    <a:pt x="359" y="162"/>
                  </a:lnTo>
                  <a:lnTo>
                    <a:pt x="359" y="162"/>
                  </a:lnTo>
                  <a:lnTo>
                    <a:pt x="357" y="162"/>
                  </a:lnTo>
                  <a:lnTo>
                    <a:pt x="353" y="158"/>
                  </a:lnTo>
                  <a:lnTo>
                    <a:pt x="353" y="156"/>
                  </a:lnTo>
                  <a:lnTo>
                    <a:pt x="353" y="156"/>
                  </a:lnTo>
                  <a:lnTo>
                    <a:pt x="350" y="154"/>
                  </a:lnTo>
                  <a:lnTo>
                    <a:pt x="350" y="152"/>
                  </a:lnTo>
                  <a:lnTo>
                    <a:pt x="353" y="152"/>
                  </a:lnTo>
                  <a:lnTo>
                    <a:pt x="353" y="150"/>
                  </a:lnTo>
                  <a:lnTo>
                    <a:pt x="350" y="150"/>
                  </a:lnTo>
                  <a:lnTo>
                    <a:pt x="350" y="148"/>
                  </a:lnTo>
                  <a:lnTo>
                    <a:pt x="350" y="146"/>
                  </a:lnTo>
                  <a:lnTo>
                    <a:pt x="346" y="144"/>
                  </a:lnTo>
                  <a:lnTo>
                    <a:pt x="344" y="142"/>
                  </a:lnTo>
                  <a:lnTo>
                    <a:pt x="340" y="138"/>
                  </a:lnTo>
                  <a:lnTo>
                    <a:pt x="336" y="138"/>
                  </a:lnTo>
                  <a:lnTo>
                    <a:pt x="336" y="136"/>
                  </a:lnTo>
                  <a:lnTo>
                    <a:pt x="330" y="136"/>
                  </a:lnTo>
                  <a:lnTo>
                    <a:pt x="328" y="136"/>
                  </a:lnTo>
                  <a:lnTo>
                    <a:pt x="326" y="133"/>
                  </a:lnTo>
                  <a:lnTo>
                    <a:pt x="324" y="133"/>
                  </a:lnTo>
                  <a:lnTo>
                    <a:pt x="322" y="129"/>
                  </a:lnTo>
                  <a:lnTo>
                    <a:pt x="322" y="127"/>
                  </a:lnTo>
                  <a:lnTo>
                    <a:pt x="320" y="125"/>
                  </a:lnTo>
                  <a:lnTo>
                    <a:pt x="318" y="121"/>
                  </a:lnTo>
                  <a:lnTo>
                    <a:pt x="316" y="119"/>
                  </a:lnTo>
                  <a:lnTo>
                    <a:pt x="310" y="115"/>
                  </a:lnTo>
                  <a:lnTo>
                    <a:pt x="305" y="113"/>
                  </a:lnTo>
                  <a:lnTo>
                    <a:pt x="301" y="111"/>
                  </a:lnTo>
                  <a:lnTo>
                    <a:pt x="299" y="111"/>
                  </a:lnTo>
                  <a:lnTo>
                    <a:pt x="295" y="109"/>
                  </a:lnTo>
                  <a:lnTo>
                    <a:pt x="293" y="107"/>
                  </a:lnTo>
                  <a:lnTo>
                    <a:pt x="291" y="105"/>
                  </a:lnTo>
                  <a:lnTo>
                    <a:pt x="289" y="103"/>
                  </a:lnTo>
                  <a:lnTo>
                    <a:pt x="289" y="103"/>
                  </a:lnTo>
                  <a:lnTo>
                    <a:pt x="287" y="103"/>
                  </a:lnTo>
                  <a:lnTo>
                    <a:pt x="285" y="103"/>
                  </a:lnTo>
                  <a:lnTo>
                    <a:pt x="285" y="101"/>
                  </a:lnTo>
                  <a:lnTo>
                    <a:pt x="283" y="97"/>
                  </a:lnTo>
                  <a:lnTo>
                    <a:pt x="281" y="95"/>
                  </a:lnTo>
                  <a:lnTo>
                    <a:pt x="281" y="95"/>
                  </a:lnTo>
                  <a:lnTo>
                    <a:pt x="279" y="92"/>
                  </a:lnTo>
                  <a:lnTo>
                    <a:pt x="277" y="90"/>
                  </a:lnTo>
                  <a:lnTo>
                    <a:pt x="277" y="88"/>
                  </a:lnTo>
                  <a:lnTo>
                    <a:pt x="275" y="88"/>
                  </a:lnTo>
                  <a:lnTo>
                    <a:pt x="275" y="86"/>
                  </a:lnTo>
                  <a:lnTo>
                    <a:pt x="273" y="86"/>
                  </a:lnTo>
                  <a:lnTo>
                    <a:pt x="271" y="84"/>
                  </a:lnTo>
                  <a:lnTo>
                    <a:pt x="269" y="84"/>
                  </a:lnTo>
                  <a:lnTo>
                    <a:pt x="269" y="82"/>
                  </a:lnTo>
                  <a:lnTo>
                    <a:pt x="267" y="82"/>
                  </a:lnTo>
                  <a:lnTo>
                    <a:pt x="264" y="72"/>
                  </a:lnTo>
                  <a:lnTo>
                    <a:pt x="262" y="70"/>
                  </a:lnTo>
                  <a:lnTo>
                    <a:pt x="256" y="64"/>
                  </a:lnTo>
                  <a:lnTo>
                    <a:pt x="256" y="62"/>
                  </a:lnTo>
                  <a:lnTo>
                    <a:pt x="254" y="60"/>
                  </a:lnTo>
                  <a:lnTo>
                    <a:pt x="252" y="56"/>
                  </a:lnTo>
                  <a:lnTo>
                    <a:pt x="252" y="54"/>
                  </a:lnTo>
                  <a:lnTo>
                    <a:pt x="248" y="51"/>
                  </a:lnTo>
                  <a:lnTo>
                    <a:pt x="242" y="54"/>
                  </a:lnTo>
                  <a:lnTo>
                    <a:pt x="238" y="54"/>
                  </a:lnTo>
                  <a:lnTo>
                    <a:pt x="234" y="54"/>
                  </a:lnTo>
                  <a:lnTo>
                    <a:pt x="232" y="51"/>
                  </a:lnTo>
                  <a:lnTo>
                    <a:pt x="232" y="49"/>
                  </a:lnTo>
                  <a:lnTo>
                    <a:pt x="230" y="47"/>
                  </a:lnTo>
                  <a:lnTo>
                    <a:pt x="226" y="45"/>
                  </a:lnTo>
                  <a:lnTo>
                    <a:pt x="224" y="45"/>
                  </a:lnTo>
                  <a:lnTo>
                    <a:pt x="221" y="43"/>
                  </a:lnTo>
                  <a:lnTo>
                    <a:pt x="221" y="41"/>
                  </a:lnTo>
                  <a:lnTo>
                    <a:pt x="221" y="41"/>
                  </a:lnTo>
                  <a:lnTo>
                    <a:pt x="219" y="43"/>
                  </a:lnTo>
                  <a:lnTo>
                    <a:pt x="215" y="41"/>
                  </a:lnTo>
                  <a:lnTo>
                    <a:pt x="207" y="37"/>
                  </a:lnTo>
                  <a:lnTo>
                    <a:pt x="203" y="35"/>
                  </a:lnTo>
                  <a:lnTo>
                    <a:pt x="203" y="29"/>
                  </a:lnTo>
                  <a:lnTo>
                    <a:pt x="205" y="27"/>
                  </a:lnTo>
                  <a:lnTo>
                    <a:pt x="205" y="27"/>
                  </a:lnTo>
                  <a:lnTo>
                    <a:pt x="205" y="25"/>
                  </a:lnTo>
                  <a:lnTo>
                    <a:pt x="205" y="25"/>
                  </a:lnTo>
                  <a:lnTo>
                    <a:pt x="205" y="25"/>
                  </a:lnTo>
                  <a:lnTo>
                    <a:pt x="205" y="23"/>
                  </a:lnTo>
                  <a:lnTo>
                    <a:pt x="207" y="21"/>
                  </a:lnTo>
                  <a:lnTo>
                    <a:pt x="207" y="21"/>
                  </a:lnTo>
                  <a:lnTo>
                    <a:pt x="209" y="19"/>
                  </a:lnTo>
                  <a:lnTo>
                    <a:pt x="209" y="19"/>
                  </a:lnTo>
                  <a:lnTo>
                    <a:pt x="209" y="17"/>
                  </a:lnTo>
                  <a:lnTo>
                    <a:pt x="211" y="13"/>
                  </a:lnTo>
                  <a:lnTo>
                    <a:pt x="211" y="10"/>
                  </a:lnTo>
                  <a:lnTo>
                    <a:pt x="211" y="10"/>
                  </a:lnTo>
                  <a:lnTo>
                    <a:pt x="215" y="6"/>
                  </a:lnTo>
                  <a:lnTo>
                    <a:pt x="215" y="6"/>
                  </a:lnTo>
                  <a:lnTo>
                    <a:pt x="219" y="4"/>
                  </a:lnTo>
                  <a:lnTo>
                    <a:pt x="219" y="4"/>
                  </a:lnTo>
                  <a:lnTo>
                    <a:pt x="219" y="2"/>
                  </a:lnTo>
                  <a:lnTo>
                    <a:pt x="219" y="2"/>
                  </a:lnTo>
                  <a:lnTo>
                    <a:pt x="219" y="0"/>
                  </a:lnTo>
                  <a:lnTo>
                    <a:pt x="219" y="0"/>
                  </a:lnTo>
                  <a:lnTo>
                    <a:pt x="213" y="0"/>
                  </a:lnTo>
                  <a:lnTo>
                    <a:pt x="207" y="2"/>
                  </a:lnTo>
                  <a:lnTo>
                    <a:pt x="201" y="2"/>
                  </a:lnTo>
                  <a:lnTo>
                    <a:pt x="193" y="4"/>
                  </a:lnTo>
                  <a:lnTo>
                    <a:pt x="187" y="4"/>
                  </a:lnTo>
                  <a:lnTo>
                    <a:pt x="181" y="6"/>
                  </a:lnTo>
                  <a:lnTo>
                    <a:pt x="174" y="8"/>
                  </a:lnTo>
                  <a:lnTo>
                    <a:pt x="168" y="8"/>
                  </a:lnTo>
                  <a:lnTo>
                    <a:pt x="160" y="10"/>
                  </a:lnTo>
                  <a:lnTo>
                    <a:pt x="148" y="13"/>
                  </a:lnTo>
                  <a:lnTo>
                    <a:pt x="142" y="13"/>
                  </a:lnTo>
                  <a:lnTo>
                    <a:pt x="133" y="15"/>
                  </a:lnTo>
                  <a:lnTo>
                    <a:pt x="127" y="15"/>
                  </a:lnTo>
                  <a:lnTo>
                    <a:pt x="121" y="17"/>
                  </a:lnTo>
                  <a:lnTo>
                    <a:pt x="115" y="17"/>
                  </a:lnTo>
                  <a:lnTo>
                    <a:pt x="107" y="19"/>
                  </a:lnTo>
                  <a:lnTo>
                    <a:pt x="99" y="19"/>
                  </a:lnTo>
                  <a:lnTo>
                    <a:pt x="92" y="19"/>
                  </a:lnTo>
                  <a:lnTo>
                    <a:pt x="90" y="19"/>
                  </a:lnTo>
                  <a:lnTo>
                    <a:pt x="88" y="19"/>
                  </a:lnTo>
                  <a:lnTo>
                    <a:pt x="78" y="21"/>
                  </a:lnTo>
                  <a:lnTo>
                    <a:pt x="66" y="23"/>
                  </a:lnTo>
                  <a:lnTo>
                    <a:pt x="56" y="25"/>
                  </a:lnTo>
                  <a:lnTo>
                    <a:pt x="43" y="25"/>
                  </a:lnTo>
                  <a:lnTo>
                    <a:pt x="33" y="27"/>
                  </a:lnTo>
                  <a:lnTo>
                    <a:pt x="23" y="29"/>
                  </a:lnTo>
                  <a:lnTo>
                    <a:pt x="11" y="29"/>
                  </a:lnTo>
                  <a:lnTo>
                    <a:pt x="0" y="31"/>
                  </a:lnTo>
                  <a:lnTo>
                    <a:pt x="0" y="31"/>
                  </a:lnTo>
                  <a:lnTo>
                    <a:pt x="0" y="33"/>
                  </a:lnTo>
                  <a:lnTo>
                    <a:pt x="2" y="37"/>
                  </a:lnTo>
                  <a:lnTo>
                    <a:pt x="2" y="41"/>
                  </a:lnTo>
                  <a:lnTo>
                    <a:pt x="4" y="45"/>
                  </a:lnTo>
                  <a:lnTo>
                    <a:pt x="6" y="51"/>
                  </a:lnTo>
                  <a:lnTo>
                    <a:pt x="8" y="58"/>
                  </a:lnTo>
                  <a:lnTo>
                    <a:pt x="11" y="64"/>
                  </a:lnTo>
                  <a:lnTo>
                    <a:pt x="13" y="72"/>
                  </a:lnTo>
                  <a:lnTo>
                    <a:pt x="15" y="80"/>
                  </a:lnTo>
                  <a:lnTo>
                    <a:pt x="19" y="88"/>
                  </a:lnTo>
                  <a:lnTo>
                    <a:pt x="21" y="99"/>
                  </a:lnTo>
                  <a:lnTo>
                    <a:pt x="23" y="107"/>
                  </a:lnTo>
                  <a:lnTo>
                    <a:pt x="27" y="117"/>
                  </a:lnTo>
                  <a:lnTo>
                    <a:pt x="29" y="127"/>
                  </a:lnTo>
                  <a:lnTo>
                    <a:pt x="33" y="138"/>
                  </a:lnTo>
                  <a:lnTo>
                    <a:pt x="35" y="146"/>
                  </a:lnTo>
                  <a:lnTo>
                    <a:pt x="39" y="156"/>
                  </a:lnTo>
                  <a:lnTo>
                    <a:pt x="41" y="166"/>
                  </a:lnTo>
                  <a:lnTo>
                    <a:pt x="45" y="174"/>
                  </a:lnTo>
                  <a:lnTo>
                    <a:pt x="47" y="185"/>
                  </a:lnTo>
                  <a:lnTo>
                    <a:pt x="49" y="193"/>
                  </a:lnTo>
                  <a:lnTo>
                    <a:pt x="54" y="201"/>
                  </a:lnTo>
                  <a:lnTo>
                    <a:pt x="56" y="209"/>
                  </a:lnTo>
                  <a:lnTo>
                    <a:pt x="58" y="215"/>
                  </a:lnTo>
                  <a:lnTo>
                    <a:pt x="60" y="222"/>
                  </a:lnTo>
                  <a:lnTo>
                    <a:pt x="62" y="228"/>
                  </a:lnTo>
                  <a:lnTo>
                    <a:pt x="62" y="234"/>
                  </a:lnTo>
                  <a:lnTo>
                    <a:pt x="64" y="236"/>
                  </a:lnTo>
                  <a:lnTo>
                    <a:pt x="66" y="240"/>
                  </a:lnTo>
                  <a:lnTo>
                    <a:pt x="66" y="242"/>
                  </a:lnTo>
                  <a:lnTo>
                    <a:pt x="66" y="242"/>
                  </a:lnTo>
                  <a:lnTo>
                    <a:pt x="66" y="246"/>
                  </a:lnTo>
                  <a:lnTo>
                    <a:pt x="66" y="246"/>
                  </a:lnTo>
                  <a:lnTo>
                    <a:pt x="70" y="254"/>
                  </a:lnTo>
                  <a:lnTo>
                    <a:pt x="70" y="258"/>
                  </a:lnTo>
                  <a:lnTo>
                    <a:pt x="72" y="258"/>
                  </a:lnTo>
                  <a:lnTo>
                    <a:pt x="72" y="258"/>
                  </a:lnTo>
                  <a:lnTo>
                    <a:pt x="72" y="261"/>
                  </a:lnTo>
                  <a:lnTo>
                    <a:pt x="72" y="261"/>
                  </a:lnTo>
                  <a:lnTo>
                    <a:pt x="74" y="263"/>
                  </a:lnTo>
                  <a:lnTo>
                    <a:pt x="76" y="263"/>
                  </a:lnTo>
                  <a:lnTo>
                    <a:pt x="74" y="265"/>
                  </a:lnTo>
                  <a:lnTo>
                    <a:pt x="76" y="265"/>
                  </a:lnTo>
                  <a:lnTo>
                    <a:pt x="76" y="267"/>
                  </a:lnTo>
                  <a:lnTo>
                    <a:pt x="76" y="267"/>
                  </a:lnTo>
                  <a:lnTo>
                    <a:pt x="78" y="271"/>
                  </a:lnTo>
                  <a:lnTo>
                    <a:pt x="80" y="273"/>
                  </a:lnTo>
                  <a:lnTo>
                    <a:pt x="80" y="275"/>
                  </a:lnTo>
                  <a:lnTo>
                    <a:pt x="80" y="277"/>
                  </a:lnTo>
                  <a:lnTo>
                    <a:pt x="80" y="277"/>
                  </a:lnTo>
                  <a:lnTo>
                    <a:pt x="82" y="277"/>
                  </a:lnTo>
                  <a:lnTo>
                    <a:pt x="82" y="279"/>
                  </a:lnTo>
                  <a:lnTo>
                    <a:pt x="82" y="279"/>
                  </a:lnTo>
                  <a:lnTo>
                    <a:pt x="88" y="287"/>
                  </a:lnTo>
                  <a:lnTo>
                    <a:pt x="90" y="289"/>
                  </a:lnTo>
                  <a:lnTo>
                    <a:pt x="90" y="289"/>
                  </a:lnTo>
                  <a:lnTo>
                    <a:pt x="92" y="293"/>
                  </a:lnTo>
                  <a:lnTo>
                    <a:pt x="92" y="295"/>
                  </a:lnTo>
                  <a:lnTo>
                    <a:pt x="94" y="297"/>
                  </a:lnTo>
                  <a:lnTo>
                    <a:pt x="94" y="297"/>
                  </a:lnTo>
                  <a:lnTo>
                    <a:pt x="94" y="299"/>
                  </a:lnTo>
                  <a:lnTo>
                    <a:pt x="94" y="299"/>
                  </a:lnTo>
                  <a:lnTo>
                    <a:pt x="94" y="299"/>
                  </a:lnTo>
                  <a:lnTo>
                    <a:pt x="94" y="299"/>
                  </a:lnTo>
                  <a:lnTo>
                    <a:pt x="94" y="302"/>
                  </a:lnTo>
                  <a:lnTo>
                    <a:pt x="94" y="302"/>
                  </a:lnTo>
                  <a:lnTo>
                    <a:pt x="94" y="304"/>
                  </a:lnTo>
                  <a:lnTo>
                    <a:pt x="94" y="304"/>
                  </a:lnTo>
                  <a:lnTo>
                    <a:pt x="94" y="308"/>
                  </a:lnTo>
                  <a:lnTo>
                    <a:pt x="94" y="308"/>
                  </a:lnTo>
                  <a:lnTo>
                    <a:pt x="97" y="310"/>
                  </a:lnTo>
                  <a:lnTo>
                    <a:pt x="101" y="312"/>
                  </a:lnTo>
                  <a:lnTo>
                    <a:pt x="103" y="312"/>
                  </a:lnTo>
                  <a:lnTo>
                    <a:pt x="103" y="314"/>
                  </a:lnTo>
                  <a:lnTo>
                    <a:pt x="103" y="314"/>
                  </a:lnTo>
                  <a:lnTo>
                    <a:pt x="103" y="314"/>
                  </a:lnTo>
                  <a:lnTo>
                    <a:pt x="105" y="314"/>
                  </a:lnTo>
                  <a:lnTo>
                    <a:pt x="103" y="316"/>
                  </a:lnTo>
                  <a:lnTo>
                    <a:pt x="103" y="316"/>
                  </a:lnTo>
                  <a:lnTo>
                    <a:pt x="103" y="316"/>
                  </a:lnTo>
                  <a:lnTo>
                    <a:pt x="101" y="316"/>
                  </a:lnTo>
                  <a:lnTo>
                    <a:pt x="103" y="318"/>
                  </a:lnTo>
                  <a:lnTo>
                    <a:pt x="103" y="320"/>
                  </a:lnTo>
                  <a:lnTo>
                    <a:pt x="101" y="320"/>
                  </a:lnTo>
                  <a:lnTo>
                    <a:pt x="101" y="320"/>
                  </a:lnTo>
                  <a:lnTo>
                    <a:pt x="99" y="320"/>
                  </a:lnTo>
                  <a:lnTo>
                    <a:pt x="99" y="320"/>
                  </a:lnTo>
                  <a:lnTo>
                    <a:pt x="99" y="322"/>
                  </a:lnTo>
                  <a:lnTo>
                    <a:pt x="99" y="322"/>
                  </a:lnTo>
                  <a:lnTo>
                    <a:pt x="99" y="324"/>
                  </a:lnTo>
                  <a:lnTo>
                    <a:pt x="97" y="324"/>
                  </a:lnTo>
                  <a:lnTo>
                    <a:pt x="94" y="324"/>
                  </a:lnTo>
                  <a:lnTo>
                    <a:pt x="94" y="326"/>
                  </a:lnTo>
                  <a:lnTo>
                    <a:pt x="94" y="326"/>
                  </a:lnTo>
                  <a:lnTo>
                    <a:pt x="92" y="326"/>
                  </a:lnTo>
                  <a:lnTo>
                    <a:pt x="92" y="330"/>
                  </a:lnTo>
                  <a:lnTo>
                    <a:pt x="92" y="332"/>
                  </a:lnTo>
                  <a:lnTo>
                    <a:pt x="92" y="334"/>
                  </a:lnTo>
                  <a:lnTo>
                    <a:pt x="92" y="336"/>
                  </a:lnTo>
                  <a:lnTo>
                    <a:pt x="92" y="338"/>
                  </a:lnTo>
                  <a:lnTo>
                    <a:pt x="92" y="340"/>
                  </a:lnTo>
                  <a:lnTo>
                    <a:pt x="92" y="342"/>
                  </a:lnTo>
                  <a:lnTo>
                    <a:pt x="92" y="345"/>
                  </a:lnTo>
                  <a:lnTo>
                    <a:pt x="92" y="345"/>
                  </a:lnTo>
                  <a:lnTo>
                    <a:pt x="92" y="347"/>
                  </a:lnTo>
                  <a:lnTo>
                    <a:pt x="92" y="349"/>
                  </a:lnTo>
                  <a:lnTo>
                    <a:pt x="90" y="353"/>
                  </a:lnTo>
                  <a:lnTo>
                    <a:pt x="88" y="357"/>
                  </a:lnTo>
                  <a:lnTo>
                    <a:pt x="88" y="361"/>
                  </a:lnTo>
                  <a:lnTo>
                    <a:pt x="88" y="361"/>
                  </a:lnTo>
                  <a:lnTo>
                    <a:pt x="88" y="363"/>
                  </a:lnTo>
                  <a:lnTo>
                    <a:pt x="88" y="363"/>
                  </a:lnTo>
                  <a:lnTo>
                    <a:pt x="88" y="365"/>
                  </a:lnTo>
                  <a:lnTo>
                    <a:pt x="88" y="367"/>
                  </a:lnTo>
                  <a:lnTo>
                    <a:pt x="92" y="379"/>
                  </a:lnTo>
                  <a:lnTo>
                    <a:pt x="94" y="381"/>
                  </a:lnTo>
                  <a:lnTo>
                    <a:pt x="99" y="386"/>
                  </a:lnTo>
                  <a:lnTo>
                    <a:pt x="99" y="386"/>
                  </a:lnTo>
                  <a:lnTo>
                    <a:pt x="99" y="388"/>
                  </a:lnTo>
                  <a:lnTo>
                    <a:pt x="99" y="392"/>
                  </a:lnTo>
                  <a:lnTo>
                    <a:pt x="101" y="392"/>
                  </a:lnTo>
                  <a:lnTo>
                    <a:pt x="101" y="394"/>
                  </a:lnTo>
                  <a:lnTo>
                    <a:pt x="101" y="396"/>
                  </a:lnTo>
                  <a:lnTo>
                    <a:pt x="101" y="398"/>
                  </a:lnTo>
                  <a:lnTo>
                    <a:pt x="101" y="400"/>
                  </a:lnTo>
                  <a:lnTo>
                    <a:pt x="101" y="402"/>
                  </a:lnTo>
                  <a:lnTo>
                    <a:pt x="101" y="404"/>
                  </a:lnTo>
                  <a:lnTo>
                    <a:pt x="101" y="408"/>
                  </a:lnTo>
                  <a:lnTo>
                    <a:pt x="101" y="412"/>
                  </a:lnTo>
                  <a:lnTo>
                    <a:pt x="101" y="420"/>
                  </a:lnTo>
                  <a:lnTo>
                    <a:pt x="101" y="420"/>
                  </a:lnTo>
                  <a:lnTo>
                    <a:pt x="99" y="422"/>
                  </a:lnTo>
                  <a:lnTo>
                    <a:pt x="99" y="424"/>
                  </a:lnTo>
                  <a:lnTo>
                    <a:pt x="99" y="424"/>
                  </a:lnTo>
                  <a:lnTo>
                    <a:pt x="101" y="427"/>
                  </a:lnTo>
                  <a:lnTo>
                    <a:pt x="101" y="429"/>
                  </a:lnTo>
                  <a:lnTo>
                    <a:pt x="101" y="433"/>
                  </a:lnTo>
                  <a:lnTo>
                    <a:pt x="101" y="433"/>
                  </a:lnTo>
                  <a:lnTo>
                    <a:pt x="103" y="435"/>
                  </a:lnTo>
                  <a:lnTo>
                    <a:pt x="105" y="435"/>
                  </a:lnTo>
                  <a:lnTo>
                    <a:pt x="107" y="439"/>
                  </a:lnTo>
                  <a:lnTo>
                    <a:pt x="111" y="443"/>
                  </a:lnTo>
                  <a:lnTo>
                    <a:pt x="113" y="447"/>
                  </a:lnTo>
                  <a:lnTo>
                    <a:pt x="113" y="449"/>
                  </a:lnTo>
                  <a:lnTo>
                    <a:pt x="113" y="449"/>
                  </a:lnTo>
                  <a:lnTo>
                    <a:pt x="113" y="451"/>
                  </a:lnTo>
                  <a:lnTo>
                    <a:pt x="113" y="451"/>
                  </a:lnTo>
                  <a:lnTo>
                    <a:pt x="113" y="451"/>
                  </a:lnTo>
                  <a:lnTo>
                    <a:pt x="113" y="453"/>
                  </a:lnTo>
                  <a:lnTo>
                    <a:pt x="113" y="453"/>
                  </a:lnTo>
                  <a:lnTo>
                    <a:pt x="113" y="453"/>
                  </a:lnTo>
                  <a:lnTo>
                    <a:pt x="115" y="455"/>
                  </a:lnTo>
                  <a:lnTo>
                    <a:pt x="115" y="455"/>
                  </a:lnTo>
                  <a:lnTo>
                    <a:pt x="117" y="457"/>
                  </a:lnTo>
                  <a:lnTo>
                    <a:pt x="117" y="459"/>
                  </a:lnTo>
                  <a:lnTo>
                    <a:pt x="119" y="459"/>
                  </a:lnTo>
                  <a:lnTo>
                    <a:pt x="119" y="463"/>
                  </a:lnTo>
                  <a:lnTo>
                    <a:pt x="121" y="465"/>
                  </a:lnTo>
                  <a:lnTo>
                    <a:pt x="121" y="470"/>
                  </a:lnTo>
                  <a:lnTo>
                    <a:pt x="123" y="476"/>
                  </a:lnTo>
                  <a:lnTo>
                    <a:pt x="129" y="480"/>
                  </a:lnTo>
                  <a:lnTo>
                    <a:pt x="129" y="480"/>
                  </a:lnTo>
                  <a:lnTo>
                    <a:pt x="131" y="480"/>
                  </a:lnTo>
                  <a:lnTo>
                    <a:pt x="133" y="480"/>
                  </a:lnTo>
                  <a:lnTo>
                    <a:pt x="135" y="480"/>
                  </a:lnTo>
                  <a:lnTo>
                    <a:pt x="138" y="480"/>
                  </a:lnTo>
                  <a:lnTo>
                    <a:pt x="142" y="480"/>
                  </a:lnTo>
                  <a:lnTo>
                    <a:pt x="146" y="480"/>
                  </a:lnTo>
                  <a:lnTo>
                    <a:pt x="152" y="478"/>
                  </a:lnTo>
                  <a:lnTo>
                    <a:pt x="158" y="478"/>
                  </a:lnTo>
                  <a:lnTo>
                    <a:pt x="164" y="478"/>
                  </a:lnTo>
                  <a:lnTo>
                    <a:pt x="172" y="478"/>
                  </a:lnTo>
                  <a:lnTo>
                    <a:pt x="181" y="476"/>
                  </a:lnTo>
                  <a:lnTo>
                    <a:pt x="191" y="476"/>
                  </a:lnTo>
                  <a:lnTo>
                    <a:pt x="199" y="476"/>
                  </a:lnTo>
                  <a:lnTo>
                    <a:pt x="209" y="474"/>
                  </a:lnTo>
                  <a:lnTo>
                    <a:pt x="219" y="474"/>
                  </a:lnTo>
                  <a:lnTo>
                    <a:pt x="230" y="474"/>
                  </a:lnTo>
                  <a:lnTo>
                    <a:pt x="240" y="472"/>
                  </a:lnTo>
                  <a:lnTo>
                    <a:pt x="250" y="472"/>
                  </a:lnTo>
                  <a:lnTo>
                    <a:pt x="260" y="470"/>
                  </a:lnTo>
                  <a:lnTo>
                    <a:pt x="271" y="470"/>
                  </a:lnTo>
                  <a:lnTo>
                    <a:pt x="281" y="467"/>
                  </a:lnTo>
                  <a:lnTo>
                    <a:pt x="291" y="467"/>
                  </a:lnTo>
                  <a:lnTo>
                    <a:pt x="301" y="467"/>
                  </a:lnTo>
                  <a:lnTo>
                    <a:pt x="310" y="465"/>
                  </a:lnTo>
                  <a:lnTo>
                    <a:pt x="320" y="465"/>
                  </a:lnTo>
                  <a:lnTo>
                    <a:pt x="328" y="465"/>
                  </a:lnTo>
                  <a:lnTo>
                    <a:pt x="336" y="463"/>
                  </a:lnTo>
                  <a:lnTo>
                    <a:pt x="344" y="463"/>
                  </a:lnTo>
                  <a:lnTo>
                    <a:pt x="350" y="463"/>
                  </a:lnTo>
                  <a:lnTo>
                    <a:pt x="357" y="461"/>
                  </a:lnTo>
                  <a:lnTo>
                    <a:pt x="361" y="461"/>
                  </a:lnTo>
                  <a:lnTo>
                    <a:pt x="367" y="461"/>
                  </a:lnTo>
                  <a:lnTo>
                    <a:pt x="369" y="461"/>
                  </a:lnTo>
                  <a:lnTo>
                    <a:pt x="373" y="461"/>
                  </a:lnTo>
                  <a:lnTo>
                    <a:pt x="373" y="461"/>
                  </a:lnTo>
                  <a:lnTo>
                    <a:pt x="373" y="461"/>
                  </a:lnTo>
                  <a:lnTo>
                    <a:pt x="373" y="461"/>
                  </a:lnTo>
                  <a:lnTo>
                    <a:pt x="373" y="463"/>
                  </a:lnTo>
                  <a:lnTo>
                    <a:pt x="373" y="463"/>
                  </a:lnTo>
                  <a:lnTo>
                    <a:pt x="373" y="463"/>
                  </a:lnTo>
                  <a:lnTo>
                    <a:pt x="373" y="463"/>
                  </a:lnTo>
                  <a:lnTo>
                    <a:pt x="373" y="463"/>
                  </a:lnTo>
                  <a:lnTo>
                    <a:pt x="377" y="467"/>
                  </a:lnTo>
                  <a:lnTo>
                    <a:pt x="377" y="467"/>
                  </a:lnTo>
                  <a:lnTo>
                    <a:pt x="377" y="467"/>
                  </a:lnTo>
                  <a:lnTo>
                    <a:pt x="377" y="470"/>
                  </a:lnTo>
                  <a:lnTo>
                    <a:pt x="377" y="470"/>
                  </a:lnTo>
                  <a:lnTo>
                    <a:pt x="377" y="470"/>
                  </a:lnTo>
                  <a:lnTo>
                    <a:pt x="377" y="470"/>
                  </a:lnTo>
                  <a:lnTo>
                    <a:pt x="377" y="472"/>
                  </a:lnTo>
                  <a:lnTo>
                    <a:pt x="377" y="474"/>
                  </a:lnTo>
                  <a:lnTo>
                    <a:pt x="377" y="474"/>
                  </a:lnTo>
                  <a:lnTo>
                    <a:pt x="377" y="474"/>
                  </a:lnTo>
                  <a:lnTo>
                    <a:pt x="379" y="476"/>
                  </a:lnTo>
                  <a:lnTo>
                    <a:pt x="381" y="480"/>
                  </a:lnTo>
                  <a:lnTo>
                    <a:pt x="381" y="480"/>
                  </a:lnTo>
                  <a:lnTo>
                    <a:pt x="381" y="480"/>
                  </a:lnTo>
                  <a:lnTo>
                    <a:pt x="381" y="480"/>
                  </a:lnTo>
                  <a:lnTo>
                    <a:pt x="383" y="480"/>
                  </a:lnTo>
                  <a:lnTo>
                    <a:pt x="383" y="480"/>
                  </a:lnTo>
                  <a:lnTo>
                    <a:pt x="387" y="480"/>
                  </a:lnTo>
                  <a:lnTo>
                    <a:pt x="387" y="480"/>
                  </a:lnTo>
                  <a:lnTo>
                    <a:pt x="389" y="480"/>
                  </a:lnTo>
                  <a:lnTo>
                    <a:pt x="391" y="480"/>
                  </a:lnTo>
                  <a:lnTo>
                    <a:pt x="391" y="480"/>
                  </a:lnTo>
                  <a:lnTo>
                    <a:pt x="394" y="478"/>
                  </a:lnTo>
                  <a:lnTo>
                    <a:pt x="394" y="478"/>
                  </a:lnTo>
                  <a:lnTo>
                    <a:pt x="394" y="478"/>
                  </a:lnTo>
                  <a:lnTo>
                    <a:pt x="394" y="478"/>
                  </a:lnTo>
                  <a:lnTo>
                    <a:pt x="394" y="476"/>
                  </a:lnTo>
                  <a:lnTo>
                    <a:pt x="394" y="474"/>
                  </a:lnTo>
                  <a:lnTo>
                    <a:pt x="394" y="472"/>
                  </a:lnTo>
                  <a:lnTo>
                    <a:pt x="394" y="472"/>
                  </a:lnTo>
                  <a:lnTo>
                    <a:pt x="394" y="463"/>
                  </a:lnTo>
                  <a:lnTo>
                    <a:pt x="394" y="457"/>
                  </a:lnTo>
                  <a:lnTo>
                    <a:pt x="394" y="455"/>
                  </a:lnTo>
                  <a:lnTo>
                    <a:pt x="394" y="455"/>
                  </a:lnTo>
                  <a:lnTo>
                    <a:pt x="394" y="453"/>
                  </a:lnTo>
                  <a:lnTo>
                    <a:pt x="394" y="453"/>
                  </a:lnTo>
                  <a:lnTo>
                    <a:pt x="391" y="451"/>
                  </a:lnTo>
                  <a:lnTo>
                    <a:pt x="389" y="451"/>
                  </a:lnTo>
                  <a:lnTo>
                    <a:pt x="389" y="449"/>
                  </a:lnTo>
                  <a:lnTo>
                    <a:pt x="389" y="449"/>
                  </a:lnTo>
                  <a:lnTo>
                    <a:pt x="389" y="447"/>
                  </a:lnTo>
                  <a:lnTo>
                    <a:pt x="389" y="447"/>
                  </a:lnTo>
                  <a:lnTo>
                    <a:pt x="389" y="445"/>
                  </a:lnTo>
                  <a:lnTo>
                    <a:pt x="389" y="443"/>
                  </a:lnTo>
                  <a:lnTo>
                    <a:pt x="389" y="443"/>
                  </a:lnTo>
                  <a:lnTo>
                    <a:pt x="389" y="441"/>
                  </a:lnTo>
                  <a:lnTo>
                    <a:pt x="389" y="439"/>
                  </a:lnTo>
                  <a:lnTo>
                    <a:pt x="389" y="439"/>
                  </a:lnTo>
                  <a:lnTo>
                    <a:pt x="389" y="439"/>
                  </a:lnTo>
                  <a:lnTo>
                    <a:pt x="389" y="437"/>
                  </a:lnTo>
                  <a:lnTo>
                    <a:pt x="389" y="437"/>
                  </a:lnTo>
                  <a:lnTo>
                    <a:pt x="389" y="437"/>
                  </a:lnTo>
                  <a:lnTo>
                    <a:pt x="389" y="435"/>
                  </a:lnTo>
                  <a:lnTo>
                    <a:pt x="389" y="435"/>
                  </a:lnTo>
                  <a:lnTo>
                    <a:pt x="389" y="435"/>
                  </a:lnTo>
                  <a:lnTo>
                    <a:pt x="391" y="433"/>
                  </a:lnTo>
                  <a:lnTo>
                    <a:pt x="391" y="433"/>
                  </a:lnTo>
                  <a:lnTo>
                    <a:pt x="391" y="433"/>
                  </a:lnTo>
                  <a:lnTo>
                    <a:pt x="394" y="433"/>
                  </a:lnTo>
                  <a:lnTo>
                    <a:pt x="394" y="433"/>
                  </a:lnTo>
                  <a:lnTo>
                    <a:pt x="394" y="433"/>
                  </a:lnTo>
                  <a:lnTo>
                    <a:pt x="394" y="433"/>
                  </a:lnTo>
                  <a:lnTo>
                    <a:pt x="394" y="431"/>
                  </a:lnTo>
                  <a:lnTo>
                    <a:pt x="394" y="431"/>
                  </a:lnTo>
                  <a:lnTo>
                    <a:pt x="394" y="431"/>
                  </a:lnTo>
                  <a:lnTo>
                    <a:pt x="394" y="431"/>
                  </a:lnTo>
                  <a:lnTo>
                    <a:pt x="394" y="429"/>
                  </a:lnTo>
                  <a:lnTo>
                    <a:pt x="396" y="429"/>
                  </a:lnTo>
                  <a:lnTo>
                    <a:pt x="396" y="429"/>
                  </a:lnTo>
                  <a:lnTo>
                    <a:pt x="398" y="429"/>
                  </a:lnTo>
                  <a:lnTo>
                    <a:pt x="398" y="429"/>
                  </a:lnTo>
                  <a:lnTo>
                    <a:pt x="398" y="429"/>
                  </a:lnTo>
                  <a:lnTo>
                    <a:pt x="400" y="429"/>
                  </a:lnTo>
                  <a:lnTo>
                    <a:pt x="400" y="429"/>
                  </a:lnTo>
                  <a:lnTo>
                    <a:pt x="402" y="429"/>
                  </a:lnTo>
                  <a:lnTo>
                    <a:pt x="404" y="431"/>
                  </a:lnTo>
                  <a:lnTo>
                    <a:pt x="412" y="433"/>
                  </a:lnTo>
                  <a:lnTo>
                    <a:pt x="412" y="433"/>
                  </a:lnTo>
                  <a:lnTo>
                    <a:pt x="414" y="433"/>
                  </a:lnTo>
                  <a:lnTo>
                    <a:pt x="414" y="433"/>
                  </a:lnTo>
                  <a:lnTo>
                    <a:pt x="416" y="433"/>
                  </a:lnTo>
                  <a:lnTo>
                    <a:pt x="416" y="433"/>
                  </a:lnTo>
                  <a:lnTo>
                    <a:pt x="418" y="433"/>
                  </a:lnTo>
                  <a:lnTo>
                    <a:pt x="418" y="433"/>
                  </a:lnTo>
                  <a:lnTo>
                    <a:pt x="424" y="435"/>
                  </a:lnTo>
                  <a:lnTo>
                    <a:pt x="424" y="435"/>
                  </a:lnTo>
                  <a:lnTo>
                    <a:pt x="426" y="435"/>
                  </a:lnTo>
                  <a:lnTo>
                    <a:pt x="426" y="435"/>
                  </a:lnTo>
                  <a:lnTo>
                    <a:pt x="428" y="435"/>
                  </a:lnTo>
                  <a:lnTo>
                    <a:pt x="428" y="435"/>
                  </a:lnTo>
                  <a:lnTo>
                    <a:pt x="432" y="435"/>
                  </a:lnTo>
                  <a:lnTo>
                    <a:pt x="432" y="435"/>
                  </a:lnTo>
                  <a:lnTo>
                    <a:pt x="437" y="433"/>
                  </a:lnTo>
                  <a:lnTo>
                    <a:pt x="439" y="433"/>
                  </a:lnTo>
                  <a:lnTo>
                    <a:pt x="439" y="433"/>
                  </a:lnTo>
                  <a:lnTo>
                    <a:pt x="439" y="433"/>
                  </a:lnTo>
                  <a:lnTo>
                    <a:pt x="439" y="429"/>
                  </a:lnTo>
                  <a:lnTo>
                    <a:pt x="439" y="427"/>
                  </a:lnTo>
                  <a:lnTo>
                    <a:pt x="437" y="427"/>
                  </a:lnTo>
                  <a:lnTo>
                    <a:pt x="437" y="424"/>
                  </a:lnTo>
                  <a:lnTo>
                    <a:pt x="437" y="424"/>
                  </a:lnTo>
                  <a:lnTo>
                    <a:pt x="434" y="422"/>
                  </a:lnTo>
                  <a:lnTo>
                    <a:pt x="434" y="420"/>
                  </a:lnTo>
                  <a:lnTo>
                    <a:pt x="434" y="420"/>
                  </a:lnTo>
                  <a:lnTo>
                    <a:pt x="432" y="420"/>
                  </a:lnTo>
                  <a:lnTo>
                    <a:pt x="432" y="418"/>
                  </a:lnTo>
                  <a:lnTo>
                    <a:pt x="434" y="418"/>
                  </a:lnTo>
                  <a:lnTo>
                    <a:pt x="434" y="418"/>
                  </a:lnTo>
                  <a:lnTo>
                    <a:pt x="437" y="418"/>
                  </a:lnTo>
                  <a:lnTo>
                    <a:pt x="437" y="418"/>
                  </a:lnTo>
                  <a:lnTo>
                    <a:pt x="437" y="418"/>
                  </a:lnTo>
                  <a:lnTo>
                    <a:pt x="437" y="416"/>
                  </a:lnTo>
                  <a:lnTo>
                    <a:pt x="434" y="416"/>
                  </a:lnTo>
                  <a:lnTo>
                    <a:pt x="434" y="416"/>
                  </a:lnTo>
                  <a:lnTo>
                    <a:pt x="434" y="414"/>
                  </a:lnTo>
                  <a:lnTo>
                    <a:pt x="434" y="414"/>
                  </a:lnTo>
                  <a:lnTo>
                    <a:pt x="434" y="412"/>
                  </a:lnTo>
                  <a:lnTo>
                    <a:pt x="434" y="412"/>
                  </a:lnTo>
                  <a:lnTo>
                    <a:pt x="439" y="408"/>
                  </a:lnTo>
                  <a:lnTo>
                    <a:pt x="439" y="406"/>
                  </a:lnTo>
                  <a:lnTo>
                    <a:pt x="437" y="406"/>
                  </a:lnTo>
                  <a:lnTo>
                    <a:pt x="434" y="406"/>
                  </a:lnTo>
                  <a:lnTo>
                    <a:pt x="432" y="406"/>
                  </a:lnTo>
                  <a:lnTo>
                    <a:pt x="432" y="404"/>
                  </a:lnTo>
                  <a:lnTo>
                    <a:pt x="437" y="404"/>
                  </a:lnTo>
                  <a:lnTo>
                    <a:pt x="437" y="402"/>
                  </a:lnTo>
                  <a:lnTo>
                    <a:pt x="437" y="400"/>
                  </a:lnTo>
                  <a:lnTo>
                    <a:pt x="437" y="398"/>
                  </a:lnTo>
                  <a:lnTo>
                    <a:pt x="432" y="396"/>
                  </a:lnTo>
                  <a:lnTo>
                    <a:pt x="430" y="394"/>
                  </a:lnTo>
                  <a:lnTo>
                    <a:pt x="432" y="394"/>
                  </a:lnTo>
                  <a:lnTo>
                    <a:pt x="434" y="396"/>
                  </a:lnTo>
                  <a:lnTo>
                    <a:pt x="439" y="398"/>
                  </a:lnTo>
                  <a:lnTo>
                    <a:pt x="439" y="400"/>
                  </a:lnTo>
                  <a:lnTo>
                    <a:pt x="441" y="400"/>
                  </a:lnTo>
                  <a:lnTo>
                    <a:pt x="441" y="392"/>
                  </a:lnTo>
                  <a:lnTo>
                    <a:pt x="441" y="388"/>
                  </a:lnTo>
                  <a:lnTo>
                    <a:pt x="439" y="390"/>
                  </a:lnTo>
                  <a:lnTo>
                    <a:pt x="439" y="392"/>
                  </a:lnTo>
                  <a:lnTo>
                    <a:pt x="439" y="394"/>
                  </a:lnTo>
                  <a:lnTo>
                    <a:pt x="437" y="394"/>
                  </a:lnTo>
                  <a:lnTo>
                    <a:pt x="434" y="392"/>
                  </a:lnTo>
                  <a:lnTo>
                    <a:pt x="432" y="390"/>
                  </a:lnTo>
                  <a:lnTo>
                    <a:pt x="432" y="390"/>
                  </a:lnTo>
                  <a:lnTo>
                    <a:pt x="432" y="388"/>
                  </a:lnTo>
                  <a:lnTo>
                    <a:pt x="437" y="390"/>
                  </a:lnTo>
                  <a:lnTo>
                    <a:pt x="437" y="388"/>
                  </a:lnTo>
                  <a:lnTo>
                    <a:pt x="434" y="386"/>
                  </a:lnTo>
                  <a:lnTo>
                    <a:pt x="434" y="381"/>
                  </a:lnTo>
                  <a:lnTo>
                    <a:pt x="434" y="379"/>
                  </a:lnTo>
                  <a:lnTo>
                    <a:pt x="434" y="379"/>
                  </a:lnTo>
                  <a:lnTo>
                    <a:pt x="437" y="377"/>
                  </a:lnTo>
                  <a:lnTo>
                    <a:pt x="437" y="379"/>
                  </a:lnTo>
                  <a:lnTo>
                    <a:pt x="439" y="386"/>
                  </a:lnTo>
                  <a:lnTo>
                    <a:pt x="439" y="386"/>
                  </a:lnTo>
                  <a:lnTo>
                    <a:pt x="439" y="386"/>
                  </a:lnTo>
                  <a:lnTo>
                    <a:pt x="441" y="386"/>
                  </a:lnTo>
                  <a:lnTo>
                    <a:pt x="443" y="383"/>
                  </a:lnTo>
                  <a:lnTo>
                    <a:pt x="445" y="381"/>
                  </a:lnTo>
                  <a:lnTo>
                    <a:pt x="447" y="375"/>
                  </a:lnTo>
                  <a:lnTo>
                    <a:pt x="449" y="375"/>
                  </a:lnTo>
                  <a:lnTo>
                    <a:pt x="449" y="375"/>
                  </a:lnTo>
                  <a:lnTo>
                    <a:pt x="449" y="371"/>
                  </a:lnTo>
                  <a:lnTo>
                    <a:pt x="449" y="369"/>
                  </a:lnTo>
                  <a:lnTo>
                    <a:pt x="447" y="369"/>
                  </a:lnTo>
                  <a:lnTo>
                    <a:pt x="443" y="367"/>
                  </a:lnTo>
                  <a:lnTo>
                    <a:pt x="443" y="367"/>
                  </a:lnTo>
                  <a:lnTo>
                    <a:pt x="439" y="367"/>
                  </a:lnTo>
                  <a:lnTo>
                    <a:pt x="434" y="367"/>
                  </a:lnTo>
                  <a:lnTo>
                    <a:pt x="430" y="365"/>
                  </a:lnTo>
                  <a:lnTo>
                    <a:pt x="428" y="363"/>
                  </a:lnTo>
                  <a:lnTo>
                    <a:pt x="428" y="363"/>
                  </a:lnTo>
                  <a:lnTo>
                    <a:pt x="428" y="363"/>
                  </a:lnTo>
                  <a:lnTo>
                    <a:pt x="430" y="363"/>
                  </a:lnTo>
                  <a:lnTo>
                    <a:pt x="432" y="365"/>
                  </a:lnTo>
                  <a:lnTo>
                    <a:pt x="443" y="365"/>
                  </a:lnTo>
                  <a:lnTo>
                    <a:pt x="447" y="365"/>
                  </a:lnTo>
                  <a:lnTo>
                    <a:pt x="447" y="363"/>
                  </a:lnTo>
                  <a:lnTo>
                    <a:pt x="447" y="361"/>
                  </a:lnTo>
                  <a:lnTo>
                    <a:pt x="445" y="359"/>
                  </a:lnTo>
                  <a:lnTo>
                    <a:pt x="443" y="357"/>
                  </a:lnTo>
                  <a:lnTo>
                    <a:pt x="441" y="355"/>
                  </a:lnTo>
                  <a:lnTo>
                    <a:pt x="441" y="355"/>
                  </a:lnTo>
                  <a:lnTo>
                    <a:pt x="441" y="355"/>
                  </a:lnTo>
                  <a:lnTo>
                    <a:pt x="443" y="353"/>
                  </a:lnTo>
                  <a:lnTo>
                    <a:pt x="443" y="353"/>
                  </a:lnTo>
                  <a:lnTo>
                    <a:pt x="443" y="353"/>
                  </a:lnTo>
                  <a:lnTo>
                    <a:pt x="443" y="355"/>
                  </a:lnTo>
                  <a:lnTo>
                    <a:pt x="445" y="355"/>
                  </a:lnTo>
                  <a:lnTo>
                    <a:pt x="445" y="357"/>
                  </a:lnTo>
                  <a:lnTo>
                    <a:pt x="445" y="357"/>
                  </a:lnTo>
                  <a:lnTo>
                    <a:pt x="447" y="357"/>
                  </a:lnTo>
                  <a:lnTo>
                    <a:pt x="447" y="359"/>
                  </a:lnTo>
                  <a:lnTo>
                    <a:pt x="447" y="357"/>
                  </a:lnTo>
                  <a:lnTo>
                    <a:pt x="449" y="357"/>
                  </a:lnTo>
                  <a:lnTo>
                    <a:pt x="447" y="357"/>
                  </a:lnTo>
                  <a:lnTo>
                    <a:pt x="447" y="355"/>
                  </a:lnTo>
                  <a:lnTo>
                    <a:pt x="453" y="345"/>
                  </a:lnTo>
                  <a:lnTo>
                    <a:pt x="453" y="340"/>
                  </a:lnTo>
                  <a:lnTo>
                    <a:pt x="451" y="340"/>
                  </a:lnTo>
                  <a:lnTo>
                    <a:pt x="447" y="342"/>
                  </a:lnTo>
                  <a:lnTo>
                    <a:pt x="443" y="347"/>
                  </a:lnTo>
                  <a:lnTo>
                    <a:pt x="443" y="347"/>
                  </a:lnTo>
                  <a:lnTo>
                    <a:pt x="445" y="345"/>
                  </a:lnTo>
                  <a:lnTo>
                    <a:pt x="445" y="342"/>
                  </a:lnTo>
                  <a:lnTo>
                    <a:pt x="443" y="342"/>
                  </a:lnTo>
                  <a:lnTo>
                    <a:pt x="443" y="342"/>
                  </a:lnTo>
                  <a:lnTo>
                    <a:pt x="441" y="342"/>
                  </a:lnTo>
                  <a:lnTo>
                    <a:pt x="441" y="342"/>
                  </a:lnTo>
                  <a:lnTo>
                    <a:pt x="439" y="342"/>
                  </a:lnTo>
                  <a:lnTo>
                    <a:pt x="439" y="340"/>
                  </a:lnTo>
                  <a:lnTo>
                    <a:pt x="439" y="340"/>
                  </a:lnTo>
                  <a:lnTo>
                    <a:pt x="441" y="340"/>
                  </a:lnTo>
                  <a:lnTo>
                    <a:pt x="441" y="338"/>
                  </a:lnTo>
                  <a:lnTo>
                    <a:pt x="443" y="338"/>
                  </a:lnTo>
                  <a:lnTo>
                    <a:pt x="445" y="338"/>
                  </a:lnTo>
                  <a:lnTo>
                    <a:pt x="447" y="338"/>
                  </a:lnTo>
                  <a:lnTo>
                    <a:pt x="449" y="338"/>
                  </a:lnTo>
                  <a:lnTo>
                    <a:pt x="451" y="334"/>
                  </a:lnTo>
                  <a:lnTo>
                    <a:pt x="449" y="334"/>
                  </a:lnTo>
                  <a:lnTo>
                    <a:pt x="447" y="332"/>
                  </a:lnTo>
                  <a:lnTo>
                    <a:pt x="445" y="330"/>
                  </a:lnTo>
                  <a:lnTo>
                    <a:pt x="447" y="330"/>
                  </a:lnTo>
                  <a:lnTo>
                    <a:pt x="449" y="330"/>
                  </a:lnTo>
                  <a:lnTo>
                    <a:pt x="451" y="332"/>
                  </a:lnTo>
                  <a:lnTo>
                    <a:pt x="451" y="332"/>
                  </a:lnTo>
                  <a:lnTo>
                    <a:pt x="453" y="336"/>
                  </a:lnTo>
                  <a:lnTo>
                    <a:pt x="453" y="338"/>
                  </a:lnTo>
                  <a:lnTo>
                    <a:pt x="453" y="336"/>
                  </a:lnTo>
                  <a:lnTo>
                    <a:pt x="455" y="336"/>
                  </a:lnTo>
                  <a:lnTo>
                    <a:pt x="455" y="328"/>
                  </a:lnTo>
                  <a:lnTo>
                    <a:pt x="455" y="326"/>
                  </a:lnTo>
                  <a:lnTo>
                    <a:pt x="455" y="324"/>
                  </a:lnTo>
                  <a:lnTo>
                    <a:pt x="453" y="322"/>
                  </a:lnTo>
                  <a:lnTo>
                    <a:pt x="451" y="324"/>
                  </a:lnTo>
                  <a:lnTo>
                    <a:pt x="451" y="324"/>
                  </a:lnTo>
                  <a:lnTo>
                    <a:pt x="453" y="326"/>
                  </a:lnTo>
                  <a:lnTo>
                    <a:pt x="453" y="326"/>
                  </a:lnTo>
                  <a:lnTo>
                    <a:pt x="447" y="328"/>
                  </a:lnTo>
                  <a:lnTo>
                    <a:pt x="445" y="328"/>
                  </a:lnTo>
                  <a:lnTo>
                    <a:pt x="449" y="324"/>
                  </a:lnTo>
                  <a:lnTo>
                    <a:pt x="449" y="322"/>
                  </a:lnTo>
                  <a:lnTo>
                    <a:pt x="445" y="320"/>
                  </a:lnTo>
                  <a:lnTo>
                    <a:pt x="443" y="320"/>
                  </a:lnTo>
                  <a:lnTo>
                    <a:pt x="441" y="320"/>
                  </a:lnTo>
                  <a:lnTo>
                    <a:pt x="441" y="318"/>
                  </a:lnTo>
                  <a:lnTo>
                    <a:pt x="441" y="318"/>
                  </a:lnTo>
                  <a:lnTo>
                    <a:pt x="443" y="318"/>
                  </a:lnTo>
                  <a:lnTo>
                    <a:pt x="443" y="318"/>
                  </a:lnTo>
                  <a:lnTo>
                    <a:pt x="445" y="318"/>
                  </a:lnTo>
                  <a:lnTo>
                    <a:pt x="447" y="320"/>
                  </a:lnTo>
                  <a:lnTo>
                    <a:pt x="451" y="320"/>
                  </a:lnTo>
                  <a:lnTo>
                    <a:pt x="455" y="318"/>
                  </a:lnTo>
                  <a:lnTo>
                    <a:pt x="455" y="318"/>
                  </a:lnTo>
                  <a:lnTo>
                    <a:pt x="457" y="316"/>
                  </a:lnTo>
                  <a:lnTo>
                    <a:pt x="459" y="312"/>
                  </a:lnTo>
                  <a:lnTo>
                    <a:pt x="459" y="310"/>
                  </a:lnTo>
                  <a:lnTo>
                    <a:pt x="459" y="308"/>
                  </a:lnTo>
                  <a:lnTo>
                    <a:pt x="459" y="308"/>
                  </a:lnTo>
                  <a:lnTo>
                    <a:pt x="459" y="308"/>
                  </a:lnTo>
                  <a:lnTo>
                    <a:pt x="455" y="306"/>
                  </a:lnTo>
                  <a:lnTo>
                    <a:pt x="455" y="306"/>
                  </a:lnTo>
                  <a:lnTo>
                    <a:pt x="451" y="306"/>
                  </a:lnTo>
                  <a:lnTo>
                    <a:pt x="451" y="306"/>
                  </a:lnTo>
                  <a:lnTo>
                    <a:pt x="455" y="304"/>
                  </a:lnTo>
                  <a:lnTo>
                    <a:pt x="455" y="302"/>
                  </a:lnTo>
                  <a:lnTo>
                    <a:pt x="453" y="302"/>
                  </a:lnTo>
                  <a:lnTo>
                    <a:pt x="451" y="299"/>
                  </a:lnTo>
                  <a:lnTo>
                    <a:pt x="453" y="299"/>
                  </a:lnTo>
                  <a:lnTo>
                    <a:pt x="453" y="299"/>
                  </a:lnTo>
                  <a:lnTo>
                    <a:pt x="455" y="299"/>
                  </a:lnTo>
                  <a:lnTo>
                    <a:pt x="455" y="302"/>
                  </a:lnTo>
                  <a:lnTo>
                    <a:pt x="455" y="302"/>
                  </a:lnTo>
                  <a:lnTo>
                    <a:pt x="457" y="302"/>
                  </a:lnTo>
                  <a:lnTo>
                    <a:pt x="461" y="302"/>
                  </a:lnTo>
                  <a:lnTo>
                    <a:pt x="463" y="304"/>
                  </a:lnTo>
                  <a:lnTo>
                    <a:pt x="465" y="304"/>
                  </a:lnTo>
                  <a:lnTo>
                    <a:pt x="467" y="302"/>
                  </a:lnTo>
                  <a:lnTo>
                    <a:pt x="469" y="297"/>
                  </a:lnTo>
                  <a:lnTo>
                    <a:pt x="467" y="297"/>
                  </a:lnTo>
                  <a:lnTo>
                    <a:pt x="465" y="295"/>
                  </a:lnTo>
                  <a:lnTo>
                    <a:pt x="465" y="293"/>
                  </a:lnTo>
                  <a:lnTo>
                    <a:pt x="465" y="293"/>
                  </a:lnTo>
                  <a:lnTo>
                    <a:pt x="465" y="291"/>
                  </a:lnTo>
                  <a:lnTo>
                    <a:pt x="465" y="291"/>
                  </a:lnTo>
                  <a:lnTo>
                    <a:pt x="467" y="289"/>
                  </a:lnTo>
                  <a:lnTo>
                    <a:pt x="467" y="289"/>
                  </a:lnTo>
                  <a:lnTo>
                    <a:pt x="467" y="289"/>
                  </a:lnTo>
                  <a:lnTo>
                    <a:pt x="469" y="291"/>
                  </a:lnTo>
                  <a:lnTo>
                    <a:pt x="469" y="291"/>
                  </a:lnTo>
                  <a:lnTo>
                    <a:pt x="469" y="293"/>
                  </a:lnTo>
                  <a:lnTo>
                    <a:pt x="473" y="289"/>
                  </a:lnTo>
                  <a:lnTo>
                    <a:pt x="475" y="285"/>
                  </a:lnTo>
                  <a:lnTo>
                    <a:pt x="473" y="283"/>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GA</a:t>
              </a:r>
            </a:p>
          </p:txBody>
        </p:sp>
        <p:sp>
          <p:nvSpPr>
            <p:cNvPr id="126" name="Freeform 46">
              <a:extLst>
                <a:ext uri="{FF2B5EF4-FFF2-40B4-BE49-F238E27FC236}">
                  <a16:creationId xmlns:a16="http://schemas.microsoft.com/office/drawing/2014/main" id="{EBBF1282-FAE3-40CB-E605-DFE1A43EB73D}"/>
                </a:ext>
              </a:extLst>
            </p:cNvPr>
            <p:cNvSpPr>
              <a:spLocks noEditPoints="1"/>
            </p:cNvSpPr>
            <p:nvPr/>
          </p:nvSpPr>
          <p:spPr bwMode="auto">
            <a:xfrm>
              <a:off x="3875" y="1974"/>
              <a:ext cx="807" cy="705"/>
            </a:xfrm>
            <a:custGeom>
              <a:avLst/>
              <a:gdLst>
                <a:gd name="T0" fmla="*/ 248 w 807"/>
                <a:gd name="T1" fmla="*/ 164 h 705"/>
                <a:gd name="T2" fmla="*/ 95 w 807"/>
                <a:gd name="T3" fmla="*/ 104 h 705"/>
                <a:gd name="T4" fmla="*/ 574 w 807"/>
                <a:gd name="T5" fmla="*/ 461 h 705"/>
                <a:gd name="T6" fmla="*/ 768 w 807"/>
                <a:gd name="T7" fmla="*/ 379 h 705"/>
                <a:gd name="T8" fmla="*/ 670 w 807"/>
                <a:gd name="T9" fmla="*/ 207 h 705"/>
                <a:gd name="T10" fmla="*/ 695 w 807"/>
                <a:gd name="T11" fmla="*/ 245 h 705"/>
                <a:gd name="T12" fmla="*/ 594 w 807"/>
                <a:gd name="T13" fmla="*/ 73 h 705"/>
                <a:gd name="T14" fmla="*/ 572 w 807"/>
                <a:gd name="T15" fmla="*/ 6 h 705"/>
                <a:gd name="T16" fmla="*/ 518 w 807"/>
                <a:gd name="T17" fmla="*/ 4 h 705"/>
                <a:gd name="T18" fmla="*/ 508 w 807"/>
                <a:gd name="T19" fmla="*/ 51 h 705"/>
                <a:gd name="T20" fmla="*/ 326 w 807"/>
                <a:gd name="T21" fmla="*/ 47 h 705"/>
                <a:gd name="T22" fmla="*/ 2 w 807"/>
                <a:gd name="T23" fmla="*/ 53 h 705"/>
                <a:gd name="T24" fmla="*/ 27 w 807"/>
                <a:gd name="T25" fmla="*/ 120 h 705"/>
                <a:gd name="T26" fmla="*/ 47 w 807"/>
                <a:gd name="T27" fmla="*/ 92 h 705"/>
                <a:gd name="T28" fmla="*/ 72 w 807"/>
                <a:gd name="T29" fmla="*/ 104 h 705"/>
                <a:gd name="T30" fmla="*/ 117 w 807"/>
                <a:gd name="T31" fmla="*/ 98 h 705"/>
                <a:gd name="T32" fmla="*/ 127 w 807"/>
                <a:gd name="T33" fmla="*/ 100 h 705"/>
                <a:gd name="T34" fmla="*/ 185 w 807"/>
                <a:gd name="T35" fmla="*/ 110 h 705"/>
                <a:gd name="T36" fmla="*/ 207 w 807"/>
                <a:gd name="T37" fmla="*/ 125 h 705"/>
                <a:gd name="T38" fmla="*/ 224 w 807"/>
                <a:gd name="T39" fmla="*/ 145 h 705"/>
                <a:gd name="T40" fmla="*/ 271 w 807"/>
                <a:gd name="T41" fmla="*/ 157 h 705"/>
                <a:gd name="T42" fmla="*/ 312 w 807"/>
                <a:gd name="T43" fmla="*/ 123 h 705"/>
                <a:gd name="T44" fmla="*/ 371 w 807"/>
                <a:gd name="T45" fmla="*/ 118 h 705"/>
                <a:gd name="T46" fmla="*/ 434 w 807"/>
                <a:gd name="T47" fmla="*/ 176 h 705"/>
                <a:gd name="T48" fmla="*/ 480 w 807"/>
                <a:gd name="T49" fmla="*/ 204 h 705"/>
                <a:gd name="T50" fmla="*/ 494 w 807"/>
                <a:gd name="T51" fmla="*/ 270 h 705"/>
                <a:gd name="T52" fmla="*/ 500 w 807"/>
                <a:gd name="T53" fmla="*/ 340 h 705"/>
                <a:gd name="T54" fmla="*/ 502 w 807"/>
                <a:gd name="T55" fmla="*/ 309 h 705"/>
                <a:gd name="T56" fmla="*/ 525 w 807"/>
                <a:gd name="T57" fmla="*/ 344 h 705"/>
                <a:gd name="T58" fmla="*/ 523 w 807"/>
                <a:gd name="T59" fmla="*/ 373 h 705"/>
                <a:gd name="T60" fmla="*/ 568 w 807"/>
                <a:gd name="T61" fmla="*/ 430 h 705"/>
                <a:gd name="T62" fmla="*/ 586 w 807"/>
                <a:gd name="T63" fmla="*/ 407 h 705"/>
                <a:gd name="T64" fmla="*/ 607 w 807"/>
                <a:gd name="T65" fmla="*/ 438 h 705"/>
                <a:gd name="T66" fmla="*/ 615 w 807"/>
                <a:gd name="T67" fmla="*/ 481 h 705"/>
                <a:gd name="T68" fmla="*/ 639 w 807"/>
                <a:gd name="T69" fmla="*/ 512 h 705"/>
                <a:gd name="T70" fmla="*/ 686 w 807"/>
                <a:gd name="T71" fmla="*/ 547 h 705"/>
                <a:gd name="T72" fmla="*/ 697 w 807"/>
                <a:gd name="T73" fmla="*/ 586 h 705"/>
                <a:gd name="T74" fmla="*/ 750 w 807"/>
                <a:gd name="T75" fmla="*/ 575 h 705"/>
                <a:gd name="T76" fmla="*/ 768 w 807"/>
                <a:gd name="T77" fmla="*/ 561 h 705"/>
                <a:gd name="T78" fmla="*/ 682 w 807"/>
                <a:gd name="T79" fmla="*/ 217 h 705"/>
                <a:gd name="T80" fmla="*/ 738 w 807"/>
                <a:gd name="T81" fmla="*/ 334 h 705"/>
                <a:gd name="T82" fmla="*/ 799 w 807"/>
                <a:gd name="T83" fmla="*/ 698 h 705"/>
                <a:gd name="T84" fmla="*/ 490 w 807"/>
                <a:gd name="T85" fmla="*/ 233 h 705"/>
                <a:gd name="T86" fmla="*/ 486 w 807"/>
                <a:gd name="T87" fmla="*/ 219 h 705"/>
                <a:gd name="T88" fmla="*/ 473 w 807"/>
                <a:gd name="T89" fmla="*/ 194 h 705"/>
                <a:gd name="T90" fmla="*/ 647 w 807"/>
                <a:gd name="T91" fmla="*/ 664 h 705"/>
                <a:gd name="T92" fmla="*/ 615 w 807"/>
                <a:gd name="T93" fmla="*/ 668 h 705"/>
                <a:gd name="T94" fmla="*/ 662 w 807"/>
                <a:gd name="T95" fmla="*/ 520 h 705"/>
                <a:gd name="T96" fmla="*/ 654 w 807"/>
                <a:gd name="T97" fmla="*/ 520 h 705"/>
                <a:gd name="T98" fmla="*/ 541 w 807"/>
                <a:gd name="T99" fmla="*/ 672 h 705"/>
                <a:gd name="T100" fmla="*/ 584 w 807"/>
                <a:gd name="T101" fmla="*/ 463 h 705"/>
                <a:gd name="T102" fmla="*/ 668 w 807"/>
                <a:gd name="T103" fmla="*/ 645 h 705"/>
                <a:gd name="T104" fmla="*/ 662 w 807"/>
                <a:gd name="T105" fmla="*/ 657 h 705"/>
                <a:gd name="T106" fmla="*/ 713 w 807"/>
                <a:gd name="T107" fmla="*/ 575 h 705"/>
                <a:gd name="T108" fmla="*/ 516 w 807"/>
                <a:gd name="T109" fmla="*/ 358 h 705"/>
                <a:gd name="T110" fmla="*/ 676 w 807"/>
                <a:gd name="T111" fmla="*/ 647 h 705"/>
                <a:gd name="T112" fmla="*/ 742 w 807"/>
                <a:gd name="T113" fmla="*/ 584 h 705"/>
                <a:gd name="T114" fmla="*/ 766 w 807"/>
                <a:gd name="T115" fmla="*/ 580 h 705"/>
                <a:gd name="T116" fmla="*/ 781 w 807"/>
                <a:gd name="T117" fmla="*/ 561 h 705"/>
                <a:gd name="T118" fmla="*/ 680 w 807"/>
                <a:gd name="T119" fmla="*/ 637 h 705"/>
                <a:gd name="T120" fmla="*/ 738 w 807"/>
                <a:gd name="T121" fmla="*/ 606 h 705"/>
                <a:gd name="T122" fmla="*/ 717 w 807"/>
                <a:gd name="T123" fmla="*/ 631 h 705"/>
                <a:gd name="T124" fmla="*/ 764 w 807"/>
                <a:gd name="T125" fmla="*/ 5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7" h="705">
                  <a:moveTo>
                    <a:pt x="295" y="143"/>
                  </a:moveTo>
                  <a:lnTo>
                    <a:pt x="293" y="145"/>
                  </a:lnTo>
                  <a:lnTo>
                    <a:pt x="289" y="147"/>
                  </a:lnTo>
                  <a:lnTo>
                    <a:pt x="289" y="149"/>
                  </a:lnTo>
                  <a:lnTo>
                    <a:pt x="293" y="147"/>
                  </a:lnTo>
                  <a:lnTo>
                    <a:pt x="295" y="145"/>
                  </a:lnTo>
                  <a:lnTo>
                    <a:pt x="297" y="143"/>
                  </a:lnTo>
                  <a:lnTo>
                    <a:pt x="295" y="143"/>
                  </a:lnTo>
                  <a:lnTo>
                    <a:pt x="295" y="143"/>
                  </a:lnTo>
                  <a:close/>
                  <a:moveTo>
                    <a:pt x="285" y="151"/>
                  </a:moveTo>
                  <a:lnTo>
                    <a:pt x="285" y="153"/>
                  </a:lnTo>
                  <a:lnTo>
                    <a:pt x="283" y="155"/>
                  </a:lnTo>
                  <a:lnTo>
                    <a:pt x="283" y="155"/>
                  </a:lnTo>
                  <a:lnTo>
                    <a:pt x="283" y="155"/>
                  </a:lnTo>
                  <a:lnTo>
                    <a:pt x="281" y="155"/>
                  </a:lnTo>
                  <a:lnTo>
                    <a:pt x="281" y="155"/>
                  </a:lnTo>
                  <a:lnTo>
                    <a:pt x="281" y="157"/>
                  </a:lnTo>
                  <a:lnTo>
                    <a:pt x="281" y="157"/>
                  </a:lnTo>
                  <a:lnTo>
                    <a:pt x="281" y="157"/>
                  </a:lnTo>
                  <a:lnTo>
                    <a:pt x="279" y="157"/>
                  </a:lnTo>
                  <a:lnTo>
                    <a:pt x="260" y="170"/>
                  </a:lnTo>
                  <a:lnTo>
                    <a:pt x="258" y="172"/>
                  </a:lnTo>
                  <a:lnTo>
                    <a:pt x="256" y="172"/>
                  </a:lnTo>
                  <a:lnTo>
                    <a:pt x="252" y="172"/>
                  </a:lnTo>
                  <a:lnTo>
                    <a:pt x="250" y="172"/>
                  </a:lnTo>
                  <a:lnTo>
                    <a:pt x="254" y="172"/>
                  </a:lnTo>
                  <a:lnTo>
                    <a:pt x="256" y="172"/>
                  </a:lnTo>
                  <a:lnTo>
                    <a:pt x="260" y="172"/>
                  </a:lnTo>
                  <a:lnTo>
                    <a:pt x="262" y="172"/>
                  </a:lnTo>
                  <a:lnTo>
                    <a:pt x="269" y="168"/>
                  </a:lnTo>
                  <a:lnTo>
                    <a:pt x="271" y="166"/>
                  </a:lnTo>
                  <a:lnTo>
                    <a:pt x="279" y="159"/>
                  </a:lnTo>
                  <a:lnTo>
                    <a:pt x="283" y="155"/>
                  </a:lnTo>
                  <a:lnTo>
                    <a:pt x="285" y="153"/>
                  </a:lnTo>
                  <a:lnTo>
                    <a:pt x="285" y="153"/>
                  </a:lnTo>
                  <a:lnTo>
                    <a:pt x="287" y="151"/>
                  </a:lnTo>
                  <a:lnTo>
                    <a:pt x="287" y="151"/>
                  </a:lnTo>
                  <a:lnTo>
                    <a:pt x="287" y="151"/>
                  </a:lnTo>
                  <a:lnTo>
                    <a:pt x="285" y="151"/>
                  </a:lnTo>
                  <a:close/>
                  <a:moveTo>
                    <a:pt x="252" y="166"/>
                  </a:moveTo>
                  <a:lnTo>
                    <a:pt x="252" y="164"/>
                  </a:lnTo>
                  <a:lnTo>
                    <a:pt x="250" y="164"/>
                  </a:lnTo>
                  <a:lnTo>
                    <a:pt x="250" y="164"/>
                  </a:lnTo>
                  <a:lnTo>
                    <a:pt x="248" y="164"/>
                  </a:lnTo>
                  <a:lnTo>
                    <a:pt x="246" y="164"/>
                  </a:lnTo>
                  <a:lnTo>
                    <a:pt x="244" y="166"/>
                  </a:lnTo>
                  <a:lnTo>
                    <a:pt x="244" y="166"/>
                  </a:lnTo>
                  <a:lnTo>
                    <a:pt x="240" y="166"/>
                  </a:lnTo>
                  <a:lnTo>
                    <a:pt x="240" y="166"/>
                  </a:lnTo>
                  <a:lnTo>
                    <a:pt x="242" y="168"/>
                  </a:lnTo>
                  <a:lnTo>
                    <a:pt x="244" y="168"/>
                  </a:lnTo>
                  <a:lnTo>
                    <a:pt x="244" y="168"/>
                  </a:lnTo>
                  <a:lnTo>
                    <a:pt x="244" y="170"/>
                  </a:lnTo>
                  <a:lnTo>
                    <a:pt x="246" y="170"/>
                  </a:lnTo>
                  <a:lnTo>
                    <a:pt x="246" y="170"/>
                  </a:lnTo>
                  <a:lnTo>
                    <a:pt x="248" y="170"/>
                  </a:lnTo>
                  <a:lnTo>
                    <a:pt x="250" y="170"/>
                  </a:lnTo>
                  <a:lnTo>
                    <a:pt x="250" y="170"/>
                  </a:lnTo>
                  <a:lnTo>
                    <a:pt x="250" y="168"/>
                  </a:lnTo>
                  <a:lnTo>
                    <a:pt x="250" y="168"/>
                  </a:lnTo>
                  <a:lnTo>
                    <a:pt x="250" y="166"/>
                  </a:lnTo>
                  <a:lnTo>
                    <a:pt x="252" y="166"/>
                  </a:lnTo>
                  <a:close/>
                  <a:moveTo>
                    <a:pt x="95" y="104"/>
                  </a:moveTo>
                  <a:lnTo>
                    <a:pt x="92" y="106"/>
                  </a:lnTo>
                  <a:lnTo>
                    <a:pt x="92" y="106"/>
                  </a:lnTo>
                  <a:lnTo>
                    <a:pt x="90" y="106"/>
                  </a:lnTo>
                  <a:lnTo>
                    <a:pt x="80" y="110"/>
                  </a:lnTo>
                  <a:lnTo>
                    <a:pt x="76" y="110"/>
                  </a:lnTo>
                  <a:lnTo>
                    <a:pt x="74" y="110"/>
                  </a:lnTo>
                  <a:lnTo>
                    <a:pt x="72" y="110"/>
                  </a:lnTo>
                  <a:lnTo>
                    <a:pt x="72" y="112"/>
                  </a:lnTo>
                  <a:lnTo>
                    <a:pt x="68" y="112"/>
                  </a:lnTo>
                  <a:lnTo>
                    <a:pt x="62" y="114"/>
                  </a:lnTo>
                  <a:lnTo>
                    <a:pt x="58" y="116"/>
                  </a:lnTo>
                  <a:lnTo>
                    <a:pt x="47" y="118"/>
                  </a:lnTo>
                  <a:lnTo>
                    <a:pt x="39" y="120"/>
                  </a:lnTo>
                  <a:lnTo>
                    <a:pt x="37" y="120"/>
                  </a:lnTo>
                  <a:lnTo>
                    <a:pt x="43" y="120"/>
                  </a:lnTo>
                  <a:lnTo>
                    <a:pt x="105" y="106"/>
                  </a:lnTo>
                  <a:lnTo>
                    <a:pt x="105" y="106"/>
                  </a:lnTo>
                  <a:lnTo>
                    <a:pt x="105" y="106"/>
                  </a:lnTo>
                  <a:lnTo>
                    <a:pt x="105" y="106"/>
                  </a:lnTo>
                  <a:lnTo>
                    <a:pt x="105" y="106"/>
                  </a:lnTo>
                  <a:lnTo>
                    <a:pt x="107" y="106"/>
                  </a:lnTo>
                  <a:lnTo>
                    <a:pt x="107" y="106"/>
                  </a:lnTo>
                  <a:lnTo>
                    <a:pt x="109" y="104"/>
                  </a:lnTo>
                  <a:lnTo>
                    <a:pt x="99" y="104"/>
                  </a:lnTo>
                  <a:lnTo>
                    <a:pt x="95" y="104"/>
                  </a:lnTo>
                  <a:close/>
                  <a:moveTo>
                    <a:pt x="783" y="516"/>
                  </a:moveTo>
                  <a:lnTo>
                    <a:pt x="783" y="518"/>
                  </a:lnTo>
                  <a:lnTo>
                    <a:pt x="783" y="518"/>
                  </a:lnTo>
                  <a:lnTo>
                    <a:pt x="783" y="518"/>
                  </a:lnTo>
                  <a:lnTo>
                    <a:pt x="785" y="518"/>
                  </a:lnTo>
                  <a:lnTo>
                    <a:pt x="785" y="516"/>
                  </a:lnTo>
                  <a:lnTo>
                    <a:pt x="785" y="510"/>
                  </a:lnTo>
                  <a:lnTo>
                    <a:pt x="785" y="510"/>
                  </a:lnTo>
                  <a:lnTo>
                    <a:pt x="785" y="510"/>
                  </a:lnTo>
                  <a:lnTo>
                    <a:pt x="783" y="510"/>
                  </a:lnTo>
                  <a:lnTo>
                    <a:pt x="783" y="512"/>
                  </a:lnTo>
                  <a:lnTo>
                    <a:pt x="783" y="512"/>
                  </a:lnTo>
                  <a:lnTo>
                    <a:pt x="783" y="512"/>
                  </a:lnTo>
                  <a:lnTo>
                    <a:pt x="783" y="514"/>
                  </a:lnTo>
                  <a:lnTo>
                    <a:pt x="783" y="514"/>
                  </a:lnTo>
                  <a:lnTo>
                    <a:pt x="783" y="514"/>
                  </a:lnTo>
                  <a:lnTo>
                    <a:pt x="783" y="514"/>
                  </a:lnTo>
                  <a:lnTo>
                    <a:pt x="783" y="514"/>
                  </a:lnTo>
                  <a:lnTo>
                    <a:pt x="783" y="514"/>
                  </a:lnTo>
                  <a:lnTo>
                    <a:pt x="783" y="514"/>
                  </a:lnTo>
                  <a:lnTo>
                    <a:pt x="783" y="514"/>
                  </a:lnTo>
                  <a:lnTo>
                    <a:pt x="783" y="514"/>
                  </a:lnTo>
                  <a:lnTo>
                    <a:pt x="783" y="516"/>
                  </a:lnTo>
                  <a:lnTo>
                    <a:pt x="783" y="516"/>
                  </a:lnTo>
                  <a:close/>
                  <a:moveTo>
                    <a:pt x="592" y="467"/>
                  </a:moveTo>
                  <a:lnTo>
                    <a:pt x="590" y="465"/>
                  </a:lnTo>
                  <a:lnTo>
                    <a:pt x="588" y="465"/>
                  </a:lnTo>
                  <a:lnTo>
                    <a:pt x="588" y="465"/>
                  </a:lnTo>
                  <a:lnTo>
                    <a:pt x="588" y="465"/>
                  </a:lnTo>
                  <a:lnTo>
                    <a:pt x="586" y="467"/>
                  </a:lnTo>
                  <a:lnTo>
                    <a:pt x="584" y="467"/>
                  </a:lnTo>
                  <a:lnTo>
                    <a:pt x="582" y="467"/>
                  </a:lnTo>
                  <a:lnTo>
                    <a:pt x="582" y="467"/>
                  </a:lnTo>
                  <a:lnTo>
                    <a:pt x="580" y="467"/>
                  </a:lnTo>
                  <a:lnTo>
                    <a:pt x="578" y="465"/>
                  </a:lnTo>
                  <a:lnTo>
                    <a:pt x="576" y="463"/>
                  </a:lnTo>
                  <a:lnTo>
                    <a:pt x="576" y="461"/>
                  </a:lnTo>
                  <a:lnTo>
                    <a:pt x="576" y="461"/>
                  </a:lnTo>
                  <a:lnTo>
                    <a:pt x="574" y="459"/>
                  </a:lnTo>
                  <a:lnTo>
                    <a:pt x="574" y="459"/>
                  </a:lnTo>
                  <a:lnTo>
                    <a:pt x="574" y="459"/>
                  </a:lnTo>
                  <a:lnTo>
                    <a:pt x="574" y="459"/>
                  </a:lnTo>
                  <a:lnTo>
                    <a:pt x="572" y="459"/>
                  </a:lnTo>
                  <a:lnTo>
                    <a:pt x="574" y="461"/>
                  </a:lnTo>
                  <a:lnTo>
                    <a:pt x="576" y="465"/>
                  </a:lnTo>
                  <a:lnTo>
                    <a:pt x="576" y="467"/>
                  </a:lnTo>
                  <a:lnTo>
                    <a:pt x="578" y="467"/>
                  </a:lnTo>
                  <a:lnTo>
                    <a:pt x="578" y="467"/>
                  </a:lnTo>
                  <a:lnTo>
                    <a:pt x="584" y="471"/>
                  </a:lnTo>
                  <a:lnTo>
                    <a:pt x="584" y="471"/>
                  </a:lnTo>
                  <a:lnTo>
                    <a:pt x="584" y="471"/>
                  </a:lnTo>
                  <a:lnTo>
                    <a:pt x="586" y="471"/>
                  </a:lnTo>
                  <a:lnTo>
                    <a:pt x="588" y="469"/>
                  </a:lnTo>
                  <a:lnTo>
                    <a:pt x="590" y="467"/>
                  </a:lnTo>
                  <a:lnTo>
                    <a:pt x="592" y="467"/>
                  </a:lnTo>
                  <a:lnTo>
                    <a:pt x="592" y="467"/>
                  </a:lnTo>
                  <a:lnTo>
                    <a:pt x="592" y="467"/>
                  </a:lnTo>
                  <a:close/>
                  <a:moveTo>
                    <a:pt x="781" y="473"/>
                  </a:moveTo>
                  <a:lnTo>
                    <a:pt x="781" y="471"/>
                  </a:lnTo>
                  <a:lnTo>
                    <a:pt x="781" y="471"/>
                  </a:lnTo>
                  <a:lnTo>
                    <a:pt x="781" y="467"/>
                  </a:lnTo>
                  <a:lnTo>
                    <a:pt x="781" y="450"/>
                  </a:lnTo>
                  <a:lnTo>
                    <a:pt x="781" y="448"/>
                  </a:lnTo>
                  <a:lnTo>
                    <a:pt x="781" y="446"/>
                  </a:lnTo>
                  <a:lnTo>
                    <a:pt x="781" y="444"/>
                  </a:lnTo>
                  <a:lnTo>
                    <a:pt x="779" y="442"/>
                  </a:lnTo>
                  <a:lnTo>
                    <a:pt x="779" y="440"/>
                  </a:lnTo>
                  <a:lnTo>
                    <a:pt x="781" y="436"/>
                  </a:lnTo>
                  <a:lnTo>
                    <a:pt x="779" y="422"/>
                  </a:lnTo>
                  <a:lnTo>
                    <a:pt x="779" y="422"/>
                  </a:lnTo>
                  <a:lnTo>
                    <a:pt x="779" y="418"/>
                  </a:lnTo>
                  <a:lnTo>
                    <a:pt x="777" y="405"/>
                  </a:lnTo>
                  <a:lnTo>
                    <a:pt x="777" y="401"/>
                  </a:lnTo>
                  <a:lnTo>
                    <a:pt x="774" y="401"/>
                  </a:lnTo>
                  <a:lnTo>
                    <a:pt x="774" y="399"/>
                  </a:lnTo>
                  <a:lnTo>
                    <a:pt x="774" y="397"/>
                  </a:lnTo>
                  <a:lnTo>
                    <a:pt x="774" y="395"/>
                  </a:lnTo>
                  <a:lnTo>
                    <a:pt x="770" y="385"/>
                  </a:lnTo>
                  <a:lnTo>
                    <a:pt x="770" y="385"/>
                  </a:lnTo>
                  <a:lnTo>
                    <a:pt x="768" y="383"/>
                  </a:lnTo>
                  <a:lnTo>
                    <a:pt x="766" y="383"/>
                  </a:lnTo>
                  <a:lnTo>
                    <a:pt x="764" y="383"/>
                  </a:lnTo>
                  <a:lnTo>
                    <a:pt x="764" y="383"/>
                  </a:lnTo>
                  <a:lnTo>
                    <a:pt x="766" y="381"/>
                  </a:lnTo>
                  <a:lnTo>
                    <a:pt x="766" y="381"/>
                  </a:lnTo>
                  <a:lnTo>
                    <a:pt x="768" y="381"/>
                  </a:lnTo>
                  <a:lnTo>
                    <a:pt x="768" y="379"/>
                  </a:lnTo>
                  <a:lnTo>
                    <a:pt x="768" y="379"/>
                  </a:lnTo>
                  <a:lnTo>
                    <a:pt x="766" y="375"/>
                  </a:lnTo>
                  <a:lnTo>
                    <a:pt x="762" y="368"/>
                  </a:lnTo>
                  <a:lnTo>
                    <a:pt x="760" y="364"/>
                  </a:lnTo>
                  <a:lnTo>
                    <a:pt x="758" y="364"/>
                  </a:lnTo>
                  <a:lnTo>
                    <a:pt x="758" y="362"/>
                  </a:lnTo>
                  <a:lnTo>
                    <a:pt x="754" y="360"/>
                  </a:lnTo>
                  <a:lnTo>
                    <a:pt x="754" y="360"/>
                  </a:lnTo>
                  <a:lnTo>
                    <a:pt x="750" y="356"/>
                  </a:lnTo>
                  <a:lnTo>
                    <a:pt x="750" y="356"/>
                  </a:lnTo>
                  <a:lnTo>
                    <a:pt x="748" y="358"/>
                  </a:lnTo>
                  <a:lnTo>
                    <a:pt x="746" y="358"/>
                  </a:lnTo>
                  <a:lnTo>
                    <a:pt x="744" y="356"/>
                  </a:lnTo>
                  <a:lnTo>
                    <a:pt x="744" y="356"/>
                  </a:lnTo>
                  <a:lnTo>
                    <a:pt x="742" y="354"/>
                  </a:lnTo>
                  <a:lnTo>
                    <a:pt x="740" y="354"/>
                  </a:lnTo>
                  <a:lnTo>
                    <a:pt x="742" y="354"/>
                  </a:lnTo>
                  <a:lnTo>
                    <a:pt x="742" y="354"/>
                  </a:lnTo>
                  <a:lnTo>
                    <a:pt x="744" y="354"/>
                  </a:lnTo>
                  <a:lnTo>
                    <a:pt x="744" y="354"/>
                  </a:lnTo>
                  <a:lnTo>
                    <a:pt x="746" y="356"/>
                  </a:lnTo>
                  <a:lnTo>
                    <a:pt x="750" y="356"/>
                  </a:lnTo>
                  <a:lnTo>
                    <a:pt x="752" y="356"/>
                  </a:lnTo>
                  <a:lnTo>
                    <a:pt x="752" y="358"/>
                  </a:lnTo>
                  <a:lnTo>
                    <a:pt x="752" y="356"/>
                  </a:lnTo>
                  <a:lnTo>
                    <a:pt x="731" y="325"/>
                  </a:lnTo>
                  <a:lnTo>
                    <a:pt x="725" y="311"/>
                  </a:lnTo>
                  <a:lnTo>
                    <a:pt x="684" y="250"/>
                  </a:lnTo>
                  <a:lnTo>
                    <a:pt x="682" y="245"/>
                  </a:lnTo>
                  <a:lnTo>
                    <a:pt x="678" y="241"/>
                  </a:lnTo>
                  <a:lnTo>
                    <a:pt x="676" y="235"/>
                  </a:lnTo>
                  <a:lnTo>
                    <a:pt x="674" y="233"/>
                  </a:lnTo>
                  <a:lnTo>
                    <a:pt x="670" y="223"/>
                  </a:lnTo>
                  <a:lnTo>
                    <a:pt x="670" y="219"/>
                  </a:lnTo>
                  <a:lnTo>
                    <a:pt x="668" y="217"/>
                  </a:lnTo>
                  <a:lnTo>
                    <a:pt x="666" y="213"/>
                  </a:lnTo>
                  <a:lnTo>
                    <a:pt x="666" y="211"/>
                  </a:lnTo>
                  <a:lnTo>
                    <a:pt x="666" y="211"/>
                  </a:lnTo>
                  <a:lnTo>
                    <a:pt x="664" y="209"/>
                  </a:lnTo>
                  <a:lnTo>
                    <a:pt x="660" y="198"/>
                  </a:lnTo>
                  <a:lnTo>
                    <a:pt x="662" y="198"/>
                  </a:lnTo>
                  <a:lnTo>
                    <a:pt x="666" y="202"/>
                  </a:lnTo>
                  <a:lnTo>
                    <a:pt x="670" y="202"/>
                  </a:lnTo>
                  <a:lnTo>
                    <a:pt x="672" y="204"/>
                  </a:lnTo>
                  <a:lnTo>
                    <a:pt x="670" y="207"/>
                  </a:lnTo>
                  <a:lnTo>
                    <a:pt x="670" y="209"/>
                  </a:lnTo>
                  <a:lnTo>
                    <a:pt x="670" y="207"/>
                  </a:lnTo>
                  <a:lnTo>
                    <a:pt x="670" y="209"/>
                  </a:lnTo>
                  <a:lnTo>
                    <a:pt x="670" y="211"/>
                  </a:lnTo>
                  <a:lnTo>
                    <a:pt x="670" y="213"/>
                  </a:lnTo>
                  <a:lnTo>
                    <a:pt x="670" y="215"/>
                  </a:lnTo>
                  <a:lnTo>
                    <a:pt x="672" y="217"/>
                  </a:lnTo>
                  <a:lnTo>
                    <a:pt x="674" y="217"/>
                  </a:lnTo>
                  <a:lnTo>
                    <a:pt x="680" y="217"/>
                  </a:lnTo>
                  <a:lnTo>
                    <a:pt x="680" y="217"/>
                  </a:lnTo>
                  <a:lnTo>
                    <a:pt x="682" y="217"/>
                  </a:lnTo>
                  <a:lnTo>
                    <a:pt x="682" y="215"/>
                  </a:lnTo>
                  <a:lnTo>
                    <a:pt x="680" y="215"/>
                  </a:lnTo>
                  <a:lnTo>
                    <a:pt x="680" y="213"/>
                  </a:lnTo>
                  <a:lnTo>
                    <a:pt x="682" y="213"/>
                  </a:lnTo>
                  <a:lnTo>
                    <a:pt x="682" y="213"/>
                  </a:lnTo>
                  <a:lnTo>
                    <a:pt x="682" y="215"/>
                  </a:lnTo>
                  <a:lnTo>
                    <a:pt x="682" y="215"/>
                  </a:lnTo>
                  <a:lnTo>
                    <a:pt x="684" y="213"/>
                  </a:lnTo>
                  <a:lnTo>
                    <a:pt x="686" y="215"/>
                  </a:lnTo>
                  <a:lnTo>
                    <a:pt x="688" y="215"/>
                  </a:lnTo>
                  <a:lnTo>
                    <a:pt x="688" y="217"/>
                  </a:lnTo>
                  <a:lnTo>
                    <a:pt x="690" y="221"/>
                  </a:lnTo>
                  <a:lnTo>
                    <a:pt x="690" y="225"/>
                  </a:lnTo>
                  <a:lnTo>
                    <a:pt x="690" y="239"/>
                  </a:lnTo>
                  <a:lnTo>
                    <a:pt x="693" y="258"/>
                  </a:lnTo>
                  <a:lnTo>
                    <a:pt x="695" y="262"/>
                  </a:lnTo>
                  <a:lnTo>
                    <a:pt x="699" y="268"/>
                  </a:lnTo>
                  <a:lnTo>
                    <a:pt x="707" y="278"/>
                  </a:lnTo>
                  <a:lnTo>
                    <a:pt x="707" y="282"/>
                  </a:lnTo>
                  <a:lnTo>
                    <a:pt x="711" y="284"/>
                  </a:lnTo>
                  <a:lnTo>
                    <a:pt x="711" y="284"/>
                  </a:lnTo>
                  <a:lnTo>
                    <a:pt x="713" y="286"/>
                  </a:lnTo>
                  <a:lnTo>
                    <a:pt x="715" y="291"/>
                  </a:lnTo>
                  <a:lnTo>
                    <a:pt x="715" y="286"/>
                  </a:lnTo>
                  <a:lnTo>
                    <a:pt x="705" y="276"/>
                  </a:lnTo>
                  <a:lnTo>
                    <a:pt x="703" y="270"/>
                  </a:lnTo>
                  <a:lnTo>
                    <a:pt x="701" y="270"/>
                  </a:lnTo>
                  <a:lnTo>
                    <a:pt x="699" y="266"/>
                  </a:lnTo>
                  <a:lnTo>
                    <a:pt x="695" y="256"/>
                  </a:lnTo>
                  <a:lnTo>
                    <a:pt x="695" y="250"/>
                  </a:lnTo>
                  <a:lnTo>
                    <a:pt x="695" y="248"/>
                  </a:lnTo>
                  <a:lnTo>
                    <a:pt x="693" y="248"/>
                  </a:lnTo>
                  <a:lnTo>
                    <a:pt x="695" y="245"/>
                  </a:lnTo>
                  <a:lnTo>
                    <a:pt x="693" y="235"/>
                  </a:lnTo>
                  <a:lnTo>
                    <a:pt x="693" y="235"/>
                  </a:lnTo>
                  <a:lnTo>
                    <a:pt x="693" y="235"/>
                  </a:lnTo>
                  <a:lnTo>
                    <a:pt x="693" y="233"/>
                  </a:lnTo>
                  <a:lnTo>
                    <a:pt x="695" y="233"/>
                  </a:lnTo>
                  <a:lnTo>
                    <a:pt x="695" y="231"/>
                  </a:lnTo>
                  <a:lnTo>
                    <a:pt x="695" y="231"/>
                  </a:lnTo>
                  <a:lnTo>
                    <a:pt x="697" y="229"/>
                  </a:lnTo>
                  <a:lnTo>
                    <a:pt x="697" y="227"/>
                  </a:lnTo>
                  <a:lnTo>
                    <a:pt x="695" y="225"/>
                  </a:lnTo>
                  <a:lnTo>
                    <a:pt x="690" y="219"/>
                  </a:lnTo>
                  <a:lnTo>
                    <a:pt x="684" y="211"/>
                  </a:lnTo>
                  <a:lnTo>
                    <a:pt x="678" y="204"/>
                  </a:lnTo>
                  <a:lnTo>
                    <a:pt x="670" y="194"/>
                  </a:lnTo>
                  <a:lnTo>
                    <a:pt x="654" y="176"/>
                  </a:lnTo>
                  <a:lnTo>
                    <a:pt x="654" y="174"/>
                  </a:lnTo>
                  <a:lnTo>
                    <a:pt x="652" y="172"/>
                  </a:lnTo>
                  <a:lnTo>
                    <a:pt x="650" y="172"/>
                  </a:lnTo>
                  <a:lnTo>
                    <a:pt x="650" y="170"/>
                  </a:lnTo>
                  <a:lnTo>
                    <a:pt x="650" y="168"/>
                  </a:lnTo>
                  <a:lnTo>
                    <a:pt x="637" y="153"/>
                  </a:lnTo>
                  <a:lnTo>
                    <a:pt x="629" y="137"/>
                  </a:lnTo>
                  <a:lnTo>
                    <a:pt x="621" y="127"/>
                  </a:lnTo>
                  <a:lnTo>
                    <a:pt x="615" y="118"/>
                  </a:lnTo>
                  <a:lnTo>
                    <a:pt x="615" y="118"/>
                  </a:lnTo>
                  <a:lnTo>
                    <a:pt x="615" y="116"/>
                  </a:lnTo>
                  <a:lnTo>
                    <a:pt x="613" y="114"/>
                  </a:lnTo>
                  <a:lnTo>
                    <a:pt x="613" y="112"/>
                  </a:lnTo>
                  <a:lnTo>
                    <a:pt x="609" y="106"/>
                  </a:lnTo>
                  <a:lnTo>
                    <a:pt x="607" y="100"/>
                  </a:lnTo>
                  <a:lnTo>
                    <a:pt x="604" y="100"/>
                  </a:lnTo>
                  <a:lnTo>
                    <a:pt x="604" y="98"/>
                  </a:lnTo>
                  <a:lnTo>
                    <a:pt x="602" y="94"/>
                  </a:lnTo>
                  <a:lnTo>
                    <a:pt x="602" y="92"/>
                  </a:lnTo>
                  <a:lnTo>
                    <a:pt x="602" y="92"/>
                  </a:lnTo>
                  <a:lnTo>
                    <a:pt x="602" y="92"/>
                  </a:lnTo>
                  <a:lnTo>
                    <a:pt x="600" y="90"/>
                  </a:lnTo>
                  <a:lnTo>
                    <a:pt x="600" y="90"/>
                  </a:lnTo>
                  <a:lnTo>
                    <a:pt x="600" y="90"/>
                  </a:lnTo>
                  <a:lnTo>
                    <a:pt x="600" y="88"/>
                  </a:lnTo>
                  <a:lnTo>
                    <a:pt x="600" y="88"/>
                  </a:lnTo>
                  <a:lnTo>
                    <a:pt x="598" y="88"/>
                  </a:lnTo>
                  <a:lnTo>
                    <a:pt x="598" y="86"/>
                  </a:lnTo>
                  <a:lnTo>
                    <a:pt x="594" y="73"/>
                  </a:lnTo>
                  <a:lnTo>
                    <a:pt x="592" y="65"/>
                  </a:lnTo>
                  <a:lnTo>
                    <a:pt x="592" y="63"/>
                  </a:lnTo>
                  <a:lnTo>
                    <a:pt x="588" y="59"/>
                  </a:lnTo>
                  <a:lnTo>
                    <a:pt x="588" y="59"/>
                  </a:lnTo>
                  <a:lnTo>
                    <a:pt x="582" y="47"/>
                  </a:lnTo>
                  <a:lnTo>
                    <a:pt x="582" y="43"/>
                  </a:lnTo>
                  <a:lnTo>
                    <a:pt x="582" y="38"/>
                  </a:lnTo>
                  <a:lnTo>
                    <a:pt x="582" y="36"/>
                  </a:lnTo>
                  <a:lnTo>
                    <a:pt x="580" y="36"/>
                  </a:lnTo>
                  <a:lnTo>
                    <a:pt x="580" y="36"/>
                  </a:lnTo>
                  <a:lnTo>
                    <a:pt x="580" y="34"/>
                  </a:lnTo>
                  <a:lnTo>
                    <a:pt x="580" y="32"/>
                  </a:lnTo>
                  <a:lnTo>
                    <a:pt x="578" y="30"/>
                  </a:lnTo>
                  <a:lnTo>
                    <a:pt x="578" y="30"/>
                  </a:lnTo>
                  <a:lnTo>
                    <a:pt x="578" y="28"/>
                  </a:lnTo>
                  <a:lnTo>
                    <a:pt x="576" y="28"/>
                  </a:lnTo>
                  <a:lnTo>
                    <a:pt x="576" y="28"/>
                  </a:lnTo>
                  <a:lnTo>
                    <a:pt x="576" y="28"/>
                  </a:lnTo>
                  <a:lnTo>
                    <a:pt x="574" y="26"/>
                  </a:lnTo>
                  <a:lnTo>
                    <a:pt x="574" y="26"/>
                  </a:lnTo>
                  <a:lnTo>
                    <a:pt x="572" y="24"/>
                  </a:lnTo>
                  <a:lnTo>
                    <a:pt x="572" y="24"/>
                  </a:lnTo>
                  <a:lnTo>
                    <a:pt x="570" y="22"/>
                  </a:lnTo>
                  <a:lnTo>
                    <a:pt x="568" y="22"/>
                  </a:lnTo>
                  <a:lnTo>
                    <a:pt x="568" y="20"/>
                  </a:lnTo>
                  <a:lnTo>
                    <a:pt x="568" y="18"/>
                  </a:lnTo>
                  <a:lnTo>
                    <a:pt x="568" y="16"/>
                  </a:lnTo>
                  <a:lnTo>
                    <a:pt x="568" y="14"/>
                  </a:lnTo>
                  <a:lnTo>
                    <a:pt x="568" y="14"/>
                  </a:lnTo>
                  <a:lnTo>
                    <a:pt x="570" y="14"/>
                  </a:lnTo>
                  <a:lnTo>
                    <a:pt x="570" y="16"/>
                  </a:lnTo>
                  <a:lnTo>
                    <a:pt x="570" y="16"/>
                  </a:lnTo>
                  <a:lnTo>
                    <a:pt x="572" y="16"/>
                  </a:lnTo>
                  <a:lnTo>
                    <a:pt x="572" y="20"/>
                  </a:lnTo>
                  <a:lnTo>
                    <a:pt x="572" y="22"/>
                  </a:lnTo>
                  <a:lnTo>
                    <a:pt x="574" y="22"/>
                  </a:lnTo>
                  <a:lnTo>
                    <a:pt x="574" y="24"/>
                  </a:lnTo>
                  <a:lnTo>
                    <a:pt x="574" y="20"/>
                  </a:lnTo>
                  <a:lnTo>
                    <a:pt x="572" y="12"/>
                  </a:lnTo>
                  <a:lnTo>
                    <a:pt x="572" y="8"/>
                  </a:lnTo>
                  <a:lnTo>
                    <a:pt x="572" y="6"/>
                  </a:lnTo>
                  <a:lnTo>
                    <a:pt x="572" y="6"/>
                  </a:lnTo>
                  <a:lnTo>
                    <a:pt x="572" y="6"/>
                  </a:lnTo>
                  <a:lnTo>
                    <a:pt x="572" y="6"/>
                  </a:lnTo>
                  <a:lnTo>
                    <a:pt x="572" y="6"/>
                  </a:lnTo>
                  <a:lnTo>
                    <a:pt x="570" y="6"/>
                  </a:lnTo>
                  <a:lnTo>
                    <a:pt x="570" y="6"/>
                  </a:lnTo>
                  <a:lnTo>
                    <a:pt x="568" y="6"/>
                  </a:lnTo>
                  <a:lnTo>
                    <a:pt x="568" y="6"/>
                  </a:lnTo>
                  <a:lnTo>
                    <a:pt x="566" y="6"/>
                  </a:lnTo>
                  <a:lnTo>
                    <a:pt x="566" y="4"/>
                  </a:lnTo>
                  <a:lnTo>
                    <a:pt x="566" y="4"/>
                  </a:lnTo>
                  <a:lnTo>
                    <a:pt x="564" y="4"/>
                  </a:lnTo>
                  <a:lnTo>
                    <a:pt x="559" y="6"/>
                  </a:lnTo>
                  <a:lnTo>
                    <a:pt x="559" y="6"/>
                  </a:lnTo>
                  <a:lnTo>
                    <a:pt x="555" y="6"/>
                  </a:lnTo>
                  <a:lnTo>
                    <a:pt x="555" y="6"/>
                  </a:lnTo>
                  <a:lnTo>
                    <a:pt x="553" y="6"/>
                  </a:lnTo>
                  <a:lnTo>
                    <a:pt x="553" y="6"/>
                  </a:lnTo>
                  <a:lnTo>
                    <a:pt x="551" y="6"/>
                  </a:lnTo>
                  <a:lnTo>
                    <a:pt x="551" y="6"/>
                  </a:lnTo>
                  <a:lnTo>
                    <a:pt x="545" y="4"/>
                  </a:lnTo>
                  <a:lnTo>
                    <a:pt x="545" y="4"/>
                  </a:lnTo>
                  <a:lnTo>
                    <a:pt x="543" y="4"/>
                  </a:lnTo>
                  <a:lnTo>
                    <a:pt x="543" y="4"/>
                  </a:lnTo>
                  <a:lnTo>
                    <a:pt x="541" y="4"/>
                  </a:lnTo>
                  <a:lnTo>
                    <a:pt x="541" y="4"/>
                  </a:lnTo>
                  <a:lnTo>
                    <a:pt x="539" y="4"/>
                  </a:lnTo>
                  <a:lnTo>
                    <a:pt x="539" y="4"/>
                  </a:lnTo>
                  <a:lnTo>
                    <a:pt x="531" y="2"/>
                  </a:lnTo>
                  <a:lnTo>
                    <a:pt x="529" y="0"/>
                  </a:lnTo>
                  <a:lnTo>
                    <a:pt x="527" y="0"/>
                  </a:lnTo>
                  <a:lnTo>
                    <a:pt x="527" y="0"/>
                  </a:lnTo>
                  <a:lnTo>
                    <a:pt x="525" y="0"/>
                  </a:lnTo>
                  <a:lnTo>
                    <a:pt x="525" y="0"/>
                  </a:lnTo>
                  <a:lnTo>
                    <a:pt x="525" y="0"/>
                  </a:lnTo>
                  <a:lnTo>
                    <a:pt x="523" y="0"/>
                  </a:lnTo>
                  <a:lnTo>
                    <a:pt x="523" y="0"/>
                  </a:lnTo>
                  <a:lnTo>
                    <a:pt x="521" y="0"/>
                  </a:lnTo>
                  <a:lnTo>
                    <a:pt x="521" y="2"/>
                  </a:lnTo>
                  <a:lnTo>
                    <a:pt x="521" y="2"/>
                  </a:lnTo>
                  <a:lnTo>
                    <a:pt x="521" y="2"/>
                  </a:lnTo>
                  <a:lnTo>
                    <a:pt x="521" y="2"/>
                  </a:lnTo>
                  <a:lnTo>
                    <a:pt x="521" y="4"/>
                  </a:lnTo>
                  <a:lnTo>
                    <a:pt x="521" y="4"/>
                  </a:lnTo>
                  <a:lnTo>
                    <a:pt x="521" y="4"/>
                  </a:lnTo>
                  <a:lnTo>
                    <a:pt x="521" y="4"/>
                  </a:lnTo>
                  <a:lnTo>
                    <a:pt x="518" y="4"/>
                  </a:lnTo>
                  <a:lnTo>
                    <a:pt x="518" y="4"/>
                  </a:lnTo>
                  <a:lnTo>
                    <a:pt x="518" y="4"/>
                  </a:lnTo>
                  <a:lnTo>
                    <a:pt x="516" y="6"/>
                  </a:lnTo>
                  <a:lnTo>
                    <a:pt x="516" y="6"/>
                  </a:lnTo>
                  <a:lnTo>
                    <a:pt x="516" y="6"/>
                  </a:lnTo>
                  <a:lnTo>
                    <a:pt x="516" y="8"/>
                  </a:lnTo>
                  <a:lnTo>
                    <a:pt x="516" y="8"/>
                  </a:lnTo>
                  <a:lnTo>
                    <a:pt x="516" y="8"/>
                  </a:lnTo>
                  <a:lnTo>
                    <a:pt x="516" y="10"/>
                  </a:lnTo>
                  <a:lnTo>
                    <a:pt x="516" y="10"/>
                  </a:lnTo>
                  <a:lnTo>
                    <a:pt x="516" y="10"/>
                  </a:lnTo>
                  <a:lnTo>
                    <a:pt x="516" y="12"/>
                  </a:lnTo>
                  <a:lnTo>
                    <a:pt x="516" y="14"/>
                  </a:lnTo>
                  <a:lnTo>
                    <a:pt x="516" y="14"/>
                  </a:lnTo>
                  <a:lnTo>
                    <a:pt x="516" y="16"/>
                  </a:lnTo>
                  <a:lnTo>
                    <a:pt x="516" y="18"/>
                  </a:lnTo>
                  <a:lnTo>
                    <a:pt x="516" y="18"/>
                  </a:lnTo>
                  <a:lnTo>
                    <a:pt x="516" y="20"/>
                  </a:lnTo>
                  <a:lnTo>
                    <a:pt x="516" y="20"/>
                  </a:lnTo>
                  <a:lnTo>
                    <a:pt x="516" y="22"/>
                  </a:lnTo>
                  <a:lnTo>
                    <a:pt x="518" y="22"/>
                  </a:lnTo>
                  <a:lnTo>
                    <a:pt x="521" y="24"/>
                  </a:lnTo>
                  <a:lnTo>
                    <a:pt x="521" y="24"/>
                  </a:lnTo>
                  <a:lnTo>
                    <a:pt x="521" y="26"/>
                  </a:lnTo>
                  <a:lnTo>
                    <a:pt x="521" y="26"/>
                  </a:lnTo>
                  <a:lnTo>
                    <a:pt x="521" y="28"/>
                  </a:lnTo>
                  <a:lnTo>
                    <a:pt x="521" y="34"/>
                  </a:lnTo>
                  <a:lnTo>
                    <a:pt x="521" y="43"/>
                  </a:lnTo>
                  <a:lnTo>
                    <a:pt x="521" y="43"/>
                  </a:lnTo>
                  <a:lnTo>
                    <a:pt x="521" y="45"/>
                  </a:lnTo>
                  <a:lnTo>
                    <a:pt x="521" y="47"/>
                  </a:lnTo>
                  <a:lnTo>
                    <a:pt x="521" y="49"/>
                  </a:lnTo>
                  <a:lnTo>
                    <a:pt x="521" y="49"/>
                  </a:lnTo>
                  <a:lnTo>
                    <a:pt x="521" y="49"/>
                  </a:lnTo>
                  <a:lnTo>
                    <a:pt x="521" y="49"/>
                  </a:lnTo>
                  <a:lnTo>
                    <a:pt x="518" y="51"/>
                  </a:lnTo>
                  <a:lnTo>
                    <a:pt x="518" y="51"/>
                  </a:lnTo>
                  <a:lnTo>
                    <a:pt x="516" y="51"/>
                  </a:lnTo>
                  <a:lnTo>
                    <a:pt x="514" y="51"/>
                  </a:lnTo>
                  <a:lnTo>
                    <a:pt x="514" y="51"/>
                  </a:lnTo>
                  <a:lnTo>
                    <a:pt x="510" y="51"/>
                  </a:lnTo>
                  <a:lnTo>
                    <a:pt x="510" y="51"/>
                  </a:lnTo>
                  <a:lnTo>
                    <a:pt x="508" y="51"/>
                  </a:lnTo>
                  <a:lnTo>
                    <a:pt x="508" y="51"/>
                  </a:lnTo>
                  <a:lnTo>
                    <a:pt x="508" y="51"/>
                  </a:lnTo>
                  <a:lnTo>
                    <a:pt x="508" y="51"/>
                  </a:lnTo>
                  <a:lnTo>
                    <a:pt x="506" y="47"/>
                  </a:lnTo>
                  <a:lnTo>
                    <a:pt x="504" y="45"/>
                  </a:lnTo>
                  <a:lnTo>
                    <a:pt x="504" y="45"/>
                  </a:lnTo>
                  <a:lnTo>
                    <a:pt x="504" y="45"/>
                  </a:lnTo>
                  <a:lnTo>
                    <a:pt x="504" y="43"/>
                  </a:lnTo>
                  <a:lnTo>
                    <a:pt x="504" y="41"/>
                  </a:lnTo>
                  <a:lnTo>
                    <a:pt x="504" y="41"/>
                  </a:lnTo>
                  <a:lnTo>
                    <a:pt x="504" y="41"/>
                  </a:lnTo>
                  <a:lnTo>
                    <a:pt x="504" y="41"/>
                  </a:lnTo>
                  <a:lnTo>
                    <a:pt x="504" y="38"/>
                  </a:lnTo>
                  <a:lnTo>
                    <a:pt x="504" y="38"/>
                  </a:lnTo>
                  <a:lnTo>
                    <a:pt x="504" y="38"/>
                  </a:lnTo>
                  <a:lnTo>
                    <a:pt x="500" y="34"/>
                  </a:lnTo>
                  <a:lnTo>
                    <a:pt x="500" y="34"/>
                  </a:lnTo>
                  <a:lnTo>
                    <a:pt x="500" y="34"/>
                  </a:lnTo>
                  <a:lnTo>
                    <a:pt x="500" y="34"/>
                  </a:lnTo>
                  <a:lnTo>
                    <a:pt x="500" y="34"/>
                  </a:lnTo>
                  <a:lnTo>
                    <a:pt x="500" y="32"/>
                  </a:lnTo>
                  <a:lnTo>
                    <a:pt x="500" y="32"/>
                  </a:lnTo>
                  <a:lnTo>
                    <a:pt x="500" y="32"/>
                  </a:lnTo>
                  <a:lnTo>
                    <a:pt x="500" y="32"/>
                  </a:lnTo>
                  <a:lnTo>
                    <a:pt x="496" y="32"/>
                  </a:lnTo>
                  <a:lnTo>
                    <a:pt x="494" y="32"/>
                  </a:lnTo>
                  <a:lnTo>
                    <a:pt x="488" y="32"/>
                  </a:lnTo>
                  <a:lnTo>
                    <a:pt x="484" y="32"/>
                  </a:lnTo>
                  <a:lnTo>
                    <a:pt x="477" y="34"/>
                  </a:lnTo>
                  <a:lnTo>
                    <a:pt x="471" y="34"/>
                  </a:lnTo>
                  <a:lnTo>
                    <a:pt x="463" y="34"/>
                  </a:lnTo>
                  <a:lnTo>
                    <a:pt x="455" y="36"/>
                  </a:lnTo>
                  <a:lnTo>
                    <a:pt x="447" y="36"/>
                  </a:lnTo>
                  <a:lnTo>
                    <a:pt x="437" y="36"/>
                  </a:lnTo>
                  <a:lnTo>
                    <a:pt x="428" y="38"/>
                  </a:lnTo>
                  <a:lnTo>
                    <a:pt x="418" y="38"/>
                  </a:lnTo>
                  <a:lnTo>
                    <a:pt x="408" y="38"/>
                  </a:lnTo>
                  <a:lnTo>
                    <a:pt x="398" y="41"/>
                  </a:lnTo>
                  <a:lnTo>
                    <a:pt x="387" y="41"/>
                  </a:lnTo>
                  <a:lnTo>
                    <a:pt x="377" y="43"/>
                  </a:lnTo>
                  <a:lnTo>
                    <a:pt x="367" y="43"/>
                  </a:lnTo>
                  <a:lnTo>
                    <a:pt x="357" y="45"/>
                  </a:lnTo>
                  <a:lnTo>
                    <a:pt x="346" y="45"/>
                  </a:lnTo>
                  <a:lnTo>
                    <a:pt x="336" y="45"/>
                  </a:lnTo>
                  <a:lnTo>
                    <a:pt x="326" y="47"/>
                  </a:lnTo>
                  <a:lnTo>
                    <a:pt x="318" y="47"/>
                  </a:lnTo>
                  <a:lnTo>
                    <a:pt x="308" y="47"/>
                  </a:lnTo>
                  <a:lnTo>
                    <a:pt x="299" y="49"/>
                  </a:lnTo>
                  <a:lnTo>
                    <a:pt x="291" y="49"/>
                  </a:lnTo>
                  <a:lnTo>
                    <a:pt x="285" y="49"/>
                  </a:lnTo>
                  <a:lnTo>
                    <a:pt x="279" y="49"/>
                  </a:lnTo>
                  <a:lnTo>
                    <a:pt x="273" y="51"/>
                  </a:lnTo>
                  <a:lnTo>
                    <a:pt x="269" y="51"/>
                  </a:lnTo>
                  <a:lnTo>
                    <a:pt x="265" y="51"/>
                  </a:lnTo>
                  <a:lnTo>
                    <a:pt x="262" y="51"/>
                  </a:lnTo>
                  <a:lnTo>
                    <a:pt x="260" y="51"/>
                  </a:lnTo>
                  <a:lnTo>
                    <a:pt x="258" y="51"/>
                  </a:lnTo>
                  <a:lnTo>
                    <a:pt x="256" y="51"/>
                  </a:lnTo>
                  <a:lnTo>
                    <a:pt x="256" y="51"/>
                  </a:lnTo>
                  <a:lnTo>
                    <a:pt x="250" y="47"/>
                  </a:lnTo>
                  <a:lnTo>
                    <a:pt x="248" y="41"/>
                  </a:lnTo>
                  <a:lnTo>
                    <a:pt x="248" y="36"/>
                  </a:lnTo>
                  <a:lnTo>
                    <a:pt x="246" y="34"/>
                  </a:lnTo>
                  <a:lnTo>
                    <a:pt x="246" y="30"/>
                  </a:lnTo>
                  <a:lnTo>
                    <a:pt x="244" y="30"/>
                  </a:lnTo>
                  <a:lnTo>
                    <a:pt x="244" y="28"/>
                  </a:lnTo>
                  <a:lnTo>
                    <a:pt x="242" y="26"/>
                  </a:lnTo>
                  <a:lnTo>
                    <a:pt x="242" y="26"/>
                  </a:lnTo>
                  <a:lnTo>
                    <a:pt x="240" y="24"/>
                  </a:lnTo>
                  <a:lnTo>
                    <a:pt x="240" y="24"/>
                  </a:lnTo>
                  <a:lnTo>
                    <a:pt x="240" y="24"/>
                  </a:lnTo>
                  <a:lnTo>
                    <a:pt x="240" y="22"/>
                  </a:lnTo>
                  <a:lnTo>
                    <a:pt x="226" y="24"/>
                  </a:lnTo>
                  <a:lnTo>
                    <a:pt x="211" y="26"/>
                  </a:lnTo>
                  <a:lnTo>
                    <a:pt x="195" y="28"/>
                  </a:lnTo>
                  <a:lnTo>
                    <a:pt x="181" y="30"/>
                  </a:lnTo>
                  <a:lnTo>
                    <a:pt x="166" y="32"/>
                  </a:lnTo>
                  <a:lnTo>
                    <a:pt x="152" y="34"/>
                  </a:lnTo>
                  <a:lnTo>
                    <a:pt x="138" y="36"/>
                  </a:lnTo>
                  <a:lnTo>
                    <a:pt x="123" y="38"/>
                  </a:lnTo>
                  <a:lnTo>
                    <a:pt x="109" y="41"/>
                  </a:lnTo>
                  <a:lnTo>
                    <a:pt x="95" y="43"/>
                  </a:lnTo>
                  <a:lnTo>
                    <a:pt x="78" y="43"/>
                  </a:lnTo>
                  <a:lnTo>
                    <a:pt x="64" y="45"/>
                  </a:lnTo>
                  <a:lnTo>
                    <a:pt x="49" y="47"/>
                  </a:lnTo>
                  <a:lnTo>
                    <a:pt x="35" y="49"/>
                  </a:lnTo>
                  <a:lnTo>
                    <a:pt x="21" y="51"/>
                  </a:lnTo>
                  <a:lnTo>
                    <a:pt x="6" y="53"/>
                  </a:lnTo>
                  <a:lnTo>
                    <a:pt x="2" y="53"/>
                  </a:lnTo>
                  <a:lnTo>
                    <a:pt x="2" y="55"/>
                  </a:lnTo>
                  <a:lnTo>
                    <a:pt x="2" y="59"/>
                  </a:lnTo>
                  <a:lnTo>
                    <a:pt x="2" y="59"/>
                  </a:lnTo>
                  <a:lnTo>
                    <a:pt x="0" y="63"/>
                  </a:lnTo>
                  <a:lnTo>
                    <a:pt x="0" y="65"/>
                  </a:lnTo>
                  <a:lnTo>
                    <a:pt x="0" y="65"/>
                  </a:lnTo>
                  <a:lnTo>
                    <a:pt x="0" y="67"/>
                  </a:lnTo>
                  <a:lnTo>
                    <a:pt x="0" y="67"/>
                  </a:lnTo>
                  <a:lnTo>
                    <a:pt x="0" y="67"/>
                  </a:lnTo>
                  <a:lnTo>
                    <a:pt x="2" y="69"/>
                  </a:lnTo>
                  <a:lnTo>
                    <a:pt x="2" y="71"/>
                  </a:lnTo>
                  <a:lnTo>
                    <a:pt x="8" y="75"/>
                  </a:lnTo>
                  <a:lnTo>
                    <a:pt x="8" y="75"/>
                  </a:lnTo>
                  <a:lnTo>
                    <a:pt x="11" y="79"/>
                  </a:lnTo>
                  <a:lnTo>
                    <a:pt x="13" y="79"/>
                  </a:lnTo>
                  <a:lnTo>
                    <a:pt x="15" y="82"/>
                  </a:lnTo>
                  <a:lnTo>
                    <a:pt x="23" y="86"/>
                  </a:lnTo>
                  <a:lnTo>
                    <a:pt x="23" y="86"/>
                  </a:lnTo>
                  <a:lnTo>
                    <a:pt x="23" y="86"/>
                  </a:lnTo>
                  <a:lnTo>
                    <a:pt x="23" y="88"/>
                  </a:lnTo>
                  <a:lnTo>
                    <a:pt x="23" y="88"/>
                  </a:lnTo>
                  <a:lnTo>
                    <a:pt x="23" y="92"/>
                  </a:lnTo>
                  <a:lnTo>
                    <a:pt x="23" y="96"/>
                  </a:lnTo>
                  <a:lnTo>
                    <a:pt x="21" y="98"/>
                  </a:lnTo>
                  <a:lnTo>
                    <a:pt x="21" y="100"/>
                  </a:lnTo>
                  <a:lnTo>
                    <a:pt x="21" y="100"/>
                  </a:lnTo>
                  <a:lnTo>
                    <a:pt x="23" y="102"/>
                  </a:lnTo>
                  <a:lnTo>
                    <a:pt x="25" y="106"/>
                  </a:lnTo>
                  <a:lnTo>
                    <a:pt x="25" y="106"/>
                  </a:lnTo>
                  <a:lnTo>
                    <a:pt x="25" y="106"/>
                  </a:lnTo>
                  <a:lnTo>
                    <a:pt x="27" y="108"/>
                  </a:lnTo>
                  <a:lnTo>
                    <a:pt x="27" y="108"/>
                  </a:lnTo>
                  <a:lnTo>
                    <a:pt x="29" y="108"/>
                  </a:lnTo>
                  <a:lnTo>
                    <a:pt x="31" y="108"/>
                  </a:lnTo>
                  <a:lnTo>
                    <a:pt x="31" y="108"/>
                  </a:lnTo>
                  <a:lnTo>
                    <a:pt x="31" y="110"/>
                  </a:lnTo>
                  <a:lnTo>
                    <a:pt x="31" y="110"/>
                  </a:lnTo>
                  <a:lnTo>
                    <a:pt x="31" y="112"/>
                  </a:lnTo>
                  <a:lnTo>
                    <a:pt x="29" y="112"/>
                  </a:lnTo>
                  <a:lnTo>
                    <a:pt x="27" y="114"/>
                  </a:lnTo>
                  <a:lnTo>
                    <a:pt x="25" y="118"/>
                  </a:lnTo>
                  <a:lnTo>
                    <a:pt x="25" y="118"/>
                  </a:lnTo>
                  <a:lnTo>
                    <a:pt x="27" y="118"/>
                  </a:lnTo>
                  <a:lnTo>
                    <a:pt x="27" y="120"/>
                  </a:lnTo>
                  <a:lnTo>
                    <a:pt x="25" y="120"/>
                  </a:lnTo>
                  <a:lnTo>
                    <a:pt x="25" y="123"/>
                  </a:lnTo>
                  <a:lnTo>
                    <a:pt x="23" y="123"/>
                  </a:lnTo>
                  <a:lnTo>
                    <a:pt x="21" y="123"/>
                  </a:lnTo>
                  <a:lnTo>
                    <a:pt x="21" y="125"/>
                  </a:lnTo>
                  <a:lnTo>
                    <a:pt x="23" y="125"/>
                  </a:lnTo>
                  <a:lnTo>
                    <a:pt x="23" y="125"/>
                  </a:lnTo>
                  <a:lnTo>
                    <a:pt x="21" y="125"/>
                  </a:lnTo>
                  <a:lnTo>
                    <a:pt x="19" y="127"/>
                  </a:lnTo>
                  <a:lnTo>
                    <a:pt x="19" y="127"/>
                  </a:lnTo>
                  <a:lnTo>
                    <a:pt x="19" y="127"/>
                  </a:lnTo>
                  <a:lnTo>
                    <a:pt x="17" y="129"/>
                  </a:lnTo>
                  <a:lnTo>
                    <a:pt x="17" y="129"/>
                  </a:lnTo>
                  <a:lnTo>
                    <a:pt x="17" y="129"/>
                  </a:lnTo>
                  <a:lnTo>
                    <a:pt x="17" y="129"/>
                  </a:lnTo>
                  <a:lnTo>
                    <a:pt x="19" y="129"/>
                  </a:lnTo>
                  <a:lnTo>
                    <a:pt x="21" y="129"/>
                  </a:lnTo>
                  <a:lnTo>
                    <a:pt x="21" y="127"/>
                  </a:lnTo>
                  <a:lnTo>
                    <a:pt x="35" y="123"/>
                  </a:lnTo>
                  <a:lnTo>
                    <a:pt x="37" y="120"/>
                  </a:lnTo>
                  <a:lnTo>
                    <a:pt x="35" y="120"/>
                  </a:lnTo>
                  <a:lnTo>
                    <a:pt x="37" y="118"/>
                  </a:lnTo>
                  <a:lnTo>
                    <a:pt x="39" y="118"/>
                  </a:lnTo>
                  <a:lnTo>
                    <a:pt x="39" y="118"/>
                  </a:lnTo>
                  <a:lnTo>
                    <a:pt x="39" y="116"/>
                  </a:lnTo>
                  <a:lnTo>
                    <a:pt x="39" y="114"/>
                  </a:lnTo>
                  <a:lnTo>
                    <a:pt x="39" y="112"/>
                  </a:lnTo>
                  <a:lnTo>
                    <a:pt x="41" y="112"/>
                  </a:lnTo>
                  <a:lnTo>
                    <a:pt x="43" y="112"/>
                  </a:lnTo>
                  <a:lnTo>
                    <a:pt x="45" y="110"/>
                  </a:lnTo>
                  <a:lnTo>
                    <a:pt x="45" y="108"/>
                  </a:lnTo>
                  <a:lnTo>
                    <a:pt x="45" y="108"/>
                  </a:lnTo>
                  <a:lnTo>
                    <a:pt x="45" y="108"/>
                  </a:lnTo>
                  <a:lnTo>
                    <a:pt x="45" y="108"/>
                  </a:lnTo>
                  <a:lnTo>
                    <a:pt x="47" y="108"/>
                  </a:lnTo>
                  <a:lnTo>
                    <a:pt x="49" y="104"/>
                  </a:lnTo>
                  <a:lnTo>
                    <a:pt x="49" y="102"/>
                  </a:lnTo>
                  <a:lnTo>
                    <a:pt x="47" y="100"/>
                  </a:lnTo>
                  <a:lnTo>
                    <a:pt x="45" y="98"/>
                  </a:lnTo>
                  <a:lnTo>
                    <a:pt x="45" y="98"/>
                  </a:lnTo>
                  <a:lnTo>
                    <a:pt x="45" y="94"/>
                  </a:lnTo>
                  <a:lnTo>
                    <a:pt x="45" y="92"/>
                  </a:lnTo>
                  <a:lnTo>
                    <a:pt x="45" y="92"/>
                  </a:lnTo>
                  <a:lnTo>
                    <a:pt x="47" y="92"/>
                  </a:lnTo>
                  <a:lnTo>
                    <a:pt x="47" y="94"/>
                  </a:lnTo>
                  <a:lnTo>
                    <a:pt x="49" y="94"/>
                  </a:lnTo>
                  <a:lnTo>
                    <a:pt x="49" y="94"/>
                  </a:lnTo>
                  <a:lnTo>
                    <a:pt x="49" y="96"/>
                  </a:lnTo>
                  <a:lnTo>
                    <a:pt x="49" y="96"/>
                  </a:lnTo>
                  <a:lnTo>
                    <a:pt x="49" y="98"/>
                  </a:lnTo>
                  <a:lnTo>
                    <a:pt x="52" y="98"/>
                  </a:lnTo>
                  <a:lnTo>
                    <a:pt x="54" y="98"/>
                  </a:lnTo>
                  <a:lnTo>
                    <a:pt x="54" y="100"/>
                  </a:lnTo>
                  <a:lnTo>
                    <a:pt x="54" y="102"/>
                  </a:lnTo>
                  <a:lnTo>
                    <a:pt x="54" y="104"/>
                  </a:lnTo>
                  <a:lnTo>
                    <a:pt x="54" y="104"/>
                  </a:lnTo>
                  <a:lnTo>
                    <a:pt x="56" y="106"/>
                  </a:lnTo>
                  <a:lnTo>
                    <a:pt x="56" y="106"/>
                  </a:lnTo>
                  <a:lnTo>
                    <a:pt x="58" y="104"/>
                  </a:lnTo>
                  <a:lnTo>
                    <a:pt x="58" y="100"/>
                  </a:lnTo>
                  <a:lnTo>
                    <a:pt x="58" y="98"/>
                  </a:lnTo>
                  <a:lnTo>
                    <a:pt x="60" y="92"/>
                  </a:lnTo>
                  <a:lnTo>
                    <a:pt x="60" y="92"/>
                  </a:lnTo>
                  <a:lnTo>
                    <a:pt x="60" y="90"/>
                  </a:lnTo>
                  <a:lnTo>
                    <a:pt x="58" y="88"/>
                  </a:lnTo>
                  <a:lnTo>
                    <a:pt x="60" y="90"/>
                  </a:lnTo>
                  <a:lnTo>
                    <a:pt x="62" y="92"/>
                  </a:lnTo>
                  <a:lnTo>
                    <a:pt x="64" y="94"/>
                  </a:lnTo>
                  <a:lnTo>
                    <a:pt x="64" y="92"/>
                  </a:lnTo>
                  <a:lnTo>
                    <a:pt x="66" y="92"/>
                  </a:lnTo>
                  <a:lnTo>
                    <a:pt x="66" y="92"/>
                  </a:lnTo>
                  <a:lnTo>
                    <a:pt x="66" y="94"/>
                  </a:lnTo>
                  <a:lnTo>
                    <a:pt x="62" y="94"/>
                  </a:lnTo>
                  <a:lnTo>
                    <a:pt x="62" y="96"/>
                  </a:lnTo>
                  <a:lnTo>
                    <a:pt x="62" y="98"/>
                  </a:lnTo>
                  <a:lnTo>
                    <a:pt x="62" y="98"/>
                  </a:lnTo>
                  <a:lnTo>
                    <a:pt x="62" y="100"/>
                  </a:lnTo>
                  <a:lnTo>
                    <a:pt x="62" y="100"/>
                  </a:lnTo>
                  <a:lnTo>
                    <a:pt x="64" y="100"/>
                  </a:lnTo>
                  <a:lnTo>
                    <a:pt x="64" y="100"/>
                  </a:lnTo>
                  <a:lnTo>
                    <a:pt x="66" y="102"/>
                  </a:lnTo>
                  <a:lnTo>
                    <a:pt x="66" y="102"/>
                  </a:lnTo>
                  <a:lnTo>
                    <a:pt x="68" y="102"/>
                  </a:lnTo>
                  <a:lnTo>
                    <a:pt x="70" y="102"/>
                  </a:lnTo>
                  <a:lnTo>
                    <a:pt x="72" y="102"/>
                  </a:lnTo>
                  <a:lnTo>
                    <a:pt x="74" y="104"/>
                  </a:lnTo>
                  <a:lnTo>
                    <a:pt x="74" y="106"/>
                  </a:lnTo>
                  <a:lnTo>
                    <a:pt x="72" y="104"/>
                  </a:lnTo>
                  <a:lnTo>
                    <a:pt x="70" y="104"/>
                  </a:lnTo>
                  <a:lnTo>
                    <a:pt x="68" y="104"/>
                  </a:lnTo>
                  <a:lnTo>
                    <a:pt x="64" y="110"/>
                  </a:lnTo>
                  <a:lnTo>
                    <a:pt x="62" y="110"/>
                  </a:lnTo>
                  <a:lnTo>
                    <a:pt x="58" y="110"/>
                  </a:lnTo>
                  <a:lnTo>
                    <a:pt x="52" y="112"/>
                  </a:lnTo>
                  <a:lnTo>
                    <a:pt x="47" y="114"/>
                  </a:lnTo>
                  <a:lnTo>
                    <a:pt x="47" y="114"/>
                  </a:lnTo>
                  <a:lnTo>
                    <a:pt x="47" y="116"/>
                  </a:lnTo>
                  <a:lnTo>
                    <a:pt x="47" y="116"/>
                  </a:lnTo>
                  <a:lnTo>
                    <a:pt x="52" y="116"/>
                  </a:lnTo>
                  <a:lnTo>
                    <a:pt x="60" y="112"/>
                  </a:lnTo>
                  <a:lnTo>
                    <a:pt x="74" y="108"/>
                  </a:lnTo>
                  <a:lnTo>
                    <a:pt x="80" y="108"/>
                  </a:lnTo>
                  <a:lnTo>
                    <a:pt x="82" y="106"/>
                  </a:lnTo>
                  <a:lnTo>
                    <a:pt x="84" y="106"/>
                  </a:lnTo>
                  <a:lnTo>
                    <a:pt x="86" y="106"/>
                  </a:lnTo>
                  <a:lnTo>
                    <a:pt x="92" y="104"/>
                  </a:lnTo>
                  <a:lnTo>
                    <a:pt x="101" y="104"/>
                  </a:lnTo>
                  <a:lnTo>
                    <a:pt x="101" y="104"/>
                  </a:lnTo>
                  <a:lnTo>
                    <a:pt x="101" y="102"/>
                  </a:lnTo>
                  <a:lnTo>
                    <a:pt x="101" y="102"/>
                  </a:lnTo>
                  <a:lnTo>
                    <a:pt x="103" y="102"/>
                  </a:lnTo>
                  <a:lnTo>
                    <a:pt x="105" y="100"/>
                  </a:lnTo>
                  <a:lnTo>
                    <a:pt x="105" y="98"/>
                  </a:lnTo>
                  <a:lnTo>
                    <a:pt x="107" y="98"/>
                  </a:lnTo>
                  <a:lnTo>
                    <a:pt x="107" y="98"/>
                  </a:lnTo>
                  <a:lnTo>
                    <a:pt x="109" y="98"/>
                  </a:lnTo>
                  <a:lnTo>
                    <a:pt x="109" y="98"/>
                  </a:lnTo>
                  <a:lnTo>
                    <a:pt x="111" y="96"/>
                  </a:lnTo>
                  <a:lnTo>
                    <a:pt x="111" y="96"/>
                  </a:lnTo>
                  <a:lnTo>
                    <a:pt x="111" y="92"/>
                  </a:lnTo>
                  <a:lnTo>
                    <a:pt x="109" y="92"/>
                  </a:lnTo>
                  <a:lnTo>
                    <a:pt x="111" y="92"/>
                  </a:lnTo>
                  <a:lnTo>
                    <a:pt x="111" y="94"/>
                  </a:lnTo>
                  <a:lnTo>
                    <a:pt x="113" y="94"/>
                  </a:lnTo>
                  <a:lnTo>
                    <a:pt x="113" y="92"/>
                  </a:lnTo>
                  <a:lnTo>
                    <a:pt x="113" y="92"/>
                  </a:lnTo>
                  <a:lnTo>
                    <a:pt x="115" y="92"/>
                  </a:lnTo>
                  <a:lnTo>
                    <a:pt x="117" y="92"/>
                  </a:lnTo>
                  <a:lnTo>
                    <a:pt x="115" y="94"/>
                  </a:lnTo>
                  <a:lnTo>
                    <a:pt x="115" y="96"/>
                  </a:lnTo>
                  <a:lnTo>
                    <a:pt x="117" y="98"/>
                  </a:lnTo>
                  <a:lnTo>
                    <a:pt x="117" y="98"/>
                  </a:lnTo>
                  <a:lnTo>
                    <a:pt x="119" y="96"/>
                  </a:lnTo>
                  <a:lnTo>
                    <a:pt x="119" y="96"/>
                  </a:lnTo>
                  <a:lnTo>
                    <a:pt x="121" y="94"/>
                  </a:lnTo>
                  <a:lnTo>
                    <a:pt x="123" y="94"/>
                  </a:lnTo>
                  <a:lnTo>
                    <a:pt x="127" y="92"/>
                  </a:lnTo>
                  <a:lnTo>
                    <a:pt x="129" y="92"/>
                  </a:lnTo>
                  <a:lnTo>
                    <a:pt x="133" y="92"/>
                  </a:lnTo>
                  <a:lnTo>
                    <a:pt x="135" y="92"/>
                  </a:lnTo>
                  <a:lnTo>
                    <a:pt x="135" y="90"/>
                  </a:lnTo>
                  <a:lnTo>
                    <a:pt x="138" y="94"/>
                  </a:lnTo>
                  <a:lnTo>
                    <a:pt x="140" y="94"/>
                  </a:lnTo>
                  <a:lnTo>
                    <a:pt x="140" y="94"/>
                  </a:lnTo>
                  <a:lnTo>
                    <a:pt x="142" y="92"/>
                  </a:lnTo>
                  <a:lnTo>
                    <a:pt x="144" y="94"/>
                  </a:lnTo>
                  <a:lnTo>
                    <a:pt x="142" y="94"/>
                  </a:lnTo>
                  <a:lnTo>
                    <a:pt x="142" y="94"/>
                  </a:lnTo>
                  <a:lnTo>
                    <a:pt x="142" y="96"/>
                  </a:lnTo>
                  <a:lnTo>
                    <a:pt x="146" y="100"/>
                  </a:lnTo>
                  <a:lnTo>
                    <a:pt x="146" y="100"/>
                  </a:lnTo>
                  <a:lnTo>
                    <a:pt x="146" y="100"/>
                  </a:lnTo>
                  <a:lnTo>
                    <a:pt x="146" y="102"/>
                  </a:lnTo>
                  <a:lnTo>
                    <a:pt x="146" y="102"/>
                  </a:lnTo>
                  <a:lnTo>
                    <a:pt x="144" y="102"/>
                  </a:lnTo>
                  <a:lnTo>
                    <a:pt x="144" y="102"/>
                  </a:lnTo>
                  <a:lnTo>
                    <a:pt x="138" y="100"/>
                  </a:lnTo>
                  <a:lnTo>
                    <a:pt x="135" y="98"/>
                  </a:lnTo>
                  <a:lnTo>
                    <a:pt x="133" y="98"/>
                  </a:lnTo>
                  <a:lnTo>
                    <a:pt x="133" y="98"/>
                  </a:lnTo>
                  <a:lnTo>
                    <a:pt x="131" y="98"/>
                  </a:lnTo>
                  <a:lnTo>
                    <a:pt x="131" y="100"/>
                  </a:lnTo>
                  <a:lnTo>
                    <a:pt x="133" y="100"/>
                  </a:lnTo>
                  <a:lnTo>
                    <a:pt x="135" y="100"/>
                  </a:lnTo>
                  <a:lnTo>
                    <a:pt x="135" y="100"/>
                  </a:lnTo>
                  <a:lnTo>
                    <a:pt x="135" y="102"/>
                  </a:lnTo>
                  <a:lnTo>
                    <a:pt x="135" y="102"/>
                  </a:lnTo>
                  <a:lnTo>
                    <a:pt x="133" y="102"/>
                  </a:lnTo>
                  <a:lnTo>
                    <a:pt x="129" y="102"/>
                  </a:lnTo>
                  <a:lnTo>
                    <a:pt x="129" y="102"/>
                  </a:lnTo>
                  <a:lnTo>
                    <a:pt x="127" y="100"/>
                  </a:lnTo>
                  <a:lnTo>
                    <a:pt x="127" y="98"/>
                  </a:lnTo>
                  <a:lnTo>
                    <a:pt x="127" y="98"/>
                  </a:lnTo>
                  <a:lnTo>
                    <a:pt x="127" y="98"/>
                  </a:lnTo>
                  <a:lnTo>
                    <a:pt x="127" y="98"/>
                  </a:lnTo>
                  <a:lnTo>
                    <a:pt x="127" y="100"/>
                  </a:lnTo>
                  <a:lnTo>
                    <a:pt x="125" y="102"/>
                  </a:lnTo>
                  <a:lnTo>
                    <a:pt x="125" y="102"/>
                  </a:lnTo>
                  <a:lnTo>
                    <a:pt x="125" y="104"/>
                  </a:lnTo>
                  <a:lnTo>
                    <a:pt x="119" y="102"/>
                  </a:lnTo>
                  <a:lnTo>
                    <a:pt x="111" y="104"/>
                  </a:lnTo>
                  <a:lnTo>
                    <a:pt x="109" y="104"/>
                  </a:lnTo>
                  <a:lnTo>
                    <a:pt x="109" y="104"/>
                  </a:lnTo>
                  <a:lnTo>
                    <a:pt x="109" y="104"/>
                  </a:lnTo>
                  <a:lnTo>
                    <a:pt x="109" y="104"/>
                  </a:lnTo>
                  <a:lnTo>
                    <a:pt x="111" y="106"/>
                  </a:lnTo>
                  <a:lnTo>
                    <a:pt x="123" y="106"/>
                  </a:lnTo>
                  <a:lnTo>
                    <a:pt x="140" y="108"/>
                  </a:lnTo>
                  <a:lnTo>
                    <a:pt x="152" y="110"/>
                  </a:lnTo>
                  <a:lnTo>
                    <a:pt x="162" y="114"/>
                  </a:lnTo>
                  <a:lnTo>
                    <a:pt x="172" y="116"/>
                  </a:lnTo>
                  <a:lnTo>
                    <a:pt x="185" y="125"/>
                  </a:lnTo>
                  <a:lnTo>
                    <a:pt x="187" y="125"/>
                  </a:lnTo>
                  <a:lnTo>
                    <a:pt x="185" y="123"/>
                  </a:lnTo>
                  <a:lnTo>
                    <a:pt x="185" y="123"/>
                  </a:lnTo>
                  <a:lnTo>
                    <a:pt x="185" y="123"/>
                  </a:lnTo>
                  <a:lnTo>
                    <a:pt x="187" y="123"/>
                  </a:lnTo>
                  <a:lnTo>
                    <a:pt x="187" y="123"/>
                  </a:lnTo>
                  <a:lnTo>
                    <a:pt x="185" y="120"/>
                  </a:lnTo>
                  <a:lnTo>
                    <a:pt x="183" y="120"/>
                  </a:lnTo>
                  <a:lnTo>
                    <a:pt x="183" y="118"/>
                  </a:lnTo>
                  <a:lnTo>
                    <a:pt x="185" y="116"/>
                  </a:lnTo>
                  <a:lnTo>
                    <a:pt x="183" y="114"/>
                  </a:lnTo>
                  <a:lnTo>
                    <a:pt x="181" y="114"/>
                  </a:lnTo>
                  <a:lnTo>
                    <a:pt x="181" y="114"/>
                  </a:lnTo>
                  <a:lnTo>
                    <a:pt x="178" y="112"/>
                  </a:lnTo>
                  <a:lnTo>
                    <a:pt x="176" y="114"/>
                  </a:lnTo>
                  <a:lnTo>
                    <a:pt x="174" y="114"/>
                  </a:lnTo>
                  <a:lnTo>
                    <a:pt x="174" y="114"/>
                  </a:lnTo>
                  <a:lnTo>
                    <a:pt x="172" y="114"/>
                  </a:lnTo>
                  <a:lnTo>
                    <a:pt x="172" y="112"/>
                  </a:lnTo>
                  <a:lnTo>
                    <a:pt x="172" y="110"/>
                  </a:lnTo>
                  <a:lnTo>
                    <a:pt x="174" y="108"/>
                  </a:lnTo>
                  <a:lnTo>
                    <a:pt x="176" y="108"/>
                  </a:lnTo>
                  <a:lnTo>
                    <a:pt x="178" y="108"/>
                  </a:lnTo>
                  <a:lnTo>
                    <a:pt x="178" y="106"/>
                  </a:lnTo>
                  <a:lnTo>
                    <a:pt x="181" y="104"/>
                  </a:lnTo>
                  <a:lnTo>
                    <a:pt x="183" y="106"/>
                  </a:lnTo>
                  <a:lnTo>
                    <a:pt x="183" y="108"/>
                  </a:lnTo>
                  <a:lnTo>
                    <a:pt x="185" y="110"/>
                  </a:lnTo>
                  <a:lnTo>
                    <a:pt x="185" y="112"/>
                  </a:lnTo>
                  <a:lnTo>
                    <a:pt x="185" y="112"/>
                  </a:lnTo>
                  <a:lnTo>
                    <a:pt x="187" y="110"/>
                  </a:lnTo>
                  <a:lnTo>
                    <a:pt x="187" y="110"/>
                  </a:lnTo>
                  <a:lnTo>
                    <a:pt x="187" y="108"/>
                  </a:lnTo>
                  <a:lnTo>
                    <a:pt x="189" y="108"/>
                  </a:lnTo>
                  <a:lnTo>
                    <a:pt x="191" y="108"/>
                  </a:lnTo>
                  <a:lnTo>
                    <a:pt x="191" y="108"/>
                  </a:lnTo>
                  <a:lnTo>
                    <a:pt x="191" y="108"/>
                  </a:lnTo>
                  <a:lnTo>
                    <a:pt x="193" y="108"/>
                  </a:lnTo>
                  <a:lnTo>
                    <a:pt x="195" y="102"/>
                  </a:lnTo>
                  <a:lnTo>
                    <a:pt x="195" y="102"/>
                  </a:lnTo>
                  <a:lnTo>
                    <a:pt x="197" y="102"/>
                  </a:lnTo>
                  <a:lnTo>
                    <a:pt x="197" y="104"/>
                  </a:lnTo>
                  <a:lnTo>
                    <a:pt x="199" y="106"/>
                  </a:lnTo>
                  <a:lnTo>
                    <a:pt x="197" y="106"/>
                  </a:lnTo>
                  <a:lnTo>
                    <a:pt x="195" y="110"/>
                  </a:lnTo>
                  <a:lnTo>
                    <a:pt x="191" y="110"/>
                  </a:lnTo>
                  <a:lnTo>
                    <a:pt x="191" y="110"/>
                  </a:lnTo>
                  <a:lnTo>
                    <a:pt x="187" y="116"/>
                  </a:lnTo>
                  <a:lnTo>
                    <a:pt x="185" y="118"/>
                  </a:lnTo>
                  <a:lnTo>
                    <a:pt x="187" y="118"/>
                  </a:lnTo>
                  <a:lnTo>
                    <a:pt x="187" y="118"/>
                  </a:lnTo>
                  <a:lnTo>
                    <a:pt x="187" y="120"/>
                  </a:lnTo>
                  <a:lnTo>
                    <a:pt x="191" y="120"/>
                  </a:lnTo>
                  <a:lnTo>
                    <a:pt x="193" y="120"/>
                  </a:lnTo>
                  <a:lnTo>
                    <a:pt x="193" y="123"/>
                  </a:lnTo>
                  <a:lnTo>
                    <a:pt x="195" y="123"/>
                  </a:lnTo>
                  <a:lnTo>
                    <a:pt x="197" y="123"/>
                  </a:lnTo>
                  <a:lnTo>
                    <a:pt x="199" y="125"/>
                  </a:lnTo>
                  <a:lnTo>
                    <a:pt x="201" y="125"/>
                  </a:lnTo>
                  <a:lnTo>
                    <a:pt x="201" y="125"/>
                  </a:lnTo>
                  <a:lnTo>
                    <a:pt x="201" y="125"/>
                  </a:lnTo>
                  <a:lnTo>
                    <a:pt x="201" y="123"/>
                  </a:lnTo>
                  <a:lnTo>
                    <a:pt x="201" y="123"/>
                  </a:lnTo>
                  <a:lnTo>
                    <a:pt x="203" y="123"/>
                  </a:lnTo>
                  <a:lnTo>
                    <a:pt x="203" y="123"/>
                  </a:lnTo>
                  <a:lnTo>
                    <a:pt x="205" y="120"/>
                  </a:lnTo>
                  <a:lnTo>
                    <a:pt x="207" y="120"/>
                  </a:lnTo>
                  <a:lnTo>
                    <a:pt x="207" y="120"/>
                  </a:lnTo>
                  <a:lnTo>
                    <a:pt x="205" y="123"/>
                  </a:lnTo>
                  <a:lnTo>
                    <a:pt x="205" y="125"/>
                  </a:lnTo>
                  <a:lnTo>
                    <a:pt x="207" y="125"/>
                  </a:lnTo>
                  <a:lnTo>
                    <a:pt x="207" y="125"/>
                  </a:lnTo>
                  <a:lnTo>
                    <a:pt x="209" y="127"/>
                  </a:lnTo>
                  <a:lnTo>
                    <a:pt x="209" y="129"/>
                  </a:lnTo>
                  <a:lnTo>
                    <a:pt x="209" y="131"/>
                  </a:lnTo>
                  <a:lnTo>
                    <a:pt x="211" y="131"/>
                  </a:lnTo>
                  <a:lnTo>
                    <a:pt x="211" y="131"/>
                  </a:lnTo>
                  <a:lnTo>
                    <a:pt x="213" y="129"/>
                  </a:lnTo>
                  <a:lnTo>
                    <a:pt x="213" y="127"/>
                  </a:lnTo>
                  <a:lnTo>
                    <a:pt x="213" y="129"/>
                  </a:lnTo>
                  <a:lnTo>
                    <a:pt x="213" y="129"/>
                  </a:lnTo>
                  <a:lnTo>
                    <a:pt x="213" y="129"/>
                  </a:lnTo>
                  <a:lnTo>
                    <a:pt x="215" y="129"/>
                  </a:lnTo>
                  <a:lnTo>
                    <a:pt x="217" y="129"/>
                  </a:lnTo>
                  <a:lnTo>
                    <a:pt x="217" y="129"/>
                  </a:lnTo>
                  <a:lnTo>
                    <a:pt x="217" y="131"/>
                  </a:lnTo>
                  <a:lnTo>
                    <a:pt x="217" y="131"/>
                  </a:lnTo>
                  <a:lnTo>
                    <a:pt x="215" y="131"/>
                  </a:lnTo>
                  <a:lnTo>
                    <a:pt x="215" y="133"/>
                  </a:lnTo>
                  <a:lnTo>
                    <a:pt x="213" y="133"/>
                  </a:lnTo>
                  <a:lnTo>
                    <a:pt x="209" y="133"/>
                  </a:lnTo>
                  <a:lnTo>
                    <a:pt x="207" y="131"/>
                  </a:lnTo>
                  <a:lnTo>
                    <a:pt x="205" y="129"/>
                  </a:lnTo>
                  <a:lnTo>
                    <a:pt x="203" y="127"/>
                  </a:lnTo>
                  <a:lnTo>
                    <a:pt x="197" y="127"/>
                  </a:lnTo>
                  <a:lnTo>
                    <a:pt x="197" y="125"/>
                  </a:lnTo>
                  <a:lnTo>
                    <a:pt x="191" y="123"/>
                  </a:lnTo>
                  <a:lnTo>
                    <a:pt x="189" y="125"/>
                  </a:lnTo>
                  <a:lnTo>
                    <a:pt x="191" y="125"/>
                  </a:lnTo>
                  <a:lnTo>
                    <a:pt x="197" y="129"/>
                  </a:lnTo>
                  <a:lnTo>
                    <a:pt x="197" y="129"/>
                  </a:lnTo>
                  <a:lnTo>
                    <a:pt x="211" y="137"/>
                  </a:lnTo>
                  <a:lnTo>
                    <a:pt x="209" y="137"/>
                  </a:lnTo>
                  <a:lnTo>
                    <a:pt x="207" y="137"/>
                  </a:lnTo>
                  <a:lnTo>
                    <a:pt x="203" y="135"/>
                  </a:lnTo>
                  <a:lnTo>
                    <a:pt x="203" y="133"/>
                  </a:lnTo>
                  <a:lnTo>
                    <a:pt x="201" y="133"/>
                  </a:lnTo>
                  <a:lnTo>
                    <a:pt x="203" y="135"/>
                  </a:lnTo>
                  <a:lnTo>
                    <a:pt x="203" y="135"/>
                  </a:lnTo>
                  <a:lnTo>
                    <a:pt x="203" y="135"/>
                  </a:lnTo>
                  <a:lnTo>
                    <a:pt x="203" y="137"/>
                  </a:lnTo>
                  <a:lnTo>
                    <a:pt x="207" y="139"/>
                  </a:lnTo>
                  <a:lnTo>
                    <a:pt x="217" y="141"/>
                  </a:lnTo>
                  <a:lnTo>
                    <a:pt x="219" y="143"/>
                  </a:lnTo>
                  <a:lnTo>
                    <a:pt x="221" y="145"/>
                  </a:lnTo>
                  <a:lnTo>
                    <a:pt x="224" y="145"/>
                  </a:lnTo>
                  <a:lnTo>
                    <a:pt x="224" y="147"/>
                  </a:lnTo>
                  <a:lnTo>
                    <a:pt x="226" y="149"/>
                  </a:lnTo>
                  <a:lnTo>
                    <a:pt x="228" y="153"/>
                  </a:lnTo>
                  <a:lnTo>
                    <a:pt x="230" y="155"/>
                  </a:lnTo>
                  <a:lnTo>
                    <a:pt x="230" y="164"/>
                  </a:lnTo>
                  <a:lnTo>
                    <a:pt x="230" y="164"/>
                  </a:lnTo>
                  <a:lnTo>
                    <a:pt x="232" y="164"/>
                  </a:lnTo>
                  <a:lnTo>
                    <a:pt x="230" y="166"/>
                  </a:lnTo>
                  <a:lnTo>
                    <a:pt x="230" y="166"/>
                  </a:lnTo>
                  <a:lnTo>
                    <a:pt x="228" y="168"/>
                  </a:lnTo>
                  <a:lnTo>
                    <a:pt x="228" y="168"/>
                  </a:lnTo>
                  <a:lnTo>
                    <a:pt x="226" y="168"/>
                  </a:lnTo>
                  <a:lnTo>
                    <a:pt x="224" y="164"/>
                  </a:lnTo>
                  <a:lnTo>
                    <a:pt x="221" y="161"/>
                  </a:lnTo>
                  <a:lnTo>
                    <a:pt x="221" y="159"/>
                  </a:lnTo>
                  <a:lnTo>
                    <a:pt x="221" y="157"/>
                  </a:lnTo>
                  <a:lnTo>
                    <a:pt x="219" y="149"/>
                  </a:lnTo>
                  <a:lnTo>
                    <a:pt x="219" y="149"/>
                  </a:lnTo>
                  <a:lnTo>
                    <a:pt x="219" y="151"/>
                  </a:lnTo>
                  <a:lnTo>
                    <a:pt x="219" y="155"/>
                  </a:lnTo>
                  <a:lnTo>
                    <a:pt x="221" y="166"/>
                  </a:lnTo>
                  <a:lnTo>
                    <a:pt x="224" y="166"/>
                  </a:lnTo>
                  <a:lnTo>
                    <a:pt x="226" y="168"/>
                  </a:lnTo>
                  <a:lnTo>
                    <a:pt x="228" y="168"/>
                  </a:lnTo>
                  <a:lnTo>
                    <a:pt x="230" y="166"/>
                  </a:lnTo>
                  <a:lnTo>
                    <a:pt x="232" y="166"/>
                  </a:lnTo>
                  <a:lnTo>
                    <a:pt x="234" y="166"/>
                  </a:lnTo>
                  <a:lnTo>
                    <a:pt x="236" y="166"/>
                  </a:lnTo>
                  <a:lnTo>
                    <a:pt x="248" y="161"/>
                  </a:lnTo>
                  <a:lnTo>
                    <a:pt x="250" y="159"/>
                  </a:lnTo>
                  <a:lnTo>
                    <a:pt x="258" y="159"/>
                  </a:lnTo>
                  <a:lnTo>
                    <a:pt x="260" y="159"/>
                  </a:lnTo>
                  <a:lnTo>
                    <a:pt x="260" y="155"/>
                  </a:lnTo>
                  <a:lnTo>
                    <a:pt x="262" y="155"/>
                  </a:lnTo>
                  <a:lnTo>
                    <a:pt x="265" y="153"/>
                  </a:lnTo>
                  <a:lnTo>
                    <a:pt x="267" y="151"/>
                  </a:lnTo>
                  <a:lnTo>
                    <a:pt x="267" y="151"/>
                  </a:lnTo>
                  <a:lnTo>
                    <a:pt x="269" y="149"/>
                  </a:lnTo>
                  <a:lnTo>
                    <a:pt x="269" y="149"/>
                  </a:lnTo>
                  <a:lnTo>
                    <a:pt x="271" y="149"/>
                  </a:lnTo>
                  <a:lnTo>
                    <a:pt x="269" y="155"/>
                  </a:lnTo>
                  <a:lnTo>
                    <a:pt x="269" y="155"/>
                  </a:lnTo>
                  <a:lnTo>
                    <a:pt x="269" y="157"/>
                  </a:lnTo>
                  <a:lnTo>
                    <a:pt x="271" y="157"/>
                  </a:lnTo>
                  <a:lnTo>
                    <a:pt x="271" y="155"/>
                  </a:lnTo>
                  <a:lnTo>
                    <a:pt x="273" y="155"/>
                  </a:lnTo>
                  <a:lnTo>
                    <a:pt x="275" y="153"/>
                  </a:lnTo>
                  <a:lnTo>
                    <a:pt x="275" y="153"/>
                  </a:lnTo>
                  <a:lnTo>
                    <a:pt x="277" y="151"/>
                  </a:lnTo>
                  <a:lnTo>
                    <a:pt x="279" y="149"/>
                  </a:lnTo>
                  <a:lnTo>
                    <a:pt x="281" y="149"/>
                  </a:lnTo>
                  <a:lnTo>
                    <a:pt x="283" y="149"/>
                  </a:lnTo>
                  <a:lnTo>
                    <a:pt x="287" y="143"/>
                  </a:lnTo>
                  <a:lnTo>
                    <a:pt x="289" y="141"/>
                  </a:lnTo>
                  <a:lnTo>
                    <a:pt x="293" y="139"/>
                  </a:lnTo>
                  <a:lnTo>
                    <a:pt x="297" y="135"/>
                  </a:lnTo>
                  <a:lnTo>
                    <a:pt x="301" y="131"/>
                  </a:lnTo>
                  <a:lnTo>
                    <a:pt x="303" y="133"/>
                  </a:lnTo>
                  <a:lnTo>
                    <a:pt x="303" y="133"/>
                  </a:lnTo>
                  <a:lnTo>
                    <a:pt x="305" y="131"/>
                  </a:lnTo>
                  <a:lnTo>
                    <a:pt x="308" y="131"/>
                  </a:lnTo>
                  <a:lnTo>
                    <a:pt x="312" y="131"/>
                  </a:lnTo>
                  <a:lnTo>
                    <a:pt x="316" y="131"/>
                  </a:lnTo>
                  <a:lnTo>
                    <a:pt x="316" y="133"/>
                  </a:lnTo>
                  <a:lnTo>
                    <a:pt x="316" y="133"/>
                  </a:lnTo>
                  <a:lnTo>
                    <a:pt x="314" y="133"/>
                  </a:lnTo>
                  <a:lnTo>
                    <a:pt x="316" y="131"/>
                  </a:lnTo>
                  <a:lnTo>
                    <a:pt x="318" y="129"/>
                  </a:lnTo>
                  <a:lnTo>
                    <a:pt x="316" y="127"/>
                  </a:lnTo>
                  <a:lnTo>
                    <a:pt x="314" y="127"/>
                  </a:lnTo>
                  <a:lnTo>
                    <a:pt x="308" y="127"/>
                  </a:lnTo>
                  <a:lnTo>
                    <a:pt x="308" y="127"/>
                  </a:lnTo>
                  <a:lnTo>
                    <a:pt x="305" y="125"/>
                  </a:lnTo>
                  <a:lnTo>
                    <a:pt x="305" y="125"/>
                  </a:lnTo>
                  <a:lnTo>
                    <a:pt x="303" y="125"/>
                  </a:lnTo>
                  <a:lnTo>
                    <a:pt x="305" y="123"/>
                  </a:lnTo>
                  <a:lnTo>
                    <a:pt x="308" y="123"/>
                  </a:lnTo>
                  <a:lnTo>
                    <a:pt x="310" y="123"/>
                  </a:lnTo>
                  <a:lnTo>
                    <a:pt x="312" y="125"/>
                  </a:lnTo>
                  <a:lnTo>
                    <a:pt x="314" y="125"/>
                  </a:lnTo>
                  <a:lnTo>
                    <a:pt x="316" y="125"/>
                  </a:lnTo>
                  <a:lnTo>
                    <a:pt x="316" y="125"/>
                  </a:lnTo>
                  <a:lnTo>
                    <a:pt x="314" y="123"/>
                  </a:lnTo>
                  <a:lnTo>
                    <a:pt x="314" y="120"/>
                  </a:lnTo>
                  <a:lnTo>
                    <a:pt x="314" y="123"/>
                  </a:lnTo>
                  <a:lnTo>
                    <a:pt x="312" y="123"/>
                  </a:lnTo>
                  <a:lnTo>
                    <a:pt x="312" y="123"/>
                  </a:lnTo>
                  <a:lnTo>
                    <a:pt x="312" y="123"/>
                  </a:lnTo>
                  <a:lnTo>
                    <a:pt x="312" y="120"/>
                  </a:lnTo>
                  <a:lnTo>
                    <a:pt x="312" y="120"/>
                  </a:lnTo>
                  <a:lnTo>
                    <a:pt x="312" y="120"/>
                  </a:lnTo>
                  <a:lnTo>
                    <a:pt x="312" y="120"/>
                  </a:lnTo>
                  <a:lnTo>
                    <a:pt x="312" y="118"/>
                  </a:lnTo>
                  <a:lnTo>
                    <a:pt x="312" y="118"/>
                  </a:lnTo>
                  <a:lnTo>
                    <a:pt x="312" y="118"/>
                  </a:lnTo>
                  <a:lnTo>
                    <a:pt x="312" y="118"/>
                  </a:lnTo>
                  <a:lnTo>
                    <a:pt x="312" y="118"/>
                  </a:lnTo>
                  <a:lnTo>
                    <a:pt x="312" y="116"/>
                  </a:lnTo>
                  <a:lnTo>
                    <a:pt x="314" y="116"/>
                  </a:lnTo>
                  <a:lnTo>
                    <a:pt x="316" y="114"/>
                  </a:lnTo>
                  <a:lnTo>
                    <a:pt x="318" y="114"/>
                  </a:lnTo>
                  <a:lnTo>
                    <a:pt x="320" y="114"/>
                  </a:lnTo>
                  <a:lnTo>
                    <a:pt x="320" y="112"/>
                  </a:lnTo>
                  <a:lnTo>
                    <a:pt x="320" y="112"/>
                  </a:lnTo>
                  <a:lnTo>
                    <a:pt x="322" y="110"/>
                  </a:lnTo>
                  <a:lnTo>
                    <a:pt x="322" y="110"/>
                  </a:lnTo>
                  <a:lnTo>
                    <a:pt x="322" y="110"/>
                  </a:lnTo>
                  <a:lnTo>
                    <a:pt x="322" y="110"/>
                  </a:lnTo>
                  <a:lnTo>
                    <a:pt x="324" y="110"/>
                  </a:lnTo>
                  <a:lnTo>
                    <a:pt x="322" y="110"/>
                  </a:lnTo>
                  <a:lnTo>
                    <a:pt x="324" y="110"/>
                  </a:lnTo>
                  <a:lnTo>
                    <a:pt x="326" y="110"/>
                  </a:lnTo>
                  <a:lnTo>
                    <a:pt x="326" y="108"/>
                  </a:lnTo>
                  <a:lnTo>
                    <a:pt x="326" y="108"/>
                  </a:lnTo>
                  <a:lnTo>
                    <a:pt x="326" y="108"/>
                  </a:lnTo>
                  <a:lnTo>
                    <a:pt x="328" y="108"/>
                  </a:lnTo>
                  <a:lnTo>
                    <a:pt x="328" y="108"/>
                  </a:lnTo>
                  <a:lnTo>
                    <a:pt x="328" y="108"/>
                  </a:lnTo>
                  <a:lnTo>
                    <a:pt x="328" y="108"/>
                  </a:lnTo>
                  <a:lnTo>
                    <a:pt x="328" y="110"/>
                  </a:lnTo>
                  <a:lnTo>
                    <a:pt x="330" y="110"/>
                  </a:lnTo>
                  <a:lnTo>
                    <a:pt x="330" y="110"/>
                  </a:lnTo>
                  <a:lnTo>
                    <a:pt x="332" y="108"/>
                  </a:lnTo>
                  <a:lnTo>
                    <a:pt x="338" y="108"/>
                  </a:lnTo>
                  <a:lnTo>
                    <a:pt x="342" y="106"/>
                  </a:lnTo>
                  <a:lnTo>
                    <a:pt x="344" y="106"/>
                  </a:lnTo>
                  <a:lnTo>
                    <a:pt x="351" y="110"/>
                  </a:lnTo>
                  <a:lnTo>
                    <a:pt x="361" y="114"/>
                  </a:lnTo>
                  <a:lnTo>
                    <a:pt x="365" y="116"/>
                  </a:lnTo>
                  <a:lnTo>
                    <a:pt x="367" y="114"/>
                  </a:lnTo>
                  <a:lnTo>
                    <a:pt x="369" y="116"/>
                  </a:lnTo>
                  <a:lnTo>
                    <a:pt x="371" y="118"/>
                  </a:lnTo>
                  <a:lnTo>
                    <a:pt x="373" y="118"/>
                  </a:lnTo>
                  <a:lnTo>
                    <a:pt x="373" y="118"/>
                  </a:lnTo>
                  <a:lnTo>
                    <a:pt x="377" y="120"/>
                  </a:lnTo>
                  <a:lnTo>
                    <a:pt x="379" y="123"/>
                  </a:lnTo>
                  <a:lnTo>
                    <a:pt x="379" y="123"/>
                  </a:lnTo>
                  <a:lnTo>
                    <a:pt x="383" y="127"/>
                  </a:lnTo>
                  <a:lnTo>
                    <a:pt x="385" y="129"/>
                  </a:lnTo>
                  <a:lnTo>
                    <a:pt x="385" y="129"/>
                  </a:lnTo>
                  <a:lnTo>
                    <a:pt x="387" y="129"/>
                  </a:lnTo>
                  <a:lnTo>
                    <a:pt x="387" y="129"/>
                  </a:lnTo>
                  <a:lnTo>
                    <a:pt x="387" y="131"/>
                  </a:lnTo>
                  <a:lnTo>
                    <a:pt x="389" y="133"/>
                  </a:lnTo>
                  <a:lnTo>
                    <a:pt x="389" y="135"/>
                  </a:lnTo>
                  <a:lnTo>
                    <a:pt x="389" y="137"/>
                  </a:lnTo>
                  <a:lnTo>
                    <a:pt x="391" y="137"/>
                  </a:lnTo>
                  <a:lnTo>
                    <a:pt x="394" y="139"/>
                  </a:lnTo>
                  <a:lnTo>
                    <a:pt x="396" y="141"/>
                  </a:lnTo>
                  <a:lnTo>
                    <a:pt x="400" y="141"/>
                  </a:lnTo>
                  <a:lnTo>
                    <a:pt x="400" y="141"/>
                  </a:lnTo>
                  <a:lnTo>
                    <a:pt x="402" y="143"/>
                  </a:lnTo>
                  <a:lnTo>
                    <a:pt x="402" y="143"/>
                  </a:lnTo>
                  <a:lnTo>
                    <a:pt x="404" y="143"/>
                  </a:lnTo>
                  <a:lnTo>
                    <a:pt x="406" y="143"/>
                  </a:lnTo>
                  <a:lnTo>
                    <a:pt x="408" y="143"/>
                  </a:lnTo>
                  <a:lnTo>
                    <a:pt x="408" y="145"/>
                  </a:lnTo>
                  <a:lnTo>
                    <a:pt x="410" y="147"/>
                  </a:lnTo>
                  <a:lnTo>
                    <a:pt x="410" y="149"/>
                  </a:lnTo>
                  <a:lnTo>
                    <a:pt x="410" y="151"/>
                  </a:lnTo>
                  <a:lnTo>
                    <a:pt x="408" y="153"/>
                  </a:lnTo>
                  <a:lnTo>
                    <a:pt x="410" y="155"/>
                  </a:lnTo>
                  <a:lnTo>
                    <a:pt x="410" y="155"/>
                  </a:lnTo>
                  <a:lnTo>
                    <a:pt x="410" y="157"/>
                  </a:lnTo>
                  <a:lnTo>
                    <a:pt x="410" y="159"/>
                  </a:lnTo>
                  <a:lnTo>
                    <a:pt x="412" y="159"/>
                  </a:lnTo>
                  <a:lnTo>
                    <a:pt x="414" y="159"/>
                  </a:lnTo>
                  <a:lnTo>
                    <a:pt x="414" y="159"/>
                  </a:lnTo>
                  <a:lnTo>
                    <a:pt x="420" y="166"/>
                  </a:lnTo>
                  <a:lnTo>
                    <a:pt x="422" y="166"/>
                  </a:lnTo>
                  <a:lnTo>
                    <a:pt x="426" y="166"/>
                  </a:lnTo>
                  <a:lnTo>
                    <a:pt x="428" y="168"/>
                  </a:lnTo>
                  <a:lnTo>
                    <a:pt x="430" y="170"/>
                  </a:lnTo>
                  <a:lnTo>
                    <a:pt x="432" y="172"/>
                  </a:lnTo>
                  <a:lnTo>
                    <a:pt x="434" y="176"/>
                  </a:lnTo>
                  <a:lnTo>
                    <a:pt x="434" y="176"/>
                  </a:lnTo>
                  <a:lnTo>
                    <a:pt x="437" y="178"/>
                  </a:lnTo>
                  <a:lnTo>
                    <a:pt x="437" y="178"/>
                  </a:lnTo>
                  <a:lnTo>
                    <a:pt x="437" y="180"/>
                  </a:lnTo>
                  <a:lnTo>
                    <a:pt x="437" y="180"/>
                  </a:lnTo>
                  <a:lnTo>
                    <a:pt x="439" y="180"/>
                  </a:lnTo>
                  <a:lnTo>
                    <a:pt x="441" y="182"/>
                  </a:lnTo>
                  <a:lnTo>
                    <a:pt x="443" y="182"/>
                  </a:lnTo>
                  <a:lnTo>
                    <a:pt x="445" y="182"/>
                  </a:lnTo>
                  <a:lnTo>
                    <a:pt x="445" y="182"/>
                  </a:lnTo>
                  <a:lnTo>
                    <a:pt x="447" y="184"/>
                  </a:lnTo>
                  <a:lnTo>
                    <a:pt x="447" y="184"/>
                  </a:lnTo>
                  <a:lnTo>
                    <a:pt x="445" y="186"/>
                  </a:lnTo>
                  <a:lnTo>
                    <a:pt x="447" y="188"/>
                  </a:lnTo>
                  <a:lnTo>
                    <a:pt x="447" y="188"/>
                  </a:lnTo>
                  <a:lnTo>
                    <a:pt x="449" y="188"/>
                  </a:lnTo>
                  <a:lnTo>
                    <a:pt x="449" y="188"/>
                  </a:lnTo>
                  <a:lnTo>
                    <a:pt x="449" y="190"/>
                  </a:lnTo>
                  <a:lnTo>
                    <a:pt x="449" y="190"/>
                  </a:lnTo>
                  <a:lnTo>
                    <a:pt x="451" y="190"/>
                  </a:lnTo>
                  <a:lnTo>
                    <a:pt x="453" y="190"/>
                  </a:lnTo>
                  <a:lnTo>
                    <a:pt x="453" y="190"/>
                  </a:lnTo>
                  <a:lnTo>
                    <a:pt x="455" y="190"/>
                  </a:lnTo>
                  <a:lnTo>
                    <a:pt x="455" y="190"/>
                  </a:lnTo>
                  <a:lnTo>
                    <a:pt x="459" y="188"/>
                  </a:lnTo>
                  <a:lnTo>
                    <a:pt x="459" y="188"/>
                  </a:lnTo>
                  <a:lnTo>
                    <a:pt x="461" y="188"/>
                  </a:lnTo>
                  <a:lnTo>
                    <a:pt x="463" y="190"/>
                  </a:lnTo>
                  <a:lnTo>
                    <a:pt x="465" y="190"/>
                  </a:lnTo>
                  <a:lnTo>
                    <a:pt x="467" y="188"/>
                  </a:lnTo>
                  <a:lnTo>
                    <a:pt x="467" y="188"/>
                  </a:lnTo>
                  <a:lnTo>
                    <a:pt x="469" y="190"/>
                  </a:lnTo>
                  <a:lnTo>
                    <a:pt x="469" y="190"/>
                  </a:lnTo>
                  <a:lnTo>
                    <a:pt x="469" y="188"/>
                  </a:lnTo>
                  <a:lnTo>
                    <a:pt x="471" y="188"/>
                  </a:lnTo>
                  <a:lnTo>
                    <a:pt x="471" y="190"/>
                  </a:lnTo>
                  <a:lnTo>
                    <a:pt x="473" y="192"/>
                  </a:lnTo>
                  <a:lnTo>
                    <a:pt x="473" y="192"/>
                  </a:lnTo>
                  <a:lnTo>
                    <a:pt x="475" y="194"/>
                  </a:lnTo>
                  <a:lnTo>
                    <a:pt x="473" y="194"/>
                  </a:lnTo>
                  <a:lnTo>
                    <a:pt x="475" y="196"/>
                  </a:lnTo>
                  <a:lnTo>
                    <a:pt x="480" y="198"/>
                  </a:lnTo>
                  <a:lnTo>
                    <a:pt x="480" y="198"/>
                  </a:lnTo>
                  <a:lnTo>
                    <a:pt x="480" y="202"/>
                  </a:lnTo>
                  <a:lnTo>
                    <a:pt x="480" y="204"/>
                  </a:lnTo>
                  <a:lnTo>
                    <a:pt x="480" y="204"/>
                  </a:lnTo>
                  <a:lnTo>
                    <a:pt x="480" y="204"/>
                  </a:lnTo>
                  <a:lnTo>
                    <a:pt x="482" y="207"/>
                  </a:lnTo>
                  <a:lnTo>
                    <a:pt x="482" y="207"/>
                  </a:lnTo>
                  <a:lnTo>
                    <a:pt x="482" y="209"/>
                  </a:lnTo>
                  <a:lnTo>
                    <a:pt x="482" y="211"/>
                  </a:lnTo>
                  <a:lnTo>
                    <a:pt x="488" y="215"/>
                  </a:lnTo>
                  <a:lnTo>
                    <a:pt x="488" y="215"/>
                  </a:lnTo>
                  <a:lnTo>
                    <a:pt x="488" y="215"/>
                  </a:lnTo>
                  <a:lnTo>
                    <a:pt x="490" y="215"/>
                  </a:lnTo>
                  <a:lnTo>
                    <a:pt x="492" y="215"/>
                  </a:lnTo>
                  <a:lnTo>
                    <a:pt x="492" y="217"/>
                  </a:lnTo>
                  <a:lnTo>
                    <a:pt x="492" y="217"/>
                  </a:lnTo>
                  <a:lnTo>
                    <a:pt x="494" y="223"/>
                  </a:lnTo>
                  <a:lnTo>
                    <a:pt x="494" y="223"/>
                  </a:lnTo>
                  <a:lnTo>
                    <a:pt x="494" y="227"/>
                  </a:lnTo>
                  <a:lnTo>
                    <a:pt x="492" y="225"/>
                  </a:lnTo>
                  <a:lnTo>
                    <a:pt x="490" y="223"/>
                  </a:lnTo>
                  <a:lnTo>
                    <a:pt x="490" y="225"/>
                  </a:lnTo>
                  <a:lnTo>
                    <a:pt x="490" y="227"/>
                  </a:lnTo>
                  <a:lnTo>
                    <a:pt x="492" y="229"/>
                  </a:lnTo>
                  <a:lnTo>
                    <a:pt x="492" y="229"/>
                  </a:lnTo>
                  <a:lnTo>
                    <a:pt x="492" y="231"/>
                  </a:lnTo>
                  <a:lnTo>
                    <a:pt x="494" y="231"/>
                  </a:lnTo>
                  <a:lnTo>
                    <a:pt x="494" y="231"/>
                  </a:lnTo>
                  <a:lnTo>
                    <a:pt x="494" y="231"/>
                  </a:lnTo>
                  <a:lnTo>
                    <a:pt x="496" y="235"/>
                  </a:lnTo>
                  <a:lnTo>
                    <a:pt x="496" y="235"/>
                  </a:lnTo>
                  <a:lnTo>
                    <a:pt x="496" y="237"/>
                  </a:lnTo>
                  <a:lnTo>
                    <a:pt x="496" y="237"/>
                  </a:lnTo>
                  <a:lnTo>
                    <a:pt x="496" y="239"/>
                  </a:lnTo>
                  <a:lnTo>
                    <a:pt x="496" y="239"/>
                  </a:lnTo>
                  <a:lnTo>
                    <a:pt x="496" y="239"/>
                  </a:lnTo>
                  <a:lnTo>
                    <a:pt x="496" y="241"/>
                  </a:lnTo>
                  <a:lnTo>
                    <a:pt x="496" y="241"/>
                  </a:lnTo>
                  <a:lnTo>
                    <a:pt x="496" y="243"/>
                  </a:lnTo>
                  <a:lnTo>
                    <a:pt x="496" y="254"/>
                  </a:lnTo>
                  <a:lnTo>
                    <a:pt x="496" y="256"/>
                  </a:lnTo>
                  <a:lnTo>
                    <a:pt x="496" y="258"/>
                  </a:lnTo>
                  <a:lnTo>
                    <a:pt x="496" y="264"/>
                  </a:lnTo>
                  <a:lnTo>
                    <a:pt x="496" y="268"/>
                  </a:lnTo>
                  <a:lnTo>
                    <a:pt x="496" y="268"/>
                  </a:lnTo>
                  <a:lnTo>
                    <a:pt x="496" y="268"/>
                  </a:lnTo>
                  <a:lnTo>
                    <a:pt x="494" y="270"/>
                  </a:lnTo>
                  <a:lnTo>
                    <a:pt x="492" y="280"/>
                  </a:lnTo>
                  <a:lnTo>
                    <a:pt x="494" y="278"/>
                  </a:lnTo>
                  <a:lnTo>
                    <a:pt x="494" y="278"/>
                  </a:lnTo>
                  <a:lnTo>
                    <a:pt x="494" y="278"/>
                  </a:lnTo>
                  <a:lnTo>
                    <a:pt x="494" y="280"/>
                  </a:lnTo>
                  <a:lnTo>
                    <a:pt x="494" y="282"/>
                  </a:lnTo>
                  <a:lnTo>
                    <a:pt x="492" y="284"/>
                  </a:lnTo>
                  <a:lnTo>
                    <a:pt x="492" y="289"/>
                  </a:lnTo>
                  <a:lnTo>
                    <a:pt x="492" y="289"/>
                  </a:lnTo>
                  <a:lnTo>
                    <a:pt x="490" y="291"/>
                  </a:lnTo>
                  <a:lnTo>
                    <a:pt x="490" y="291"/>
                  </a:lnTo>
                  <a:lnTo>
                    <a:pt x="490" y="293"/>
                  </a:lnTo>
                  <a:lnTo>
                    <a:pt x="490" y="295"/>
                  </a:lnTo>
                  <a:lnTo>
                    <a:pt x="490" y="295"/>
                  </a:lnTo>
                  <a:lnTo>
                    <a:pt x="492" y="299"/>
                  </a:lnTo>
                  <a:lnTo>
                    <a:pt x="492" y="301"/>
                  </a:lnTo>
                  <a:lnTo>
                    <a:pt x="494" y="301"/>
                  </a:lnTo>
                  <a:lnTo>
                    <a:pt x="492" y="303"/>
                  </a:lnTo>
                  <a:lnTo>
                    <a:pt x="492" y="303"/>
                  </a:lnTo>
                  <a:lnTo>
                    <a:pt x="492" y="307"/>
                  </a:lnTo>
                  <a:lnTo>
                    <a:pt x="492" y="317"/>
                  </a:lnTo>
                  <a:lnTo>
                    <a:pt x="490" y="325"/>
                  </a:lnTo>
                  <a:lnTo>
                    <a:pt x="490" y="323"/>
                  </a:lnTo>
                  <a:lnTo>
                    <a:pt x="490" y="321"/>
                  </a:lnTo>
                  <a:lnTo>
                    <a:pt x="490" y="321"/>
                  </a:lnTo>
                  <a:lnTo>
                    <a:pt x="490" y="319"/>
                  </a:lnTo>
                  <a:lnTo>
                    <a:pt x="490" y="319"/>
                  </a:lnTo>
                  <a:lnTo>
                    <a:pt x="488" y="321"/>
                  </a:lnTo>
                  <a:lnTo>
                    <a:pt x="488" y="323"/>
                  </a:lnTo>
                  <a:lnTo>
                    <a:pt x="488" y="325"/>
                  </a:lnTo>
                  <a:lnTo>
                    <a:pt x="488" y="327"/>
                  </a:lnTo>
                  <a:lnTo>
                    <a:pt x="490" y="329"/>
                  </a:lnTo>
                  <a:lnTo>
                    <a:pt x="490" y="332"/>
                  </a:lnTo>
                  <a:lnTo>
                    <a:pt x="492" y="334"/>
                  </a:lnTo>
                  <a:lnTo>
                    <a:pt x="498" y="340"/>
                  </a:lnTo>
                  <a:lnTo>
                    <a:pt x="500" y="342"/>
                  </a:lnTo>
                  <a:lnTo>
                    <a:pt x="502" y="344"/>
                  </a:lnTo>
                  <a:lnTo>
                    <a:pt x="502" y="346"/>
                  </a:lnTo>
                  <a:lnTo>
                    <a:pt x="504" y="348"/>
                  </a:lnTo>
                  <a:lnTo>
                    <a:pt x="504" y="348"/>
                  </a:lnTo>
                  <a:lnTo>
                    <a:pt x="504" y="346"/>
                  </a:lnTo>
                  <a:lnTo>
                    <a:pt x="504" y="344"/>
                  </a:lnTo>
                  <a:lnTo>
                    <a:pt x="502" y="342"/>
                  </a:lnTo>
                  <a:lnTo>
                    <a:pt x="500" y="340"/>
                  </a:lnTo>
                  <a:lnTo>
                    <a:pt x="494" y="334"/>
                  </a:lnTo>
                  <a:lnTo>
                    <a:pt x="492" y="334"/>
                  </a:lnTo>
                  <a:lnTo>
                    <a:pt x="494" y="332"/>
                  </a:lnTo>
                  <a:lnTo>
                    <a:pt x="496" y="332"/>
                  </a:lnTo>
                  <a:lnTo>
                    <a:pt x="500" y="336"/>
                  </a:lnTo>
                  <a:lnTo>
                    <a:pt x="502" y="336"/>
                  </a:lnTo>
                  <a:lnTo>
                    <a:pt x="504" y="340"/>
                  </a:lnTo>
                  <a:lnTo>
                    <a:pt x="504" y="340"/>
                  </a:lnTo>
                  <a:lnTo>
                    <a:pt x="506" y="340"/>
                  </a:lnTo>
                  <a:lnTo>
                    <a:pt x="506" y="340"/>
                  </a:lnTo>
                  <a:lnTo>
                    <a:pt x="506" y="342"/>
                  </a:lnTo>
                  <a:lnTo>
                    <a:pt x="508" y="344"/>
                  </a:lnTo>
                  <a:lnTo>
                    <a:pt x="508" y="344"/>
                  </a:lnTo>
                  <a:lnTo>
                    <a:pt x="508" y="344"/>
                  </a:lnTo>
                  <a:lnTo>
                    <a:pt x="510" y="344"/>
                  </a:lnTo>
                  <a:lnTo>
                    <a:pt x="512" y="342"/>
                  </a:lnTo>
                  <a:lnTo>
                    <a:pt x="512" y="340"/>
                  </a:lnTo>
                  <a:lnTo>
                    <a:pt x="512" y="338"/>
                  </a:lnTo>
                  <a:lnTo>
                    <a:pt x="512" y="338"/>
                  </a:lnTo>
                  <a:lnTo>
                    <a:pt x="512" y="334"/>
                  </a:lnTo>
                  <a:lnTo>
                    <a:pt x="512" y="334"/>
                  </a:lnTo>
                  <a:lnTo>
                    <a:pt x="512" y="332"/>
                  </a:lnTo>
                  <a:lnTo>
                    <a:pt x="514" y="329"/>
                  </a:lnTo>
                  <a:lnTo>
                    <a:pt x="514" y="329"/>
                  </a:lnTo>
                  <a:lnTo>
                    <a:pt x="514" y="327"/>
                  </a:lnTo>
                  <a:lnTo>
                    <a:pt x="512" y="325"/>
                  </a:lnTo>
                  <a:lnTo>
                    <a:pt x="512" y="325"/>
                  </a:lnTo>
                  <a:lnTo>
                    <a:pt x="514" y="323"/>
                  </a:lnTo>
                  <a:lnTo>
                    <a:pt x="516" y="321"/>
                  </a:lnTo>
                  <a:lnTo>
                    <a:pt x="512" y="323"/>
                  </a:lnTo>
                  <a:lnTo>
                    <a:pt x="508" y="321"/>
                  </a:lnTo>
                  <a:lnTo>
                    <a:pt x="504" y="319"/>
                  </a:lnTo>
                  <a:lnTo>
                    <a:pt x="500" y="319"/>
                  </a:lnTo>
                  <a:lnTo>
                    <a:pt x="502" y="317"/>
                  </a:lnTo>
                  <a:lnTo>
                    <a:pt x="506" y="315"/>
                  </a:lnTo>
                  <a:lnTo>
                    <a:pt x="506" y="313"/>
                  </a:lnTo>
                  <a:lnTo>
                    <a:pt x="504" y="315"/>
                  </a:lnTo>
                  <a:lnTo>
                    <a:pt x="502" y="315"/>
                  </a:lnTo>
                  <a:lnTo>
                    <a:pt x="502" y="313"/>
                  </a:lnTo>
                  <a:lnTo>
                    <a:pt x="502" y="313"/>
                  </a:lnTo>
                  <a:lnTo>
                    <a:pt x="502" y="313"/>
                  </a:lnTo>
                  <a:lnTo>
                    <a:pt x="502" y="311"/>
                  </a:lnTo>
                  <a:lnTo>
                    <a:pt x="502" y="311"/>
                  </a:lnTo>
                  <a:lnTo>
                    <a:pt x="502" y="309"/>
                  </a:lnTo>
                  <a:lnTo>
                    <a:pt x="502" y="309"/>
                  </a:lnTo>
                  <a:lnTo>
                    <a:pt x="502" y="307"/>
                  </a:lnTo>
                  <a:lnTo>
                    <a:pt x="506" y="311"/>
                  </a:lnTo>
                  <a:lnTo>
                    <a:pt x="506" y="309"/>
                  </a:lnTo>
                  <a:lnTo>
                    <a:pt x="506" y="309"/>
                  </a:lnTo>
                  <a:lnTo>
                    <a:pt x="506" y="309"/>
                  </a:lnTo>
                  <a:lnTo>
                    <a:pt x="506" y="309"/>
                  </a:lnTo>
                  <a:lnTo>
                    <a:pt x="508" y="311"/>
                  </a:lnTo>
                  <a:lnTo>
                    <a:pt x="510" y="311"/>
                  </a:lnTo>
                  <a:lnTo>
                    <a:pt x="510" y="313"/>
                  </a:lnTo>
                  <a:lnTo>
                    <a:pt x="510" y="313"/>
                  </a:lnTo>
                  <a:lnTo>
                    <a:pt x="510" y="315"/>
                  </a:lnTo>
                  <a:lnTo>
                    <a:pt x="512" y="313"/>
                  </a:lnTo>
                  <a:lnTo>
                    <a:pt x="514" y="313"/>
                  </a:lnTo>
                  <a:lnTo>
                    <a:pt x="516" y="315"/>
                  </a:lnTo>
                  <a:lnTo>
                    <a:pt x="518" y="317"/>
                  </a:lnTo>
                  <a:lnTo>
                    <a:pt x="518" y="323"/>
                  </a:lnTo>
                  <a:lnTo>
                    <a:pt x="518" y="325"/>
                  </a:lnTo>
                  <a:lnTo>
                    <a:pt x="521" y="327"/>
                  </a:lnTo>
                  <a:lnTo>
                    <a:pt x="521" y="327"/>
                  </a:lnTo>
                  <a:lnTo>
                    <a:pt x="525" y="327"/>
                  </a:lnTo>
                  <a:lnTo>
                    <a:pt x="525" y="325"/>
                  </a:lnTo>
                  <a:lnTo>
                    <a:pt x="525" y="325"/>
                  </a:lnTo>
                  <a:lnTo>
                    <a:pt x="525" y="323"/>
                  </a:lnTo>
                  <a:lnTo>
                    <a:pt x="523" y="319"/>
                  </a:lnTo>
                  <a:lnTo>
                    <a:pt x="523" y="317"/>
                  </a:lnTo>
                  <a:lnTo>
                    <a:pt x="525" y="317"/>
                  </a:lnTo>
                  <a:lnTo>
                    <a:pt x="527" y="315"/>
                  </a:lnTo>
                  <a:lnTo>
                    <a:pt x="527" y="315"/>
                  </a:lnTo>
                  <a:lnTo>
                    <a:pt x="529" y="315"/>
                  </a:lnTo>
                  <a:lnTo>
                    <a:pt x="531" y="321"/>
                  </a:lnTo>
                  <a:lnTo>
                    <a:pt x="533" y="325"/>
                  </a:lnTo>
                  <a:lnTo>
                    <a:pt x="533" y="327"/>
                  </a:lnTo>
                  <a:lnTo>
                    <a:pt x="533" y="329"/>
                  </a:lnTo>
                  <a:lnTo>
                    <a:pt x="531" y="332"/>
                  </a:lnTo>
                  <a:lnTo>
                    <a:pt x="531" y="334"/>
                  </a:lnTo>
                  <a:lnTo>
                    <a:pt x="527" y="336"/>
                  </a:lnTo>
                  <a:lnTo>
                    <a:pt x="527" y="338"/>
                  </a:lnTo>
                  <a:lnTo>
                    <a:pt x="527" y="340"/>
                  </a:lnTo>
                  <a:lnTo>
                    <a:pt x="527" y="340"/>
                  </a:lnTo>
                  <a:lnTo>
                    <a:pt x="525" y="342"/>
                  </a:lnTo>
                  <a:lnTo>
                    <a:pt x="525" y="342"/>
                  </a:lnTo>
                  <a:lnTo>
                    <a:pt x="525" y="344"/>
                  </a:lnTo>
                  <a:lnTo>
                    <a:pt x="525" y="344"/>
                  </a:lnTo>
                  <a:lnTo>
                    <a:pt x="523" y="346"/>
                  </a:lnTo>
                  <a:lnTo>
                    <a:pt x="521" y="348"/>
                  </a:lnTo>
                  <a:lnTo>
                    <a:pt x="521" y="352"/>
                  </a:lnTo>
                  <a:lnTo>
                    <a:pt x="521" y="354"/>
                  </a:lnTo>
                  <a:lnTo>
                    <a:pt x="518" y="354"/>
                  </a:lnTo>
                  <a:lnTo>
                    <a:pt x="518" y="356"/>
                  </a:lnTo>
                  <a:lnTo>
                    <a:pt x="518" y="356"/>
                  </a:lnTo>
                  <a:lnTo>
                    <a:pt x="518" y="358"/>
                  </a:lnTo>
                  <a:lnTo>
                    <a:pt x="518" y="356"/>
                  </a:lnTo>
                  <a:lnTo>
                    <a:pt x="521" y="356"/>
                  </a:lnTo>
                  <a:lnTo>
                    <a:pt x="521" y="358"/>
                  </a:lnTo>
                  <a:lnTo>
                    <a:pt x="518" y="358"/>
                  </a:lnTo>
                  <a:lnTo>
                    <a:pt x="516" y="360"/>
                  </a:lnTo>
                  <a:lnTo>
                    <a:pt x="514" y="360"/>
                  </a:lnTo>
                  <a:lnTo>
                    <a:pt x="516" y="360"/>
                  </a:lnTo>
                  <a:lnTo>
                    <a:pt x="518" y="362"/>
                  </a:lnTo>
                  <a:lnTo>
                    <a:pt x="518" y="362"/>
                  </a:lnTo>
                  <a:lnTo>
                    <a:pt x="521" y="362"/>
                  </a:lnTo>
                  <a:lnTo>
                    <a:pt x="518" y="362"/>
                  </a:lnTo>
                  <a:lnTo>
                    <a:pt x="514" y="362"/>
                  </a:lnTo>
                  <a:lnTo>
                    <a:pt x="512" y="362"/>
                  </a:lnTo>
                  <a:lnTo>
                    <a:pt x="512" y="364"/>
                  </a:lnTo>
                  <a:lnTo>
                    <a:pt x="512" y="364"/>
                  </a:lnTo>
                  <a:lnTo>
                    <a:pt x="512" y="364"/>
                  </a:lnTo>
                  <a:lnTo>
                    <a:pt x="514" y="364"/>
                  </a:lnTo>
                  <a:lnTo>
                    <a:pt x="514" y="364"/>
                  </a:lnTo>
                  <a:lnTo>
                    <a:pt x="514" y="364"/>
                  </a:lnTo>
                  <a:lnTo>
                    <a:pt x="514" y="364"/>
                  </a:lnTo>
                  <a:lnTo>
                    <a:pt x="514" y="366"/>
                  </a:lnTo>
                  <a:lnTo>
                    <a:pt x="514" y="366"/>
                  </a:lnTo>
                  <a:lnTo>
                    <a:pt x="514" y="368"/>
                  </a:lnTo>
                  <a:lnTo>
                    <a:pt x="512" y="366"/>
                  </a:lnTo>
                  <a:lnTo>
                    <a:pt x="510" y="366"/>
                  </a:lnTo>
                  <a:lnTo>
                    <a:pt x="508" y="366"/>
                  </a:lnTo>
                  <a:lnTo>
                    <a:pt x="508" y="364"/>
                  </a:lnTo>
                  <a:lnTo>
                    <a:pt x="506" y="362"/>
                  </a:lnTo>
                  <a:lnTo>
                    <a:pt x="506" y="362"/>
                  </a:lnTo>
                  <a:lnTo>
                    <a:pt x="506" y="364"/>
                  </a:lnTo>
                  <a:lnTo>
                    <a:pt x="508" y="368"/>
                  </a:lnTo>
                  <a:lnTo>
                    <a:pt x="510" y="368"/>
                  </a:lnTo>
                  <a:lnTo>
                    <a:pt x="512" y="370"/>
                  </a:lnTo>
                  <a:lnTo>
                    <a:pt x="516" y="370"/>
                  </a:lnTo>
                  <a:lnTo>
                    <a:pt x="521" y="373"/>
                  </a:lnTo>
                  <a:lnTo>
                    <a:pt x="523" y="373"/>
                  </a:lnTo>
                  <a:lnTo>
                    <a:pt x="523" y="375"/>
                  </a:lnTo>
                  <a:lnTo>
                    <a:pt x="525" y="379"/>
                  </a:lnTo>
                  <a:lnTo>
                    <a:pt x="527" y="383"/>
                  </a:lnTo>
                  <a:lnTo>
                    <a:pt x="529" y="385"/>
                  </a:lnTo>
                  <a:lnTo>
                    <a:pt x="527" y="385"/>
                  </a:lnTo>
                  <a:lnTo>
                    <a:pt x="527" y="385"/>
                  </a:lnTo>
                  <a:lnTo>
                    <a:pt x="527" y="385"/>
                  </a:lnTo>
                  <a:lnTo>
                    <a:pt x="527" y="385"/>
                  </a:lnTo>
                  <a:lnTo>
                    <a:pt x="527" y="385"/>
                  </a:lnTo>
                  <a:lnTo>
                    <a:pt x="527" y="387"/>
                  </a:lnTo>
                  <a:lnTo>
                    <a:pt x="529" y="389"/>
                  </a:lnTo>
                  <a:lnTo>
                    <a:pt x="529" y="391"/>
                  </a:lnTo>
                  <a:lnTo>
                    <a:pt x="531" y="393"/>
                  </a:lnTo>
                  <a:lnTo>
                    <a:pt x="533" y="393"/>
                  </a:lnTo>
                  <a:lnTo>
                    <a:pt x="531" y="391"/>
                  </a:lnTo>
                  <a:lnTo>
                    <a:pt x="533" y="391"/>
                  </a:lnTo>
                  <a:lnTo>
                    <a:pt x="533" y="393"/>
                  </a:lnTo>
                  <a:lnTo>
                    <a:pt x="535" y="393"/>
                  </a:lnTo>
                  <a:lnTo>
                    <a:pt x="535" y="395"/>
                  </a:lnTo>
                  <a:lnTo>
                    <a:pt x="535" y="395"/>
                  </a:lnTo>
                  <a:lnTo>
                    <a:pt x="533" y="395"/>
                  </a:lnTo>
                  <a:lnTo>
                    <a:pt x="533" y="393"/>
                  </a:lnTo>
                  <a:lnTo>
                    <a:pt x="533" y="395"/>
                  </a:lnTo>
                  <a:lnTo>
                    <a:pt x="537" y="399"/>
                  </a:lnTo>
                  <a:lnTo>
                    <a:pt x="539" y="403"/>
                  </a:lnTo>
                  <a:lnTo>
                    <a:pt x="549" y="420"/>
                  </a:lnTo>
                  <a:lnTo>
                    <a:pt x="551" y="422"/>
                  </a:lnTo>
                  <a:lnTo>
                    <a:pt x="551" y="422"/>
                  </a:lnTo>
                  <a:lnTo>
                    <a:pt x="551" y="422"/>
                  </a:lnTo>
                  <a:lnTo>
                    <a:pt x="553" y="422"/>
                  </a:lnTo>
                  <a:lnTo>
                    <a:pt x="551" y="422"/>
                  </a:lnTo>
                  <a:lnTo>
                    <a:pt x="551" y="418"/>
                  </a:lnTo>
                  <a:lnTo>
                    <a:pt x="549" y="418"/>
                  </a:lnTo>
                  <a:lnTo>
                    <a:pt x="553" y="420"/>
                  </a:lnTo>
                  <a:lnTo>
                    <a:pt x="557" y="428"/>
                  </a:lnTo>
                  <a:lnTo>
                    <a:pt x="559" y="430"/>
                  </a:lnTo>
                  <a:lnTo>
                    <a:pt x="561" y="430"/>
                  </a:lnTo>
                  <a:lnTo>
                    <a:pt x="561" y="430"/>
                  </a:lnTo>
                  <a:lnTo>
                    <a:pt x="564" y="430"/>
                  </a:lnTo>
                  <a:lnTo>
                    <a:pt x="564" y="430"/>
                  </a:lnTo>
                  <a:lnTo>
                    <a:pt x="566" y="430"/>
                  </a:lnTo>
                  <a:lnTo>
                    <a:pt x="566" y="430"/>
                  </a:lnTo>
                  <a:lnTo>
                    <a:pt x="566" y="430"/>
                  </a:lnTo>
                  <a:lnTo>
                    <a:pt x="568" y="430"/>
                  </a:lnTo>
                  <a:lnTo>
                    <a:pt x="568" y="430"/>
                  </a:lnTo>
                  <a:lnTo>
                    <a:pt x="568" y="430"/>
                  </a:lnTo>
                  <a:lnTo>
                    <a:pt x="568" y="430"/>
                  </a:lnTo>
                  <a:lnTo>
                    <a:pt x="570" y="430"/>
                  </a:lnTo>
                  <a:lnTo>
                    <a:pt x="570" y="432"/>
                  </a:lnTo>
                  <a:lnTo>
                    <a:pt x="570" y="430"/>
                  </a:lnTo>
                  <a:lnTo>
                    <a:pt x="570" y="430"/>
                  </a:lnTo>
                  <a:lnTo>
                    <a:pt x="570" y="428"/>
                  </a:lnTo>
                  <a:lnTo>
                    <a:pt x="570" y="428"/>
                  </a:lnTo>
                  <a:lnTo>
                    <a:pt x="572" y="430"/>
                  </a:lnTo>
                  <a:lnTo>
                    <a:pt x="572" y="432"/>
                  </a:lnTo>
                  <a:lnTo>
                    <a:pt x="574" y="432"/>
                  </a:lnTo>
                  <a:lnTo>
                    <a:pt x="574" y="430"/>
                  </a:lnTo>
                  <a:lnTo>
                    <a:pt x="574" y="428"/>
                  </a:lnTo>
                  <a:lnTo>
                    <a:pt x="572" y="424"/>
                  </a:lnTo>
                  <a:lnTo>
                    <a:pt x="570" y="420"/>
                  </a:lnTo>
                  <a:lnTo>
                    <a:pt x="570" y="420"/>
                  </a:lnTo>
                  <a:lnTo>
                    <a:pt x="568" y="420"/>
                  </a:lnTo>
                  <a:lnTo>
                    <a:pt x="566" y="416"/>
                  </a:lnTo>
                  <a:lnTo>
                    <a:pt x="566" y="416"/>
                  </a:lnTo>
                  <a:lnTo>
                    <a:pt x="564" y="416"/>
                  </a:lnTo>
                  <a:lnTo>
                    <a:pt x="564" y="416"/>
                  </a:lnTo>
                  <a:lnTo>
                    <a:pt x="559" y="411"/>
                  </a:lnTo>
                  <a:lnTo>
                    <a:pt x="559" y="411"/>
                  </a:lnTo>
                  <a:lnTo>
                    <a:pt x="557" y="409"/>
                  </a:lnTo>
                  <a:lnTo>
                    <a:pt x="559" y="409"/>
                  </a:lnTo>
                  <a:lnTo>
                    <a:pt x="561" y="411"/>
                  </a:lnTo>
                  <a:lnTo>
                    <a:pt x="564" y="414"/>
                  </a:lnTo>
                  <a:lnTo>
                    <a:pt x="566" y="414"/>
                  </a:lnTo>
                  <a:lnTo>
                    <a:pt x="568" y="414"/>
                  </a:lnTo>
                  <a:lnTo>
                    <a:pt x="568" y="414"/>
                  </a:lnTo>
                  <a:lnTo>
                    <a:pt x="568" y="416"/>
                  </a:lnTo>
                  <a:lnTo>
                    <a:pt x="570" y="416"/>
                  </a:lnTo>
                  <a:lnTo>
                    <a:pt x="572" y="418"/>
                  </a:lnTo>
                  <a:lnTo>
                    <a:pt x="572" y="418"/>
                  </a:lnTo>
                  <a:lnTo>
                    <a:pt x="572" y="416"/>
                  </a:lnTo>
                  <a:lnTo>
                    <a:pt x="574" y="416"/>
                  </a:lnTo>
                  <a:lnTo>
                    <a:pt x="574" y="416"/>
                  </a:lnTo>
                  <a:lnTo>
                    <a:pt x="574" y="414"/>
                  </a:lnTo>
                  <a:lnTo>
                    <a:pt x="576" y="414"/>
                  </a:lnTo>
                  <a:lnTo>
                    <a:pt x="578" y="414"/>
                  </a:lnTo>
                  <a:lnTo>
                    <a:pt x="580" y="411"/>
                  </a:lnTo>
                  <a:lnTo>
                    <a:pt x="584" y="409"/>
                  </a:lnTo>
                  <a:lnTo>
                    <a:pt x="586" y="407"/>
                  </a:lnTo>
                  <a:lnTo>
                    <a:pt x="586" y="407"/>
                  </a:lnTo>
                  <a:lnTo>
                    <a:pt x="586" y="411"/>
                  </a:lnTo>
                  <a:lnTo>
                    <a:pt x="586" y="411"/>
                  </a:lnTo>
                  <a:lnTo>
                    <a:pt x="584" y="411"/>
                  </a:lnTo>
                  <a:lnTo>
                    <a:pt x="582" y="414"/>
                  </a:lnTo>
                  <a:lnTo>
                    <a:pt x="578" y="416"/>
                  </a:lnTo>
                  <a:lnTo>
                    <a:pt x="576" y="418"/>
                  </a:lnTo>
                  <a:lnTo>
                    <a:pt x="578" y="420"/>
                  </a:lnTo>
                  <a:lnTo>
                    <a:pt x="580" y="422"/>
                  </a:lnTo>
                  <a:lnTo>
                    <a:pt x="580" y="422"/>
                  </a:lnTo>
                  <a:lnTo>
                    <a:pt x="582" y="422"/>
                  </a:lnTo>
                  <a:lnTo>
                    <a:pt x="582" y="426"/>
                  </a:lnTo>
                  <a:lnTo>
                    <a:pt x="582" y="428"/>
                  </a:lnTo>
                  <a:lnTo>
                    <a:pt x="582" y="440"/>
                  </a:lnTo>
                  <a:lnTo>
                    <a:pt x="582" y="442"/>
                  </a:lnTo>
                  <a:lnTo>
                    <a:pt x="582" y="444"/>
                  </a:lnTo>
                  <a:lnTo>
                    <a:pt x="586" y="448"/>
                  </a:lnTo>
                  <a:lnTo>
                    <a:pt x="586" y="448"/>
                  </a:lnTo>
                  <a:lnTo>
                    <a:pt x="586" y="452"/>
                  </a:lnTo>
                  <a:lnTo>
                    <a:pt x="586" y="452"/>
                  </a:lnTo>
                  <a:lnTo>
                    <a:pt x="586" y="455"/>
                  </a:lnTo>
                  <a:lnTo>
                    <a:pt x="588" y="457"/>
                  </a:lnTo>
                  <a:lnTo>
                    <a:pt x="588" y="459"/>
                  </a:lnTo>
                  <a:lnTo>
                    <a:pt x="590" y="459"/>
                  </a:lnTo>
                  <a:lnTo>
                    <a:pt x="592" y="457"/>
                  </a:lnTo>
                  <a:lnTo>
                    <a:pt x="592" y="455"/>
                  </a:lnTo>
                  <a:lnTo>
                    <a:pt x="594" y="457"/>
                  </a:lnTo>
                  <a:lnTo>
                    <a:pt x="594" y="457"/>
                  </a:lnTo>
                  <a:lnTo>
                    <a:pt x="596" y="455"/>
                  </a:lnTo>
                  <a:lnTo>
                    <a:pt x="596" y="455"/>
                  </a:lnTo>
                  <a:lnTo>
                    <a:pt x="596" y="455"/>
                  </a:lnTo>
                  <a:lnTo>
                    <a:pt x="598" y="446"/>
                  </a:lnTo>
                  <a:lnTo>
                    <a:pt x="600" y="444"/>
                  </a:lnTo>
                  <a:lnTo>
                    <a:pt x="602" y="440"/>
                  </a:lnTo>
                  <a:lnTo>
                    <a:pt x="604" y="438"/>
                  </a:lnTo>
                  <a:lnTo>
                    <a:pt x="604" y="436"/>
                  </a:lnTo>
                  <a:lnTo>
                    <a:pt x="607" y="436"/>
                  </a:lnTo>
                  <a:lnTo>
                    <a:pt x="609" y="434"/>
                  </a:lnTo>
                  <a:lnTo>
                    <a:pt x="611" y="434"/>
                  </a:lnTo>
                  <a:lnTo>
                    <a:pt x="611" y="436"/>
                  </a:lnTo>
                  <a:lnTo>
                    <a:pt x="611" y="436"/>
                  </a:lnTo>
                  <a:lnTo>
                    <a:pt x="609" y="438"/>
                  </a:lnTo>
                  <a:lnTo>
                    <a:pt x="609" y="438"/>
                  </a:lnTo>
                  <a:lnTo>
                    <a:pt x="607" y="438"/>
                  </a:lnTo>
                  <a:lnTo>
                    <a:pt x="607" y="438"/>
                  </a:lnTo>
                  <a:lnTo>
                    <a:pt x="607" y="440"/>
                  </a:lnTo>
                  <a:lnTo>
                    <a:pt x="604" y="440"/>
                  </a:lnTo>
                  <a:lnTo>
                    <a:pt x="602" y="444"/>
                  </a:lnTo>
                  <a:lnTo>
                    <a:pt x="600" y="446"/>
                  </a:lnTo>
                  <a:lnTo>
                    <a:pt x="602" y="448"/>
                  </a:lnTo>
                  <a:lnTo>
                    <a:pt x="600" y="452"/>
                  </a:lnTo>
                  <a:lnTo>
                    <a:pt x="598" y="455"/>
                  </a:lnTo>
                  <a:lnTo>
                    <a:pt x="596" y="459"/>
                  </a:lnTo>
                  <a:lnTo>
                    <a:pt x="596" y="459"/>
                  </a:lnTo>
                  <a:lnTo>
                    <a:pt x="596" y="459"/>
                  </a:lnTo>
                  <a:lnTo>
                    <a:pt x="594" y="459"/>
                  </a:lnTo>
                  <a:lnTo>
                    <a:pt x="594" y="459"/>
                  </a:lnTo>
                  <a:lnTo>
                    <a:pt x="592" y="459"/>
                  </a:lnTo>
                  <a:lnTo>
                    <a:pt x="592" y="459"/>
                  </a:lnTo>
                  <a:lnTo>
                    <a:pt x="592" y="459"/>
                  </a:lnTo>
                  <a:lnTo>
                    <a:pt x="592" y="461"/>
                  </a:lnTo>
                  <a:lnTo>
                    <a:pt x="592" y="463"/>
                  </a:lnTo>
                  <a:lnTo>
                    <a:pt x="592" y="463"/>
                  </a:lnTo>
                  <a:lnTo>
                    <a:pt x="594" y="463"/>
                  </a:lnTo>
                  <a:lnTo>
                    <a:pt x="594" y="463"/>
                  </a:lnTo>
                  <a:lnTo>
                    <a:pt x="594" y="463"/>
                  </a:lnTo>
                  <a:lnTo>
                    <a:pt x="596" y="463"/>
                  </a:lnTo>
                  <a:lnTo>
                    <a:pt x="600" y="465"/>
                  </a:lnTo>
                  <a:lnTo>
                    <a:pt x="602" y="463"/>
                  </a:lnTo>
                  <a:lnTo>
                    <a:pt x="604" y="463"/>
                  </a:lnTo>
                  <a:lnTo>
                    <a:pt x="604" y="465"/>
                  </a:lnTo>
                  <a:lnTo>
                    <a:pt x="604" y="465"/>
                  </a:lnTo>
                  <a:lnTo>
                    <a:pt x="604" y="465"/>
                  </a:lnTo>
                  <a:lnTo>
                    <a:pt x="607" y="463"/>
                  </a:lnTo>
                  <a:lnTo>
                    <a:pt x="604" y="461"/>
                  </a:lnTo>
                  <a:lnTo>
                    <a:pt x="604" y="459"/>
                  </a:lnTo>
                  <a:lnTo>
                    <a:pt x="604" y="461"/>
                  </a:lnTo>
                  <a:lnTo>
                    <a:pt x="609" y="463"/>
                  </a:lnTo>
                  <a:lnTo>
                    <a:pt x="609" y="465"/>
                  </a:lnTo>
                  <a:lnTo>
                    <a:pt x="611" y="467"/>
                  </a:lnTo>
                  <a:lnTo>
                    <a:pt x="611" y="473"/>
                  </a:lnTo>
                  <a:lnTo>
                    <a:pt x="611" y="473"/>
                  </a:lnTo>
                  <a:lnTo>
                    <a:pt x="611" y="473"/>
                  </a:lnTo>
                  <a:lnTo>
                    <a:pt x="609" y="473"/>
                  </a:lnTo>
                  <a:lnTo>
                    <a:pt x="611" y="475"/>
                  </a:lnTo>
                  <a:lnTo>
                    <a:pt x="615" y="479"/>
                  </a:lnTo>
                  <a:lnTo>
                    <a:pt x="615" y="479"/>
                  </a:lnTo>
                  <a:lnTo>
                    <a:pt x="615" y="481"/>
                  </a:lnTo>
                  <a:lnTo>
                    <a:pt x="615" y="483"/>
                  </a:lnTo>
                  <a:lnTo>
                    <a:pt x="617" y="491"/>
                  </a:lnTo>
                  <a:lnTo>
                    <a:pt x="619" y="500"/>
                  </a:lnTo>
                  <a:lnTo>
                    <a:pt x="621" y="500"/>
                  </a:lnTo>
                  <a:lnTo>
                    <a:pt x="619" y="498"/>
                  </a:lnTo>
                  <a:lnTo>
                    <a:pt x="619" y="498"/>
                  </a:lnTo>
                  <a:lnTo>
                    <a:pt x="619" y="495"/>
                  </a:lnTo>
                  <a:lnTo>
                    <a:pt x="621" y="495"/>
                  </a:lnTo>
                  <a:lnTo>
                    <a:pt x="623" y="502"/>
                  </a:lnTo>
                  <a:lnTo>
                    <a:pt x="625" y="506"/>
                  </a:lnTo>
                  <a:lnTo>
                    <a:pt x="627" y="506"/>
                  </a:lnTo>
                  <a:lnTo>
                    <a:pt x="627" y="508"/>
                  </a:lnTo>
                  <a:lnTo>
                    <a:pt x="627" y="510"/>
                  </a:lnTo>
                  <a:lnTo>
                    <a:pt x="629" y="510"/>
                  </a:lnTo>
                  <a:lnTo>
                    <a:pt x="629" y="510"/>
                  </a:lnTo>
                  <a:lnTo>
                    <a:pt x="631" y="510"/>
                  </a:lnTo>
                  <a:lnTo>
                    <a:pt x="633" y="510"/>
                  </a:lnTo>
                  <a:lnTo>
                    <a:pt x="635" y="510"/>
                  </a:lnTo>
                  <a:lnTo>
                    <a:pt x="635" y="512"/>
                  </a:lnTo>
                  <a:lnTo>
                    <a:pt x="633" y="512"/>
                  </a:lnTo>
                  <a:lnTo>
                    <a:pt x="633" y="514"/>
                  </a:lnTo>
                  <a:lnTo>
                    <a:pt x="633" y="514"/>
                  </a:lnTo>
                  <a:lnTo>
                    <a:pt x="631" y="514"/>
                  </a:lnTo>
                  <a:lnTo>
                    <a:pt x="629" y="514"/>
                  </a:lnTo>
                  <a:lnTo>
                    <a:pt x="629" y="512"/>
                  </a:lnTo>
                  <a:lnTo>
                    <a:pt x="627" y="514"/>
                  </a:lnTo>
                  <a:lnTo>
                    <a:pt x="629" y="516"/>
                  </a:lnTo>
                  <a:lnTo>
                    <a:pt x="629" y="518"/>
                  </a:lnTo>
                  <a:lnTo>
                    <a:pt x="631" y="518"/>
                  </a:lnTo>
                  <a:lnTo>
                    <a:pt x="631" y="518"/>
                  </a:lnTo>
                  <a:lnTo>
                    <a:pt x="631" y="518"/>
                  </a:lnTo>
                  <a:lnTo>
                    <a:pt x="631" y="518"/>
                  </a:lnTo>
                  <a:lnTo>
                    <a:pt x="631" y="518"/>
                  </a:lnTo>
                  <a:lnTo>
                    <a:pt x="631" y="518"/>
                  </a:lnTo>
                  <a:lnTo>
                    <a:pt x="633" y="516"/>
                  </a:lnTo>
                  <a:lnTo>
                    <a:pt x="633" y="516"/>
                  </a:lnTo>
                  <a:lnTo>
                    <a:pt x="633" y="516"/>
                  </a:lnTo>
                  <a:lnTo>
                    <a:pt x="633" y="516"/>
                  </a:lnTo>
                  <a:lnTo>
                    <a:pt x="635" y="516"/>
                  </a:lnTo>
                  <a:lnTo>
                    <a:pt x="635" y="516"/>
                  </a:lnTo>
                  <a:lnTo>
                    <a:pt x="637" y="516"/>
                  </a:lnTo>
                  <a:lnTo>
                    <a:pt x="637" y="516"/>
                  </a:lnTo>
                  <a:lnTo>
                    <a:pt x="637" y="514"/>
                  </a:lnTo>
                  <a:lnTo>
                    <a:pt x="639" y="512"/>
                  </a:lnTo>
                  <a:lnTo>
                    <a:pt x="639" y="514"/>
                  </a:lnTo>
                  <a:lnTo>
                    <a:pt x="641" y="514"/>
                  </a:lnTo>
                  <a:lnTo>
                    <a:pt x="641" y="514"/>
                  </a:lnTo>
                  <a:lnTo>
                    <a:pt x="643" y="514"/>
                  </a:lnTo>
                  <a:lnTo>
                    <a:pt x="643" y="516"/>
                  </a:lnTo>
                  <a:lnTo>
                    <a:pt x="643" y="516"/>
                  </a:lnTo>
                  <a:lnTo>
                    <a:pt x="643" y="516"/>
                  </a:lnTo>
                  <a:lnTo>
                    <a:pt x="643" y="516"/>
                  </a:lnTo>
                  <a:lnTo>
                    <a:pt x="643" y="516"/>
                  </a:lnTo>
                  <a:lnTo>
                    <a:pt x="645" y="516"/>
                  </a:lnTo>
                  <a:lnTo>
                    <a:pt x="645" y="514"/>
                  </a:lnTo>
                  <a:lnTo>
                    <a:pt x="645" y="514"/>
                  </a:lnTo>
                  <a:lnTo>
                    <a:pt x="647" y="516"/>
                  </a:lnTo>
                  <a:lnTo>
                    <a:pt x="650" y="516"/>
                  </a:lnTo>
                  <a:lnTo>
                    <a:pt x="652" y="516"/>
                  </a:lnTo>
                  <a:lnTo>
                    <a:pt x="652" y="518"/>
                  </a:lnTo>
                  <a:lnTo>
                    <a:pt x="654" y="516"/>
                  </a:lnTo>
                  <a:lnTo>
                    <a:pt x="654" y="516"/>
                  </a:lnTo>
                  <a:lnTo>
                    <a:pt x="656" y="518"/>
                  </a:lnTo>
                  <a:lnTo>
                    <a:pt x="658" y="518"/>
                  </a:lnTo>
                  <a:lnTo>
                    <a:pt x="658" y="518"/>
                  </a:lnTo>
                  <a:lnTo>
                    <a:pt x="662" y="518"/>
                  </a:lnTo>
                  <a:lnTo>
                    <a:pt x="662" y="520"/>
                  </a:lnTo>
                  <a:lnTo>
                    <a:pt x="666" y="520"/>
                  </a:lnTo>
                  <a:lnTo>
                    <a:pt x="668" y="522"/>
                  </a:lnTo>
                  <a:lnTo>
                    <a:pt x="670" y="524"/>
                  </a:lnTo>
                  <a:lnTo>
                    <a:pt x="670" y="526"/>
                  </a:lnTo>
                  <a:lnTo>
                    <a:pt x="668" y="528"/>
                  </a:lnTo>
                  <a:lnTo>
                    <a:pt x="668" y="528"/>
                  </a:lnTo>
                  <a:lnTo>
                    <a:pt x="670" y="530"/>
                  </a:lnTo>
                  <a:lnTo>
                    <a:pt x="670" y="530"/>
                  </a:lnTo>
                  <a:lnTo>
                    <a:pt x="672" y="532"/>
                  </a:lnTo>
                  <a:lnTo>
                    <a:pt x="672" y="532"/>
                  </a:lnTo>
                  <a:lnTo>
                    <a:pt x="674" y="532"/>
                  </a:lnTo>
                  <a:lnTo>
                    <a:pt x="676" y="532"/>
                  </a:lnTo>
                  <a:lnTo>
                    <a:pt x="676" y="534"/>
                  </a:lnTo>
                  <a:lnTo>
                    <a:pt x="678" y="536"/>
                  </a:lnTo>
                  <a:lnTo>
                    <a:pt x="678" y="536"/>
                  </a:lnTo>
                  <a:lnTo>
                    <a:pt x="678" y="539"/>
                  </a:lnTo>
                  <a:lnTo>
                    <a:pt x="680" y="541"/>
                  </a:lnTo>
                  <a:lnTo>
                    <a:pt x="682" y="547"/>
                  </a:lnTo>
                  <a:lnTo>
                    <a:pt x="684" y="547"/>
                  </a:lnTo>
                  <a:lnTo>
                    <a:pt x="684" y="547"/>
                  </a:lnTo>
                  <a:lnTo>
                    <a:pt x="686" y="547"/>
                  </a:lnTo>
                  <a:lnTo>
                    <a:pt x="688" y="547"/>
                  </a:lnTo>
                  <a:lnTo>
                    <a:pt x="688" y="547"/>
                  </a:lnTo>
                  <a:lnTo>
                    <a:pt x="688" y="549"/>
                  </a:lnTo>
                  <a:lnTo>
                    <a:pt x="688" y="549"/>
                  </a:lnTo>
                  <a:lnTo>
                    <a:pt x="686" y="551"/>
                  </a:lnTo>
                  <a:lnTo>
                    <a:pt x="686" y="553"/>
                  </a:lnTo>
                  <a:lnTo>
                    <a:pt x="690" y="555"/>
                  </a:lnTo>
                  <a:lnTo>
                    <a:pt x="693" y="559"/>
                  </a:lnTo>
                  <a:lnTo>
                    <a:pt x="693" y="561"/>
                  </a:lnTo>
                  <a:lnTo>
                    <a:pt x="695" y="563"/>
                  </a:lnTo>
                  <a:lnTo>
                    <a:pt x="695" y="563"/>
                  </a:lnTo>
                  <a:lnTo>
                    <a:pt x="695" y="565"/>
                  </a:lnTo>
                  <a:lnTo>
                    <a:pt x="701" y="567"/>
                  </a:lnTo>
                  <a:lnTo>
                    <a:pt x="705" y="567"/>
                  </a:lnTo>
                  <a:lnTo>
                    <a:pt x="705" y="567"/>
                  </a:lnTo>
                  <a:lnTo>
                    <a:pt x="707" y="567"/>
                  </a:lnTo>
                  <a:lnTo>
                    <a:pt x="711" y="567"/>
                  </a:lnTo>
                  <a:lnTo>
                    <a:pt x="713" y="569"/>
                  </a:lnTo>
                  <a:lnTo>
                    <a:pt x="719" y="573"/>
                  </a:lnTo>
                  <a:lnTo>
                    <a:pt x="719" y="575"/>
                  </a:lnTo>
                  <a:lnTo>
                    <a:pt x="719" y="577"/>
                  </a:lnTo>
                  <a:lnTo>
                    <a:pt x="717" y="580"/>
                  </a:lnTo>
                  <a:lnTo>
                    <a:pt x="715" y="580"/>
                  </a:lnTo>
                  <a:lnTo>
                    <a:pt x="713" y="582"/>
                  </a:lnTo>
                  <a:lnTo>
                    <a:pt x="711" y="580"/>
                  </a:lnTo>
                  <a:lnTo>
                    <a:pt x="711" y="580"/>
                  </a:lnTo>
                  <a:lnTo>
                    <a:pt x="713" y="580"/>
                  </a:lnTo>
                  <a:lnTo>
                    <a:pt x="713" y="580"/>
                  </a:lnTo>
                  <a:lnTo>
                    <a:pt x="713" y="580"/>
                  </a:lnTo>
                  <a:lnTo>
                    <a:pt x="713" y="577"/>
                  </a:lnTo>
                  <a:lnTo>
                    <a:pt x="705" y="575"/>
                  </a:lnTo>
                  <a:lnTo>
                    <a:pt x="705" y="575"/>
                  </a:lnTo>
                  <a:lnTo>
                    <a:pt x="703" y="575"/>
                  </a:lnTo>
                  <a:lnTo>
                    <a:pt x="701" y="571"/>
                  </a:lnTo>
                  <a:lnTo>
                    <a:pt x="701" y="571"/>
                  </a:lnTo>
                  <a:lnTo>
                    <a:pt x="699" y="571"/>
                  </a:lnTo>
                  <a:lnTo>
                    <a:pt x="699" y="569"/>
                  </a:lnTo>
                  <a:lnTo>
                    <a:pt x="697" y="569"/>
                  </a:lnTo>
                  <a:lnTo>
                    <a:pt x="697" y="569"/>
                  </a:lnTo>
                  <a:lnTo>
                    <a:pt x="697" y="569"/>
                  </a:lnTo>
                  <a:lnTo>
                    <a:pt x="695" y="573"/>
                  </a:lnTo>
                  <a:lnTo>
                    <a:pt x="695" y="577"/>
                  </a:lnTo>
                  <a:lnTo>
                    <a:pt x="695" y="582"/>
                  </a:lnTo>
                  <a:lnTo>
                    <a:pt x="697" y="586"/>
                  </a:lnTo>
                  <a:lnTo>
                    <a:pt x="699" y="588"/>
                  </a:lnTo>
                  <a:lnTo>
                    <a:pt x="705" y="592"/>
                  </a:lnTo>
                  <a:lnTo>
                    <a:pt x="705" y="592"/>
                  </a:lnTo>
                  <a:lnTo>
                    <a:pt x="711" y="590"/>
                  </a:lnTo>
                  <a:lnTo>
                    <a:pt x="713" y="588"/>
                  </a:lnTo>
                  <a:lnTo>
                    <a:pt x="717" y="588"/>
                  </a:lnTo>
                  <a:lnTo>
                    <a:pt x="721" y="586"/>
                  </a:lnTo>
                  <a:lnTo>
                    <a:pt x="723" y="586"/>
                  </a:lnTo>
                  <a:lnTo>
                    <a:pt x="723" y="584"/>
                  </a:lnTo>
                  <a:lnTo>
                    <a:pt x="725" y="584"/>
                  </a:lnTo>
                  <a:lnTo>
                    <a:pt x="727" y="582"/>
                  </a:lnTo>
                  <a:lnTo>
                    <a:pt x="729" y="582"/>
                  </a:lnTo>
                  <a:lnTo>
                    <a:pt x="731" y="582"/>
                  </a:lnTo>
                  <a:lnTo>
                    <a:pt x="731" y="584"/>
                  </a:lnTo>
                  <a:lnTo>
                    <a:pt x="731" y="584"/>
                  </a:lnTo>
                  <a:lnTo>
                    <a:pt x="731" y="584"/>
                  </a:lnTo>
                  <a:lnTo>
                    <a:pt x="734" y="584"/>
                  </a:lnTo>
                  <a:lnTo>
                    <a:pt x="734" y="584"/>
                  </a:lnTo>
                  <a:lnTo>
                    <a:pt x="734" y="582"/>
                  </a:lnTo>
                  <a:lnTo>
                    <a:pt x="734" y="584"/>
                  </a:lnTo>
                  <a:lnTo>
                    <a:pt x="734" y="584"/>
                  </a:lnTo>
                  <a:lnTo>
                    <a:pt x="736" y="584"/>
                  </a:lnTo>
                  <a:lnTo>
                    <a:pt x="736" y="584"/>
                  </a:lnTo>
                  <a:lnTo>
                    <a:pt x="736" y="584"/>
                  </a:lnTo>
                  <a:lnTo>
                    <a:pt x="736" y="584"/>
                  </a:lnTo>
                  <a:lnTo>
                    <a:pt x="736" y="582"/>
                  </a:lnTo>
                  <a:lnTo>
                    <a:pt x="736" y="582"/>
                  </a:lnTo>
                  <a:lnTo>
                    <a:pt x="738" y="584"/>
                  </a:lnTo>
                  <a:lnTo>
                    <a:pt x="740" y="584"/>
                  </a:lnTo>
                  <a:lnTo>
                    <a:pt x="740" y="584"/>
                  </a:lnTo>
                  <a:lnTo>
                    <a:pt x="742" y="582"/>
                  </a:lnTo>
                  <a:lnTo>
                    <a:pt x="744" y="580"/>
                  </a:lnTo>
                  <a:lnTo>
                    <a:pt x="744" y="580"/>
                  </a:lnTo>
                  <a:lnTo>
                    <a:pt x="746" y="580"/>
                  </a:lnTo>
                  <a:lnTo>
                    <a:pt x="746" y="580"/>
                  </a:lnTo>
                  <a:lnTo>
                    <a:pt x="748" y="580"/>
                  </a:lnTo>
                  <a:lnTo>
                    <a:pt x="746" y="580"/>
                  </a:lnTo>
                  <a:lnTo>
                    <a:pt x="746" y="577"/>
                  </a:lnTo>
                  <a:lnTo>
                    <a:pt x="746" y="577"/>
                  </a:lnTo>
                  <a:lnTo>
                    <a:pt x="746" y="577"/>
                  </a:lnTo>
                  <a:lnTo>
                    <a:pt x="750" y="575"/>
                  </a:lnTo>
                  <a:lnTo>
                    <a:pt x="750" y="575"/>
                  </a:lnTo>
                  <a:lnTo>
                    <a:pt x="750" y="575"/>
                  </a:lnTo>
                  <a:lnTo>
                    <a:pt x="750" y="575"/>
                  </a:lnTo>
                  <a:lnTo>
                    <a:pt x="750" y="575"/>
                  </a:lnTo>
                  <a:lnTo>
                    <a:pt x="750" y="575"/>
                  </a:lnTo>
                  <a:lnTo>
                    <a:pt x="752" y="575"/>
                  </a:lnTo>
                  <a:lnTo>
                    <a:pt x="752" y="571"/>
                  </a:lnTo>
                  <a:lnTo>
                    <a:pt x="752" y="569"/>
                  </a:lnTo>
                  <a:lnTo>
                    <a:pt x="754" y="569"/>
                  </a:lnTo>
                  <a:lnTo>
                    <a:pt x="758" y="569"/>
                  </a:lnTo>
                  <a:lnTo>
                    <a:pt x="758" y="567"/>
                  </a:lnTo>
                  <a:lnTo>
                    <a:pt x="760" y="569"/>
                  </a:lnTo>
                  <a:lnTo>
                    <a:pt x="760" y="569"/>
                  </a:lnTo>
                  <a:lnTo>
                    <a:pt x="760" y="569"/>
                  </a:lnTo>
                  <a:lnTo>
                    <a:pt x="758" y="569"/>
                  </a:lnTo>
                  <a:lnTo>
                    <a:pt x="758" y="569"/>
                  </a:lnTo>
                  <a:lnTo>
                    <a:pt x="758" y="571"/>
                  </a:lnTo>
                  <a:lnTo>
                    <a:pt x="758" y="571"/>
                  </a:lnTo>
                  <a:lnTo>
                    <a:pt x="758" y="571"/>
                  </a:lnTo>
                  <a:lnTo>
                    <a:pt x="760" y="571"/>
                  </a:lnTo>
                  <a:lnTo>
                    <a:pt x="760" y="573"/>
                  </a:lnTo>
                  <a:lnTo>
                    <a:pt x="760" y="573"/>
                  </a:lnTo>
                  <a:lnTo>
                    <a:pt x="762" y="571"/>
                  </a:lnTo>
                  <a:lnTo>
                    <a:pt x="764" y="571"/>
                  </a:lnTo>
                  <a:lnTo>
                    <a:pt x="766" y="573"/>
                  </a:lnTo>
                  <a:lnTo>
                    <a:pt x="766" y="575"/>
                  </a:lnTo>
                  <a:lnTo>
                    <a:pt x="766" y="575"/>
                  </a:lnTo>
                  <a:lnTo>
                    <a:pt x="766" y="573"/>
                  </a:lnTo>
                  <a:lnTo>
                    <a:pt x="764" y="571"/>
                  </a:lnTo>
                  <a:lnTo>
                    <a:pt x="762" y="571"/>
                  </a:lnTo>
                  <a:lnTo>
                    <a:pt x="760" y="571"/>
                  </a:lnTo>
                  <a:lnTo>
                    <a:pt x="762" y="569"/>
                  </a:lnTo>
                  <a:lnTo>
                    <a:pt x="764" y="567"/>
                  </a:lnTo>
                  <a:lnTo>
                    <a:pt x="764" y="567"/>
                  </a:lnTo>
                  <a:lnTo>
                    <a:pt x="764" y="569"/>
                  </a:lnTo>
                  <a:lnTo>
                    <a:pt x="766" y="569"/>
                  </a:lnTo>
                  <a:lnTo>
                    <a:pt x="768" y="571"/>
                  </a:lnTo>
                  <a:lnTo>
                    <a:pt x="770" y="573"/>
                  </a:lnTo>
                  <a:lnTo>
                    <a:pt x="770" y="571"/>
                  </a:lnTo>
                  <a:lnTo>
                    <a:pt x="768" y="571"/>
                  </a:lnTo>
                  <a:lnTo>
                    <a:pt x="768" y="569"/>
                  </a:lnTo>
                  <a:lnTo>
                    <a:pt x="768" y="567"/>
                  </a:lnTo>
                  <a:lnTo>
                    <a:pt x="768" y="567"/>
                  </a:lnTo>
                  <a:lnTo>
                    <a:pt x="768" y="563"/>
                  </a:lnTo>
                  <a:lnTo>
                    <a:pt x="768" y="563"/>
                  </a:lnTo>
                  <a:lnTo>
                    <a:pt x="768" y="563"/>
                  </a:lnTo>
                  <a:lnTo>
                    <a:pt x="768" y="561"/>
                  </a:lnTo>
                  <a:lnTo>
                    <a:pt x="772" y="555"/>
                  </a:lnTo>
                  <a:lnTo>
                    <a:pt x="777" y="553"/>
                  </a:lnTo>
                  <a:lnTo>
                    <a:pt x="777" y="551"/>
                  </a:lnTo>
                  <a:lnTo>
                    <a:pt x="774" y="551"/>
                  </a:lnTo>
                  <a:lnTo>
                    <a:pt x="772" y="549"/>
                  </a:lnTo>
                  <a:lnTo>
                    <a:pt x="772" y="549"/>
                  </a:lnTo>
                  <a:lnTo>
                    <a:pt x="772" y="547"/>
                  </a:lnTo>
                  <a:lnTo>
                    <a:pt x="772" y="545"/>
                  </a:lnTo>
                  <a:lnTo>
                    <a:pt x="772" y="545"/>
                  </a:lnTo>
                  <a:lnTo>
                    <a:pt x="772" y="545"/>
                  </a:lnTo>
                  <a:lnTo>
                    <a:pt x="772" y="543"/>
                  </a:lnTo>
                  <a:lnTo>
                    <a:pt x="770" y="541"/>
                  </a:lnTo>
                  <a:lnTo>
                    <a:pt x="770" y="539"/>
                  </a:lnTo>
                  <a:lnTo>
                    <a:pt x="770" y="536"/>
                  </a:lnTo>
                  <a:lnTo>
                    <a:pt x="772" y="534"/>
                  </a:lnTo>
                  <a:lnTo>
                    <a:pt x="772" y="532"/>
                  </a:lnTo>
                  <a:lnTo>
                    <a:pt x="772" y="528"/>
                  </a:lnTo>
                  <a:lnTo>
                    <a:pt x="772" y="526"/>
                  </a:lnTo>
                  <a:lnTo>
                    <a:pt x="774" y="522"/>
                  </a:lnTo>
                  <a:lnTo>
                    <a:pt x="774" y="518"/>
                  </a:lnTo>
                  <a:lnTo>
                    <a:pt x="774" y="514"/>
                  </a:lnTo>
                  <a:lnTo>
                    <a:pt x="774" y="514"/>
                  </a:lnTo>
                  <a:lnTo>
                    <a:pt x="777" y="512"/>
                  </a:lnTo>
                  <a:lnTo>
                    <a:pt x="777" y="512"/>
                  </a:lnTo>
                  <a:lnTo>
                    <a:pt x="779" y="512"/>
                  </a:lnTo>
                  <a:lnTo>
                    <a:pt x="779" y="512"/>
                  </a:lnTo>
                  <a:lnTo>
                    <a:pt x="781" y="510"/>
                  </a:lnTo>
                  <a:lnTo>
                    <a:pt x="779" y="506"/>
                  </a:lnTo>
                  <a:lnTo>
                    <a:pt x="781" y="502"/>
                  </a:lnTo>
                  <a:lnTo>
                    <a:pt x="781" y="498"/>
                  </a:lnTo>
                  <a:lnTo>
                    <a:pt x="783" y="493"/>
                  </a:lnTo>
                  <a:lnTo>
                    <a:pt x="783" y="493"/>
                  </a:lnTo>
                  <a:lnTo>
                    <a:pt x="783" y="493"/>
                  </a:lnTo>
                  <a:lnTo>
                    <a:pt x="785" y="498"/>
                  </a:lnTo>
                  <a:lnTo>
                    <a:pt x="785" y="502"/>
                  </a:lnTo>
                  <a:lnTo>
                    <a:pt x="785" y="506"/>
                  </a:lnTo>
                  <a:lnTo>
                    <a:pt x="787" y="506"/>
                  </a:lnTo>
                  <a:lnTo>
                    <a:pt x="783" y="475"/>
                  </a:lnTo>
                  <a:lnTo>
                    <a:pt x="781" y="473"/>
                  </a:lnTo>
                  <a:close/>
                  <a:moveTo>
                    <a:pt x="686" y="221"/>
                  </a:moveTo>
                  <a:lnTo>
                    <a:pt x="686" y="219"/>
                  </a:lnTo>
                  <a:lnTo>
                    <a:pt x="684" y="215"/>
                  </a:lnTo>
                  <a:lnTo>
                    <a:pt x="684" y="215"/>
                  </a:lnTo>
                  <a:lnTo>
                    <a:pt x="682" y="217"/>
                  </a:lnTo>
                  <a:lnTo>
                    <a:pt x="680" y="219"/>
                  </a:lnTo>
                  <a:lnTo>
                    <a:pt x="678" y="219"/>
                  </a:lnTo>
                  <a:lnTo>
                    <a:pt x="678" y="221"/>
                  </a:lnTo>
                  <a:lnTo>
                    <a:pt x="678" y="223"/>
                  </a:lnTo>
                  <a:lnTo>
                    <a:pt x="676" y="223"/>
                  </a:lnTo>
                  <a:lnTo>
                    <a:pt x="676" y="225"/>
                  </a:lnTo>
                  <a:lnTo>
                    <a:pt x="676" y="229"/>
                  </a:lnTo>
                  <a:lnTo>
                    <a:pt x="678" y="231"/>
                  </a:lnTo>
                  <a:lnTo>
                    <a:pt x="680" y="239"/>
                  </a:lnTo>
                  <a:lnTo>
                    <a:pt x="680" y="241"/>
                  </a:lnTo>
                  <a:lnTo>
                    <a:pt x="682" y="243"/>
                  </a:lnTo>
                  <a:lnTo>
                    <a:pt x="688" y="254"/>
                  </a:lnTo>
                  <a:lnTo>
                    <a:pt x="690" y="256"/>
                  </a:lnTo>
                  <a:lnTo>
                    <a:pt x="688" y="254"/>
                  </a:lnTo>
                  <a:lnTo>
                    <a:pt x="688" y="252"/>
                  </a:lnTo>
                  <a:lnTo>
                    <a:pt x="686" y="250"/>
                  </a:lnTo>
                  <a:lnTo>
                    <a:pt x="686" y="250"/>
                  </a:lnTo>
                  <a:lnTo>
                    <a:pt x="686" y="248"/>
                  </a:lnTo>
                  <a:lnTo>
                    <a:pt x="686" y="245"/>
                  </a:lnTo>
                  <a:lnTo>
                    <a:pt x="684" y="233"/>
                  </a:lnTo>
                  <a:lnTo>
                    <a:pt x="684" y="229"/>
                  </a:lnTo>
                  <a:lnTo>
                    <a:pt x="686" y="221"/>
                  </a:lnTo>
                  <a:close/>
                  <a:moveTo>
                    <a:pt x="690" y="258"/>
                  </a:moveTo>
                  <a:lnTo>
                    <a:pt x="693" y="258"/>
                  </a:lnTo>
                  <a:lnTo>
                    <a:pt x="693" y="260"/>
                  </a:lnTo>
                  <a:lnTo>
                    <a:pt x="693" y="260"/>
                  </a:lnTo>
                  <a:lnTo>
                    <a:pt x="693" y="260"/>
                  </a:lnTo>
                  <a:lnTo>
                    <a:pt x="693" y="260"/>
                  </a:lnTo>
                  <a:lnTo>
                    <a:pt x="693" y="258"/>
                  </a:lnTo>
                  <a:lnTo>
                    <a:pt x="690" y="256"/>
                  </a:lnTo>
                  <a:lnTo>
                    <a:pt x="690" y="256"/>
                  </a:lnTo>
                  <a:lnTo>
                    <a:pt x="690" y="256"/>
                  </a:lnTo>
                  <a:lnTo>
                    <a:pt x="690" y="258"/>
                  </a:lnTo>
                  <a:close/>
                  <a:moveTo>
                    <a:pt x="721" y="301"/>
                  </a:moveTo>
                  <a:lnTo>
                    <a:pt x="723" y="303"/>
                  </a:lnTo>
                  <a:lnTo>
                    <a:pt x="723" y="305"/>
                  </a:lnTo>
                  <a:lnTo>
                    <a:pt x="725" y="305"/>
                  </a:lnTo>
                  <a:lnTo>
                    <a:pt x="725" y="307"/>
                  </a:lnTo>
                  <a:lnTo>
                    <a:pt x="727" y="311"/>
                  </a:lnTo>
                  <a:lnTo>
                    <a:pt x="727" y="313"/>
                  </a:lnTo>
                  <a:lnTo>
                    <a:pt x="729" y="313"/>
                  </a:lnTo>
                  <a:lnTo>
                    <a:pt x="729" y="315"/>
                  </a:lnTo>
                  <a:lnTo>
                    <a:pt x="736" y="332"/>
                  </a:lnTo>
                  <a:lnTo>
                    <a:pt x="738" y="334"/>
                  </a:lnTo>
                  <a:lnTo>
                    <a:pt x="740" y="336"/>
                  </a:lnTo>
                  <a:lnTo>
                    <a:pt x="740" y="336"/>
                  </a:lnTo>
                  <a:lnTo>
                    <a:pt x="740" y="336"/>
                  </a:lnTo>
                  <a:lnTo>
                    <a:pt x="742" y="338"/>
                  </a:lnTo>
                  <a:lnTo>
                    <a:pt x="742" y="338"/>
                  </a:lnTo>
                  <a:lnTo>
                    <a:pt x="750" y="350"/>
                  </a:lnTo>
                  <a:lnTo>
                    <a:pt x="752" y="354"/>
                  </a:lnTo>
                  <a:lnTo>
                    <a:pt x="754" y="356"/>
                  </a:lnTo>
                  <a:lnTo>
                    <a:pt x="756" y="358"/>
                  </a:lnTo>
                  <a:lnTo>
                    <a:pt x="756" y="358"/>
                  </a:lnTo>
                  <a:lnTo>
                    <a:pt x="756" y="358"/>
                  </a:lnTo>
                  <a:lnTo>
                    <a:pt x="754" y="356"/>
                  </a:lnTo>
                  <a:lnTo>
                    <a:pt x="731" y="315"/>
                  </a:lnTo>
                  <a:lnTo>
                    <a:pt x="729" y="313"/>
                  </a:lnTo>
                  <a:lnTo>
                    <a:pt x="729" y="311"/>
                  </a:lnTo>
                  <a:lnTo>
                    <a:pt x="729" y="309"/>
                  </a:lnTo>
                  <a:lnTo>
                    <a:pt x="727" y="307"/>
                  </a:lnTo>
                  <a:lnTo>
                    <a:pt x="721" y="301"/>
                  </a:lnTo>
                  <a:lnTo>
                    <a:pt x="719" y="297"/>
                  </a:lnTo>
                  <a:lnTo>
                    <a:pt x="717" y="293"/>
                  </a:lnTo>
                  <a:lnTo>
                    <a:pt x="717" y="291"/>
                  </a:lnTo>
                  <a:lnTo>
                    <a:pt x="717" y="291"/>
                  </a:lnTo>
                  <a:lnTo>
                    <a:pt x="717" y="291"/>
                  </a:lnTo>
                  <a:lnTo>
                    <a:pt x="717" y="291"/>
                  </a:lnTo>
                  <a:lnTo>
                    <a:pt x="717" y="291"/>
                  </a:lnTo>
                  <a:lnTo>
                    <a:pt x="717" y="291"/>
                  </a:lnTo>
                  <a:lnTo>
                    <a:pt x="717" y="291"/>
                  </a:lnTo>
                  <a:lnTo>
                    <a:pt x="715" y="291"/>
                  </a:lnTo>
                  <a:lnTo>
                    <a:pt x="715" y="291"/>
                  </a:lnTo>
                  <a:lnTo>
                    <a:pt x="717" y="295"/>
                  </a:lnTo>
                  <a:lnTo>
                    <a:pt x="721" y="301"/>
                  </a:lnTo>
                  <a:close/>
                  <a:moveTo>
                    <a:pt x="787" y="705"/>
                  </a:moveTo>
                  <a:lnTo>
                    <a:pt x="789" y="705"/>
                  </a:lnTo>
                  <a:lnTo>
                    <a:pt x="789" y="705"/>
                  </a:lnTo>
                  <a:lnTo>
                    <a:pt x="789" y="705"/>
                  </a:lnTo>
                  <a:lnTo>
                    <a:pt x="787" y="705"/>
                  </a:lnTo>
                  <a:close/>
                  <a:moveTo>
                    <a:pt x="797" y="700"/>
                  </a:moveTo>
                  <a:lnTo>
                    <a:pt x="797" y="698"/>
                  </a:lnTo>
                  <a:lnTo>
                    <a:pt x="797" y="698"/>
                  </a:lnTo>
                  <a:lnTo>
                    <a:pt x="797" y="700"/>
                  </a:lnTo>
                  <a:close/>
                  <a:moveTo>
                    <a:pt x="799" y="698"/>
                  </a:moveTo>
                  <a:lnTo>
                    <a:pt x="799" y="698"/>
                  </a:lnTo>
                  <a:lnTo>
                    <a:pt x="799" y="698"/>
                  </a:lnTo>
                  <a:lnTo>
                    <a:pt x="799" y="698"/>
                  </a:lnTo>
                  <a:close/>
                  <a:moveTo>
                    <a:pt x="803" y="694"/>
                  </a:moveTo>
                  <a:lnTo>
                    <a:pt x="805" y="694"/>
                  </a:lnTo>
                  <a:lnTo>
                    <a:pt x="803" y="694"/>
                  </a:lnTo>
                  <a:lnTo>
                    <a:pt x="803" y="694"/>
                  </a:lnTo>
                  <a:close/>
                  <a:moveTo>
                    <a:pt x="807" y="694"/>
                  </a:moveTo>
                  <a:lnTo>
                    <a:pt x="807" y="694"/>
                  </a:lnTo>
                  <a:lnTo>
                    <a:pt x="807" y="694"/>
                  </a:lnTo>
                  <a:lnTo>
                    <a:pt x="807" y="694"/>
                  </a:lnTo>
                  <a:close/>
                  <a:moveTo>
                    <a:pt x="494" y="243"/>
                  </a:moveTo>
                  <a:lnTo>
                    <a:pt x="494" y="243"/>
                  </a:lnTo>
                  <a:lnTo>
                    <a:pt x="494" y="243"/>
                  </a:lnTo>
                  <a:lnTo>
                    <a:pt x="494" y="243"/>
                  </a:lnTo>
                  <a:lnTo>
                    <a:pt x="494" y="243"/>
                  </a:lnTo>
                  <a:lnTo>
                    <a:pt x="494" y="243"/>
                  </a:lnTo>
                  <a:lnTo>
                    <a:pt x="494" y="243"/>
                  </a:lnTo>
                  <a:lnTo>
                    <a:pt x="494" y="243"/>
                  </a:lnTo>
                  <a:lnTo>
                    <a:pt x="494" y="243"/>
                  </a:lnTo>
                  <a:lnTo>
                    <a:pt x="494" y="243"/>
                  </a:lnTo>
                  <a:close/>
                  <a:moveTo>
                    <a:pt x="492" y="219"/>
                  </a:moveTo>
                  <a:lnTo>
                    <a:pt x="492" y="219"/>
                  </a:lnTo>
                  <a:lnTo>
                    <a:pt x="492" y="219"/>
                  </a:lnTo>
                  <a:lnTo>
                    <a:pt x="492" y="219"/>
                  </a:lnTo>
                  <a:lnTo>
                    <a:pt x="492" y="219"/>
                  </a:lnTo>
                  <a:lnTo>
                    <a:pt x="492" y="219"/>
                  </a:lnTo>
                  <a:lnTo>
                    <a:pt x="492" y="219"/>
                  </a:lnTo>
                  <a:lnTo>
                    <a:pt x="492" y="217"/>
                  </a:lnTo>
                  <a:lnTo>
                    <a:pt x="492" y="217"/>
                  </a:lnTo>
                  <a:lnTo>
                    <a:pt x="490" y="217"/>
                  </a:lnTo>
                  <a:lnTo>
                    <a:pt x="490" y="217"/>
                  </a:lnTo>
                  <a:lnTo>
                    <a:pt x="490" y="217"/>
                  </a:lnTo>
                  <a:lnTo>
                    <a:pt x="490" y="219"/>
                  </a:lnTo>
                  <a:lnTo>
                    <a:pt x="492" y="219"/>
                  </a:lnTo>
                  <a:close/>
                  <a:moveTo>
                    <a:pt x="492" y="231"/>
                  </a:moveTo>
                  <a:lnTo>
                    <a:pt x="492" y="231"/>
                  </a:lnTo>
                  <a:lnTo>
                    <a:pt x="492" y="231"/>
                  </a:lnTo>
                  <a:lnTo>
                    <a:pt x="494" y="231"/>
                  </a:lnTo>
                  <a:lnTo>
                    <a:pt x="494" y="231"/>
                  </a:lnTo>
                  <a:lnTo>
                    <a:pt x="492" y="231"/>
                  </a:lnTo>
                  <a:close/>
                  <a:moveTo>
                    <a:pt x="490" y="233"/>
                  </a:moveTo>
                  <a:lnTo>
                    <a:pt x="490" y="233"/>
                  </a:lnTo>
                  <a:lnTo>
                    <a:pt x="490" y="233"/>
                  </a:lnTo>
                  <a:lnTo>
                    <a:pt x="490" y="233"/>
                  </a:lnTo>
                  <a:lnTo>
                    <a:pt x="490" y="233"/>
                  </a:lnTo>
                  <a:lnTo>
                    <a:pt x="490" y="233"/>
                  </a:lnTo>
                  <a:lnTo>
                    <a:pt x="490" y="233"/>
                  </a:lnTo>
                  <a:lnTo>
                    <a:pt x="490" y="233"/>
                  </a:lnTo>
                  <a:lnTo>
                    <a:pt x="490" y="233"/>
                  </a:lnTo>
                  <a:lnTo>
                    <a:pt x="490" y="235"/>
                  </a:lnTo>
                  <a:lnTo>
                    <a:pt x="490" y="235"/>
                  </a:lnTo>
                  <a:lnTo>
                    <a:pt x="492" y="235"/>
                  </a:lnTo>
                  <a:lnTo>
                    <a:pt x="492" y="235"/>
                  </a:lnTo>
                  <a:lnTo>
                    <a:pt x="492" y="235"/>
                  </a:lnTo>
                  <a:lnTo>
                    <a:pt x="492" y="233"/>
                  </a:lnTo>
                  <a:lnTo>
                    <a:pt x="492" y="233"/>
                  </a:lnTo>
                  <a:lnTo>
                    <a:pt x="492" y="233"/>
                  </a:lnTo>
                  <a:lnTo>
                    <a:pt x="490" y="233"/>
                  </a:lnTo>
                  <a:close/>
                  <a:moveTo>
                    <a:pt x="492" y="237"/>
                  </a:moveTo>
                  <a:lnTo>
                    <a:pt x="492" y="235"/>
                  </a:lnTo>
                  <a:lnTo>
                    <a:pt x="492" y="237"/>
                  </a:lnTo>
                  <a:lnTo>
                    <a:pt x="492" y="237"/>
                  </a:lnTo>
                  <a:lnTo>
                    <a:pt x="492" y="237"/>
                  </a:lnTo>
                  <a:close/>
                  <a:moveTo>
                    <a:pt x="490" y="227"/>
                  </a:moveTo>
                  <a:lnTo>
                    <a:pt x="490" y="227"/>
                  </a:lnTo>
                  <a:lnTo>
                    <a:pt x="488" y="227"/>
                  </a:lnTo>
                  <a:lnTo>
                    <a:pt x="488" y="229"/>
                  </a:lnTo>
                  <a:lnTo>
                    <a:pt x="488" y="229"/>
                  </a:lnTo>
                  <a:lnTo>
                    <a:pt x="490" y="229"/>
                  </a:lnTo>
                  <a:lnTo>
                    <a:pt x="490" y="229"/>
                  </a:lnTo>
                  <a:lnTo>
                    <a:pt x="488" y="229"/>
                  </a:lnTo>
                  <a:lnTo>
                    <a:pt x="488" y="231"/>
                  </a:lnTo>
                  <a:lnTo>
                    <a:pt x="490" y="231"/>
                  </a:lnTo>
                  <a:lnTo>
                    <a:pt x="490" y="231"/>
                  </a:lnTo>
                  <a:lnTo>
                    <a:pt x="490" y="229"/>
                  </a:lnTo>
                  <a:lnTo>
                    <a:pt x="490" y="229"/>
                  </a:lnTo>
                  <a:lnTo>
                    <a:pt x="490" y="227"/>
                  </a:lnTo>
                  <a:close/>
                  <a:moveTo>
                    <a:pt x="492" y="241"/>
                  </a:moveTo>
                  <a:lnTo>
                    <a:pt x="492" y="241"/>
                  </a:lnTo>
                  <a:lnTo>
                    <a:pt x="492" y="239"/>
                  </a:lnTo>
                  <a:lnTo>
                    <a:pt x="492" y="241"/>
                  </a:lnTo>
                  <a:close/>
                  <a:moveTo>
                    <a:pt x="486" y="219"/>
                  </a:moveTo>
                  <a:lnTo>
                    <a:pt x="484" y="219"/>
                  </a:lnTo>
                  <a:lnTo>
                    <a:pt x="484" y="219"/>
                  </a:lnTo>
                  <a:lnTo>
                    <a:pt x="486" y="219"/>
                  </a:lnTo>
                  <a:lnTo>
                    <a:pt x="486" y="219"/>
                  </a:lnTo>
                  <a:lnTo>
                    <a:pt x="486" y="219"/>
                  </a:lnTo>
                  <a:lnTo>
                    <a:pt x="486" y="219"/>
                  </a:lnTo>
                  <a:lnTo>
                    <a:pt x="486" y="219"/>
                  </a:lnTo>
                  <a:lnTo>
                    <a:pt x="486" y="219"/>
                  </a:lnTo>
                  <a:lnTo>
                    <a:pt x="486" y="219"/>
                  </a:lnTo>
                  <a:lnTo>
                    <a:pt x="486" y="219"/>
                  </a:lnTo>
                  <a:lnTo>
                    <a:pt x="486" y="219"/>
                  </a:lnTo>
                  <a:close/>
                  <a:moveTo>
                    <a:pt x="486" y="225"/>
                  </a:moveTo>
                  <a:lnTo>
                    <a:pt x="486" y="225"/>
                  </a:lnTo>
                  <a:lnTo>
                    <a:pt x="484" y="225"/>
                  </a:lnTo>
                  <a:lnTo>
                    <a:pt x="486" y="225"/>
                  </a:lnTo>
                  <a:lnTo>
                    <a:pt x="486" y="225"/>
                  </a:lnTo>
                  <a:lnTo>
                    <a:pt x="486" y="225"/>
                  </a:lnTo>
                  <a:lnTo>
                    <a:pt x="486" y="225"/>
                  </a:lnTo>
                  <a:lnTo>
                    <a:pt x="486" y="225"/>
                  </a:lnTo>
                  <a:lnTo>
                    <a:pt x="488" y="225"/>
                  </a:lnTo>
                  <a:lnTo>
                    <a:pt x="486" y="225"/>
                  </a:lnTo>
                  <a:lnTo>
                    <a:pt x="486" y="225"/>
                  </a:lnTo>
                  <a:close/>
                  <a:moveTo>
                    <a:pt x="484" y="221"/>
                  </a:moveTo>
                  <a:lnTo>
                    <a:pt x="484" y="221"/>
                  </a:lnTo>
                  <a:lnTo>
                    <a:pt x="484" y="221"/>
                  </a:lnTo>
                  <a:lnTo>
                    <a:pt x="484" y="221"/>
                  </a:lnTo>
                  <a:lnTo>
                    <a:pt x="484" y="221"/>
                  </a:lnTo>
                  <a:close/>
                  <a:moveTo>
                    <a:pt x="490" y="219"/>
                  </a:moveTo>
                  <a:lnTo>
                    <a:pt x="490" y="219"/>
                  </a:lnTo>
                  <a:lnTo>
                    <a:pt x="490" y="219"/>
                  </a:lnTo>
                  <a:lnTo>
                    <a:pt x="490" y="219"/>
                  </a:lnTo>
                  <a:lnTo>
                    <a:pt x="488" y="219"/>
                  </a:lnTo>
                  <a:lnTo>
                    <a:pt x="488" y="219"/>
                  </a:lnTo>
                  <a:lnTo>
                    <a:pt x="488" y="219"/>
                  </a:lnTo>
                  <a:lnTo>
                    <a:pt x="488" y="219"/>
                  </a:lnTo>
                  <a:lnTo>
                    <a:pt x="488" y="219"/>
                  </a:lnTo>
                  <a:lnTo>
                    <a:pt x="488" y="219"/>
                  </a:lnTo>
                  <a:lnTo>
                    <a:pt x="490" y="219"/>
                  </a:lnTo>
                  <a:close/>
                  <a:moveTo>
                    <a:pt x="484" y="229"/>
                  </a:moveTo>
                  <a:lnTo>
                    <a:pt x="484" y="229"/>
                  </a:lnTo>
                  <a:lnTo>
                    <a:pt x="484" y="227"/>
                  </a:lnTo>
                  <a:lnTo>
                    <a:pt x="484" y="227"/>
                  </a:lnTo>
                  <a:lnTo>
                    <a:pt x="484" y="229"/>
                  </a:lnTo>
                  <a:close/>
                  <a:moveTo>
                    <a:pt x="473" y="194"/>
                  </a:moveTo>
                  <a:lnTo>
                    <a:pt x="471" y="196"/>
                  </a:lnTo>
                  <a:lnTo>
                    <a:pt x="471" y="196"/>
                  </a:lnTo>
                  <a:lnTo>
                    <a:pt x="471" y="196"/>
                  </a:lnTo>
                  <a:lnTo>
                    <a:pt x="471" y="196"/>
                  </a:lnTo>
                  <a:lnTo>
                    <a:pt x="473" y="196"/>
                  </a:lnTo>
                  <a:lnTo>
                    <a:pt x="473" y="196"/>
                  </a:lnTo>
                  <a:lnTo>
                    <a:pt x="473" y="196"/>
                  </a:lnTo>
                  <a:lnTo>
                    <a:pt x="473" y="194"/>
                  </a:lnTo>
                  <a:close/>
                  <a:moveTo>
                    <a:pt x="451" y="194"/>
                  </a:moveTo>
                  <a:lnTo>
                    <a:pt x="449" y="194"/>
                  </a:lnTo>
                  <a:lnTo>
                    <a:pt x="449" y="194"/>
                  </a:lnTo>
                  <a:lnTo>
                    <a:pt x="449" y="194"/>
                  </a:lnTo>
                  <a:lnTo>
                    <a:pt x="449" y="196"/>
                  </a:lnTo>
                  <a:lnTo>
                    <a:pt x="449" y="196"/>
                  </a:lnTo>
                  <a:lnTo>
                    <a:pt x="451" y="194"/>
                  </a:lnTo>
                  <a:lnTo>
                    <a:pt x="451" y="194"/>
                  </a:lnTo>
                  <a:lnTo>
                    <a:pt x="451" y="194"/>
                  </a:lnTo>
                  <a:lnTo>
                    <a:pt x="451" y="194"/>
                  </a:lnTo>
                  <a:close/>
                  <a:moveTo>
                    <a:pt x="488" y="217"/>
                  </a:moveTo>
                  <a:lnTo>
                    <a:pt x="488" y="217"/>
                  </a:lnTo>
                  <a:lnTo>
                    <a:pt x="490" y="217"/>
                  </a:lnTo>
                  <a:lnTo>
                    <a:pt x="490" y="217"/>
                  </a:lnTo>
                  <a:lnTo>
                    <a:pt x="490" y="217"/>
                  </a:lnTo>
                  <a:lnTo>
                    <a:pt x="488" y="217"/>
                  </a:lnTo>
                  <a:lnTo>
                    <a:pt x="488" y="215"/>
                  </a:lnTo>
                  <a:lnTo>
                    <a:pt x="488" y="215"/>
                  </a:lnTo>
                  <a:lnTo>
                    <a:pt x="488" y="215"/>
                  </a:lnTo>
                  <a:lnTo>
                    <a:pt x="488" y="217"/>
                  </a:lnTo>
                  <a:lnTo>
                    <a:pt x="488" y="217"/>
                  </a:lnTo>
                  <a:lnTo>
                    <a:pt x="488" y="217"/>
                  </a:lnTo>
                  <a:close/>
                  <a:moveTo>
                    <a:pt x="488" y="235"/>
                  </a:moveTo>
                  <a:lnTo>
                    <a:pt x="488" y="235"/>
                  </a:lnTo>
                  <a:lnTo>
                    <a:pt x="488" y="235"/>
                  </a:lnTo>
                  <a:lnTo>
                    <a:pt x="488" y="235"/>
                  </a:lnTo>
                  <a:lnTo>
                    <a:pt x="488" y="235"/>
                  </a:lnTo>
                  <a:lnTo>
                    <a:pt x="488" y="235"/>
                  </a:lnTo>
                  <a:lnTo>
                    <a:pt x="488" y="235"/>
                  </a:lnTo>
                  <a:close/>
                  <a:moveTo>
                    <a:pt x="652" y="661"/>
                  </a:moveTo>
                  <a:lnTo>
                    <a:pt x="652" y="659"/>
                  </a:lnTo>
                  <a:lnTo>
                    <a:pt x="652" y="659"/>
                  </a:lnTo>
                  <a:lnTo>
                    <a:pt x="652" y="659"/>
                  </a:lnTo>
                  <a:lnTo>
                    <a:pt x="652" y="659"/>
                  </a:lnTo>
                  <a:lnTo>
                    <a:pt x="652" y="659"/>
                  </a:lnTo>
                  <a:lnTo>
                    <a:pt x="650" y="661"/>
                  </a:lnTo>
                  <a:lnTo>
                    <a:pt x="647" y="664"/>
                  </a:lnTo>
                  <a:lnTo>
                    <a:pt x="647" y="664"/>
                  </a:lnTo>
                  <a:lnTo>
                    <a:pt x="645" y="664"/>
                  </a:lnTo>
                  <a:lnTo>
                    <a:pt x="645" y="664"/>
                  </a:lnTo>
                  <a:lnTo>
                    <a:pt x="645" y="666"/>
                  </a:lnTo>
                  <a:lnTo>
                    <a:pt x="645" y="664"/>
                  </a:lnTo>
                  <a:lnTo>
                    <a:pt x="645" y="666"/>
                  </a:lnTo>
                  <a:lnTo>
                    <a:pt x="647" y="664"/>
                  </a:lnTo>
                  <a:lnTo>
                    <a:pt x="650" y="664"/>
                  </a:lnTo>
                  <a:lnTo>
                    <a:pt x="650"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4" y="661"/>
                  </a:lnTo>
                  <a:lnTo>
                    <a:pt x="654" y="661"/>
                  </a:lnTo>
                  <a:lnTo>
                    <a:pt x="652" y="661"/>
                  </a:lnTo>
                  <a:close/>
                  <a:moveTo>
                    <a:pt x="645" y="518"/>
                  </a:moveTo>
                  <a:lnTo>
                    <a:pt x="645" y="518"/>
                  </a:lnTo>
                  <a:lnTo>
                    <a:pt x="645" y="518"/>
                  </a:lnTo>
                  <a:lnTo>
                    <a:pt x="645" y="518"/>
                  </a:lnTo>
                  <a:lnTo>
                    <a:pt x="645" y="520"/>
                  </a:lnTo>
                  <a:lnTo>
                    <a:pt x="645" y="520"/>
                  </a:lnTo>
                  <a:lnTo>
                    <a:pt x="645" y="520"/>
                  </a:lnTo>
                  <a:lnTo>
                    <a:pt x="645" y="518"/>
                  </a:lnTo>
                  <a:close/>
                  <a:moveTo>
                    <a:pt x="615" y="664"/>
                  </a:moveTo>
                  <a:lnTo>
                    <a:pt x="613" y="664"/>
                  </a:lnTo>
                  <a:lnTo>
                    <a:pt x="613" y="664"/>
                  </a:lnTo>
                  <a:lnTo>
                    <a:pt x="613" y="666"/>
                  </a:lnTo>
                  <a:lnTo>
                    <a:pt x="613" y="664"/>
                  </a:lnTo>
                  <a:lnTo>
                    <a:pt x="613" y="664"/>
                  </a:lnTo>
                  <a:lnTo>
                    <a:pt x="615" y="666"/>
                  </a:lnTo>
                  <a:lnTo>
                    <a:pt x="615" y="666"/>
                  </a:lnTo>
                  <a:lnTo>
                    <a:pt x="617" y="666"/>
                  </a:lnTo>
                  <a:lnTo>
                    <a:pt x="617" y="668"/>
                  </a:lnTo>
                  <a:lnTo>
                    <a:pt x="617" y="666"/>
                  </a:lnTo>
                  <a:lnTo>
                    <a:pt x="615" y="666"/>
                  </a:lnTo>
                  <a:lnTo>
                    <a:pt x="615" y="664"/>
                  </a:lnTo>
                  <a:close/>
                  <a:moveTo>
                    <a:pt x="615" y="668"/>
                  </a:moveTo>
                  <a:lnTo>
                    <a:pt x="615" y="670"/>
                  </a:lnTo>
                  <a:lnTo>
                    <a:pt x="615" y="668"/>
                  </a:lnTo>
                  <a:lnTo>
                    <a:pt x="617" y="668"/>
                  </a:lnTo>
                  <a:lnTo>
                    <a:pt x="615" y="668"/>
                  </a:lnTo>
                  <a:lnTo>
                    <a:pt x="615" y="668"/>
                  </a:lnTo>
                  <a:close/>
                  <a:moveTo>
                    <a:pt x="613" y="670"/>
                  </a:moveTo>
                  <a:lnTo>
                    <a:pt x="613" y="670"/>
                  </a:lnTo>
                  <a:lnTo>
                    <a:pt x="613" y="670"/>
                  </a:lnTo>
                  <a:lnTo>
                    <a:pt x="613" y="670"/>
                  </a:lnTo>
                  <a:lnTo>
                    <a:pt x="613" y="670"/>
                  </a:lnTo>
                  <a:lnTo>
                    <a:pt x="613" y="670"/>
                  </a:lnTo>
                  <a:lnTo>
                    <a:pt x="613" y="670"/>
                  </a:lnTo>
                  <a:lnTo>
                    <a:pt x="613" y="670"/>
                  </a:lnTo>
                  <a:lnTo>
                    <a:pt x="613" y="670"/>
                  </a:lnTo>
                  <a:close/>
                  <a:moveTo>
                    <a:pt x="660" y="655"/>
                  </a:moveTo>
                  <a:lnTo>
                    <a:pt x="660" y="655"/>
                  </a:lnTo>
                  <a:lnTo>
                    <a:pt x="660" y="655"/>
                  </a:lnTo>
                  <a:lnTo>
                    <a:pt x="658" y="657"/>
                  </a:lnTo>
                  <a:lnTo>
                    <a:pt x="656" y="657"/>
                  </a:lnTo>
                  <a:lnTo>
                    <a:pt x="656" y="657"/>
                  </a:lnTo>
                  <a:lnTo>
                    <a:pt x="656" y="657"/>
                  </a:lnTo>
                  <a:lnTo>
                    <a:pt x="656" y="657"/>
                  </a:lnTo>
                  <a:lnTo>
                    <a:pt x="654" y="657"/>
                  </a:lnTo>
                  <a:lnTo>
                    <a:pt x="654" y="657"/>
                  </a:lnTo>
                  <a:lnTo>
                    <a:pt x="654" y="659"/>
                  </a:lnTo>
                  <a:lnTo>
                    <a:pt x="654" y="659"/>
                  </a:lnTo>
                  <a:lnTo>
                    <a:pt x="656" y="659"/>
                  </a:lnTo>
                  <a:lnTo>
                    <a:pt x="656" y="659"/>
                  </a:lnTo>
                  <a:lnTo>
                    <a:pt x="654" y="661"/>
                  </a:lnTo>
                  <a:lnTo>
                    <a:pt x="654" y="661"/>
                  </a:lnTo>
                  <a:lnTo>
                    <a:pt x="654" y="661"/>
                  </a:lnTo>
                  <a:lnTo>
                    <a:pt x="654" y="661"/>
                  </a:lnTo>
                  <a:lnTo>
                    <a:pt x="660" y="657"/>
                  </a:lnTo>
                  <a:lnTo>
                    <a:pt x="660" y="657"/>
                  </a:lnTo>
                  <a:lnTo>
                    <a:pt x="660" y="655"/>
                  </a:lnTo>
                  <a:close/>
                  <a:moveTo>
                    <a:pt x="664" y="526"/>
                  </a:moveTo>
                  <a:lnTo>
                    <a:pt x="664" y="526"/>
                  </a:lnTo>
                  <a:lnTo>
                    <a:pt x="664" y="526"/>
                  </a:lnTo>
                  <a:lnTo>
                    <a:pt x="664" y="524"/>
                  </a:lnTo>
                  <a:lnTo>
                    <a:pt x="664" y="524"/>
                  </a:lnTo>
                  <a:lnTo>
                    <a:pt x="664" y="524"/>
                  </a:lnTo>
                  <a:lnTo>
                    <a:pt x="666" y="524"/>
                  </a:lnTo>
                  <a:lnTo>
                    <a:pt x="666" y="524"/>
                  </a:lnTo>
                  <a:lnTo>
                    <a:pt x="666" y="522"/>
                  </a:lnTo>
                  <a:lnTo>
                    <a:pt x="664" y="522"/>
                  </a:lnTo>
                  <a:lnTo>
                    <a:pt x="664" y="522"/>
                  </a:lnTo>
                  <a:lnTo>
                    <a:pt x="662" y="520"/>
                  </a:lnTo>
                  <a:lnTo>
                    <a:pt x="662" y="520"/>
                  </a:lnTo>
                  <a:lnTo>
                    <a:pt x="660" y="520"/>
                  </a:lnTo>
                  <a:lnTo>
                    <a:pt x="658" y="520"/>
                  </a:lnTo>
                  <a:lnTo>
                    <a:pt x="658" y="522"/>
                  </a:lnTo>
                  <a:lnTo>
                    <a:pt x="660" y="522"/>
                  </a:lnTo>
                  <a:lnTo>
                    <a:pt x="660" y="524"/>
                  </a:lnTo>
                  <a:lnTo>
                    <a:pt x="660" y="524"/>
                  </a:lnTo>
                  <a:lnTo>
                    <a:pt x="660" y="524"/>
                  </a:lnTo>
                  <a:lnTo>
                    <a:pt x="662" y="524"/>
                  </a:lnTo>
                  <a:lnTo>
                    <a:pt x="662" y="526"/>
                  </a:lnTo>
                  <a:lnTo>
                    <a:pt x="664" y="526"/>
                  </a:lnTo>
                  <a:close/>
                  <a:moveTo>
                    <a:pt x="666" y="524"/>
                  </a:moveTo>
                  <a:lnTo>
                    <a:pt x="664" y="524"/>
                  </a:lnTo>
                  <a:lnTo>
                    <a:pt x="664" y="526"/>
                  </a:lnTo>
                  <a:lnTo>
                    <a:pt x="666" y="526"/>
                  </a:lnTo>
                  <a:lnTo>
                    <a:pt x="668" y="526"/>
                  </a:lnTo>
                  <a:lnTo>
                    <a:pt x="668" y="524"/>
                  </a:lnTo>
                  <a:lnTo>
                    <a:pt x="668" y="524"/>
                  </a:lnTo>
                  <a:lnTo>
                    <a:pt x="666" y="524"/>
                  </a:lnTo>
                  <a:lnTo>
                    <a:pt x="666" y="524"/>
                  </a:lnTo>
                  <a:lnTo>
                    <a:pt x="666" y="524"/>
                  </a:lnTo>
                  <a:lnTo>
                    <a:pt x="666" y="524"/>
                  </a:lnTo>
                  <a:lnTo>
                    <a:pt x="666" y="524"/>
                  </a:lnTo>
                  <a:close/>
                  <a:moveTo>
                    <a:pt x="611" y="668"/>
                  </a:moveTo>
                  <a:lnTo>
                    <a:pt x="613" y="668"/>
                  </a:lnTo>
                  <a:lnTo>
                    <a:pt x="611" y="668"/>
                  </a:lnTo>
                  <a:lnTo>
                    <a:pt x="611" y="668"/>
                  </a:lnTo>
                  <a:close/>
                  <a:moveTo>
                    <a:pt x="647" y="516"/>
                  </a:moveTo>
                  <a:lnTo>
                    <a:pt x="647" y="516"/>
                  </a:lnTo>
                  <a:lnTo>
                    <a:pt x="645" y="516"/>
                  </a:lnTo>
                  <a:lnTo>
                    <a:pt x="645" y="518"/>
                  </a:lnTo>
                  <a:lnTo>
                    <a:pt x="645" y="518"/>
                  </a:lnTo>
                  <a:lnTo>
                    <a:pt x="647" y="518"/>
                  </a:lnTo>
                  <a:lnTo>
                    <a:pt x="647" y="518"/>
                  </a:lnTo>
                  <a:lnTo>
                    <a:pt x="647" y="520"/>
                  </a:lnTo>
                  <a:lnTo>
                    <a:pt x="647" y="522"/>
                  </a:lnTo>
                  <a:lnTo>
                    <a:pt x="647" y="522"/>
                  </a:lnTo>
                  <a:lnTo>
                    <a:pt x="650" y="520"/>
                  </a:lnTo>
                  <a:lnTo>
                    <a:pt x="650" y="518"/>
                  </a:lnTo>
                  <a:lnTo>
                    <a:pt x="647" y="518"/>
                  </a:lnTo>
                  <a:lnTo>
                    <a:pt x="647" y="518"/>
                  </a:lnTo>
                  <a:lnTo>
                    <a:pt x="647" y="518"/>
                  </a:lnTo>
                  <a:lnTo>
                    <a:pt x="647" y="518"/>
                  </a:lnTo>
                  <a:lnTo>
                    <a:pt x="647" y="516"/>
                  </a:lnTo>
                  <a:close/>
                  <a:moveTo>
                    <a:pt x="654" y="520"/>
                  </a:moveTo>
                  <a:lnTo>
                    <a:pt x="654" y="522"/>
                  </a:lnTo>
                  <a:lnTo>
                    <a:pt x="654" y="520"/>
                  </a:lnTo>
                  <a:lnTo>
                    <a:pt x="656" y="522"/>
                  </a:lnTo>
                  <a:lnTo>
                    <a:pt x="656" y="522"/>
                  </a:lnTo>
                  <a:lnTo>
                    <a:pt x="656" y="522"/>
                  </a:lnTo>
                  <a:lnTo>
                    <a:pt x="658" y="524"/>
                  </a:lnTo>
                  <a:lnTo>
                    <a:pt x="658" y="522"/>
                  </a:lnTo>
                  <a:lnTo>
                    <a:pt x="658" y="522"/>
                  </a:lnTo>
                  <a:lnTo>
                    <a:pt x="658" y="522"/>
                  </a:lnTo>
                  <a:lnTo>
                    <a:pt x="658" y="522"/>
                  </a:lnTo>
                  <a:lnTo>
                    <a:pt x="656" y="520"/>
                  </a:lnTo>
                  <a:lnTo>
                    <a:pt x="656" y="518"/>
                  </a:lnTo>
                  <a:lnTo>
                    <a:pt x="656" y="518"/>
                  </a:lnTo>
                  <a:lnTo>
                    <a:pt x="654" y="518"/>
                  </a:lnTo>
                  <a:lnTo>
                    <a:pt x="654" y="520"/>
                  </a:lnTo>
                  <a:lnTo>
                    <a:pt x="652" y="520"/>
                  </a:lnTo>
                  <a:lnTo>
                    <a:pt x="652" y="520"/>
                  </a:lnTo>
                  <a:lnTo>
                    <a:pt x="652" y="522"/>
                  </a:lnTo>
                  <a:lnTo>
                    <a:pt x="652" y="522"/>
                  </a:lnTo>
                  <a:lnTo>
                    <a:pt x="652" y="522"/>
                  </a:lnTo>
                  <a:lnTo>
                    <a:pt x="652" y="522"/>
                  </a:lnTo>
                  <a:lnTo>
                    <a:pt x="652" y="522"/>
                  </a:lnTo>
                  <a:lnTo>
                    <a:pt x="652" y="522"/>
                  </a:lnTo>
                  <a:lnTo>
                    <a:pt x="652" y="522"/>
                  </a:lnTo>
                  <a:lnTo>
                    <a:pt x="652" y="520"/>
                  </a:lnTo>
                  <a:lnTo>
                    <a:pt x="652" y="520"/>
                  </a:lnTo>
                  <a:lnTo>
                    <a:pt x="654" y="520"/>
                  </a:lnTo>
                  <a:close/>
                  <a:moveTo>
                    <a:pt x="635" y="518"/>
                  </a:moveTo>
                  <a:lnTo>
                    <a:pt x="633" y="518"/>
                  </a:lnTo>
                  <a:lnTo>
                    <a:pt x="633" y="520"/>
                  </a:lnTo>
                  <a:lnTo>
                    <a:pt x="631" y="520"/>
                  </a:lnTo>
                  <a:lnTo>
                    <a:pt x="631" y="520"/>
                  </a:lnTo>
                  <a:lnTo>
                    <a:pt x="631" y="520"/>
                  </a:lnTo>
                  <a:lnTo>
                    <a:pt x="633" y="522"/>
                  </a:lnTo>
                  <a:lnTo>
                    <a:pt x="633" y="522"/>
                  </a:lnTo>
                  <a:lnTo>
                    <a:pt x="633" y="522"/>
                  </a:lnTo>
                  <a:lnTo>
                    <a:pt x="633" y="522"/>
                  </a:lnTo>
                  <a:lnTo>
                    <a:pt x="633" y="522"/>
                  </a:lnTo>
                  <a:lnTo>
                    <a:pt x="635" y="522"/>
                  </a:lnTo>
                  <a:lnTo>
                    <a:pt x="635" y="522"/>
                  </a:lnTo>
                  <a:lnTo>
                    <a:pt x="637" y="520"/>
                  </a:lnTo>
                  <a:lnTo>
                    <a:pt x="635" y="518"/>
                  </a:lnTo>
                  <a:lnTo>
                    <a:pt x="635" y="518"/>
                  </a:lnTo>
                  <a:close/>
                  <a:moveTo>
                    <a:pt x="541" y="672"/>
                  </a:moveTo>
                  <a:lnTo>
                    <a:pt x="541" y="672"/>
                  </a:lnTo>
                  <a:lnTo>
                    <a:pt x="541" y="672"/>
                  </a:lnTo>
                  <a:lnTo>
                    <a:pt x="541" y="672"/>
                  </a:lnTo>
                  <a:close/>
                  <a:moveTo>
                    <a:pt x="541" y="672"/>
                  </a:moveTo>
                  <a:lnTo>
                    <a:pt x="541" y="672"/>
                  </a:lnTo>
                  <a:lnTo>
                    <a:pt x="541" y="672"/>
                  </a:lnTo>
                  <a:lnTo>
                    <a:pt x="541" y="672"/>
                  </a:lnTo>
                  <a:close/>
                  <a:moveTo>
                    <a:pt x="541" y="672"/>
                  </a:moveTo>
                  <a:lnTo>
                    <a:pt x="541" y="672"/>
                  </a:lnTo>
                  <a:lnTo>
                    <a:pt x="541" y="672"/>
                  </a:lnTo>
                  <a:lnTo>
                    <a:pt x="541" y="672"/>
                  </a:lnTo>
                  <a:close/>
                  <a:moveTo>
                    <a:pt x="535" y="672"/>
                  </a:moveTo>
                  <a:lnTo>
                    <a:pt x="535" y="672"/>
                  </a:lnTo>
                  <a:lnTo>
                    <a:pt x="535" y="672"/>
                  </a:lnTo>
                  <a:lnTo>
                    <a:pt x="535" y="672"/>
                  </a:lnTo>
                  <a:close/>
                  <a:moveTo>
                    <a:pt x="523" y="381"/>
                  </a:moveTo>
                  <a:lnTo>
                    <a:pt x="518" y="377"/>
                  </a:lnTo>
                  <a:lnTo>
                    <a:pt x="514" y="373"/>
                  </a:lnTo>
                  <a:lnTo>
                    <a:pt x="514" y="373"/>
                  </a:lnTo>
                  <a:lnTo>
                    <a:pt x="514" y="373"/>
                  </a:lnTo>
                  <a:lnTo>
                    <a:pt x="512" y="370"/>
                  </a:lnTo>
                  <a:lnTo>
                    <a:pt x="512" y="373"/>
                  </a:lnTo>
                  <a:lnTo>
                    <a:pt x="514" y="375"/>
                  </a:lnTo>
                  <a:lnTo>
                    <a:pt x="514" y="375"/>
                  </a:lnTo>
                  <a:lnTo>
                    <a:pt x="516" y="377"/>
                  </a:lnTo>
                  <a:lnTo>
                    <a:pt x="521" y="381"/>
                  </a:lnTo>
                  <a:lnTo>
                    <a:pt x="523" y="381"/>
                  </a:lnTo>
                  <a:lnTo>
                    <a:pt x="523" y="381"/>
                  </a:lnTo>
                  <a:lnTo>
                    <a:pt x="523" y="381"/>
                  </a:lnTo>
                  <a:lnTo>
                    <a:pt x="523" y="381"/>
                  </a:lnTo>
                  <a:close/>
                  <a:moveTo>
                    <a:pt x="578" y="444"/>
                  </a:moveTo>
                  <a:lnTo>
                    <a:pt x="576" y="442"/>
                  </a:lnTo>
                  <a:lnTo>
                    <a:pt x="574" y="442"/>
                  </a:lnTo>
                  <a:lnTo>
                    <a:pt x="574" y="442"/>
                  </a:lnTo>
                  <a:lnTo>
                    <a:pt x="574" y="442"/>
                  </a:lnTo>
                  <a:lnTo>
                    <a:pt x="572" y="442"/>
                  </a:lnTo>
                  <a:lnTo>
                    <a:pt x="574" y="444"/>
                  </a:lnTo>
                  <a:lnTo>
                    <a:pt x="576" y="448"/>
                  </a:lnTo>
                  <a:lnTo>
                    <a:pt x="578" y="450"/>
                  </a:lnTo>
                  <a:lnTo>
                    <a:pt x="578" y="452"/>
                  </a:lnTo>
                  <a:lnTo>
                    <a:pt x="580" y="455"/>
                  </a:lnTo>
                  <a:lnTo>
                    <a:pt x="582" y="461"/>
                  </a:lnTo>
                  <a:lnTo>
                    <a:pt x="584" y="463"/>
                  </a:lnTo>
                  <a:lnTo>
                    <a:pt x="584" y="463"/>
                  </a:lnTo>
                  <a:lnTo>
                    <a:pt x="584" y="463"/>
                  </a:lnTo>
                  <a:lnTo>
                    <a:pt x="586" y="463"/>
                  </a:lnTo>
                  <a:lnTo>
                    <a:pt x="586" y="461"/>
                  </a:lnTo>
                  <a:lnTo>
                    <a:pt x="584" y="455"/>
                  </a:lnTo>
                  <a:lnTo>
                    <a:pt x="582" y="455"/>
                  </a:lnTo>
                  <a:lnTo>
                    <a:pt x="580" y="452"/>
                  </a:lnTo>
                  <a:lnTo>
                    <a:pt x="580" y="450"/>
                  </a:lnTo>
                  <a:lnTo>
                    <a:pt x="580" y="446"/>
                  </a:lnTo>
                  <a:lnTo>
                    <a:pt x="578" y="444"/>
                  </a:lnTo>
                  <a:close/>
                  <a:moveTo>
                    <a:pt x="611" y="670"/>
                  </a:moveTo>
                  <a:lnTo>
                    <a:pt x="611" y="670"/>
                  </a:lnTo>
                  <a:lnTo>
                    <a:pt x="611" y="670"/>
                  </a:lnTo>
                  <a:lnTo>
                    <a:pt x="611" y="670"/>
                  </a:lnTo>
                  <a:lnTo>
                    <a:pt x="611" y="670"/>
                  </a:lnTo>
                  <a:close/>
                  <a:moveTo>
                    <a:pt x="543" y="670"/>
                  </a:moveTo>
                  <a:lnTo>
                    <a:pt x="543" y="670"/>
                  </a:lnTo>
                  <a:lnTo>
                    <a:pt x="541" y="670"/>
                  </a:lnTo>
                  <a:lnTo>
                    <a:pt x="543" y="670"/>
                  </a:lnTo>
                  <a:lnTo>
                    <a:pt x="543" y="670"/>
                  </a:lnTo>
                  <a:lnTo>
                    <a:pt x="543" y="670"/>
                  </a:lnTo>
                  <a:lnTo>
                    <a:pt x="543" y="670"/>
                  </a:lnTo>
                  <a:lnTo>
                    <a:pt x="543" y="670"/>
                  </a:lnTo>
                  <a:lnTo>
                    <a:pt x="543" y="670"/>
                  </a:lnTo>
                  <a:close/>
                  <a:moveTo>
                    <a:pt x="611" y="668"/>
                  </a:moveTo>
                  <a:lnTo>
                    <a:pt x="611" y="668"/>
                  </a:lnTo>
                  <a:lnTo>
                    <a:pt x="611" y="668"/>
                  </a:lnTo>
                  <a:lnTo>
                    <a:pt x="611" y="668"/>
                  </a:lnTo>
                  <a:close/>
                  <a:moveTo>
                    <a:pt x="570" y="450"/>
                  </a:moveTo>
                  <a:lnTo>
                    <a:pt x="568" y="446"/>
                  </a:lnTo>
                  <a:lnTo>
                    <a:pt x="566" y="444"/>
                  </a:lnTo>
                  <a:lnTo>
                    <a:pt x="566" y="442"/>
                  </a:lnTo>
                  <a:lnTo>
                    <a:pt x="566" y="442"/>
                  </a:lnTo>
                  <a:lnTo>
                    <a:pt x="566" y="442"/>
                  </a:lnTo>
                  <a:lnTo>
                    <a:pt x="566" y="442"/>
                  </a:lnTo>
                  <a:lnTo>
                    <a:pt x="568" y="448"/>
                  </a:lnTo>
                  <a:lnTo>
                    <a:pt x="568" y="450"/>
                  </a:lnTo>
                  <a:lnTo>
                    <a:pt x="570" y="452"/>
                  </a:lnTo>
                  <a:lnTo>
                    <a:pt x="570" y="452"/>
                  </a:lnTo>
                  <a:lnTo>
                    <a:pt x="570" y="452"/>
                  </a:lnTo>
                  <a:lnTo>
                    <a:pt x="570" y="450"/>
                  </a:lnTo>
                  <a:close/>
                  <a:moveTo>
                    <a:pt x="670" y="645"/>
                  </a:moveTo>
                  <a:lnTo>
                    <a:pt x="668" y="645"/>
                  </a:lnTo>
                  <a:lnTo>
                    <a:pt x="668" y="645"/>
                  </a:lnTo>
                  <a:lnTo>
                    <a:pt x="668" y="645"/>
                  </a:lnTo>
                  <a:lnTo>
                    <a:pt x="668" y="645"/>
                  </a:lnTo>
                  <a:lnTo>
                    <a:pt x="668" y="645"/>
                  </a:lnTo>
                  <a:lnTo>
                    <a:pt x="668" y="645"/>
                  </a:lnTo>
                  <a:lnTo>
                    <a:pt x="668" y="645"/>
                  </a:lnTo>
                  <a:lnTo>
                    <a:pt x="668" y="645"/>
                  </a:lnTo>
                  <a:lnTo>
                    <a:pt x="668" y="645"/>
                  </a:lnTo>
                  <a:lnTo>
                    <a:pt x="668" y="645"/>
                  </a:lnTo>
                  <a:lnTo>
                    <a:pt x="668" y="647"/>
                  </a:lnTo>
                  <a:lnTo>
                    <a:pt x="668" y="647"/>
                  </a:lnTo>
                  <a:lnTo>
                    <a:pt x="668" y="647"/>
                  </a:lnTo>
                  <a:lnTo>
                    <a:pt x="668" y="647"/>
                  </a:lnTo>
                  <a:lnTo>
                    <a:pt x="668" y="647"/>
                  </a:lnTo>
                  <a:lnTo>
                    <a:pt x="668" y="647"/>
                  </a:lnTo>
                  <a:lnTo>
                    <a:pt x="668" y="647"/>
                  </a:lnTo>
                  <a:lnTo>
                    <a:pt x="668" y="649"/>
                  </a:lnTo>
                  <a:lnTo>
                    <a:pt x="668" y="649"/>
                  </a:lnTo>
                  <a:lnTo>
                    <a:pt x="668" y="649"/>
                  </a:lnTo>
                  <a:lnTo>
                    <a:pt x="670" y="649"/>
                  </a:lnTo>
                  <a:lnTo>
                    <a:pt x="672" y="649"/>
                  </a:lnTo>
                  <a:lnTo>
                    <a:pt x="672" y="649"/>
                  </a:lnTo>
                  <a:lnTo>
                    <a:pt x="672" y="651"/>
                  </a:lnTo>
                  <a:lnTo>
                    <a:pt x="672" y="651"/>
                  </a:lnTo>
                  <a:lnTo>
                    <a:pt x="670" y="649"/>
                  </a:lnTo>
                  <a:lnTo>
                    <a:pt x="670" y="649"/>
                  </a:lnTo>
                  <a:lnTo>
                    <a:pt x="670" y="649"/>
                  </a:lnTo>
                  <a:lnTo>
                    <a:pt x="666" y="649"/>
                  </a:lnTo>
                  <a:lnTo>
                    <a:pt x="666" y="649"/>
                  </a:lnTo>
                  <a:lnTo>
                    <a:pt x="666" y="649"/>
                  </a:lnTo>
                  <a:lnTo>
                    <a:pt x="666" y="649"/>
                  </a:lnTo>
                  <a:lnTo>
                    <a:pt x="666" y="649"/>
                  </a:lnTo>
                  <a:lnTo>
                    <a:pt x="668" y="651"/>
                  </a:lnTo>
                  <a:lnTo>
                    <a:pt x="670" y="651"/>
                  </a:lnTo>
                  <a:lnTo>
                    <a:pt x="668" y="651"/>
                  </a:lnTo>
                  <a:lnTo>
                    <a:pt x="668" y="653"/>
                  </a:lnTo>
                  <a:lnTo>
                    <a:pt x="668" y="653"/>
                  </a:lnTo>
                  <a:lnTo>
                    <a:pt x="668" y="653"/>
                  </a:lnTo>
                  <a:lnTo>
                    <a:pt x="666" y="655"/>
                  </a:lnTo>
                  <a:lnTo>
                    <a:pt x="664" y="653"/>
                  </a:lnTo>
                  <a:lnTo>
                    <a:pt x="664" y="653"/>
                  </a:lnTo>
                  <a:lnTo>
                    <a:pt x="664" y="653"/>
                  </a:lnTo>
                  <a:lnTo>
                    <a:pt x="664" y="655"/>
                  </a:lnTo>
                  <a:lnTo>
                    <a:pt x="662" y="657"/>
                  </a:lnTo>
                  <a:lnTo>
                    <a:pt x="662" y="657"/>
                  </a:lnTo>
                  <a:lnTo>
                    <a:pt x="662" y="657"/>
                  </a:lnTo>
                  <a:lnTo>
                    <a:pt x="662" y="657"/>
                  </a:lnTo>
                  <a:lnTo>
                    <a:pt x="668" y="653"/>
                  </a:lnTo>
                  <a:lnTo>
                    <a:pt x="672" y="653"/>
                  </a:lnTo>
                  <a:lnTo>
                    <a:pt x="674" y="649"/>
                  </a:lnTo>
                  <a:lnTo>
                    <a:pt x="674" y="649"/>
                  </a:lnTo>
                  <a:lnTo>
                    <a:pt x="670" y="645"/>
                  </a:lnTo>
                  <a:close/>
                  <a:moveTo>
                    <a:pt x="564" y="434"/>
                  </a:moveTo>
                  <a:lnTo>
                    <a:pt x="561" y="432"/>
                  </a:lnTo>
                  <a:lnTo>
                    <a:pt x="561" y="432"/>
                  </a:lnTo>
                  <a:lnTo>
                    <a:pt x="561" y="432"/>
                  </a:lnTo>
                  <a:lnTo>
                    <a:pt x="561" y="432"/>
                  </a:lnTo>
                  <a:lnTo>
                    <a:pt x="561" y="432"/>
                  </a:lnTo>
                  <a:lnTo>
                    <a:pt x="561" y="432"/>
                  </a:lnTo>
                  <a:lnTo>
                    <a:pt x="561" y="434"/>
                  </a:lnTo>
                  <a:lnTo>
                    <a:pt x="564" y="440"/>
                  </a:lnTo>
                  <a:lnTo>
                    <a:pt x="564" y="442"/>
                  </a:lnTo>
                  <a:lnTo>
                    <a:pt x="564" y="442"/>
                  </a:lnTo>
                  <a:lnTo>
                    <a:pt x="564" y="442"/>
                  </a:lnTo>
                  <a:lnTo>
                    <a:pt x="564" y="438"/>
                  </a:lnTo>
                  <a:lnTo>
                    <a:pt x="564" y="436"/>
                  </a:lnTo>
                  <a:lnTo>
                    <a:pt x="564" y="434"/>
                  </a:lnTo>
                  <a:close/>
                  <a:moveTo>
                    <a:pt x="701" y="571"/>
                  </a:moveTo>
                  <a:lnTo>
                    <a:pt x="701" y="571"/>
                  </a:lnTo>
                  <a:lnTo>
                    <a:pt x="701" y="571"/>
                  </a:lnTo>
                  <a:lnTo>
                    <a:pt x="703" y="569"/>
                  </a:lnTo>
                  <a:lnTo>
                    <a:pt x="703" y="569"/>
                  </a:lnTo>
                  <a:lnTo>
                    <a:pt x="703" y="569"/>
                  </a:lnTo>
                  <a:lnTo>
                    <a:pt x="701" y="569"/>
                  </a:lnTo>
                  <a:lnTo>
                    <a:pt x="701" y="569"/>
                  </a:lnTo>
                  <a:lnTo>
                    <a:pt x="699" y="569"/>
                  </a:lnTo>
                  <a:lnTo>
                    <a:pt x="699" y="569"/>
                  </a:lnTo>
                  <a:lnTo>
                    <a:pt x="699" y="569"/>
                  </a:lnTo>
                  <a:lnTo>
                    <a:pt x="699" y="569"/>
                  </a:lnTo>
                  <a:lnTo>
                    <a:pt x="699" y="569"/>
                  </a:lnTo>
                  <a:lnTo>
                    <a:pt x="701" y="571"/>
                  </a:lnTo>
                  <a:close/>
                  <a:moveTo>
                    <a:pt x="713" y="575"/>
                  </a:moveTo>
                  <a:lnTo>
                    <a:pt x="715" y="575"/>
                  </a:lnTo>
                  <a:lnTo>
                    <a:pt x="715" y="575"/>
                  </a:lnTo>
                  <a:lnTo>
                    <a:pt x="715" y="575"/>
                  </a:lnTo>
                  <a:lnTo>
                    <a:pt x="713" y="575"/>
                  </a:lnTo>
                  <a:lnTo>
                    <a:pt x="713" y="575"/>
                  </a:lnTo>
                  <a:lnTo>
                    <a:pt x="713" y="575"/>
                  </a:lnTo>
                  <a:lnTo>
                    <a:pt x="713" y="575"/>
                  </a:lnTo>
                  <a:lnTo>
                    <a:pt x="713" y="575"/>
                  </a:lnTo>
                  <a:lnTo>
                    <a:pt x="713" y="575"/>
                  </a:lnTo>
                  <a:close/>
                  <a:moveTo>
                    <a:pt x="715" y="580"/>
                  </a:moveTo>
                  <a:lnTo>
                    <a:pt x="717" y="580"/>
                  </a:lnTo>
                  <a:lnTo>
                    <a:pt x="717" y="580"/>
                  </a:lnTo>
                  <a:lnTo>
                    <a:pt x="717" y="577"/>
                  </a:lnTo>
                  <a:lnTo>
                    <a:pt x="717" y="577"/>
                  </a:lnTo>
                  <a:lnTo>
                    <a:pt x="717" y="577"/>
                  </a:lnTo>
                  <a:lnTo>
                    <a:pt x="717" y="577"/>
                  </a:lnTo>
                  <a:lnTo>
                    <a:pt x="717" y="577"/>
                  </a:lnTo>
                  <a:lnTo>
                    <a:pt x="717" y="577"/>
                  </a:lnTo>
                  <a:lnTo>
                    <a:pt x="717" y="577"/>
                  </a:lnTo>
                  <a:lnTo>
                    <a:pt x="717" y="577"/>
                  </a:lnTo>
                  <a:lnTo>
                    <a:pt x="717" y="577"/>
                  </a:lnTo>
                  <a:lnTo>
                    <a:pt x="715" y="580"/>
                  </a:lnTo>
                  <a:close/>
                  <a:moveTo>
                    <a:pt x="705" y="571"/>
                  </a:moveTo>
                  <a:lnTo>
                    <a:pt x="707" y="569"/>
                  </a:lnTo>
                  <a:lnTo>
                    <a:pt x="707" y="569"/>
                  </a:lnTo>
                  <a:lnTo>
                    <a:pt x="705" y="569"/>
                  </a:lnTo>
                  <a:lnTo>
                    <a:pt x="705" y="569"/>
                  </a:lnTo>
                  <a:lnTo>
                    <a:pt x="703" y="569"/>
                  </a:lnTo>
                  <a:lnTo>
                    <a:pt x="705" y="571"/>
                  </a:lnTo>
                  <a:lnTo>
                    <a:pt x="705" y="571"/>
                  </a:lnTo>
                  <a:lnTo>
                    <a:pt x="705" y="571"/>
                  </a:lnTo>
                  <a:close/>
                  <a:moveTo>
                    <a:pt x="703" y="571"/>
                  </a:moveTo>
                  <a:lnTo>
                    <a:pt x="703" y="573"/>
                  </a:lnTo>
                  <a:lnTo>
                    <a:pt x="705" y="575"/>
                  </a:lnTo>
                  <a:lnTo>
                    <a:pt x="705" y="575"/>
                  </a:lnTo>
                  <a:lnTo>
                    <a:pt x="707" y="573"/>
                  </a:lnTo>
                  <a:lnTo>
                    <a:pt x="707" y="573"/>
                  </a:lnTo>
                  <a:lnTo>
                    <a:pt x="707" y="571"/>
                  </a:lnTo>
                  <a:lnTo>
                    <a:pt x="707" y="571"/>
                  </a:lnTo>
                  <a:lnTo>
                    <a:pt x="707" y="571"/>
                  </a:lnTo>
                  <a:lnTo>
                    <a:pt x="705" y="571"/>
                  </a:lnTo>
                  <a:lnTo>
                    <a:pt x="703" y="571"/>
                  </a:lnTo>
                  <a:lnTo>
                    <a:pt x="703" y="571"/>
                  </a:lnTo>
                  <a:close/>
                  <a:moveTo>
                    <a:pt x="703" y="567"/>
                  </a:moveTo>
                  <a:lnTo>
                    <a:pt x="703" y="567"/>
                  </a:lnTo>
                  <a:lnTo>
                    <a:pt x="701" y="567"/>
                  </a:lnTo>
                  <a:lnTo>
                    <a:pt x="699" y="567"/>
                  </a:lnTo>
                  <a:lnTo>
                    <a:pt x="699" y="567"/>
                  </a:lnTo>
                  <a:lnTo>
                    <a:pt x="699" y="567"/>
                  </a:lnTo>
                  <a:lnTo>
                    <a:pt x="699" y="567"/>
                  </a:lnTo>
                  <a:lnTo>
                    <a:pt x="703" y="567"/>
                  </a:lnTo>
                  <a:close/>
                  <a:moveTo>
                    <a:pt x="516" y="358"/>
                  </a:moveTo>
                  <a:lnTo>
                    <a:pt x="516" y="358"/>
                  </a:lnTo>
                  <a:lnTo>
                    <a:pt x="516" y="358"/>
                  </a:lnTo>
                  <a:lnTo>
                    <a:pt x="516" y="358"/>
                  </a:lnTo>
                  <a:lnTo>
                    <a:pt x="516" y="358"/>
                  </a:lnTo>
                  <a:lnTo>
                    <a:pt x="516" y="358"/>
                  </a:lnTo>
                  <a:lnTo>
                    <a:pt x="516" y="358"/>
                  </a:lnTo>
                  <a:lnTo>
                    <a:pt x="518" y="358"/>
                  </a:lnTo>
                  <a:lnTo>
                    <a:pt x="518" y="358"/>
                  </a:lnTo>
                  <a:lnTo>
                    <a:pt x="518" y="358"/>
                  </a:lnTo>
                  <a:lnTo>
                    <a:pt x="518" y="358"/>
                  </a:lnTo>
                  <a:lnTo>
                    <a:pt x="518" y="358"/>
                  </a:lnTo>
                  <a:lnTo>
                    <a:pt x="518" y="358"/>
                  </a:lnTo>
                  <a:lnTo>
                    <a:pt x="518" y="358"/>
                  </a:lnTo>
                  <a:lnTo>
                    <a:pt x="518" y="358"/>
                  </a:lnTo>
                  <a:lnTo>
                    <a:pt x="516" y="358"/>
                  </a:lnTo>
                  <a:close/>
                  <a:moveTo>
                    <a:pt x="717" y="575"/>
                  </a:moveTo>
                  <a:lnTo>
                    <a:pt x="719" y="575"/>
                  </a:lnTo>
                  <a:lnTo>
                    <a:pt x="719" y="577"/>
                  </a:lnTo>
                  <a:lnTo>
                    <a:pt x="719" y="577"/>
                  </a:lnTo>
                  <a:lnTo>
                    <a:pt x="719" y="575"/>
                  </a:lnTo>
                  <a:lnTo>
                    <a:pt x="719" y="575"/>
                  </a:lnTo>
                  <a:lnTo>
                    <a:pt x="719" y="573"/>
                  </a:lnTo>
                  <a:lnTo>
                    <a:pt x="717" y="573"/>
                  </a:lnTo>
                  <a:lnTo>
                    <a:pt x="717" y="573"/>
                  </a:lnTo>
                  <a:lnTo>
                    <a:pt x="717" y="575"/>
                  </a:lnTo>
                  <a:lnTo>
                    <a:pt x="717" y="575"/>
                  </a:lnTo>
                  <a:lnTo>
                    <a:pt x="717" y="575"/>
                  </a:lnTo>
                  <a:close/>
                  <a:moveTo>
                    <a:pt x="674" y="645"/>
                  </a:moveTo>
                  <a:lnTo>
                    <a:pt x="674" y="643"/>
                  </a:lnTo>
                  <a:lnTo>
                    <a:pt x="674" y="643"/>
                  </a:lnTo>
                  <a:lnTo>
                    <a:pt x="674" y="643"/>
                  </a:lnTo>
                  <a:lnTo>
                    <a:pt x="672" y="643"/>
                  </a:lnTo>
                  <a:lnTo>
                    <a:pt x="672" y="643"/>
                  </a:lnTo>
                  <a:lnTo>
                    <a:pt x="672" y="643"/>
                  </a:lnTo>
                  <a:lnTo>
                    <a:pt x="672" y="645"/>
                  </a:lnTo>
                  <a:lnTo>
                    <a:pt x="672" y="645"/>
                  </a:lnTo>
                  <a:lnTo>
                    <a:pt x="672" y="647"/>
                  </a:lnTo>
                  <a:lnTo>
                    <a:pt x="672" y="647"/>
                  </a:lnTo>
                  <a:lnTo>
                    <a:pt x="672" y="647"/>
                  </a:lnTo>
                  <a:lnTo>
                    <a:pt x="674" y="647"/>
                  </a:lnTo>
                  <a:lnTo>
                    <a:pt x="674" y="647"/>
                  </a:lnTo>
                  <a:lnTo>
                    <a:pt x="674" y="647"/>
                  </a:lnTo>
                  <a:lnTo>
                    <a:pt x="674" y="647"/>
                  </a:lnTo>
                  <a:lnTo>
                    <a:pt x="676" y="647"/>
                  </a:lnTo>
                  <a:lnTo>
                    <a:pt x="676" y="647"/>
                  </a:lnTo>
                  <a:lnTo>
                    <a:pt x="676" y="647"/>
                  </a:lnTo>
                  <a:lnTo>
                    <a:pt x="676" y="645"/>
                  </a:lnTo>
                  <a:lnTo>
                    <a:pt x="674" y="645"/>
                  </a:lnTo>
                  <a:close/>
                  <a:moveTo>
                    <a:pt x="496" y="254"/>
                  </a:moveTo>
                  <a:lnTo>
                    <a:pt x="496" y="254"/>
                  </a:lnTo>
                  <a:lnTo>
                    <a:pt x="496" y="254"/>
                  </a:lnTo>
                  <a:lnTo>
                    <a:pt x="496" y="254"/>
                  </a:lnTo>
                  <a:lnTo>
                    <a:pt x="496" y="252"/>
                  </a:lnTo>
                  <a:lnTo>
                    <a:pt x="496" y="252"/>
                  </a:lnTo>
                  <a:lnTo>
                    <a:pt x="496" y="252"/>
                  </a:lnTo>
                  <a:lnTo>
                    <a:pt x="496" y="252"/>
                  </a:lnTo>
                  <a:lnTo>
                    <a:pt x="496" y="254"/>
                  </a:lnTo>
                  <a:close/>
                  <a:moveTo>
                    <a:pt x="758" y="575"/>
                  </a:moveTo>
                  <a:lnTo>
                    <a:pt x="758" y="575"/>
                  </a:lnTo>
                  <a:lnTo>
                    <a:pt x="758" y="575"/>
                  </a:lnTo>
                  <a:lnTo>
                    <a:pt x="756" y="575"/>
                  </a:lnTo>
                  <a:lnTo>
                    <a:pt x="756" y="575"/>
                  </a:lnTo>
                  <a:lnTo>
                    <a:pt x="756" y="575"/>
                  </a:lnTo>
                  <a:lnTo>
                    <a:pt x="758" y="575"/>
                  </a:lnTo>
                  <a:lnTo>
                    <a:pt x="758" y="575"/>
                  </a:lnTo>
                  <a:close/>
                  <a:moveTo>
                    <a:pt x="746" y="586"/>
                  </a:moveTo>
                  <a:lnTo>
                    <a:pt x="746" y="584"/>
                  </a:lnTo>
                  <a:lnTo>
                    <a:pt x="744" y="584"/>
                  </a:lnTo>
                  <a:lnTo>
                    <a:pt x="744" y="586"/>
                  </a:lnTo>
                  <a:lnTo>
                    <a:pt x="746" y="586"/>
                  </a:lnTo>
                  <a:lnTo>
                    <a:pt x="746" y="586"/>
                  </a:lnTo>
                  <a:close/>
                  <a:moveTo>
                    <a:pt x="748" y="608"/>
                  </a:moveTo>
                  <a:lnTo>
                    <a:pt x="748" y="608"/>
                  </a:lnTo>
                  <a:lnTo>
                    <a:pt x="748" y="608"/>
                  </a:lnTo>
                  <a:lnTo>
                    <a:pt x="748" y="608"/>
                  </a:lnTo>
                  <a:close/>
                  <a:moveTo>
                    <a:pt x="748" y="586"/>
                  </a:moveTo>
                  <a:lnTo>
                    <a:pt x="748" y="586"/>
                  </a:lnTo>
                  <a:lnTo>
                    <a:pt x="748" y="586"/>
                  </a:lnTo>
                  <a:lnTo>
                    <a:pt x="748" y="586"/>
                  </a:lnTo>
                  <a:lnTo>
                    <a:pt x="748" y="586"/>
                  </a:lnTo>
                  <a:lnTo>
                    <a:pt x="748" y="586"/>
                  </a:lnTo>
                  <a:lnTo>
                    <a:pt x="748" y="588"/>
                  </a:lnTo>
                  <a:lnTo>
                    <a:pt x="748" y="588"/>
                  </a:lnTo>
                  <a:lnTo>
                    <a:pt x="748" y="586"/>
                  </a:lnTo>
                  <a:lnTo>
                    <a:pt x="748" y="586"/>
                  </a:lnTo>
                  <a:lnTo>
                    <a:pt x="748" y="586"/>
                  </a:lnTo>
                  <a:close/>
                  <a:moveTo>
                    <a:pt x="742" y="584"/>
                  </a:moveTo>
                  <a:lnTo>
                    <a:pt x="742" y="584"/>
                  </a:lnTo>
                  <a:lnTo>
                    <a:pt x="742" y="584"/>
                  </a:lnTo>
                  <a:lnTo>
                    <a:pt x="742" y="584"/>
                  </a:lnTo>
                  <a:close/>
                  <a:moveTo>
                    <a:pt x="746" y="612"/>
                  </a:moveTo>
                  <a:lnTo>
                    <a:pt x="746" y="612"/>
                  </a:lnTo>
                  <a:lnTo>
                    <a:pt x="744" y="614"/>
                  </a:lnTo>
                  <a:lnTo>
                    <a:pt x="744" y="614"/>
                  </a:lnTo>
                  <a:lnTo>
                    <a:pt x="746" y="614"/>
                  </a:lnTo>
                  <a:lnTo>
                    <a:pt x="746" y="612"/>
                  </a:lnTo>
                  <a:lnTo>
                    <a:pt x="748" y="612"/>
                  </a:lnTo>
                  <a:lnTo>
                    <a:pt x="748" y="610"/>
                  </a:lnTo>
                  <a:lnTo>
                    <a:pt x="748" y="610"/>
                  </a:lnTo>
                  <a:lnTo>
                    <a:pt x="746" y="612"/>
                  </a:lnTo>
                  <a:close/>
                  <a:moveTo>
                    <a:pt x="754" y="602"/>
                  </a:moveTo>
                  <a:lnTo>
                    <a:pt x="754" y="604"/>
                  </a:lnTo>
                  <a:lnTo>
                    <a:pt x="752" y="608"/>
                  </a:lnTo>
                  <a:lnTo>
                    <a:pt x="752" y="606"/>
                  </a:lnTo>
                  <a:lnTo>
                    <a:pt x="754" y="604"/>
                  </a:lnTo>
                  <a:lnTo>
                    <a:pt x="754" y="604"/>
                  </a:lnTo>
                  <a:lnTo>
                    <a:pt x="754" y="602"/>
                  </a:lnTo>
                  <a:lnTo>
                    <a:pt x="754" y="602"/>
                  </a:lnTo>
                  <a:close/>
                  <a:moveTo>
                    <a:pt x="750" y="586"/>
                  </a:moveTo>
                  <a:lnTo>
                    <a:pt x="750" y="586"/>
                  </a:lnTo>
                  <a:lnTo>
                    <a:pt x="750" y="584"/>
                  </a:lnTo>
                  <a:lnTo>
                    <a:pt x="748" y="582"/>
                  </a:lnTo>
                  <a:lnTo>
                    <a:pt x="748" y="582"/>
                  </a:lnTo>
                  <a:lnTo>
                    <a:pt x="748" y="584"/>
                  </a:lnTo>
                  <a:lnTo>
                    <a:pt x="748" y="584"/>
                  </a:lnTo>
                  <a:lnTo>
                    <a:pt x="750" y="586"/>
                  </a:lnTo>
                  <a:close/>
                  <a:moveTo>
                    <a:pt x="781" y="553"/>
                  </a:moveTo>
                  <a:lnTo>
                    <a:pt x="779" y="555"/>
                  </a:lnTo>
                  <a:lnTo>
                    <a:pt x="777" y="559"/>
                  </a:lnTo>
                  <a:lnTo>
                    <a:pt x="774" y="559"/>
                  </a:lnTo>
                  <a:lnTo>
                    <a:pt x="772" y="561"/>
                  </a:lnTo>
                  <a:lnTo>
                    <a:pt x="772" y="561"/>
                  </a:lnTo>
                  <a:lnTo>
                    <a:pt x="772" y="563"/>
                  </a:lnTo>
                  <a:lnTo>
                    <a:pt x="772" y="563"/>
                  </a:lnTo>
                  <a:lnTo>
                    <a:pt x="774" y="563"/>
                  </a:lnTo>
                  <a:lnTo>
                    <a:pt x="774" y="565"/>
                  </a:lnTo>
                  <a:lnTo>
                    <a:pt x="774" y="567"/>
                  </a:lnTo>
                  <a:lnTo>
                    <a:pt x="770" y="571"/>
                  </a:lnTo>
                  <a:lnTo>
                    <a:pt x="770" y="577"/>
                  </a:lnTo>
                  <a:lnTo>
                    <a:pt x="766" y="577"/>
                  </a:lnTo>
                  <a:lnTo>
                    <a:pt x="766" y="580"/>
                  </a:lnTo>
                  <a:lnTo>
                    <a:pt x="766" y="580"/>
                  </a:lnTo>
                  <a:lnTo>
                    <a:pt x="766" y="580"/>
                  </a:lnTo>
                  <a:lnTo>
                    <a:pt x="766" y="577"/>
                  </a:lnTo>
                  <a:lnTo>
                    <a:pt x="766" y="577"/>
                  </a:lnTo>
                  <a:lnTo>
                    <a:pt x="768" y="580"/>
                  </a:lnTo>
                  <a:lnTo>
                    <a:pt x="768" y="580"/>
                  </a:lnTo>
                  <a:lnTo>
                    <a:pt x="768" y="582"/>
                  </a:lnTo>
                  <a:lnTo>
                    <a:pt x="768" y="580"/>
                  </a:lnTo>
                  <a:lnTo>
                    <a:pt x="768" y="580"/>
                  </a:lnTo>
                  <a:lnTo>
                    <a:pt x="768" y="580"/>
                  </a:lnTo>
                  <a:lnTo>
                    <a:pt x="768" y="580"/>
                  </a:lnTo>
                  <a:lnTo>
                    <a:pt x="768" y="582"/>
                  </a:lnTo>
                  <a:lnTo>
                    <a:pt x="768" y="582"/>
                  </a:lnTo>
                  <a:lnTo>
                    <a:pt x="768" y="584"/>
                  </a:lnTo>
                  <a:lnTo>
                    <a:pt x="766" y="584"/>
                  </a:lnTo>
                  <a:lnTo>
                    <a:pt x="764" y="584"/>
                  </a:lnTo>
                  <a:lnTo>
                    <a:pt x="764" y="586"/>
                  </a:lnTo>
                  <a:lnTo>
                    <a:pt x="764" y="588"/>
                  </a:lnTo>
                  <a:lnTo>
                    <a:pt x="762" y="590"/>
                  </a:lnTo>
                  <a:lnTo>
                    <a:pt x="762" y="592"/>
                  </a:lnTo>
                  <a:lnTo>
                    <a:pt x="760" y="594"/>
                  </a:lnTo>
                  <a:lnTo>
                    <a:pt x="760" y="594"/>
                  </a:lnTo>
                  <a:lnTo>
                    <a:pt x="760" y="594"/>
                  </a:lnTo>
                  <a:lnTo>
                    <a:pt x="758" y="598"/>
                  </a:lnTo>
                  <a:lnTo>
                    <a:pt x="758" y="598"/>
                  </a:lnTo>
                  <a:lnTo>
                    <a:pt x="756" y="600"/>
                  </a:lnTo>
                  <a:lnTo>
                    <a:pt x="756" y="600"/>
                  </a:lnTo>
                  <a:lnTo>
                    <a:pt x="756" y="602"/>
                  </a:lnTo>
                  <a:lnTo>
                    <a:pt x="756" y="602"/>
                  </a:lnTo>
                  <a:lnTo>
                    <a:pt x="756" y="602"/>
                  </a:lnTo>
                  <a:lnTo>
                    <a:pt x="758" y="600"/>
                  </a:lnTo>
                  <a:lnTo>
                    <a:pt x="760" y="598"/>
                  </a:lnTo>
                  <a:lnTo>
                    <a:pt x="762" y="594"/>
                  </a:lnTo>
                  <a:lnTo>
                    <a:pt x="764" y="590"/>
                  </a:lnTo>
                  <a:lnTo>
                    <a:pt x="766" y="588"/>
                  </a:lnTo>
                  <a:lnTo>
                    <a:pt x="766" y="586"/>
                  </a:lnTo>
                  <a:lnTo>
                    <a:pt x="766" y="586"/>
                  </a:lnTo>
                  <a:lnTo>
                    <a:pt x="768" y="586"/>
                  </a:lnTo>
                  <a:lnTo>
                    <a:pt x="768" y="584"/>
                  </a:lnTo>
                  <a:lnTo>
                    <a:pt x="774" y="575"/>
                  </a:lnTo>
                  <a:lnTo>
                    <a:pt x="774" y="575"/>
                  </a:lnTo>
                  <a:lnTo>
                    <a:pt x="774" y="573"/>
                  </a:lnTo>
                  <a:lnTo>
                    <a:pt x="774" y="569"/>
                  </a:lnTo>
                  <a:lnTo>
                    <a:pt x="777" y="565"/>
                  </a:lnTo>
                  <a:lnTo>
                    <a:pt x="781" y="561"/>
                  </a:lnTo>
                  <a:lnTo>
                    <a:pt x="781" y="559"/>
                  </a:lnTo>
                  <a:lnTo>
                    <a:pt x="781" y="559"/>
                  </a:lnTo>
                  <a:lnTo>
                    <a:pt x="781" y="557"/>
                  </a:lnTo>
                  <a:lnTo>
                    <a:pt x="781" y="557"/>
                  </a:lnTo>
                  <a:lnTo>
                    <a:pt x="781" y="555"/>
                  </a:lnTo>
                  <a:lnTo>
                    <a:pt x="781" y="555"/>
                  </a:lnTo>
                  <a:lnTo>
                    <a:pt x="783" y="555"/>
                  </a:lnTo>
                  <a:lnTo>
                    <a:pt x="783" y="555"/>
                  </a:lnTo>
                  <a:lnTo>
                    <a:pt x="783" y="553"/>
                  </a:lnTo>
                  <a:lnTo>
                    <a:pt x="781" y="553"/>
                  </a:lnTo>
                  <a:lnTo>
                    <a:pt x="781" y="553"/>
                  </a:lnTo>
                  <a:close/>
                  <a:moveTo>
                    <a:pt x="754" y="577"/>
                  </a:moveTo>
                  <a:lnTo>
                    <a:pt x="752" y="577"/>
                  </a:lnTo>
                  <a:lnTo>
                    <a:pt x="752" y="577"/>
                  </a:lnTo>
                  <a:lnTo>
                    <a:pt x="752" y="577"/>
                  </a:lnTo>
                  <a:lnTo>
                    <a:pt x="752" y="580"/>
                  </a:lnTo>
                  <a:lnTo>
                    <a:pt x="752" y="580"/>
                  </a:lnTo>
                  <a:lnTo>
                    <a:pt x="754" y="577"/>
                  </a:lnTo>
                  <a:close/>
                  <a:moveTo>
                    <a:pt x="748" y="588"/>
                  </a:moveTo>
                  <a:lnTo>
                    <a:pt x="750" y="590"/>
                  </a:lnTo>
                  <a:lnTo>
                    <a:pt x="750" y="588"/>
                  </a:lnTo>
                  <a:lnTo>
                    <a:pt x="750" y="588"/>
                  </a:lnTo>
                  <a:lnTo>
                    <a:pt x="748" y="588"/>
                  </a:lnTo>
                  <a:close/>
                  <a:moveTo>
                    <a:pt x="742" y="598"/>
                  </a:moveTo>
                  <a:lnTo>
                    <a:pt x="744" y="598"/>
                  </a:lnTo>
                  <a:lnTo>
                    <a:pt x="742" y="598"/>
                  </a:lnTo>
                  <a:lnTo>
                    <a:pt x="742" y="598"/>
                  </a:lnTo>
                  <a:close/>
                  <a:moveTo>
                    <a:pt x="746" y="586"/>
                  </a:moveTo>
                  <a:lnTo>
                    <a:pt x="746" y="586"/>
                  </a:lnTo>
                  <a:lnTo>
                    <a:pt x="748" y="588"/>
                  </a:lnTo>
                  <a:lnTo>
                    <a:pt x="746" y="586"/>
                  </a:lnTo>
                  <a:close/>
                  <a:moveTo>
                    <a:pt x="697" y="641"/>
                  </a:moveTo>
                  <a:lnTo>
                    <a:pt x="695" y="643"/>
                  </a:lnTo>
                  <a:lnTo>
                    <a:pt x="697" y="643"/>
                  </a:lnTo>
                  <a:lnTo>
                    <a:pt x="697" y="643"/>
                  </a:lnTo>
                  <a:lnTo>
                    <a:pt x="697" y="643"/>
                  </a:lnTo>
                  <a:lnTo>
                    <a:pt x="697" y="641"/>
                  </a:lnTo>
                  <a:lnTo>
                    <a:pt x="697" y="641"/>
                  </a:lnTo>
                  <a:close/>
                  <a:moveTo>
                    <a:pt x="684" y="639"/>
                  </a:moveTo>
                  <a:lnTo>
                    <a:pt x="680" y="637"/>
                  </a:lnTo>
                  <a:lnTo>
                    <a:pt x="680" y="637"/>
                  </a:lnTo>
                  <a:lnTo>
                    <a:pt x="680" y="637"/>
                  </a:lnTo>
                  <a:lnTo>
                    <a:pt x="680" y="637"/>
                  </a:lnTo>
                  <a:lnTo>
                    <a:pt x="680" y="637"/>
                  </a:lnTo>
                  <a:lnTo>
                    <a:pt x="678" y="637"/>
                  </a:lnTo>
                  <a:lnTo>
                    <a:pt x="680" y="637"/>
                  </a:lnTo>
                  <a:lnTo>
                    <a:pt x="680" y="637"/>
                  </a:lnTo>
                  <a:lnTo>
                    <a:pt x="678" y="637"/>
                  </a:lnTo>
                  <a:lnTo>
                    <a:pt x="686" y="645"/>
                  </a:lnTo>
                  <a:lnTo>
                    <a:pt x="688" y="647"/>
                  </a:lnTo>
                  <a:lnTo>
                    <a:pt x="688" y="647"/>
                  </a:lnTo>
                  <a:lnTo>
                    <a:pt x="688" y="647"/>
                  </a:lnTo>
                  <a:lnTo>
                    <a:pt x="690" y="645"/>
                  </a:lnTo>
                  <a:lnTo>
                    <a:pt x="688" y="641"/>
                  </a:lnTo>
                  <a:lnTo>
                    <a:pt x="684" y="639"/>
                  </a:lnTo>
                  <a:close/>
                  <a:moveTo>
                    <a:pt x="678" y="643"/>
                  </a:moveTo>
                  <a:lnTo>
                    <a:pt x="678" y="645"/>
                  </a:lnTo>
                  <a:lnTo>
                    <a:pt x="678" y="645"/>
                  </a:lnTo>
                  <a:lnTo>
                    <a:pt x="678" y="645"/>
                  </a:lnTo>
                  <a:lnTo>
                    <a:pt x="678" y="645"/>
                  </a:lnTo>
                  <a:lnTo>
                    <a:pt x="678" y="645"/>
                  </a:lnTo>
                  <a:lnTo>
                    <a:pt x="678" y="645"/>
                  </a:lnTo>
                  <a:lnTo>
                    <a:pt x="678" y="647"/>
                  </a:lnTo>
                  <a:lnTo>
                    <a:pt x="678" y="647"/>
                  </a:lnTo>
                  <a:lnTo>
                    <a:pt x="680" y="647"/>
                  </a:lnTo>
                  <a:lnTo>
                    <a:pt x="680" y="645"/>
                  </a:lnTo>
                  <a:lnTo>
                    <a:pt x="678" y="645"/>
                  </a:lnTo>
                  <a:lnTo>
                    <a:pt x="678" y="643"/>
                  </a:lnTo>
                  <a:close/>
                  <a:moveTo>
                    <a:pt x="680" y="647"/>
                  </a:moveTo>
                  <a:lnTo>
                    <a:pt x="682" y="647"/>
                  </a:lnTo>
                  <a:lnTo>
                    <a:pt x="682" y="647"/>
                  </a:lnTo>
                  <a:lnTo>
                    <a:pt x="682" y="645"/>
                  </a:lnTo>
                  <a:lnTo>
                    <a:pt x="682" y="645"/>
                  </a:lnTo>
                  <a:lnTo>
                    <a:pt x="680" y="647"/>
                  </a:lnTo>
                  <a:close/>
                  <a:moveTo>
                    <a:pt x="690" y="639"/>
                  </a:moveTo>
                  <a:lnTo>
                    <a:pt x="688" y="639"/>
                  </a:lnTo>
                  <a:lnTo>
                    <a:pt x="688" y="641"/>
                  </a:lnTo>
                  <a:lnTo>
                    <a:pt x="688" y="641"/>
                  </a:lnTo>
                  <a:lnTo>
                    <a:pt x="688" y="641"/>
                  </a:lnTo>
                  <a:lnTo>
                    <a:pt x="690" y="641"/>
                  </a:lnTo>
                  <a:lnTo>
                    <a:pt x="690" y="643"/>
                  </a:lnTo>
                  <a:lnTo>
                    <a:pt x="690" y="641"/>
                  </a:lnTo>
                  <a:lnTo>
                    <a:pt x="690" y="641"/>
                  </a:lnTo>
                  <a:lnTo>
                    <a:pt x="690" y="639"/>
                  </a:lnTo>
                  <a:close/>
                  <a:moveTo>
                    <a:pt x="738" y="606"/>
                  </a:moveTo>
                  <a:lnTo>
                    <a:pt x="738" y="606"/>
                  </a:lnTo>
                  <a:lnTo>
                    <a:pt x="738" y="606"/>
                  </a:lnTo>
                  <a:lnTo>
                    <a:pt x="738" y="606"/>
                  </a:lnTo>
                  <a:close/>
                  <a:moveTo>
                    <a:pt x="740" y="616"/>
                  </a:moveTo>
                  <a:lnTo>
                    <a:pt x="740" y="616"/>
                  </a:lnTo>
                  <a:lnTo>
                    <a:pt x="740" y="616"/>
                  </a:lnTo>
                  <a:lnTo>
                    <a:pt x="740" y="618"/>
                  </a:lnTo>
                  <a:lnTo>
                    <a:pt x="740" y="618"/>
                  </a:lnTo>
                  <a:lnTo>
                    <a:pt x="740" y="618"/>
                  </a:lnTo>
                  <a:lnTo>
                    <a:pt x="738" y="616"/>
                  </a:lnTo>
                  <a:lnTo>
                    <a:pt x="738" y="616"/>
                  </a:lnTo>
                  <a:lnTo>
                    <a:pt x="738" y="616"/>
                  </a:lnTo>
                  <a:lnTo>
                    <a:pt x="738" y="616"/>
                  </a:lnTo>
                  <a:lnTo>
                    <a:pt x="736" y="620"/>
                  </a:lnTo>
                  <a:lnTo>
                    <a:pt x="734" y="620"/>
                  </a:lnTo>
                  <a:lnTo>
                    <a:pt x="734" y="620"/>
                  </a:lnTo>
                  <a:lnTo>
                    <a:pt x="734" y="620"/>
                  </a:lnTo>
                  <a:lnTo>
                    <a:pt x="738" y="620"/>
                  </a:lnTo>
                  <a:lnTo>
                    <a:pt x="740" y="620"/>
                  </a:lnTo>
                  <a:lnTo>
                    <a:pt x="740" y="618"/>
                  </a:lnTo>
                  <a:lnTo>
                    <a:pt x="740" y="618"/>
                  </a:lnTo>
                  <a:lnTo>
                    <a:pt x="740" y="618"/>
                  </a:lnTo>
                  <a:lnTo>
                    <a:pt x="740" y="616"/>
                  </a:lnTo>
                  <a:lnTo>
                    <a:pt x="740" y="616"/>
                  </a:lnTo>
                  <a:close/>
                  <a:moveTo>
                    <a:pt x="729" y="598"/>
                  </a:moveTo>
                  <a:lnTo>
                    <a:pt x="729" y="598"/>
                  </a:lnTo>
                  <a:lnTo>
                    <a:pt x="729" y="598"/>
                  </a:lnTo>
                  <a:lnTo>
                    <a:pt x="729" y="598"/>
                  </a:lnTo>
                  <a:close/>
                  <a:moveTo>
                    <a:pt x="717" y="631"/>
                  </a:moveTo>
                  <a:lnTo>
                    <a:pt x="717" y="631"/>
                  </a:lnTo>
                  <a:lnTo>
                    <a:pt x="715" y="633"/>
                  </a:lnTo>
                  <a:lnTo>
                    <a:pt x="711" y="635"/>
                  </a:lnTo>
                  <a:lnTo>
                    <a:pt x="709" y="637"/>
                  </a:lnTo>
                  <a:lnTo>
                    <a:pt x="709" y="637"/>
                  </a:lnTo>
                  <a:lnTo>
                    <a:pt x="709" y="637"/>
                  </a:lnTo>
                  <a:lnTo>
                    <a:pt x="711" y="635"/>
                  </a:lnTo>
                  <a:lnTo>
                    <a:pt x="713" y="635"/>
                  </a:lnTo>
                  <a:lnTo>
                    <a:pt x="713" y="637"/>
                  </a:lnTo>
                  <a:lnTo>
                    <a:pt x="713" y="637"/>
                  </a:lnTo>
                  <a:lnTo>
                    <a:pt x="713" y="637"/>
                  </a:lnTo>
                  <a:lnTo>
                    <a:pt x="713" y="637"/>
                  </a:lnTo>
                  <a:lnTo>
                    <a:pt x="713" y="637"/>
                  </a:lnTo>
                  <a:lnTo>
                    <a:pt x="715" y="635"/>
                  </a:lnTo>
                  <a:lnTo>
                    <a:pt x="715" y="635"/>
                  </a:lnTo>
                  <a:lnTo>
                    <a:pt x="717" y="633"/>
                  </a:lnTo>
                  <a:lnTo>
                    <a:pt x="717" y="633"/>
                  </a:lnTo>
                  <a:lnTo>
                    <a:pt x="717" y="631"/>
                  </a:lnTo>
                  <a:lnTo>
                    <a:pt x="717" y="631"/>
                  </a:lnTo>
                  <a:close/>
                  <a:moveTo>
                    <a:pt x="727" y="625"/>
                  </a:moveTo>
                  <a:lnTo>
                    <a:pt x="727" y="625"/>
                  </a:lnTo>
                  <a:lnTo>
                    <a:pt x="725" y="627"/>
                  </a:lnTo>
                  <a:lnTo>
                    <a:pt x="717" y="633"/>
                  </a:lnTo>
                  <a:lnTo>
                    <a:pt x="719" y="633"/>
                  </a:lnTo>
                  <a:lnTo>
                    <a:pt x="719" y="633"/>
                  </a:lnTo>
                  <a:lnTo>
                    <a:pt x="725" y="629"/>
                  </a:lnTo>
                  <a:lnTo>
                    <a:pt x="725" y="627"/>
                  </a:lnTo>
                  <a:lnTo>
                    <a:pt x="727" y="627"/>
                  </a:lnTo>
                  <a:lnTo>
                    <a:pt x="727" y="627"/>
                  </a:lnTo>
                  <a:lnTo>
                    <a:pt x="727" y="627"/>
                  </a:lnTo>
                  <a:lnTo>
                    <a:pt x="727" y="625"/>
                  </a:lnTo>
                  <a:lnTo>
                    <a:pt x="727" y="625"/>
                  </a:lnTo>
                  <a:close/>
                  <a:moveTo>
                    <a:pt x="740" y="596"/>
                  </a:moveTo>
                  <a:lnTo>
                    <a:pt x="740" y="594"/>
                  </a:lnTo>
                  <a:lnTo>
                    <a:pt x="740" y="594"/>
                  </a:lnTo>
                  <a:lnTo>
                    <a:pt x="740" y="596"/>
                  </a:lnTo>
                  <a:lnTo>
                    <a:pt x="740" y="596"/>
                  </a:lnTo>
                  <a:close/>
                  <a:moveTo>
                    <a:pt x="785" y="536"/>
                  </a:moveTo>
                  <a:lnTo>
                    <a:pt x="785" y="536"/>
                  </a:lnTo>
                  <a:lnTo>
                    <a:pt x="785" y="536"/>
                  </a:lnTo>
                  <a:lnTo>
                    <a:pt x="785" y="536"/>
                  </a:lnTo>
                  <a:lnTo>
                    <a:pt x="785" y="545"/>
                  </a:lnTo>
                  <a:lnTo>
                    <a:pt x="783" y="545"/>
                  </a:lnTo>
                  <a:lnTo>
                    <a:pt x="783" y="547"/>
                  </a:lnTo>
                  <a:lnTo>
                    <a:pt x="783" y="547"/>
                  </a:lnTo>
                  <a:lnTo>
                    <a:pt x="783" y="547"/>
                  </a:lnTo>
                  <a:lnTo>
                    <a:pt x="783" y="547"/>
                  </a:lnTo>
                  <a:lnTo>
                    <a:pt x="783" y="547"/>
                  </a:lnTo>
                  <a:lnTo>
                    <a:pt x="783" y="547"/>
                  </a:lnTo>
                  <a:lnTo>
                    <a:pt x="783" y="547"/>
                  </a:lnTo>
                  <a:lnTo>
                    <a:pt x="783" y="547"/>
                  </a:lnTo>
                  <a:lnTo>
                    <a:pt x="785" y="545"/>
                  </a:lnTo>
                  <a:lnTo>
                    <a:pt x="785" y="543"/>
                  </a:lnTo>
                  <a:lnTo>
                    <a:pt x="785" y="541"/>
                  </a:lnTo>
                  <a:lnTo>
                    <a:pt x="785" y="539"/>
                  </a:lnTo>
                  <a:lnTo>
                    <a:pt x="785" y="539"/>
                  </a:lnTo>
                  <a:lnTo>
                    <a:pt x="785" y="536"/>
                  </a:lnTo>
                  <a:lnTo>
                    <a:pt x="785" y="536"/>
                  </a:lnTo>
                  <a:lnTo>
                    <a:pt x="785" y="536"/>
                  </a:lnTo>
                  <a:close/>
                  <a:moveTo>
                    <a:pt x="764" y="582"/>
                  </a:moveTo>
                  <a:lnTo>
                    <a:pt x="764" y="582"/>
                  </a:lnTo>
                  <a:lnTo>
                    <a:pt x="764" y="582"/>
                  </a:lnTo>
                  <a:lnTo>
                    <a:pt x="764" y="582"/>
                  </a:lnTo>
                  <a:lnTo>
                    <a:pt x="764" y="584"/>
                  </a:lnTo>
                  <a:lnTo>
                    <a:pt x="762" y="584"/>
                  </a:lnTo>
                  <a:lnTo>
                    <a:pt x="762" y="584"/>
                  </a:lnTo>
                  <a:lnTo>
                    <a:pt x="764" y="584"/>
                  </a:lnTo>
                  <a:lnTo>
                    <a:pt x="764" y="582"/>
                  </a:lnTo>
                  <a:lnTo>
                    <a:pt x="764" y="58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192000" bIns="0" numCol="1" anchor="ctr"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FL</a:t>
              </a:r>
            </a:p>
          </p:txBody>
        </p:sp>
        <p:sp>
          <p:nvSpPr>
            <p:cNvPr id="127" name="Freeform 47">
              <a:extLst>
                <a:ext uri="{FF2B5EF4-FFF2-40B4-BE49-F238E27FC236}">
                  <a16:creationId xmlns:a16="http://schemas.microsoft.com/office/drawing/2014/main" id="{B428F5EC-8FAF-143C-F316-4485618D4376}"/>
                </a:ext>
              </a:extLst>
            </p:cNvPr>
            <p:cNvSpPr>
              <a:spLocks/>
            </p:cNvSpPr>
            <p:nvPr/>
          </p:nvSpPr>
          <p:spPr bwMode="auto">
            <a:xfrm>
              <a:off x="4750" y="912"/>
              <a:ext cx="92" cy="150"/>
            </a:xfrm>
            <a:custGeom>
              <a:avLst/>
              <a:gdLst>
                <a:gd name="T0" fmla="*/ 26 w 92"/>
                <a:gd name="T1" fmla="*/ 6 h 150"/>
                <a:gd name="T2" fmla="*/ 24 w 92"/>
                <a:gd name="T3" fmla="*/ 12 h 150"/>
                <a:gd name="T4" fmla="*/ 18 w 92"/>
                <a:gd name="T5" fmla="*/ 21 h 150"/>
                <a:gd name="T6" fmla="*/ 18 w 92"/>
                <a:gd name="T7" fmla="*/ 25 h 150"/>
                <a:gd name="T8" fmla="*/ 20 w 92"/>
                <a:gd name="T9" fmla="*/ 29 h 150"/>
                <a:gd name="T10" fmla="*/ 24 w 92"/>
                <a:gd name="T11" fmla="*/ 33 h 150"/>
                <a:gd name="T12" fmla="*/ 22 w 92"/>
                <a:gd name="T13" fmla="*/ 39 h 150"/>
                <a:gd name="T14" fmla="*/ 26 w 92"/>
                <a:gd name="T15" fmla="*/ 43 h 150"/>
                <a:gd name="T16" fmla="*/ 35 w 92"/>
                <a:gd name="T17" fmla="*/ 51 h 150"/>
                <a:gd name="T18" fmla="*/ 37 w 92"/>
                <a:gd name="T19" fmla="*/ 51 h 150"/>
                <a:gd name="T20" fmla="*/ 43 w 92"/>
                <a:gd name="T21" fmla="*/ 59 h 150"/>
                <a:gd name="T22" fmla="*/ 47 w 92"/>
                <a:gd name="T23" fmla="*/ 72 h 150"/>
                <a:gd name="T24" fmla="*/ 49 w 92"/>
                <a:gd name="T25" fmla="*/ 76 h 150"/>
                <a:gd name="T26" fmla="*/ 51 w 92"/>
                <a:gd name="T27" fmla="*/ 80 h 150"/>
                <a:gd name="T28" fmla="*/ 57 w 92"/>
                <a:gd name="T29" fmla="*/ 88 h 150"/>
                <a:gd name="T30" fmla="*/ 59 w 92"/>
                <a:gd name="T31" fmla="*/ 92 h 150"/>
                <a:gd name="T32" fmla="*/ 74 w 92"/>
                <a:gd name="T33" fmla="*/ 102 h 150"/>
                <a:gd name="T34" fmla="*/ 80 w 92"/>
                <a:gd name="T35" fmla="*/ 100 h 150"/>
                <a:gd name="T36" fmla="*/ 86 w 92"/>
                <a:gd name="T37" fmla="*/ 117 h 150"/>
                <a:gd name="T38" fmla="*/ 82 w 92"/>
                <a:gd name="T39" fmla="*/ 111 h 150"/>
                <a:gd name="T40" fmla="*/ 80 w 92"/>
                <a:gd name="T41" fmla="*/ 117 h 150"/>
                <a:gd name="T42" fmla="*/ 78 w 92"/>
                <a:gd name="T43" fmla="*/ 117 h 150"/>
                <a:gd name="T44" fmla="*/ 78 w 92"/>
                <a:gd name="T45" fmla="*/ 117 h 150"/>
                <a:gd name="T46" fmla="*/ 82 w 92"/>
                <a:gd name="T47" fmla="*/ 119 h 150"/>
                <a:gd name="T48" fmla="*/ 76 w 92"/>
                <a:gd name="T49" fmla="*/ 123 h 150"/>
                <a:gd name="T50" fmla="*/ 76 w 92"/>
                <a:gd name="T51" fmla="*/ 125 h 150"/>
                <a:gd name="T52" fmla="*/ 76 w 92"/>
                <a:gd name="T53" fmla="*/ 127 h 150"/>
                <a:gd name="T54" fmla="*/ 82 w 92"/>
                <a:gd name="T55" fmla="*/ 123 h 150"/>
                <a:gd name="T56" fmla="*/ 84 w 92"/>
                <a:gd name="T57" fmla="*/ 125 h 150"/>
                <a:gd name="T58" fmla="*/ 86 w 92"/>
                <a:gd name="T59" fmla="*/ 121 h 150"/>
                <a:gd name="T60" fmla="*/ 86 w 92"/>
                <a:gd name="T61" fmla="*/ 119 h 150"/>
                <a:gd name="T62" fmla="*/ 88 w 92"/>
                <a:gd name="T63" fmla="*/ 127 h 150"/>
                <a:gd name="T64" fmla="*/ 92 w 92"/>
                <a:gd name="T65" fmla="*/ 133 h 150"/>
                <a:gd name="T66" fmla="*/ 90 w 92"/>
                <a:gd name="T67" fmla="*/ 137 h 150"/>
                <a:gd name="T68" fmla="*/ 88 w 92"/>
                <a:gd name="T69" fmla="*/ 137 h 150"/>
                <a:gd name="T70" fmla="*/ 82 w 92"/>
                <a:gd name="T71" fmla="*/ 139 h 150"/>
                <a:gd name="T72" fmla="*/ 63 w 92"/>
                <a:gd name="T73" fmla="*/ 143 h 150"/>
                <a:gd name="T74" fmla="*/ 43 w 92"/>
                <a:gd name="T75" fmla="*/ 148 h 150"/>
                <a:gd name="T76" fmla="*/ 35 w 92"/>
                <a:gd name="T77" fmla="*/ 139 h 150"/>
                <a:gd name="T78" fmla="*/ 28 w 92"/>
                <a:gd name="T79" fmla="*/ 117 h 150"/>
                <a:gd name="T80" fmla="*/ 22 w 92"/>
                <a:gd name="T81" fmla="*/ 94 h 150"/>
                <a:gd name="T82" fmla="*/ 16 w 92"/>
                <a:gd name="T83" fmla="*/ 72 h 150"/>
                <a:gd name="T84" fmla="*/ 8 w 92"/>
                <a:gd name="T85" fmla="*/ 47 h 150"/>
                <a:gd name="T86" fmla="*/ 2 w 92"/>
                <a:gd name="T87" fmla="*/ 25 h 150"/>
                <a:gd name="T88" fmla="*/ 2 w 92"/>
                <a:gd name="T89" fmla="*/ 18 h 150"/>
                <a:gd name="T90" fmla="*/ 6 w 92"/>
                <a:gd name="T91" fmla="*/ 6 h 150"/>
                <a:gd name="T92" fmla="*/ 10 w 92"/>
                <a:gd name="T93" fmla="*/ 2 h 150"/>
                <a:gd name="T94" fmla="*/ 16 w 92"/>
                <a:gd name="T95" fmla="*/ 0 h 150"/>
                <a:gd name="T96" fmla="*/ 26 w 92"/>
                <a:gd name="T97" fmla="*/ 0 h 150"/>
                <a:gd name="T98" fmla="*/ 28 w 92"/>
                <a:gd name="T99" fmla="*/ 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150">
                  <a:moveTo>
                    <a:pt x="28" y="2"/>
                  </a:moveTo>
                  <a:lnTo>
                    <a:pt x="28" y="2"/>
                  </a:lnTo>
                  <a:lnTo>
                    <a:pt x="26" y="6"/>
                  </a:lnTo>
                  <a:lnTo>
                    <a:pt x="24" y="6"/>
                  </a:lnTo>
                  <a:lnTo>
                    <a:pt x="24" y="10"/>
                  </a:lnTo>
                  <a:lnTo>
                    <a:pt x="24" y="12"/>
                  </a:lnTo>
                  <a:lnTo>
                    <a:pt x="22" y="18"/>
                  </a:lnTo>
                  <a:lnTo>
                    <a:pt x="20" y="18"/>
                  </a:lnTo>
                  <a:lnTo>
                    <a:pt x="18" y="21"/>
                  </a:lnTo>
                  <a:lnTo>
                    <a:pt x="18" y="23"/>
                  </a:lnTo>
                  <a:lnTo>
                    <a:pt x="18" y="23"/>
                  </a:lnTo>
                  <a:lnTo>
                    <a:pt x="18" y="25"/>
                  </a:lnTo>
                  <a:lnTo>
                    <a:pt x="18" y="25"/>
                  </a:lnTo>
                  <a:lnTo>
                    <a:pt x="18" y="27"/>
                  </a:lnTo>
                  <a:lnTo>
                    <a:pt x="20" y="29"/>
                  </a:lnTo>
                  <a:lnTo>
                    <a:pt x="22" y="29"/>
                  </a:lnTo>
                  <a:lnTo>
                    <a:pt x="24" y="31"/>
                  </a:lnTo>
                  <a:lnTo>
                    <a:pt x="24" y="33"/>
                  </a:lnTo>
                  <a:lnTo>
                    <a:pt x="24" y="35"/>
                  </a:lnTo>
                  <a:lnTo>
                    <a:pt x="22" y="37"/>
                  </a:lnTo>
                  <a:lnTo>
                    <a:pt x="22" y="39"/>
                  </a:lnTo>
                  <a:lnTo>
                    <a:pt x="24" y="41"/>
                  </a:lnTo>
                  <a:lnTo>
                    <a:pt x="26" y="43"/>
                  </a:lnTo>
                  <a:lnTo>
                    <a:pt x="26" y="43"/>
                  </a:lnTo>
                  <a:lnTo>
                    <a:pt x="28" y="45"/>
                  </a:lnTo>
                  <a:lnTo>
                    <a:pt x="33" y="51"/>
                  </a:lnTo>
                  <a:lnTo>
                    <a:pt x="35" y="51"/>
                  </a:lnTo>
                  <a:lnTo>
                    <a:pt x="35" y="51"/>
                  </a:lnTo>
                  <a:lnTo>
                    <a:pt x="37" y="51"/>
                  </a:lnTo>
                  <a:lnTo>
                    <a:pt x="37" y="51"/>
                  </a:lnTo>
                  <a:lnTo>
                    <a:pt x="39" y="53"/>
                  </a:lnTo>
                  <a:lnTo>
                    <a:pt x="43" y="57"/>
                  </a:lnTo>
                  <a:lnTo>
                    <a:pt x="43" y="59"/>
                  </a:lnTo>
                  <a:lnTo>
                    <a:pt x="45" y="61"/>
                  </a:lnTo>
                  <a:lnTo>
                    <a:pt x="45" y="70"/>
                  </a:lnTo>
                  <a:lnTo>
                    <a:pt x="47" y="72"/>
                  </a:lnTo>
                  <a:lnTo>
                    <a:pt x="47" y="72"/>
                  </a:lnTo>
                  <a:lnTo>
                    <a:pt x="47" y="74"/>
                  </a:lnTo>
                  <a:lnTo>
                    <a:pt x="49" y="76"/>
                  </a:lnTo>
                  <a:lnTo>
                    <a:pt x="49" y="78"/>
                  </a:lnTo>
                  <a:lnTo>
                    <a:pt x="49" y="78"/>
                  </a:lnTo>
                  <a:lnTo>
                    <a:pt x="51" y="80"/>
                  </a:lnTo>
                  <a:lnTo>
                    <a:pt x="53" y="82"/>
                  </a:lnTo>
                  <a:lnTo>
                    <a:pt x="57" y="86"/>
                  </a:lnTo>
                  <a:lnTo>
                    <a:pt x="57" y="88"/>
                  </a:lnTo>
                  <a:lnTo>
                    <a:pt x="59" y="90"/>
                  </a:lnTo>
                  <a:lnTo>
                    <a:pt x="59" y="92"/>
                  </a:lnTo>
                  <a:lnTo>
                    <a:pt x="59" y="92"/>
                  </a:lnTo>
                  <a:lnTo>
                    <a:pt x="65" y="96"/>
                  </a:lnTo>
                  <a:lnTo>
                    <a:pt x="72" y="100"/>
                  </a:lnTo>
                  <a:lnTo>
                    <a:pt x="74" y="102"/>
                  </a:lnTo>
                  <a:lnTo>
                    <a:pt x="78" y="102"/>
                  </a:lnTo>
                  <a:lnTo>
                    <a:pt x="80" y="102"/>
                  </a:lnTo>
                  <a:lnTo>
                    <a:pt x="80" y="100"/>
                  </a:lnTo>
                  <a:lnTo>
                    <a:pt x="82" y="102"/>
                  </a:lnTo>
                  <a:lnTo>
                    <a:pt x="86" y="113"/>
                  </a:lnTo>
                  <a:lnTo>
                    <a:pt x="86" y="117"/>
                  </a:lnTo>
                  <a:lnTo>
                    <a:pt x="86" y="117"/>
                  </a:lnTo>
                  <a:lnTo>
                    <a:pt x="84" y="113"/>
                  </a:lnTo>
                  <a:lnTo>
                    <a:pt x="82" y="111"/>
                  </a:lnTo>
                  <a:lnTo>
                    <a:pt x="78" y="113"/>
                  </a:lnTo>
                  <a:lnTo>
                    <a:pt x="78" y="113"/>
                  </a:lnTo>
                  <a:lnTo>
                    <a:pt x="80" y="117"/>
                  </a:lnTo>
                  <a:lnTo>
                    <a:pt x="80" y="117"/>
                  </a:lnTo>
                  <a:lnTo>
                    <a:pt x="80" y="117"/>
                  </a:lnTo>
                  <a:lnTo>
                    <a:pt x="78" y="117"/>
                  </a:lnTo>
                  <a:lnTo>
                    <a:pt x="78" y="117"/>
                  </a:lnTo>
                  <a:lnTo>
                    <a:pt x="78" y="117"/>
                  </a:lnTo>
                  <a:lnTo>
                    <a:pt x="78" y="117"/>
                  </a:lnTo>
                  <a:lnTo>
                    <a:pt x="80" y="117"/>
                  </a:lnTo>
                  <a:lnTo>
                    <a:pt x="80" y="119"/>
                  </a:lnTo>
                  <a:lnTo>
                    <a:pt x="82" y="119"/>
                  </a:lnTo>
                  <a:lnTo>
                    <a:pt x="84" y="119"/>
                  </a:lnTo>
                  <a:lnTo>
                    <a:pt x="82" y="121"/>
                  </a:lnTo>
                  <a:lnTo>
                    <a:pt x="76" y="123"/>
                  </a:lnTo>
                  <a:lnTo>
                    <a:pt x="76" y="125"/>
                  </a:lnTo>
                  <a:lnTo>
                    <a:pt x="78" y="125"/>
                  </a:lnTo>
                  <a:lnTo>
                    <a:pt x="76" y="125"/>
                  </a:lnTo>
                  <a:lnTo>
                    <a:pt x="76" y="127"/>
                  </a:lnTo>
                  <a:lnTo>
                    <a:pt x="76" y="127"/>
                  </a:lnTo>
                  <a:lnTo>
                    <a:pt x="76" y="127"/>
                  </a:lnTo>
                  <a:lnTo>
                    <a:pt x="78" y="127"/>
                  </a:lnTo>
                  <a:lnTo>
                    <a:pt x="80" y="125"/>
                  </a:lnTo>
                  <a:lnTo>
                    <a:pt x="82" y="123"/>
                  </a:lnTo>
                  <a:lnTo>
                    <a:pt x="82" y="125"/>
                  </a:lnTo>
                  <a:lnTo>
                    <a:pt x="84" y="125"/>
                  </a:lnTo>
                  <a:lnTo>
                    <a:pt x="84" y="125"/>
                  </a:lnTo>
                  <a:lnTo>
                    <a:pt x="86" y="125"/>
                  </a:lnTo>
                  <a:lnTo>
                    <a:pt x="86" y="123"/>
                  </a:lnTo>
                  <a:lnTo>
                    <a:pt x="86" y="121"/>
                  </a:lnTo>
                  <a:lnTo>
                    <a:pt x="86" y="121"/>
                  </a:lnTo>
                  <a:lnTo>
                    <a:pt x="86" y="121"/>
                  </a:lnTo>
                  <a:lnTo>
                    <a:pt x="86" y="119"/>
                  </a:lnTo>
                  <a:lnTo>
                    <a:pt x="88" y="121"/>
                  </a:lnTo>
                  <a:lnTo>
                    <a:pt x="88" y="121"/>
                  </a:lnTo>
                  <a:lnTo>
                    <a:pt x="88" y="127"/>
                  </a:lnTo>
                  <a:lnTo>
                    <a:pt x="90" y="129"/>
                  </a:lnTo>
                  <a:lnTo>
                    <a:pt x="90" y="131"/>
                  </a:lnTo>
                  <a:lnTo>
                    <a:pt x="92" y="133"/>
                  </a:lnTo>
                  <a:lnTo>
                    <a:pt x="92" y="137"/>
                  </a:lnTo>
                  <a:lnTo>
                    <a:pt x="90" y="137"/>
                  </a:lnTo>
                  <a:lnTo>
                    <a:pt x="90" y="137"/>
                  </a:lnTo>
                  <a:lnTo>
                    <a:pt x="90" y="135"/>
                  </a:lnTo>
                  <a:lnTo>
                    <a:pt x="90" y="135"/>
                  </a:lnTo>
                  <a:lnTo>
                    <a:pt x="88" y="137"/>
                  </a:lnTo>
                  <a:lnTo>
                    <a:pt x="88" y="137"/>
                  </a:lnTo>
                  <a:lnTo>
                    <a:pt x="86" y="137"/>
                  </a:lnTo>
                  <a:lnTo>
                    <a:pt x="82" y="139"/>
                  </a:lnTo>
                  <a:lnTo>
                    <a:pt x="76" y="139"/>
                  </a:lnTo>
                  <a:lnTo>
                    <a:pt x="69" y="141"/>
                  </a:lnTo>
                  <a:lnTo>
                    <a:pt x="63" y="143"/>
                  </a:lnTo>
                  <a:lnTo>
                    <a:pt x="57" y="143"/>
                  </a:lnTo>
                  <a:lnTo>
                    <a:pt x="49" y="146"/>
                  </a:lnTo>
                  <a:lnTo>
                    <a:pt x="43" y="148"/>
                  </a:lnTo>
                  <a:lnTo>
                    <a:pt x="37" y="150"/>
                  </a:lnTo>
                  <a:lnTo>
                    <a:pt x="35" y="143"/>
                  </a:lnTo>
                  <a:lnTo>
                    <a:pt x="35" y="139"/>
                  </a:lnTo>
                  <a:lnTo>
                    <a:pt x="33" y="131"/>
                  </a:lnTo>
                  <a:lnTo>
                    <a:pt x="31" y="123"/>
                  </a:lnTo>
                  <a:lnTo>
                    <a:pt x="28" y="117"/>
                  </a:lnTo>
                  <a:lnTo>
                    <a:pt x="26" y="109"/>
                  </a:lnTo>
                  <a:lnTo>
                    <a:pt x="24" y="100"/>
                  </a:lnTo>
                  <a:lnTo>
                    <a:pt x="22" y="94"/>
                  </a:lnTo>
                  <a:lnTo>
                    <a:pt x="20" y="86"/>
                  </a:lnTo>
                  <a:lnTo>
                    <a:pt x="18" y="78"/>
                  </a:lnTo>
                  <a:lnTo>
                    <a:pt x="16" y="72"/>
                  </a:lnTo>
                  <a:lnTo>
                    <a:pt x="14" y="64"/>
                  </a:lnTo>
                  <a:lnTo>
                    <a:pt x="12" y="55"/>
                  </a:lnTo>
                  <a:lnTo>
                    <a:pt x="8" y="47"/>
                  </a:lnTo>
                  <a:lnTo>
                    <a:pt x="6" y="41"/>
                  </a:lnTo>
                  <a:lnTo>
                    <a:pt x="4" y="33"/>
                  </a:lnTo>
                  <a:lnTo>
                    <a:pt x="2" y="25"/>
                  </a:lnTo>
                  <a:lnTo>
                    <a:pt x="0" y="18"/>
                  </a:lnTo>
                  <a:lnTo>
                    <a:pt x="2" y="18"/>
                  </a:lnTo>
                  <a:lnTo>
                    <a:pt x="2" y="18"/>
                  </a:lnTo>
                  <a:lnTo>
                    <a:pt x="2" y="14"/>
                  </a:lnTo>
                  <a:lnTo>
                    <a:pt x="4" y="10"/>
                  </a:lnTo>
                  <a:lnTo>
                    <a:pt x="6" y="6"/>
                  </a:lnTo>
                  <a:lnTo>
                    <a:pt x="6" y="6"/>
                  </a:lnTo>
                  <a:lnTo>
                    <a:pt x="8" y="4"/>
                  </a:lnTo>
                  <a:lnTo>
                    <a:pt x="10" y="2"/>
                  </a:lnTo>
                  <a:lnTo>
                    <a:pt x="12" y="2"/>
                  </a:lnTo>
                  <a:lnTo>
                    <a:pt x="14" y="0"/>
                  </a:lnTo>
                  <a:lnTo>
                    <a:pt x="16" y="0"/>
                  </a:lnTo>
                  <a:lnTo>
                    <a:pt x="20" y="0"/>
                  </a:lnTo>
                  <a:lnTo>
                    <a:pt x="24" y="0"/>
                  </a:lnTo>
                  <a:lnTo>
                    <a:pt x="26" y="0"/>
                  </a:lnTo>
                  <a:lnTo>
                    <a:pt x="28" y="2"/>
                  </a:lnTo>
                  <a:lnTo>
                    <a:pt x="28" y="2"/>
                  </a:lnTo>
                  <a:lnTo>
                    <a:pt x="28" y="2"/>
                  </a:lnTo>
                  <a:close/>
                </a:path>
              </a:pathLst>
            </a:custGeom>
            <a:solidFill>
              <a:schemeClr val="tx1"/>
            </a:solidFill>
            <a:ln w="3175" cap="rnd">
              <a:solidFill>
                <a:schemeClr val="bg1"/>
              </a:solidFill>
              <a:prstDash val="solid"/>
              <a:round/>
              <a:headEnd/>
              <a:tailEnd/>
            </a:ln>
          </p:spPr>
          <p:txBody>
            <a:bodyPr vert="horz" wrap="square" lIns="0" tIns="19200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 b="0" i="0" u="none" strike="noStrike" kern="1200" cap="none" spc="0" normalizeH="0" baseline="0" noProof="0">
                  <a:ln>
                    <a:noFill/>
                  </a:ln>
                  <a:solidFill>
                    <a:schemeClr val="bg1"/>
                  </a:solidFill>
                  <a:effectLst/>
                  <a:uLnTx/>
                  <a:uFillTx/>
                  <a:latin typeface="Arial" panose="020B0604020202020204" pitchFamily="34" charset="0"/>
                  <a:ea typeface="+mn-ea"/>
                  <a:cs typeface="+mn-cs"/>
                </a:rPr>
                <a:t>DE</a:t>
              </a:r>
            </a:p>
          </p:txBody>
        </p:sp>
        <p:sp>
          <p:nvSpPr>
            <p:cNvPr id="128" name="Freeform 48">
              <a:extLst>
                <a:ext uri="{FF2B5EF4-FFF2-40B4-BE49-F238E27FC236}">
                  <a16:creationId xmlns:a16="http://schemas.microsoft.com/office/drawing/2014/main" id="{82AE454A-CC27-531C-D220-B06BAC23269B}"/>
                </a:ext>
              </a:extLst>
            </p:cNvPr>
            <p:cNvSpPr>
              <a:spLocks/>
            </p:cNvSpPr>
            <p:nvPr/>
          </p:nvSpPr>
          <p:spPr bwMode="auto">
            <a:xfrm>
              <a:off x="4658" y="1027"/>
              <a:ext cx="16" cy="20"/>
            </a:xfrm>
            <a:custGeom>
              <a:avLst/>
              <a:gdLst>
                <a:gd name="T0" fmla="*/ 12 w 16"/>
                <a:gd name="T1" fmla="*/ 20 h 20"/>
                <a:gd name="T2" fmla="*/ 10 w 16"/>
                <a:gd name="T3" fmla="*/ 18 h 20"/>
                <a:gd name="T4" fmla="*/ 10 w 16"/>
                <a:gd name="T5" fmla="*/ 12 h 20"/>
                <a:gd name="T6" fmla="*/ 6 w 16"/>
                <a:gd name="T7" fmla="*/ 10 h 20"/>
                <a:gd name="T8" fmla="*/ 6 w 16"/>
                <a:gd name="T9" fmla="*/ 10 h 20"/>
                <a:gd name="T10" fmla="*/ 4 w 16"/>
                <a:gd name="T11" fmla="*/ 10 h 20"/>
                <a:gd name="T12" fmla="*/ 2 w 16"/>
                <a:gd name="T13" fmla="*/ 8 h 20"/>
                <a:gd name="T14" fmla="*/ 0 w 16"/>
                <a:gd name="T15" fmla="*/ 8 h 20"/>
                <a:gd name="T16" fmla="*/ 6 w 16"/>
                <a:gd name="T17" fmla="*/ 0 h 20"/>
                <a:gd name="T18" fmla="*/ 16 w 16"/>
                <a:gd name="T19" fmla="*/ 10 h 20"/>
                <a:gd name="T20" fmla="*/ 12 w 16"/>
                <a:gd name="T21" fmla="*/ 20 h 20"/>
                <a:gd name="T22" fmla="*/ 12 w 16"/>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0">
                  <a:moveTo>
                    <a:pt x="12" y="20"/>
                  </a:moveTo>
                  <a:lnTo>
                    <a:pt x="10" y="18"/>
                  </a:lnTo>
                  <a:lnTo>
                    <a:pt x="10" y="12"/>
                  </a:lnTo>
                  <a:lnTo>
                    <a:pt x="6" y="10"/>
                  </a:lnTo>
                  <a:lnTo>
                    <a:pt x="6" y="10"/>
                  </a:lnTo>
                  <a:lnTo>
                    <a:pt x="4" y="10"/>
                  </a:lnTo>
                  <a:lnTo>
                    <a:pt x="2" y="8"/>
                  </a:lnTo>
                  <a:lnTo>
                    <a:pt x="0" y="8"/>
                  </a:lnTo>
                  <a:lnTo>
                    <a:pt x="6" y="0"/>
                  </a:lnTo>
                  <a:lnTo>
                    <a:pt x="16" y="10"/>
                  </a:lnTo>
                  <a:lnTo>
                    <a:pt x="12" y="20"/>
                  </a:lnTo>
                  <a:lnTo>
                    <a:pt x="12" y="20"/>
                  </a:lnTo>
                  <a:close/>
                </a:path>
              </a:pathLst>
            </a:custGeom>
            <a:solidFill>
              <a:srgbClr val="FFFFFF"/>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9" name="Freeform 49">
              <a:extLst>
                <a:ext uri="{FF2B5EF4-FFF2-40B4-BE49-F238E27FC236}">
                  <a16:creationId xmlns:a16="http://schemas.microsoft.com/office/drawing/2014/main" id="{006260E1-0E1E-4917-25AB-20A3FD5B09A7}"/>
                </a:ext>
              </a:extLst>
            </p:cNvPr>
            <p:cNvSpPr>
              <a:spLocks/>
            </p:cNvSpPr>
            <p:nvPr/>
          </p:nvSpPr>
          <p:spPr bwMode="auto">
            <a:xfrm>
              <a:off x="4881" y="615"/>
              <a:ext cx="149" cy="141"/>
            </a:xfrm>
            <a:custGeom>
              <a:avLst/>
              <a:gdLst>
                <a:gd name="T0" fmla="*/ 139 w 149"/>
                <a:gd name="T1" fmla="*/ 18 h 141"/>
                <a:gd name="T2" fmla="*/ 145 w 149"/>
                <a:gd name="T3" fmla="*/ 41 h 141"/>
                <a:gd name="T4" fmla="*/ 149 w 149"/>
                <a:gd name="T5" fmla="*/ 61 h 141"/>
                <a:gd name="T6" fmla="*/ 149 w 149"/>
                <a:gd name="T7" fmla="*/ 70 h 141"/>
                <a:gd name="T8" fmla="*/ 147 w 149"/>
                <a:gd name="T9" fmla="*/ 72 h 141"/>
                <a:gd name="T10" fmla="*/ 143 w 149"/>
                <a:gd name="T11" fmla="*/ 70 h 141"/>
                <a:gd name="T12" fmla="*/ 129 w 149"/>
                <a:gd name="T13" fmla="*/ 74 h 141"/>
                <a:gd name="T14" fmla="*/ 127 w 149"/>
                <a:gd name="T15" fmla="*/ 80 h 141"/>
                <a:gd name="T16" fmla="*/ 119 w 149"/>
                <a:gd name="T17" fmla="*/ 82 h 141"/>
                <a:gd name="T18" fmla="*/ 110 w 149"/>
                <a:gd name="T19" fmla="*/ 84 h 141"/>
                <a:gd name="T20" fmla="*/ 108 w 149"/>
                <a:gd name="T21" fmla="*/ 82 h 141"/>
                <a:gd name="T22" fmla="*/ 106 w 149"/>
                <a:gd name="T23" fmla="*/ 78 h 141"/>
                <a:gd name="T24" fmla="*/ 108 w 149"/>
                <a:gd name="T25" fmla="*/ 82 h 141"/>
                <a:gd name="T26" fmla="*/ 108 w 149"/>
                <a:gd name="T27" fmla="*/ 88 h 141"/>
                <a:gd name="T28" fmla="*/ 100 w 149"/>
                <a:gd name="T29" fmla="*/ 90 h 141"/>
                <a:gd name="T30" fmla="*/ 96 w 149"/>
                <a:gd name="T31" fmla="*/ 92 h 141"/>
                <a:gd name="T32" fmla="*/ 94 w 149"/>
                <a:gd name="T33" fmla="*/ 92 h 141"/>
                <a:gd name="T34" fmla="*/ 84 w 149"/>
                <a:gd name="T35" fmla="*/ 94 h 141"/>
                <a:gd name="T36" fmla="*/ 82 w 149"/>
                <a:gd name="T37" fmla="*/ 96 h 141"/>
                <a:gd name="T38" fmla="*/ 76 w 149"/>
                <a:gd name="T39" fmla="*/ 96 h 141"/>
                <a:gd name="T40" fmla="*/ 72 w 149"/>
                <a:gd name="T41" fmla="*/ 98 h 141"/>
                <a:gd name="T42" fmla="*/ 65 w 149"/>
                <a:gd name="T43" fmla="*/ 96 h 141"/>
                <a:gd name="T44" fmla="*/ 63 w 149"/>
                <a:gd name="T45" fmla="*/ 98 h 141"/>
                <a:gd name="T46" fmla="*/ 57 w 149"/>
                <a:gd name="T47" fmla="*/ 106 h 141"/>
                <a:gd name="T48" fmla="*/ 53 w 149"/>
                <a:gd name="T49" fmla="*/ 111 h 141"/>
                <a:gd name="T50" fmla="*/ 51 w 149"/>
                <a:gd name="T51" fmla="*/ 113 h 141"/>
                <a:gd name="T52" fmla="*/ 47 w 149"/>
                <a:gd name="T53" fmla="*/ 115 h 141"/>
                <a:gd name="T54" fmla="*/ 43 w 149"/>
                <a:gd name="T55" fmla="*/ 117 h 141"/>
                <a:gd name="T56" fmla="*/ 43 w 149"/>
                <a:gd name="T57" fmla="*/ 117 h 141"/>
                <a:gd name="T58" fmla="*/ 41 w 149"/>
                <a:gd name="T59" fmla="*/ 119 h 141"/>
                <a:gd name="T60" fmla="*/ 39 w 149"/>
                <a:gd name="T61" fmla="*/ 121 h 141"/>
                <a:gd name="T62" fmla="*/ 35 w 149"/>
                <a:gd name="T63" fmla="*/ 123 h 141"/>
                <a:gd name="T64" fmla="*/ 33 w 149"/>
                <a:gd name="T65" fmla="*/ 127 h 141"/>
                <a:gd name="T66" fmla="*/ 24 w 149"/>
                <a:gd name="T67" fmla="*/ 133 h 141"/>
                <a:gd name="T68" fmla="*/ 20 w 149"/>
                <a:gd name="T69" fmla="*/ 137 h 141"/>
                <a:gd name="T70" fmla="*/ 14 w 149"/>
                <a:gd name="T71" fmla="*/ 137 h 141"/>
                <a:gd name="T72" fmla="*/ 12 w 149"/>
                <a:gd name="T73" fmla="*/ 139 h 141"/>
                <a:gd name="T74" fmla="*/ 10 w 149"/>
                <a:gd name="T75" fmla="*/ 139 h 141"/>
                <a:gd name="T76" fmla="*/ 4 w 149"/>
                <a:gd name="T77" fmla="*/ 133 h 141"/>
                <a:gd name="T78" fmla="*/ 16 w 149"/>
                <a:gd name="T79" fmla="*/ 121 h 141"/>
                <a:gd name="T80" fmla="*/ 16 w 149"/>
                <a:gd name="T81" fmla="*/ 113 h 141"/>
                <a:gd name="T82" fmla="*/ 12 w 149"/>
                <a:gd name="T83" fmla="*/ 102 h 141"/>
                <a:gd name="T84" fmla="*/ 8 w 149"/>
                <a:gd name="T85" fmla="*/ 82 h 141"/>
                <a:gd name="T86" fmla="*/ 6 w 149"/>
                <a:gd name="T87" fmla="*/ 63 h 141"/>
                <a:gd name="T88" fmla="*/ 2 w 149"/>
                <a:gd name="T89" fmla="*/ 45 h 141"/>
                <a:gd name="T90" fmla="*/ 10 w 149"/>
                <a:gd name="T91" fmla="*/ 27 h 141"/>
                <a:gd name="T92" fmla="*/ 45 w 149"/>
                <a:gd name="T93" fmla="*/ 20 h 141"/>
                <a:gd name="T94" fmla="*/ 57 w 149"/>
                <a:gd name="T95" fmla="*/ 20 h 141"/>
                <a:gd name="T96" fmla="*/ 72 w 149"/>
                <a:gd name="T97" fmla="*/ 14 h 141"/>
                <a:gd name="T98" fmla="*/ 90 w 149"/>
                <a:gd name="T99" fmla="*/ 10 h 141"/>
                <a:gd name="T100" fmla="*/ 133 w 149"/>
                <a:gd name="T10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 h="141">
                  <a:moveTo>
                    <a:pt x="133" y="0"/>
                  </a:moveTo>
                  <a:lnTo>
                    <a:pt x="135" y="6"/>
                  </a:lnTo>
                  <a:lnTo>
                    <a:pt x="137" y="12"/>
                  </a:lnTo>
                  <a:lnTo>
                    <a:pt x="139" y="18"/>
                  </a:lnTo>
                  <a:lnTo>
                    <a:pt x="141" y="24"/>
                  </a:lnTo>
                  <a:lnTo>
                    <a:pt x="141" y="31"/>
                  </a:lnTo>
                  <a:lnTo>
                    <a:pt x="143" y="37"/>
                  </a:lnTo>
                  <a:lnTo>
                    <a:pt x="145" y="41"/>
                  </a:lnTo>
                  <a:lnTo>
                    <a:pt x="147" y="47"/>
                  </a:lnTo>
                  <a:lnTo>
                    <a:pt x="147" y="51"/>
                  </a:lnTo>
                  <a:lnTo>
                    <a:pt x="147" y="55"/>
                  </a:lnTo>
                  <a:lnTo>
                    <a:pt x="149" y="61"/>
                  </a:lnTo>
                  <a:lnTo>
                    <a:pt x="149" y="61"/>
                  </a:lnTo>
                  <a:lnTo>
                    <a:pt x="147" y="63"/>
                  </a:lnTo>
                  <a:lnTo>
                    <a:pt x="147" y="65"/>
                  </a:lnTo>
                  <a:lnTo>
                    <a:pt x="149" y="70"/>
                  </a:lnTo>
                  <a:lnTo>
                    <a:pt x="149" y="72"/>
                  </a:lnTo>
                  <a:lnTo>
                    <a:pt x="147" y="74"/>
                  </a:lnTo>
                  <a:lnTo>
                    <a:pt x="145" y="72"/>
                  </a:lnTo>
                  <a:lnTo>
                    <a:pt x="147" y="72"/>
                  </a:lnTo>
                  <a:lnTo>
                    <a:pt x="147" y="72"/>
                  </a:lnTo>
                  <a:lnTo>
                    <a:pt x="145" y="72"/>
                  </a:lnTo>
                  <a:lnTo>
                    <a:pt x="145" y="70"/>
                  </a:lnTo>
                  <a:lnTo>
                    <a:pt x="143" y="70"/>
                  </a:lnTo>
                  <a:lnTo>
                    <a:pt x="139" y="72"/>
                  </a:lnTo>
                  <a:lnTo>
                    <a:pt x="137" y="72"/>
                  </a:lnTo>
                  <a:lnTo>
                    <a:pt x="133" y="76"/>
                  </a:lnTo>
                  <a:lnTo>
                    <a:pt x="129" y="74"/>
                  </a:lnTo>
                  <a:lnTo>
                    <a:pt x="129" y="76"/>
                  </a:lnTo>
                  <a:lnTo>
                    <a:pt x="129" y="78"/>
                  </a:lnTo>
                  <a:lnTo>
                    <a:pt x="129" y="78"/>
                  </a:lnTo>
                  <a:lnTo>
                    <a:pt x="127" y="80"/>
                  </a:lnTo>
                  <a:lnTo>
                    <a:pt x="123" y="78"/>
                  </a:lnTo>
                  <a:lnTo>
                    <a:pt x="121" y="80"/>
                  </a:lnTo>
                  <a:lnTo>
                    <a:pt x="121" y="82"/>
                  </a:lnTo>
                  <a:lnTo>
                    <a:pt x="119" y="82"/>
                  </a:lnTo>
                  <a:lnTo>
                    <a:pt x="115" y="86"/>
                  </a:lnTo>
                  <a:lnTo>
                    <a:pt x="113" y="84"/>
                  </a:lnTo>
                  <a:lnTo>
                    <a:pt x="110" y="84"/>
                  </a:lnTo>
                  <a:lnTo>
                    <a:pt x="110" y="84"/>
                  </a:lnTo>
                  <a:lnTo>
                    <a:pt x="108" y="84"/>
                  </a:lnTo>
                  <a:lnTo>
                    <a:pt x="108" y="84"/>
                  </a:lnTo>
                  <a:lnTo>
                    <a:pt x="108" y="82"/>
                  </a:lnTo>
                  <a:lnTo>
                    <a:pt x="108" y="82"/>
                  </a:lnTo>
                  <a:lnTo>
                    <a:pt x="108" y="80"/>
                  </a:lnTo>
                  <a:lnTo>
                    <a:pt x="108" y="80"/>
                  </a:lnTo>
                  <a:lnTo>
                    <a:pt x="106" y="80"/>
                  </a:lnTo>
                  <a:lnTo>
                    <a:pt x="106" y="78"/>
                  </a:lnTo>
                  <a:lnTo>
                    <a:pt x="104" y="78"/>
                  </a:lnTo>
                  <a:lnTo>
                    <a:pt x="104" y="80"/>
                  </a:lnTo>
                  <a:lnTo>
                    <a:pt x="106" y="82"/>
                  </a:lnTo>
                  <a:lnTo>
                    <a:pt x="108" y="82"/>
                  </a:lnTo>
                  <a:lnTo>
                    <a:pt x="108" y="86"/>
                  </a:lnTo>
                  <a:lnTo>
                    <a:pt x="108" y="86"/>
                  </a:lnTo>
                  <a:lnTo>
                    <a:pt x="108" y="86"/>
                  </a:lnTo>
                  <a:lnTo>
                    <a:pt x="108" y="88"/>
                  </a:lnTo>
                  <a:lnTo>
                    <a:pt x="106" y="88"/>
                  </a:lnTo>
                  <a:lnTo>
                    <a:pt x="102" y="88"/>
                  </a:lnTo>
                  <a:lnTo>
                    <a:pt x="100" y="88"/>
                  </a:lnTo>
                  <a:lnTo>
                    <a:pt x="100" y="90"/>
                  </a:lnTo>
                  <a:lnTo>
                    <a:pt x="98" y="90"/>
                  </a:lnTo>
                  <a:lnTo>
                    <a:pt x="98" y="92"/>
                  </a:lnTo>
                  <a:lnTo>
                    <a:pt x="96" y="92"/>
                  </a:lnTo>
                  <a:lnTo>
                    <a:pt x="96" y="92"/>
                  </a:lnTo>
                  <a:lnTo>
                    <a:pt x="96" y="92"/>
                  </a:lnTo>
                  <a:lnTo>
                    <a:pt x="96" y="92"/>
                  </a:lnTo>
                  <a:lnTo>
                    <a:pt x="96" y="92"/>
                  </a:lnTo>
                  <a:lnTo>
                    <a:pt x="94" y="92"/>
                  </a:lnTo>
                  <a:lnTo>
                    <a:pt x="92" y="92"/>
                  </a:lnTo>
                  <a:lnTo>
                    <a:pt x="90" y="92"/>
                  </a:lnTo>
                  <a:lnTo>
                    <a:pt x="84" y="94"/>
                  </a:lnTo>
                  <a:lnTo>
                    <a:pt x="84" y="94"/>
                  </a:lnTo>
                  <a:lnTo>
                    <a:pt x="84" y="96"/>
                  </a:lnTo>
                  <a:lnTo>
                    <a:pt x="84" y="96"/>
                  </a:lnTo>
                  <a:lnTo>
                    <a:pt x="82" y="96"/>
                  </a:lnTo>
                  <a:lnTo>
                    <a:pt x="82" y="96"/>
                  </a:lnTo>
                  <a:lnTo>
                    <a:pt x="80" y="96"/>
                  </a:lnTo>
                  <a:lnTo>
                    <a:pt x="80" y="96"/>
                  </a:lnTo>
                  <a:lnTo>
                    <a:pt x="78" y="96"/>
                  </a:lnTo>
                  <a:lnTo>
                    <a:pt x="76" y="96"/>
                  </a:lnTo>
                  <a:lnTo>
                    <a:pt x="76" y="96"/>
                  </a:lnTo>
                  <a:lnTo>
                    <a:pt x="74" y="98"/>
                  </a:lnTo>
                  <a:lnTo>
                    <a:pt x="74" y="98"/>
                  </a:lnTo>
                  <a:lnTo>
                    <a:pt x="72" y="98"/>
                  </a:lnTo>
                  <a:lnTo>
                    <a:pt x="67" y="100"/>
                  </a:lnTo>
                  <a:lnTo>
                    <a:pt x="65" y="98"/>
                  </a:lnTo>
                  <a:lnTo>
                    <a:pt x="65" y="98"/>
                  </a:lnTo>
                  <a:lnTo>
                    <a:pt x="65" y="96"/>
                  </a:lnTo>
                  <a:lnTo>
                    <a:pt x="63" y="96"/>
                  </a:lnTo>
                  <a:lnTo>
                    <a:pt x="63" y="96"/>
                  </a:lnTo>
                  <a:lnTo>
                    <a:pt x="63" y="98"/>
                  </a:lnTo>
                  <a:lnTo>
                    <a:pt x="63" y="98"/>
                  </a:lnTo>
                  <a:lnTo>
                    <a:pt x="61" y="102"/>
                  </a:lnTo>
                  <a:lnTo>
                    <a:pt x="59" y="104"/>
                  </a:lnTo>
                  <a:lnTo>
                    <a:pt x="59" y="106"/>
                  </a:lnTo>
                  <a:lnTo>
                    <a:pt x="57" y="106"/>
                  </a:lnTo>
                  <a:lnTo>
                    <a:pt x="55" y="106"/>
                  </a:lnTo>
                  <a:lnTo>
                    <a:pt x="55" y="108"/>
                  </a:lnTo>
                  <a:lnTo>
                    <a:pt x="55" y="108"/>
                  </a:lnTo>
                  <a:lnTo>
                    <a:pt x="53" y="111"/>
                  </a:lnTo>
                  <a:lnTo>
                    <a:pt x="53" y="111"/>
                  </a:lnTo>
                  <a:lnTo>
                    <a:pt x="51" y="113"/>
                  </a:lnTo>
                  <a:lnTo>
                    <a:pt x="51" y="113"/>
                  </a:lnTo>
                  <a:lnTo>
                    <a:pt x="51" y="113"/>
                  </a:lnTo>
                  <a:lnTo>
                    <a:pt x="51" y="115"/>
                  </a:lnTo>
                  <a:lnTo>
                    <a:pt x="49" y="115"/>
                  </a:lnTo>
                  <a:lnTo>
                    <a:pt x="49" y="115"/>
                  </a:lnTo>
                  <a:lnTo>
                    <a:pt x="47" y="115"/>
                  </a:lnTo>
                  <a:lnTo>
                    <a:pt x="47" y="113"/>
                  </a:lnTo>
                  <a:lnTo>
                    <a:pt x="47" y="115"/>
                  </a:lnTo>
                  <a:lnTo>
                    <a:pt x="45" y="117"/>
                  </a:lnTo>
                  <a:lnTo>
                    <a:pt x="43" y="117"/>
                  </a:lnTo>
                  <a:lnTo>
                    <a:pt x="43" y="117"/>
                  </a:lnTo>
                  <a:lnTo>
                    <a:pt x="43" y="117"/>
                  </a:lnTo>
                  <a:lnTo>
                    <a:pt x="43" y="117"/>
                  </a:lnTo>
                  <a:lnTo>
                    <a:pt x="43" y="117"/>
                  </a:lnTo>
                  <a:lnTo>
                    <a:pt x="43" y="117"/>
                  </a:lnTo>
                  <a:lnTo>
                    <a:pt x="43" y="117"/>
                  </a:lnTo>
                  <a:lnTo>
                    <a:pt x="43" y="119"/>
                  </a:lnTo>
                  <a:lnTo>
                    <a:pt x="41" y="119"/>
                  </a:lnTo>
                  <a:lnTo>
                    <a:pt x="41" y="121"/>
                  </a:lnTo>
                  <a:lnTo>
                    <a:pt x="41" y="121"/>
                  </a:lnTo>
                  <a:lnTo>
                    <a:pt x="39" y="121"/>
                  </a:lnTo>
                  <a:lnTo>
                    <a:pt x="39" y="121"/>
                  </a:lnTo>
                  <a:lnTo>
                    <a:pt x="37" y="121"/>
                  </a:lnTo>
                  <a:lnTo>
                    <a:pt x="37" y="121"/>
                  </a:lnTo>
                  <a:lnTo>
                    <a:pt x="37" y="123"/>
                  </a:lnTo>
                  <a:lnTo>
                    <a:pt x="35" y="123"/>
                  </a:lnTo>
                  <a:lnTo>
                    <a:pt x="35" y="123"/>
                  </a:lnTo>
                  <a:lnTo>
                    <a:pt x="33" y="125"/>
                  </a:lnTo>
                  <a:lnTo>
                    <a:pt x="33" y="125"/>
                  </a:lnTo>
                  <a:lnTo>
                    <a:pt x="33" y="127"/>
                  </a:lnTo>
                  <a:lnTo>
                    <a:pt x="29" y="129"/>
                  </a:lnTo>
                  <a:lnTo>
                    <a:pt x="29" y="129"/>
                  </a:lnTo>
                  <a:lnTo>
                    <a:pt x="24" y="133"/>
                  </a:lnTo>
                  <a:lnTo>
                    <a:pt x="24" y="133"/>
                  </a:lnTo>
                  <a:lnTo>
                    <a:pt x="22" y="133"/>
                  </a:lnTo>
                  <a:lnTo>
                    <a:pt x="22" y="135"/>
                  </a:lnTo>
                  <a:lnTo>
                    <a:pt x="20" y="135"/>
                  </a:lnTo>
                  <a:lnTo>
                    <a:pt x="20" y="137"/>
                  </a:lnTo>
                  <a:lnTo>
                    <a:pt x="18" y="137"/>
                  </a:lnTo>
                  <a:lnTo>
                    <a:pt x="18" y="139"/>
                  </a:lnTo>
                  <a:lnTo>
                    <a:pt x="16" y="137"/>
                  </a:lnTo>
                  <a:lnTo>
                    <a:pt x="14" y="137"/>
                  </a:lnTo>
                  <a:lnTo>
                    <a:pt x="14" y="139"/>
                  </a:lnTo>
                  <a:lnTo>
                    <a:pt x="14" y="139"/>
                  </a:lnTo>
                  <a:lnTo>
                    <a:pt x="12" y="141"/>
                  </a:lnTo>
                  <a:lnTo>
                    <a:pt x="12" y="139"/>
                  </a:lnTo>
                  <a:lnTo>
                    <a:pt x="12" y="139"/>
                  </a:lnTo>
                  <a:lnTo>
                    <a:pt x="10" y="139"/>
                  </a:lnTo>
                  <a:lnTo>
                    <a:pt x="10" y="139"/>
                  </a:lnTo>
                  <a:lnTo>
                    <a:pt x="10" y="139"/>
                  </a:lnTo>
                  <a:lnTo>
                    <a:pt x="10" y="137"/>
                  </a:lnTo>
                  <a:lnTo>
                    <a:pt x="8" y="135"/>
                  </a:lnTo>
                  <a:lnTo>
                    <a:pt x="4" y="133"/>
                  </a:lnTo>
                  <a:lnTo>
                    <a:pt x="4" y="133"/>
                  </a:lnTo>
                  <a:lnTo>
                    <a:pt x="4" y="131"/>
                  </a:lnTo>
                  <a:lnTo>
                    <a:pt x="8" y="129"/>
                  </a:lnTo>
                  <a:lnTo>
                    <a:pt x="12" y="125"/>
                  </a:lnTo>
                  <a:lnTo>
                    <a:pt x="16" y="121"/>
                  </a:lnTo>
                  <a:lnTo>
                    <a:pt x="18" y="117"/>
                  </a:lnTo>
                  <a:lnTo>
                    <a:pt x="20" y="117"/>
                  </a:lnTo>
                  <a:lnTo>
                    <a:pt x="18" y="115"/>
                  </a:lnTo>
                  <a:lnTo>
                    <a:pt x="16" y="113"/>
                  </a:lnTo>
                  <a:lnTo>
                    <a:pt x="16" y="111"/>
                  </a:lnTo>
                  <a:lnTo>
                    <a:pt x="14" y="108"/>
                  </a:lnTo>
                  <a:lnTo>
                    <a:pt x="12" y="106"/>
                  </a:lnTo>
                  <a:lnTo>
                    <a:pt x="12" y="102"/>
                  </a:lnTo>
                  <a:lnTo>
                    <a:pt x="12" y="98"/>
                  </a:lnTo>
                  <a:lnTo>
                    <a:pt x="10" y="92"/>
                  </a:lnTo>
                  <a:lnTo>
                    <a:pt x="10" y="88"/>
                  </a:lnTo>
                  <a:lnTo>
                    <a:pt x="8" y="82"/>
                  </a:lnTo>
                  <a:lnTo>
                    <a:pt x="8" y="78"/>
                  </a:lnTo>
                  <a:lnTo>
                    <a:pt x="8" y="74"/>
                  </a:lnTo>
                  <a:lnTo>
                    <a:pt x="6" y="67"/>
                  </a:lnTo>
                  <a:lnTo>
                    <a:pt x="6" y="63"/>
                  </a:lnTo>
                  <a:lnTo>
                    <a:pt x="4" y="59"/>
                  </a:lnTo>
                  <a:lnTo>
                    <a:pt x="4" y="53"/>
                  </a:lnTo>
                  <a:lnTo>
                    <a:pt x="2" y="49"/>
                  </a:lnTo>
                  <a:lnTo>
                    <a:pt x="2" y="45"/>
                  </a:lnTo>
                  <a:lnTo>
                    <a:pt x="2" y="39"/>
                  </a:lnTo>
                  <a:lnTo>
                    <a:pt x="0" y="35"/>
                  </a:lnTo>
                  <a:lnTo>
                    <a:pt x="0" y="29"/>
                  </a:lnTo>
                  <a:lnTo>
                    <a:pt x="10" y="27"/>
                  </a:lnTo>
                  <a:lnTo>
                    <a:pt x="18" y="24"/>
                  </a:lnTo>
                  <a:lnTo>
                    <a:pt x="29" y="22"/>
                  </a:lnTo>
                  <a:lnTo>
                    <a:pt x="39" y="20"/>
                  </a:lnTo>
                  <a:lnTo>
                    <a:pt x="45" y="20"/>
                  </a:lnTo>
                  <a:lnTo>
                    <a:pt x="49" y="18"/>
                  </a:lnTo>
                  <a:lnTo>
                    <a:pt x="53" y="18"/>
                  </a:lnTo>
                  <a:lnTo>
                    <a:pt x="55" y="20"/>
                  </a:lnTo>
                  <a:lnTo>
                    <a:pt x="57" y="20"/>
                  </a:lnTo>
                  <a:lnTo>
                    <a:pt x="57" y="18"/>
                  </a:lnTo>
                  <a:lnTo>
                    <a:pt x="67" y="14"/>
                  </a:lnTo>
                  <a:lnTo>
                    <a:pt x="70" y="14"/>
                  </a:lnTo>
                  <a:lnTo>
                    <a:pt x="72" y="14"/>
                  </a:lnTo>
                  <a:lnTo>
                    <a:pt x="72" y="14"/>
                  </a:lnTo>
                  <a:lnTo>
                    <a:pt x="74" y="14"/>
                  </a:lnTo>
                  <a:lnTo>
                    <a:pt x="78" y="12"/>
                  </a:lnTo>
                  <a:lnTo>
                    <a:pt x="90" y="10"/>
                  </a:lnTo>
                  <a:lnTo>
                    <a:pt x="100" y="6"/>
                  </a:lnTo>
                  <a:lnTo>
                    <a:pt x="113" y="4"/>
                  </a:lnTo>
                  <a:lnTo>
                    <a:pt x="125" y="2"/>
                  </a:lnTo>
                  <a:lnTo>
                    <a:pt x="133" y="0"/>
                  </a:lnTo>
                  <a:lnTo>
                    <a:pt x="133" y="0"/>
                  </a:lnTo>
                  <a:lnTo>
                    <a:pt x="133" y="0"/>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48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CT</a:t>
              </a:r>
            </a:p>
          </p:txBody>
        </p:sp>
        <p:sp>
          <p:nvSpPr>
            <p:cNvPr id="130" name="Freeform 50">
              <a:extLst>
                <a:ext uri="{FF2B5EF4-FFF2-40B4-BE49-F238E27FC236}">
                  <a16:creationId xmlns:a16="http://schemas.microsoft.com/office/drawing/2014/main" id="{10482928-D806-38F9-CF26-E7B3B0162524}"/>
                </a:ext>
              </a:extLst>
            </p:cNvPr>
            <p:cNvSpPr>
              <a:spLocks/>
            </p:cNvSpPr>
            <p:nvPr/>
          </p:nvSpPr>
          <p:spPr bwMode="auto">
            <a:xfrm>
              <a:off x="1943" y="986"/>
              <a:ext cx="614" cy="457"/>
            </a:xfrm>
            <a:custGeom>
              <a:avLst/>
              <a:gdLst>
                <a:gd name="T0" fmla="*/ 612 w 614"/>
                <a:gd name="T1" fmla="*/ 153 h 457"/>
                <a:gd name="T2" fmla="*/ 612 w 614"/>
                <a:gd name="T3" fmla="*/ 184 h 457"/>
                <a:gd name="T4" fmla="*/ 612 w 614"/>
                <a:gd name="T5" fmla="*/ 215 h 457"/>
                <a:gd name="T6" fmla="*/ 612 w 614"/>
                <a:gd name="T7" fmla="*/ 246 h 457"/>
                <a:gd name="T8" fmla="*/ 610 w 614"/>
                <a:gd name="T9" fmla="*/ 274 h 457"/>
                <a:gd name="T10" fmla="*/ 610 w 614"/>
                <a:gd name="T11" fmla="*/ 305 h 457"/>
                <a:gd name="T12" fmla="*/ 610 w 614"/>
                <a:gd name="T13" fmla="*/ 336 h 457"/>
                <a:gd name="T14" fmla="*/ 610 w 614"/>
                <a:gd name="T15" fmla="*/ 365 h 457"/>
                <a:gd name="T16" fmla="*/ 608 w 614"/>
                <a:gd name="T17" fmla="*/ 395 h 457"/>
                <a:gd name="T18" fmla="*/ 608 w 614"/>
                <a:gd name="T19" fmla="*/ 426 h 457"/>
                <a:gd name="T20" fmla="*/ 608 w 614"/>
                <a:gd name="T21" fmla="*/ 457 h 457"/>
                <a:gd name="T22" fmla="*/ 576 w 614"/>
                <a:gd name="T23" fmla="*/ 455 h 457"/>
                <a:gd name="T24" fmla="*/ 545 w 614"/>
                <a:gd name="T25" fmla="*/ 455 h 457"/>
                <a:gd name="T26" fmla="*/ 506 w 614"/>
                <a:gd name="T27" fmla="*/ 453 h 457"/>
                <a:gd name="T28" fmla="*/ 457 w 614"/>
                <a:gd name="T29" fmla="*/ 453 h 457"/>
                <a:gd name="T30" fmla="*/ 408 w 614"/>
                <a:gd name="T31" fmla="*/ 451 h 457"/>
                <a:gd name="T32" fmla="*/ 358 w 614"/>
                <a:gd name="T33" fmla="*/ 449 h 457"/>
                <a:gd name="T34" fmla="*/ 309 w 614"/>
                <a:gd name="T35" fmla="*/ 447 h 457"/>
                <a:gd name="T36" fmla="*/ 260 w 614"/>
                <a:gd name="T37" fmla="*/ 442 h 457"/>
                <a:gd name="T38" fmla="*/ 211 w 614"/>
                <a:gd name="T39" fmla="*/ 440 h 457"/>
                <a:gd name="T40" fmla="*/ 162 w 614"/>
                <a:gd name="T41" fmla="*/ 438 h 457"/>
                <a:gd name="T42" fmla="*/ 113 w 614"/>
                <a:gd name="T43" fmla="*/ 434 h 457"/>
                <a:gd name="T44" fmla="*/ 66 w 614"/>
                <a:gd name="T45" fmla="*/ 430 h 457"/>
                <a:gd name="T46" fmla="*/ 16 w 614"/>
                <a:gd name="T47" fmla="*/ 426 h 457"/>
                <a:gd name="T48" fmla="*/ 2 w 614"/>
                <a:gd name="T49" fmla="*/ 399 h 457"/>
                <a:gd name="T50" fmla="*/ 4 w 614"/>
                <a:gd name="T51" fmla="*/ 358 h 457"/>
                <a:gd name="T52" fmla="*/ 8 w 614"/>
                <a:gd name="T53" fmla="*/ 319 h 457"/>
                <a:gd name="T54" fmla="*/ 10 w 614"/>
                <a:gd name="T55" fmla="*/ 278 h 457"/>
                <a:gd name="T56" fmla="*/ 14 w 614"/>
                <a:gd name="T57" fmla="*/ 238 h 457"/>
                <a:gd name="T58" fmla="*/ 19 w 614"/>
                <a:gd name="T59" fmla="*/ 199 h 457"/>
                <a:gd name="T60" fmla="*/ 21 w 614"/>
                <a:gd name="T61" fmla="*/ 158 h 457"/>
                <a:gd name="T62" fmla="*/ 25 w 614"/>
                <a:gd name="T63" fmla="*/ 119 h 457"/>
                <a:gd name="T64" fmla="*/ 27 w 614"/>
                <a:gd name="T65" fmla="*/ 78 h 457"/>
                <a:gd name="T66" fmla="*/ 31 w 614"/>
                <a:gd name="T67" fmla="*/ 39 h 457"/>
                <a:gd name="T68" fmla="*/ 35 w 614"/>
                <a:gd name="T69" fmla="*/ 0 h 457"/>
                <a:gd name="T70" fmla="*/ 74 w 614"/>
                <a:gd name="T71" fmla="*/ 2 h 457"/>
                <a:gd name="T72" fmla="*/ 113 w 614"/>
                <a:gd name="T73" fmla="*/ 4 h 457"/>
                <a:gd name="T74" fmla="*/ 152 w 614"/>
                <a:gd name="T75" fmla="*/ 8 h 457"/>
                <a:gd name="T76" fmla="*/ 191 w 614"/>
                <a:gd name="T77" fmla="*/ 10 h 457"/>
                <a:gd name="T78" fmla="*/ 229 w 614"/>
                <a:gd name="T79" fmla="*/ 12 h 457"/>
                <a:gd name="T80" fmla="*/ 268 w 614"/>
                <a:gd name="T81" fmla="*/ 14 h 457"/>
                <a:gd name="T82" fmla="*/ 307 w 614"/>
                <a:gd name="T83" fmla="*/ 16 h 457"/>
                <a:gd name="T84" fmla="*/ 346 w 614"/>
                <a:gd name="T85" fmla="*/ 18 h 457"/>
                <a:gd name="T86" fmla="*/ 385 w 614"/>
                <a:gd name="T87" fmla="*/ 20 h 457"/>
                <a:gd name="T88" fmla="*/ 424 w 614"/>
                <a:gd name="T89" fmla="*/ 22 h 457"/>
                <a:gd name="T90" fmla="*/ 459 w 614"/>
                <a:gd name="T91" fmla="*/ 24 h 457"/>
                <a:gd name="T92" fmla="*/ 490 w 614"/>
                <a:gd name="T93" fmla="*/ 24 h 457"/>
                <a:gd name="T94" fmla="*/ 518 w 614"/>
                <a:gd name="T95" fmla="*/ 26 h 457"/>
                <a:gd name="T96" fmla="*/ 549 w 614"/>
                <a:gd name="T97" fmla="*/ 26 h 457"/>
                <a:gd name="T98" fmla="*/ 578 w 614"/>
                <a:gd name="T99" fmla="*/ 26 h 457"/>
                <a:gd name="T100" fmla="*/ 608 w 614"/>
                <a:gd name="T101" fmla="*/ 28 h 457"/>
                <a:gd name="T102" fmla="*/ 614 w 614"/>
                <a:gd name="T103" fmla="*/ 41 h 457"/>
                <a:gd name="T104" fmla="*/ 614 w 614"/>
                <a:gd name="T105" fmla="*/ 61 h 457"/>
                <a:gd name="T106" fmla="*/ 614 w 614"/>
                <a:gd name="T107" fmla="*/ 82 h 457"/>
                <a:gd name="T108" fmla="*/ 614 w 614"/>
                <a:gd name="T109" fmla="*/ 100 h 457"/>
                <a:gd name="T110" fmla="*/ 612 w 614"/>
                <a:gd name="T111" fmla="*/ 121 h 457"/>
                <a:gd name="T112" fmla="*/ 612 w 614"/>
                <a:gd name="T113" fmla="*/ 135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 h="457">
                  <a:moveTo>
                    <a:pt x="612" y="135"/>
                  </a:moveTo>
                  <a:lnTo>
                    <a:pt x="612" y="145"/>
                  </a:lnTo>
                  <a:lnTo>
                    <a:pt x="612" y="153"/>
                  </a:lnTo>
                  <a:lnTo>
                    <a:pt x="612" y="164"/>
                  </a:lnTo>
                  <a:lnTo>
                    <a:pt x="612" y="174"/>
                  </a:lnTo>
                  <a:lnTo>
                    <a:pt x="612" y="184"/>
                  </a:lnTo>
                  <a:lnTo>
                    <a:pt x="612" y="194"/>
                  </a:lnTo>
                  <a:lnTo>
                    <a:pt x="612" y="205"/>
                  </a:lnTo>
                  <a:lnTo>
                    <a:pt x="612" y="215"/>
                  </a:lnTo>
                  <a:lnTo>
                    <a:pt x="612" y="225"/>
                  </a:lnTo>
                  <a:lnTo>
                    <a:pt x="612" y="235"/>
                  </a:lnTo>
                  <a:lnTo>
                    <a:pt x="612" y="246"/>
                  </a:lnTo>
                  <a:lnTo>
                    <a:pt x="610" y="254"/>
                  </a:lnTo>
                  <a:lnTo>
                    <a:pt x="610" y="264"/>
                  </a:lnTo>
                  <a:lnTo>
                    <a:pt x="610" y="274"/>
                  </a:lnTo>
                  <a:lnTo>
                    <a:pt x="610" y="285"/>
                  </a:lnTo>
                  <a:lnTo>
                    <a:pt x="610" y="295"/>
                  </a:lnTo>
                  <a:lnTo>
                    <a:pt x="610" y="305"/>
                  </a:lnTo>
                  <a:lnTo>
                    <a:pt x="610" y="315"/>
                  </a:lnTo>
                  <a:lnTo>
                    <a:pt x="610" y="326"/>
                  </a:lnTo>
                  <a:lnTo>
                    <a:pt x="610" y="336"/>
                  </a:lnTo>
                  <a:lnTo>
                    <a:pt x="610" y="346"/>
                  </a:lnTo>
                  <a:lnTo>
                    <a:pt x="610" y="354"/>
                  </a:lnTo>
                  <a:lnTo>
                    <a:pt x="610" y="365"/>
                  </a:lnTo>
                  <a:lnTo>
                    <a:pt x="610" y="375"/>
                  </a:lnTo>
                  <a:lnTo>
                    <a:pt x="610" y="385"/>
                  </a:lnTo>
                  <a:lnTo>
                    <a:pt x="608" y="395"/>
                  </a:lnTo>
                  <a:lnTo>
                    <a:pt x="608" y="406"/>
                  </a:lnTo>
                  <a:lnTo>
                    <a:pt x="608" y="416"/>
                  </a:lnTo>
                  <a:lnTo>
                    <a:pt x="608" y="426"/>
                  </a:lnTo>
                  <a:lnTo>
                    <a:pt x="608" y="436"/>
                  </a:lnTo>
                  <a:lnTo>
                    <a:pt x="608" y="447"/>
                  </a:lnTo>
                  <a:lnTo>
                    <a:pt x="608" y="457"/>
                  </a:lnTo>
                  <a:lnTo>
                    <a:pt x="598" y="457"/>
                  </a:lnTo>
                  <a:lnTo>
                    <a:pt x="588" y="455"/>
                  </a:lnTo>
                  <a:lnTo>
                    <a:pt x="576" y="455"/>
                  </a:lnTo>
                  <a:lnTo>
                    <a:pt x="565" y="455"/>
                  </a:lnTo>
                  <a:lnTo>
                    <a:pt x="555" y="455"/>
                  </a:lnTo>
                  <a:lnTo>
                    <a:pt x="545" y="455"/>
                  </a:lnTo>
                  <a:lnTo>
                    <a:pt x="533" y="455"/>
                  </a:lnTo>
                  <a:lnTo>
                    <a:pt x="522" y="455"/>
                  </a:lnTo>
                  <a:lnTo>
                    <a:pt x="506" y="453"/>
                  </a:lnTo>
                  <a:lnTo>
                    <a:pt x="490" y="453"/>
                  </a:lnTo>
                  <a:lnTo>
                    <a:pt x="473" y="453"/>
                  </a:lnTo>
                  <a:lnTo>
                    <a:pt x="457" y="453"/>
                  </a:lnTo>
                  <a:lnTo>
                    <a:pt x="440" y="451"/>
                  </a:lnTo>
                  <a:lnTo>
                    <a:pt x="424" y="451"/>
                  </a:lnTo>
                  <a:lnTo>
                    <a:pt x="408" y="451"/>
                  </a:lnTo>
                  <a:lnTo>
                    <a:pt x="391" y="449"/>
                  </a:lnTo>
                  <a:lnTo>
                    <a:pt x="375" y="449"/>
                  </a:lnTo>
                  <a:lnTo>
                    <a:pt x="358" y="449"/>
                  </a:lnTo>
                  <a:lnTo>
                    <a:pt x="342" y="447"/>
                  </a:lnTo>
                  <a:lnTo>
                    <a:pt x="326" y="447"/>
                  </a:lnTo>
                  <a:lnTo>
                    <a:pt x="309" y="447"/>
                  </a:lnTo>
                  <a:lnTo>
                    <a:pt x="293" y="444"/>
                  </a:lnTo>
                  <a:lnTo>
                    <a:pt x="277" y="444"/>
                  </a:lnTo>
                  <a:lnTo>
                    <a:pt x="260" y="442"/>
                  </a:lnTo>
                  <a:lnTo>
                    <a:pt x="244" y="442"/>
                  </a:lnTo>
                  <a:lnTo>
                    <a:pt x="227" y="442"/>
                  </a:lnTo>
                  <a:lnTo>
                    <a:pt x="211" y="440"/>
                  </a:lnTo>
                  <a:lnTo>
                    <a:pt x="195" y="440"/>
                  </a:lnTo>
                  <a:lnTo>
                    <a:pt x="178" y="438"/>
                  </a:lnTo>
                  <a:lnTo>
                    <a:pt x="162" y="438"/>
                  </a:lnTo>
                  <a:lnTo>
                    <a:pt x="145" y="436"/>
                  </a:lnTo>
                  <a:lnTo>
                    <a:pt x="129" y="436"/>
                  </a:lnTo>
                  <a:lnTo>
                    <a:pt x="113" y="434"/>
                  </a:lnTo>
                  <a:lnTo>
                    <a:pt x="96" y="432"/>
                  </a:lnTo>
                  <a:lnTo>
                    <a:pt x="80" y="432"/>
                  </a:lnTo>
                  <a:lnTo>
                    <a:pt x="66" y="430"/>
                  </a:lnTo>
                  <a:lnTo>
                    <a:pt x="49" y="430"/>
                  </a:lnTo>
                  <a:lnTo>
                    <a:pt x="33" y="428"/>
                  </a:lnTo>
                  <a:lnTo>
                    <a:pt x="16" y="426"/>
                  </a:lnTo>
                  <a:lnTo>
                    <a:pt x="0" y="426"/>
                  </a:lnTo>
                  <a:lnTo>
                    <a:pt x="0" y="412"/>
                  </a:lnTo>
                  <a:lnTo>
                    <a:pt x="2" y="399"/>
                  </a:lnTo>
                  <a:lnTo>
                    <a:pt x="2" y="385"/>
                  </a:lnTo>
                  <a:lnTo>
                    <a:pt x="4" y="373"/>
                  </a:lnTo>
                  <a:lnTo>
                    <a:pt x="4" y="358"/>
                  </a:lnTo>
                  <a:lnTo>
                    <a:pt x="6" y="346"/>
                  </a:lnTo>
                  <a:lnTo>
                    <a:pt x="6" y="332"/>
                  </a:lnTo>
                  <a:lnTo>
                    <a:pt x="8" y="319"/>
                  </a:lnTo>
                  <a:lnTo>
                    <a:pt x="8" y="305"/>
                  </a:lnTo>
                  <a:lnTo>
                    <a:pt x="10" y="291"/>
                  </a:lnTo>
                  <a:lnTo>
                    <a:pt x="10" y="278"/>
                  </a:lnTo>
                  <a:lnTo>
                    <a:pt x="12" y="264"/>
                  </a:lnTo>
                  <a:lnTo>
                    <a:pt x="14" y="252"/>
                  </a:lnTo>
                  <a:lnTo>
                    <a:pt x="14" y="238"/>
                  </a:lnTo>
                  <a:lnTo>
                    <a:pt x="16" y="225"/>
                  </a:lnTo>
                  <a:lnTo>
                    <a:pt x="16" y="211"/>
                  </a:lnTo>
                  <a:lnTo>
                    <a:pt x="19" y="199"/>
                  </a:lnTo>
                  <a:lnTo>
                    <a:pt x="19" y="184"/>
                  </a:lnTo>
                  <a:lnTo>
                    <a:pt x="21" y="172"/>
                  </a:lnTo>
                  <a:lnTo>
                    <a:pt x="21" y="158"/>
                  </a:lnTo>
                  <a:lnTo>
                    <a:pt x="23" y="145"/>
                  </a:lnTo>
                  <a:lnTo>
                    <a:pt x="23" y="131"/>
                  </a:lnTo>
                  <a:lnTo>
                    <a:pt x="25" y="119"/>
                  </a:lnTo>
                  <a:lnTo>
                    <a:pt x="25" y="104"/>
                  </a:lnTo>
                  <a:lnTo>
                    <a:pt x="27" y="92"/>
                  </a:lnTo>
                  <a:lnTo>
                    <a:pt x="27" y="78"/>
                  </a:lnTo>
                  <a:lnTo>
                    <a:pt x="29" y="65"/>
                  </a:lnTo>
                  <a:lnTo>
                    <a:pt x="31" y="51"/>
                  </a:lnTo>
                  <a:lnTo>
                    <a:pt x="31" y="39"/>
                  </a:lnTo>
                  <a:lnTo>
                    <a:pt x="33" y="24"/>
                  </a:lnTo>
                  <a:lnTo>
                    <a:pt x="33" y="12"/>
                  </a:lnTo>
                  <a:lnTo>
                    <a:pt x="35" y="0"/>
                  </a:lnTo>
                  <a:lnTo>
                    <a:pt x="47" y="0"/>
                  </a:lnTo>
                  <a:lnTo>
                    <a:pt x="59" y="2"/>
                  </a:lnTo>
                  <a:lnTo>
                    <a:pt x="74" y="2"/>
                  </a:lnTo>
                  <a:lnTo>
                    <a:pt x="86" y="4"/>
                  </a:lnTo>
                  <a:lnTo>
                    <a:pt x="98" y="4"/>
                  </a:lnTo>
                  <a:lnTo>
                    <a:pt x="113" y="4"/>
                  </a:lnTo>
                  <a:lnTo>
                    <a:pt x="125" y="6"/>
                  </a:lnTo>
                  <a:lnTo>
                    <a:pt x="137" y="6"/>
                  </a:lnTo>
                  <a:lnTo>
                    <a:pt x="152" y="8"/>
                  </a:lnTo>
                  <a:lnTo>
                    <a:pt x="164" y="8"/>
                  </a:lnTo>
                  <a:lnTo>
                    <a:pt x="176" y="10"/>
                  </a:lnTo>
                  <a:lnTo>
                    <a:pt x="191" y="10"/>
                  </a:lnTo>
                  <a:lnTo>
                    <a:pt x="203" y="12"/>
                  </a:lnTo>
                  <a:lnTo>
                    <a:pt x="215" y="12"/>
                  </a:lnTo>
                  <a:lnTo>
                    <a:pt x="229" y="12"/>
                  </a:lnTo>
                  <a:lnTo>
                    <a:pt x="242" y="14"/>
                  </a:lnTo>
                  <a:lnTo>
                    <a:pt x="254" y="14"/>
                  </a:lnTo>
                  <a:lnTo>
                    <a:pt x="268" y="14"/>
                  </a:lnTo>
                  <a:lnTo>
                    <a:pt x="281" y="16"/>
                  </a:lnTo>
                  <a:lnTo>
                    <a:pt x="293" y="16"/>
                  </a:lnTo>
                  <a:lnTo>
                    <a:pt x="307" y="16"/>
                  </a:lnTo>
                  <a:lnTo>
                    <a:pt x="320" y="18"/>
                  </a:lnTo>
                  <a:lnTo>
                    <a:pt x="332" y="18"/>
                  </a:lnTo>
                  <a:lnTo>
                    <a:pt x="346" y="18"/>
                  </a:lnTo>
                  <a:lnTo>
                    <a:pt x="358" y="20"/>
                  </a:lnTo>
                  <a:lnTo>
                    <a:pt x="371" y="20"/>
                  </a:lnTo>
                  <a:lnTo>
                    <a:pt x="385" y="20"/>
                  </a:lnTo>
                  <a:lnTo>
                    <a:pt x="397" y="22"/>
                  </a:lnTo>
                  <a:lnTo>
                    <a:pt x="412" y="22"/>
                  </a:lnTo>
                  <a:lnTo>
                    <a:pt x="424" y="22"/>
                  </a:lnTo>
                  <a:lnTo>
                    <a:pt x="436" y="22"/>
                  </a:lnTo>
                  <a:lnTo>
                    <a:pt x="451" y="24"/>
                  </a:lnTo>
                  <a:lnTo>
                    <a:pt x="459" y="24"/>
                  </a:lnTo>
                  <a:lnTo>
                    <a:pt x="469" y="24"/>
                  </a:lnTo>
                  <a:lnTo>
                    <a:pt x="479" y="24"/>
                  </a:lnTo>
                  <a:lnTo>
                    <a:pt x="490" y="24"/>
                  </a:lnTo>
                  <a:lnTo>
                    <a:pt x="500" y="24"/>
                  </a:lnTo>
                  <a:lnTo>
                    <a:pt x="508" y="24"/>
                  </a:lnTo>
                  <a:lnTo>
                    <a:pt x="518" y="26"/>
                  </a:lnTo>
                  <a:lnTo>
                    <a:pt x="528" y="26"/>
                  </a:lnTo>
                  <a:lnTo>
                    <a:pt x="539" y="26"/>
                  </a:lnTo>
                  <a:lnTo>
                    <a:pt x="549" y="26"/>
                  </a:lnTo>
                  <a:lnTo>
                    <a:pt x="557" y="26"/>
                  </a:lnTo>
                  <a:lnTo>
                    <a:pt x="567" y="26"/>
                  </a:lnTo>
                  <a:lnTo>
                    <a:pt x="578" y="26"/>
                  </a:lnTo>
                  <a:lnTo>
                    <a:pt x="588" y="26"/>
                  </a:lnTo>
                  <a:lnTo>
                    <a:pt x="598" y="28"/>
                  </a:lnTo>
                  <a:lnTo>
                    <a:pt x="608" y="28"/>
                  </a:lnTo>
                  <a:lnTo>
                    <a:pt x="614" y="28"/>
                  </a:lnTo>
                  <a:lnTo>
                    <a:pt x="614" y="35"/>
                  </a:lnTo>
                  <a:lnTo>
                    <a:pt x="614" y="41"/>
                  </a:lnTo>
                  <a:lnTo>
                    <a:pt x="614" y="47"/>
                  </a:lnTo>
                  <a:lnTo>
                    <a:pt x="614" y="55"/>
                  </a:lnTo>
                  <a:lnTo>
                    <a:pt x="614" y="61"/>
                  </a:lnTo>
                  <a:lnTo>
                    <a:pt x="614" y="67"/>
                  </a:lnTo>
                  <a:lnTo>
                    <a:pt x="614" y="74"/>
                  </a:lnTo>
                  <a:lnTo>
                    <a:pt x="614" y="82"/>
                  </a:lnTo>
                  <a:lnTo>
                    <a:pt x="614" y="88"/>
                  </a:lnTo>
                  <a:lnTo>
                    <a:pt x="614" y="94"/>
                  </a:lnTo>
                  <a:lnTo>
                    <a:pt x="614" y="100"/>
                  </a:lnTo>
                  <a:lnTo>
                    <a:pt x="614" y="108"/>
                  </a:lnTo>
                  <a:lnTo>
                    <a:pt x="614" y="115"/>
                  </a:lnTo>
                  <a:lnTo>
                    <a:pt x="612" y="121"/>
                  </a:lnTo>
                  <a:lnTo>
                    <a:pt x="612" y="127"/>
                  </a:lnTo>
                  <a:lnTo>
                    <a:pt x="612" y="135"/>
                  </a:lnTo>
                  <a:lnTo>
                    <a:pt x="612" y="135"/>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CO</a:t>
              </a:r>
            </a:p>
          </p:txBody>
        </p:sp>
        <p:sp>
          <p:nvSpPr>
            <p:cNvPr id="131" name="Freeform 51">
              <a:extLst>
                <a:ext uri="{FF2B5EF4-FFF2-40B4-BE49-F238E27FC236}">
                  <a16:creationId xmlns:a16="http://schemas.microsoft.com/office/drawing/2014/main" id="{284772A5-87E1-3A42-8235-AF5B816ABEEB}"/>
                </a:ext>
              </a:extLst>
            </p:cNvPr>
            <p:cNvSpPr>
              <a:spLocks noEditPoints="1"/>
            </p:cNvSpPr>
            <p:nvPr/>
          </p:nvSpPr>
          <p:spPr bwMode="auto">
            <a:xfrm>
              <a:off x="711" y="693"/>
              <a:ext cx="760" cy="1125"/>
            </a:xfrm>
            <a:custGeom>
              <a:avLst/>
              <a:gdLst>
                <a:gd name="T0" fmla="*/ 350 w 760"/>
                <a:gd name="T1" fmla="*/ 1061 h 1125"/>
                <a:gd name="T2" fmla="*/ 260 w 760"/>
                <a:gd name="T3" fmla="*/ 998 h 1125"/>
                <a:gd name="T4" fmla="*/ 359 w 760"/>
                <a:gd name="T5" fmla="*/ 1004 h 1125"/>
                <a:gd name="T6" fmla="*/ 223 w 760"/>
                <a:gd name="T7" fmla="*/ 908 h 1125"/>
                <a:gd name="T8" fmla="*/ 234 w 760"/>
                <a:gd name="T9" fmla="*/ 918 h 1125"/>
                <a:gd name="T10" fmla="*/ 201 w 760"/>
                <a:gd name="T11" fmla="*/ 903 h 1125"/>
                <a:gd name="T12" fmla="*/ 242 w 760"/>
                <a:gd name="T13" fmla="*/ 906 h 1125"/>
                <a:gd name="T14" fmla="*/ 756 w 760"/>
                <a:gd name="T15" fmla="*/ 955 h 1125"/>
                <a:gd name="T16" fmla="*/ 741 w 760"/>
                <a:gd name="T17" fmla="*/ 934 h 1125"/>
                <a:gd name="T18" fmla="*/ 725 w 760"/>
                <a:gd name="T19" fmla="*/ 895 h 1125"/>
                <a:gd name="T20" fmla="*/ 518 w 760"/>
                <a:gd name="T21" fmla="*/ 617 h 1125"/>
                <a:gd name="T22" fmla="*/ 354 w 760"/>
                <a:gd name="T23" fmla="*/ 260 h 1125"/>
                <a:gd name="T24" fmla="*/ 178 w 760"/>
                <a:gd name="T25" fmla="*/ 28 h 1125"/>
                <a:gd name="T26" fmla="*/ 49 w 760"/>
                <a:gd name="T27" fmla="*/ 35 h 1125"/>
                <a:gd name="T28" fmla="*/ 37 w 760"/>
                <a:gd name="T29" fmla="*/ 90 h 1125"/>
                <a:gd name="T30" fmla="*/ 33 w 760"/>
                <a:gd name="T31" fmla="*/ 125 h 1125"/>
                <a:gd name="T32" fmla="*/ 12 w 760"/>
                <a:gd name="T33" fmla="*/ 139 h 1125"/>
                <a:gd name="T34" fmla="*/ 2 w 760"/>
                <a:gd name="T35" fmla="*/ 180 h 1125"/>
                <a:gd name="T36" fmla="*/ 33 w 760"/>
                <a:gd name="T37" fmla="*/ 246 h 1125"/>
                <a:gd name="T38" fmla="*/ 27 w 760"/>
                <a:gd name="T39" fmla="*/ 311 h 1125"/>
                <a:gd name="T40" fmla="*/ 57 w 760"/>
                <a:gd name="T41" fmla="*/ 387 h 1125"/>
                <a:gd name="T42" fmla="*/ 72 w 760"/>
                <a:gd name="T43" fmla="*/ 428 h 1125"/>
                <a:gd name="T44" fmla="*/ 66 w 760"/>
                <a:gd name="T45" fmla="*/ 434 h 1125"/>
                <a:gd name="T46" fmla="*/ 84 w 760"/>
                <a:gd name="T47" fmla="*/ 453 h 1125"/>
                <a:gd name="T48" fmla="*/ 100 w 760"/>
                <a:gd name="T49" fmla="*/ 455 h 1125"/>
                <a:gd name="T50" fmla="*/ 125 w 760"/>
                <a:gd name="T51" fmla="*/ 444 h 1125"/>
                <a:gd name="T52" fmla="*/ 152 w 760"/>
                <a:gd name="T53" fmla="*/ 451 h 1125"/>
                <a:gd name="T54" fmla="*/ 166 w 760"/>
                <a:gd name="T55" fmla="*/ 453 h 1125"/>
                <a:gd name="T56" fmla="*/ 178 w 760"/>
                <a:gd name="T57" fmla="*/ 451 h 1125"/>
                <a:gd name="T58" fmla="*/ 178 w 760"/>
                <a:gd name="T59" fmla="*/ 453 h 1125"/>
                <a:gd name="T60" fmla="*/ 164 w 760"/>
                <a:gd name="T61" fmla="*/ 457 h 1125"/>
                <a:gd name="T62" fmla="*/ 109 w 760"/>
                <a:gd name="T63" fmla="*/ 455 h 1125"/>
                <a:gd name="T64" fmla="*/ 123 w 760"/>
                <a:gd name="T65" fmla="*/ 490 h 1125"/>
                <a:gd name="T66" fmla="*/ 121 w 760"/>
                <a:gd name="T67" fmla="*/ 506 h 1125"/>
                <a:gd name="T68" fmla="*/ 105 w 760"/>
                <a:gd name="T69" fmla="*/ 492 h 1125"/>
                <a:gd name="T70" fmla="*/ 94 w 760"/>
                <a:gd name="T71" fmla="*/ 473 h 1125"/>
                <a:gd name="T72" fmla="*/ 94 w 760"/>
                <a:gd name="T73" fmla="*/ 528 h 1125"/>
                <a:gd name="T74" fmla="*/ 133 w 760"/>
                <a:gd name="T75" fmla="*/ 571 h 1125"/>
                <a:gd name="T76" fmla="*/ 125 w 760"/>
                <a:gd name="T77" fmla="*/ 604 h 1125"/>
                <a:gd name="T78" fmla="*/ 119 w 760"/>
                <a:gd name="T79" fmla="*/ 635 h 1125"/>
                <a:gd name="T80" fmla="*/ 143 w 760"/>
                <a:gd name="T81" fmla="*/ 676 h 1125"/>
                <a:gd name="T82" fmla="*/ 172 w 760"/>
                <a:gd name="T83" fmla="*/ 733 h 1125"/>
                <a:gd name="T84" fmla="*/ 182 w 760"/>
                <a:gd name="T85" fmla="*/ 768 h 1125"/>
                <a:gd name="T86" fmla="*/ 197 w 760"/>
                <a:gd name="T87" fmla="*/ 809 h 1125"/>
                <a:gd name="T88" fmla="*/ 195 w 760"/>
                <a:gd name="T89" fmla="*/ 844 h 1125"/>
                <a:gd name="T90" fmla="*/ 266 w 760"/>
                <a:gd name="T91" fmla="*/ 875 h 1125"/>
                <a:gd name="T92" fmla="*/ 305 w 760"/>
                <a:gd name="T93" fmla="*/ 899 h 1125"/>
                <a:gd name="T94" fmla="*/ 332 w 760"/>
                <a:gd name="T95" fmla="*/ 924 h 1125"/>
                <a:gd name="T96" fmla="*/ 373 w 760"/>
                <a:gd name="T97" fmla="*/ 959 h 1125"/>
                <a:gd name="T98" fmla="*/ 383 w 760"/>
                <a:gd name="T99" fmla="*/ 965 h 1125"/>
                <a:gd name="T100" fmla="*/ 445 w 760"/>
                <a:gd name="T101" fmla="*/ 1020 h 1125"/>
                <a:gd name="T102" fmla="*/ 459 w 760"/>
                <a:gd name="T103" fmla="*/ 1092 h 1125"/>
                <a:gd name="T104" fmla="*/ 459 w 760"/>
                <a:gd name="T105" fmla="*/ 1094 h 1125"/>
                <a:gd name="T106" fmla="*/ 533 w 760"/>
                <a:gd name="T107" fmla="*/ 1117 h 1125"/>
                <a:gd name="T108" fmla="*/ 674 w 760"/>
                <a:gd name="T109" fmla="*/ 1123 h 1125"/>
                <a:gd name="T110" fmla="*/ 711 w 760"/>
                <a:gd name="T111" fmla="*/ 1098 h 1125"/>
                <a:gd name="T112" fmla="*/ 694 w 760"/>
                <a:gd name="T113" fmla="*/ 1049 h 1125"/>
                <a:gd name="T114" fmla="*/ 719 w 760"/>
                <a:gd name="T115" fmla="*/ 1018 h 1125"/>
                <a:gd name="T116" fmla="*/ 725 w 760"/>
                <a:gd name="T117" fmla="*/ 990 h 1125"/>
                <a:gd name="T118" fmla="*/ 53 w 760"/>
                <a:gd name="T119" fmla="*/ 471 h 1125"/>
                <a:gd name="T120" fmla="*/ 109 w 760"/>
                <a:gd name="T121" fmla="*/ 469 h 1125"/>
                <a:gd name="T122" fmla="*/ 289 w 760"/>
                <a:gd name="T123" fmla="*/ 922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1125">
                  <a:moveTo>
                    <a:pt x="354" y="1057"/>
                  </a:moveTo>
                  <a:lnTo>
                    <a:pt x="352" y="1053"/>
                  </a:lnTo>
                  <a:lnTo>
                    <a:pt x="348" y="1049"/>
                  </a:lnTo>
                  <a:lnTo>
                    <a:pt x="346" y="1047"/>
                  </a:lnTo>
                  <a:lnTo>
                    <a:pt x="346" y="1043"/>
                  </a:lnTo>
                  <a:lnTo>
                    <a:pt x="346" y="1043"/>
                  </a:lnTo>
                  <a:lnTo>
                    <a:pt x="346" y="1041"/>
                  </a:lnTo>
                  <a:lnTo>
                    <a:pt x="344" y="1041"/>
                  </a:lnTo>
                  <a:lnTo>
                    <a:pt x="344" y="1039"/>
                  </a:lnTo>
                  <a:lnTo>
                    <a:pt x="344" y="1039"/>
                  </a:lnTo>
                  <a:lnTo>
                    <a:pt x="344" y="1037"/>
                  </a:lnTo>
                  <a:lnTo>
                    <a:pt x="342" y="1037"/>
                  </a:lnTo>
                  <a:lnTo>
                    <a:pt x="342" y="1037"/>
                  </a:lnTo>
                  <a:lnTo>
                    <a:pt x="340" y="1039"/>
                  </a:lnTo>
                  <a:lnTo>
                    <a:pt x="342" y="1043"/>
                  </a:lnTo>
                  <a:lnTo>
                    <a:pt x="344" y="1045"/>
                  </a:lnTo>
                  <a:lnTo>
                    <a:pt x="344" y="1049"/>
                  </a:lnTo>
                  <a:lnTo>
                    <a:pt x="346" y="1055"/>
                  </a:lnTo>
                  <a:lnTo>
                    <a:pt x="348" y="1059"/>
                  </a:lnTo>
                  <a:lnTo>
                    <a:pt x="350" y="1061"/>
                  </a:lnTo>
                  <a:lnTo>
                    <a:pt x="352" y="1061"/>
                  </a:lnTo>
                  <a:lnTo>
                    <a:pt x="352" y="1063"/>
                  </a:lnTo>
                  <a:lnTo>
                    <a:pt x="354" y="1063"/>
                  </a:lnTo>
                  <a:lnTo>
                    <a:pt x="354" y="1063"/>
                  </a:lnTo>
                  <a:lnTo>
                    <a:pt x="354" y="1063"/>
                  </a:lnTo>
                  <a:lnTo>
                    <a:pt x="356" y="1063"/>
                  </a:lnTo>
                  <a:lnTo>
                    <a:pt x="359" y="1063"/>
                  </a:lnTo>
                  <a:lnTo>
                    <a:pt x="359" y="1063"/>
                  </a:lnTo>
                  <a:lnTo>
                    <a:pt x="361" y="1063"/>
                  </a:lnTo>
                  <a:lnTo>
                    <a:pt x="356" y="1059"/>
                  </a:lnTo>
                  <a:lnTo>
                    <a:pt x="354" y="1057"/>
                  </a:lnTo>
                  <a:close/>
                  <a:moveTo>
                    <a:pt x="268" y="1000"/>
                  </a:moveTo>
                  <a:lnTo>
                    <a:pt x="264" y="998"/>
                  </a:lnTo>
                  <a:lnTo>
                    <a:pt x="264" y="998"/>
                  </a:lnTo>
                  <a:lnTo>
                    <a:pt x="264" y="996"/>
                  </a:lnTo>
                  <a:lnTo>
                    <a:pt x="262" y="996"/>
                  </a:lnTo>
                  <a:lnTo>
                    <a:pt x="262" y="996"/>
                  </a:lnTo>
                  <a:lnTo>
                    <a:pt x="260" y="996"/>
                  </a:lnTo>
                  <a:lnTo>
                    <a:pt x="258" y="996"/>
                  </a:lnTo>
                  <a:lnTo>
                    <a:pt x="260" y="998"/>
                  </a:lnTo>
                  <a:lnTo>
                    <a:pt x="262" y="1002"/>
                  </a:lnTo>
                  <a:lnTo>
                    <a:pt x="264" y="1004"/>
                  </a:lnTo>
                  <a:lnTo>
                    <a:pt x="266" y="1004"/>
                  </a:lnTo>
                  <a:lnTo>
                    <a:pt x="270" y="1004"/>
                  </a:lnTo>
                  <a:lnTo>
                    <a:pt x="270" y="1002"/>
                  </a:lnTo>
                  <a:lnTo>
                    <a:pt x="268" y="1000"/>
                  </a:lnTo>
                  <a:close/>
                  <a:moveTo>
                    <a:pt x="369" y="1000"/>
                  </a:moveTo>
                  <a:lnTo>
                    <a:pt x="361" y="996"/>
                  </a:lnTo>
                  <a:lnTo>
                    <a:pt x="361" y="996"/>
                  </a:lnTo>
                  <a:lnTo>
                    <a:pt x="354" y="992"/>
                  </a:lnTo>
                  <a:lnTo>
                    <a:pt x="352" y="990"/>
                  </a:lnTo>
                  <a:lnTo>
                    <a:pt x="350" y="990"/>
                  </a:lnTo>
                  <a:lnTo>
                    <a:pt x="350" y="992"/>
                  </a:lnTo>
                  <a:lnTo>
                    <a:pt x="350" y="994"/>
                  </a:lnTo>
                  <a:lnTo>
                    <a:pt x="352" y="994"/>
                  </a:lnTo>
                  <a:lnTo>
                    <a:pt x="354" y="996"/>
                  </a:lnTo>
                  <a:lnTo>
                    <a:pt x="356" y="996"/>
                  </a:lnTo>
                  <a:lnTo>
                    <a:pt x="359" y="998"/>
                  </a:lnTo>
                  <a:lnTo>
                    <a:pt x="359" y="1000"/>
                  </a:lnTo>
                  <a:lnTo>
                    <a:pt x="359" y="1004"/>
                  </a:lnTo>
                  <a:lnTo>
                    <a:pt x="359" y="1006"/>
                  </a:lnTo>
                  <a:lnTo>
                    <a:pt x="359" y="1008"/>
                  </a:lnTo>
                  <a:lnTo>
                    <a:pt x="361" y="1010"/>
                  </a:lnTo>
                  <a:lnTo>
                    <a:pt x="363" y="1010"/>
                  </a:lnTo>
                  <a:lnTo>
                    <a:pt x="363" y="1010"/>
                  </a:lnTo>
                  <a:lnTo>
                    <a:pt x="365" y="1010"/>
                  </a:lnTo>
                  <a:lnTo>
                    <a:pt x="367" y="1010"/>
                  </a:lnTo>
                  <a:lnTo>
                    <a:pt x="367" y="1010"/>
                  </a:lnTo>
                  <a:lnTo>
                    <a:pt x="369" y="1012"/>
                  </a:lnTo>
                  <a:lnTo>
                    <a:pt x="371" y="1012"/>
                  </a:lnTo>
                  <a:lnTo>
                    <a:pt x="373" y="1012"/>
                  </a:lnTo>
                  <a:lnTo>
                    <a:pt x="373" y="1010"/>
                  </a:lnTo>
                  <a:lnTo>
                    <a:pt x="369" y="1002"/>
                  </a:lnTo>
                  <a:lnTo>
                    <a:pt x="369" y="1000"/>
                  </a:lnTo>
                  <a:close/>
                  <a:moveTo>
                    <a:pt x="232" y="912"/>
                  </a:moveTo>
                  <a:lnTo>
                    <a:pt x="232" y="910"/>
                  </a:lnTo>
                  <a:lnTo>
                    <a:pt x="232" y="908"/>
                  </a:lnTo>
                  <a:lnTo>
                    <a:pt x="229" y="908"/>
                  </a:lnTo>
                  <a:lnTo>
                    <a:pt x="229" y="908"/>
                  </a:lnTo>
                  <a:lnTo>
                    <a:pt x="223" y="908"/>
                  </a:lnTo>
                  <a:lnTo>
                    <a:pt x="221" y="908"/>
                  </a:lnTo>
                  <a:lnTo>
                    <a:pt x="221" y="908"/>
                  </a:lnTo>
                  <a:lnTo>
                    <a:pt x="219" y="908"/>
                  </a:lnTo>
                  <a:lnTo>
                    <a:pt x="217" y="908"/>
                  </a:lnTo>
                  <a:lnTo>
                    <a:pt x="215" y="906"/>
                  </a:lnTo>
                  <a:lnTo>
                    <a:pt x="213" y="908"/>
                  </a:lnTo>
                  <a:lnTo>
                    <a:pt x="213" y="910"/>
                  </a:lnTo>
                  <a:lnTo>
                    <a:pt x="215" y="912"/>
                  </a:lnTo>
                  <a:lnTo>
                    <a:pt x="217" y="914"/>
                  </a:lnTo>
                  <a:lnTo>
                    <a:pt x="217" y="916"/>
                  </a:lnTo>
                  <a:lnTo>
                    <a:pt x="217" y="918"/>
                  </a:lnTo>
                  <a:lnTo>
                    <a:pt x="219" y="920"/>
                  </a:lnTo>
                  <a:lnTo>
                    <a:pt x="221" y="920"/>
                  </a:lnTo>
                  <a:lnTo>
                    <a:pt x="223" y="920"/>
                  </a:lnTo>
                  <a:lnTo>
                    <a:pt x="223" y="920"/>
                  </a:lnTo>
                  <a:lnTo>
                    <a:pt x="225" y="920"/>
                  </a:lnTo>
                  <a:lnTo>
                    <a:pt x="225" y="920"/>
                  </a:lnTo>
                  <a:lnTo>
                    <a:pt x="227" y="920"/>
                  </a:lnTo>
                  <a:lnTo>
                    <a:pt x="227" y="920"/>
                  </a:lnTo>
                  <a:lnTo>
                    <a:pt x="234" y="918"/>
                  </a:lnTo>
                  <a:lnTo>
                    <a:pt x="236" y="918"/>
                  </a:lnTo>
                  <a:lnTo>
                    <a:pt x="236" y="916"/>
                  </a:lnTo>
                  <a:lnTo>
                    <a:pt x="236" y="914"/>
                  </a:lnTo>
                  <a:lnTo>
                    <a:pt x="234" y="914"/>
                  </a:lnTo>
                  <a:lnTo>
                    <a:pt x="232" y="912"/>
                  </a:lnTo>
                  <a:close/>
                  <a:moveTo>
                    <a:pt x="207" y="903"/>
                  </a:moveTo>
                  <a:lnTo>
                    <a:pt x="207" y="901"/>
                  </a:lnTo>
                  <a:lnTo>
                    <a:pt x="207" y="901"/>
                  </a:lnTo>
                  <a:lnTo>
                    <a:pt x="205" y="901"/>
                  </a:lnTo>
                  <a:lnTo>
                    <a:pt x="205" y="899"/>
                  </a:lnTo>
                  <a:lnTo>
                    <a:pt x="205" y="899"/>
                  </a:lnTo>
                  <a:lnTo>
                    <a:pt x="203" y="897"/>
                  </a:lnTo>
                  <a:lnTo>
                    <a:pt x="203" y="899"/>
                  </a:lnTo>
                  <a:lnTo>
                    <a:pt x="201" y="899"/>
                  </a:lnTo>
                  <a:lnTo>
                    <a:pt x="199" y="899"/>
                  </a:lnTo>
                  <a:lnTo>
                    <a:pt x="197" y="901"/>
                  </a:lnTo>
                  <a:lnTo>
                    <a:pt x="197" y="901"/>
                  </a:lnTo>
                  <a:lnTo>
                    <a:pt x="197" y="901"/>
                  </a:lnTo>
                  <a:lnTo>
                    <a:pt x="199" y="901"/>
                  </a:lnTo>
                  <a:lnTo>
                    <a:pt x="201" y="903"/>
                  </a:lnTo>
                  <a:lnTo>
                    <a:pt x="203" y="903"/>
                  </a:lnTo>
                  <a:lnTo>
                    <a:pt x="209" y="906"/>
                  </a:lnTo>
                  <a:lnTo>
                    <a:pt x="209" y="903"/>
                  </a:lnTo>
                  <a:lnTo>
                    <a:pt x="207" y="903"/>
                  </a:lnTo>
                  <a:close/>
                  <a:moveTo>
                    <a:pt x="275" y="914"/>
                  </a:moveTo>
                  <a:lnTo>
                    <a:pt x="275" y="914"/>
                  </a:lnTo>
                  <a:lnTo>
                    <a:pt x="272" y="912"/>
                  </a:lnTo>
                  <a:lnTo>
                    <a:pt x="270" y="914"/>
                  </a:lnTo>
                  <a:lnTo>
                    <a:pt x="266" y="916"/>
                  </a:lnTo>
                  <a:lnTo>
                    <a:pt x="266" y="916"/>
                  </a:lnTo>
                  <a:lnTo>
                    <a:pt x="266" y="916"/>
                  </a:lnTo>
                  <a:lnTo>
                    <a:pt x="258" y="912"/>
                  </a:lnTo>
                  <a:lnTo>
                    <a:pt x="256" y="910"/>
                  </a:lnTo>
                  <a:lnTo>
                    <a:pt x="252" y="910"/>
                  </a:lnTo>
                  <a:lnTo>
                    <a:pt x="252" y="910"/>
                  </a:lnTo>
                  <a:lnTo>
                    <a:pt x="248" y="906"/>
                  </a:lnTo>
                  <a:lnTo>
                    <a:pt x="244" y="906"/>
                  </a:lnTo>
                  <a:lnTo>
                    <a:pt x="244" y="906"/>
                  </a:lnTo>
                  <a:lnTo>
                    <a:pt x="244" y="906"/>
                  </a:lnTo>
                  <a:lnTo>
                    <a:pt x="242" y="906"/>
                  </a:lnTo>
                  <a:lnTo>
                    <a:pt x="242" y="908"/>
                  </a:lnTo>
                  <a:lnTo>
                    <a:pt x="242" y="908"/>
                  </a:lnTo>
                  <a:lnTo>
                    <a:pt x="244" y="908"/>
                  </a:lnTo>
                  <a:lnTo>
                    <a:pt x="244" y="910"/>
                  </a:lnTo>
                  <a:lnTo>
                    <a:pt x="246" y="910"/>
                  </a:lnTo>
                  <a:lnTo>
                    <a:pt x="246" y="912"/>
                  </a:lnTo>
                  <a:lnTo>
                    <a:pt x="244" y="914"/>
                  </a:lnTo>
                  <a:lnTo>
                    <a:pt x="246" y="916"/>
                  </a:lnTo>
                  <a:lnTo>
                    <a:pt x="250" y="918"/>
                  </a:lnTo>
                  <a:lnTo>
                    <a:pt x="252" y="920"/>
                  </a:lnTo>
                  <a:lnTo>
                    <a:pt x="272" y="920"/>
                  </a:lnTo>
                  <a:lnTo>
                    <a:pt x="275" y="918"/>
                  </a:lnTo>
                  <a:lnTo>
                    <a:pt x="277" y="918"/>
                  </a:lnTo>
                  <a:lnTo>
                    <a:pt x="277" y="916"/>
                  </a:lnTo>
                  <a:lnTo>
                    <a:pt x="277" y="916"/>
                  </a:lnTo>
                  <a:lnTo>
                    <a:pt x="275" y="914"/>
                  </a:lnTo>
                  <a:close/>
                  <a:moveTo>
                    <a:pt x="760" y="959"/>
                  </a:moveTo>
                  <a:lnTo>
                    <a:pt x="760" y="959"/>
                  </a:lnTo>
                  <a:lnTo>
                    <a:pt x="758" y="957"/>
                  </a:lnTo>
                  <a:lnTo>
                    <a:pt x="756" y="955"/>
                  </a:lnTo>
                  <a:lnTo>
                    <a:pt x="756" y="953"/>
                  </a:lnTo>
                  <a:lnTo>
                    <a:pt x="754" y="953"/>
                  </a:lnTo>
                  <a:lnTo>
                    <a:pt x="748" y="947"/>
                  </a:lnTo>
                  <a:lnTo>
                    <a:pt x="746" y="944"/>
                  </a:lnTo>
                  <a:lnTo>
                    <a:pt x="746" y="944"/>
                  </a:lnTo>
                  <a:lnTo>
                    <a:pt x="744" y="942"/>
                  </a:lnTo>
                  <a:lnTo>
                    <a:pt x="744" y="942"/>
                  </a:lnTo>
                  <a:lnTo>
                    <a:pt x="744" y="942"/>
                  </a:lnTo>
                  <a:lnTo>
                    <a:pt x="744" y="940"/>
                  </a:lnTo>
                  <a:lnTo>
                    <a:pt x="744" y="940"/>
                  </a:lnTo>
                  <a:lnTo>
                    <a:pt x="741" y="940"/>
                  </a:lnTo>
                  <a:lnTo>
                    <a:pt x="741" y="940"/>
                  </a:lnTo>
                  <a:lnTo>
                    <a:pt x="741" y="940"/>
                  </a:lnTo>
                  <a:lnTo>
                    <a:pt x="739" y="940"/>
                  </a:lnTo>
                  <a:lnTo>
                    <a:pt x="739" y="938"/>
                  </a:lnTo>
                  <a:lnTo>
                    <a:pt x="739" y="938"/>
                  </a:lnTo>
                  <a:lnTo>
                    <a:pt x="739" y="936"/>
                  </a:lnTo>
                  <a:lnTo>
                    <a:pt x="739" y="936"/>
                  </a:lnTo>
                  <a:lnTo>
                    <a:pt x="739" y="934"/>
                  </a:lnTo>
                  <a:lnTo>
                    <a:pt x="741" y="934"/>
                  </a:lnTo>
                  <a:lnTo>
                    <a:pt x="739" y="932"/>
                  </a:lnTo>
                  <a:lnTo>
                    <a:pt x="739" y="932"/>
                  </a:lnTo>
                  <a:lnTo>
                    <a:pt x="739" y="930"/>
                  </a:lnTo>
                  <a:lnTo>
                    <a:pt x="739" y="928"/>
                  </a:lnTo>
                  <a:lnTo>
                    <a:pt x="737" y="928"/>
                  </a:lnTo>
                  <a:lnTo>
                    <a:pt x="737" y="926"/>
                  </a:lnTo>
                  <a:lnTo>
                    <a:pt x="737" y="926"/>
                  </a:lnTo>
                  <a:lnTo>
                    <a:pt x="737" y="922"/>
                  </a:lnTo>
                  <a:lnTo>
                    <a:pt x="737" y="922"/>
                  </a:lnTo>
                  <a:lnTo>
                    <a:pt x="737" y="922"/>
                  </a:lnTo>
                  <a:lnTo>
                    <a:pt x="737" y="920"/>
                  </a:lnTo>
                  <a:lnTo>
                    <a:pt x="733" y="908"/>
                  </a:lnTo>
                  <a:lnTo>
                    <a:pt x="731" y="908"/>
                  </a:lnTo>
                  <a:lnTo>
                    <a:pt x="729" y="906"/>
                  </a:lnTo>
                  <a:lnTo>
                    <a:pt x="727" y="903"/>
                  </a:lnTo>
                  <a:lnTo>
                    <a:pt x="729" y="901"/>
                  </a:lnTo>
                  <a:lnTo>
                    <a:pt x="727" y="899"/>
                  </a:lnTo>
                  <a:lnTo>
                    <a:pt x="727" y="897"/>
                  </a:lnTo>
                  <a:lnTo>
                    <a:pt x="727" y="895"/>
                  </a:lnTo>
                  <a:lnTo>
                    <a:pt x="725" y="895"/>
                  </a:lnTo>
                  <a:lnTo>
                    <a:pt x="725" y="895"/>
                  </a:lnTo>
                  <a:lnTo>
                    <a:pt x="723" y="893"/>
                  </a:lnTo>
                  <a:lnTo>
                    <a:pt x="725" y="881"/>
                  </a:lnTo>
                  <a:lnTo>
                    <a:pt x="725" y="879"/>
                  </a:lnTo>
                  <a:lnTo>
                    <a:pt x="711" y="862"/>
                  </a:lnTo>
                  <a:lnTo>
                    <a:pt x="696" y="844"/>
                  </a:lnTo>
                  <a:lnTo>
                    <a:pt x="682" y="828"/>
                  </a:lnTo>
                  <a:lnTo>
                    <a:pt x="668" y="809"/>
                  </a:lnTo>
                  <a:lnTo>
                    <a:pt x="655" y="795"/>
                  </a:lnTo>
                  <a:lnTo>
                    <a:pt x="643" y="778"/>
                  </a:lnTo>
                  <a:lnTo>
                    <a:pt x="631" y="764"/>
                  </a:lnTo>
                  <a:lnTo>
                    <a:pt x="619" y="748"/>
                  </a:lnTo>
                  <a:lnTo>
                    <a:pt x="608" y="731"/>
                  </a:lnTo>
                  <a:lnTo>
                    <a:pt x="596" y="717"/>
                  </a:lnTo>
                  <a:lnTo>
                    <a:pt x="584" y="701"/>
                  </a:lnTo>
                  <a:lnTo>
                    <a:pt x="572" y="686"/>
                  </a:lnTo>
                  <a:lnTo>
                    <a:pt x="559" y="668"/>
                  </a:lnTo>
                  <a:lnTo>
                    <a:pt x="545" y="651"/>
                  </a:lnTo>
                  <a:lnTo>
                    <a:pt x="531" y="635"/>
                  </a:lnTo>
                  <a:lnTo>
                    <a:pt x="518" y="617"/>
                  </a:lnTo>
                  <a:lnTo>
                    <a:pt x="504" y="600"/>
                  </a:lnTo>
                  <a:lnTo>
                    <a:pt x="492" y="584"/>
                  </a:lnTo>
                  <a:lnTo>
                    <a:pt x="477" y="565"/>
                  </a:lnTo>
                  <a:lnTo>
                    <a:pt x="465" y="549"/>
                  </a:lnTo>
                  <a:lnTo>
                    <a:pt x="449" y="528"/>
                  </a:lnTo>
                  <a:lnTo>
                    <a:pt x="432" y="508"/>
                  </a:lnTo>
                  <a:lnTo>
                    <a:pt x="414" y="487"/>
                  </a:lnTo>
                  <a:lnTo>
                    <a:pt x="397" y="467"/>
                  </a:lnTo>
                  <a:lnTo>
                    <a:pt x="381" y="446"/>
                  </a:lnTo>
                  <a:lnTo>
                    <a:pt x="365" y="424"/>
                  </a:lnTo>
                  <a:lnTo>
                    <a:pt x="348" y="403"/>
                  </a:lnTo>
                  <a:lnTo>
                    <a:pt x="332" y="383"/>
                  </a:lnTo>
                  <a:lnTo>
                    <a:pt x="332" y="381"/>
                  </a:lnTo>
                  <a:lnTo>
                    <a:pt x="332" y="377"/>
                  </a:lnTo>
                  <a:lnTo>
                    <a:pt x="336" y="356"/>
                  </a:lnTo>
                  <a:lnTo>
                    <a:pt x="340" y="338"/>
                  </a:lnTo>
                  <a:lnTo>
                    <a:pt x="344" y="317"/>
                  </a:lnTo>
                  <a:lnTo>
                    <a:pt x="346" y="299"/>
                  </a:lnTo>
                  <a:lnTo>
                    <a:pt x="350" y="280"/>
                  </a:lnTo>
                  <a:lnTo>
                    <a:pt x="354" y="260"/>
                  </a:lnTo>
                  <a:lnTo>
                    <a:pt x="356" y="242"/>
                  </a:lnTo>
                  <a:lnTo>
                    <a:pt x="361" y="221"/>
                  </a:lnTo>
                  <a:lnTo>
                    <a:pt x="365" y="203"/>
                  </a:lnTo>
                  <a:lnTo>
                    <a:pt x="369" y="184"/>
                  </a:lnTo>
                  <a:lnTo>
                    <a:pt x="371" y="164"/>
                  </a:lnTo>
                  <a:lnTo>
                    <a:pt x="375" y="145"/>
                  </a:lnTo>
                  <a:lnTo>
                    <a:pt x="379" y="127"/>
                  </a:lnTo>
                  <a:lnTo>
                    <a:pt x="381" y="106"/>
                  </a:lnTo>
                  <a:lnTo>
                    <a:pt x="385" y="88"/>
                  </a:lnTo>
                  <a:lnTo>
                    <a:pt x="389" y="69"/>
                  </a:lnTo>
                  <a:lnTo>
                    <a:pt x="369" y="65"/>
                  </a:lnTo>
                  <a:lnTo>
                    <a:pt x="346" y="61"/>
                  </a:lnTo>
                  <a:lnTo>
                    <a:pt x="326" y="57"/>
                  </a:lnTo>
                  <a:lnTo>
                    <a:pt x="305" y="53"/>
                  </a:lnTo>
                  <a:lnTo>
                    <a:pt x="283" y="49"/>
                  </a:lnTo>
                  <a:lnTo>
                    <a:pt x="262" y="45"/>
                  </a:lnTo>
                  <a:lnTo>
                    <a:pt x="242" y="41"/>
                  </a:lnTo>
                  <a:lnTo>
                    <a:pt x="221" y="37"/>
                  </a:lnTo>
                  <a:lnTo>
                    <a:pt x="199" y="33"/>
                  </a:lnTo>
                  <a:lnTo>
                    <a:pt x="178" y="28"/>
                  </a:lnTo>
                  <a:lnTo>
                    <a:pt x="158" y="22"/>
                  </a:lnTo>
                  <a:lnTo>
                    <a:pt x="137" y="18"/>
                  </a:lnTo>
                  <a:lnTo>
                    <a:pt x="115" y="14"/>
                  </a:lnTo>
                  <a:lnTo>
                    <a:pt x="94" y="10"/>
                  </a:lnTo>
                  <a:lnTo>
                    <a:pt x="74" y="6"/>
                  </a:lnTo>
                  <a:lnTo>
                    <a:pt x="53" y="0"/>
                  </a:lnTo>
                  <a:lnTo>
                    <a:pt x="53" y="0"/>
                  </a:lnTo>
                  <a:lnTo>
                    <a:pt x="51" y="0"/>
                  </a:lnTo>
                  <a:lnTo>
                    <a:pt x="51" y="2"/>
                  </a:lnTo>
                  <a:lnTo>
                    <a:pt x="51" y="4"/>
                  </a:lnTo>
                  <a:lnTo>
                    <a:pt x="51" y="4"/>
                  </a:lnTo>
                  <a:lnTo>
                    <a:pt x="49" y="14"/>
                  </a:lnTo>
                  <a:lnTo>
                    <a:pt x="47" y="16"/>
                  </a:lnTo>
                  <a:lnTo>
                    <a:pt x="45" y="18"/>
                  </a:lnTo>
                  <a:lnTo>
                    <a:pt x="41" y="22"/>
                  </a:lnTo>
                  <a:lnTo>
                    <a:pt x="41" y="22"/>
                  </a:lnTo>
                  <a:lnTo>
                    <a:pt x="43" y="24"/>
                  </a:lnTo>
                  <a:lnTo>
                    <a:pt x="47" y="26"/>
                  </a:lnTo>
                  <a:lnTo>
                    <a:pt x="49" y="33"/>
                  </a:lnTo>
                  <a:lnTo>
                    <a:pt x="49" y="35"/>
                  </a:lnTo>
                  <a:lnTo>
                    <a:pt x="49" y="37"/>
                  </a:lnTo>
                  <a:lnTo>
                    <a:pt x="49" y="39"/>
                  </a:lnTo>
                  <a:lnTo>
                    <a:pt x="49" y="41"/>
                  </a:lnTo>
                  <a:lnTo>
                    <a:pt x="51" y="43"/>
                  </a:lnTo>
                  <a:lnTo>
                    <a:pt x="51" y="43"/>
                  </a:lnTo>
                  <a:lnTo>
                    <a:pt x="49" y="47"/>
                  </a:lnTo>
                  <a:lnTo>
                    <a:pt x="49" y="47"/>
                  </a:lnTo>
                  <a:lnTo>
                    <a:pt x="49" y="49"/>
                  </a:lnTo>
                  <a:lnTo>
                    <a:pt x="51" y="49"/>
                  </a:lnTo>
                  <a:lnTo>
                    <a:pt x="51" y="49"/>
                  </a:lnTo>
                  <a:lnTo>
                    <a:pt x="51" y="51"/>
                  </a:lnTo>
                  <a:lnTo>
                    <a:pt x="51" y="51"/>
                  </a:lnTo>
                  <a:lnTo>
                    <a:pt x="49" y="55"/>
                  </a:lnTo>
                  <a:lnTo>
                    <a:pt x="49" y="61"/>
                  </a:lnTo>
                  <a:lnTo>
                    <a:pt x="49" y="65"/>
                  </a:lnTo>
                  <a:lnTo>
                    <a:pt x="45" y="71"/>
                  </a:lnTo>
                  <a:lnTo>
                    <a:pt x="45" y="76"/>
                  </a:lnTo>
                  <a:lnTo>
                    <a:pt x="41" y="82"/>
                  </a:lnTo>
                  <a:lnTo>
                    <a:pt x="39" y="86"/>
                  </a:lnTo>
                  <a:lnTo>
                    <a:pt x="37" y="90"/>
                  </a:lnTo>
                  <a:lnTo>
                    <a:pt x="35" y="90"/>
                  </a:lnTo>
                  <a:lnTo>
                    <a:pt x="35" y="92"/>
                  </a:lnTo>
                  <a:lnTo>
                    <a:pt x="35" y="94"/>
                  </a:lnTo>
                  <a:lnTo>
                    <a:pt x="35" y="96"/>
                  </a:lnTo>
                  <a:lnTo>
                    <a:pt x="33" y="98"/>
                  </a:lnTo>
                  <a:lnTo>
                    <a:pt x="35" y="102"/>
                  </a:lnTo>
                  <a:lnTo>
                    <a:pt x="37" y="104"/>
                  </a:lnTo>
                  <a:lnTo>
                    <a:pt x="35" y="106"/>
                  </a:lnTo>
                  <a:lnTo>
                    <a:pt x="27" y="121"/>
                  </a:lnTo>
                  <a:lnTo>
                    <a:pt x="23" y="127"/>
                  </a:lnTo>
                  <a:lnTo>
                    <a:pt x="21" y="129"/>
                  </a:lnTo>
                  <a:lnTo>
                    <a:pt x="23" y="127"/>
                  </a:lnTo>
                  <a:lnTo>
                    <a:pt x="25" y="127"/>
                  </a:lnTo>
                  <a:lnTo>
                    <a:pt x="29" y="121"/>
                  </a:lnTo>
                  <a:lnTo>
                    <a:pt x="29" y="121"/>
                  </a:lnTo>
                  <a:lnTo>
                    <a:pt x="33" y="121"/>
                  </a:lnTo>
                  <a:lnTo>
                    <a:pt x="35" y="121"/>
                  </a:lnTo>
                  <a:lnTo>
                    <a:pt x="35" y="123"/>
                  </a:lnTo>
                  <a:lnTo>
                    <a:pt x="35" y="123"/>
                  </a:lnTo>
                  <a:lnTo>
                    <a:pt x="33" y="125"/>
                  </a:lnTo>
                  <a:lnTo>
                    <a:pt x="31" y="125"/>
                  </a:lnTo>
                  <a:lnTo>
                    <a:pt x="29" y="125"/>
                  </a:lnTo>
                  <a:lnTo>
                    <a:pt x="27" y="125"/>
                  </a:lnTo>
                  <a:lnTo>
                    <a:pt x="27" y="127"/>
                  </a:lnTo>
                  <a:lnTo>
                    <a:pt x="23" y="129"/>
                  </a:lnTo>
                  <a:lnTo>
                    <a:pt x="23" y="131"/>
                  </a:lnTo>
                  <a:lnTo>
                    <a:pt x="21" y="135"/>
                  </a:lnTo>
                  <a:lnTo>
                    <a:pt x="19" y="137"/>
                  </a:lnTo>
                  <a:lnTo>
                    <a:pt x="19" y="135"/>
                  </a:lnTo>
                  <a:lnTo>
                    <a:pt x="16" y="133"/>
                  </a:lnTo>
                  <a:lnTo>
                    <a:pt x="16" y="133"/>
                  </a:lnTo>
                  <a:lnTo>
                    <a:pt x="19" y="131"/>
                  </a:lnTo>
                  <a:lnTo>
                    <a:pt x="19" y="131"/>
                  </a:lnTo>
                  <a:lnTo>
                    <a:pt x="14" y="133"/>
                  </a:lnTo>
                  <a:lnTo>
                    <a:pt x="12" y="135"/>
                  </a:lnTo>
                  <a:lnTo>
                    <a:pt x="12" y="139"/>
                  </a:lnTo>
                  <a:lnTo>
                    <a:pt x="12" y="139"/>
                  </a:lnTo>
                  <a:lnTo>
                    <a:pt x="12" y="139"/>
                  </a:lnTo>
                  <a:lnTo>
                    <a:pt x="12" y="139"/>
                  </a:lnTo>
                  <a:lnTo>
                    <a:pt x="12" y="139"/>
                  </a:lnTo>
                  <a:lnTo>
                    <a:pt x="10" y="139"/>
                  </a:lnTo>
                  <a:lnTo>
                    <a:pt x="10" y="139"/>
                  </a:lnTo>
                  <a:lnTo>
                    <a:pt x="10" y="141"/>
                  </a:lnTo>
                  <a:lnTo>
                    <a:pt x="10" y="141"/>
                  </a:lnTo>
                  <a:lnTo>
                    <a:pt x="6" y="145"/>
                  </a:lnTo>
                  <a:lnTo>
                    <a:pt x="6" y="147"/>
                  </a:lnTo>
                  <a:lnTo>
                    <a:pt x="4" y="149"/>
                  </a:lnTo>
                  <a:lnTo>
                    <a:pt x="2" y="151"/>
                  </a:lnTo>
                  <a:lnTo>
                    <a:pt x="2" y="153"/>
                  </a:lnTo>
                  <a:lnTo>
                    <a:pt x="2" y="155"/>
                  </a:lnTo>
                  <a:lnTo>
                    <a:pt x="0" y="158"/>
                  </a:lnTo>
                  <a:lnTo>
                    <a:pt x="0" y="158"/>
                  </a:lnTo>
                  <a:lnTo>
                    <a:pt x="0" y="160"/>
                  </a:lnTo>
                  <a:lnTo>
                    <a:pt x="0" y="162"/>
                  </a:lnTo>
                  <a:lnTo>
                    <a:pt x="2" y="170"/>
                  </a:lnTo>
                  <a:lnTo>
                    <a:pt x="2" y="172"/>
                  </a:lnTo>
                  <a:lnTo>
                    <a:pt x="0" y="176"/>
                  </a:lnTo>
                  <a:lnTo>
                    <a:pt x="0" y="178"/>
                  </a:lnTo>
                  <a:lnTo>
                    <a:pt x="0" y="180"/>
                  </a:lnTo>
                  <a:lnTo>
                    <a:pt x="2" y="180"/>
                  </a:lnTo>
                  <a:lnTo>
                    <a:pt x="10" y="192"/>
                  </a:lnTo>
                  <a:lnTo>
                    <a:pt x="14" y="196"/>
                  </a:lnTo>
                  <a:lnTo>
                    <a:pt x="14" y="199"/>
                  </a:lnTo>
                  <a:lnTo>
                    <a:pt x="16" y="205"/>
                  </a:lnTo>
                  <a:lnTo>
                    <a:pt x="16" y="205"/>
                  </a:lnTo>
                  <a:lnTo>
                    <a:pt x="16" y="207"/>
                  </a:lnTo>
                  <a:lnTo>
                    <a:pt x="16" y="209"/>
                  </a:lnTo>
                  <a:lnTo>
                    <a:pt x="19" y="209"/>
                  </a:lnTo>
                  <a:lnTo>
                    <a:pt x="19" y="209"/>
                  </a:lnTo>
                  <a:lnTo>
                    <a:pt x="21" y="211"/>
                  </a:lnTo>
                  <a:lnTo>
                    <a:pt x="23" y="213"/>
                  </a:lnTo>
                  <a:lnTo>
                    <a:pt x="31" y="233"/>
                  </a:lnTo>
                  <a:lnTo>
                    <a:pt x="31" y="235"/>
                  </a:lnTo>
                  <a:lnTo>
                    <a:pt x="29" y="240"/>
                  </a:lnTo>
                  <a:lnTo>
                    <a:pt x="31" y="242"/>
                  </a:lnTo>
                  <a:lnTo>
                    <a:pt x="31" y="244"/>
                  </a:lnTo>
                  <a:lnTo>
                    <a:pt x="31" y="244"/>
                  </a:lnTo>
                  <a:lnTo>
                    <a:pt x="31" y="244"/>
                  </a:lnTo>
                  <a:lnTo>
                    <a:pt x="33" y="246"/>
                  </a:lnTo>
                  <a:lnTo>
                    <a:pt x="33" y="246"/>
                  </a:lnTo>
                  <a:lnTo>
                    <a:pt x="33" y="248"/>
                  </a:lnTo>
                  <a:lnTo>
                    <a:pt x="33" y="250"/>
                  </a:lnTo>
                  <a:lnTo>
                    <a:pt x="31" y="256"/>
                  </a:lnTo>
                  <a:lnTo>
                    <a:pt x="31" y="264"/>
                  </a:lnTo>
                  <a:lnTo>
                    <a:pt x="31" y="264"/>
                  </a:lnTo>
                  <a:lnTo>
                    <a:pt x="29" y="264"/>
                  </a:lnTo>
                  <a:lnTo>
                    <a:pt x="29" y="266"/>
                  </a:lnTo>
                  <a:lnTo>
                    <a:pt x="27" y="272"/>
                  </a:lnTo>
                  <a:lnTo>
                    <a:pt x="25" y="278"/>
                  </a:lnTo>
                  <a:lnTo>
                    <a:pt x="23" y="283"/>
                  </a:lnTo>
                  <a:lnTo>
                    <a:pt x="23" y="287"/>
                  </a:lnTo>
                  <a:lnTo>
                    <a:pt x="23" y="289"/>
                  </a:lnTo>
                  <a:lnTo>
                    <a:pt x="23" y="289"/>
                  </a:lnTo>
                  <a:lnTo>
                    <a:pt x="23" y="291"/>
                  </a:lnTo>
                  <a:lnTo>
                    <a:pt x="23" y="293"/>
                  </a:lnTo>
                  <a:lnTo>
                    <a:pt x="23" y="299"/>
                  </a:lnTo>
                  <a:lnTo>
                    <a:pt x="23" y="301"/>
                  </a:lnTo>
                  <a:lnTo>
                    <a:pt x="25" y="301"/>
                  </a:lnTo>
                  <a:lnTo>
                    <a:pt x="27" y="309"/>
                  </a:lnTo>
                  <a:lnTo>
                    <a:pt x="27" y="311"/>
                  </a:lnTo>
                  <a:lnTo>
                    <a:pt x="25" y="313"/>
                  </a:lnTo>
                  <a:lnTo>
                    <a:pt x="25" y="315"/>
                  </a:lnTo>
                  <a:lnTo>
                    <a:pt x="25" y="317"/>
                  </a:lnTo>
                  <a:lnTo>
                    <a:pt x="25" y="319"/>
                  </a:lnTo>
                  <a:lnTo>
                    <a:pt x="25" y="321"/>
                  </a:lnTo>
                  <a:lnTo>
                    <a:pt x="23" y="324"/>
                  </a:lnTo>
                  <a:lnTo>
                    <a:pt x="23" y="324"/>
                  </a:lnTo>
                  <a:lnTo>
                    <a:pt x="21" y="326"/>
                  </a:lnTo>
                  <a:lnTo>
                    <a:pt x="21" y="328"/>
                  </a:lnTo>
                  <a:lnTo>
                    <a:pt x="23" y="332"/>
                  </a:lnTo>
                  <a:lnTo>
                    <a:pt x="27" y="340"/>
                  </a:lnTo>
                  <a:lnTo>
                    <a:pt x="31" y="344"/>
                  </a:lnTo>
                  <a:lnTo>
                    <a:pt x="31" y="346"/>
                  </a:lnTo>
                  <a:lnTo>
                    <a:pt x="31" y="346"/>
                  </a:lnTo>
                  <a:lnTo>
                    <a:pt x="33" y="348"/>
                  </a:lnTo>
                  <a:lnTo>
                    <a:pt x="35" y="352"/>
                  </a:lnTo>
                  <a:lnTo>
                    <a:pt x="37" y="354"/>
                  </a:lnTo>
                  <a:lnTo>
                    <a:pt x="47" y="377"/>
                  </a:lnTo>
                  <a:lnTo>
                    <a:pt x="49" y="381"/>
                  </a:lnTo>
                  <a:lnTo>
                    <a:pt x="57" y="387"/>
                  </a:lnTo>
                  <a:lnTo>
                    <a:pt x="59" y="391"/>
                  </a:lnTo>
                  <a:lnTo>
                    <a:pt x="62" y="397"/>
                  </a:lnTo>
                  <a:lnTo>
                    <a:pt x="64" y="399"/>
                  </a:lnTo>
                  <a:lnTo>
                    <a:pt x="62" y="406"/>
                  </a:lnTo>
                  <a:lnTo>
                    <a:pt x="62" y="408"/>
                  </a:lnTo>
                  <a:lnTo>
                    <a:pt x="62" y="406"/>
                  </a:lnTo>
                  <a:lnTo>
                    <a:pt x="64" y="403"/>
                  </a:lnTo>
                  <a:lnTo>
                    <a:pt x="68" y="408"/>
                  </a:lnTo>
                  <a:lnTo>
                    <a:pt x="68" y="410"/>
                  </a:lnTo>
                  <a:lnTo>
                    <a:pt x="68" y="412"/>
                  </a:lnTo>
                  <a:lnTo>
                    <a:pt x="68" y="414"/>
                  </a:lnTo>
                  <a:lnTo>
                    <a:pt x="68" y="414"/>
                  </a:lnTo>
                  <a:lnTo>
                    <a:pt x="70" y="418"/>
                  </a:lnTo>
                  <a:lnTo>
                    <a:pt x="72" y="424"/>
                  </a:lnTo>
                  <a:lnTo>
                    <a:pt x="76" y="430"/>
                  </a:lnTo>
                  <a:lnTo>
                    <a:pt x="76" y="432"/>
                  </a:lnTo>
                  <a:lnTo>
                    <a:pt x="76" y="434"/>
                  </a:lnTo>
                  <a:lnTo>
                    <a:pt x="76" y="432"/>
                  </a:lnTo>
                  <a:lnTo>
                    <a:pt x="74" y="430"/>
                  </a:lnTo>
                  <a:lnTo>
                    <a:pt x="72" y="428"/>
                  </a:lnTo>
                  <a:lnTo>
                    <a:pt x="72" y="424"/>
                  </a:lnTo>
                  <a:lnTo>
                    <a:pt x="72" y="422"/>
                  </a:lnTo>
                  <a:lnTo>
                    <a:pt x="68" y="418"/>
                  </a:lnTo>
                  <a:lnTo>
                    <a:pt x="66" y="416"/>
                  </a:lnTo>
                  <a:lnTo>
                    <a:pt x="68" y="422"/>
                  </a:lnTo>
                  <a:lnTo>
                    <a:pt x="68" y="424"/>
                  </a:lnTo>
                  <a:lnTo>
                    <a:pt x="62" y="434"/>
                  </a:lnTo>
                  <a:lnTo>
                    <a:pt x="59" y="438"/>
                  </a:lnTo>
                  <a:lnTo>
                    <a:pt x="57" y="440"/>
                  </a:lnTo>
                  <a:lnTo>
                    <a:pt x="59" y="440"/>
                  </a:lnTo>
                  <a:lnTo>
                    <a:pt x="62" y="440"/>
                  </a:lnTo>
                  <a:lnTo>
                    <a:pt x="62" y="440"/>
                  </a:lnTo>
                  <a:lnTo>
                    <a:pt x="62" y="440"/>
                  </a:lnTo>
                  <a:lnTo>
                    <a:pt x="62" y="440"/>
                  </a:lnTo>
                  <a:lnTo>
                    <a:pt x="64" y="438"/>
                  </a:lnTo>
                  <a:lnTo>
                    <a:pt x="64" y="438"/>
                  </a:lnTo>
                  <a:lnTo>
                    <a:pt x="66" y="436"/>
                  </a:lnTo>
                  <a:lnTo>
                    <a:pt x="66" y="436"/>
                  </a:lnTo>
                  <a:lnTo>
                    <a:pt x="66" y="436"/>
                  </a:lnTo>
                  <a:lnTo>
                    <a:pt x="66" y="434"/>
                  </a:lnTo>
                  <a:lnTo>
                    <a:pt x="66" y="434"/>
                  </a:lnTo>
                  <a:lnTo>
                    <a:pt x="66" y="434"/>
                  </a:lnTo>
                  <a:lnTo>
                    <a:pt x="66" y="432"/>
                  </a:lnTo>
                  <a:lnTo>
                    <a:pt x="68" y="432"/>
                  </a:lnTo>
                  <a:lnTo>
                    <a:pt x="68" y="432"/>
                  </a:lnTo>
                  <a:lnTo>
                    <a:pt x="68" y="436"/>
                  </a:lnTo>
                  <a:lnTo>
                    <a:pt x="70" y="438"/>
                  </a:lnTo>
                  <a:lnTo>
                    <a:pt x="76" y="442"/>
                  </a:lnTo>
                  <a:lnTo>
                    <a:pt x="76" y="442"/>
                  </a:lnTo>
                  <a:lnTo>
                    <a:pt x="76" y="442"/>
                  </a:lnTo>
                  <a:lnTo>
                    <a:pt x="78" y="444"/>
                  </a:lnTo>
                  <a:lnTo>
                    <a:pt x="78" y="449"/>
                  </a:lnTo>
                  <a:lnTo>
                    <a:pt x="78" y="449"/>
                  </a:lnTo>
                  <a:lnTo>
                    <a:pt x="80" y="451"/>
                  </a:lnTo>
                  <a:lnTo>
                    <a:pt x="80" y="451"/>
                  </a:lnTo>
                  <a:lnTo>
                    <a:pt x="82" y="455"/>
                  </a:lnTo>
                  <a:lnTo>
                    <a:pt x="84" y="455"/>
                  </a:lnTo>
                  <a:lnTo>
                    <a:pt x="84" y="455"/>
                  </a:lnTo>
                  <a:lnTo>
                    <a:pt x="84" y="455"/>
                  </a:lnTo>
                  <a:lnTo>
                    <a:pt x="84" y="453"/>
                  </a:lnTo>
                  <a:lnTo>
                    <a:pt x="88" y="457"/>
                  </a:lnTo>
                  <a:lnTo>
                    <a:pt x="90" y="461"/>
                  </a:lnTo>
                  <a:lnTo>
                    <a:pt x="92" y="463"/>
                  </a:lnTo>
                  <a:lnTo>
                    <a:pt x="94" y="465"/>
                  </a:lnTo>
                  <a:lnTo>
                    <a:pt x="96" y="465"/>
                  </a:lnTo>
                  <a:lnTo>
                    <a:pt x="96" y="467"/>
                  </a:lnTo>
                  <a:lnTo>
                    <a:pt x="98" y="467"/>
                  </a:lnTo>
                  <a:lnTo>
                    <a:pt x="100" y="465"/>
                  </a:lnTo>
                  <a:lnTo>
                    <a:pt x="100" y="465"/>
                  </a:lnTo>
                  <a:lnTo>
                    <a:pt x="100" y="463"/>
                  </a:lnTo>
                  <a:lnTo>
                    <a:pt x="100" y="461"/>
                  </a:lnTo>
                  <a:lnTo>
                    <a:pt x="100" y="461"/>
                  </a:lnTo>
                  <a:lnTo>
                    <a:pt x="102" y="461"/>
                  </a:lnTo>
                  <a:lnTo>
                    <a:pt x="102" y="463"/>
                  </a:lnTo>
                  <a:lnTo>
                    <a:pt x="102" y="463"/>
                  </a:lnTo>
                  <a:lnTo>
                    <a:pt x="105" y="461"/>
                  </a:lnTo>
                  <a:lnTo>
                    <a:pt x="102" y="459"/>
                  </a:lnTo>
                  <a:lnTo>
                    <a:pt x="100" y="457"/>
                  </a:lnTo>
                  <a:lnTo>
                    <a:pt x="100" y="455"/>
                  </a:lnTo>
                  <a:lnTo>
                    <a:pt x="100" y="455"/>
                  </a:lnTo>
                  <a:lnTo>
                    <a:pt x="102" y="453"/>
                  </a:lnTo>
                  <a:lnTo>
                    <a:pt x="102" y="453"/>
                  </a:lnTo>
                  <a:lnTo>
                    <a:pt x="100" y="453"/>
                  </a:lnTo>
                  <a:lnTo>
                    <a:pt x="102" y="451"/>
                  </a:lnTo>
                  <a:lnTo>
                    <a:pt x="102" y="451"/>
                  </a:lnTo>
                  <a:lnTo>
                    <a:pt x="105" y="451"/>
                  </a:lnTo>
                  <a:lnTo>
                    <a:pt x="105" y="449"/>
                  </a:lnTo>
                  <a:lnTo>
                    <a:pt x="102" y="446"/>
                  </a:lnTo>
                  <a:lnTo>
                    <a:pt x="102" y="444"/>
                  </a:lnTo>
                  <a:lnTo>
                    <a:pt x="105" y="438"/>
                  </a:lnTo>
                  <a:lnTo>
                    <a:pt x="105" y="436"/>
                  </a:lnTo>
                  <a:lnTo>
                    <a:pt x="107" y="436"/>
                  </a:lnTo>
                  <a:lnTo>
                    <a:pt x="109" y="436"/>
                  </a:lnTo>
                  <a:lnTo>
                    <a:pt x="111" y="434"/>
                  </a:lnTo>
                  <a:lnTo>
                    <a:pt x="113" y="432"/>
                  </a:lnTo>
                  <a:lnTo>
                    <a:pt x="121" y="438"/>
                  </a:lnTo>
                  <a:lnTo>
                    <a:pt x="123" y="440"/>
                  </a:lnTo>
                  <a:lnTo>
                    <a:pt x="123" y="442"/>
                  </a:lnTo>
                  <a:lnTo>
                    <a:pt x="123" y="442"/>
                  </a:lnTo>
                  <a:lnTo>
                    <a:pt x="125" y="444"/>
                  </a:lnTo>
                  <a:lnTo>
                    <a:pt x="127" y="444"/>
                  </a:lnTo>
                  <a:lnTo>
                    <a:pt x="131" y="449"/>
                  </a:lnTo>
                  <a:lnTo>
                    <a:pt x="133" y="449"/>
                  </a:lnTo>
                  <a:lnTo>
                    <a:pt x="133" y="449"/>
                  </a:lnTo>
                  <a:lnTo>
                    <a:pt x="135" y="449"/>
                  </a:lnTo>
                  <a:lnTo>
                    <a:pt x="139" y="446"/>
                  </a:lnTo>
                  <a:lnTo>
                    <a:pt x="139" y="444"/>
                  </a:lnTo>
                  <a:lnTo>
                    <a:pt x="139" y="444"/>
                  </a:lnTo>
                  <a:lnTo>
                    <a:pt x="141" y="442"/>
                  </a:lnTo>
                  <a:lnTo>
                    <a:pt x="141" y="442"/>
                  </a:lnTo>
                  <a:lnTo>
                    <a:pt x="141" y="440"/>
                  </a:lnTo>
                  <a:lnTo>
                    <a:pt x="143" y="440"/>
                  </a:lnTo>
                  <a:lnTo>
                    <a:pt x="146" y="440"/>
                  </a:lnTo>
                  <a:lnTo>
                    <a:pt x="148" y="440"/>
                  </a:lnTo>
                  <a:lnTo>
                    <a:pt x="148" y="442"/>
                  </a:lnTo>
                  <a:lnTo>
                    <a:pt x="148" y="442"/>
                  </a:lnTo>
                  <a:lnTo>
                    <a:pt x="146" y="446"/>
                  </a:lnTo>
                  <a:lnTo>
                    <a:pt x="150" y="449"/>
                  </a:lnTo>
                  <a:lnTo>
                    <a:pt x="154" y="449"/>
                  </a:lnTo>
                  <a:lnTo>
                    <a:pt x="152" y="451"/>
                  </a:lnTo>
                  <a:lnTo>
                    <a:pt x="152" y="451"/>
                  </a:lnTo>
                  <a:lnTo>
                    <a:pt x="152" y="451"/>
                  </a:lnTo>
                  <a:lnTo>
                    <a:pt x="152" y="453"/>
                  </a:lnTo>
                  <a:lnTo>
                    <a:pt x="154" y="453"/>
                  </a:lnTo>
                  <a:lnTo>
                    <a:pt x="156" y="453"/>
                  </a:lnTo>
                  <a:lnTo>
                    <a:pt x="156" y="453"/>
                  </a:lnTo>
                  <a:lnTo>
                    <a:pt x="156" y="451"/>
                  </a:lnTo>
                  <a:lnTo>
                    <a:pt x="158" y="451"/>
                  </a:lnTo>
                  <a:lnTo>
                    <a:pt x="160" y="453"/>
                  </a:lnTo>
                  <a:lnTo>
                    <a:pt x="162" y="453"/>
                  </a:lnTo>
                  <a:lnTo>
                    <a:pt x="166" y="453"/>
                  </a:lnTo>
                  <a:lnTo>
                    <a:pt x="166" y="451"/>
                  </a:lnTo>
                  <a:lnTo>
                    <a:pt x="170" y="449"/>
                  </a:lnTo>
                  <a:lnTo>
                    <a:pt x="172" y="446"/>
                  </a:lnTo>
                  <a:lnTo>
                    <a:pt x="172" y="446"/>
                  </a:lnTo>
                  <a:lnTo>
                    <a:pt x="172" y="449"/>
                  </a:lnTo>
                  <a:lnTo>
                    <a:pt x="170" y="451"/>
                  </a:lnTo>
                  <a:lnTo>
                    <a:pt x="170" y="451"/>
                  </a:lnTo>
                  <a:lnTo>
                    <a:pt x="168" y="453"/>
                  </a:lnTo>
                  <a:lnTo>
                    <a:pt x="166" y="453"/>
                  </a:lnTo>
                  <a:lnTo>
                    <a:pt x="166" y="453"/>
                  </a:lnTo>
                  <a:lnTo>
                    <a:pt x="164" y="453"/>
                  </a:lnTo>
                  <a:lnTo>
                    <a:pt x="164" y="453"/>
                  </a:lnTo>
                  <a:lnTo>
                    <a:pt x="164" y="455"/>
                  </a:lnTo>
                  <a:lnTo>
                    <a:pt x="164" y="455"/>
                  </a:lnTo>
                  <a:lnTo>
                    <a:pt x="164" y="455"/>
                  </a:lnTo>
                  <a:lnTo>
                    <a:pt x="164" y="457"/>
                  </a:lnTo>
                  <a:lnTo>
                    <a:pt x="168" y="457"/>
                  </a:lnTo>
                  <a:lnTo>
                    <a:pt x="170" y="457"/>
                  </a:lnTo>
                  <a:lnTo>
                    <a:pt x="172" y="455"/>
                  </a:lnTo>
                  <a:lnTo>
                    <a:pt x="172" y="453"/>
                  </a:lnTo>
                  <a:lnTo>
                    <a:pt x="172" y="453"/>
                  </a:lnTo>
                  <a:lnTo>
                    <a:pt x="174" y="451"/>
                  </a:lnTo>
                  <a:lnTo>
                    <a:pt x="174" y="451"/>
                  </a:lnTo>
                  <a:lnTo>
                    <a:pt x="174" y="453"/>
                  </a:lnTo>
                  <a:lnTo>
                    <a:pt x="174" y="453"/>
                  </a:lnTo>
                  <a:lnTo>
                    <a:pt x="176" y="453"/>
                  </a:lnTo>
                  <a:lnTo>
                    <a:pt x="176" y="453"/>
                  </a:lnTo>
                  <a:lnTo>
                    <a:pt x="176" y="451"/>
                  </a:lnTo>
                  <a:lnTo>
                    <a:pt x="178" y="451"/>
                  </a:lnTo>
                  <a:lnTo>
                    <a:pt x="180" y="453"/>
                  </a:lnTo>
                  <a:lnTo>
                    <a:pt x="180" y="453"/>
                  </a:lnTo>
                  <a:lnTo>
                    <a:pt x="182" y="453"/>
                  </a:lnTo>
                  <a:lnTo>
                    <a:pt x="186" y="459"/>
                  </a:lnTo>
                  <a:lnTo>
                    <a:pt x="189" y="461"/>
                  </a:lnTo>
                  <a:lnTo>
                    <a:pt x="189" y="461"/>
                  </a:lnTo>
                  <a:lnTo>
                    <a:pt x="191" y="463"/>
                  </a:lnTo>
                  <a:lnTo>
                    <a:pt x="191" y="465"/>
                  </a:lnTo>
                  <a:lnTo>
                    <a:pt x="191" y="465"/>
                  </a:lnTo>
                  <a:lnTo>
                    <a:pt x="189" y="465"/>
                  </a:lnTo>
                  <a:lnTo>
                    <a:pt x="189" y="463"/>
                  </a:lnTo>
                  <a:lnTo>
                    <a:pt x="186" y="461"/>
                  </a:lnTo>
                  <a:lnTo>
                    <a:pt x="186" y="459"/>
                  </a:lnTo>
                  <a:lnTo>
                    <a:pt x="184" y="459"/>
                  </a:lnTo>
                  <a:lnTo>
                    <a:pt x="182" y="459"/>
                  </a:lnTo>
                  <a:lnTo>
                    <a:pt x="180" y="455"/>
                  </a:lnTo>
                  <a:lnTo>
                    <a:pt x="180" y="455"/>
                  </a:lnTo>
                  <a:lnTo>
                    <a:pt x="180" y="455"/>
                  </a:lnTo>
                  <a:lnTo>
                    <a:pt x="180" y="453"/>
                  </a:lnTo>
                  <a:lnTo>
                    <a:pt x="178" y="453"/>
                  </a:lnTo>
                  <a:lnTo>
                    <a:pt x="178" y="453"/>
                  </a:lnTo>
                  <a:lnTo>
                    <a:pt x="178" y="453"/>
                  </a:lnTo>
                  <a:lnTo>
                    <a:pt x="176" y="453"/>
                  </a:lnTo>
                  <a:lnTo>
                    <a:pt x="176" y="453"/>
                  </a:lnTo>
                  <a:lnTo>
                    <a:pt x="174" y="453"/>
                  </a:lnTo>
                  <a:lnTo>
                    <a:pt x="174" y="453"/>
                  </a:lnTo>
                  <a:lnTo>
                    <a:pt x="172" y="455"/>
                  </a:lnTo>
                  <a:lnTo>
                    <a:pt x="172" y="455"/>
                  </a:lnTo>
                  <a:lnTo>
                    <a:pt x="172" y="455"/>
                  </a:lnTo>
                  <a:lnTo>
                    <a:pt x="172" y="457"/>
                  </a:lnTo>
                  <a:lnTo>
                    <a:pt x="172" y="457"/>
                  </a:lnTo>
                  <a:lnTo>
                    <a:pt x="170" y="457"/>
                  </a:lnTo>
                  <a:lnTo>
                    <a:pt x="170" y="457"/>
                  </a:lnTo>
                  <a:lnTo>
                    <a:pt x="168" y="457"/>
                  </a:lnTo>
                  <a:lnTo>
                    <a:pt x="168" y="459"/>
                  </a:lnTo>
                  <a:lnTo>
                    <a:pt x="168" y="459"/>
                  </a:lnTo>
                  <a:lnTo>
                    <a:pt x="170" y="459"/>
                  </a:lnTo>
                  <a:lnTo>
                    <a:pt x="170" y="461"/>
                  </a:lnTo>
                  <a:lnTo>
                    <a:pt x="168" y="459"/>
                  </a:lnTo>
                  <a:lnTo>
                    <a:pt x="164" y="457"/>
                  </a:lnTo>
                  <a:lnTo>
                    <a:pt x="154" y="455"/>
                  </a:lnTo>
                  <a:lnTo>
                    <a:pt x="150" y="453"/>
                  </a:lnTo>
                  <a:lnTo>
                    <a:pt x="139" y="449"/>
                  </a:lnTo>
                  <a:lnTo>
                    <a:pt x="139" y="449"/>
                  </a:lnTo>
                  <a:lnTo>
                    <a:pt x="133" y="451"/>
                  </a:lnTo>
                  <a:lnTo>
                    <a:pt x="131" y="451"/>
                  </a:lnTo>
                  <a:lnTo>
                    <a:pt x="131" y="451"/>
                  </a:lnTo>
                  <a:lnTo>
                    <a:pt x="127" y="446"/>
                  </a:lnTo>
                  <a:lnTo>
                    <a:pt x="125" y="446"/>
                  </a:lnTo>
                  <a:lnTo>
                    <a:pt x="125" y="446"/>
                  </a:lnTo>
                  <a:lnTo>
                    <a:pt x="123" y="446"/>
                  </a:lnTo>
                  <a:lnTo>
                    <a:pt x="117" y="451"/>
                  </a:lnTo>
                  <a:lnTo>
                    <a:pt x="117" y="451"/>
                  </a:lnTo>
                  <a:lnTo>
                    <a:pt x="115" y="451"/>
                  </a:lnTo>
                  <a:lnTo>
                    <a:pt x="115" y="451"/>
                  </a:lnTo>
                  <a:lnTo>
                    <a:pt x="115" y="449"/>
                  </a:lnTo>
                  <a:lnTo>
                    <a:pt x="113" y="449"/>
                  </a:lnTo>
                  <a:lnTo>
                    <a:pt x="113" y="451"/>
                  </a:lnTo>
                  <a:lnTo>
                    <a:pt x="111" y="453"/>
                  </a:lnTo>
                  <a:lnTo>
                    <a:pt x="109" y="455"/>
                  </a:lnTo>
                  <a:lnTo>
                    <a:pt x="109" y="455"/>
                  </a:lnTo>
                  <a:lnTo>
                    <a:pt x="109" y="459"/>
                  </a:lnTo>
                  <a:lnTo>
                    <a:pt x="113" y="461"/>
                  </a:lnTo>
                  <a:lnTo>
                    <a:pt x="115" y="463"/>
                  </a:lnTo>
                  <a:lnTo>
                    <a:pt x="115" y="467"/>
                  </a:lnTo>
                  <a:lnTo>
                    <a:pt x="113" y="471"/>
                  </a:lnTo>
                  <a:lnTo>
                    <a:pt x="113" y="473"/>
                  </a:lnTo>
                  <a:lnTo>
                    <a:pt x="113" y="475"/>
                  </a:lnTo>
                  <a:lnTo>
                    <a:pt x="115" y="475"/>
                  </a:lnTo>
                  <a:lnTo>
                    <a:pt x="119" y="479"/>
                  </a:lnTo>
                  <a:lnTo>
                    <a:pt x="121" y="479"/>
                  </a:lnTo>
                  <a:lnTo>
                    <a:pt x="117" y="481"/>
                  </a:lnTo>
                  <a:lnTo>
                    <a:pt x="117" y="481"/>
                  </a:lnTo>
                  <a:lnTo>
                    <a:pt x="119" y="481"/>
                  </a:lnTo>
                  <a:lnTo>
                    <a:pt x="117" y="483"/>
                  </a:lnTo>
                  <a:lnTo>
                    <a:pt x="119" y="483"/>
                  </a:lnTo>
                  <a:lnTo>
                    <a:pt x="121" y="483"/>
                  </a:lnTo>
                  <a:lnTo>
                    <a:pt x="121" y="483"/>
                  </a:lnTo>
                  <a:lnTo>
                    <a:pt x="121" y="485"/>
                  </a:lnTo>
                  <a:lnTo>
                    <a:pt x="123" y="490"/>
                  </a:lnTo>
                  <a:lnTo>
                    <a:pt x="123" y="502"/>
                  </a:lnTo>
                  <a:lnTo>
                    <a:pt x="125" y="506"/>
                  </a:lnTo>
                  <a:lnTo>
                    <a:pt x="125" y="506"/>
                  </a:lnTo>
                  <a:lnTo>
                    <a:pt x="127" y="508"/>
                  </a:lnTo>
                  <a:lnTo>
                    <a:pt x="127" y="508"/>
                  </a:lnTo>
                  <a:lnTo>
                    <a:pt x="129" y="508"/>
                  </a:lnTo>
                  <a:lnTo>
                    <a:pt x="129" y="510"/>
                  </a:lnTo>
                  <a:lnTo>
                    <a:pt x="129" y="510"/>
                  </a:lnTo>
                  <a:lnTo>
                    <a:pt x="129" y="510"/>
                  </a:lnTo>
                  <a:lnTo>
                    <a:pt x="129" y="510"/>
                  </a:lnTo>
                  <a:lnTo>
                    <a:pt x="129" y="512"/>
                  </a:lnTo>
                  <a:lnTo>
                    <a:pt x="129" y="512"/>
                  </a:lnTo>
                  <a:lnTo>
                    <a:pt x="131" y="512"/>
                  </a:lnTo>
                  <a:lnTo>
                    <a:pt x="129" y="514"/>
                  </a:lnTo>
                  <a:lnTo>
                    <a:pt x="127" y="514"/>
                  </a:lnTo>
                  <a:lnTo>
                    <a:pt x="125" y="512"/>
                  </a:lnTo>
                  <a:lnTo>
                    <a:pt x="123" y="512"/>
                  </a:lnTo>
                  <a:lnTo>
                    <a:pt x="123" y="510"/>
                  </a:lnTo>
                  <a:lnTo>
                    <a:pt x="123" y="508"/>
                  </a:lnTo>
                  <a:lnTo>
                    <a:pt x="121" y="506"/>
                  </a:lnTo>
                  <a:lnTo>
                    <a:pt x="121" y="506"/>
                  </a:lnTo>
                  <a:lnTo>
                    <a:pt x="119" y="506"/>
                  </a:lnTo>
                  <a:lnTo>
                    <a:pt x="119" y="504"/>
                  </a:lnTo>
                  <a:lnTo>
                    <a:pt x="119" y="504"/>
                  </a:lnTo>
                  <a:lnTo>
                    <a:pt x="117" y="504"/>
                  </a:lnTo>
                  <a:lnTo>
                    <a:pt x="117" y="504"/>
                  </a:lnTo>
                  <a:lnTo>
                    <a:pt x="117" y="502"/>
                  </a:lnTo>
                  <a:lnTo>
                    <a:pt x="115" y="502"/>
                  </a:lnTo>
                  <a:lnTo>
                    <a:pt x="115" y="500"/>
                  </a:lnTo>
                  <a:lnTo>
                    <a:pt x="115" y="500"/>
                  </a:lnTo>
                  <a:lnTo>
                    <a:pt x="113" y="500"/>
                  </a:lnTo>
                  <a:lnTo>
                    <a:pt x="113" y="498"/>
                  </a:lnTo>
                  <a:lnTo>
                    <a:pt x="113" y="498"/>
                  </a:lnTo>
                  <a:lnTo>
                    <a:pt x="111" y="498"/>
                  </a:lnTo>
                  <a:lnTo>
                    <a:pt x="109" y="496"/>
                  </a:lnTo>
                  <a:lnTo>
                    <a:pt x="109" y="494"/>
                  </a:lnTo>
                  <a:lnTo>
                    <a:pt x="109" y="494"/>
                  </a:lnTo>
                  <a:lnTo>
                    <a:pt x="107" y="494"/>
                  </a:lnTo>
                  <a:lnTo>
                    <a:pt x="105" y="494"/>
                  </a:lnTo>
                  <a:lnTo>
                    <a:pt x="105" y="492"/>
                  </a:lnTo>
                  <a:lnTo>
                    <a:pt x="105" y="492"/>
                  </a:lnTo>
                  <a:lnTo>
                    <a:pt x="105" y="490"/>
                  </a:lnTo>
                  <a:lnTo>
                    <a:pt x="105" y="490"/>
                  </a:lnTo>
                  <a:lnTo>
                    <a:pt x="105" y="487"/>
                  </a:lnTo>
                  <a:lnTo>
                    <a:pt x="105" y="487"/>
                  </a:lnTo>
                  <a:lnTo>
                    <a:pt x="107" y="479"/>
                  </a:lnTo>
                  <a:lnTo>
                    <a:pt x="107" y="479"/>
                  </a:lnTo>
                  <a:lnTo>
                    <a:pt x="107" y="479"/>
                  </a:lnTo>
                  <a:lnTo>
                    <a:pt x="109" y="479"/>
                  </a:lnTo>
                  <a:lnTo>
                    <a:pt x="107" y="479"/>
                  </a:lnTo>
                  <a:lnTo>
                    <a:pt x="107" y="477"/>
                  </a:lnTo>
                  <a:lnTo>
                    <a:pt x="107" y="477"/>
                  </a:lnTo>
                  <a:lnTo>
                    <a:pt x="107" y="475"/>
                  </a:lnTo>
                  <a:lnTo>
                    <a:pt x="107" y="471"/>
                  </a:lnTo>
                  <a:lnTo>
                    <a:pt x="107" y="471"/>
                  </a:lnTo>
                  <a:lnTo>
                    <a:pt x="105" y="469"/>
                  </a:lnTo>
                  <a:lnTo>
                    <a:pt x="100" y="469"/>
                  </a:lnTo>
                  <a:lnTo>
                    <a:pt x="98" y="469"/>
                  </a:lnTo>
                  <a:lnTo>
                    <a:pt x="98" y="469"/>
                  </a:lnTo>
                  <a:lnTo>
                    <a:pt x="94" y="473"/>
                  </a:lnTo>
                  <a:lnTo>
                    <a:pt x="94" y="477"/>
                  </a:lnTo>
                  <a:lnTo>
                    <a:pt x="94" y="483"/>
                  </a:lnTo>
                  <a:lnTo>
                    <a:pt x="94" y="487"/>
                  </a:lnTo>
                  <a:lnTo>
                    <a:pt x="94" y="490"/>
                  </a:lnTo>
                  <a:lnTo>
                    <a:pt x="92" y="492"/>
                  </a:lnTo>
                  <a:lnTo>
                    <a:pt x="90" y="494"/>
                  </a:lnTo>
                  <a:lnTo>
                    <a:pt x="90" y="500"/>
                  </a:lnTo>
                  <a:lnTo>
                    <a:pt x="90" y="500"/>
                  </a:lnTo>
                  <a:lnTo>
                    <a:pt x="92" y="500"/>
                  </a:lnTo>
                  <a:lnTo>
                    <a:pt x="92" y="500"/>
                  </a:lnTo>
                  <a:lnTo>
                    <a:pt x="94" y="502"/>
                  </a:lnTo>
                  <a:lnTo>
                    <a:pt x="94" y="504"/>
                  </a:lnTo>
                  <a:lnTo>
                    <a:pt x="94" y="508"/>
                  </a:lnTo>
                  <a:lnTo>
                    <a:pt x="96" y="510"/>
                  </a:lnTo>
                  <a:lnTo>
                    <a:pt x="96" y="512"/>
                  </a:lnTo>
                  <a:lnTo>
                    <a:pt x="96" y="514"/>
                  </a:lnTo>
                  <a:lnTo>
                    <a:pt x="96" y="516"/>
                  </a:lnTo>
                  <a:lnTo>
                    <a:pt x="96" y="518"/>
                  </a:lnTo>
                  <a:lnTo>
                    <a:pt x="94" y="524"/>
                  </a:lnTo>
                  <a:lnTo>
                    <a:pt x="94" y="528"/>
                  </a:lnTo>
                  <a:lnTo>
                    <a:pt x="92" y="531"/>
                  </a:lnTo>
                  <a:lnTo>
                    <a:pt x="94" y="537"/>
                  </a:lnTo>
                  <a:lnTo>
                    <a:pt x="96" y="539"/>
                  </a:lnTo>
                  <a:lnTo>
                    <a:pt x="96" y="541"/>
                  </a:lnTo>
                  <a:lnTo>
                    <a:pt x="96" y="543"/>
                  </a:lnTo>
                  <a:lnTo>
                    <a:pt x="96" y="543"/>
                  </a:lnTo>
                  <a:lnTo>
                    <a:pt x="102" y="549"/>
                  </a:lnTo>
                  <a:lnTo>
                    <a:pt x="105" y="555"/>
                  </a:lnTo>
                  <a:lnTo>
                    <a:pt x="107" y="559"/>
                  </a:lnTo>
                  <a:lnTo>
                    <a:pt x="113" y="565"/>
                  </a:lnTo>
                  <a:lnTo>
                    <a:pt x="115" y="565"/>
                  </a:lnTo>
                  <a:lnTo>
                    <a:pt x="117" y="565"/>
                  </a:lnTo>
                  <a:lnTo>
                    <a:pt x="119" y="565"/>
                  </a:lnTo>
                  <a:lnTo>
                    <a:pt x="121" y="565"/>
                  </a:lnTo>
                  <a:lnTo>
                    <a:pt x="123" y="565"/>
                  </a:lnTo>
                  <a:lnTo>
                    <a:pt x="123" y="567"/>
                  </a:lnTo>
                  <a:lnTo>
                    <a:pt x="127" y="565"/>
                  </a:lnTo>
                  <a:lnTo>
                    <a:pt x="129" y="567"/>
                  </a:lnTo>
                  <a:lnTo>
                    <a:pt x="131" y="567"/>
                  </a:lnTo>
                  <a:lnTo>
                    <a:pt x="133" y="571"/>
                  </a:lnTo>
                  <a:lnTo>
                    <a:pt x="135" y="582"/>
                  </a:lnTo>
                  <a:lnTo>
                    <a:pt x="137" y="586"/>
                  </a:lnTo>
                  <a:lnTo>
                    <a:pt x="135" y="592"/>
                  </a:lnTo>
                  <a:lnTo>
                    <a:pt x="135" y="592"/>
                  </a:lnTo>
                  <a:lnTo>
                    <a:pt x="135" y="592"/>
                  </a:lnTo>
                  <a:lnTo>
                    <a:pt x="137" y="592"/>
                  </a:lnTo>
                  <a:lnTo>
                    <a:pt x="137" y="592"/>
                  </a:lnTo>
                  <a:lnTo>
                    <a:pt x="137" y="592"/>
                  </a:lnTo>
                  <a:lnTo>
                    <a:pt x="137" y="594"/>
                  </a:lnTo>
                  <a:lnTo>
                    <a:pt x="137" y="594"/>
                  </a:lnTo>
                  <a:lnTo>
                    <a:pt x="137" y="594"/>
                  </a:lnTo>
                  <a:lnTo>
                    <a:pt x="135" y="594"/>
                  </a:lnTo>
                  <a:lnTo>
                    <a:pt x="133" y="594"/>
                  </a:lnTo>
                  <a:lnTo>
                    <a:pt x="133" y="594"/>
                  </a:lnTo>
                  <a:lnTo>
                    <a:pt x="131" y="600"/>
                  </a:lnTo>
                  <a:lnTo>
                    <a:pt x="131" y="602"/>
                  </a:lnTo>
                  <a:lnTo>
                    <a:pt x="129" y="602"/>
                  </a:lnTo>
                  <a:lnTo>
                    <a:pt x="127" y="604"/>
                  </a:lnTo>
                  <a:lnTo>
                    <a:pt x="125" y="604"/>
                  </a:lnTo>
                  <a:lnTo>
                    <a:pt x="125" y="604"/>
                  </a:lnTo>
                  <a:lnTo>
                    <a:pt x="123" y="602"/>
                  </a:lnTo>
                  <a:lnTo>
                    <a:pt x="121" y="602"/>
                  </a:lnTo>
                  <a:lnTo>
                    <a:pt x="121" y="602"/>
                  </a:lnTo>
                  <a:lnTo>
                    <a:pt x="119" y="604"/>
                  </a:lnTo>
                  <a:lnTo>
                    <a:pt x="117" y="606"/>
                  </a:lnTo>
                  <a:lnTo>
                    <a:pt x="117" y="608"/>
                  </a:lnTo>
                  <a:lnTo>
                    <a:pt x="119" y="608"/>
                  </a:lnTo>
                  <a:lnTo>
                    <a:pt x="119" y="610"/>
                  </a:lnTo>
                  <a:lnTo>
                    <a:pt x="121" y="610"/>
                  </a:lnTo>
                  <a:lnTo>
                    <a:pt x="121" y="612"/>
                  </a:lnTo>
                  <a:lnTo>
                    <a:pt x="119" y="612"/>
                  </a:lnTo>
                  <a:lnTo>
                    <a:pt x="117" y="612"/>
                  </a:lnTo>
                  <a:lnTo>
                    <a:pt x="117" y="615"/>
                  </a:lnTo>
                  <a:lnTo>
                    <a:pt x="117" y="617"/>
                  </a:lnTo>
                  <a:lnTo>
                    <a:pt x="119" y="621"/>
                  </a:lnTo>
                  <a:lnTo>
                    <a:pt x="119" y="627"/>
                  </a:lnTo>
                  <a:lnTo>
                    <a:pt x="117" y="631"/>
                  </a:lnTo>
                  <a:lnTo>
                    <a:pt x="117" y="631"/>
                  </a:lnTo>
                  <a:lnTo>
                    <a:pt x="119" y="635"/>
                  </a:lnTo>
                  <a:lnTo>
                    <a:pt x="119" y="635"/>
                  </a:lnTo>
                  <a:lnTo>
                    <a:pt x="119" y="637"/>
                  </a:lnTo>
                  <a:lnTo>
                    <a:pt x="119" y="637"/>
                  </a:lnTo>
                  <a:lnTo>
                    <a:pt x="119" y="639"/>
                  </a:lnTo>
                  <a:lnTo>
                    <a:pt x="119" y="639"/>
                  </a:lnTo>
                  <a:lnTo>
                    <a:pt x="121" y="639"/>
                  </a:lnTo>
                  <a:lnTo>
                    <a:pt x="121" y="641"/>
                  </a:lnTo>
                  <a:lnTo>
                    <a:pt x="121" y="643"/>
                  </a:lnTo>
                  <a:lnTo>
                    <a:pt x="121" y="643"/>
                  </a:lnTo>
                  <a:lnTo>
                    <a:pt x="121" y="645"/>
                  </a:lnTo>
                  <a:lnTo>
                    <a:pt x="123" y="645"/>
                  </a:lnTo>
                  <a:lnTo>
                    <a:pt x="125" y="647"/>
                  </a:lnTo>
                  <a:lnTo>
                    <a:pt x="131" y="653"/>
                  </a:lnTo>
                  <a:lnTo>
                    <a:pt x="133" y="658"/>
                  </a:lnTo>
                  <a:lnTo>
                    <a:pt x="137" y="666"/>
                  </a:lnTo>
                  <a:lnTo>
                    <a:pt x="137" y="670"/>
                  </a:lnTo>
                  <a:lnTo>
                    <a:pt x="137" y="672"/>
                  </a:lnTo>
                  <a:lnTo>
                    <a:pt x="139" y="672"/>
                  </a:lnTo>
                  <a:lnTo>
                    <a:pt x="141" y="674"/>
                  </a:lnTo>
                  <a:lnTo>
                    <a:pt x="143" y="674"/>
                  </a:lnTo>
                  <a:lnTo>
                    <a:pt x="143" y="676"/>
                  </a:lnTo>
                  <a:lnTo>
                    <a:pt x="146" y="678"/>
                  </a:lnTo>
                  <a:lnTo>
                    <a:pt x="146" y="680"/>
                  </a:lnTo>
                  <a:lnTo>
                    <a:pt x="146" y="682"/>
                  </a:lnTo>
                  <a:lnTo>
                    <a:pt x="146" y="684"/>
                  </a:lnTo>
                  <a:lnTo>
                    <a:pt x="146" y="686"/>
                  </a:lnTo>
                  <a:lnTo>
                    <a:pt x="146" y="688"/>
                  </a:lnTo>
                  <a:lnTo>
                    <a:pt x="148" y="690"/>
                  </a:lnTo>
                  <a:lnTo>
                    <a:pt x="150" y="694"/>
                  </a:lnTo>
                  <a:lnTo>
                    <a:pt x="150" y="697"/>
                  </a:lnTo>
                  <a:lnTo>
                    <a:pt x="152" y="699"/>
                  </a:lnTo>
                  <a:lnTo>
                    <a:pt x="154" y="701"/>
                  </a:lnTo>
                  <a:lnTo>
                    <a:pt x="156" y="703"/>
                  </a:lnTo>
                  <a:lnTo>
                    <a:pt x="156" y="709"/>
                  </a:lnTo>
                  <a:lnTo>
                    <a:pt x="158" y="715"/>
                  </a:lnTo>
                  <a:lnTo>
                    <a:pt x="158" y="717"/>
                  </a:lnTo>
                  <a:lnTo>
                    <a:pt x="164" y="719"/>
                  </a:lnTo>
                  <a:lnTo>
                    <a:pt x="166" y="721"/>
                  </a:lnTo>
                  <a:lnTo>
                    <a:pt x="168" y="723"/>
                  </a:lnTo>
                  <a:lnTo>
                    <a:pt x="170" y="729"/>
                  </a:lnTo>
                  <a:lnTo>
                    <a:pt x="172" y="733"/>
                  </a:lnTo>
                  <a:lnTo>
                    <a:pt x="174" y="737"/>
                  </a:lnTo>
                  <a:lnTo>
                    <a:pt x="176" y="740"/>
                  </a:lnTo>
                  <a:lnTo>
                    <a:pt x="178" y="742"/>
                  </a:lnTo>
                  <a:lnTo>
                    <a:pt x="184" y="744"/>
                  </a:lnTo>
                  <a:lnTo>
                    <a:pt x="186" y="746"/>
                  </a:lnTo>
                  <a:lnTo>
                    <a:pt x="186" y="748"/>
                  </a:lnTo>
                  <a:lnTo>
                    <a:pt x="186" y="750"/>
                  </a:lnTo>
                  <a:lnTo>
                    <a:pt x="186" y="752"/>
                  </a:lnTo>
                  <a:lnTo>
                    <a:pt x="186" y="754"/>
                  </a:lnTo>
                  <a:lnTo>
                    <a:pt x="189" y="756"/>
                  </a:lnTo>
                  <a:lnTo>
                    <a:pt x="189" y="758"/>
                  </a:lnTo>
                  <a:lnTo>
                    <a:pt x="189" y="758"/>
                  </a:lnTo>
                  <a:lnTo>
                    <a:pt x="186" y="758"/>
                  </a:lnTo>
                  <a:lnTo>
                    <a:pt x="186" y="758"/>
                  </a:lnTo>
                  <a:lnTo>
                    <a:pt x="186" y="756"/>
                  </a:lnTo>
                  <a:lnTo>
                    <a:pt x="186" y="754"/>
                  </a:lnTo>
                  <a:lnTo>
                    <a:pt x="182" y="762"/>
                  </a:lnTo>
                  <a:lnTo>
                    <a:pt x="182" y="764"/>
                  </a:lnTo>
                  <a:lnTo>
                    <a:pt x="182" y="766"/>
                  </a:lnTo>
                  <a:lnTo>
                    <a:pt x="182" y="768"/>
                  </a:lnTo>
                  <a:lnTo>
                    <a:pt x="184" y="770"/>
                  </a:lnTo>
                  <a:lnTo>
                    <a:pt x="189" y="774"/>
                  </a:lnTo>
                  <a:lnTo>
                    <a:pt x="191" y="776"/>
                  </a:lnTo>
                  <a:lnTo>
                    <a:pt x="191" y="776"/>
                  </a:lnTo>
                  <a:lnTo>
                    <a:pt x="193" y="776"/>
                  </a:lnTo>
                  <a:lnTo>
                    <a:pt x="195" y="776"/>
                  </a:lnTo>
                  <a:lnTo>
                    <a:pt x="197" y="776"/>
                  </a:lnTo>
                  <a:lnTo>
                    <a:pt x="197" y="776"/>
                  </a:lnTo>
                  <a:lnTo>
                    <a:pt x="199" y="778"/>
                  </a:lnTo>
                  <a:lnTo>
                    <a:pt x="199" y="778"/>
                  </a:lnTo>
                  <a:lnTo>
                    <a:pt x="201" y="781"/>
                  </a:lnTo>
                  <a:lnTo>
                    <a:pt x="201" y="781"/>
                  </a:lnTo>
                  <a:lnTo>
                    <a:pt x="201" y="785"/>
                  </a:lnTo>
                  <a:lnTo>
                    <a:pt x="201" y="789"/>
                  </a:lnTo>
                  <a:lnTo>
                    <a:pt x="199" y="793"/>
                  </a:lnTo>
                  <a:lnTo>
                    <a:pt x="199" y="797"/>
                  </a:lnTo>
                  <a:lnTo>
                    <a:pt x="195" y="803"/>
                  </a:lnTo>
                  <a:lnTo>
                    <a:pt x="193" y="805"/>
                  </a:lnTo>
                  <a:lnTo>
                    <a:pt x="195" y="805"/>
                  </a:lnTo>
                  <a:lnTo>
                    <a:pt x="197" y="809"/>
                  </a:lnTo>
                  <a:lnTo>
                    <a:pt x="197" y="809"/>
                  </a:lnTo>
                  <a:lnTo>
                    <a:pt x="197" y="811"/>
                  </a:lnTo>
                  <a:lnTo>
                    <a:pt x="197" y="811"/>
                  </a:lnTo>
                  <a:lnTo>
                    <a:pt x="197" y="813"/>
                  </a:lnTo>
                  <a:lnTo>
                    <a:pt x="197" y="815"/>
                  </a:lnTo>
                  <a:lnTo>
                    <a:pt x="195" y="819"/>
                  </a:lnTo>
                  <a:lnTo>
                    <a:pt x="193" y="822"/>
                  </a:lnTo>
                  <a:lnTo>
                    <a:pt x="195" y="824"/>
                  </a:lnTo>
                  <a:lnTo>
                    <a:pt x="195" y="826"/>
                  </a:lnTo>
                  <a:lnTo>
                    <a:pt x="195" y="828"/>
                  </a:lnTo>
                  <a:lnTo>
                    <a:pt x="195" y="830"/>
                  </a:lnTo>
                  <a:lnTo>
                    <a:pt x="193" y="832"/>
                  </a:lnTo>
                  <a:lnTo>
                    <a:pt x="193" y="834"/>
                  </a:lnTo>
                  <a:lnTo>
                    <a:pt x="191" y="834"/>
                  </a:lnTo>
                  <a:lnTo>
                    <a:pt x="191" y="838"/>
                  </a:lnTo>
                  <a:lnTo>
                    <a:pt x="189" y="840"/>
                  </a:lnTo>
                  <a:lnTo>
                    <a:pt x="189" y="840"/>
                  </a:lnTo>
                  <a:lnTo>
                    <a:pt x="191" y="842"/>
                  </a:lnTo>
                  <a:lnTo>
                    <a:pt x="193" y="844"/>
                  </a:lnTo>
                  <a:lnTo>
                    <a:pt x="195" y="844"/>
                  </a:lnTo>
                  <a:lnTo>
                    <a:pt x="197" y="844"/>
                  </a:lnTo>
                  <a:lnTo>
                    <a:pt x="199" y="848"/>
                  </a:lnTo>
                  <a:lnTo>
                    <a:pt x="201" y="852"/>
                  </a:lnTo>
                  <a:lnTo>
                    <a:pt x="203" y="856"/>
                  </a:lnTo>
                  <a:lnTo>
                    <a:pt x="207" y="856"/>
                  </a:lnTo>
                  <a:lnTo>
                    <a:pt x="215" y="856"/>
                  </a:lnTo>
                  <a:lnTo>
                    <a:pt x="227" y="858"/>
                  </a:lnTo>
                  <a:lnTo>
                    <a:pt x="232" y="860"/>
                  </a:lnTo>
                  <a:lnTo>
                    <a:pt x="236" y="862"/>
                  </a:lnTo>
                  <a:lnTo>
                    <a:pt x="240" y="862"/>
                  </a:lnTo>
                  <a:lnTo>
                    <a:pt x="246" y="865"/>
                  </a:lnTo>
                  <a:lnTo>
                    <a:pt x="254" y="871"/>
                  </a:lnTo>
                  <a:lnTo>
                    <a:pt x="256" y="871"/>
                  </a:lnTo>
                  <a:lnTo>
                    <a:pt x="258" y="871"/>
                  </a:lnTo>
                  <a:lnTo>
                    <a:pt x="260" y="871"/>
                  </a:lnTo>
                  <a:lnTo>
                    <a:pt x="260" y="871"/>
                  </a:lnTo>
                  <a:lnTo>
                    <a:pt x="262" y="873"/>
                  </a:lnTo>
                  <a:lnTo>
                    <a:pt x="264" y="873"/>
                  </a:lnTo>
                  <a:lnTo>
                    <a:pt x="266" y="875"/>
                  </a:lnTo>
                  <a:lnTo>
                    <a:pt x="266" y="875"/>
                  </a:lnTo>
                  <a:lnTo>
                    <a:pt x="268" y="875"/>
                  </a:lnTo>
                  <a:lnTo>
                    <a:pt x="268" y="875"/>
                  </a:lnTo>
                  <a:lnTo>
                    <a:pt x="270" y="873"/>
                  </a:lnTo>
                  <a:lnTo>
                    <a:pt x="275" y="873"/>
                  </a:lnTo>
                  <a:lnTo>
                    <a:pt x="277" y="875"/>
                  </a:lnTo>
                  <a:lnTo>
                    <a:pt x="279" y="875"/>
                  </a:lnTo>
                  <a:lnTo>
                    <a:pt x="279" y="875"/>
                  </a:lnTo>
                  <a:lnTo>
                    <a:pt x="281" y="875"/>
                  </a:lnTo>
                  <a:lnTo>
                    <a:pt x="283" y="877"/>
                  </a:lnTo>
                  <a:lnTo>
                    <a:pt x="287" y="881"/>
                  </a:lnTo>
                  <a:lnTo>
                    <a:pt x="291" y="883"/>
                  </a:lnTo>
                  <a:lnTo>
                    <a:pt x="299" y="893"/>
                  </a:lnTo>
                  <a:lnTo>
                    <a:pt x="301" y="895"/>
                  </a:lnTo>
                  <a:lnTo>
                    <a:pt x="303" y="895"/>
                  </a:lnTo>
                  <a:lnTo>
                    <a:pt x="303" y="895"/>
                  </a:lnTo>
                  <a:lnTo>
                    <a:pt x="303" y="895"/>
                  </a:lnTo>
                  <a:lnTo>
                    <a:pt x="305" y="897"/>
                  </a:lnTo>
                  <a:lnTo>
                    <a:pt x="303" y="897"/>
                  </a:lnTo>
                  <a:lnTo>
                    <a:pt x="303" y="899"/>
                  </a:lnTo>
                  <a:lnTo>
                    <a:pt x="305" y="899"/>
                  </a:lnTo>
                  <a:lnTo>
                    <a:pt x="305" y="901"/>
                  </a:lnTo>
                  <a:lnTo>
                    <a:pt x="305" y="901"/>
                  </a:lnTo>
                  <a:lnTo>
                    <a:pt x="305" y="903"/>
                  </a:lnTo>
                  <a:lnTo>
                    <a:pt x="305" y="906"/>
                  </a:lnTo>
                  <a:lnTo>
                    <a:pt x="305" y="906"/>
                  </a:lnTo>
                  <a:lnTo>
                    <a:pt x="305" y="908"/>
                  </a:lnTo>
                  <a:lnTo>
                    <a:pt x="307" y="908"/>
                  </a:lnTo>
                  <a:lnTo>
                    <a:pt x="307" y="908"/>
                  </a:lnTo>
                  <a:lnTo>
                    <a:pt x="307" y="910"/>
                  </a:lnTo>
                  <a:lnTo>
                    <a:pt x="307" y="910"/>
                  </a:lnTo>
                  <a:lnTo>
                    <a:pt x="311" y="914"/>
                  </a:lnTo>
                  <a:lnTo>
                    <a:pt x="313" y="916"/>
                  </a:lnTo>
                  <a:lnTo>
                    <a:pt x="315" y="916"/>
                  </a:lnTo>
                  <a:lnTo>
                    <a:pt x="315" y="916"/>
                  </a:lnTo>
                  <a:lnTo>
                    <a:pt x="313" y="916"/>
                  </a:lnTo>
                  <a:lnTo>
                    <a:pt x="313" y="916"/>
                  </a:lnTo>
                  <a:lnTo>
                    <a:pt x="313" y="914"/>
                  </a:lnTo>
                  <a:lnTo>
                    <a:pt x="315" y="916"/>
                  </a:lnTo>
                  <a:lnTo>
                    <a:pt x="324" y="920"/>
                  </a:lnTo>
                  <a:lnTo>
                    <a:pt x="332" y="924"/>
                  </a:lnTo>
                  <a:lnTo>
                    <a:pt x="336" y="926"/>
                  </a:lnTo>
                  <a:lnTo>
                    <a:pt x="338" y="928"/>
                  </a:lnTo>
                  <a:lnTo>
                    <a:pt x="340" y="930"/>
                  </a:lnTo>
                  <a:lnTo>
                    <a:pt x="342" y="930"/>
                  </a:lnTo>
                  <a:lnTo>
                    <a:pt x="344" y="928"/>
                  </a:lnTo>
                  <a:lnTo>
                    <a:pt x="356" y="930"/>
                  </a:lnTo>
                  <a:lnTo>
                    <a:pt x="359" y="930"/>
                  </a:lnTo>
                  <a:lnTo>
                    <a:pt x="359" y="930"/>
                  </a:lnTo>
                  <a:lnTo>
                    <a:pt x="359" y="930"/>
                  </a:lnTo>
                  <a:lnTo>
                    <a:pt x="361" y="930"/>
                  </a:lnTo>
                  <a:lnTo>
                    <a:pt x="363" y="930"/>
                  </a:lnTo>
                  <a:lnTo>
                    <a:pt x="365" y="930"/>
                  </a:lnTo>
                  <a:lnTo>
                    <a:pt x="367" y="932"/>
                  </a:lnTo>
                  <a:lnTo>
                    <a:pt x="369" y="936"/>
                  </a:lnTo>
                  <a:lnTo>
                    <a:pt x="371" y="942"/>
                  </a:lnTo>
                  <a:lnTo>
                    <a:pt x="373" y="947"/>
                  </a:lnTo>
                  <a:lnTo>
                    <a:pt x="373" y="951"/>
                  </a:lnTo>
                  <a:lnTo>
                    <a:pt x="375" y="953"/>
                  </a:lnTo>
                  <a:lnTo>
                    <a:pt x="373" y="955"/>
                  </a:lnTo>
                  <a:lnTo>
                    <a:pt x="373" y="959"/>
                  </a:lnTo>
                  <a:lnTo>
                    <a:pt x="373" y="959"/>
                  </a:lnTo>
                  <a:lnTo>
                    <a:pt x="371" y="961"/>
                  </a:lnTo>
                  <a:lnTo>
                    <a:pt x="371" y="963"/>
                  </a:lnTo>
                  <a:lnTo>
                    <a:pt x="371" y="965"/>
                  </a:lnTo>
                  <a:lnTo>
                    <a:pt x="373" y="965"/>
                  </a:lnTo>
                  <a:lnTo>
                    <a:pt x="373" y="967"/>
                  </a:lnTo>
                  <a:lnTo>
                    <a:pt x="373" y="967"/>
                  </a:lnTo>
                  <a:lnTo>
                    <a:pt x="375" y="967"/>
                  </a:lnTo>
                  <a:lnTo>
                    <a:pt x="375" y="965"/>
                  </a:lnTo>
                  <a:lnTo>
                    <a:pt x="377" y="967"/>
                  </a:lnTo>
                  <a:lnTo>
                    <a:pt x="377" y="969"/>
                  </a:lnTo>
                  <a:lnTo>
                    <a:pt x="377" y="969"/>
                  </a:lnTo>
                  <a:lnTo>
                    <a:pt x="379" y="969"/>
                  </a:lnTo>
                  <a:lnTo>
                    <a:pt x="379" y="971"/>
                  </a:lnTo>
                  <a:lnTo>
                    <a:pt x="381" y="971"/>
                  </a:lnTo>
                  <a:lnTo>
                    <a:pt x="381" y="971"/>
                  </a:lnTo>
                  <a:lnTo>
                    <a:pt x="383" y="969"/>
                  </a:lnTo>
                  <a:lnTo>
                    <a:pt x="383" y="969"/>
                  </a:lnTo>
                  <a:lnTo>
                    <a:pt x="383" y="969"/>
                  </a:lnTo>
                  <a:lnTo>
                    <a:pt x="383" y="965"/>
                  </a:lnTo>
                  <a:lnTo>
                    <a:pt x="385" y="965"/>
                  </a:lnTo>
                  <a:lnTo>
                    <a:pt x="385" y="965"/>
                  </a:lnTo>
                  <a:lnTo>
                    <a:pt x="387" y="965"/>
                  </a:lnTo>
                  <a:lnTo>
                    <a:pt x="387" y="965"/>
                  </a:lnTo>
                  <a:lnTo>
                    <a:pt x="387" y="965"/>
                  </a:lnTo>
                  <a:lnTo>
                    <a:pt x="389" y="965"/>
                  </a:lnTo>
                  <a:lnTo>
                    <a:pt x="391" y="967"/>
                  </a:lnTo>
                  <a:lnTo>
                    <a:pt x="393" y="967"/>
                  </a:lnTo>
                  <a:lnTo>
                    <a:pt x="395" y="967"/>
                  </a:lnTo>
                  <a:lnTo>
                    <a:pt x="397" y="967"/>
                  </a:lnTo>
                  <a:lnTo>
                    <a:pt x="408" y="981"/>
                  </a:lnTo>
                  <a:lnTo>
                    <a:pt x="410" y="985"/>
                  </a:lnTo>
                  <a:lnTo>
                    <a:pt x="420" y="992"/>
                  </a:lnTo>
                  <a:lnTo>
                    <a:pt x="424" y="996"/>
                  </a:lnTo>
                  <a:lnTo>
                    <a:pt x="426" y="1002"/>
                  </a:lnTo>
                  <a:lnTo>
                    <a:pt x="428" y="1002"/>
                  </a:lnTo>
                  <a:lnTo>
                    <a:pt x="432" y="1006"/>
                  </a:lnTo>
                  <a:lnTo>
                    <a:pt x="432" y="1008"/>
                  </a:lnTo>
                  <a:lnTo>
                    <a:pt x="436" y="1014"/>
                  </a:lnTo>
                  <a:lnTo>
                    <a:pt x="445" y="1020"/>
                  </a:lnTo>
                  <a:lnTo>
                    <a:pt x="455" y="1041"/>
                  </a:lnTo>
                  <a:lnTo>
                    <a:pt x="457" y="1051"/>
                  </a:lnTo>
                  <a:lnTo>
                    <a:pt x="459" y="1057"/>
                  </a:lnTo>
                  <a:lnTo>
                    <a:pt x="459" y="1059"/>
                  </a:lnTo>
                  <a:lnTo>
                    <a:pt x="459" y="1061"/>
                  </a:lnTo>
                  <a:lnTo>
                    <a:pt x="459" y="1072"/>
                  </a:lnTo>
                  <a:lnTo>
                    <a:pt x="459" y="1074"/>
                  </a:lnTo>
                  <a:lnTo>
                    <a:pt x="459" y="1076"/>
                  </a:lnTo>
                  <a:lnTo>
                    <a:pt x="457" y="1076"/>
                  </a:lnTo>
                  <a:lnTo>
                    <a:pt x="457" y="1078"/>
                  </a:lnTo>
                  <a:lnTo>
                    <a:pt x="455" y="1080"/>
                  </a:lnTo>
                  <a:lnTo>
                    <a:pt x="457" y="1084"/>
                  </a:lnTo>
                  <a:lnTo>
                    <a:pt x="457" y="1086"/>
                  </a:lnTo>
                  <a:lnTo>
                    <a:pt x="457" y="1088"/>
                  </a:lnTo>
                  <a:lnTo>
                    <a:pt x="455" y="1092"/>
                  </a:lnTo>
                  <a:lnTo>
                    <a:pt x="455" y="1092"/>
                  </a:lnTo>
                  <a:lnTo>
                    <a:pt x="457" y="1094"/>
                  </a:lnTo>
                  <a:lnTo>
                    <a:pt x="457" y="1096"/>
                  </a:lnTo>
                  <a:lnTo>
                    <a:pt x="457" y="1096"/>
                  </a:lnTo>
                  <a:lnTo>
                    <a:pt x="459" y="1092"/>
                  </a:lnTo>
                  <a:lnTo>
                    <a:pt x="459" y="1092"/>
                  </a:lnTo>
                  <a:lnTo>
                    <a:pt x="461" y="1090"/>
                  </a:lnTo>
                  <a:lnTo>
                    <a:pt x="461" y="1090"/>
                  </a:lnTo>
                  <a:lnTo>
                    <a:pt x="463" y="1092"/>
                  </a:lnTo>
                  <a:lnTo>
                    <a:pt x="463" y="1092"/>
                  </a:lnTo>
                  <a:lnTo>
                    <a:pt x="465" y="1094"/>
                  </a:lnTo>
                  <a:lnTo>
                    <a:pt x="467" y="1094"/>
                  </a:lnTo>
                  <a:lnTo>
                    <a:pt x="467" y="1098"/>
                  </a:lnTo>
                  <a:lnTo>
                    <a:pt x="469" y="1100"/>
                  </a:lnTo>
                  <a:lnTo>
                    <a:pt x="469" y="1102"/>
                  </a:lnTo>
                  <a:lnTo>
                    <a:pt x="467" y="1102"/>
                  </a:lnTo>
                  <a:lnTo>
                    <a:pt x="467" y="1102"/>
                  </a:lnTo>
                  <a:lnTo>
                    <a:pt x="467" y="1100"/>
                  </a:lnTo>
                  <a:lnTo>
                    <a:pt x="465" y="1098"/>
                  </a:lnTo>
                  <a:lnTo>
                    <a:pt x="465" y="1096"/>
                  </a:lnTo>
                  <a:lnTo>
                    <a:pt x="463" y="1094"/>
                  </a:lnTo>
                  <a:lnTo>
                    <a:pt x="463" y="1094"/>
                  </a:lnTo>
                  <a:lnTo>
                    <a:pt x="463" y="1092"/>
                  </a:lnTo>
                  <a:lnTo>
                    <a:pt x="461" y="1092"/>
                  </a:lnTo>
                  <a:lnTo>
                    <a:pt x="459" y="1094"/>
                  </a:lnTo>
                  <a:lnTo>
                    <a:pt x="459" y="1094"/>
                  </a:lnTo>
                  <a:lnTo>
                    <a:pt x="461" y="1094"/>
                  </a:lnTo>
                  <a:lnTo>
                    <a:pt x="463" y="1096"/>
                  </a:lnTo>
                  <a:lnTo>
                    <a:pt x="465" y="1100"/>
                  </a:lnTo>
                  <a:lnTo>
                    <a:pt x="465" y="1102"/>
                  </a:lnTo>
                  <a:lnTo>
                    <a:pt x="465" y="1106"/>
                  </a:lnTo>
                  <a:lnTo>
                    <a:pt x="465" y="1108"/>
                  </a:lnTo>
                  <a:lnTo>
                    <a:pt x="465" y="1110"/>
                  </a:lnTo>
                  <a:lnTo>
                    <a:pt x="465" y="1113"/>
                  </a:lnTo>
                  <a:lnTo>
                    <a:pt x="465" y="1113"/>
                  </a:lnTo>
                  <a:lnTo>
                    <a:pt x="471" y="1113"/>
                  </a:lnTo>
                  <a:lnTo>
                    <a:pt x="479" y="1113"/>
                  </a:lnTo>
                  <a:lnTo>
                    <a:pt x="485" y="1113"/>
                  </a:lnTo>
                  <a:lnTo>
                    <a:pt x="492" y="1115"/>
                  </a:lnTo>
                  <a:lnTo>
                    <a:pt x="498" y="1115"/>
                  </a:lnTo>
                  <a:lnTo>
                    <a:pt x="506" y="1115"/>
                  </a:lnTo>
                  <a:lnTo>
                    <a:pt x="512" y="1115"/>
                  </a:lnTo>
                  <a:lnTo>
                    <a:pt x="518" y="1115"/>
                  </a:lnTo>
                  <a:lnTo>
                    <a:pt x="526" y="1117"/>
                  </a:lnTo>
                  <a:lnTo>
                    <a:pt x="533" y="1117"/>
                  </a:lnTo>
                  <a:lnTo>
                    <a:pt x="539" y="1117"/>
                  </a:lnTo>
                  <a:lnTo>
                    <a:pt x="545" y="1117"/>
                  </a:lnTo>
                  <a:lnTo>
                    <a:pt x="553" y="1117"/>
                  </a:lnTo>
                  <a:lnTo>
                    <a:pt x="559" y="1117"/>
                  </a:lnTo>
                  <a:lnTo>
                    <a:pt x="565" y="1119"/>
                  </a:lnTo>
                  <a:lnTo>
                    <a:pt x="580" y="1119"/>
                  </a:lnTo>
                  <a:lnTo>
                    <a:pt x="586" y="1119"/>
                  </a:lnTo>
                  <a:lnTo>
                    <a:pt x="592" y="1119"/>
                  </a:lnTo>
                  <a:lnTo>
                    <a:pt x="600" y="1121"/>
                  </a:lnTo>
                  <a:lnTo>
                    <a:pt x="606" y="1121"/>
                  </a:lnTo>
                  <a:lnTo>
                    <a:pt x="612" y="1121"/>
                  </a:lnTo>
                  <a:lnTo>
                    <a:pt x="619" y="1121"/>
                  </a:lnTo>
                  <a:lnTo>
                    <a:pt x="627" y="1121"/>
                  </a:lnTo>
                  <a:lnTo>
                    <a:pt x="633" y="1121"/>
                  </a:lnTo>
                  <a:lnTo>
                    <a:pt x="639" y="1123"/>
                  </a:lnTo>
                  <a:lnTo>
                    <a:pt x="647" y="1123"/>
                  </a:lnTo>
                  <a:lnTo>
                    <a:pt x="653" y="1123"/>
                  </a:lnTo>
                  <a:lnTo>
                    <a:pt x="660" y="1123"/>
                  </a:lnTo>
                  <a:lnTo>
                    <a:pt x="666" y="1123"/>
                  </a:lnTo>
                  <a:lnTo>
                    <a:pt x="674" y="1123"/>
                  </a:lnTo>
                  <a:lnTo>
                    <a:pt x="680" y="1123"/>
                  </a:lnTo>
                  <a:lnTo>
                    <a:pt x="684" y="1123"/>
                  </a:lnTo>
                  <a:lnTo>
                    <a:pt x="684" y="1125"/>
                  </a:lnTo>
                  <a:lnTo>
                    <a:pt x="684" y="1123"/>
                  </a:lnTo>
                  <a:lnTo>
                    <a:pt x="688" y="1121"/>
                  </a:lnTo>
                  <a:lnTo>
                    <a:pt x="696" y="1123"/>
                  </a:lnTo>
                  <a:lnTo>
                    <a:pt x="701" y="1123"/>
                  </a:lnTo>
                  <a:lnTo>
                    <a:pt x="703" y="1123"/>
                  </a:lnTo>
                  <a:lnTo>
                    <a:pt x="703" y="1121"/>
                  </a:lnTo>
                  <a:lnTo>
                    <a:pt x="703" y="1119"/>
                  </a:lnTo>
                  <a:lnTo>
                    <a:pt x="703" y="1117"/>
                  </a:lnTo>
                  <a:lnTo>
                    <a:pt x="705" y="1115"/>
                  </a:lnTo>
                  <a:lnTo>
                    <a:pt x="709" y="1113"/>
                  </a:lnTo>
                  <a:lnTo>
                    <a:pt x="709" y="1113"/>
                  </a:lnTo>
                  <a:lnTo>
                    <a:pt x="711" y="1110"/>
                  </a:lnTo>
                  <a:lnTo>
                    <a:pt x="709" y="1102"/>
                  </a:lnTo>
                  <a:lnTo>
                    <a:pt x="709" y="1100"/>
                  </a:lnTo>
                  <a:lnTo>
                    <a:pt x="711" y="1100"/>
                  </a:lnTo>
                  <a:lnTo>
                    <a:pt x="711" y="1098"/>
                  </a:lnTo>
                  <a:lnTo>
                    <a:pt x="711" y="1098"/>
                  </a:lnTo>
                  <a:lnTo>
                    <a:pt x="709" y="1094"/>
                  </a:lnTo>
                  <a:lnTo>
                    <a:pt x="705" y="1092"/>
                  </a:lnTo>
                  <a:lnTo>
                    <a:pt x="696" y="1090"/>
                  </a:lnTo>
                  <a:lnTo>
                    <a:pt x="694" y="1088"/>
                  </a:lnTo>
                  <a:lnTo>
                    <a:pt x="692" y="1084"/>
                  </a:lnTo>
                  <a:lnTo>
                    <a:pt x="692" y="1080"/>
                  </a:lnTo>
                  <a:lnTo>
                    <a:pt x="694" y="1076"/>
                  </a:lnTo>
                  <a:lnTo>
                    <a:pt x="694" y="1072"/>
                  </a:lnTo>
                  <a:lnTo>
                    <a:pt x="694" y="1065"/>
                  </a:lnTo>
                  <a:lnTo>
                    <a:pt x="694" y="1063"/>
                  </a:lnTo>
                  <a:lnTo>
                    <a:pt x="692" y="1061"/>
                  </a:lnTo>
                  <a:lnTo>
                    <a:pt x="692" y="1059"/>
                  </a:lnTo>
                  <a:lnTo>
                    <a:pt x="694" y="1055"/>
                  </a:lnTo>
                  <a:lnTo>
                    <a:pt x="694" y="1055"/>
                  </a:lnTo>
                  <a:lnTo>
                    <a:pt x="694" y="1053"/>
                  </a:lnTo>
                  <a:lnTo>
                    <a:pt x="694" y="1053"/>
                  </a:lnTo>
                  <a:lnTo>
                    <a:pt x="694" y="1051"/>
                  </a:lnTo>
                  <a:lnTo>
                    <a:pt x="694" y="1051"/>
                  </a:lnTo>
                  <a:lnTo>
                    <a:pt x="692" y="1049"/>
                  </a:lnTo>
                  <a:lnTo>
                    <a:pt x="694" y="1049"/>
                  </a:lnTo>
                  <a:lnTo>
                    <a:pt x="698" y="1049"/>
                  </a:lnTo>
                  <a:lnTo>
                    <a:pt x="701" y="1049"/>
                  </a:lnTo>
                  <a:lnTo>
                    <a:pt x="703" y="1047"/>
                  </a:lnTo>
                  <a:lnTo>
                    <a:pt x="707" y="1041"/>
                  </a:lnTo>
                  <a:lnTo>
                    <a:pt x="709" y="1039"/>
                  </a:lnTo>
                  <a:lnTo>
                    <a:pt x="709" y="1039"/>
                  </a:lnTo>
                  <a:lnTo>
                    <a:pt x="711" y="1037"/>
                  </a:lnTo>
                  <a:lnTo>
                    <a:pt x="713" y="1035"/>
                  </a:lnTo>
                  <a:lnTo>
                    <a:pt x="713" y="1035"/>
                  </a:lnTo>
                  <a:lnTo>
                    <a:pt x="713" y="1033"/>
                  </a:lnTo>
                  <a:lnTo>
                    <a:pt x="713" y="1031"/>
                  </a:lnTo>
                  <a:lnTo>
                    <a:pt x="713" y="1028"/>
                  </a:lnTo>
                  <a:lnTo>
                    <a:pt x="715" y="1028"/>
                  </a:lnTo>
                  <a:lnTo>
                    <a:pt x="715" y="1028"/>
                  </a:lnTo>
                  <a:lnTo>
                    <a:pt x="715" y="1026"/>
                  </a:lnTo>
                  <a:lnTo>
                    <a:pt x="715" y="1024"/>
                  </a:lnTo>
                  <a:lnTo>
                    <a:pt x="715" y="1022"/>
                  </a:lnTo>
                  <a:lnTo>
                    <a:pt x="717" y="1020"/>
                  </a:lnTo>
                  <a:lnTo>
                    <a:pt x="719" y="1020"/>
                  </a:lnTo>
                  <a:lnTo>
                    <a:pt x="719" y="1018"/>
                  </a:lnTo>
                  <a:lnTo>
                    <a:pt x="719" y="1016"/>
                  </a:lnTo>
                  <a:lnTo>
                    <a:pt x="719" y="1014"/>
                  </a:lnTo>
                  <a:lnTo>
                    <a:pt x="719" y="1014"/>
                  </a:lnTo>
                  <a:lnTo>
                    <a:pt x="719" y="1014"/>
                  </a:lnTo>
                  <a:lnTo>
                    <a:pt x="719" y="1012"/>
                  </a:lnTo>
                  <a:lnTo>
                    <a:pt x="719" y="1012"/>
                  </a:lnTo>
                  <a:lnTo>
                    <a:pt x="719" y="1010"/>
                  </a:lnTo>
                  <a:lnTo>
                    <a:pt x="719" y="1010"/>
                  </a:lnTo>
                  <a:lnTo>
                    <a:pt x="719" y="1006"/>
                  </a:lnTo>
                  <a:lnTo>
                    <a:pt x="719" y="1004"/>
                  </a:lnTo>
                  <a:lnTo>
                    <a:pt x="719" y="1002"/>
                  </a:lnTo>
                  <a:lnTo>
                    <a:pt x="721" y="1002"/>
                  </a:lnTo>
                  <a:lnTo>
                    <a:pt x="721" y="1000"/>
                  </a:lnTo>
                  <a:lnTo>
                    <a:pt x="721" y="1000"/>
                  </a:lnTo>
                  <a:lnTo>
                    <a:pt x="719" y="998"/>
                  </a:lnTo>
                  <a:lnTo>
                    <a:pt x="719" y="996"/>
                  </a:lnTo>
                  <a:lnTo>
                    <a:pt x="719" y="996"/>
                  </a:lnTo>
                  <a:lnTo>
                    <a:pt x="719" y="992"/>
                  </a:lnTo>
                  <a:lnTo>
                    <a:pt x="721" y="992"/>
                  </a:lnTo>
                  <a:lnTo>
                    <a:pt x="725" y="990"/>
                  </a:lnTo>
                  <a:lnTo>
                    <a:pt x="727" y="988"/>
                  </a:lnTo>
                  <a:lnTo>
                    <a:pt x="729" y="988"/>
                  </a:lnTo>
                  <a:lnTo>
                    <a:pt x="729" y="985"/>
                  </a:lnTo>
                  <a:lnTo>
                    <a:pt x="731" y="979"/>
                  </a:lnTo>
                  <a:lnTo>
                    <a:pt x="733" y="977"/>
                  </a:lnTo>
                  <a:lnTo>
                    <a:pt x="733" y="977"/>
                  </a:lnTo>
                  <a:lnTo>
                    <a:pt x="737" y="977"/>
                  </a:lnTo>
                  <a:lnTo>
                    <a:pt x="748" y="971"/>
                  </a:lnTo>
                  <a:lnTo>
                    <a:pt x="750" y="971"/>
                  </a:lnTo>
                  <a:lnTo>
                    <a:pt x="752" y="967"/>
                  </a:lnTo>
                  <a:lnTo>
                    <a:pt x="756" y="965"/>
                  </a:lnTo>
                  <a:lnTo>
                    <a:pt x="758" y="963"/>
                  </a:lnTo>
                  <a:lnTo>
                    <a:pt x="760" y="961"/>
                  </a:lnTo>
                  <a:lnTo>
                    <a:pt x="760" y="959"/>
                  </a:lnTo>
                  <a:close/>
                  <a:moveTo>
                    <a:pt x="53" y="471"/>
                  </a:moveTo>
                  <a:lnTo>
                    <a:pt x="53" y="471"/>
                  </a:lnTo>
                  <a:lnTo>
                    <a:pt x="53" y="471"/>
                  </a:lnTo>
                  <a:lnTo>
                    <a:pt x="53" y="471"/>
                  </a:lnTo>
                  <a:lnTo>
                    <a:pt x="53" y="471"/>
                  </a:lnTo>
                  <a:lnTo>
                    <a:pt x="53" y="471"/>
                  </a:lnTo>
                  <a:lnTo>
                    <a:pt x="53" y="471"/>
                  </a:lnTo>
                  <a:lnTo>
                    <a:pt x="53" y="471"/>
                  </a:lnTo>
                  <a:lnTo>
                    <a:pt x="53" y="471"/>
                  </a:lnTo>
                  <a:lnTo>
                    <a:pt x="53" y="471"/>
                  </a:lnTo>
                  <a:close/>
                  <a:moveTo>
                    <a:pt x="105" y="463"/>
                  </a:moveTo>
                  <a:lnTo>
                    <a:pt x="105" y="463"/>
                  </a:lnTo>
                  <a:lnTo>
                    <a:pt x="105" y="463"/>
                  </a:lnTo>
                  <a:lnTo>
                    <a:pt x="105" y="463"/>
                  </a:lnTo>
                  <a:lnTo>
                    <a:pt x="102" y="463"/>
                  </a:lnTo>
                  <a:lnTo>
                    <a:pt x="102" y="463"/>
                  </a:lnTo>
                  <a:lnTo>
                    <a:pt x="102" y="463"/>
                  </a:lnTo>
                  <a:lnTo>
                    <a:pt x="105" y="465"/>
                  </a:lnTo>
                  <a:lnTo>
                    <a:pt x="105" y="465"/>
                  </a:lnTo>
                  <a:lnTo>
                    <a:pt x="105" y="463"/>
                  </a:lnTo>
                  <a:lnTo>
                    <a:pt x="105" y="463"/>
                  </a:lnTo>
                  <a:lnTo>
                    <a:pt x="105" y="463"/>
                  </a:lnTo>
                  <a:lnTo>
                    <a:pt x="105" y="463"/>
                  </a:lnTo>
                  <a:close/>
                  <a:moveTo>
                    <a:pt x="109" y="467"/>
                  </a:moveTo>
                  <a:lnTo>
                    <a:pt x="109" y="469"/>
                  </a:lnTo>
                  <a:lnTo>
                    <a:pt x="109" y="469"/>
                  </a:lnTo>
                  <a:lnTo>
                    <a:pt x="109" y="471"/>
                  </a:lnTo>
                  <a:lnTo>
                    <a:pt x="109" y="469"/>
                  </a:lnTo>
                  <a:lnTo>
                    <a:pt x="109" y="469"/>
                  </a:lnTo>
                  <a:lnTo>
                    <a:pt x="109" y="469"/>
                  </a:lnTo>
                  <a:lnTo>
                    <a:pt x="109" y="469"/>
                  </a:lnTo>
                  <a:lnTo>
                    <a:pt x="109" y="467"/>
                  </a:lnTo>
                  <a:lnTo>
                    <a:pt x="109" y="467"/>
                  </a:lnTo>
                  <a:lnTo>
                    <a:pt x="109" y="467"/>
                  </a:lnTo>
                  <a:lnTo>
                    <a:pt x="109" y="467"/>
                  </a:lnTo>
                  <a:close/>
                  <a:moveTo>
                    <a:pt x="289" y="920"/>
                  </a:moveTo>
                  <a:lnTo>
                    <a:pt x="287" y="920"/>
                  </a:lnTo>
                  <a:lnTo>
                    <a:pt x="287" y="920"/>
                  </a:lnTo>
                  <a:lnTo>
                    <a:pt x="285" y="920"/>
                  </a:lnTo>
                  <a:lnTo>
                    <a:pt x="285" y="920"/>
                  </a:lnTo>
                  <a:lnTo>
                    <a:pt x="285" y="920"/>
                  </a:lnTo>
                  <a:lnTo>
                    <a:pt x="285" y="920"/>
                  </a:lnTo>
                  <a:lnTo>
                    <a:pt x="287" y="920"/>
                  </a:lnTo>
                  <a:lnTo>
                    <a:pt x="287" y="920"/>
                  </a:lnTo>
                  <a:lnTo>
                    <a:pt x="289" y="922"/>
                  </a:lnTo>
                  <a:lnTo>
                    <a:pt x="289" y="922"/>
                  </a:lnTo>
                  <a:lnTo>
                    <a:pt x="289" y="920"/>
                  </a:lnTo>
                  <a:lnTo>
                    <a:pt x="289" y="920"/>
                  </a:lnTo>
                  <a:close/>
                  <a:moveTo>
                    <a:pt x="311" y="981"/>
                  </a:moveTo>
                  <a:lnTo>
                    <a:pt x="311" y="981"/>
                  </a:lnTo>
                  <a:lnTo>
                    <a:pt x="309" y="981"/>
                  </a:lnTo>
                  <a:lnTo>
                    <a:pt x="309" y="981"/>
                  </a:lnTo>
                  <a:lnTo>
                    <a:pt x="309" y="983"/>
                  </a:lnTo>
                  <a:lnTo>
                    <a:pt x="309" y="983"/>
                  </a:lnTo>
                  <a:lnTo>
                    <a:pt x="309" y="983"/>
                  </a:lnTo>
                  <a:lnTo>
                    <a:pt x="309" y="983"/>
                  </a:lnTo>
                  <a:lnTo>
                    <a:pt x="309" y="983"/>
                  </a:lnTo>
                  <a:lnTo>
                    <a:pt x="311" y="983"/>
                  </a:lnTo>
                  <a:lnTo>
                    <a:pt x="311" y="981"/>
                  </a:lnTo>
                  <a:lnTo>
                    <a:pt x="311" y="981"/>
                  </a:lnTo>
                  <a:lnTo>
                    <a:pt x="311" y="981"/>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288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CA</a:t>
              </a:r>
            </a:p>
          </p:txBody>
        </p:sp>
        <p:sp>
          <p:nvSpPr>
            <p:cNvPr id="132" name="Freeform 52">
              <a:extLst>
                <a:ext uri="{FF2B5EF4-FFF2-40B4-BE49-F238E27FC236}">
                  <a16:creationId xmlns:a16="http://schemas.microsoft.com/office/drawing/2014/main" id="{E4FC8D5A-BB3C-527A-9C04-91FD3E892543}"/>
                </a:ext>
              </a:extLst>
            </p:cNvPr>
            <p:cNvSpPr>
              <a:spLocks/>
            </p:cNvSpPr>
            <p:nvPr/>
          </p:nvSpPr>
          <p:spPr bwMode="auto">
            <a:xfrm>
              <a:off x="1380" y="1367"/>
              <a:ext cx="563" cy="654"/>
            </a:xfrm>
            <a:custGeom>
              <a:avLst/>
              <a:gdLst>
                <a:gd name="T0" fmla="*/ 545 w 563"/>
                <a:gd name="T1" fmla="*/ 254 h 654"/>
                <a:gd name="T2" fmla="*/ 534 w 563"/>
                <a:gd name="T3" fmla="*/ 387 h 654"/>
                <a:gd name="T4" fmla="*/ 524 w 563"/>
                <a:gd name="T5" fmla="*/ 520 h 654"/>
                <a:gd name="T6" fmla="*/ 512 w 563"/>
                <a:gd name="T7" fmla="*/ 654 h 654"/>
                <a:gd name="T8" fmla="*/ 512 w 563"/>
                <a:gd name="T9" fmla="*/ 654 h 654"/>
                <a:gd name="T10" fmla="*/ 512 w 563"/>
                <a:gd name="T11" fmla="*/ 654 h 654"/>
                <a:gd name="T12" fmla="*/ 512 w 563"/>
                <a:gd name="T13" fmla="*/ 654 h 654"/>
                <a:gd name="T14" fmla="*/ 512 w 563"/>
                <a:gd name="T15" fmla="*/ 654 h 654"/>
                <a:gd name="T16" fmla="*/ 502 w 563"/>
                <a:gd name="T17" fmla="*/ 654 h 654"/>
                <a:gd name="T18" fmla="*/ 475 w 563"/>
                <a:gd name="T19" fmla="*/ 652 h 654"/>
                <a:gd name="T20" fmla="*/ 448 w 563"/>
                <a:gd name="T21" fmla="*/ 650 h 654"/>
                <a:gd name="T22" fmla="*/ 420 w 563"/>
                <a:gd name="T23" fmla="*/ 645 h 654"/>
                <a:gd name="T24" fmla="*/ 393 w 563"/>
                <a:gd name="T25" fmla="*/ 643 h 654"/>
                <a:gd name="T26" fmla="*/ 364 w 563"/>
                <a:gd name="T27" fmla="*/ 641 h 654"/>
                <a:gd name="T28" fmla="*/ 338 w 563"/>
                <a:gd name="T29" fmla="*/ 639 h 654"/>
                <a:gd name="T30" fmla="*/ 307 w 563"/>
                <a:gd name="T31" fmla="*/ 627 h 654"/>
                <a:gd name="T32" fmla="*/ 180 w 563"/>
                <a:gd name="T33" fmla="*/ 564 h 654"/>
                <a:gd name="T34" fmla="*/ 0 w 563"/>
                <a:gd name="T35" fmla="*/ 471 h 654"/>
                <a:gd name="T36" fmla="*/ 4 w 563"/>
                <a:gd name="T37" fmla="*/ 459 h 654"/>
                <a:gd name="T38" fmla="*/ 10 w 563"/>
                <a:gd name="T39" fmla="*/ 453 h 654"/>
                <a:gd name="T40" fmla="*/ 31 w 563"/>
                <a:gd name="T41" fmla="*/ 447 h 654"/>
                <a:gd name="T42" fmla="*/ 37 w 563"/>
                <a:gd name="T43" fmla="*/ 428 h 654"/>
                <a:gd name="T44" fmla="*/ 24 w 563"/>
                <a:gd name="T45" fmla="*/ 416 h 654"/>
                <a:gd name="T46" fmla="*/ 22 w 563"/>
                <a:gd name="T47" fmla="*/ 389 h 654"/>
                <a:gd name="T48" fmla="*/ 22 w 563"/>
                <a:gd name="T49" fmla="*/ 377 h 654"/>
                <a:gd name="T50" fmla="*/ 35 w 563"/>
                <a:gd name="T51" fmla="*/ 367 h 654"/>
                <a:gd name="T52" fmla="*/ 41 w 563"/>
                <a:gd name="T53" fmla="*/ 357 h 654"/>
                <a:gd name="T54" fmla="*/ 45 w 563"/>
                <a:gd name="T55" fmla="*/ 346 h 654"/>
                <a:gd name="T56" fmla="*/ 47 w 563"/>
                <a:gd name="T57" fmla="*/ 338 h 654"/>
                <a:gd name="T58" fmla="*/ 49 w 563"/>
                <a:gd name="T59" fmla="*/ 328 h 654"/>
                <a:gd name="T60" fmla="*/ 49 w 563"/>
                <a:gd name="T61" fmla="*/ 318 h 654"/>
                <a:gd name="T62" fmla="*/ 61 w 563"/>
                <a:gd name="T63" fmla="*/ 303 h 654"/>
                <a:gd name="T64" fmla="*/ 88 w 563"/>
                <a:gd name="T65" fmla="*/ 287 h 654"/>
                <a:gd name="T66" fmla="*/ 76 w 563"/>
                <a:gd name="T67" fmla="*/ 273 h 654"/>
                <a:gd name="T68" fmla="*/ 72 w 563"/>
                <a:gd name="T69" fmla="*/ 266 h 654"/>
                <a:gd name="T70" fmla="*/ 67 w 563"/>
                <a:gd name="T71" fmla="*/ 262 h 654"/>
                <a:gd name="T72" fmla="*/ 67 w 563"/>
                <a:gd name="T73" fmla="*/ 254 h 654"/>
                <a:gd name="T74" fmla="*/ 65 w 563"/>
                <a:gd name="T75" fmla="*/ 246 h 654"/>
                <a:gd name="T76" fmla="*/ 55 w 563"/>
                <a:gd name="T77" fmla="*/ 223 h 654"/>
                <a:gd name="T78" fmla="*/ 53 w 563"/>
                <a:gd name="T79" fmla="*/ 205 h 654"/>
                <a:gd name="T80" fmla="*/ 53 w 563"/>
                <a:gd name="T81" fmla="*/ 191 h 654"/>
                <a:gd name="T82" fmla="*/ 61 w 563"/>
                <a:gd name="T83" fmla="*/ 184 h 654"/>
                <a:gd name="T84" fmla="*/ 57 w 563"/>
                <a:gd name="T85" fmla="*/ 156 h 654"/>
                <a:gd name="T86" fmla="*/ 57 w 563"/>
                <a:gd name="T87" fmla="*/ 127 h 654"/>
                <a:gd name="T88" fmla="*/ 61 w 563"/>
                <a:gd name="T89" fmla="*/ 111 h 654"/>
                <a:gd name="T90" fmla="*/ 59 w 563"/>
                <a:gd name="T91" fmla="*/ 92 h 654"/>
                <a:gd name="T92" fmla="*/ 61 w 563"/>
                <a:gd name="T93" fmla="*/ 86 h 654"/>
                <a:gd name="T94" fmla="*/ 82 w 563"/>
                <a:gd name="T95" fmla="*/ 86 h 654"/>
                <a:gd name="T96" fmla="*/ 86 w 563"/>
                <a:gd name="T97" fmla="*/ 88 h 654"/>
                <a:gd name="T98" fmla="*/ 92 w 563"/>
                <a:gd name="T99" fmla="*/ 86 h 654"/>
                <a:gd name="T100" fmla="*/ 96 w 563"/>
                <a:gd name="T101" fmla="*/ 96 h 654"/>
                <a:gd name="T102" fmla="*/ 110 w 563"/>
                <a:gd name="T103" fmla="*/ 100 h 654"/>
                <a:gd name="T104" fmla="*/ 121 w 563"/>
                <a:gd name="T105" fmla="*/ 82 h 654"/>
                <a:gd name="T106" fmla="*/ 125 w 563"/>
                <a:gd name="T107" fmla="*/ 53 h 654"/>
                <a:gd name="T108" fmla="*/ 131 w 563"/>
                <a:gd name="T109" fmla="*/ 6 h 654"/>
                <a:gd name="T110" fmla="*/ 186 w 563"/>
                <a:gd name="T111" fmla="*/ 6 h 654"/>
                <a:gd name="T112" fmla="*/ 280 w 563"/>
                <a:gd name="T113" fmla="*/ 16 h 654"/>
                <a:gd name="T114" fmla="*/ 373 w 563"/>
                <a:gd name="T115" fmla="*/ 27 h 654"/>
                <a:gd name="T116" fmla="*/ 469 w 563"/>
                <a:gd name="T117" fmla="*/ 37 h 654"/>
                <a:gd name="T118" fmla="*/ 563 w 563"/>
                <a:gd name="T119" fmla="*/ 45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3" h="654">
                  <a:moveTo>
                    <a:pt x="555" y="139"/>
                  </a:moveTo>
                  <a:lnTo>
                    <a:pt x="553" y="158"/>
                  </a:lnTo>
                  <a:lnTo>
                    <a:pt x="551" y="178"/>
                  </a:lnTo>
                  <a:lnTo>
                    <a:pt x="551" y="197"/>
                  </a:lnTo>
                  <a:lnTo>
                    <a:pt x="549" y="215"/>
                  </a:lnTo>
                  <a:lnTo>
                    <a:pt x="547" y="236"/>
                  </a:lnTo>
                  <a:lnTo>
                    <a:pt x="545" y="254"/>
                  </a:lnTo>
                  <a:lnTo>
                    <a:pt x="543" y="273"/>
                  </a:lnTo>
                  <a:lnTo>
                    <a:pt x="543" y="291"/>
                  </a:lnTo>
                  <a:lnTo>
                    <a:pt x="541" y="311"/>
                  </a:lnTo>
                  <a:lnTo>
                    <a:pt x="538" y="330"/>
                  </a:lnTo>
                  <a:lnTo>
                    <a:pt x="536" y="348"/>
                  </a:lnTo>
                  <a:lnTo>
                    <a:pt x="536" y="369"/>
                  </a:lnTo>
                  <a:lnTo>
                    <a:pt x="534" y="387"/>
                  </a:lnTo>
                  <a:lnTo>
                    <a:pt x="532" y="406"/>
                  </a:lnTo>
                  <a:lnTo>
                    <a:pt x="530" y="424"/>
                  </a:lnTo>
                  <a:lnTo>
                    <a:pt x="530" y="445"/>
                  </a:lnTo>
                  <a:lnTo>
                    <a:pt x="528" y="463"/>
                  </a:lnTo>
                  <a:lnTo>
                    <a:pt x="526" y="482"/>
                  </a:lnTo>
                  <a:lnTo>
                    <a:pt x="524" y="502"/>
                  </a:lnTo>
                  <a:lnTo>
                    <a:pt x="524" y="520"/>
                  </a:lnTo>
                  <a:lnTo>
                    <a:pt x="522" y="539"/>
                  </a:lnTo>
                  <a:lnTo>
                    <a:pt x="520" y="557"/>
                  </a:lnTo>
                  <a:lnTo>
                    <a:pt x="518" y="578"/>
                  </a:lnTo>
                  <a:lnTo>
                    <a:pt x="518" y="596"/>
                  </a:lnTo>
                  <a:lnTo>
                    <a:pt x="516" y="615"/>
                  </a:lnTo>
                  <a:lnTo>
                    <a:pt x="514" y="635"/>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0" y="654"/>
                  </a:lnTo>
                  <a:lnTo>
                    <a:pt x="506" y="654"/>
                  </a:lnTo>
                  <a:lnTo>
                    <a:pt x="502" y="654"/>
                  </a:lnTo>
                  <a:lnTo>
                    <a:pt x="498" y="654"/>
                  </a:lnTo>
                  <a:lnTo>
                    <a:pt x="495" y="654"/>
                  </a:lnTo>
                  <a:lnTo>
                    <a:pt x="491" y="652"/>
                  </a:lnTo>
                  <a:lnTo>
                    <a:pt x="487" y="652"/>
                  </a:lnTo>
                  <a:lnTo>
                    <a:pt x="483" y="652"/>
                  </a:lnTo>
                  <a:lnTo>
                    <a:pt x="479" y="652"/>
                  </a:lnTo>
                  <a:lnTo>
                    <a:pt x="475" y="652"/>
                  </a:lnTo>
                  <a:lnTo>
                    <a:pt x="471" y="652"/>
                  </a:lnTo>
                  <a:lnTo>
                    <a:pt x="467" y="650"/>
                  </a:lnTo>
                  <a:lnTo>
                    <a:pt x="463" y="650"/>
                  </a:lnTo>
                  <a:lnTo>
                    <a:pt x="459" y="650"/>
                  </a:lnTo>
                  <a:lnTo>
                    <a:pt x="455" y="650"/>
                  </a:lnTo>
                  <a:lnTo>
                    <a:pt x="450" y="650"/>
                  </a:lnTo>
                  <a:lnTo>
                    <a:pt x="448" y="650"/>
                  </a:lnTo>
                  <a:lnTo>
                    <a:pt x="444" y="648"/>
                  </a:lnTo>
                  <a:lnTo>
                    <a:pt x="440" y="648"/>
                  </a:lnTo>
                  <a:lnTo>
                    <a:pt x="436" y="648"/>
                  </a:lnTo>
                  <a:lnTo>
                    <a:pt x="432" y="648"/>
                  </a:lnTo>
                  <a:lnTo>
                    <a:pt x="428" y="648"/>
                  </a:lnTo>
                  <a:lnTo>
                    <a:pt x="424" y="648"/>
                  </a:lnTo>
                  <a:lnTo>
                    <a:pt x="420" y="645"/>
                  </a:lnTo>
                  <a:lnTo>
                    <a:pt x="416" y="645"/>
                  </a:lnTo>
                  <a:lnTo>
                    <a:pt x="412" y="645"/>
                  </a:lnTo>
                  <a:lnTo>
                    <a:pt x="407" y="645"/>
                  </a:lnTo>
                  <a:lnTo>
                    <a:pt x="403" y="645"/>
                  </a:lnTo>
                  <a:lnTo>
                    <a:pt x="399" y="643"/>
                  </a:lnTo>
                  <a:lnTo>
                    <a:pt x="397" y="643"/>
                  </a:lnTo>
                  <a:lnTo>
                    <a:pt x="393" y="643"/>
                  </a:lnTo>
                  <a:lnTo>
                    <a:pt x="389" y="643"/>
                  </a:lnTo>
                  <a:lnTo>
                    <a:pt x="385" y="643"/>
                  </a:lnTo>
                  <a:lnTo>
                    <a:pt x="381" y="643"/>
                  </a:lnTo>
                  <a:lnTo>
                    <a:pt x="377" y="641"/>
                  </a:lnTo>
                  <a:lnTo>
                    <a:pt x="373" y="641"/>
                  </a:lnTo>
                  <a:lnTo>
                    <a:pt x="369" y="641"/>
                  </a:lnTo>
                  <a:lnTo>
                    <a:pt x="364" y="641"/>
                  </a:lnTo>
                  <a:lnTo>
                    <a:pt x="360" y="641"/>
                  </a:lnTo>
                  <a:lnTo>
                    <a:pt x="356" y="639"/>
                  </a:lnTo>
                  <a:lnTo>
                    <a:pt x="354" y="639"/>
                  </a:lnTo>
                  <a:lnTo>
                    <a:pt x="350" y="639"/>
                  </a:lnTo>
                  <a:lnTo>
                    <a:pt x="346" y="639"/>
                  </a:lnTo>
                  <a:lnTo>
                    <a:pt x="342" y="639"/>
                  </a:lnTo>
                  <a:lnTo>
                    <a:pt x="338" y="639"/>
                  </a:lnTo>
                  <a:lnTo>
                    <a:pt x="332" y="637"/>
                  </a:lnTo>
                  <a:lnTo>
                    <a:pt x="328" y="637"/>
                  </a:lnTo>
                  <a:lnTo>
                    <a:pt x="323" y="635"/>
                  </a:lnTo>
                  <a:lnTo>
                    <a:pt x="319" y="633"/>
                  </a:lnTo>
                  <a:lnTo>
                    <a:pt x="315" y="631"/>
                  </a:lnTo>
                  <a:lnTo>
                    <a:pt x="311" y="629"/>
                  </a:lnTo>
                  <a:lnTo>
                    <a:pt x="307" y="627"/>
                  </a:lnTo>
                  <a:lnTo>
                    <a:pt x="301" y="625"/>
                  </a:lnTo>
                  <a:lnTo>
                    <a:pt x="297" y="621"/>
                  </a:lnTo>
                  <a:lnTo>
                    <a:pt x="293" y="619"/>
                  </a:lnTo>
                  <a:lnTo>
                    <a:pt x="289" y="617"/>
                  </a:lnTo>
                  <a:lnTo>
                    <a:pt x="252" y="600"/>
                  </a:lnTo>
                  <a:lnTo>
                    <a:pt x="217" y="582"/>
                  </a:lnTo>
                  <a:lnTo>
                    <a:pt x="180" y="564"/>
                  </a:lnTo>
                  <a:lnTo>
                    <a:pt x="145" y="547"/>
                  </a:lnTo>
                  <a:lnTo>
                    <a:pt x="108" y="529"/>
                  </a:lnTo>
                  <a:lnTo>
                    <a:pt x="74" y="510"/>
                  </a:lnTo>
                  <a:lnTo>
                    <a:pt x="39" y="492"/>
                  </a:lnTo>
                  <a:lnTo>
                    <a:pt x="4" y="473"/>
                  </a:lnTo>
                  <a:lnTo>
                    <a:pt x="0" y="471"/>
                  </a:lnTo>
                  <a:lnTo>
                    <a:pt x="0" y="471"/>
                  </a:lnTo>
                  <a:lnTo>
                    <a:pt x="0" y="471"/>
                  </a:lnTo>
                  <a:lnTo>
                    <a:pt x="0" y="471"/>
                  </a:lnTo>
                  <a:lnTo>
                    <a:pt x="0" y="471"/>
                  </a:lnTo>
                  <a:lnTo>
                    <a:pt x="2" y="465"/>
                  </a:lnTo>
                  <a:lnTo>
                    <a:pt x="4" y="463"/>
                  </a:lnTo>
                  <a:lnTo>
                    <a:pt x="2" y="461"/>
                  </a:lnTo>
                  <a:lnTo>
                    <a:pt x="4" y="459"/>
                  </a:lnTo>
                  <a:lnTo>
                    <a:pt x="6" y="459"/>
                  </a:lnTo>
                  <a:lnTo>
                    <a:pt x="6" y="459"/>
                  </a:lnTo>
                  <a:lnTo>
                    <a:pt x="8" y="457"/>
                  </a:lnTo>
                  <a:lnTo>
                    <a:pt x="8" y="457"/>
                  </a:lnTo>
                  <a:lnTo>
                    <a:pt x="8" y="457"/>
                  </a:lnTo>
                  <a:lnTo>
                    <a:pt x="10" y="455"/>
                  </a:lnTo>
                  <a:lnTo>
                    <a:pt x="10" y="453"/>
                  </a:lnTo>
                  <a:lnTo>
                    <a:pt x="12" y="451"/>
                  </a:lnTo>
                  <a:lnTo>
                    <a:pt x="12" y="449"/>
                  </a:lnTo>
                  <a:lnTo>
                    <a:pt x="16" y="447"/>
                  </a:lnTo>
                  <a:lnTo>
                    <a:pt x="24" y="449"/>
                  </a:lnTo>
                  <a:lnTo>
                    <a:pt x="29" y="449"/>
                  </a:lnTo>
                  <a:lnTo>
                    <a:pt x="31" y="449"/>
                  </a:lnTo>
                  <a:lnTo>
                    <a:pt x="31" y="447"/>
                  </a:lnTo>
                  <a:lnTo>
                    <a:pt x="31" y="445"/>
                  </a:lnTo>
                  <a:lnTo>
                    <a:pt x="31" y="443"/>
                  </a:lnTo>
                  <a:lnTo>
                    <a:pt x="33" y="441"/>
                  </a:lnTo>
                  <a:lnTo>
                    <a:pt x="37" y="439"/>
                  </a:lnTo>
                  <a:lnTo>
                    <a:pt x="37" y="439"/>
                  </a:lnTo>
                  <a:lnTo>
                    <a:pt x="39" y="436"/>
                  </a:lnTo>
                  <a:lnTo>
                    <a:pt x="37" y="428"/>
                  </a:lnTo>
                  <a:lnTo>
                    <a:pt x="37" y="426"/>
                  </a:lnTo>
                  <a:lnTo>
                    <a:pt x="39" y="426"/>
                  </a:lnTo>
                  <a:lnTo>
                    <a:pt x="39" y="424"/>
                  </a:lnTo>
                  <a:lnTo>
                    <a:pt x="39" y="424"/>
                  </a:lnTo>
                  <a:lnTo>
                    <a:pt x="37" y="420"/>
                  </a:lnTo>
                  <a:lnTo>
                    <a:pt x="33" y="418"/>
                  </a:lnTo>
                  <a:lnTo>
                    <a:pt x="24" y="416"/>
                  </a:lnTo>
                  <a:lnTo>
                    <a:pt x="22" y="414"/>
                  </a:lnTo>
                  <a:lnTo>
                    <a:pt x="20" y="410"/>
                  </a:lnTo>
                  <a:lnTo>
                    <a:pt x="20" y="406"/>
                  </a:lnTo>
                  <a:lnTo>
                    <a:pt x="22" y="402"/>
                  </a:lnTo>
                  <a:lnTo>
                    <a:pt x="22" y="398"/>
                  </a:lnTo>
                  <a:lnTo>
                    <a:pt x="22" y="391"/>
                  </a:lnTo>
                  <a:lnTo>
                    <a:pt x="22" y="389"/>
                  </a:lnTo>
                  <a:lnTo>
                    <a:pt x="20" y="387"/>
                  </a:lnTo>
                  <a:lnTo>
                    <a:pt x="20" y="385"/>
                  </a:lnTo>
                  <a:lnTo>
                    <a:pt x="22" y="381"/>
                  </a:lnTo>
                  <a:lnTo>
                    <a:pt x="22" y="381"/>
                  </a:lnTo>
                  <a:lnTo>
                    <a:pt x="22" y="379"/>
                  </a:lnTo>
                  <a:lnTo>
                    <a:pt x="22" y="379"/>
                  </a:lnTo>
                  <a:lnTo>
                    <a:pt x="22" y="377"/>
                  </a:lnTo>
                  <a:lnTo>
                    <a:pt x="22" y="377"/>
                  </a:lnTo>
                  <a:lnTo>
                    <a:pt x="20" y="375"/>
                  </a:lnTo>
                  <a:lnTo>
                    <a:pt x="22" y="375"/>
                  </a:lnTo>
                  <a:lnTo>
                    <a:pt x="26" y="375"/>
                  </a:lnTo>
                  <a:lnTo>
                    <a:pt x="29" y="375"/>
                  </a:lnTo>
                  <a:lnTo>
                    <a:pt x="31" y="373"/>
                  </a:lnTo>
                  <a:lnTo>
                    <a:pt x="35" y="367"/>
                  </a:lnTo>
                  <a:lnTo>
                    <a:pt x="37" y="365"/>
                  </a:lnTo>
                  <a:lnTo>
                    <a:pt x="37" y="365"/>
                  </a:lnTo>
                  <a:lnTo>
                    <a:pt x="39" y="363"/>
                  </a:lnTo>
                  <a:lnTo>
                    <a:pt x="41" y="361"/>
                  </a:lnTo>
                  <a:lnTo>
                    <a:pt x="41" y="361"/>
                  </a:lnTo>
                  <a:lnTo>
                    <a:pt x="41" y="359"/>
                  </a:lnTo>
                  <a:lnTo>
                    <a:pt x="41" y="357"/>
                  </a:lnTo>
                  <a:lnTo>
                    <a:pt x="41" y="354"/>
                  </a:lnTo>
                  <a:lnTo>
                    <a:pt x="43" y="354"/>
                  </a:lnTo>
                  <a:lnTo>
                    <a:pt x="43" y="354"/>
                  </a:lnTo>
                  <a:lnTo>
                    <a:pt x="43" y="352"/>
                  </a:lnTo>
                  <a:lnTo>
                    <a:pt x="43" y="350"/>
                  </a:lnTo>
                  <a:lnTo>
                    <a:pt x="43" y="348"/>
                  </a:lnTo>
                  <a:lnTo>
                    <a:pt x="45" y="346"/>
                  </a:lnTo>
                  <a:lnTo>
                    <a:pt x="47" y="346"/>
                  </a:lnTo>
                  <a:lnTo>
                    <a:pt x="47" y="344"/>
                  </a:lnTo>
                  <a:lnTo>
                    <a:pt x="47" y="342"/>
                  </a:lnTo>
                  <a:lnTo>
                    <a:pt x="47" y="340"/>
                  </a:lnTo>
                  <a:lnTo>
                    <a:pt x="47" y="340"/>
                  </a:lnTo>
                  <a:lnTo>
                    <a:pt x="47" y="340"/>
                  </a:lnTo>
                  <a:lnTo>
                    <a:pt x="47" y="338"/>
                  </a:lnTo>
                  <a:lnTo>
                    <a:pt x="47" y="338"/>
                  </a:lnTo>
                  <a:lnTo>
                    <a:pt x="47" y="336"/>
                  </a:lnTo>
                  <a:lnTo>
                    <a:pt x="47" y="336"/>
                  </a:lnTo>
                  <a:lnTo>
                    <a:pt x="47" y="332"/>
                  </a:lnTo>
                  <a:lnTo>
                    <a:pt x="47" y="330"/>
                  </a:lnTo>
                  <a:lnTo>
                    <a:pt x="47" y="328"/>
                  </a:lnTo>
                  <a:lnTo>
                    <a:pt x="49" y="328"/>
                  </a:lnTo>
                  <a:lnTo>
                    <a:pt x="49" y="326"/>
                  </a:lnTo>
                  <a:lnTo>
                    <a:pt x="49" y="326"/>
                  </a:lnTo>
                  <a:lnTo>
                    <a:pt x="47" y="324"/>
                  </a:lnTo>
                  <a:lnTo>
                    <a:pt x="47" y="322"/>
                  </a:lnTo>
                  <a:lnTo>
                    <a:pt x="47" y="322"/>
                  </a:lnTo>
                  <a:lnTo>
                    <a:pt x="47" y="318"/>
                  </a:lnTo>
                  <a:lnTo>
                    <a:pt x="49" y="318"/>
                  </a:lnTo>
                  <a:lnTo>
                    <a:pt x="53" y="316"/>
                  </a:lnTo>
                  <a:lnTo>
                    <a:pt x="55" y="314"/>
                  </a:lnTo>
                  <a:lnTo>
                    <a:pt x="57" y="314"/>
                  </a:lnTo>
                  <a:lnTo>
                    <a:pt x="57" y="311"/>
                  </a:lnTo>
                  <a:lnTo>
                    <a:pt x="59" y="305"/>
                  </a:lnTo>
                  <a:lnTo>
                    <a:pt x="61" y="303"/>
                  </a:lnTo>
                  <a:lnTo>
                    <a:pt x="61" y="303"/>
                  </a:lnTo>
                  <a:lnTo>
                    <a:pt x="65" y="303"/>
                  </a:lnTo>
                  <a:lnTo>
                    <a:pt x="76" y="297"/>
                  </a:lnTo>
                  <a:lnTo>
                    <a:pt x="78" y="297"/>
                  </a:lnTo>
                  <a:lnTo>
                    <a:pt x="80" y="293"/>
                  </a:lnTo>
                  <a:lnTo>
                    <a:pt x="84" y="291"/>
                  </a:lnTo>
                  <a:lnTo>
                    <a:pt x="86" y="289"/>
                  </a:lnTo>
                  <a:lnTo>
                    <a:pt x="88" y="287"/>
                  </a:lnTo>
                  <a:lnTo>
                    <a:pt x="88" y="285"/>
                  </a:lnTo>
                  <a:lnTo>
                    <a:pt x="88" y="285"/>
                  </a:lnTo>
                  <a:lnTo>
                    <a:pt x="86" y="283"/>
                  </a:lnTo>
                  <a:lnTo>
                    <a:pt x="84" y="281"/>
                  </a:lnTo>
                  <a:lnTo>
                    <a:pt x="84" y="279"/>
                  </a:lnTo>
                  <a:lnTo>
                    <a:pt x="82" y="279"/>
                  </a:lnTo>
                  <a:lnTo>
                    <a:pt x="76" y="273"/>
                  </a:lnTo>
                  <a:lnTo>
                    <a:pt x="74" y="270"/>
                  </a:lnTo>
                  <a:lnTo>
                    <a:pt x="74" y="270"/>
                  </a:lnTo>
                  <a:lnTo>
                    <a:pt x="72" y="268"/>
                  </a:lnTo>
                  <a:lnTo>
                    <a:pt x="72" y="268"/>
                  </a:lnTo>
                  <a:lnTo>
                    <a:pt x="72" y="268"/>
                  </a:lnTo>
                  <a:lnTo>
                    <a:pt x="72" y="266"/>
                  </a:lnTo>
                  <a:lnTo>
                    <a:pt x="72" y="266"/>
                  </a:lnTo>
                  <a:lnTo>
                    <a:pt x="69" y="266"/>
                  </a:lnTo>
                  <a:lnTo>
                    <a:pt x="69" y="266"/>
                  </a:lnTo>
                  <a:lnTo>
                    <a:pt x="69" y="266"/>
                  </a:lnTo>
                  <a:lnTo>
                    <a:pt x="67" y="266"/>
                  </a:lnTo>
                  <a:lnTo>
                    <a:pt x="67" y="264"/>
                  </a:lnTo>
                  <a:lnTo>
                    <a:pt x="67" y="264"/>
                  </a:lnTo>
                  <a:lnTo>
                    <a:pt x="67" y="262"/>
                  </a:lnTo>
                  <a:lnTo>
                    <a:pt x="67" y="262"/>
                  </a:lnTo>
                  <a:lnTo>
                    <a:pt x="67" y="260"/>
                  </a:lnTo>
                  <a:lnTo>
                    <a:pt x="69" y="260"/>
                  </a:lnTo>
                  <a:lnTo>
                    <a:pt x="67" y="258"/>
                  </a:lnTo>
                  <a:lnTo>
                    <a:pt x="67" y="258"/>
                  </a:lnTo>
                  <a:lnTo>
                    <a:pt x="67" y="256"/>
                  </a:lnTo>
                  <a:lnTo>
                    <a:pt x="67" y="254"/>
                  </a:lnTo>
                  <a:lnTo>
                    <a:pt x="65" y="254"/>
                  </a:lnTo>
                  <a:lnTo>
                    <a:pt x="65" y="252"/>
                  </a:lnTo>
                  <a:lnTo>
                    <a:pt x="65" y="252"/>
                  </a:lnTo>
                  <a:lnTo>
                    <a:pt x="65" y="248"/>
                  </a:lnTo>
                  <a:lnTo>
                    <a:pt x="65" y="248"/>
                  </a:lnTo>
                  <a:lnTo>
                    <a:pt x="65" y="248"/>
                  </a:lnTo>
                  <a:lnTo>
                    <a:pt x="65" y="246"/>
                  </a:lnTo>
                  <a:lnTo>
                    <a:pt x="61" y="234"/>
                  </a:lnTo>
                  <a:lnTo>
                    <a:pt x="59" y="234"/>
                  </a:lnTo>
                  <a:lnTo>
                    <a:pt x="57" y="232"/>
                  </a:lnTo>
                  <a:lnTo>
                    <a:pt x="55" y="229"/>
                  </a:lnTo>
                  <a:lnTo>
                    <a:pt x="57" y="227"/>
                  </a:lnTo>
                  <a:lnTo>
                    <a:pt x="55" y="225"/>
                  </a:lnTo>
                  <a:lnTo>
                    <a:pt x="55" y="223"/>
                  </a:lnTo>
                  <a:lnTo>
                    <a:pt x="55" y="221"/>
                  </a:lnTo>
                  <a:lnTo>
                    <a:pt x="53" y="221"/>
                  </a:lnTo>
                  <a:lnTo>
                    <a:pt x="53" y="221"/>
                  </a:lnTo>
                  <a:lnTo>
                    <a:pt x="51" y="219"/>
                  </a:lnTo>
                  <a:lnTo>
                    <a:pt x="53" y="207"/>
                  </a:lnTo>
                  <a:lnTo>
                    <a:pt x="53" y="205"/>
                  </a:lnTo>
                  <a:lnTo>
                    <a:pt x="53" y="205"/>
                  </a:lnTo>
                  <a:lnTo>
                    <a:pt x="53" y="201"/>
                  </a:lnTo>
                  <a:lnTo>
                    <a:pt x="55" y="199"/>
                  </a:lnTo>
                  <a:lnTo>
                    <a:pt x="55" y="197"/>
                  </a:lnTo>
                  <a:lnTo>
                    <a:pt x="55" y="197"/>
                  </a:lnTo>
                  <a:lnTo>
                    <a:pt x="53" y="195"/>
                  </a:lnTo>
                  <a:lnTo>
                    <a:pt x="53" y="193"/>
                  </a:lnTo>
                  <a:lnTo>
                    <a:pt x="53" y="191"/>
                  </a:lnTo>
                  <a:lnTo>
                    <a:pt x="55" y="191"/>
                  </a:lnTo>
                  <a:lnTo>
                    <a:pt x="55" y="191"/>
                  </a:lnTo>
                  <a:lnTo>
                    <a:pt x="57" y="191"/>
                  </a:lnTo>
                  <a:lnTo>
                    <a:pt x="59" y="191"/>
                  </a:lnTo>
                  <a:lnTo>
                    <a:pt x="59" y="191"/>
                  </a:lnTo>
                  <a:lnTo>
                    <a:pt x="59" y="186"/>
                  </a:lnTo>
                  <a:lnTo>
                    <a:pt x="61" y="184"/>
                  </a:lnTo>
                  <a:lnTo>
                    <a:pt x="61" y="180"/>
                  </a:lnTo>
                  <a:lnTo>
                    <a:pt x="59" y="174"/>
                  </a:lnTo>
                  <a:lnTo>
                    <a:pt x="61" y="172"/>
                  </a:lnTo>
                  <a:lnTo>
                    <a:pt x="61" y="168"/>
                  </a:lnTo>
                  <a:lnTo>
                    <a:pt x="61" y="166"/>
                  </a:lnTo>
                  <a:lnTo>
                    <a:pt x="59" y="160"/>
                  </a:lnTo>
                  <a:lnTo>
                    <a:pt x="57" y="156"/>
                  </a:lnTo>
                  <a:lnTo>
                    <a:pt x="57" y="152"/>
                  </a:lnTo>
                  <a:lnTo>
                    <a:pt x="59" y="145"/>
                  </a:lnTo>
                  <a:lnTo>
                    <a:pt x="59" y="141"/>
                  </a:lnTo>
                  <a:lnTo>
                    <a:pt x="59" y="139"/>
                  </a:lnTo>
                  <a:lnTo>
                    <a:pt x="59" y="137"/>
                  </a:lnTo>
                  <a:lnTo>
                    <a:pt x="57" y="129"/>
                  </a:lnTo>
                  <a:lnTo>
                    <a:pt x="57" y="127"/>
                  </a:lnTo>
                  <a:lnTo>
                    <a:pt x="57" y="123"/>
                  </a:lnTo>
                  <a:lnTo>
                    <a:pt x="59" y="117"/>
                  </a:lnTo>
                  <a:lnTo>
                    <a:pt x="59" y="117"/>
                  </a:lnTo>
                  <a:lnTo>
                    <a:pt x="61" y="113"/>
                  </a:lnTo>
                  <a:lnTo>
                    <a:pt x="61" y="113"/>
                  </a:lnTo>
                  <a:lnTo>
                    <a:pt x="61" y="111"/>
                  </a:lnTo>
                  <a:lnTo>
                    <a:pt x="61" y="111"/>
                  </a:lnTo>
                  <a:lnTo>
                    <a:pt x="59" y="104"/>
                  </a:lnTo>
                  <a:lnTo>
                    <a:pt x="57" y="102"/>
                  </a:lnTo>
                  <a:lnTo>
                    <a:pt x="57" y="100"/>
                  </a:lnTo>
                  <a:lnTo>
                    <a:pt x="57" y="96"/>
                  </a:lnTo>
                  <a:lnTo>
                    <a:pt x="59" y="96"/>
                  </a:lnTo>
                  <a:lnTo>
                    <a:pt x="59" y="94"/>
                  </a:lnTo>
                  <a:lnTo>
                    <a:pt x="59" y="92"/>
                  </a:lnTo>
                  <a:lnTo>
                    <a:pt x="59" y="90"/>
                  </a:lnTo>
                  <a:lnTo>
                    <a:pt x="59" y="90"/>
                  </a:lnTo>
                  <a:lnTo>
                    <a:pt x="59" y="88"/>
                  </a:lnTo>
                  <a:lnTo>
                    <a:pt x="61" y="88"/>
                  </a:lnTo>
                  <a:lnTo>
                    <a:pt x="61" y="88"/>
                  </a:lnTo>
                  <a:lnTo>
                    <a:pt x="61" y="86"/>
                  </a:lnTo>
                  <a:lnTo>
                    <a:pt x="61" y="86"/>
                  </a:lnTo>
                  <a:lnTo>
                    <a:pt x="65" y="86"/>
                  </a:lnTo>
                  <a:lnTo>
                    <a:pt x="67" y="84"/>
                  </a:lnTo>
                  <a:lnTo>
                    <a:pt x="74" y="84"/>
                  </a:lnTo>
                  <a:lnTo>
                    <a:pt x="76" y="84"/>
                  </a:lnTo>
                  <a:lnTo>
                    <a:pt x="76" y="84"/>
                  </a:lnTo>
                  <a:lnTo>
                    <a:pt x="76" y="84"/>
                  </a:lnTo>
                  <a:lnTo>
                    <a:pt x="82" y="86"/>
                  </a:lnTo>
                  <a:lnTo>
                    <a:pt x="82" y="86"/>
                  </a:lnTo>
                  <a:lnTo>
                    <a:pt x="82" y="86"/>
                  </a:lnTo>
                  <a:lnTo>
                    <a:pt x="82" y="86"/>
                  </a:lnTo>
                  <a:lnTo>
                    <a:pt x="84" y="88"/>
                  </a:lnTo>
                  <a:lnTo>
                    <a:pt x="84" y="88"/>
                  </a:lnTo>
                  <a:lnTo>
                    <a:pt x="84" y="88"/>
                  </a:lnTo>
                  <a:lnTo>
                    <a:pt x="86" y="88"/>
                  </a:lnTo>
                  <a:lnTo>
                    <a:pt x="86" y="88"/>
                  </a:lnTo>
                  <a:lnTo>
                    <a:pt x="86" y="88"/>
                  </a:lnTo>
                  <a:lnTo>
                    <a:pt x="90" y="86"/>
                  </a:lnTo>
                  <a:lnTo>
                    <a:pt x="90" y="86"/>
                  </a:lnTo>
                  <a:lnTo>
                    <a:pt x="90" y="86"/>
                  </a:lnTo>
                  <a:lnTo>
                    <a:pt x="90" y="86"/>
                  </a:lnTo>
                  <a:lnTo>
                    <a:pt x="92" y="86"/>
                  </a:lnTo>
                  <a:lnTo>
                    <a:pt x="92" y="86"/>
                  </a:lnTo>
                  <a:lnTo>
                    <a:pt x="92" y="88"/>
                  </a:lnTo>
                  <a:lnTo>
                    <a:pt x="94" y="88"/>
                  </a:lnTo>
                  <a:lnTo>
                    <a:pt x="94" y="88"/>
                  </a:lnTo>
                  <a:lnTo>
                    <a:pt x="94" y="90"/>
                  </a:lnTo>
                  <a:lnTo>
                    <a:pt x="96" y="90"/>
                  </a:lnTo>
                  <a:lnTo>
                    <a:pt x="96" y="96"/>
                  </a:lnTo>
                  <a:lnTo>
                    <a:pt x="98" y="96"/>
                  </a:lnTo>
                  <a:lnTo>
                    <a:pt x="98" y="98"/>
                  </a:lnTo>
                  <a:lnTo>
                    <a:pt x="100" y="100"/>
                  </a:lnTo>
                  <a:lnTo>
                    <a:pt x="102" y="102"/>
                  </a:lnTo>
                  <a:lnTo>
                    <a:pt x="104" y="102"/>
                  </a:lnTo>
                  <a:lnTo>
                    <a:pt x="108" y="102"/>
                  </a:lnTo>
                  <a:lnTo>
                    <a:pt x="110" y="100"/>
                  </a:lnTo>
                  <a:lnTo>
                    <a:pt x="113" y="96"/>
                  </a:lnTo>
                  <a:lnTo>
                    <a:pt x="115" y="92"/>
                  </a:lnTo>
                  <a:lnTo>
                    <a:pt x="117" y="88"/>
                  </a:lnTo>
                  <a:lnTo>
                    <a:pt x="119" y="86"/>
                  </a:lnTo>
                  <a:lnTo>
                    <a:pt x="121" y="84"/>
                  </a:lnTo>
                  <a:lnTo>
                    <a:pt x="121" y="84"/>
                  </a:lnTo>
                  <a:lnTo>
                    <a:pt x="121" y="82"/>
                  </a:lnTo>
                  <a:lnTo>
                    <a:pt x="121" y="78"/>
                  </a:lnTo>
                  <a:lnTo>
                    <a:pt x="121" y="78"/>
                  </a:lnTo>
                  <a:lnTo>
                    <a:pt x="123" y="76"/>
                  </a:lnTo>
                  <a:lnTo>
                    <a:pt x="123" y="72"/>
                  </a:lnTo>
                  <a:lnTo>
                    <a:pt x="123" y="66"/>
                  </a:lnTo>
                  <a:lnTo>
                    <a:pt x="125" y="59"/>
                  </a:lnTo>
                  <a:lnTo>
                    <a:pt x="125" y="53"/>
                  </a:lnTo>
                  <a:lnTo>
                    <a:pt x="125" y="45"/>
                  </a:lnTo>
                  <a:lnTo>
                    <a:pt x="127" y="39"/>
                  </a:lnTo>
                  <a:lnTo>
                    <a:pt x="127" y="31"/>
                  </a:lnTo>
                  <a:lnTo>
                    <a:pt x="129" y="25"/>
                  </a:lnTo>
                  <a:lnTo>
                    <a:pt x="129" y="18"/>
                  </a:lnTo>
                  <a:lnTo>
                    <a:pt x="131" y="12"/>
                  </a:lnTo>
                  <a:lnTo>
                    <a:pt x="131" y="6"/>
                  </a:lnTo>
                  <a:lnTo>
                    <a:pt x="131" y="2"/>
                  </a:lnTo>
                  <a:lnTo>
                    <a:pt x="131" y="0"/>
                  </a:lnTo>
                  <a:lnTo>
                    <a:pt x="131" y="0"/>
                  </a:lnTo>
                  <a:lnTo>
                    <a:pt x="145" y="0"/>
                  </a:lnTo>
                  <a:lnTo>
                    <a:pt x="158" y="2"/>
                  </a:lnTo>
                  <a:lnTo>
                    <a:pt x="172" y="4"/>
                  </a:lnTo>
                  <a:lnTo>
                    <a:pt x="186" y="6"/>
                  </a:lnTo>
                  <a:lnTo>
                    <a:pt x="199" y="8"/>
                  </a:lnTo>
                  <a:lnTo>
                    <a:pt x="213" y="8"/>
                  </a:lnTo>
                  <a:lnTo>
                    <a:pt x="225" y="10"/>
                  </a:lnTo>
                  <a:lnTo>
                    <a:pt x="239" y="12"/>
                  </a:lnTo>
                  <a:lnTo>
                    <a:pt x="252" y="14"/>
                  </a:lnTo>
                  <a:lnTo>
                    <a:pt x="266" y="16"/>
                  </a:lnTo>
                  <a:lnTo>
                    <a:pt x="280" y="16"/>
                  </a:lnTo>
                  <a:lnTo>
                    <a:pt x="293" y="18"/>
                  </a:lnTo>
                  <a:lnTo>
                    <a:pt x="307" y="20"/>
                  </a:lnTo>
                  <a:lnTo>
                    <a:pt x="319" y="20"/>
                  </a:lnTo>
                  <a:lnTo>
                    <a:pt x="334" y="23"/>
                  </a:lnTo>
                  <a:lnTo>
                    <a:pt x="346" y="25"/>
                  </a:lnTo>
                  <a:lnTo>
                    <a:pt x="360" y="27"/>
                  </a:lnTo>
                  <a:lnTo>
                    <a:pt x="373" y="27"/>
                  </a:lnTo>
                  <a:lnTo>
                    <a:pt x="387" y="29"/>
                  </a:lnTo>
                  <a:lnTo>
                    <a:pt x="401" y="31"/>
                  </a:lnTo>
                  <a:lnTo>
                    <a:pt x="414" y="31"/>
                  </a:lnTo>
                  <a:lnTo>
                    <a:pt x="428" y="33"/>
                  </a:lnTo>
                  <a:lnTo>
                    <a:pt x="440" y="33"/>
                  </a:lnTo>
                  <a:lnTo>
                    <a:pt x="455" y="35"/>
                  </a:lnTo>
                  <a:lnTo>
                    <a:pt x="469" y="37"/>
                  </a:lnTo>
                  <a:lnTo>
                    <a:pt x="481" y="37"/>
                  </a:lnTo>
                  <a:lnTo>
                    <a:pt x="495" y="39"/>
                  </a:lnTo>
                  <a:lnTo>
                    <a:pt x="508" y="39"/>
                  </a:lnTo>
                  <a:lnTo>
                    <a:pt x="522" y="41"/>
                  </a:lnTo>
                  <a:lnTo>
                    <a:pt x="534" y="43"/>
                  </a:lnTo>
                  <a:lnTo>
                    <a:pt x="549" y="43"/>
                  </a:lnTo>
                  <a:lnTo>
                    <a:pt x="563" y="45"/>
                  </a:lnTo>
                  <a:lnTo>
                    <a:pt x="561" y="63"/>
                  </a:lnTo>
                  <a:lnTo>
                    <a:pt x="559" y="82"/>
                  </a:lnTo>
                  <a:lnTo>
                    <a:pt x="557" y="102"/>
                  </a:lnTo>
                  <a:lnTo>
                    <a:pt x="557" y="121"/>
                  </a:lnTo>
                  <a:lnTo>
                    <a:pt x="555" y="139"/>
                  </a:lnTo>
                  <a:lnTo>
                    <a:pt x="555" y="139"/>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Z</a:t>
              </a:r>
            </a:p>
          </p:txBody>
        </p:sp>
        <p:sp>
          <p:nvSpPr>
            <p:cNvPr id="133" name="Freeform 53">
              <a:extLst>
                <a:ext uri="{FF2B5EF4-FFF2-40B4-BE49-F238E27FC236}">
                  <a16:creationId xmlns:a16="http://schemas.microsoft.com/office/drawing/2014/main" id="{B0DB8CF3-D024-D410-7E83-470E1A380F35}"/>
                </a:ext>
              </a:extLst>
            </p:cNvPr>
            <p:cNvSpPr>
              <a:spLocks/>
            </p:cNvSpPr>
            <p:nvPr/>
          </p:nvSpPr>
          <p:spPr bwMode="auto">
            <a:xfrm>
              <a:off x="3200" y="1459"/>
              <a:ext cx="437" cy="400"/>
            </a:xfrm>
            <a:custGeom>
              <a:avLst/>
              <a:gdLst>
                <a:gd name="T0" fmla="*/ 437 w 437"/>
                <a:gd name="T1" fmla="*/ 62 h 400"/>
                <a:gd name="T2" fmla="*/ 428 w 437"/>
                <a:gd name="T3" fmla="*/ 64 h 400"/>
                <a:gd name="T4" fmla="*/ 414 w 437"/>
                <a:gd name="T5" fmla="*/ 82 h 400"/>
                <a:gd name="T6" fmla="*/ 416 w 437"/>
                <a:gd name="T7" fmla="*/ 94 h 400"/>
                <a:gd name="T8" fmla="*/ 416 w 437"/>
                <a:gd name="T9" fmla="*/ 103 h 400"/>
                <a:gd name="T10" fmla="*/ 410 w 437"/>
                <a:gd name="T11" fmla="*/ 111 h 400"/>
                <a:gd name="T12" fmla="*/ 404 w 437"/>
                <a:gd name="T13" fmla="*/ 129 h 400"/>
                <a:gd name="T14" fmla="*/ 404 w 437"/>
                <a:gd name="T15" fmla="*/ 148 h 400"/>
                <a:gd name="T16" fmla="*/ 398 w 437"/>
                <a:gd name="T17" fmla="*/ 156 h 400"/>
                <a:gd name="T18" fmla="*/ 390 w 437"/>
                <a:gd name="T19" fmla="*/ 162 h 400"/>
                <a:gd name="T20" fmla="*/ 377 w 437"/>
                <a:gd name="T21" fmla="*/ 183 h 400"/>
                <a:gd name="T22" fmla="*/ 377 w 437"/>
                <a:gd name="T23" fmla="*/ 193 h 400"/>
                <a:gd name="T24" fmla="*/ 369 w 437"/>
                <a:gd name="T25" fmla="*/ 199 h 400"/>
                <a:gd name="T26" fmla="*/ 367 w 437"/>
                <a:gd name="T27" fmla="*/ 230 h 400"/>
                <a:gd name="T28" fmla="*/ 355 w 437"/>
                <a:gd name="T29" fmla="*/ 232 h 400"/>
                <a:gd name="T30" fmla="*/ 357 w 437"/>
                <a:gd name="T31" fmla="*/ 240 h 400"/>
                <a:gd name="T32" fmla="*/ 351 w 437"/>
                <a:gd name="T33" fmla="*/ 242 h 400"/>
                <a:gd name="T34" fmla="*/ 340 w 437"/>
                <a:gd name="T35" fmla="*/ 256 h 400"/>
                <a:gd name="T36" fmla="*/ 345 w 437"/>
                <a:gd name="T37" fmla="*/ 271 h 400"/>
                <a:gd name="T38" fmla="*/ 330 w 437"/>
                <a:gd name="T39" fmla="*/ 277 h 400"/>
                <a:gd name="T40" fmla="*/ 334 w 437"/>
                <a:gd name="T41" fmla="*/ 285 h 400"/>
                <a:gd name="T42" fmla="*/ 334 w 437"/>
                <a:gd name="T43" fmla="*/ 297 h 400"/>
                <a:gd name="T44" fmla="*/ 326 w 437"/>
                <a:gd name="T45" fmla="*/ 303 h 400"/>
                <a:gd name="T46" fmla="*/ 326 w 437"/>
                <a:gd name="T47" fmla="*/ 314 h 400"/>
                <a:gd name="T48" fmla="*/ 322 w 437"/>
                <a:gd name="T49" fmla="*/ 322 h 400"/>
                <a:gd name="T50" fmla="*/ 328 w 437"/>
                <a:gd name="T51" fmla="*/ 330 h 400"/>
                <a:gd name="T52" fmla="*/ 328 w 437"/>
                <a:gd name="T53" fmla="*/ 347 h 400"/>
                <a:gd name="T54" fmla="*/ 334 w 437"/>
                <a:gd name="T55" fmla="*/ 355 h 400"/>
                <a:gd name="T56" fmla="*/ 332 w 437"/>
                <a:gd name="T57" fmla="*/ 369 h 400"/>
                <a:gd name="T58" fmla="*/ 297 w 437"/>
                <a:gd name="T59" fmla="*/ 385 h 400"/>
                <a:gd name="T60" fmla="*/ 201 w 437"/>
                <a:gd name="T61" fmla="*/ 392 h 400"/>
                <a:gd name="T62" fmla="*/ 103 w 437"/>
                <a:gd name="T63" fmla="*/ 398 h 400"/>
                <a:gd name="T64" fmla="*/ 68 w 437"/>
                <a:gd name="T65" fmla="*/ 349 h 400"/>
                <a:gd name="T66" fmla="*/ 62 w 437"/>
                <a:gd name="T67" fmla="*/ 340 h 400"/>
                <a:gd name="T68" fmla="*/ 52 w 437"/>
                <a:gd name="T69" fmla="*/ 340 h 400"/>
                <a:gd name="T70" fmla="*/ 41 w 437"/>
                <a:gd name="T71" fmla="*/ 342 h 400"/>
                <a:gd name="T72" fmla="*/ 35 w 437"/>
                <a:gd name="T73" fmla="*/ 340 h 400"/>
                <a:gd name="T74" fmla="*/ 27 w 437"/>
                <a:gd name="T75" fmla="*/ 310 h 400"/>
                <a:gd name="T76" fmla="*/ 23 w 437"/>
                <a:gd name="T77" fmla="*/ 170 h 400"/>
                <a:gd name="T78" fmla="*/ 9 w 437"/>
                <a:gd name="T79" fmla="*/ 72 h 400"/>
                <a:gd name="T80" fmla="*/ 72 w 437"/>
                <a:gd name="T81" fmla="*/ 23 h 400"/>
                <a:gd name="T82" fmla="*/ 215 w 437"/>
                <a:gd name="T83" fmla="*/ 15 h 400"/>
                <a:gd name="T84" fmla="*/ 359 w 437"/>
                <a:gd name="T85" fmla="*/ 2 h 400"/>
                <a:gd name="T86" fmla="*/ 390 w 437"/>
                <a:gd name="T87" fmla="*/ 4 h 400"/>
                <a:gd name="T88" fmla="*/ 392 w 437"/>
                <a:gd name="T89" fmla="*/ 6 h 400"/>
                <a:gd name="T90" fmla="*/ 396 w 437"/>
                <a:gd name="T91" fmla="*/ 10 h 400"/>
                <a:gd name="T92" fmla="*/ 398 w 437"/>
                <a:gd name="T93" fmla="*/ 15 h 400"/>
                <a:gd name="T94" fmla="*/ 400 w 437"/>
                <a:gd name="T95" fmla="*/ 23 h 400"/>
                <a:gd name="T96" fmla="*/ 398 w 437"/>
                <a:gd name="T97" fmla="*/ 25 h 400"/>
                <a:gd name="T98" fmla="*/ 394 w 437"/>
                <a:gd name="T99" fmla="*/ 29 h 400"/>
                <a:gd name="T100" fmla="*/ 390 w 437"/>
                <a:gd name="T101" fmla="*/ 33 h 400"/>
                <a:gd name="T102" fmla="*/ 385 w 437"/>
                <a:gd name="T103" fmla="*/ 37 h 400"/>
                <a:gd name="T104" fmla="*/ 385 w 437"/>
                <a:gd name="T105" fmla="*/ 41 h 400"/>
                <a:gd name="T106" fmla="*/ 381 w 437"/>
                <a:gd name="T107" fmla="*/ 43 h 400"/>
                <a:gd name="T108" fmla="*/ 375 w 437"/>
                <a:gd name="T109" fmla="*/ 56 h 400"/>
                <a:gd name="T110" fmla="*/ 394 w 437"/>
                <a:gd name="T111" fmla="*/ 56 h 400"/>
                <a:gd name="T112" fmla="*/ 431 w 437"/>
                <a:gd name="T113" fmla="*/ 4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7" h="400">
                  <a:moveTo>
                    <a:pt x="433" y="49"/>
                  </a:moveTo>
                  <a:lnTo>
                    <a:pt x="433" y="51"/>
                  </a:lnTo>
                  <a:lnTo>
                    <a:pt x="433" y="53"/>
                  </a:lnTo>
                  <a:lnTo>
                    <a:pt x="437" y="56"/>
                  </a:lnTo>
                  <a:lnTo>
                    <a:pt x="437" y="60"/>
                  </a:lnTo>
                  <a:lnTo>
                    <a:pt x="437" y="62"/>
                  </a:lnTo>
                  <a:lnTo>
                    <a:pt x="437" y="62"/>
                  </a:lnTo>
                  <a:lnTo>
                    <a:pt x="433" y="60"/>
                  </a:lnTo>
                  <a:lnTo>
                    <a:pt x="431" y="60"/>
                  </a:lnTo>
                  <a:lnTo>
                    <a:pt x="428" y="60"/>
                  </a:lnTo>
                  <a:lnTo>
                    <a:pt x="428" y="62"/>
                  </a:lnTo>
                  <a:lnTo>
                    <a:pt x="428" y="64"/>
                  </a:lnTo>
                  <a:lnTo>
                    <a:pt x="431" y="66"/>
                  </a:lnTo>
                  <a:lnTo>
                    <a:pt x="433" y="66"/>
                  </a:lnTo>
                  <a:lnTo>
                    <a:pt x="433" y="68"/>
                  </a:lnTo>
                  <a:lnTo>
                    <a:pt x="428" y="74"/>
                  </a:lnTo>
                  <a:lnTo>
                    <a:pt x="416" y="80"/>
                  </a:lnTo>
                  <a:lnTo>
                    <a:pt x="414" y="82"/>
                  </a:lnTo>
                  <a:lnTo>
                    <a:pt x="414" y="84"/>
                  </a:lnTo>
                  <a:lnTo>
                    <a:pt x="416" y="86"/>
                  </a:lnTo>
                  <a:lnTo>
                    <a:pt x="418" y="88"/>
                  </a:lnTo>
                  <a:lnTo>
                    <a:pt x="418" y="90"/>
                  </a:lnTo>
                  <a:lnTo>
                    <a:pt x="418" y="92"/>
                  </a:lnTo>
                  <a:lnTo>
                    <a:pt x="416" y="94"/>
                  </a:lnTo>
                  <a:lnTo>
                    <a:pt x="416" y="94"/>
                  </a:lnTo>
                  <a:lnTo>
                    <a:pt x="416" y="96"/>
                  </a:lnTo>
                  <a:lnTo>
                    <a:pt x="418" y="99"/>
                  </a:lnTo>
                  <a:lnTo>
                    <a:pt x="418" y="101"/>
                  </a:lnTo>
                  <a:lnTo>
                    <a:pt x="418" y="103"/>
                  </a:lnTo>
                  <a:lnTo>
                    <a:pt x="416" y="103"/>
                  </a:lnTo>
                  <a:lnTo>
                    <a:pt x="414" y="103"/>
                  </a:lnTo>
                  <a:lnTo>
                    <a:pt x="412" y="105"/>
                  </a:lnTo>
                  <a:lnTo>
                    <a:pt x="412" y="105"/>
                  </a:lnTo>
                  <a:lnTo>
                    <a:pt x="410" y="107"/>
                  </a:lnTo>
                  <a:lnTo>
                    <a:pt x="412" y="109"/>
                  </a:lnTo>
                  <a:lnTo>
                    <a:pt x="410" y="111"/>
                  </a:lnTo>
                  <a:lnTo>
                    <a:pt x="410" y="113"/>
                  </a:lnTo>
                  <a:lnTo>
                    <a:pt x="408" y="115"/>
                  </a:lnTo>
                  <a:lnTo>
                    <a:pt x="404" y="119"/>
                  </a:lnTo>
                  <a:lnTo>
                    <a:pt x="404" y="121"/>
                  </a:lnTo>
                  <a:lnTo>
                    <a:pt x="404" y="123"/>
                  </a:lnTo>
                  <a:lnTo>
                    <a:pt x="404" y="129"/>
                  </a:lnTo>
                  <a:lnTo>
                    <a:pt x="404" y="131"/>
                  </a:lnTo>
                  <a:lnTo>
                    <a:pt x="406" y="135"/>
                  </a:lnTo>
                  <a:lnTo>
                    <a:pt x="408" y="140"/>
                  </a:lnTo>
                  <a:lnTo>
                    <a:pt x="408" y="144"/>
                  </a:lnTo>
                  <a:lnTo>
                    <a:pt x="406" y="148"/>
                  </a:lnTo>
                  <a:lnTo>
                    <a:pt x="404" y="148"/>
                  </a:lnTo>
                  <a:lnTo>
                    <a:pt x="402" y="148"/>
                  </a:lnTo>
                  <a:lnTo>
                    <a:pt x="400" y="148"/>
                  </a:lnTo>
                  <a:lnTo>
                    <a:pt x="400" y="150"/>
                  </a:lnTo>
                  <a:lnTo>
                    <a:pt x="400" y="152"/>
                  </a:lnTo>
                  <a:lnTo>
                    <a:pt x="400" y="154"/>
                  </a:lnTo>
                  <a:lnTo>
                    <a:pt x="398" y="156"/>
                  </a:lnTo>
                  <a:lnTo>
                    <a:pt x="398" y="156"/>
                  </a:lnTo>
                  <a:lnTo>
                    <a:pt x="394" y="158"/>
                  </a:lnTo>
                  <a:lnTo>
                    <a:pt x="392" y="160"/>
                  </a:lnTo>
                  <a:lnTo>
                    <a:pt x="390" y="160"/>
                  </a:lnTo>
                  <a:lnTo>
                    <a:pt x="390" y="162"/>
                  </a:lnTo>
                  <a:lnTo>
                    <a:pt x="390" y="162"/>
                  </a:lnTo>
                  <a:lnTo>
                    <a:pt x="392" y="162"/>
                  </a:lnTo>
                  <a:lnTo>
                    <a:pt x="394" y="166"/>
                  </a:lnTo>
                  <a:lnTo>
                    <a:pt x="394" y="170"/>
                  </a:lnTo>
                  <a:lnTo>
                    <a:pt x="392" y="174"/>
                  </a:lnTo>
                  <a:lnTo>
                    <a:pt x="388" y="176"/>
                  </a:lnTo>
                  <a:lnTo>
                    <a:pt x="377" y="183"/>
                  </a:lnTo>
                  <a:lnTo>
                    <a:pt x="377" y="183"/>
                  </a:lnTo>
                  <a:lnTo>
                    <a:pt x="377" y="185"/>
                  </a:lnTo>
                  <a:lnTo>
                    <a:pt x="379" y="187"/>
                  </a:lnTo>
                  <a:lnTo>
                    <a:pt x="379" y="189"/>
                  </a:lnTo>
                  <a:lnTo>
                    <a:pt x="377" y="191"/>
                  </a:lnTo>
                  <a:lnTo>
                    <a:pt x="377" y="193"/>
                  </a:lnTo>
                  <a:lnTo>
                    <a:pt x="375" y="193"/>
                  </a:lnTo>
                  <a:lnTo>
                    <a:pt x="373" y="193"/>
                  </a:lnTo>
                  <a:lnTo>
                    <a:pt x="371" y="191"/>
                  </a:lnTo>
                  <a:lnTo>
                    <a:pt x="371" y="193"/>
                  </a:lnTo>
                  <a:lnTo>
                    <a:pt x="369" y="195"/>
                  </a:lnTo>
                  <a:lnTo>
                    <a:pt x="369" y="199"/>
                  </a:lnTo>
                  <a:lnTo>
                    <a:pt x="369" y="203"/>
                  </a:lnTo>
                  <a:lnTo>
                    <a:pt x="371" y="209"/>
                  </a:lnTo>
                  <a:lnTo>
                    <a:pt x="371" y="219"/>
                  </a:lnTo>
                  <a:lnTo>
                    <a:pt x="371" y="224"/>
                  </a:lnTo>
                  <a:lnTo>
                    <a:pt x="371" y="226"/>
                  </a:lnTo>
                  <a:lnTo>
                    <a:pt x="367" y="230"/>
                  </a:lnTo>
                  <a:lnTo>
                    <a:pt x="365" y="232"/>
                  </a:lnTo>
                  <a:lnTo>
                    <a:pt x="363" y="232"/>
                  </a:lnTo>
                  <a:lnTo>
                    <a:pt x="359" y="234"/>
                  </a:lnTo>
                  <a:lnTo>
                    <a:pt x="357" y="234"/>
                  </a:lnTo>
                  <a:lnTo>
                    <a:pt x="357" y="234"/>
                  </a:lnTo>
                  <a:lnTo>
                    <a:pt x="355" y="232"/>
                  </a:lnTo>
                  <a:lnTo>
                    <a:pt x="355" y="234"/>
                  </a:lnTo>
                  <a:lnTo>
                    <a:pt x="355" y="234"/>
                  </a:lnTo>
                  <a:lnTo>
                    <a:pt x="357" y="236"/>
                  </a:lnTo>
                  <a:lnTo>
                    <a:pt x="357" y="238"/>
                  </a:lnTo>
                  <a:lnTo>
                    <a:pt x="357" y="238"/>
                  </a:lnTo>
                  <a:lnTo>
                    <a:pt x="357" y="240"/>
                  </a:lnTo>
                  <a:lnTo>
                    <a:pt x="357" y="242"/>
                  </a:lnTo>
                  <a:lnTo>
                    <a:pt x="355" y="242"/>
                  </a:lnTo>
                  <a:lnTo>
                    <a:pt x="355" y="244"/>
                  </a:lnTo>
                  <a:lnTo>
                    <a:pt x="355" y="244"/>
                  </a:lnTo>
                  <a:lnTo>
                    <a:pt x="353" y="242"/>
                  </a:lnTo>
                  <a:lnTo>
                    <a:pt x="351" y="242"/>
                  </a:lnTo>
                  <a:lnTo>
                    <a:pt x="351" y="242"/>
                  </a:lnTo>
                  <a:lnTo>
                    <a:pt x="351" y="244"/>
                  </a:lnTo>
                  <a:lnTo>
                    <a:pt x="349" y="252"/>
                  </a:lnTo>
                  <a:lnTo>
                    <a:pt x="347" y="252"/>
                  </a:lnTo>
                  <a:lnTo>
                    <a:pt x="347" y="254"/>
                  </a:lnTo>
                  <a:lnTo>
                    <a:pt x="340" y="256"/>
                  </a:lnTo>
                  <a:lnTo>
                    <a:pt x="340" y="258"/>
                  </a:lnTo>
                  <a:lnTo>
                    <a:pt x="340" y="260"/>
                  </a:lnTo>
                  <a:lnTo>
                    <a:pt x="347" y="262"/>
                  </a:lnTo>
                  <a:lnTo>
                    <a:pt x="349" y="267"/>
                  </a:lnTo>
                  <a:lnTo>
                    <a:pt x="347" y="269"/>
                  </a:lnTo>
                  <a:lnTo>
                    <a:pt x="345" y="271"/>
                  </a:lnTo>
                  <a:lnTo>
                    <a:pt x="345" y="271"/>
                  </a:lnTo>
                  <a:lnTo>
                    <a:pt x="342" y="271"/>
                  </a:lnTo>
                  <a:lnTo>
                    <a:pt x="340" y="271"/>
                  </a:lnTo>
                  <a:lnTo>
                    <a:pt x="334" y="275"/>
                  </a:lnTo>
                  <a:lnTo>
                    <a:pt x="330" y="277"/>
                  </a:lnTo>
                  <a:lnTo>
                    <a:pt x="330" y="277"/>
                  </a:lnTo>
                  <a:lnTo>
                    <a:pt x="330" y="279"/>
                  </a:lnTo>
                  <a:lnTo>
                    <a:pt x="330" y="279"/>
                  </a:lnTo>
                  <a:lnTo>
                    <a:pt x="332" y="279"/>
                  </a:lnTo>
                  <a:lnTo>
                    <a:pt x="334" y="281"/>
                  </a:lnTo>
                  <a:lnTo>
                    <a:pt x="334" y="283"/>
                  </a:lnTo>
                  <a:lnTo>
                    <a:pt x="334" y="285"/>
                  </a:lnTo>
                  <a:lnTo>
                    <a:pt x="332" y="287"/>
                  </a:lnTo>
                  <a:lnTo>
                    <a:pt x="334" y="291"/>
                  </a:lnTo>
                  <a:lnTo>
                    <a:pt x="334" y="293"/>
                  </a:lnTo>
                  <a:lnTo>
                    <a:pt x="334" y="295"/>
                  </a:lnTo>
                  <a:lnTo>
                    <a:pt x="334" y="297"/>
                  </a:lnTo>
                  <a:lnTo>
                    <a:pt x="334" y="297"/>
                  </a:lnTo>
                  <a:lnTo>
                    <a:pt x="330" y="299"/>
                  </a:lnTo>
                  <a:lnTo>
                    <a:pt x="330" y="299"/>
                  </a:lnTo>
                  <a:lnTo>
                    <a:pt x="330" y="299"/>
                  </a:lnTo>
                  <a:lnTo>
                    <a:pt x="328" y="301"/>
                  </a:lnTo>
                  <a:lnTo>
                    <a:pt x="326" y="301"/>
                  </a:lnTo>
                  <a:lnTo>
                    <a:pt x="326" y="303"/>
                  </a:lnTo>
                  <a:lnTo>
                    <a:pt x="324" y="308"/>
                  </a:lnTo>
                  <a:lnTo>
                    <a:pt x="322" y="310"/>
                  </a:lnTo>
                  <a:lnTo>
                    <a:pt x="320" y="310"/>
                  </a:lnTo>
                  <a:lnTo>
                    <a:pt x="320" y="312"/>
                  </a:lnTo>
                  <a:lnTo>
                    <a:pt x="322" y="314"/>
                  </a:lnTo>
                  <a:lnTo>
                    <a:pt x="326" y="314"/>
                  </a:lnTo>
                  <a:lnTo>
                    <a:pt x="328" y="316"/>
                  </a:lnTo>
                  <a:lnTo>
                    <a:pt x="328" y="318"/>
                  </a:lnTo>
                  <a:lnTo>
                    <a:pt x="328" y="320"/>
                  </a:lnTo>
                  <a:lnTo>
                    <a:pt x="326" y="322"/>
                  </a:lnTo>
                  <a:lnTo>
                    <a:pt x="324" y="322"/>
                  </a:lnTo>
                  <a:lnTo>
                    <a:pt x="322" y="322"/>
                  </a:lnTo>
                  <a:lnTo>
                    <a:pt x="320" y="324"/>
                  </a:lnTo>
                  <a:lnTo>
                    <a:pt x="320" y="326"/>
                  </a:lnTo>
                  <a:lnTo>
                    <a:pt x="322" y="326"/>
                  </a:lnTo>
                  <a:lnTo>
                    <a:pt x="324" y="328"/>
                  </a:lnTo>
                  <a:lnTo>
                    <a:pt x="326" y="328"/>
                  </a:lnTo>
                  <a:lnTo>
                    <a:pt x="328" y="330"/>
                  </a:lnTo>
                  <a:lnTo>
                    <a:pt x="330" y="332"/>
                  </a:lnTo>
                  <a:lnTo>
                    <a:pt x="330" y="334"/>
                  </a:lnTo>
                  <a:lnTo>
                    <a:pt x="332" y="336"/>
                  </a:lnTo>
                  <a:lnTo>
                    <a:pt x="332" y="340"/>
                  </a:lnTo>
                  <a:lnTo>
                    <a:pt x="330" y="342"/>
                  </a:lnTo>
                  <a:lnTo>
                    <a:pt x="328" y="347"/>
                  </a:lnTo>
                  <a:lnTo>
                    <a:pt x="328" y="349"/>
                  </a:lnTo>
                  <a:lnTo>
                    <a:pt x="328" y="351"/>
                  </a:lnTo>
                  <a:lnTo>
                    <a:pt x="330" y="351"/>
                  </a:lnTo>
                  <a:lnTo>
                    <a:pt x="332" y="353"/>
                  </a:lnTo>
                  <a:lnTo>
                    <a:pt x="334" y="353"/>
                  </a:lnTo>
                  <a:lnTo>
                    <a:pt x="334" y="355"/>
                  </a:lnTo>
                  <a:lnTo>
                    <a:pt x="334" y="361"/>
                  </a:lnTo>
                  <a:lnTo>
                    <a:pt x="336" y="363"/>
                  </a:lnTo>
                  <a:lnTo>
                    <a:pt x="336" y="365"/>
                  </a:lnTo>
                  <a:lnTo>
                    <a:pt x="336" y="367"/>
                  </a:lnTo>
                  <a:lnTo>
                    <a:pt x="334" y="369"/>
                  </a:lnTo>
                  <a:lnTo>
                    <a:pt x="332" y="369"/>
                  </a:lnTo>
                  <a:lnTo>
                    <a:pt x="332" y="369"/>
                  </a:lnTo>
                  <a:lnTo>
                    <a:pt x="330" y="371"/>
                  </a:lnTo>
                  <a:lnTo>
                    <a:pt x="332" y="381"/>
                  </a:lnTo>
                  <a:lnTo>
                    <a:pt x="330" y="383"/>
                  </a:lnTo>
                  <a:lnTo>
                    <a:pt x="314" y="383"/>
                  </a:lnTo>
                  <a:lnTo>
                    <a:pt x="297" y="385"/>
                  </a:lnTo>
                  <a:lnTo>
                    <a:pt x="281" y="385"/>
                  </a:lnTo>
                  <a:lnTo>
                    <a:pt x="265" y="388"/>
                  </a:lnTo>
                  <a:lnTo>
                    <a:pt x="250" y="390"/>
                  </a:lnTo>
                  <a:lnTo>
                    <a:pt x="234" y="390"/>
                  </a:lnTo>
                  <a:lnTo>
                    <a:pt x="218" y="392"/>
                  </a:lnTo>
                  <a:lnTo>
                    <a:pt x="201" y="392"/>
                  </a:lnTo>
                  <a:lnTo>
                    <a:pt x="185" y="394"/>
                  </a:lnTo>
                  <a:lnTo>
                    <a:pt x="168" y="394"/>
                  </a:lnTo>
                  <a:lnTo>
                    <a:pt x="152" y="396"/>
                  </a:lnTo>
                  <a:lnTo>
                    <a:pt x="136" y="396"/>
                  </a:lnTo>
                  <a:lnTo>
                    <a:pt x="119" y="398"/>
                  </a:lnTo>
                  <a:lnTo>
                    <a:pt x="103" y="398"/>
                  </a:lnTo>
                  <a:lnTo>
                    <a:pt x="89" y="400"/>
                  </a:lnTo>
                  <a:lnTo>
                    <a:pt x="72" y="400"/>
                  </a:lnTo>
                  <a:lnTo>
                    <a:pt x="70" y="388"/>
                  </a:lnTo>
                  <a:lnTo>
                    <a:pt x="70" y="375"/>
                  </a:lnTo>
                  <a:lnTo>
                    <a:pt x="68" y="361"/>
                  </a:lnTo>
                  <a:lnTo>
                    <a:pt x="68" y="349"/>
                  </a:lnTo>
                  <a:lnTo>
                    <a:pt x="68" y="342"/>
                  </a:lnTo>
                  <a:lnTo>
                    <a:pt x="68" y="342"/>
                  </a:lnTo>
                  <a:lnTo>
                    <a:pt x="66" y="340"/>
                  </a:lnTo>
                  <a:lnTo>
                    <a:pt x="66" y="340"/>
                  </a:lnTo>
                  <a:lnTo>
                    <a:pt x="62" y="338"/>
                  </a:lnTo>
                  <a:lnTo>
                    <a:pt x="62" y="340"/>
                  </a:lnTo>
                  <a:lnTo>
                    <a:pt x="60" y="340"/>
                  </a:lnTo>
                  <a:lnTo>
                    <a:pt x="58" y="340"/>
                  </a:lnTo>
                  <a:lnTo>
                    <a:pt x="54" y="338"/>
                  </a:lnTo>
                  <a:lnTo>
                    <a:pt x="54" y="338"/>
                  </a:lnTo>
                  <a:lnTo>
                    <a:pt x="52" y="340"/>
                  </a:lnTo>
                  <a:lnTo>
                    <a:pt x="52" y="340"/>
                  </a:lnTo>
                  <a:lnTo>
                    <a:pt x="45" y="338"/>
                  </a:lnTo>
                  <a:lnTo>
                    <a:pt x="45" y="338"/>
                  </a:lnTo>
                  <a:lnTo>
                    <a:pt x="43" y="340"/>
                  </a:lnTo>
                  <a:lnTo>
                    <a:pt x="43" y="342"/>
                  </a:lnTo>
                  <a:lnTo>
                    <a:pt x="43" y="342"/>
                  </a:lnTo>
                  <a:lnTo>
                    <a:pt x="41" y="342"/>
                  </a:lnTo>
                  <a:lnTo>
                    <a:pt x="39" y="342"/>
                  </a:lnTo>
                  <a:lnTo>
                    <a:pt x="37" y="342"/>
                  </a:lnTo>
                  <a:lnTo>
                    <a:pt x="37" y="340"/>
                  </a:lnTo>
                  <a:lnTo>
                    <a:pt x="37" y="340"/>
                  </a:lnTo>
                  <a:lnTo>
                    <a:pt x="37" y="340"/>
                  </a:lnTo>
                  <a:lnTo>
                    <a:pt x="35" y="340"/>
                  </a:lnTo>
                  <a:lnTo>
                    <a:pt x="33" y="338"/>
                  </a:lnTo>
                  <a:lnTo>
                    <a:pt x="31" y="338"/>
                  </a:lnTo>
                  <a:lnTo>
                    <a:pt x="31" y="336"/>
                  </a:lnTo>
                  <a:lnTo>
                    <a:pt x="29" y="334"/>
                  </a:lnTo>
                  <a:lnTo>
                    <a:pt x="27" y="334"/>
                  </a:lnTo>
                  <a:lnTo>
                    <a:pt x="27" y="310"/>
                  </a:lnTo>
                  <a:lnTo>
                    <a:pt x="27" y="287"/>
                  </a:lnTo>
                  <a:lnTo>
                    <a:pt x="25" y="262"/>
                  </a:lnTo>
                  <a:lnTo>
                    <a:pt x="25" y="240"/>
                  </a:lnTo>
                  <a:lnTo>
                    <a:pt x="25" y="215"/>
                  </a:lnTo>
                  <a:lnTo>
                    <a:pt x="23" y="193"/>
                  </a:lnTo>
                  <a:lnTo>
                    <a:pt x="23" y="170"/>
                  </a:lnTo>
                  <a:lnTo>
                    <a:pt x="23" y="146"/>
                  </a:lnTo>
                  <a:lnTo>
                    <a:pt x="19" y="131"/>
                  </a:lnTo>
                  <a:lnTo>
                    <a:pt x="17" y="117"/>
                  </a:lnTo>
                  <a:lnTo>
                    <a:pt x="15" y="101"/>
                  </a:lnTo>
                  <a:lnTo>
                    <a:pt x="13" y="86"/>
                  </a:lnTo>
                  <a:lnTo>
                    <a:pt x="9" y="72"/>
                  </a:lnTo>
                  <a:lnTo>
                    <a:pt x="7" y="58"/>
                  </a:lnTo>
                  <a:lnTo>
                    <a:pt x="5" y="41"/>
                  </a:lnTo>
                  <a:lnTo>
                    <a:pt x="0" y="27"/>
                  </a:lnTo>
                  <a:lnTo>
                    <a:pt x="25" y="25"/>
                  </a:lnTo>
                  <a:lnTo>
                    <a:pt x="50" y="25"/>
                  </a:lnTo>
                  <a:lnTo>
                    <a:pt x="72" y="23"/>
                  </a:lnTo>
                  <a:lnTo>
                    <a:pt x="97" y="23"/>
                  </a:lnTo>
                  <a:lnTo>
                    <a:pt x="121" y="21"/>
                  </a:lnTo>
                  <a:lnTo>
                    <a:pt x="144" y="19"/>
                  </a:lnTo>
                  <a:lnTo>
                    <a:pt x="168" y="17"/>
                  </a:lnTo>
                  <a:lnTo>
                    <a:pt x="193" y="17"/>
                  </a:lnTo>
                  <a:lnTo>
                    <a:pt x="215" y="15"/>
                  </a:lnTo>
                  <a:lnTo>
                    <a:pt x="240" y="12"/>
                  </a:lnTo>
                  <a:lnTo>
                    <a:pt x="263" y="10"/>
                  </a:lnTo>
                  <a:lnTo>
                    <a:pt x="287" y="8"/>
                  </a:lnTo>
                  <a:lnTo>
                    <a:pt x="312" y="6"/>
                  </a:lnTo>
                  <a:lnTo>
                    <a:pt x="334" y="4"/>
                  </a:lnTo>
                  <a:lnTo>
                    <a:pt x="359" y="2"/>
                  </a:lnTo>
                  <a:lnTo>
                    <a:pt x="383" y="0"/>
                  </a:lnTo>
                  <a:lnTo>
                    <a:pt x="390" y="0"/>
                  </a:lnTo>
                  <a:lnTo>
                    <a:pt x="390" y="0"/>
                  </a:lnTo>
                  <a:lnTo>
                    <a:pt x="390" y="0"/>
                  </a:lnTo>
                  <a:lnTo>
                    <a:pt x="390" y="2"/>
                  </a:lnTo>
                  <a:lnTo>
                    <a:pt x="390" y="4"/>
                  </a:lnTo>
                  <a:lnTo>
                    <a:pt x="392" y="4"/>
                  </a:lnTo>
                  <a:lnTo>
                    <a:pt x="392" y="4"/>
                  </a:lnTo>
                  <a:lnTo>
                    <a:pt x="392" y="4"/>
                  </a:lnTo>
                  <a:lnTo>
                    <a:pt x="392" y="4"/>
                  </a:lnTo>
                  <a:lnTo>
                    <a:pt x="392" y="6"/>
                  </a:lnTo>
                  <a:lnTo>
                    <a:pt x="392" y="6"/>
                  </a:lnTo>
                  <a:lnTo>
                    <a:pt x="392" y="8"/>
                  </a:lnTo>
                  <a:lnTo>
                    <a:pt x="394" y="8"/>
                  </a:lnTo>
                  <a:lnTo>
                    <a:pt x="394" y="8"/>
                  </a:lnTo>
                  <a:lnTo>
                    <a:pt x="394" y="8"/>
                  </a:lnTo>
                  <a:lnTo>
                    <a:pt x="394" y="10"/>
                  </a:lnTo>
                  <a:lnTo>
                    <a:pt x="396" y="10"/>
                  </a:lnTo>
                  <a:lnTo>
                    <a:pt x="398" y="10"/>
                  </a:lnTo>
                  <a:lnTo>
                    <a:pt x="398" y="12"/>
                  </a:lnTo>
                  <a:lnTo>
                    <a:pt x="398" y="12"/>
                  </a:lnTo>
                  <a:lnTo>
                    <a:pt x="398" y="12"/>
                  </a:lnTo>
                  <a:lnTo>
                    <a:pt x="398" y="12"/>
                  </a:lnTo>
                  <a:lnTo>
                    <a:pt x="398" y="15"/>
                  </a:lnTo>
                  <a:lnTo>
                    <a:pt x="398" y="15"/>
                  </a:lnTo>
                  <a:lnTo>
                    <a:pt x="398" y="15"/>
                  </a:lnTo>
                  <a:lnTo>
                    <a:pt x="398" y="17"/>
                  </a:lnTo>
                  <a:lnTo>
                    <a:pt x="398" y="19"/>
                  </a:lnTo>
                  <a:lnTo>
                    <a:pt x="400" y="21"/>
                  </a:lnTo>
                  <a:lnTo>
                    <a:pt x="400" y="23"/>
                  </a:lnTo>
                  <a:lnTo>
                    <a:pt x="400" y="23"/>
                  </a:lnTo>
                  <a:lnTo>
                    <a:pt x="398" y="23"/>
                  </a:lnTo>
                  <a:lnTo>
                    <a:pt x="398" y="23"/>
                  </a:lnTo>
                  <a:lnTo>
                    <a:pt x="398" y="25"/>
                  </a:lnTo>
                  <a:lnTo>
                    <a:pt x="398" y="25"/>
                  </a:lnTo>
                  <a:lnTo>
                    <a:pt x="398" y="25"/>
                  </a:lnTo>
                  <a:lnTo>
                    <a:pt x="398" y="25"/>
                  </a:lnTo>
                  <a:lnTo>
                    <a:pt x="396" y="25"/>
                  </a:lnTo>
                  <a:lnTo>
                    <a:pt x="394" y="27"/>
                  </a:lnTo>
                  <a:lnTo>
                    <a:pt x="394" y="27"/>
                  </a:lnTo>
                  <a:lnTo>
                    <a:pt x="394" y="27"/>
                  </a:lnTo>
                  <a:lnTo>
                    <a:pt x="394" y="29"/>
                  </a:lnTo>
                  <a:lnTo>
                    <a:pt x="394" y="29"/>
                  </a:lnTo>
                  <a:lnTo>
                    <a:pt x="394" y="31"/>
                  </a:lnTo>
                  <a:lnTo>
                    <a:pt x="394" y="31"/>
                  </a:lnTo>
                  <a:lnTo>
                    <a:pt x="394" y="31"/>
                  </a:lnTo>
                  <a:lnTo>
                    <a:pt x="390" y="33"/>
                  </a:lnTo>
                  <a:lnTo>
                    <a:pt x="390" y="33"/>
                  </a:lnTo>
                  <a:lnTo>
                    <a:pt x="388" y="35"/>
                  </a:lnTo>
                  <a:lnTo>
                    <a:pt x="388" y="35"/>
                  </a:lnTo>
                  <a:lnTo>
                    <a:pt x="385" y="35"/>
                  </a:lnTo>
                  <a:lnTo>
                    <a:pt x="385" y="35"/>
                  </a:lnTo>
                  <a:lnTo>
                    <a:pt x="385" y="35"/>
                  </a:lnTo>
                  <a:lnTo>
                    <a:pt x="385" y="37"/>
                  </a:lnTo>
                  <a:lnTo>
                    <a:pt x="385" y="37"/>
                  </a:lnTo>
                  <a:lnTo>
                    <a:pt x="385" y="39"/>
                  </a:lnTo>
                  <a:lnTo>
                    <a:pt x="385" y="39"/>
                  </a:lnTo>
                  <a:lnTo>
                    <a:pt x="385" y="39"/>
                  </a:lnTo>
                  <a:lnTo>
                    <a:pt x="385" y="39"/>
                  </a:lnTo>
                  <a:lnTo>
                    <a:pt x="385" y="41"/>
                  </a:lnTo>
                  <a:lnTo>
                    <a:pt x="383" y="41"/>
                  </a:lnTo>
                  <a:lnTo>
                    <a:pt x="383" y="41"/>
                  </a:lnTo>
                  <a:lnTo>
                    <a:pt x="383" y="41"/>
                  </a:lnTo>
                  <a:lnTo>
                    <a:pt x="381" y="41"/>
                  </a:lnTo>
                  <a:lnTo>
                    <a:pt x="381" y="41"/>
                  </a:lnTo>
                  <a:lnTo>
                    <a:pt x="381" y="43"/>
                  </a:lnTo>
                  <a:lnTo>
                    <a:pt x="381" y="43"/>
                  </a:lnTo>
                  <a:lnTo>
                    <a:pt x="379" y="43"/>
                  </a:lnTo>
                  <a:lnTo>
                    <a:pt x="379" y="45"/>
                  </a:lnTo>
                  <a:lnTo>
                    <a:pt x="377" y="47"/>
                  </a:lnTo>
                  <a:lnTo>
                    <a:pt x="377" y="49"/>
                  </a:lnTo>
                  <a:lnTo>
                    <a:pt x="375" y="56"/>
                  </a:lnTo>
                  <a:lnTo>
                    <a:pt x="375" y="56"/>
                  </a:lnTo>
                  <a:lnTo>
                    <a:pt x="375" y="56"/>
                  </a:lnTo>
                  <a:lnTo>
                    <a:pt x="375" y="58"/>
                  </a:lnTo>
                  <a:lnTo>
                    <a:pt x="375" y="58"/>
                  </a:lnTo>
                  <a:lnTo>
                    <a:pt x="381" y="56"/>
                  </a:lnTo>
                  <a:lnTo>
                    <a:pt x="394" y="56"/>
                  </a:lnTo>
                  <a:lnTo>
                    <a:pt x="406" y="53"/>
                  </a:lnTo>
                  <a:lnTo>
                    <a:pt x="418" y="51"/>
                  </a:lnTo>
                  <a:lnTo>
                    <a:pt x="431" y="51"/>
                  </a:lnTo>
                  <a:lnTo>
                    <a:pt x="431" y="51"/>
                  </a:lnTo>
                  <a:lnTo>
                    <a:pt x="431" y="49"/>
                  </a:lnTo>
                  <a:lnTo>
                    <a:pt x="431" y="49"/>
                  </a:lnTo>
                  <a:lnTo>
                    <a:pt x="433" y="49"/>
                  </a:lnTo>
                  <a:lnTo>
                    <a:pt x="433" y="49"/>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R</a:t>
              </a:r>
            </a:p>
          </p:txBody>
        </p:sp>
        <p:sp>
          <p:nvSpPr>
            <p:cNvPr id="134" name="Freeform 54">
              <a:extLst>
                <a:ext uri="{FF2B5EF4-FFF2-40B4-BE49-F238E27FC236}">
                  <a16:creationId xmlns:a16="http://schemas.microsoft.com/office/drawing/2014/main" id="{BC5894C1-EA30-515E-FABA-4DC073C28A36}"/>
                </a:ext>
              </a:extLst>
            </p:cNvPr>
            <p:cNvSpPr>
              <a:spLocks noEditPoints="1"/>
            </p:cNvSpPr>
            <p:nvPr/>
          </p:nvSpPr>
          <p:spPr bwMode="auto">
            <a:xfrm>
              <a:off x="3776" y="1576"/>
              <a:ext cx="340" cy="539"/>
            </a:xfrm>
            <a:custGeom>
              <a:avLst/>
              <a:gdLst>
                <a:gd name="T0" fmla="*/ 45 w 340"/>
                <a:gd name="T1" fmla="*/ 539 h 539"/>
                <a:gd name="T2" fmla="*/ 340 w 340"/>
                <a:gd name="T3" fmla="*/ 418 h 539"/>
                <a:gd name="T4" fmla="*/ 328 w 340"/>
                <a:gd name="T5" fmla="*/ 402 h 539"/>
                <a:gd name="T6" fmla="*/ 328 w 340"/>
                <a:gd name="T7" fmla="*/ 389 h 539"/>
                <a:gd name="T8" fmla="*/ 328 w 340"/>
                <a:gd name="T9" fmla="*/ 365 h 539"/>
                <a:gd name="T10" fmla="*/ 321 w 340"/>
                <a:gd name="T11" fmla="*/ 350 h 539"/>
                <a:gd name="T12" fmla="*/ 315 w 340"/>
                <a:gd name="T13" fmla="*/ 330 h 539"/>
                <a:gd name="T14" fmla="*/ 319 w 340"/>
                <a:gd name="T15" fmla="*/ 311 h 539"/>
                <a:gd name="T16" fmla="*/ 319 w 340"/>
                <a:gd name="T17" fmla="*/ 295 h 539"/>
                <a:gd name="T18" fmla="*/ 326 w 340"/>
                <a:gd name="T19" fmla="*/ 291 h 539"/>
                <a:gd name="T20" fmla="*/ 328 w 340"/>
                <a:gd name="T21" fmla="*/ 285 h 539"/>
                <a:gd name="T22" fmla="*/ 330 w 340"/>
                <a:gd name="T23" fmla="*/ 283 h 539"/>
                <a:gd name="T24" fmla="*/ 321 w 340"/>
                <a:gd name="T25" fmla="*/ 273 h 539"/>
                <a:gd name="T26" fmla="*/ 319 w 340"/>
                <a:gd name="T27" fmla="*/ 262 h 539"/>
                <a:gd name="T28" fmla="*/ 307 w 340"/>
                <a:gd name="T29" fmla="*/ 246 h 539"/>
                <a:gd name="T30" fmla="*/ 303 w 340"/>
                <a:gd name="T31" fmla="*/ 234 h 539"/>
                <a:gd name="T32" fmla="*/ 299 w 340"/>
                <a:gd name="T33" fmla="*/ 227 h 539"/>
                <a:gd name="T34" fmla="*/ 293 w 340"/>
                <a:gd name="T35" fmla="*/ 209 h 539"/>
                <a:gd name="T36" fmla="*/ 281 w 340"/>
                <a:gd name="T37" fmla="*/ 170 h 539"/>
                <a:gd name="T38" fmla="*/ 260 w 340"/>
                <a:gd name="T39" fmla="*/ 107 h 539"/>
                <a:gd name="T40" fmla="*/ 240 w 340"/>
                <a:gd name="T41" fmla="*/ 41 h 539"/>
                <a:gd name="T42" fmla="*/ 227 w 340"/>
                <a:gd name="T43" fmla="*/ 2 h 539"/>
                <a:gd name="T44" fmla="*/ 158 w 340"/>
                <a:gd name="T45" fmla="*/ 8 h 539"/>
                <a:gd name="T46" fmla="*/ 59 w 340"/>
                <a:gd name="T47" fmla="*/ 18 h 539"/>
                <a:gd name="T48" fmla="*/ 2 w 340"/>
                <a:gd name="T49" fmla="*/ 27 h 539"/>
                <a:gd name="T50" fmla="*/ 10 w 340"/>
                <a:gd name="T51" fmla="*/ 45 h 539"/>
                <a:gd name="T52" fmla="*/ 10 w 340"/>
                <a:gd name="T53" fmla="*/ 117 h 539"/>
                <a:gd name="T54" fmla="*/ 10 w 340"/>
                <a:gd name="T55" fmla="*/ 234 h 539"/>
                <a:gd name="T56" fmla="*/ 10 w 340"/>
                <a:gd name="T57" fmla="*/ 324 h 539"/>
                <a:gd name="T58" fmla="*/ 10 w 340"/>
                <a:gd name="T59" fmla="*/ 365 h 539"/>
                <a:gd name="T60" fmla="*/ 22 w 340"/>
                <a:gd name="T61" fmla="*/ 445 h 539"/>
                <a:gd name="T62" fmla="*/ 35 w 340"/>
                <a:gd name="T63" fmla="*/ 525 h 539"/>
                <a:gd name="T64" fmla="*/ 43 w 340"/>
                <a:gd name="T65" fmla="*/ 523 h 539"/>
                <a:gd name="T66" fmla="*/ 53 w 340"/>
                <a:gd name="T67" fmla="*/ 527 h 539"/>
                <a:gd name="T68" fmla="*/ 59 w 340"/>
                <a:gd name="T69" fmla="*/ 529 h 539"/>
                <a:gd name="T70" fmla="*/ 61 w 340"/>
                <a:gd name="T71" fmla="*/ 506 h 539"/>
                <a:gd name="T72" fmla="*/ 63 w 340"/>
                <a:gd name="T73" fmla="*/ 498 h 539"/>
                <a:gd name="T74" fmla="*/ 63 w 340"/>
                <a:gd name="T75" fmla="*/ 488 h 539"/>
                <a:gd name="T76" fmla="*/ 68 w 340"/>
                <a:gd name="T77" fmla="*/ 486 h 539"/>
                <a:gd name="T78" fmla="*/ 74 w 340"/>
                <a:gd name="T79" fmla="*/ 490 h 539"/>
                <a:gd name="T80" fmla="*/ 76 w 340"/>
                <a:gd name="T81" fmla="*/ 510 h 539"/>
                <a:gd name="T82" fmla="*/ 80 w 340"/>
                <a:gd name="T83" fmla="*/ 516 h 539"/>
                <a:gd name="T84" fmla="*/ 86 w 340"/>
                <a:gd name="T85" fmla="*/ 518 h 539"/>
                <a:gd name="T86" fmla="*/ 88 w 340"/>
                <a:gd name="T87" fmla="*/ 521 h 539"/>
                <a:gd name="T88" fmla="*/ 84 w 340"/>
                <a:gd name="T89" fmla="*/ 535 h 539"/>
                <a:gd name="T90" fmla="*/ 72 w 340"/>
                <a:gd name="T91" fmla="*/ 537 h 539"/>
                <a:gd name="T92" fmla="*/ 113 w 340"/>
                <a:gd name="T93" fmla="*/ 525 h 539"/>
                <a:gd name="T94" fmla="*/ 108 w 340"/>
                <a:gd name="T95" fmla="*/ 521 h 539"/>
                <a:gd name="T96" fmla="*/ 113 w 340"/>
                <a:gd name="T97" fmla="*/ 523 h 539"/>
                <a:gd name="T98" fmla="*/ 121 w 340"/>
                <a:gd name="T99" fmla="*/ 516 h 539"/>
                <a:gd name="T100" fmla="*/ 125 w 340"/>
                <a:gd name="T101" fmla="*/ 506 h 539"/>
                <a:gd name="T102" fmla="*/ 121 w 340"/>
                <a:gd name="T103" fmla="*/ 498 h 539"/>
                <a:gd name="T104" fmla="*/ 123 w 340"/>
                <a:gd name="T105" fmla="*/ 484 h 539"/>
                <a:gd name="T106" fmla="*/ 108 w 340"/>
                <a:gd name="T107" fmla="*/ 473 h 539"/>
                <a:gd name="T108" fmla="*/ 100 w 340"/>
                <a:gd name="T109" fmla="*/ 463 h 539"/>
                <a:gd name="T110" fmla="*/ 121 w 340"/>
                <a:gd name="T111" fmla="*/ 449 h 539"/>
                <a:gd name="T112" fmla="*/ 223 w 340"/>
                <a:gd name="T113" fmla="*/ 436 h 539"/>
                <a:gd name="T114" fmla="*/ 326 w 340"/>
                <a:gd name="T115" fmla="*/ 42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539">
                  <a:moveTo>
                    <a:pt x="63" y="533"/>
                  </a:moveTo>
                  <a:lnTo>
                    <a:pt x="61" y="535"/>
                  </a:lnTo>
                  <a:lnTo>
                    <a:pt x="61" y="535"/>
                  </a:lnTo>
                  <a:lnTo>
                    <a:pt x="61" y="535"/>
                  </a:lnTo>
                  <a:lnTo>
                    <a:pt x="59" y="535"/>
                  </a:lnTo>
                  <a:lnTo>
                    <a:pt x="53" y="537"/>
                  </a:lnTo>
                  <a:lnTo>
                    <a:pt x="45" y="539"/>
                  </a:lnTo>
                  <a:lnTo>
                    <a:pt x="45" y="539"/>
                  </a:lnTo>
                  <a:lnTo>
                    <a:pt x="65" y="537"/>
                  </a:lnTo>
                  <a:lnTo>
                    <a:pt x="65" y="537"/>
                  </a:lnTo>
                  <a:lnTo>
                    <a:pt x="68" y="535"/>
                  </a:lnTo>
                  <a:lnTo>
                    <a:pt x="68" y="535"/>
                  </a:lnTo>
                  <a:lnTo>
                    <a:pt x="63" y="533"/>
                  </a:lnTo>
                  <a:close/>
                  <a:moveTo>
                    <a:pt x="340" y="418"/>
                  </a:moveTo>
                  <a:lnTo>
                    <a:pt x="340" y="416"/>
                  </a:lnTo>
                  <a:lnTo>
                    <a:pt x="338" y="412"/>
                  </a:lnTo>
                  <a:lnTo>
                    <a:pt x="334" y="408"/>
                  </a:lnTo>
                  <a:lnTo>
                    <a:pt x="332" y="404"/>
                  </a:lnTo>
                  <a:lnTo>
                    <a:pt x="330" y="404"/>
                  </a:lnTo>
                  <a:lnTo>
                    <a:pt x="328" y="402"/>
                  </a:lnTo>
                  <a:lnTo>
                    <a:pt x="328" y="402"/>
                  </a:lnTo>
                  <a:lnTo>
                    <a:pt x="328" y="398"/>
                  </a:lnTo>
                  <a:lnTo>
                    <a:pt x="328" y="396"/>
                  </a:lnTo>
                  <a:lnTo>
                    <a:pt x="326" y="393"/>
                  </a:lnTo>
                  <a:lnTo>
                    <a:pt x="326" y="393"/>
                  </a:lnTo>
                  <a:lnTo>
                    <a:pt x="326" y="391"/>
                  </a:lnTo>
                  <a:lnTo>
                    <a:pt x="328" y="389"/>
                  </a:lnTo>
                  <a:lnTo>
                    <a:pt x="328" y="389"/>
                  </a:lnTo>
                  <a:lnTo>
                    <a:pt x="328" y="381"/>
                  </a:lnTo>
                  <a:lnTo>
                    <a:pt x="328" y="377"/>
                  </a:lnTo>
                  <a:lnTo>
                    <a:pt x="328" y="373"/>
                  </a:lnTo>
                  <a:lnTo>
                    <a:pt x="328" y="371"/>
                  </a:lnTo>
                  <a:lnTo>
                    <a:pt x="328" y="369"/>
                  </a:lnTo>
                  <a:lnTo>
                    <a:pt x="328" y="367"/>
                  </a:lnTo>
                  <a:lnTo>
                    <a:pt x="328" y="365"/>
                  </a:lnTo>
                  <a:lnTo>
                    <a:pt x="328" y="363"/>
                  </a:lnTo>
                  <a:lnTo>
                    <a:pt x="328" y="361"/>
                  </a:lnTo>
                  <a:lnTo>
                    <a:pt x="326" y="361"/>
                  </a:lnTo>
                  <a:lnTo>
                    <a:pt x="326" y="357"/>
                  </a:lnTo>
                  <a:lnTo>
                    <a:pt x="326" y="355"/>
                  </a:lnTo>
                  <a:lnTo>
                    <a:pt x="326" y="355"/>
                  </a:lnTo>
                  <a:lnTo>
                    <a:pt x="321" y="350"/>
                  </a:lnTo>
                  <a:lnTo>
                    <a:pt x="319" y="348"/>
                  </a:lnTo>
                  <a:lnTo>
                    <a:pt x="315" y="336"/>
                  </a:lnTo>
                  <a:lnTo>
                    <a:pt x="315" y="334"/>
                  </a:lnTo>
                  <a:lnTo>
                    <a:pt x="315" y="332"/>
                  </a:lnTo>
                  <a:lnTo>
                    <a:pt x="315" y="332"/>
                  </a:lnTo>
                  <a:lnTo>
                    <a:pt x="315" y="330"/>
                  </a:lnTo>
                  <a:lnTo>
                    <a:pt x="315" y="330"/>
                  </a:lnTo>
                  <a:lnTo>
                    <a:pt x="315" y="326"/>
                  </a:lnTo>
                  <a:lnTo>
                    <a:pt x="317" y="322"/>
                  </a:lnTo>
                  <a:lnTo>
                    <a:pt x="319" y="318"/>
                  </a:lnTo>
                  <a:lnTo>
                    <a:pt x="319" y="316"/>
                  </a:lnTo>
                  <a:lnTo>
                    <a:pt x="319" y="314"/>
                  </a:lnTo>
                  <a:lnTo>
                    <a:pt x="319" y="314"/>
                  </a:lnTo>
                  <a:lnTo>
                    <a:pt x="319" y="311"/>
                  </a:lnTo>
                  <a:lnTo>
                    <a:pt x="319" y="309"/>
                  </a:lnTo>
                  <a:lnTo>
                    <a:pt x="319" y="307"/>
                  </a:lnTo>
                  <a:lnTo>
                    <a:pt x="319" y="305"/>
                  </a:lnTo>
                  <a:lnTo>
                    <a:pt x="319" y="303"/>
                  </a:lnTo>
                  <a:lnTo>
                    <a:pt x="319" y="301"/>
                  </a:lnTo>
                  <a:lnTo>
                    <a:pt x="319" y="299"/>
                  </a:lnTo>
                  <a:lnTo>
                    <a:pt x="319" y="295"/>
                  </a:lnTo>
                  <a:lnTo>
                    <a:pt x="321" y="295"/>
                  </a:lnTo>
                  <a:lnTo>
                    <a:pt x="321" y="295"/>
                  </a:lnTo>
                  <a:lnTo>
                    <a:pt x="321" y="293"/>
                  </a:lnTo>
                  <a:lnTo>
                    <a:pt x="324" y="293"/>
                  </a:lnTo>
                  <a:lnTo>
                    <a:pt x="326" y="293"/>
                  </a:lnTo>
                  <a:lnTo>
                    <a:pt x="326" y="291"/>
                  </a:lnTo>
                  <a:lnTo>
                    <a:pt x="326" y="291"/>
                  </a:lnTo>
                  <a:lnTo>
                    <a:pt x="326" y="289"/>
                  </a:lnTo>
                  <a:lnTo>
                    <a:pt x="326" y="289"/>
                  </a:lnTo>
                  <a:lnTo>
                    <a:pt x="328" y="289"/>
                  </a:lnTo>
                  <a:lnTo>
                    <a:pt x="328" y="289"/>
                  </a:lnTo>
                  <a:lnTo>
                    <a:pt x="330" y="289"/>
                  </a:lnTo>
                  <a:lnTo>
                    <a:pt x="330" y="287"/>
                  </a:lnTo>
                  <a:lnTo>
                    <a:pt x="328" y="285"/>
                  </a:lnTo>
                  <a:lnTo>
                    <a:pt x="330" y="285"/>
                  </a:lnTo>
                  <a:lnTo>
                    <a:pt x="330" y="285"/>
                  </a:lnTo>
                  <a:lnTo>
                    <a:pt x="330" y="285"/>
                  </a:lnTo>
                  <a:lnTo>
                    <a:pt x="332" y="283"/>
                  </a:lnTo>
                  <a:lnTo>
                    <a:pt x="330" y="283"/>
                  </a:lnTo>
                  <a:lnTo>
                    <a:pt x="330" y="283"/>
                  </a:lnTo>
                  <a:lnTo>
                    <a:pt x="330" y="283"/>
                  </a:lnTo>
                  <a:lnTo>
                    <a:pt x="330" y="281"/>
                  </a:lnTo>
                  <a:lnTo>
                    <a:pt x="328" y="281"/>
                  </a:lnTo>
                  <a:lnTo>
                    <a:pt x="324" y="279"/>
                  </a:lnTo>
                  <a:lnTo>
                    <a:pt x="321" y="277"/>
                  </a:lnTo>
                  <a:lnTo>
                    <a:pt x="321" y="277"/>
                  </a:lnTo>
                  <a:lnTo>
                    <a:pt x="321" y="273"/>
                  </a:lnTo>
                  <a:lnTo>
                    <a:pt x="321" y="273"/>
                  </a:lnTo>
                  <a:lnTo>
                    <a:pt x="321" y="271"/>
                  </a:lnTo>
                  <a:lnTo>
                    <a:pt x="321" y="271"/>
                  </a:lnTo>
                  <a:lnTo>
                    <a:pt x="321" y="268"/>
                  </a:lnTo>
                  <a:lnTo>
                    <a:pt x="321" y="266"/>
                  </a:lnTo>
                  <a:lnTo>
                    <a:pt x="321" y="266"/>
                  </a:lnTo>
                  <a:lnTo>
                    <a:pt x="319" y="264"/>
                  </a:lnTo>
                  <a:lnTo>
                    <a:pt x="319" y="262"/>
                  </a:lnTo>
                  <a:lnTo>
                    <a:pt x="317" y="258"/>
                  </a:lnTo>
                  <a:lnTo>
                    <a:pt x="317" y="258"/>
                  </a:lnTo>
                  <a:lnTo>
                    <a:pt x="315" y="256"/>
                  </a:lnTo>
                  <a:lnTo>
                    <a:pt x="309" y="248"/>
                  </a:lnTo>
                  <a:lnTo>
                    <a:pt x="309" y="248"/>
                  </a:lnTo>
                  <a:lnTo>
                    <a:pt x="309" y="246"/>
                  </a:lnTo>
                  <a:lnTo>
                    <a:pt x="307" y="246"/>
                  </a:lnTo>
                  <a:lnTo>
                    <a:pt x="307" y="246"/>
                  </a:lnTo>
                  <a:lnTo>
                    <a:pt x="307" y="244"/>
                  </a:lnTo>
                  <a:lnTo>
                    <a:pt x="307" y="242"/>
                  </a:lnTo>
                  <a:lnTo>
                    <a:pt x="305" y="240"/>
                  </a:lnTo>
                  <a:lnTo>
                    <a:pt x="303" y="236"/>
                  </a:lnTo>
                  <a:lnTo>
                    <a:pt x="303" y="236"/>
                  </a:lnTo>
                  <a:lnTo>
                    <a:pt x="303" y="234"/>
                  </a:lnTo>
                  <a:lnTo>
                    <a:pt x="301" y="234"/>
                  </a:lnTo>
                  <a:lnTo>
                    <a:pt x="303" y="232"/>
                  </a:lnTo>
                  <a:lnTo>
                    <a:pt x="301" y="232"/>
                  </a:lnTo>
                  <a:lnTo>
                    <a:pt x="299" y="230"/>
                  </a:lnTo>
                  <a:lnTo>
                    <a:pt x="299" y="230"/>
                  </a:lnTo>
                  <a:lnTo>
                    <a:pt x="299" y="227"/>
                  </a:lnTo>
                  <a:lnTo>
                    <a:pt x="299" y="227"/>
                  </a:lnTo>
                  <a:lnTo>
                    <a:pt x="297" y="227"/>
                  </a:lnTo>
                  <a:lnTo>
                    <a:pt x="297" y="223"/>
                  </a:lnTo>
                  <a:lnTo>
                    <a:pt x="293" y="215"/>
                  </a:lnTo>
                  <a:lnTo>
                    <a:pt x="293" y="215"/>
                  </a:lnTo>
                  <a:lnTo>
                    <a:pt x="293" y="211"/>
                  </a:lnTo>
                  <a:lnTo>
                    <a:pt x="293" y="211"/>
                  </a:lnTo>
                  <a:lnTo>
                    <a:pt x="293" y="209"/>
                  </a:lnTo>
                  <a:lnTo>
                    <a:pt x="291" y="205"/>
                  </a:lnTo>
                  <a:lnTo>
                    <a:pt x="289" y="203"/>
                  </a:lnTo>
                  <a:lnTo>
                    <a:pt x="289" y="197"/>
                  </a:lnTo>
                  <a:lnTo>
                    <a:pt x="287" y="191"/>
                  </a:lnTo>
                  <a:lnTo>
                    <a:pt x="285" y="184"/>
                  </a:lnTo>
                  <a:lnTo>
                    <a:pt x="283" y="178"/>
                  </a:lnTo>
                  <a:lnTo>
                    <a:pt x="281" y="170"/>
                  </a:lnTo>
                  <a:lnTo>
                    <a:pt x="276" y="162"/>
                  </a:lnTo>
                  <a:lnTo>
                    <a:pt x="274" y="154"/>
                  </a:lnTo>
                  <a:lnTo>
                    <a:pt x="272" y="143"/>
                  </a:lnTo>
                  <a:lnTo>
                    <a:pt x="268" y="135"/>
                  </a:lnTo>
                  <a:lnTo>
                    <a:pt x="266" y="125"/>
                  </a:lnTo>
                  <a:lnTo>
                    <a:pt x="262" y="115"/>
                  </a:lnTo>
                  <a:lnTo>
                    <a:pt x="260" y="107"/>
                  </a:lnTo>
                  <a:lnTo>
                    <a:pt x="256" y="96"/>
                  </a:lnTo>
                  <a:lnTo>
                    <a:pt x="254" y="86"/>
                  </a:lnTo>
                  <a:lnTo>
                    <a:pt x="250" y="76"/>
                  </a:lnTo>
                  <a:lnTo>
                    <a:pt x="248" y="68"/>
                  </a:lnTo>
                  <a:lnTo>
                    <a:pt x="246" y="57"/>
                  </a:lnTo>
                  <a:lnTo>
                    <a:pt x="242" y="49"/>
                  </a:lnTo>
                  <a:lnTo>
                    <a:pt x="240" y="41"/>
                  </a:lnTo>
                  <a:lnTo>
                    <a:pt x="238" y="33"/>
                  </a:lnTo>
                  <a:lnTo>
                    <a:pt x="235" y="27"/>
                  </a:lnTo>
                  <a:lnTo>
                    <a:pt x="233" y="20"/>
                  </a:lnTo>
                  <a:lnTo>
                    <a:pt x="231" y="14"/>
                  </a:lnTo>
                  <a:lnTo>
                    <a:pt x="229" y="10"/>
                  </a:lnTo>
                  <a:lnTo>
                    <a:pt x="229" y="6"/>
                  </a:lnTo>
                  <a:lnTo>
                    <a:pt x="227" y="2"/>
                  </a:lnTo>
                  <a:lnTo>
                    <a:pt x="227" y="0"/>
                  </a:lnTo>
                  <a:lnTo>
                    <a:pt x="227" y="0"/>
                  </a:lnTo>
                  <a:lnTo>
                    <a:pt x="213" y="2"/>
                  </a:lnTo>
                  <a:lnTo>
                    <a:pt x="199" y="4"/>
                  </a:lnTo>
                  <a:lnTo>
                    <a:pt x="186" y="4"/>
                  </a:lnTo>
                  <a:lnTo>
                    <a:pt x="172" y="6"/>
                  </a:lnTo>
                  <a:lnTo>
                    <a:pt x="158" y="8"/>
                  </a:lnTo>
                  <a:lnTo>
                    <a:pt x="143" y="10"/>
                  </a:lnTo>
                  <a:lnTo>
                    <a:pt x="129" y="12"/>
                  </a:lnTo>
                  <a:lnTo>
                    <a:pt x="117" y="12"/>
                  </a:lnTo>
                  <a:lnTo>
                    <a:pt x="102" y="14"/>
                  </a:lnTo>
                  <a:lnTo>
                    <a:pt x="88" y="16"/>
                  </a:lnTo>
                  <a:lnTo>
                    <a:pt x="74" y="16"/>
                  </a:lnTo>
                  <a:lnTo>
                    <a:pt x="59" y="18"/>
                  </a:lnTo>
                  <a:lnTo>
                    <a:pt x="47" y="20"/>
                  </a:lnTo>
                  <a:lnTo>
                    <a:pt x="33" y="20"/>
                  </a:lnTo>
                  <a:lnTo>
                    <a:pt x="18" y="23"/>
                  </a:lnTo>
                  <a:lnTo>
                    <a:pt x="4" y="25"/>
                  </a:lnTo>
                  <a:lnTo>
                    <a:pt x="2" y="25"/>
                  </a:lnTo>
                  <a:lnTo>
                    <a:pt x="0" y="25"/>
                  </a:lnTo>
                  <a:lnTo>
                    <a:pt x="2" y="27"/>
                  </a:lnTo>
                  <a:lnTo>
                    <a:pt x="4" y="31"/>
                  </a:lnTo>
                  <a:lnTo>
                    <a:pt x="6" y="35"/>
                  </a:lnTo>
                  <a:lnTo>
                    <a:pt x="10" y="37"/>
                  </a:lnTo>
                  <a:lnTo>
                    <a:pt x="10" y="37"/>
                  </a:lnTo>
                  <a:lnTo>
                    <a:pt x="10" y="37"/>
                  </a:lnTo>
                  <a:lnTo>
                    <a:pt x="10" y="43"/>
                  </a:lnTo>
                  <a:lnTo>
                    <a:pt x="10" y="45"/>
                  </a:lnTo>
                  <a:lnTo>
                    <a:pt x="10" y="55"/>
                  </a:lnTo>
                  <a:lnTo>
                    <a:pt x="10" y="64"/>
                  </a:lnTo>
                  <a:lnTo>
                    <a:pt x="10" y="72"/>
                  </a:lnTo>
                  <a:lnTo>
                    <a:pt x="10" y="82"/>
                  </a:lnTo>
                  <a:lnTo>
                    <a:pt x="10" y="92"/>
                  </a:lnTo>
                  <a:lnTo>
                    <a:pt x="10" y="105"/>
                  </a:lnTo>
                  <a:lnTo>
                    <a:pt x="10" y="117"/>
                  </a:lnTo>
                  <a:lnTo>
                    <a:pt x="10" y="129"/>
                  </a:lnTo>
                  <a:lnTo>
                    <a:pt x="10" y="143"/>
                  </a:lnTo>
                  <a:lnTo>
                    <a:pt x="10" y="158"/>
                  </a:lnTo>
                  <a:lnTo>
                    <a:pt x="10" y="172"/>
                  </a:lnTo>
                  <a:lnTo>
                    <a:pt x="10" y="189"/>
                  </a:lnTo>
                  <a:lnTo>
                    <a:pt x="10" y="217"/>
                  </a:lnTo>
                  <a:lnTo>
                    <a:pt x="10" y="234"/>
                  </a:lnTo>
                  <a:lnTo>
                    <a:pt x="10" y="248"/>
                  </a:lnTo>
                  <a:lnTo>
                    <a:pt x="10" y="262"/>
                  </a:lnTo>
                  <a:lnTo>
                    <a:pt x="10" y="277"/>
                  </a:lnTo>
                  <a:lnTo>
                    <a:pt x="10" y="289"/>
                  </a:lnTo>
                  <a:lnTo>
                    <a:pt x="10" y="301"/>
                  </a:lnTo>
                  <a:lnTo>
                    <a:pt x="10" y="314"/>
                  </a:lnTo>
                  <a:lnTo>
                    <a:pt x="10" y="324"/>
                  </a:lnTo>
                  <a:lnTo>
                    <a:pt x="10" y="334"/>
                  </a:lnTo>
                  <a:lnTo>
                    <a:pt x="10" y="342"/>
                  </a:lnTo>
                  <a:lnTo>
                    <a:pt x="10" y="350"/>
                  </a:lnTo>
                  <a:lnTo>
                    <a:pt x="10" y="357"/>
                  </a:lnTo>
                  <a:lnTo>
                    <a:pt x="10" y="361"/>
                  </a:lnTo>
                  <a:lnTo>
                    <a:pt x="10" y="363"/>
                  </a:lnTo>
                  <a:lnTo>
                    <a:pt x="10" y="365"/>
                  </a:lnTo>
                  <a:lnTo>
                    <a:pt x="12" y="373"/>
                  </a:lnTo>
                  <a:lnTo>
                    <a:pt x="12" y="383"/>
                  </a:lnTo>
                  <a:lnTo>
                    <a:pt x="14" y="393"/>
                  </a:lnTo>
                  <a:lnTo>
                    <a:pt x="16" y="404"/>
                  </a:lnTo>
                  <a:lnTo>
                    <a:pt x="18" y="414"/>
                  </a:lnTo>
                  <a:lnTo>
                    <a:pt x="18" y="424"/>
                  </a:lnTo>
                  <a:lnTo>
                    <a:pt x="22" y="445"/>
                  </a:lnTo>
                  <a:lnTo>
                    <a:pt x="22" y="455"/>
                  </a:lnTo>
                  <a:lnTo>
                    <a:pt x="25" y="463"/>
                  </a:lnTo>
                  <a:lnTo>
                    <a:pt x="27" y="473"/>
                  </a:lnTo>
                  <a:lnTo>
                    <a:pt x="29" y="484"/>
                  </a:lnTo>
                  <a:lnTo>
                    <a:pt x="31" y="494"/>
                  </a:lnTo>
                  <a:lnTo>
                    <a:pt x="31" y="504"/>
                  </a:lnTo>
                  <a:lnTo>
                    <a:pt x="35" y="525"/>
                  </a:lnTo>
                  <a:lnTo>
                    <a:pt x="37" y="523"/>
                  </a:lnTo>
                  <a:lnTo>
                    <a:pt x="39" y="523"/>
                  </a:lnTo>
                  <a:lnTo>
                    <a:pt x="41" y="523"/>
                  </a:lnTo>
                  <a:lnTo>
                    <a:pt x="43" y="525"/>
                  </a:lnTo>
                  <a:lnTo>
                    <a:pt x="43" y="525"/>
                  </a:lnTo>
                  <a:lnTo>
                    <a:pt x="43" y="523"/>
                  </a:lnTo>
                  <a:lnTo>
                    <a:pt x="43" y="523"/>
                  </a:lnTo>
                  <a:lnTo>
                    <a:pt x="43" y="523"/>
                  </a:lnTo>
                  <a:lnTo>
                    <a:pt x="43" y="523"/>
                  </a:lnTo>
                  <a:lnTo>
                    <a:pt x="45" y="523"/>
                  </a:lnTo>
                  <a:lnTo>
                    <a:pt x="51" y="523"/>
                  </a:lnTo>
                  <a:lnTo>
                    <a:pt x="55" y="525"/>
                  </a:lnTo>
                  <a:lnTo>
                    <a:pt x="53" y="527"/>
                  </a:lnTo>
                  <a:lnTo>
                    <a:pt x="53" y="527"/>
                  </a:lnTo>
                  <a:lnTo>
                    <a:pt x="55" y="529"/>
                  </a:lnTo>
                  <a:lnTo>
                    <a:pt x="57" y="529"/>
                  </a:lnTo>
                  <a:lnTo>
                    <a:pt x="57" y="529"/>
                  </a:lnTo>
                  <a:lnTo>
                    <a:pt x="59" y="527"/>
                  </a:lnTo>
                  <a:lnTo>
                    <a:pt x="59" y="529"/>
                  </a:lnTo>
                  <a:lnTo>
                    <a:pt x="59" y="529"/>
                  </a:lnTo>
                  <a:lnTo>
                    <a:pt x="59" y="529"/>
                  </a:lnTo>
                  <a:lnTo>
                    <a:pt x="61" y="529"/>
                  </a:lnTo>
                  <a:lnTo>
                    <a:pt x="61" y="527"/>
                  </a:lnTo>
                  <a:lnTo>
                    <a:pt x="61" y="518"/>
                  </a:lnTo>
                  <a:lnTo>
                    <a:pt x="61" y="514"/>
                  </a:lnTo>
                  <a:lnTo>
                    <a:pt x="61" y="512"/>
                  </a:lnTo>
                  <a:lnTo>
                    <a:pt x="61" y="508"/>
                  </a:lnTo>
                  <a:lnTo>
                    <a:pt x="61" y="506"/>
                  </a:lnTo>
                  <a:lnTo>
                    <a:pt x="61" y="506"/>
                  </a:lnTo>
                  <a:lnTo>
                    <a:pt x="61" y="504"/>
                  </a:lnTo>
                  <a:lnTo>
                    <a:pt x="61" y="504"/>
                  </a:lnTo>
                  <a:lnTo>
                    <a:pt x="61" y="502"/>
                  </a:lnTo>
                  <a:lnTo>
                    <a:pt x="61" y="500"/>
                  </a:lnTo>
                  <a:lnTo>
                    <a:pt x="61" y="500"/>
                  </a:lnTo>
                  <a:lnTo>
                    <a:pt x="63" y="498"/>
                  </a:lnTo>
                  <a:lnTo>
                    <a:pt x="63" y="498"/>
                  </a:lnTo>
                  <a:lnTo>
                    <a:pt x="63" y="496"/>
                  </a:lnTo>
                  <a:lnTo>
                    <a:pt x="63" y="494"/>
                  </a:lnTo>
                  <a:lnTo>
                    <a:pt x="63" y="492"/>
                  </a:lnTo>
                  <a:lnTo>
                    <a:pt x="63" y="492"/>
                  </a:lnTo>
                  <a:lnTo>
                    <a:pt x="65" y="490"/>
                  </a:lnTo>
                  <a:lnTo>
                    <a:pt x="63" y="488"/>
                  </a:lnTo>
                  <a:lnTo>
                    <a:pt x="65" y="488"/>
                  </a:lnTo>
                  <a:lnTo>
                    <a:pt x="65" y="486"/>
                  </a:lnTo>
                  <a:lnTo>
                    <a:pt x="65" y="484"/>
                  </a:lnTo>
                  <a:lnTo>
                    <a:pt x="65" y="484"/>
                  </a:lnTo>
                  <a:lnTo>
                    <a:pt x="65" y="484"/>
                  </a:lnTo>
                  <a:lnTo>
                    <a:pt x="68" y="484"/>
                  </a:lnTo>
                  <a:lnTo>
                    <a:pt x="68" y="486"/>
                  </a:lnTo>
                  <a:lnTo>
                    <a:pt x="68" y="488"/>
                  </a:lnTo>
                  <a:lnTo>
                    <a:pt x="68" y="488"/>
                  </a:lnTo>
                  <a:lnTo>
                    <a:pt x="68" y="488"/>
                  </a:lnTo>
                  <a:lnTo>
                    <a:pt x="70" y="488"/>
                  </a:lnTo>
                  <a:lnTo>
                    <a:pt x="70" y="488"/>
                  </a:lnTo>
                  <a:lnTo>
                    <a:pt x="72" y="490"/>
                  </a:lnTo>
                  <a:lnTo>
                    <a:pt x="74" y="490"/>
                  </a:lnTo>
                  <a:lnTo>
                    <a:pt x="78" y="498"/>
                  </a:lnTo>
                  <a:lnTo>
                    <a:pt x="78" y="500"/>
                  </a:lnTo>
                  <a:lnTo>
                    <a:pt x="78" y="502"/>
                  </a:lnTo>
                  <a:lnTo>
                    <a:pt x="78" y="504"/>
                  </a:lnTo>
                  <a:lnTo>
                    <a:pt x="76" y="506"/>
                  </a:lnTo>
                  <a:lnTo>
                    <a:pt x="76" y="508"/>
                  </a:lnTo>
                  <a:lnTo>
                    <a:pt x="76" y="510"/>
                  </a:lnTo>
                  <a:lnTo>
                    <a:pt x="76" y="510"/>
                  </a:lnTo>
                  <a:lnTo>
                    <a:pt x="78" y="510"/>
                  </a:lnTo>
                  <a:lnTo>
                    <a:pt x="78" y="512"/>
                  </a:lnTo>
                  <a:lnTo>
                    <a:pt x="78" y="512"/>
                  </a:lnTo>
                  <a:lnTo>
                    <a:pt x="78" y="514"/>
                  </a:lnTo>
                  <a:lnTo>
                    <a:pt x="80" y="516"/>
                  </a:lnTo>
                  <a:lnTo>
                    <a:pt x="80" y="516"/>
                  </a:lnTo>
                  <a:lnTo>
                    <a:pt x="80" y="518"/>
                  </a:lnTo>
                  <a:lnTo>
                    <a:pt x="82" y="518"/>
                  </a:lnTo>
                  <a:lnTo>
                    <a:pt x="82" y="518"/>
                  </a:lnTo>
                  <a:lnTo>
                    <a:pt x="84" y="518"/>
                  </a:lnTo>
                  <a:lnTo>
                    <a:pt x="84" y="518"/>
                  </a:lnTo>
                  <a:lnTo>
                    <a:pt x="86" y="518"/>
                  </a:lnTo>
                  <a:lnTo>
                    <a:pt x="86" y="518"/>
                  </a:lnTo>
                  <a:lnTo>
                    <a:pt x="86" y="518"/>
                  </a:lnTo>
                  <a:lnTo>
                    <a:pt x="86" y="516"/>
                  </a:lnTo>
                  <a:lnTo>
                    <a:pt x="86" y="516"/>
                  </a:lnTo>
                  <a:lnTo>
                    <a:pt x="88" y="516"/>
                  </a:lnTo>
                  <a:lnTo>
                    <a:pt x="88" y="516"/>
                  </a:lnTo>
                  <a:lnTo>
                    <a:pt x="88" y="516"/>
                  </a:lnTo>
                  <a:lnTo>
                    <a:pt x="88" y="521"/>
                  </a:lnTo>
                  <a:lnTo>
                    <a:pt x="88" y="521"/>
                  </a:lnTo>
                  <a:lnTo>
                    <a:pt x="88" y="523"/>
                  </a:lnTo>
                  <a:lnTo>
                    <a:pt x="94" y="527"/>
                  </a:lnTo>
                  <a:lnTo>
                    <a:pt x="94" y="529"/>
                  </a:lnTo>
                  <a:lnTo>
                    <a:pt x="92" y="531"/>
                  </a:lnTo>
                  <a:lnTo>
                    <a:pt x="88" y="533"/>
                  </a:lnTo>
                  <a:lnTo>
                    <a:pt x="84" y="535"/>
                  </a:lnTo>
                  <a:lnTo>
                    <a:pt x="82" y="535"/>
                  </a:lnTo>
                  <a:lnTo>
                    <a:pt x="80" y="533"/>
                  </a:lnTo>
                  <a:lnTo>
                    <a:pt x="78" y="533"/>
                  </a:lnTo>
                  <a:lnTo>
                    <a:pt x="78" y="535"/>
                  </a:lnTo>
                  <a:lnTo>
                    <a:pt x="78" y="535"/>
                  </a:lnTo>
                  <a:lnTo>
                    <a:pt x="74" y="535"/>
                  </a:lnTo>
                  <a:lnTo>
                    <a:pt x="72" y="537"/>
                  </a:lnTo>
                  <a:lnTo>
                    <a:pt x="72" y="539"/>
                  </a:lnTo>
                  <a:lnTo>
                    <a:pt x="74" y="537"/>
                  </a:lnTo>
                  <a:lnTo>
                    <a:pt x="82" y="535"/>
                  </a:lnTo>
                  <a:lnTo>
                    <a:pt x="94" y="535"/>
                  </a:lnTo>
                  <a:lnTo>
                    <a:pt x="104" y="531"/>
                  </a:lnTo>
                  <a:lnTo>
                    <a:pt x="111" y="529"/>
                  </a:lnTo>
                  <a:lnTo>
                    <a:pt x="113" y="525"/>
                  </a:lnTo>
                  <a:lnTo>
                    <a:pt x="113" y="525"/>
                  </a:lnTo>
                  <a:lnTo>
                    <a:pt x="111" y="525"/>
                  </a:lnTo>
                  <a:lnTo>
                    <a:pt x="111" y="525"/>
                  </a:lnTo>
                  <a:lnTo>
                    <a:pt x="108" y="525"/>
                  </a:lnTo>
                  <a:lnTo>
                    <a:pt x="108" y="523"/>
                  </a:lnTo>
                  <a:lnTo>
                    <a:pt x="108" y="523"/>
                  </a:lnTo>
                  <a:lnTo>
                    <a:pt x="108" y="521"/>
                  </a:lnTo>
                  <a:lnTo>
                    <a:pt x="108" y="518"/>
                  </a:lnTo>
                  <a:lnTo>
                    <a:pt x="108" y="518"/>
                  </a:lnTo>
                  <a:lnTo>
                    <a:pt x="108" y="521"/>
                  </a:lnTo>
                  <a:lnTo>
                    <a:pt x="111" y="521"/>
                  </a:lnTo>
                  <a:lnTo>
                    <a:pt x="111" y="523"/>
                  </a:lnTo>
                  <a:lnTo>
                    <a:pt x="111" y="523"/>
                  </a:lnTo>
                  <a:lnTo>
                    <a:pt x="113" y="523"/>
                  </a:lnTo>
                  <a:lnTo>
                    <a:pt x="113" y="523"/>
                  </a:lnTo>
                  <a:lnTo>
                    <a:pt x="115" y="523"/>
                  </a:lnTo>
                  <a:lnTo>
                    <a:pt x="117" y="521"/>
                  </a:lnTo>
                  <a:lnTo>
                    <a:pt x="117" y="518"/>
                  </a:lnTo>
                  <a:lnTo>
                    <a:pt x="119" y="518"/>
                  </a:lnTo>
                  <a:lnTo>
                    <a:pt x="121" y="518"/>
                  </a:lnTo>
                  <a:lnTo>
                    <a:pt x="121" y="516"/>
                  </a:lnTo>
                  <a:lnTo>
                    <a:pt x="123" y="514"/>
                  </a:lnTo>
                  <a:lnTo>
                    <a:pt x="123" y="512"/>
                  </a:lnTo>
                  <a:lnTo>
                    <a:pt x="127" y="508"/>
                  </a:lnTo>
                  <a:lnTo>
                    <a:pt x="127" y="508"/>
                  </a:lnTo>
                  <a:lnTo>
                    <a:pt x="127" y="508"/>
                  </a:lnTo>
                  <a:lnTo>
                    <a:pt x="127" y="506"/>
                  </a:lnTo>
                  <a:lnTo>
                    <a:pt x="125" y="506"/>
                  </a:lnTo>
                  <a:lnTo>
                    <a:pt x="125" y="506"/>
                  </a:lnTo>
                  <a:lnTo>
                    <a:pt x="123" y="504"/>
                  </a:lnTo>
                  <a:lnTo>
                    <a:pt x="123" y="504"/>
                  </a:lnTo>
                  <a:lnTo>
                    <a:pt x="125" y="504"/>
                  </a:lnTo>
                  <a:lnTo>
                    <a:pt x="125" y="504"/>
                  </a:lnTo>
                  <a:lnTo>
                    <a:pt x="123" y="500"/>
                  </a:lnTo>
                  <a:lnTo>
                    <a:pt x="121" y="498"/>
                  </a:lnTo>
                  <a:lnTo>
                    <a:pt x="121" y="498"/>
                  </a:lnTo>
                  <a:lnTo>
                    <a:pt x="121" y="496"/>
                  </a:lnTo>
                  <a:lnTo>
                    <a:pt x="123" y="494"/>
                  </a:lnTo>
                  <a:lnTo>
                    <a:pt x="123" y="490"/>
                  </a:lnTo>
                  <a:lnTo>
                    <a:pt x="123" y="486"/>
                  </a:lnTo>
                  <a:lnTo>
                    <a:pt x="123" y="486"/>
                  </a:lnTo>
                  <a:lnTo>
                    <a:pt x="123" y="484"/>
                  </a:lnTo>
                  <a:lnTo>
                    <a:pt x="123" y="484"/>
                  </a:lnTo>
                  <a:lnTo>
                    <a:pt x="123" y="484"/>
                  </a:lnTo>
                  <a:lnTo>
                    <a:pt x="115" y="480"/>
                  </a:lnTo>
                  <a:lnTo>
                    <a:pt x="113" y="477"/>
                  </a:lnTo>
                  <a:lnTo>
                    <a:pt x="111" y="477"/>
                  </a:lnTo>
                  <a:lnTo>
                    <a:pt x="108" y="473"/>
                  </a:lnTo>
                  <a:lnTo>
                    <a:pt x="108" y="473"/>
                  </a:lnTo>
                  <a:lnTo>
                    <a:pt x="102" y="469"/>
                  </a:lnTo>
                  <a:lnTo>
                    <a:pt x="102" y="467"/>
                  </a:lnTo>
                  <a:lnTo>
                    <a:pt x="100" y="465"/>
                  </a:lnTo>
                  <a:lnTo>
                    <a:pt x="100" y="465"/>
                  </a:lnTo>
                  <a:lnTo>
                    <a:pt x="100" y="465"/>
                  </a:lnTo>
                  <a:lnTo>
                    <a:pt x="100" y="463"/>
                  </a:lnTo>
                  <a:lnTo>
                    <a:pt x="100" y="463"/>
                  </a:lnTo>
                  <a:lnTo>
                    <a:pt x="100" y="461"/>
                  </a:lnTo>
                  <a:lnTo>
                    <a:pt x="102" y="457"/>
                  </a:lnTo>
                  <a:lnTo>
                    <a:pt x="102" y="457"/>
                  </a:lnTo>
                  <a:lnTo>
                    <a:pt x="102" y="453"/>
                  </a:lnTo>
                  <a:lnTo>
                    <a:pt x="102" y="451"/>
                  </a:lnTo>
                  <a:lnTo>
                    <a:pt x="106" y="451"/>
                  </a:lnTo>
                  <a:lnTo>
                    <a:pt x="121" y="449"/>
                  </a:lnTo>
                  <a:lnTo>
                    <a:pt x="135" y="447"/>
                  </a:lnTo>
                  <a:lnTo>
                    <a:pt x="149" y="445"/>
                  </a:lnTo>
                  <a:lnTo>
                    <a:pt x="164" y="443"/>
                  </a:lnTo>
                  <a:lnTo>
                    <a:pt x="178" y="441"/>
                  </a:lnTo>
                  <a:lnTo>
                    <a:pt x="195" y="441"/>
                  </a:lnTo>
                  <a:lnTo>
                    <a:pt x="209" y="439"/>
                  </a:lnTo>
                  <a:lnTo>
                    <a:pt x="223" y="436"/>
                  </a:lnTo>
                  <a:lnTo>
                    <a:pt x="238" y="434"/>
                  </a:lnTo>
                  <a:lnTo>
                    <a:pt x="252" y="432"/>
                  </a:lnTo>
                  <a:lnTo>
                    <a:pt x="266" y="430"/>
                  </a:lnTo>
                  <a:lnTo>
                    <a:pt x="281" y="428"/>
                  </a:lnTo>
                  <a:lnTo>
                    <a:pt x="295" y="426"/>
                  </a:lnTo>
                  <a:lnTo>
                    <a:pt x="311" y="424"/>
                  </a:lnTo>
                  <a:lnTo>
                    <a:pt x="326" y="422"/>
                  </a:lnTo>
                  <a:lnTo>
                    <a:pt x="340" y="420"/>
                  </a:lnTo>
                  <a:lnTo>
                    <a:pt x="340" y="420"/>
                  </a:lnTo>
                  <a:lnTo>
                    <a:pt x="340" y="420"/>
                  </a:lnTo>
                  <a:lnTo>
                    <a:pt x="340" y="418"/>
                  </a:lnTo>
                  <a:lnTo>
                    <a:pt x="340" y="41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L</a:t>
              </a:r>
            </a:p>
          </p:txBody>
        </p:sp>
        <p:sp>
          <p:nvSpPr>
            <p:cNvPr id="135" name="Freeform 55">
              <a:extLst>
                <a:ext uri="{FF2B5EF4-FFF2-40B4-BE49-F238E27FC236}">
                  <a16:creationId xmlns:a16="http://schemas.microsoft.com/office/drawing/2014/main" id="{7853530A-747B-5842-A6FE-68BF15AA5AE6}"/>
                </a:ext>
              </a:extLst>
            </p:cNvPr>
            <p:cNvSpPr>
              <a:spLocks noEditPoints="1"/>
            </p:cNvSpPr>
            <p:nvPr/>
          </p:nvSpPr>
          <p:spPr bwMode="auto">
            <a:xfrm>
              <a:off x="-261" y="2004"/>
              <a:ext cx="1708" cy="918"/>
            </a:xfrm>
            <a:custGeom>
              <a:avLst/>
              <a:gdLst>
                <a:gd name="T0" fmla="*/ 672 w 1708"/>
                <a:gd name="T1" fmla="*/ 871 h 918"/>
                <a:gd name="T2" fmla="*/ 649 w 1708"/>
                <a:gd name="T3" fmla="*/ 369 h 918"/>
                <a:gd name="T4" fmla="*/ 614 w 1708"/>
                <a:gd name="T5" fmla="*/ 879 h 918"/>
                <a:gd name="T6" fmla="*/ 789 w 1708"/>
                <a:gd name="T7" fmla="*/ 838 h 918"/>
                <a:gd name="T8" fmla="*/ 854 w 1708"/>
                <a:gd name="T9" fmla="*/ 850 h 918"/>
                <a:gd name="T10" fmla="*/ 729 w 1708"/>
                <a:gd name="T11" fmla="*/ 832 h 918"/>
                <a:gd name="T12" fmla="*/ 229 w 1708"/>
                <a:gd name="T13" fmla="*/ 883 h 918"/>
                <a:gd name="T14" fmla="*/ 295 w 1708"/>
                <a:gd name="T15" fmla="*/ 896 h 918"/>
                <a:gd name="T16" fmla="*/ 6 w 1708"/>
                <a:gd name="T17" fmla="*/ 711 h 918"/>
                <a:gd name="T18" fmla="*/ 522 w 1708"/>
                <a:gd name="T19" fmla="*/ 908 h 918"/>
                <a:gd name="T20" fmla="*/ 561 w 1708"/>
                <a:gd name="T21" fmla="*/ 910 h 918"/>
                <a:gd name="T22" fmla="*/ 387 w 1708"/>
                <a:gd name="T23" fmla="*/ 914 h 918"/>
                <a:gd name="T24" fmla="*/ 1624 w 1708"/>
                <a:gd name="T25" fmla="*/ 682 h 918"/>
                <a:gd name="T26" fmla="*/ 1221 w 1708"/>
                <a:gd name="T27" fmla="*/ 57 h 918"/>
                <a:gd name="T28" fmla="*/ 1040 w 1708"/>
                <a:gd name="T29" fmla="*/ 37 h 918"/>
                <a:gd name="T30" fmla="*/ 922 w 1708"/>
                <a:gd name="T31" fmla="*/ 31 h 918"/>
                <a:gd name="T32" fmla="*/ 846 w 1708"/>
                <a:gd name="T33" fmla="*/ 84 h 918"/>
                <a:gd name="T34" fmla="*/ 862 w 1708"/>
                <a:gd name="T35" fmla="*/ 244 h 918"/>
                <a:gd name="T36" fmla="*/ 782 w 1708"/>
                <a:gd name="T37" fmla="*/ 238 h 918"/>
                <a:gd name="T38" fmla="*/ 813 w 1708"/>
                <a:gd name="T39" fmla="*/ 344 h 918"/>
                <a:gd name="T40" fmla="*/ 770 w 1708"/>
                <a:gd name="T41" fmla="*/ 416 h 918"/>
                <a:gd name="T42" fmla="*/ 748 w 1708"/>
                <a:gd name="T43" fmla="*/ 488 h 918"/>
                <a:gd name="T44" fmla="*/ 733 w 1708"/>
                <a:gd name="T45" fmla="*/ 541 h 918"/>
                <a:gd name="T46" fmla="*/ 803 w 1708"/>
                <a:gd name="T47" fmla="*/ 629 h 918"/>
                <a:gd name="T48" fmla="*/ 881 w 1708"/>
                <a:gd name="T49" fmla="*/ 654 h 918"/>
                <a:gd name="T50" fmla="*/ 897 w 1708"/>
                <a:gd name="T51" fmla="*/ 725 h 918"/>
                <a:gd name="T52" fmla="*/ 739 w 1708"/>
                <a:gd name="T53" fmla="*/ 840 h 918"/>
                <a:gd name="T54" fmla="*/ 834 w 1708"/>
                <a:gd name="T55" fmla="*/ 807 h 918"/>
                <a:gd name="T56" fmla="*/ 885 w 1708"/>
                <a:gd name="T57" fmla="*/ 785 h 918"/>
                <a:gd name="T58" fmla="*/ 963 w 1708"/>
                <a:gd name="T59" fmla="*/ 719 h 918"/>
                <a:gd name="T60" fmla="*/ 1012 w 1708"/>
                <a:gd name="T61" fmla="*/ 627 h 918"/>
                <a:gd name="T62" fmla="*/ 1116 w 1708"/>
                <a:gd name="T63" fmla="*/ 514 h 918"/>
                <a:gd name="T64" fmla="*/ 1106 w 1708"/>
                <a:gd name="T65" fmla="*/ 615 h 918"/>
                <a:gd name="T66" fmla="*/ 1159 w 1708"/>
                <a:gd name="T67" fmla="*/ 572 h 918"/>
                <a:gd name="T68" fmla="*/ 1163 w 1708"/>
                <a:gd name="T69" fmla="*/ 535 h 918"/>
                <a:gd name="T70" fmla="*/ 1212 w 1708"/>
                <a:gd name="T71" fmla="*/ 541 h 918"/>
                <a:gd name="T72" fmla="*/ 1380 w 1708"/>
                <a:gd name="T73" fmla="*/ 559 h 918"/>
                <a:gd name="T74" fmla="*/ 1485 w 1708"/>
                <a:gd name="T75" fmla="*/ 619 h 918"/>
                <a:gd name="T76" fmla="*/ 1491 w 1708"/>
                <a:gd name="T77" fmla="*/ 586 h 918"/>
                <a:gd name="T78" fmla="*/ 1548 w 1708"/>
                <a:gd name="T79" fmla="*/ 594 h 918"/>
                <a:gd name="T80" fmla="*/ 1600 w 1708"/>
                <a:gd name="T81" fmla="*/ 652 h 918"/>
                <a:gd name="T82" fmla="*/ 1690 w 1708"/>
                <a:gd name="T83" fmla="*/ 728 h 918"/>
                <a:gd name="T84" fmla="*/ 840 w 1708"/>
                <a:gd name="T85" fmla="*/ 654 h 918"/>
                <a:gd name="T86" fmla="*/ 1602 w 1708"/>
                <a:gd name="T87" fmla="*/ 725 h 918"/>
                <a:gd name="T88" fmla="*/ 1606 w 1708"/>
                <a:gd name="T89" fmla="*/ 744 h 918"/>
                <a:gd name="T90" fmla="*/ 1636 w 1708"/>
                <a:gd name="T91" fmla="*/ 723 h 918"/>
                <a:gd name="T92" fmla="*/ 1630 w 1708"/>
                <a:gd name="T93" fmla="*/ 740 h 918"/>
                <a:gd name="T94" fmla="*/ 1636 w 1708"/>
                <a:gd name="T95" fmla="*/ 766 h 918"/>
                <a:gd name="T96" fmla="*/ 723 w 1708"/>
                <a:gd name="T97" fmla="*/ 459 h 918"/>
                <a:gd name="T98" fmla="*/ 1634 w 1708"/>
                <a:gd name="T99" fmla="*/ 695 h 918"/>
                <a:gd name="T100" fmla="*/ 1053 w 1708"/>
                <a:gd name="T101" fmla="*/ 691 h 918"/>
                <a:gd name="T102" fmla="*/ 1165 w 1708"/>
                <a:gd name="T103" fmla="*/ 539 h 918"/>
                <a:gd name="T104" fmla="*/ 1030 w 1708"/>
                <a:gd name="T105" fmla="*/ 705 h 918"/>
                <a:gd name="T106" fmla="*/ 1028 w 1708"/>
                <a:gd name="T107" fmla="*/ 709 h 918"/>
                <a:gd name="T108" fmla="*/ 1014 w 1708"/>
                <a:gd name="T109" fmla="*/ 754 h 918"/>
                <a:gd name="T110" fmla="*/ 1491 w 1708"/>
                <a:gd name="T111" fmla="*/ 639 h 918"/>
                <a:gd name="T112" fmla="*/ 1497 w 1708"/>
                <a:gd name="T113" fmla="*/ 621 h 918"/>
                <a:gd name="T114" fmla="*/ 1557 w 1708"/>
                <a:gd name="T115" fmla="*/ 652 h 918"/>
                <a:gd name="T116" fmla="*/ 1579 w 1708"/>
                <a:gd name="T117" fmla="*/ 725 h 918"/>
                <a:gd name="T118" fmla="*/ 1577 w 1708"/>
                <a:gd name="T119" fmla="*/ 674 h 918"/>
                <a:gd name="T120" fmla="*/ 1524 w 1708"/>
                <a:gd name="T121" fmla="*/ 666 h 918"/>
                <a:gd name="T122" fmla="*/ 1542 w 1708"/>
                <a:gd name="T123" fmla="*/ 689 h 918"/>
                <a:gd name="T124" fmla="*/ 1178 w 1708"/>
                <a:gd name="T125" fmla="*/ 594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8" h="918">
                  <a:moveTo>
                    <a:pt x="694" y="258"/>
                  </a:moveTo>
                  <a:lnTo>
                    <a:pt x="696" y="258"/>
                  </a:lnTo>
                  <a:lnTo>
                    <a:pt x="696" y="258"/>
                  </a:lnTo>
                  <a:lnTo>
                    <a:pt x="696" y="256"/>
                  </a:lnTo>
                  <a:lnTo>
                    <a:pt x="696" y="256"/>
                  </a:lnTo>
                  <a:lnTo>
                    <a:pt x="696" y="256"/>
                  </a:lnTo>
                  <a:lnTo>
                    <a:pt x="694" y="256"/>
                  </a:lnTo>
                  <a:lnTo>
                    <a:pt x="694" y="256"/>
                  </a:lnTo>
                  <a:lnTo>
                    <a:pt x="694" y="258"/>
                  </a:lnTo>
                  <a:lnTo>
                    <a:pt x="694" y="258"/>
                  </a:lnTo>
                  <a:close/>
                  <a:moveTo>
                    <a:pt x="684" y="568"/>
                  </a:moveTo>
                  <a:lnTo>
                    <a:pt x="684" y="568"/>
                  </a:lnTo>
                  <a:lnTo>
                    <a:pt x="684" y="568"/>
                  </a:lnTo>
                  <a:lnTo>
                    <a:pt x="686" y="570"/>
                  </a:lnTo>
                  <a:lnTo>
                    <a:pt x="686" y="570"/>
                  </a:lnTo>
                  <a:lnTo>
                    <a:pt x="686" y="570"/>
                  </a:lnTo>
                  <a:lnTo>
                    <a:pt x="688" y="570"/>
                  </a:lnTo>
                  <a:lnTo>
                    <a:pt x="688" y="570"/>
                  </a:lnTo>
                  <a:lnTo>
                    <a:pt x="688" y="570"/>
                  </a:lnTo>
                  <a:lnTo>
                    <a:pt x="690" y="570"/>
                  </a:lnTo>
                  <a:lnTo>
                    <a:pt x="690" y="570"/>
                  </a:lnTo>
                  <a:lnTo>
                    <a:pt x="690" y="570"/>
                  </a:lnTo>
                  <a:lnTo>
                    <a:pt x="692" y="572"/>
                  </a:lnTo>
                  <a:lnTo>
                    <a:pt x="692" y="572"/>
                  </a:lnTo>
                  <a:lnTo>
                    <a:pt x="694" y="572"/>
                  </a:lnTo>
                  <a:lnTo>
                    <a:pt x="694" y="574"/>
                  </a:lnTo>
                  <a:lnTo>
                    <a:pt x="694" y="574"/>
                  </a:lnTo>
                  <a:lnTo>
                    <a:pt x="694" y="574"/>
                  </a:lnTo>
                  <a:lnTo>
                    <a:pt x="696" y="576"/>
                  </a:lnTo>
                  <a:lnTo>
                    <a:pt x="696" y="576"/>
                  </a:lnTo>
                  <a:lnTo>
                    <a:pt x="696" y="576"/>
                  </a:lnTo>
                  <a:lnTo>
                    <a:pt x="696" y="576"/>
                  </a:lnTo>
                  <a:lnTo>
                    <a:pt x="698" y="576"/>
                  </a:lnTo>
                  <a:lnTo>
                    <a:pt x="698" y="576"/>
                  </a:lnTo>
                  <a:lnTo>
                    <a:pt x="698" y="576"/>
                  </a:lnTo>
                  <a:lnTo>
                    <a:pt x="698" y="574"/>
                  </a:lnTo>
                  <a:lnTo>
                    <a:pt x="698" y="574"/>
                  </a:lnTo>
                  <a:lnTo>
                    <a:pt x="696" y="574"/>
                  </a:lnTo>
                  <a:lnTo>
                    <a:pt x="696" y="574"/>
                  </a:lnTo>
                  <a:lnTo>
                    <a:pt x="694" y="572"/>
                  </a:lnTo>
                  <a:lnTo>
                    <a:pt x="694" y="572"/>
                  </a:lnTo>
                  <a:lnTo>
                    <a:pt x="694" y="572"/>
                  </a:lnTo>
                  <a:lnTo>
                    <a:pt x="696" y="572"/>
                  </a:lnTo>
                  <a:lnTo>
                    <a:pt x="698" y="572"/>
                  </a:lnTo>
                  <a:lnTo>
                    <a:pt x="698" y="572"/>
                  </a:lnTo>
                  <a:lnTo>
                    <a:pt x="700" y="572"/>
                  </a:lnTo>
                  <a:lnTo>
                    <a:pt x="700" y="572"/>
                  </a:lnTo>
                  <a:lnTo>
                    <a:pt x="700" y="572"/>
                  </a:lnTo>
                  <a:lnTo>
                    <a:pt x="703" y="572"/>
                  </a:lnTo>
                  <a:lnTo>
                    <a:pt x="703" y="572"/>
                  </a:lnTo>
                  <a:lnTo>
                    <a:pt x="703" y="570"/>
                  </a:lnTo>
                  <a:lnTo>
                    <a:pt x="703" y="570"/>
                  </a:lnTo>
                  <a:lnTo>
                    <a:pt x="703" y="570"/>
                  </a:lnTo>
                  <a:lnTo>
                    <a:pt x="703" y="572"/>
                  </a:lnTo>
                  <a:lnTo>
                    <a:pt x="703" y="572"/>
                  </a:lnTo>
                  <a:lnTo>
                    <a:pt x="705" y="572"/>
                  </a:lnTo>
                  <a:lnTo>
                    <a:pt x="705" y="572"/>
                  </a:lnTo>
                  <a:lnTo>
                    <a:pt x="709" y="572"/>
                  </a:lnTo>
                  <a:lnTo>
                    <a:pt x="709" y="570"/>
                  </a:lnTo>
                  <a:lnTo>
                    <a:pt x="709" y="570"/>
                  </a:lnTo>
                  <a:lnTo>
                    <a:pt x="709" y="570"/>
                  </a:lnTo>
                  <a:lnTo>
                    <a:pt x="709" y="570"/>
                  </a:lnTo>
                  <a:lnTo>
                    <a:pt x="709" y="572"/>
                  </a:lnTo>
                  <a:lnTo>
                    <a:pt x="711" y="572"/>
                  </a:lnTo>
                  <a:lnTo>
                    <a:pt x="713" y="572"/>
                  </a:lnTo>
                  <a:lnTo>
                    <a:pt x="713" y="572"/>
                  </a:lnTo>
                  <a:lnTo>
                    <a:pt x="713" y="572"/>
                  </a:lnTo>
                  <a:lnTo>
                    <a:pt x="713" y="570"/>
                  </a:lnTo>
                  <a:lnTo>
                    <a:pt x="713" y="570"/>
                  </a:lnTo>
                  <a:lnTo>
                    <a:pt x="713" y="570"/>
                  </a:lnTo>
                  <a:lnTo>
                    <a:pt x="713" y="570"/>
                  </a:lnTo>
                  <a:lnTo>
                    <a:pt x="713" y="570"/>
                  </a:lnTo>
                  <a:lnTo>
                    <a:pt x="713" y="570"/>
                  </a:lnTo>
                  <a:lnTo>
                    <a:pt x="713" y="570"/>
                  </a:lnTo>
                  <a:lnTo>
                    <a:pt x="713" y="568"/>
                  </a:lnTo>
                  <a:lnTo>
                    <a:pt x="715" y="568"/>
                  </a:lnTo>
                  <a:lnTo>
                    <a:pt x="715" y="568"/>
                  </a:lnTo>
                  <a:lnTo>
                    <a:pt x="715" y="568"/>
                  </a:lnTo>
                  <a:lnTo>
                    <a:pt x="713" y="568"/>
                  </a:lnTo>
                  <a:lnTo>
                    <a:pt x="713" y="568"/>
                  </a:lnTo>
                  <a:lnTo>
                    <a:pt x="713" y="568"/>
                  </a:lnTo>
                  <a:lnTo>
                    <a:pt x="713" y="568"/>
                  </a:lnTo>
                  <a:lnTo>
                    <a:pt x="713" y="568"/>
                  </a:lnTo>
                  <a:lnTo>
                    <a:pt x="713" y="566"/>
                  </a:lnTo>
                  <a:lnTo>
                    <a:pt x="713" y="566"/>
                  </a:lnTo>
                  <a:lnTo>
                    <a:pt x="713" y="566"/>
                  </a:lnTo>
                  <a:lnTo>
                    <a:pt x="713" y="566"/>
                  </a:lnTo>
                  <a:lnTo>
                    <a:pt x="713" y="566"/>
                  </a:lnTo>
                  <a:lnTo>
                    <a:pt x="711" y="564"/>
                  </a:lnTo>
                  <a:lnTo>
                    <a:pt x="711" y="564"/>
                  </a:lnTo>
                  <a:lnTo>
                    <a:pt x="711" y="564"/>
                  </a:lnTo>
                  <a:lnTo>
                    <a:pt x="711" y="564"/>
                  </a:lnTo>
                  <a:lnTo>
                    <a:pt x="711" y="562"/>
                  </a:lnTo>
                  <a:lnTo>
                    <a:pt x="713" y="562"/>
                  </a:lnTo>
                  <a:lnTo>
                    <a:pt x="713" y="559"/>
                  </a:lnTo>
                  <a:lnTo>
                    <a:pt x="713" y="559"/>
                  </a:lnTo>
                  <a:lnTo>
                    <a:pt x="713" y="559"/>
                  </a:lnTo>
                  <a:lnTo>
                    <a:pt x="713" y="559"/>
                  </a:lnTo>
                  <a:lnTo>
                    <a:pt x="713" y="559"/>
                  </a:lnTo>
                  <a:lnTo>
                    <a:pt x="713" y="559"/>
                  </a:lnTo>
                  <a:lnTo>
                    <a:pt x="713" y="559"/>
                  </a:lnTo>
                  <a:lnTo>
                    <a:pt x="713" y="559"/>
                  </a:lnTo>
                  <a:lnTo>
                    <a:pt x="713" y="557"/>
                  </a:lnTo>
                  <a:lnTo>
                    <a:pt x="713" y="557"/>
                  </a:lnTo>
                  <a:lnTo>
                    <a:pt x="711" y="557"/>
                  </a:lnTo>
                  <a:lnTo>
                    <a:pt x="711" y="557"/>
                  </a:lnTo>
                  <a:lnTo>
                    <a:pt x="711" y="557"/>
                  </a:lnTo>
                  <a:lnTo>
                    <a:pt x="711" y="557"/>
                  </a:lnTo>
                  <a:lnTo>
                    <a:pt x="713" y="555"/>
                  </a:lnTo>
                  <a:lnTo>
                    <a:pt x="713" y="555"/>
                  </a:lnTo>
                  <a:lnTo>
                    <a:pt x="713" y="553"/>
                  </a:lnTo>
                  <a:lnTo>
                    <a:pt x="713" y="553"/>
                  </a:lnTo>
                  <a:lnTo>
                    <a:pt x="713" y="553"/>
                  </a:lnTo>
                  <a:lnTo>
                    <a:pt x="713" y="553"/>
                  </a:lnTo>
                  <a:lnTo>
                    <a:pt x="713" y="551"/>
                  </a:lnTo>
                  <a:lnTo>
                    <a:pt x="713" y="551"/>
                  </a:lnTo>
                  <a:lnTo>
                    <a:pt x="713" y="551"/>
                  </a:lnTo>
                  <a:lnTo>
                    <a:pt x="713" y="551"/>
                  </a:lnTo>
                  <a:lnTo>
                    <a:pt x="713" y="551"/>
                  </a:lnTo>
                  <a:lnTo>
                    <a:pt x="713" y="551"/>
                  </a:lnTo>
                  <a:lnTo>
                    <a:pt x="713" y="549"/>
                  </a:lnTo>
                  <a:lnTo>
                    <a:pt x="713" y="549"/>
                  </a:lnTo>
                  <a:lnTo>
                    <a:pt x="713" y="549"/>
                  </a:lnTo>
                  <a:lnTo>
                    <a:pt x="713" y="549"/>
                  </a:lnTo>
                  <a:lnTo>
                    <a:pt x="711" y="549"/>
                  </a:lnTo>
                  <a:lnTo>
                    <a:pt x="711" y="549"/>
                  </a:lnTo>
                  <a:lnTo>
                    <a:pt x="711" y="549"/>
                  </a:lnTo>
                  <a:lnTo>
                    <a:pt x="711" y="547"/>
                  </a:lnTo>
                  <a:lnTo>
                    <a:pt x="709" y="547"/>
                  </a:lnTo>
                  <a:lnTo>
                    <a:pt x="709" y="547"/>
                  </a:lnTo>
                  <a:lnTo>
                    <a:pt x="709" y="549"/>
                  </a:lnTo>
                  <a:lnTo>
                    <a:pt x="707" y="549"/>
                  </a:lnTo>
                  <a:lnTo>
                    <a:pt x="705" y="547"/>
                  </a:lnTo>
                  <a:lnTo>
                    <a:pt x="705" y="547"/>
                  </a:lnTo>
                  <a:lnTo>
                    <a:pt x="705" y="547"/>
                  </a:lnTo>
                  <a:lnTo>
                    <a:pt x="705" y="547"/>
                  </a:lnTo>
                  <a:lnTo>
                    <a:pt x="705" y="547"/>
                  </a:lnTo>
                  <a:lnTo>
                    <a:pt x="705" y="547"/>
                  </a:lnTo>
                  <a:lnTo>
                    <a:pt x="705" y="545"/>
                  </a:lnTo>
                  <a:lnTo>
                    <a:pt x="705" y="545"/>
                  </a:lnTo>
                  <a:lnTo>
                    <a:pt x="705" y="545"/>
                  </a:lnTo>
                  <a:lnTo>
                    <a:pt x="705" y="543"/>
                  </a:lnTo>
                  <a:lnTo>
                    <a:pt x="705" y="543"/>
                  </a:lnTo>
                  <a:lnTo>
                    <a:pt x="705" y="543"/>
                  </a:lnTo>
                  <a:lnTo>
                    <a:pt x="703" y="543"/>
                  </a:lnTo>
                  <a:lnTo>
                    <a:pt x="703" y="541"/>
                  </a:lnTo>
                  <a:lnTo>
                    <a:pt x="703" y="543"/>
                  </a:lnTo>
                  <a:lnTo>
                    <a:pt x="703" y="543"/>
                  </a:lnTo>
                  <a:lnTo>
                    <a:pt x="703" y="545"/>
                  </a:lnTo>
                  <a:lnTo>
                    <a:pt x="703" y="545"/>
                  </a:lnTo>
                  <a:lnTo>
                    <a:pt x="703" y="545"/>
                  </a:lnTo>
                  <a:lnTo>
                    <a:pt x="703" y="545"/>
                  </a:lnTo>
                  <a:lnTo>
                    <a:pt x="703" y="543"/>
                  </a:lnTo>
                  <a:lnTo>
                    <a:pt x="698" y="543"/>
                  </a:lnTo>
                  <a:lnTo>
                    <a:pt x="696" y="545"/>
                  </a:lnTo>
                  <a:lnTo>
                    <a:pt x="696" y="545"/>
                  </a:lnTo>
                  <a:lnTo>
                    <a:pt x="696" y="545"/>
                  </a:lnTo>
                  <a:lnTo>
                    <a:pt x="696" y="545"/>
                  </a:lnTo>
                  <a:lnTo>
                    <a:pt x="696" y="545"/>
                  </a:lnTo>
                  <a:lnTo>
                    <a:pt x="696" y="543"/>
                  </a:lnTo>
                  <a:lnTo>
                    <a:pt x="694" y="543"/>
                  </a:lnTo>
                  <a:lnTo>
                    <a:pt x="692" y="543"/>
                  </a:lnTo>
                  <a:lnTo>
                    <a:pt x="692" y="545"/>
                  </a:lnTo>
                  <a:lnTo>
                    <a:pt x="692" y="545"/>
                  </a:lnTo>
                  <a:lnTo>
                    <a:pt x="690" y="545"/>
                  </a:lnTo>
                  <a:lnTo>
                    <a:pt x="690" y="545"/>
                  </a:lnTo>
                  <a:lnTo>
                    <a:pt x="690" y="545"/>
                  </a:lnTo>
                  <a:lnTo>
                    <a:pt x="688" y="545"/>
                  </a:lnTo>
                  <a:lnTo>
                    <a:pt x="688" y="545"/>
                  </a:lnTo>
                  <a:lnTo>
                    <a:pt x="686" y="545"/>
                  </a:lnTo>
                  <a:lnTo>
                    <a:pt x="686" y="547"/>
                  </a:lnTo>
                  <a:lnTo>
                    <a:pt x="686" y="547"/>
                  </a:lnTo>
                  <a:lnTo>
                    <a:pt x="684" y="547"/>
                  </a:lnTo>
                  <a:lnTo>
                    <a:pt x="684" y="547"/>
                  </a:lnTo>
                  <a:lnTo>
                    <a:pt x="684" y="547"/>
                  </a:lnTo>
                  <a:lnTo>
                    <a:pt x="684" y="547"/>
                  </a:lnTo>
                  <a:lnTo>
                    <a:pt x="684" y="549"/>
                  </a:lnTo>
                  <a:lnTo>
                    <a:pt x="682" y="549"/>
                  </a:lnTo>
                  <a:lnTo>
                    <a:pt x="676" y="547"/>
                  </a:lnTo>
                  <a:lnTo>
                    <a:pt x="674" y="547"/>
                  </a:lnTo>
                  <a:lnTo>
                    <a:pt x="674" y="547"/>
                  </a:lnTo>
                  <a:lnTo>
                    <a:pt x="672" y="547"/>
                  </a:lnTo>
                  <a:lnTo>
                    <a:pt x="672" y="547"/>
                  </a:lnTo>
                  <a:lnTo>
                    <a:pt x="672" y="547"/>
                  </a:lnTo>
                  <a:lnTo>
                    <a:pt x="672" y="547"/>
                  </a:lnTo>
                  <a:lnTo>
                    <a:pt x="672" y="547"/>
                  </a:lnTo>
                  <a:lnTo>
                    <a:pt x="672" y="547"/>
                  </a:lnTo>
                  <a:lnTo>
                    <a:pt x="670" y="547"/>
                  </a:lnTo>
                  <a:lnTo>
                    <a:pt x="668" y="547"/>
                  </a:lnTo>
                  <a:lnTo>
                    <a:pt x="668" y="547"/>
                  </a:lnTo>
                  <a:lnTo>
                    <a:pt x="668" y="547"/>
                  </a:lnTo>
                  <a:lnTo>
                    <a:pt x="670" y="551"/>
                  </a:lnTo>
                  <a:lnTo>
                    <a:pt x="670" y="551"/>
                  </a:lnTo>
                  <a:lnTo>
                    <a:pt x="670" y="551"/>
                  </a:lnTo>
                  <a:lnTo>
                    <a:pt x="670" y="553"/>
                  </a:lnTo>
                  <a:lnTo>
                    <a:pt x="670" y="553"/>
                  </a:lnTo>
                  <a:lnTo>
                    <a:pt x="670" y="553"/>
                  </a:lnTo>
                  <a:lnTo>
                    <a:pt x="670" y="555"/>
                  </a:lnTo>
                  <a:lnTo>
                    <a:pt x="670" y="555"/>
                  </a:lnTo>
                  <a:lnTo>
                    <a:pt x="672" y="555"/>
                  </a:lnTo>
                  <a:lnTo>
                    <a:pt x="672" y="553"/>
                  </a:lnTo>
                  <a:lnTo>
                    <a:pt x="672" y="553"/>
                  </a:lnTo>
                  <a:lnTo>
                    <a:pt x="672" y="555"/>
                  </a:lnTo>
                  <a:lnTo>
                    <a:pt x="672" y="557"/>
                  </a:lnTo>
                  <a:lnTo>
                    <a:pt x="672" y="557"/>
                  </a:lnTo>
                  <a:lnTo>
                    <a:pt x="674" y="557"/>
                  </a:lnTo>
                  <a:lnTo>
                    <a:pt x="674" y="559"/>
                  </a:lnTo>
                  <a:lnTo>
                    <a:pt x="674" y="559"/>
                  </a:lnTo>
                  <a:lnTo>
                    <a:pt x="674" y="559"/>
                  </a:lnTo>
                  <a:lnTo>
                    <a:pt x="676" y="559"/>
                  </a:lnTo>
                  <a:lnTo>
                    <a:pt x="676" y="559"/>
                  </a:lnTo>
                  <a:lnTo>
                    <a:pt x="676" y="559"/>
                  </a:lnTo>
                  <a:lnTo>
                    <a:pt x="676" y="559"/>
                  </a:lnTo>
                  <a:lnTo>
                    <a:pt x="676" y="559"/>
                  </a:lnTo>
                  <a:lnTo>
                    <a:pt x="676" y="559"/>
                  </a:lnTo>
                  <a:lnTo>
                    <a:pt x="676" y="559"/>
                  </a:lnTo>
                  <a:lnTo>
                    <a:pt x="676" y="559"/>
                  </a:lnTo>
                  <a:lnTo>
                    <a:pt x="676" y="559"/>
                  </a:lnTo>
                  <a:lnTo>
                    <a:pt x="676" y="559"/>
                  </a:lnTo>
                  <a:lnTo>
                    <a:pt x="678" y="559"/>
                  </a:lnTo>
                  <a:lnTo>
                    <a:pt x="678" y="559"/>
                  </a:lnTo>
                  <a:lnTo>
                    <a:pt x="678" y="559"/>
                  </a:lnTo>
                  <a:lnTo>
                    <a:pt x="676" y="559"/>
                  </a:lnTo>
                  <a:lnTo>
                    <a:pt x="682" y="566"/>
                  </a:lnTo>
                  <a:lnTo>
                    <a:pt x="682" y="566"/>
                  </a:lnTo>
                  <a:lnTo>
                    <a:pt x="684" y="568"/>
                  </a:lnTo>
                  <a:close/>
                  <a:moveTo>
                    <a:pt x="655" y="867"/>
                  </a:moveTo>
                  <a:lnTo>
                    <a:pt x="653" y="867"/>
                  </a:lnTo>
                  <a:lnTo>
                    <a:pt x="653" y="867"/>
                  </a:lnTo>
                  <a:lnTo>
                    <a:pt x="653" y="867"/>
                  </a:lnTo>
                  <a:lnTo>
                    <a:pt x="653" y="867"/>
                  </a:lnTo>
                  <a:lnTo>
                    <a:pt x="655" y="867"/>
                  </a:lnTo>
                  <a:lnTo>
                    <a:pt x="655" y="867"/>
                  </a:lnTo>
                  <a:lnTo>
                    <a:pt x="655" y="865"/>
                  </a:lnTo>
                  <a:lnTo>
                    <a:pt x="653" y="865"/>
                  </a:lnTo>
                  <a:lnTo>
                    <a:pt x="653" y="865"/>
                  </a:lnTo>
                  <a:lnTo>
                    <a:pt x="653" y="865"/>
                  </a:lnTo>
                  <a:lnTo>
                    <a:pt x="653" y="865"/>
                  </a:lnTo>
                  <a:lnTo>
                    <a:pt x="651" y="865"/>
                  </a:lnTo>
                  <a:lnTo>
                    <a:pt x="651" y="863"/>
                  </a:lnTo>
                  <a:lnTo>
                    <a:pt x="651" y="863"/>
                  </a:lnTo>
                  <a:lnTo>
                    <a:pt x="651" y="863"/>
                  </a:lnTo>
                  <a:lnTo>
                    <a:pt x="651" y="863"/>
                  </a:lnTo>
                  <a:lnTo>
                    <a:pt x="651" y="863"/>
                  </a:lnTo>
                  <a:lnTo>
                    <a:pt x="651" y="861"/>
                  </a:lnTo>
                  <a:lnTo>
                    <a:pt x="649" y="861"/>
                  </a:lnTo>
                  <a:lnTo>
                    <a:pt x="649" y="861"/>
                  </a:lnTo>
                  <a:lnTo>
                    <a:pt x="647" y="863"/>
                  </a:lnTo>
                  <a:lnTo>
                    <a:pt x="645" y="863"/>
                  </a:lnTo>
                  <a:lnTo>
                    <a:pt x="645" y="863"/>
                  </a:lnTo>
                  <a:lnTo>
                    <a:pt x="645" y="863"/>
                  </a:lnTo>
                  <a:lnTo>
                    <a:pt x="645" y="865"/>
                  </a:lnTo>
                  <a:lnTo>
                    <a:pt x="645" y="865"/>
                  </a:lnTo>
                  <a:lnTo>
                    <a:pt x="645" y="865"/>
                  </a:lnTo>
                  <a:lnTo>
                    <a:pt x="643" y="865"/>
                  </a:lnTo>
                  <a:lnTo>
                    <a:pt x="645" y="867"/>
                  </a:lnTo>
                  <a:lnTo>
                    <a:pt x="645" y="869"/>
                  </a:lnTo>
                  <a:lnTo>
                    <a:pt x="645" y="869"/>
                  </a:lnTo>
                  <a:lnTo>
                    <a:pt x="645" y="871"/>
                  </a:lnTo>
                  <a:lnTo>
                    <a:pt x="647" y="871"/>
                  </a:lnTo>
                  <a:lnTo>
                    <a:pt x="647" y="869"/>
                  </a:lnTo>
                  <a:lnTo>
                    <a:pt x="647" y="869"/>
                  </a:lnTo>
                  <a:lnTo>
                    <a:pt x="647" y="869"/>
                  </a:lnTo>
                  <a:lnTo>
                    <a:pt x="649" y="869"/>
                  </a:lnTo>
                  <a:lnTo>
                    <a:pt x="649" y="869"/>
                  </a:lnTo>
                  <a:lnTo>
                    <a:pt x="649" y="869"/>
                  </a:lnTo>
                  <a:lnTo>
                    <a:pt x="649" y="871"/>
                  </a:lnTo>
                  <a:lnTo>
                    <a:pt x="649" y="871"/>
                  </a:lnTo>
                  <a:lnTo>
                    <a:pt x="649" y="871"/>
                  </a:lnTo>
                  <a:lnTo>
                    <a:pt x="651" y="871"/>
                  </a:lnTo>
                  <a:lnTo>
                    <a:pt x="651" y="869"/>
                  </a:lnTo>
                  <a:lnTo>
                    <a:pt x="651" y="869"/>
                  </a:lnTo>
                  <a:lnTo>
                    <a:pt x="653" y="869"/>
                  </a:lnTo>
                  <a:lnTo>
                    <a:pt x="653" y="871"/>
                  </a:lnTo>
                  <a:lnTo>
                    <a:pt x="653" y="871"/>
                  </a:lnTo>
                  <a:lnTo>
                    <a:pt x="653" y="871"/>
                  </a:lnTo>
                  <a:lnTo>
                    <a:pt x="657" y="869"/>
                  </a:lnTo>
                  <a:lnTo>
                    <a:pt x="657" y="869"/>
                  </a:lnTo>
                  <a:lnTo>
                    <a:pt x="657" y="869"/>
                  </a:lnTo>
                  <a:lnTo>
                    <a:pt x="657" y="869"/>
                  </a:lnTo>
                  <a:lnTo>
                    <a:pt x="657" y="867"/>
                  </a:lnTo>
                  <a:lnTo>
                    <a:pt x="655" y="867"/>
                  </a:lnTo>
                  <a:close/>
                  <a:moveTo>
                    <a:pt x="680" y="871"/>
                  </a:moveTo>
                  <a:lnTo>
                    <a:pt x="680" y="871"/>
                  </a:lnTo>
                  <a:lnTo>
                    <a:pt x="680" y="871"/>
                  </a:lnTo>
                  <a:lnTo>
                    <a:pt x="678" y="871"/>
                  </a:lnTo>
                  <a:lnTo>
                    <a:pt x="678" y="871"/>
                  </a:lnTo>
                  <a:lnTo>
                    <a:pt x="678" y="871"/>
                  </a:lnTo>
                  <a:lnTo>
                    <a:pt x="676" y="871"/>
                  </a:lnTo>
                  <a:lnTo>
                    <a:pt x="676" y="873"/>
                  </a:lnTo>
                  <a:lnTo>
                    <a:pt x="676" y="871"/>
                  </a:lnTo>
                  <a:lnTo>
                    <a:pt x="676" y="871"/>
                  </a:lnTo>
                  <a:lnTo>
                    <a:pt x="676" y="871"/>
                  </a:lnTo>
                  <a:lnTo>
                    <a:pt x="676" y="871"/>
                  </a:lnTo>
                  <a:lnTo>
                    <a:pt x="676" y="871"/>
                  </a:lnTo>
                  <a:lnTo>
                    <a:pt x="674" y="871"/>
                  </a:lnTo>
                  <a:lnTo>
                    <a:pt x="674" y="871"/>
                  </a:lnTo>
                  <a:lnTo>
                    <a:pt x="674" y="871"/>
                  </a:lnTo>
                  <a:lnTo>
                    <a:pt x="674" y="871"/>
                  </a:lnTo>
                  <a:lnTo>
                    <a:pt x="674" y="871"/>
                  </a:lnTo>
                  <a:lnTo>
                    <a:pt x="674" y="871"/>
                  </a:lnTo>
                  <a:lnTo>
                    <a:pt x="674" y="871"/>
                  </a:lnTo>
                  <a:lnTo>
                    <a:pt x="674" y="871"/>
                  </a:lnTo>
                  <a:lnTo>
                    <a:pt x="672" y="871"/>
                  </a:lnTo>
                  <a:lnTo>
                    <a:pt x="672" y="871"/>
                  </a:lnTo>
                  <a:lnTo>
                    <a:pt x="672" y="871"/>
                  </a:lnTo>
                  <a:lnTo>
                    <a:pt x="672" y="871"/>
                  </a:lnTo>
                  <a:lnTo>
                    <a:pt x="672" y="871"/>
                  </a:lnTo>
                  <a:lnTo>
                    <a:pt x="672" y="871"/>
                  </a:lnTo>
                  <a:lnTo>
                    <a:pt x="672" y="871"/>
                  </a:lnTo>
                  <a:lnTo>
                    <a:pt x="670" y="873"/>
                  </a:lnTo>
                  <a:lnTo>
                    <a:pt x="672" y="873"/>
                  </a:lnTo>
                  <a:lnTo>
                    <a:pt x="674" y="873"/>
                  </a:lnTo>
                  <a:lnTo>
                    <a:pt x="674" y="873"/>
                  </a:lnTo>
                  <a:lnTo>
                    <a:pt x="674" y="873"/>
                  </a:lnTo>
                  <a:lnTo>
                    <a:pt x="674" y="873"/>
                  </a:lnTo>
                  <a:lnTo>
                    <a:pt x="674" y="873"/>
                  </a:lnTo>
                  <a:lnTo>
                    <a:pt x="674" y="873"/>
                  </a:lnTo>
                  <a:lnTo>
                    <a:pt x="674" y="873"/>
                  </a:lnTo>
                  <a:lnTo>
                    <a:pt x="676" y="873"/>
                  </a:lnTo>
                  <a:lnTo>
                    <a:pt x="678" y="875"/>
                  </a:lnTo>
                  <a:lnTo>
                    <a:pt x="678" y="873"/>
                  </a:lnTo>
                  <a:lnTo>
                    <a:pt x="678" y="873"/>
                  </a:lnTo>
                  <a:lnTo>
                    <a:pt x="680" y="873"/>
                  </a:lnTo>
                  <a:lnTo>
                    <a:pt x="680" y="873"/>
                  </a:lnTo>
                  <a:lnTo>
                    <a:pt x="680" y="871"/>
                  </a:lnTo>
                  <a:lnTo>
                    <a:pt x="680" y="871"/>
                  </a:lnTo>
                  <a:close/>
                  <a:moveTo>
                    <a:pt x="662" y="873"/>
                  </a:moveTo>
                  <a:lnTo>
                    <a:pt x="662" y="873"/>
                  </a:lnTo>
                  <a:lnTo>
                    <a:pt x="662" y="871"/>
                  </a:lnTo>
                  <a:lnTo>
                    <a:pt x="662" y="871"/>
                  </a:lnTo>
                  <a:lnTo>
                    <a:pt x="662" y="871"/>
                  </a:lnTo>
                  <a:lnTo>
                    <a:pt x="660" y="873"/>
                  </a:lnTo>
                  <a:lnTo>
                    <a:pt x="660" y="873"/>
                  </a:lnTo>
                  <a:lnTo>
                    <a:pt x="660" y="873"/>
                  </a:lnTo>
                  <a:lnTo>
                    <a:pt x="660" y="873"/>
                  </a:lnTo>
                  <a:lnTo>
                    <a:pt x="662" y="873"/>
                  </a:lnTo>
                  <a:lnTo>
                    <a:pt x="662" y="873"/>
                  </a:lnTo>
                  <a:lnTo>
                    <a:pt x="662" y="873"/>
                  </a:lnTo>
                  <a:lnTo>
                    <a:pt x="662" y="873"/>
                  </a:lnTo>
                  <a:lnTo>
                    <a:pt x="662" y="873"/>
                  </a:lnTo>
                  <a:close/>
                  <a:moveTo>
                    <a:pt x="662" y="869"/>
                  </a:moveTo>
                  <a:lnTo>
                    <a:pt x="662" y="869"/>
                  </a:lnTo>
                  <a:lnTo>
                    <a:pt x="662" y="867"/>
                  </a:lnTo>
                  <a:lnTo>
                    <a:pt x="662" y="867"/>
                  </a:lnTo>
                  <a:lnTo>
                    <a:pt x="662" y="867"/>
                  </a:lnTo>
                  <a:lnTo>
                    <a:pt x="662" y="867"/>
                  </a:lnTo>
                  <a:lnTo>
                    <a:pt x="664" y="867"/>
                  </a:lnTo>
                  <a:lnTo>
                    <a:pt x="664" y="867"/>
                  </a:lnTo>
                  <a:lnTo>
                    <a:pt x="664" y="867"/>
                  </a:lnTo>
                  <a:lnTo>
                    <a:pt x="664" y="867"/>
                  </a:lnTo>
                  <a:lnTo>
                    <a:pt x="664" y="867"/>
                  </a:lnTo>
                  <a:lnTo>
                    <a:pt x="664" y="867"/>
                  </a:lnTo>
                  <a:lnTo>
                    <a:pt x="666" y="867"/>
                  </a:lnTo>
                  <a:lnTo>
                    <a:pt x="666" y="867"/>
                  </a:lnTo>
                  <a:lnTo>
                    <a:pt x="666" y="865"/>
                  </a:lnTo>
                  <a:lnTo>
                    <a:pt x="666" y="865"/>
                  </a:lnTo>
                  <a:lnTo>
                    <a:pt x="662" y="863"/>
                  </a:lnTo>
                  <a:lnTo>
                    <a:pt x="662" y="863"/>
                  </a:lnTo>
                  <a:lnTo>
                    <a:pt x="664" y="863"/>
                  </a:lnTo>
                  <a:lnTo>
                    <a:pt x="662" y="863"/>
                  </a:lnTo>
                  <a:lnTo>
                    <a:pt x="662" y="863"/>
                  </a:lnTo>
                  <a:lnTo>
                    <a:pt x="662" y="863"/>
                  </a:lnTo>
                  <a:lnTo>
                    <a:pt x="662" y="863"/>
                  </a:lnTo>
                  <a:lnTo>
                    <a:pt x="664" y="861"/>
                  </a:lnTo>
                  <a:lnTo>
                    <a:pt x="664" y="861"/>
                  </a:lnTo>
                  <a:lnTo>
                    <a:pt x="664" y="861"/>
                  </a:lnTo>
                  <a:lnTo>
                    <a:pt x="664" y="861"/>
                  </a:lnTo>
                  <a:lnTo>
                    <a:pt x="664" y="861"/>
                  </a:lnTo>
                  <a:lnTo>
                    <a:pt x="664" y="861"/>
                  </a:lnTo>
                  <a:lnTo>
                    <a:pt x="664" y="861"/>
                  </a:lnTo>
                  <a:lnTo>
                    <a:pt x="664" y="861"/>
                  </a:lnTo>
                  <a:lnTo>
                    <a:pt x="662" y="861"/>
                  </a:lnTo>
                  <a:lnTo>
                    <a:pt x="662" y="861"/>
                  </a:lnTo>
                  <a:lnTo>
                    <a:pt x="662" y="861"/>
                  </a:lnTo>
                  <a:lnTo>
                    <a:pt x="662" y="861"/>
                  </a:lnTo>
                  <a:lnTo>
                    <a:pt x="662" y="861"/>
                  </a:lnTo>
                  <a:lnTo>
                    <a:pt x="662" y="861"/>
                  </a:lnTo>
                  <a:lnTo>
                    <a:pt x="662" y="861"/>
                  </a:lnTo>
                  <a:lnTo>
                    <a:pt x="662" y="861"/>
                  </a:lnTo>
                  <a:lnTo>
                    <a:pt x="662" y="859"/>
                  </a:lnTo>
                  <a:lnTo>
                    <a:pt x="662" y="859"/>
                  </a:lnTo>
                  <a:lnTo>
                    <a:pt x="660" y="859"/>
                  </a:lnTo>
                  <a:lnTo>
                    <a:pt x="660" y="861"/>
                  </a:lnTo>
                  <a:lnTo>
                    <a:pt x="660" y="861"/>
                  </a:lnTo>
                  <a:lnTo>
                    <a:pt x="660" y="861"/>
                  </a:lnTo>
                  <a:lnTo>
                    <a:pt x="660" y="861"/>
                  </a:lnTo>
                  <a:lnTo>
                    <a:pt x="660" y="861"/>
                  </a:lnTo>
                  <a:lnTo>
                    <a:pt x="660" y="861"/>
                  </a:lnTo>
                  <a:lnTo>
                    <a:pt x="657" y="863"/>
                  </a:lnTo>
                  <a:lnTo>
                    <a:pt x="662" y="863"/>
                  </a:lnTo>
                  <a:lnTo>
                    <a:pt x="662" y="863"/>
                  </a:lnTo>
                  <a:lnTo>
                    <a:pt x="662" y="863"/>
                  </a:lnTo>
                  <a:lnTo>
                    <a:pt x="660" y="865"/>
                  </a:lnTo>
                  <a:lnTo>
                    <a:pt x="660" y="865"/>
                  </a:lnTo>
                  <a:lnTo>
                    <a:pt x="660" y="865"/>
                  </a:lnTo>
                  <a:lnTo>
                    <a:pt x="660" y="867"/>
                  </a:lnTo>
                  <a:lnTo>
                    <a:pt x="660" y="867"/>
                  </a:lnTo>
                  <a:lnTo>
                    <a:pt x="660" y="867"/>
                  </a:lnTo>
                  <a:lnTo>
                    <a:pt x="660" y="869"/>
                  </a:lnTo>
                  <a:lnTo>
                    <a:pt x="660" y="869"/>
                  </a:lnTo>
                  <a:lnTo>
                    <a:pt x="662" y="869"/>
                  </a:lnTo>
                  <a:close/>
                  <a:moveTo>
                    <a:pt x="670" y="873"/>
                  </a:moveTo>
                  <a:lnTo>
                    <a:pt x="670" y="871"/>
                  </a:lnTo>
                  <a:lnTo>
                    <a:pt x="666" y="871"/>
                  </a:lnTo>
                  <a:lnTo>
                    <a:pt x="664" y="871"/>
                  </a:lnTo>
                  <a:lnTo>
                    <a:pt x="664" y="871"/>
                  </a:lnTo>
                  <a:lnTo>
                    <a:pt x="666" y="871"/>
                  </a:lnTo>
                  <a:lnTo>
                    <a:pt x="666" y="873"/>
                  </a:lnTo>
                  <a:lnTo>
                    <a:pt x="668" y="873"/>
                  </a:lnTo>
                  <a:lnTo>
                    <a:pt x="668" y="873"/>
                  </a:lnTo>
                  <a:lnTo>
                    <a:pt x="668" y="873"/>
                  </a:lnTo>
                  <a:lnTo>
                    <a:pt x="668" y="875"/>
                  </a:lnTo>
                  <a:lnTo>
                    <a:pt x="668" y="873"/>
                  </a:lnTo>
                  <a:lnTo>
                    <a:pt x="668" y="873"/>
                  </a:lnTo>
                  <a:lnTo>
                    <a:pt x="670" y="873"/>
                  </a:lnTo>
                  <a:lnTo>
                    <a:pt x="670" y="873"/>
                  </a:lnTo>
                  <a:lnTo>
                    <a:pt x="670" y="873"/>
                  </a:lnTo>
                  <a:lnTo>
                    <a:pt x="670" y="873"/>
                  </a:lnTo>
                  <a:lnTo>
                    <a:pt x="670" y="873"/>
                  </a:lnTo>
                  <a:lnTo>
                    <a:pt x="670" y="873"/>
                  </a:lnTo>
                  <a:lnTo>
                    <a:pt x="670" y="873"/>
                  </a:lnTo>
                  <a:close/>
                  <a:moveTo>
                    <a:pt x="643" y="873"/>
                  </a:moveTo>
                  <a:lnTo>
                    <a:pt x="643" y="873"/>
                  </a:lnTo>
                  <a:lnTo>
                    <a:pt x="641" y="871"/>
                  </a:lnTo>
                  <a:lnTo>
                    <a:pt x="641" y="873"/>
                  </a:lnTo>
                  <a:lnTo>
                    <a:pt x="641" y="873"/>
                  </a:lnTo>
                  <a:lnTo>
                    <a:pt x="641" y="873"/>
                  </a:lnTo>
                  <a:lnTo>
                    <a:pt x="641" y="873"/>
                  </a:lnTo>
                  <a:lnTo>
                    <a:pt x="641" y="873"/>
                  </a:lnTo>
                  <a:lnTo>
                    <a:pt x="641" y="873"/>
                  </a:lnTo>
                  <a:lnTo>
                    <a:pt x="643" y="875"/>
                  </a:lnTo>
                  <a:lnTo>
                    <a:pt x="643" y="873"/>
                  </a:lnTo>
                  <a:lnTo>
                    <a:pt x="643" y="873"/>
                  </a:lnTo>
                  <a:lnTo>
                    <a:pt x="643" y="873"/>
                  </a:lnTo>
                  <a:lnTo>
                    <a:pt x="643" y="873"/>
                  </a:lnTo>
                  <a:close/>
                  <a:moveTo>
                    <a:pt x="627" y="367"/>
                  </a:moveTo>
                  <a:lnTo>
                    <a:pt x="633" y="371"/>
                  </a:lnTo>
                  <a:lnTo>
                    <a:pt x="633" y="375"/>
                  </a:lnTo>
                  <a:lnTo>
                    <a:pt x="635" y="377"/>
                  </a:lnTo>
                  <a:lnTo>
                    <a:pt x="633" y="373"/>
                  </a:lnTo>
                  <a:lnTo>
                    <a:pt x="633" y="371"/>
                  </a:lnTo>
                  <a:lnTo>
                    <a:pt x="627" y="367"/>
                  </a:lnTo>
                  <a:close/>
                  <a:moveTo>
                    <a:pt x="641" y="385"/>
                  </a:moveTo>
                  <a:lnTo>
                    <a:pt x="643" y="385"/>
                  </a:lnTo>
                  <a:lnTo>
                    <a:pt x="643" y="387"/>
                  </a:lnTo>
                  <a:lnTo>
                    <a:pt x="643" y="389"/>
                  </a:lnTo>
                  <a:lnTo>
                    <a:pt x="643" y="387"/>
                  </a:lnTo>
                  <a:lnTo>
                    <a:pt x="641" y="385"/>
                  </a:lnTo>
                  <a:close/>
                  <a:moveTo>
                    <a:pt x="602" y="359"/>
                  </a:moveTo>
                  <a:lnTo>
                    <a:pt x="604" y="361"/>
                  </a:lnTo>
                  <a:lnTo>
                    <a:pt x="604" y="363"/>
                  </a:lnTo>
                  <a:lnTo>
                    <a:pt x="604" y="363"/>
                  </a:lnTo>
                  <a:lnTo>
                    <a:pt x="606" y="363"/>
                  </a:lnTo>
                  <a:lnTo>
                    <a:pt x="606" y="365"/>
                  </a:lnTo>
                  <a:lnTo>
                    <a:pt x="606" y="365"/>
                  </a:lnTo>
                  <a:lnTo>
                    <a:pt x="606" y="365"/>
                  </a:lnTo>
                  <a:lnTo>
                    <a:pt x="608" y="365"/>
                  </a:lnTo>
                  <a:lnTo>
                    <a:pt x="608" y="365"/>
                  </a:lnTo>
                  <a:lnTo>
                    <a:pt x="608" y="365"/>
                  </a:lnTo>
                  <a:lnTo>
                    <a:pt x="608" y="365"/>
                  </a:lnTo>
                  <a:lnTo>
                    <a:pt x="610" y="367"/>
                  </a:lnTo>
                  <a:lnTo>
                    <a:pt x="610" y="367"/>
                  </a:lnTo>
                  <a:lnTo>
                    <a:pt x="612" y="367"/>
                  </a:lnTo>
                  <a:lnTo>
                    <a:pt x="612" y="365"/>
                  </a:lnTo>
                  <a:lnTo>
                    <a:pt x="612" y="365"/>
                  </a:lnTo>
                  <a:lnTo>
                    <a:pt x="614" y="365"/>
                  </a:lnTo>
                  <a:lnTo>
                    <a:pt x="614" y="365"/>
                  </a:lnTo>
                  <a:lnTo>
                    <a:pt x="614" y="365"/>
                  </a:lnTo>
                  <a:lnTo>
                    <a:pt x="614" y="365"/>
                  </a:lnTo>
                  <a:lnTo>
                    <a:pt x="617" y="365"/>
                  </a:lnTo>
                  <a:lnTo>
                    <a:pt x="619" y="363"/>
                  </a:lnTo>
                  <a:lnTo>
                    <a:pt x="619" y="363"/>
                  </a:lnTo>
                  <a:lnTo>
                    <a:pt x="619" y="363"/>
                  </a:lnTo>
                  <a:lnTo>
                    <a:pt x="621" y="363"/>
                  </a:lnTo>
                  <a:lnTo>
                    <a:pt x="621" y="363"/>
                  </a:lnTo>
                  <a:lnTo>
                    <a:pt x="621" y="363"/>
                  </a:lnTo>
                  <a:lnTo>
                    <a:pt x="621" y="363"/>
                  </a:lnTo>
                  <a:lnTo>
                    <a:pt x="625" y="363"/>
                  </a:lnTo>
                  <a:lnTo>
                    <a:pt x="625" y="363"/>
                  </a:lnTo>
                  <a:lnTo>
                    <a:pt x="625" y="363"/>
                  </a:lnTo>
                  <a:lnTo>
                    <a:pt x="625" y="365"/>
                  </a:lnTo>
                  <a:lnTo>
                    <a:pt x="627" y="365"/>
                  </a:lnTo>
                  <a:lnTo>
                    <a:pt x="627" y="365"/>
                  </a:lnTo>
                  <a:lnTo>
                    <a:pt x="627" y="365"/>
                  </a:lnTo>
                  <a:lnTo>
                    <a:pt x="629" y="367"/>
                  </a:lnTo>
                  <a:lnTo>
                    <a:pt x="629" y="367"/>
                  </a:lnTo>
                  <a:lnTo>
                    <a:pt x="629" y="367"/>
                  </a:lnTo>
                  <a:lnTo>
                    <a:pt x="629" y="367"/>
                  </a:lnTo>
                  <a:lnTo>
                    <a:pt x="629" y="367"/>
                  </a:lnTo>
                  <a:lnTo>
                    <a:pt x="631" y="367"/>
                  </a:lnTo>
                  <a:lnTo>
                    <a:pt x="633" y="371"/>
                  </a:lnTo>
                  <a:lnTo>
                    <a:pt x="633" y="371"/>
                  </a:lnTo>
                  <a:lnTo>
                    <a:pt x="635" y="373"/>
                  </a:lnTo>
                  <a:lnTo>
                    <a:pt x="637" y="375"/>
                  </a:lnTo>
                  <a:lnTo>
                    <a:pt x="637" y="375"/>
                  </a:lnTo>
                  <a:lnTo>
                    <a:pt x="637" y="375"/>
                  </a:lnTo>
                  <a:lnTo>
                    <a:pt x="637" y="375"/>
                  </a:lnTo>
                  <a:lnTo>
                    <a:pt x="637" y="377"/>
                  </a:lnTo>
                  <a:lnTo>
                    <a:pt x="637" y="377"/>
                  </a:lnTo>
                  <a:lnTo>
                    <a:pt x="637" y="377"/>
                  </a:lnTo>
                  <a:lnTo>
                    <a:pt x="637" y="379"/>
                  </a:lnTo>
                  <a:lnTo>
                    <a:pt x="637" y="379"/>
                  </a:lnTo>
                  <a:lnTo>
                    <a:pt x="637" y="379"/>
                  </a:lnTo>
                  <a:lnTo>
                    <a:pt x="635" y="379"/>
                  </a:lnTo>
                  <a:lnTo>
                    <a:pt x="635" y="379"/>
                  </a:lnTo>
                  <a:lnTo>
                    <a:pt x="635" y="379"/>
                  </a:lnTo>
                  <a:lnTo>
                    <a:pt x="635" y="379"/>
                  </a:lnTo>
                  <a:lnTo>
                    <a:pt x="637" y="381"/>
                  </a:lnTo>
                  <a:lnTo>
                    <a:pt x="637" y="381"/>
                  </a:lnTo>
                  <a:lnTo>
                    <a:pt x="637" y="381"/>
                  </a:lnTo>
                  <a:lnTo>
                    <a:pt x="639" y="381"/>
                  </a:lnTo>
                  <a:lnTo>
                    <a:pt x="639" y="379"/>
                  </a:lnTo>
                  <a:lnTo>
                    <a:pt x="639" y="381"/>
                  </a:lnTo>
                  <a:lnTo>
                    <a:pt x="639" y="381"/>
                  </a:lnTo>
                  <a:lnTo>
                    <a:pt x="639" y="381"/>
                  </a:lnTo>
                  <a:lnTo>
                    <a:pt x="639" y="381"/>
                  </a:lnTo>
                  <a:lnTo>
                    <a:pt x="639" y="381"/>
                  </a:lnTo>
                  <a:lnTo>
                    <a:pt x="639" y="381"/>
                  </a:lnTo>
                  <a:lnTo>
                    <a:pt x="639" y="381"/>
                  </a:lnTo>
                  <a:lnTo>
                    <a:pt x="641" y="383"/>
                  </a:lnTo>
                  <a:lnTo>
                    <a:pt x="641" y="383"/>
                  </a:lnTo>
                  <a:lnTo>
                    <a:pt x="641" y="383"/>
                  </a:lnTo>
                  <a:lnTo>
                    <a:pt x="643" y="385"/>
                  </a:lnTo>
                  <a:lnTo>
                    <a:pt x="645" y="385"/>
                  </a:lnTo>
                  <a:lnTo>
                    <a:pt x="645" y="387"/>
                  </a:lnTo>
                  <a:lnTo>
                    <a:pt x="645" y="389"/>
                  </a:lnTo>
                  <a:lnTo>
                    <a:pt x="645" y="389"/>
                  </a:lnTo>
                  <a:lnTo>
                    <a:pt x="645" y="389"/>
                  </a:lnTo>
                  <a:lnTo>
                    <a:pt x="645" y="389"/>
                  </a:lnTo>
                  <a:lnTo>
                    <a:pt x="645" y="391"/>
                  </a:lnTo>
                  <a:lnTo>
                    <a:pt x="645" y="391"/>
                  </a:lnTo>
                  <a:lnTo>
                    <a:pt x="645" y="391"/>
                  </a:lnTo>
                  <a:lnTo>
                    <a:pt x="645" y="391"/>
                  </a:lnTo>
                  <a:lnTo>
                    <a:pt x="645" y="391"/>
                  </a:lnTo>
                  <a:lnTo>
                    <a:pt x="645" y="393"/>
                  </a:lnTo>
                  <a:lnTo>
                    <a:pt x="645" y="393"/>
                  </a:lnTo>
                  <a:lnTo>
                    <a:pt x="643" y="393"/>
                  </a:lnTo>
                  <a:lnTo>
                    <a:pt x="645" y="393"/>
                  </a:lnTo>
                  <a:lnTo>
                    <a:pt x="645" y="396"/>
                  </a:lnTo>
                  <a:lnTo>
                    <a:pt x="645" y="396"/>
                  </a:lnTo>
                  <a:lnTo>
                    <a:pt x="645" y="396"/>
                  </a:lnTo>
                  <a:lnTo>
                    <a:pt x="647" y="396"/>
                  </a:lnTo>
                  <a:lnTo>
                    <a:pt x="647" y="393"/>
                  </a:lnTo>
                  <a:lnTo>
                    <a:pt x="647" y="393"/>
                  </a:lnTo>
                  <a:lnTo>
                    <a:pt x="649" y="393"/>
                  </a:lnTo>
                  <a:lnTo>
                    <a:pt x="649" y="393"/>
                  </a:lnTo>
                  <a:lnTo>
                    <a:pt x="649" y="393"/>
                  </a:lnTo>
                  <a:lnTo>
                    <a:pt x="649" y="391"/>
                  </a:lnTo>
                  <a:lnTo>
                    <a:pt x="649" y="391"/>
                  </a:lnTo>
                  <a:lnTo>
                    <a:pt x="649" y="391"/>
                  </a:lnTo>
                  <a:lnTo>
                    <a:pt x="649" y="389"/>
                  </a:lnTo>
                  <a:lnTo>
                    <a:pt x="649" y="389"/>
                  </a:lnTo>
                  <a:lnTo>
                    <a:pt x="651" y="389"/>
                  </a:lnTo>
                  <a:lnTo>
                    <a:pt x="651" y="389"/>
                  </a:lnTo>
                  <a:lnTo>
                    <a:pt x="653" y="389"/>
                  </a:lnTo>
                  <a:lnTo>
                    <a:pt x="653" y="387"/>
                  </a:lnTo>
                  <a:lnTo>
                    <a:pt x="653" y="387"/>
                  </a:lnTo>
                  <a:lnTo>
                    <a:pt x="653" y="387"/>
                  </a:lnTo>
                  <a:lnTo>
                    <a:pt x="653" y="387"/>
                  </a:lnTo>
                  <a:lnTo>
                    <a:pt x="655" y="385"/>
                  </a:lnTo>
                  <a:lnTo>
                    <a:pt x="657" y="385"/>
                  </a:lnTo>
                  <a:lnTo>
                    <a:pt x="662" y="385"/>
                  </a:lnTo>
                  <a:lnTo>
                    <a:pt x="660" y="385"/>
                  </a:lnTo>
                  <a:lnTo>
                    <a:pt x="660" y="385"/>
                  </a:lnTo>
                  <a:lnTo>
                    <a:pt x="657" y="385"/>
                  </a:lnTo>
                  <a:lnTo>
                    <a:pt x="657" y="385"/>
                  </a:lnTo>
                  <a:lnTo>
                    <a:pt x="655" y="387"/>
                  </a:lnTo>
                  <a:lnTo>
                    <a:pt x="657" y="385"/>
                  </a:lnTo>
                  <a:lnTo>
                    <a:pt x="664" y="387"/>
                  </a:lnTo>
                  <a:lnTo>
                    <a:pt x="664" y="387"/>
                  </a:lnTo>
                  <a:lnTo>
                    <a:pt x="664" y="387"/>
                  </a:lnTo>
                  <a:lnTo>
                    <a:pt x="664" y="387"/>
                  </a:lnTo>
                  <a:lnTo>
                    <a:pt x="668" y="389"/>
                  </a:lnTo>
                  <a:lnTo>
                    <a:pt x="668" y="389"/>
                  </a:lnTo>
                  <a:lnTo>
                    <a:pt x="670" y="387"/>
                  </a:lnTo>
                  <a:lnTo>
                    <a:pt x="670" y="385"/>
                  </a:lnTo>
                  <a:lnTo>
                    <a:pt x="672" y="385"/>
                  </a:lnTo>
                  <a:lnTo>
                    <a:pt x="670" y="383"/>
                  </a:lnTo>
                  <a:lnTo>
                    <a:pt x="672" y="383"/>
                  </a:lnTo>
                  <a:lnTo>
                    <a:pt x="672" y="383"/>
                  </a:lnTo>
                  <a:lnTo>
                    <a:pt x="672" y="383"/>
                  </a:lnTo>
                  <a:lnTo>
                    <a:pt x="672" y="381"/>
                  </a:lnTo>
                  <a:lnTo>
                    <a:pt x="666" y="379"/>
                  </a:lnTo>
                  <a:lnTo>
                    <a:pt x="666" y="379"/>
                  </a:lnTo>
                  <a:lnTo>
                    <a:pt x="666" y="379"/>
                  </a:lnTo>
                  <a:lnTo>
                    <a:pt x="664" y="379"/>
                  </a:lnTo>
                  <a:lnTo>
                    <a:pt x="662" y="377"/>
                  </a:lnTo>
                  <a:lnTo>
                    <a:pt x="662" y="377"/>
                  </a:lnTo>
                  <a:lnTo>
                    <a:pt x="662" y="379"/>
                  </a:lnTo>
                  <a:lnTo>
                    <a:pt x="664" y="379"/>
                  </a:lnTo>
                  <a:lnTo>
                    <a:pt x="664" y="379"/>
                  </a:lnTo>
                  <a:lnTo>
                    <a:pt x="664" y="381"/>
                  </a:lnTo>
                  <a:lnTo>
                    <a:pt x="662" y="381"/>
                  </a:lnTo>
                  <a:lnTo>
                    <a:pt x="662" y="381"/>
                  </a:lnTo>
                  <a:lnTo>
                    <a:pt x="660" y="379"/>
                  </a:lnTo>
                  <a:lnTo>
                    <a:pt x="660" y="377"/>
                  </a:lnTo>
                  <a:lnTo>
                    <a:pt x="660" y="377"/>
                  </a:lnTo>
                  <a:lnTo>
                    <a:pt x="657" y="377"/>
                  </a:lnTo>
                  <a:lnTo>
                    <a:pt x="655" y="375"/>
                  </a:lnTo>
                  <a:lnTo>
                    <a:pt x="655" y="375"/>
                  </a:lnTo>
                  <a:lnTo>
                    <a:pt x="655" y="377"/>
                  </a:lnTo>
                  <a:lnTo>
                    <a:pt x="655" y="377"/>
                  </a:lnTo>
                  <a:lnTo>
                    <a:pt x="655" y="377"/>
                  </a:lnTo>
                  <a:lnTo>
                    <a:pt x="653" y="375"/>
                  </a:lnTo>
                  <a:lnTo>
                    <a:pt x="653" y="375"/>
                  </a:lnTo>
                  <a:lnTo>
                    <a:pt x="653" y="375"/>
                  </a:lnTo>
                  <a:lnTo>
                    <a:pt x="653" y="373"/>
                  </a:lnTo>
                  <a:lnTo>
                    <a:pt x="653" y="371"/>
                  </a:lnTo>
                  <a:lnTo>
                    <a:pt x="651" y="371"/>
                  </a:lnTo>
                  <a:lnTo>
                    <a:pt x="649" y="371"/>
                  </a:lnTo>
                  <a:lnTo>
                    <a:pt x="647" y="369"/>
                  </a:lnTo>
                  <a:lnTo>
                    <a:pt x="649" y="369"/>
                  </a:lnTo>
                  <a:lnTo>
                    <a:pt x="649" y="369"/>
                  </a:lnTo>
                  <a:lnTo>
                    <a:pt x="649" y="369"/>
                  </a:lnTo>
                  <a:lnTo>
                    <a:pt x="647" y="369"/>
                  </a:lnTo>
                  <a:lnTo>
                    <a:pt x="647" y="369"/>
                  </a:lnTo>
                  <a:lnTo>
                    <a:pt x="645" y="367"/>
                  </a:lnTo>
                  <a:lnTo>
                    <a:pt x="643" y="365"/>
                  </a:lnTo>
                  <a:lnTo>
                    <a:pt x="643" y="365"/>
                  </a:lnTo>
                  <a:lnTo>
                    <a:pt x="643" y="367"/>
                  </a:lnTo>
                  <a:lnTo>
                    <a:pt x="643" y="365"/>
                  </a:lnTo>
                  <a:lnTo>
                    <a:pt x="643" y="365"/>
                  </a:lnTo>
                  <a:lnTo>
                    <a:pt x="645" y="365"/>
                  </a:lnTo>
                  <a:lnTo>
                    <a:pt x="645" y="363"/>
                  </a:lnTo>
                  <a:lnTo>
                    <a:pt x="645" y="363"/>
                  </a:lnTo>
                  <a:lnTo>
                    <a:pt x="645" y="363"/>
                  </a:lnTo>
                  <a:lnTo>
                    <a:pt x="645" y="363"/>
                  </a:lnTo>
                  <a:lnTo>
                    <a:pt x="645" y="363"/>
                  </a:lnTo>
                  <a:lnTo>
                    <a:pt x="645" y="361"/>
                  </a:lnTo>
                  <a:lnTo>
                    <a:pt x="645" y="361"/>
                  </a:lnTo>
                  <a:lnTo>
                    <a:pt x="645" y="359"/>
                  </a:lnTo>
                  <a:lnTo>
                    <a:pt x="643" y="359"/>
                  </a:lnTo>
                  <a:lnTo>
                    <a:pt x="643" y="359"/>
                  </a:lnTo>
                  <a:lnTo>
                    <a:pt x="643" y="359"/>
                  </a:lnTo>
                  <a:lnTo>
                    <a:pt x="641" y="357"/>
                  </a:lnTo>
                  <a:lnTo>
                    <a:pt x="641" y="355"/>
                  </a:lnTo>
                  <a:lnTo>
                    <a:pt x="641" y="355"/>
                  </a:lnTo>
                  <a:lnTo>
                    <a:pt x="641" y="355"/>
                  </a:lnTo>
                  <a:lnTo>
                    <a:pt x="641" y="355"/>
                  </a:lnTo>
                  <a:lnTo>
                    <a:pt x="641" y="355"/>
                  </a:lnTo>
                  <a:lnTo>
                    <a:pt x="639" y="355"/>
                  </a:lnTo>
                  <a:lnTo>
                    <a:pt x="639" y="355"/>
                  </a:lnTo>
                  <a:lnTo>
                    <a:pt x="639" y="355"/>
                  </a:lnTo>
                  <a:lnTo>
                    <a:pt x="637" y="352"/>
                  </a:lnTo>
                  <a:lnTo>
                    <a:pt x="637" y="352"/>
                  </a:lnTo>
                  <a:lnTo>
                    <a:pt x="637" y="352"/>
                  </a:lnTo>
                  <a:lnTo>
                    <a:pt x="637" y="352"/>
                  </a:lnTo>
                  <a:lnTo>
                    <a:pt x="633" y="355"/>
                  </a:lnTo>
                  <a:lnTo>
                    <a:pt x="633" y="355"/>
                  </a:lnTo>
                  <a:lnTo>
                    <a:pt x="633" y="352"/>
                  </a:lnTo>
                  <a:lnTo>
                    <a:pt x="633" y="352"/>
                  </a:lnTo>
                  <a:lnTo>
                    <a:pt x="631" y="355"/>
                  </a:lnTo>
                  <a:lnTo>
                    <a:pt x="629" y="355"/>
                  </a:lnTo>
                  <a:lnTo>
                    <a:pt x="627" y="357"/>
                  </a:lnTo>
                  <a:lnTo>
                    <a:pt x="627" y="357"/>
                  </a:lnTo>
                  <a:lnTo>
                    <a:pt x="625" y="357"/>
                  </a:lnTo>
                  <a:lnTo>
                    <a:pt x="625" y="357"/>
                  </a:lnTo>
                  <a:lnTo>
                    <a:pt x="625" y="357"/>
                  </a:lnTo>
                  <a:lnTo>
                    <a:pt x="625" y="357"/>
                  </a:lnTo>
                  <a:lnTo>
                    <a:pt x="625" y="357"/>
                  </a:lnTo>
                  <a:lnTo>
                    <a:pt x="621" y="355"/>
                  </a:lnTo>
                  <a:lnTo>
                    <a:pt x="621" y="355"/>
                  </a:lnTo>
                  <a:lnTo>
                    <a:pt x="621" y="355"/>
                  </a:lnTo>
                  <a:lnTo>
                    <a:pt x="621" y="355"/>
                  </a:lnTo>
                  <a:lnTo>
                    <a:pt x="621" y="355"/>
                  </a:lnTo>
                  <a:lnTo>
                    <a:pt x="621" y="355"/>
                  </a:lnTo>
                  <a:lnTo>
                    <a:pt x="621" y="355"/>
                  </a:lnTo>
                  <a:lnTo>
                    <a:pt x="621" y="355"/>
                  </a:lnTo>
                  <a:lnTo>
                    <a:pt x="621" y="355"/>
                  </a:lnTo>
                  <a:lnTo>
                    <a:pt x="617" y="350"/>
                  </a:lnTo>
                  <a:lnTo>
                    <a:pt x="617" y="350"/>
                  </a:lnTo>
                  <a:lnTo>
                    <a:pt x="617" y="350"/>
                  </a:lnTo>
                  <a:lnTo>
                    <a:pt x="617" y="352"/>
                  </a:lnTo>
                  <a:lnTo>
                    <a:pt x="617" y="352"/>
                  </a:lnTo>
                  <a:lnTo>
                    <a:pt x="617" y="352"/>
                  </a:lnTo>
                  <a:lnTo>
                    <a:pt x="612" y="352"/>
                  </a:lnTo>
                  <a:lnTo>
                    <a:pt x="612" y="352"/>
                  </a:lnTo>
                  <a:lnTo>
                    <a:pt x="612" y="350"/>
                  </a:lnTo>
                  <a:lnTo>
                    <a:pt x="612" y="350"/>
                  </a:lnTo>
                  <a:lnTo>
                    <a:pt x="612" y="350"/>
                  </a:lnTo>
                  <a:lnTo>
                    <a:pt x="612" y="350"/>
                  </a:lnTo>
                  <a:lnTo>
                    <a:pt x="612" y="350"/>
                  </a:lnTo>
                  <a:lnTo>
                    <a:pt x="612" y="350"/>
                  </a:lnTo>
                  <a:lnTo>
                    <a:pt x="612" y="348"/>
                  </a:lnTo>
                  <a:lnTo>
                    <a:pt x="614" y="348"/>
                  </a:lnTo>
                  <a:lnTo>
                    <a:pt x="614" y="350"/>
                  </a:lnTo>
                  <a:lnTo>
                    <a:pt x="614" y="350"/>
                  </a:lnTo>
                  <a:lnTo>
                    <a:pt x="614" y="350"/>
                  </a:lnTo>
                  <a:lnTo>
                    <a:pt x="614" y="348"/>
                  </a:lnTo>
                  <a:lnTo>
                    <a:pt x="610" y="346"/>
                  </a:lnTo>
                  <a:lnTo>
                    <a:pt x="610" y="346"/>
                  </a:lnTo>
                  <a:lnTo>
                    <a:pt x="610" y="346"/>
                  </a:lnTo>
                  <a:lnTo>
                    <a:pt x="610" y="344"/>
                  </a:lnTo>
                  <a:lnTo>
                    <a:pt x="610" y="344"/>
                  </a:lnTo>
                  <a:lnTo>
                    <a:pt x="612" y="344"/>
                  </a:lnTo>
                  <a:lnTo>
                    <a:pt x="612" y="342"/>
                  </a:lnTo>
                  <a:lnTo>
                    <a:pt x="612" y="342"/>
                  </a:lnTo>
                  <a:lnTo>
                    <a:pt x="612" y="342"/>
                  </a:lnTo>
                  <a:lnTo>
                    <a:pt x="610" y="340"/>
                  </a:lnTo>
                  <a:lnTo>
                    <a:pt x="610" y="342"/>
                  </a:lnTo>
                  <a:lnTo>
                    <a:pt x="610" y="340"/>
                  </a:lnTo>
                  <a:lnTo>
                    <a:pt x="610" y="340"/>
                  </a:lnTo>
                  <a:lnTo>
                    <a:pt x="610" y="340"/>
                  </a:lnTo>
                  <a:lnTo>
                    <a:pt x="610" y="340"/>
                  </a:lnTo>
                  <a:lnTo>
                    <a:pt x="610" y="342"/>
                  </a:lnTo>
                  <a:lnTo>
                    <a:pt x="610" y="342"/>
                  </a:lnTo>
                  <a:lnTo>
                    <a:pt x="610" y="342"/>
                  </a:lnTo>
                  <a:lnTo>
                    <a:pt x="610" y="342"/>
                  </a:lnTo>
                  <a:lnTo>
                    <a:pt x="610" y="342"/>
                  </a:lnTo>
                  <a:lnTo>
                    <a:pt x="608" y="344"/>
                  </a:lnTo>
                  <a:lnTo>
                    <a:pt x="608" y="344"/>
                  </a:lnTo>
                  <a:lnTo>
                    <a:pt x="608" y="346"/>
                  </a:lnTo>
                  <a:lnTo>
                    <a:pt x="608" y="346"/>
                  </a:lnTo>
                  <a:lnTo>
                    <a:pt x="608" y="346"/>
                  </a:lnTo>
                  <a:lnTo>
                    <a:pt x="606" y="348"/>
                  </a:lnTo>
                  <a:lnTo>
                    <a:pt x="606" y="348"/>
                  </a:lnTo>
                  <a:lnTo>
                    <a:pt x="606" y="348"/>
                  </a:lnTo>
                  <a:lnTo>
                    <a:pt x="606" y="348"/>
                  </a:lnTo>
                  <a:lnTo>
                    <a:pt x="606" y="348"/>
                  </a:lnTo>
                  <a:lnTo>
                    <a:pt x="606" y="348"/>
                  </a:lnTo>
                  <a:lnTo>
                    <a:pt x="606" y="348"/>
                  </a:lnTo>
                  <a:lnTo>
                    <a:pt x="606" y="348"/>
                  </a:lnTo>
                  <a:lnTo>
                    <a:pt x="606" y="350"/>
                  </a:lnTo>
                  <a:lnTo>
                    <a:pt x="606" y="350"/>
                  </a:lnTo>
                  <a:lnTo>
                    <a:pt x="606" y="350"/>
                  </a:lnTo>
                  <a:lnTo>
                    <a:pt x="604" y="350"/>
                  </a:lnTo>
                  <a:lnTo>
                    <a:pt x="604" y="350"/>
                  </a:lnTo>
                  <a:lnTo>
                    <a:pt x="604" y="350"/>
                  </a:lnTo>
                  <a:lnTo>
                    <a:pt x="604" y="352"/>
                  </a:lnTo>
                  <a:lnTo>
                    <a:pt x="604" y="352"/>
                  </a:lnTo>
                  <a:lnTo>
                    <a:pt x="604" y="352"/>
                  </a:lnTo>
                  <a:lnTo>
                    <a:pt x="604" y="355"/>
                  </a:lnTo>
                  <a:lnTo>
                    <a:pt x="604" y="355"/>
                  </a:lnTo>
                  <a:lnTo>
                    <a:pt x="604" y="355"/>
                  </a:lnTo>
                  <a:lnTo>
                    <a:pt x="604" y="355"/>
                  </a:lnTo>
                  <a:lnTo>
                    <a:pt x="604" y="355"/>
                  </a:lnTo>
                  <a:lnTo>
                    <a:pt x="604" y="355"/>
                  </a:lnTo>
                  <a:lnTo>
                    <a:pt x="604" y="357"/>
                  </a:lnTo>
                  <a:lnTo>
                    <a:pt x="604" y="357"/>
                  </a:lnTo>
                  <a:lnTo>
                    <a:pt x="602" y="357"/>
                  </a:lnTo>
                  <a:lnTo>
                    <a:pt x="602" y="359"/>
                  </a:lnTo>
                  <a:close/>
                  <a:moveTo>
                    <a:pt x="623" y="363"/>
                  </a:moveTo>
                  <a:lnTo>
                    <a:pt x="627" y="367"/>
                  </a:lnTo>
                  <a:lnTo>
                    <a:pt x="621" y="363"/>
                  </a:lnTo>
                  <a:lnTo>
                    <a:pt x="621" y="363"/>
                  </a:lnTo>
                  <a:lnTo>
                    <a:pt x="621" y="363"/>
                  </a:lnTo>
                  <a:lnTo>
                    <a:pt x="623" y="363"/>
                  </a:lnTo>
                  <a:close/>
                  <a:moveTo>
                    <a:pt x="623" y="355"/>
                  </a:moveTo>
                  <a:lnTo>
                    <a:pt x="623" y="355"/>
                  </a:lnTo>
                  <a:lnTo>
                    <a:pt x="623" y="355"/>
                  </a:lnTo>
                  <a:lnTo>
                    <a:pt x="623" y="355"/>
                  </a:lnTo>
                  <a:close/>
                  <a:moveTo>
                    <a:pt x="621" y="355"/>
                  </a:moveTo>
                  <a:lnTo>
                    <a:pt x="621" y="355"/>
                  </a:lnTo>
                  <a:lnTo>
                    <a:pt x="623" y="355"/>
                  </a:lnTo>
                  <a:lnTo>
                    <a:pt x="621" y="355"/>
                  </a:lnTo>
                  <a:close/>
                  <a:moveTo>
                    <a:pt x="653" y="375"/>
                  </a:moveTo>
                  <a:lnTo>
                    <a:pt x="653" y="375"/>
                  </a:lnTo>
                  <a:lnTo>
                    <a:pt x="655" y="375"/>
                  </a:lnTo>
                  <a:lnTo>
                    <a:pt x="655" y="375"/>
                  </a:lnTo>
                  <a:lnTo>
                    <a:pt x="655" y="375"/>
                  </a:lnTo>
                  <a:lnTo>
                    <a:pt x="653" y="375"/>
                  </a:lnTo>
                  <a:close/>
                  <a:moveTo>
                    <a:pt x="635" y="885"/>
                  </a:moveTo>
                  <a:lnTo>
                    <a:pt x="635" y="883"/>
                  </a:lnTo>
                  <a:lnTo>
                    <a:pt x="635" y="883"/>
                  </a:lnTo>
                  <a:lnTo>
                    <a:pt x="635" y="883"/>
                  </a:lnTo>
                  <a:lnTo>
                    <a:pt x="635" y="881"/>
                  </a:lnTo>
                  <a:lnTo>
                    <a:pt x="635" y="881"/>
                  </a:lnTo>
                  <a:lnTo>
                    <a:pt x="635" y="881"/>
                  </a:lnTo>
                  <a:lnTo>
                    <a:pt x="633" y="881"/>
                  </a:lnTo>
                  <a:lnTo>
                    <a:pt x="633" y="883"/>
                  </a:lnTo>
                  <a:lnTo>
                    <a:pt x="633" y="883"/>
                  </a:lnTo>
                  <a:lnTo>
                    <a:pt x="633" y="885"/>
                  </a:lnTo>
                  <a:lnTo>
                    <a:pt x="633" y="883"/>
                  </a:lnTo>
                  <a:lnTo>
                    <a:pt x="633" y="883"/>
                  </a:lnTo>
                  <a:lnTo>
                    <a:pt x="633" y="883"/>
                  </a:lnTo>
                  <a:lnTo>
                    <a:pt x="633" y="883"/>
                  </a:lnTo>
                  <a:lnTo>
                    <a:pt x="633" y="883"/>
                  </a:lnTo>
                  <a:lnTo>
                    <a:pt x="631" y="883"/>
                  </a:lnTo>
                  <a:lnTo>
                    <a:pt x="631" y="883"/>
                  </a:lnTo>
                  <a:lnTo>
                    <a:pt x="631" y="883"/>
                  </a:lnTo>
                  <a:lnTo>
                    <a:pt x="631" y="883"/>
                  </a:lnTo>
                  <a:lnTo>
                    <a:pt x="631" y="883"/>
                  </a:lnTo>
                  <a:lnTo>
                    <a:pt x="629" y="883"/>
                  </a:lnTo>
                  <a:lnTo>
                    <a:pt x="629" y="883"/>
                  </a:lnTo>
                  <a:lnTo>
                    <a:pt x="629" y="885"/>
                  </a:lnTo>
                  <a:lnTo>
                    <a:pt x="629" y="885"/>
                  </a:lnTo>
                  <a:lnTo>
                    <a:pt x="629" y="885"/>
                  </a:lnTo>
                  <a:lnTo>
                    <a:pt x="629" y="885"/>
                  </a:lnTo>
                  <a:lnTo>
                    <a:pt x="629" y="883"/>
                  </a:lnTo>
                  <a:lnTo>
                    <a:pt x="629" y="883"/>
                  </a:lnTo>
                  <a:lnTo>
                    <a:pt x="629" y="883"/>
                  </a:lnTo>
                  <a:lnTo>
                    <a:pt x="627" y="885"/>
                  </a:lnTo>
                  <a:lnTo>
                    <a:pt x="627" y="885"/>
                  </a:lnTo>
                  <a:lnTo>
                    <a:pt x="627" y="885"/>
                  </a:lnTo>
                  <a:lnTo>
                    <a:pt x="627" y="883"/>
                  </a:lnTo>
                  <a:lnTo>
                    <a:pt x="627" y="883"/>
                  </a:lnTo>
                  <a:lnTo>
                    <a:pt x="627" y="883"/>
                  </a:lnTo>
                  <a:lnTo>
                    <a:pt x="629" y="881"/>
                  </a:lnTo>
                  <a:lnTo>
                    <a:pt x="629" y="881"/>
                  </a:lnTo>
                  <a:lnTo>
                    <a:pt x="629" y="881"/>
                  </a:lnTo>
                  <a:lnTo>
                    <a:pt x="629" y="881"/>
                  </a:lnTo>
                  <a:lnTo>
                    <a:pt x="629" y="881"/>
                  </a:lnTo>
                  <a:lnTo>
                    <a:pt x="629" y="881"/>
                  </a:lnTo>
                  <a:lnTo>
                    <a:pt x="629" y="879"/>
                  </a:lnTo>
                  <a:lnTo>
                    <a:pt x="629" y="881"/>
                  </a:lnTo>
                  <a:lnTo>
                    <a:pt x="633" y="879"/>
                  </a:lnTo>
                  <a:lnTo>
                    <a:pt x="633" y="879"/>
                  </a:lnTo>
                  <a:lnTo>
                    <a:pt x="633" y="879"/>
                  </a:lnTo>
                  <a:lnTo>
                    <a:pt x="633" y="879"/>
                  </a:lnTo>
                  <a:lnTo>
                    <a:pt x="633" y="879"/>
                  </a:lnTo>
                  <a:lnTo>
                    <a:pt x="633" y="879"/>
                  </a:lnTo>
                  <a:lnTo>
                    <a:pt x="635" y="877"/>
                  </a:lnTo>
                  <a:lnTo>
                    <a:pt x="635" y="877"/>
                  </a:lnTo>
                  <a:lnTo>
                    <a:pt x="635" y="877"/>
                  </a:lnTo>
                  <a:lnTo>
                    <a:pt x="635" y="877"/>
                  </a:lnTo>
                  <a:lnTo>
                    <a:pt x="635" y="877"/>
                  </a:lnTo>
                  <a:lnTo>
                    <a:pt x="635" y="877"/>
                  </a:lnTo>
                  <a:lnTo>
                    <a:pt x="635" y="877"/>
                  </a:lnTo>
                  <a:lnTo>
                    <a:pt x="635" y="877"/>
                  </a:lnTo>
                  <a:lnTo>
                    <a:pt x="637" y="877"/>
                  </a:lnTo>
                  <a:lnTo>
                    <a:pt x="637" y="877"/>
                  </a:lnTo>
                  <a:lnTo>
                    <a:pt x="637" y="877"/>
                  </a:lnTo>
                  <a:lnTo>
                    <a:pt x="639" y="877"/>
                  </a:lnTo>
                  <a:lnTo>
                    <a:pt x="639" y="877"/>
                  </a:lnTo>
                  <a:lnTo>
                    <a:pt x="639" y="875"/>
                  </a:lnTo>
                  <a:lnTo>
                    <a:pt x="639" y="875"/>
                  </a:lnTo>
                  <a:lnTo>
                    <a:pt x="639" y="875"/>
                  </a:lnTo>
                  <a:lnTo>
                    <a:pt x="639" y="875"/>
                  </a:lnTo>
                  <a:lnTo>
                    <a:pt x="639" y="875"/>
                  </a:lnTo>
                  <a:lnTo>
                    <a:pt x="637" y="875"/>
                  </a:lnTo>
                  <a:lnTo>
                    <a:pt x="639" y="875"/>
                  </a:lnTo>
                  <a:lnTo>
                    <a:pt x="639" y="875"/>
                  </a:lnTo>
                  <a:lnTo>
                    <a:pt x="639" y="873"/>
                  </a:lnTo>
                  <a:lnTo>
                    <a:pt x="639" y="873"/>
                  </a:lnTo>
                  <a:lnTo>
                    <a:pt x="637" y="873"/>
                  </a:lnTo>
                  <a:lnTo>
                    <a:pt x="637" y="873"/>
                  </a:lnTo>
                  <a:lnTo>
                    <a:pt x="637" y="873"/>
                  </a:lnTo>
                  <a:lnTo>
                    <a:pt x="635" y="873"/>
                  </a:lnTo>
                  <a:lnTo>
                    <a:pt x="635" y="873"/>
                  </a:lnTo>
                  <a:lnTo>
                    <a:pt x="635" y="871"/>
                  </a:lnTo>
                  <a:lnTo>
                    <a:pt x="635" y="871"/>
                  </a:lnTo>
                  <a:lnTo>
                    <a:pt x="635" y="871"/>
                  </a:lnTo>
                  <a:lnTo>
                    <a:pt x="635" y="871"/>
                  </a:lnTo>
                  <a:lnTo>
                    <a:pt x="635" y="871"/>
                  </a:lnTo>
                  <a:lnTo>
                    <a:pt x="633" y="873"/>
                  </a:lnTo>
                  <a:lnTo>
                    <a:pt x="633" y="873"/>
                  </a:lnTo>
                  <a:lnTo>
                    <a:pt x="633" y="873"/>
                  </a:lnTo>
                  <a:lnTo>
                    <a:pt x="633" y="873"/>
                  </a:lnTo>
                  <a:lnTo>
                    <a:pt x="633" y="873"/>
                  </a:lnTo>
                  <a:lnTo>
                    <a:pt x="633" y="873"/>
                  </a:lnTo>
                  <a:lnTo>
                    <a:pt x="631" y="875"/>
                  </a:lnTo>
                  <a:lnTo>
                    <a:pt x="631" y="875"/>
                  </a:lnTo>
                  <a:lnTo>
                    <a:pt x="631" y="875"/>
                  </a:lnTo>
                  <a:lnTo>
                    <a:pt x="631" y="875"/>
                  </a:lnTo>
                  <a:lnTo>
                    <a:pt x="627" y="877"/>
                  </a:lnTo>
                  <a:lnTo>
                    <a:pt x="627" y="877"/>
                  </a:lnTo>
                  <a:lnTo>
                    <a:pt x="627" y="877"/>
                  </a:lnTo>
                  <a:lnTo>
                    <a:pt x="629" y="875"/>
                  </a:lnTo>
                  <a:lnTo>
                    <a:pt x="627" y="875"/>
                  </a:lnTo>
                  <a:lnTo>
                    <a:pt x="627" y="875"/>
                  </a:lnTo>
                  <a:lnTo>
                    <a:pt x="627" y="875"/>
                  </a:lnTo>
                  <a:lnTo>
                    <a:pt x="627" y="875"/>
                  </a:lnTo>
                  <a:lnTo>
                    <a:pt x="627" y="875"/>
                  </a:lnTo>
                  <a:lnTo>
                    <a:pt x="627" y="873"/>
                  </a:lnTo>
                  <a:lnTo>
                    <a:pt x="627" y="873"/>
                  </a:lnTo>
                  <a:lnTo>
                    <a:pt x="627" y="873"/>
                  </a:lnTo>
                  <a:lnTo>
                    <a:pt x="627" y="873"/>
                  </a:lnTo>
                  <a:lnTo>
                    <a:pt x="627" y="873"/>
                  </a:lnTo>
                  <a:lnTo>
                    <a:pt x="627" y="873"/>
                  </a:lnTo>
                  <a:lnTo>
                    <a:pt x="627" y="873"/>
                  </a:lnTo>
                  <a:lnTo>
                    <a:pt x="627" y="871"/>
                  </a:lnTo>
                  <a:lnTo>
                    <a:pt x="627" y="871"/>
                  </a:lnTo>
                  <a:lnTo>
                    <a:pt x="627" y="871"/>
                  </a:lnTo>
                  <a:lnTo>
                    <a:pt x="629" y="871"/>
                  </a:lnTo>
                  <a:lnTo>
                    <a:pt x="629" y="869"/>
                  </a:lnTo>
                  <a:lnTo>
                    <a:pt x="627" y="869"/>
                  </a:lnTo>
                  <a:lnTo>
                    <a:pt x="627" y="869"/>
                  </a:lnTo>
                  <a:lnTo>
                    <a:pt x="625" y="869"/>
                  </a:lnTo>
                  <a:lnTo>
                    <a:pt x="625" y="869"/>
                  </a:lnTo>
                  <a:lnTo>
                    <a:pt x="625" y="869"/>
                  </a:lnTo>
                  <a:lnTo>
                    <a:pt x="625" y="869"/>
                  </a:lnTo>
                  <a:lnTo>
                    <a:pt x="625" y="869"/>
                  </a:lnTo>
                  <a:lnTo>
                    <a:pt x="625" y="869"/>
                  </a:lnTo>
                  <a:lnTo>
                    <a:pt x="625" y="869"/>
                  </a:lnTo>
                  <a:lnTo>
                    <a:pt x="625" y="869"/>
                  </a:lnTo>
                  <a:lnTo>
                    <a:pt x="625" y="867"/>
                  </a:lnTo>
                  <a:lnTo>
                    <a:pt x="623" y="869"/>
                  </a:lnTo>
                  <a:lnTo>
                    <a:pt x="621" y="869"/>
                  </a:lnTo>
                  <a:lnTo>
                    <a:pt x="621" y="869"/>
                  </a:lnTo>
                  <a:lnTo>
                    <a:pt x="621" y="869"/>
                  </a:lnTo>
                  <a:lnTo>
                    <a:pt x="619" y="869"/>
                  </a:lnTo>
                  <a:lnTo>
                    <a:pt x="619" y="869"/>
                  </a:lnTo>
                  <a:lnTo>
                    <a:pt x="619" y="869"/>
                  </a:lnTo>
                  <a:lnTo>
                    <a:pt x="617" y="869"/>
                  </a:lnTo>
                  <a:lnTo>
                    <a:pt x="617" y="869"/>
                  </a:lnTo>
                  <a:lnTo>
                    <a:pt x="614" y="869"/>
                  </a:lnTo>
                  <a:lnTo>
                    <a:pt x="614" y="869"/>
                  </a:lnTo>
                  <a:lnTo>
                    <a:pt x="614" y="869"/>
                  </a:lnTo>
                  <a:lnTo>
                    <a:pt x="612" y="871"/>
                  </a:lnTo>
                  <a:lnTo>
                    <a:pt x="612" y="871"/>
                  </a:lnTo>
                  <a:lnTo>
                    <a:pt x="612" y="873"/>
                  </a:lnTo>
                  <a:lnTo>
                    <a:pt x="610" y="873"/>
                  </a:lnTo>
                  <a:lnTo>
                    <a:pt x="610" y="873"/>
                  </a:lnTo>
                  <a:lnTo>
                    <a:pt x="610" y="873"/>
                  </a:lnTo>
                  <a:lnTo>
                    <a:pt x="610" y="873"/>
                  </a:lnTo>
                  <a:lnTo>
                    <a:pt x="610" y="873"/>
                  </a:lnTo>
                  <a:lnTo>
                    <a:pt x="610" y="873"/>
                  </a:lnTo>
                  <a:lnTo>
                    <a:pt x="610" y="875"/>
                  </a:lnTo>
                  <a:lnTo>
                    <a:pt x="610" y="875"/>
                  </a:lnTo>
                  <a:lnTo>
                    <a:pt x="610" y="875"/>
                  </a:lnTo>
                  <a:lnTo>
                    <a:pt x="610" y="875"/>
                  </a:lnTo>
                  <a:lnTo>
                    <a:pt x="610" y="875"/>
                  </a:lnTo>
                  <a:lnTo>
                    <a:pt x="612" y="875"/>
                  </a:lnTo>
                  <a:lnTo>
                    <a:pt x="612" y="875"/>
                  </a:lnTo>
                  <a:lnTo>
                    <a:pt x="612" y="875"/>
                  </a:lnTo>
                  <a:lnTo>
                    <a:pt x="612" y="875"/>
                  </a:lnTo>
                  <a:lnTo>
                    <a:pt x="612" y="875"/>
                  </a:lnTo>
                  <a:lnTo>
                    <a:pt x="610" y="877"/>
                  </a:lnTo>
                  <a:lnTo>
                    <a:pt x="612" y="879"/>
                  </a:lnTo>
                  <a:lnTo>
                    <a:pt x="614" y="879"/>
                  </a:lnTo>
                  <a:lnTo>
                    <a:pt x="614" y="879"/>
                  </a:lnTo>
                  <a:lnTo>
                    <a:pt x="614" y="879"/>
                  </a:lnTo>
                  <a:lnTo>
                    <a:pt x="617" y="879"/>
                  </a:lnTo>
                  <a:lnTo>
                    <a:pt x="617" y="879"/>
                  </a:lnTo>
                  <a:lnTo>
                    <a:pt x="617" y="879"/>
                  </a:lnTo>
                  <a:lnTo>
                    <a:pt x="619" y="881"/>
                  </a:lnTo>
                  <a:lnTo>
                    <a:pt x="623" y="883"/>
                  </a:lnTo>
                  <a:lnTo>
                    <a:pt x="623" y="883"/>
                  </a:lnTo>
                  <a:lnTo>
                    <a:pt x="623" y="883"/>
                  </a:lnTo>
                  <a:lnTo>
                    <a:pt x="621" y="883"/>
                  </a:lnTo>
                  <a:lnTo>
                    <a:pt x="621" y="883"/>
                  </a:lnTo>
                  <a:lnTo>
                    <a:pt x="621" y="883"/>
                  </a:lnTo>
                  <a:lnTo>
                    <a:pt x="621" y="883"/>
                  </a:lnTo>
                  <a:lnTo>
                    <a:pt x="621" y="883"/>
                  </a:lnTo>
                  <a:lnTo>
                    <a:pt x="621" y="883"/>
                  </a:lnTo>
                  <a:lnTo>
                    <a:pt x="621" y="883"/>
                  </a:lnTo>
                  <a:lnTo>
                    <a:pt x="621" y="883"/>
                  </a:lnTo>
                  <a:lnTo>
                    <a:pt x="619" y="883"/>
                  </a:lnTo>
                  <a:lnTo>
                    <a:pt x="619" y="883"/>
                  </a:lnTo>
                  <a:lnTo>
                    <a:pt x="619" y="887"/>
                  </a:lnTo>
                  <a:lnTo>
                    <a:pt x="619" y="885"/>
                  </a:lnTo>
                  <a:lnTo>
                    <a:pt x="619" y="885"/>
                  </a:lnTo>
                  <a:lnTo>
                    <a:pt x="617" y="885"/>
                  </a:lnTo>
                  <a:lnTo>
                    <a:pt x="617" y="885"/>
                  </a:lnTo>
                  <a:lnTo>
                    <a:pt x="617" y="887"/>
                  </a:lnTo>
                  <a:lnTo>
                    <a:pt x="617" y="885"/>
                  </a:lnTo>
                  <a:lnTo>
                    <a:pt x="617" y="885"/>
                  </a:lnTo>
                  <a:lnTo>
                    <a:pt x="617" y="883"/>
                  </a:lnTo>
                  <a:lnTo>
                    <a:pt x="617" y="883"/>
                  </a:lnTo>
                  <a:lnTo>
                    <a:pt x="617" y="881"/>
                  </a:lnTo>
                  <a:lnTo>
                    <a:pt x="614" y="881"/>
                  </a:lnTo>
                  <a:lnTo>
                    <a:pt x="612" y="881"/>
                  </a:lnTo>
                  <a:lnTo>
                    <a:pt x="612" y="881"/>
                  </a:lnTo>
                  <a:lnTo>
                    <a:pt x="610" y="883"/>
                  </a:lnTo>
                  <a:lnTo>
                    <a:pt x="610" y="883"/>
                  </a:lnTo>
                  <a:lnTo>
                    <a:pt x="612" y="883"/>
                  </a:lnTo>
                  <a:lnTo>
                    <a:pt x="612" y="885"/>
                  </a:lnTo>
                  <a:lnTo>
                    <a:pt x="612" y="885"/>
                  </a:lnTo>
                  <a:lnTo>
                    <a:pt x="612" y="885"/>
                  </a:lnTo>
                  <a:lnTo>
                    <a:pt x="610" y="885"/>
                  </a:lnTo>
                  <a:lnTo>
                    <a:pt x="610" y="885"/>
                  </a:lnTo>
                  <a:lnTo>
                    <a:pt x="610" y="887"/>
                  </a:lnTo>
                  <a:lnTo>
                    <a:pt x="610" y="887"/>
                  </a:lnTo>
                  <a:lnTo>
                    <a:pt x="610" y="887"/>
                  </a:lnTo>
                  <a:lnTo>
                    <a:pt x="610" y="887"/>
                  </a:lnTo>
                  <a:lnTo>
                    <a:pt x="610" y="887"/>
                  </a:lnTo>
                  <a:lnTo>
                    <a:pt x="610" y="887"/>
                  </a:lnTo>
                  <a:lnTo>
                    <a:pt x="610" y="885"/>
                  </a:lnTo>
                  <a:lnTo>
                    <a:pt x="610" y="885"/>
                  </a:lnTo>
                  <a:lnTo>
                    <a:pt x="610" y="885"/>
                  </a:lnTo>
                  <a:lnTo>
                    <a:pt x="608" y="885"/>
                  </a:lnTo>
                  <a:lnTo>
                    <a:pt x="608" y="885"/>
                  </a:lnTo>
                  <a:lnTo>
                    <a:pt x="608" y="885"/>
                  </a:lnTo>
                  <a:lnTo>
                    <a:pt x="608" y="887"/>
                  </a:lnTo>
                  <a:lnTo>
                    <a:pt x="608" y="887"/>
                  </a:lnTo>
                  <a:lnTo>
                    <a:pt x="608" y="887"/>
                  </a:lnTo>
                  <a:lnTo>
                    <a:pt x="608" y="887"/>
                  </a:lnTo>
                  <a:lnTo>
                    <a:pt x="608" y="887"/>
                  </a:lnTo>
                  <a:lnTo>
                    <a:pt x="608" y="889"/>
                  </a:lnTo>
                  <a:lnTo>
                    <a:pt x="608" y="889"/>
                  </a:lnTo>
                  <a:lnTo>
                    <a:pt x="608" y="889"/>
                  </a:lnTo>
                  <a:lnTo>
                    <a:pt x="610" y="889"/>
                  </a:lnTo>
                  <a:lnTo>
                    <a:pt x="612" y="889"/>
                  </a:lnTo>
                  <a:lnTo>
                    <a:pt x="612" y="889"/>
                  </a:lnTo>
                  <a:lnTo>
                    <a:pt x="612" y="891"/>
                  </a:lnTo>
                  <a:lnTo>
                    <a:pt x="612" y="891"/>
                  </a:lnTo>
                  <a:lnTo>
                    <a:pt x="610" y="891"/>
                  </a:lnTo>
                  <a:lnTo>
                    <a:pt x="608" y="891"/>
                  </a:lnTo>
                  <a:lnTo>
                    <a:pt x="606" y="889"/>
                  </a:lnTo>
                  <a:lnTo>
                    <a:pt x="606" y="889"/>
                  </a:lnTo>
                  <a:lnTo>
                    <a:pt x="606" y="889"/>
                  </a:lnTo>
                  <a:lnTo>
                    <a:pt x="606" y="891"/>
                  </a:lnTo>
                  <a:lnTo>
                    <a:pt x="606" y="891"/>
                  </a:lnTo>
                  <a:lnTo>
                    <a:pt x="606" y="891"/>
                  </a:lnTo>
                  <a:lnTo>
                    <a:pt x="606" y="891"/>
                  </a:lnTo>
                  <a:lnTo>
                    <a:pt x="606" y="891"/>
                  </a:lnTo>
                  <a:lnTo>
                    <a:pt x="606" y="891"/>
                  </a:lnTo>
                  <a:lnTo>
                    <a:pt x="606" y="891"/>
                  </a:lnTo>
                  <a:lnTo>
                    <a:pt x="606" y="891"/>
                  </a:lnTo>
                  <a:lnTo>
                    <a:pt x="606" y="891"/>
                  </a:lnTo>
                  <a:lnTo>
                    <a:pt x="606" y="894"/>
                  </a:lnTo>
                  <a:lnTo>
                    <a:pt x="604" y="894"/>
                  </a:lnTo>
                  <a:lnTo>
                    <a:pt x="604" y="894"/>
                  </a:lnTo>
                  <a:lnTo>
                    <a:pt x="602" y="891"/>
                  </a:lnTo>
                  <a:lnTo>
                    <a:pt x="602" y="891"/>
                  </a:lnTo>
                  <a:lnTo>
                    <a:pt x="602" y="894"/>
                  </a:lnTo>
                  <a:lnTo>
                    <a:pt x="602" y="894"/>
                  </a:lnTo>
                  <a:lnTo>
                    <a:pt x="602" y="894"/>
                  </a:lnTo>
                  <a:lnTo>
                    <a:pt x="600" y="894"/>
                  </a:lnTo>
                  <a:lnTo>
                    <a:pt x="600" y="894"/>
                  </a:lnTo>
                  <a:lnTo>
                    <a:pt x="600" y="894"/>
                  </a:lnTo>
                  <a:lnTo>
                    <a:pt x="600" y="894"/>
                  </a:lnTo>
                  <a:lnTo>
                    <a:pt x="598" y="894"/>
                  </a:lnTo>
                  <a:lnTo>
                    <a:pt x="598" y="894"/>
                  </a:lnTo>
                  <a:lnTo>
                    <a:pt x="598" y="894"/>
                  </a:lnTo>
                  <a:lnTo>
                    <a:pt x="598" y="894"/>
                  </a:lnTo>
                  <a:lnTo>
                    <a:pt x="598" y="894"/>
                  </a:lnTo>
                  <a:lnTo>
                    <a:pt x="598" y="894"/>
                  </a:lnTo>
                  <a:lnTo>
                    <a:pt x="596" y="894"/>
                  </a:lnTo>
                  <a:lnTo>
                    <a:pt x="596" y="894"/>
                  </a:lnTo>
                  <a:lnTo>
                    <a:pt x="596" y="894"/>
                  </a:lnTo>
                  <a:lnTo>
                    <a:pt x="596" y="894"/>
                  </a:lnTo>
                  <a:lnTo>
                    <a:pt x="596" y="894"/>
                  </a:lnTo>
                  <a:lnTo>
                    <a:pt x="594" y="894"/>
                  </a:lnTo>
                  <a:lnTo>
                    <a:pt x="594" y="894"/>
                  </a:lnTo>
                  <a:lnTo>
                    <a:pt x="596" y="896"/>
                  </a:lnTo>
                  <a:lnTo>
                    <a:pt x="596" y="896"/>
                  </a:lnTo>
                  <a:lnTo>
                    <a:pt x="594" y="896"/>
                  </a:lnTo>
                  <a:lnTo>
                    <a:pt x="594" y="894"/>
                  </a:lnTo>
                  <a:lnTo>
                    <a:pt x="592" y="894"/>
                  </a:lnTo>
                  <a:lnTo>
                    <a:pt x="592" y="896"/>
                  </a:lnTo>
                  <a:lnTo>
                    <a:pt x="592" y="896"/>
                  </a:lnTo>
                  <a:lnTo>
                    <a:pt x="590" y="894"/>
                  </a:lnTo>
                  <a:lnTo>
                    <a:pt x="590" y="896"/>
                  </a:lnTo>
                  <a:lnTo>
                    <a:pt x="590" y="894"/>
                  </a:lnTo>
                  <a:lnTo>
                    <a:pt x="590" y="894"/>
                  </a:lnTo>
                  <a:lnTo>
                    <a:pt x="588" y="894"/>
                  </a:lnTo>
                  <a:lnTo>
                    <a:pt x="588" y="894"/>
                  </a:lnTo>
                  <a:lnTo>
                    <a:pt x="584" y="898"/>
                  </a:lnTo>
                  <a:lnTo>
                    <a:pt x="584" y="898"/>
                  </a:lnTo>
                  <a:lnTo>
                    <a:pt x="584" y="898"/>
                  </a:lnTo>
                  <a:lnTo>
                    <a:pt x="584" y="898"/>
                  </a:lnTo>
                  <a:lnTo>
                    <a:pt x="584" y="898"/>
                  </a:lnTo>
                  <a:lnTo>
                    <a:pt x="584" y="898"/>
                  </a:lnTo>
                  <a:lnTo>
                    <a:pt x="584" y="898"/>
                  </a:lnTo>
                  <a:lnTo>
                    <a:pt x="586" y="898"/>
                  </a:lnTo>
                  <a:lnTo>
                    <a:pt x="586" y="898"/>
                  </a:lnTo>
                  <a:lnTo>
                    <a:pt x="586" y="900"/>
                  </a:lnTo>
                  <a:lnTo>
                    <a:pt x="588" y="900"/>
                  </a:lnTo>
                  <a:lnTo>
                    <a:pt x="588" y="900"/>
                  </a:lnTo>
                  <a:lnTo>
                    <a:pt x="588" y="902"/>
                  </a:lnTo>
                  <a:lnTo>
                    <a:pt x="590" y="900"/>
                  </a:lnTo>
                  <a:lnTo>
                    <a:pt x="590" y="900"/>
                  </a:lnTo>
                  <a:lnTo>
                    <a:pt x="590" y="900"/>
                  </a:lnTo>
                  <a:lnTo>
                    <a:pt x="590" y="900"/>
                  </a:lnTo>
                  <a:lnTo>
                    <a:pt x="590" y="900"/>
                  </a:lnTo>
                  <a:lnTo>
                    <a:pt x="592" y="900"/>
                  </a:lnTo>
                  <a:lnTo>
                    <a:pt x="592" y="900"/>
                  </a:lnTo>
                  <a:lnTo>
                    <a:pt x="592" y="900"/>
                  </a:lnTo>
                  <a:lnTo>
                    <a:pt x="594" y="900"/>
                  </a:lnTo>
                  <a:lnTo>
                    <a:pt x="594" y="902"/>
                  </a:lnTo>
                  <a:lnTo>
                    <a:pt x="594" y="902"/>
                  </a:lnTo>
                  <a:lnTo>
                    <a:pt x="594" y="902"/>
                  </a:lnTo>
                  <a:lnTo>
                    <a:pt x="594" y="900"/>
                  </a:lnTo>
                  <a:lnTo>
                    <a:pt x="594" y="900"/>
                  </a:lnTo>
                  <a:lnTo>
                    <a:pt x="596" y="900"/>
                  </a:lnTo>
                  <a:lnTo>
                    <a:pt x="596" y="900"/>
                  </a:lnTo>
                  <a:lnTo>
                    <a:pt x="596" y="900"/>
                  </a:lnTo>
                  <a:lnTo>
                    <a:pt x="596" y="898"/>
                  </a:lnTo>
                  <a:lnTo>
                    <a:pt x="596" y="898"/>
                  </a:lnTo>
                  <a:lnTo>
                    <a:pt x="598" y="898"/>
                  </a:lnTo>
                  <a:lnTo>
                    <a:pt x="598" y="898"/>
                  </a:lnTo>
                  <a:lnTo>
                    <a:pt x="600" y="900"/>
                  </a:lnTo>
                  <a:lnTo>
                    <a:pt x="600" y="898"/>
                  </a:lnTo>
                  <a:lnTo>
                    <a:pt x="600" y="898"/>
                  </a:lnTo>
                  <a:lnTo>
                    <a:pt x="602" y="898"/>
                  </a:lnTo>
                  <a:lnTo>
                    <a:pt x="602" y="898"/>
                  </a:lnTo>
                  <a:lnTo>
                    <a:pt x="602" y="898"/>
                  </a:lnTo>
                  <a:lnTo>
                    <a:pt x="604" y="898"/>
                  </a:lnTo>
                  <a:lnTo>
                    <a:pt x="606" y="896"/>
                  </a:lnTo>
                  <a:lnTo>
                    <a:pt x="606" y="896"/>
                  </a:lnTo>
                  <a:lnTo>
                    <a:pt x="608" y="896"/>
                  </a:lnTo>
                  <a:lnTo>
                    <a:pt x="608" y="896"/>
                  </a:lnTo>
                  <a:lnTo>
                    <a:pt x="610" y="896"/>
                  </a:lnTo>
                  <a:lnTo>
                    <a:pt x="612" y="896"/>
                  </a:lnTo>
                  <a:lnTo>
                    <a:pt x="610" y="896"/>
                  </a:lnTo>
                  <a:lnTo>
                    <a:pt x="610" y="896"/>
                  </a:lnTo>
                  <a:lnTo>
                    <a:pt x="612" y="896"/>
                  </a:lnTo>
                  <a:lnTo>
                    <a:pt x="612" y="896"/>
                  </a:lnTo>
                  <a:lnTo>
                    <a:pt x="612" y="896"/>
                  </a:lnTo>
                  <a:lnTo>
                    <a:pt x="612" y="894"/>
                  </a:lnTo>
                  <a:lnTo>
                    <a:pt x="612" y="894"/>
                  </a:lnTo>
                  <a:lnTo>
                    <a:pt x="612" y="896"/>
                  </a:lnTo>
                  <a:lnTo>
                    <a:pt x="612" y="896"/>
                  </a:lnTo>
                  <a:lnTo>
                    <a:pt x="612" y="896"/>
                  </a:lnTo>
                  <a:lnTo>
                    <a:pt x="614" y="896"/>
                  </a:lnTo>
                  <a:lnTo>
                    <a:pt x="614" y="894"/>
                  </a:lnTo>
                  <a:lnTo>
                    <a:pt x="614" y="894"/>
                  </a:lnTo>
                  <a:lnTo>
                    <a:pt x="614" y="894"/>
                  </a:lnTo>
                  <a:lnTo>
                    <a:pt x="617" y="896"/>
                  </a:lnTo>
                  <a:lnTo>
                    <a:pt x="617" y="896"/>
                  </a:lnTo>
                  <a:lnTo>
                    <a:pt x="617" y="896"/>
                  </a:lnTo>
                  <a:lnTo>
                    <a:pt x="617" y="896"/>
                  </a:lnTo>
                  <a:lnTo>
                    <a:pt x="617" y="896"/>
                  </a:lnTo>
                  <a:lnTo>
                    <a:pt x="617" y="896"/>
                  </a:lnTo>
                  <a:lnTo>
                    <a:pt x="617" y="896"/>
                  </a:lnTo>
                  <a:lnTo>
                    <a:pt x="617" y="896"/>
                  </a:lnTo>
                  <a:lnTo>
                    <a:pt x="619" y="896"/>
                  </a:lnTo>
                  <a:lnTo>
                    <a:pt x="619" y="896"/>
                  </a:lnTo>
                  <a:lnTo>
                    <a:pt x="619" y="896"/>
                  </a:lnTo>
                  <a:lnTo>
                    <a:pt x="619" y="896"/>
                  </a:lnTo>
                  <a:lnTo>
                    <a:pt x="619" y="894"/>
                  </a:lnTo>
                  <a:lnTo>
                    <a:pt x="619" y="891"/>
                  </a:lnTo>
                  <a:lnTo>
                    <a:pt x="619" y="891"/>
                  </a:lnTo>
                  <a:lnTo>
                    <a:pt x="619" y="889"/>
                  </a:lnTo>
                  <a:lnTo>
                    <a:pt x="619" y="891"/>
                  </a:lnTo>
                  <a:lnTo>
                    <a:pt x="619" y="891"/>
                  </a:lnTo>
                  <a:lnTo>
                    <a:pt x="619" y="894"/>
                  </a:lnTo>
                  <a:lnTo>
                    <a:pt x="621" y="894"/>
                  </a:lnTo>
                  <a:lnTo>
                    <a:pt x="621" y="894"/>
                  </a:lnTo>
                  <a:lnTo>
                    <a:pt x="621" y="894"/>
                  </a:lnTo>
                  <a:lnTo>
                    <a:pt x="621" y="894"/>
                  </a:lnTo>
                  <a:lnTo>
                    <a:pt x="621" y="896"/>
                  </a:lnTo>
                  <a:lnTo>
                    <a:pt x="623" y="896"/>
                  </a:lnTo>
                  <a:lnTo>
                    <a:pt x="623" y="894"/>
                  </a:lnTo>
                  <a:lnTo>
                    <a:pt x="623" y="894"/>
                  </a:lnTo>
                  <a:lnTo>
                    <a:pt x="621" y="894"/>
                  </a:lnTo>
                  <a:lnTo>
                    <a:pt x="621" y="894"/>
                  </a:lnTo>
                  <a:lnTo>
                    <a:pt x="621" y="891"/>
                  </a:lnTo>
                  <a:lnTo>
                    <a:pt x="621" y="891"/>
                  </a:lnTo>
                  <a:lnTo>
                    <a:pt x="623" y="894"/>
                  </a:lnTo>
                  <a:lnTo>
                    <a:pt x="623" y="894"/>
                  </a:lnTo>
                  <a:lnTo>
                    <a:pt x="623" y="891"/>
                  </a:lnTo>
                  <a:lnTo>
                    <a:pt x="623" y="889"/>
                  </a:lnTo>
                  <a:lnTo>
                    <a:pt x="623" y="889"/>
                  </a:lnTo>
                  <a:lnTo>
                    <a:pt x="625" y="891"/>
                  </a:lnTo>
                  <a:lnTo>
                    <a:pt x="625" y="894"/>
                  </a:lnTo>
                  <a:lnTo>
                    <a:pt x="625" y="891"/>
                  </a:lnTo>
                  <a:lnTo>
                    <a:pt x="625" y="889"/>
                  </a:lnTo>
                  <a:lnTo>
                    <a:pt x="627" y="889"/>
                  </a:lnTo>
                  <a:lnTo>
                    <a:pt x="627" y="891"/>
                  </a:lnTo>
                  <a:lnTo>
                    <a:pt x="627" y="889"/>
                  </a:lnTo>
                  <a:lnTo>
                    <a:pt x="627" y="889"/>
                  </a:lnTo>
                  <a:lnTo>
                    <a:pt x="627" y="889"/>
                  </a:lnTo>
                  <a:lnTo>
                    <a:pt x="627" y="889"/>
                  </a:lnTo>
                  <a:lnTo>
                    <a:pt x="627" y="889"/>
                  </a:lnTo>
                  <a:lnTo>
                    <a:pt x="629" y="887"/>
                  </a:lnTo>
                  <a:lnTo>
                    <a:pt x="629" y="887"/>
                  </a:lnTo>
                  <a:lnTo>
                    <a:pt x="629" y="887"/>
                  </a:lnTo>
                  <a:lnTo>
                    <a:pt x="631" y="887"/>
                  </a:lnTo>
                  <a:lnTo>
                    <a:pt x="631" y="887"/>
                  </a:lnTo>
                  <a:lnTo>
                    <a:pt x="631" y="887"/>
                  </a:lnTo>
                  <a:lnTo>
                    <a:pt x="631" y="887"/>
                  </a:lnTo>
                  <a:lnTo>
                    <a:pt x="631" y="887"/>
                  </a:lnTo>
                  <a:lnTo>
                    <a:pt x="633" y="887"/>
                  </a:lnTo>
                  <a:lnTo>
                    <a:pt x="635" y="887"/>
                  </a:lnTo>
                  <a:lnTo>
                    <a:pt x="635" y="887"/>
                  </a:lnTo>
                  <a:lnTo>
                    <a:pt x="635" y="885"/>
                  </a:lnTo>
                  <a:lnTo>
                    <a:pt x="635" y="885"/>
                  </a:lnTo>
                  <a:lnTo>
                    <a:pt x="635" y="885"/>
                  </a:lnTo>
                  <a:lnTo>
                    <a:pt x="635" y="885"/>
                  </a:lnTo>
                  <a:lnTo>
                    <a:pt x="635" y="885"/>
                  </a:lnTo>
                  <a:close/>
                  <a:moveTo>
                    <a:pt x="643" y="389"/>
                  </a:moveTo>
                  <a:lnTo>
                    <a:pt x="643" y="389"/>
                  </a:lnTo>
                  <a:lnTo>
                    <a:pt x="645" y="391"/>
                  </a:lnTo>
                  <a:lnTo>
                    <a:pt x="643" y="389"/>
                  </a:lnTo>
                  <a:lnTo>
                    <a:pt x="643" y="389"/>
                  </a:lnTo>
                  <a:close/>
                  <a:moveTo>
                    <a:pt x="641" y="879"/>
                  </a:moveTo>
                  <a:lnTo>
                    <a:pt x="641" y="879"/>
                  </a:lnTo>
                  <a:lnTo>
                    <a:pt x="641" y="879"/>
                  </a:lnTo>
                  <a:lnTo>
                    <a:pt x="641" y="879"/>
                  </a:lnTo>
                  <a:lnTo>
                    <a:pt x="641" y="879"/>
                  </a:lnTo>
                  <a:lnTo>
                    <a:pt x="639" y="879"/>
                  </a:lnTo>
                  <a:lnTo>
                    <a:pt x="639" y="879"/>
                  </a:lnTo>
                  <a:lnTo>
                    <a:pt x="639" y="879"/>
                  </a:lnTo>
                  <a:lnTo>
                    <a:pt x="639" y="881"/>
                  </a:lnTo>
                  <a:lnTo>
                    <a:pt x="637" y="883"/>
                  </a:lnTo>
                  <a:lnTo>
                    <a:pt x="637" y="883"/>
                  </a:lnTo>
                  <a:lnTo>
                    <a:pt x="637" y="881"/>
                  </a:lnTo>
                  <a:lnTo>
                    <a:pt x="637" y="881"/>
                  </a:lnTo>
                  <a:lnTo>
                    <a:pt x="637" y="881"/>
                  </a:lnTo>
                  <a:lnTo>
                    <a:pt x="637" y="881"/>
                  </a:lnTo>
                  <a:lnTo>
                    <a:pt x="637" y="881"/>
                  </a:lnTo>
                  <a:lnTo>
                    <a:pt x="637" y="881"/>
                  </a:lnTo>
                  <a:lnTo>
                    <a:pt x="637" y="881"/>
                  </a:lnTo>
                  <a:lnTo>
                    <a:pt x="635" y="881"/>
                  </a:lnTo>
                  <a:lnTo>
                    <a:pt x="635" y="881"/>
                  </a:lnTo>
                  <a:lnTo>
                    <a:pt x="635" y="883"/>
                  </a:lnTo>
                  <a:lnTo>
                    <a:pt x="635" y="883"/>
                  </a:lnTo>
                  <a:lnTo>
                    <a:pt x="635" y="883"/>
                  </a:lnTo>
                  <a:lnTo>
                    <a:pt x="637" y="885"/>
                  </a:lnTo>
                  <a:lnTo>
                    <a:pt x="637" y="885"/>
                  </a:lnTo>
                  <a:lnTo>
                    <a:pt x="637" y="885"/>
                  </a:lnTo>
                  <a:lnTo>
                    <a:pt x="637" y="885"/>
                  </a:lnTo>
                  <a:lnTo>
                    <a:pt x="639" y="885"/>
                  </a:lnTo>
                  <a:lnTo>
                    <a:pt x="639" y="885"/>
                  </a:lnTo>
                  <a:lnTo>
                    <a:pt x="639" y="885"/>
                  </a:lnTo>
                  <a:lnTo>
                    <a:pt x="639" y="883"/>
                  </a:lnTo>
                  <a:lnTo>
                    <a:pt x="639" y="883"/>
                  </a:lnTo>
                  <a:lnTo>
                    <a:pt x="639" y="883"/>
                  </a:lnTo>
                  <a:lnTo>
                    <a:pt x="641" y="883"/>
                  </a:lnTo>
                  <a:lnTo>
                    <a:pt x="641" y="883"/>
                  </a:lnTo>
                  <a:lnTo>
                    <a:pt x="641" y="883"/>
                  </a:lnTo>
                  <a:lnTo>
                    <a:pt x="641" y="883"/>
                  </a:lnTo>
                  <a:lnTo>
                    <a:pt x="641" y="881"/>
                  </a:lnTo>
                  <a:lnTo>
                    <a:pt x="641" y="881"/>
                  </a:lnTo>
                  <a:lnTo>
                    <a:pt x="641" y="881"/>
                  </a:lnTo>
                  <a:lnTo>
                    <a:pt x="641" y="881"/>
                  </a:lnTo>
                  <a:lnTo>
                    <a:pt x="641" y="881"/>
                  </a:lnTo>
                  <a:lnTo>
                    <a:pt x="641" y="881"/>
                  </a:lnTo>
                  <a:lnTo>
                    <a:pt x="641" y="881"/>
                  </a:lnTo>
                  <a:lnTo>
                    <a:pt x="643" y="879"/>
                  </a:lnTo>
                  <a:lnTo>
                    <a:pt x="641" y="879"/>
                  </a:lnTo>
                  <a:lnTo>
                    <a:pt x="641" y="879"/>
                  </a:lnTo>
                  <a:close/>
                  <a:moveTo>
                    <a:pt x="786" y="836"/>
                  </a:moveTo>
                  <a:lnTo>
                    <a:pt x="786" y="834"/>
                  </a:lnTo>
                  <a:lnTo>
                    <a:pt x="786" y="834"/>
                  </a:lnTo>
                  <a:lnTo>
                    <a:pt x="786" y="836"/>
                  </a:lnTo>
                  <a:lnTo>
                    <a:pt x="786" y="836"/>
                  </a:lnTo>
                  <a:lnTo>
                    <a:pt x="786" y="836"/>
                  </a:lnTo>
                  <a:lnTo>
                    <a:pt x="786" y="836"/>
                  </a:lnTo>
                  <a:lnTo>
                    <a:pt x="786" y="836"/>
                  </a:lnTo>
                  <a:lnTo>
                    <a:pt x="786" y="836"/>
                  </a:lnTo>
                  <a:lnTo>
                    <a:pt x="786" y="838"/>
                  </a:lnTo>
                  <a:lnTo>
                    <a:pt x="786" y="838"/>
                  </a:lnTo>
                  <a:lnTo>
                    <a:pt x="789" y="838"/>
                  </a:lnTo>
                  <a:lnTo>
                    <a:pt x="789" y="838"/>
                  </a:lnTo>
                  <a:lnTo>
                    <a:pt x="789" y="836"/>
                  </a:lnTo>
                  <a:lnTo>
                    <a:pt x="789" y="836"/>
                  </a:lnTo>
                  <a:lnTo>
                    <a:pt x="786" y="836"/>
                  </a:lnTo>
                  <a:close/>
                  <a:moveTo>
                    <a:pt x="834" y="830"/>
                  </a:moveTo>
                  <a:lnTo>
                    <a:pt x="834" y="830"/>
                  </a:lnTo>
                  <a:lnTo>
                    <a:pt x="834" y="830"/>
                  </a:lnTo>
                  <a:lnTo>
                    <a:pt x="834" y="828"/>
                  </a:lnTo>
                  <a:lnTo>
                    <a:pt x="834" y="828"/>
                  </a:lnTo>
                  <a:lnTo>
                    <a:pt x="834" y="828"/>
                  </a:lnTo>
                  <a:lnTo>
                    <a:pt x="834" y="828"/>
                  </a:lnTo>
                  <a:lnTo>
                    <a:pt x="834" y="828"/>
                  </a:lnTo>
                  <a:lnTo>
                    <a:pt x="834" y="828"/>
                  </a:lnTo>
                  <a:lnTo>
                    <a:pt x="832" y="828"/>
                  </a:lnTo>
                  <a:lnTo>
                    <a:pt x="832" y="828"/>
                  </a:lnTo>
                  <a:lnTo>
                    <a:pt x="832" y="828"/>
                  </a:lnTo>
                  <a:lnTo>
                    <a:pt x="832" y="828"/>
                  </a:lnTo>
                  <a:lnTo>
                    <a:pt x="832" y="830"/>
                  </a:lnTo>
                  <a:lnTo>
                    <a:pt x="834" y="830"/>
                  </a:lnTo>
                  <a:close/>
                  <a:moveTo>
                    <a:pt x="827" y="824"/>
                  </a:moveTo>
                  <a:lnTo>
                    <a:pt x="827" y="824"/>
                  </a:lnTo>
                  <a:lnTo>
                    <a:pt x="827" y="824"/>
                  </a:lnTo>
                  <a:lnTo>
                    <a:pt x="827" y="824"/>
                  </a:lnTo>
                  <a:lnTo>
                    <a:pt x="827" y="824"/>
                  </a:lnTo>
                  <a:lnTo>
                    <a:pt x="830" y="824"/>
                  </a:lnTo>
                  <a:lnTo>
                    <a:pt x="830" y="824"/>
                  </a:lnTo>
                  <a:lnTo>
                    <a:pt x="830" y="824"/>
                  </a:lnTo>
                  <a:lnTo>
                    <a:pt x="830" y="826"/>
                  </a:lnTo>
                  <a:lnTo>
                    <a:pt x="830" y="826"/>
                  </a:lnTo>
                  <a:lnTo>
                    <a:pt x="832" y="826"/>
                  </a:lnTo>
                  <a:lnTo>
                    <a:pt x="832" y="824"/>
                  </a:lnTo>
                  <a:lnTo>
                    <a:pt x="832" y="824"/>
                  </a:lnTo>
                  <a:lnTo>
                    <a:pt x="832" y="824"/>
                  </a:lnTo>
                  <a:lnTo>
                    <a:pt x="832" y="822"/>
                  </a:lnTo>
                  <a:lnTo>
                    <a:pt x="832" y="822"/>
                  </a:lnTo>
                  <a:lnTo>
                    <a:pt x="830" y="822"/>
                  </a:lnTo>
                  <a:lnTo>
                    <a:pt x="830" y="822"/>
                  </a:lnTo>
                  <a:lnTo>
                    <a:pt x="830" y="822"/>
                  </a:lnTo>
                  <a:lnTo>
                    <a:pt x="830" y="822"/>
                  </a:lnTo>
                  <a:lnTo>
                    <a:pt x="830" y="822"/>
                  </a:lnTo>
                  <a:lnTo>
                    <a:pt x="830" y="822"/>
                  </a:lnTo>
                  <a:lnTo>
                    <a:pt x="830" y="822"/>
                  </a:lnTo>
                  <a:lnTo>
                    <a:pt x="827" y="822"/>
                  </a:lnTo>
                  <a:lnTo>
                    <a:pt x="827" y="822"/>
                  </a:lnTo>
                  <a:lnTo>
                    <a:pt x="827" y="822"/>
                  </a:lnTo>
                  <a:lnTo>
                    <a:pt x="825" y="822"/>
                  </a:lnTo>
                  <a:lnTo>
                    <a:pt x="825" y="824"/>
                  </a:lnTo>
                  <a:lnTo>
                    <a:pt x="825" y="824"/>
                  </a:lnTo>
                  <a:lnTo>
                    <a:pt x="825" y="824"/>
                  </a:lnTo>
                  <a:lnTo>
                    <a:pt x="825" y="824"/>
                  </a:lnTo>
                  <a:lnTo>
                    <a:pt x="827" y="824"/>
                  </a:lnTo>
                  <a:close/>
                  <a:moveTo>
                    <a:pt x="789" y="828"/>
                  </a:moveTo>
                  <a:lnTo>
                    <a:pt x="786" y="828"/>
                  </a:lnTo>
                  <a:lnTo>
                    <a:pt x="786" y="828"/>
                  </a:lnTo>
                  <a:lnTo>
                    <a:pt x="784" y="828"/>
                  </a:lnTo>
                  <a:lnTo>
                    <a:pt x="784" y="830"/>
                  </a:lnTo>
                  <a:lnTo>
                    <a:pt x="784" y="830"/>
                  </a:lnTo>
                  <a:lnTo>
                    <a:pt x="784" y="830"/>
                  </a:lnTo>
                  <a:lnTo>
                    <a:pt x="786" y="830"/>
                  </a:lnTo>
                  <a:lnTo>
                    <a:pt x="786" y="830"/>
                  </a:lnTo>
                  <a:lnTo>
                    <a:pt x="786" y="830"/>
                  </a:lnTo>
                  <a:lnTo>
                    <a:pt x="789" y="830"/>
                  </a:lnTo>
                  <a:lnTo>
                    <a:pt x="789" y="830"/>
                  </a:lnTo>
                  <a:lnTo>
                    <a:pt x="789" y="830"/>
                  </a:lnTo>
                  <a:lnTo>
                    <a:pt x="789" y="828"/>
                  </a:lnTo>
                  <a:lnTo>
                    <a:pt x="789" y="828"/>
                  </a:lnTo>
                  <a:lnTo>
                    <a:pt x="789" y="828"/>
                  </a:lnTo>
                  <a:close/>
                  <a:moveTo>
                    <a:pt x="825" y="826"/>
                  </a:moveTo>
                  <a:lnTo>
                    <a:pt x="823" y="826"/>
                  </a:lnTo>
                  <a:lnTo>
                    <a:pt x="823" y="826"/>
                  </a:lnTo>
                  <a:lnTo>
                    <a:pt x="821" y="826"/>
                  </a:lnTo>
                  <a:lnTo>
                    <a:pt x="821" y="826"/>
                  </a:lnTo>
                  <a:lnTo>
                    <a:pt x="821" y="826"/>
                  </a:lnTo>
                  <a:lnTo>
                    <a:pt x="819" y="826"/>
                  </a:lnTo>
                  <a:lnTo>
                    <a:pt x="819" y="826"/>
                  </a:lnTo>
                  <a:lnTo>
                    <a:pt x="819" y="828"/>
                  </a:lnTo>
                  <a:lnTo>
                    <a:pt x="819" y="828"/>
                  </a:lnTo>
                  <a:lnTo>
                    <a:pt x="819" y="828"/>
                  </a:lnTo>
                  <a:lnTo>
                    <a:pt x="819" y="828"/>
                  </a:lnTo>
                  <a:lnTo>
                    <a:pt x="823" y="830"/>
                  </a:lnTo>
                  <a:lnTo>
                    <a:pt x="823" y="832"/>
                  </a:lnTo>
                  <a:lnTo>
                    <a:pt x="823" y="832"/>
                  </a:lnTo>
                  <a:lnTo>
                    <a:pt x="823" y="832"/>
                  </a:lnTo>
                  <a:lnTo>
                    <a:pt x="825" y="832"/>
                  </a:lnTo>
                  <a:lnTo>
                    <a:pt x="825" y="830"/>
                  </a:lnTo>
                  <a:lnTo>
                    <a:pt x="825" y="830"/>
                  </a:lnTo>
                  <a:lnTo>
                    <a:pt x="825" y="828"/>
                  </a:lnTo>
                  <a:lnTo>
                    <a:pt x="825" y="826"/>
                  </a:lnTo>
                  <a:lnTo>
                    <a:pt x="825" y="826"/>
                  </a:lnTo>
                  <a:lnTo>
                    <a:pt x="825" y="826"/>
                  </a:lnTo>
                  <a:close/>
                  <a:moveTo>
                    <a:pt x="795" y="832"/>
                  </a:moveTo>
                  <a:lnTo>
                    <a:pt x="795" y="830"/>
                  </a:lnTo>
                  <a:lnTo>
                    <a:pt x="795" y="830"/>
                  </a:lnTo>
                  <a:lnTo>
                    <a:pt x="795" y="830"/>
                  </a:lnTo>
                  <a:lnTo>
                    <a:pt x="795" y="830"/>
                  </a:lnTo>
                  <a:lnTo>
                    <a:pt x="795" y="830"/>
                  </a:lnTo>
                  <a:lnTo>
                    <a:pt x="793" y="830"/>
                  </a:lnTo>
                  <a:lnTo>
                    <a:pt x="793" y="830"/>
                  </a:lnTo>
                  <a:lnTo>
                    <a:pt x="793" y="830"/>
                  </a:lnTo>
                  <a:lnTo>
                    <a:pt x="793" y="832"/>
                  </a:lnTo>
                  <a:lnTo>
                    <a:pt x="793" y="832"/>
                  </a:lnTo>
                  <a:lnTo>
                    <a:pt x="795" y="832"/>
                  </a:lnTo>
                  <a:lnTo>
                    <a:pt x="795" y="834"/>
                  </a:lnTo>
                  <a:lnTo>
                    <a:pt x="795" y="834"/>
                  </a:lnTo>
                  <a:lnTo>
                    <a:pt x="795" y="832"/>
                  </a:lnTo>
                  <a:lnTo>
                    <a:pt x="795" y="832"/>
                  </a:lnTo>
                  <a:lnTo>
                    <a:pt x="795" y="832"/>
                  </a:lnTo>
                  <a:lnTo>
                    <a:pt x="795" y="832"/>
                  </a:lnTo>
                  <a:lnTo>
                    <a:pt x="795" y="832"/>
                  </a:lnTo>
                  <a:close/>
                  <a:moveTo>
                    <a:pt x="819" y="834"/>
                  </a:moveTo>
                  <a:lnTo>
                    <a:pt x="819" y="834"/>
                  </a:lnTo>
                  <a:lnTo>
                    <a:pt x="819" y="834"/>
                  </a:lnTo>
                  <a:lnTo>
                    <a:pt x="819" y="834"/>
                  </a:lnTo>
                  <a:lnTo>
                    <a:pt x="819" y="832"/>
                  </a:lnTo>
                  <a:lnTo>
                    <a:pt x="819" y="832"/>
                  </a:lnTo>
                  <a:lnTo>
                    <a:pt x="819" y="832"/>
                  </a:lnTo>
                  <a:lnTo>
                    <a:pt x="817" y="832"/>
                  </a:lnTo>
                  <a:lnTo>
                    <a:pt x="817" y="832"/>
                  </a:lnTo>
                  <a:lnTo>
                    <a:pt x="819" y="832"/>
                  </a:lnTo>
                  <a:lnTo>
                    <a:pt x="819" y="832"/>
                  </a:lnTo>
                  <a:lnTo>
                    <a:pt x="819" y="830"/>
                  </a:lnTo>
                  <a:lnTo>
                    <a:pt x="817" y="830"/>
                  </a:lnTo>
                  <a:lnTo>
                    <a:pt x="817" y="830"/>
                  </a:lnTo>
                  <a:lnTo>
                    <a:pt x="817" y="830"/>
                  </a:lnTo>
                  <a:lnTo>
                    <a:pt x="817" y="828"/>
                  </a:lnTo>
                  <a:lnTo>
                    <a:pt x="817" y="828"/>
                  </a:lnTo>
                  <a:lnTo>
                    <a:pt x="819" y="826"/>
                  </a:lnTo>
                  <a:lnTo>
                    <a:pt x="819" y="826"/>
                  </a:lnTo>
                  <a:lnTo>
                    <a:pt x="819" y="824"/>
                  </a:lnTo>
                  <a:lnTo>
                    <a:pt x="819" y="824"/>
                  </a:lnTo>
                  <a:lnTo>
                    <a:pt x="819" y="824"/>
                  </a:lnTo>
                  <a:lnTo>
                    <a:pt x="817" y="824"/>
                  </a:lnTo>
                  <a:lnTo>
                    <a:pt x="817" y="824"/>
                  </a:lnTo>
                  <a:lnTo>
                    <a:pt x="817" y="826"/>
                  </a:lnTo>
                  <a:lnTo>
                    <a:pt x="817" y="826"/>
                  </a:lnTo>
                  <a:lnTo>
                    <a:pt x="817" y="828"/>
                  </a:lnTo>
                  <a:lnTo>
                    <a:pt x="817" y="828"/>
                  </a:lnTo>
                  <a:lnTo>
                    <a:pt x="817" y="826"/>
                  </a:lnTo>
                  <a:lnTo>
                    <a:pt x="815" y="826"/>
                  </a:lnTo>
                  <a:lnTo>
                    <a:pt x="815" y="826"/>
                  </a:lnTo>
                  <a:lnTo>
                    <a:pt x="815" y="828"/>
                  </a:lnTo>
                  <a:lnTo>
                    <a:pt x="815" y="828"/>
                  </a:lnTo>
                  <a:lnTo>
                    <a:pt x="815" y="828"/>
                  </a:lnTo>
                  <a:lnTo>
                    <a:pt x="815" y="828"/>
                  </a:lnTo>
                  <a:lnTo>
                    <a:pt x="815" y="828"/>
                  </a:lnTo>
                  <a:lnTo>
                    <a:pt x="815" y="828"/>
                  </a:lnTo>
                  <a:lnTo>
                    <a:pt x="815" y="826"/>
                  </a:lnTo>
                  <a:lnTo>
                    <a:pt x="815" y="826"/>
                  </a:lnTo>
                  <a:lnTo>
                    <a:pt x="815" y="824"/>
                  </a:lnTo>
                  <a:lnTo>
                    <a:pt x="815" y="822"/>
                  </a:lnTo>
                  <a:lnTo>
                    <a:pt x="813" y="822"/>
                  </a:lnTo>
                  <a:lnTo>
                    <a:pt x="813" y="824"/>
                  </a:lnTo>
                  <a:lnTo>
                    <a:pt x="811" y="824"/>
                  </a:lnTo>
                  <a:lnTo>
                    <a:pt x="809" y="826"/>
                  </a:lnTo>
                  <a:lnTo>
                    <a:pt x="809" y="826"/>
                  </a:lnTo>
                  <a:lnTo>
                    <a:pt x="809" y="828"/>
                  </a:lnTo>
                  <a:lnTo>
                    <a:pt x="809" y="828"/>
                  </a:lnTo>
                  <a:lnTo>
                    <a:pt x="809" y="830"/>
                  </a:lnTo>
                  <a:lnTo>
                    <a:pt x="809" y="830"/>
                  </a:lnTo>
                  <a:lnTo>
                    <a:pt x="809" y="830"/>
                  </a:lnTo>
                  <a:lnTo>
                    <a:pt x="809" y="830"/>
                  </a:lnTo>
                  <a:lnTo>
                    <a:pt x="809" y="830"/>
                  </a:lnTo>
                  <a:lnTo>
                    <a:pt x="809" y="832"/>
                  </a:lnTo>
                  <a:lnTo>
                    <a:pt x="809" y="832"/>
                  </a:lnTo>
                  <a:lnTo>
                    <a:pt x="809" y="832"/>
                  </a:lnTo>
                  <a:lnTo>
                    <a:pt x="809" y="832"/>
                  </a:lnTo>
                  <a:lnTo>
                    <a:pt x="811" y="834"/>
                  </a:lnTo>
                  <a:lnTo>
                    <a:pt x="811" y="834"/>
                  </a:lnTo>
                  <a:lnTo>
                    <a:pt x="809" y="836"/>
                  </a:lnTo>
                  <a:lnTo>
                    <a:pt x="809" y="836"/>
                  </a:lnTo>
                  <a:lnTo>
                    <a:pt x="811" y="836"/>
                  </a:lnTo>
                  <a:lnTo>
                    <a:pt x="811" y="834"/>
                  </a:lnTo>
                  <a:lnTo>
                    <a:pt x="811" y="834"/>
                  </a:lnTo>
                  <a:lnTo>
                    <a:pt x="811" y="834"/>
                  </a:lnTo>
                  <a:lnTo>
                    <a:pt x="813" y="834"/>
                  </a:lnTo>
                  <a:lnTo>
                    <a:pt x="813" y="834"/>
                  </a:lnTo>
                  <a:lnTo>
                    <a:pt x="813" y="834"/>
                  </a:lnTo>
                  <a:lnTo>
                    <a:pt x="813" y="834"/>
                  </a:lnTo>
                  <a:lnTo>
                    <a:pt x="813" y="832"/>
                  </a:lnTo>
                  <a:lnTo>
                    <a:pt x="815" y="832"/>
                  </a:lnTo>
                  <a:lnTo>
                    <a:pt x="815" y="834"/>
                  </a:lnTo>
                  <a:lnTo>
                    <a:pt x="815" y="834"/>
                  </a:lnTo>
                  <a:lnTo>
                    <a:pt x="813" y="834"/>
                  </a:lnTo>
                  <a:lnTo>
                    <a:pt x="813" y="834"/>
                  </a:lnTo>
                  <a:lnTo>
                    <a:pt x="815" y="834"/>
                  </a:lnTo>
                  <a:lnTo>
                    <a:pt x="815" y="836"/>
                  </a:lnTo>
                  <a:lnTo>
                    <a:pt x="815" y="836"/>
                  </a:lnTo>
                  <a:lnTo>
                    <a:pt x="815" y="836"/>
                  </a:lnTo>
                  <a:lnTo>
                    <a:pt x="817" y="836"/>
                  </a:lnTo>
                  <a:lnTo>
                    <a:pt x="817" y="836"/>
                  </a:lnTo>
                  <a:lnTo>
                    <a:pt x="817" y="838"/>
                  </a:lnTo>
                  <a:lnTo>
                    <a:pt x="819" y="836"/>
                  </a:lnTo>
                  <a:lnTo>
                    <a:pt x="819" y="836"/>
                  </a:lnTo>
                  <a:lnTo>
                    <a:pt x="819" y="834"/>
                  </a:lnTo>
                  <a:lnTo>
                    <a:pt x="817" y="834"/>
                  </a:lnTo>
                  <a:lnTo>
                    <a:pt x="819" y="834"/>
                  </a:lnTo>
                  <a:lnTo>
                    <a:pt x="819" y="834"/>
                  </a:lnTo>
                  <a:lnTo>
                    <a:pt x="821" y="834"/>
                  </a:lnTo>
                  <a:lnTo>
                    <a:pt x="821" y="834"/>
                  </a:lnTo>
                  <a:lnTo>
                    <a:pt x="819" y="834"/>
                  </a:lnTo>
                  <a:close/>
                  <a:moveTo>
                    <a:pt x="838" y="836"/>
                  </a:moveTo>
                  <a:lnTo>
                    <a:pt x="838" y="838"/>
                  </a:lnTo>
                  <a:lnTo>
                    <a:pt x="838" y="838"/>
                  </a:lnTo>
                  <a:lnTo>
                    <a:pt x="836" y="838"/>
                  </a:lnTo>
                  <a:lnTo>
                    <a:pt x="838" y="836"/>
                  </a:lnTo>
                  <a:lnTo>
                    <a:pt x="838" y="834"/>
                  </a:lnTo>
                  <a:lnTo>
                    <a:pt x="838" y="834"/>
                  </a:lnTo>
                  <a:lnTo>
                    <a:pt x="838" y="834"/>
                  </a:lnTo>
                  <a:lnTo>
                    <a:pt x="838" y="832"/>
                  </a:lnTo>
                  <a:lnTo>
                    <a:pt x="838" y="832"/>
                  </a:lnTo>
                  <a:lnTo>
                    <a:pt x="838" y="832"/>
                  </a:lnTo>
                  <a:lnTo>
                    <a:pt x="838" y="830"/>
                  </a:lnTo>
                  <a:lnTo>
                    <a:pt x="838" y="832"/>
                  </a:lnTo>
                  <a:lnTo>
                    <a:pt x="836" y="832"/>
                  </a:lnTo>
                  <a:lnTo>
                    <a:pt x="836" y="832"/>
                  </a:lnTo>
                  <a:lnTo>
                    <a:pt x="836" y="834"/>
                  </a:lnTo>
                  <a:lnTo>
                    <a:pt x="836" y="834"/>
                  </a:lnTo>
                  <a:lnTo>
                    <a:pt x="836" y="834"/>
                  </a:lnTo>
                  <a:lnTo>
                    <a:pt x="836" y="834"/>
                  </a:lnTo>
                  <a:lnTo>
                    <a:pt x="836" y="834"/>
                  </a:lnTo>
                  <a:lnTo>
                    <a:pt x="836" y="834"/>
                  </a:lnTo>
                  <a:lnTo>
                    <a:pt x="836" y="834"/>
                  </a:lnTo>
                  <a:lnTo>
                    <a:pt x="836" y="834"/>
                  </a:lnTo>
                  <a:lnTo>
                    <a:pt x="836" y="836"/>
                  </a:lnTo>
                  <a:lnTo>
                    <a:pt x="836" y="836"/>
                  </a:lnTo>
                  <a:lnTo>
                    <a:pt x="832" y="834"/>
                  </a:lnTo>
                  <a:lnTo>
                    <a:pt x="834" y="836"/>
                  </a:lnTo>
                  <a:lnTo>
                    <a:pt x="834" y="838"/>
                  </a:lnTo>
                  <a:lnTo>
                    <a:pt x="834" y="840"/>
                  </a:lnTo>
                  <a:lnTo>
                    <a:pt x="834" y="840"/>
                  </a:lnTo>
                  <a:lnTo>
                    <a:pt x="834" y="840"/>
                  </a:lnTo>
                  <a:lnTo>
                    <a:pt x="834" y="840"/>
                  </a:lnTo>
                  <a:lnTo>
                    <a:pt x="834" y="840"/>
                  </a:lnTo>
                  <a:lnTo>
                    <a:pt x="834" y="840"/>
                  </a:lnTo>
                  <a:lnTo>
                    <a:pt x="834" y="840"/>
                  </a:lnTo>
                  <a:lnTo>
                    <a:pt x="832" y="840"/>
                  </a:lnTo>
                  <a:lnTo>
                    <a:pt x="832" y="838"/>
                  </a:lnTo>
                  <a:lnTo>
                    <a:pt x="832" y="838"/>
                  </a:lnTo>
                  <a:lnTo>
                    <a:pt x="832" y="838"/>
                  </a:lnTo>
                  <a:lnTo>
                    <a:pt x="832" y="838"/>
                  </a:lnTo>
                  <a:lnTo>
                    <a:pt x="832" y="838"/>
                  </a:lnTo>
                  <a:lnTo>
                    <a:pt x="832" y="836"/>
                  </a:lnTo>
                  <a:lnTo>
                    <a:pt x="830" y="838"/>
                  </a:lnTo>
                  <a:lnTo>
                    <a:pt x="832" y="838"/>
                  </a:lnTo>
                  <a:lnTo>
                    <a:pt x="832" y="840"/>
                  </a:lnTo>
                  <a:lnTo>
                    <a:pt x="832" y="840"/>
                  </a:lnTo>
                  <a:lnTo>
                    <a:pt x="832" y="840"/>
                  </a:lnTo>
                  <a:lnTo>
                    <a:pt x="830" y="838"/>
                  </a:lnTo>
                  <a:lnTo>
                    <a:pt x="830" y="838"/>
                  </a:lnTo>
                  <a:lnTo>
                    <a:pt x="827" y="838"/>
                  </a:lnTo>
                  <a:lnTo>
                    <a:pt x="827" y="840"/>
                  </a:lnTo>
                  <a:lnTo>
                    <a:pt x="830" y="840"/>
                  </a:lnTo>
                  <a:lnTo>
                    <a:pt x="830" y="840"/>
                  </a:lnTo>
                  <a:lnTo>
                    <a:pt x="830" y="840"/>
                  </a:lnTo>
                  <a:lnTo>
                    <a:pt x="830" y="840"/>
                  </a:lnTo>
                  <a:lnTo>
                    <a:pt x="830" y="842"/>
                  </a:lnTo>
                  <a:lnTo>
                    <a:pt x="830" y="842"/>
                  </a:lnTo>
                  <a:lnTo>
                    <a:pt x="830" y="842"/>
                  </a:lnTo>
                  <a:lnTo>
                    <a:pt x="830" y="842"/>
                  </a:lnTo>
                  <a:lnTo>
                    <a:pt x="830" y="842"/>
                  </a:lnTo>
                  <a:lnTo>
                    <a:pt x="832" y="842"/>
                  </a:lnTo>
                  <a:lnTo>
                    <a:pt x="832" y="844"/>
                  </a:lnTo>
                  <a:lnTo>
                    <a:pt x="830" y="844"/>
                  </a:lnTo>
                  <a:lnTo>
                    <a:pt x="830" y="844"/>
                  </a:lnTo>
                  <a:lnTo>
                    <a:pt x="830" y="844"/>
                  </a:lnTo>
                  <a:lnTo>
                    <a:pt x="827" y="848"/>
                  </a:lnTo>
                  <a:lnTo>
                    <a:pt x="827" y="848"/>
                  </a:lnTo>
                  <a:lnTo>
                    <a:pt x="825" y="848"/>
                  </a:lnTo>
                  <a:lnTo>
                    <a:pt x="825" y="848"/>
                  </a:lnTo>
                  <a:lnTo>
                    <a:pt x="825" y="850"/>
                  </a:lnTo>
                  <a:lnTo>
                    <a:pt x="825" y="850"/>
                  </a:lnTo>
                  <a:lnTo>
                    <a:pt x="825" y="850"/>
                  </a:lnTo>
                  <a:lnTo>
                    <a:pt x="827" y="853"/>
                  </a:lnTo>
                  <a:lnTo>
                    <a:pt x="827" y="850"/>
                  </a:lnTo>
                  <a:lnTo>
                    <a:pt x="827" y="848"/>
                  </a:lnTo>
                  <a:lnTo>
                    <a:pt x="830" y="848"/>
                  </a:lnTo>
                  <a:lnTo>
                    <a:pt x="830" y="846"/>
                  </a:lnTo>
                  <a:lnTo>
                    <a:pt x="832" y="846"/>
                  </a:lnTo>
                  <a:lnTo>
                    <a:pt x="832" y="844"/>
                  </a:lnTo>
                  <a:lnTo>
                    <a:pt x="834" y="842"/>
                  </a:lnTo>
                  <a:lnTo>
                    <a:pt x="834" y="842"/>
                  </a:lnTo>
                  <a:lnTo>
                    <a:pt x="834" y="842"/>
                  </a:lnTo>
                  <a:lnTo>
                    <a:pt x="834" y="842"/>
                  </a:lnTo>
                  <a:lnTo>
                    <a:pt x="836" y="842"/>
                  </a:lnTo>
                  <a:lnTo>
                    <a:pt x="836" y="842"/>
                  </a:lnTo>
                  <a:lnTo>
                    <a:pt x="836" y="842"/>
                  </a:lnTo>
                  <a:lnTo>
                    <a:pt x="834" y="840"/>
                  </a:lnTo>
                  <a:lnTo>
                    <a:pt x="836" y="840"/>
                  </a:lnTo>
                  <a:lnTo>
                    <a:pt x="836" y="838"/>
                  </a:lnTo>
                  <a:lnTo>
                    <a:pt x="836" y="838"/>
                  </a:lnTo>
                  <a:lnTo>
                    <a:pt x="836" y="840"/>
                  </a:lnTo>
                  <a:lnTo>
                    <a:pt x="836" y="840"/>
                  </a:lnTo>
                  <a:lnTo>
                    <a:pt x="838" y="840"/>
                  </a:lnTo>
                  <a:lnTo>
                    <a:pt x="838" y="840"/>
                  </a:lnTo>
                  <a:lnTo>
                    <a:pt x="838" y="840"/>
                  </a:lnTo>
                  <a:lnTo>
                    <a:pt x="838" y="840"/>
                  </a:lnTo>
                  <a:lnTo>
                    <a:pt x="838" y="840"/>
                  </a:lnTo>
                  <a:lnTo>
                    <a:pt x="838" y="840"/>
                  </a:lnTo>
                  <a:lnTo>
                    <a:pt x="838" y="838"/>
                  </a:lnTo>
                  <a:lnTo>
                    <a:pt x="838" y="838"/>
                  </a:lnTo>
                  <a:lnTo>
                    <a:pt x="840" y="838"/>
                  </a:lnTo>
                  <a:lnTo>
                    <a:pt x="840" y="838"/>
                  </a:lnTo>
                  <a:lnTo>
                    <a:pt x="840" y="836"/>
                  </a:lnTo>
                  <a:lnTo>
                    <a:pt x="838" y="836"/>
                  </a:lnTo>
                  <a:lnTo>
                    <a:pt x="838" y="836"/>
                  </a:lnTo>
                  <a:close/>
                  <a:moveTo>
                    <a:pt x="856" y="850"/>
                  </a:moveTo>
                  <a:lnTo>
                    <a:pt x="856" y="850"/>
                  </a:lnTo>
                  <a:lnTo>
                    <a:pt x="854" y="850"/>
                  </a:lnTo>
                  <a:lnTo>
                    <a:pt x="854" y="850"/>
                  </a:lnTo>
                  <a:lnTo>
                    <a:pt x="854" y="850"/>
                  </a:lnTo>
                  <a:lnTo>
                    <a:pt x="854" y="850"/>
                  </a:lnTo>
                  <a:lnTo>
                    <a:pt x="854" y="850"/>
                  </a:lnTo>
                  <a:lnTo>
                    <a:pt x="854" y="850"/>
                  </a:lnTo>
                  <a:lnTo>
                    <a:pt x="852" y="850"/>
                  </a:lnTo>
                  <a:lnTo>
                    <a:pt x="854" y="850"/>
                  </a:lnTo>
                  <a:lnTo>
                    <a:pt x="854" y="850"/>
                  </a:lnTo>
                  <a:lnTo>
                    <a:pt x="854" y="850"/>
                  </a:lnTo>
                  <a:lnTo>
                    <a:pt x="854" y="853"/>
                  </a:lnTo>
                  <a:lnTo>
                    <a:pt x="854" y="853"/>
                  </a:lnTo>
                  <a:lnTo>
                    <a:pt x="854" y="853"/>
                  </a:lnTo>
                  <a:lnTo>
                    <a:pt x="854" y="855"/>
                  </a:lnTo>
                  <a:lnTo>
                    <a:pt x="856" y="853"/>
                  </a:lnTo>
                  <a:lnTo>
                    <a:pt x="856" y="853"/>
                  </a:lnTo>
                  <a:lnTo>
                    <a:pt x="856" y="853"/>
                  </a:lnTo>
                  <a:lnTo>
                    <a:pt x="856" y="850"/>
                  </a:lnTo>
                  <a:lnTo>
                    <a:pt x="856" y="850"/>
                  </a:lnTo>
                  <a:close/>
                  <a:moveTo>
                    <a:pt x="858" y="805"/>
                  </a:moveTo>
                  <a:lnTo>
                    <a:pt x="856" y="805"/>
                  </a:lnTo>
                  <a:lnTo>
                    <a:pt x="856" y="805"/>
                  </a:lnTo>
                  <a:lnTo>
                    <a:pt x="856" y="807"/>
                  </a:lnTo>
                  <a:lnTo>
                    <a:pt x="856" y="807"/>
                  </a:lnTo>
                  <a:lnTo>
                    <a:pt x="856" y="807"/>
                  </a:lnTo>
                  <a:lnTo>
                    <a:pt x="856" y="807"/>
                  </a:lnTo>
                  <a:lnTo>
                    <a:pt x="858" y="807"/>
                  </a:lnTo>
                  <a:lnTo>
                    <a:pt x="858" y="807"/>
                  </a:lnTo>
                  <a:lnTo>
                    <a:pt x="858" y="807"/>
                  </a:lnTo>
                  <a:lnTo>
                    <a:pt x="858" y="805"/>
                  </a:lnTo>
                  <a:lnTo>
                    <a:pt x="858" y="805"/>
                  </a:lnTo>
                  <a:close/>
                  <a:moveTo>
                    <a:pt x="875" y="803"/>
                  </a:moveTo>
                  <a:lnTo>
                    <a:pt x="875" y="803"/>
                  </a:lnTo>
                  <a:lnTo>
                    <a:pt x="875" y="803"/>
                  </a:lnTo>
                  <a:lnTo>
                    <a:pt x="873" y="803"/>
                  </a:lnTo>
                  <a:lnTo>
                    <a:pt x="873" y="803"/>
                  </a:lnTo>
                  <a:lnTo>
                    <a:pt x="873" y="801"/>
                  </a:lnTo>
                  <a:lnTo>
                    <a:pt x="870" y="801"/>
                  </a:lnTo>
                  <a:lnTo>
                    <a:pt x="870" y="803"/>
                  </a:lnTo>
                  <a:lnTo>
                    <a:pt x="870" y="803"/>
                  </a:lnTo>
                  <a:lnTo>
                    <a:pt x="868" y="805"/>
                  </a:lnTo>
                  <a:lnTo>
                    <a:pt x="868" y="805"/>
                  </a:lnTo>
                  <a:lnTo>
                    <a:pt x="868" y="805"/>
                  </a:lnTo>
                  <a:lnTo>
                    <a:pt x="870" y="807"/>
                  </a:lnTo>
                  <a:lnTo>
                    <a:pt x="870" y="807"/>
                  </a:lnTo>
                  <a:lnTo>
                    <a:pt x="870" y="805"/>
                  </a:lnTo>
                  <a:lnTo>
                    <a:pt x="870" y="805"/>
                  </a:lnTo>
                  <a:lnTo>
                    <a:pt x="870" y="805"/>
                  </a:lnTo>
                  <a:lnTo>
                    <a:pt x="870" y="805"/>
                  </a:lnTo>
                  <a:lnTo>
                    <a:pt x="870" y="805"/>
                  </a:lnTo>
                  <a:lnTo>
                    <a:pt x="870" y="803"/>
                  </a:lnTo>
                  <a:lnTo>
                    <a:pt x="873" y="803"/>
                  </a:lnTo>
                  <a:lnTo>
                    <a:pt x="875" y="805"/>
                  </a:lnTo>
                  <a:lnTo>
                    <a:pt x="875" y="805"/>
                  </a:lnTo>
                  <a:lnTo>
                    <a:pt x="875" y="803"/>
                  </a:lnTo>
                  <a:close/>
                  <a:moveTo>
                    <a:pt x="852" y="846"/>
                  </a:moveTo>
                  <a:lnTo>
                    <a:pt x="852" y="846"/>
                  </a:lnTo>
                  <a:lnTo>
                    <a:pt x="852" y="846"/>
                  </a:lnTo>
                  <a:lnTo>
                    <a:pt x="852" y="846"/>
                  </a:lnTo>
                  <a:lnTo>
                    <a:pt x="852" y="846"/>
                  </a:lnTo>
                  <a:lnTo>
                    <a:pt x="852" y="846"/>
                  </a:lnTo>
                  <a:lnTo>
                    <a:pt x="852" y="844"/>
                  </a:lnTo>
                  <a:lnTo>
                    <a:pt x="852" y="846"/>
                  </a:lnTo>
                  <a:lnTo>
                    <a:pt x="852" y="844"/>
                  </a:lnTo>
                  <a:lnTo>
                    <a:pt x="852" y="844"/>
                  </a:lnTo>
                  <a:lnTo>
                    <a:pt x="854" y="844"/>
                  </a:lnTo>
                  <a:lnTo>
                    <a:pt x="852" y="844"/>
                  </a:lnTo>
                  <a:lnTo>
                    <a:pt x="852" y="844"/>
                  </a:lnTo>
                  <a:lnTo>
                    <a:pt x="850" y="844"/>
                  </a:lnTo>
                  <a:lnTo>
                    <a:pt x="850" y="844"/>
                  </a:lnTo>
                  <a:lnTo>
                    <a:pt x="850" y="844"/>
                  </a:lnTo>
                  <a:lnTo>
                    <a:pt x="850" y="844"/>
                  </a:lnTo>
                  <a:lnTo>
                    <a:pt x="850" y="844"/>
                  </a:lnTo>
                  <a:lnTo>
                    <a:pt x="848" y="846"/>
                  </a:lnTo>
                  <a:lnTo>
                    <a:pt x="850" y="846"/>
                  </a:lnTo>
                  <a:lnTo>
                    <a:pt x="850" y="846"/>
                  </a:lnTo>
                  <a:lnTo>
                    <a:pt x="850" y="848"/>
                  </a:lnTo>
                  <a:lnTo>
                    <a:pt x="850" y="848"/>
                  </a:lnTo>
                  <a:lnTo>
                    <a:pt x="850" y="848"/>
                  </a:lnTo>
                  <a:lnTo>
                    <a:pt x="850" y="848"/>
                  </a:lnTo>
                  <a:lnTo>
                    <a:pt x="850" y="848"/>
                  </a:lnTo>
                  <a:lnTo>
                    <a:pt x="850" y="848"/>
                  </a:lnTo>
                  <a:lnTo>
                    <a:pt x="850" y="848"/>
                  </a:lnTo>
                  <a:lnTo>
                    <a:pt x="850" y="848"/>
                  </a:lnTo>
                  <a:lnTo>
                    <a:pt x="850" y="850"/>
                  </a:lnTo>
                  <a:lnTo>
                    <a:pt x="850" y="850"/>
                  </a:lnTo>
                  <a:lnTo>
                    <a:pt x="852" y="850"/>
                  </a:lnTo>
                  <a:lnTo>
                    <a:pt x="852" y="848"/>
                  </a:lnTo>
                  <a:lnTo>
                    <a:pt x="852" y="846"/>
                  </a:lnTo>
                  <a:close/>
                  <a:moveTo>
                    <a:pt x="846" y="857"/>
                  </a:moveTo>
                  <a:lnTo>
                    <a:pt x="846" y="857"/>
                  </a:lnTo>
                  <a:lnTo>
                    <a:pt x="846" y="857"/>
                  </a:lnTo>
                  <a:lnTo>
                    <a:pt x="846" y="857"/>
                  </a:lnTo>
                  <a:lnTo>
                    <a:pt x="846" y="857"/>
                  </a:lnTo>
                  <a:lnTo>
                    <a:pt x="846" y="857"/>
                  </a:lnTo>
                  <a:lnTo>
                    <a:pt x="844" y="857"/>
                  </a:lnTo>
                  <a:lnTo>
                    <a:pt x="844" y="857"/>
                  </a:lnTo>
                  <a:lnTo>
                    <a:pt x="844" y="857"/>
                  </a:lnTo>
                  <a:lnTo>
                    <a:pt x="844" y="857"/>
                  </a:lnTo>
                  <a:lnTo>
                    <a:pt x="844" y="859"/>
                  </a:lnTo>
                  <a:lnTo>
                    <a:pt x="844" y="859"/>
                  </a:lnTo>
                  <a:lnTo>
                    <a:pt x="844" y="859"/>
                  </a:lnTo>
                  <a:lnTo>
                    <a:pt x="844" y="859"/>
                  </a:lnTo>
                  <a:lnTo>
                    <a:pt x="846" y="859"/>
                  </a:lnTo>
                  <a:lnTo>
                    <a:pt x="846" y="859"/>
                  </a:lnTo>
                  <a:lnTo>
                    <a:pt x="846" y="859"/>
                  </a:lnTo>
                  <a:lnTo>
                    <a:pt x="846" y="859"/>
                  </a:lnTo>
                  <a:lnTo>
                    <a:pt x="848" y="859"/>
                  </a:lnTo>
                  <a:lnTo>
                    <a:pt x="848" y="859"/>
                  </a:lnTo>
                  <a:lnTo>
                    <a:pt x="846" y="857"/>
                  </a:lnTo>
                  <a:close/>
                  <a:moveTo>
                    <a:pt x="705" y="301"/>
                  </a:moveTo>
                  <a:lnTo>
                    <a:pt x="705" y="301"/>
                  </a:lnTo>
                  <a:lnTo>
                    <a:pt x="705" y="301"/>
                  </a:lnTo>
                  <a:lnTo>
                    <a:pt x="705" y="301"/>
                  </a:lnTo>
                  <a:lnTo>
                    <a:pt x="705" y="299"/>
                  </a:lnTo>
                  <a:lnTo>
                    <a:pt x="705" y="301"/>
                  </a:lnTo>
                  <a:lnTo>
                    <a:pt x="705" y="301"/>
                  </a:lnTo>
                  <a:lnTo>
                    <a:pt x="705" y="301"/>
                  </a:lnTo>
                  <a:lnTo>
                    <a:pt x="705" y="301"/>
                  </a:lnTo>
                  <a:close/>
                  <a:moveTo>
                    <a:pt x="848" y="842"/>
                  </a:moveTo>
                  <a:lnTo>
                    <a:pt x="848" y="842"/>
                  </a:lnTo>
                  <a:lnTo>
                    <a:pt x="848" y="840"/>
                  </a:lnTo>
                  <a:lnTo>
                    <a:pt x="848" y="838"/>
                  </a:lnTo>
                  <a:lnTo>
                    <a:pt x="848" y="838"/>
                  </a:lnTo>
                  <a:lnTo>
                    <a:pt x="848" y="838"/>
                  </a:lnTo>
                  <a:lnTo>
                    <a:pt x="848" y="838"/>
                  </a:lnTo>
                  <a:lnTo>
                    <a:pt x="848" y="838"/>
                  </a:lnTo>
                  <a:lnTo>
                    <a:pt x="848" y="836"/>
                  </a:lnTo>
                  <a:lnTo>
                    <a:pt x="848" y="836"/>
                  </a:lnTo>
                  <a:lnTo>
                    <a:pt x="848" y="836"/>
                  </a:lnTo>
                  <a:lnTo>
                    <a:pt x="848" y="836"/>
                  </a:lnTo>
                  <a:lnTo>
                    <a:pt x="848" y="834"/>
                  </a:lnTo>
                  <a:lnTo>
                    <a:pt x="848" y="834"/>
                  </a:lnTo>
                  <a:lnTo>
                    <a:pt x="848" y="834"/>
                  </a:lnTo>
                  <a:lnTo>
                    <a:pt x="848" y="834"/>
                  </a:lnTo>
                  <a:lnTo>
                    <a:pt x="848" y="834"/>
                  </a:lnTo>
                  <a:lnTo>
                    <a:pt x="848" y="836"/>
                  </a:lnTo>
                  <a:lnTo>
                    <a:pt x="848" y="836"/>
                  </a:lnTo>
                  <a:lnTo>
                    <a:pt x="848" y="836"/>
                  </a:lnTo>
                  <a:lnTo>
                    <a:pt x="848" y="836"/>
                  </a:lnTo>
                  <a:lnTo>
                    <a:pt x="846" y="836"/>
                  </a:lnTo>
                  <a:lnTo>
                    <a:pt x="846" y="836"/>
                  </a:lnTo>
                  <a:lnTo>
                    <a:pt x="846" y="838"/>
                  </a:lnTo>
                  <a:lnTo>
                    <a:pt x="846" y="838"/>
                  </a:lnTo>
                  <a:lnTo>
                    <a:pt x="846" y="838"/>
                  </a:lnTo>
                  <a:lnTo>
                    <a:pt x="848" y="838"/>
                  </a:lnTo>
                  <a:lnTo>
                    <a:pt x="848" y="838"/>
                  </a:lnTo>
                  <a:lnTo>
                    <a:pt x="848" y="840"/>
                  </a:lnTo>
                  <a:lnTo>
                    <a:pt x="846" y="840"/>
                  </a:lnTo>
                  <a:lnTo>
                    <a:pt x="846" y="840"/>
                  </a:lnTo>
                  <a:lnTo>
                    <a:pt x="846" y="840"/>
                  </a:lnTo>
                  <a:lnTo>
                    <a:pt x="846" y="840"/>
                  </a:lnTo>
                  <a:lnTo>
                    <a:pt x="846" y="840"/>
                  </a:lnTo>
                  <a:lnTo>
                    <a:pt x="844" y="840"/>
                  </a:lnTo>
                  <a:lnTo>
                    <a:pt x="844" y="840"/>
                  </a:lnTo>
                  <a:lnTo>
                    <a:pt x="844" y="840"/>
                  </a:lnTo>
                  <a:lnTo>
                    <a:pt x="846" y="840"/>
                  </a:lnTo>
                  <a:lnTo>
                    <a:pt x="846" y="840"/>
                  </a:lnTo>
                  <a:lnTo>
                    <a:pt x="846" y="842"/>
                  </a:lnTo>
                  <a:lnTo>
                    <a:pt x="846" y="842"/>
                  </a:lnTo>
                  <a:lnTo>
                    <a:pt x="846" y="842"/>
                  </a:lnTo>
                  <a:lnTo>
                    <a:pt x="846" y="842"/>
                  </a:lnTo>
                  <a:lnTo>
                    <a:pt x="846" y="842"/>
                  </a:lnTo>
                  <a:lnTo>
                    <a:pt x="846" y="842"/>
                  </a:lnTo>
                  <a:lnTo>
                    <a:pt x="844" y="842"/>
                  </a:lnTo>
                  <a:lnTo>
                    <a:pt x="844" y="842"/>
                  </a:lnTo>
                  <a:lnTo>
                    <a:pt x="844" y="842"/>
                  </a:lnTo>
                  <a:lnTo>
                    <a:pt x="844" y="844"/>
                  </a:lnTo>
                  <a:lnTo>
                    <a:pt x="844" y="844"/>
                  </a:lnTo>
                  <a:lnTo>
                    <a:pt x="844" y="844"/>
                  </a:lnTo>
                  <a:lnTo>
                    <a:pt x="844" y="844"/>
                  </a:lnTo>
                  <a:lnTo>
                    <a:pt x="844" y="844"/>
                  </a:lnTo>
                  <a:lnTo>
                    <a:pt x="846" y="844"/>
                  </a:lnTo>
                  <a:lnTo>
                    <a:pt x="846" y="844"/>
                  </a:lnTo>
                  <a:lnTo>
                    <a:pt x="846" y="844"/>
                  </a:lnTo>
                  <a:lnTo>
                    <a:pt x="846" y="844"/>
                  </a:lnTo>
                  <a:lnTo>
                    <a:pt x="846" y="842"/>
                  </a:lnTo>
                  <a:lnTo>
                    <a:pt x="846" y="842"/>
                  </a:lnTo>
                  <a:lnTo>
                    <a:pt x="846" y="842"/>
                  </a:lnTo>
                  <a:lnTo>
                    <a:pt x="846" y="842"/>
                  </a:lnTo>
                  <a:lnTo>
                    <a:pt x="848" y="842"/>
                  </a:lnTo>
                  <a:lnTo>
                    <a:pt x="848" y="844"/>
                  </a:lnTo>
                  <a:lnTo>
                    <a:pt x="848" y="844"/>
                  </a:lnTo>
                  <a:lnTo>
                    <a:pt x="848" y="844"/>
                  </a:lnTo>
                  <a:lnTo>
                    <a:pt x="848" y="844"/>
                  </a:lnTo>
                  <a:lnTo>
                    <a:pt x="848" y="844"/>
                  </a:lnTo>
                  <a:lnTo>
                    <a:pt x="848" y="844"/>
                  </a:lnTo>
                  <a:lnTo>
                    <a:pt x="848" y="842"/>
                  </a:lnTo>
                  <a:close/>
                  <a:moveTo>
                    <a:pt x="754" y="867"/>
                  </a:moveTo>
                  <a:lnTo>
                    <a:pt x="754" y="865"/>
                  </a:lnTo>
                  <a:lnTo>
                    <a:pt x="754" y="865"/>
                  </a:lnTo>
                  <a:lnTo>
                    <a:pt x="754" y="865"/>
                  </a:lnTo>
                  <a:lnTo>
                    <a:pt x="754" y="865"/>
                  </a:lnTo>
                  <a:lnTo>
                    <a:pt x="752" y="865"/>
                  </a:lnTo>
                  <a:lnTo>
                    <a:pt x="752" y="865"/>
                  </a:lnTo>
                  <a:lnTo>
                    <a:pt x="752" y="865"/>
                  </a:lnTo>
                  <a:lnTo>
                    <a:pt x="752" y="865"/>
                  </a:lnTo>
                  <a:lnTo>
                    <a:pt x="750" y="865"/>
                  </a:lnTo>
                  <a:lnTo>
                    <a:pt x="750" y="863"/>
                  </a:lnTo>
                  <a:lnTo>
                    <a:pt x="748" y="863"/>
                  </a:lnTo>
                  <a:lnTo>
                    <a:pt x="748" y="863"/>
                  </a:lnTo>
                  <a:lnTo>
                    <a:pt x="746" y="863"/>
                  </a:lnTo>
                  <a:lnTo>
                    <a:pt x="746" y="863"/>
                  </a:lnTo>
                  <a:lnTo>
                    <a:pt x="746" y="863"/>
                  </a:lnTo>
                  <a:lnTo>
                    <a:pt x="746" y="863"/>
                  </a:lnTo>
                  <a:lnTo>
                    <a:pt x="746" y="865"/>
                  </a:lnTo>
                  <a:lnTo>
                    <a:pt x="746" y="865"/>
                  </a:lnTo>
                  <a:lnTo>
                    <a:pt x="746" y="867"/>
                  </a:lnTo>
                  <a:lnTo>
                    <a:pt x="748" y="867"/>
                  </a:lnTo>
                  <a:lnTo>
                    <a:pt x="748" y="867"/>
                  </a:lnTo>
                  <a:lnTo>
                    <a:pt x="748" y="867"/>
                  </a:lnTo>
                  <a:lnTo>
                    <a:pt x="750" y="869"/>
                  </a:lnTo>
                  <a:lnTo>
                    <a:pt x="750" y="869"/>
                  </a:lnTo>
                  <a:lnTo>
                    <a:pt x="752" y="869"/>
                  </a:lnTo>
                  <a:lnTo>
                    <a:pt x="752" y="869"/>
                  </a:lnTo>
                  <a:lnTo>
                    <a:pt x="752" y="869"/>
                  </a:lnTo>
                  <a:lnTo>
                    <a:pt x="752" y="869"/>
                  </a:lnTo>
                  <a:lnTo>
                    <a:pt x="752" y="869"/>
                  </a:lnTo>
                  <a:lnTo>
                    <a:pt x="752" y="869"/>
                  </a:lnTo>
                  <a:lnTo>
                    <a:pt x="750" y="869"/>
                  </a:lnTo>
                  <a:lnTo>
                    <a:pt x="754" y="869"/>
                  </a:lnTo>
                  <a:lnTo>
                    <a:pt x="754" y="869"/>
                  </a:lnTo>
                  <a:lnTo>
                    <a:pt x="754" y="869"/>
                  </a:lnTo>
                  <a:lnTo>
                    <a:pt x="754" y="867"/>
                  </a:lnTo>
                  <a:lnTo>
                    <a:pt x="754" y="867"/>
                  </a:lnTo>
                  <a:lnTo>
                    <a:pt x="754" y="867"/>
                  </a:lnTo>
                  <a:close/>
                  <a:moveTo>
                    <a:pt x="733" y="830"/>
                  </a:moveTo>
                  <a:lnTo>
                    <a:pt x="733" y="830"/>
                  </a:lnTo>
                  <a:lnTo>
                    <a:pt x="733" y="830"/>
                  </a:lnTo>
                  <a:lnTo>
                    <a:pt x="731" y="830"/>
                  </a:lnTo>
                  <a:lnTo>
                    <a:pt x="731" y="830"/>
                  </a:lnTo>
                  <a:lnTo>
                    <a:pt x="731" y="830"/>
                  </a:lnTo>
                  <a:lnTo>
                    <a:pt x="733" y="830"/>
                  </a:lnTo>
                  <a:lnTo>
                    <a:pt x="733" y="830"/>
                  </a:lnTo>
                  <a:lnTo>
                    <a:pt x="733" y="830"/>
                  </a:lnTo>
                  <a:lnTo>
                    <a:pt x="733" y="830"/>
                  </a:lnTo>
                  <a:lnTo>
                    <a:pt x="733" y="830"/>
                  </a:lnTo>
                  <a:lnTo>
                    <a:pt x="733" y="830"/>
                  </a:lnTo>
                  <a:lnTo>
                    <a:pt x="733" y="830"/>
                  </a:lnTo>
                  <a:lnTo>
                    <a:pt x="731" y="830"/>
                  </a:lnTo>
                  <a:lnTo>
                    <a:pt x="731" y="830"/>
                  </a:lnTo>
                  <a:lnTo>
                    <a:pt x="733" y="830"/>
                  </a:lnTo>
                  <a:close/>
                  <a:moveTo>
                    <a:pt x="586" y="865"/>
                  </a:moveTo>
                  <a:lnTo>
                    <a:pt x="584" y="863"/>
                  </a:lnTo>
                  <a:lnTo>
                    <a:pt x="584" y="863"/>
                  </a:lnTo>
                  <a:lnTo>
                    <a:pt x="584" y="865"/>
                  </a:lnTo>
                  <a:lnTo>
                    <a:pt x="586" y="865"/>
                  </a:lnTo>
                  <a:close/>
                  <a:moveTo>
                    <a:pt x="758" y="869"/>
                  </a:moveTo>
                  <a:lnTo>
                    <a:pt x="758" y="869"/>
                  </a:lnTo>
                  <a:lnTo>
                    <a:pt x="758" y="869"/>
                  </a:lnTo>
                  <a:lnTo>
                    <a:pt x="758" y="869"/>
                  </a:lnTo>
                  <a:lnTo>
                    <a:pt x="756" y="867"/>
                  </a:lnTo>
                  <a:lnTo>
                    <a:pt x="756" y="867"/>
                  </a:lnTo>
                  <a:lnTo>
                    <a:pt x="756" y="867"/>
                  </a:lnTo>
                  <a:lnTo>
                    <a:pt x="756" y="867"/>
                  </a:lnTo>
                  <a:lnTo>
                    <a:pt x="756" y="869"/>
                  </a:lnTo>
                  <a:lnTo>
                    <a:pt x="756" y="869"/>
                  </a:lnTo>
                  <a:lnTo>
                    <a:pt x="756" y="869"/>
                  </a:lnTo>
                  <a:lnTo>
                    <a:pt x="758" y="871"/>
                  </a:lnTo>
                  <a:lnTo>
                    <a:pt x="758" y="871"/>
                  </a:lnTo>
                  <a:lnTo>
                    <a:pt x="760" y="869"/>
                  </a:lnTo>
                  <a:lnTo>
                    <a:pt x="760" y="869"/>
                  </a:lnTo>
                  <a:lnTo>
                    <a:pt x="758" y="869"/>
                  </a:lnTo>
                  <a:lnTo>
                    <a:pt x="758" y="869"/>
                  </a:lnTo>
                  <a:close/>
                  <a:moveTo>
                    <a:pt x="684" y="867"/>
                  </a:moveTo>
                  <a:lnTo>
                    <a:pt x="684" y="867"/>
                  </a:lnTo>
                  <a:lnTo>
                    <a:pt x="682" y="869"/>
                  </a:lnTo>
                  <a:lnTo>
                    <a:pt x="682" y="869"/>
                  </a:lnTo>
                  <a:lnTo>
                    <a:pt x="682" y="869"/>
                  </a:lnTo>
                  <a:lnTo>
                    <a:pt x="684" y="869"/>
                  </a:lnTo>
                  <a:lnTo>
                    <a:pt x="686" y="869"/>
                  </a:lnTo>
                  <a:lnTo>
                    <a:pt x="686" y="869"/>
                  </a:lnTo>
                  <a:lnTo>
                    <a:pt x="686" y="867"/>
                  </a:lnTo>
                  <a:lnTo>
                    <a:pt x="684" y="867"/>
                  </a:lnTo>
                  <a:close/>
                  <a:moveTo>
                    <a:pt x="739" y="853"/>
                  </a:moveTo>
                  <a:lnTo>
                    <a:pt x="739" y="850"/>
                  </a:lnTo>
                  <a:lnTo>
                    <a:pt x="739" y="850"/>
                  </a:lnTo>
                  <a:lnTo>
                    <a:pt x="739" y="850"/>
                  </a:lnTo>
                  <a:lnTo>
                    <a:pt x="739" y="850"/>
                  </a:lnTo>
                  <a:lnTo>
                    <a:pt x="739" y="850"/>
                  </a:lnTo>
                  <a:lnTo>
                    <a:pt x="739" y="848"/>
                  </a:lnTo>
                  <a:lnTo>
                    <a:pt x="739" y="846"/>
                  </a:lnTo>
                  <a:lnTo>
                    <a:pt x="737" y="846"/>
                  </a:lnTo>
                  <a:lnTo>
                    <a:pt x="737" y="846"/>
                  </a:lnTo>
                  <a:lnTo>
                    <a:pt x="737" y="846"/>
                  </a:lnTo>
                  <a:lnTo>
                    <a:pt x="737" y="846"/>
                  </a:lnTo>
                  <a:lnTo>
                    <a:pt x="737" y="846"/>
                  </a:lnTo>
                  <a:lnTo>
                    <a:pt x="737" y="846"/>
                  </a:lnTo>
                  <a:lnTo>
                    <a:pt x="735" y="846"/>
                  </a:lnTo>
                  <a:lnTo>
                    <a:pt x="735" y="846"/>
                  </a:lnTo>
                  <a:lnTo>
                    <a:pt x="733" y="846"/>
                  </a:lnTo>
                  <a:lnTo>
                    <a:pt x="733" y="846"/>
                  </a:lnTo>
                  <a:lnTo>
                    <a:pt x="733" y="846"/>
                  </a:lnTo>
                  <a:lnTo>
                    <a:pt x="731" y="844"/>
                  </a:lnTo>
                  <a:lnTo>
                    <a:pt x="731" y="842"/>
                  </a:lnTo>
                  <a:lnTo>
                    <a:pt x="731" y="840"/>
                  </a:lnTo>
                  <a:lnTo>
                    <a:pt x="731" y="838"/>
                  </a:lnTo>
                  <a:lnTo>
                    <a:pt x="731" y="836"/>
                  </a:lnTo>
                  <a:lnTo>
                    <a:pt x="731" y="836"/>
                  </a:lnTo>
                  <a:lnTo>
                    <a:pt x="731" y="836"/>
                  </a:lnTo>
                  <a:lnTo>
                    <a:pt x="729" y="834"/>
                  </a:lnTo>
                  <a:lnTo>
                    <a:pt x="729" y="834"/>
                  </a:lnTo>
                  <a:lnTo>
                    <a:pt x="729" y="832"/>
                  </a:lnTo>
                  <a:lnTo>
                    <a:pt x="729" y="832"/>
                  </a:lnTo>
                  <a:lnTo>
                    <a:pt x="729" y="832"/>
                  </a:lnTo>
                  <a:lnTo>
                    <a:pt x="729" y="832"/>
                  </a:lnTo>
                  <a:lnTo>
                    <a:pt x="729" y="832"/>
                  </a:lnTo>
                  <a:lnTo>
                    <a:pt x="729" y="832"/>
                  </a:lnTo>
                  <a:lnTo>
                    <a:pt x="727" y="830"/>
                  </a:lnTo>
                  <a:lnTo>
                    <a:pt x="725" y="830"/>
                  </a:lnTo>
                  <a:lnTo>
                    <a:pt x="723" y="830"/>
                  </a:lnTo>
                  <a:lnTo>
                    <a:pt x="721" y="830"/>
                  </a:lnTo>
                  <a:lnTo>
                    <a:pt x="721" y="830"/>
                  </a:lnTo>
                  <a:lnTo>
                    <a:pt x="721" y="830"/>
                  </a:lnTo>
                  <a:lnTo>
                    <a:pt x="717" y="830"/>
                  </a:lnTo>
                  <a:lnTo>
                    <a:pt x="717" y="830"/>
                  </a:lnTo>
                  <a:lnTo>
                    <a:pt x="715" y="832"/>
                  </a:lnTo>
                  <a:lnTo>
                    <a:pt x="715" y="832"/>
                  </a:lnTo>
                  <a:lnTo>
                    <a:pt x="713" y="832"/>
                  </a:lnTo>
                  <a:lnTo>
                    <a:pt x="711" y="832"/>
                  </a:lnTo>
                  <a:lnTo>
                    <a:pt x="711" y="832"/>
                  </a:lnTo>
                  <a:lnTo>
                    <a:pt x="709" y="834"/>
                  </a:lnTo>
                  <a:lnTo>
                    <a:pt x="707" y="834"/>
                  </a:lnTo>
                  <a:lnTo>
                    <a:pt x="709" y="834"/>
                  </a:lnTo>
                  <a:lnTo>
                    <a:pt x="709" y="836"/>
                  </a:lnTo>
                  <a:lnTo>
                    <a:pt x="707" y="836"/>
                  </a:lnTo>
                  <a:lnTo>
                    <a:pt x="705" y="836"/>
                  </a:lnTo>
                  <a:lnTo>
                    <a:pt x="705" y="834"/>
                  </a:lnTo>
                  <a:lnTo>
                    <a:pt x="703" y="834"/>
                  </a:lnTo>
                  <a:lnTo>
                    <a:pt x="703" y="834"/>
                  </a:lnTo>
                  <a:lnTo>
                    <a:pt x="700" y="832"/>
                  </a:lnTo>
                  <a:lnTo>
                    <a:pt x="700" y="834"/>
                  </a:lnTo>
                  <a:lnTo>
                    <a:pt x="698" y="834"/>
                  </a:lnTo>
                  <a:lnTo>
                    <a:pt x="698" y="834"/>
                  </a:lnTo>
                  <a:lnTo>
                    <a:pt x="696" y="836"/>
                  </a:lnTo>
                  <a:lnTo>
                    <a:pt x="696" y="836"/>
                  </a:lnTo>
                  <a:lnTo>
                    <a:pt x="692" y="844"/>
                  </a:lnTo>
                  <a:lnTo>
                    <a:pt x="690" y="846"/>
                  </a:lnTo>
                  <a:lnTo>
                    <a:pt x="688" y="846"/>
                  </a:lnTo>
                  <a:lnTo>
                    <a:pt x="686" y="846"/>
                  </a:lnTo>
                  <a:lnTo>
                    <a:pt x="684" y="846"/>
                  </a:lnTo>
                  <a:lnTo>
                    <a:pt x="684" y="848"/>
                  </a:lnTo>
                  <a:lnTo>
                    <a:pt x="682" y="848"/>
                  </a:lnTo>
                  <a:lnTo>
                    <a:pt x="684" y="850"/>
                  </a:lnTo>
                  <a:lnTo>
                    <a:pt x="684" y="850"/>
                  </a:lnTo>
                  <a:lnTo>
                    <a:pt x="684" y="850"/>
                  </a:lnTo>
                  <a:lnTo>
                    <a:pt x="684" y="853"/>
                  </a:lnTo>
                  <a:lnTo>
                    <a:pt x="684" y="853"/>
                  </a:lnTo>
                  <a:lnTo>
                    <a:pt x="684" y="853"/>
                  </a:lnTo>
                  <a:lnTo>
                    <a:pt x="684" y="855"/>
                  </a:lnTo>
                  <a:lnTo>
                    <a:pt x="684" y="855"/>
                  </a:lnTo>
                  <a:lnTo>
                    <a:pt x="684" y="855"/>
                  </a:lnTo>
                  <a:lnTo>
                    <a:pt x="684" y="857"/>
                  </a:lnTo>
                  <a:lnTo>
                    <a:pt x="686" y="857"/>
                  </a:lnTo>
                  <a:lnTo>
                    <a:pt x="686" y="859"/>
                  </a:lnTo>
                  <a:lnTo>
                    <a:pt x="690" y="859"/>
                  </a:lnTo>
                  <a:lnTo>
                    <a:pt x="690" y="859"/>
                  </a:lnTo>
                  <a:lnTo>
                    <a:pt x="692" y="859"/>
                  </a:lnTo>
                  <a:lnTo>
                    <a:pt x="692" y="859"/>
                  </a:lnTo>
                  <a:lnTo>
                    <a:pt x="694" y="859"/>
                  </a:lnTo>
                  <a:lnTo>
                    <a:pt x="696" y="859"/>
                  </a:lnTo>
                  <a:lnTo>
                    <a:pt x="698" y="859"/>
                  </a:lnTo>
                  <a:lnTo>
                    <a:pt x="700" y="857"/>
                  </a:lnTo>
                  <a:lnTo>
                    <a:pt x="700" y="857"/>
                  </a:lnTo>
                  <a:lnTo>
                    <a:pt x="700" y="855"/>
                  </a:lnTo>
                  <a:lnTo>
                    <a:pt x="700" y="855"/>
                  </a:lnTo>
                  <a:lnTo>
                    <a:pt x="700" y="855"/>
                  </a:lnTo>
                  <a:lnTo>
                    <a:pt x="700" y="855"/>
                  </a:lnTo>
                  <a:lnTo>
                    <a:pt x="700" y="855"/>
                  </a:lnTo>
                  <a:lnTo>
                    <a:pt x="705" y="850"/>
                  </a:lnTo>
                  <a:lnTo>
                    <a:pt x="707" y="850"/>
                  </a:lnTo>
                  <a:lnTo>
                    <a:pt x="709" y="850"/>
                  </a:lnTo>
                  <a:lnTo>
                    <a:pt x="719" y="850"/>
                  </a:lnTo>
                  <a:lnTo>
                    <a:pt x="721" y="853"/>
                  </a:lnTo>
                  <a:lnTo>
                    <a:pt x="723" y="853"/>
                  </a:lnTo>
                  <a:lnTo>
                    <a:pt x="725" y="853"/>
                  </a:lnTo>
                  <a:lnTo>
                    <a:pt x="727" y="853"/>
                  </a:lnTo>
                  <a:lnTo>
                    <a:pt x="727" y="850"/>
                  </a:lnTo>
                  <a:lnTo>
                    <a:pt x="729" y="850"/>
                  </a:lnTo>
                  <a:lnTo>
                    <a:pt x="729" y="850"/>
                  </a:lnTo>
                  <a:lnTo>
                    <a:pt x="729" y="850"/>
                  </a:lnTo>
                  <a:lnTo>
                    <a:pt x="729" y="848"/>
                  </a:lnTo>
                  <a:lnTo>
                    <a:pt x="729" y="846"/>
                  </a:lnTo>
                  <a:lnTo>
                    <a:pt x="729" y="846"/>
                  </a:lnTo>
                  <a:lnTo>
                    <a:pt x="731" y="846"/>
                  </a:lnTo>
                  <a:lnTo>
                    <a:pt x="731" y="846"/>
                  </a:lnTo>
                  <a:lnTo>
                    <a:pt x="733" y="846"/>
                  </a:lnTo>
                  <a:lnTo>
                    <a:pt x="733" y="848"/>
                  </a:lnTo>
                  <a:lnTo>
                    <a:pt x="733" y="848"/>
                  </a:lnTo>
                  <a:lnTo>
                    <a:pt x="733" y="848"/>
                  </a:lnTo>
                  <a:lnTo>
                    <a:pt x="735" y="850"/>
                  </a:lnTo>
                  <a:lnTo>
                    <a:pt x="735" y="850"/>
                  </a:lnTo>
                  <a:lnTo>
                    <a:pt x="735" y="850"/>
                  </a:lnTo>
                  <a:lnTo>
                    <a:pt x="735" y="850"/>
                  </a:lnTo>
                  <a:lnTo>
                    <a:pt x="735" y="850"/>
                  </a:lnTo>
                  <a:lnTo>
                    <a:pt x="737" y="850"/>
                  </a:lnTo>
                  <a:lnTo>
                    <a:pt x="737" y="850"/>
                  </a:lnTo>
                  <a:lnTo>
                    <a:pt x="737" y="850"/>
                  </a:lnTo>
                  <a:lnTo>
                    <a:pt x="737" y="850"/>
                  </a:lnTo>
                  <a:lnTo>
                    <a:pt x="739" y="850"/>
                  </a:lnTo>
                  <a:lnTo>
                    <a:pt x="739" y="850"/>
                  </a:lnTo>
                  <a:lnTo>
                    <a:pt x="737" y="853"/>
                  </a:lnTo>
                  <a:lnTo>
                    <a:pt x="737" y="853"/>
                  </a:lnTo>
                  <a:lnTo>
                    <a:pt x="737" y="853"/>
                  </a:lnTo>
                  <a:lnTo>
                    <a:pt x="739" y="853"/>
                  </a:lnTo>
                  <a:lnTo>
                    <a:pt x="741" y="853"/>
                  </a:lnTo>
                  <a:lnTo>
                    <a:pt x="741" y="853"/>
                  </a:lnTo>
                  <a:lnTo>
                    <a:pt x="739" y="853"/>
                  </a:lnTo>
                  <a:close/>
                  <a:moveTo>
                    <a:pt x="748" y="840"/>
                  </a:moveTo>
                  <a:lnTo>
                    <a:pt x="748" y="840"/>
                  </a:lnTo>
                  <a:lnTo>
                    <a:pt x="748" y="840"/>
                  </a:lnTo>
                  <a:lnTo>
                    <a:pt x="748" y="842"/>
                  </a:lnTo>
                  <a:lnTo>
                    <a:pt x="748" y="842"/>
                  </a:lnTo>
                  <a:lnTo>
                    <a:pt x="748" y="840"/>
                  </a:lnTo>
                  <a:close/>
                  <a:moveTo>
                    <a:pt x="782" y="832"/>
                  </a:moveTo>
                  <a:lnTo>
                    <a:pt x="782" y="832"/>
                  </a:lnTo>
                  <a:lnTo>
                    <a:pt x="782" y="832"/>
                  </a:lnTo>
                  <a:lnTo>
                    <a:pt x="782" y="832"/>
                  </a:lnTo>
                  <a:lnTo>
                    <a:pt x="782" y="832"/>
                  </a:lnTo>
                  <a:lnTo>
                    <a:pt x="782" y="832"/>
                  </a:lnTo>
                  <a:lnTo>
                    <a:pt x="780" y="832"/>
                  </a:lnTo>
                  <a:lnTo>
                    <a:pt x="778" y="832"/>
                  </a:lnTo>
                  <a:lnTo>
                    <a:pt x="778" y="832"/>
                  </a:lnTo>
                  <a:lnTo>
                    <a:pt x="778" y="832"/>
                  </a:lnTo>
                  <a:lnTo>
                    <a:pt x="778" y="832"/>
                  </a:lnTo>
                  <a:lnTo>
                    <a:pt x="778" y="832"/>
                  </a:lnTo>
                  <a:lnTo>
                    <a:pt x="778" y="832"/>
                  </a:lnTo>
                  <a:lnTo>
                    <a:pt x="778" y="832"/>
                  </a:lnTo>
                  <a:lnTo>
                    <a:pt x="778" y="834"/>
                  </a:lnTo>
                  <a:lnTo>
                    <a:pt x="780" y="834"/>
                  </a:lnTo>
                  <a:lnTo>
                    <a:pt x="780" y="834"/>
                  </a:lnTo>
                  <a:lnTo>
                    <a:pt x="780" y="834"/>
                  </a:lnTo>
                  <a:lnTo>
                    <a:pt x="780" y="832"/>
                  </a:lnTo>
                  <a:lnTo>
                    <a:pt x="780" y="832"/>
                  </a:lnTo>
                  <a:lnTo>
                    <a:pt x="780" y="832"/>
                  </a:lnTo>
                  <a:lnTo>
                    <a:pt x="782" y="834"/>
                  </a:lnTo>
                  <a:lnTo>
                    <a:pt x="782" y="834"/>
                  </a:lnTo>
                  <a:lnTo>
                    <a:pt x="780" y="834"/>
                  </a:lnTo>
                  <a:lnTo>
                    <a:pt x="780" y="836"/>
                  </a:lnTo>
                  <a:lnTo>
                    <a:pt x="780" y="836"/>
                  </a:lnTo>
                  <a:lnTo>
                    <a:pt x="780" y="836"/>
                  </a:lnTo>
                  <a:lnTo>
                    <a:pt x="780" y="836"/>
                  </a:lnTo>
                  <a:lnTo>
                    <a:pt x="782" y="838"/>
                  </a:lnTo>
                  <a:lnTo>
                    <a:pt x="782" y="836"/>
                  </a:lnTo>
                  <a:lnTo>
                    <a:pt x="782" y="836"/>
                  </a:lnTo>
                  <a:lnTo>
                    <a:pt x="782" y="836"/>
                  </a:lnTo>
                  <a:lnTo>
                    <a:pt x="784" y="836"/>
                  </a:lnTo>
                  <a:lnTo>
                    <a:pt x="784" y="836"/>
                  </a:lnTo>
                  <a:lnTo>
                    <a:pt x="784" y="834"/>
                  </a:lnTo>
                  <a:lnTo>
                    <a:pt x="784" y="834"/>
                  </a:lnTo>
                  <a:lnTo>
                    <a:pt x="784" y="834"/>
                  </a:lnTo>
                  <a:lnTo>
                    <a:pt x="782" y="832"/>
                  </a:lnTo>
                  <a:close/>
                  <a:moveTo>
                    <a:pt x="778" y="840"/>
                  </a:moveTo>
                  <a:lnTo>
                    <a:pt x="776" y="838"/>
                  </a:lnTo>
                  <a:lnTo>
                    <a:pt x="776" y="838"/>
                  </a:lnTo>
                  <a:lnTo>
                    <a:pt x="776" y="838"/>
                  </a:lnTo>
                  <a:lnTo>
                    <a:pt x="776" y="838"/>
                  </a:lnTo>
                  <a:lnTo>
                    <a:pt x="778" y="840"/>
                  </a:lnTo>
                  <a:lnTo>
                    <a:pt x="778" y="840"/>
                  </a:lnTo>
                  <a:lnTo>
                    <a:pt x="778" y="840"/>
                  </a:lnTo>
                  <a:lnTo>
                    <a:pt x="778" y="840"/>
                  </a:lnTo>
                  <a:lnTo>
                    <a:pt x="778" y="840"/>
                  </a:lnTo>
                  <a:close/>
                  <a:moveTo>
                    <a:pt x="762" y="857"/>
                  </a:moveTo>
                  <a:lnTo>
                    <a:pt x="762" y="857"/>
                  </a:lnTo>
                  <a:lnTo>
                    <a:pt x="760" y="857"/>
                  </a:lnTo>
                  <a:lnTo>
                    <a:pt x="760" y="857"/>
                  </a:lnTo>
                  <a:lnTo>
                    <a:pt x="762" y="857"/>
                  </a:lnTo>
                  <a:lnTo>
                    <a:pt x="760" y="857"/>
                  </a:lnTo>
                  <a:lnTo>
                    <a:pt x="760" y="857"/>
                  </a:lnTo>
                  <a:lnTo>
                    <a:pt x="760" y="857"/>
                  </a:lnTo>
                  <a:lnTo>
                    <a:pt x="760" y="857"/>
                  </a:lnTo>
                  <a:lnTo>
                    <a:pt x="760" y="857"/>
                  </a:lnTo>
                  <a:lnTo>
                    <a:pt x="760" y="857"/>
                  </a:lnTo>
                  <a:lnTo>
                    <a:pt x="760" y="857"/>
                  </a:lnTo>
                  <a:lnTo>
                    <a:pt x="760" y="857"/>
                  </a:lnTo>
                  <a:lnTo>
                    <a:pt x="760" y="857"/>
                  </a:lnTo>
                  <a:lnTo>
                    <a:pt x="762" y="857"/>
                  </a:lnTo>
                  <a:lnTo>
                    <a:pt x="762" y="857"/>
                  </a:lnTo>
                  <a:lnTo>
                    <a:pt x="762" y="857"/>
                  </a:lnTo>
                  <a:lnTo>
                    <a:pt x="762" y="857"/>
                  </a:lnTo>
                  <a:lnTo>
                    <a:pt x="762" y="857"/>
                  </a:lnTo>
                  <a:lnTo>
                    <a:pt x="762" y="857"/>
                  </a:lnTo>
                  <a:close/>
                  <a:moveTo>
                    <a:pt x="776" y="836"/>
                  </a:moveTo>
                  <a:lnTo>
                    <a:pt x="776" y="836"/>
                  </a:lnTo>
                  <a:lnTo>
                    <a:pt x="776" y="836"/>
                  </a:lnTo>
                  <a:lnTo>
                    <a:pt x="776" y="836"/>
                  </a:lnTo>
                  <a:lnTo>
                    <a:pt x="776" y="838"/>
                  </a:lnTo>
                  <a:lnTo>
                    <a:pt x="776" y="838"/>
                  </a:lnTo>
                  <a:lnTo>
                    <a:pt x="776" y="836"/>
                  </a:lnTo>
                  <a:lnTo>
                    <a:pt x="776" y="836"/>
                  </a:lnTo>
                  <a:lnTo>
                    <a:pt x="776" y="836"/>
                  </a:lnTo>
                  <a:close/>
                  <a:moveTo>
                    <a:pt x="766" y="838"/>
                  </a:moveTo>
                  <a:lnTo>
                    <a:pt x="764" y="838"/>
                  </a:lnTo>
                  <a:lnTo>
                    <a:pt x="764" y="840"/>
                  </a:lnTo>
                  <a:lnTo>
                    <a:pt x="762" y="840"/>
                  </a:lnTo>
                  <a:lnTo>
                    <a:pt x="762" y="840"/>
                  </a:lnTo>
                  <a:lnTo>
                    <a:pt x="760" y="842"/>
                  </a:lnTo>
                  <a:lnTo>
                    <a:pt x="760" y="842"/>
                  </a:lnTo>
                  <a:lnTo>
                    <a:pt x="760" y="842"/>
                  </a:lnTo>
                  <a:lnTo>
                    <a:pt x="762" y="844"/>
                  </a:lnTo>
                  <a:lnTo>
                    <a:pt x="762" y="846"/>
                  </a:lnTo>
                  <a:lnTo>
                    <a:pt x="762" y="846"/>
                  </a:lnTo>
                  <a:lnTo>
                    <a:pt x="764" y="846"/>
                  </a:lnTo>
                  <a:lnTo>
                    <a:pt x="764" y="846"/>
                  </a:lnTo>
                  <a:lnTo>
                    <a:pt x="766" y="844"/>
                  </a:lnTo>
                  <a:lnTo>
                    <a:pt x="766" y="842"/>
                  </a:lnTo>
                  <a:lnTo>
                    <a:pt x="766" y="842"/>
                  </a:lnTo>
                  <a:lnTo>
                    <a:pt x="766" y="842"/>
                  </a:lnTo>
                  <a:lnTo>
                    <a:pt x="766" y="840"/>
                  </a:lnTo>
                  <a:lnTo>
                    <a:pt x="766" y="840"/>
                  </a:lnTo>
                  <a:lnTo>
                    <a:pt x="766" y="838"/>
                  </a:lnTo>
                  <a:close/>
                  <a:moveTo>
                    <a:pt x="27" y="738"/>
                  </a:moveTo>
                  <a:lnTo>
                    <a:pt x="23" y="738"/>
                  </a:lnTo>
                  <a:lnTo>
                    <a:pt x="23" y="738"/>
                  </a:lnTo>
                  <a:lnTo>
                    <a:pt x="23" y="738"/>
                  </a:lnTo>
                  <a:lnTo>
                    <a:pt x="23" y="738"/>
                  </a:lnTo>
                  <a:lnTo>
                    <a:pt x="21" y="738"/>
                  </a:lnTo>
                  <a:lnTo>
                    <a:pt x="21" y="738"/>
                  </a:lnTo>
                  <a:lnTo>
                    <a:pt x="21" y="738"/>
                  </a:lnTo>
                  <a:lnTo>
                    <a:pt x="21" y="738"/>
                  </a:lnTo>
                  <a:lnTo>
                    <a:pt x="21" y="738"/>
                  </a:lnTo>
                  <a:lnTo>
                    <a:pt x="18" y="738"/>
                  </a:lnTo>
                  <a:lnTo>
                    <a:pt x="18" y="738"/>
                  </a:lnTo>
                  <a:lnTo>
                    <a:pt x="18" y="738"/>
                  </a:lnTo>
                  <a:lnTo>
                    <a:pt x="16" y="738"/>
                  </a:lnTo>
                  <a:lnTo>
                    <a:pt x="16" y="738"/>
                  </a:lnTo>
                  <a:lnTo>
                    <a:pt x="16" y="738"/>
                  </a:lnTo>
                  <a:lnTo>
                    <a:pt x="16" y="738"/>
                  </a:lnTo>
                  <a:lnTo>
                    <a:pt x="14" y="738"/>
                  </a:lnTo>
                  <a:lnTo>
                    <a:pt x="14" y="738"/>
                  </a:lnTo>
                  <a:lnTo>
                    <a:pt x="14" y="738"/>
                  </a:lnTo>
                  <a:lnTo>
                    <a:pt x="14" y="738"/>
                  </a:lnTo>
                  <a:lnTo>
                    <a:pt x="16" y="740"/>
                  </a:lnTo>
                  <a:lnTo>
                    <a:pt x="18" y="742"/>
                  </a:lnTo>
                  <a:lnTo>
                    <a:pt x="21" y="742"/>
                  </a:lnTo>
                  <a:lnTo>
                    <a:pt x="21" y="742"/>
                  </a:lnTo>
                  <a:lnTo>
                    <a:pt x="21" y="744"/>
                  </a:lnTo>
                  <a:lnTo>
                    <a:pt x="21" y="744"/>
                  </a:lnTo>
                  <a:lnTo>
                    <a:pt x="21" y="744"/>
                  </a:lnTo>
                  <a:lnTo>
                    <a:pt x="21" y="744"/>
                  </a:lnTo>
                  <a:lnTo>
                    <a:pt x="21" y="744"/>
                  </a:lnTo>
                  <a:lnTo>
                    <a:pt x="21" y="744"/>
                  </a:lnTo>
                  <a:lnTo>
                    <a:pt x="21" y="744"/>
                  </a:lnTo>
                  <a:lnTo>
                    <a:pt x="21" y="744"/>
                  </a:lnTo>
                  <a:lnTo>
                    <a:pt x="21" y="744"/>
                  </a:lnTo>
                  <a:lnTo>
                    <a:pt x="23" y="746"/>
                  </a:lnTo>
                  <a:lnTo>
                    <a:pt x="23" y="744"/>
                  </a:lnTo>
                  <a:lnTo>
                    <a:pt x="23" y="744"/>
                  </a:lnTo>
                  <a:lnTo>
                    <a:pt x="23" y="742"/>
                  </a:lnTo>
                  <a:lnTo>
                    <a:pt x="23" y="742"/>
                  </a:lnTo>
                  <a:lnTo>
                    <a:pt x="25" y="740"/>
                  </a:lnTo>
                  <a:lnTo>
                    <a:pt x="25" y="740"/>
                  </a:lnTo>
                  <a:lnTo>
                    <a:pt x="27" y="740"/>
                  </a:lnTo>
                  <a:lnTo>
                    <a:pt x="27" y="740"/>
                  </a:lnTo>
                  <a:lnTo>
                    <a:pt x="27" y="738"/>
                  </a:lnTo>
                  <a:close/>
                  <a:moveTo>
                    <a:pt x="231" y="883"/>
                  </a:moveTo>
                  <a:lnTo>
                    <a:pt x="231" y="883"/>
                  </a:lnTo>
                  <a:lnTo>
                    <a:pt x="231" y="883"/>
                  </a:lnTo>
                  <a:lnTo>
                    <a:pt x="229" y="883"/>
                  </a:lnTo>
                  <a:lnTo>
                    <a:pt x="229" y="883"/>
                  </a:lnTo>
                  <a:lnTo>
                    <a:pt x="231" y="883"/>
                  </a:lnTo>
                  <a:lnTo>
                    <a:pt x="231" y="883"/>
                  </a:lnTo>
                  <a:lnTo>
                    <a:pt x="231" y="885"/>
                  </a:lnTo>
                  <a:lnTo>
                    <a:pt x="231" y="885"/>
                  </a:lnTo>
                  <a:lnTo>
                    <a:pt x="231" y="883"/>
                  </a:lnTo>
                  <a:lnTo>
                    <a:pt x="231" y="883"/>
                  </a:lnTo>
                  <a:lnTo>
                    <a:pt x="231" y="883"/>
                  </a:lnTo>
                  <a:close/>
                  <a:moveTo>
                    <a:pt x="315" y="898"/>
                  </a:moveTo>
                  <a:lnTo>
                    <a:pt x="315" y="898"/>
                  </a:lnTo>
                  <a:lnTo>
                    <a:pt x="315" y="900"/>
                  </a:lnTo>
                  <a:lnTo>
                    <a:pt x="313" y="898"/>
                  </a:lnTo>
                  <a:lnTo>
                    <a:pt x="313" y="898"/>
                  </a:lnTo>
                  <a:lnTo>
                    <a:pt x="315" y="898"/>
                  </a:lnTo>
                  <a:lnTo>
                    <a:pt x="315" y="898"/>
                  </a:lnTo>
                  <a:lnTo>
                    <a:pt x="315" y="898"/>
                  </a:lnTo>
                  <a:lnTo>
                    <a:pt x="315" y="898"/>
                  </a:lnTo>
                  <a:lnTo>
                    <a:pt x="315" y="898"/>
                  </a:lnTo>
                  <a:lnTo>
                    <a:pt x="313" y="898"/>
                  </a:lnTo>
                  <a:lnTo>
                    <a:pt x="313" y="898"/>
                  </a:lnTo>
                  <a:lnTo>
                    <a:pt x="311" y="898"/>
                  </a:lnTo>
                  <a:lnTo>
                    <a:pt x="311" y="898"/>
                  </a:lnTo>
                  <a:lnTo>
                    <a:pt x="315" y="900"/>
                  </a:lnTo>
                  <a:lnTo>
                    <a:pt x="315" y="900"/>
                  </a:lnTo>
                  <a:lnTo>
                    <a:pt x="315" y="900"/>
                  </a:lnTo>
                  <a:lnTo>
                    <a:pt x="315" y="900"/>
                  </a:lnTo>
                  <a:lnTo>
                    <a:pt x="315" y="900"/>
                  </a:lnTo>
                  <a:lnTo>
                    <a:pt x="315" y="898"/>
                  </a:lnTo>
                  <a:lnTo>
                    <a:pt x="315" y="898"/>
                  </a:lnTo>
                  <a:close/>
                  <a:moveTo>
                    <a:pt x="238" y="894"/>
                  </a:moveTo>
                  <a:lnTo>
                    <a:pt x="238" y="894"/>
                  </a:lnTo>
                  <a:lnTo>
                    <a:pt x="238" y="894"/>
                  </a:lnTo>
                  <a:lnTo>
                    <a:pt x="238" y="894"/>
                  </a:lnTo>
                  <a:lnTo>
                    <a:pt x="238" y="894"/>
                  </a:lnTo>
                  <a:lnTo>
                    <a:pt x="238" y="894"/>
                  </a:lnTo>
                  <a:close/>
                  <a:moveTo>
                    <a:pt x="225" y="883"/>
                  </a:moveTo>
                  <a:lnTo>
                    <a:pt x="223" y="883"/>
                  </a:lnTo>
                  <a:lnTo>
                    <a:pt x="223" y="883"/>
                  </a:lnTo>
                  <a:lnTo>
                    <a:pt x="223" y="883"/>
                  </a:lnTo>
                  <a:lnTo>
                    <a:pt x="223" y="881"/>
                  </a:lnTo>
                  <a:lnTo>
                    <a:pt x="223" y="881"/>
                  </a:lnTo>
                  <a:lnTo>
                    <a:pt x="223" y="881"/>
                  </a:lnTo>
                  <a:lnTo>
                    <a:pt x="223" y="881"/>
                  </a:lnTo>
                  <a:lnTo>
                    <a:pt x="223" y="881"/>
                  </a:lnTo>
                  <a:lnTo>
                    <a:pt x="223" y="883"/>
                  </a:lnTo>
                  <a:lnTo>
                    <a:pt x="223" y="883"/>
                  </a:lnTo>
                  <a:lnTo>
                    <a:pt x="223" y="883"/>
                  </a:lnTo>
                  <a:lnTo>
                    <a:pt x="223" y="883"/>
                  </a:lnTo>
                  <a:lnTo>
                    <a:pt x="223" y="883"/>
                  </a:lnTo>
                  <a:lnTo>
                    <a:pt x="225" y="883"/>
                  </a:lnTo>
                  <a:lnTo>
                    <a:pt x="225" y="885"/>
                  </a:lnTo>
                  <a:lnTo>
                    <a:pt x="225" y="883"/>
                  </a:lnTo>
                  <a:lnTo>
                    <a:pt x="225" y="883"/>
                  </a:lnTo>
                  <a:lnTo>
                    <a:pt x="225" y="883"/>
                  </a:lnTo>
                  <a:close/>
                  <a:moveTo>
                    <a:pt x="229" y="883"/>
                  </a:moveTo>
                  <a:lnTo>
                    <a:pt x="229" y="883"/>
                  </a:lnTo>
                  <a:lnTo>
                    <a:pt x="229" y="881"/>
                  </a:lnTo>
                  <a:lnTo>
                    <a:pt x="229" y="881"/>
                  </a:lnTo>
                  <a:lnTo>
                    <a:pt x="227" y="881"/>
                  </a:lnTo>
                  <a:lnTo>
                    <a:pt x="227" y="881"/>
                  </a:lnTo>
                  <a:lnTo>
                    <a:pt x="227" y="883"/>
                  </a:lnTo>
                  <a:lnTo>
                    <a:pt x="227" y="883"/>
                  </a:lnTo>
                  <a:lnTo>
                    <a:pt x="227" y="883"/>
                  </a:lnTo>
                  <a:lnTo>
                    <a:pt x="227" y="883"/>
                  </a:lnTo>
                  <a:lnTo>
                    <a:pt x="229" y="883"/>
                  </a:lnTo>
                  <a:lnTo>
                    <a:pt x="229" y="883"/>
                  </a:lnTo>
                  <a:lnTo>
                    <a:pt x="229" y="883"/>
                  </a:lnTo>
                  <a:lnTo>
                    <a:pt x="229" y="883"/>
                  </a:lnTo>
                  <a:lnTo>
                    <a:pt x="229" y="883"/>
                  </a:lnTo>
                  <a:lnTo>
                    <a:pt x="229" y="883"/>
                  </a:lnTo>
                  <a:lnTo>
                    <a:pt x="229" y="883"/>
                  </a:lnTo>
                  <a:close/>
                  <a:moveTo>
                    <a:pt x="260" y="883"/>
                  </a:moveTo>
                  <a:lnTo>
                    <a:pt x="260" y="883"/>
                  </a:lnTo>
                  <a:lnTo>
                    <a:pt x="262" y="883"/>
                  </a:lnTo>
                  <a:lnTo>
                    <a:pt x="262" y="883"/>
                  </a:lnTo>
                  <a:lnTo>
                    <a:pt x="264" y="883"/>
                  </a:lnTo>
                  <a:lnTo>
                    <a:pt x="264" y="883"/>
                  </a:lnTo>
                  <a:lnTo>
                    <a:pt x="264" y="883"/>
                  </a:lnTo>
                  <a:lnTo>
                    <a:pt x="264" y="883"/>
                  </a:lnTo>
                  <a:lnTo>
                    <a:pt x="262" y="881"/>
                  </a:lnTo>
                  <a:lnTo>
                    <a:pt x="258" y="881"/>
                  </a:lnTo>
                  <a:lnTo>
                    <a:pt x="258" y="879"/>
                  </a:lnTo>
                  <a:lnTo>
                    <a:pt x="256" y="879"/>
                  </a:lnTo>
                  <a:lnTo>
                    <a:pt x="258" y="879"/>
                  </a:lnTo>
                  <a:lnTo>
                    <a:pt x="258" y="877"/>
                  </a:lnTo>
                  <a:lnTo>
                    <a:pt x="258" y="877"/>
                  </a:lnTo>
                  <a:lnTo>
                    <a:pt x="256" y="877"/>
                  </a:lnTo>
                  <a:lnTo>
                    <a:pt x="256" y="875"/>
                  </a:lnTo>
                  <a:lnTo>
                    <a:pt x="256" y="875"/>
                  </a:lnTo>
                  <a:lnTo>
                    <a:pt x="250" y="873"/>
                  </a:lnTo>
                  <a:lnTo>
                    <a:pt x="250" y="873"/>
                  </a:lnTo>
                  <a:lnTo>
                    <a:pt x="248" y="875"/>
                  </a:lnTo>
                  <a:lnTo>
                    <a:pt x="248" y="875"/>
                  </a:lnTo>
                  <a:lnTo>
                    <a:pt x="250" y="879"/>
                  </a:lnTo>
                  <a:lnTo>
                    <a:pt x="250" y="879"/>
                  </a:lnTo>
                  <a:lnTo>
                    <a:pt x="250" y="881"/>
                  </a:lnTo>
                  <a:lnTo>
                    <a:pt x="252" y="881"/>
                  </a:lnTo>
                  <a:lnTo>
                    <a:pt x="252" y="881"/>
                  </a:lnTo>
                  <a:lnTo>
                    <a:pt x="254" y="883"/>
                  </a:lnTo>
                  <a:lnTo>
                    <a:pt x="252" y="883"/>
                  </a:lnTo>
                  <a:lnTo>
                    <a:pt x="252" y="885"/>
                  </a:lnTo>
                  <a:lnTo>
                    <a:pt x="252" y="885"/>
                  </a:lnTo>
                  <a:lnTo>
                    <a:pt x="252" y="885"/>
                  </a:lnTo>
                  <a:lnTo>
                    <a:pt x="250" y="885"/>
                  </a:lnTo>
                  <a:lnTo>
                    <a:pt x="250" y="885"/>
                  </a:lnTo>
                  <a:lnTo>
                    <a:pt x="250" y="885"/>
                  </a:lnTo>
                  <a:lnTo>
                    <a:pt x="248" y="885"/>
                  </a:lnTo>
                  <a:lnTo>
                    <a:pt x="248" y="885"/>
                  </a:lnTo>
                  <a:lnTo>
                    <a:pt x="248" y="885"/>
                  </a:lnTo>
                  <a:lnTo>
                    <a:pt x="248" y="887"/>
                  </a:lnTo>
                  <a:lnTo>
                    <a:pt x="248" y="887"/>
                  </a:lnTo>
                  <a:lnTo>
                    <a:pt x="248" y="887"/>
                  </a:lnTo>
                  <a:lnTo>
                    <a:pt x="250" y="887"/>
                  </a:lnTo>
                  <a:lnTo>
                    <a:pt x="250" y="889"/>
                  </a:lnTo>
                  <a:lnTo>
                    <a:pt x="250" y="889"/>
                  </a:lnTo>
                  <a:lnTo>
                    <a:pt x="250" y="889"/>
                  </a:lnTo>
                  <a:lnTo>
                    <a:pt x="250" y="891"/>
                  </a:lnTo>
                  <a:lnTo>
                    <a:pt x="250" y="891"/>
                  </a:lnTo>
                  <a:lnTo>
                    <a:pt x="250" y="891"/>
                  </a:lnTo>
                  <a:lnTo>
                    <a:pt x="252" y="891"/>
                  </a:lnTo>
                  <a:lnTo>
                    <a:pt x="252" y="891"/>
                  </a:lnTo>
                  <a:lnTo>
                    <a:pt x="252" y="891"/>
                  </a:lnTo>
                  <a:lnTo>
                    <a:pt x="252" y="889"/>
                  </a:lnTo>
                  <a:lnTo>
                    <a:pt x="252" y="889"/>
                  </a:lnTo>
                  <a:lnTo>
                    <a:pt x="252" y="889"/>
                  </a:lnTo>
                  <a:lnTo>
                    <a:pt x="252" y="887"/>
                  </a:lnTo>
                  <a:lnTo>
                    <a:pt x="252" y="887"/>
                  </a:lnTo>
                  <a:lnTo>
                    <a:pt x="254" y="887"/>
                  </a:lnTo>
                  <a:lnTo>
                    <a:pt x="254" y="887"/>
                  </a:lnTo>
                  <a:lnTo>
                    <a:pt x="254" y="887"/>
                  </a:lnTo>
                  <a:lnTo>
                    <a:pt x="254" y="887"/>
                  </a:lnTo>
                  <a:lnTo>
                    <a:pt x="254" y="889"/>
                  </a:lnTo>
                  <a:lnTo>
                    <a:pt x="256" y="889"/>
                  </a:lnTo>
                  <a:lnTo>
                    <a:pt x="256" y="887"/>
                  </a:lnTo>
                  <a:lnTo>
                    <a:pt x="256" y="887"/>
                  </a:lnTo>
                  <a:lnTo>
                    <a:pt x="256" y="887"/>
                  </a:lnTo>
                  <a:lnTo>
                    <a:pt x="258" y="885"/>
                  </a:lnTo>
                  <a:lnTo>
                    <a:pt x="258" y="885"/>
                  </a:lnTo>
                  <a:lnTo>
                    <a:pt x="258" y="885"/>
                  </a:lnTo>
                  <a:lnTo>
                    <a:pt x="258" y="885"/>
                  </a:lnTo>
                  <a:lnTo>
                    <a:pt x="258" y="883"/>
                  </a:lnTo>
                  <a:lnTo>
                    <a:pt x="258" y="883"/>
                  </a:lnTo>
                  <a:lnTo>
                    <a:pt x="258" y="883"/>
                  </a:lnTo>
                  <a:lnTo>
                    <a:pt x="260" y="883"/>
                  </a:lnTo>
                  <a:close/>
                  <a:moveTo>
                    <a:pt x="270" y="883"/>
                  </a:moveTo>
                  <a:lnTo>
                    <a:pt x="270" y="883"/>
                  </a:lnTo>
                  <a:lnTo>
                    <a:pt x="272" y="883"/>
                  </a:lnTo>
                  <a:lnTo>
                    <a:pt x="272" y="883"/>
                  </a:lnTo>
                  <a:lnTo>
                    <a:pt x="272" y="881"/>
                  </a:lnTo>
                  <a:lnTo>
                    <a:pt x="272" y="881"/>
                  </a:lnTo>
                  <a:lnTo>
                    <a:pt x="272" y="881"/>
                  </a:lnTo>
                  <a:lnTo>
                    <a:pt x="270" y="881"/>
                  </a:lnTo>
                  <a:lnTo>
                    <a:pt x="270" y="881"/>
                  </a:lnTo>
                  <a:lnTo>
                    <a:pt x="270" y="881"/>
                  </a:lnTo>
                  <a:lnTo>
                    <a:pt x="270" y="881"/>
                  </a:lnTo>
                  <a:lnTo>
                    <a:pt x="270" y="883"/>
                  </a:lnTo>
                  <a:lnTo>
                    <a:pt x="270" y="883"/>
                  </a:lnTo>
                  <a:close/>
                  <a:moveTo>
                    <a:pt x="303" y="898"/>
                  </a:moveTo>
                  <a:lnTo>
                    <a:pt x="305" y="898"/>
                  </a:lnTo>
                  <a:lnTo>
                    <a:pt x="305" y="898"/>
                  </a:lnTo>
                  <a:lnTo>
                    <a:pt x="305" y="898"/>
                  </a:lnTo>
                  <a:lnTo>
                    <a:pt x="305" y="896"/>
                  </a:lnTo>
                  <a:lnTo>
                    <a:pt x="303" y="896"/>
                  </a:lnTo>
                  <a:lnTo>
                    <a:pt x="303" y="896"/>
                  </a:lnTo>
                  <a:lnTo>
                    <a:pt x="301" y="896"/>
                  </a:lnTo>
                  <a:lnTo>
                    <a:pt x="301" y="898"/>
                  </a:lnTo>
                  <a:lnTo>
                    <a:pt x="301" y="898"/>
                  </a:lnTo>
                  <a:lnTo>
                    <a:pt x="301" y="898"/>
                  </a:lnTo>
                  <a:lnTo>
                    <a:pt x="301" y="898"/>
                  </a:lnTo>
                  <a:lnTo>
                    <a:pt x="301" y="898"/>
                  </a:lnTo>
                  <a:lnTo>
                    <a:pt x="301" y="900"/>
                  </a:lnTo>
                  <a:lnTo>
                    <a:pt x="301" y="902"/>
                  </a:lnTo>
                  <a:lnTo>
                    <a:pt x="301" y="902"/>
                  </a:lnTo>
                  <a:lnTo>
                    <a:pt x="301" y="902"/>
                  </a:lnTo>
                  <a:lnTo>
                    <a:pt x="301" y="902"/>
                  </a:lnTo>
                  <a:lnTo>
                    <a:pt x="301" y="902"/>
                  </a:lnTo>
                  <a:lnTo>
                    <a:pt x="301" y="902"/>
                  </a:lnTo>
                  <a:lnTo>
                    <a:pt x="301" y="902"/>
                  </a:lnTo>
                  <a:lnTo>
                    <a:pt x="303" y="902"/>
                  </a:lnTo>
                  <a:lnTo>
                    <a:pt x="303" y="902"/>
                  </a:lnTo>
                  <a:lnTo>
                    <a:pt x="303" y="902"/>
                  </a:lnTo>
                  <a:lnTo>
                    <a:pt x="303" y="902"/>
                  </a:lnTo>
                  <a:lnTo>
                    <a:pt x="303" y="902"/>
                  </a:lnTo>
                  <a:lnTo>
                    <a:pt x="303" y="902"/>
                  </a:lnTo>
                  <a:lnTo>
                    <a:pt x="305" y="902"/>
                  </a:lnTo>
                  <a:lnTo>
                    <a:pt x="305" y="902"/>
                  </a:lnTo>
                  <a:lnTo>
                    <a:pt x="305" y="902"/>
                  </a:lnTo>
                  <a:lnTo>
                    <a:pt x="305" y="902"/>
                  </a:lnTo>
                  <a:lnTo>
                    <a:pt x="305" y="900"/>
                  </a:lnTo>
                  <a:lnTo>
                    <a:pt x="305" y="900"/>
                  </a:lnTo>
                  <a:lnTo>
                    <a:pt x="305" y="900"/>
                  </a:lnTo>
                  <a:lnTo>
                    <a:pt x="305" y="900"/>
                  </a:lnTo>
                  <a:lnTo>
                    <a:pt x="305" y="900"/>
                  </a:lnTo>
                  <a:lnTo>
                    <a:pt x="305" y="900"/>
                  </a:lnTo>
                  <a:lnTo>
                    <a:pt x="305" y="898"/>
                  </a:lnTo>
                  <a:lnTo>
                    <a:pt x="305" y="898"/>
                  </a:lnTo>
                  <a:lnTo>
                    <a:pt x="303" y="900"/>
                  </a:lnTo>
                  <a:lnTo>
                    <a:pt x="303" y="898"/>
                  </a:lnTo>
                  <a:lnTo>
                    <a:pt x="303" y="898"/>
                  </a:lnTo>
                  <a:lnTo>
                    <a:pt x="303" y="898"/>
                  </a:lnTo>
                  <a:lnTo>
                    <a:pt x="303" y="898"/>
                  </a:lnTo>
                  <a:lnTo>
                    <a:pt x="303" y="898"/>
                  </a:lnTo>
                  <a:lnTo>
                    <a:pt x="303" y="898"/>
                  </a:lnTo>
                  <a:lnTo>
                    <a:pt x="303" y="898"/>
                  </a:lnTo>
                  <a:close/>
                  <a:moveTo>
                    <a:pt x="313" y="902"/>
                  </a:moveTo>
                  <a:lnTo>
                    <a:pt x="313" y="902"/>
                  </a:lnTo>
                  <a:lnTo>
                    <a:pt x="313" y="900"/>
                  </a:lnTo>
                  <a:lnTo>
                    <a:pt x="311" y="900"/>
                  </a:lnTo>
                  <a:lnTo>
                    <a:pt x="311" y="900"/>
                  </a:lnTo>
                  <a:lnTo>
                    <a:pt x="311" y="900"/>
                  </a:lnTo>
                  <a:lnTo>
                    <a:pt x="311" y="900"/>
                  </a:lnTo>
                  <a:lnTo>
                    <a:pt x="311" y="900"/>
                  </a:lnTo>
                  <a:lnTo>
                    <a:pt x="311" y="898"/>
                  </a:lnTo>
                  <a:lnTo>
                    <a:pt x="311" y="898"/>
                  </a:lnTo>
                  <a:lnTo>
                    <a:pt x="309" y="898"/>
                  </a:lnTo>
                  <a:lnTo>
                    <a:pt x="309" y="898"/>
                  </a:lnTo>
                  <a:lnTo>
                    <a:pt x="309" y="898"/>
                  </a:lnTo>
                  <a:lnTo>
                    <a:pt x="309" y="896"/>
                  </a:lnTo>
                  <a:lnTo>
                    <a:pt x="309" y="898"/>
                  </a:lnTo>
                  <a:lnTo>
                    <a:pt x="307" y="898"/>
                  </a:lnTo>
                  <a:lnTo>
                    <a:pt x="307" y="898"/>
                  </a:lnTo>
                  <a:lnTo>
                    <a:pt x="307" y="898"/>
                  </a:lnTo>
                  <a:lnTo>
                    <a:pt x="307" y="898"/>
                  </a:lnTo>
                  <a:lnTo>
                    <a:pt x="307" y="900"/>
                  </a:lnTo>
                  <a:lnTo>
                    <a:pt x="307" y="900"/>
                  </a:lnTo>
                  <a:lnTo>
                    <a:pt x="307" y="900"/>
                  </a:lnTo>
                  <a:lnTo>
                    <a:pt x="307" y="900"/>
                  </a:lnTo>
                  <a:lnTo>
                    <a:pt x="309" y="900"/>
                  </a:lnTo>
                  <a:lnTo>
                    <a:pt x="309" y="900"/>
                  </a:lnTo>
                  <a:lnTo>
                    <a:pt x="309" y="900"/>
                  </a:lnTo>
                  <a:lnTo>
                    <a:pt x="309" y="902"/>
                  </a:lnTo>
                  <a:lnTo>
                    <a:pt x="307" y="902"/>
                  </a:lnTo>
                  <a:lnTo>
                    <a:pt x="309" y="902"/>
                  </a:lnTo>
                  <a:lnTo>
                    <a:pt x="309" y="902"/>
                  </a:lnTo>
                  <a:lnTo>
                    <a:pt x="309" y="902"/>
                  </a:lnTo>
                  <a:lnTo>
                    <a:pt x="309" y="902"/>
                  </a:lnTo>
                  <a:lnTo>
                    <a:pt x="309" y="902"/>
                  </a:lnTo>
                  <a:lnTo>
                    <a:pt x="309" y="902"/>
                  </a:lnTo>
                  <a:lnTo>
                    <a:pt x="309" y="900"/>
                  </a:lnTo>
                  <a:lnTo>
                    <a:pt x="309" y="900"/>
                  </a:lnTo>
                  <a:lnTo>
                    <a:pt x="309" y="900"/>
                  </a:lnTo>
                  <a:lnTo>
                    <a:pt x="309" y="902"/>
                  </a:lnTo>
                  <a:lnTo>
                    <a:pt x="309" y="902"/>
                  </a:lnTo>
                  <a:lnTo>
                    <a:pt x="311" y="902"/>
                  </a:lnTo>
                  <a:lnTo>
                    <a:pt x="311" y="902"/>
                  </a:lnTo>
                  <a:lnTo>
                    <a:pt x="311" y="900"/>
                  </a:lnTo>
                  <a:lnTo>
                    <a:pt x="311" y="900"/>
                  </a:lnTo>
                  <a:lnTo>
                    <a:pt x="311" y="902"/>
                  </a:lnTo>
                  <a:lnTo>
                    <a:pt x="311" y="902"/>
                  </a:lnTo>
                  <a:lnTo>
                    <a:pt x="313" y="902"/>
                  </a:lnTo>
                  <a:lnTo>
                    <a:pt x="313" y="902"/>
                  </a:lnTo>
                  <a:lnTo>
                    <a:pt x="313" y="902"/>
                  </a:lnTo>
                  <a:lnTo>
                    <a:pt x="313" y="902"/>
                  </a:lnTo>
                  <a:lnTo>
                    <a:pt x="313" y="902"/>
                  </a:lnTo>
                  <a:lnTo>
                    <a:pt x="313" y="902"/>
                  </a:lnTo>
                  <a:close/>
                  <a:moveTo>
                    <a:pt x="283" y="887"/>
                  </a:moveTo>
                  <a:lnTo>
                    <a:pt x="283" y="887"/>
                  </a:lnTo>
                  <a:lnTo>
                    <a:pt x="283" y="887"/>
                  </a:lnTo>
                  <a:lnTo>
                    <a:pt x="283" y="887"/>
                  </a:lnTo>
                  <a:lnTo>
                    <a:pt x="283" y="887"/>
                  </a:lnTo>
                  <a:lnTo>
                    <a:pt x="283" y="885"/>
                  </a:lnTo>
                  <a:lnTo>
                    <a:pt x="283" y="885"/>
                  </a:lnTo>
                  <a:lnTo>
                    <a:pt x="283" y="885"/>
                  </a:lnTo>
                  <a:lnTo>
                    <a:pt x="281" y="883"/>
                  </a:lnTo>
                  <a:lnTo>
                    <a:pt x="281" y="883"/>
                  </a:lnTo>
                  <a:lnTo>
                    <a:pt x="279" y="883"/>
                  </a:lnTo>
                  <a:lnTo>
                    <a:pt x="279" y="885"/>
                  </a:lnTo>
                  <a:lnTo>
                    <a:pt x="279" y="885"/>
                  </a:lnTo>
                  <a:lnTo>
                    <a:pt x="279" y="885"/>
                  </a:lnTo>
                  <a:lnTo>
                    <a:pt x="279" y="885"/>
                  </a:lnTo>
                  <a:lnTo>
                    <a:pt x="277" y="889"/>
                  </a:lnTo>
                  <a:lnTo>
                    <a:pt x="274" y="889"/>
                  </a:lnTo>
                  <a:lnTo>
                    <a:pt x="270" y="889"/>
                  </a:lnTo>
                  <a:lnTo>
                    <a:pt x="268" y="889"/>
                  </a:lnTo>
                  <a:lnTo>
                    <a:pt x="268" y="889"/>
                  </a:lnTo>
                  <a:lnTo>
                    <a:pt x="268" y="889"/>
                  </a:lnTo>
                  <a:lnTo>
                    <a:pt x="268" y="889"/>
                  </a:lnTo>
                  <a:lnTo>
                    <a:pt x="266" y="889"/>
                  </a:lnTo>
                  <a:lnTo>
                    <a:pt x="266" y="889"/>
                  </a:lnTo>
                  <a:lnTo>
                    <a:pt x="266" y="889"/>
                  </a:lnTo>
                  <a:lnTo>
                    <a:pt x="266" y="889"/>
                  </a:lnTo>
                  <a:lnTo>
                    <a:pt x="266" y="889"/>
                  </a:lnTo>
                  <a:lnTo>
                    <a:pt x="266" y="889"/>
                  </a:lnTo>
                  <a:lnTo>
                    <a:pt x="264" y="889"/>
                  </a:lnTo>
                  <a:lnTo>
                    <a:pt x="264" y="889"/>
                  </a:lnTo>
                  <a:lnTo>
                    <a:pt x="262" y="887"/>
                  </a:lnTo>
                  <a:lnTo>
                    <a:pt x="262" y="887"/>
                  </a:lnTo>
                  <a:lnTo>
                    <a:pt x="262" y="887"/>
                  </a:lnTo>
                  <a:lnTo>
                    <a:pt x="260" y="889"/>
                  </a:lnTo>
                  <a:lnTo>
                    <a:pt x="260" y="889"/>
                  </a:lnTo>
                  <a:lnTo>
                    <a:pt x="260" y="889"/>
                  </a:lnTo>
                  <a:lnTo>
                    <a:pt x="260" y="889"/>
                  </a:lnTo>
                  <a:lnTo>
                    <a:pt x="260" y="889"/>
                  </a:lnTo>
                  <a:lnTo>
                    <a:pt x="260" y="889"/>
                  </a:lnTo>
                  <a:lnTo>
                    <a:pt x="260" y="891"/>
                  </a:lnTo>
                  <a:lnTo>
                    <a:pt x="260" y="891"/>
                  </a:lnTo>
                  <a:lnTo>
                    <a:pt x="260" y="891"/>
                  </a:lnTo>
                  <a:lnTo>
                    <a:pt x="260" y="891"/>
                  </a:lnTo>
                  <a:lnTo>
                    <a:pt x="260" y="891"/>
                  </a:lnTo>
                  <a:lnTo>
                    <a:pt x="262" y="889"/>
                  </a:lnTo>
                  <a:lnTo>
                    <a:pt x="262" y="889"/>
                  </a:lnTo>
                  <a:lnTo>
                    <a:pt x="264" y="891"/>
                  </a:lnTo>
                  <a:lnTo>
                    <a:pt x="266" y="891"/>
                  </a:lnTo>
                  <a:lnTo>
                    <a:pt x="266" y="891"/>
                  </a:lnTo>
                  <a:lnTo>
                    <a:pt x="266" y="891"/>
                  </a:lnTo>
                  <a:lnTo>
                    <a:pt x="268" y="891"/>
                  </a:lnTo>
                  <a:lnTo>
                    <a:pt x="268" y="891"/>
                  </a:lnTo>
                  <a:lnTo>
                    <a:pt x="270" y="891"/>
                  </a:lnTo>
                  <a:lnTo>
                    <a:pt x="270" y="891"/>
                  </a:lnTo>
                  <a:lnTo>
                    <a:pt x="270" y="891"/>
                  </a:lnTo>
                  <a:lnTo>
                    <a:pt x="270" y="894"/>
                  </a:lnTo>
                  <a:lnTo>
                    <a:pt x="270" y="894"/>
                  </a:lnTo>
                  <a:lnTo>
                    <a:pt x="270" y="894"/>
                  </a:lnTo>
                  <a:lnTo>
                    <a:pt x="270" y="894"/>
                  </a:lnTo>
                  <a:lnTo>
                    <a:pt x="270" y="894"/>
                  </a:lnTo>
                  <a:lnTo>
                    <a:pt x="272" y="894"/>
                  </a:lnTo>
                  <a:lnTo>
                    <a:pt x="272" y="896"/>
                  </a:lnTo>
                  <a:lnTo>
                    <a:pt x="272" y="896"/>
                  </a:lnTo>
                  <a:lnTo>
                    <a:pt x="274" y="894"/>
                  </a:lnTo>
                  <a:lnTo>
                    <a:pt x="274" y="896"/>
                  </a:lnTo>
                  <a:lnTo>
                    <a:pt x="274" y="896"/>
                  </a:lnTo>
                  <a:lnTo>
                    <a:pt x="274" y="894"/>
                  </a:lnTo>
                  <a:lnTo>
                    <a:pt x="274" y="894"/>
                  </a:lnTo>
                  <a:lnTo>
                    <a:pt x="274" y="894"/>
                  </a:lnTo>
                  <a:lnTo>
                    <a:pt x="274" y="894"/>
                  </a:lnTo>
                  <a:lnTo>
                    <a:pt x="277" y="896"/>
                  </a:lnTo>
                  <a:lnTo>
                    <a:pt x="277" y="894"/>
                  </a:lnTo>
                  <a:lnTo>
                    <a:pt x="279" y="894"/>
                  </a:lnTo>
                  <a:lnTo>
                    <a:pt x="279" y="891"/>
                  </a:lnTo>
                  <a:lnTo>
                    <a:pt x="279" y="891"/>
                  </a:lnTo>
                  <a:lnTo>
                    <a:pt x="279" y="889"/>
                  </a:lnTo>
                  <a:lnTo>
                    <a:pt x="281" y="889"/>
                  </a:lnTo>
                  <a:lnTo>
                    <a:pt x="281" y="887"/>
                  </a:lnTo>
                  <a:lnTo>
                    <a:pt x="283" y="887"/>
                  </a:lnTo>
                  <a:close/>
                  <a:moveTo>
                    <a:pt x="217" y="879"/>
                  </a:moveTo>
                  <a:lnTo>
                    <a:pt x="217" y="879"/>
                  </a:lnTo>
                  <a:lnTo>
                    <a:pt x="217" y="879"/>
                  </a:lnTo>
                  <a:lnTo>
                    <a:pt x="217" y="879"/>
                  </a:lnTo>
                  <a:lnTo>
                    <a:pt x="217" y="879"/>
                  </a:lnTo>
                  <a:lnTo>
                    <a:pt x="217" y="879"/>
                  </a:lnTo>
                  <a:lnTo>
                    <a:pt x="217" y="879"/>
                  </a:lnTo>
                  <a:lnTo>
                    <a:pt x="217" y="879"/>
                  </a:lnTo>
                  <a:lnTo>
                    <a:pt x="217" y="879"/>
                  </a:lnTo>
                  <a:lnTo>
                    <a:pt x="217" y="879"/>
                  </a:lnTo>
                  <a:close/>
                  <a:moveTo>
                    <a:pt x="299" y="900"/>
                  </a:moveTo>
                  <a:lnTo>
                    <a:pt x="299" y="900"/>
                  </a:lnTo>
                  <a:lnTo>
                    <a:pt x="299" y="898"/>
                  </a:lnTo>
                  <a:lnTo>
                    <a:pt x="301" y="898"/>
                  </a:lnTo>
                  <a:lnTo>
                    <a:pt x="301" y="898"/>
                  </a:lnTo>
                  <a:lnTo>
                    <a:pt x="301" y="898"/>
                  </a:lnTo>
                  <a:lnTo>
                    <a:pt x="301" y="898"/>
                  </a:lnTo>
                  <a:lnTo>
                    <a:pt x="301" y="896"/>
                  </a:lnTo>
                  <a:lnTo>
                    <a:pt x="301" y="896"/>
                  </a:lnTo>
                  <a:lnTo>
                    <a:pt x="299" y="896"/>
                  </a:lnTo>
                  <a:lnTo>
                    <a:pt x="299" y="896"/>
                  </a:lnTo>
                  <a:lnTo>
                    <a:pt x="299" y="896"/>
                  </a:lnTo>
                  <a:lnTo>
                    <a:pt x="299" y="896"/>
                  </a:lnTo>
                  <a:lnTo>
                    <a:pt x="299" y="896"/>
                  </a:lnTo>
                  <a:lnTo>
                    <a:pt x="299" y="896"/>
                  </a:lnTo>
                  <a:lnTo>
                    <a:pt x="297" y="896"/>
                  </a:lnTo>
                  <a:lnTo>
                    <a:pt x="297" y="896"/>
                  </a:lnTo>
                  <a:lnTo>
                    <a:pt x="297" y="896"/>
                  </a:lnTo>
                  <a:lnTo>
                    <a:pt x="295" y="896"/>
                  </a:lnTo>
                  <a:lnTo>
                    <a:pt x="295" y="894"/>
                  </a:lnTo>
                  <a:lnTo>
                    <a:pt x="295" y="894"/>
                  </a:lnTo>
                  <a:lnTo>
                    <a:pt x="295" y="894"/>
                  </a:lnTo>
                  <a:lnTo>
                    <a:pt x="297" y="894"/>
                  </a:lnTo>
                  <a:lnTo>
                    <a:pt x="295" y="894"/>
                  </a:lnTo>
                  <a:lnTo>
                    <a:pt x="295" y="894"/>
                  </a:lnTo>
                  <a:lnTo>
                    <a:pt x="295" y="894"/>
                  </a:lnTo>
                  <a:lnTo>
                    <a:pt x="295" y="891"/>
                  </a:lnTo>
                  <a:lnTo>
                    <a:pt x="297" y="891"/>
                  </a:lnTo>
                  <a:lnTo>
                    <a:pt x="297" y="891"/>
                  </a:lnTo>
                  <a:lnTo>
                    <a:pt x="297" y="891"/>
                  </a:lnTo>
                  <a:lnTo>
                    <a:pt x="297" y="891"/>
                  </a:lnTo>
                  <a:lnTo>
                    <a:pt x="299" y="891"/>
                  </a:lnTo>
                  <a:lnTo>
                    <a:pt x="299" y="891"/>
                  </a:lnTo>
                  <a:lnTo>
                    <a:pt x="299" y="889"/>
                  </a:lnTo>
                  <a:lnTo>
                    <a:pt x="299" y="889"/>
                  </a:lnTo>
                  <a:lnTo>
                    <a:pt x="299" y="889"/>
                  </a:lnTo>
                  <a:lnTo>
                    <a:pt x="299" y="887"/>
                  </a:lnTo>
                  <a:lnTo>
                    <a:pt x="299" y="887"/>
                  </a:lnTo>
                  <a:lnTo>
                    <a:pt x="299" y="887"/>
                  </a:lnTo>
                  <a:lnTo>
                    <a:pt x="299" y="887"/>
                  </a:lnTo>
                  <a:lnTo>
                    <a:pt x="299" y="887"/>
                  </a:lnTo>
                  <a:lnTo>
                    <a:pt x="297" y="887"/>
                  </a:lnTo>
                  <a:lnTo>
                    <a:pt x="297" y="887"/>
                  </a:lnTo>
                  <a:lnTo>
                    <a:pt x="297" y="887"/>
                  </a:lnTo>
                  <a:lnTo>
                    <a:pt x="297" y="889"/>
                  </a:lnTo>
                  <a:lnTo>
                    <a:pt x="295" y="887"/>
                  </a:lnTo>
                  <a:lnTo>
                    <a:pt x="295" y="887"/>
                  </a:lnTo>
                  <a:lnTo>
                    <a:pt x="295" y="887"/>
                  </a:lnTo>
                  <a:lnTo>
                    <a:pt x="293" y="887"/>
                  </a:lnTo>
                  <a:lnTo>
                    <a:pt x="293" y="887"/>
                  </a:lnTo>
                  <a:lnTo>
                    <a:pt x="293" y="887"/>
                  </a:lnTo>
                  <a:lnTo>
                    <a:pt x="291" y="887"/>
                  </a:lnTo>
                  <a:lnTo>
                    <a:pt x="291" y="889"/>
                  </a:lnTo>
                  <a:lnTo>
                    <a:pt x="291" y="891"/>
                  </a:lnTo>
                  <a:lnTo>
                    <a:pt x="293" y="891"/>
                  </a:lnTo>
                  <a:lnTo>
                    <a:pt x="291" y="891"/>
                  </a:lnTo>
                  <a:lnTo>
                    <a:pt x="291" y="891"/>
                  </a:lnTo>
                  <a:lnTo>
                    <a:pt x="291" y="891"/>
                  </a:lnTo>
                  <a:lnTo>
                    <a:pt x="291" y="894"/>
                  </a:lnTo>
                  <a:lnTo>
                    <a:pt x="291" y="894"/>
                  </a:lnTo>
                  <a:lnTo>
                    <a:pt x="291" y="894"/>
                  </a:lnTo>
                  <a:lnTo>
                    <a:pt x="291" y="896"/>
                  </a:lnTo>
                  <a:lnTo>
                    <a:pt x="291" y="896"/>
                  </a:lnTo>
                  <a:lnTo>
                    <a:pt x="291" y="896"/>
                  </a:lnTo>
                  <a:lnTo>
                    <a:pt x="289" y="896"/>
                  </a:lnTo>
                  <a:lnTo>
                    <a:pt x="287" y="894"/>
                  </a:lnTo>
                  <a:lnTo>
                    <a:pt x="287" y="894"/>
                  </a:lnTo>
                  <a:lnTo>
                    <a:pt x="287" y="894"/>
                  </a:lnTo>
                  <a:lnTo>
                    <a:pt x="287" y="891"/>
                  </a:lnTo>
                  <a:lnTo>
                    <a:pt x="287" y="891"/>
                  </a:lnTo>
                  <a:lnTo>
                    <a:pt x="287" y="894"/>
                  </a:lnTo>
                  <a:lnTo>
                    <a:pt x="285" y="894"/>
                  </a:lnTo>
                  <a:lnTo>
                    <a:pt x="285" y="894"/>
                  </a:lnTo>
                  <a:lnTo>
                    <a:pt x="285" y="896"/>
                  </a:lnTo>
                  <a:lnTo>
                    <a:pt x="287" y="896"/>
                  </a:lnTo>
                  <a:lnTo>
                    <a:pt x="287" y="896"/>
                  </a:lnTo>
                  <a:lnTo>
                    <a:pt x="289" y="896"/>
                  </a:lnTo>
                  <a:lnTo>
                    <a:pt x="287" y="896"/>
                  </a:lnTo>
                  <a:lnTo>
                    <a:pt x="287" y="896"/>
                  </a:lnTo>
                  <a:lnTo>
                    <a:pt x="287" y="896"/>
                  </a:lnTo>
                  <a:lnTo>
                    <a:pt x="287" y="896"/>
                  </a:lnTo>
                  <a:lnTo>
                    <a:pt x="287" y="896"/>
                  </a:lnTo>
                  <a:lnTo>
                    <a:pt x="285" y="896"/>
                  </a:lnTo>
                  <a:lnTo>
                    <a:pt x="285" y="896"/>
                  </a:lnTo>
                  <a:lnTo>
                    <a:pt x="285" y="898"/>
                  </a:lnTo>
                  <a:lnTo>
                    <a:pt x="285" y="898"/>
                  </a:lnTo>
                  <a:lnTo>
                    <a:pt x="285" y="898"/>
                  </a:lnTo>
                  <a:lnTo>
                    <a:pt x="281" y="900"/>
                  </a:lnTo>
                  <a:lnTo>
                    <a:pt x="281" y="900"/>
                  </a:lnTo>
                  <a:lnTo>
                    <a:pt x="281" y="902"/>
                  </a:lnTo>
                  <a:lnTo>
                    <a:pt x="281" y="902"/>
                  </a:lnTo>
                  <a:lnTo>
                    <a:pt x="281" y="902"/>
                  </a:lnTo>
                  <a:lnTo>
                    <a:pt x="281" y="902"/>
                  </a:lnTo>
                  <a:lnTo>
                    <a:pt x="283" y="902"/>
                  </a:lnTo>
                  <a:lnTo>
                    <a:pt x="283" y="902"/>
                  </a:lnTo>
                  <a:lnTo>
                    <a:pt x="283" y="902"/>
                  </a:lnTo>
                  <a:lnTo>
                    <a:pt x="283" y="902"/>
                  </a:lnTo>
                  <a:lnTo>
                    <a:pt x="287" y="898"/>
                  </a:lnTo>
                  <a:lnTo>
                    <a:pt x="287" y="898"/>
                  </a:lnTo>
                  <a:lnTo>
                    <a:pt x="287" y="900"/>
                  </a:lnTo>
                  <a:lnTo>
                    <a:pt x="287" y="900"/>
                  </a:lnTo>
                  <a:lnTo>
                    <a:pt x="287" y="902"/>
                  </a:lnTo>
                  <a:lnTo>
                    <a:pt x="287" y="902"/>
                  </a:lnTo>
                  <a:lnTo>
                    <a:pt x="287" y="902"/>
                  </a:lnTo>
                  <a:lnTo>
                    <a:pt x="285" y="902"/>
                  </a:lnTo>
                  <a:lnTo>
                    <a:pt x="285" y="902"/>
                  </a:lnTo>
                  <a:lnTo>
                    <a:pt x="285" y="904"/>
                  </a:lnTo>
                  <a:lnTo>
                    <a:pt x="285" y="904"/>
                  </a:lnTo>
                  <a:lnTo>
                    <a:pt x="287" y="904"/>
                  </a:lnTo>
                  <a:lnTo>
                    <a:pt x="287" y="904"/>
                  </a:lnTo>
                  <a:lnTo>
                    <a:pt x="287" y="902"/>
                  </a:lnTo>
                  <a:lnTo>
                    <a:pt x="289" y="904"/>
                  </a:lnTo>
                  <a:lnTo>
                    <a:pt x="289" y="904"/>
                  </a:lnTo>
                  <a:lnTo>
                    <a:pt x="289" y="904"/>
                  </a:lnTo>
                  <a:lnTo>
                    <a:pt x="289" y="902"/>
                  </a:lnTo>
                  <a:lnTo>
                    <a:pt x="289" y="902"/>
                  </a:lnTo>
                  <a:lnTo>
                    <a:pt x="289" y="902"/>
                  </a:lnTo>
                  <a:lnTo>
                    <a:pt x="289" y="902"/>
                  </a:lnTo>
                  <a:lnTo>
                    <a:pt x="289" y="900"/>
                  </a:lnTo>
                  <a:lnTo>
                    <a:pt x="291" y="902"/>
                  </a:lnTo>
                  <a:lnTo>
                    <a:pt x="291" y="902"/>
                  </a:lnTo>
                  <a:lnTo>
                    <a:pt x="291" y="902"/>
                  </a:lnTo>
                  <a:lnTo>
                    <a:pt x="291" y="902"/>
                  </a:lnTo>
                  <a:lnTo>
                    <a:pt x="291" y="902"/>
                  </a:lnTo>
                  <a:lnTo>
                    <a:pt x="291" y="902"/>
                  </a:lnTo>
                  <a:lnTo>
                    <a:pt x="293" y="902"/>
                  </a:lnTo>
                  <a:lnTo>
                    <a:pt x="293" y="902"/>
                  </a:lnTo>
                  <a:lnTo>
                    <a:pt x="293" y="902"/>
                  </a:lnTo>
                  <a:lnTo>
                    <a:pt x="293" y="902"/>
                  </a:lnTo>
                  <a:lnTo>
                    <a:pt x="293" y="902"/>
                  </a:lnTo>
                  <a:lnTo>
                    <a:pt x="293" y="902"/>
                  </a:lnTo>
                  <a:lnTo>
                    <a:pt x="293" y="902"/>
                  </a:lnTo>
                  <a:lnTo>
                    <a:pt x="297" y="900"/>
                  </a:lnTo>
                  <a:lnTo>
                    <a:pt x="297" y="900"/>
                  </a:lnTo>
                  <a:lnTo>
                    <a:pt x="297" y="902"/>
                  </a:lnTo>
                  <a:lnTo>
                    <a:pt x="299" y="902"/>
                  </a:lnTo>
                  <a:lnTo>
                    <a:pt x="299" y="902"/>
                  </a:lnTo>
                  <a:lnTo>
                    <a:pt x="299" y="900"/>
                  </a:lnTo>
                  <a:lnTo>
                    <a:pt x="299" y="900"/>
                  </a:lnTo>
                  <a:lnTo>
                    <a:pt x="299" y="900"/>
                  </a:lnTo>
                  <a:close/>
                  <a:moveTo>
                    <a:pt x="229" y="869"/>
                  </a:moveTo>
                  <a:lnTo>
                    <a:pt x="227" y="869"/>
                  </a:lnTo>
                  <a:lnTo>
                    <a:pt x="227" y="871"/>
                  </a:lnTo>
                  <a:lnTo>
                    <a:pt x="227" y="871"/>
                  </a:lnTo>
                  <a:lnTo>
                    <a:pt x="225" y="871"/>
                  </a:lnTo>
                  <a:lnTo>
                    <a:pt x="227" y="873"/>
                  </a:lnTo>
                  <a:lnTo>
                    <a:pt x="227" y="873"/>
                  </a:lnTo>
                  <a:lnTo>
                    <a:pt x="227" y="873"/>
                  </a:lnTo>
                  <a:lnTo>
                    <a:pt x="229" y="875"/>
                  </a:lnTo>
                  <a:lnTo>
                    <a:pt x="229" y="873"/>
                  </a:lnTo>
                  <a:lnTo>
                    <a:pt x="229" y="871"/>
                  </a:lnTo>
                  <a:lnTo>
                    <a:pt x="229" y="871"/>
                  </a:lnTo>
                  <a:lnTo>
                    <a:pt x="229" y="869"/>
                  </a:lnTo>
                  <a:close/>
                  <a:moveTo>
                    <a:pt x="86" y="777"/>
                  </a:moveTo>
                  <a:lnTo>
                    <a:pt x="84" y="777"/>
                  </a:lnTo>
                  <a:lnTo>
                    <a:pt x="84" y="775"/>
                  </a:lnTo>
                  <a:lnTo>
                    <a:pt x="84" y="777"/>
                  </a:lnTo>
                  <a:lnTo>
                    <a:pt x="84" y="779"/>
                  </a:lnTo>
                  <a:lnTo>
                    <a:pt x="86" y="779"/>
                  </a:lnTo>
                  <a:lnTo>
                    <a:pt x="86" y="779"/>
                  </a:lnTo>
                  <a:lnTo>
                    <a:pt x="86" y="777"/>
                  </a:lnTo>
                  <a:lnTo>
                    <a:pt x="86" y="777"/>
                  </a:lnTo>
                  <a:close/>
                  <a:moveTo>
                    <a:pt x="43" y="734"/>
                  </a:moveTo>
                  <a:lnTo>
                    <a:pt x="41" y="734"/>
                  </a:lnTo>
                  <a:lnTo>
                    <a:pt x="41" y="734"/>
                  </a:lnTo>
                  <a:lnTo>
                    <a:pt x="41" y="734"/>
                  </a:lnTo>
                  <a:lnTo>
                    <a:pt x="41" y="734"/>
                  </a:lnTo>
                  <a:lnTo>
                    <a:pt x="43" y="736"/>
                  </a:lnTo>
                  <a:lnTo>
                    <a:pt x="43" y="736"/>
                  </a:lnTo>
                  <a:lnTo>
                    <a:pt x="43" y="734"/>
                  </a:lnTo>
                  <a:close/>
                  <a:moveTo>
                    <a:pt x="215" y="889"/>
                  </a:moveTo>
                  <a:lnTo>
                    <a:pt x="215" y="889"/>
                  </a:lnTo>
                  <a:lnTo>
                    <a:pt x="215" y="889"/>
                  </a:lnTo>
                  <a:lnTo>
                    <a:pt x="215" y="889"/>
                  </a:lnTo>
                  <a:lnTo>
                    <a:pt x="215" y="891"/>
                  </a:lnTo>
                  <a:lnTo>
                    <a:pt x="213" y="891"/>
                  </a:lnTo>
                  <a:lnTo>
                    <a:pt x="213" y="891"/>
                  </a:lnTo>
                  <a:lnTo>
                    <a:pt x="213" y="894"/>
                  </a:lnTo>
                  <a:lnTo>
                    <a:pt x="213" y="894"/>
                  </a:lnTo>
                  <a:lnTo>
                    <a:pt x="215" y="891"/>
                  </a:lnTo>
                  <a:lnTo>
                    <a:pt x="215" y="891"/>
                  </a:lnTo>
                  <a:lnTo>
                    <a:pt x="217" y="891"/>
                  </a:lnTo>
                  <a:lnTo>
                    <a:pt x="217" y="891"/>
                  </a:lnTo>
                  <a:lnTo>
                    <a:pt x="217" y="889"/>
                  </a:lnTo>
                  <a:lnTo>
                    <a:pt x="215" y="889"/>
                  </a:lnTo>
                  <a:lnTo>
                    <a:pt x="215" y="889"/>
                  </a:lnTo>
                  <a:close/>
                  <a:moveTo>
                    <a:pt x="903" y="781"/>
                  </a:moveTo>
                  <a:lnTo>
                    <a:pt x="903" y="781"/>
                  </a:lnTo>
                  <a:lnTo>
                    <a:pt x="903" y="781"/>
                  </a:lnTo>
                  <a:lnTo>
                    <a:pt x="903" y="781"/>
                  </a:lnTo>
                  <a:lnTo>
                    <a:pt x="903" y="779"/>
                  </a:lnTo>
                  <a:lnTo>
                    <a:pt x="901" y="779"/>
                  </a:lnTo>
                  <a:lnTo>
                    <a:pt x="899" y="781"/>
                  </a:lnTo>
                  <a:lnTo>
                    <a:pt x="899" y="781"/>
                  </a:lnTo>
                  <a:lnTo>
                    <a:pt x="901" y="781"/>
                  </a:lnTo>
                  <a:lnTo>
                    <a:pt x="901" y="781"/>
                  </a:lnTo>
                  <a:lnTo>
                    <a:pt x="901" y="783"/>
                  </a:lnTo>
                  <a:lnTo>
                    <a:pt x="901" y="783"/>
                  </a:lnTo>
                  <a:lnTo>
                    <a:pt x="903" y="783"/>
                  </a:lnTo>
                  <a:lnTo>
                    <a:pt x="903" y="781"/>
                  </a:lnTo>
                  <a:lnTo>
                    <a:pt x="903" y="781"/>
                  </a:lnTo>
                  <a:lnTo>
                    <a:pt x="903" y="781"/>
                  </a:lnTo>
                  <a:lnTo>
                    <a:pt x="903" y="781"/>
                  </a:lnTo>
                  <a:close/>
                  <a:moveTo>
                    <a:pt x="150" y="834"/>
                  </a:moveTo>
                  <a:lnTo>
                    <a:pt x="150" y="834"/>
                  </a:lnTo>
                  <a:lnTo>
                    <a:pt x="152" y="834"/>
                  </a:lnTo>
                  <a:lnTo>
                    <a:pt x="152" y="834"/>
                  </a:lnTo>
                  <a:lnTo>
                    <a:pt x="152" y="834"/>
                  </a:lnTo>
                  <a:lnTo>
                    <a:pt x="152" y="834"/>
                  </a:lnTo>
                  <a:lnTo>
                    <a:pt x="152" y="834"/>
                  </a:lnTo>
                  <a:lnTo>
                    <a:pt x="154" y="832"/>
                  </a:lnTo>
                  <a:lnTo>
                    <a:pt x="154" y="832"/>
                  </a:lnTo>
                  <a:lnTo>
                    <a:pt x="154" y="832"/>
                  </a:lnTo>
                  <a:lnTo>
                    <a:pt x="154" y="832"/>
                  </a:lnTo>
                  <a:lnTo>
                    <a:pt x="154" y="830"/>
                  </a:lnTo>
                  <a:lnTo>
                    <a:pt x="152" y="830"/>
                  </a:lnTo>
                  <a:lnTo>
                    <a:pt x="152" y="830"/>
                  </a:lnTo>
                  <a:lnTo>
                    <a:pt x="152" y="830"/>
                  </a:lnTo>
                  <a:lnTo>
                    <a:pt x="152" y="828"/>
                  </a:lnTo>
                  <a:lnTo>
                    <a:pt x="152" y="830"/>
                  </a:lnTo>
                  <a:lnTo>
                    <a:pt x="152" y="828"/>
                  </a:lnTo>
                  <a:lnTo>
                    <a:pt x="152" y="828"/>
                  </a:lnTo>
                  <a:lnTo>
                    <a:pt x="150" y="830"/>
                  </a:lnTo>
                  <a:lnTo>
                    <a:pt x="150" y="830"/>
                  </a:lnTo>
                  <a:lnTo>
                    <a:pt x="150" y="830"/>
                  </a:lnTo>
                  <a:lnTo>
                    <a:pt x="150" y="830"/>
                  </a:lnTo>
                  <a:lnTo>
                    <a:pt x="150" y="832"/>
                  </a:lnTo>
                  <a:lnTo>
                    <a:pt x="150" y="832"/>
                  </a:lnTo>
                  <a:lnTo>
                    <a:pt x="150" y="834"/>
                  </a:lnTo>
                  <a:close/>
                  <a:moveTo>
                    <a:pt x="14" y="713"/>
                  </a:moveTo>
                  <a:lnTo>
                    <a:pt x="14" y="713"/>
                  </a:lnTo>
                  <a:lnTo>
                    <a:pt x="16" y="713"/>
                  </a:lnTo>
                  <a:lnTo>
                    <a:pt x="16" y="715"/>
                  </a:lnTo>
                  <a:lnTo>
                    <a:pt x="16" y="715"/>
                  </a:lnTo>
                  <a:lnTo>
                    <a:pt x="16" y="717"/>
                  </a:lnTo>
                  <a:lnTo>
                    <a:pt x="16" y="717"/>
                  </a:lnTo>
                  <a:lnTo>
                    <a:pt x="16" y="717"/>
                  </a:lnTo>
                  <a:lnTo>
                    <a:pt x="18" y="717"/>
                  </a:lnTo>
                  <a:lnTo>
                    <a:pt x="18" y="717"/>
                  </a:lnTo>
                  <a:lnTo>
                    <a:pt x="18" y="715"/>
                  </a:lnTo>
                  <a:lnTo>
                    <a:pt x="18" y="715"/>
                  </a:lnTo>
                  <a:lnTo>
                    <a:pt x="18" y="715"/>
                  </a:lnTo>
                  <a:lnTo>
                    <a:pt x="18" y="715"/>
                  </a:lnTo>
                  <a:lnTo>
                    <a:pt x="18" y="715"/>
                  </a:lnTo>
                  <a:lnTo>
                    <a:pt x="18" y="715"/>
                  </a:lnTo>
                  <a:lnTo>
                    <a:pt x="21" y="715"/>
                  </a:lnTo>
                  <a:lnTo>
                    <a:pt x="21" y="715"/>
                  </a:lnTo>
                  <a:lnTo>
                    <a:pt x="21" y="715"/>
                  </a:lnTo>
                  <a:lnTo>
                    <a:pt x="21" y="717"/>
                  </a:lnTo>
                  <a:lnTo>
                    <a:pt x="21" y="717"/>
                  </a:lnTo>
                  <a:lnTo>
                    <a:pt x="23" y="719"/>
                  </a:lnTo>
                  <a:lnTo>
                    <a:pt x="23" y="717"/>
                  </a:lnTo>
                  <a:lnTo>
                    <a:pt x="23" y="717"/>
                  </a:lnTo>
                  <a:lnTo>
                    <a:pt x="25" y="719"/>
                  </a:lnTo>
                  <a:lnTo>
                    <a:pt x="25" y="719"/>
                  </a:lnTo>
                  <a:lnTo>
                    <a:pt x="25" y="719"/>
                  </a:lnTo>
                  <a:lnTo>
                    <a:pt x="27" y="717"/>
                  </a:lnTo>
                  <a:lnTo>
                    <a:pt x="25" y="717"/>
                  </a:lnTo>
                  <a:lnTo>
                    <a:pt x="23" y="717"/>
                  </a:lnTo>
                  <a:lnTo>
                    <a:pt x="23" y="715"/>
                  </a:lnTo>
                  <a:lnTo>
                    <a:pt x="21" y="715"/>
                  </a:lnTo>
                  <a:lnTo>
                    <a:pt x="23" y="715"/>
                  </a:lnTo>
                  <a:lnTo>
                    <a:pt x="23" y="715"/>
                  </a:lnTo>
                  <a:lnTo>
                    <a:pt x="25" y="715"/>
                  </a:lnTo>
                  <a:lnTo>
                    <a:pt x="25" y="713"/>
                  </a:lnTo>
                  <a:lnTo>
                    <a:pt x="25" y="713"/>
                  </a:lnTo>
                  <a:lnTo>
                    <a:pt x="23" y="711"/>
                  </a:lnTo>
                  <a:lnTo>
                    <a:pt x="23" y="711"/>
                  </a:lnTo>
                  <a:lnTo>
                    <a:pt x="23" y="711"/>
                  </a:lnTo>
                  <a:lnTo>
                    <a:pt x="21" y="711"/>
                  </a:lnTo>
                  <a:lnTo>
                    <a:pt x="21" y="711"/>
                  </a:lnTo>
                  <a:lnTo>
                    <a:pt x="21" y="711"/>
                  </a:lnTo>
                  <a:lnTo>
                    <a:pt x="21" y="711"/>
                  </a:lnTo>
                  <a:lnTo>
                    <a:pt x="18" y="711"/>
                  </a:lnTo>
                  <a:lnTo>
                    <a:pt x="21" y="709"/>
                  </a:lnTo>
                  <a:lnTo>
                    <a:pt x="21" y="709"/>
                  </a:lnTo>
                  <a:lnTo>
                    <a:pt x="23" y="709"/>
                  </a:lnTo>
                  <a:lnTo>
                    <a:pt x="21" y="709"/>
                  </a:lnTo>
                  <a:lnTo>
                    <a:pt x="21" y="707"/>
                  </a:lnTo>
                  <a:lnTo>
                    <a:pt x="21" y="707"/>
                  </a:lnTo>
                  <a:lnTo>
                    <a:pt x="18" y="705"/>
                  </a:lnTo>
                  <a:lnTo>
                    <a:pt x="16" y="705"/>
                  </a:lnTo>
                  <a:lnTo>
                    <a:pt x="16" y="705"/>
                  </a:lnTo>
                  <a:lnTo>
                    <a:pt x="16" y="705"/>
                  </a:lnTo>
                  <a:lnTo>
                    <a:pt x="14" y="705"/>
                  </a:lnTo>
                  <a:lnTo>
                    <a:pt x="14" y="705"/>
                  </a:lnTo>
                  <a:lnTo>
                    <a:pt x="14" y="705"/>
                  </a:lnTo>
                  <a:lnTo>
                    <a:pt x="14" y="705"/>
                  </a:lnTo>
                  <a:lnTo>
                    <a:pt x="14" y="703"/>
                  </a:lnTo>
                  <a:lnTo>
                    <a:pt x="14" y="703"/>
                  </a:lnTo>
                  <a:lnTo>
                    <a:pt x="12" y="701"/>
                  </a:lnTo>
                  <a:lnTo>
                    <a:pt x="10" y="701"/>
                  </a:lnTo>
                  <a:lnTo>
                    <a:pt x="10" y="701"/>
                  </a:lnTo>
                  <a:lnTo>
                    <a:pt x="10" y="701"/>
                  </a:lnTo>
                  <a:lnTo>
                    <a:pt x="8" y="699"/>
                  </a:lnTo>
                  <a:lnTo>
                    <a:pt x="4" y="699"/>
                  </a:lnTo>
                  <a:lnTo>
                    <a:pt x="4" y="701"/>
                  </a:lnTo>
                  <a:lnTo>
                    <a:pt x="4" y="699"/>
                  </a:lnTo>
                  <a:lnTo>
                    <a:pt x="0" y="701"/>
                  </a:lnTo>
                  <a:lnTo>
                    <a:pt x="2" y="701"/>
                  </a:lnTo>
                  <a:lnTo>
                    <a:pt x="2" y="701"/>
                  </a:lnTo>
                  <a:lnTo>
                    <a:pt x="2" y="701"/>
                  </a:lnTo>
                  <a:lnTo>
                    <a:pt x="2" y="703"/>
                  </a:lnTo>
                  <a:lnTo>
                    <a:pt x="4" y="703"/>
                  </a:lnTo>
                  <a:lnTo>
                    <a:pt x="6" y="703"/>
                  </a:lnTo>
                  <a:lnTo>
                    <a:pt x="6" y="703"/>
                  </a:lnTo>
                  <a:lnTo>
                    <a:pt x="6" y="703"/>
                  </a:lnTo>
                  <a:lnTo>
                    <a:pt x="4" y="705"/>
                  </a:lnTo>
                  <a:lnTo>
                    <a:pt x="4" y="705"/>
                  </a:lnTo>
                  <a:lnTo>
                    <a:pt x="4" y="705"/>
                  </a:lnTo>
                  <a:lnTo>
                    <a:pt x="6" y="707"/>
                  </a:lnTo>
                  <a:lnTo>
                    <a:pt x="8" y="707"/>
                  </a:lnTo>
                  <a:lnTo>
                    <a:pt x="8" y="707"/>
                  </a:lnTo>
                  <a:lnTo>
                    <a:pt x="8" y="707"/>
                  </a:lnTo>
                  <a:lnTo>
                    <a:pt x="8" y="707"/>
                  </a:lnTo>
                  <a:lnTo>
                    <a:pt x="10" y="707"/>
                  </a:lnTo>
                  <a:lnTo>
                    <a:pt x="8" y="707"/>
                  </a:lnTo>
                  <a:lnTo>
                    <a:pt x="8" y="709"/>
                  </a:lnTo>
                  <a:lnTo>
                    <a:pt x="6" y="709"/>
                  </a:lnTo>
                  <a:lnTo>
                    <a:pt x="6" y="711"/>
                  </a:lnTo>
                  <a:lnTo>
                    <a:pt x="6" y="711"/>
                  </a:lnTo>
                  <a:lnTo>
                    <a:pt x="6" y="711"/>
                  </a:lnTo>
                  <a:lnTo>
                    <a:pt x="6" y="711"/>
                  </a:lnTo>
                  <a:lnTo>
                    <a:pt x="6" y="711"/>
                  </a:lnTo>
                  <a:lnTo>
                    <a:pt x="6" y="711"/>
                  </a:lnTo>
                  <a:lnTo>
                    <a:pt x="6" y="711"/>
                  </a:lnTo>
                  <a:lnTo>
                    <a:pt x="8" y="711"/>
                  </a:lnTo>
                  <a:lnTo>
                    <a:pt x="8" y="711"/>
                  </a:lnTo>
                  <a:lnTo>
                    <a:pt x="8" y="711"/>
                  </a:lnTo>
                  <a:lnTo>
                    <a:pt x="8" y="713"/>
                  </a:lnTo>
                  <a:lnTo>
                    <a:pt x="8" y="713"/>
                  </a:lnTo>
                  <a:lnTo>
                    <a:pt x="8" y="713"/>
                  </a:lnTo>
                  <a:lnTo>
                    <a:pt x="10" y="713"/>
                  </a:lnTo>
                  <a:lnTo>
                    <a:pt x="10" y="713"/>
                  </a:lnTo>
                  <a:lnTo>
                    <a:pt x="10" y="713"/>
                  </a:lnTo>
                  <a:lnTo>
                    <a:pt x="8" y="713"/>
                  </a:lnTo>
                  <a:lnTo>
                    <a:pt x="8" y="715"/>
                  </a:lnTo>
                  <a:lnTo>
                    <a:pt x="8" y="715"/>
                  </a:lnTo>
                  <a:lnTo>
                    <a:pt x="10" y="715"/>
                  </a:lnTo>
                  <a:lnTo>
                    <a:pt x="10" y="715"/>
                  </a:lnTo>
                  <a:lnTo>
                    <a:pt x="12" y="715"/>
                  </a:lnTo>
                  <a:lnTo>
                    <a:pt x="14" y="713"/>
                  </a:lnTo>
                  <a:lnTo>
                    <a:pt x="14" y="713"/>
                  </a:lnTo>
                  <a:close/>
                  <a:moveTo>
                    <a:pt x="188" y="844"/>
                  </a:moveTo>
                  <a:lnTo>
                    <a:pt x="188" y="844"/>
                  </a:lnTo>
                  <a:lnTo>
                    <a:pt x="186" y="842"/>
                  </a:lnTo>
                  <a:lnTo>
                    <a:pt x="186" y="842"/>
                  </a:lnTo>
                  <a:lnTo>
                    <a:pt x="186" y="842"/>
                  </a:lnTo>
                  <a:lnTo>
                    <a:pt x="186" y="842"/>
                  </a:lnTo>
                  <a:lnTo>
                    <a:pt x="186" y="842"/>
                  </a:lnTo>
                  <a:lnTo>
                    <a:pt x="186" y="842"/>
                  </a:lnTo>
                  <a:lnTo>
                    <a:pt x="186" y="842"/>
                  </a:lnTo>
                  <a:lnTo>
                    <a:pt x="186" y="840"/>
                  </a:lnTo>
                  <a:lnTo>
                    <a:pt x="184" y="842"/>
                  </a:lnTo>
                  <a:lnTo>
                    <a:pt x="184" y="842"/>
                  </a:lnTo>
                  <a:lnTo>
                    <a:pt x="184" y="842"/>
                  </a:lnTo>
                  <a:lnTo>
                    <a:pt x="182" y="842"/>
                  </a:lnTo>
                  <a:lnTo>
                    <a:pt x="182" y="842"/>
                  </a:lnTo>
                  <a:lnTo>
                    <a:pt x="182" y="842"/>
                  </a:lnTo>
                  <a:lnTo>
                    <a:pt x="180" y="842"/>
                  </a:lnTo>
                  <a:lnTo>
                    <a:pt x="180" y="842"/>
                  </a:lnTo>
                  <a:lnTo>
                    <a:pt x="180" y="842"/>
                  </a:lnTo>
                  <a:lnTo>
                    <a:pt x="180" y="842"/>
                  </a:lnTo>
                  <a:lnTo>
                    <a:pt x="180" y="844"/>
                  </a:lnTo>
                  <a:lnTo>
                    <a:pt x="180" y="844"/>
                  </a:lnTo>
                  <a:lnTo>
                    <a:pt x="180" y="844"/>
                  </a:lnTo>
                  <a:lnTo>
                    <a:pt x="180" y="844"/>
                  </a:lnTo>
                  <a:lnTo>
                    <a:pt x="180" y="844"/>
                  </a:lnTo>
                  <a:lnTo>
                    <a:pt x="180" y="846"/>
                  </a:lnTo>
                  <a:lnTo>
                    <a:pt x="180" y="846"/>
                  </a:lnTo>
                  <a:lnTo>
                    <a:pt x="180" y="846"/>
                  </a:lnTo>
                  <a:lnTo>
                    <a:pt x="180" y="848"/>
                  </a:lnTo>
                  <a:lnTo>
                    <a:pt x="182" y="848"/>
                  </a:lnTo>
                  <a:lnTo>
                    <a:pt x="184" y="848"/>
                  </a:lnTo>
                  <a:lnTo>
                    <a:pt x="184" y="848"/>
                  </a:lnTo>
                  <a:lnTo>
                    <a:pt x="186" y="848"/>
                  </a:lnTo>
                  <a:lnTo>
                    <a:pt x="186" y="848"/>
                  </a:lnTo>
                  <a:lnTo>
                    <a:pt x="186" y="848"/>
                  </a:lnTo>
                  <a:lnTo>
                    <a:pt x="188" y="846"/>
                  </a:lnTo>
                  <a:lnTo>
                    <a:pt x="188" y="846"/>
                  </a:lnTo>
                  <a:lnTo>
                    <a:pt x="188" y="846"/>
                  </a:lnTo>
                  <a:lnTo>
                    <a:pt x="188" y="846"/>
                  </a:lnTo>
                  <a:lnTo>
                    <a:pt x="188" y="846"/>
                  </a:lnTo>
                  <a:lnTo>
                    <a:pt x="188" y="846"/>
                  </a:lnTo>
                  <a:lnTo>
                    <a:pt x="188" y="844"/>
                  </a:lnTo>
                  <a:close/>
                  <a:moveTo>
                    <a:pt x="211" y="891"/>
                  </a:moveTo>
                  <a:lnTo>
                    <a:pt x="209" y="891"/>
                  </a:lnTo>
                  <a:lnTo>
                    <a:pt x="209" y="891"/>
                  </a:lnTo>
                  <a:lnTo>
                    <a:pt x="207" y="894"/>
                  </a:lnTo>
                  <a:lnTo>
                    <a:pt x="207" y="894"/>
                  </a:lnTo>
                  <a:lnTo>
                    <a:pt x="207" y="894"/>
                  </a:lnTo>
                  <a:lnTo>
                    <a:pt x="207" y="894"/>
                  </a:lnTo>
                  <a:lnTo>
                    <a:pt x="207" y="896"/>
                  </a:lnTo>
                  <a:lnTo>
                    <a:pt x="207" y="896"/>
                  </a:lnTo>
                  <a:lnTo>
                    <a:pt x="209" y="896"/>
                  </a:lnTo>
                  <a:lnTo>
                    <a:pt x="209" y="896"/>
                  </a:lnTo>
                  <a:lnTo>
                    <a:pt x="209" y="896"/>
                  </a:lnTo>
                  <a:lnTo>
                    <a:pt x="211" y="894"/>
                  </a:lnTo>
                  <a:lnTo>
                    <a:pt x="209" y="894"/>
                  </a:lnTo>
                  <a:lnTo>
                    <a:pt x="211" y="894"/>
                  </a:lnTo>
                  <a:lnTo>
                    <a:pt x="211" y="891"/>
                  </a:lnTo>
                  <a:close/>
                  <a:moveTo>
                    <a:pt x="143" y="834"/>
                  </a:moveTo>
                  <a:lnTo>
                    <a:pt x="143" y="834"/>
                  </a:lnTo>
                  <a:lnTo>
                    <a:pt x="141" y="834"/>
                  </a:lnTo>
                  <a:lnTo>
                    <a:pt x="141" y="834"/>
                  </a:lnTo>
                  <a:lnTo>
                    <a:pt x="141" y="834"/>
                  </a:lnTo>
                  <a:lnTo>
                    <a:pt x="141" y="832"/>
                  </a:lnTo>
                  <a:lnTo>
                    <a:pt x="139" y="832"/>
                  </a:lnTo>
                  <a:lnTo>
                    <a:pt x="139" y="832"/>
                  </a:lnTo>
                  <a:lnTo>
                    <a:pt x="139" y="834"/>
                  </a:lnTo>
                  <a:lnTo>
                    <a:pt x="141" y="834"/>
                  </a:lnTo>
                  <a:lnTo>
                    <a:pt x="141" y="834"/>
                  </a:lnTo>
                  <a:lnTo>
                    <a:pt x="141" y="836"/>
                  </a:lnTo>
                  <a:lnTo>
                    <a:pt x="141" y="836"/>
                  </a:lnTo>
                  <a:lnTo>
                    <a:pt x="141" y="836"/>
                  </a:lnTo>
                  <a:lnTo>
                    <a:pt x="141" y="838"/>
                  </a:lnTo>
                  <a:lnTo>
                    <a:pt x="143" y="838"/>
                  </a:lnTo>
                  <a:lnTo>
                    <a:pt x="143" y="838"/>
                  </a:lnTo>
                  <a:lnTo>
                    <a:pt x="143" y="838"/>
                  </a:lnTo>
                  <a:lnTo>
                    <a:pt x="143" y="836"/>
                  </a:lnTo>
                  <a:lnTo>
                    <a:pt x="143" y="834"/>
                  </a:lnTo>
                  <a:close/>
                  <a:moveTo>
                    <a:pt x="166" y="869"/>
                  </a:moveTo>
                  <a:lnTo>
                    <a:pt x="166" y="869"/>
                  </a:lnTo>
                  <a:lnTo>
                    <a:pt x="162" y="867"/>
                  </a:lnTo>
                  <a:lnTo>
                    <a:pt x="162" y="867"/>
                  </a:lnTo>
                  <a:lnTo>
                    <a:pt x="164" y="867"/>
                  </a:lnTo>
                  <a:lnTo>
                    <a:pt x="164" y="867"/>
                  </a:lnTo>
                  <a:lnTo>
                    <a:pt x="164" y="867"/>
                  </a:lnTo>
                  <a:lnTo>
                    <a:pt x="164" y="867"/>
                  </a:lnTo>
                  <a:lnTo>
                    <a:pt x="162" y="867"/>
                  </a:lnTo>
                  <a:lnTo>
                    <a:pt x="162" y="865"/>
                  </a:lnTo>
                  <a:lnTo>
                    <a:pt x="162" y="865"/>
                  </a:lnTo>
                  <a:lnTo>
                    <a:pt x="162" y="863"/>
                  </a:lnTo>
                  <a:lnTo>
                    <a:pt x="162" y="863"/>
                  </a:lnTo>
                  <a:lnTo>
                    <a:pt x="162" y="863"/>
                  </a:lnTo>
                  <a:lnTo>
                    <a:pt x="160" y="861"/>
                  </a:lnTo>
                  <a:lnTo>
                    <a:pt x="160" y="861"/>
                  </a:lnTo>
                  <a:lnTo>
                    <a:pt x="158" y="859"/>
                  </a:lnTo>
                  <a:lnTo>
                    <a:pt x="158" y="857"/>
                  </a:lnTo>
                  <a:lnTo>
                    <a:pt x="158" y="857"/>
                  </a:lnTo>
                  <a:lnTo>
                    <a:pt x="158" y="857"/>
                  </a:lnTo>
                  <a:lnTo>
                    <a:pt x="158" y="855"/>
                  </a:lnTo>
                  <a:lnTo>
                    <a:pt x="158" y="855"/>
                  </a:lnTo>
                  <a:lnTo>
                    <a:pt x="158" y="855"/>
                  </a:lnTo>
                  <a:lnTo>
                    <a:pt x="158" y="855"/>
                  </a:lnTo>
                  <a:lnTo>
                    <a:pt x="158" y="855"/>
                  </a:lnTo>
                  <a:lnTo>
                    <a:pt x="156" y="855"/>
                  </a:lnTo>
                  <a:lnTo>
                    <a:pt x="156" y="855"/>
                  </a:lnTo>
                  <a:lnTo>
                    <a:pt x="156" y="853"/>
                  </a:lnTo>
                  <a:lnTo>
                    <a:pt x="156" y="853"/>
                  </a:lnTo>
                  <a:lnTo>
                    <a:pt x="156" y="853"/>
                  </a:lnTo>
                  <a:lnTo>
                    <a:pt x="156" y="853"/>
                  </a:lnTo>
                  <a:lnTo>
                    <a:pt x="156" y="850"/>
                  </a:lnTo>
                  <a:lnTo>
                    <a:pt x="156" y="850"/>
                  </a:lnTo>
                  <a:lnTo>
                    <a:pt x="154" y="850"/>
                  </a:lnTo>
                  <a:lnTo>
                    <a:pt x="154" y="850"/>
                  </a:lnTo>
                  <a:lnTo>
                    <a:pt x="154" y="850"/>
                  </a:lnTo>
                  <a:lnTo>
                    <a:pt x="154" y="850"/>
                  </a:lnTo>
                  <a:lnTo>
                    <a:pt x="154" y="850"/>
                  </a:lnTo>
                  <a:lnTo>
                    <a:pt x="152" y="850"/>
                  </a:lnTo>
                  <a:lnTo>
                    <a:pt x="152" y="848"/>
                  </a:lnTo>
                  <a:lnTo>
                    <a:pt x="152" y="848"/>
                  </a:lnTo>
                  <a:lnTo>
                    <a:pt x="150" y="846"/>
                  </a:lnTo>
                  <a:lnTo>
                    <a:pt x="150" y="846"/>
                  </a:lnTo>
                  <a:lnTo>
                    <a:pt x="148" y="846"/>
                  </a:lnTo>
                  <a:lnTo>
                    <a:pt x="150" y="848"/>
                  </a:lnTo>
                  <a:lnTo>
                    <a:pt x="150" y="850"/>
                  </a:lnTo>
                  <a:lnTo>
                    <a:pt x="150" y="850"/>
                  </a:lnTo>
                  <a:lnTo>
                    <a:pt x="150" y="850"/>
                  </a:lnTo>
                  <a:lnTo>
                    <a:pt x="152" y="850"/>
                  </a:lnTo>
                  <a:lnTo>
                    <a:pt x="152" y="853"/>
                  </a:lnTo>
                  <a:lnTo>
                    <a:pt x="152" y="853"/>
                  </a:lnTo>
                  <a:lnTo>
                    <a:pt x="152" y="853"/>
                  </a:lnTo>
                  <a:lnTo>
                    <a:pt x="154" y="853"/>
                  </a:lnTo>
                  <a:lnTo>
                    <a:pt x="154" y="853"/>
                  </a:lnTo>
                  <a:lnTo>
                    <a:pt x="156" y="855"/>
                  </a:lnTo>
                  <a:lnTo>
                    <a:pt x="156" y="857"/>
                  </a:lnTo>
                  <a:lnTo>
                    <a:pt x="156" y="857"/>
                  </a:lnTo>
                  <a:lnTo>
                    <a:pt x="158" y="859"/>
                  </a:lnTo>
                  <a:lnTo>
                    <a:pt x="158" y="859"/>
                  </a:lnTo>
                  <a:lnTo>
                    <a:pt x="158" y="859"/>
                  </a:lnTo>
                  <a:lnTo>
                    <a:pt x="158" y="861"/>
                  </a:lnTo>
                  <a:lnTo>
                    <a:pt x="158" y="861"/>
                  </a:lnTo>
                  <a:lnTo>
                    <a:pt x="158" y="861"/>
                  </a:lnTo>
                  <a:lnTo>
                    <a:pt x="158" y="863"/>
                  </a:lnTo>
                  <a:lnTo>
                    <a:pt x="162" y="867"/>
                  </a:lnTo>
                  <a:lnTo>
                    <a:pt x="162" y="867"/>
                  </a:lnTo>
                  <a:lnTo>
                    <a:pt x="160" y="867"/>
                  </a:lnTo>
                  <a:lnTo>
                    <a:pt x="160" y="869"/>
                  </a:lnTo>
                  <a:lnTo>
                    <a:pt x="160" y="869"/>
                  </a:lnTo>
                  <a:lnTo>
                    <a:pt x="162" y="869"/>
                  </a:lnTo>
                  <a:lnTo>
                    <a:pt x="162" y="869"/>
                  </a:lnTo>
                  <a:lnTo>
                    <a:pt x="162" y="869"/>
                  </a:lnTo>
                  <a:lnTo>
                    <a:pt x="162" y="869"/>
                  </a:lnTo>
                  <a:lnTo>
                    <a:pt x="162" y="869"/>
                  </a:lnTo>
                  <a:lnTo>
                    <a:pt x="164" y="869"/>
                  </a:lnTo>
                  <a:lnTo>
                    <a:pt x="164" y="869"/>
                  </a:lnTo>
                  <a:lnTo>
                    <a:pt x="164" y="869"/>
                  </a:lnTo>
                  <a:lnTo>
                    <a:pt x="164" y="869"/>
                  </a:lnTo>
                  <a:lnTo>
                    <a:pt x="164" y="869"/>
                  </a:lnTo>
                  <a:lnTo>
                    <a:pt x="166" y="869"/>
                  </a:lnTo>
                  <a:lnTo>
                    <a:pt x="166" y="869"/>
                  </a:lnTo>
                  <a:lnTo>
                    <a:pt x="166" y="871"/>
                  </a:lnTo>
                  <a:lnTo>
                    <a:pt x="166" y="871"/>
                  </a:lnTo>
                  <a:lnTo>
                    <a:pt x="166" y="871"/>
                  </a:lnTo>
                  <a:lnTo>
                    <a:pt x="166" y="871"/>
                  </a:lnTo>
                  <a:lnTo>
                    <a:pt x="166" y="871"/>
                  </a:lnTo>
                  <a:lnTo>
                    <a:pt x="168" y="871"/>
                  </a:lnTo>
                  <a:lnTo>
                    <a:pt x="168" y="871"/>
                  </a:lnTo>
                  <a:lnTo>
                    <a:pt x="168" y="871"/>
                  </a:lnTo>
                  <a:lnTo>
                    <a:pt x="166" y="869"/>
                  </a:lnTo>
                  <a:close/>
                  <a:moveTo>
                    <a:pt x="129" y="812"/>
                  </a:moveTo>
                  <a:lnTo>
                    <a:pt x="129" y="812"/>
                  </a:lnTo>
                  <a:lnTo>
                    <a:pt x="127" y="812"/>
                  </a:lnTo>
                  <a:lnTo>
                    <a:pt x="127" y="812"/>
                  </a:lnTo>
                  <a:lnTo>
                    <a:pt x="125" y="812"/>
                  </a:lnTo>
                  <a:lnTo>
                    <a:pt x="123" y="814"/>
                  </a:lnTo>
                  <a:lnTo>
                    <a:pt x="123" y="816"/>
                  </a:lnTo>
                  <a:lnTo>
                    <a:pt x="123" y="816"/>
                  </a:lnTo>
                  <a:lnTo>
                    <a:pt x="121" y="816"/>
                  </a:lnTo>
                  <a:lnTo>
                    <a:pt x="121" y="816"/>
                  </a:lnTo>
                  <a:lnTo>
                    <a:pt x="121" y="816"/>
                  </a:lnTo>
                  <a:lnTo>
                    <a:pt x="121" y="816"/>
                  </a:lnTo>
                  <a:lnTo>
                    <a:pt x="119" y="816"/>
                  </a:lnTo>
                  <a:lnTo>
                    <a:pt x="119" y="816"/>
                  </a:lnTo>
                  <a:lnTo>
                    <a:pt x="119" y="816"/>
                  </a:lnTo>
                  <a:lnTo>
                    <a:pt x="117" y="816"/>
                  </a:lnTo>
                  <a:lnTo>
                    <a:pt x="117" y="816"/>
                  </a:lnTo>
                  <a:lnTo>
                    <a:pt x="117" y="816"/>
                  </a:lnTo>
                  <a:lnTo>
                    <a:pt x="115" y="816"/>
                  </a:lnTo>
                  <a:lnTo>
                    <a:pt x="115" y="816"/>
                  </a:lnTo>
                  <a:lnTo>
                    <a:pt x="113" y="816"/>
                  </a:lnTo>
                  <a:lnTo>
                    <a:pt x="113" y="818"/>
                  </a:lnTo>
                  <a:lnTo>
                    <a:pt x="113" y="820"/>
                  </a:lnTo>
                  <a:lnTo>
                    <a:pt x="113" y="820"/>
                  </a:lnTo>
                  <a:lnTo>
                    <a:pt x="113" y="820"/>
                  </a:lnTo>
                  <a:lnTo>
                    <a:pt x="113" y="820"/>
                  </a:lnTo>
                  <a:lnTo>
                    <a:pt x="113" y="822"/>
                  </a:lnTo>
                  <a:lnTo>
                    <a:pt x="113" y="822"/>
                  </a:lnTo>
                  <a:lnTo>
                    <a:pt x="115" y="820"/>
                  </a:lnTo>
                  <a:lnTo>
                    <a:pt x="115" y="820"/>
                  </a:lnTo>
                  <a:lnTo>
                    <a:pt x="117" y="818"/>
                  </a:lnTo>
                  <a:lnTo>
                    <a:pt x="117" y="818"/>
                  </a:lnTo>
                  <a:lnTo>
                    <a:pt x="117" y="818"/>
                  </a:lnTo>
                  <a:lnTo>
                    <a:pt x="119" y="818"/>
                  </a:lnTo>
                  <a:lnTo>
                    <a:pt x="121" y="818"/>
                  </a:lnTo>
                  <a:lnTo>
                    <a:pt x="119" y="818"/>
                  </a:lnTo>
                  <a:lnTo>
                    <a:pt x="119" y="820"/>
                  </a:lnTo>
                  <a:lnTo>
                    <a:pt x="121" y="820"/>
                  </a:lnTo>
                  <a:lnTo>
                    <a:pt x="121" y="818"/>
                  </a:lnTo>
                  <a:lnTo>
                    <a:pt x="121" y="818"/>
                  </a:lnTo>
                  <a:lnTo>
                    <a:pt x="121" y="818"/>
                  </a:lnTo>
                  <a:lnTo>
                    <a:pt x="123" y="820"/>
                  </a:lnTo>
                  <a:lnTo>
                    <a:pt x="123" y="820"/>
                  </a:lnTo>
                  <a:lnTo>
                    <a:pt x="123" y="820"/>
                  </a:lnTo>
                  <a:lnTo>
                    <a:pt x="123" y="820"/>
                  </a:lnTo>
                  <a:lnTo>
                    <a:pt x="123" y="820"/>
                  </a:lnTo>
                  <a:lnTo>
                    <a:pt x="123" y="820"/>
                  </a:lnTo>
                  <a:lnTo>
                    <a:pt x="123" y="820"/>
                  </a:lnTo>
                  <a:lnTo>
                    <a:pt x="125" y="820"/>
                  </a:lnTo>
                  <a:lnTo>
                    <a:pt x="125" y="820"/>
                  </a:lnTo>
                  <a:lnTo>
                    <a:pt x="125" y="820"/>
                  </a:lnTo>
                  <a:lnTo>
                    <a:pt x="125" y="820"/>
                  </a:lnTo>
                  <a:lnTo>
                    <a:pt x="123" y="818"/>
                  </a:lnTo>
                  <a:lnTo>
                    <a:pt x="123" y="818"/>
                  </a:lnTo>
                  <a:lnTo>
                    <a:pt x="123" y="818"/>
                  </a:lnTo>
                  <a:lnTo>
                    <a:pt x="125" y="818"/>
                  </a:lnTo>
                  <a:lnTo>
                    <a:pt x="125" y="816"/>
                  </a:lnTo>
                  <a:lnTo>
                    <a:pt x="127" y="816"/>
                  </a:lnTo>
                  <a:lnTo>
                    <a:pt x="127" y="816"/>
                  </a:lnTo>
                  <a:lnTo>
                    <a:pt x="127" y="816"/>
                  </a:lnTo>
                  <a:lnTo>
                    <a:pt x="127" y="814"/>
                  </a:lnTo>
                  <a:lnTo>
                    <a:pt x="129" y="814"/>
                  </a:lnTo>
                  <a:lnTo>
                    <a:pt x="129" y="814"/>
                  </a:lnTo>
                  <a:lnTo>
                    <a:pt x="129" y="814"/>
                  </a:lnTo>
                  <a:lnTo>
                    <a:pt x="129" y="814"/>
                  </a:lnTo>
                  <a:lnTo>
                    <a:pt x="129" y="814"/>
                  </a:lnTo>
                  <a:lnTo>
                    <a:pt x="129" y="812"/>
                  </a:lnTo>
                  <a:lnTo>
                    <a:pt x="129" y="812"/>
                  </a:lnTo>
                  <a:close/>
                  <a:moveTo>
                    <a:pt x="535" y="492"/>
                  </a:moveTo>
                  <a:lnTo>
                    <a:pt x="535" y="492"/>
                  </a:lnTo>
                  <a:lnTo>
                    <a:pt x="535" y="492"/>
                  </a:lnTo>
                  <a:lnTo>
                    <a:pt x="535" y="492"/>
                  </a:lnTo>
                  <a:lnTo>
                    <a:pt x="535" y="490"/>
                  </a:lnTo>
                  <a:lnTo>
                    <a:pt x="535" y="490"/>
                  </a:lnTo>
                  <a:lnTo>
                    <a:pt x="535" y="490"/>
                  </a:lnTo>
                  <a:lnTo>
                    <a:pt x="535" y="490"/>
                  </a:lnTo>
                  <a:lnTo>
                    <a:pt x="535" y="488"/>
                  </a:lnTo>
                  <a:lnTo>
                    <a:pt x="535" y="488"/>
                  </a:lnTo>
                  <a:lnTo>
                    <a:pt x="535" y="488"/>
                  </a:lnTo>
                  <a:lnTo>
                    <a:pt x="533" y="490"/>
                  </a:lnTo>
                  <a:lnTo>
                    <a:pt x="533" y="490"/>
                  </a:lnTo>
                  <a:lnTo>
                    <a:pt x="533" y="490"/>
                  </a:lnTo>
                  <a:lnTo>
                    <a:pt x="535" y="492"/>
                  </a:lnTo>
                  <a:close/>
                  <a:moveTo>
                    <a:pt x="522" y="906"/>
                  </a:moveTo>
                  <a:lnTo>
                    <a:pt x="522" y="906"/>
                  </a:lnTo>
                  <a:lnTo>
                    <a:pt x="522" y="906"/>
                  </a:lnTo>
                  <a:lnTo>
                    <a:pt x="522" y="906"/>
                  </a:lnTo>
                  <a:lnTo>
                    <a:pt x="522" y="906"/>
                  </a:lnTo>
                  <a:lnTo>
                    <a:pt x="522" y="906"/>
                  </a:lnTo>
                  <a:lnTo>
                    <a:pt x="520" y="906"/>
                  </a:lnTo>
                  <a:lnTo>
                    <a:pt x="520" y="906"/>
                  </a:lnTo>
                  <a:lnTo>
                    <a:pt x="520" y="906"/>
                  </a:lnTo>
                  <a:lnTo>
                    <a:pt x="520" y="904"/>
                  </a:lnTo>
                  <a:lnTo>
                    <a:pt x="520" y="904"/>
                  </a:lnTo>
                  <a:lnTo>
                    <a:pt x="518" y="904"/>
                  </a:lnTo>
                  <a:lnTo>
                    <a:pt x="518" y="904"/>
                  </a:lnTo>
                  <a:lnTo>
                    <a:pt x="516" y="904"/>
                  </a:lnTo>
                  <a:lnTo>
                    <a:pt x="516" y="906"/>
                  </a:lnTo>
                  <a:lnTo>
                    <a:pt x="516" y="906"/>
                  </a:lnTo>
                  <a:lnTo>
                    <a:pt x="514" y="906"/>
                  </a:lnTo>
                  <a:lnTo>
                    <a:pt x="514" y="904"/>
                  </a:lnTo>
                  <a:lnTo>
                    <a:pt x="514" y="904"/>
                  </a:lnTo>
                  <a:lnTo>
                    <a:pt x="512" y="906"/>
                  </a:lnTo>
                  <a:lnTo>
                    <a:pt x="512" y="906"/>
                  </a:lnTo>
                  <a:lnTo>
                    <a:pt x="512" y="906"/>
                  </a:lnTo>
                  <a:lnTo>
                    <a:pt x="512" y="908"/>
                  </a:lnTo>
                  <a:lnTo>
                    <a:pt x="512" y="908"/>
                  </a:lnTo>
                  <a:lnTo>
                    <a:pt x="512" y="908"/>
                  </a:lnTo>
                  <a:lnTo>
                    <a:pt x="512" y="908"/>
                  </a:lnTo>
                  <a:lnTo>
                    <a:pt x="514" y="908"/>
                  </a:lnTo>
                  <a:lnTo>
                    <a:pt x="514" y="908"/>
                  </a:lnTo>
                  <a:lnTo>
                    <a:pt x="514" y="908"/>
                  </a:lnTo>
                  <a:lnTo>
                    <a:pt x="516" y="908"/>
                  </a:lnTo>
                  <a:lnTo>
                    <a:pt x="516" y="908"/>
                  </a:lnTo>
                  <a:lnTo>
                    <a:pt x="518" y="908"/>
                  </a:lnTo>
                  <a:lnTo>
                    <a:pt x="518" y="910"/>
                  </a:lnTo>
                  <a:lnTo>
                    <a:pt x="520" y="910"/>
                  </a:lnTo>
                  <a:lnTo>
                    <a:pt x="520" y="910"/>
                  </a:lnTo>
                  <a:lnTo>
                    <a:pt x="520" y="910"/>
                  </a:lnTo>
                  <a:lnTo>
                    <a:pt x="520" y="910"/>
                  </a:lnTo>
                  <a:lnTo>
                    <a:pt x="520" y="910"/>
                  </a:lnTo>
                  <a:lnTo>
                    <a:pt x="522" y="908"/>
                  </a:lnTo>
                  <a:lnTo>
                    <a:pt x="522" y="908"/>
                  </a:lnTo>
                  <a:lnTo>
                    <a:pt x="522" y="908"/>
                  </a:lnTo>
                  <a:lnTo>
                    <a:pt x="522" y="908"/>
                  </a:lnTo>
                  <a:lnTo>
                    <a:pt x="522" y="906"/>
                  </a:lnTo>
                  <a:lnTo>
                    <a:pt x="522" y="906"/>
                  </a:lnTo>
                  <a:lnTo>
                    <a:pt x="522" y="906"/>
                  </a:lnTo>
                  <a:close/>
                  <a:moveTo>
                    <a:pt x="524" y="898"/>
                  </a:moveTo>
                  <a:lnTo>
                    <a:pt x="524" y="898"/>
                  </a:lnTo>
                  <a:lnTo>
                    <a:pt x="522" y="898"/>
                  </a:lnTo>
                  <a:lnTo>
                    <a:pt x="522" y="898"/>
                  </a:lnTo>
                  <a:lnTo>
                    <a:pt x="522" y="900"/>
                  </a:lnTo>
                  <a:lnTo>
                    <a:pt x="522" y="900"/>
                  </a:lnTo>
                  <a:lnTo>
                    <a:pt x="522" y="900"/>
                  </a:lnTo>
                  <a:lnTo>
                    <a:pt x="522" y="902"/>
                  </a:lnTo>
                  <a:lnTo>
                    <a:pt x="522" y="902"/>
                  </a:lnTo>
                  <a:lnTo>
                    <a:pt x="522" y="902"/>
                  </a:lnTo>
                  <a:lnTo>
                    <a:pt x="522" y="902"/>
                  </a:lnTo>
                  <a:lnTo>
                    <a:pt x="524" y="900"/>
                  </a:lnTo>
                  <a:lnTo>
                    <a:pt x="524" y="900"/>
                  </a:lnTo>
                  <a:lnTo>
                    <a:pt x="524" y="900"/>
                  </a:lnTo>
                  <a:lnTo>
                    <a:pt x="524" y="898"/>
                  </a:lnTo>
                  <a:lnTo>
                    <a:pt x="524" y="898"/>
                  </a:lnTo>
                  <a:lnTo>
                    <a:pt x="524" y="898"/>
                  </a:lnTo>
                  <a:close/>
                  <a:moveTo>
                    <a:pt x="567" y="719"/>
                  </a:moveTo>
                  <a:lnTo>
                    <a:pt x="567" y="719"/>
                  </a:lnTo>
                  <a:lnTo>
                    <a:pt x="567" y="719"/>
                  </a:lnTo>
                  <a:lnTo>
                    <a:pt x="569" y="721"/>
                  </a:lnTo>
                  <a:lnTo>
                    <a:pt x="569" y="721"/>
                  </a:lnTo>
                  <a:lnTo>
                    <a:pt x="571" y="721"/>
                  </a:lnTo>
                  <a:lnTo>
                    <a:pt x="571" y="719"/>
                  </a:lnTo>
                  <a:lnTo>
                    <a:pt x="573" y="719"/>
                  </a:lnTo>
                  <a:lnTo>
                    <a:pt x="573" y="719"/>
                  </a:lnTo>
                  <a:lnTo>
                    <a:pt x="571" y="717"/>
                  </a:lnTo>
                  <a:lnTo>
                    <a:pt x="571" y="717"/>
                  </a:lnTo>
                  <a:lnTo>
                    <a:pt x="571" y="717"/>
                  </a:lnTo>
                  <a:lnTo>
                    <a:pt x="569" y="717"/>
                  </a:lnTo>
                  <a:lnTo>
                    <a:pt x="567" y="715"/>
                  </a:lnTo>
                  <a:lnTo>
                    <a:pt x="565" y="715"/>
                  </a:lnTo>
                  <a:lnTo>
                    <a:pt x="565" y="717"/>
                  </a:lnTo>
                  <a:lnTo>
                    <a:pt x="567" y="719"/>
                  </a:lnTo>
                  <a:close/>
                  <a:moveTo>
                    <a:pt x="514" y="902"/>
                  </a:moveTo>
                  <a:lnTo>
                    <a:pt x="512" y="902"/>
                  </a:lnTo>
                  <a:lnTo>
                    <a:pt x="512" y="902"/>
                  </a:lnTo>
                  <a:lnTo>
                    <a:pt x="510" y="900"/>
                  </a:lnTo>
                  <a:lnTo>
                    <a:pt x="510" y="900"/>
                  </a:lnTo>
                  <a:lnTo>
                    <a:pt x="510" y="902"/>
                  </a:lnTo>
                  <a:lnTo>
                    <a:pt x="510" y="902"/>
                  </a:lnTo>
                  <a:lnTo>
                    <a:pt x="510" y="902"/>
                  </a:lnTo>
                  <a:lnTo>
                    <a:pt x="510" y="902"/>
                  </a:lnTo>
                  <a:lnTo>
                    <a:pt x="510" y="904"/>
                  </a:lnTo>
                  <a:lnTo>
                    <a:pt x="510" y="904"/>
                  </a:lnTo>
                  <a:lnTo>
                    <a:pt x="510" y="904"/>
                  </a:lnTo>
                  <a:lnTo>
                    <a:pt x="512" y="904"/>
                  </a:lnTo>
                  <a:lnTo>
                    <a:pt x="512" y="904"/>
                  </a:lnTo>
                  <a:lnTo>
                    <a:pt x="514" y="902"/>
                  </a:lnTo>
                  <a:close/>
                  <a:moveTo>
                    <a:pt x="510" y="908"/>
                  </a:moveTo>
                  <a:lnTo>
                    <a:pt x="508" y="908"/>
                  </a:lnTo>
                  <a:lnTo>
                    <a:pt x="508" y="908"/>
                  </a:lnTo>
                  <a:lnTo>
                    <a:pt x="508" y="908"/>
                  </a:lnTo>
                  <a:lnTo>
                    <a:pt x="508" y="906"/>
                  </a:lnTo>
                  <a:lnTo>
                    <a:pt x="506" y="906"/>
                  </a:lnTo>
                  <a:lnTo>
                    <a:pt x="506" y="906"/>
                  </a:lnTo>
                  <a:lnTo>
                    <a:pt x="506" y="908"/>
                  </a:lnTo>
                  <a:lnTo>
                    <a:pt x="506" y="908"/>
                  </a:lnTo>
                  <a:lnTo>
                    <a:pt x="506" y="908"/>
                  </a:lnTo>
                  <a:lnTo>
                    <a:pt x="506" y="908"/>
                  </a:lnTo>
                  <a:lnTo>
                    <a:pt x="506" y="910"/>
                  </a:lnTo>
                  <a:lnTo>
                    <a:pt x="508" y="910"/>
                  </a:lnTo>
                  <a:lnTo>
                    <a:pt x="510" y="910"/>
                  </a:lnTo>
                  <a:lnTo>
                    <a:pt x="510" y="910"/>
                  </a:lnTo>
                  <a:lnTo>
                    <a:pt x="510" y="910"/>
                  </a:lnTo>
                  <a:lnTo>
                    <a:pt x="510" y="910"/>
                  </a:lnTo>
                  <a:lnTo>
                    <a:pt x="510" y="908"/>
                  </a:lnTo>
                  <a:lnTo>
                    <a:pt x="510" y="908"/>
                  </a:lnTo>
                  <a:close/>
                  <a:moveTo>
                    <a:pt x="555" y="684"/>
                  </a:moveTo>
                  <a:lnTo>
                    <a:pt x="555" y="684"/>
                  </a:lnTo>
                  <a:lnTo>
                    <a:pt x="557" y="684"/>
                  </a:lnTo>
                  <a:lnTo>
                    <a:pt x="557" y="684"/>
                  </a:lnTo>
                  <a:lnTo>
                    <a:pt x="557" y="687"/>
                  </a:lnTo>
                  <a:lnTo>
                    <a:pt x="559" y="687"/>
                  </a:lnTo>
                  <a:lnTo>
                    <a:pt x="559" y="687"/>
                  </a:lnTo>
                  <a:lnTo>
                    <a:pt x="557" y="687"/>
                  </a:lnTo>
                  <a:lnTo>
                    <a:pt x="557" y="689"/>
                  </a:lnTo>
                  <a:lnTo>
                    <a:pt x="557" y="689"/>
                  </a:lnTo>
                  <a:lnTo>
                    <a:pt x="559" y="687"/>
                  </a:lnTo>
                  <a:lnTo>
                    <a:pt x="559" y="687"/>
                  </a:lnTo>
                  <a:lnTo>
                    <a:pt x="559" y="687"/>
                  </a:lnTo>
                  <a:lnTo>
                    <a:pt x="561" y="687"/>
                  </a:lnTo>
                  <a:lnTo>
                    <a:pt x="561" y="687"/>
                  </a:lnTo>
                  <a:lnTo>
                    <a:pt x="561" y="684"/>
                  </a:lnTo>
                  <a:lnTo>
                    <a:pt x="561" y="684"/>
                  </a:lnTo>
                  <a:lnTo>
                    <a:pt x="561" y="684"/>
                  </a:lnTo>
                  <a:lnTo>
                    <a:pt x="563" y="684"/>
                  </a:lnTo>
                  <a:lnTo>
                    <a:pt x="563" y="684"/>
                  </a:lnTo>
                  <a:lnTo>
                    <a:pt x="563" y="682"/>
                  </a:lnTo>
                  <a:lnTo>
                    <a:pt x="563" y="682"/>
                  </a:lnTo>
                  <a:lnTo>
                    <a:pt x="563" y="682"/>
                  </a:lnTo>
                  <a:lnTo>
                    <a:pt x="563" y="682"/>
                  </a:lnTo>
                  <a:lnTo>
                    <a:pt x="563" y="682"/>
                  </a:lnTo>
                  <a:lnTo>
                    <a:pt x="563" y="682"/>
                  </a:lnTo>
                  <a:lnTo>
                    <a:pt x="559" y="682"/>
                  </a:lnTo>
                  <a:lnTo>
                    <a:pt x="559" y="682"/>
                  </a:lnTo>
                  <a:lnTo>
                    <a:pt x="557" y="682"/>
                  </a:lnTo>
                  <a:lnTo>
                    <a:pt x="557" y="682"/>
                  </a:lnTo>
                  <a:lnTo>
                    <a:pt x="557" y="682"/>
                  </a:lnTo>
                  <a:lnTo>
                    <a:pt x="557" y="682"/>
                  </a:lnTo>
                  <a:lnTo>
                    <a:pt x="555" y="682"/>
                  </a:lnTo>
                  <a:lnTo>
                    <a:pt x="555" y="682"/>
                  </a:lnTo>
                  <a:lnTo>
                    <a:pt x="555" y="682"/>
                  </a:lnTo>
                  <a:lnTo>
                    <a:pt x="555" y="684"/>
                  </a:lnTo>
                  <a:lnTo>
                    <a:pt x="555" y="684"/>
                  </a:lnTo>
                  <a:lnTo>
                    <a:pt x="555" y="684"/>
                  </a:lnTo>
                  <a:close/>
                  <a:moveTo>
                    <a:pt x="492" y="908"/>
                  </a:moveTo>
                  <a:lnTo>
                    <a:pt x="492" y="908"/>
                  </a:lnTo>
                  <a:lnTo>
                    <a:pt x="492" y="908"/>
                  </a:lnTo>
                  <a:lnTo>
                    <a:pt x="492" y="908"/>
                  </a:lnTo>
                  <a:lnTo>
                    <a:pt x="492" y="908"/>
                  </a:lnTo>
                  <a:lnTo>
                    <a:pt x="490" y="908"/>
                  </a:lnTo>
                  <a:lnTo>
                    <a:pt x="490" y="908"/>
                  </a:lnTo>
                  <a:lnTo>
                    <a:pt x="490" y="908"/>
                  </a:lnTo>
                  <a:lnTo>
                    <a:pt x="490" y="908"/>
                  </a:lnTo>
                  <a:lnTo>
                    <a:pt x="487" y="908"/>
                  </a:lnTo>
                  <a:lnTo>
                    <a:pt x="487" y="908"/>
                  </a:lnTo>
                  <a:lnTo>
                    <a:pt x="487" y="908"/>
                  </a:lnTo>
                  <a:lnTo>
                    <a:pt x="487" y="908"/>
                  </a:lnTo>
                  <a:lnTo>
                    <a:pt x="487" y="908"/>
                  </a:lnTo>
                  <a:lnTo>
                    <a:pt x="487" y="908"/>
                  </a:lnTo>
                  <a:lnTo>
                    <a:pt x="483" y="910"/>
                  </a:lnTo>
                  <a:lnTo>
                    <a:pt x="483" y="912"/>
                  </a:lnTo>
                  <a:lnTo>
                    <a:pt x="483" y="914"/>
                  </a:lnTo>
                  <a:lnTo>
                    <a:pt x="483" y="914"/>
                  </a:lnTo>
                  <a:lnTo>
                    <a:pt x="483" y="914"/>
                  </a:lnTo>
                  <a:lnTo>
                    <a:pt x="483" y="914"/>
                  </a:lnTo>
                  <a:lnTo>
                    <a:pt x="485" y="914"/>
                  </a:lnTo>
                  <a:lnTo>
                    <a:pt x="485" y="914"/>
                  </a:lnTo>
                  <a:lnTo>
                    <a:pt x="485" y="912"/>
                  </a:lnTo>
                  <a:lnTo>
                    <a:pt x="487" y="912"/>
                  </a:lnTo>
                  <a:lnTo>
                    <a:pt x="490" y="912"/>
                  </a:lnTo>
                  <a:lnTo>
                    <a:pt x="490" y="914"/>
                  </a:lnTo>
                  <a:lnTo>
                    <a:pt x="490" y="912"/>
                  </a:lnTo>
                  <a:lnTo>
                    <a:pt x="492" y="912"/>
                  </a:lnTo>
                  <a:lnTo>
                    <a:pt x="492" y="910"/>
                  </a:lnTo>
                  <a:lnTo>
                    <a:pt x="494" y="910"/>
                  </a:lnTo>
                  <a:lnTo>
                    <a:pt x="494" y="910"/>
                  </a:lnTo>
                  <a:lnTo>
                    <a:pt x="494" y="910"/>
                  </a:lnTo>
                  <a:lnTo>
                    <a:pt x="494" y="910"/>
                  </a:lnTo>
                  <a:lnTo>
                    <a:pt x="492" y="908"/>
                  </a:lnTo>
                  <a:close/>
                  <a:moveTo>
                    <a:pt x="584" y="891"/>
                  </a:moveTo>
                  <a:lnTo>
                    <a:pt x="584" y="891"/>
                  </a:lnTo>
                  <a:lnTo>
                    <a:pt x="584" y="891"/>
                  </a:lnTo>
                  <a:lnTo>
                    <a:pt x="584" y="891"/>
                  </a:lnTo>
                  <a:lnTo>
                    <a:pt x="584" y="891"/>
                  </a:lnTo>
                  <a:lnTo>
                    <a:pt x="586" y="889"/>
                  </a:lnTo>
                  <a:lnTo>
                    <a:pt x="586" y="887"/>
                  </a:lnTo>
                  <a:lnTo>
                    <a:pt x="588" y="887"/>
                  </a:lnTo>
                  <a:lnTo>
                    <a:pt x="588" y="885"/>
                  </a:lnTo>
                  <a:lnTo>
                    <a:pt x="586" y="885"/>
                  </a:lnTo>
                  <a:lnTo>
                    <a:pt x="584" y="885"/>
                  </a:lnTo>
                  <a:lnTo>
                    <a:pt x="584" y="885"/>
                  </a:lnTo>
                  <a:lnTo>
                    <a:pt x="582" y="885"/>
                  </a:lnTo>
                  <a:lnTo>
                    <a:pt x="582" y="883"/>
                  </a:lnTo>
                  <a:lnTo>
                    <a:pt x="582" y="883"/>
                  </a:lnTo>
                  <a:lnTo>
                    <a:pt x="580" y="883"/>
                  </a:lnTo>
                  <a:lnTo>
                    <a:pt x="580" y="883"/>
                  </a:lnTo>
                  <a:lnTo>
                    <a:pt x="578" y="883"/>
                  </a:lnTo>
                  <a:lnTo>
                    <a:pt x="578" y="883"/>
                  </a:lnTo>
                  <a:lnTo>
                    <a:pt x="576" y="883"/>
                  </a:lnTo>
                  <a:lnTo>
                    <a:pt x="573" y="883"/>
                  </a:lnTo>
                  <a:lnTo>
                    <a:pt x="573" y="883"/>
                  </a:lnTo>
                  <a:lnTo>
                    <a:pt x="571" y="885"/>
                  </a:lnTo>
                  <a:lnTo>
                    <a:pt x="569" y="885"/>
                  </a:lnTo>
                  <a:lnTo>
                    <a:pt x="569" y="885"/>
                  </a:lnTo>
                  <a:lnTo>
                    <a:pt x="569" y="885"/>
                  </a:lnTo>
                  <a:lnTo>
                    <a:pt x="567" y="887"/>
                  </a:lnTo>
                  <a:lnTo>
                    <a:pt x="567" y="887"/>
                  </a:lnTo>
                  <a:lnTo>
                    <a:pt x="567" y="887"/>
                  </a:lnTo>
                  <a:lnTo>
                    <a:pt x="567" y="889"/>
                  </a:lnTo>
                  <a:lnTo>
                    <a:pt x="567" y="889"/>
                  </a:lnTo>
                  <a:lnTo>
                    <a:pt x="567" y="889"/>
                  </a:lnTo>
                  <a:lnTo>
                    <a:pt x="567" y="891"/>
                  </a:lnTo>
                  <a:lnTo>
                    <a:pt x="567" y="891"/>
                  </a:lnTo>
                  <a:lnTo>
                    <a:pt x="565" y="891"/>
                  </a:lnTo>
                  <a:lnTo>
                    <a:pt x="565" y="891"/>
                  </a:lnTo>
                  <a:lnTo>
                    <a:pt x="567" y="891"/>
                  </a:lnTo>
                  <a:lnTo>
                    <a:pt x="567" y="891"/>
                  </a:lnTo>
                  <a:lnTo>
                    <a:pt x="567" y="894"/>
                  </a:lnTo>
                  <a:lnTo>
                    <a:pt x="567" y="894"/>
                  </a:lnTo>
                  <a:lnTo>
                    <a:pt x="567" y="894"/>
                  </a:lnTo>
                  <a:lnTo>
                    <a:pt x="567" y="894"/>
                  </a:lnTo>
                  <a:lnTo>
                    <a:pt x="567" y="894"/>
                  </a:lnTo>
                  <a:lnTo>
                    <a:pt x="567" y="896"/>
                  </a:lnTo>
                  <a:lnTo>
                    <a:pt x="567" y="896"/>
                  </a:lnTo>
                  <a:lnTo>
                    <a:pt x="565" y="896"/>
                  </a:lnTo>
                  <a:lnTo>
                    <a:pt x="565" y="896"/>
                  </a:lnTo>
                  <a:lnTo>
                    <a:pt x="565" y="896"/>
                  </a:lnTo>
                  <a:lnTo>
                    <a:pt x="565" y="896"/>
                  </a:lnTo>
                  <a:lnTo>
                    <a:pt x="565" y="894"/>
                  </a:lnTo>
                  <a:lnTo>
                    <a:pt x="565" y="894"/>
                  </a:lnTo>
                  <a:lnTo>
                    <a:pt x="563" y="894"/>
                  </a:lnTo>
                  <a:lnTo>
                    <a:pt x="563" y="894"/>
                  </a:lnTo>
                  <a:lnTo>
                    <a:pt x="563" y="894"/>
                  </a:lnTo>
                  <a:lnTo>
                    <a:pt x="563" y="896"/>
                  </a:lnTo>
                  <a:lnTo>
                    <a:pt x="561" y="896"/>
                  </a:lnTo>
                  <a:lnTo>
                    <a:pt x="561" y="896"/>
                  </a:lnTo>
                  <a:lnTo>
                    <a:pt x="561" y="896"/>
                  </a:lnTo>
                  <a:lnTo>
                    <a:pt x="561" y="894"/>
                  </a:lnTo>
                  <a:lnTo>
                    <a:pt x="559" y="894"/>
                  </a:lnTo>
                  <a:lnTo>
                    <a:pt x="559" y="894"/>
                  </a:lnTo>
                  <a:lnTo>
                    <a:pt x="559" y="894"/>
                  </a:lnTo>
                  <a:lnTo>
                    <a:pt x="559" y="894"/>
                  </a:lnTo>
                  <a:lnTo>
                    <a:pt x="557" y="896"/>
                  </a:lnTo>
                  <a:lnTo>
                    <a:pt x="557" y="896"/>
                  </a:lnTo>
                  <a:lnTo>
                    <a:pt x="555" y="896"/>
                  </a:lnTo>
                  <a:lnTo>
                    <a:pt x="555" y="898"/>
                  </a:lnTo>
                  <a:lnTo>
                    <a:pt x="553" y="898"/>
                  </a:lnTo>
                  <a:lnTo>
                    <a:pt x="553" y="898"/>
                  </a:lnTo>
                  <a:lnTo>
                    <a:pt x="553" y="900"/>
                  </a:lnTo>
                  <a:lnTo>
                    <a:pt x="553" y="900"/>
                  </a:lnTo>
                  <a:lnTo>
                    <a:pt x="553" y="902"/>
                  </a:lnTo>
                  <a:lnTo>
                    <a:pt x="553" y="902"/>
                  </a:lnTo>
                  <a:lnTo>
                    <a:pt x="551" y="904"/>
                  </a:lnTo>
                  <a:lnTo>
                    <a:pt x="551" y="906"/>
                  </a:lnTo>
                  <a:lnTo>
                    <a:pt x="549" y="904"/>
                  </a:lnTo>
                  <a:lnTo>
                    <a:pt x="549" y="906"/>
                  </a:lnTo>
                  <a:lnTo>
                    <a:pt x="549" y="908"/>
                  </a:lnTo>
                  <a:lnTo>
                    <a:pt x="549" y="908"/>
                  </a:lnTo>
                  <a:lnTo>
                    <a:pt x="547" y="908"/>
                  </a:lnTo>
                  <a:lnTo>
                    <a:pt x="547" y="908"/>
                  </a:lnTo>
                  <a:lnTo>
                    <a:pt x="547" y="908"/>
                  </a:lnTo>
                  <a:lnTo>
                    <a:pt x="545" y="908"/>
                  </a:lnTo>
                  <a:lnTo>
                    <a:pt x="545" y="908"/>
                  </a:lnTo>
                  <a:lnTo>
                    <a:pt x="545" y="910"/>
                  </a:lnTo>
                  <a:lnTo>
                    <a:pt x="545" y="910"/>
                  </a:lnTo>
                  <a:lnTo>
                    <a:pt x="543" y="912"/>
                  </a:lnTo>
                  <a:lnTo>
                    <a:pt x="541" y="910"/>
                  </a:lnTo>
                  <a:lnTo>
                    <a:pt x="541" y="912"/>
                  </a:lnTo>
                  <a:lnTo>
                    <a:pt x="541" y="912"/>
                  </a:lnTo>
                  <a:lnTo>
                    <a:pt x="541" y="912"/>
                  </a:lnTo>
                  <a:lnTo>
                    <a:pt x="541" y="912"/>
                  </a:lnTo>
                  <a:lnTo>
                    <a:pt x="541" y="912"/>
                  </a:lnTo>
                  <a:lnTo>
                    <a:pt x="541" y="912"/>
                  </a:lnTo>
                  <a:lnTo>
                    <a:pt x="541" y="912"/>
                  </a:lnTo>
                  <a:lnTo>
                    <a:pt x="539" y="912"/>
                  </a:lnTo>
                  <a:lnTo>
                    <a:pt x="543" y="912"/>
                  </a:lnTo>
                  <a:lnTo>
                    <a:pt x="543" y="912"/>
                  </a:lnTo>
                  <a:lnTo>
                    <a:pt x="543" y="912"/>
                  </a:lnTo>
                  <a:lnTo>
                    <a:pt x="543" y="912"/>
                  </a:lnTo>
                  <a:lnTo>
                    <a:pt x="543" y="912"/>
                  </a:lnTo>
                  <a:lnTo>
                    <a:pt x="545" y="910"/>
                  </a:lnTo>
                  <a:lnTo>
                    <a:pt x="547" y="910"/>
                  </a:lnTo>
                  <a:lnTo>
                    <a:pt x="547" y="910"/>
                  </a:lnTo>
                  <a:lnTo>
                    <a:pt x="549" y="910"/>
                  </a:lnTo>
                  <a:lnTo>
                    <a:pt x="549" y="910"/>
                  </a:lnTo>
                  <a:lnTo>
                    <a:pt x="549" y="910"/>
                  </a:lnTo>
                  <a:lnTo>
                    <a:pt x="549" y="910"/>
                  </a:lnTo>
                  <a:lnTo>
                    <a:pt x="551" y="910"/>
                  </a:lnTo>
                  <a:lnTo>
                    <a:pt x="551" y="910"/>
                  </a:lnTo>
                  <a:lnTo>
                    <a:pt x="551" y="910"/>
                  </a:lnTo>
                  <a:lnTo>
                    <a:pt x="551" y="910"/>
                  </a:lnTo>
                  <a:lnTo>
                    <a:pt x="551" y="910"/>
                  </a:lnTo>
                  <a:lnTo>
                    <a:pt x="551" y="910"/>
                  </a:lnTo>
                  <a:lnTo>
                    <a:pt x="551" y="908"/>
                  </a:lnTo>
                  <a:lnTo>
                    <a:pt x="551" y="908"/>
                  </a:lnTo>
                  <a:lnTo>
                    <a:pt x="553" y="908"/>
                  </a:lnTo>
                  <a:lnTo>
                    <a:pt x="555" y="908"/>
                  </a:lnTo>
                  <a:lnTo>
                    <a:pt x="555" y="908"/>
                  </a:lnTo>
                  <a:lnTo>
                    <a:pt x="555" y="908"/>
                  </a:lnTo>
                  <a:lnTo>
                    <a:pt x="555" y="908"/>
                  </a:lnTo>
                  <a:lnTo>
                    <a:pt x="557" y="908"/>
                  </a:lnTo>
                  <a:lnTo>
                    <a:pt x="557" y="906"/>
                  </a:lnTo>
                  <a:lnTo>
                    <a:pt x="557" y="906"/>
                  </a:lnTo>
                  <a:lnTo>
                    <a:pt x="559" y="906"/>
                  </a:lnTo>
                  <a:lnTo>
                    <a:pt x="561" y="906"/>
                  </a:lnTo>
                  <a:lnTo>
                    <a:pt x="561" y="906"/>
                  </a:lnTo>
                  <a:lnTo>
                    <a:pt x="561" y="906"/>
                  </a:lnTo>
                  <a:lnTo>
                    <a:pt x="563" y="904"/>
                  </a:lnTo>
                  <a:lnTo>
                    <a:pt x="563" y="904"/>
                  </a:lnTo>
                  <a:lnTo>
                    <a:pt x="565" y="902"/>
                  </a:lnTo>
                  <a:lnTo>
                    <a:pt x="565" y="902"/>
                  </a:lnTo>
                  <a:lnTo>
                    <a:pt x="565" y="900"/>
                  </a:lnTo>
                  <a:lnTo>
                    <a:pt x="567" y="902"/>
                  </a:lnTo>
                  <a:lnTo>
                    <a:pt x="567" y="900"/>
                  </a:lnTo>
                  <a:lnTo>
                    <a:pt x="567" y="900"/>
                  </a:lnTo>
                  <a:lnTo>
                    <a:pt x="567" y="900"/>
                  </a:lnTo>
                  <a:lnTo>
                    <a:pt x="567" y="900"/>
                  </a:lnTo>
                  <a:lnTo>
                    <a:pt x="567" y="898"/>
                  </a:lnTo>
                  <a:lnTo>
                    <a:pt x="569" y="898"/>
                  </a:lnTo>
                  <a:lnTo>
                    <a:pt x="569" y="898"/>
                  </a:lnTo>
                  <a:lnTo>
                    <a:pt x="569" y="898"/>
                  </a:lnTo>
                  <a:lnTo>
                    <a:pt x="571" y="898"/>
                  </a:lnTo>
                  <a:lnTo>
                    <a:pt x="571" y="898"/>
                  </a:lnTo>
                  <a:lnTo>
                    <a:pt x="573" y="898"/>
                  </a:lnTo>
                  <a:lnTo>
                    <a:pt x="573" y="896"/>
                  </a:lnTo>
                  <a:lnTo>
                    <a:pt x="580" y="894"/>
                  </a:lnTo>
                  <a:lnTo>
                    <a:pt x="580" y="894"/>
                  </a:lnTo>
                  <a:lnTo>
                    <a:pt x="582" y="894"/>
                  </a:lnTo>
                  <a:lnTo>
                    <a:pt x="584" y="894"/>
                  </a:lnTo>
                  <a:lnTo>
                    <a:pt x="584" y="894"/>
                  </a:lnTo>
                  <a:lnTo>
                    <a:pt x="584" y="891"/>
                  </a:lnTo>
                  <a:close/>
                  <a:moveTo>
                    <a:pt x="561" y="908"/>
                  </a:moveTo>
                  <a:lnTo>
                    <a:pt x="561" y="908"/>
                  </a:lnTo>
                  <a:lnTo>
                    <a:pt x="561" y="908"/>
                  </a:lnTo>
                  <a:lnTo>
                    <a:pt x="561" y="910"/>
                  </a:lnTo>
                  <a:lnTo>
                    <a:pt x="561" y="910"/>
                  </a:lnTo>
                  <a:lnTo>
                    <a:pt x="561" y="910"/>
                  </a:lnTo>
                  <a:lnTo>
                    <a:pt x="561" y="910"/>
                  </a:lnTo>
                  <a:lnTo>
                    <a:pt x="561" y="910"/>
                  </a:lnTo>
                  <a:lnTo>
                    <a:pt x="561" y="910"/>
                  </a:lnTo>
                  <a:lnTo>
                    <a:pt x="561" y="910"/>
                  </a:lnTo>
                  <a:lnTo>
                    <a:pt x="561" y="908"/>
                  </a:lnTo>
                  <a:lnTo>
                    <a:pt x="561" y="908"/>
                  </a:lnTo>
                  <a:close/>
                  <a:moveTo>
                    <a:pt x="541" y="510"/>
                  </a:moveTo>
                  <a:lnTo>
                    <a:pt x="541" y="510"/>
                  </a:lnTo>
                  <a:lnTo>
                    <a:pt x="543" y="510"/>
                  </a:lnTo>
                  <a:lnTo>
                    <a:pt x="543" y="510"/>
                  </a:lnTo>
                  <a:lnTo>
                    <a:pt x="545" y="508"/>
                  </a:lnTo>
                  <a:lnTo>
                    <a:pt x="545" y="510"/>
                  </a:lnTo>
                  <a:lnTo>
                    <a:pt x="547" y="510"/>
                  </a:lnTo>
                  <a:lnTo>
                    <a:pt x="547" y="510"/>
                  </a:lnTo>
                  <a:lnTo>
                    <a:pt x="549" y="512"/>
                  </a:lnTo>
                  <a:lnTo>
                    <a:pt x="549" y="512"/>
                  </a:lnTo>
                  <a:lnTo>
                    <a:pt x="549" y="512"/>
                  </a:lnTo>
                  <a:lnTo>
                    <a:pt x="549" y="512"/>
                  </a:lnTo>
                  <a:lnTo>
                    <a:pt x="551" y="512"/>
                  </a:lnTo>
                  <a:lnTo>
                    <a:pt x="551" y="512"/>
                  </a:lnTo>
                  <a:lnTo>
                    <a:pt x="549" y="510"/>
                  </a:lnTo>
                  <a:lnTo>
                    <a:pt x="549" y="510"/>
                  </a:lnTo>
                  <a:lnTo>
                    <a:pt x="547" y="508"/>
                  </a:lnTo>
                  <a:lnTo>
                    <a:pt x="547" y="506"/>
                  </a:lnTo>
                  <a:lnTo>
                    <a:pt x="545" y="506"/>
                  </a:lnTo>
                  <a:lnTo>
                    <a:pt x="543" y="506"/>
                  </a:lnTo>
                  <a:lnTo>
                    <a:pt x="539" y="500"/>
                  </a:lnTo>
                  <a:lnTo>
                    <a:pt x="537" y="498"/>
                  </a:lnTo>
                  <a:lnTo>
                    <a:pt x="537" y="498"/>
                  </a:lnTo>
                  <a:lnTo>
                    <a:pt x="537" y="498"/>
                  </a:lnTo>
                  <a:lnTo>
                    <a:pt x="537" y="496"/>
                  </a:lnTo>
                  <a:lnTo>
                    <a:pt x="537" y="494"/>
                  </a:lnTo>
                  <a:lnTo>
                    <a:pt x="537" y="494"/>
                  </a:lnTo>
                  <a:lnTo>
                    <a:pt x="537" y="494"/>
                  </a:lnTo>
                  <a:lnTo>
                    <a:pt x="537" y="494"/>
                  </a:lnTo>
                  <a:lnTo>
                    <a:pt x="535" y="494"/>
                  </a:lnTo>
                  <a:lnTo>
                    <a:pt x="535" y="494"/>
                  </a:lnTo>
                  <a:lnTo>
                    <a:pt x="535" y="494"/>
                  </a:lnTo>
                  <a:lnTo>
                    <a:pt x="535" y="494"/>
                  </a:lnTo>
                  <a:lnTo>
                    <a:pt x="533" y="494"/>
                  </a:lnTo>
                  <a:lnTo>
                    <a:pt x="533" y="494"/>
                  </a:lnTo>
                  <a:lnTo>
                    <a:pt x="533" y="496"/>
                  </a:lnTo>
                  <a:lnTo>
                    <a:pt x="533" y="496"/>
                  </a:lnTo>
                  <a:lnTo>
                    <a:pt x="533" y="496"/>
                  </a:lnTo>
                  <a:lnTo>
                    <a:pt x="533" y="496"/>
                  </a:lnTo>
                  <a:lnTo>
                    <a:pt x="533" y="496"/>
                  </a:lnTo>
                  <a:lnTo>
                    <a:pt x="533" y="498"/>
                  </a:lnTo>
                  <a:lnTo>
                    <a:pt x="533" y="498"/>
                  </a:lnTo>
                  <a:lnTo>
                    <a:pt x="533" y="498"/>
                  </a:lnTo>
                  <a:lnTo>
                    <a:pt x="533" y="498"/>
                  </a:lnTo>
                  <a:lnTo>
                    <a:pt x="537" y="504"/>
                  </a:lnTo>
                  <a:lnTo>
                    <a:pt x="539" y="504"/>
                  </a:lnTo>
                  <a:lnTo>
                    <a:pt x="539" y="504"/>
                  </a:lnTo>
                  <a:lnTo>
                    <a:pt x="539" y="506"/>
                  </a:lnTo>
                  <a:lnTo>
                    <a:pt x="539" y="506"/>
                  </a:lnTo>
                  <a:lnTo>
                    <a:pt x="539" y="506"/>
                  </a:lnTo>
                  <a:lnTo>
                    <a:pt x="539" y="506"/>
                  </a:lnTo>
                  <a:lnTo>
                    <a:pt x="539" y="508"/>
                  </a:lnTo>
                  <a:lnTo>
                    <a:pt x="541" y="508"/>
                  </a:lnTo>
                  <a:lnTo>
                    <a:pt x="541" y="510"/>
                  </a:lnTo>
                  <a:close/>
                  <a:moveTo>
                    <a:pt x="537" y="914"/>
                  </a:moveTo>
                  <a:lnTo>
                    <a:pt x="535" y="914"/>
                  </a:lnTo>
                  <a:lnTo>
                    <a:pt x="535" y="914"/>
                  </a:lnTo>
                  <a:lnTo>
                    <a:pt x="535" y="914"/>
                  </a:lnTo>
                  <a:lnTo>
                    <a:pt x="535" y="914"/>
                  </a:lnTo>
                  <a:lnTo>
                    <a:pt x="535" y="914"/>
                  </a:lnTo>
                  <a:lnTo>
                    <a:pt x="537" y="914"/>
                  </a:lnTo>
                  <a:lnTo>
                    <a:pt x="537" y="914"/>
                  </a:lnTo>
                  <a:lnTo>
                    <a:pt x="537" y="914"/>
                  </a:lnTo>
                  <a:lnTo>
                    <a:pt x="537" y="914"/>
                  </a:lnTo>
                  <a:lnTo>
                    <a:pt x="537" y="914"/>
                  </a:lnTo>
                  <a:lnTo>
                    <a:pt x="537" y="914"/>
                  </a:lnTo>
                  <a:lnTo>
                    <a:pt x="537" y="914"/>
                  </a:lnTo>
                  <a:close/>
                  <a:moveTo>
                    <a:pt x="322" y="900"/>
                  </a:moveTo>
                  <a:lnTo>
                    <a:pt x="322" y="898"/>
                  </a:lnTo>
                  <a:lnTo>
                    <a:pt x="322" y="898"/>
                  </a:lnTo>
                  <a:lnTo>
                    <a:pt x="322" y="898"/>
                  </a:lnTo>
                  <a:lnTo>
                    <a:pt x="322" y="898"/>
                  </a:lnTo>
                  <a:lnTo>
                    <a:pt x="322" y="898"/>
                  </a:lnTo>
                  <a:lnTo>
                    <a:pt x="320" y="898"/>
                  </a:lnTo>
                  <a:lnTo>
                    <a:pt x="320" y="898"/>
                  </a:lnTo>
                  <a:lnTo>
                    <a:pt x="320" y="898"/>
                  </a:lnTo>
                  <a:lnTo>
                    <a:pt x="320" y="898"/>
                  </a:lnTo>
                  <a:lnTo>
                    <a:pt x="320" y="898"/>
                  </a:lnTo>
                  <a:lnTo>
                    <a:pt x="322" y="898"/>
                  </a:lnTo>
                  <a:lnTo>
                    <a:pt x="322" y="898"/>
                  </a:lnTo>
                  <a:lnTo>
                    <a:pt x="322" y="898"/>
                  </a:lnTo>
                  <a:lnTo>
                    <a:pt x="322" y="900"/>
                  </a:lnTo>
                  <a:lnTo>
                    <a:pt x="322" y="900"/>
                  </a:lnTo>
                  <a:lnTo>
                    <a:pt x="322" y="900"/>
                  </a:lnTo>
                  <a:lnTo>
                    <a:pt x="322" y="900"/>
                  </a:lnTo>
                  <a:lnTo>
                    <a:pt x="322" y="900"/>
                  </a:lnTo>
                  <a:lnTo>
                    <a:pt x="322" y="900"/>
                  </a:lnTo>
                  <a:close/>
                  <a:moveTo>
                    <a:pt x="313" y="894"/>
                  </a:moveTo>
                  <a:lnTo>
                    <a:pt x="313" y="894"/>
                  </a:lnTo>
                  <a:lnTo>
                    <a:pt x="313" y="894"/>
                  </a:lnTo>
                  <a:lnTo>
                    <a:pt x="311" y="894"/>
                  </a:lnTo>
                  <a:lnTo>
                    <a:pt x="311" y="894"/>
                  </a:lnTo>
                  <a:lnTo>
                    <a:pt x="311" y="894"/>
                  </a:lnTo>
                  <a:lnTo>
                    <a:pt x="311" y="894"/>
                  </a:lnTo>
                  <a:lnTo>
                    <a:pt x="311" y="894"/>
                  </a:lnTo>
                  <a:lnTo>
                    <a:pt x="313" y="894"/>
                  </a:lnTo>
                  <a:close/>
                  <a:moveTo>
                    <a:pt x="326" y="898"/>
                  </a:moveTo>
                  <a:lnTo>
                    <a:pt x="324" y="898"/>
                  </a:lnTo>
                  <a:lnTo>
                    <a:pt x="324" y="898"/>
                  </a:lnTo>
                  <a:lnTo>
                    <a:pt x="324" y="898"/>
                  </a:lnTo>
                  <a:lnTo>
                    <a:pt x="324" y="900"/>
                  </a:lnTo>
                  <a:lnTo>
                    <a:pt x="324" y="900"/>
                  </a:lnTo>
                  <a:lnTo>
                    <a:pt x="324" y="900"/>
                  </a:lnTo>
                  <a:lnTo>
                    <a:pt x="324" y="898"/>
                  </a:lnTo>
                  <a:lnTo>
                    <a:pt x="326" y="898"/>
                  </a:lnTo>
                  <a:lnTo>
                    <a:pt x="326" y="898"/>
                  </a:lnTo>
                  <a:lnTo>
                    <a:pt x="326" y="898"/>
                  </a:lnTo>
                  <a:lnTo>
                    <a:pt x="326" y="898"/>
                  </a:lnTo>
                  <a:lnTo>
                    <a:pt x="326" y="898"/>
                  </a:lnTo>
                  <a:close/>
                  <a:moveTo>
                    <a:pt x="334" y="900"/>
                  </a:moveTo>
                  <a:lnTo>
                    <a:pt x="334" y="900"/>
                  </a:lnTo>
                  <a:lnTo>
                    <a:pt x="332" y="900"/>
                  </a:lnTo>
                  <a:lnTo>
                    <a:pt x="334" y="900"/>
                  </a:lnTo>
                  <a:lnTo>
                    <a:pt x="334" y="900"/>
                  </a:lnTo>
                  <a:lnTo>
                    <a:pt x="334" y="900"/>
                  </a:lnTo>
                  <a:lnTo>
                    <a:pt x="334" y="900"/>
                  </a:lnTo>
                  <a:close/>
                  <a:moveTo>
                    <a:pt x="317" y="891"/>
                  </a:moveTo>
                  <a:lnTo>
                    <a:pt x="317" y="891"/>
                  </a:lnTo>
                  <a:lnTo>
                    <a:pt x="317" y="891"/>
                  </a:lnTo>
                  <a:lnTo>
                    <a:pt x="317" y="891"/>
                  </a:lnTo>
                  <a:lnTo>
                    <a:pt x="317" y="889"/>
                  </a:lnTo>
                  <a:lnTo>
                    <a:pt x="317" y="889"/>
                  </a:lnTo>
                  <a:lnTo>
                    <a:pt x="317" y="887"/>
                  </a:lnTo>
                  <a:lnTo>
                    <a:pt x="315" y="887"/>
                  </a:lnTo>
                  <a:lnTo>
                    <a:pt x="315" y="887"/>
                  </a:lnTo>
                  <a:lnTo>
                    <a:pt x="313" y="885"/>
                  </a:lnTo>
                  <a:lnTo>
                    <a:pt x="313" y="887"/>
                  </a:lnTo>
                  <a:lnTo>
                    <a:pt x="313" y="887"/>
                  </a:lnTo>
                  <a:lnTo>
                    <a:pt x="311" y="887"/>
                  </a:lnTo>
                  <a:lnTo>
                    <a:pt x="311" y="887"/>
                  </a:lnTo>
                  <a:lnTo>
                    <a:pt x="311" y="889"/>
                  </a:lnTo>
                  <a:lnTo>
                    <a:pt x="311" y="889"/>
                  </a:lnTo>
                  <a:lnTo>
                    <a:pt x="311" y="891"/>
                  </a:lnTo>
                  <a:lnTo>
                    <a:pt x="311" y="891"/>
                  </a:lnTo>
                  <a:lnTo>
                    <a:pt x="311" y="891"/>
                  </a:lnTo>
                  <a:lnTo>
                    <a:pt x="311" y="891"/>
                  </a:lnTo>
                  <a:lnTo>
                    <a:pt x="313" y="891"/>
                  </a:lnTo>
                  <a:lnTo>
                    <a:pt x="313" y="894"/>
                  </a:lnTo>
                  <a:lnTo>
                    <a:pt x="313" y="894"/>
                  </a:lnTo>
                  <a:lnTo>
                    <a:pt x="315" y="894"/>
                  </a:lnTo>
                  <a:lnTo>
                    <a:pt x="315" y="894"/>
                  </a:lnTo>
                  <a:lnTo>
                    <a:pt x="315" y="894"/>
                  </a:lnTo>
                  <a:lnTo>
                    <a:pt x="315" y="894"/>
                  </a:lnTo>
                  <a:lnTo>
                    <a:pt x="315" y="894"/>
                  </a:lnTo>
                  <a:lnTo>
                    <a:pt x="315" y="894"/>
                  </a:lnTo>
                  <a:lnTo>
                    <a:pt x="315" y="891"/>
                  </a:lnTo>
                  <a:lnTo>
                    <a:pt x="317" y="891"/>
                  </a:lnTo>
                  <a:lnTo>
                    <a:pt x="317" y="891"/>
                  </a:lnTo>
                  <a:close/>
                  <a:moveTo>
                    <a:pt x="322" y="896"/>
                  </a:moveTo>
                  <a:lnTo>
                    <a:pt x="322" y="896"/>
                  </a:lnTo>
                  <a:lnTo>
                    <a:pt x="322" y="896"/>
                  </a:lnTo>
                  <a:lnTo>
                    <a:pt x="322" y="896"/>
                  </a:lnTo>
                  <a:lnTo>
                    <a:pt x="320" y="896"/>
                  </a:lnTo>
                  <a:lnTo>
                    <a:pt x="320" y="894"/>
                  </a:lnTo>
                  <a:lnTo>
                    <a:pt x="320" y="896"/>
                  </a:lnTo>
                  <a:lnTo>
                    <a:pt x="320" y="896"/>
                  </a:lnTo>
                  <a:lnTo>
                    <a:pt x="320" y="896"/>
                  </a:lnTo>
                  <a:lnTo>
                    <a:pt x="320" y="896"/>
                  </a:lnTo>
                  <a:lnTo>
                    <a:pt x="320" y="896"/>
                  </a:lnTo>
                  <a:lnTo>
                    <a:pt x="320" y="894"/>
                  </a:lnTo>
                  <a:lnTo>
                    <a:pt x="317" y="894"/>
                  </a:lnTo>
                  <a:lnTo>
                    <a:pt x="317" y="896"/>
                  </a:lnTo>
                  <a:lnTo>
                    <a:pt x="320" y="896"/>
                  </a:lnTo>
                  <a:lnTo>
                    <a:pt x="320" y="896"/>
                  </a:lnTo>
                  <a:lnTo>
                    <a:pt x="322" y="896"/>
                  </a:lnTo>
                  <a:close/>
                  <a:moveTo>
                    <a:pt x="432" y="910"/>
                  </a:moveTo>
                  <a:lnTo>
                    <a:pt x="432" y="908"/>
                  </a:lnTo>
                  <a:lnTo>
                    <a:pt x="432" y="908"/>
                  </a:lnTo>
                  <a:lnTo>
                    <a:pt x="432" y="908"/>
                  </a:lnTo>
                  <a:lnTo>
                    <a:pt x="432" y="908"/>
                  </a:lnTo>
                  <a:lnTo>
                    <a:pt x="430" y="908"/>
                  </a:lnTo>
                  <a:lnTo>
                    <a:pt x="428" y="908"/>
                  </a:lnTo>
                  <a:lnTo>
                    <a:pt x="426" y="910"/>
                  </a:lnTo>
                  <a:lnTo>
                    <a:pt x="426" y="910"/>
                  </a:lnTo>
                  <a:lnTo>
                    <a:pt x="424" y="912"/>
                  </a:lnTo>
                  <a:lnTo>
                    <a:pt x="426" y="914"/>
                  </a:lnTo>
                  <a:lnTo>
                    <a:pt x="426" y="914"/>
                  </a:lnTo>
                  <a:lnTo>
                    <a:pt x="428" y="914"/>
                  </a:lnTo>
                  <a:lnTo>
                    <a:pt x="430" y="912"/>
                  </a:lnTo>
                  <a:lnTo>
                    <a:pt x="430" y="914"/>
                  </a:lnTo>
                  <a:lnTo>
                    <a:pt x="430" y="914"/>
                  </a:lnTo>
                  <a:lnTo>
                    <a:pt x="432" y="914"/>
                  </a:lnTo>
                  <a:lnTo>
                    <a:pt x="434" y="912"/>
                  </a:lnTo>
                  <a:lnTo>
                    <a:pt x="434" y="912"/>
                  </a:lnTo>
                  <a:lnTo>
                    <a:pt x="434" y="912"/>
                  </a:lnTo>
                  <a:lnTo>
                    <a:pt x="434" y="910"/>
                  </a:lnTo>
                  <a:lnTo>
                    <a:pt x="432" y="910"/>
                  </a:lnTo>
                  <a:close/>
                  <a:moveTo>
                    <a:pt x="469" y="912"/>
                  </a:moveTo>
                  <a:lnTo>
                    <a:pt x="469" y="912"/>
                  </a:lnTo>
                  <a:lnTo>
                    <a:pt x="467" y="912"/>
                  </a:lnTo>
                  <a:lnTo>
                    <a:pt x="467" y="914"/>
                  </a:lnTo>
                  <a:lnTo>
                    <a:pt x="469" y="914"/>
                  </a:lnTo>
                  <a:lnTo>
                    <a:pt x="469" y="914"/>
                  </a:lnTo>
                  <a:lnTo>
                    <a:pt x="471" y="914"/>
                  </a:lnTo>
                  <a:lnTo>
                    <a:pt x="471" y="914"/>
                  </a:lnTo>
                  <a:lnTo>
                    <a:pt x="471" y="914"/>
                  </a:lnTo>
                  <a:lnTo>
                    <a:pt x="471" y="912"/>
                  </a:lnTo>
                  <a:lnTo>
                    <a:pt x="471" y="912"/>
                  </a:lnTo>
                  <a:lnTo>
                    <a:pt x="469" y="912"/>
                  </a:lnTo>
                  <a:close/>
                  <a:moveTo>
                    <a:pt x="473" y="910"/>
                  </a:moveTo>
                  <a:lnTo>
                    <a:pt x="473" y="910"/>
                  </a:lnTo>
                  <a:lnTo>
                    <a:pt x="473" y="910"/>
                  </a:lnTo>
                  <a:lnTo>
                    <a:pt x="473" y="910"/>
                  </a:lnTo>
                  <a:lnTo>
                    <a:pt x="473" y="910"/>
                  </a:lnTo>
                  <a:lnTo>
                    <a:pt x="473" y="910"/>
                  </a:lnTo>
                  <a:lnTo>
                    <a:pt x="475" y="910"/>
                  </a:lnTo>
                  <a:lnTo>
                    <a:pt x="475" y="910"/>
                  </a:lnTo>
                  <a:lnTo>
                    <a:pt x="475" y="910"/>
                  </a:lnTo>
                  <a:lnTo>
                    <a:pt x="475" y="910"/>
                  </a:lnTo>
                  <a:lnTo>
                    <a:pt x="473" y="910"/>
                  </a:lnTo>
                  <a:lnTo>
                    <a:pt x="473" y="910"/>
                  </a:lnTo>
                  <a:close/>
                  <a:moveTo>
                    <a:pt x="334" y="889"/>
                  </a:moveTo>
                  <a:lnTo>
                    <a:pt x="334" y="889"/>
                  </a:lnTo>
                  <a:lnTo>
                    <a:pt x="334" y="889"/>
                  </a:lnTo>
                  <a:lnTo>
                    <a:pt x="334" y="889"/>
                  </a:lnTo>
                  <a:lnTo>
                    <a:pt x="334" y="889"/>
                  </a:lnTo>
                  <a:lnTo>
                    <a:pt x="334" y="889"/>
                  </a:lnTo>
                  <a:lnTo>
                    <a:pt x="334" y="889"/>
                  </a:lnTo>
                  <a:lnTo>
                    <a:pt x="334" y="889"/>
                  </a:lnTo>
                  <a:lnTo>
                    <a:pt x="334" y="889"/>
                  </a:lnTo>
                  <a:lnTo>
                    <a:pt x="336" y="889"/>
                  </a:lnTo>
                  <a:lnTo>
                    <a:pt x="334" y="889"/>
                  </a:lnTo>
                  <a:lnTo>
                    <a:pt x="334" y="889"/>
                  </a:lnTo>
                  <a:close/>
                  <a:moveTo>
                    <a:pt x="408" y="916"/>
                  </a:moveTo>
                  <a:lnTo>
                    <a:pt x="406" y="916"/>
                  </a:lnTo>
                  <a:lnTo>
                    <a:pt x="406" y="916"/>
                  </a:lnTo>
                  <a:lnTo>
                    <a:pt x="406" y="916"/>
                  </a:lnTo>
                  <a:lnTo>
                    <a:pt x="406" y="916"/>
                  </a:lnTo>
                  <a:lnTo>
                    <a:pt x="404" y="916"/>
                  </a:lnTo>
                  <a:lnTo>
                    <a:pt x="404" y="916"/>
                  </a:lnTo>
                  <a:lnTo>
                    <a:pt x="404" y="916"/>
                  </a:lnTo>
                  <a:lnTo>
                    <a:pt x="404" y="916"/>
                  </a:lnTo>
                  <a:lnTo>
                    <a:pt x="404" y="916"/>
                  </a:lnTo>
                  <a:lnTo>
                    <a:pt x="404" y="914"/>
                  </a:lnTo>
                  <a:lnTo>
                    <a:pt x="404" y="914"/>
                  </a:lnTo>
                  <a:lnTo>
                    <a:pt x="404" y="914"/>
                  </a:lnTo>
                  <a:lnTo>
                    <a:pt x="401" y="914"/>
                  </a:lnTo>
                  <a:lnTo>
                    <a:pt x="401" y="914"/>
                  </a:lnTo>
                  <a:lnTo>
                    <a:pt x="399" y="914"/>
                  </a:lnTo>
                  <a:lnTo>
                    <a:pt x="399" y="914"/>
                  </a:lnTo>
                  <a:lnTo>
                    <a:pt x="399" y="914"/>
                  </a:lnTo>
                  <a:lnTo>
                    <a:pt x="399" y="914"/>
                  </a:lnTo>
                  <a:lnTo>
                    <a:pt x="397" y="914"/>
                  </a:lnTo>
                  <a:lnTo>
                    <a:pt x="397" y="914"/>
                  </a:lnTo>
                  <a:lnTo>
                    <a:pt x="397" y="914"/>
                  </a:lnTo>
                  <a:lnTo>
                    <a:pt x="397" y="912"/>
                  </a:lnTo>
                  <a:lnTo>
                    <a:pt x="397" y="912"/>
                  </a:lnTo>
                  <a:lnTo>
                    <a:pt x="397" y="912"/>
                  </a:lnTo>
                  <a:lnTo>
                    <a:pt x="397" y="912"/>
                  </a:lnTo>
                  <a:lnTo>
                    <a:pt x="395" y="912"/>
                  </a:lnTo>
                  <a:lnTo>
                    <a:pt x="395" y="912"/>
                  </a:lnTo>
                  <a:lnTo>
                    <a:pt x="393" y="912"/>
                  </a:lnTo>
                  <a:lnTo>
                    <a:pt x="393" y="912"/>
                  </a:lnTo>
                  <a:lnTo>
                    <a:pt x="395" y="910"/>
                  </a:lnTo>
                  <a:lnTo>
                    <a:pt x="393" y="910"/>
                  </a:lnTo>
                  <a:lnTo>
                    <a:pt x="393" y="910"/>
                  </a:lnTo>
                  <a:lnTo>
                    <a:pt x="393" y="910"/>
                  </a:lnTo>
                  <a:lnTo>
                    <a:pt x="391" y="910"/>
                  </a:lnTo>
                  <a:lnTo>
                    <a:pt x="391" y="910"/>
                  </a:lnTo>
                  <a:lnTo>
                    <a:pt x="391" y="910"/>
                  </a:lnTo>
                  <a:lnTo>
                    <a:pt x="391" y="908"/>
                  </a:lnTo>
                  <a:lnTo>
                    <a:pt x="391" y="908"/>
                  </a:lnTo>
                  <a:lnTo>
                    <a:pt x="389" y="910"/>
                  </a:lnTo>
                  <a:lnTo>
                    <a:pt x="389" y="910"/>
                  </a:lnTo>
                  <a:lnTo>
                    <a:pt x="387" y="910"/>
                  </a:lnTo>
                  <a:lnTo>
                    <a:pt x="387" y="910"/>
                  </a:lnTo>
                  <a:lnTo>
                    <a:pt x="385" y="910"/>
                  </a:lnTo>
                  <a:lnTo>
                    <a:pt x="385" y="910"/>
                  </a:lnTo>
                  <a:lnTo>
                    <a:pt x="385" y="908"/>
                  </a:lnTo>
                  <a:lnTo>
                    <a:pt x="385" y="908"/>
                  </a:lnTo>
                  <a:lnTo>
                    <a:pt x="385" y="908"/>
                  </a:lnTo>
                  <a:lnTo>
                    <a:pt x="383" y="908"/>
                  </a:lnTo>
                  <a:lnTo>
                    <a:pt x="383" y="908"/>
                  </a:lnTo>
                  <a:lnTo>
                    <a:pt x="383" y="908"/>
                  </a:lnTo>
                  <a:lnTo>
                    <a:pt x="383" y="908"/>
                  </a:lnTo>
                  <a:lnTo>
                    <a:pt x="383" y="908"/>
                  </a:lnTo>
                  <a:lnTo>
                    <a:pt x="383" y="908"/>
                  </a:lnTo>
                  <a:lnTo>
                    <a:pt x="381" y="908"/>
                  </a:lnTo>
                  <a:lnTo>
                    <a:pt x="381" y="908"/>
                  </a:lnTo>
                  <a:lnTo>
                    <a:pt x="379" y="906"/>
                  </a:lnTo>
                  <a:lnTo>
                    <a:pt x="379" y="906"/>
                  </a:lnTo>
                  <a:lnTo>
                    <a:pt x="379" y="906"/>
                  </a:lnTo>
                  <a:lnTo>
                    <a:pt x="379" y="906"/>
                  </a:lnTo>
                  <a:lnTo>
                    <a:pt x="379" y="906"/>
                  </a:lnTo>
                  <a:lnTo>
                    <a:pt x="379" y="906"/>
                  </a:lnTo>
                  <a:lnTo>
                    <a:pt x="379" y="906"/>
                  </a:lnTo>
                  <a:lnTo>
                    <a:pt x="379" y="906"/>
                  </a:lnTo>
                  <a:lnTo>
                    <a:pt x="379" y="906"/>
                  </a:lnTo>
                  <a:lnTo>
                    <a:pt x="379" y="908"/>
                  </a:lnTo>
                  <a:lnTo>
                    <a:pt x="379" y="908"/>
                  </a:lnTo>
                  <a:lnTo>
                    <a:pt x="379" y="908"/>
                  </a:lnTo>
                  <a:lnTo>
                    <a:pt x="379" y="908"/>
                  </a:lnTo>
                  <a:lnTo>
                    <a:pt x="379" y="908"/>
                  </a:lnTo>
                  <a:lnTo>
                    <a:pt x="381" y="908"/>
                  </a:lnTo>
                  <a:lnTo>
                    <a:pt x="381" y="908"/>
                  </a:lnTo>
                  <a:lnTo>
                    <a:pt x="381" y="910"/>
                  </a:lnTo>
                  <a:lnTo>
                    <a:pt x="381" y="910"/>
                  </a:lnTo>
                  <a:lnTo>
                    <a:pt x="381" y="910"/>
                  </a:lnTo>
                  <a:lnTo>
                    <a:pt x="381" y="910"/>
                  </a:lnTo>
                  <a:lnTo>
                    <a:pt x="381" y="910"/>
                  </a:lnTo>
                  <a:lnTo>
                    <a:pt x="383" y="912"/>
                  </a:lnTo>
                  <a:lnTo>
                    <a:pt x="383" y="912"/>
                  </a:lnTo>
                  <a:lnTo>
                    <a:pt x="387" y="914"/>
                  </a:lnTo>
                  <a:lnTo>
                    <a:pt x="387" y="912"/>
                  </a:lnTo>
                  <a:lnTo>
                    <a:pt x="389" y="912"/>
                  </a:lnTo>
                  <a:lnTo>
                    <a:pt x="389" y="912"/>
                  </a:lnTo>
                  <a:lnTo>
                    <a:pt x="389" y="914"/>
                  </a:lnTo>
                  <a:lnTo>
                    <a:pt x="389" y="914"/>
                  </a:lnTo>
                  <a:lnTo>
                    <a:pt x="391" y="914"/>
                  </a:lnTo>
                  <a:lnTo>
                    <a:pt x="391" y="914"/>
                  </a:lnTo>
                  <a:lnTo>
                    <a:pt x="391" y="916"/>
                  </a:lnTo>
                  <a:lnTo>
                    <a:pt x="391" y="916"/>
                  </a:lnTo>
                  <a:lnTo>
                    <a:pt x="391" y="916"/>
                  </a:lnTo>
                  <a:lnTo>
                    <a:pt x="393" y="916"/>
                  </a:lnTo>
                  <a:lnTo>
                    <a:pt x="393" y="916"/>
                  </a:lnTo>
                  <a:lnTo>
                    <a:pt x="393" y="916"/>
                  </a:lnTo>
                  <a:lnTo>
                    <a:pt x="393" y="916"/>
                  </a:lnTo>
                  <a:lnTo>
                    <a:pt x="393" y="916"/>
                  </a:lnTo>
                  <a:lnTo>
                    <a:pt x="393" y="916"/>
                  </a:lnTo>
                  <a:lnTo>
                    <a:pt x="395" y="916"/>
                  </a:lnTo>
                  <a:lnTo>
                    <a:pt x="395" y="916"/>
                  </a:lnTo>
                  <a:lnTo>
                    <a:pt x="395" y="916"/>
                  </a:lnTo>
                  <a:lnTo>
                    <a:pt x="397" y="916"/>
                  </a:lnTo>
                  <a:lnTo>
                    <a:pt x="397" y="916"/>
                  </a:lnTo>
                  <a:lnTo>
                    <a:pt x="399" y="916"/>
                  </a:lnTo>
                  <a:lnTo>
                    <a:pt x="401" y="916"/>
                  </a:lnTo>
                  <a:lnTo>
                    <a:pt x="401" y="916"/>
                  </a:lnTo>
                  <a:lnTo>
                    <a:pt x="401" y="916"/>
                  </a:lnTo>
                  <a:lnTo>
                    <a:pt x="401" y="916"/>
                  </a:lnTo>
                  <a:lnTo>
                    <a:pt x="401" y="916"/>
                  </a:lnTo>
                  <a:lnTo>
                    <a:pt x="404" y="916"/>
                  </a:lnTo>
                  <a:lnTo>
                    <a:pt x="404" y="916"/>
                  </a:lnTo>
                  <a:lnTo>
                    <a:pt x="404" y="918"/>
                  </a:lnTo>
                  <a:lnTo>
                    <a:pt x="404" y="918"/>
                  </a:lnTo>
                  <a:lnTo>
                    <a:pt x="406" y="918"/>
                  </a:lnTo>
                  <a:lnTo>
                    <a:pt x="408" y="918"/>
                  </a:lnTo>
                  <a:lnTo>
                    <a:pt x="408" y="918"/>
                  </a:lnTo>
                  <a:lnTo>
                    <a:pt x="410" y="918"/>
                  </a:lnTo>
                  <a:lnTo>
                    <a:pt x="410" y="918"/>
                  </a:lnTo>
                  <a:lnTo>
                    <a:pt x="412" y="918"/>
                  </a:lnTo>
                  <a:lnTo>
                    <a:pt x="412" y="918"/>
                  </a:lnTo>
                  <a:lnTo>
                    <a:pt x="408" y="916"/>
                  </a:lnTo>
                  <a:lnTo>
                    <a:pt x="408" y="916"/>
                  </a:lnTo>
                  <a:close/>
                  <a:moveTo>
                    <a:pt x="377" y="904"/>
                  </a:moveTo>
                  <a:lnTo>
                    <a:pt x="375" y="904"/>
                  </a:lnTo>
                  <a:lnTo>
                    <a:pt x="375" y="902"/>
                  </a:lnTo>
                  <a:lnTo>
                    <a:pt x="375" y="902"/>
                  </a:lnTo>
                  <a:lnTo>
                    <a:pt x="375" y="900"/>
                  </a:lnTo>
                  <a:lnTo>
                    <a:pt x="377" y="900"/>
                  </a:lnTo>
                  <a:lnTo>
                    <a:pt x="379" y="902"/>
                  </a:lnTo>
                  <a:lnTo>
                    <a:pt x="381" y="900"/>
                  </a:lnTo>
                  <a:lnTo>
                    <a:pt x="381" y="900"/>
                  </a:lnTo>
                  <a:lnTo>
                    <a:pt x="381" y="900"/>
                  </a:lnTo>
                  <a:lnTo>
                    <a:pt x="381" y="900"/>
                  </a:lnTo>
                  <a:lnTo>
                    <a:pt x="381" y="900"/>
                  </a:lnTo>
                  <a:lnTo>
                    <a:pt x="381" y="900"/>
                  </a:lnTo>
                  <a:lnTo>
                    <a:pt x="381" y="900"/>
                  </a:lnTo>
                  <a:lnTo>
                    <a:pt x="383" y="900"/>
                  </a:lnTo>
                  <a:lnTo>
                    <a:pt x="383" y="898"/>
                  </a:lnTo>
                  <a:lnTo>
                    <a:pt x="383" y="898"/>
                  </a:lnTo>
                  <a:lnTo>
                    <a:pt x="383" y="898"/>
                  </a:lnTo>
                  <a:lnTo>
                    <a:pt x="383" y="896"/>
                  </a:lnTo>
                  <a:lnTo>
                    <a:pt x="383" y="896"/>
                  </a:lnTo>
                  <a:lnTo>
                    <a:pt x="383" y="896"/>
                  </a:lnTo>
                  <a:lnTo>
                    <a:pt x="381" y="894"/>
                  </a:lnTo>
                  <a:lnTo>
                    <a:pt x="381" y="894"/>
                  </a:lnTo>
                  <a:lnTo>
                    <a:pt x="381" y="891"/>
                  </a:lnTo>
                  <a:lnTo>
                    <a:pt x="381" y="894"/>
                  </a:lnTo>
                  <a:lnTo>
                    <a:pt x="381" y="891"/>
                  </a:lnTo>
                  <a:lnTo>
                    <a:pt x="379" y="891"/>
                  </a:lnTo>
                  <a:lnTo>
                    <a:pt x="379" y="891"/>
                  </a:lnTo>
                  <a:lnTo>
                    <a:pt x="379" y="891"/>
                  </a:lnTo>
                  <a:lnTo>
                    <a:pt x="377" y="891"/>
                  </a:lnTo>
                  <a:lnTo>
                    <a:pt x="375" y="891"/>
                  </a:lnTo>
                  <a:lnTo>
                    <a:pt x="375" y="891"/>
                  </a:lnTo>
                  <a:lnTo>
                    <a:pt x="375" y="891"/>
                  </a:lnTo>
                  <a:lnTo>
                    <a:pt x="375" y="891"/>
                  </a:lnTo>
                  <a:lnTo>
                    <a:pt x="373" y="891"/>
                  </a:lnTo>
                  <a:lnTo>
                    <a:pt x="373" y="891"/>
                  </a:lnTo>
                  <a:lnTo>
                    <a:pt x="373" y="891"/>
                  </a:lnTo>
                  <a:lnTo>
                    <a:pt x="373" y="894"/>
                  </a:lnTo>
                  <a:lnTo>
                    <a:pt x="371" y="894"/>
                  </a:lnTo>
                  <a:lnTo>
                    <a:pt x="369" y="894"/>
                  </a:lnTo>
                  <a:lnTo>
                    <a:pt x="369" y="894"/>
                  </a:lnTo>
                  <a:lnTo>
                    <a:pt x="369" y="894"/>
                  </a:lnTo>
                  <a:lnTo>
                    <a:pt x="371" y="896"/>
                  </a:lnTo>
                  <a:lnTo>
                    <a:pt x="371" y="896"/>
                  </a:lnTo>
                  <a:lnTo>
                    <a:pt x="371" y="896"/>
                  </a:lnTo>
                  <a:lnTo>
                    <a:pt x="373" y="894"/>
                  </a:lnTo>
                  <a:lnTo>
                    <a:pt x="373" y="894"/>
                  </a:lnTo>
                  <a:lnTo>
                    <a:pt x="373" y="896"/>
                  </a:lnTo>
                  <a:lnTo>
                    <a:pt x="373" y="896"/>
                  </a:lnTo>
                  <a:lnTo>
                    <a:pt x="373" y="896"/>
                  </a:lnTo>
                  <a:lnTo>
                    <a:pt x="373" y="896"/>
                  </a:lnTo>
                  <a:lnTo>
                    <a:pt x="373" y="898"/>
                  </a:lnTo>
                  <a:lnTo>
                    <a:pt x="375" y="898"/>
                  </a:lnTo>
                  <a:lnTo>
                    <a:pt x="375" y="898"/>
                  </a:lnTo>
                  <a:lnTo>
                    <a:pt x="375" y="898"/>
                  </a:lnTo>
                  <a:lnTo>
                    <a:pt x="375" y="900"/>
                  </a:lnTo>
                  <a:lnTo>
                    <a:pt x="373" y="898"/>
                  </a:lnTo>
                  <a:lnTo>
                    <a:pt x="373" y="900"/>
                  </a:lnTo>
                  <a:lnTo>
                    <a:pt x="373" y="900"/>
                  </a:lnTo>
                  <a:lnTo>
                    <a:pt x="373" y="900"/>
                  </a:lnTo>
                  <a:lnTo>
                    <a:pt x="373" y="900"/>
                  </a:lnTo>
                  <a:lnTo>
                    <a:pt x="373" y="900"/>
                  </a:lnTo>
                  <a:lnTo>
                    <a:pt x="371" y="900"/>
                  </a:lnTo>
                  <a:lnTo>
                    <a:pt x="371" y="900"/>
                  </a:lnTo>
                  <a:lnTo>
                    <a:pt x="371" y="900"/>
                  </a:lnTo>
                  <a:lnTo>
                    <a:pt x="371" y="900"/>
                  </a:lnTo>
                  <a:lnTo>
                    <a:pt x="369" y="900"/>
                  </a:lnTo>
                  <a:lnTo>
                    <a:pt x="367" y="898"/>
                  </a:lnTo>
                  <a:lnTo>
                    <a:pt x="367" y="898"/>
                  </a:lnTo>
                  <a:lnTo>
                    <a:pt x="369" y="900"/>
                  </a:lnTo>
                  <a:lnTo>
                    <a:pt x="369" y="900"/>
                  </a:lnTo>
                  <a:lnTo>
                    <a:pt x="369" y="900"/>
                  </a:lnTo>
                  <a:lnTo>
                    <a:pt x="369" y="900"/>
                  </a:lnTo>
                  <a:lnTo>
                    <a:pt x="367" y="900"/>
                  </a:lnTo>
                  <a:lnTo>
                    <a:pt x="367" y="900"/>
                  </a:lnTo>
                  <a:lnTo>
                    <a:pt x="363" y="900"/>
                  </a:lnTo>
                  <a:lnTo>
                    <a:pt x="365" y="900"/>
                  </a:lnTo>
                  <a:lnTo>
                    <a:pt x="365" y="900"/>
                  </a:lnTo>
                  <a:lnTo>
                    <a:pt x="365" y="900"/>
                  </a:lnTo>
                  <a:lnTo>
                    <a:pt x="363" y="900"/>
                  </a:lnTo>
                  <a:lnTo>
                    <a:pt x="365" y="900"/>
                  </a:lnTo>
                  <a:lnTo>
                    <a:pt x="365" y="900"/>
                  </a:lnTo>
                  <a:lnTo>
                    <a:pt x="365" y="900"/>
                  </a:lnTo>
                  <a:lnTo>
                    <a:pt x="365" y="902"/>
                  </a:lnTo>
                  <a:lnTo>
                    <a:pt x="365" y="902"/>
                  </a:lnTo>
                  <a:lnTo>
                    <a:pt x="363" y="902"/>
                  </a:lnTo>
                  <a:lnTo>
                    <a:pt x="363" y="900"/>
                  </a:lnTo>
                  <a:lnTo>
                    <a:pt x="363" y="902"/>
                  </a:lnTo>
                  <a:lnTo>
                    <a:pt x="360" y="902"/>
                  </a:lnTo>
                  <a:lnTo>
                    <a:pt x="360" y="902"/>
                  </a:lnTo>
                  <a:lnTo>
                    <a:pt x="363" y="902"/>
                  </a:lnTo>
                  <a:lnTo>
                    <a:pt x="360" y="902"/>
                  </a:lnTo>
                  <a:lnTo>
                    <a:pt x="360" y="902"/>
                  </a:lnTo>
                  <a:lnTo>
                    <a:pt x="358" y="902"/>
                  </a:lnTo>
                  <a:lnTo>
                    <a:pt x="358" y="900"/>
                  </a:lnTo>
                  <a:lnTo>
                    <a:pt x="356" y="900"/>
                  </a:lnTo>
                  <a:lnTo>
                    <a:pt x="356" y="900"/>
                  </a:lnTo>
                  <a:lnTo>
                    <a:pt x="356" y="902"/>
                  </a:lnTo>
                  <a:lnTo>
                    <a:pt x="354" y="902"/>
                  </a:lnTo>
                  <a:lnTo>
                    <a:pt x="354" y="902"/>
                  </a:lnTo>
                  <a:lnTo>
                    <a:pt x="354" y="900"/>
                  </a:lnTo>
                  <a:lnTo>
                    <a:pt x="354" y="900"/>
                  </a:lnTo>
                  <a:lnTo>
                    <a:pt x="354" y="900"/>
                  </a:lnTo>
                  <a:lnTo>
                    <a:pt x="352" y="900"/>
                  </a:lnTo>
                  <a:lnTo>
                    <a:pt x="352" y="900"/>
                  </a:lnTo>
                  <a:lnTo>
                    <a:pt x="352" y="900"/>
                  </a:lnTo>
                  <a:lnTo>
                    <a:pt x="352" y="898"/>
                  </a:lnTo>
                  <a:lnTo>
                    <a:pt x="352" y="900"/>
                  </a:lnTo>
                  <a:lnTo>
                    <a:pt x="350" y="900"/>
                  </a:lnTo>
                  <a:lnTo>
                    <a:pt x="350" y="900"/>
                  </a:lnTo>
                  <a:lnTo>
                    <a:pt x="350" y="900"/>
                  </a:lnTo>
                  <a:lnTo>
                    <a:pt x="350" y="900"/>
                  </a:lnTo>
                  <a:lnTo>
                    <a:pt x="348" y="900"/>
                  </a:lnTo>
                  <a:lnTo>
                    <a:pt x="348" y="900"/>
                  </a:lnTo>
                  <a:lnTo>
                    <a:pt x="348" y="900"/>
                  </a:lnTo>
                  <a:lnTo>
                    <a:pt x="348" y="900"/>
                  </a:lnTo>
                  <a:lnTo>
                    <a:pt x="348" y="900"/>
                  </a:lnTo>
                  <a:lnTo>
                    <a:pt x="348" y="900"/>
                  </a:lnTo>
                  <a:lnTo>
                    <a:pt x="348" y="900"/>
                  </a:lnTo>
                  <a:lnTo>
                    <a:pt x="348" y="900"/>
                  </a:lnTo>
                  <a:lnTo>
                    <a:pt x="348" y="900"/>
                  </a:lnTo>
                  <a:lnTo>
                    <a:pt x="348" y="900"/>
                  </a:lnTo>
                  <a:lnTo>
                    <a:pt x="348" y="900"/>
                  </a:lnTo>
                  <a:lnTo>
                    <a:pt x="348" y="902"/>
                  </a:lnTo>
                  <a:lnTo>
                    <a:pt x="346" y="902"/>
                  </a:lnTo>
                  <a:lnTo>
                    <a:pt x="346" y="902"/>
                  </a:lnTo>
                  <a:lnTo>
                    <a:pt x="346" y="902"/>
                  </a:lnTo>
                  <a:lnTo>
                    <a:pt x="346" y="900"/>
                  </a:lnTo>
                  <a:lnTo>
                    <a:pt x="346" y="900"/>
                  </a:lnTo>
                  <a:lnTo>
                    <a:pt x="344" y="900"/>
                  </a:lnTo>
                  <a:lnTo>
                    <a:pt x="344" y="900"/>
                  </a:lnTo>
                  <a:lnTo>
                    <a:pt x="344" y="900"/>
                  </a:lnTo>
                  <a:lnTo>
                    <a:pt x="344" y="900"/>
                  </a:lnTo>
                  <a:lnTo>
                    <a:pt x="344" y="900"/>
                  </a:lnTo>
                  <a:lnTo>
                    <a:pt x="344" y="900"/>
                  </a:lnTo>
                  <a:lnTo>
                    <a:pt x="342" y="900"/>
                  </a:lnTo>
                  <a:lnTo>
                    <a:pt x="342" y="900"/>
                  </a:lnTo>
                  <a:lnTo>
                    <a:pt x="338" y="900"/>
                  </a:lnTo>
                  <a:lnTo>
                    <a:pt x="338" y="900"/>
                  </a:lnTo>
                  <a:lnTo>
                    <a:pt x="338" y="900"/>
                  </a:lnTo>
                  <a:lnTo>
                    <a:pt x="346" y="902"/>
                  </a:lnTo>
                  <a:lnTo>
                    <a:pt x="348" y="902"/>
                  </a:lnTo>
                  <a:lnTo>
                    <a:pt x="348" y="902"/>
                  </a:lnTo>
                  <a:lnTo>
                    <a:pt x="348" y="902"/>
                  </a:lnTo>
                  <a:lnTo>
                    <a:pt x="350" y="902"/>
                  </a:lnTo>
                  <a:lnTo>
                    <a:pt x="350" y="902"/>
                  </a:lnTo>
                  <a:lnTo>
                    <a:pt x="350" y="902"/>
                  </a:lnTo>
                  <a:lnTo>
                    <a:pt x="352" y="902"/>
                  </a:lnTo>
                  <a:lnTo>
                    <a:pt x="354" y="904"/>
                  </a:lnTo>
                  <a:lnTo>
                    <a:pt x="354" y="904"/>
                  </a:lnTo>
                  <a:lnTo>
                    <a:pt x="354" y="906"/>
                  </a:lnTo>
                  <a:lnTo>
                    <a:pt x="356" y="906"/>
                  </a:lnTo>
                  <a:lnTo>
                    <a:pt x="356" y="906"/>
                  </a:lnTo>
                  <a:lnTo>
                    <a:pt x="356" y="904"/>
                  </a:lnTo>
                  <a:lnTo>
                    <a:pt x="356" y="904"/>
                  </a:lnTo>
                  <a:lnTo>
                    <a:pt x="356" y="904"/>
                  </a:lnTo>
                  <a:lnTo>
                    <a:pt x="356" y="904"/>
                  </a:lnTo>
                  <a:lnTo>
                    <a:pt x="356" y="904"/>
                  </a:lnTo>
                  <a:lnTo>
                    <a:pt x="356" y="904"/>
                  </a:lnTo>
                  <a:lnTo>
                    <a:pt x="358" y="906"/>
                  </a:lnTo>
                  <a:lnTo>
                    <a:pt x="358" y="906"/>
                  </a:lnTo>
                  <a:lnTo>
                    <a:pt x="358" y="906"/>
                  </a:lnTo>
                  <a:lnTo>
                    <a:pt x="360" y="906"/>
                  </a:lnTo>
                  <a:lnTo>
                    <a:pt x="360" y="906"/>
                  </a:lnTo>
                  <a:lnTo>
                    <a:pt x="360" y="906"/>
                  </a:lnTo>
                  <a:lnTo>
                    <a:pt x="363" y="906"/>
                  </a:lnTo>
                  <a:lnTo>
                    <a:pt x="363" y="906"/>
                  </a:lnTo>
                  <a:lnTo>
                    <a:pt x="363" y="906"/>
                  </a:lnTo>
                  <a:lnTo>
                    <a:pt x="363" y="906"/>
                  </a:lnTo>
                  <a:lnTo>
                    <a:pt x="363" y="906"/>
                  </a:lnTo>
                  <a:lnTo>
                    <a:pt x="363" y="906"/>
                  </a:lnTo>
                  <a:lnTo>
                    <a:pt x="363" y="904"/>
                  </a:lnTo>
                  <a:lnTo>
                    <a:pt x="363" y="906"/>
                  </a:lnTo>
                  <a:lnTo>
                    <a:pt x="363" y="906"/>
                  </a:lnTo>
                  <a:lnTo>
                    <a:pt x="363" y="906"/>
                  </a:lnTo>
                  <a:lnTo>
                    <a:pt x="363" y="906"/>
                  </a:lnTo>
                  <a:lnTo>
                    <a:pt x="363" y="904"/>
                  </a:lnTo>
                  <a:lnTo>
                    <a:pt x="363" y="904"/>
                  </a:lnTo>
                  <a:lnTo>
                    <a:pt x="363" y="904"/>
                  </a:lnTo>
                  <a:lnTo>
                    <a:pt x="365" y="904"/>
                  </a:lnTo>
                  <a:lnTo>
                    <a:pt x="365" y="906"/>
                  </a:lnTo>
                  <a:lnTo>
                    <a:pt x="365" y="904"/>
                  </a:lnTo>
                  <a:lnTo>
                    <a:pt x="365" y="906"/>
                  </a:lnTo>
                  <a:lnTo>
                    <a:pt x="365" y="906"/>
                  </a:lnTo>
                  <a:lnTo>
                    <a:pt x="365" y="906"/>
                  </a:lnTo>
                  <a:lnTo>
                    <a:pt x="367" y="908"/>
                  </a:lnTo>
                  <a:lnTo>
                    <a:pt x="367" y="906"/>
                  </a:lnTo>
                  <a:lnTo>
                    <a:pt x="367" y="904"/>
                  </a:lnTo>
                  <a:lnTo>
                    <a:pt x="369" y="904"/>
                  </a:lnTo>
                  <a:lnTo>
                    <a:pt x="369" y="904"/>
                  </a:lnTo>
                  <a:lnTo>
                    <a:pt x="367" y="904"/>
                  </a:lnTo>
                  <a:lnTo>
                    <a:pt x="367" y="904"/>
                  </a:lnTo>
                  <a:lnTo>
                    <a:pt x="367" y="904"/>
                  </a:lnTo>
                  <a:lnTo>
                    <a:pt x="367" y="904"/>
                  </a:lnTo>
                  <a:lnTo>
                    <a:pt x="367" y="904"/>
                  </a:lnTo>
                  <a:lnTo>
                    <a:pt x="369" y="904"/>
                  </a:lnTo>
                  <a:lnTo>
                    <a:pt x="369" y="904"/>
                  </a:lnTo>
                  <a:lnTo>
                    <a:pt x="369" y="904"/>
                  </a:lnTo>
                  <a:lnTo>
                    <a:pt x="371" y="904"/>
                  </a:lnTo>
                  <a:lnTo>
                    <a:pt x="371" y="904"/>
                  </a:lnTo>
                  <a:lnTo>
                    <a:pt x="371" y="904"/>
                  </a:lnTo>
                  <a:lnTo>
                    <a:pt x="371" y="906"/>
                  </a:lnTo>
                  <a:lnTo>
                    <a:pt x="371" y="906"/>
                  </a:lnTo>
                  <a:lnTo>
                    <a:pt x="373" y="906"/>
                  </a:lnTo>
                  <a:lnTo>
                    <a:pt x="373" y="906"/>
                  </a:lnTo>
                  <a:lnTo>
                    <a:pt x="373" y="906"/>
                  </a:lnTo>
                  <a:lnTo>
                    <a:pt x="373" y="906"/>
                  </a:lnTo>
                  <a:lnTo>
                    <a:pt x="373" y="906"/>
                  </a:lnTo>
                  <a:lnTo>
                    <a:pt x="373" y="904"/>
                  </a:lnTo>
                  <a:lnTo>
                    <a:pt x="373" y="906"/>
                  </a:lnTo>
                  <a:lnTo>
                    <a:pt x="375" y="906"/>
                  </a:lnTo>
                  <a:lnTo>
                    <a:pt x="375" y="906"/>
                  </a:lnTo>
                  <a:lnTo>
                    <a:pt x="375" y="906"/>
                  </a:lnTo>
                  <a:lnTo>
                    <a:pt x="375" y="906"/>
                  </a:lnTo>
                  <a:lnTo>
                    <a:pt x="375" y="906"/>
                  </a:lnTo>
                  <a:lnTo>
                    <a:pt x="375" y="906"/>
                  </a:lnTo>
                  <a:lnTo>
                    <a:pt x="377" y="906"/>
                  </a:lnTo>
                  <a:lnTo>
                    <a:pt x="377" y="906"/>
                  </a:lnTo>
                  <a:lnTo>
                    <a:pt x="377" y="906"/>
                  </a:lnTo>
                  <a:lnTo>
                    <a:pt x="377" y="906"/>
                  </a:lnTo>
                  <a:lnTo>
                    <a:pt x="377" y="904"/>
                  </a:lnTo>
                  <a:close/>
                  <a:moveTo>
                    <a:pt x="717" y="262"/>
                  </a:moveTo>
                  <a:lnTo>
                    <a:pt x="719" y="262"/>
                  </a:lnTo>
                  <a:lnTo>
                    <a:pt x="719" y="262"/>
                  </a:lnTo>
                  <a:lnTo>
                    <a:pt x="719" y="262"/>
                  </a:lnTo>
                  <a:lnTo>
                    <a:pt x="719" y="262"/>
                  </a:lnTo>
                  <a:lnTo>
                    <a:pt x="719" y="262"/>
                  </a:lnTo>
                  <a:lnTo>
                    <a:pt x="721" y="262"/>
                  </a:lnTo>
                  <a:lnTo>
                    <a:pt x="721" y="262"/>
                  </a:lnTo>
                  <a:lnTo>
                    <a:pt x="721" y="260"/>
                  </a:lnTo>
                  <a:lnTo>
                    <a:pt x="719" y="262"/>
                  </a:lnTo>
                  <a:lnTo>
                    <a:pt x="719" y="262"/>
                  </a:lnTo>
                  <a:lnTo>
                    <a:pt x="719" y="262"/>
                  </a:lnTo>
                  <a:lnTo>
                    <a:pt x="717" y="262"/>
                  </a:lnTo>
                  <a:lnTo>
                    <a:pt x="717" y="262"/>
                  </a:lnTo>
                  <a:close/>
                  <a:moveTo>
                    <a:pt x="1638" y="687"/>
                  </a:moveTo>
                  <a:lnTo>
                    <a:pt x="1638" y="687"/>
                  </a:lnTo>
                  <a:lnTo>
                    <a:pt x="1638" y="687"/>
                  </a:lnTo>
                  <a:lnTo>
                    <a:pt x="1638" y="684"/>
                  </a:lnTo>
                  <a:lnTo>
                    <a:pt x="1636" y="682"/>
                  </a:lnTo>
                  <a:lnTo>
                    <a:pt x="1634" y="680"/>
                  </a:lnTo>
                  <a:lnTo>
                    <a:pt x="1634" y="680"/>
                  </a:lnTo>
                  <a:lnTo>
                    <a:pt x="1634" y="680"/>
                  </a:lnTo>
                  <a:lnTo>
                    <a:pt x="1632" y="678"/>
                  </a:lnTo>
                  <a:lnTo>
                    <a:pt x="1632" y="680"/>
                  </a:lnTo>
                  <a:lnTo>
                    <a:pt x="1632" y="680"/>
                  </a:lnTo>
                  <a:lnTo>
                    <a:pt x="1632" y="680"/>
                  </a:lnTo>
                  <a:lnTo>
                    <a:pt x="1630" y="680"/>
                  </a:lnTo>
                  <a:lnTo>
                    <a:pt x="1630" y="680"/>
                  </a:lnTo>
                  <a:lnTo>
                    <a:pt x="1628" y="680"/>
                  </a:lnTo>
                  <a:lnTo>
                    <a:pt x="1628" y="678"/>
                  </a:lnTo>
                  <a:lnTo>
                    <a:pt x="1626" y="678"/>
                  </a:lnTo>
                  <a:lnTo>
                    <a:pt x="1626" y="676"/>
                  </a:lnTo>
                  <a:lnTo>
                    <a:pt x="1626" y="676"/>
                  </a:lnTo>
                  <a:lnTo>
                    <a:pt x="1624" y="676"/>
                  </a:lnTo>
                  <a:lnTo>
                    <a:pt x="1622" y="676"/>
                  </a:lnTo>
                  <a:lnTo>
                    <a:pt x="1622" y="676"/>
                  </a:lnTo>
                  <a:lnTo>
                    <a:pt x="1622" y="676"/>
                  </a:lnTo>
                  <a:lnTo>
                    <a:pt x="1624" y="678"/>
                  </a:lnTo>
                  <a:lnTo>
                    <a:pt x="1624" y="678"/>
                  </a:lnTo>
                  <a:lnTo>
                    <a:pt x="1624" y="678"/>
                  </a:lnTo>
                  <a:lnTo>
                    <a:pt x="1624" y="680"/>
                  </a:lnTo>
                  <a:lnTo>
                    <a:pt x="1624" y="680"/>
                  </a:lnTo>
                  <a:lnTo>
                    <a:pt x="1624" y="680"/>
                  </a:lnTo>
                  <a:lnTo>
                    <a:pt x="1624" y="680"/>
                  </a:lnTo>
                  <a:lnTo>
                    <a:pt x="1624" y="682"/>
                  </a:lnTo>
                  <a:lnTo>
                    <a:pt x="1624" y="682"/>
                  </a:lnTo>
                  <a:lnTo>
                    <a:pt x="1626" y="682"/>
                  </a:lnTo>
                  <a:lnTo>
                    <a:pt x="1626" y="682"/>
                  </a:lnTo>
                  <a:lnTo>
                    <a:pt x="1626" y="687"/>
                  </a:lnTo>
                  <a:lnTo>
                    <a:pt x="1626" y="687"/>
                  </a:lnTo>
                  <a:lnTo>
                    <a:pt x="1628" y="689"/>
                  </a:lnTo>
                  <a:lnTo>
                    <a:pt x="1630" y="689"/>
                  </a:lnTo>
                  <a:lnTo>
                    <a:pt x="1630" y="689"/>
                  </a:lnTo>
                  <a:lnTo>
                    <a:pt x="1632" y="689"/>
                  </a:lnTo>
                  <a:lnTo>
                    <a:pt x="1632" y="689"/>
                  </a:lnTo>
                  <a:lnTo>
                    <a:pt x="1634" y="691"/>
                  </a:lnTo>
                  <a:lnTo>
                    <a:pt x="1634" y="691"/>
                  </a:lnTo>
                  <a:lnTo>
                    <a:pt x="1634" y="691"/>
                  </a:lnTo>
                  <a:lnTo>
                    <a:pt x="1634" y="689"/>
                  </a:lnTo>
                  <a:lnTo>
                    <a:pt x="1634" y="689"/>
                  </a:lnTo>
                  <a:lnTo>
                    <a:pt x="1636" y="691"/>
                  </a:lnTo>
                  <a:lnTo>
                    <a:pt x="1636" y="691"/>
                  </a:lnTo>
                  <a:lnTo>
                    <a:pt x="1636" y="691"/>
                  </a:lnTo>
                  <a:lnTo>
                    <a:pt x="1636" y="691"/>
                  </a:lnTo>
                  <a:lnTo>
                    <a:pt x="1638" y="691"/>
                  </a:lnTo>
                  <a:lnTo>
                    <a:pt x="1638" y="691"/>
                  </a:lnTo>
                  <a:lnTo>
                    <a:pt x="1638" y="689"/>
                  </a:lnTo>
                  <a:lnTo>
                    <a:pt x="1638" y="687"/>
                  </a:lnTo>
                  <a:lnTo>
                    <a:pt x="1638" y="687"/>
                  </a:lnTo>
                  <a:lnTo>
                    <a:pt x="1638" y="687"/>
                  </a:lnTo>
                  <a:close/>
                  <a:moveTo>
                    <a:pt x="1049" y="584"/>
                  </a:moveTo>
                  <a:lnTo>
                    <a:pt x="1049" y="584"/>
                  </a:lnTo>
                  <a:lnTo>
                    <a:pt x="1049" y="584"/>
                  </a:lnTo>
                  <a:lnTo>
                    <a:pt x="1049" y="584"/>
                  </a:lnTo>
                  <a:lnTo>
                    <a:pt x="1049" y="584"/>
                  </a:lnTo>
                  <a:lnTo>
                    <a:pt x="1047" y="584"/>
                  </a:lnTo>
                  <a:lnTo>
                    <a:pt x="1049" y="584"/>
                  </a:lnTo>
                  <a:lnTo>
                    <a:pt x="1049" y="584"/>
                  </a:lnTo>
                  <a:lnTo>
                    <a:pt x="1049" y="586"/>
                  </a:lnTo>
                  <a:lnTo>
                    <a:pt x="1049" y="586"/>
                  </a:lnTo>
                  <a:lnTo>
                    <a:pt x="1051" y="586"/>
                  </a:lnTo>
                  <a:lnTo>
                    <a:pt x="1049" y="586"/>
                  </a:lnTo>
                  <a:lnTo>
                    <a:pt x="1049" y="584"/>
                  </a:lnTo>
                  <a:lnTo>
                    <a:pt x="1049" y="584"/>
                  </a:lnTo>
                  <a:close/>
                  <a:moveTo>
                    <a:pt x="1026" y="623"/>
                  </a:moveTo>
                  <a:lnTo>
                    <a:pt x="1026" y="625"/>
                  </a:lnTo>
                  <a:lnTo>
                    <a:pt x="1026" y="625"/>
                  </a:lnTo>
                  <a:lnTo>
                    <a:pt x="1026" y="625"/>
                  </a:lnTo>
                  <a:lnTo>
                    <a:pt x="1024" y="625"/>
                  </a:lnTo>
                  <a:lnTo>
                    <a:pt x="1024" y="625"/>
                  </a:lnTo>
                  <a:lnTo>
                    <a:pt x="1024" y="625"/>
                  </a:lnTo>
                  <a:lnTo>
                    <a:pt x="1024" y="627"/>
                  </a:lnTo>
                  <a:lnTo>
                    <a:pt x="1024" y="627"/>
                  </a:lnTo>
                  <a:lnTo>
                    <a:pt x="1024" y="627"/>
                  </a:lnTo>
                  <a:lnTo>
                    <a:pt x="1024" y="627"/>
                  </a:lnTo>
                  <a:lnTo>
                    <a:pt x="1024" y="627"/>
                  </a:lnTo>
                  <a:lnTo>
                    <a:pt x="1026" y="629"/>
                  </a:lnTo>
                  <a:lnTo>
                    <a:pt x="1028" y="627"/>
                  </a:lnTo>
                  <a:lnTo>
                    <a:pt x="1028" y="627"/>
                  </a:lnTo>
                  <a:lnTo>
                    <a:pt x="1030" y="627"/>
                  </a:lnTo>
                  <a:lnTo>
                    <a:pt x="1030" y="625"/>
                  </a:lnTo>
                  <a:lnTo>
                    <a:pt x="1028" y="623"/>
                  </a:lnTo>
                  <a:lnTo>
                    <a:pt x="1026" y="623"/>
                  </a:lnTo>
                  <a:close/>
                  <a:moveTo>
                    <a:pt x="1706" y="709"/>
                  </a:moveTo>
                  <a:lnTo>
                    <a:pt x="1706" y="709"/>
                  </a:lnTo>
                  <a:lnTo>
                    <a:pt x="1706" y="709"/>
                  </a:lnTo>
                  <a:lnTo>
                    <a:pt x="1704" y="705"/>
                  </a:lnTo>
                  <a:lnTo>
                    <a:pt x="1704" y="705"/>
                  </a:lnTo>
                  <a:lnTo>
                    <a:pt x="1704" y="705"/>
                  </a:lnTo>
                  <a:lnTo>
                    <a:pt x="1702" y="703"/>
                  </a:lnTo>
                  <a:lnTo>
                    <a:pt x="1702" y="703"/>
                  </a:lnTo>
                  <a:lnTo>
                    <a:pt x="1702" y="703"/>
                  </a:lnTo>
                  <a:lnTo>
                    <a:pt x="1700" y="701"/>
                  </a:lnTo>
                  <a:lnTo>
                    <a:pt x="1700" y="699"/>
                  </a:lnTo>
                  <a:lnTo>
                    <a:pt x="1700" y="699"/>
                  </a:lnTo>
                  <a:lnTo>
                    <a:pt x="1698" y="699"/>
                  </a:lnTo>
                  <a:lnTo>
                    <a:pt x="1698" y="697"/>
                  </a:lnTo>
                  <a:lnTo>
                    <a:pt x="1698" y="697"/>
                  </a:lnTo>
                  <a:lnTo>
                    <a:pt x="1698" y="695"/>
                  </a:lnTo>
                  <a:lnTo>
                    <a:pt x="1698" y="695"/>
                  </a:lnTo>
                  <a:lnTo>
                    <a:pt x="1698" y="693"/>
                  </a:lnTo>
                  <a:lnTo>
                    <a:pt x="1696" y="693"/>
                  </a:lnTo>
                  <a:lnTo>
                    <a:pt x="1696" y="693"/>
                  </a:lnTo>
                  <a:lnTo>
                    <a:pt x="1696" y="693"/>
                  </a:lnTo>
                  <a:lnTo>
                    <a:pt x="1696" y="691"/>
                  </a:lnTo>
                  <a:lnTo>
                    <a:pt x="1696" y="691"/>
                  </a:lnTo>
                  <a:lnTo>
                    <a:pt x="1696" y="691"/>
                  </a:lnTo>
                  <a:lnTo>
                    <a:pt x="1696" y="691"/>
                  </a:lnTo>
                  <a:lnTo>
                    <a:pt x="1696" y="691"/>
                  </a:lnTo>
                  <a:lnTo>
                    <a:pt x="1696" y="691"/>
                  </a:lnTo>
                  <a:lnTo>
                    <a:pt x="1696" y="689"/>
                  </a:lnTo>
                  <a:lnTo>
                    <a:pt x="1696" y="689"/>
                  </a:lnTo>
                  <a:lnTo>
                    <a:pt x="1696" y="687"/>
                  </a:lnTo>
                  <a:lnTo>
                    <a:pt x="1696" y="684"/>
                  </a:lnTo>
                  <a:lnTo>
                    <a:pt x="1696" y="682"/>
                  </a:lnTo>
                  <a:lnTo>
                    <a:pt x="1696" y="682"/>
                  </a:lnTo>
                  <a:lnTo>
                    <a:pt x="1696" y="680"/>
                  </a:lnTo>
                  <a:lnTo>
                    <a:pt x="1696" y="678"/>
                  </a:lnTo>
                  <a:lnTo>
                    <a:pt x="1694" y="676"/>
                  </a:lnTo>
                  <a:lnTo>
                    <a:pt x="1694" y="676"/>
                  </a:lnTo>
                  <a:lnTo>
                    <a:pt x="1694" y="674"/>
                  </a:lnTo>
                  <a:lnTo>
                    <a:pt x="1692" y="674"/>
                  </a:lnTo>
                  <a:lnTo>
                    <a:pt x="1692" y="672"/>
                  </a:lnTo>
                  <a:lnTo>
                    <a:pt x="1690" y="672"/>
                  </a:lnTo>
                  <a:lnTo>
                    <a:pt x="1688" y="674"/>
                  </a:lnTo>
                  <a:lnTo>
                    <a:pt x="1688" y="674"/>
                  </a:lnTo>
                  <a:lnTo>
                    <a:pt x="1686" y="674"/>
                  </a:lnTo>
                  <a:lnTo>
                    <a:pt x="1681" y="674"/>
                  </a:lnTo>
                  <a:lnTo>
                    <a:pt x="1681" y="674"/>
                  </a:lnTo>
                  <a:lnTo>
                    <a:pt x="1681" y="674"/>
                  </a:lnTo>
                  <a:lnTo>
                    <a:pt x="1679" y="672"/>
                  </a:lnTo>
                  <a:lnTo>
                    <a:pt x="1677" y="670"/>
                  </a:lnTo>
                  <a:lnTo>
                    <a:pt x="1677" y="670"/>
                  </a:lnTo>
                  <a:lnTo>
                    <a:pt x="1675" y="670"/>
                  </a:lnTo>
                  <a:lnTo>
                    <a:pt x="1673" y="670"/>
                  </a:lnTo>
                  <a:lnTo>
                    <a:pt x="1669" y="668"/>
                  </a:lnTo>
                  <a:lnTo>
                    <a:pt x="1665" y="668"/>
                  </a:lnTo>
                  <a:lnTo>
                    <a:pt x="1661" y="668"/>
                  </a:lnTo>
                  <a:lnTo>
                    <a:pt x="1659" y="668"/>
                  </a:lnTo>
                  <a:lnTo>
                    <a:pt x="1655" y="666"/>
                  </a:lnTo>
                  <a:lnTo>
                    <a:pt x="1651" y="666"/>
                  </a:lnTo>
                  <a:lnTo>
                    <a:pt x="1645" y="664"/>
                  </a:lnTo>
                  <a:lnTo>
                    <a:pt x="1643" y="664"/>
                  </a:lnTo>
                  <a:lnTo>
                    <a:pt x="1643" y="664"/>
                  </a:lnTo>
                  <a:lnTo>
                    <a:pt x="1643" y="664"/>
                  </a:lnTo>
                  <a:lnTo>
                    <a:pt x="1638" y="664"/>
                  </a:lnTo>
                  <a:lnTo>
                    <a:pt x="1636" y="666"/>
                  </a:lnTo>
                  <a:lnTo>
                    <a:pt x="1634" y="666"/>
                  </a:lnTo>
                  <a:lnTo>
                    <a:pt x="1634" y="666"/>
                  </a:lnTo>
                  <a:lnTo>
                    <a:pt x="1634" y="664"/>
                  </a:lnTo>
                  <a:lnTo>
                    <a:pt x="1634" y="662"/>
                  </a:lnTo>
                  <a:lnTo>
                    <a:pt x="1634" y="662"/>
                  </a:lnTo>
                  <a:lnTo>
                    <a:pt x="1632" y="660"/>
                  </a:lnTo>
                  <a:lnTo>
                    <a:pt x="1632" y="660"/>
                  </a:lnTo>
                  <a:lnTo>
                    <a:pt x="1630" y="660"/>
                  </a:lnTo>
                  <a:lnTo>
                    <a:pt x="1630" y="658"/>
                  </a:lnTo>
                  <a:lnTo>
                    <a:pt x="1630" y="658"/>
                  </a:lnTo>
                  <a:lnTo>
                    <a:pt x="1630" y="658"/>
                  </a:lnTo>
                  <a:lnTo>
                    <a:pt x="1630" y="656"/>
                  </a:lnTo>
                  <a:lnTo>
                    <a:pt x="1630" y="656"/>
                  </a:lnTo>
                  <a:lnTo>
                    <a:pt x="1624" y="656"/>
                  </a:lnTo>
                  <a:lnTo>
                    <a:pt x="1622" y="646"/>
                  </a:lnTo>
                  <a:lnTo>
                    <a:pt x="1618" y="646"/>
                  </a:lnTo>
                  <a:lnTo>
                    <a:pt x="1614" y="646"/>
                  </a:lnTo>
                  <a:lnTo>
                    <a:pt x="1614" y="643"/>
                  </a:lnTo>
                  <a:lnTo>
                    <a:pt x="1614" y="639"/>
                  </a:lnTo>
                  <a:lnTo>
                    <a:pt x="1612" y="635"/>
                  </a:lnTo>
                  <a:lnTo>
                    <a:pt x="1608" y="633"/>
                  </a:lnTo>
                  <a:lnTo>
                    <a:pt x="1604" y="631"/>
                  </a:lnTo>
                  <a:lnTo>
                    <a:pt x="1602" y="627"/>
                  </a:lnTo>
                  <a:lnTo>
                    <a:pt x="1598" y="625"/>
                  </a:lnTo>
                  <a:lnTo>
                    <a:pt x="1593" y="621"/>
                  </a:lnTo>
                  <a:lnTo>
                    <a:pt x="1589" y="615"/>
                  </a:lnTo>
                  <a:lnTo>
                    <a:pt x="1585" y="613"/>
                  </a:lnTo>
                  <a:lnTo>
                    <a:pt x="1579" y="607"/>
                  </a:lnTo>
                  <a:lnTo>
                    <a:pt x="1573" y="600"/>
                  </a:lnTo>
                  <a:lnTo>
                    <a:pt x="1567" y="594"/>
                  </a:lnTo>
                  <a:lnTo>
                    <a:pt x="1563" y="592"/>
                  </a:lnTo>
                  <a:lnTo>
                    <a:pt x="1565" y="588"/>
                  </a:lnTo>
                  <a:lnTo>
                    <a:pt x="1552" y="582"/>
                  </a:lnTo>
                  <a:lnTo>
                    <a:pt x="1546" y="578"/>
                  </a:lnTo>
                  <a:lnTo>
                    <a:pt x="1534" y="574"/>
                  </a:lnTo>
                  <a:lnTo>
                    <a:pt x="1532" y="572"/>
                  </a:lnTo>
                  <a:lnTo>
                    <a:pt x="1532" y="570"/>
                  </a:lnTo>
                  <a:lnTo>
                    <a:pt x="1530" y="570"/>
                  </a:lnTo>
                  <a:lnTo>
                    <a:pt x="1528" y="566"/>
                  </a:lnTo>
                  <a:lnTo>
                    <a:pt x="1524" y="564"/>
                  </a:lnTo>
                  <a:lnTo>
                    <a:pt x="1522" y="564"/>
                  </a:lnTo>
                  <a:lnTo>
                    <a:pt x="1518" y="562"/>
                  </a:lnTo>
                  <a:lnTo>
                    <a:pt x="1518" y="559"/>
                  </a:lnTo>
                  <a:lnTo>
                    <a:pt x="1509" y="559"/>
                  </a:lnTo>
                  <a:lnTo>
                    <a:pt x="1507" y="555"/>
                  </a:lnTo>
                  <a:lnTo>
                    <a:pt x="1507" y="553"/>
                  </a:lnTo>
                  <a:lnTo>
                    <a:pt x="1505" y="553"/>
                  </a:lnTo>
                  <a:lnTo>
                    <a:pt x="1505" y="551"/>
                  </a:lnTo>
                  <a:lnTo>
                    <a:pt x="1505" y="549"/>
                  </a:lnTo>
                  <a:lnTo>
                    <a:pt x="1503" y="545"/>
                  </a:lnTo>
                  <a:lnTo>
                    <a:pt x="1501" y="543"/>
                  </a:lnTo>
                  <a:lnTo>
                    <a:pt x="1499" y="543"/>
                  </a:lnTo>
                  <a:lnTo>
                    <a:pt x="1497" y="541"/>
                  </a:lnTo>
                  <a:lnTo>
                    <a:pt x="1497" y="539"/>
                  </a:lnTo>
                  <a:lnTo>
                    <a:pt x="1493" y="539"/>
                  </a:lnTo>
                  <a:lnTo>
                    <a:pt x="1489" y="537"/>
                  </a:lnTo>
                  <a:lnTo>
                    <a:pt x="1479" y="547"/>
                  </a:lnTo>
                  <a:lnTo>
                    <a:pt x="1475" y="549"/>
                  </a:lnTo>
                  <a:lnTo>
                    <a:pt x="1473" y="551"/>
                  </a:lnTo>
                  <a:lnTo>
                    <a:pt x="1471" y="553"/>
                  </a:lnTo>
                  <a:lnTo>
                    <a:pt x="1475" y="553"/>
                  </a:lnTo>
                  <a:lnTo>
                    <a:pt x="1475" y="555"/>
                  </a:lnTo>
                  <a:lnTo>
                    <a:pt x="1475" y="559"/>
                  </a:lnTo>
                  <a:lnTo>
                    <a:pt x="1471" y="562"/>
                  </a:lnTo>
                  <a:lnTo>
                    <a:pt x="1468" y="559"/>
                  </a:lnTo>
                  <a:lnTo>
                    <a:pt x="1473" y="570"/>
                  </a:lnTo>
                  <a:lnTo>
                    <a:pt x="1471" y="576"/>
                  </a:lnTo>
                  <a:lnTo>
                    <a:pt x="1464" y="578"/>
                  </a:lnTo>
                  <a:lnTo>
                    <a:pt x="1454" y="590"/>
                  </a:lnTo>
                  <a:lnTo>
                    <a:pt x="1452" y="594"/>
                  </a:lnTo>
                  <a:lnTo>
                    <a:pt x="1450" y="596"/>
                  </a:lnTo>
                  <a:lnTo>
                    <a:pt x="1450" y="590"/>
                  </a:lnTo>
                  <a:lnTo>
                    <a:pt x="1444" y="580"/>
                  </a:lnTo>
                  <a:lnTo>
                    <a:pt x="1430" y="570"/>
                  </a:lnTo>
                  <a:lnTo>
                    <a:pt x="1411" y="559"/>
                  </a:lnTo>
                  <a:lnTo>
                    <a:pt x="1409" y="557"/>
                  </a:lnTo>
                  <a:lnTo>
                    <a:pt x="1407" y="551"/>
                  </a:lnTo>
                  <a:lnTo>
                    <a:pt x="1397" y="549"/>
                  </a:lnTo>
                  <a:lnTo>
                    <a:pt x="1393" y="545"/>
                  </a:lnTo>
                  <a:lnTo>
                    <a:pt x="1393" y="533"/>
                  </a:lnTo>
                  <a:lnTo>
                    <a:pt x="1393" y="531"/>
                  </a:lnTo>
                  <a:lnTo>
                    <a:pt x="1376" y="535"/>
                  </a:lnTo>
                  <a:lnTo>
                    <a:pt x="1372" y="545"/>
                  </a:lnTo>
                  <a:lnTo>
                    <a:pt x="1358" y="541"/>
                  </a:lnTo>
                  <a:lnTo>
                    <a:pt x="1358" y="545"/>
                  </a:lnTo>
                  <a:lnTo>
                    <a:pt x="1344" y="543"/>
                  </a:lnTo>
                  <a:lnTo>
                    <a:pt x="1344" y="537"/>
                  </a:lnTo>
                  <a:lnTo>
                    <a:pt x="1342" y="529"/>
                  </a:lnTo>
                  <a:lnTo>
                    <a:pt x="1339" y="521"/>
                  </a:lnTo>
                  <a:lnTo>
                    <a:pt x="1337" y="514"/>
                  </a:lnTo>
                  <a:lnTo>
                    <a:pt x="1337" y="506"/>
                  </a:lnTo>
                  <a:lnTo>
                    <a:pt x="1335" y="498"/>
                  </a:lnTo>
                  <a:lnTo>
                    <a:pt x="1333" y="492"/>
                  </a:lnTo>
                  <a:lnTo>
                    <a:pt x="1333" y="484"/>
                  </a:lnTo>
                  <a:lnTo>
                    <a:pt x="1331" y="475"/>
                  </a:lnTo>
                  <a:lnTo>
                    <a:pt x="1327" y="461"/>
                  </a:lnTo>
                  <a:lnTo>
                    <a:pt x="1327" y="455"/>
                  </a:lnTo>
                  <a:lnTo>
                    <a:pt x="1325" y="447"/>
                  </a:lnTo>
                  <a:lnTo>
                    <a:pt x="1323" y="439"/>
                  </a:lnTo>
                  <a:lnTo>
                    <a:pt x="1321" y="432"/>
                  </a:lnTo>
                  <a:lnTo>
                    <a:pt x="1321" y="424"/>
                  </a:lnTo>
                  <a:lnTo>
                    <a:pt x="1319" y="416"/>
                  </a:lnTo>
                  <a:lnTo>
                    <a:pt x="1317" y="410"/>
                  </a:lnTo>
                  <a:lnTo>
                    <a:pt x="1317" y="402"/>
                  </a:lnTo>
                  <a:lnTo>
                    <a:pt x="1315" y="393"/>
                  </a:lnTo>
                  <a:lnTo>
                    <a:pt x="1313" y="387"/>
                  </a:lnTo>
                  <a:lnTo>
                    <a:pt x="1311" y="379"/>
                  </a:lnTo>
                  <a:lnTo>
                    <a:pt x="1311" y="371"/>
                  </a:lnTo>
                  <a:lnTo>
                    <a:pt x="1309" y="365"/>
                  </a:lnTo>
                  <a:lnTo>
                    <a:pt x="1307" y="357"/>
                  </a:lnTo>
                  <a:lnTo>
                    <a:pt x="1307" y="350"/>
                  </a:lnTo>
                  <a:lnTo>
                    <a:pt x="1305" y="342"/>
                  </a:lnTo>
                  <a:lnTo>
                    <a:pt x="1303" y="334"/>
                  </a:lnTo>
                  <a:lnTo>
                    <a:pt x="1301" y="328"/>
                  </a:lnTo>
                  <a:lnTo>
                    <a:pt x="1301" y="320"/>
                  </a:lnTo>
                  <a:lnTo>
                    <a:pt x="1294" y="289"/>
                  </a:lnTo>
                  <a:lnTo>
                    <a:pt x="1292" y="283"/>
                  </a:lnTo>
                  <a:lnTo>
                    <a:pt x="1290" y="268"/>
                  </a:lnTo>
                  <a:lnTo>
                    <a:pt x="1288" y="260"/>
                  </a:lnTo>
                  <a:lnTo>
                    <a:pt x="1284" y="246"/>
                  </a:lnTo>
                  <a:lnTo>
                    <a:pt x="1284" y="238"/>
                  </a:lnTo>
                  <a:lnTo>
                    <a:pt x="1282" y="230"/>
                  </a:lnTo>
                  <a:lnTo>
                    <a:pt x="1280" y="223"/>
                  </a:lnTo>
                  <a:lnTo>
                    <a:pt x="1280" y="215"/>
                  </a:lnTo>
                  <a:lnTo>
                    <a:pt x="1276" y="201"/>
                  </a:lnTo>
                  <a:lnTo>
                    <a:pt x="1274" y="193"/>
                  </a:lnTo>
                  <a:lnTo>
                    <a:pt x="1274" y="186"/>
                  </a:lnTo>
                  <a:lnTo>
                    <a:pt x="1272" y="178"/>
                  </a:lnTo>
                  <a:lnTo>
                    <a:pt x="1270" y="164"/>
                  </a:lnTo>
                  <a:lnTo>
                    <a:pt x="1268" y="156"/>
                  </a:lnTo>
                  <a:lnTo>
                    <a:pt x="1266" y="150"/>
                  </a:lnTo>
                  <a:lnTo>
                    <a:pt x="1264" y="133"/>
                  </a:lnTo>
                  <a:lnTo>
                    <a:pt x="1260" y="119"/>
                  </a:lnTo>
                  <a:lnTo>
                    <a:pt x="1260" y="113"/>
                  </a:lnTo>
                  <a:lnTo>
                    <a:pt x="1258" y="105"/>
                  </a:lnTo>
                  <a:lnTo>
                    <a:pt x="1256" y="98"/>
                  </a:lnTo>
                  <a:lnTo>
                    <a:pt x="1253" y="90"/>
                  </a:lnTo>
                  <a:lnTo>
                    <a:pt x="1253" y="82"/>
                  </a:lnTo>
                  <a:lnTo>
                    <a:pt x="1251" y="76"/>
                  </a:lnTo>
                  <a:lnTo>
                    <a:pt x="1249" y="68"/>
                  </a:lnTo>
                  <a:lnTo>
                    <a:pt x="1249" y="68"/>
                  </a:lnTo>
                  <a:lnTo>
                    <a:pt x="1243" y="68"/>
                  </a:lnTo>
                  <a:lnTo>
                    <a:pt x="1243" y="68"/>
                  </a:lnTo>
                  <a:lnTo>
                    <a:pt x="1245" y="68"/>
                  </a:lnTo>
                  <a:lnTo>
                    <a:pt x="1245" y="68"/>
                  </a:lnTo>
                  <a:lnTo>
                    <a:pt x="1245" y="68"/>
                  </a:lnTo>
                  <a:lnTo>
                    <a:pt x="1245" y="68"/>
                  </a:lnTo>
                  <a:lnTo>
                    <a:pt x="1245" y="68"/>
                  </a:lnTo>
                  <a:lnTo>
                    <a:pt x="1245" y="70"/>
                  </a:lnTo>
                  <a:lnTo>
                    <a:pt x="1245" y="70"/>
                  </a:lnTo>
                  <a:lnTo>
                    <a:pt x="1243" y="70"/>
                  </a:lnTo>
                  <a:lnTo>
                    <a:pt x="1241" y="70"/>
                  </a:lnTo>
                  <a:lnTo>
                    <a:pt x="1241" y="68"/>
                  </a:lnTo>
                  <a:lnTo>
                    <a:pt x="1241" y="68"/>
                  </a:lnTo>
                  <a:lnTo>
                    <a:pt x="1239" y="66"/>
                  </a:lnTo>
                  <a:lnTo>
                    <a:pt x="1239" y="66"/>
                  </a:lnTo>
                  <a:lnTo>
                    <a:pt x="1237" y="66"/>
                  </a:lnTo>
                  <a:lnTo>
                    <a:pt x="1233" y="64"/>
                  </a:lnTo>
                  <a:lnTo>
                    <a:pt x="1233" y="64"/>
                  </a:lnTo>
                  <a:lnTo>
                    <a:pt x="1231" y="64"/>
                  </a:lnTo>
                  <a:lnTo>
                    <a:pt x="1231" y="64"/>
                  </a:lnTo>
                  <a:lnTo>
                    <a:pt x="1231" y="64"/>
                  </a:lnTo>
                  <a:lnTo>
                    <a:pt x="1231" y="64"/>
                  </a:lnTo>
                  <a:lnTo>
                    <a:pt x="1231" y="64"/>
                  </a:lnTo>
                  <a:lnTo>
                    <a:pt x="1229" y="64"/>
                  </a:lnTo>
                  <a:lnTo>
                    <a:pt x="1229" y="61"/>
                  </a:lnTo>
                  <a:lnTo>
                    <a:pt x="1229" y="61"/>
                  </a:lnTo>
                  <a:lnTo>
                    <a:pt x="1225" y="61"/>
                  </a:lnTo>
                  <a:lnTo>
                    <a:pt x="1225" y="61"/>
                  </a:lnTo>
                  <a:lnTo>
                    <a:pt x="1225" y="61"/>
                  </a:lnTo>
                  <a:lnTo>
                    <a:pt x="1225" y="61"/>
                  </a:lnTo>
                  <a:lnTo>
                    <a:pt x="1223" y="61"/>
                  </a:lnTo>
                  <a:lnTo>
                    <a:pt x="1223" y="59"/>
                  </a:lnTo>
                  <a:lnTo>
                    <a:pt x="1223" y="59"/>
                  </a:lnTo>
                  <a:lnTo>
                    <a:pt x="1223" y="59"/>
                  </a:lnTo>
                  <a:lnTo>
                    <a:pt x="1223" y="59"/>
                  </a:lnTo>
                  <a:lnTo>
                    <a:pt x="1223" y="59"/>
                  </a:lnTo>
                  <a:lnTo>
                    <a:pt x="1223" y="59"/>
                  </a:lnTo>
                  <a:lnTo>
                    <a:pt x="1223" y="59"/>
                  </a:lnTo>
                  <a:lnTo>
                    <a:pt x="1223" y="59"/>
                  </a:lnTo>
                  <a:lnTo>
                    <a:pt x="1223" y="59"/>
                  </a:lnTo>
                  <a:lnTo>
                    <a:pt x="1223" y="59"/>
                  </a:lnTo>
                  <a:lnTo>
                    <a:pt x="1223" y="59"/>
                  </a:lnTo>
                  <a:lnTo>
                    <a:pt x="1221" y="57"/>
                  </a:lnTo>
                  <a:lnTo>
                    <a:pt x="1221" y="57"/>
                  </a:lnTo>
                  <a:lnTo>
                    <a:pt x="1221" y="57"/>
                  </a:lnTo>
                  <a:lnTo>
                    <a:pt x="1221" y="57"/>
                  </a:lnTo>
                  <a:lnTo>
                    <a:pt x="1221" y="57"/>
                  </a:lnTo>
                  <a:lnTo>
                    <a:pt x="1221" y="57"/>
                  </a:lnTo>
                  <a:lnTo>
                    <a:pt x="1221" y="57"/>
                  </a:lnTo>
                  <a:lnTo>
                    <a:pt x="1219" y="57"/>
                  </a:lnTo>
                  <a:lnTo>
                    <a:pt x="1219" y="55"/>
                  </a:lnTo>
                  <a:lnTo>
                    <a:pt x="1219" y="57"/>
                  </a:lnTo>
                  <a:lnTo>
                    <a:pt x="1219" y="57"/>
                  </a:lnTo>
                  <a:lnTo>
                    <a:pt x="1219" y="57"/>
                  </a:lnTo>
                  <a:lnTo>
                    <a:pt x="1219" y="57"/>
                  </a:lnTo>
                  <a:lnTo>
                    <a:pt x="1219" y="57"/>
                  </a:lnTo>
                  <a:lnTo>
                    <a:pt x="1219" y="55"/>
                  </a:lnTo>
                  <a:lnTo>
                    <a:pt x="1219" y="55"/>
                  </a:lnTo>
                  <a:lnTo>
                    <a:pt x="1217" y="55"/>
                  </a:lnTo>
                  <a:lnTo>
                    <a:pt x="1212" y="53"/>
                  </a:lnTo>
                  <a:lnTo>
                    <a:pt x="1210" y="53"/>
                  </a:lnTo>
                  <a:lnTo>
                    <a:pt x="1212" y="53"/>
                  </a:lnTo>
                  <a:lnTo>
                    <a:pt x="1210" y="53"/>
                  </a:lnTo>
                  <a:lnTo>
                    <a:pt x="1210" y="53"/>
                  </a:lnTo>
                  <a:lnTo>
                    <a:pt x="1210" y="53"/>
                  </a:lnTo>
                  <a:lnTo>
                    <a:pt x="1210" y="53"/>
                  </a:lnTo>
                  <a:lnTo>
                    <a:pt x="1210" y="53"/>
                  </a:lnTo>
                  <a:lnTo>
                    <a:pt x="1210" y="53"/>
                  </a:lnTo>
                  <a:lnTo>
                    <a:pt x="1210" y="53"/>
                  </a:lnTo>
                  <a:lnTo>
                    <a:pt x="1208" y="53"/>
                  </a:lnTo>
                  <a:lnTo>
                    <a:pt x="1208" y="53"/>
                  </a:lnTo>
                  <a:lnTo>
                    <a:pt x="1208" y="53"/>
                  </a:lnTo>
                  <a:lnTo>
                    <a:pt x="1206" y="53"/>
                  </a:lnTo>
                  <a:lnTo>
                    <a:pt x="1206" y="51"/>
                  </a:lnTo>
                  <a:lnTo>
                    <a:pt x="1206" y="51"/>
                  </a:lnTo>
                  <a:lnTo>
                    <a:pt x="1204" y="51"/>
                  </a:lnTo>
                  <a:lnTo>
                    <a:pt x="1204" y="51"/>
                  </a:lnTo>
                  <a:lnTo>
                    <a:pt x="1204" y="53"/>
                  </a:lnTo>
                  <a:lnTo>
                    <a:pt x="1204" y="53"/>
                  </a:lnTo>
                  <a:lnTo>
                    <a:pt x="1204" y="55"/>
                  </a:lnTo>
                  <a:lnTo>
                    <a:pt x="1206" y="55"/>
                  </a:lnTo>
                  <a:lnTo>
                    <a:pt x="1204" y="55"/>
                  </a:lnTo>
                  <a:lnTo>
                    <a:pt x="1204" y="55"/>
                  </a:lnTo>
                  <a:lnTo>
                    <a:pt x="1204" y="53"/>
                  </a:lnTo>
                  <a:lnTo>
                    <a:pt x="1204" y="53"/>
                  </a:lnTo>
                  <a:lnTo>
                    <a:pt x="1204" y="53"/>
                  </a:lnTo>
                  <a:lnTo>
                    <a:pt x="1200" y="53"/>
                  </a:lnTo>
                  <a:lnTo>
                    <a:pt x="1200" y="53"/>
                  </a:lnTo>
                  <a:lnTo>
                    <a:pt x="1200" y="53"/>
                  </a:lnTo>
                  <a:lnTo>
                    <a:pt x="1200" y="51"/>
                  </a:lnTo>
                  <a:lnTo>
                    <a:pt x="1200" y="53"/>
                  </a:lnTo>
                  <a:lnTo>
                    <a:pt x="1200" y="53"/>
                  </a:lnTo>
                  <a:lnTo>
                    <a:pt x="1200" y="53"/>
                  </a:lnTo>
                  <a:lnTo>
                    <a:pt x="1200" y="53"/>
                  </a:lnTo>
                  <a:lnTo>
                    <a:pt x="1200" y="53"/>
                  </a:lnTo>
                  <a:lnTo>
                    <a:pt x="1198" y="55"/>
                  </a:lnTo>
                  <a:lnTo>
                    <a:pt x="1198" y="53"/>
                  </a:lnTo>
                  <a:lnTo>
                    <a:pt x="1196" y="53"/>
                  </a:lnTo>
                  <a:lnTo>
                    <a:pt x="1196" y="53"/>
                  </a:lnTo>
                  <a:lnTo>
                    <a:pt x="1196" y="55"/>
                  </a:lnTo>
                  <a:lnTo>
                    <a:pt x="1194" y="55"/>
                  </a:lnTo>
                  <a:lnTo>
                    <a:pt x="1194" y="55"/>
                  </a:lnTo>
                  <a:lnTo>
                    <a:pt x="1194" y="55"/>
                  </a:lnTo>
                  <a:lnTo>
                    <a:pt x="1194" y="55"/>
                  </a:lnTo>
                  <a:lnTo>
                    <a:pt x="1194" y="55"/>
                  </a:lnTo>
                  <a:lnTo>
                    <a:pt x="1194" y="55"/>
                  </a:lnTo>
                  <a:lnTo>
                    <a:pt x="1194" y="55"/>
                  </a:lnTo>
                  <a:lnTo>
                    <a:pt x="1194" y="55"/>
                  </a:lnTo>
                  <a:lnTo>
                    <a:pt x="1192" y="55"/>
                  </a:lnTo>
                  <a:lnTo>
                    <a:pt x="1192" y="55"/>
                  </a:lnTo>
                  <a:lnTo>
                    <a:pt x="1192" y="55"/>
                  </a:lnTo>
                  <a:lnTo>
                    <a:pt x="1192" y="55"/>
                  </a:lnTo>
                  <a:lnTo>
                    <a:pt x="1192" y="55"/>
                  </a:lnTo>
                  <a:lnTo>
                    <a:pt x="1192" y="55"/>
                  </a:lnTo>
                  <a:lnTo>
                    <a:pt x="1192" y="57"/>
                  </a:lnTo>
                  <a:lnTo>
                    <a:pt x="1192" y="57"/>
                  </a:lnTo>
                  <a:lnTo>
                    <a:pt x="1192" y="59"/>
                  </a:lnTo>
                  <a:lnTo>
                    <a:pt x="1192" y="59"/>
                  </a:lnTo>
                  <a:lnTo>
                    <a:pt x="1192" y="61"/>
                  </a:lnTo>
                  <a:lnTo>
                    <a:pt x="1192" y="59"/>
                  </a:lnTo>
                  <a:lnTo>
                    <a:pt x="1192" y="59"/>
                  </a:lnTo>
                  <a:lnTo>
                    <a:pt x="1192" y="59"/>
                  </a:lnTo>
                  <a:lnTo>
                    <a:pt x="1192" y="59"/>
                  </a:lnTo>
                  <a:lnTo>
                    <a:pt x="1192" y="59"/>
                  </a:lnTo>
                  <a:lnTo>
                    <a:pt x="1192" y="57"/>
                  </a:lnTo>
                  <a:lnTo>
                    <a:pt x="1192" y="57"/>
                  </a:lnTo>
                  <a:lnTo>
                    <a:pt x="1192" y="57"/>
                  </a:lnTo>
                  <a:lnTo>
                    <a:pt x="1190" y="57"/>
                  </a:lnTo>
                  <a:lnTo>
                    <a:pt x="1190" y="57"/>
                  </a:lnTo>
                  <a:lnTo>
                    <a:pt x="1190" y="57"/>
                  </a:lnTo>
                  <a:lnTo>
                    <a:pt x="1190" y="57"/>
                  </a:lnTo>
                  <a:lnTo>
                    <a:pt x="1190" y="57"/>
                  </a:lnTo>
                  <a:lnTo>
                    <a:pt x="1186" y="59"/>
                  </a:lnTo>
                  <a:lnTo>
                    <a:pt x="1184" y="59"/>
                  </a:lnTo>
                  <a:lnTo>
                    <a:pt x="1184" y="61"/>
                  </a:lnTo>
                  <a:lnTo>
                    <a:pt x="1182" y="61"/>
                  </a:lnTo>
                  <a:lnTo>
                    <a:pt x="1180" y="64"/>
                  </a:lnTo>
                  <a:lnTo>
                    <a:pt x="1178" y="64"/>
                  </a:lnTo>
                  <a:lnTo>
                    <a:pt x="1178" y="61"/>
                  </a:lnTo>
                  <a:lnTo>
                    <a:pt x="1178" y="61"/>
                  </a:lnTo>
                  <a:lnTo>
                    <a:pt x="1176" y="64"/>
                  </a:lnTo>
                  <a:lnTo>
                    <a:pt x="1172" y="64"/>
                  </a:lnTo>
                  <a:lnTo>
                    <a:pt x="1169" y="64"/>
                  </a:lnTo>
                  <a:lnTo>
                    <a:pt x="1169" y="64"/>
                  </a:lnTo>
                  <a:lnTo>
                    <a:pt x="1172" y="61"/>
                  </a:lnTo>
                  <a:lnTo>
                    <a:pt x="1172" y="61"/>
                  </a:lnTo>
                  <a:lnTo>
                    <a:pt x="1172" y="61"/>
                  </a:lnTo>
                  <a:lnTo>
                    <a:pt x="1169" y="61"/>
                  </a:lnTo>
                  <a:lnTo>
                    <a:pt x="1167" y="61"/>
                  </a:lnTo>
                  <a:lnTo>
                    <a:pt x="1167" y="61"/>
                  </a:lnTo>
                  <a:lnTo>
                    <a:pt x="1167" y="61"/>
                  </a:lnTo>
                  <a:lnTo>
                    <a:pt x="1165" y="61"/>
                  </a:lnTo>
                  <a:lnTo>
                    <a:pt x="1165" y="59"/>
                  </a:lnTo>
                  <a:lnTo>
                    <a:pt x="1165" y="59"/>
                  </a:lnTo>
                  <a:lnTo>
                    <a:pt x="1165" y="59"/>
                  </a:lnTo>
                  <a:lnTo>
                    <a:pt x="1165" y="59"/>
                  </a:lnTo>
                  <a:lnTo>
                    <a:pt x="1163" y="59"/>
                  </a:lnTo>
                  <a:lnTo>
                    <a:pt x="1163" y="59"/>
                  </a:lnTo>
                  <a:lnTo>
                    <a:pt x="1163" y="59"/>
                  </a:lnTo>
                  <a:lnTo>
                    <a:pt x="1163" y="59"/>
                  </a:lnTo>
                  <a:lnTo>
                    <a:pt x="1163" y="59"/>
                  </a:lnTo>
                  <a:lnTo>
                    <a:pt x="1163" y="59"/>
                  </a:lnTo>
                  <a:lnTo>
                    <a:pt x="1163" y="59"/>
                  </a:lnTo>
                  <a:lnTo>
                    <a:pt x="1161" y="57"/>
                  </a:lnTo>
                  <a:lnTo>
                    <a:pt x="1161" y="57"/>
                  </a:lnTo>
                  <a:lnTo>
                    <a:pt x="1159" y="55"/>
                  </a:lnTo>
                  <a:lnTo>
                    <a:pt x="1157" y="55"/>
                  </a:lnTo>
                  <a:lnTo>
                    <a:pt x="1159" y="57"/>
                  </a:lnTo>
                  <a:lnTo>
                    <a:pt x="1157" y="57"/>
                  </a:lnTo>
                  <a:lnTo>
                    <a:pt x="1157" y="55"/>
                  </a:lnTo>
                  <a:lnTo>
                    <a:pt x="1157" y="55"/>
                  </a:lnTo>
                  <a:lnTo>
                    <a:pt x="1157" y="57"/>
                  </a:lnTo>
                  <a:lnTo>
                    <a:pt x="1157" y="57"/>
                  </a:lnTo>
                  <a:lnTo>
                    <a:pt x="1155" y="57"/>
                  </a:lnTo>
                  <a:lnTo>
                    <a:pt x="1151" y="55"/>
                  </a:lnTo>
                  <a:lnTo>
                    <a:pt x="1149" y="55"/>
                  </a:lnTo>
                  <a:lnTo>
                    <a:pt x="1143" y="57"/>
                  </a:lnTo>
                  <a:lnTo>
                    <a:pt x="1141" y="57"/>
                  </a:lnTo>
                  <a:lnTo>
                    <a:pt x="1141" y="57"/>
                  </a:lnTo>
                  <a:lnTo>
                    <a:pt x="1141" y="57"/>
                  </a:lnTo>
                  <a:lnTo>
                    <a:pt x="1137" y="59"/>
                  </a:lnTo>
                  <a:lnTo>
                    <a:pt x="1135" y="57"/>
                  </a:lnTo>
                  <a:lnTo>
                    <a:pt x="1135" y="57"/>
                  </a:lnTo>
                  <a:lnTo>
                    <a:pt x="1135" y="57"/>
                  </a:lnTo>
                  <a:lnTo>
                    <a:pt x="1135" y="57"/>
                  </a:lnTo>
                  <a:lnTo>
                    <a:pt x="1135" y="57"/>
                  </a:lnTo>
                  <a:lnTo>
                    <a:pt x="1135" y="57"/>
                  </a:lnTo>
                  <a:lnTo>
                    <a:pt x="1135" y="57"/>
                  </a:lnTo>
                  <a:lnTo>
                    <a:pt x="1131" y="57"/>
                  </a:lnTo>
                  <a:lnTo>
                    <a:pt x="1126" y="57"/>
                  </a:lnTo>
                  <a:lnTo>
                    <a:pt x="1124" y="57"/>
                  </a:lnTo>
                  <a:lnTo>
                    <a:pt x="1122" y="55"/>
                  </a:lnTo>
                  <a:lnTo>
                    <a:pt x="1124" y="55"/>
                  </a:lnTo>
                  <a:lnTo>
                    <a:pt x="1124" y="55"/>
                  </a:lnTo>
                  <a:lnTo>
                    <a:pt x="1124" y="55"/>
                  </a:lnTo>
                  <a:lnTo>
                    <a:pt x="1124" y="55"/>
                  </a:lnTo>
                  <a:lnTo>
                    <a:pt x="1122" y="55"/>
                  </a:lnTo>
                  <a:lnTo>
                    <a:pt x="1122" y="55"/>
                  </a:lnTo>
                  <a:lnTo>
                    <a:pt x="1122" y="55"/>
                  </a:lnTo>
                  <a:lnTo>
                    <a:pt x="1122" y="53"/>
                  </a:lnTo>
                  <a:lnTo>
                    <a:pt x="1122" y="53"/>
                  </a:lnTo>
                  <a:lnTo>
                    <a:pt x="1122" y="53"/>
                  </a:lnTo>
                  <a:lnTo>
                    <a:pt x="1122" y="53"/>
                  </a:lnTo>
                  <a:lnTo>
                    <a:pt x="1122" y="53"/>
                  </a:lnTo>
                  <a:lnTo>
                    <a:pt x="1122" y="53"/>
                  </a:lnTo>
                  <a:lnTo>
                    <a:pt x="1122" y="53"/>
                  </a:lnTo>
                  <a:lnTo>
                    <a:pt x="1120" y="53"/>
                  </a:lnTo>
                  <a:lnTo>
                    <a:pt x="1120" y="53"/>
                  </a:lnTo>
                  <a:lnTo>
                    <a:pt x="1120" y="53"/>
                  </a:lnTo>
                  <a:lnTo>
                    <a:pt x="1120" y="53"/>
                  </a:lnTo>
                  <a:lnTo>
                    <a:pt x="1120" y="53"/>
                  </a:lnTo>
                  <a:lnTo>
                    <a:pt x="1118" y="53"/>
                  </a:lnTo>
                  <a:lnTo>
                    <a:pt x="1118" y="53"/>
                  </a:lnTo>
                  <a:lnTo>
                    <a:pt x="1118" y="53"/>
                  </a:lnTo>
                  <a:lnTo>
                    <a:pt x="1118" y="53"/>
                  </a:lnTo>
                  <a:lnTo>
                    <a:pt x="1118" y="51"/>
                  </a:lnTo>
                  <a:lnTo>
                    <a:pt x="1116" y="51"/>
                  </a:lnTo>
                  <a:lnTo>
                    <a:pt x="1116" y="51"/>
                  </a:lnTo>
                  <a:lnTo>
                    <a:pt x="1114" y="51"/>
                  </a:lnTo>
                  <a:lnTo>
                    <a:pt x="1114" y="53"/>
                  </a:lnTo>
                  <a:lnTo>
                    <a:pt x="1112" y="53"/>
                  </a:lnTo>
                  <a:lnTo>
                    <a:pt x="1110" y="53"/>
                  </a:lnTo>
                  <a:lnTo>
                    <a:pt x="1110" y="51"/>
                  </a:lnTo>
                  <a:lnTo>
                    <a:pt x="1110" y="51"/>
                  </a:lnTo>
                  <a:lnTo>
                    <a:pt x="1110" y="51"/>
                  </a:lnTo>
                  <a:lnTo>
                    <a:pt x="1110" y="49"/>
                  </a:lnTo>
                  <a:lnTo>
                    <a:pt x="1108" y="49"/>
                  </a:lnTo>
                  <a:lnTo>
                    <a:pt x="1108" y="49"/>
                  </a:lnTo>
                  <a:lnTo>
                    <a:pt x="1108" y="49"/>
                  </a:lnTo>
                  <a:lnTo>
                    <a:pt x="1106" y="47"/>
                  </a:lnTo>
                  <a:lnTo>
                    <a:pt x="1106" y="47"/>
                  </a:lnTo>
                  <a:lnTo>
                    <a:pt x="1106" y="49"/>
                  </a:lnTo>
                  <a:lnTo>
                    <a:pt x="1104" y="49"/>
                  </a:lnTo>
                  <a:lnTo>
                    <a:pt x="1104" y="47"/>
                  </a:lnTo>
                  <a:lnTo>
                    <a:pt x="1102" y="47"/>
                  </a:lnTo>
                  <a:lnTo>
                    <a:pt x="1102" y="47"/>
                  </a:lnTo>
                  <a:lnTo>
                    <a:pt x="1102" y="47"/>
                  </a:lnTo>
                  <a:lnTo>
                    <a:pt x="1102" y="47"/>
                  </a:lnTo>
                  <a:lnTo>
                    <a:pt x="1102" y="47"/>
                  </a:lnTo>
                  <a:lnTo>
                    <a:pt x="1102" y="47"/>
                  </a:lnTo>
                  <a:lnTo>
                    <a:pt x="1102" y="47"/>
                  </a:lnTo>
                  <a:lnTo>
                    <a:pt x="1100" y="47"/>
                  </a:lnTo>
                  <a:lnTo>
                    <a:pt x="1096" y="45"/>
                  </a:lnTo>
                  <a:lnTo>
                    <a:pt x="1094" y="45"/>
                  </a:lnTo>
                  <a:lnTo>
                    <a:pt x="1096" y="45"/>
                  </a:lnTo>
                  <a:lnTo>
                    <a:pt x="1094" y="45"/>
                  </a:lnTo>
                  <a:lnTo>
                    <a:pt x="1092" y="45"/>
                  </a:lnTo>
                  <a:lnTo>
                    <a:pt x="1092" y="45"/>
                  </a:lnTo>
                  <a:lnTo>
                    <a:pt x="1092" y="45"/>
                  </a:lnTo>
                  <a:lnTo>
                    <a:pt x="1094" y="45"/>
                  </a:lnTo>
                  <a:lnTo>
                    <a:pt x="1094" y="45"/>
                  </a:lnTo>
                  <a:lnTo>
                    <a:pt x="1092" y="43"/>
                  </a:lnTo>
                  <a:lnTo>
                    <a:pt x="1092" y="43"/>
                  </a:lnTo>
                  <a:lnTo>
                    <a:pt x="1092" y="45"/>
                  </a:lnTo>
                  <a:lnTo>
                    <a:pt x="1088" y="45"/>
                  </a:lnTo>
                  <a:lnTo>
                    <a:pt x="1088" y="45"/>
                  </a:lnTo>
                  <a:lnTo>
                    <a:pt x="1088" y="45"/>
                  </a:lnTo>
                  <a:lnTo>
                    <a:pt x="1086" y="45"/>
                  </a:lnTo>
                  <a:lnTo>
                    <a:pt x="1086" y="45"/>
                  </a:lnTo>
                  <a:lnTo>
                    <a:pt x="1081" y="49"/>
                  </a:lnTo>
                  <a:lnTo>
                    <a:pt x="1079" y="49"/>
                  </a:lnTo>
                  <a:lnTo>
                    <a:pt x="1077" y="51"/>
                  </a:lnTo>
                  <a:lnTo>
                    <a:pt x="1075" y="51"/>
                  </a:lnTo>
                  <a:lnTo>
                    <a:pt x="1075" y="49"/>
                  </a:lnTo>
                  <a:lnTo>
                    <a:pt x="1077" y="47"/>
                  </a:lnTo>
                  <a:lnTo>
                    <a:pt x="1077" y="47"/>
                  </a:lnTo>
                  <a:lnTo>
                    <a:pt x="1077" y="47"/>
                  </a:lnTo>
                  <a:lnTo>
                    <a:pt x="1075" y="47"/>
                  </a:lnTo>
                  <a:lnTo>
                    <a:pt x="1075" y="47"/>
                  </a:lnTo>
                  <a:lnTo>
                    <a:pt x="1075" y="47"/>
                  </a:lnTo>
                  <a:lnTo>
                    <a:pt x="1075" y="47"/>
                  </a:lnTo>
                  <a:lnTo>
                    <a:pt x="1075" y="47"/>
                  </a:lnTo>
                  <a:lnTo>
                    <a:pt x="1073" y="45"/>
                  </a:lnTo>
                  <a:lnTo>
                    <a:pt x="1073" y="45"/>
                  </a:lnTo>
                  <a:lnTo>
                    <a:pt x="1073" y="45"/>
                  </a:lnTo>
                  <a:lnTo>
                    <a:pt x="1073" y="45"/>
                  </a:lnTo>
                  <a:lnTo>
                    <a:pt x="1073" y="47"/>
                  </a:lnTo>
                  <a:lnTo>
                    <a:pt x="1073" y="45"/>
                  </a:lnTo>
                  <a:lnTo>
                    <a:pt x="1073" y="45"/>
                  </a:lnTo>
                  <a:lnTo>
                    <a:pt x="1073" y="45"/>
                  </a:lnTo>
                  <a:lnTo>
                    <a:pt x="1069" y="47"/>
                  </a:lnTo>
                  <a:lnTo>
                    <a:pt x="1069" y="47"/>
                  </a:lnTo>
                  <a:lnTo>
                    <a:pt x="1069" y="47"/>
                  </a:lnTo>
                  <a:lnTo>
                    <a:pt x="1071" y="47"/>
                  </a:lnTo>
                  <a:lnTo>
                    <a:pt x="1069" y="47"/>
                  </a:lnTo>
                  <a:lnTo>
                    <a:pt x="1069" y="47"/>
                  </a:lnTo>
                  <a:lnTo>
                    <a:pt x="1069" y="47"/>
                  </a:lnTo>
                  <a:lnTo>
                    <a:pt x="1069" y="47"/>
                  </a:lnTo>
                  <a:lnTo>
                    <a:pt x="1069" y="47"/>
                  </a:lnTo>
                  <a:lnTo>
                    <a:pt x="1069" y="47"/>
                  </a:lnTo>
                  <a:lnTo>
                    <a:pt x="1067" y="47"/>
                  </a:lnTo>
                  <a:lnTo>
                    <a:pt x="1067" y="49"/>
                  </a:lnTo>
                  <a:lnTo>
                    <a:pt x="1067" y="49"/>
                  </a:lnTo>
                  <a:lnTo>
                    <a:pt x="1067" y="49"/>
                  </a:lnTo>
                  <a:lnTo>
                    <a:pt x="1063" y="49"/>
                  </a:lnTo>
                  <a:lnTo>
                    <a:pt x="1063" y="49"/>
                  </a:lnTo>
                  <a:lnTo>
                    <a:pt x="1063" y="51"/>
                  </a:lnTo>
                  <a:lnTo>
                    <a:pt x="1063" y="51"/>
                  </a:lnTo>
                  <a:lnTo>
                    <a:pt x="1063" y="53"/>
                  </a:lnTo>
                  <a:lnTo>
                    <a:pt x="1063" y="53"/>
                  </a:lnTo>
                  <a:lnTo>
                    <a:pt x="1061" y="53"/>
                  </a:lnTo>
                  <a:lnTo>
                    <a:pt x="1061" y="53"/>
                  </a:lnTo>
                  <a:lnTo>
                    <a:pt x="1061" y="51"/>
                  </a:lnTo>
                  <a:lnTo>
                    <a:pt x="1061" y="51"/>
                  </a:lnTo>
                  <a:lnTo>
                    <a:pt x="1059" y="51"/>
                  </a:lnTo>
                  <a:lnTo>
                    <a:pt x="1059" y="51"/>
                  </a:lnTo>
                  <a:lnTo>
                    <a:pt x="1059" y="51"/>
                  </a:lnTo>
                  <a:lnTo>
                    <a:pt x="1057" y="49"/>
                  </a:lnTo>
                  <a:lnTo>
                    <a:pt x="1053" y="51"/>
                  </a:lnTo>
                  <a:lnTo>
                    <a:pt x="1049" y="49"/>
                  </a:lnTo>
                  <a:lnTo>
                    <a:pt x="1049" y="49"/>
                  </a:lnTo>
                  <a:lnTo>
                    <a:pt x="1051" y="47"/>
                  </a:lnTo>
                  <a:lnTo>
                    <a:pt x="1051" y="47"/>
                  </a:lnTo>
                  <a:lnTo>
                    <a:pt x="1051" y="47"/>
                  </a:lnTo>
                  <a:lnTo>
                    <a:pt x="1051" y="47"/>
                  </a:lnTo>
                  <a:lnTo>
                    <a:pt x="1051" y="45"/>
                  </a:lnTo>
                  <a:lnTo>
                    <a:pt x="1051" y="47"/>
                  </a:lnTo>
                  <a:lnTo>
                    <a:pt x="1051" y="45"/>
                  </a:lnTo>
                  <a:lnTo>
                    <a:pt x="1053" y="45"/>
                  </a:lnTo>
                  <a:lnTo>
                    <a:pt x="1053" y="45"/>
                  </a:lnTo>
                  <a:lnTo>
                    <a:pt x="1053" y="45"/>
                  </a:lnTo>
                  <a:lnTo>
                    <a:pt x="1053" y="43"/>
                  </a:lnTo>
                  <a:lnTo>
                    <a:pt x="1051" y="45"/>
                  </a:lnTo>
                  <a:lnTo>
                    <a:pt x="1049" y="43"/>
                  </a:lnTo>
                  <a:lnTo>
                    <a:pt x="1040" y="45"/>
                  </a:lnTo>
                  <a:lnTo>
                    <a:pt x="1038" y="45"/>
                  </a:lnTo>
                  <a:lnTo>
                    <a:pt x="1038" y="45"/>
                  </a:lnTo>
                  <a:lnTo>
                    <a:pt x="1038" y="45"/>
                  </a:lnTo>
                  <a:lnTo>
                    <a:pt x="1038" y="45"/>
                  </a:lnTo>
                  <a:lnTo>
                    <a:pt x="1038" y="45"/>
                  </a:lnTo>
                  <a:lnTo>
                    <a:pt x="1036" y="45"/>
                  </a:lnTo>
                  <a:lnTo>
                    <a:pt x="1036" y="45"/>
                  </a:lnTo>
                  <a:lnTo>
                    <a:pt x="1036" y="43"/>
                  </a:lnTo>
                  <a:lnTo>
                    <a:pt x="1038" y="43"/>
                  </a:lnTo>
                  <a:lnTo>
                    <a:pt x="1038" y="43"/>
                  </a:lnTo>
                  <a:lnTo>
                    <a:pt x="1038" y="43"/>
                  </a:lnTo>
                  <a:lnTo>
                    <a:pt x="1040" y="43"/>
                  </a:lnTo>
                  <a:lnTo>
                    <a:pt x="1040" y="43"/>
                  </a:lnTo>
                  <a:lnTo>
                    <a:pt x="1045" y="43"/>
                  </a:lnTo>
                  <a:lnTo>
                    <a:pt x="1047" y="43"/>
                  </a:lnTo>
                  <a:lnTo>
                    <a:pt x="1047" y="43"/>
                  </a:lnTo>
                  <a:lnTo>
                    <a:pt x="1047" y="43"/>
                  </a:lnTo>
                  <a:lnTo>
                    <a:pt x="1045" y="43"/>
                  </a:lnTo>
                  <a:lnTo>
                    <a:pt x="1043" y="43"/>
                  </a:lnTo>
                  <a:lnTo>
                    <a:pt x="1040" y="41"/>
                  </a:lnTo>
                  <a:lnTo>
                    <a:pt x="1038" y="41"/>
                  </a:lnTo>
                  <a:lnTo>
                    <a:pt x="1038" y="39"/>
                  </a:lnTo>
                  <a:lnTo>
                    <a:pt x="1038" y="37"/>
                  </a:lnTo>
                  <a:lnTo>
                    <a:pt x="1038" y="37"/>
                  </a:lnTo>
                  <a:lnTo>
                    <a:pt x="1038" y="37"/>
                  </a:lnTo>
                  <a:lnTo>
                    <a:pt x="1040" y="37"/>
                  </a:lnTo>
                  <a:lnTo>
                    <a:pt x="1040" y="37"/>
                  </a:lnTo>
                  <a:lnTo>
                    <a:pt x="1040" y="37"/>
                  </a:lnTo>
                  <a:lnTo>
                    <a:pt x="1040" y="35"/>
                  </a:lnTo>
                  <a:lnTo>
                    <a:pt x="1040" y="35"/>
                  </a:lnTo>
                  <a:lnTo>
                    <a:pt x="1040" y="35"/>
                  </a:lnTo>
                  <a:lnTo>
                    <a:pt x="1040" y="35"/>
                  </a:lnTo>
                  <a:lnTo>
                    <a:pt x="1043" y="33"/>
                  </a:lnTo>
                  <a:lnTo>
                    <a:pt x="1045" y="31"/>
                  </a:lnTo>
                  <a:lnTo>
                    <a:pt x="1045" y="31"/>
                  </a:lnTo>
                  <a:lnTo>
                    <a:pt x="1043" y="29"/>
                  </a:lnTo>
                  <a:lnTo>
                    <a:pt x="1038" y="29"/>
                  </a:lnTo>
                  <a:lnTo>
                    <a:pt x="1034" y="29"/>
                  </a:lnTo>
                  <a:lnTo>
                    <a:pt x="1034" y="29"/>
                  </a:lnTo>
                  <a:lnTo>
                    <a:pt x="1034" y="29"/>
                  </a:lnTo>
                  <a:lnTo>
                    <a:pt x="1034" y="29"/>
                  </a:lnTo>
                  <a:lnTo>
                    <a:pt x="1036" y="29"/>
                  </a:lnTo>
                  <a:lnTo>
                    <a:pt x="1036" y="31"/>
                  </a:lnTo>
                  <a:lnTo>
                    <a:pt x="1034" y="31"/>
                  </a:lnTo>
                  <a:lnTo>
                    <a:pt x="1034" y="31"/>
                  </a:lnTo>
                  <a:lnTo>
                    <a:pt x="1034" y="31"/>
                  </a:lnTo>
                  <a:lnTo>
                    <a:pt x="1034" y="29"/>
                  </a:lnTo>
                  <a:lnTo>
                    <a:pt x="1034" y="29"/>
                  </a:lnTo>
                  <a:lnTo>
                    <a:pt x="1034" y="29"/>
                  </a:lnTo>
                  <a:lnTo>
                    <a:pt x="1032" y="29"/>
                  </a:lnTo>
                  <a:lnTo>
                    <a:pt x="1032" y="29"/>
                  </a:lnTo>
                  <a:lnTo>
                    <a:pt x="1032" y="29"/>
                  </a:lnTo>
                  <a:lnTo>
                    <a:pt x="1032" y="29"/>
                  </a:lnTo>
                  <a:lnTo>
                    <a:pt x="1032" y="29"/>
                  </a:lnTo>
                  <a:lnTo>
                    <a:pt x="1032" y="29"/>
                  </a:lnTo>
                  <a:lnTo>
                    <a:pt x="1032" y="29"/>
                  </a:lnTo>
                  <a:lnTo>
                    <a:pt x="1032" y="29"/>
                  </a:lnTo>
                  <a:lnTo>
                    <a:pt x="1032" y="29"/>
                  </a:lnTo>
                  <a:lnTo>
                    <a:pt x="1032" y="29"/>
                  </a:lnTo>
                  <a:lnTo>
                    <a:pt x="1030" y="29"/>
                  </a:lnTo>
                  <a:lnTo>
                    <a:pt x="1030" y="27"/>
                  </a:lnTo>
                  <a:lnTo>
                    <a:pt x="1030" y="27"/>
                  </a:lnTo>
                  <a:lnTo>
                    <a:pt x="1030" y="27"/>
                  </a:lnTo>
                  <a:lnTo>
                    <a:pt x="1028" y="27"/>
                  </a:lnTo>
                  <a:lnTo>
                    <a:pt x="1028" y="27"/>
                  </a:lnTo>
                  <a:lnTo>
                    <a:pt x="1028" y="27"/>
                  </a:lnTo>
                  <a:lnTo>
                    <a:pt x="1028" y="27"/>
                  </a:lnTo>
                  <a:lnTo>
                    <a:pt x="1028" y="27"/>
                  </a:lnTo>
                  <a:lnTo>
                    <a:pt x="1028" y="27"/>
                  </a:lnTo>
                  <a:lnTo>
                    <a:pt x="1028" y="27"/>
                  </a:lnTo>
                  <a:lnTo>
                    <a:pt x="1028" y="27"/>
                  </a:lnTo>
                  <a:lnTo>
                    <a:pt x="1028" y="27"/>
                  </a:lnTo>
                  <a:lnTo>
                    <a:pt x="1026" y="27"/>
                  </a:lnTo>
                  <a:lnTo>
                    <a:pt x="1026" y="27"/>
                  </a:lnTo>
                  <a:lnTo>
                    <a:pt x="1024" y="27"/>
                  </a:lnTo>
                  <a:lnTo>
                    <a:pt x="1024" y="27"/>
                  </a:lnTo>
                  <a:lnTo>
                    <a:pt x="1024" y="27"/>
                  </a:lnTo>
                  <a:lnTo>
                    <a:pt x="1022" y="27"/>
                  </a:lnTo>
                  <a:lnTo>
                    <a:pt x="1020" y="29"/>
                  </a:lnTo>
                  <a:lnTo>
                    <a:pt x="1014" y="27"/>
                  </a:lnTo>
                  <a:lnTo>
                    <a:pt x="1014" y="29"/>
                  </a:lnTo>
                  <a:lnTo>
                    <a:pt x="1014" y="29"/>
                  </a:lnTo>
                  <a:lnTo>
                    <a:pt x="1012" y="31"/>
                  </a:lnTo>
                  <a:lnTo>
                    <a:pt x="1012" y="31"/>
                  </a:lnTo>
                  <a:lnTo>
                    <a:pt x="1010" y="33"/>
                  </a:lnTo>
                  <a:lnTo>
                    <a:pt x="1010" y="33"/>
                  </a:lnTo>
                  <a:lnTo>
                    <a:pt x="1008" y="33"/>
                  </a:lnTo>
                  <a:lnTo>
                    <a:pt x="1008" y="33"/>
                  </a:lnTo>
                  <a:lnTo>
                    <a:pt x="1008" y="33"/>
                  </a:lnTo>
                  <a:lnTo>
                    <a:pt x="1008" y="33"/>
                  </a:lnTo>
                  <a:lnTo>
                    <a:pt x="1008" y="33"/>
                  </a:lnTo>
                  <a:lnTo>
                    <a:pt x="1008" y="31"/>
                  </a:lnTo>
                  <a:lnTo>
                    <a:pt x="1008" y="31"/>
                  </a:lnTo>
                  <a:lnTo>
                    <a:pt x="1006" y="31"/>
                  </a:lnTo>
                  <a:lnTo>
                    <a:pt x="1006" y="31"/>
                  </a:lnTo>
                  <a:lnTo>
                    <a:pt x="1004" y="31"/>
                  </a:lnTo>
                  <a:lnTo>
                    <a:pt x="1002" y="31"/>
                  </a:lnTo>
                  <a:lnTo>
                    <a:pt x="1002" y="31"/>
                  </a:lnTo>
                  <a:lnTo>
                    <a:pt x="1002" y="31"/>
                  </a:lnTo>
                  <a:lnTo>
                    <a:pt x="1002" y="31"/>
                  </a:lnTo>
                  <a:lnTo>
                    <a:pt x="1002" y="31"/>
                  </a:lnTo>
                  <a:lnTo>
                    <a:pt x="1002" y="29"/>
                  </a:lnTo>
                  <a:lnTo>
                    <a:pt x="1002" y="29"/>
                  </a:lnTo>
                  <a:lnTo>
                    <a:pt x="999" y="29"/>
                  </a:lnTo>
                  <a:lnTo>
                    <a:pt x="997" y="29"/>
                  </a:lnTo>
                  <a:lnTo>
                    <a:pt x="999" y="27"/>
                  </a:lnTo>
                  <a:lnTo>
                    <a:pt x="999" y="27"/>
                  </a:lnTo>
                  <a:lnTo>
                    <a:pt x="1002" y="27"/>
                  </a:lnTo>
                  <a:lnTo>
                    <a:pt x="1002" y="27"/>
                  </a:lnTo>
                  <a:lnTo>
                    <a:pt x="1002" y="27"/>
                  </a:lnTo>
                  <a:lnTo>
                    <a:pt x="1002" y="25"/>
                  </a:lnTo>
                  <a:lnTo>
                    <a:pt x="1002" y="25"/>
                  </a:lnTo>
                  <a:lnTo>
                    <a:pt x="1002" y="25"/>
                  </a:lnTo>
                  <a:lnTo>
                    <a:pt x="1002" y="25"/>
                  </a:lnTo>
                  <a:lnTo>
                    <a:pt x="1002" y="25"/>
                  </a:lnTo>
                  <a:lnTo>
                    <a:pt x="1002" y="23"/>
                  </a:lnTo>
                  <a:lnTo>
                    <a:pt x="1002" y="23"/>
                  </a:lnTo>
                  <a:lnTo>
                    <a:pt x="1002" y="23"/>
                  </a:lnTo>
                  <a:lnTo>
                    <a:pt x="1002" y="23"/>
                  </a:lnTo>
                  <a:lnTo>
                    <a:pt x="1002" y="21"/>
                  </a:lnTo>
                  <a:lnTo>
                    <a:pt x="1002" y="21"/>
                  </a:lnTo>
                  <a:lnTo>
                    <a:pt x="999" y="21"/>
                  </a:lnTo>
                  <a:lnTo>
                    <a:pt x="999" y="18"/>
                  </a:lnTo>
                  <a:lnTo>
                    <a:pt x="997" y="16"/>
                  </a:lnTo>
                  <a:lnTo>
                    <a:pt x="997" y="16"/>
                  </a:lnTo>
                  <a:lnTo>
                    <a:pt x="997" y="16"/>
                  </a:lnTo>
                  <a:lnTo>
                    <a:pt x="997" y="18"/>
                  </a:lnTo>
                  <a:lnTo>
                    <a:pt x="997" y="16"/>
                  </a:lnTo>
                  <a:lnTo>
                    <a:pt x="997" y="16"/>
                  </a:lnTo>
                  <a:lnTo>
                    <a:pt x="997" y="16"/>
                  </a:lnTo>
                  <a:lnTo>
                    <a:pt x="995" y="16"/>
                  </a:lnTo>
                  <a:lnTo>
                    <a:pt x="995" y="16"/>
                  </a:lnTo>
                  <a:lnTo>
                    <a:pt x="995" y="16"/>
                  </a:lnTo>
                  <a:lnTo>
                    <a:pt x="995" y="16"/>
                  </a:lnTo>
                  <a:lnTo>
                    <a:pt x="995" y="16"/>
                  </a:lnTo>
                  <a:lnTo>
                    <a:pt x="995" y="18"/>
                  </a:lnTo>
                  <a:lnTo>
                    <a:pt x="995" y="18"/>
                  </a:lnTo>
                  <a:lnTo>
                    <a:pt x="995" y="18"/>
                  </a:lnTo>
                  <a:lnTo>
                    <a:pt x="995" y="21"/>
                  </a:lnTo>
                  <a:lnTo>
                    <a:pt x="995" y="21"/>
                  </a:lnTo>
                  <a:lnTo>
                    <a:pt x="993" y="23"/>
                  </a:lnTo>
                  <a:lnTo>
                    <a:pt x="993" y="21"/>
                  </a:lnTo>
                  <a:lnTo>
                    <a:pt x="993" y="21"/>
                  </a:lnTo>
                  <a:lnTo>
                    <a:pt x="993" y="21"/>
                  </a:lnTo>
                  <a:lnTo>
                    <a:pt x="995" y="18"/>
                  </a:lnTo>
                  <a:lnTo>
                    <a:pt x="995" y="18"/>
                  </a:lnTo>
                  <a:lnTo>
                    <a:pt x="993" y="18"/>
                  </a:lnTo>
                  <a:lnTo>
                    <a:pt x="993" y="16"/>
                  </a:lnTo>
                  <a:lnTo>
                    <a:pt x="993" y="16"/>
                  </a:lnTo>
                  <a:lnTo>
                    <a:pt x="993" y="16"/>
                  </a:lnTo>
                  <a:lnTo>
                    <a:pt x="995" y="16"/>
                  </a:lnTo>
                  <a:lnTo>
                    <a:pt x="993" y="14"/>
                  </a:lnTo>
                  <a:lnTo>
                    <a:pt x="993" y="14"/>
                  </a:lnTo>
                  <a:lnTo>
                    <a:pt x="993" y="14"/>
                  </a:lnTo>
                  <a:lnTo>
                    <a:pt x="993" y="14"/>
                  </a:lnTo>
                  <a:lnTo>
                    <a:pt x="993" y="14"/>
                  </a:lnTo>
                  <a:lnTo>
                    <a:pt x="993" y="16"/>
                  </a:lnTo>
                  <a:lnTo>
                    <a:pt x="993" y="16"/>
                  </a:lnTo>
                  <a:lnTo>
                    <a:pt x="993" y="16"/>
                  </a:lnTo>
                  <a:lnTo>
                    <a:pt x="993" y="18"/>
                  </a:lnTo>
                  <a:lnTo>
                    <a:pt x="993" y="18"/>
                  </a:lnTo>
                  <a:lnTo>
                    <a:pt x="991" y="16"/>
                  </a:lnTo>
                  <a:lnTo>
                    <a:pt x="991" y="16"/>
                  </a:lnTo>
                  <a:lnTo>
                    <a:pt x="991" y="16"/>
                  </a:lnTo>
                  <a:lnTo>
                    <a:pt x="991" y="16"/>
                  </a:lnTo>
                  <a:lnTo>
                    <a:pt x="989" y="18"/>
                  </a:lnTo>
                  <a:lnTo>
                    <a:pt x="991" y="18"/>
                  </a:lnTo>
                  <a:lnTo>
                    <a:pt x="991" y="18"/>
                  </a:lnTo>
                  <a:lnTo>
                    <a:pt x="991" y="21"/>
                  </a:lnTo>
                  <a:lnTo>
                    <a:pt x="991" y="21"/>
                  </a:lnTo>
                  <a:lnTo>
                    <a:pt x="991" y="23"/>
                  </a:lnTo>
                  <a:lnTo>
                    <a:pt x="991" y="23"/>
                  </a:lnTo>
                  <a:lnTo>
                    <a:pt x="991" y="23"/>
                  </a:lnTo>
                  <a:lnTo>
                    <a:pt x="991" y="23"/>
                  </a:lnTo>
                  <a:lnTo>
                    <a:pt x="991" y="21"/>
                  </a:lnTo>
                  <a:lnTo>
                    <a:pt x="989" y="21"/>
                  </a:lnTo>
                  <a:lnTo>
                    <a:pt x="989" y="21"/>
                  </a:lnTo>
                  <a:lnTo>
                    <a:pt x="989" y="21"/>
                  </a:lnTo>
                  <a:lnTo>
                    <a:pt x="989" y="23"/>
                  </a:lnTo>
                  <a:lnTo>
                    <a:pt x="989" y="23"/>
                  </a:lnTo>
                  <a:lnTo>
                    <a:pt x="987" y="23"/>
                  </a:lnTo>
                  <a:lnTo>
                    <a:pt x="987" y="25"/>
                  </a:lnTo>
                  <a:lnTo>
                    <a:pt x="985" y="25"/>
                  </a:lnTo>
                  <a:lnTo>
                    <a:pt x="985" y="25"/>
                  </a:lnTo>
                  <a:lnTo>
                    <a:pt x="985" y="27"/>
                  </a:lnTo>
                  <a:lnTo>
                    <a:pt x="985" y="27"/>
                  </a:lnTo>
                  <a:lnTo>
                    <a:pt x="985" y="29"/>
                  </a:lnTo>
                  <a:lnTo>
                    <a:pt x="985" y="29"/>
                  </a:lnTo>
                  <a:lnTo>
                    <a:pt x="985" y="29"/>
                  </a:lnTo>
                  <a:lnTo>
                    <a:pt x="985" y="31"/>
                  </a:lnTo>
                  <a:lnTo>
                    <a:pt x="985" y="31"/>
                  </a:lnTo>
                  <a:lnTo>
                    <a:pt x="983" y="29"/>
                  </a:lnTo>
                  <a:lnTo>
                    <a:pt x="983" y="29"/>
                  </a:lnTo>
                  <a:lnTo>
                    <a:pt x="983" y="29"/>
                  </a:lnTo>
                  <a:lnTo>
                    <a:pt x="983" y="29"/>
                  </a:lnTo>
                  <a:lnTo>
                    <a:pt x="983" y="31"/>
                  </a:lnTo>
                  <a:lnTo>
                    <a:pt x="983" y="31"/>
                  </a:lnTo>
                  <a:lnTo>
                    <a:pt x="983" y="31"/>
                  </a:lnTo>
                  <a:lnTo>
                    <a:pt x="983" y="31"/>
                  </a:lnTo>
                  <a:lnTo>
                    <a:pt x="983" y="31"/>
                  </a:lnTo>
                  <a:lnTo>
                    <a:pt x="983" y="31"/>
                  </a:lnTo>
                  <a:lnTo>
                    <a:pt x="983" y="31"/>
                  </a:lnTo>
                  <a:lnTo>
                    <a:pt x="981" y="31"/>
                  </a:lnTo>
                  <a:lnTo>
                    <a:pt x="981" y="31"/>
                  </a:lnTo>
                  <a:lnTo>
                    <a:pt x="981" y="31"/>
                  </a:lnTo>
                  <a:lnTo>
                    <a:pt x="979" y="31"/>
                  </a:lnTo>
                  <a:lnTo>
                    <a:pt x="979" y="31"/>
                  </a:lnTo>
                  <a:lnTo>
                    <a:pt x="979" y="31"/>
                  </a:lnTo>
                  <a:lnTo>
                    <a:pt x="979" y="33"/>
                  </a:lnTo>
                  <a:lnTo>
                    <a:pt x="979" y="33"/>
                  </a:lnTo>
                  <a:lnTo>
                    <a:pt x="979" y="33"/>
                  </a:lnTo>
                  <a:lnTo>
                    <a:pt x="979" y="33"/>
                  </a:lnTo>
                  <a:lnTo>
                    <a:pt x="979" y="33"/>
                  </a:lnTo>
                  <a:lnTo>
                    <a:pt x="977" y="35"/>
                  </a:lnTo>
                  <a:lnTo>
                    <a:pt x="977" y="33"/>
                  </a:lnTo>
                  <a:lnTo>
                    <a:pt x="977" y="33"/>
                  </a:lnTo>
                  <a:lnTo>
                    <a:pt x="977" y="33"/>
                  </a:lnTo>
                  <a:lnTo>
                    <a:pt x="977" y="33"/>
                  </a:lnTo>
                  <a:lnTo>
                    <a:pt x="977" y="31"/>
                  </a:lnTo>
                  <a:lnTo>
                    <a:pt x="977" y="31"/>
                  </a:lnTo>
                  <a:lnTo>
                    <a:pt x="977" y="31"/>
                  </a:lnTo>
                  <a:lnTo>
                    <a:pt x="979" y="31"/>
                  </a:lnTo>
                  <a:lnTo>
                    <a:pt x="979" y="29"/>
                  </a:lnTo>
                  <a:lnTo>
                    <a:pt x="979" y="29"/>
                  </a:lnTo>
                  <a:lnTo>
                    <a:pt x="979" y="29"/>
                  </a:lnTo>
                  <a:lnTo>
                    <a:pt x="977" y="29"/>
                  </a:lnTo>
                  <a:lnTo>
                    <a:pt x="977" y="27"/>
                  </a:lnTo>
                  <a:lnTo>
                    <a:pt x="977" y="27"/>
                  </a:lnTo>
                  <a:lnTo>
                    <a:pt x="977" y="27"/>
                  </a:lnTo>
                  <a:lnTo>
                    <a:pt x="977" y="27"/>
                  </a:lnTo>
                  <a:lnTo>
                    <a:pt x="975" y="27"/>
                  </a:lnTo>
                  <a:lnTo>
                    <a:pt x="977" y="27"/>
                  </a:lnTo>
                  <a:lnTo>
                    <a:pt x="977" y="27"/>
                  </a:lnTo>
                  <a:lnTo>
                    <a:pt x="977" y="25"/>
                  </a:lnTo>
                  <a:lnTo>
                    <a:pt x="975" y="27"/>
                  </a:lnTo>
                  <a:lnTo>
                    <a:pt x="975" y="27"/>
                  </a:lnTo>
                  <a:lnTo>
                    <a:pt x="975" y="25"/>
                  </a:lnTo>
                  <a:lnTo>
                    <a:pt x="977" y="25"/>
                  </a:lnTo>
                  <a:lnTo>
                    <a:pt x="977" y="25"/>
                  </a:lnTo>
                  <a:lnTo>
                    <a:pt x="977" y="25"/>
                  </a:lnTo>
                  <a:lnTo>
                    <a:pt x="977" y="25"/>
                  </a:lnTo>
                  <a:lnTo>
                    <a:pt x="977" y="25"/>
                  </a:lnTo>
                  <a:lnTo>
                    <a:pt x="975" y="23"/>
                  </a:lnTo>
                  <a:lnTo>
                    <a:pt x="977" y="23"/>
                  </a:lnTo>
                  <a:lnTo>
                    <a:pt x="977" y="23"/>
                  </a:lnTo>
                  <a:lnTo>
                    <a:pt x="981" y="23"/>
                  </a:lnTo>
                  <a:lnTo>
                    <a:pt x="981" y="23"/>
                  </a:lnTo>
                  <a:lnTo>
                    <a:pt x="981" y="23"/>
                  </a:lnTo>
                  <a:lnTo>
                    <a:pt x="981" y="23"/>
                  </a:lnTo>
                  <a:lnTo>
                    <a:pt x="981" y="23"/>
                  </a:lnTo>
                  <a:lnTo>
                    <a:pt x="983" y="23"/>
                  </a:lnTo>
                  <a:lnTo>
                    <a:pt x="983" y="21"/>
                  </a:lnTo>
                  <a:lnTo>
                    <a:pt x="983" y="21"/>
                  </a:lnTo>
                  <a:lnTo>
                    <a:pt x="983" y="21"/>
                  </a:lnTo>
                  <a:lnTo>
                    <a:pt x="983" y="21"/>
                  </a:lnTo>
                  <a:lnTo>
                    <a:pt x="983" y="21"/>
                  </a:lnTo>
                  <a:lnTo>
                    <a:pt x="983" y="21"/>
                  </a:lnTo>
                  <a:lnTo>
                    <a:pt x="983" y="18"/>
                  </a:lnTo>
                  <a:lnTo>
                    <a:pt x="983" y="18"/>
                  </a:lnTo>
                  <a:lnTo>
                    <a:pt x="985" y="18"/>
                  </a:lnTo>
                  <a:lnTo>
                    <a:pt x="985" y="18"/>
                  </a:lnTo>
                  <a:lnTo>
                    <a:pt x="985" y="16"/>
                  </a:lnTo>
                  <a:lnTo>
                    <a:pt x="985" y="16"/>
                  </a:lnTo>
                  <a:lnTo>
                    <a:pt x="985" y="14"/>
                  </a:lnTo>
                  <a:lnTo>
                    <a:pt x="985" y="14"/>
                  </a:lnTo>
                  <a:lnTo>
                    <a:pt x="985" y="12"/>
                  </a:lnTo>
                  <a:lnTo>
                    <a:pt x="981" y="12"/>
                  </a:lnTo>
                  <a:lnTo>
                    <a:pt x="981" y="10"/>
                  </a:lnTo>
                  <a:lnTo>
                    <a:pt x="979" y="12"/>
                  </a:lnTo>
                  <a:lnTo>
                    <a:pt x="979" y="12"/>
                  </a:lnTo>
                  <a:lnTo>
                    <a:pt x="979" y="12"/>
                  </a:lnTo>
                  <a:lnTo>
                    <a:pt x="979" y="10"/>
                  </a:lnTo>
                  <a:lnTo>
                    <a:pt x="979" y="10"/>
                  </a:lnTo>
                  <a:lnTo>
                    <a:pt x="979" y="10"/>
                  </a:lnTo>
                  <a:lnTo>
                    <a:pt x="979" y="10"/>
                  </a:lnTo>
                  <a:lnTo>
                    <a:pt x="979" y="12"/>
                  </a:lnTo>
                  <a:lnTo>
                    <a:pt x="977" y="12"/>
                  </a:lnTo>
                  <a:lnTo>
                    <a:pt x="977" y="12"/>
                  </a:lnTo>
                  <a:lnTo>
                    <a:pt x="977" y="12"/>
                  </a:lnTo>
                  <a:lnTo>
                    <a:pt x="977" y="12"/>
                  </a:lnTo>
                  <a:lnTo>
                    <a:pt x="977" y="12"/>
                  </a:lnTo>
                  <a:lnTo>
                    <a:pt x="977" y="10"/>
                  </a:lnTo>
                  <a:lnTo>
                    <a:pt x="977" y="10"/>
                  </a:lnTo>
                  <a:lnTo>
                    <a:pt x="977" y="10"/>
                  </a:lnTo>
                  <a:lnTo>
                    <a:pt x="977" y="10"/>
                  </a:lnTo>
                  <a:lnTo>
                    <a:pt x="977" y="10"/>
                  </a:lnTo>
                  <a:lnTo>
                    <a:pt x="975" y="8"/>
                  </a:lnTo>
                  <a:lnTo>
                    <a:pt x="975" y="8"/>
                  </a:lnTo>
                  <a:lnTo>
                    <a:pt x="971" y="8"/>
                  </a:lnTo>
                  <a:lnTo>
                    <a:pt x="971" y="8"/>
                  </a:lnTo>
                  <a:lnTo>
                    <a:pt x="971" y="8"/>
                  </a:lnTo>
                  <a:lnTo>
                    <a:pt x="971" y="6"/>
                  </a:lnTo>
                  <a:lnTo>
                    <a:pt x="969" y="6"/>
                  </a:lnTo>
                  <a:lnTo>
                    <a:pt x="969" y="6"/>
                  </a:lnTo>
                  <a:lnTo>
                    <a:pt x="969" y="4"/>
                  </a:lnTo>
                  <a:lnTo>
                    <a:pt x="969" y="4"/>
                  </a:lnTo>
                  <a:lnTo>
                    <a:pt x="969" y="4"/>
                  </a:lnTo>
                  <a:lnTo>
                    <a:pt x="969" y="4"/>
                  </a:lnTo>
                  <a:lnTo>
                    <a:pt x="969" y="2"/>
                  </a:lnTo>
                  <a:lnTo>
                    <a:pt x="971" y="2"/>
                  </a:lnTo>
                  <a:lnTo>
                    <a:pt x="971" y="2"/>
                  </a:lnTo>
                  <a:lnTo>
                    <a:pt x="971" y="2"/>
                  </a:lnTo>
                  <a:lnTo>
                    <a:pt x="973" y="2"/>
                  </a:lnTo>
                  <a:lnTo>
                    <a:pt x="971" y="2"/>
                  </a:lnTo>
                  <a:lnTo>
                    <a:pt x="971" y="0"/>
                  </a:lnTo>
                  <a:lnTo>
                    <a:pt x="971" y="0"/>
                  </a:lnTo>
                  <a:lnTo>
                    <a:pt x="971" y="0"/>
                  </a:lnTo>
                  <a:lnTo>
                    <a:pt x="969" y="2"/>
                  </a:lnTo>
                  <a:lnTo>
                    <a:pt x="969" y="2"/>
                  </a:lnTo>
                  <a:lnTo>
                    <a:pt x="967" y="4"/>
                  </a:lnTo>
                  <a:lnTo>
                    <a:pt x="965" y="6"/>
                  </a:lnTo>
                  <a:lnTo>
                    <a:pt x="961" y="10"/>
                  </a:lnTo>
                  <a:lnTo>
                    <a:pt x="959" y="12"/>
                  </a:lnTo>
                  <a:lnTo>
                    <a:pt x="956" y="16"/>
                  </a:lnTo>
                  <a:lnTo>
                    <a:pt x="950" y="23"/>
                  </a:lnTo>
                  <a:lnTo>
                    <a:pt x="950" y="23"/>
                  </a:lnTo>
                  <a:lnTo>
                    <a:pt x="950" y="23"/>
                  </a:lnTo>
                  <a:lnTo>
                    <a:pt x="950" y="25"/>
                  </a:lnTo>
                  <a:lnTo>
                    <a:pt x="948" y="25"/>
                  </a:lnTo>
                  <a:lnTo>
                    <a:pt x="944" y="27"/>
                  </a:lnTo>
                  <a:lnTo>
                    <a:pt x="942" y="29"/>
                  </a:lnTo>
                  <a:lnTo>
                    <a:pt x="936" y="29"/>
                  </a:lnTo>
                  <a:lnTo>
                    <a:pt x="934" y="27"/>
                  </a:lnTo>
                  <a:lnTo>
                    <a:pt x="934" y="27"/>
                  </a:lnTo>
                  <a:lnTo>
                    <a:pt x="934" y="29"/>
                  </a:lnTo>
                  <a:lnTo>
                    <a:pt x="934" y="29"/>
                  </a:lnTo>
                  <a:lnTo>
                    <a:pt x="936" y="29"/>
                  </a:lnTo>
                  <a:lnTo>
                    <a:pt x="930" y="31"/>
                  </a:lnTo>
                  <a:lnTo>
                    <a:pt x="924" y="29"/>
                  </a:lnTo>
                  <a:lnTo>
                    <a:pt x="924" y="29"/>
                  </a:lnTo>
                  <a:lnTo>
                    <a:pt x="924" y="29"/>
                  </a:lnTo>
                  <a:lnTo>
                    <a:pt x="926" y="29"/>
                  </a:lnTo>
                  <a:lnTo>
                    <a:pt x="926" y="31"/>
                  </a:lnTo>
                  <a:lnTo>
                    <a:pt x="922" y="31"/>
                  </a:lnTo>
                  <a:lnTo>
                    <a:pt x="922" y="31"/>
                  </a:lnTo>
                  <a:lnTo>
                    <a:pt x="920" y="31"/>
                  </a:lnTo>
                  <a:lnTo>
                    <a:pt x="920" y="31"/>
                  </a:lnTo>
                  <a:lnTo>
                    <a:pt x="922" y="35"/>
                  </a:lnTo>
                  <a:lnTo>
                    <a:pt x="920" y="35"/>
                  </a:lnTo>
                  <a:lnTo>
                    <a:pt x="920" y="33"/>
                  </a:lnTo>
                  <a:lnTo>
                    <a:pt x="920" y="33"/>
                  </a:lnTo>
                  <a:lnTo>
                    <a:pt x="920" y="31"/>
                  </a:lnTo>
                  <a:lnTo>
                    <a:pt x="920" y="31"/>
                  </a:lnTo>
                  <a:lnTo>
                    <a:pt x="920" y="31"/>
                  </a:lnTo>
                  <a:lnTo>
                    <a:pt x="920" y="31"/>
                  </a:lnTo>
                  <a:lnTo>
                    <a:pt x="920" y="31"/>
                  </a:lnTo>
                  <a:lnTo>
                    <a:pt x="920" y="31"/>
                  </a:lnTo>
                  <a:lnTo>
                    <a:pt x="918" y="31"/>
                  </a:lnTo>
                  <a:lnTo>
                    <a:pt x="918" y="31"/>
                  </a:lnTo>
                  <a:lnTo>
                    <a:pt x="918" y="31"/>
                  </a:lnTo>
                  <a:lnTo>
                    <a:pt x="918" y="31"/>
                  </a:lnTo>
                  <a:lnTo>
                    <a:pt x="918" y="29"/>
                  </a:lnTo>
                  <a:lnTo>
                    <a:pt x="918" y="29"/>
                  </a:lnTo>
                  <a:lnTo>
                    <a:pt x="920" y="29"/>
                  </a:lnTo>
                  <a:lnTo>
                    <a:pt x="922" y="29"/>
                  </a:lnTo>
                  <a:lnTo>
                    <a:pt x="922" y="29"/>
                  </a:lnTo>
                  <a:lnTo>
                    <a:pt x="922" y="27"/>
                  </a:lnTo>
                  <a:lnTo>
                    <a:pt x="922" y="27"/>
                  </a:lnTo>
                  <a:lnTo>
                    <a:pt x="918" y="27"/>
                  </a:lnTo>
                  <a:lnTo>
                    <a:pt x="920" y="27"/>
                  </a:lnTo>
                  <a:lnTo>
                    <a:pt x="922" y="25"/>
                  </a:lnTo>
                  <a:lnTo>
                    <a:pt x="922" y="25"/>
                  </a:lnTo>
                  <a:lnTo>
                    <a:pt x="920" y="25"/>
                  </a:lnTo>
                  <a:lnTo>
                    <a:pt x="918" y="27"/>
                  </a:lnTo>
                  <a:lnTo>
                    <a:pt x="918" y="27"/>
                  </a:lnTo>
                  <a:lnTo>
                    <a:pt x="916" y="27"/>
                  </a:lnTo>
                  <a:lnTo>
                    <a:pt x="916" y="27"/>
                  </a:lnTo>
                  <a:lnTo>
                    <a:pt x="916" y="29"/>
                  </a:lnTo>
                  <a:lnTo>
                    <a:pt x="913" y="29"/>
                  </a:lnTo>
                  <a:lnTo>
                    <a:pt x="913" y="29"/>
                  </a:lnTo>
                  <a:lnTo>
                    <a:pt x="913" y="29"/>
                  </a:lnTo>
                  <a:lnTo>
                    <a:pt x="913" y="29"/>
                  </a:lnTo>
                  <a:lnTo>
                    <a:pt x="911" y="31"/>
                  </a:lnTo>
                  <a:lnTo>
                    <a:pt x="909" y="33"/>
                  </a:lnTo>
                  <a:lnTo>
                    <a:pt x="909" y="33"/>
                  </a:lnTo>
                  <a:lnTo>
                    <a:pt x="909" y="33"/>
                  </a:lnTo>
                  <a:lnTo>
                    <a:pt x="909" y="33"/>
                  </a:lnTo>
                  <a:lnTo>
                    <a:pt x="909" y="33"/>
                  </a:lnTo>
                  <a:lnTo>
                    <a:pt x="905" y="35"/>
                  </a:lnTo>
                  <a:lnTo>
                    <a:pt x="905" y="37"/>
                  </a:lnTo>
                  <a:lnTo>
                    <a:pt x="905" y="37"/>
                  </a:lnTo>
                  <a:lnTo>
                    <a:pt x="905" y="37"/>
                  </a:lnTo>
                  <a:lnTo>
                    <a:pt x="905" y="37"/>
                  </a:lnTo>
                  <a:lnTo>
                    <a:pt x="905" y="37"/>
                  </a:lnTo>
                  <a:lnTo>
                    <a:pt x="907" y="37"/>
                  </a:lnTo>
                  <a:lnTo>
                    <a:pt x="907" y="37"/>
                  </a:lnTo>
                  <a:lnTo>
                    <a:pt x="909" y="37"/>
                  </a:lnTo>
                  <a:lnTo>
                    <a:pt x="909" y="39"/>
                  </a:lnTo>
                  <a:lnTo>
                    <a:pt x="909" y="39"/>
                  </a:lnTo>
                  <a:lnTo>
                    <a:pt x="909" y="39"/>
                  </a:lnTo>
                  <a:lnTo>
                    <a:pt x="909" y="39"/>
                  </a:lnTo>
                  <a:lnTo>
                    <a:pt x="909" y="39"/>
                  </a:lnTo>
                  <a:lnTo>
                    <a:pt x="909" y="41"/>
                  </a:lnTo>
                  <a:lnTo>
                    <a:pt x="909" y="41"/>
                  </a:lnTo>
                  <a:lnTo>
                    <a:pt x="909" y="41"/>
                  </a:lnTo>
                  <a:lnTo>
                    <a:pt x="909" y="43"/>
                  </a:lnTo>
                  <a:lnTo>
                    <a:pt x="911" y="43"/>
                  </a:lnTo>
                  <a:lnTo>
                    <a:pt x="911" y="43"/>
                  </a:lnTo>
                  <a:lnTo>
                    <a:pt x="911" y="43"/>
                  </a:lnTo>
                  <a:lnTo>
                    <a:pt x="911" y="43"/>
                  </a:lnTo>
                  <a:lnTo>
                    <a:pt x="911" y="43"/>
                  </a:lnTo>
                  <a:lnTo>
                    <a:pt x="911" y="43"/>
                  </a:lnTo>
                  <a:lnTo>
                    <a:pt x="913" y="43"/>
                  </a:lnTo>
                  <a:lnTo>
                    <a:pt x="913" y="43"/>
                  </a:lnTo>
                  <a:lnTo>
                    <a:pt x="913" y="43"/>
                  </a:lnTo>
                  <a:lnTo>
                    <a:pt x="913" y="43"/>
                  </a:lnTo>
                  <a:lnTo>
                    <a:pt x="913" y="43"/>
                  </a:lnTo>
                  <a:lnTo>
                    <a:pt x="913" y="43"/>
                  </a:lnTo>
                  <a:lnTo>
                    <a:pt x="913" y="43"/>
                  </a:lnTo>
                  <a:lnTo>
                    <a:pt x="913" y="43"/>
                  </a:lnTo>
                  <a:lnTo>
                    <a:pt x="916" y="43"/>
                  </a:lnTo>
                  <a:lnTo>
                    <a:pt x="916" y="43"/>
                  </a:lnTo>
                  <a:lnTo>
                    <a:pt x="920" y="43"/>
                  </a:lnTo>
                  <a:lnTo>
                    <a:pt x="918" y="43"/>
                  </a:lnTo>
                  <a:lnTo>
                    <a:pt x="918" y="43"/>
                  </a:lnTo>
                  <a:lnTo>
                    <a:pt x="918" y="43"/>
                  </a:lnTo>
                  <a:lnTo>
                    <a:pt x="916" y="43"/>
                  </a:lnTo>
                  <a:lnTo>
                    <a:pt x="916" y="43"/>
                  </a:lnTo>
                  <a:lnTo>
                    <a:pt x="916" y="43"/>
                  </a:lnTo>
                  <a:lnTo>
                    <a:pt x="916" y="43"/>
                  </a:lnTo>
                  <a:lnTo>
                    <a:pt x="916" y="43"/>
                  </a:lnTo>
                  <a:lnTo>
                    <a:pt x="913" y="43"/>
                  </a:lnTo>
                  <a:lnTo>
                    <a:pt x="913" y="43"/>
                  </a:lnTo>
                  <a:lnTo>
                    <a:pt x="911" y="45"/>
                  </a:lnTo>
                  <a:lnTo>
                    <a:pt x="911" y="45"/>
                  </a:lnTo>
                  <a:lnTo>
                    <a:pt x="911" y="45"/>
                  </a:lnTo>
                  <a:lnTo>
                    <a:pt x="909" y="43"/>
                  </a:lnTo>
                  <a:lnTo>
                    <a:pt x="909" y="43"/>
                  </a:lnTo>
                  <a:lnTo>
                    <a:pt x="909" y="43"/>
                  </a:lnTo>
                  <a:lnTo>
                    <a:pt x="909" y="45"/>
                  </a:lnTo>
                  <a:lnTo>
                    <a:pt x="909" y="45"/>
                  </a:lnTo>
                  <a:lnTo>
                    <a:pt x="907" y="47"/>
                  </a:lnTo>
                  <a:lnTo>
                    <a:pt x="907" y="47"/>
                  </a:lnTo>
                  <a:lnTo>
                    <a:pt x="907" y="47"/>
                  </a:lnTo>
                  <a:lnTo>
                    <a:pt x="907" y="47"/>
                  </a:lnTo>
                  <a:lnTo>
                    <a:pt x="907" y="49"/>
                  </a:lnTo>
                  <a:lnTo>
                    <a:pt x="907" y="49"/>
                  </a:lnTo>
                  <a:lnTo>
                    <a:pt x="907" y="49"/>
                  </a:lnTo>
                  <a:lnTo>
                    <a:pt x="907" y="51"/>
                  </a:lnTo>
                  <a:lnTo>
                    <a:pt x="907" y="51"/>
                  </a:lnTo>
                  <a:lnTo>
                    <a:pt x="907" y="51"/>
                  </a:lnTo>
                  <a:lnTo>
                    <a:pt x="907" y="51"/>
                  </a:lnTo>
                  <a:lnTo>
                    <a:pt x="907" y="51"/>
                  </a:lnTo>
                  <a:lnTo>
                    <a:pt x="907" y="53"/>
                  </a:lnTo>
                  <a:lnTo>
                    <a:pt x="907" y="53"/>
                  </a:lnTo>
                  <a:lnTo>
                    <a:pt x="907" y="53"/>
                  </a:lnTo>
                  <a:lnTo>
                    <a:pt x="907" y="53"/>
                  </a:lnTo>
                  <a:lnTo>
                    <a:pt x="907" y="55"/>
                  </a:lnTo>
                  <a:lnTo>
                    <a:pt x="907" y="55"/>
                  </a:lnTo>
                  <a:lnTo>
                    <a:pt x="907" y="55"/>
                  </a:lnTo>
                  <a:lnTo>
                    <a:pt x="909" y="57"/>
                  </a:lnTo>
                  <a:lnTo>
                    <a:pt x="909" y="57"/>
                  </a:lnTo>
                  <a:lnTo>
                    <a:pt x="909" y="59"/>
                  </a:lnTo>
                  <a:lnTo>
                    <a:pt x="907" y="57"/>
                  </a:lnTo>
                  <a:lnTo>
                    <a:pt x="907" y="55"/>
                  </a:lnTo>
                  <a:lnTo>
                    <a:pt x="907" y="55"/>
                  </a:lnTo>
                  <a:lnTo>
                    <a:pt x="907" y="53"/>
                  </a:lnTo>
                  <a:lnTo>
                    <a:pt x="907" y="53"/>
                  </a:lnTo>
                  <a:lnTo>
                    <a:pt x="907" y="53"/>
                  </a:lnTo>
                  <a:lnTo>
                    <a:pt x="907" y="53"/>
                  </a:lnTo>
                  <a:lnTo>
                    <a:pt x="907" y="53"/>
                  </a:lnTo>
                  <a:lnTo>
                    <a:pt x="907" y="53"/>
                  </a:lnTo>
                  <a:lnTo>
                    <a:pt x="907" y="53"/>
                  </a:lnTo>
                  <a:lnTo>
                    <a:pt x="907" y="53"/>
                  </a:lnTo>
                  <a:lnTo>
                    <a:pt x="907" y="53"/>
                  </a:lnTo>
                  <a:lnTo>
                    <a:pt x="907" y="51"/>
                  </a:lnTo>
                  <a:lnTo>
                    <a:pt x="907" y="51"/>
                  </a:lnTo>
                  <a:lnTo>
                    <a:pt x="907" y="51"/>
                  </a:lnTo>
                  <a:lnTo>
                    <a:pt x="907" y="51"/>
                  </a:lnTo>
                  <a:lnTo>
                    <a:pt x="907" y="51"/>
                  </a:lnTo>
                  <a:lnTo>
                    <a:pt x="907" y="49"/>
                  </a:lnTo>
                  <a:lnTo>
                    <a:pt x="907" y="49"/>
                  </a:lnTo>
                  <a:lnTo>
                    <a:pt x="905" y="49"/>
                  </a:lnTo>
                  <a:lnTo>
                    <a:pt x="905" y="49"/>
                  </a:lnTo>
                  <a:lnTo>
                    <a:pt x="903" y="51"/>
                  </a:lnTo>
                  <a:lnTo>
                    <a:pt x="903" y="51"/>
                  </a:lnTo>
                  <a:lnTo>
                    <a:pt x="903" y="51"/>
                  </a:lnTo>
                  <a:lnTo>
                    <a:pt x="905" y="49"/>
                  </a:lnTo>
                  <a:lnTo>
                    <a:pt x="905" y="49"/>
                  </a:lnTo>
                  <a:lnTo>
                    <a:pt x="905" y="47"/>
                  </a:lnTo>
                  <a:lnTo>
                    <a:pt x="905" y="47"/>
                  </a:lnTo>
                  <a:lnTo>
                    <a:pt x="905" y="45"/>
                  </a:lnTo>
                  <a:lnTo>
                    <a:pt x="907" y="45"/>
                  </a:lnTo>
                  <a:lnTo>
                    <a:pt x="907" y="45"/>
                  </a:lnTo>
                  <a:lnTo>
                    <a:pt x="907" y="43"/>
                  </a:lnTo>
                  <a:lnTo>
                    <a:pt x="907" y="43"/>
                  </a:lnTo>
                  <a:lnTo>
                    <a:pt x="903" y="45"/>
                  </a:lnTo>
                  <a:lnTo>
                    <a:pt x="903" y="45"/>
                  </a:lnTo>
                  <a:lnTo>
                    <a:pt x="903" y="43"/>
                  </a:lnTo>
                  <a:lnTo>
                    <a:pt x="903" y="43"/>
                  </a:lnTo>
                  <a:lnTo>
                    <a:pt x="905" y="43"/>
                  </a:lnTo>
                  <a:lnTo>
                    <a:pt x="905" y="43"/>
                  </a:lnTo>
                  <a:lnTo>
                    <a:pt x="905" y="41"/>
                  </a:lnTo>
                  <a:lnTo>
                    <a:pt x="907" y="43"/>
                  </a:lnTo>
                  <a:lnTo>
                    <a:pt x="907" y="41"/>
                  </a:lnTo>
                  <a:lnTo>
                    <a:pt x="907" y="41"/>
                  </a:lnTo>
                  <a:lnTo>
                    <a:pt x="907" y="41"/>
                  </a:lnTo>
                  <a:lnTo>
                    <a:pt x="907" y="41"/>
                  </a:lnTo>
                  <a:lnTo>
                    <a:pt x="907" y="41"/>
                  </a:lnTo>
                  <a:lnTo>
                    <a:pt x="907" y="39"/>
                  </a:lnTo>
                  <a:lnTo>
                    <a:pt x="907" y="39"/>
                  </a:lnTo>
                  <a:lnTo>
                    <a:pt x="907" y="39"/>
                  </a:lnTo>
                  <a:lnTo>
                    <a:pt x="907" y="39"/>
                  </a:lnTo>
                  <a:lnTo>
                    <a:pt x="905" y="39"/>
                  </a:lnTo>
                  <a:lnTo>
                    <a:pt x="905" y="39"/>
                  </a:lnTo>
                  <a:lnTo>
                    <a:pt x="903" y="39"/>
                  </a:lnTo>
                  <a:lnTo>
                    <a:pt x="903" y="39"/>
                  </a:lnTo>
                  <a:lnTo>
                    <a:pt x="903" y="39"/>
                  </a:lnTo>
                  <a:lnTo>
                    <a:pt x="903" y="37"/>
                  </a:lnTo>
                  <a:lnTo>
                    <a:pt x="903" y="37"/>
                  </a:lnTo>
                  <a:lnTo>
                    <a:pt x="903" y="37"/>
                  </a:lnTo>
                  <a:lnTo>
                    <a:pt x="903" y="37"/>
                  </a:lnTo>
                  <a:lnTo>
                    <a:pt x="903" y="39"/>
                  </a:lnTo>
                  <a:lnTo>
                    <a:pt x="897" y="43"/>
                  </a:lnTo>
                  <a:lnTo>
                    <a:pt x="893" y="45"/>
                  </a:lnTo>
                  <a:lnTo>
                    <a:pt x="891" y="47"/>
                  </a:lnTo>
                  <a:lnTo>
                    <a:pt x="891" y="47"/>
                  </a:lnTo>
                  <a:lnTo>
                    <a:pt x="893" y="45"/>
                  </a:lnTo>
                  <a:lnTo>
                    <a:pt x="895" y="45"/>
                  </a:lnTo>
                  <a:lnTo>
                    <a:pt x="895" y="45"/>
                  </a:lnTo>
                  <a:lnTo>
                    <a:pt x="895" y="45"/>
                  </a:lnTo>
                  <a:lnTo>
                    <a:pt x="891" y="49"/>
                  </a:lnTo>
                  <a:lnTo>
                    <a:pt x="889" y="49"/>
                  </a:lnTo>
                  <a:lnTo>
                    <a:pt x="887" y="51"/>
                  </a:lnTo>
                  <a:lnTo>
                    <a:pt x="887" y="51"/>
                  </a:lnTo>
                  <a:lnTo>
                    <a:pt x="889" y="51"/>
                  </a:lnTo>
                  <a:lnTo>
                    <a:pt x="889" y="51"/>
                  </a:lnTo>
                  <a:lnTo>
                    <a:pt x="887" y="51"/>
                  </a:lnTo>
                  <a:lnTo>
                    <a:pt x="887" y="51"/>
                  </a:lnTo>
                  <a:lnTo>
                    <a:pt x="887" y="51"/>
                  </a:lnTo>
                  <a:lnTo>
                    <a:pt x="887" y="51"/>
                  </a:lnTo>
                  <a:lnTo>
                    <a:pt x="887" y="51"/>
                  </a:lnTo>
                  <a:lnTo>
                    <a:pt x="887" y="51"/>
                  </a:lnTo>
                  <a:lnTo>
                    <a:pt x="883" y="51"/>
                  </a:lnTo>
                  <a:lnTo>
                    <a:pt x="881" y="53"/>
                  </a:lnTo>
                  <a:lnTo>
                    <a:pt x="877" y="53"/>
                  </a:lnTo>
                  <a:lnTo>
                    <a:pt x="877" y="53"/>
                  </a:lnTo>
                  <a:lnTo>
                    <a:pt x="875" y="53"/>
                  </a:lnTo>
                  <a:lnTo>
                    <a:pt x="875" y="53"/>
                  </a:lnTo>
                  <a:lnTo>
                    <a:pt x="875" y="53"/>
                  </a:lnTo>
                  <a:lnTo>
                    <a:pt x="875" y="53"/>
                  </a:lnTo>
                  <a:lnTo>
                    <a:pt x="875" y="53"/>
                  </a:lnTo>
                  <a:lnTo>
                    <a:pt x="875" y="53"/>
                  </a:lnTo>
                  <a:lnTo>
                    <a:pt x="875" y="53"/>
                  </a:lnTo>
                  <a:lnTo>
                    <a:pt x="875" y="55"/>
                  </a:lnTo>
                  <a:lnTo>
                    <a:pt x="875" y="55"/>
                  </a:lnTo>
                  <a:lnTo>
                    <a:pt x="875" y="55"/>
                  </a:lnTo>
                  <a:lnTo>
                    <a:pt x="875" y="55"/>
                  </a:lnTo>
                  <a:lnTo>
                    <a:pt x="875" y="55"/>
                  </a:lnTo>
                  <a:lnTo>
                    <a:pt x="873" y="55"/>
                  </a:lnTo>
                  <a:lnTo>
                    <a:pt x="873" y="55"/>
                  </a:lnTo>
                  <a:lnTo>
                    <a:pt x="873" y="55"/>
                  </a:lnTo>
                  <a:lnTo>
                    <a:pt x="870" y="57"/>
                  </a:lnTo>
                  <a:lnTo>
                    <a:pt x="866" y="57"/>
                  </a:lnTo>
                  <a:lnTo>
                    <a:pt x="866" y="55"/>
                  </a:lnTo>
                  <a:lnTo>
                    <a:pt x="866" y="55"/>
                  </a:lnTo>
                  <a:lnTo>
                    <a:pt x="868" y="55"/>
                  </a:lnTo>
                  <a:lnTo>
                    <a:pt x="868" y="55"/>
                  </a:lnTo>
                  <a:lnTo>
                    <a:pt x="868" y="55"/>
                  </a:lnTo>
                  <a:lnTo>
                    <a:pt x="868" y="55"/>
                  </a:lnTo>
                  <a:lnTo>
                    <a:pt x="870" y="55"/>
                  </a:lnTo>
                  <a:lnTo>
                    <a:pt x="870" y="55"/>
                  </a:lnTo>
                  <a:lnTo>
                    <a:pt x="873" y="55"/>
                  </a:lnTo>
                  <a:lnTo>
                    <a:pt x="873" y="53"/>
                  </a:lnTo>
                  <a:lnTo>
                    <a:pt x="873" y="53"/>
                  </a:lnTo>
                  <a:lnTo>
                    <a:pt x="873" y="53"/>
                  </a:lnTo>
                  <a:lnTo>
                    <a:pt x="873" y="53"/>
                  </a:lnTo>
                  <a:lnTo>
                    <a:pt x="873" y="53"/>
                  </a:lnTo>
                  <a:lnTo>
                    <a:pt x="873" y="53"/>
                  </a:lnTo>
                  <a:lnTo>
                    <a:pt x="870" y="51"/>
                  </a:lnTo>
                  <a:lnTo>
                    <a:pt x="873" y="51"/>
                  </a:lnTo>
                  <a:lnTo>
                    <a:pt x="875" y="53"/>
                  </a:lnTo>
                  <a:lnTo>
                    <a:pt x="875" y="51"/>
                  </a:lnTo>
                  <a:lnTo>
                    <a:pt x="875" y="51"/>
                  </a:lnTo>
                  <a:lnTo>
                    <a:pt x="873" y="51"/>
                  </a:lnTo>
                  <a:lnTo>
                    <a:pt x="873" y="49"/>
                  </a:lnTo>
                  <a:lnTo>
                    <a:pt x="873" y="49"/>
                  </a:lnTo>
                  <a:lnTo>
                    <a:pt x="873" y="49"/>
                  </a:lnTo>
                  <a:lnTo>
                    <a:pt x="873" y="49"/>
                  </a:lnTo>
                  <a:lnTo>
                    <a:pt x="873" y="49"/>
                  </a:lnTo>
                  <a:lnTo>
                    <a:pt x="873" y="49"/>
                  </a:lnTo>
                  <a:lnTo>
                    <a:pt x="873" y="49"/>
                  </a:lnTo>
                  <a:lnTo>
                    <a:pt x="873" y="49"/>
                  </a:lnTo>
                  <a:lnTo>
                    <a:pt x="870" y="49"/>
                  </a:lnTo>
                  <a:lnTo>
                    <a:pt x="870" y="49"/>
                  </a:lnTo>
                  <a:lnTo>
                    <a:pt x="868" y="51"/>
                  </a:lnTo>
                  <a:lnTo>
                    <a:pt x="868" y="51"/>
                  </a:lnTo>
                  <a:lnTo>
                    <a:pt x="868" y="51"/>
                  </a:lnTo>
                  <a:lnTo>
                    <a:pt x="866" y="53"/>
                  </a:lnTo>
                  <a:lnTo>
                    <a:pt x="866" y="53"/>
                  </a:lnTo>
                  <a:lnTo>
                    <a:pt x="866" y="55"/>
                  </a:lnTo>
                  <a:lnTo>
                    <a:pt x="866" y="55"/>
                  </a:lnTo>
                  <a:lnTo>
                    <a:pt x="866" y="55"/>
                  </a:lnTo>
                  <a:lnTo>
                    <a:pt x="864" y="55"/>
                  </a:lnTo>
                  <a:lnTo>
                    <a:pt x="864" y="55"/>
                  </a:lnTo>
                  <a:lnTo>
                    <a:pt x="864" y="55"/>
                  </a:lnTo>
                  <a:lnTo>
                    <a:pt x="864" y="55"/>
                  </a:lnTo>
                  <a:lnTo>
                    <a:pt x="862" y="57"/>
                  </a:lnTo>
                  <a:lnTo>
                    <a:pt x="862" y="59"/>
                  </a:lnTo>
                  <a:lnTo>
                    <a:pt x="862" y="59"/>
                  </a:lnTo>
                  <a:lnTo>
                    <a:pt x="862" y="59"/>
                  </a:lnTo>
                  <a:lnTo>
                    <a:pt x="862" y="59"/>
                  </a:lnTo>
                  <a:lnTo>
                    <a:pt x="862" y="61"/>
                  </a:lnTo>
                  <a:lnTo>
                    <a:pt x="862" y="61"/>
                  </a:lnTo>
                  <a:lnTo>
                    <a:pt x="860" y="61"/>
                  </a:lnTo>
                  <a:lnTo>
                    <a:pt x="860" y="61"/>
                  </a:lnTo>
                  <a:lnTo>
                    <a:pt x="860" y="61"/>
                  </a:lnTo>
                  <a:lnTo>
                    <a:pt x="860" y="61"/>
                  </a:lnTo>
                  <a:lnTo>
                    <a:pt x="858" y="64"/>
                  </a:lnTo>
                  <a:lnTo>
                    <a:pt x="858" y="66"/>
                  </a:lnTo>
                  <a:lnTo>
                    <a:pt x="858" y="66"/>
                  </a:lnTo>
                  <a:lnTo>
                    <a:pt x="856" y="66"/>
                  </a:lnTo>
                  <a:lnTo>
                    <a:pt x="854" y="68"/>
                  </a:lnTo>
                  <a:lnTo>
                    <a:pt x="854" y="70"/>
                  </a:lnTo>
                  <a:lnTo>
                    <a:pt x="854" y="70"/>
                  </a:lnTo>
                  <a:lnTo>
                    <a:pt x="852" y="70"/>
                  </a:lnTo>
                  <a:lnTo>
                    <a:pt x="850" y="74"/>
                  </a:lnTo>
                  <a:lnTo>
                    <a:pt x="848" y="74"/>
                  </a:lnTo>
                  <a:lnTo>
                    <a:pt x="848" y="74"/>
                  </a:lnTo>
                  <a:lnTo>
                    <a:pt x="848" y="74"/>
                  </a:lnTo>
                  <a:lnTo>
                    <a:pt x="848" y="76"/>
                  </a:lnTo>
                  <a:lnTo>
                    <a:pt x="848" y="76"/>
                  </a:lnTo>
                  <a:lnTo>
                    <a:pt x="848" y="76"/>
                  </a:lnTo>
                  <a:lnTo>
                    <a:pt x="848" y="76"/>
                  </a:lnTo>
                  <a:lnTo>
                    <a:pt x="848" y="76"/>
                  </a:lnTo>
                  <a:lnTo>
                    <a:pt x="848" y="78"/>
                  </a:lnTo>
                  <a:lnTo>
                    <a:pt x="848" y="78"/>
                  </a:lnTo>
                  <a:lnTo>
                    <a:pt x="848" y="78"/>
                  </a:lnTo>
                  <a:lnTo>
                    <a:pt x="846" y="78"/>
                  </a:lnTo>
                  <a:lnTo>
                    <a:pt x="846" y="78"/>
                  </a:lnTo>
                  <a:lnTo>
                    <a:pt x="846" y="80"/>
                  </a:lnTo>
                  <a:lnTo>
                    <a:pt x="846" y="80"/>
                  </a:lnTo>
                  <a:lnTo>
                    <a:pt x="846" y="80"/>
                  </a:lnTo>
                  <a:lnTo>
                    <a:pt x="846" y="82"/>
                  </a:lnTo>
                  <a:lnTo>
                    <a:pt x="846" y="82"/>
                  </a:lnTo>
                  <a:lnTo>
                    <a:pt x="846" y="82"/>
                  </a:lnTo>
                  <a:lnTo>
                    <a:pt x="846" y="82"/>
                  </a:lnTo>
                  <a:lnTo>
                    <a:pt x="844" y="82"/>
                  </a:lnTo>
                  <a:lnTo>
                    <a:pt x="844" y="82"/>
                  </a:lnTo>
                  <a:lnTo>
                    <a:pt x="846" y="82"/>
                  </a:lnTo>
                  <a:lnTo>
                    <a:pt x="846" y="84"/>
                  </a:lnTo>
                  <a:lnTo>
                    <a:pt x="846" y="84"/>
                  </a:lnTo>
                  <a:lnTo>
                    <a:pt x="846" y="84"/>
                  </a:lnTo>
                  <a:lnTo>
                    <a:pt x="846" y="84"/>
                  </a:lnTo>
                  <a:lnTo>
                    <a:pt x="846" y="84"/>
                  </a:lnTo>
                  <a:lnTo>
                    <a:pt x="846" y="86"/>
                  </a:lnTo>
                  <a:lnTo>
                    <a:pt x="846" y="86"/>
                  </a:lnTo>
                  <a:lnTo>
                    <a:pt x="844" y="88"/>
                  </a:lnTo>
                  <a:lnTo>
                    <a:pt x="844" y="88"/>
                  </a:lnTo>
                  <a:lnTo>
                    <a:pt x="844" y="88"/>
                  </a:lnTo>
                  <a:lnTo>
                    <a:pt x="844" y="88"/>
                  </a:lnTo>
                  <a:lnTo>
                    <a:pt x="844" y="90"/>
                  </a:lnTo>
                  <a:lnTo>
                    <a:pt x="844" y="90"/>
                  </a:lnTo>
                  <a:lnTo>
                    <a:pt x="844" y="90"/>
                  </a:lnTo>
                  <a:lnTo>
                    <a:pt x="844" y="90"/>
                  </a:lnTo>
                  <a:lnTo>
                    <a:pt x="844" y="90"/>
                  </a:lnTo>
                  <a:lnTo>
                    <a:pt x="844" y="92"/>
                  </a:lnTo>
                  <a:lnTo>
                    <a:pt x="844" y="92"/>
                  </a:lnTo>
                  <a:lnTo>
                    <a:pt x="844" y="92"/>
                  </a:lnTo>
                  <a:lnTo>
                    <a:pt x="842" y="94"/>
                  </a:lnTo>
                  <a:lnTo>
                    <a:pt x="842" y="94"/>
                  </a:lnTo>
                  <a:lnTo>
                    <a:pt x="842" y="94"/>
                  </a:lnTo>
                  <a:lnTo>
                    <a:pt x="840" y="96"/>
                  </a:lnTo>
                  <a:lnTo>
                    <a:pt x="840" y="98"/>
                  </a:lnTo>
                  <a:lnTo>
                    <a:pt x="840" y="96"/>
                  </a:lnTo>
                  <a:lnTo>
                    <a:pt x="840" y="96"/>
                  </a:lnTo>
                  <a:lnTo>
                    <a:pt x="844" y="92"/>
                  </a:lnTo>
                  <a:lnTo>
                    <a:pt x="842" y="90"/>
                  </a:lnTo>
                  <a:lnTo>
                    <a:pt x="842" y="92"/>
                  </a:lnTo>
                  <a:lnTo>
                    <a:pt x="840" y="96"/>
                  </a:lnTo>
                  <a:lnTo>
                    <a:pt x="840" y="96"/>
                  </a:lnTo>
                  <a:lnTo>
                    <a:pt x="832" y="107"/>
                  </a:lnTo>
                  <a:lnTo>
                    <a:pt x="827" y="109"/>
                  </a:lnTo>
                  <a:lnTo>
                    <a:pt x="827" y="109"/>
                  </a:lnTo>
                  <a:lnTo>
                    <a:pt x="825" y="111"/>
                  </a:lnTo>
                  <a:lnTo>
                    <a:pt x="825" y="111"/>
                  </a:lnTo>
                  <a:lnTo>
                    <a:pt x="821" y="111"/>
                  </a:lnTo>
                  <a:lnTo>
                    <a:pt x="821" y="113"/>
                  </a:lnTo>
                  <a:lnTo>
                    <a:pt x="819" y="113"/>
                  </a:lnTo>
                  <a:lnTo>
                    <a:pt x="817" y="113"/>
                  </a:lnTo>
                  <a:lnTo>
                    <a:pt x="809" y="113"/>
                  </a:lnTo>
                  <a:lnTo>
                    <a:pt x="803" y="113"/>
                  </a:lnTo>
                  <a:lnTo>
                    <a:pt x="799" y="113"/>
                  </a:lnTo>
                  <a:lnTo>
                    <a:pt x="793" y="113"/>
                  </a:lnTo>
                  <a:lnTo>
                    <a:pt x="789" y="111"/>
                  </a:lnTo>
                  <a:lnTo>
                    <a:pt x="786" y="111"/>
                  </a:lnTo>
                  <a:lnTo>
                    <a:pt x="784" y="109"/>
                  </a:lnTo>
                  <a:lnTo>
                    <a:pt x="782" y="109"/>
                  </a:lnTo>
                  <a:lnTo>
                    <a:pt x="780" y="111"/>
                  </a:lnTo>
                  <a:lnTo>
                    <a:pt x="780" y="111"/>
                  </a:lnTo>
                  <a:lnTo>
                    <a:pt x="780" y="113"/>
                  </a:lnTo>
                  <a:lnTo>
                    <a:pt x="780" y="115"/>
                  </a:lnTo>
                  <a:lnTo>
                    <a:pt x="780" y="117"/>
                  </a:lnTo>
                  <a:lnTo>
                    <a:pt x="780" y="117"/>
                  </a:lnTo>
                  <a:lnTo>
                    <a:pt x="780" y="119"/>
                  </a:lnTo>
                  <a:lnTo>
                    <a:pt x="780" y="119"/>
                  </a:lnTo>
                  <a:lnTo>
                    <a:pt x="780" y="119"/>
                  </a:lnTo>
                  <a:lnTo>
                    <a:pt x="780" y="121"/>
                  </a:lnTo>
                  <a:lnTo>
                    <a:pt x="780" y="121"/>
                  </a:lnTo>
                  <a:lnTo>
                    <a:pt x="780" y="121"/>
                  </a:lnTo>
                  <a:lnTo>
                    <a:pt x="778" y="121"/>
                  </a:lnTo>
                  <a:lnTo>
                    <a:pt x="780" y="121"/>
                  </a:lnTo>
                  <a:lnTo>
                    <a:pt x="778" y="123"/>
                  </a:lnTo>
                  <a:lnTo>
                    <a:pt x="778" y="123"/>
                  </a:lnTo>
                  <a:lnTo>
                    <a:pt x="778" y="125"/>
                  </a:lnTo>
                  <a:lnTo>
                    <a:pt x="778" y="125"/>
                  </a:lnTo>
                  <a:lnTo>
                    <a:pt x="778" y="125"/>
                  </a:lnTo>
                  <a:lnTo>
                    <a:pt x="778" y="125"/>
                  </a:lnTo>
                  <a:lnTo>
                    <a:pt x="778" y="127"/>
                  </a:lnTo>
                  <a:lnTo>
                    <a:pt x="776" y="127"/>
                  </a:lnTo>
                  <a:lnTo>
                    <a:pt x="776" y="127"/>
                  </a:lnTo>
                  <a:lnTo>
                    <a:pt x="776" y="129"/>
                  </a:lnTo>
                  <a:lnTo>
                    <a:pt x="776" y="129"/>
                  </a:lnTo>
                  <a:lnTo>
                    <a:pt x="776" y="131"/>
                  </a:lnTo>
                  <a:lnTo>
                    <a:pt x="774" y="131"/>
                  </a:lnTo>
                  <a:lnTo>
                    <a:pt x="774" y="131"/>
                  </a:lnTo>
                  <a:lnTo>
                    <a:pt x="774" y="133"/>
                  </a:lnTo>
                  <a:lnTo>
                    <a:pt x="776" y="133"/>
                  </a:lnTo>
                  <a:lnTo>
                    <a:pt x="774" y="133"/>
                  </a:lnTo>
                  <a:lnTo>
                    <a:pt x="774" y="133"/>
                  </a:lnTo>
                  <a:lnTo>
                    <a:pt x="774" y="133"/>
                  </a:lnTo>
                  <a:lnTo>
                    <a:pt x="774" y="133"/>
                  </a:lnTo>
                  <a:lnTo>
                    <a:pt x="774" y="133"/>
                  </a:lnTo>
                  <a:lnTo>
                    <a:pt x="772" y="133"/>
                  </a:lnTo>
                  <a:lnTo>
                    <a:pt x="772" y="133"/>
                  </a:lnTo>
                  <a:lnTo>
                    <a:pt x="770" y="135"/>
                  </a:lnTo>
                  <a:lnTo>
                    <a:pt x="768" y="135"/>
                  </a:lnTo>
                  <a:lnTo>
                    <a:pt x="766" y="133"/>
                  </a:lnTo>
                  <a:lnTo>
                    <a:pt x="768" y="133"/>
                  </a:lnTo>
                  <a:lnTo>
                    <a:pt x="772" y="133"/>
                  </a:lnTo>
                  <a:lnTo>
                    <a:pt x="772" y="131"/>
                  </a:lnTo>
                  <a:lnTo>
                    <a:pt x="772" y="131"/>
                  </a:lnTo>
                  <a:lnTo>
                    <a:pt x="770" y="133"/>
                  </a:lnTo>
                  <a:lnTo>
                    <a:pt x="766" y="133"/>
                  </a:lnTo>
                  <a:lnTo>
                    <a:pt x="766" y="135"/>
                  </a:lnTo>
                  <a:lnTo>
                    <a:pt x="766" y="135"/>
                  </a:lnTo>
                  <a:lnTo>
                    <a:pt x="766" y="135"/>
                  </a:lnTo>
                  <a:lnTo>
                    <a:pt x="768" y="135"/>
                  </a:lnTo>
                  <a:lnTo>
                    <a:pt x="774" y="139"/>
                  </a:lnTo>
                  <a:lnTo>
                    <a:pt x="776" y="141"/>
                  </a:lnTo>
                  <a:lnTo>
                    <a:pt x="778" y="143"/>
                  </a:lnTo>
                  <a:lnTo>
                    <a:pt x="778" y="143"/>
                  </a:lnTo>
                  <a:lnTo>
                    <a:pt x="778" y="143"/>
                  </a:lnTo>
                  <a:lnTo>
                    <a:pt x="778" y="146"/>
                  </a:lnTo>
                  <a:lnTo>
                    <a:pt x="778" y="148"/>
                  </a:lnTo>
                  <a:lnTo>
                    <a:pt x="780" y="148"/>
                  </a:lnTo>
                  <a:lnTo>
                    <a:pt x="782" y="150"/>
                  </a:lnTo>
                  <a:lnTo>
                    <a:pt x="786" y="152"/>
                  </a:lnTo>
                  <a:lnTo>
                    <a:pt x="789" y="154"/>
                  </a:lnTo>
                  <a:lnTo>
                    <a:pt x="793" y="158"/>
                  </a:lnTo>
                  <a:lnTo>
                    <a:pt x="795" y="162"/>
                  </a:lnTo>
                  <a:lnTo>
                    <a:pt x="799" y="166"/>
                  </a:lnTo>
                  <a:lnTo>
                    <a:pt x="799" y="168"/>
                  </a:lnTo>
                  <a:lnTo>
                    <a:pt x="801" y="168"/>
                  </a:lnTo>
                  <a:lnTo>
                    <a:pt x="801" y="170"/>
                  </a:lnTo>
                  <a:lnTo>
                    <a:pt x="801" y="168"/>
                  </a:lnTo>
                  <a:lnTo>
                    <a:pt x="801" y="168"/>
                  </a:lnTo>
                  <a:lnTo>
                    <a:pt x="801" y="168"/>
                  </a:lnTo>
                  <a:lnTo>
                    <a:pt x="801" y="168"/>
                  </a:lnTo>
                  <a:lnTo>
                    <a:pt x="801" y="168"/>
                  </a:lnTo>
                  <a:lnTo>
                    <a:pt x="801" y="168"/>
                  </a:lnTo>
                  <a:lnTo>
                    <a:pt x="801" y="168"/>
                  </a:lnTo>
                  <a:lnTo>
                    <a:pt x="803" y="172"/>
                  </a:lnTo>
                  <a:lnTo>
                    <a:pt x="805" y="172"/>
                  </a:lnTo>
                  <a:lnTo>
                    <a:pt x="805" y="174"/>
                  </a:lnTo>
                  <a:lnTo>
                    <a:pt x="811" y="180"/>
                  </a:lnTo>
                  <a:lnTo>
                    <a:pt x="811" y="184"/>
                  </a:lnTo>
                  <a:lnTo>
                    <a:pt x="813" y="186"/>
                  </a:lnTo>
                  <a:lnTo>
                    <a:pt x="815" y="195"/>
                  </a:lnTo>
                  <a:lnTo>
                    <a:pt x="815" y="197"/>
                  </a:lnTo>
                  <a:lnTo>
                    <a:pt x="815" y="199"/>
                  </a:lnTo>
                  <a:lnTo>
                    <a:pt x="815" y="199"/>
                  </a:lnTo>
                  <a:lnTo>
                    <a:pt x="815" y="203"/>
                  </a:lnTo>
                  <a:lnTo>
                    <a:pt x="815" y="205"/>
                  </a:lnTo>
                  <a:lnTo>
                    <a:pt x="815" y="207"/>
                  </a:lnTo>
                  <a:lnTo>
                    <a:pt x="815" y="207"/>
                  </a:lnTo>
                  <a:lnTo>
                    <a:pt x="815" y="209"/>
                  </a:lnTo>
                  <a:lnTo>
                    <a:pt x="821" y="211"/>
                  </a:lnTo>
                  <a:lnTo>
                    <a:pt x="821" y="211"/>
                  </a:lnTo>
                  <a:lnTo>
                    <a:pt x="825" y="213"/>
                  </a:lnTo>
                  <a:lnTo>
                    <a:pt x="827" y="213"/>
                  </a:lnTo>
                  <a:lnTo>
                    <a:pt x="832" y="215"/>
                  </a:lnTo>
                  <a:lnTo>
                    <a:pt x="832" y="215"/>
                  </a:lnTo>
                  <a:lnTo>
                    <a:pt x="832" y="215"/>
                  </a:lnTo>
                  <a:lnTo>
                    <a:pt x="832" y="215"/>
                  </a:lnTo>
                  <a:lnTo>
                    <a:pt x="830" y="215"/>
                  </a:lnTo>
                  <a:lnTo>
                    <a:pt x="830" y="213"/>
                  </a:lnTo>
                  <a:lnTo>
                    <a:pt x="830" y="213"/>
                  </a:lnTo>
                  <a:lnTo>
                    <a:pt x="832" y="213"/>
                  </a:lnTo>
                  <a:lnTo>
                    <a:pt x="834" y="213"/>
                  </a:lnTo>
                  <a:lnTo>
                    <a:pt x="836" y="215"/>
                  </a:lnTo>
                  <a:lnTo>
                    <a:pt x="836" y="215"/>
                  </a:lnTo>
                  <a:lnTo>
                    <a:pt x="836" y="215"/>
                  </a:lnTo>
                  <a:lnTo>
                    <a:pt x="836" y="215"/>
                  </a:lnTo>
                  <a:lnTo>
                    <a:pt x="836" y="215"/>
                  </a:lnTo>
                  <a:lnTo>
                    <a:pt x="836" y="215"/>
                  </a:lnTo>
                  <a:lnTo>
                    <a:pt x="838" y="215"/>
                  </a:lnTo>
                  <a:lnTo>
                    <a:pt x="838" y="215"/>
                  </a:lnTo>
                  <a:lnTo>
                    <a:pt x="840" y="213"/>
                  </a:lnTo>
                  <a:lnTo>
                    <a:pt x="842" y="211"/>
                  </a:lnTo>
                  <a:lnTo>
                    <a:pt x="842" y="211"/>
                  </a:lnTo>
                  <a:lnTo>
                    <a:pt x="842" y="209"/>
                  </a:lnTo>
                  <a:lnTo>
                    <a:pt x="842" y="209"/>
                  </a:lnTo>
                  <a:lnTo>
                    <a:pt x="842" y="209"/>
                  </a:lnTo>
                  <a:lnTo>
                    <a:pt x="842" y="209"/>
                  </a:lnTo>
                  <a:lnTo>
                    <a:pt x="842" y="209"/>
                  </a:lnTo>
                  <a:lnTo>
                    <a:pt x="844" y="209"/>
                  </a:lnTo>
                  <a:lnTo>
                    <a:pt x="844" y="209"/>
                  </a:lnTo>
                  <a:lnTo>
                    <a:pt x="844" y="209"/>
                  </a:lnTo>
                  <a:lnTo>
                    <a:pt x="844" y="209"/>
                  </a:lnTo>
                  <a:lnTo>
                    <a:pt x="842" y="211"/>
                  </a:lnTo>
                  <a:lnTo>
                    <a:pt x="842" y="213"/>
                  </a:lnTo>
                  <a:lnTo>
                    <a:pt x="842" y="213"/>
                  </a:lnTo>
                  <a:lnTo>
                    <a:pt x="842" y="213"/>
                  </a:lnTo>
                  <a:lnTo>
                    <a:pt x="842" y="215"/>
                  </a:lnTo>
                  <a:lnTo>
                    <a:pt x="840" y="217"/>
                  </a:lnTo>
                  <a:lnTo>
                    <a:pt x="840" y="217"/>
                  </a:lnTo>
                  <a:lnTo>
                    <a:pt x="840" y="217"/>
                  </a:lnTo>
                  <a:lnTo>
                    <a:pt x="840" y="217"/>
                  </a:lnTo>
                  <a:lnTo>
                    <a:pt x="842" y="217"/>
                  </a:lnTo>
                  <a:lnTo>
                    <a:pt x="844" y="217"/>
                  </a:lnTo>
                  <a:lnTo>
                    <a:pt x="844" y="217"/>
                  </a:lnTo>
                  <a:lnTo>
                    <a:pt x="844" y="215"/>
                  </a:lnTo>
                  <a:lnTo>
                    <a:pt x="844" y="215"/>
                  </a:lnTo>
                  <a:lnTo>
                    <a:pt x="844" y="215"/>
                  </a:lnTo>
                  <a:lnTo>
                    <a:pt x="844" y="213"/>
                  </a:lnTo>
                  <a:lnTo>
                    <a:pt x="844" y="213"/>
                  </a:lnTo>
                  <a:lnTo>
                    <a:pt x="844" y="213"/>
                  </a:lnTo>
                  <a:lnTo>
                    <a:pt x="844" y="215"/>
                  </a:lnTo>
                  <a:lnTo>
                    <a:pt x="844" y="215"/>
                  </a:lnTo>
                  <a:lnTo>
                    <a:pt x="844" y="215"/>
                  </a:lnTo>
                  <a:lnTo>
                    <a:pt x="844" y="215"/>
                  </a:lnTo>
                  <a:lnTo>
                    <a:pt x="844" y="217"/>
                  </a:lnTo>
                  <a:lnTo>
                    <a:pt x="844" y="217"/>
                  </a:lnTo>
                  <a:lnTo>
                    <a:pt x="850" y="215"/>
                  </a:lnTo>
                  <a:lnTo>
                    <a:pt x="852" y="215"/>
                  </a:lnTo>
                  <a:lnTo>
                    <a:pt x="854" y="217"/>
                  </a:lnTo>
                  <a:lnTo>
                    <a:pt x="854" y="217"/>
                  </a:lnTo>
                  <a:lnTo>
                    <a:pt x="854" y="217"/>
                  </a:lnTo>
                  <a:lnTo>
                    <a:pt x="854" y="217"/>
                  </a:lnTo>
                  <a:lnTo>
                    <a:pt x="854" y="217"/>
                  </a:lnTo>
                  <a:lnTo>
                    <a:pt x="856" y="217"/>
                  </a:lnTo>
                  <a:lnTo>
                    <a:pt x="856" y="217"/>
                  </a:lnTo>
                  <a:lnTo>
                    <a:pt x="856" y="217"/>
                  </a:lnTo>
                  <a:lnTo>
                    <a:pt x="856" y="217"/>
                  </a:lnTo>
                  <a:lnTo>
                    <a:pt x="856" y="217"/>
                  </a:lnTo>
                  <a:lnTo>
                    <a:pt x="856" y="217"/>
                  </a:lnTo>
                  <a:lnTo>
                    <a:pt x="856" y="219"/>
                  </a:lnTo>
                  <a:lnTo>
                    <a:pt x="856" y="219"/>
                  </a:lnTo>
                  <a:lnTo>
                    <a:pt x="858" y="219"/>
                  </a:lnTo>
                  <a:lnTo>
                    <a:pt x="858" y="219"/>
                  </a:lnTo>
                  <a:lnTo>
                    <a:pt x="858" y="219"/>
                  </a:lnTo>
                  <a:lnTo>
                    <a:pt x="858" y="219"/>
                  </a:lnTo>
                  <a:lnTo>
                    <a:pt x="858" y="221"/>
                  </a:lnTo>
                  <a:lnTo>
                    <a:pt x="858" y="221"/>
                  </a:lnTo>
                  <a:lnTo>
                    <a:pt x="858" y="221"/>
                  </a:lnTo>
                  <a:lnTo>
                    <a:pt x="856" y="221"/>
                  </a:lnTo>
                  <a:lnTo>
                    <a:pt x="856" y="221"/>
                  </a:lnTo>
                  <a:lnTo>
                    <a:pt x="854" y="221"/>
                  </a:lnTo>
                  <a:lnTo>
                    <a:pt x="854" y="221"/>
                  </a:lnTo>
                  <a:lnTo>
                    <a:pt x="854" y="221"/>
                  </a:lnTo>
                  <a:lnTo>
                    <a:pt x="854" y="221"/>
                  </a:lnTo>
                  <a:lnTo>
                    <a:pt x="854" y="221"/>
                  </a:lnTo>
                  <a:lnTo>
                    <a:pt x="854" y="223"/>
                  </a:lnTo>
                  <a:lnTo>
                    <a:pt x="852" y="223"/>
                  </a:lnTo>
                  <a:lnTo>
                    <a:pt x="852" y="223"/>
                  </a:lnTo>
                  <a:lnTo>
                    <a:pt x="852" y="225"/>
                  </a:lnTo>
                  <a:lnTo>
                    <a:pt x="852" y="225"/>
                  </a:lnTo>
                  <a:lnTo>
                    <a:pt x="852" y="225"/>
                  </a:lnTo>
                  <a:lnTo>
                    <a:pt x="852" y="227"/>
                  </a:lnTo>
                  <a:lnTo>
                    <a:pt x="852" y="227"/>
                  </a:lnTo>
                  <a:lnTo>
                    <a:pt x="850" y="227"/>
                  </a:lnTo>
                  <a:lnTo>
                    <a:pt x="850" y="227"/>
                  </a:lnTo>
                  <a:lnTo>
                    <a:pt x="850" y="230"/>
                  </a:lnTo>
                  <a:lnTo>
                    <a:pt x="850" y="230"/>
                  </a:lnTo>
                  <a:lnTo>
                    <a:pt x="850" y="232"/>
                  </a:lnTo>
                  <a:lnTo>
                    <a:pt x="850" y="232"/>
                  </a:lnTo>
                  <a:lnTo>
                    <a:pt x="850" y="232"/>
                  </a:lnTo>
                  <a:lnTo>
                    <a:pt x="850" y="234"/>
                  </a:lnTo>
                  <a:lnTo>
                    <a:pt x="854" y="240"/>
                  </a:lnTo>
                  <a:lnTo>
                    <a:pt x="854" y="240"/>
                  </a:lnTo>
                  <a:lnTo>
                    <a:pt x="856" y="240"/>
                  </a:lnTo>
                  <a:lnTo>
                    <a:pt x="856" y="242"/>
                  </a:lnTo>
                  <a:lnTo>
                    <a:pt x="856" y="242"/>
                  </a:lnTo>
                  <a:lnTo>
                    <a:pt x="856" y="242"/>
                  </a:lnTo>
                  <a:lnTo>
                    <a:pt x="856" y="244"/>
                  </a:lnTo>
                  <a:lnTo>
                    <a:pt x="856" y="244"/>
                  </a:lnTo>
                  <a:lnTo>
                    <a:pt x="858" y="244"/>
                  </a:lnTo>
                  <a:lnTo>
                    <a:pt x="858" y="244"/>
                  </a:lnTo>
                  <a:lnTo>
                    <a:pt x="858" y="244"/>
                  </a:lnTo>
                  <a:lnTo>
                    <a:pt x="860" y="244"/>
                  </a:lnTo>
                  <a:lnTo>
                    <a:pt x="862" y="244"/>
                  </a:lnTo>
                  <a:lnTo>
                    <a:pt x="862" y="242"/>
                  </a:lnTo>
                  <a:lnTo>
                    <a:pt x="862" y="242"/>
                  </a:lnTo>
                  <a:lnTo>
                    <a:pt x="862" y="242"/>
                  </a:lnTo>
                  <a:lnTo>
                    <a:pt x="862" y="242"/>
                  </a:lnTo>
                  <a:lnTo>
                    <a:pt x="862" y="242"/>
                  </a:lnTo>
                  <a:lnTo>
                    <a:pt x="862" y="240"/>
                  </a:lnTo>
                  <a:lnTo>
                    <a:pt x="862" y="240"/>
                  </a:lnTo>
                  <a:lnTo>
                    <a:pt x="862" y="240"/>
                  </a:lnTo>
                  <a:lnTo>
                    <a:pt x="862" y="240"/>
                  </a:lnTo>
                  <a:lnTo>
                    <a:pt x="862" y="240"/>
                  </a:lnTo>
                  <a:lnTo>
                    <a:pt x="862" y="240"/>
                  </a:lnTo>
                  <a:lnTo>
                    <a:pt x="864" y="238"/>
                  </a:lnTo>
                  <a:lnTo>
                    <a:pt x="864" y="238"/>
                  </a:lnTo>
                  <a:lnTo>
                    <a:pt x="866" y="238"/>
                  </a:lnTo>
                  <a:lnTo>
                    <a:pt x="870" y="238"/>
                  </a:lnTo>
                  <a:lnTo>
                    <a:pt x="870" y="238"/>
                  </a:lnTo>
                  <a:lnTo>
                    <a:pt x="875" y="242"/>
                  </a:lnTo>
                  <a:lnTo>
                    <a:pt x="875" y="242"/>
                  </a:lnTo>
                  <a:lnTo>
                    <a:pt x="877" y="242"/>
                  </a:lnTo>
                  <a:lnTo>
                    <a:pt x="877" y="242"/>
                  </a:lnTo>
                  <a:lnTo>
                    <a:pt x="877" y="242"/>
                  </a:lnTo>
                  <a:lnTo>
                    <a:pt x="877" y="242"/>
                  </a:lnTo>
                  <a:lnTo>
                    <a:pt x="877" y="242"/>
                  </a:lnTo>
                  <a:lnTo>
                    <a:pt x="879" y="240"/>
                  </a:lnTo>
                  <a:lnTo>
                    <a:pt x="879" y="240"/>
                  </a:lnTo>
                  <a:lnTo>
                    <a:pt x="881" y="242"/>
                  </a:lnTo>
                  <a:lnTo>
                    <a:pt x="881" y="242"/>
                  </a:lnTo>
                  <a:lnTo>
                    <a:pt x="881" y="240"/>
                  </a:lnTo>
                  <a:lnTo>
                    <a:pt x="881" y="240"/>
                  </a:lnTo>
                  <a:lnTo>
                    <a:pt x="883" y="240"/>
                  </a:lnTo>
                  <a:lnTo>
                    <a:pt x="883" y="240"/>
                  </a:lnTo>
                  <a:lnTo>
                    <a:pt x="883" y="240"/>
                  </a:lnTo>
                  <a:lnTo>
                    <a:pt x="883" y="240"/>
                  </a:lnTo>
                  <a:lnTo>
                    <a:pt x="881" y="242"/>
                  </a:lnTo>
                  <a:lnTo>
                    <a:pt x="881" y="242"/>
                  </a:lnTo>
                  <a:lnTo>
                    <a:pt x="881" y="242"/>
                  </a:lnTo>
                  <a:lnTo>
                    <a:pt x="881" y="242"/>
                  </a:lnTo>
                  <a:lnTo>
                    <a:pt x="881" y="242"/>
                  </a:lnTo>
                  <a:lnTo>
                    <a:pt x="883" y="244"/>
                  </a:lnTo>
                  <a:lnTo>
                    <a:pt x="883" y="246"/>
                  </a:lnTo>
                  <a:lnTo>
                    <a:pt x="883" y="248"/>
                  </a:lnTo>
                  <a:lnTo>
                    <a:pt x="883" y="250"/>
                  </a:lnTo>
                  <a:lnTo>
                    <a:pt x="883" y="252"/>
                  </a:lnTo>
                  <a:lnTo>
                    <a:pt x="883" y="252"/>
                  </a:lnTo>
                  <a:lnTo>
                    <a:pt x="883" y="252"/>
                  </a:lnTo>
                  <a:lnTo>
                    <a:pt x="877" y="252"/>
                  </a:lnTo>
                  <a:lnTo>
                    <a:pt x="875" y="254"/>
                  </a:lnTo>
                  <a:lnTo>
                    <a:pt x="873" y="254"/>
                  </a:lnTo>
                  <a:lnTo>
                    <a:pt x="870" y="254"/>
                  </a:lnTo>
                  <a:lnTo>
                    <a:pt x="870" y="254"/>
                  </a:lnTo>
                  <a:lnTo>
                    <a:pt x="866" y="250"/>
                  </a:lnTo>
                  <a:lnTo>
                    <a:pt x="866" y="248"/>
                  </a:lnTo>
                  <a:lnTo>
                    <a:pt x="866" y="248"/>
                  </a:lnTo>
                  <a:lnTo>
                    <a:pt x="864" y="246"/>
                  </a:lnTo>
                  <a:lnTo>
                    <a:pt x="864" y="246"/>
                  </a:lnTo>
                  <a:lnTo>
                    <a:pt x="862" y="244"/>
                  </a:lnTo>
                  <a:lnTo>
                    <a:pt x="862" y="244"/>
                  </a:lnTo>
                  <a:lnTo>
                    <a:pt x="862" y="244"/>
                  </a:lnTo>
                  <a:lnTo>
                    <a:pt x="862" y="244"/>
                  </a:lnTo>
                  <a:lnTo>
                    <a:pt x="860" y="246"/>
                  </a:lnTo>
                  <a:lnTo>
                    <a:pt x="860" y="246"/>
                  </a:lnTo>
                  <a:lnTo>
                    <a:pt x="860" y="246"/>
                  </a:lnTo>
                  <a:lnTo>
                    <a:pt x="860" y="246"/>
                  </a:lnTo>
                  <a:lnTo>
                    <a:pt x="858" y="246"/>
                  </a:lnTo>
                  <a:lnTo>
                    <a:pt x="858" y="248"/>
                  </a:lnTo>
                  <a:lnTo>
                    <a:pt x="854" y="248"/>
                  </a:lnTo>
                  <a:lnTo>
                    <a:pt x="854" y="248"/>
                  </a:lnTo>
                  <a:lnTo>
                    <a:pt x="848" y="242"/>
                  </a:lnTo>
                  <a:lnTo>
                    <a:pt x="848" y="242"/>
                  </a:lnTo>
                  <a:lnTo>
                    <a:pt x="846" y="238"/>
                  </a:lnTo>
                  <a:lnTo>
                    <a:pt x="846" y="238"/>
                  </a:lnTo>
                  <a:lnTo>
                    <a:pt x="846" y="236"/>
                  </a:lnTo>
                  <a:lnTo>
                    <a:pt x="846" y="236"/>
                  </a:lnTo>
                  <a:lnTo>
                    <a:pt x="846" y="234"/>
                  </a:lnTo>
                  <a:lnTo>
                    <a:pt x="846" y="234"/>
                  </a:lnTo>
                  <a:lnTo>
                    <a:pt x="846" y="232"/>
                  </a:lnTo>
                  <a:lnTo>
                    <a:pt x="848" y="230"/>
                  </a:lnTo>
                  <a:lnTo>
                    <a:pt x="848" y="230"/>
                  </a:lnTo>
                  <a:lnTo>
                    <a:pt x="848" y="230"/>
                  </a:lnTo>
                  <a:lnTo>
                    <a:pt x="846" y="230"/>
                  </a:lnTo>
                  <a:lnTo>
                    <a:pt x="846" y="227"/>
                  </a:lnTo>
                  <a:lnTo>
                    <a:pt x="844" y="225"/>
                  </a:lnTo>
                  <a:lnTo>
                    <a:pt x="844" y="221"/>
                  </a:lnTo>
                  <a:lnTo>
                    <a:pt x="842" y="219"/>
                  </a:lnTo>
                  <a:lnTo>
                    <a:pt x="842" y="219"/>
                  </a:lnTo>
                  <a:lnTo>
                    <a:pt x="842" y="219"/>
                  </a:lnTo>
                  <a:lnTo>
                    <a:pt x="842" y="221"/>
                  </a:lnTo>
                  <a:lnTo>
                    <a:pt x="840" y="221"/>
                  </a:lnTo>
                  <a:lnTo>
                    <a:pt x="840" y="221"/>
                  </a:lnTo>
                  <a:lnTo>
                    <a:pt x="840" y="219"/>
                  </a:lnTo>
                  <a:lnTo>
                    <a:pt x="840" y="219"/>
                  </a:lnTo>
                  <a:lnTo>
                    <a:pt x="840" y="219"/>
                  </a:lnTo>
                  <a:lnTo>
                    <a:pt x="840" y="219"/>
                  </a:lnTo>
                  <a:lnTo>
                    <a:pt x="838" y="219"/>
                  </a:lnTo>
                  <a:lnTo>
                    <a:pt x="838" y="219"/>
                  </a:lnTo>
                  <a:lnTo>
                    <a:pt x="838" y="221"/>
                  </a:lnTo>
                  <a:lnTo>
                    <a:pt x="838" y="221"/>
                  </a:lnTo>
                  <a:lnTo>
                    <a:pt x="838" y="221"/>
                  </a:lnTo>
                  <a:lnTo>
                    <a:pt x="838" y="221"/>
                  </a:lnTo>
                  <a:lnTo>
                    <a:pt x="836" y="221"/>
                  </a:lnTo>
                  <a:lnTo>
                    <a:pt x="836" y="221"/>
                  </a:lnTo>
                  <a:lnTo>
                    <a:pt x="836" y="223"/>
                  </a:lnTo>
                  <a:lnTo>
                    <a:pt x="836" y="223"/>
                  </a:lnTo>
                  <a:lnTo>
                    <a:pt x="836" y="225"/>
                  </a:lnTo>
                  <a:lnTo>
                    <a:pt x="836" y="225"/>
                  </a:lnTo>
                  <a:lnTo>
                    <a:pt x="836" y="225"/>
                  </a:lnTo>
                  <a:lnTo>
                    <a:pt x="838" y="227"/>
                  </a:lnTo>
                  <a:lnTo>
                    <a:pt x="838" y="227"/>
                  </a:lnTo>
                  <a:lnTo>
                    <a:pt x="838" y="227"/>
                  </a:lnTo>
                  <a:lnTo>
                    <a:pt x="838" y="230"/>
                  </a:lnTo>
                  <a:lnTo>
                    <a:pt x="838" y="230"/>
                  </a:lnTo>
                  <a:lnTo>
                    <a:pt x="838" y="230"/>
                  </a:lnTo>
                  <a:lnTo>
                    <a:pt x="838" y="230"/>
                  </a:lnTo>
                  <a:lnTo>
                    <a:pt x="838" y="230"/>
                  </a:lnTo>
                  <a:lnTo>
                    <a:pt x="838" y="230"/>
                  </a:lnTo>
                  <a:lnTo>
                    <a:pt x="838" y="232"/>
                  </a:lnTo>
                  <a:lnTo>
                    <a:pt x="842" y="232"/>
                  </a:lnTo>
                  <a:lnTo>
                    <a:pt x="844" y="234"/>
                  </a:lnTo>
                  <a:lnTo>
                    <a:pt x="844" y="234"/>
                  </a:lnTo>
                  <a:lnTo>
                    <a:pt x="846" y="238"/>
                  </a:lnTo>
                  <a:lnTo>
                    <a:pt x="848" y="242"/>
                  </a:lnTo>
                  <a:lnTo>
                    <a:pt x="848" y="244"/>
                  </a:lnTo>
                  <a:lnTo>
                    <a:pt x="848" y="246"/>
                  </a:lnTo>
                  <a:lnTo>
                    <a:pt x="848" y="246"/>
                  </a:lnTo>
                  <a:lnTo>
                    <a:pt x="848" y="248"/>
                  </a:lnTo>
                  <a:lnTo>
                    <a:pt x="848" y="248"/>
                  </a:lnTo>
                  <a:lnTo>
                    <a:pt x="848" y="248"/>
                  </a:lnTo>
                  <a:lnTo>
                    <a:pt x="846" y="250"/>
                  </a:lnTo>
                  <a:lnTo>
                    <a:pt x="846" y="252"/>
                  </a:lnTo>
                  <a:lnTo>
                    <a:pt x="846" y="252"/>
                  </a:lnTo>
                  <a:lnTo>
                    <a:pt x="846" y="252"/>
                  </a:lnTo>
                  <a:lnTo>
                    <a:pt x="846" y="254"/>
                  </a:lnTo>
                  <a:lnTo>
                    <a:pt x="846" y="254"/>
                  </a:lnTo>
                  <a:lnTo>
                    <a:pt x="846" y="254"/>
                  </a:lnTo>
                  <a:lnTo>
                    <a:pt x="846" y="254"/>
                  </a:lnTo>
                  <a:lnTo>
                    <a:pt x="846" y="256"/>
                  </a:lnTo>
                  <a:lnTo>
                    <a:pt x="846" y="256"/>
                  </a:lnTo>
                  <a:lnTo>
                    <a:pt x="846" y="256"/>
                  </a:lnTo>
                  <a:lnTo>
                    <a:pt x="848" y="256"/>
                  </a:lnTo>
                  <a:lnTo>
                    <a:pt x="848" y="256"/>
                  </a:lnTo>
                  <a:lnTo>
                    <a:pt x="848" y="254"/>
                  </a:lnTo>
                  <a:lnTo>
                    <a:pt x="848" y="254"/>
                  </a:lnTo>
                  <a:lnTo>
                    <a:pt x="848" y="254"/>
                  </a:lnTo>
                  <a:lnTo>
                    <a:pt x="848" y="254"/>
                  </a:lnTo>
                  <a:lnTo>
                    <a:pt x="848" y="254"/>
                  </a:lnTo>
                  <a:lnTo>
                    <a:pt x="846" y="254"/>
                  </a:lnTo>
                  <a:lnTo>
                    <a:pt x="846" y="252"/>
                  </a:lnTo>
                  <a:lnTo>
                    <a:pt x="848" y="252"/>
                  </a:lnTo>
                  <a:lnTo>
                    <a:pt x="848" y="250"/>
                  </a:lnTo>
                  <a:lnTo>
                    <a:pt x="850" y="250"/>
                  </a:lnTo>
                  <a:lnTo>
                    <a:pt x="850" y="250"/>
                  </a:lnTo>
                  <a:lnTo>
                    <a:pt x="850" y="250"/>
                  </a:lnTo>
                  <a:lnTo>
                    <a:pt x="850" y="250"/>
                  </a:lnTo>
                  <a:lnTo>
                    <a:pt x="856" y="250"/>
                  </a:lnTo>
                  <a:lnTo>
                    <a:pt x="858" y="252"/>
                  </a:lnTo>
                  <a:lnTo>
                    <a:pt x="858" y="252"/>
                  </a:lnTo>
                  <a:lnTo>
                    <a:pt x="858" y="252"/>
                  </a:lnTo>
                  <a:lnTo>
                    <a:pt x="860" y="252"/>
                  </a:lnTo>
                  <a:lnTo>
                    <a:pt x="860" y="252"/>
                  </a:lnTo>
                  <a:lnTo>
                    <a:pt x="862" y="254"/>
                  </a:lnTo>
                  <a:lnTo>
                    <a:pt x="864" y="254"/>
                  </a:lnTo>
                  <a:lnTo>
                    <a:pt x="864" y="256"/>
                  </a:lnTo>
                  <a:lnTo>
                    <a:pt x="864" y="256"/>
                  </a:lnTo>
                  <a:lnTo>
                    <a:pt x="864" y="258"/>
                  </a:lnTo>
                  <a:lnTo>
                    <a:pt x="864" y="258"/>
                  </a:lnTo>
                  <a:lnTo>
                    <a:pt x="866" y="260"/>
                  </a:lnTo>
                  <a:lnTo>
                    <a:pt x="864" y="260"/>
                  </a:lnTo>
                  <a:lnTo>
                    <a:pt x="864" y="262"/>
                  </a:lnTo>
                  <a:lnTo>
                    <a:pt x="864" y="262"/>
                  </a:lnTo>
                  <a:lnTo>
                    <a:pt x="864" y="264"/>
                  </a:lnTo>
                  <a:lnTo>
                    <a:pt x="864" y="264"/>
                  </a:lnTo>
                  <a:lnTo>
                    <a:pt x="862" y="264"/>
                  </a:lnTo>
                  <a:lnTo>
                    <a:pt x="862" y="266"/>
                  </a:lnTo>
                  <a:lnTo>
                    <a:pt x="862" y="266"/>
                  </a:lnTo>
                  <a:lnTo>
                    <a:pt x="862" y="266"/>
                  </a:lnTo>
                  <a:lnTo>
                    <a:pt x="862" y="266"/>
                  </a:lnTo>
                  <a:lnTo>
                    <a:pt x="860" y="264"/>
                  </a:lnTo>
                  <a:lnTo>
                    <a:pt x="860" y="264"/>
                  </a:lnTo>
                  <a:lnTo>
                    <a:pt x="862" y="264"/>
                  </a:lnTo>
                  <a:lnTo>
                    <a:pt x="862" y="264"/>
                  </a:lnTo>
                  <a:lnTo>
                    <a:pt x="862" y="264"/>
                  </a:lnTo>
                  <a:lnTo>
                    <a:pt x="862" y="264"/>
                  </a:lnTo>
                  <a:lnTo>
                    <a:pt x="862" y="264"/>
                  </a:lnTo>
                  <a:lnTo>
                    <a:pt x="862" y="264"/>
                  </a:lnTo>
                  <a:lnTo>
                    <a:pt x="862" y="262"/>
                  </a:lnTo>
                  <a:lnTo>
                    <a:pt x="862" y="262"/>
                  </a:lnTo>
                  <a:lnTo>
                    <a:pt x="862" y="262"/>
                  </a:lnTo>
                  <a:lnTo>
                    <a:pt x="862" y="262"/>
                  </a:lnTo>
                  <a:lnTo>
                    <a:pt x="862" y="260"/>
                  </a:lnTo>
                  <a:lnTo>
                    <a:pt x="862" y="260"/>
                  </a:lnTo>
                  <a:lnTo>
                    <a:pt x="864" y="260"/>
                  </a:lnTo>
                  <a:lnTo>
                    <a:pt x="864" y="260"/>
                  </a:lnTo>
                  <a:lnTo>
                    <a:pt x="864" y="260"/>
                  </a:lnTo>
                  <a:lnTo>
                    <a:pt x="862" y="258"/>
                  </a:lnTo>
                  <a:lnTo>
                    <a:pt x="862" y="258"/>
                  </a:lnTo>
                  <a:lnTo>
                    <a:pt x="862" y="260"/>
                  </a:lnTo>
                  <a:lnTo>
                    <a:pt x="860" y="260"/>
                  </a:lnTo>
                  <a:lnTo>
                    <a:pt x="858" y="260"/>
                  </a:lnTo>
                  <a:lnTo>
                    <a:pt x="858" y="260"/>
                  </a:lnTo>
                  <a:lnTo>
                    <a:pt x="858" y="258"/>
                  </a:lnTo>
                  <a:lnTo>
                    <a:pt x="858" y="258"/>
                  </a:lnTo>
                  <a:lnTo>
                    <a:pt x="858" y="256"/>
                  </a:lnTo>
                  <a:lnTo>
                    <a:pt x="854" y="256"/>
                  </a:lnTo>
                  <a:lnTo>
                    <a:pt x="854" y="258"/>
                  </a:lnTo>
                  <a:lnTo>
                    <a:pt x="854" y="258"/>
                  </a:lnTo>
                  <a:lnTo>
                    <a:pt x="854" y="258"/>
                  </a:lnTo>
                  <a:lnTo>
                    <a:pt x="854" y="258"/>
                  </a:lnTo>
                  <a:lnTo>
                    <a:pt x="852" y="258"/>
                  </a:lnTo>
                  <a:lnTo>
                    <a:pt x="852" y="260"/>
                  </a:lnTo>
                  <a:lnTo>
                    <a:pt x="852" y="260"/>
                  </a:lnTo>
                  <a:lnTo>
                    <a:pt x="852" y="260"/>
                  </a:lnTo>
                  <a:lnTo>
                    <a:pt x="852" y="260"/>
                  </a:lnTo>
                  <a:lnTo>
                    <a:pt x="852" y="262"/>
                  </a:lnTo>
                  <a:lnTo>
                    <a:pt x="850" y="262"/>
                  </a:lnTo>
                  <a:lnTo>
                    <a:pt x="850" y="264"/>
                  </a:lnTo>
                  <a:lnTo>
                    <a:pt x="848" y="266"/>
                  </a:lnTo>
                  <a:lnTo>
                    <a:pt x="848" y="266"/>
                  </a:lnTo>
                  <a:lnTo>
                    <a:pt x="848" y="266"/>
                  </a:lnTo>
                  <a:lnTo>
                    <a:pt x="850" y="266"/>
                  </a:lnTo>
                  <a:lnTo>
                    <a:pt x="850" y="266"/>
                  </a:lnTo>
                  <a:lnTo>
                    <a:pt x="850" y="266"/>
                  </a:lnTo>
                  <a:lnTo>
                    <a:pt x="848" y="266"/>
                  </a:lnTo>
                  <a:lnTo>
                    <a:pt x="848" y="266"/>
                  </a:lnTo>
                  <a:lnTo>
                    <a:pt x="848" y="268"/>
                  </a:lnTo>
                  <a:lnTo>
                    <a:pt x="848" y="268"/>
                  </a:lnTo>
                  <a:lnTo>
                    <a:pt x="846" y="268"/>
                  </a:lnTo>
                  <a:lnTo>
                    <a:pt x="846" y="271"/>
                  </a:lnTo>
                  <a:lnTo>
                    <a:pt x="848" y="271"/>
                  </a:lnTo>
                  <a:lnTo>
                    <a:pt x="848" y="271"/>
                  </a:lnTo>
                  <a:lnTo>
                    <a:pt x="846" y="271"/>
                  </a:lnTo>
                  <a:lnTo>
                    <a:pt x="846" y="271"/>
                  </a:lnTo>
                  <a:lnTo>
                    <a:pt x="846" y="271"/>
                  </a:lnTo>
                  <a:lnTo>
                    <a:pt x="844" y="271"/>
                  </a:lnTo>
                  <a:lnTo>
                    <a:pt x="844" y="271"/>
                  </a:lnTo>
                  <a:lnTo>
                    <a:pt x="846" y="271"/>
                  </a:lnTo>
                  <a:lnTo>
                    <a:pt x="846" y="268"/>
                  </a:lnTo>
                  <a:lnTo>
                    <a:pt x="846" y="268"/>
                  </a:lnTo>
                  <a:lnTo>
                    <a:pt x="844" y="268"/>
                  </a:lnTo>
                  <a:lnTo>
                    <a:pt x="844" y="268"/>
                  </a:lnTo>
                  <a:lnTo>
                    <a:pt x="844" y="268"/>
                  </a:lnTo>
                  <a:lnTo>
                    <a:pt x="844" y="268"/>
                  </a:lnTo>
                  <a:lnTo>
                    <a:pt x="844" y="268"/>
                  </a:lnTo>
                  <a:lnTo>
                    <a:pt x="846" y="268"/>
                  </a:lnTo>
                  <a:lnTo>
                    <a:pt x="840" y="266"/>
                  </a:lnTo>
                  <a:lnTo>
                    <a:pt x="840" y="266"/>
                  </a:lnTo>
                  <a:lnTo>
                    <a:pt x="838" y="266"/>
                  </a:lnTo>
                  <a:lnTo>
                    <a:pt x="836" y="266"/>
                  </a:lnTo>
                  <a:lnTo>
                    <a:pt x="836" y="266"/>
                  </a:lnTo>
                  <a:lnTo>
                    <a:pt x="836" y="266"/>
                  </a:lnTo>
                  <a:lnTo>
                    <a:pt x="834" y="266"/>
                  </a:lnTo>
                  <a:lnTo>
                    <a:pt x="834" y="266"/>
                  </a:lnTo>
                  <a:lnTo>
                    <a:pt x="834" y="266"/>
                  </a:lnTo>
                  <a:lnTo>
                    <a:pt x="834" y="266"/>
                  </a:lnTo>
                  <a:lnTo>
                    <a:pt x="834" y="264"/>
                  </a:lnTo>
                  <a:lnTo>
                    <a:pt x="834" y="264"/>
                  </a:lnTo>
                  <a:lnTo>
                    <a:pt x="834" y="264"/>
                  </a:lnTo>
                  <a:lnTo>
                    <a:pt x="834" y="264"/>
                  </a:lnTo>
                  <a:lnTo>
                    <a:pt x="834" y="264"/>
                  </a:lnTo>
                  <a:lnTo>
                    <a:pt x="834" y="264"/>
                  </a:lnTo>
                  <a:lnTo>
                    <a:pt x="832" y="266"/>
                  </a:lnTo>
                  <a:lnTo>
                    <a:pt x="830" y="266"/>
                  </a:lnTo>
                  <a:lnTo>
                    <a:pt x="830" y="266"/>
                  </a:lnTo>
                  <a:lnTo>
                    <a:pt x="830" y="266"/>
                  </a:lnTo>
                  <a:lnTo>
                    <a:pt x="830" y="266"/>
                  </a:lnTo>
                  <a:lnTo>
                    <a:pt x="830" y="266"/>
                  </a:lnTo>
                  <a:lnTo>
                    <a:pt x="830" y="268"/>
                  </a:lnTo>
                  <a:lnTo>
                    <a:pt x="830" y="268"/>
                  </a:lnTo>
                  <a:lnTo>
                    <a:pt x="830" y="268"/>
                  </a:lnTo>
                  <a:lnTo>
                    <a:pt x="830" y="266"/>
                  </a:lnTo>
                  <a:lnTo>
                    <a:pt x="830" y="266"/>
                  </a:lnTo>
                  <a:lnTo>
                    <a:pt x="830" y="266"/>
                  </a:lnTo>
                  <a:lnTo>
                    <a:pt x="830" y="266"/>
                  </a:lnTo>
                  <a:lnTo>
                    <a:pt x="830" y="264"/>
                  </a:lnTo>
                  <a:lnTo>
                    <a:pt x="830" y="264"/>
                  </a:lnTo>
                  <a:lnTo>
                    <a:pt x="830" y="264"/>
                  </a:lnTo>
                  <a:lnTo>
                    <a:pt x="827" y="262"/>
                  </a:lnTo>
                  <a:lnTo>
                    <a:pt x="827" y="262"/>
                  </a:lnTo>
                  <a:lnTo>
                    <a:pt x="827" y="262"/>
                  </a:lnTo>
                  <a:lnTo>
                    <a:pt x="825" y="262"/>
                  </a:lnTo>
                  <a:lnTo>
                    <a:pt x="823" y="262"/>
                  </a:lnTo>
                  <a:lnTo>
                    <a:pt x="823" y="262"/>
                  </a:lnTo>
                  <a:lnTo>
                    <a:pt x="823" y="262"/>
                  </a:lnTo>
                  <a:lnTo>
                    <a:pt x="821" y="262"/>
                  </a:lnTo>
                  <a:lnTo>
                    <a:pt x="819" y="262"/>
                  </a:lnTo>
                  <a:lnTo>
                    <a:pt x="817" y="262"/>
                  </a:lnTo>
                  <a:lnTo>
                    <a:pt x="815" y="262"/>
                  </a:lnTo>
                  <a:lnTo>
                    <a:pt x="815" y="262"/>
                  </a:lnTo>
                  <a:lnTo>
                    <a:pt x="815" y="260"/>
                  </a:lnTo>
                  <a:lnTo>
                    <a:pt x="809" y="260"/>
                  </a:lnTo>
                  <a:lnTo>
                    <a:pt x="807" y="260"/>
                  </a:lnTo>
                  <a:lnTo>
                    <a:pt x="805" y="258"/>
                  </a:lnTo>
                  <a:lnTo>
                    <a:pt x="805" y="258"/>
                  </a:lnTo>
                  <a:lnTo>
                    <a:pt x="805" y="256"/>
                  </a:lnTo>
                  <a:lnTo>
                    <a:pt x="805" y="254"/>
                  </a:lnTo>
                  <a:lnTo>
                    <a:pt x="805" y="254"/>
                  </a:lnTo>
                  <a:lnTo>
                    <a:pt x="803" y="254"/>
                  </a:lnTo>
                  <a:lnTo>
                    <a:pt x="803" y="254"/>
                  </a:lnTo>
                  <a:lnTo>
                    <a:pt x="803" y="254"/>
                  </a:lnTo>
                  <a:lnTo>
                    <a:pt x="803" y="254"/>
                  </a:lnTo>
                  <a:lnTo>
                    <a:pt x="803" y="254"/>
                  </a:lnTo>
                  <a:lnTo>
                    <a:pt x="803" y="254"/>
                  </a:lnTo>
                  <a:lnTo>
                    <a:pt x="803" y="254"/>
                  </a:lnTo>
                  <a:lnTo>
                    <a:pt x="801" y="254"/>
                  </a:lnTo>
                  <a:lnTo>
                    <a:pt x="799" y="254"/>
                  </a:lnTo>
                  <a:lnTo>
                    <a:pt x="799" y="252"/>
                  </a:lnTo>
                  <a:lnTo>
                    <a:pt x="801" y="254"/>
                  </a:lnTo>
                  <a:lnTo>
                    <a:pt x="801" y="252"/>
                  </a:lnTo>
                  <a:lnTo>
                    <a:pt x="801" y="252"/>
                  </a:lnTo>
                  <a:lnTo>
                    <a:pt x="801" y="252"/>
                  </a:lnTo>
                  <a:lnTo>
                    <a:pt x="803" y="252"/>
                  </a:lnTo>
                  <a:lnTo>
                    <a:pt x="803" y="252"/>
                  </a:lnTo>
                  <a:lnTo>
                    <a:pt x="805" y="252"/>
                  </a:lnTo>
                  <a:lnTo>
                    <a:pt x="805" y="250"/>
                  </a:lnTo>
                  <a:lnTo>
                    <a:pt x="807" y="250"/>
                  </a:lnTo>
                  <a:lnTo>
                    <a:pt x="805" y="250"/>
                  </a:lnTo>
                  <a:lnTo>
                    <a:pt x="805" y="248"/>
                  </a:lnTo>
                  <a:lnTo>
                    <a:pt x="805" y="248"/>
                  </a:lnTo>
                  <a:lnTo>
                    <a:pt x="807" y="248"/>
                  </a:lnTo>
                  <a:lnTo>
                    <a:pt x="805" y="248"/>
                  </a:lnTo>
                  <a:lnTo>
                    <a:pt x="805" y="246"/>
                  </a:lnTo>
                  <a:lnTo>
                    <a:pt x="807" y="246"/>
                  </a:lnTo>
                  <a:lnTo>
                    <a:pt x="807" y="246"/>
                  </a:lnTo>
                  <a:lnTo>
                    <a:pt x="807" y="244"/>
                  </a:lnTo>
                  <a:lnTo>
                    <a:pt x="807" y="244"/>
                  </a:lnTo>
                  <a:lnTo>
                    <a:pt x="807" y="244"/>
                  </a:lnTo>
                  <a:lnTo>
                    <a:pt x="807" y="244"/>
                  </a:lnTo>
                  <a:lnTo>
                    <a:pt x="807" y="242"/>
                  </a:lnTo>
                  <a:lnTo>
                    <a:pt x="807" y="242"/>
                  </a:lnTo>
                  <a:lnTo>
                    <a:pt x="809" y="240"/>
                  </a:lnTo>
                  <a:lnTo>
                    <a:pt x="809" y="240"/>
                  </a:lnTo>
                  <a:lnTo>
                    <a:pt x="809" y="240"/>
                  </a:lnTo>
                  <a:lnTo>
                    <a:pt x="809" y="238"/>
                  </a:lnTo>
                  <a:lnTo>
                    <a:pt x="809" y="238"/>
                  </a:lnTo>
                  <a:lnTo>
                    <a:pt x="809" y="236"/>
                  </a:lnTo>
                  <a:lnTo>
                    <a:pt x="809" y="236"/>
                  </a:lnTo>
                  <a:lnTo>
                    <a:pt x="807" y="236"/>
                  </a:lnTo>
                  <a:lnTo>
                    <a:pt x="807" y="236"/>
                  </a:lnTo>
                  <a:lnTo>
                    <a:pt x="807" y="234"/>
                  </a:lnTo>
                  <a:lnTo>
                    <a:pt x="807" y="234"/>
                  </a:lnTo>
                  <a:lnTo>
                    <a:pt x="813" y="236"/>
                  </a:lnTo>
                  <a:lnTo>
                    <a:pt x="813" y="236"/>
                  </a:lnTo>
                  <a:lnTo>
                    <a:pt x="811" y="234"/>
                  </a:lnTo>
                  <a:lnTo>
                    <a:pt x="805" y="234"/>
                  </a:lnTo>
                  <a:lnTo>
                    <a:pt x="801" y="232"/>
                  </a:lnTo>
                  <a:lnTo>
                    <a:pt x="795" y="232"/>
                  </a:lnTo>
                  <a:lnTo>
                    <a:pt x="791" y="234"/>
                  </a:lnTo>
                  <a:lnTo>
                    <a:pt x="791" y="234"/>
                  </a:lnTo>
                  <a:lnTo>
                    <a:pt x="786" y="236"/>
                  </a:lnTo>
                  <a:lnTo>
                    <a:pt x="784" y="238"/>
                  </a:lnTo>
                  <a:lnTo>
                    <a:pt x="784" y="238"/>
                  </a:lnTo>
                  <a:lnTo>
                    <a:pt x="784" y="238"/>
                  </a:lnTo>
                  <a:lnTo>
                    <a:pt x="784" y="238"/>
                  </a:lnTo>
                  <a:lnTo>
                    <a:pt x="784" y="238"/>
                  </a:lnTo>
                  <a:lnTo>
                    <a:pt x="784" y="238"/>
                  </a:lnTo>
                  <a:lnTo>
                    <a:pt x="784" y="238"/>
                  </a:lnTo>
                  <a:lnTo>
                    <a:pt x="782" y="240"/>
                  </a:lnTo>
                  <a:lnTo>
                    <a:pt x="782" y="240"/>
                  </a:lnTo>
                  <a:lnTo>
                    <a:pt x="782" y="240"/>
                  </a:lnTo>
                  <a:lnTo>
                    <a:pt x="782" y="240"/>
                  </a:lnTo>
                  <a:lnTo>
                    <a:pt x="782" y="240"/>
                  </a:lnTo>
                  <a:lnTo>
                    <a:pt x="782" y="238"/>
                  </a:lnTo>
                  <a:lnTo>
                    <a:pt x="782" y="238"/>
                  </a:lnTo>
                  <a:lnTo>
                    <a:pt x="782" y="238"/>
                  </a:lnTo>
                  <a:lnTo>
                    <a:pt x="782" y="238"/>
                  </a:lnTo>
                  <a:lnTo>
                    <a:pt x="782" y="238"/>
                  </a:lnTo>
                  <a:lnTo>
                    <a:pt x="782" y="238"/>
                  </a:lnTo>
                  <a:lnTo>
                    <a:pt x="778" y="238"/>
                  </a:lnTo>
                  <a:lnTo>
                    <a:pt x="776" y="238"/>
                  </a:lnTo>
                  <a:lnTo>
                    <a:pt x="776" y="238"/>
                  </a:lnTo>
                  <a:lnTo>
                    <a:pt x="774" y="238"/>
                  </a:lnTo>
                  <a:lnTo>
                    <a:pt x="766" y="242"/>
                  </a:lnTo>
                  <a:lnTo>
                    <a:pt x="764" y="244"/>
                  </a:lnTo>
                  <a:lnTo>
                    <a:pt x="764" y="244"/>
                  </a:lnTo>
                  <a:lnTo>
                    <a:pt x="764" y="246"/>
                  </a:lnTo>
                  <a:lnTo>
                    <a:pt x="764" y="246"/>
                  </a:lnTo>
                  <a:lnTo>
                    <a:pt x="764" y="246"/>
                  </a:lnTo>
                  <a:lnTo>
                    <a:pt x="766" y="246"/>
                  </a:lnTo>
                  <a:lnTo>
                    <a:pt x="766" y="248"/>
                  </a:lnTo>
                  <a:lnTo>
                    <a:pt x="768" y="250"/>
                  </a:lnTo>
                  <a:lnTo>
                    <a:pt x="770" y="250"/>
                  </a:lnTo>
                  <a:lnTo>
                    <a:pt x="770" y="250"/>
                  </a:lnTo>
                  <a:lnTo>
                    <a:pt x="770" y="252"/>
                  </a:lnTo>
                  <a:lnTo>
                    <a:pt x="766" y="252"/>
                  </a:lnTo>
                  <a:lnTo>
                    <a:pt x="758" y="250"/>
                  </a:lnTo>
                  <a:lnTo>
                    <a:pt x="758" y="248"/>
                  </a:lnTo>
                  <a:lnTo>
                    <a:pt x="758" y="248"/>
                  </a:lnTo>
                  <a:lnTo>
                    <a:pt x="758" y="248"/>
                  </a:lnTo>
                  <a:lnTo>
                    <a:pt x="758" y="248"/>
                  </a:lnTo>
                  <a:lnTo>
                    <a:pt x="758" y="248"/>
                  </a:lnTo>
                  <a:lnTo>
                    <a:pt x="756" y="248"/>
                  </a:lnTo>
                  <a:lnTo>
                    <a:pt x="754" y="246"/>
                  </a:lnTo>
                  <a:lnTo>
                    <a:pt x="754" y="246"/>
                  </a:lnTo>
                  <a:lnTo>
                    <a:pt x="754" y="248"/>
                  </a:lnTo>
                  <a:lnTo>
                    <a:pt x="752" y="248"/>
                  </a:lnTo>
                  <a:lnTo>
                    <a:pt x="750" y="248"/>
                  </a:lnTo>
                  <a:lnTo>
                    <a:pt x="750" y="248"/>
                  </a:lnTo>
                  <a:lnTo>
                    <a:pt x="743" y="252"/>
                  </a:lnTo>
                  <a:lnTo>
                    <a:pt x="743" y="252"/>
                  </a:lnTo>
                  <a:lnTo>
                    <a:pt x="741" y="254"/>
                  </a:lnTo>
                  <a:lnTo>
                    <a:pt x="741" y="254"/>
                  </a:lnTo>
                  <a:lnTo>
                    <a:pt x="741" y="254"/>
                  </a:lnTo>
                  <a:lnTo>
                    <a:pt x="741" y="254"/>
                  </a:lnTo>
                  <a:lnTo>
                    <a:pt x="741" y="254"/>
                  </a:lnTo>
                  <a:lnTo>
                    <a:pt x="741" y="254"/>
                  </a:lnTo>
                  <a:lnTo>
                    <a:pt x="741" y="254"/>
                  </a:lnTo>
                  <a:lnTo>
                    <a:pt x="741" y="254"/>
                  </a:lnTo>
                  <a:lnTo>
                    <a:pt x="741" y="254"/>
                  </a:lnTo>
                  <a:lnTo>
                    <a:pt x="741" y="254"/>
                  </a:lnTo>
                  <a:lnTo>
                    <a:pt x="741" y="254"/>
                  </a:lnTo>
                  <a:lnTo>
                    <a:pt x="741" y="252"/>
                  </a:lnTo>
                  <a:lnTo>
                    <a:pt x="741" y="254"/>
                  </a:lnTo>
                  <a:lnTo>
                    <a:pt x="739" y="254"/>
                  </a:lnTo>
                  <a:lnTo>
                    <a:pt x="739" y="254"/>
                  </a:lnTo>
                  <a:lnTo>
                    <a:pt x="739" y="254"/>
                  </a:lnTo>
                  <a:lnTo>
                    <a:pt x="739" y="256"/>
                  </a:lnTo>
                  <a:lnTo>
                    <a:pt x="739" y="256"/>
                  </a:lnTo>
                  <a:lnTo>
                    <a:pt x="737" y="258"/>
                  </a:lnTo>
                  <a:lnTo>
                    <a:pt x="735" y="258"/>
                  </a:lnTo>
                  <a:lnTo>
                    <a:pt x="733" y="260"/>
                  </a:lnTo>
                  <a:lnTo>
                    <a:pt x="733" y="260"/>
                  </a:lnTo>
                  <a:lnTo>
                    <a:pt x="733" y="258"/>
                  </a:lnTo>
                  <a:lnTo>
                    <a:pt x="731" y="258"/>
                  </a:lnTo>
                  <a:lnTo>
                    <a:pt x="731" y="258"/>
                  </a:lnTo>
                  <a:lnTo>
                    <a:pt x="731" y="256"/>
                  </a:lnTo>
                  <a:lnTo>
                    <a:pt x="729" y="256"/>
                  </a:lnTo>
                  <a:lnTo>
                    <a:pt x="725" y="260"/>
                  </a:lnTo>
                  <a:lnTo>
                    <a:pt x="725" y="260"/>
                  </a:lnTo>
                  <a:lnTo>
                    <a:pt x="725" y="260"/>
                  </a:lnTo>
                  <a:lnTo>
                    <a:pt x="727" y="260"/>
                  </a:lnTo>
                  <a:lnTo>
                    <a:pt x="727" y="260"/>
                  </a:lnTo>
                  <a:lnTo>
                    <a:pt x="727" y="260"/>
                  </a:lnTo>
                  <a:lnTo>
                    <a:pt x="725" y="260"/>
                  </a:lnTo>
                  <a:lnTo>
                    <a:pt x="725" y="260"/>
                  </a:lnTo>
                  <a:lnTo>
                    <a:pt x="723" y="260"/>
                  </a:lnTo>
                  <a:lnTo>
                    <a:pt x="725" y="262"/>
                  </a:lnTo>
                  <a:lnTo>
                    <a:pt x="725" y="262"/>
                  </a:lnTo>
                  <a:lnTo>
                    <a:pt x="725" y="262"/>
                  </a:lnTo>
                  <a:lnTo>
                    <a:pt x="725" y="264"/>
                  </a:lnTo>
                  <a:lnTo>
                    <a:pt x="725" y="264"/>
                  </a:lnTo>
                  <a:lnTo>
                    <a:pt x="723" y="264"/>
                  </a:lnTo>
                  <a:lnTo>
                    <a:pt x="719" y="264"/>
                  </a:lnTo>
                  <a:lnTo>
                    <a:pt x="717" y="264"/>
                  </a:lnTo>
                  <a:lnTo>
                    <a:pt x="717" y="266"/>
                  </a:lnTo>
                  <a:lnTo>
                    <a:pt x="717" y="266"/>
                  </a:lnTo>
                  <a:lnTo>
                    <a:pt x="715" y="266"/>
                  </a:lnTo>
                  <a:lnTo>
                    <a:pt x="713" y="266"/>
                  </a:lnTo>
                  <a:lnTo>
                    <a:pt x="713" y="266"/>
                  </a:lnTo>
                  <a:lnTo>
                    <a:pt x="713" y="266"/>
                  </a:lnTo>
                  <a:lnTo>
                    <a:pt x="713" y="264"/>
                  </a:lnTo>
                  <a:lnTo>
                    <a:pt x="713" y="264"/>
                  </a:lnTo>
                  <a:lnTo>
                    <a:pt x="715" y="264"/>
                  </a:lnTo>
                  <a:lnTo>
                    <a:pt x="715" y="264"/>
                  </a:lnTo>
                  <a:lnTo>
                    <a:pt x="717" y="262"/>
                  </a:lnTo>
                  <a:lnTo>
                    <a:pt x="717" y="262"/>
                  </a:lnTo>
                  <a:lnTo>
                    <a:pt x="717" y="262"/>
                  </a:lnTo>
                  <a:lnTo>
                    <a:pt x="717" y="262"/>
                  </a:lnTo>
                  <a:lnTo>
                    <a:pt x="719" y="260"/>
                  </a:lnTo>
                  <a:lnTo>
                    <a:pt x="717" y="262"/>
                  </a:lnTo>
                  <a:lnTo>
                    <a:pt x="715" y="262"/>
                  </a:lnTo>
                  <a:lnTo>
                    <a:pt x="713" y="264"/>
                  </a:lnTo>
                  <a:lnTo>
                    <a:pt x="711" y="264"/>
                  </a:lnTo>
                  <a:lnTo>
                    <a:pt x="711" y="264"/>
                  </a:lnTo>
                  <a:lnTo>
                    <a:pt x="711" y="264"/>
                  </a:lnTo>
                  <a:lnTo>
                    <a:pt x="711" y="264"/>
                  </a:lnTo>
                  <a:lnTo>
                    <a:pt x="711" y="264"/>
                  </a:lnTo>
                  <a:lnTo>
                    <a:pt x="711" y="266"/>
                  </a:lnTo>
                  <a:lnTo>
                    <a:pt x="711" y="266"/>
                  </a:lnTo>
                  <a:lnTo>
                    <a:pt x="711" y="266"/>
                  </a:lnTo>
                  <a:lnTo>
                    <a:pt x="711" y="268"/>
                  </a:lnTo>
                  <a:lnTo>
                    <a:pt x="711" y="268"/>
                  </a:lnTo>
                  <a:lnTo>
                    <a:pt x="711" y="268"/>
                  </a:lnTo>
                  <a:lnTo>
                    <a:pt x="711" y="268"/>
                  </a:lnTo>
                  <a:lnTo>
                    <a:pt x="711" y="268"/>
                  </a:lnTo>
                  <a:lnTo>
                    <a:pt x="711" y="271"/>
                  </a:lnTo>
                  <a:lnTo>
                    <a:pt x="711" y="271"/>
                  </a:lnTo>
                  <a:lnTo>
                    <a:pt x="713" y="271"/>
                  </a:lnTo>
                  <a:lnTo>
                    <a:pt x="715" y="271"/>
                  </a:lnTo>
                  <a:lnTo>
                    <a:pt x="719" y="277"/>
                  </a:lnTo>
                  <a:lnTo>
                    <a:pt x="719" y="277"/>
                  </a:lnTo>
                  <a:lnTo>
                    <a:pt x="719" y="277"/>
                  </a:lnTo>
                  <a:lnTo>
                    <a:pt x="721" y="279"/>
                  </a:lnTo>
                  <a:lnTo>
                    <a:pt x="725" y="281"/>
                  </a:lnTo>
                  <a:lnTo>
                    <a:pt x="727" y="283"/>
                  </a:lnTo>
                  <a:lnTo>
                    <a:pt x="735" y="287"/>
                  </a:lnTo>
                  <a:lnTo>
                    <a:pt x="737" y="287"/>
                  </a:lnTo>
                  <a:lnTo>
                    <a:pt x="739" y="289"/>
                  </a:lnTo>
                  <a:lnTo>
                    <a:pt x="737" y="287"/>
                  </a:lnTo>
                  <a:lnTo>
                    <a:pt x="735" y="287"/>
                  </a:lnTo>
                  <a:lnTo>
                    <a:pt x="735" y="287"/>
                  </a:lnTo>
                  <a:lnTo>
                    <a:pt x="733" y="285"/>
                  </a:lnTo>
                  <a:lnTo>
                    <a:pt x="733" y="285"/>
                  </a:lnTo>
                  <a:lnTo>
                    <a:pt x="733" y="285"/>
                  </a:lnTo>
                  <a:lnTo>
                    <a:pt x="739" y="287"/>
                  </a:lnTo>
                  <a:lnTo>
                    <a:pt x="741" y="289"/>
                  </a:lnTo>
                  <a:lnTo>
                    <a:pt x="743" y="289"/>
                  </a:lnTo>
                  <a:lnTo>
                    <a:pt x="743" y="291"/>
                  </a:lnTo>
                  <a:lnTo>
                    <a:pt x="746" y="291"/>
                  </a:lnTo>
                  <a:lnTo>
                    <a:pt x="746" y="291"/>
                  </a:lnTo>
                  <a:lnTo>
                    <a:pt x="748" y="291"/>
                  </a:lnTo>
                  <a:lnTo>
                    <a:pt x="750" y="293"/>
                  </a:lnTo>
                  <a:lnTo>
                    <a:pt x="750" y="293"/>
                  </a:lnTo>
                  <a:lnTo>
                    <a:pt x="752" y="295"/>
                  </a:lnTo>
                  <a:lnTo>
                    <a:pt x="750" y="295"/>
                  </a:lnTo>
                  <a:lnTo>
                    <a:pt x="750" y="295"/>
                  </a:lnTo>
                  <a:lnTo>
                    <a:pt x="750" y="295"/>
                  </a:lnTo>
                  <a:lnTo>
                    <a:pt x="746" y="293"/>
                  </a:lnTo>
                  <a:lnTo>
                    <a:pt x="746" y="293"/>
                  </a:lnTo>
                  <a:lnTo>
                    <a:pt x="746" y="293"/>
                  </a:lnTo>
                  <a:lnTo>
                    <a:pt x="743" y="293"/>
                  </a:lnTo>
                  <a:lnTo>
                    <a:pt x="743" y="293"/>
                  </a:lnTo>
                  <a:lnTo>
                    <a:pt x="743" y="293"/>
                  </a:lnTo>
                  <a:lnTo>
                    <a:pt x="743" y="293"/>
                  </a:lnTo>
                  <a:lnTo>
                    <a:pt x="741" y="293"/>
                  </a:lnTo>
                  <a:lnTo>
                    <a:pt x="741" y="295"/>
                  </a:lnTo>
                  <a:lnTo>
                    <a:pt x="741" y="295"/>
                  </a:lnTo>
                  <a:lnTo>
                    <a:pt x="741" y="297"/>
                  </a:lnTo>
                  <a:lnTo>
                    <a:pt x="741" y="297"/>
                  </a:lnTo>
                  <a:lnTo>
                    <a:pt x="739" y="299"/>
                  </a:lnTo>
                  <a:lnTo>
                    <a:pt x="739" y="299"/>
                  </a:lnTo>
                  <a:lnTo>
                    <a:pt x="739" y="299"/>
                  </a:lnTo>
                  <a:lnTo>
                    <a:pt x="739" y="299"/>
                  </a:lnTo>
                  <a:lnTo>
                    <a:pt x="739" y="299"/>
                  </a:lnTo>
                  <a:lnTo>
                    <a:pt x="739" y="299"/>
                  </a:lnTo>
                  <a:lnTo>
                    <a:pt x="739" y="299"/>
                  </a:lnTo>
                  <a:lnTo>
                    <a:pt x="739" y="299"/>
                  </a:lnTo>
                  <a:lnTo>
                    <a:pt x="737" y="299"/>
                  </a:lnTo>
                  <a:lnTo>
                    <a:pt x="737" y="299"/>
                  </a:lnTo>
                  <a:lnTo>
                    <a:pt x="737" y="299"/>
                  </a:lnTo>
                  <a:lnTo>
                    <a:pt x="735" y="299"/>
                  </a:lnTo>
                  <a:lnTo>
                    <a:pt x="735" y="299"/>
                  </a:lnTo>
                  <a:lnTo>
                    <a:pt x="733" y="297"/>
                  </a:lnTo>
                  <a:lnTo>
                    <a:pt x="731" y="297"/>
                  </a:lnTo>
                  <a:lnTo>
                    <a:pt x="731" y="297"/>
                  </a:lnTo>
                  <a:lnTo>
                    <a:pt x="731" y="297"/>
                  </a:lnTo>
                  <a:lnTo>
                    <a:pt x="731" y="297"/>
                  </a:lnTo>
                  <a:lnTo>
                    <a:pt x="731" y="295"/>
                  </a:lnTo>
                  <a:lnTo>
                    <a:pt x="731" y="293"/>
                  </a:lnTo>
                  <a:lnTo>
                    <a:pt x="731" y="293"/>
                  </a:lnTo>
                  <a:lnTo>
                    <a:pt x="733" y="293"/>
                  </a:lnTo>
                  <a:lnTo>
                    <a:pt x="733" y="291"/>
                  </a:lnTo>
                  <a:lnTo>
                    <a:pt x="733" y="291"/>
                  </a:lnTo>
                  <a:lnTo>
                    <a:pt x="733" y="291"/>
                  </a:lnTo>
                  <a:lnTo>
                    <a:pt x="733" y="291"/>
                  </a:lnTo>
                  <a:lnTo>
                    <a:pt x="733" y="291"/>
                  </a:lnTo>
                  <a:lnTo>
                    <a:pt x="731" y="291"/>
                  </a:lnTo>
                  <a:lnTo>
                    <a:pt x="731" y="293"/>
                  </a:lnTo>
                  <a:lnTo>
                    <a:pt x="731" y="295"/>
                  </a:lnTo>
                  <a:lnTo>
                    <a:pt x="731" y="297"/>
                  </a:lnTo>
                  <a:lnTo>
                    <a:pt x="731" y="299"/>
                  </a:lnTo>
                  <a:lnTo>
                    <a:pt x="733" y="301"/>
                  </a:lnTo>
                  <a:lnTo>
                    <a:pt x="733" y="301"/>
                  </a:lnTo>
                  <a:lnTo>
                    <a:pt x="735" y="303"/>
                  </a:lnTo>
                  <a:lnTo>
                    <a:pt x="735" y="303"/>
                  </a:lnTo>
                  <a:lnTo>
                    <a:pt x="735" y="305"/>
                  </a:lnTo>
                  <a:lnTo>
                    <a:pt x="735" y="305"/>
                  </a:lnTo>
                  <a:lnTo>
                    <a:pt x="735" y="305"/>
                  </a:lnTo>
                  <a:lnTo>
                    <a:pt x="737" y="307"/>
                  </a:lnTo>
                  <a:lnTo>
                    <a:pt x="737" y="309"/>
                  </a:lnTo>
                  <a:lnTo>
                    <a:pt x="739" y="312"/>
                  </a:lnTo>
                  <a:lnTo>
                    <a:pt x="739" y="312"/>
                  </a:lnTo>
                  <a:lnTo>
                    <a:pt x="737" y="309"/>
                  </a:lnTo>
                  <a:lnTo>
                    <a:pt x="737" y="309"/>
                  </a:lnTo>
                  <a:lnTo>
                    <a:pt x="737" y="309"/>
                  </a:lnTo>
                  <a:lnTo>
                    <a:pt x="739" y="309"/>
                  </a:lnTo>
                  <a:lnTo>
                    <a:pt x="739" y="312"/>
                  </a:lnTo>
                  <a:lnTo>
                    <a:pt x="739" y="312"/>
                  </a:lnTo>
                  <a:lnTo>
                    <a:pt x="739" y="312"/>
                  </a:lnTo>
                  <a:lnTo>
                    <a:pt x="739" y="314"/>
                  </a:lnTo>
                  <a:lnTo>
                    <a:pt x="739" y="314"/>
                  </a:lnTo>
                  <a:lnTo>
                    <a:pt x="739" y="316"/>
                  </a:lnTo>
                  <a:lnTo>
                    <a:pt x="739" y="316"/>
                  </a:lnTo>
                  <a:lnTo>
                    <a:pt x="739" y="316"/>
                  </a:lnTo>
                  <a:lnTo>
                    <a:pt x="739" y="316"/>
                  </a:lnTo>
                  <a:lnTo>
                    <a:pt x="739" y="316"/>
                  </a:lnTo>
                  <a:lnTo>
                    <a:pt x="737" y="316"/>
                  </a:lnTo>
                  <a:lnTo>
                    <a:pt x="737" y="316"/>
                  </a:lnTo>
                  <a:lnTo>
                    <a:pt x="737" y="316"/>
                  </a:lnTo>
                  <a:lnTo>
                    <a:pt x="737" y="318"/>
                  </a:lnTo>
                  <a:lnTo>
                    <a:pt x="737" y="318"/>
                  </a:lnTo>
                  <a:lnTo>
                    <a:pt x="737" y="320"/>
                  </a:lnTo>
                  <a:lnTo>
                    <a:pt x="737" y="320"/>
                  </a:lnTo>
                  <a:lnTo>
                    <a:pt x="737" y="322"/>
                  </a:lnTo>
                  <a:lnTo>
                    <a:pt x="737" y="326"/>
                  </a:lnTo>
                  <a:lnTo>
                    <a:pt x="741" y="328"/>
                  </a:lnTo>
                  <a:lnTo>
                    <a:pt x="746" y="330"/>
                  </a:lnTo>
                  <a:lnTo>
                    <a:pt x="748" y="332"/>
                  </a:lnTo>
                  <a:lnTo>
                    <a:pt x="758" y="336"/>
                  </a:lnTo>
                  <a:lnTo>
                    <a:pt x="766" y="340"/>
                  </a:lnTo>
                  <a:lnTo>
                    <a:pt x="770" y="340"/>
                  </a:lnTo>
                  <a:lnTo>
                    <a:pt x="772" y="340"/>
                  </a:lnTo>
                  <a:lnTo>
                    <a:pt x="772" y="340"/>
                  </a:lnTo>
                  <a:lnTo>
                    <a:pt x="770" y="340"/>
                  </a:lnTo>
                  <a:lnTo>
                    <a:pt x="770" y="340"/>
                  </a:lnTo>
                  <a:lnTo>
                    <a:pt x="768" y="340"/>
                  </a:lnTo>
                  <a:lnTo>
                    <a:pt x="768" y="340"/>
                  </a:lnTo>
                  <a:lnTo>
                    <a:pt x="768" y="338"/>
                  </a:lnTo>
                  <a:lnTo>
                    <a:pt x="768" y="338"/>
                  </a:lnTo>
                  <a:lnTo>
                    <a:pt x="768" y="338"/>
                  </a:lnTo>
                  <a:lnTo>
                    <a:pt x="768" y="338"/>
                  </a:lnTo>
                  <a:lnTo>
                    <a:pt x="768" y="338"/>
                  </a:lnTo>
                  <a:lnTo>
                    <a:pt x="768" y="338"/>
                  </a:lnTo>
                  <a:lnTo>
                    <a:pt x="768" y="338"/>
                  </a:lnTo>
                  <a:lnTo>
                    <a:pt x="768" y="336"/>
                  </a:lnTo>
                  <a:lnTo>
                    <a:pt x="768" y="336"/>
                  </a:lnTo>
                  <a:lnTo>
                    <a:pt x="768" y="336"/>
                  </a:lnTo>
                  <a:lnTo>
                    <a:pt x="768" y="336"/>
                  </a:lnTo>
                  <a:lnTo>
                    <a:pt x="768" y="336"/>
                  </a:lnTo>
                  <a:lnTo>
                    <a:pt x="770" y="336"/>
                  </a:lnTo>
                  <a:lnTo>
                    <a:pt x="770" y="338"/>
                  </a:lnTo>
                  <a:lnTo>
                    <a:pt x="768" y="338"/>
                  </a:lnTo>
                  <a:lnTo>
                    <a:pt x="770" y="338"/>
                  </a:lnTo>
                  <a:lnTo>
                    <a:pt x="770" y="338"/>
                  </a:lnTo>
                  <a:lnTo>
                    <a:pt x="772" y="338"/>
                  </a:lnTo>
                  <a:lnTo>
                    <a:pt x="774" y="338"/>
                  </a:lnTo>
                  <a:lnTo>
                    <a:pt x="774" y="338"/>
                  </a:lnTo>
                  <a:lnTo>
                    <a:pt x="772" y="338"/>
                  </a:lnTo>
                  <a:lnTo>
                    <a:pt x="772" y="338"/>
                  </a:lnTo>
                  <a:lnTo>
                    <a:pt x="774" y="338"/>
                  </a:lnTo>
                  <a:lnTo>
                    <a:pt x="782" y="336"/>
                  </a:lnTo>
                  <a:lnTo>
                    <a:pt x="784" y="336"/>
                  </a:lnTo>
                  <a:lnTo>
                    <a:pt x="780" y="336"/>
                  </a:lnTo>
                  <a:lnTo>
                    <a:pt x="791" y="338"/>
                  </a:lnTo>
                  <a:lnTo>
                    <a:pt x="795" y="338"/>
                  </a:lnTo>
                  <a:lnTo>
                    <a:pt x="797" y="338"/>
                  </a:lnTo>
                  <a:lnTo>
                    <a:pt x="801" y="340"/>
                  </a:lnTo>
                  <a:lnTo>
                    <a:pt x="803" y="342"/>
                  </a:lnTo>
                  <a:lnTo>
                    <a:pt x="803" y="342"/>
                  </a:lnTo>
                  <a:lnTo>
                    <a:pt x="805" y="344"/>
                  </a:lnTo>
                  <a:lnTo>
                    <a:pt x="805" y="344"/>
                  </a:lnTo>
                  <a:lnTo>
                    <a:pt x="805" y="344"/>
                  </a:lnTo>
                  <a:lnTo>
                    <a:pt x="805" y="346"/>
                  </a:lnTo>
                  <a:lnTo>
                    <a:pt x="807" y="348"/>
                  </a:lnTo>
                  <a:lnTo>
                    <a:pt x="807" y="348"/>
                  </a:lnTo>
                  <a:lnTo>
                    <a:pt x="807" y="348"/>
                  </a:lnTo>
                  <a:lnTo>
                    <a:pt x="809" y="348"/>
                  </a:lnTo>
                  <a:lnTo>
                    <a:pt x="809" y="346"/>
                  </a:lnTo>
                  <a:lnTo>
                    <a:pt x="809" y="346"/>
                  </a:lnTo>
                  <a:lnTo>
                    <a:pt x="811" y="344"/>
                  </a:lnTo>
                  <a:lnTo>
                    <a:pt x="811" y="344"/>
                  </a:lnTo>
                  <a:lnTo>
                    <a:pt x="811" y="344"/>
                  </a:lnTo>
                  <a:lnTo>
                    <a:pt x="811" y="344"/>
                  </a:lnTo>
                  <a:lnTo>
                    <a:pt x="811" y="342"/>
                  </a:lnTo>
                  <a:lnTo>
                    <a:pt x="809" y="344"/>
                  </a:lnTo>
                  <a:lnTo>
                    <a:pt x="809" y="342"/>
                  </a:lnTo>
                  <a:lnTo>
                    <a:pt x="807" y="342"/>
                  </a:lnTo>
                  <a:lnTo>
                    <a:pt x="807" y="342"/>
                  </a:lnTo>
                  <a:lnTo>
                    <a:pt x="807" y="340"/>
                  </a:lnTo>
                  <a:lnTo>
                    <a:pt x="805" y="340"/>
                  </a:lnTo>
                  <a:lnTo>
                    <a:pt x="805" y="340"/>
                  </a:lnTo>
                  <a:lnTo>
                    <a:pt x="803" y="338"/>
                  </a:lnTo>
                  <a:lnTo>
                    <a:pt x="803" y="338"/>
                  </a:lnTo>
                  <a:lnTo>
                    <a:pt x="803" y="338"/>
                  </a:lnTo>
                  <a:lnTo>
                    <a:pt x="805" y="338"/>
                  </a:lnTo>
                  <a:lnTo>
                    <a:pt x="807" y="336"/>
                  </a:lnTo>
                  <a:lnTo>
                    <a:pt x="807" y="336"/>
                  </a:lnTo>
                  <a:lnTo>
                    <a:pt x="809" y="336"/>
                  </a:lnTo>
                  <a:lnTo>
                    <a:pt x="809" y="338"/>
                  </a:lnTo>
                  <a:lnTo>
                    <a:pt x="809" y="338"/>
                  </a:lnTo>
                  <a:lnTo>
                    <a:pt x="811" y="340"/>
                  </a:lnTo>
                  <a:lnTo>
                    <a:pt x="811" y="340"/>
                  </a:lnTo>
                  <a:lnTo>
                    <a:pt x="811" y="340"/>
                  </a:lnTo>
                  <a:lnTo>
                    <a:pt x="811" y="340"/>
                  </a:lnTo>
                  <a:lnTo>
                    <a:pt x="811" y="342"/>
                  </a:lnTo>
                  <a:lnTo>
                    <a:pt x="811" y="342"/>
                  </a:lnTo>
                  <a:lnTo>
                    <a:pt x="813" y="342"/>
                  </a:lnTo>
                  <a:lnTo>
                    <a:pt x="813" y="342"/>
                  </a:lnTo>
                  <a:lnTo>
                    <a:pt x="813" y="342"/>
                  </a:lnTo>
                  <a:lnTo>
                    <a:pt x="813" y="342"/>
                  </a:lnTo>
                  <a:lnTo>
                    <a:pt x="813" y="342"/>
                  </a:lnTo>
                  <a:lnTo>
                    <a:pt x="813" y="344"/>
                  </a:lnTo>
                  <a:lnTo>
                    <a:pt x="815" y="344"/>
                  </a:lnTo>
                  <a:lnTo>
                    <a:pt x="815" y="344"/>
                  </a:lnTo>
                  <a:lnTo>
                    <a:pt x="815" y="346"/>
                  </a:lnTo>
                  <a:lnTo>
                    <a:pt x="815" y="344"/>
                  </a:lnTo>
                  <a:lnTo>
                    <a:pt x="815" y="346"/>
                  </a:lnTo>
                  <a:lnTo>
                    <a:pt x="813" y="346"/>
                  </a:lnTo>
                  <a:lnTo>
                    <a:pt x="815" y="346"/>
                  </a:lnTo>
                  <a:lnTo>
                    <a:pt x="815" y="348"/>
                  </a:lnTo>
                  <a:lnTo>
                    <a:pt x="815" y="348"/>
                  </a:lnTo>
                  <a:lnTo>
                    <a:pt x="815" y="350"/>
                  </a:lnTo>
                  <a:lnTo>
                    <a:pt x="815" y="350"/>
                  </a:lnTo>
                  <a:lnTo>
                    <a:pt x="815" y="350"/>
                  </a:lnTo>
                  <a:lnTo>
                    <a:pt x="815" y="352"/>
                  </a:lnTo>
                  <a:lnTo>
                    <a:pt x="815" y="352"/>
                  </a:lnTo>
                  <a:lnTo>
                    <a:pt x="815" y="352"/>
                  </a:lnTo>
                  <a:lnTo>
                    <a:pt x="815" y="352"/>
                  </a:lnTo>
                  <a:lnTo>
                    <a:pt x="817" y="352"/>
                  </a:lnTo>
                  <a:lnTo>
                    <a:pt x="819" y="350"/>
                  </a:lnTo>
                  <a:lnTo>
                    <a:pt x="819" y="350"/>
                  </a:lnTo>
                  <a:lnTo>
                    <a:pt x="819" y="350"/>
                  </a:lnTo>
                  <a:lnTo>
                    <a:pt x="819" y="348"/>
                  </a:lnTo>
                  <a:lnTo>
                    <a:pt x="819" y="348"/>
                  </a:lnTo>
                  <a:lnTo>
                    <a:pt x="819" y="348"/>
                  </a:lnTo>
                  <a:lnTo>
                    <a:pt x="819" y="348"/>
                  </a:lnTo>
                  <a:lnTo>
                    <a:pt x="819" y="346"/>
                  </a:lnTo>
                  <a:lnTo>
                    <a:pt x="819" y="346"/>
                  </a:lnTo>
                  <a:lnTo>
                    <a:pt x="819" y="344"/>
                  </a:lnTo>
                  <a:lnTo>
                    <a:pt x="821" y="344"/>
                  </a:lnTo>
                  <a:lnTo>
                    <a:pt x="821" y="344"/>
                  </a:lnTo>
                  <a:lnTo>
                    <a:pt x="823" y="342"/>
                  </a:lnTo>
                  <a:lnTo>
                    <a:pt x="827" y="340"/>
                  </a:lnTo>
                  <a:lnTo>
                    <a:pt x="827" y="340"/>
                  </a:lnTo>
                  <a:lnTo>
                    <a:pt x="830" y="340"/>
                  </a:lnTo>
                  <a:lnTo>
                    <a:pt x="830" y="340"/>
                  </a:lnTo>
                  <a:lnTo>
                    <a:pt x="830" y="338"/>
                  </a:lnTo>
                  <a:lnTo>
                    <a:pt x="830" y="338"/>
                  </a:lnTo>
                  <a:lnTo>
                    <a:pt x="832" y="336"/>
                  </a:lnTo>
                  <a:lnTo>
                    <a:pt x="832" y="336"/>
                  </a:lnTo>
                  <a:lnTo>
                    <a:pt x="834" y="336"/>
                  </a:lnTo>
                  <a:lnTo>
                    <a:pt x="834" y="336"/>
                  </a:lnTo>
                  <a:lnTo>
                    <a:pt x="832" y="336"/>
                  </a:lnTo>
                  <a:lnTo>
                    <a:pt x="832" y="336"/>
                  </a:lnTo>
                  <a:lnTo>
                    <a:pt x="834" y="336"/>
                  </a:lnTo>
                  <a:lnTo>
                    <a:pt x="836" y="336"/>
                  </a:lnTo>
                  <a:lnTo>
                    <a:pt x="836" y="336"/>
                  </a:lnTo>
                  <a:lnTo>
                    <a:pt x="838" y="336"/>
                  </a:lnTo>
                  <a:lnTo>
                    <a:pt x="838" y="336"/>
                  </a:lnTo>
                  <a:lnTo>
                    <a:pt x="838" y="336"/>
                  </a:lnTo>
                  <a:lnTo>
                    <a:pt x="838" y="336"/>
                  </a:lnTo>
                  <a:lnTo>
                    <a:pt x="838" y="336"/>
                  </a:lnTo>
                  <a:lnTo>
                    <a:pt x="840" y="334"/>
                  </a:lnTo>
                  <a:lnTo>
                    <a:pt x="840" y="334"/>
                  </a:lnTo>
                  <a:lnTo>
                    <a:pt x="838" y="334"/>
                  </a:lnTo>
                  <a:lnTo>
                    <a:pt x="838" y="336"/>
                  </a:lnTo>
                  <a:lnTo>
                    <a:pt x="838" y="336"/>
                  </a:lnTo>
                  <a:lnTo>
                    <a:pt x="836" y="336"/>
                  </a:lnTo>
                  <a:lnTo>
                    <a:pt x="836" y="336"/>
                  </a:lnTo>
                  <a:lnTo>
                    <a:pt x="838" y="334"/>
                  </a:lnTo>
                  <a:lnTo>
                    <a:pt x="842" y="332"/>
                  </a:lnTo>
                  <a:lnTo>
                    <a:pt x="842" y="332"/>
                  </a:lnTo>
                  <a:lnTo>
                    <a:pt x="840" y="332"/>
                  </a:lnTo>
                  <a:lnTo>
                    <a:pt x="840" y="332"/>
                  </a:lnTo>
                  <a:lnTo>
                    <a:pt x="842" y="332"/>
                  </a:lnTo>
                  <a:lnTo>
                    <a:pt x="842" y="332"/>
                  </a:lnTo>
                  <a:lnTo>
                    <a:pt x="842" y="334"/>
                  </a:lnTo>
                  <a:lnTo>
                    <a:pt x="844" y="334"/>
                  </a:lnTo>
                  <a:lnTo>
                    <a:pt x="844" y="334"/>
                  </a:lnTo>
                  <a:lnTo>
                    <a:pt x="844" y="336"/>
                  </a:lnTo>
                  <a:lnTo>
                    <a:pt x="846" y="336"/>
                  </a:lnTo>
                  <a:lnTo>
                    <a:pt x="846" y="336"/>
                  </a:lnTo>
                  <a:lnTo>
                    <a:pt x="846" y="334"/>
                  </a:lnTo>
                  <a:lnTo>
                    <a:pt x="846" y="334"/>
                  </a:lnTo>
                  <a:lnTo>
                    <a:pt x="846" y="334"/>
                  </a:lnTo>
                  <a:lnTo>
                    <a:pt x="848" y="334"/>
                  </a:lnTo>
                  <a:lnTo>
                    <a:pt x="848" y="334"/>
                  </a:lnTo>
                  <a:lnTo>
                    <a:pt x="848" y="334"/>
                  </a:lnTo>
                  <a:lnTo>
                    <a:pt x="848" y="334"/>
                  </a:lnTo>
                  <a:lnTo>
                    <a:pt x="850" y="334"/>
                  </a:lnTo>
                  <a:lnTo>
                    <a:pt x="850" y="332"/>
                  </a:lnTo>
                  <a:lnTo>
                    <a:pt x="850" y="332"/>
                  </a:lnTo>
                  <a:lnTo>
                    <a:pt x="850" y="332"/>
                  </a:lnTo>
                  <a:lnTo>
                    <a:pt x="850" y="332"/>
                  </a:lnTo>
                  <a:lnTo>
                    <a:pt x="850" y="332"/>
                  </a:lnTo>
                  <a:lnTo>
                    <a:pt x="850" y="332"/>
                  </a:lnTo>
                  <a:lnTo>
                    <a:pt x="850" y="330"/>
                  </a:lnTo>
                  <a:lnTo>
                    <a:pt x="852" y="330"/>
                  </a:lnTo>
                  <a:lnTo>
                    <a:pt x="852" y="328"/>
                  </a:lnTo>
                  <a:lnTo>
                    <a:pt x="854" y="328"/>
                  </a:lnTo>
                  <a:lnTo>
                    <a:pt x="854" y="328"/>
                  </a:lnTo>
                  <a:lnTo>
                    <a:pt x="854" y="326"/>
                  </a:lnTo>
                  <a:lnTo>
                    <a:pt x="856" y="328"/>
                  </a:lnTo>
                  <a:lnTo>
                    <a:pt x="856" y="328"/>
                  </a:lnTo>
                  <a:lnTo>
                    <a:pt x="856" y="326"/>
                  </a:lnTo>
                  <a:lnTo>
                    <a:pt x="856" y="326"/>
                  </a:lnTo>
                  <a:lnTo>
                    <a:pt x="858" y="326"/>
                  </a:lnTo>
                  <a:lnTo>
                    <a:pt x="858" y="326"/>
                  </a:lnTo>
                  <a:lnTo>
                    <a:pt x="858" y="326"/>
                  </a:lnTo>
                  <a:lnTo>
                    <a:pt x="858" y="328"/>
                  </a:lnTo>
                  <a:lnTo>
                    <a:pt x="858" y="328"/>
                  </a:lnTo>
                  <a:lnTo>
                    <a:pt x="858" y="328"/>
                  </a:lnTo>
                  <a:lnTo>
                    <a:pt x="856" y="328"/>
                  </a:lnTo>
                  <a:lnTo>
                    <a:pt x="856" y="328"/>
                  </a:lnTo>
                  <a:lnTo>
                    <a:pt x="856" y="328"/>
                  </a:lnTo>
                  <a:lnTo>
                    <a:pt x="854" y="328"/>
                  </a:lnTo>
                  <a:lnTo>
                    <a:pt x="854" y="328"/>
                  </a:lnTo>
                  <a:lnTo>
                    <a:pt x="856" y="330"/>
                  </a:lnTo>
                  <a:lnTo>
                    <a:pt x="858" y="332"/>
                  </a:lnTo>
                  <a:lnTo>
                    <a:pt x="858" y="332"/>
                  </a:lnTo>
                  <a:lnTo>
                    <a:pt x="860" y="334"/>
                  </a:lnTo>
                  <a:lnTo>
                    <a:pt x="860" y="334"/>
                  </a:lnTo>
                  <a:lnTo>
                    <a:pt x="860" y="334"/>
                  </a:lnTo>
                  <a:lnTo>
                    <a:pt x="860" y="336"/>
                  </a:lnTo>
                  <a:lnTo>
                    <a:pt x="860" y="338"/>
                  </a:lnTo>
                  <a:lnTo>
                    <a:pt x="862" y="338"/>
                  </a:lnTo>
                  <a:lnTo>
                    <a:pt x="862" y="338"/>
                  </a:lnTo>
                  <a:lnTo>
                    <a:pt x="862" y="338"/>
                  </a:lnTo>
                  <a:lnTo>
                    <a:pt x="862" y="340"/>
                  </a:lnTo>
                  <a:lnTo>
                    <a:pt x="862" y="340"/>
                  </a:lnTo>
                  <a:lnTo>
                    <a:pt x="860" y="342"/>
                  </a:lnTo>
                  <a:lnTo>
                    <a:pt x="860" y="344"/>
                  </a:lnTo>
                  <a:lnTo>
                    <a:pt x="858" y="346"/>
                  </a:lnTo>
                  <a:lnTo>
                    <a:pt x="858" y="346"/>
                  </a:lnTo>
                  <a:lnTo>
                    <a:pt x="858" y="346"/>
                  </a:lnTo>
                  <a:lnTo>
                    <a:pt x="856" y="346"/>
                  </a:lnTo>
                  <a:lnTo>
                    <a:pt x="856" y="346"/>
                  </a:lnTo>
                  <a:lnTo>
                    <a:pt x="854" y="346"/>
                  </a:lnTo>
                  <a:lnTo>
                    <a:pt x="854" y="348"/>
                  </a:lnTo>
                  <a:lnTo>
                    <a:pt x="856" y="348"/>
                  </a:lnTo>
                  <a:lnTo>
                    <a:pt x="854" y="348"/>
                  </a:lnTo>
                  <a:lnTo>
                    <a:pt x="854" y="350"/>
                  </a:lnTo>
                  <a:lnTo>
                    <a:pt x="848" y="348"/>
                  </a:lnTo>
                  <a:lnTo>
                    <a:pt x="848" y="346"/>
                  </a:lnTo>
                  <a:lnTo>
                    <a:pt x="848" y="346"/>
                  </a:lnTo>
                  <a:lnTo>
                    <a:pt x="846" y="346"/>
                  </a:lnTo>
                  <a:lnTo>
                    <a:pt x="846" y="346"/>
                  </a:lnTo>
                  <a:lnTo>
                    <a:pt x="846" y="348"/>
                  </a:lnTo>
                  <a:lnTo>
                    <a:pt x="846" y="348"/>
                  </a:lnTo>
                  <a:lnTo>
                    <a:pt x="846" y="348"/>
                  </a:lnTo>
                  <a:lnTo>
                    <a:pt x="846" y="348"/>
                  </a:lnTo>
                  <a:lnTo>
                    <a:pt x="846" y="350"/>
                  </a:lnTo>
                  <a:lnTo>
                    <a:pt x="844" y="350"/>
                  </a:lnTo>
                  <a:lnTo>
                    <a:pt x="844" y="350"/>
                  </a:lnTo>
                  <a:lnTo>
                    <a:pt x="844" y="350"/>
                  </a:lnTo>
                  <a:lnTo>
                    <a:pt x="844" y="352"/>
                  </a:lnTo>
                  <a:lnTo>
                    <a:pt x="844" y="352"/>
                  </a:lnTo>
                  <a:lnTo>
                    <a:pt x="844" y="355"/>
                  </a:lnTo>
                  <a:lnTo>
                    <a:pt x="844" y="355"/>
                  </a:lnTo>
                  <a:lnTo>
                    <a:pt x="844" y="355"/>
                  </a:lnTo>
                  <a:lnTo>
                    <a:pt x="844" y="355"/>
                  </a:lnTo>
                  <a:lnTo>
                    <a:pt x="844" y="352"/>
                  </a:lnTo>
                  <a:lnTo>
                    <a:pt x="844" y="352"/>
                  </a:lnTo>
                  <a:lnTo>
                    <a:pt x="846" y="352"/>
                  </a:lnTo>
                  <a:lnTo>
                    <a:pt x="846" y="352"/>
                  </a:lnTo>
                  <a:lnTo>
                    <a:pt x="848" y="352"/>
                  </a:lnTo>
                  <a:lnTo>
                    <a:pt x="852" y="355"/>
                  </a:lnTo>
                  <a:lnTo>
                    <a:pt x="852" y="355"/>
                  </a:lnTo>
                  <a:lnTo>
                    <a:pt x="850" y="355"/>
                  </a:lnTo>
                  <a:lnTo>
                    <a:pt x="850" y="355"/>
                  </a:lnTo>
                  <a:lnTo>
                    <a:pt x="850" y="355"/>
                  </a:lnTo>
                  <a:lnTo>
                    <a:pt x="850" y="355"/>
                  </a:lnTo>
                  <a:lnTo>
                    <a:pt x="850" y="355"/>
                  </a:lnTo>
                  <a:lnTo>
                    <a:pt x="852" y="355"/>
                  </a:lnTo>
                  <a:lnTo>
                    <a:pt x="850" y="357"/>
                  </a:lnTo>
                  <a:lnTo>
                    <a:pt x="850" y="357"/>
                  </a:lnTo>
                  <a:lnTo>
                    <a:pt x="850" y="357"/>
                  </a:lnTo>
                  <a:lnTo>
                    <a:pt x="850" y="357"/>
                  </a:lnTo>
                  <a:lnTo>
                    <a:pt x="852" y="357"/>
                  </a:lnTo>
                  <a:lnTo>
                    <a:pt x="852" y="359"/>
                  </a:lnTo>
                  <a:lnTo>
                    <a:pt x="852" y="361"/>
                  </a:lnTo>
                  <a:lnTo>
                    <a:pt x="854" y="361"/>
                  </a:lnTo>
                  <a:lnTo>
                    <a:pt x="854" y="363"/>
                  </a:lnTo>
                  <a:lnTo>
                    <a:pt x="854" y="363"/>
                  </a:lnTo>
                  <a:lnTo>
                    <a:pt x="856" y="365"/>
                  </a:lnTo>
                  <a:lnTo>
                    <a:pt x="854" y="371"/>
                  </a:lnTo>
                  <a:lnTo>
                    <a:pt x="854" y="373"/>
                  </a:lnTo>
                  <a:lnTo>
                    <a:pt x="856" y="381"/>
                  </a:lnTo>
                  <a:lnTo>
                    <a:pt x="858" y="385"/>
                  </a:lnTo>
                  <a:lnTo>
                    <a:pt x="856" y="389"/>
                  </a:lnTo>
                  <a:lnTo>
                    <a:pt x="856" y="391"/>
                  </a:lnTo>
                  <a:lnTo>
                    <a:pt x="854" y="391"/>
                  </a:lnTo>
                  <a:lnTo>
                    <a:pt x="854" y="391"/>
                  </a:lnTo>
                  <a:lnTo>
                    <a:pt x="852" y="396"/>
                  </a:lnTo>
                  <a:lnTo>
                    <a:pt x="852" y="396"/>
                  </a:lnTo>
                  <a:lnTo>
                    <a:pt x="850" y="396"/>
                  </a:lnTo>
                  <a:lnTo>
                    <a:pt x="850" y="396"/>
                  </a:lnTo>
                  <a:lnTo>
                    <a:pt x="850" y="398"/>
                  </a:lnTo>
                  <a:lnTo>
                    <a:pt x="850" y="398"/>
                  </a:lnTo>
                  <a:lnTo>
                    <a:pt x="846" y="402"/>
                  </a:lnTo>
                  <a:lnTo>
                    <a:pt x="842" y="402"/>
                  </a:lnTo>
                  <a:lnTo>
                    <a:pt x="842" y="402"/>
                  </a:lnTo>
                  <a:lnTo>
                    <a:pt x="840" y="402"/>
                  </a:lnTo>
                  <a:lnTo>
                    <a:pt x="840" y="402"/>
                  </a:lnTo>
                  <a:lnTo>
                    <a:pt x="840" y="402"/>
                  </a:lnTo>
                  <a:lnTo>
                    <a:pt x="840" y="402"/>
                  </a:lnTo>
                  <a:lnTo>
                    <a:pt x="840" y="402"/>
                  </a:lnTo>
                  <a:lnTo>
                    <a:pt x="840" y="402"/>
                  </a:lnTo>
                  <a:lnTo>
                    <a:pt x="838" y="402"/>
                  </a:lnTo>
                  <a:lnTo>
                    <a:pt x="838" y="402"/>
                  </a:lnTo>
                  <a:lnTo>
                    <a:pt x="838" y="402"/>
                  </a:lnTo>
                  <a:lnTo>
                    <a:pt x="836" y="402"/>
                  </a:lnTo>
                  <a:lnTo>
                    <a:pt x="836" y="402"/>
                  </a:lnTo>
                  <a:lnTo>
                    <a:pt x="836" y="402"/>
                  </a:lnTo>
                  <a:lnTo>
                    <a:pt x="823" y="402"/>
                  </a:lnTo>
                  <a:lnTo>
                    <a:pt x="823" y="402"/>
                  </a:lnTo>
                  <a:lnTo>
                    <a:pt x="823" y="402"/>
                  </a:lnTo>
                  <a:lnTo>
                    <a:pt x="825" y="402"/>
                  </a:lnTo>
                  <a:lnTo>
                    <a:pt x="825" y="402"/>
                  </a:lnTo>
                  <a:lnTo>
                    <a:pt x="825" y="402"/>
                  </a:lnTo>
                  <a:lnTo>
                    <a:pt x="825" y="400"/>
                  </a:lnTo>
                  <a:lnTo>
                    <a:pt x="825" y="400"/>
                  </a:lnTo>
                  <a:lnTo>
                    <a:pt x="827" y="400"/>
                  </a:lnTo>
                  <a:lnTo>
                    <a:pt x="827" y="400"/>
                  </a:lnTo>
                  <a:lnTo>
                    <a:pt x="825" y="400"/>
                  </a:lnTo>
                  <a:lnTo>
                    <a:pt x="825" y="400"/>
                  </a:lnTo>
                  <a:lnTo>
                    <a:pt x="825" y="398"/>
                  </a:lnTo>
                  <a:lnTo>
                    <a:pt x="825" y="398"/>
                  </a:lnTo>
                  <a:lnTo>
                    <a:pt x="823" y="398"/>
                  </a:lnTo>
                  <a:lnTo>
                    <a:pt x="823" y="398"/>
                  </a:lnTo>
                  <a:lnTo>
                    <a:pt x="823" y="398"/>
                  </a:lnTo>
                  <a:lnTo>
                    <a:pt x="821" y="396"/>
                  </a:lnTo>
                  <a:lnTo>
                    <a:pt x="821" y="396"/>
                  </a:lnTo>
                  <a:lnTo>
                    <a:pt x="821" y="396"/>
                  </a:lnTo>
                  <a:lnTo>
                    <a:pt x="821" y="396"/>
                  </a:lnTo>
                  <a:lnTo>
                    <a:pt x="819" y="396"/>
                  </a:lnTo>
                  <a:lnTo>
                    <a:pt x="821" y="398"/>
                  </a:lnTo>
                  <a:lnTo>
                    <a:pt x="821" y="400"/>
                  </a:lnTo>
                  <a:lnTo>
                    <a:pt x="819" y="400"/>
                  </a:lnTo>
                  <a:lnTo>
                    <a:pt x="819" y="400"/>
                  </a:lnTo>
                  <a:lnTo>
                    <a:pt x="819" y="400"/>
                  </a:lnTo>
                  <a:lnTo>
                    <a:pt x="819" y="402"/>
                  </a:lnTo>
                  <a:lnTo>
                    <a:pt x="817" y="402"/>
                  </a:lnTo>
                  <a:lnTo>
                    <a:pt x="817" y="402"/>
                  </a:lnTo>
                  <a:lnTo>
                    <a:pt x="817" y="404"/>
                  </a:lnTo>
                  <a:lnTo>
                    <a:pt x="811" y="410"/>
                  </a:lnTo>
                  <a:lnTo>
                    <a:pt x="809" y="412"/>
                  </a:lnTo>
                  <a:lnTo>
                    <a:pt x="807" y="412"/>
                  </a:lnTo>
                  <a:lnTo>
                    <a:pt x="807" y="412"/>
                  </a:lnTo>
                  <a:lnTo>
                    <a:pt x="805" y="412"/>
                  </a:lnTo>
                  <a:lnTo>
                    <a:pt x="805" y="412"/>
                  </a:lnTo>
                  <a:lnTo>
                    <a:pt x="805" y="414"/>
                  </a:lnTo>
                  <a:lnTo>
                    <a:pt x="805" y="414"/>
                  </a:lnTo>
                  <a:lnTo>
                    <a:pt x="805" y="414"/>
                  </a:lnTo>
                  <a:lnTo>
                    <a:pt x="805" y="416"/>
                  </a:lnTo>
                  <a:lnTo>
                    <a:pt x="803" y="416"/>
                  </a:lnTo>
                  <a:lnTo>
                    <a:pt x="803" y="416"/>
                  </a:lnTo>
                  <a:lnTo>
                    <a:pt x="803" y="416"/>
                  </a:lnTo>
                  <a:lnTo>
                    <a:pt x="801" y="416"/>
                  </a:lnTo>
                  <a:lnTo>
                    <a:pt x="801" y="418"/>
                  </a:lnTo>
                  <a:lnTo>
                    <a:pt x="801" y="418"/>
                  </a:lnTo>
                  <a:lnTo>
                    <a:pt x="799" y="418"/>
                  </a:lnTo>
                  <a:lnTo>
                    <a:pt x="799" y="418"/>
                  </a:lnTo>
                  <a:lnTo>
                    <a:pt x="795" y="418"/>
                  </a:lnTo>
                  <a:lnTo>
                    <a:pt x="793" y="420"/>
                  </a:lnTo>
                  <a:lnTo>
                    <a:pt x="793" y="418"/>
                  </a:lnTo>
                  <a:lnTo>
                    <a:pt x="793" y="418"/>
                  </a:lnTo>
                  <a:lnTo>
                    <a:pt x="791" y="416"/>
                  </a:lnTo>
                  <a:lnTo>
                    <a:pt x="791" y="416"/>
                  </a:lnTo>
                  <a:lnTo>
                    <a:pt x="789" y="414"/>
                  </a:lnTo>
                  <a:lnTo>
                    <a:pt x="789" y="414"/>
                  </a:lnTo>
                  <a:lnTo>
                    <a:pt x="786" y="416"/>
                  </a:lnTo>
                  <a:lnTo>
                    <a:pt x="786" y="418"/>
                  </a:lnTo>
                  <a:lnTo>
                    <a:pt x="782" y="418"/>
                  </a:lnTo>
                  <a:lnTo>
                    <a:pt x="782" y="420"/>
                  </a:lnTo>
                  <a:lnTo>
                    <a:pt x="782" y="418"/>
                  </a:lnTo>
                  <a:lnTo>
                    <a:pt x="786" y="416"/>
                  </a:lnTo>
                  <a:lnTo>
                    <a:pt x="786" y="416"/>
                  </a:lnTo>
                  <a:lnTo>
                    <a:pt x="786" y="414"/>
                  </a:lnTo>
                  <a:lnTo>
                    <a:pt x="789" y="414"/>
                  </a:lnTo>
                  <a:lnTo>
                    <a:pt x="789" y="414"/>
                  </a:lnTo>
                  <a:lnTo>
                    <a:pt x="789" y="414"/>
                  </a:lnTo>
                  <a:lnTo>
                    <a:pt x="789" y="414"/>
                  </a:lnTo>
                  <a:lnTo>
                    <a:pt x="786" y="414"/>
                  </a:lnTo>
                  <a:lnTo>
                    <a:pt x="786" y="414"/>
                  </a:lnTo>
                  <a:lnTo>
                    <a:pt x="786" y="414"/>
                  </a:lnTo>
                  <a:lnTo>
                    <a:pt x="786" y="414"/>
                  </a:lnTo>
                  <a:lnTo>
                    <a:pt x="786" y="412"/>
                  </a:lnTo>
                  <a:lnTo>
                    <a:pt x="786" y="412"/>
                  </a:lnTo>
                  <a:lnTo>
                    <a:pt x="786" y="412"/>
                  </a:lnTo>
                  <a:lnTo>
                    <a:pt x="786" y="410"/>
                  </a:lnTo>
                  <a:lnTo>
                    <a:pt x="786" y="410"/>
                  </a:lnTo>
                  <a:lnTo>
                    <a:pt x="786" y="410"/>
                  </a:lnTo>
                  <a:lnTo>
                    <a:pt x="784" y="410"/>
                  </a:lnTo>
                  <a:lnTo>
                    <a:pt x="784" y="410"/>
                  </a:lnTo>
                  <a:lnTo>
                    <a:pt x="784" y="408"/>
                  </a:lnTo>
                  <a:lnTo>
                    <a:pt x="784" y="408"/>
                  </a:lnTo>
                  <a:lnTo>
                    <a:pt x="784" y="408"/>
                  </a:lnTo>
                  <a:lnTo>
                    <a:pt x="784" y="408"/>
                  </a:lnTo>
                  <a:lnTo>
                    <a:pt x="782" y="408"/>
                  </a:lnTo>
                  <a:lnTo>
                    <a:pt x="780" y="406"/>
                  </a:lnTo>
                  <a:lnTo>
                    <a:pt x="776" y="404"/>
                  </a:lnTo>
                  <a:lnTo>
                    <a:pt x="770" y="406"/>
                  </a:lnTo>
                  <a:lnTo>
                    <a:pt x="770" y="406"/>
                  </a:lnTo>
                  <a:lnTo>
                    <a:pt x="768" y="408"/>
                  </a:lnTo>
                  <a:lnTo>
                    <a:pt x="768" y="408"/>
                  </a:lnTo>
                  <a:lnTo>
                    <a:pt x="766" y="408"/>
                  </a:lnTo>
                  <a:lnTo>
                    <a:pt x="766" y="410"/>
                  </a:lnTo>
                  <a:lnTo>
                    <a:pt x="764" y="410"/>
                  </a:lnTo>
                  <a:lnTo>
                    <a:pt x="766" y="410"/>
                  </a:lnTo>
                  <a:lnTo>
                    <a:pt x="766" y="410"/>
                  </a:lnTo>
                  <a:lnTo>
                    <a:pt x="766" y="412"/>
                  </a:lnTo>
                  <a:lnTo>
                    <a:pt x="766" y="412"/>
                  </a:lnTo>
                  <a:lnTo>
                    <a:pt x="770" y="414"/>
                  </a:lnTo>
                  <a:lnTo>
                    <a:pt x="770" y="414"/>
                  </a:lnTo>
                  <a:lnTo>
                    <a:pt x="770" y="416"/>
                  </a:lnTo>
                  <a:lnTo>
                    <a:pt x="770" y="416"/>
                  </a:lnTo>
                  <a:lnTo>
                    <a:pt x="770" y="416"/>
                  </a:lnTo>
                  <a:lnTo>
                    <a:pt x="770" y="416"/>
                  </a:lnTo>
                  <a:lnTo>
                    <a:pt x="770" y="416"/>
                  </a:lnTo>
                  <a:lnTo>
                    <a:pt x="768" y="416"/>
                  </a:lnTo>
                  <a:lnTo>
                    <a:pt x="768" y="416"/>
                  </a:lnTo>
                  <a:lnTo>
                    <a:pt x="768" y="416"/>
                  </a:lnTo>
                  <a:lnTo>
                    <a:pt x="768" y="416"/>
                  </a:lnTo>
                  <a:lnTo>
                    <a:pt x="768" y="416"/>
                  </a:lnTo>
                  <a:lnTo>
                    <a:pt x="768" y="416"/>
                  </a:lnTo>
                  <a:lnTo>
                    <a:pt x="766" y="416"/>
                  </a:lnTo>
                  <a:lnTo>
                    <a:pt x="766" y="416"/>
                  </a:lnTo>
                  <a:lnTo>
                    <a:pt x="766" y="416"/>
                  </a:lnTo>
                  <a:lnTo>
                    <a:pt x="766" y="416"/>
                  </a:lnTo>
                  <a:lnTo>
                    <a:pt x="766" y="416"/>
                  </a:lnTo>
                  <a:lnTo>
                    <a:pt x="766" y="416"/>
                  </a:lnTo>
                  <a:lnTo>
                    <a:pt x="766" y="416"/>
                  </a:lnTo>
                  <a:lnTo>
                    <a:pt x="766" y="414"/>
                  </a:lnTo>
                  <a:lnTo>
                    <a:pt x="762" y="414"/>
                  </a:lnTo>
                  <a:lnTo>
                    <a:pt x="762" y="414"/>
                  </a:lnTo>
                  <a:lnTo>
                    <a:pt x="760" y="416"/>
                  </a:lnTo>
                  <a:lnTo>
                    <a:pt x="760" y="416"/>
                  </a:lnTo>
                  <a:lnTo>
                    <a:pt x="758" y="420"/>
                  </a:lnTo>
                  <a:lnTo>
                    <a:pt x="758" y="420"/>
                  </a:lnTo>
                  <a:lnTo>
                    <a:pt x="756" y="422"/>
                  </a:lnTo>
                  <a:lnTo>
                    <a:pt x="756" y="422"/>
                  </a:lnTo>
                  <a:lnTo>
                    <a:pt x="756" y="422"/>
                  </a:lnTo>
                  <a:lnTo>
                    <a:pt x="756" y="422"/>
                  </a:lnTo>
                  <a:lnTo>
                    <a:pt x="756" y="422"/>
                  </a:lnTo>
                  <a:lnTo>
                    <a:pt x="756" y="424"/>
                  </a:lnTo>
                  <a:lnTo>
                    <a:pt x="756" y="424"/>
                  </a:lnTo>
                  <a:lnTo>
                    <a:pt x="756" y="426"/>
                  </a:lnTo>
                  <a:lnTo>
                    <a:pt x="758" y="426"/>
                  </a:lnTo>
                  <a:lnTo>
                    <a:pt x="758" y="426"/>
                  </a:lnTo>
                  <a:lnTo>
                    <a:pt x="758" y="426"/>
                  </a:lnTo>
                  <a:lnTo>
                    <a:pt x="756" y="426"/>
                  </a:lnTo>
                  <a:lnTo>
                    <a:pt x="756" y="426"/>
                  </a:lnTo>
                  <a:lnTo>
                    <a:pt x="756" y="426"/>
                  </a:lnTo>
                  <a:lnTo>
                    <a:pt x="756" y="426"/>
                  </a:lnTo>
                  <a:lnTo>
                    <a:pt x="756" y="426"/>
                  </a:lnTo>
                  <a:lnTo>
                    <a:pt x="756" y="426"/>
                  </a:lnTo>
                  <a:lnTo>
                    <a:pt x="756" y="426"/>
                  </a:lnTo>
                  <a:lnTo>
                    <a:pt x="756" y="426"/>
                  </a:lnTo>
                  <a:lnTo>
                    <a:pt x="756" y="428"/>
                  </a:lnTo>
                  <a:lnTo>
                    <a:pt x="756" y="428"/>
                  </a:lnTo>
                  <a:lnTo>
                    <a:pt x="756" y="428"/>
                  </a:lnTo>
                  <a:lnTo>
                    <a:pt x="756" y="428"/>
                  </a:lnTo>
                  <a:lnTo>
                    <a:pt x="756" y="428"/>
                  </a:lnTo>
                  <a:lnTo>
                    <a:pt x="756" y="428"/>
                  </a:lnTo>
                  <a:lnTo>
                    <a:pt x="754" y="428"/>
                  </a:lnTo>
                  <a:lnTo>
                    <a:pt x="756" y="430"/>
                  </a:lnTo>
                  <a:lnTo>
                    <a:pt x="756" y="430"/>
                  </a:lnTo>
                  <a:lnTo>
                    <a:pt x="756" y="432"/>
                  </a:lnTo>
                  <a:lnTo>
                    <a:pt x="756" y="432"/>
                  </a:lnTo>
                  <a:lnTo>
                    <a:pt x="756" y="434"/>
                  </a:lnTo>
                  <a:lnTo>
                    <a:pt x="756" y="434"/>
                  </a:lnTo>
                  <a:lnTo>
                    <a:pt x="758" y="434"/>
                  </a:lnTo>
                  <a:lnTo>
                    <a:pt x="760" y="432"/>
                  </a:lnTo>
                  <a:lnTo>
                    <a:pt x="760" y="432"/>
                  </a:lnTo>
                  <a:lnTo>
                    <a:pt x="762" y="430"/>
                  </a:lnTo>
                  <a:lnTo>
                    <a:pt x="762" y="430"/>
                  </a:lnTo>
                  <a:lnTo>
                    <a:pt x="764" y="430"/>
                  </a:lnTo>
                  <a:lnTo>
                    <a:pt x="764" y="430"/>
                  </a:lnTo>
                  <a:lnTo>
                    <a:pt x="758" y="437"/>
                  </a:lnTo>
                  <a:lnTo>
                    <a:pt x="756" y="437"/>
                  </a:lnTo>
                  <a:lnTo>
                    <a:pt x="756" y="437"/>
                  </a:lnTo>
                  <a:lnTo>
                    <a:pt x="754" y="437"/>
                  </a:lnTo>
                  <a:lnTo>
                    <a:pt x="754" y="437"/>
                  </a:lnTo>
                  <a:lnTo>
                    <a:pt x="754" y="439"/>
                  </a:lnTo>
                  <a:lnTo>
                    <a:pt x="754" y="439"/>
                  </a:lnTo>
                  <a:lnTo>
                    <a:pt x="754" y="439"/>
                  </a:lnTo>
                  <a:lnTo>
                    <a:pt x="754" y="439"/>
                  </a:lnTo>
                  <a:lnTo>
                    <a:pt x="754" y="439"/>
                  </a:lnTo>
                  <a:lnTo>
                    <a:pt x="756" y="439"/>
                  </a:lnTo>
                  <a:lnTo>
                    <a:pt x="756" y="441"/>
                  </a:lnTo>
                  <a:lnTo>
                    <a:pt x="754" y="441"/>
                  </a:lnTo>
                  <a:lnTo>
                    <a:pt x="754" y="443"/>
                  </a:lnTo>
                  <a:lnTo>
                    <a:pt x="754" y="443"/>
                  </a:lnTo>
                  <a:lnTo>
                    <a:pt x="756" y="443"/>
                  </a:lnTo>
                  <a:lnTo>
                    <a:pt x="756" y="443"/>
                  </a:lnTo>
                  <a:lnTo>
                    <a:pt x="756" y="443"/>
                  </a:lnTo>
                  <a:lnTo>
                    <a:pt x="758" y="443"/>
                  </a:lnTo>
                  <a:lnTo>
                    <a:pt x="758" y="443"/>
                  </a:lnTo>
                  <a:lnTo>
                    <a:pt x="758" y="441"/>
                  </a:lnTo>
                  <a:lnTo>
                    <a:pt x="758" y="441"/>
                  </a:lnTo>
                  <a:lnTo>
                    <a:pt x="758" y="441"/>
                  </a:lnTo>
                  <a:lnTo>
                    <a:pt x="758" y="443"/>
                  </a:lnTo>
                  <a:lnTo>
                    <a:pt x="758" y="443"/>
                  </a:lnTo>
                  <a:lnTo>
                    <a:pt x="758" y="445"/>
                  </a:lnTo>
                  <a:lnTo>
                    <a:pt x="758" y="445"/>
                  </a:lnTo>
                  <a:lnTo>
                    <a:pt x="760" y="445"/>
                  </a:lnTo>
                  <a:lnTo>
                    <a:pt x="760" y="445"/>
                  </a:lnTo>
                  <a:lnTo>
                    <a:pt x="760" y="447"/>
                  </a:lnTo>
                  <a:lnTo>
                    <a:pt x="758" y="447"/>
                  </a:lnTo>
                  <a:lnTo>
                    <a:pt x="758" y="447"/>
                  </a:lnTo>
                  <a:lnTo>
                    <a:pt x="758" y="447"/>
                  </a:lnTo>
                  <a:lnTo>
                    <a:pt x="758" y="447"/>
                  </a:lnTo>
                  <a:lnTo>
                    <a:pt x="756" y="447"/>
                  </a:lnTo>
                  <a:lnTo>
                    <a:pt x="756" y="449"/>
                  </a:lnTo>
                  <a:lnTo>
                    <a:pt x="756" y="449"/>
                  </a:lnTo>
                  <a:lnTo>
                    <a:pt x="756" y="447"/>
                  </a:lnTo>
                  <a:lnTo>
                    <a:pt x="756" y="447"/>
                  </a:lnTo>
                  <a:lnTo>
                    <a:pt x="758" y="447"/>
                  </a:lnTo>
                  <a:lnTo>
                    <a:pt x="758" y="447"/>
                  </a:lnTo>
                  <a:lnTo>
                    <a:pt x="758" y="445"/>
                  </a:lnTo>
                  <a:lnTo>
                    <a:pt x="758" y="445"/>
                  </a:lnTo>
                  <a:lnTo>
                    <a:pt x="756" y="445"/>
                  </a:lnTo>
                  <a:lnTo>
                    <a:pt x="756" y="445"/>
                  </a:lnTo>
                  <a:lnTo>
                    <a:pt x="756" y="445"/>
                  </a:lnTo>
                  <a:lnTo>
                    <a:pt x="756" y="443"/>
                  </a:lnTo>
                  <a:lnTo>
                    <a:pt x="754" y="443"/>
                  </a:lnTo>
                  <a:lnTo>
                    <a:pt x="754" y="443"/>
                  </a:lnTo>
                  <a:lnTo>
                    <a:pt x="754" y="441"/>
                  </a:lnTo>
                  <a:lnTo>
                    <a:pt x="754" y="441"/>
                  </a:lnTo>
                  <a:lnTo>
                    <a:pt x="754" y="441"/>
                  </a:lnTo>
                  <a:lnTo>
                    <a:pt x="754" y="441"/>
                  </a:lnTo>
                  <a:lnTo>
                    <a:pt x="754" y="441"/>
                  </a:lnTo>
                  <a:lnTo>
                    <a:pt x="754" y="439"/>
                  </a:lnTo>
                  <a:lnTo>
                    <a:pt x="754" y="439"/>
                  </a:lnTo>
                  <a:lnTo>
                    <a:pt x="752" y="439"/>
                  </a:lnTo>
                  <a:lnTo>
                    <a:pt x="750" y="439"/>
                  </a:lnTo>
                  <a:lnTo>
                    <a:pt x="750" y="439"/>
                  </a:lnTo>
                  <a:lnTo>
                    <a:pt x="748" y="439"/>
                  </a:lnTo>
                  <a:lnTo>
                    <a:pt x="748" y="439"/>
                  </a:lnTo>
                  <a:lnTo>
                    <a:pt x="746" y="441"/>
                  </a:lnTo>
                  <a:lnTo>
                    <a:pt x="743" y="443"/>
                  </a:lnTo>
                  <a:lnTo>
                    <a:pt x="741" y="443"/>
                  </a:lnTo>
                  <a:lnTo>
                    <a:pt x="741" y="445"/>
                  </a:lnTo>
                  <a:lnTo>
                    <a:pt x="741" y="445"/>
                  </a:lnTo>
                  <a:lnTo>
                    <a:pt x="741" y="447"/>
                  </a:lnTo>
                  <a:lnTo>
                    <a:pt x="737" y="449"/>
                  </a:lnTo>
                  <a:lnTo>
                    <a:pt x="733" y="455"/>
                  </a:lnTo>
                  <a:lnTo>
                    <a:pt x="731" y="455"/>
                  </a:lnTo>
                  <a:lnTo>
                    <a:pt x="731" y="457"/>
                  </a:lnTo>
                  <a:lnTo>
                    <a:pt x="729" y="457"/>
                  </a:lnTo>
                  <a:lnTo>
                    <a:pt x="729" y="457"/>
                  </a:lnTo>
                  <a:lnTo>
                    <a:pt x="729" y="457"/>
                  </a:lnTo>
                  <a:lnTo>
                    <a:pt x="729" y="459"/>
                  </a:lnTo>
                  <a:lnTo>
                    <a:pt x="729" y="459"/>
                  </a:lnTo>
                  <a:lnTo>
                    <a:pt x="729" y="459"/>
                  </a:lnTo>
                  <a:lnTo>
                    <a:pt x="727" y="461"/>
                  </a:lnTo>
                  <a:lnTo>
                    <a:pt x="727" y="463"/>
                  </a:lnTo>
                  <a:lnTo>
                    <a:pt x="727" y="463"/>
                  </a:lnTo>
                  <a:lnTo>
                    <a:pt x="727" y="465"/>
                  </a:lnTo>
                  <a:lnTo>
                    <a:pt x="727" y="467"/>
                  </a:lnTo>
                  <a:lnTo>
                    <a:pt x="729" y="467"/>
                  </a:lnTo>
                  <a:lnTo>
                    <a:pt x="729" y="469"/>
                  </a:lnTo>
                  <a:lnTo>
                    <a:pt x="729" y="471"/>
                  </a:lnTo>
                  <a:lnTo>
                    <a:pt x="729" y="471"/>
                  </a:lnTo>
                  <a:lnTo>
                    <a:pt x="729" y="471"/>
                  </a:lnTo>
                  <a:lnTo>
                    <a:pt x="727" y="471"/>
                  </a:lnTo>
                  <a:lnTo>
                    <a:pt x="727" y="471"/>
                  </a:lnTo>
                  <a:lnTo>
                    <a:pt x="725" y="471"/>
                  </a:lnTo>
                  <a:lnTo>
                    <a:pt x="725" y="471"/>
                  </a:lnTo>
                  <a:lnTo>
                    <a:pt x="725" y="471"/>
                  </a:lnTo>
                  <a:lnTo>
                    <a:pt x="723" y="471"/>
                  </a:lnTo>
                  <a:lnTo>
                    <a:pt x="723" y="471"/>
                  </a:lnTo>
                  <a:lnTo>
                    <a:pt x="721" y="471"/>
                  </a:lnTo>
                  <a:lnTo>
                    <a:pt x="717" y="471"/>
                  </a:lnTo>
                  <a:lnTo>
                    <a:pt x="717" y="473"/>
                  </a:lnTo>
                  <a:lnTo>
                    <a:pt x="719" y="473"/>
                  </a:lnTo>
                  <a:lnTo>
                    <a:pt x="719" y="475"/>
                  </a:lnTo>
                  <a:lnTo>
                    <a:pt x="719" y="475"/>
                  </a:lnTo>
                  <a:lnTo>
                    <a:pt x="719" y="477"/>
                  </a:lnTo>
                  <a:lnTo>
                    <a:pt x="721" y="477"/>
                  </a:lnTo>
                  <a:lnTo>
                    <a:pt x="721" y="477"/>
                  </a:lnTo>
                  <a:lnTo>
                    <a:pt x="721" y="477"/>
                  </a:lnTo>
                  <a:lnTo>
                    <a:pt x="721" y="477"/>
                  </a:lnTo>
                  <a:lnTo>
                    <a:pt x="721" y="477"/>
                  </a:lnTo>
                  <a:lnTo>
                    <a:pt x="723" y="477"/>
                  </a:lnTo>
                  <a:lnTo>
                    <a:pt x="723" y="480"/>
                  </a:lnTo>
                  <a:lnTo>
                    <a:pt x="723" y="480"/>
                  </a:lnTo>
                  <a:lnTo>
                    <a:pt x="723" y="480"/>
                  </a:lnTo>
                  <a:lnTo>
                    <a:pt x="725" y="480"/>
                  </a:lnTo>
                  <a:lnTo>
                    <a:pt x="723" y="480"/>
                  </a:lnTo>
                  <a:lnTo>
                    <a:pt x="717" y="480"/>
                  </a:lnTo>
                  <a:lnTo>
                    <a:pt x="717" y="480"/>
                  </a:lnTo>
                  <a:lnTo>
                    <a:pt x="717" y="480"/>
                  </a:lnTo>
                  <a:lnTo>
                    <a:pt x="715" y="480"/>
                  </a:lnTo>
                  <a:lnTo>
                    <a:pt x="715" y="480"/>
                  </a:lnTo>
                  <a:lnTo>
                    <a:pt x="715" y="480"/>
                  </a:lnTo>
                  <a:lnTo>
                    <a:pt x="715" y="480"/>
                  </a:lnTo>
                  <a:lnTo>
                    <a:pt x="715" y="480"/>
                  </a:lnTo>
                  <a:lnTo>
                    <a:pt x="715" y="475"/>
                  </a:lnTo>
                  <a:lnTo>
                    <a:pt x="715" y="475"/>
                  </a:lnTo>
                  <a:lnTo>
                    <a:pt x="715" y="477"/>
                  </a:lnTo>
                  <a:lnTo>
                    <a:pt x="715" y="477"/>
                  </a:lnTo>
                  <a:lnTo>
                    <a:pt x="715" y="480"/>
                  </a:lnTo>
                  <a:lnTo>
                    <a:pt x="713" y="482"/>
                  </a:lnTo>
                  <a:lnTo>
                    <a:pt x="713" y="482"/>
                  </a:lnTo>
                  <a:lnTo>
                    <a:pt x="713" y="482"/>
                  </a:lnTo>
                  <a:lnTo>
                    <a:pt x="713" y="482"/>
                  </a:lnTo>
                  <a:lnTo>
                    <a:pt x="713" y="482"/>
                  </a:lnTo>
                  <a:lnTo>
                    <a:pt x="713" y="486"/>
                  </a:lnTo>
                  <a:lnTo>
                    <a:pt x="715" y="488"/>
                  </a:lnTo>
                  <a:lnTo>
                    <a:pt x="715" y="488"/>
                  </a:lnTo>
                  <a:lnTo>
                    <a:pt x="715" y="488"/>
                  </a:lnTo>
                  <a:lnTo>
                    <a:pt x="715" y="488"/>
                  </a:lnTo>
                  <a:lnTo>
                    <a:pt x="715" y="486"/>
                  </a:lnTo>
                  <a:lnTo>
                    <a:pt x="715" y="486"/>
                  </a:lnTo>
                  <a:lnTo>
                    <a:pt x="717" y="486"/>
                  </a:lnTo>
                  <a:lnTo>
                    <a:pt x="719" y="486"/>
                  </a:lnTo>
                  <a:lnTo>
                    <a:pt x="719" y="486"/>
                  </a:lnTo>
                  <a:lnTo>
                    <a:pt x="721" y="486"/>
                  </a:lnTo>
                  <a:lnTo>
                    <a:pt x="721" y="486"/>
                  </a:lnTo>
                  <a:lnTo>
                    <a:pt x="721" y="486"/>
                  </a:lnTo>
                  <a:lnTo>
                    <a:pt x="721" y="488"/>
                  </a:lnTo>
                  <a:lnTo>
                    <a:pt x="723" y="488"/>
                  </a:lnTo>
                  <a:lnTo>
                    <a:pt x="723" y="490"/>
                  </a:lnTo>
                  <a:lnTo>
                    <a:pt x="723" y="490"/>
                  </a:lnTo>
                  <a:lnTo>
                    <a:pt x="723" y="490"/>
                  </a:lnTo>
                  <a:lnTo>
                    <a:pt x="723" y="490"/>
                  </a:lnTo>
                  <a:lnTo>
                    <a:pt x="721" y="492"/>
                  </a:lnTo>
                  <a:lnTo>
                    <a:pt x="721" y="492"/>
                  </a:lnTo>
                  <a:lnTo>
                    <a:pt x="721" y="492"/>
                  </a:lnTo>
                  <a:lnTo>
                    <a:pt x="721" y="492"/>
                  </a:lnTo>
                  <a:lnTo>
                    <a:pt x="719" y="492"/>
                  </a:lnTo>
                  <a:lnTo>
                    <a:pt x="719" y="492"/>
                  </a:lnTo>
                  <a:lnTo>
                    <a:pt x="717" y="494"/>
                  </a:lnTo>
                  <a:lnTo>
                    <a:pt x="719" y="496"/>
                  </a:lnTo>
                  <a:lnTo>
                    <a:pt x="719" y="498"/>
                  </a:lnTo>
                  <a:lnTo>
                    <a:pt x="719" y="498"/>
                  </a:lnTo>
                  <a:lnTo>
                    <a:pt x="723" y="500"/>
                  </a:lnTo>
                  <a:lnTo>
                    <a:pt x="723" y="500"/>
                  </a:lnTo>
                  <a:lnTo>
                    <a:pt x="725" y="500"/>
                  </a:lnTo>
                  <a:lnTo>
                    <a:pt x="723" y="500"/>
                  </a:lnTo>
                  <a:lnTo>
                    <a:pt x="723" y="502"/>
                  </a:lnTo>
                  <a:lnTo>
                    <a:pt x="723" y="502"/>
                  </a:lnTo>
                  <a:lnTo>
                    <a:pt x="725" y="502"/>
                  </a:lnTo>
                  <a:lnTo>
                    <a:pt x="723" y="502"/>
                  </a:lnTo>
                  <a:lnTo>
                    <a:pt x="723" y="502"/>
                  </a:lnTo>
                  <a:lnTo>
                    <a:pt x="723" y="502"/>
                  </a:lnTo>
                  <a:lnTo>
                    <a:pt x="723" y="504"/>
                  </a:lnTo>
                  <a:lnTo>
                    <a:pt x="723" y="504"/>
                  </a:lnTo>
                  <a:lnTo>
                    <a:pt x="723" y="504"/>
                  </a:lnTo>
                  <a:lnTo>
                    <a:pt x="723" y="504"/>
                  </a:lnTo>
                  <a:lnTo>
                    <a:pt x="723" y="504"/>
                  </a:lnTo>
                  <a:lnTo>
                    <a:pt x="723" y="506"/>
                  </a:lnTo>
                  <a:lnTo>
                    <a:pt x="723" y="506"/>
                  </a:lnTo>
                  <a:lnTo>
                    <a:pt x="723" y="506"/>
                  </a:lnTo>
                  <a:lnTo>
                    <a:pt x="723" y="506"/>
                  </a:lnTo>
                  <a:lnTo>
                    <a:pt x="723" y="506"/>
                  </a:lnTo>
                  <a:lnTo>
                    <a:pt x="723" y="508"/>
                  </a:lnTo>
                  <a:lnTo>
                    <a:pt x="723" y="508"/>
                  </a:lnTo>
                  <a:lnTo>
                    <a:pt x="723" y="510"/>
                  </a:lnTo>
                  <a:lnTo>
                    <a:pt x="725" y="510"/>
                  </a:lnTo>
                  <a:lnTo>
                    <a:pt x="725" y="510"/>
                  </a:lnTo>
                  <a:lnTo>
                    <a:pt x="727" y="512"/>
                  </a:lnTo>
                  <a:lnTo>
                    <a:pt x="727" y="512"/>
                  </a:lnTo>
                  <a:lnTo>
                    <a:pt x="729" y="512"/>
                  </a:lnTo>
                  <a:lnTo>
                    <a:pt x="729" y="512"/>
                  </a:lnTo>
                  <a:lnTo>
                    <a:pt x="729" y="510"/>
                  </a:lnTo>
                  <a:lnTo>
                    <a:pt x="729" y="510"/>
                  </a:lnTo>
                  <a:lnTo>
                    <a:pt x="729" y="510"/>
                  </a:lnTo>
                  <a:lnTo>
                    <a:pt x="729" y="508"/>
                  </a:lnTo>
                  <a:lnTo>
                    <a:pt x="729" y="508"/>
                  </a:lnTo>
                  <a:lnTo>
                    <a:pt x="729" y="506"/>
                  </a:lnTo>
                  <a:lnTo>
                    <a:pt x="729" y="504"/>
                  </a:lnTo>
                  <a:lnTo>
                    <a:pt x="731" y="504"/>
                  </a:lnTo>
                  <a:lnTo>
                    <a:pt x="731" y="504"/>
                  </a:lnTo>
                  <a:lnTo>
                    <a:pt x="733" y="502"/>
                  </a:lnTo>
                  <a:lnTo>
                    <a:pt x="733" y="502"/>
                  </a:lnTo>
                  <a:lnTo>
                    <a:pt x="733" y="502"/>
                  </a:lnTo>
                  <a:lnTo>
                    <a:pt x="733" y="502"/>
                  </a:lnTo>
                  <a:lnTo>
                    <a:pt x="733" y="502"/>
                  </a:lnTo>
                  <a:lnTo>
                    <a:pt x="733" y="500"/>
                  </a:lnTo>
                  <a:lnTo>
                    <a:pt x="733" y="500"/>
                  </a:lnTo>
                  <a:lnTo>
                    <a:pt x="733" y="500"/>
                  </a:lnTo>
                  <a:lnTo>
                    <a:pt x="733" y="500"/>
                  </a:lnTo>
                  <a:lnTo>
                    <a:pt x="733" y="500"/>
                  </a:lnTo>
                  <a:lnTo>
                    <a:pt x="733" y="500"/>
                  </a:lnTo>
                  <a:lnTo>
                    <a:pt x="733" y="498"/>
                  </a:lnTo>
                  <a:lnTo>
                    <a:pt x="733" y="498"/>
                  </a:lnTo>
                  <a:lnTo>
                    <a:pt x="733" y="498"/>
                  </a:lnTo>
                  <a:lnTo>
                    <a:pt x="733" y="498"/>
                  </a:lnTo>
                  <a:lnTo>
                    <a:pt x="735" y="498"/>
                  </a:lnTo>
                  <a:lnTo>
                    <a:pt x="735" y="498"/>
                  </a:lnTo>
                  <a:lnTo>
                    <a:pt x="735" y="498"/>
                  </a:lnTo>
                  <a:lnTo>
                    <a:pt x="735" y="496"/>
                  </a:lnTo>
                  <a:lnTo>
                    <a:pt x="735" y="496"/>
                  </a:lnTo>
                  <a:lnTo>
                    <a:pt x="737" y="496"/>
                  </a:lnTo>
                  <a:lnTo>
                    <a:pt x="737" y="494"/>
                  </a:lnTo>
                  <a:lnTo>
                    <a:pt x="737" y="496"/>
                  </a:lnTo>
                  <a:lnTo>
                    <a:pt x="737" y="496"/>
                  </a:lnTo>
                  <a:lnTo>
                    <a:pt x="737" y="496"/>
                  </a:lnTo>
                  <a:lnTo>
                    <a:pt x="739" y="496"/>
                  </a:lnTo>
                  <a:lnTo>
                    <a:pt x="739" y="496"/>
                  </a:lnTo>
                  <a:lnTo>
                    <a:pt x="739" y="494"/>
                  </a:lnTo>
                  <a:lnTo>
                    <a:pt x="739" y="494"/>
                  </a:lnTo>
                  <a:lnTo>
                    <a:pt x="739" y="494"/>
                  </a:lnTo>
                  <a:lnTo>
                    <a:pt x="739" y="494"/>
                  </a:lnTo>
                  <a:lnTo>
                    <a:pt x="739" y="494"/>
                  </a:lnTo>
                  <a:lnTo>
                    <a:pt x="739" y="494"/>
                  </a:lnTo>
                  <a:lnTo>
                    <a:pt x="739" y="494"/>
                  </a:lnTo>
                  <a:lnTo>
                    <a:pt x="739" y="494"/>
                  </a:lnTo>
                  <a:lnTo>
                    <a:pt x="739" y="494"/>
                  </a:lnTo>
                  <a:lnTo>
                    <a:pt x="739" y="494"/>
                  </a:lnTo>
                  <a:lnTo>
                    <a:pt x="741" y="492"/>
                  </a:lnTo>
                  <a:lnTo>
                    <a:pt x="741" y="492"/>
                  </a:lnTo>
                  <a:lnTo>
                    <a:pt x="741" y="492"/>
                  </a:lnTo>
                  <a:lnTo>
                    <a:pt x="741" y="492"/>
                  </a:lnTo>
                  <a:lnTo>
                    <a:pt x="741" y="492"/>
                  </a:lnTo>
                  <a:lnTo>
                    <a:pt x="743" y="492"/>
                  </a:lnTo>
                  <a:lnTo>
                    <a:pt x="743" y="492"/>
                  </a:lnTo>
                  <a:lnTo>
                    <a:pt x="746" y="490"/>
                  </a:lnTo>
                  <a:lnTo>
                    <a:pt x="748" y="488"/>
                  </a:lnTo>
                  <a:lnTo>
                    <a:pt x="748" y="488"/>
                  </a:lnTo>
                  <a:lnTo>
                    <a:pt x="748" y="488"/>
                  </a:lnTo>
                  <a:lnTo>
                    <a:pt x="748" y="488"/>
                  </a:lnTo>
                  <a:lnTo>
                    <a:pt x="748" y="488"/>
                  </a:lnTo>
                  <a:lnTo>
                    <a:pt x="748" y="488"/>
                  </a:lnTo>
                  <a:lnTo>
                    <a:pt x="748" y="488"/>
                  </a:lnTo>
                  <a:lnTo>
                    <a:pt x="748" y="488"/>
                  </a:lnTo>
                  <a:lnTo>
                    <a:pt x="748" y="486"/>
                  </a:lnTo>
                  <a:lnTo>
                    <a:pt x="748" y="486"/>
                  </a:lnTo>
                  <a:lnTo>
                    <a:pt x="748" y="486"/>
                  </a:lnTo>
                  <a:lnTo>
                    <a:pt x="750" y="488"/>
                  </a:lnTo>
                  <a:lnTo>
                    <a:pt x="750" y="488"/>
                  </a:lnTo>
                  <a:lnTo>
                    <a:pt x="750" y="488"/>
                  </a:lnTo>
                  <a:lnTo>
                    <a:pt x="748" y="488"/>
                  </a:lnTo>
                  <a:lnTo>
                    <a:pt x="748" y="490"/>
                  </a:lnTo>
                  <a:lnTo>
                    <a:pt x="748" y="490"/>
                  </a:lnTo>
                  <a:lnTo>
                    <a:pt x="748" y="492"/>
                  </a:lnTo>
                  <a:lnTo>
                    <a:pt x="748" y="492"/>
                  </a:lnTo>
                  <a:lnTo>
                    <a:pt x="746" y="492"/>
                  </a:lnTo>
                  <a:lnTo>
                    <a:pt x="746" y="492"/>
                  </a:lnTo>
                  <a:lnTo>
                    <a:pt x="746" y="492"/>
                  </a:lnTo>
                  <a:lnTo>
                    <a:pt x="746" y="492"/>
                  </a:lnTo>
                  <a:lnTo>
                    <a:pt x="746" y="492"/>
                  </a:lnTo>
                  <a:lnTo>
                    <a:pt x="746" y="492"/>
                  </a:lnTo>
                  <a:lnTo>
                    <a:pt x="746" y="494"/>
                  </a:lnTo>
                  <a:lnTo>
                    <a:pt x="743" y="492"/>
                  </a:lnTo>
                  <a:lnTo>
                    <a:pt x="741" y="492"/>
                  </a:lnTo>
                  <a:lnTo>
                    <a:pt x="741" y="494"/>
                  </a:lnTo>
                  <a:lnTo>
                    <a:pt x="741" y="494"/>
                  </a:lnTo>
                  <a:lnTo>
                    <a:pt x="741" y="494"/>
                  </a:lnTo>
                  <a:lnTo>
                    <a:pt x="741" y="494"/>
                  </a:lnTo>
                  <a:lnTo>
                    <a:pt x="741" y="494"/>
                  </a:lnTo>
                  <a:lnTo>
                    <a:pt x="739" y="494"/>
                  </a:lnTo>
                  <a:lnTo>
                    <a:pt x="739" y="494"/>
                  </a:lnTo>
                  <a:lnTo>
                    <a:pt x="739" y="496"/>
                  </a:lnTo>
                  <a:lnTo>
                    <a:pt x="739" y="496"/>
                  </a:lnTo>
                  <a:lnTo>
                    <a:pt x="737" y="496"/>
                  </a:lnTo>
                  <a:lnTo>
                    <a:pt x="735" y="496"/>
                  </a:lnTo>
                  <a:lnTo>
                    <a:pt x="735" y="498"/>
                  </a:lnTo>
                  <a:lnTo>
                    <a:pt x="735" y="498"/>
                  </a:lnTo>
                  <a:lnTo>
                    <a:pt x="735" y="498"/>
                  </a:lnTo>
                  <a:lnTo>
                    <a:pt x="735" y="498"/>
                  </a:lnTo>
                  <a:lnTo>
                    <a:pt x="735" y="500"/>
                  </a:lnTo>
                  <a:lnTo>
                    <a:pt x="735" y="500"/>
                  </a:lnTo>
                  <a:lnTo>
                    <a:pt x="733" y="500"/>
                  </a:lnTo>
                  <a:lnTo>
                    <a:pt x="733" y="500"/>
                  </a:lnTo>
                  <a:lnTo>
                    <a:pt x="735" y="500"/>
                  </a:lnTo>
                  <a:lnTo>
                    <a:pt x="735" y="500"/>
                  </a:lnTo>
                  <a:lnTo>
                    <a:pt x="735" y="502"/>
                  </a:lnTo>
                  <a:lnTo>
                    <a:pt x="735" y="502"/>
                  </a:lnTo>
                  <a:lnTo>
                    <a:pt x="733" y="502"/>
                  </a:lnTo>
                  <a:lnTo>
                    <a:pt x="733" y="504"/>
                  </a:lnTo>
                  <a:lnTo>
                    <a:pt x="733" y="504"/>
                  </a:lnTo>
                  <a:lnTo>
                    <a:pt x="733" y="504"/>
                  </a:lnTo>
                  <a:lnTo>
                    <a:pt x="731" y="504"/>
                  </a:lnTo>
                  <a:lnTo>
                    <a:pt x="731" y="504"/>
                  </a:lnTo>
                  <a:lnTo>
                    <a:pt x="729" y="506"/>
                  </a:lnTo>
                  <a:lnTo>
                    <a:pt x="729" y="506"/>
                  </a:lnTo>
                  <a:lnTo>
                    <a:pt x="729" y="506"/>
                  </a:lnTo>
                  <a:lnTo>
                    <a:pt x="733" y="510"/>
                  </a:lnTo>
                  <a:lnTo>
                    <a:pt x="735" y="508"/>
                  </a:lnTo>
                  <a:lnTo>
                    <a:pt x="735" y="508"/>
                  </a:lnTo>
                  <a:lnTo>
                    <a:pt x="735" y="508"/>
                  </a:lnTo>
                  <a:lnTo>
                    <a:pt x="735" y="508"/>
                  </a:lnTo>
                  <a:lnTo>
                    <a:pt x="735" y="508"/>
                  </a:lnTo>
                  <a:lnTo>
                    <a:pt x="735" y="506"/>
                  </a:lnTo>
                  <a:lnTo>
                    <a:pt x="735" y="506"/>
                  </a:lnTo>
                  <a:lnTo>
                    <a:pt x="735" y="506"/>
                  </a:lnTo>
                  <a:lnTo>
                    <a:pt x="737" y="506"/>
                  </a:lnTo>
                  <a:lnTo>
                    <a:pt x="735" y="506"/>
                  </a:lnTo>
                  <a:lnTo>
                    <a:pt x="735" y="506"/>
                  </a:lnTo>
                  <a:lnTo>
                    <a:pt x="735" y="504"/>
                  </a:lnTo>
                  <a:lnTo>
                    <a:pt x="735" y="504"/>
                  </a:lnTo>
                  <a:lnTo>
                    <a:pt x="737" y="506"/>
                  </a:lnTo>
                  <a:lnTo>
                    <a:pt x="735" y="506"/>
                  </a:lnTo>
                  <a:lnTo>
                    <a:pt x="735" y="508"/>
                  </a:lnTo>
                  <a:lnTo>
                    <a:pt x="735" y="510"/>
                  </a:lnTo>
                  <a:lnTo>
                    <a:pt x="735" y="510"/>
                  </a:lnTo>
                  <a:lnTo>
                    <a:pt x="733" y="510"/>
                  </a:lnTo>
                  <a:lnTo>
                    <a:pt x="733" y="510"/>
                  </a:lnTo>
                  <a:lnTo>
                    <a:pt x="733" y="510"/>
                  </a:lnTo>
                  <a:lnTo>
                    <a:pt x="735" y="512"/>
                  </a:lnTo>
                  <a:lnTo>
                    <a:pt x="735" y="512"/>
                  </a:lnTo>
                  <a:lnTo>
                    <a:pt x="735" y="512"/>
                  </a:lnTo>
                  <a:lnTo>
                    <a:pt x="735" y="514"/>
                  </a:lnTo>
                  <a:lnTo>
                    <a:pt x="735" y="514"/>
                  </a:lnTo>
                  <a:lnTo>
                    <a:pt x="737" y="514"/>
                  </a:lnTo>
                  <a:lnTo>
                    <a:pt x="737" y="514"/>
                  </a:lnTo>
                  <a:lnTo>
                    <a:pt x="737" y="514"/>
                  </a:lnTo>
                  <a:lnTo>
                    <a:pt x="737" y="512"/>
                  </a:lnTo>
                  <a:lnTo>
                    <a:pt x="737" y="512"/>
                  </a:lnTo>
                  <a:lnTo>
                    <a:pt x="739" y="512"/>
                  </a:lnTo>
                  <a:lnTo>
                    <a:pt x="741" y="512"/>
                  </a:lnTo>
                  <a:lnTo>
                    <a:pt x="743" y="512"/>
                  </a:lnTo>
                  <a:lnTo>
                    <a:pt x="743" y="512"/>
                  </a:lnTo>
                  <a:lnTo>
                    <a:pt x="743" y="512"/>
                  </a:lnTo>
                  <a:lnTo>
                    <a:pt x="743" y="514"/>
                  </a:lnTo>
                  <a:lnTo>
                    <a:pt x="741" y="514"/>
                  </a:lnTo>
                  <a:lnTo>
                    <a:pt x="741" y="514"/>
                  </a:lnTo>
                  <a:lnTo>
                    <a:pt x="741" y="514"/>
                  </a:lnTo>
                  <a:lnTo>
                    <a:pt x="741" y="514"/>
                  </a:lnTo>
                  <a:lnTo>
                    <a:pt x="739" y="514"/>
                  </a:lnTo>
                  <a:lnTo>
                    <a:pt x="739" y="514"/>
                  </a:lnTo>
                  <a:lnTo>
                    <a:pt x="739" y="514"/>
                  </a:lnTo>
                  <a:lnTo>
                    <a:pt x="739" y="514"/>
                  </a:lnTo>
                  <a:lnTo>
                    <a:pt x="737" y="516"/>
                  </a:lnTo>
                  <a:lnTo>
                    <a:pt x="737" y="516"/>
                  </a:lnTo>
                  <a:lnTo>
                    <a:pt x="735" y="516"/>
                  </a:lnTo>
                  <a:lnTo>
                    <a:pt x="733" y="516"/>
                  </a:lnTo>
                  <a:lnTo>
                    <a:pt x="731" y="518"/>
                  </a:lnTo>
                  <a:lnTo>
                    <a:pt x="731" y="521"/>
                  </a:lnTo>
                  <a:lnTo>
                    <a:pt x="733" y="521"/>
                  </a:lnTo>
                  <a:lnTo>
                    <a:pt x="733" y="523"/>
                  </a:lnTo>
                  <a:lnTo>
                    <a:pt x="735" y="523"/>
                  </a:lnTo>
                  <a:lnTo>
                    <a:pt x="735" y="523"/>
                  </a:lnTo>
                  <a:lnTo>
                    <a:pt x="737" y="521"/>
                  </a:lnTo>
                  <a:lnTo>
                    <a:pt x="737" y="521"/>
                  </a:lnTo>
                  <a:lnTo>
                    <a:pt x="739" y="521"/>
                  </a:lnTo>
                  <a:lnTo>
                    <a:pt x="739" y="521"/>
                  </a:lnTo>
                  <a:lnTo>
                    <a:pt x="739" y="521"/>
                  </a:lnTo>
                  <a:lnTo>
                    <a:pt x="739" y="523"/>
                  </a:lnTo>
                  <a:lnTo>
                    <a:pt x="741" y="523"/>
                  </a:lnTo>
                  <a:lnTo>
                    <a:pt x="741" y="525"/>
                  </a:lnTo>
                  <a:lnTo>
                    <a:pt x="741" y="525"/>
                  </a:lnTo>
                  <a:lnTo>
                    <a:pt x="741" y="523"/>
                  </a:lnTo>
                  <a:lnTo>
                    <a:pt x="743" y="523"/>
                  </a:lnTo>
                  <a:lnTo>
                    <a:pt x="743" y="523"/>
                  </a:lnTo>
                  <a:lnTo>
                    <a:pt x="743" y="523"/>
                  </a:lnTo>
                  <a:lnTo>
                    <a:pt x="746" y="523"/>
                  </a:lnTo>
                  <a:lnTo>
                    <a:pt x="746" y="523"/>
                  </a:lnTo>
                  <a:lnTo>
                    <a:pt x="746" y="525"/>
                  </a:lnTo>
                  <a:lnTo>
                    <a:pt x="746" y="525"/>
                  </a:lnTo>
                  <a:lnTo>
                    <a:pt x="746" y="527"/>
                  </a:lnTo>
                  <a:lnTo>
                    <a:pt x="746" y="527"/>
                  </a:lnTo>
                  <a:lnTo>
                    <a:pt x="746" y="527"/>
                  </a:lnTo>
                  <a:lnTo>
                    <a:pt x="746" y="527"/>
                  </a:lnTo>
                  <a:lnTo>
                    <a:pt x="752" y="527"/>
                  </a:lnTo>
                  <a:lnTo>
                    <a:pt x="758" y="529"/>
                  </a:lnTo>
                  <a:lnTo>
                    <a:pt x="760" y="529"/>
                  </a:lnTo>
                  <a:lnTo>
                    <a:pt x="762" y="529"/>
                  </a:lnTo>
                  <a:lnTo>
                    <a:pt x="764" y="529"/>
                  </a:lnTo>
                  <a:lnTo>
                    <a:pt x="764" y="527"/>
                  </a:lnTo>
                  <a:lnTo>
                    <a:pt x="764" y="527"/>
                  </a:lnTo>
                  <a:lnTo>
                    <a:pt x="764" y="527"/>
                  </a:lnTo>
                  <a:lnTo>
                    <a:pt x="764" y="527"/>
                  </a:lnTo>
                  <a:lnTo>
                    <a:pt x="764" y="527"/>
                  </a:lnTo>
                  <a:lnTo>
                    <a:pt x="764" y="525"/>
                  </a:lnTo>
                  <a:lnTo>
                    <a:pt x="766" y="525"/>
                  </a:lnTo>
                  <a:lnTo>
                    <a:pt x="766" y="525"/>
                  </a:lnTo>
                  <a:lnTo>
                    <a:pt x="766" y="525"/>
                  </a:lnTo>
                  <a:lnTo>
                    <a:pt x="766" y="525"/>
                  </a:lnTo>
                  <a:lnTo>
                    <a:pt x="768" y="525"/>
                  </a:lnTo>
                  <a:lnTo>
                    <a:pt x="770" y="523"/>
                  </a:lnTo>
                  <a:lnTo>
                    <a:pt x="770" y="523"/>
                  </a:lnTo>
                  <a:lnTo>
                    <a:pt x="770" y="525"/>
                  </a:lnTo>
                  <a:lnTo>
                    <a:pt x="768" y="525"/>
                  </a:lnTo>
                  <a:lnTo>
                    <a:pt x="768" y="525"/>
                  </a:lnTo>
                  <a:lnTo>
                    <a:pt x="768" y="525"/>
                  </a:lnTo>
                  <a:lnTo>
                    <a:pt x="768" y="525"/>
                  </a:lnTo>
                  <a:lnTo>
                    <a:pt x="768" y="527"/>
                  </a:lnTo>
                  <a:lnTo>
                    <a:pt x="772" y="527"/>
                  </a:lnTo>
                  <a:lnTo>
                    <a:pt x="772" y="529"/>
                  </a:lnTo>
                  <a:lnTo>
                    <a:pt x="772" y="529"/>
                  </a:lnTo>
                  <a:lnTo>
                    <a:pt x="772" y="529"/>
                  </a:lnTo>
                  <a:lnTo>
                    <a:pt x="772" y="529"/>
                  </a:lnTo>
                  <a:lnTo>
                    <a:pt x="768" y="531"/>
                  </a:lnTo>
                  <a:lnTo>
                    <a:pt x="768" y="529"/>
                  </a:lnTo>
                  <a:lnTo>
                    <a:pt x="766" y="529"/>
                  </a:lnTo>
                  <a:lnTo>
                    <a:pt x="766" y="529"/>
                  </a:lnTo>
                  <a:lnTo>
                    <a:pt x="764" y="529"/>
                  </a:lnTo>
                  <a:lnTo>
                    <a:pt x="762" y="529"/>
                  </a:lnTo>
                  <a:lnTo>
                    <a:pt x="762" y="531"/>
                  </a:lnTo>
                  <a:lnTo>
                    <a:pt x="764" y="531"/>
                  </a:lnTo>
                  <a:lnTo>
                    <a:pt x="772" y="533"/>
                  </a:lnTo>
                  <a:lnTo>
                    <a:pt x="774" y="537"/>
                  </a:lnTo>
                  <a:lnTo>
                    <a:pt x="774" y="537"/>
                  </a:lnTo>
                  <a:lnTo>
                    <a:pt x="774" y="537"/>
                  </a:lnTo>
                  <a:lnTo>
                    <a:pt x="772" y="537"/>
                  </a:lnTo>
                  <a:lnTo>
                    <a:pt x="774" y="537"/>
                  </a:lnTo>
                  <a:lnTo>
                    <a:pt x="774" y="539"/>
                  </a:lnTo>
                  <a:lnTo>
                    <a:pt x="774" y="539"/>
                  </a:lnTo>
                  <a:lnTo>
                    <a:pt x="772" y="541"/>
                  </a:lnTo>
                  <a:lnTo>
                    <a:pt x="768" y="543"/>
                  </a:lnTo>
                  <a:lnTo>
                    <a:pt x="766" y="545"/>
                  </a:lnTo>
                  <a:lnTo>
                    <a:pt x="766" y="545"/>
                  </a:lnTo>
                  <a:lnTo>
                    <a:pt x="764" y="545"/>
                  </a:lnTo>
                  <a:lnTo>
                    <a:pt x="764" y="545"/>
                  </a:lnTo>
                  <a:lnTo>
                    <a:pt x="764" y="543"/>
                  </a:lnTo>
                  <a:lnTo>
                    <a:pt x="764" y="543"/>
                  </a:lnTo>
                  <a:lnTo>
                    <a:pt x="762" y="543"/>
                  </a:lnTo>
                  <a:lnTo>
                    <a:pt x="764" y="541"/>
                  </a:lnTo>
                  <a:lnTo>
                    <a:pt x="764" y="541"/>
                  </a:lnTo>
                  <a:lnTo>
                    <a:pt x="764" y="541"/>
                  </a:lnTo>
                  <a:lnTo>
                    <a:pt x="764" y="539"/>
                  </a:lnTo>
                  <a:lnTo>
                    <a:pt x="764" y="539"/>
                  </a:lnTo>
                  <a:lnTo>
                    <a:pt x="764" y="539"/>
                  </a:lnTo>
                  <a:lnTo>
                    <a:pt x="764" y="537"/>
                  </a:lnTo>
                  <a:lnTo>
                    <a:pt x="764" y="537"/>
                  </a:lnTo>
                  <a:lnTo>
                    <a:pt x="764" y="535"/>
                  </a:lnTo>
                  <a:lnTo>
                    <a:pt x="764" y="535"/>
                  </a:lnTo>
                  <a:lnTo>
                    <a:pt x="764" y="535"/>
                  </a:lnTo>
                  <a:lnTo>
                    <a:pt x="762" y="533"/>
                  </a:lnTo>
                  <a:lnTo>
                    <a:pt x="762" y="533"/>
                  </a:lnTo>
                  <a:lnTo>
                    <a:pt x="760" y="533"/>
                  </a:lnTo>
                  <a:lnTo>
                    <a:pt x="760" y="535"/>
                  </a:lnTo>
                  <a:lnTo>
                    <a:pt x="758" y="535"/>
                  </a:lnTo>
                  <a:lnTo>
                    <a:pt x="758" y="535"/>
                  </a:lnTo>
                  <a:lnTo>
                    <a:pt x="758" y="537"/>
                  </a:lnTo>
                  <a:lnTo>
                    <a:pt x="756" y="537"/>
                  </a:lnTo>
                  <a:lnTo>
                    <a:pt x="756" y="539"/>
                  </a:lnTo>
                  <a:lnTo>
                    <a:pt x="756" y="539"/>
                  </a:lnTo>
                  <a:lnTo>
                    <a:pt x="754" y="539"/>
                  </a:lnTo>
                  <a:lnTo>
                    <a:pt x="752" y="539"/>
                  </a:lnTo>
                  <a:lnTo>
                    <a:pt x="752" y="539"/>
                  </a:lnTo>
                  <a:lnTo>
                    <a:pt x="752" y="539"/>
                  </a:lnTo>
                  <a:lnTo>
                    <a:pt x="750" y="541"/>
                  </a:lnTo>
                  <a:lnTo>
                    <a:pt x="748" y="543"/>
                  </a:lnTo>
                  <a:lnTo>
                    <a:pt x="748" y="543"/>
                  </a:lnTo>
                  <a:lnTo>
                    <a:pt x="748" y="543"/>
                  </a:lnTo>
                  <a:lnTo>
                    <a:pt x="748" y="543"/>
                  </a:lnTo>
                  <a:lnTo>
                    <a:pt x="748" y="541"/>
                  </a:lnTo>
                  <a:lnTo>
                    <a:pt x="748" y="541"/>
                  </a:lnTo>
                  <a:lnTo>
                    <a:pt x="748" y="541"/>
                  </a:lnTo>
                  <a:lnTo>
                    <a:pt x="750" y="541"/>
                  </a:lnTo>
                  <a:lnTo>
                    <a:pt x="750" y="541"/>
                  </a:lnTo>
                  <a:lnTo>
                    <a:pt x="750" y="541"/>
                  </a:lnTo>
                  <a:lnTo>
                    <a:pt x="750" y="541"/>
                  </a:lnTo>
                  <a:lnTo>
                    <a:pt x="750" y="541"/>
                  </a:lnTo>
                  <a:lnTo>
                    <a:pt x="750" y="541"/>
                  </a:lnTo>
                  <a:lnTo>
                    <a:pt x="750" y="541"/>
                  </a:lnTo>
                  <a:lnTo>
                    <a:pt x="750" y="539"/>
                  </a:lnTo>
                  <a:lnTo>
                    <a:pt x="750" y="539"/>
                  </a:lnTo>
                  <a:lnTo>
                    <a:pt x="750" y="539"/>
                  </a:lnTo>
                  <a:lnTo>
                    <a:pt x="750" y="539"/>
                  </a:lnTo>
                  <a:lnTo>
                    <a:pt x="752" y="539"/>
                  </a:lnTo>
                  <a:lnTo>
                    <a:pt x="752" y="539"/>
                  </a:lnTo>
                  <a:lnTo>
                    <a:pt x="752" y="539"/>
                  </a:lnTo>
                  <a:lnTo>
                    <a:pt x="754" y="537"/>
                  </a:lnTo>
                  <a:lnTo>
                    <a:pt x="754" y="537"/>
                  </a:lnTo>
                  <a:lnTo>
                    <a:pt x="754" y="535"/>
                  </a:lnTo>
                  <a:lnTo>
                    <a:pt x="754" y="535"/>
                  </a:lnTo>
                  <a:lnTo>
                    <a:pt x="754" y="535"/>
                  </a:lnTo>
                  <a:lnTo>
                    <a:pt x="754" y="535"/>
                  </a:lnTo>
                  <a:lnTo>
                    <a:pt x="754" y="535"/>
                  </a:lnTo>
                  <a:lnTo>
                    <a:pt x="754" y="535"/>
                  </a:lnTo>
                  <a:lnTo>
                    <a:pt x="754" y="533"/>
                  </a:lnTo>
                  <a:lnTo>
                    <a:pt x="754" y="533"/>
                  </a:lnTo>
                  <a:lnTo>
                    <a:pt x="754" y="533"/>
                  </a:lnTo>
                  <a:lnTo>
                    <a:pt x="754" y="531"/>
                  </a:lnTo>
                  <a:lnTo>
                    <a:pt x="754" y="531"/>
                  </a:lnTo>
                  <a:lnTo>
                    <a:pt x="752" y="531"/>
                  </a:lnTo>
                  <a:lnTo>
                    <a:pt x="752" y="531"/>
                  </a:lnTo>
                  <a:lnTo>
                    <a:pt x="752" y="531"/>
                  </a:lnTo>
                  <a:lnTo>
                    <a:pt x="750" y="531"/>
                  </a:lnTo>
                  <a:lnTo>
                    <a:pt x="750" y="531"/>
                  </a:lnTo>
                  <a:lnTo>
                    <a:pt x="750" y="529"/>
                  </a:lnTo>
                  <a:lnTo>
                    <a:pt x="746" y="529"/>
                  </a:lnTo>
                  <a:lnTo>
                    <a:pt x="743" y="529"/>
                  </a:lnTo>
                  <a:lnTo>
                    <a:pt x="743" y="527"/>
                  </a:lnTo>
                  <a:lnTo>
                    <a:pt x="743" y="527"/>
                  </a:lnTo>
                  <a:lnTo>
                    <a:pt x="746" y="525"/>
                  </a:lnTo>
                  <a:lnTo>
                    <a:pt x="746" y="525"/>
                  </a:lnTo>
                  <a:lnTo>
                    <a:pt x="743" y="523"/>
                  </a:lnTo>
                  <a:lnTo>
                    <a:pt x="743" y="523"/>
                  </a:lnTo>
                  <a:lnTo>
                    <a:pt x="741" y="525"/>
                  </a:lnTo>
                  <a:lnTo>
                    <a:pt x="741" y="525"/>
                  </a:lnTo>
                  <a:lnTo>
                    <a:pt x="739" y="525"/>
                  </a:lnTo>
                  <a:lnTo>
                    <a:pt x="739" y="525"/>
                  </a:lnTo>
                  <a:lnTo>
                    <a:pt x="739" y="525"/>
                  </a:lnTo>
                  <a:lnTo>
                    <a:pt x="739" y="525"/>
                  </a:lnTo>
                  <a:lnTo>
                    <a:pt x="739" y="525"/>
                  </a:lnTo>
                  <a:lnTo>
                    <a:pt x="739" y="523"/>
                  </a:lnTo>
                  <a:lnTo>
                    <a:pt x="737" y="523"/>
                  </a:lnTo>
                  <a:lnTo>
                    <a:pt x="737" y="521"/>
                  </a:lnTo>
                  <a:lnTo>
                    <a:pt x="737" y="523"/>
                  </a:lnTo>
                  <a:lnTo>
                    <a:pt x="737" y="525"/>
                  </a:lnTo>
                  <a:lnTo>
                    <a:pt x="737" y="525"/>
                  </a:lnTo>
                  <a:lnTo>
                    <a:pt x="739" y="527"/>
                  </a:lnTo>
                  <a:lnTo>
                    <a:pt x="737" y="527"/>
                  </a:lnTo>
                  <a:lnTo>
                    <a:pt x="735" y="529"/>
                  </a:lnTo>
                  <a:lnTo>
                    <a:pt x="735" y="529"/>
                  </a:lnTo>
                  <a:lnTo>
                    <a:pt x="735" y="529"/>
                  </a:lnTo>
                  <a:lnTo>
                    <a:pt x="735" y="529"/>
                  </a:lnTo>
                  <a:lnTo>
                    <a:pt x="735" y="529"/>
                  </a:lnTo>
                  <a:lnTo>
                    <a:pt x="733" y="529"/>
                  </a:lnTo>
                  <a:lnTo>
                    <a:pt x="735" y="531"/>
                  </a:lnTo>
                  <a:lnTo>
                    <a:pt x="735" y="533"/>
                  </a:lnTo>
                  <a:lnTo>
                    <a:pt x="735" y="533"/>
                  </a:lnTo>
                  <a:lnTo>
                    <a:pt x="733" y="533"/>
                  </a:lnTo>
                  <a:lnTo>
                    <a:pt x="731" y="535"/>
                  </a:lnTo>
                  <a:lnTo>
                    <a:pt x="731" y="535"/>
                  </a:lnTo>
                  <a:lnTo>
                    <a:pt x="729" y="535"/>
                  </a:lnTo>
                  <a:lnTo>
                    <a:pt x="729" y="537"/>
                  </a:lnTo>
                  <a:lnTo>
                    <a:pt x="727" y="537"/>
                  </a:lnTo>
                  <a:lnTo>
                    <a:pt x="727" y="537"/>
                  </a:lnTo>
                  <a:lnTo>
                    <a:pt x="727" y="537"/>
                  </a:lnTo>
                  <a:lnTo>
                    <a:pt x="727" y="537"/>
                  </a:lnTo>
                  <a:lnTo>
                    <a:pt x="725" y="539"/>
                  </a:lnTo>
                  <a:lnTo>
                    <a:pt x="725" y="539"/>
                  </a:lnTo>
                  <a:lnTo>
                    <a:pt x="725" y="537"/>
                  </a:lnTo>
                  <a:lnTo>
                    <a:pt x="723" y="537"/>
                  </a:lnTo>
                  <a:lnTo>
                    <a:pt x="723" y="539"/>
                  </a:lnTo>
                  <a:lnTo>
                    <a:pt x="723" y="539"/>
                  </a:lnTo>
                  <a:lnTo>
                    <a:pt x="723" y="541"/>
                  </a:lnTo>
                  <a:lnTo>
                    <a:pt x="723" y="541"/>
                  </a:lnTo>
                  <a:lnTo>
                    <a:pt x="727" y="543"/>
                  </a:lnTo>
                  <a:lnTo>
                    <a:pt x="727" y="543"/>
                  </a:lnTo>
                  <a:lnTo>
                    <a:pt x="729" y="543"/>
                  </a:lnTo>
                  <a:lnTo>
                    <a:pt x="729" y="541"/>
                  </a:lnTo>
                  <a:lnTo>
                    <a:pt x="733" y="541"/>
                  </a:lnTo>
                  <a:lnTo>
                    <a:pt x="733" y="541"/>
                  </a:lnTo>
                  <a:lnTo>
                    <a:pt x="733" y="543"/>
                  </a:lnTo>
                  <a:lnTo>
                    <a:pt x="733" y="543"/>
                  </a:lnTo>
                  <a:lnTo>
                    <a:pt x="733" y="543"/>
                  </a:lnTo>
                  <a:lnTo>
                    <a:pt x="733" y="543"/>
                  </a:lnTo>
                  <a:lnTo>
                    <a:pt x="733" y="543"/>
                  </a:lnTo>
                  <a:lnTo>
                    <a:pt x="731" y="543"/>
                  </a:lnTo>
                  <a:lnTo>
                    <a:pt x="731" y="545"/>
                  </a:lnTo>
                  <a:lnTo>
                    <a:pt x="731" y="545"/>
                  </a:lnTo>
                  <a:lnTo>
                    <a:pt x="731" y="545"/>
                  </a:lnTo>
                  <a:lnTo>
                    <a:pt x="731" y="545"/>
                  </a:lnTo>
                  <a:lnTo>
                    <a:pt x="731" y="545"/>
                  </a:lnTo>
                  <a:lnTo>
                    <a:pt x="729" y="545"/>
                  </a:lnTo>
                  <a:lnTo>
                    <a:pt x="729" y="545"/>
                  </a:lnTo>
                  <a:lnTo>
                    <a:pt x="729" y="547"/>
                  </a:lnTo>
                  <a:lnTo>
                    <a:pt x="729" y="547"/>
                  </a:lnTo>
                  <a:lnTo>
                    <a:pt x="729" y="549"/>
                  </a:lnTo>
                  <a:lnTo>
                    <a:pt x="731" y="549"/>
                  </a:lnTo>
                  <a:lnTo>
                    <a:pt x="731" y="551"/>
                  </a:lnTo>
                  <a:lnTo>
                    <a:pt x="731" y="551"/>
                  </a:lnTo>
                  <a:lnTo>
                    <a:pt x="735" y="555"/>
                  </a:lnTo>
                  <a:lnTo>
                    <a:pt x="737" y="555"/>
                  </a:lnTo>
                  <a:lnTo>
                    <a:pt x="737" y="555"/>
                  </a:lnTo>
                  <a:lnTo>
                    <a:pt x="737" y="555"/>
                  </a:lnTo>
                  <a:lnTo>
                    <a:pt x="739" y="553"/>
                  </a:lnTo>
                  <a:lnTo>
                    <a:pt x="739" y="555"/>
                  </a:lnTo>
                  <a:lnTo>
                    <a:pt x="739" y="555"/>
                  </a:lnTo>
                  <a:lnTo>
                    <a:pt x="739" y="555"/>
                  </a:lnTo>
                  <a:lnTo>
                    <a:pt x="739" y="555"/>
                  </a:lnTo>
                  <a:lnTo>
                    <a:pt x="739" y="557"/>
                  </a:lnTo>
                  <a:lnTo>
                    <a:pt x="739" y="557"/>
                  </a:lnTo>
                  <a:lnTo>
                    <a:pt x="739" y="557"/>
                  </a:lnTo>
                  <a:lnTo>
                    <a:pt x="739" y="559"/>
                  </a:lnTo>
                  <a:lnTo>
                    <a:pt x="741" y="559"/>
                  </a:lnTo>
                  <a:lnTo>
                    <a:pt x="741" y="562"/>
                  </a:lnTo>
                  <a:lnTo>
                    <a:pt x="743" y="562"/>
                  </a:lnTo>
                  <a:lnTo>
                    <a:pt x="743" y="562"/>
                  </a:lnTo>
                  <a:lnTo>
                    <a:pt x="743" y="564"/>
                  </a:lnTo>
                  <a:lnTo>
                    <a:pt x="743" y="564"/>
                  </a:lnTo>
                  <a:lnTo>
                    <a:pt x="743" y="564"/>
                  </a:lnTo>
                  <a:lnTo>
                    <a:pt x="743" y="564"/>
                  </a:lnTo>
                  <a:lnTo>
                    <a:pt x="743" y="566"/>
                  </a:lnTo>
                  <a:lnTo>
                    <a:pt x="743" y="566"/>
                  </a:lnTo>
                  <a:lnTo>
                    <a:pt x="743" y="566"/>
                  </a:lnTo>
                  <a:lnTo>
                    <a:pt x="743" y="568"/>
                  </a:lnTo>
                  <a:lnTo>
                    <a:pt x="743" y="568"/>
                  </a:lnTo>
                  <a:lnTo>
                    <a:pt x="746" y="568"/>
                  </a:lnTo>
                  <a:lnTo>
                    <a:pt x="746" y="570"/>
                  </a:lnTo>
                  <a:lnTo>
                    <a:pt x="750" y="572"/>
                  </a:lnTo>
                  <a:lnTo>
                    <a:pt x="750" y="572"/>
                  </a:lnTo>
                  <a:lnTo>
                    <a:pt x="752" y="574"/>
                  </a:lnTo>
                  <a:lnTo>
                    <a:pt x="750" y="574"/>
                  </a:lnTo>
                  <a:lnTo>
                    <a:pt x="750" y="574"/>
                  </a:lnTo>
                  <a:lnTo>
                    <a:pt x="750" y="574"/>
                  </a:lnTo>
                  <a:lnTo>
                    <a:pt x="752" y="574"/>
                  </a:lnTo>
                  <a:lnTo>
                    <a:pt x="752" y="574"/>
                  </a:lnTo>
                  <a:lnTo>
                    <a:pt x="752" y="574"/>
                  </a:lnTo>
                  <a:lnTo>
                    <a:pt x="752" y="574"/>
                  </a:lnTo>
                  <a:lnTo>
                    <a:pt x="750" y="574"/>
                  </a:lnTo>
                  <a:lnTo>
                    <a:pt x="748" y="576"/>
                  </a:lnTo>
                  <a:lnTo>
                    <a:pt x="748" y="578"/>
                  </a:lnTo>
                  <a:lnTo>
                    <a:pt x="748" y="578"/>
                  </a:lnTo>
                  <a:lnTo>
                    <a:pt x="750" y="580"/>
                  </a:lnTo>
                  <a:lnTo>
                    <a:pt x="750" y="582"/>
                  </a:lnTo>
                  <a:lnTo>
                    <a:pt x="750" y="582"/>
                  </a:lnTo>
                  <a:lnTo>
                    <a:pt x="756" y="584"/>
                  </a:lnTo>
                  <a:lnTo>
                    <a:pt x="762" y="586"/>
                  </a:lnTo>
                  <a:lnTo>
                    <a:pt x="770" y="584"/>
                  </a:lnTo>
                  <a:lnTo>
                    <a:pt x="776" y="584"/>
                  </a:lnTo>
                  <a:lnTo>
                    <a:pt x="784" y="580"/>
                  </a:lnTo>
                  <a:lnTo>
                    <a:pt x="786" y="580"/>
                  </a:lnTo>
                  <a:lnTo>
                    <a:pt x="786" y="578"/>
                  </a:lnTo>
                  <a:lnTo>
                    <a:pt x="786" y="578"/>
                  </a:lnTo>
                  <a:lnTo>
                    <a:pt x="789" y="580"/>
                  </a:lnTo>
                  <a:lnTo>
                    <a:pt x="791" y="580"/>
                  </a:lnTo>
                  <a:lnTo>
                    <a:pt x="793" y="580"/>
                  </a:lnTo>
                  <a:lnTo>
                    <a:pt x="793" y="578"/>
                  </a:lnTo>
                  <a:lnTo>
                    <a:pt x="793" y="578"/>
                  </a:lnTo>
                  <a:lnTo>
                    <a:pt x="793" y="578"/>
                  </a:lnTo>
                  <a:lnTo>
                    <a:pt x="793" y="576"/>
                  </a:lnTo>
                  <a:lnTo>
                    <a:pt x="793" y="576"/>
                  </a:lnTo>
                  <a:lnTo>
                    <a:pt x="793" y="574"/>
                  </a:lnTo>
                  <a:lnTo>
                    <a:pt x="793" y="574"/>
                  </a:lnTo>
                  <a:lnTo>
                    <a:pt x="793" y="574"/>
                  </a:lnTo>
                  <a:lnTo>
                    <a:pt x="793" y="572"/>
                  </a:lnTo>
                  <a:lnTo>
                    <a:pt x="795" y="572"/>
                  </a:lnTo>
                  <a:lnTo>
                    <a:pt x="795" y="570"/>
                  </a:lnTo>
                  <a:lnTo>
                    <a:pt x="795" y="570"/>
                  </a:lnTo>
                  <a:lnTo>
                    <a:pt x="795" y="568"/>
                  </a:lnTo>
                  <a:lnTo>
                    <a:pt x="793" y="566"/>
                  </a:lnTo>
                  <a:lnTo>
                    <a:pt x="791" y="566"/>
                  </a:lnTo>
                  <a:lnTo>
                    <a:pt x="789" y="564"/>
                  </a:lnTo>
                  <a:lnTo>
                    <a:pt x="793" y="566"/>
                  </a:lnTo>
                  <a:lnTo>
                    <a:pt x="793" y="566"/>
                  </a:lnTo>
                  <a:lnTo>
                    <a:pt x="793" y="566"/>
                  </a:lnTo>
                  <a:lnTo>
                    <a:pt x="793" y="564"/>
                  </a:lnTo>
                  <a:lnTo>
                    <a:pt x="793" y="564"/>
                  </a:lnTo>
                  <a:lnTo>
                    <a:pt x="793" y="564"/>
                  </a:lnTo>
                  <a:lnTo>
                    <a:pt x="793" y="564"/>
                  </a:lnTo>
                  <a:lnTo>
                    <a:pt x="793" y="564"/>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5" y="562"/>
                  </a:lnTo>
                  <a:lnTo>
                    <a:pt x="795" y="562"/>
                  </a:lnTo>
                  <a:lnTo>
                    <a:pt x="795" y="559"/>
                  </a:lnTo>
                  <a:lnTo>
                    <a:pt x="795" y="559"/>
                  </a:lnTo>
                  <a:lnTo>
                    <a:pt x="795" y="559"/>
                  </a:lnTo>
                  <a:lnTo>
                    <a:pt x="797" y="559"/>
                  </a:lnTo>
                  <a:lnTo>
                    <a:pt x="797" y="559"/>
                  </a:lnTo>
                  <a:lnTo>
                    <a:pt x="797" y="559"/>
                  </a:lnTo>
                  <a:lnTo>
                    <a:pt x="797" y="559"/>
                  </a:lnTo>
                  <a:lnTo>
                    <a:pt x="797" y="559"/>
                  </a:lnTo>
                  <a:lnTo>
                    <a:pt x="797" y="557"/>
                  </a:lnTo>
                  <a:lnTo>
                    <a:pt x="797" y="557"/>
                  </a:lnTo>
                  <a:lnTo>
                    <a:pt x="797" y="557"/>
                  </a:lnTo>
                  <a:lnTo>
                    <a:pt x="797" y="557"/>
                  </a:lnTo>
                  <a:lnTo>
                    <a:pt x="799" y="557"/>
                  </a:lnTo>
                  <a:lnTo>
                    <a:pt x="799" y="557"/>
                  </a:lnTo>
                  <a:lnTo>
                    <a:pt x="799" y="555"/>
                  </a:lnTo>
                  <a:lnTo>
                    <a:pt x="799" y="555"/>
                  </a:lnTo>
                  <a:lnTo>
                    <a:pt x="799" y="555"/>
                  </a:lnTo>
                  <a:lnTo>
                    <a:pt x="799" y="555"/>
                  </a:lnTo>
                  <a:lnTo>
                    <a:pt x="801" y="551"/>
                  </a:lnTo>
                  <a:lnTo>
                    <a:pt x="801" y="551"/>
                  </a:lnTo>
                  <a:lnTo>
                    <a:pt x="801" y="551"/>
                  </a:lnTo>
                  <a:lnTo>
                    <a:pt x="801" y="549"/>
                  </a:lnTo>
                  <a:lnTo>
                    <a:pt x="803" y="549"/>
                  </a:lnTo>
                  <a:lnTo>
                    <a:pt x="803" y="547"/>
                  </a:lnTo>
                  <a:lnTo>
                    <a:pt x="803" y="547"/>
                  </a:lnTo>
                  <a:lnTo>
                    <a:pt x="803" y="547"/>
                  </a:lnTo>
                  <a:lnTo>
                    <a:pt x="805" y="547"/>
                  </a:lnTo>
                  <a:lnTo>
                    <a:pt x="807" y="547"/>
                  </a:lnTo>
                  <a:lnTo>
                    <a:pt x="807" y="545"/>
                  </a:lnTo>
                  <a:lnTo>
                    <a:pt x="807" y="545"/>
                  </a:lnTo>
                  <a:lnTo>
                    <a:pt x="807" y="545"/>
                  </a:lnTo>
                  <a:lnTo>
                    <a:pt x="807" y="543"/>
                  </a:lnTo>
                  <a:lnTo>
                    <a:pt x="805" y="543"/>
                  </a:lnTo>
                  <a:lnTo>
                    <a:pt x="807" y="543"/>
                  </a:lnTo>
                  <a:lnTo>
                    <a:pt x="807" y="543"/>
                  </a:lnTo>
                  <a:lnTo>
                    <a:pt x="807" y="545"/>
                  </a:lnTo>
                  <a:lnTo>
                    <a:pt x="807" y="545"/>
                  </a:lnTo>
                  <a:lnTo>
                    <a:pt x="807" y="545"/>
                  </a:lnTo>
                  <a:lnTo>
                    <a:pt x="811" y="545"/>
                  </a:lnTo>
                  <a:lnTo>
                    <a:pt x="811" y="543"/>
                  </a:lnTo>
                  <a:lnTo>
                    <a:pt x="811" y="543"/>
                  </a:lnTo>
                  <a:lnTo>
                    <a:pt x="813" y="545"/>
                  </a:lnTo>
                  <a:lnTo>
                    <a:pt x="811" y="545"/>
                  </a:lnTo>
                  <a:lnTo>
                    <a:pt x="811" y="545"/>
                  </a:lnTo>
                  <a:lnTo>
                    <a:pt x="811" y="545"/>
                  </a:lnTo>
                  <a:lnTo>
                    <a:pt x="811" y="545"/>
                  </a:lnTo>
                  <a:lnTo>
                    <a:pt x="811" y="547"/>
                  </a:lnTo>
                  <a:lnTo>
                    <a:pt x="807" y="547"/>
                  </a:lnTo>
                  <a:lnTo>
                    <a:pt x="807" y="547"/>
                  </a:lnTo>
                  <a:lnTo>
                    <a:pt x="807" y="547"/>
                  </a:lnTo>
                  <a:lnTo>
                    <a:pt x="805" y="549"/>
                  </a:lnTo>
                  <a:lnTo>
                    <a:pt x="803" y="549"/>
                  </a:lnTo>
                  <a:lnTo>
                    <a:pt x="803" y="549"/>
                  </a:lnTo>
                  <a:lnTo>
                    <a:pt x="803" y="549"/>
                  </a:lnTo>
                  <a:lnTo>
                    <a:pt x="803" y="551"/>
                  </a:lnTo>
                  <a:lnTo>
                    <a:pt x="803" y="551"/>
                  </a:lnTo>
                  <a:lnTo>
                    <a:pt x="803" y="551"/>
                  </a:lnTo>
                  <a:lnTo>
                    <a:pt x="803" y="551"/>
                  </a:lnTo>
                  <a:lnTo>
                    <a:pt x="803" y="553"/>
                  </a:lnTo>
                  <a:lnTo>
                    <a:pt x="803" y="553"/>
                  </a:lnTo>
                  <a:lnTo>
                    <a:pt x="803" y="553"/>
                  </a:lnTo>
                  <a:lnTo>
                    <a:pt x="801" y="555"/>
                  </a:lnTo>
                  <a:lnTo>
                    <a:pt x="801" y="555"/>
                  </a:lnTo>
                  <a:lnTo>
                    <a:pt x="801" y="555"/>
                  </a:lnTo>
                  <a:lnTo>
                    <a:pt x="801" y="557"/>
                  </a:lnTo>
                  <a:lnTo>
                    <a:pt x="799" y="559"/>
                  </a:lnTo>
                  <a:lnTo>
                    <a:pt x="797" y="562"/>
                  </a:lnTo>
                  <a:lnTo>
                    <a:pt x="797" y="562"/>
                  </a:lnTo>
                  <a:lnTo>
                    <a:pt x="795" y="564"/>
                  </a:lnTo>
                  <a:lnTo>
                    <a:pt x="795" y="564"/>
                  </a:lnTo>
                  <a:lnTo>
                    <a:pt x="797" y="566"/>
                  </a:lnTo>
                  <a:lnTo>
                    <a:pt x="797" y="566"/>
                  </a:lnTo>
                  <a:lnTo>
                    <a:pt x="797" y="568"/>
                  </a:lnTo>
                  <a:lnTo>
                    <a:pt x="799" y="568"/>
                  </a:lnTo>
                  <a:lnTo>
                    <a:pt x="799" y="568"/>
                  </a:lnTo>
                  <a:lnTo>
                    <a:pt x="799" y="568"/>
                  </a:lnTo>
                  <a:lnTo>
                    <a:pt x="797" y="570"/>
                  </a:lnTo>
                  <a:lnTo>
                    <a:pt x="797" y="570"/>
                  </a:lnTo>
                  <a:lnTo>
                    <a:pt x="797" y="570"/>
                  </a:lnTo>
                  <a:lnTo>
                    <a:pt x="797" y="570"/>
                  </a:lnTo>
                  <a:lnTo>
                    <a:pt x="797" y="570"/>
                  </a:lnTo>
                  <a:lnTo>
                    <a:pt x="797" y="570"/>
                  </a:lnTo>
                  <a:lnTo>
                    <a:pt x="797" y="572"/>
                  </a:lnTo>
                  <a:lnTo>
                    <a:pt x="797" y="572"/>
                  </a:lnTo>
                  <a:lnTo>
                    <a:pt x="797" y="572"/>
                  </a:lnTo>
                  <a:lnTo>
                    <a:pt x="799" y="572"/>
                  </a:lnTo>
                  <a:lnTo>
                    <a:pt x="799" y="572"/>
                  </a:lnTo>
                  <a:lnTo>
                    <a:pt x="799" y="572"/>
                  </a:lnTo>
                  <a:lnTo>
                    <a:pt x="799" y="572"/>
                  </a:lnTo>
                  <a:lnTo>
                    <a:pt x="799" y="572"/>
                  </a:lnTo>
                  <a:lnTo>
                    <a:pt x="799" y="572"/>
                  </a:lnTo>
                  <a:lnTo>
                    <a:pt x="799" y="572"/>
                  </a:lnTo>
                  <a:lnTo>
                    <a:pt x="799" y="570"/>
                  </a:lnTo>
                  <a:lnTo>
                    <a:pt x="799" y="570"/>
                  </a:lnTo>
                  <a:lnTo>
                    <a:pt x="799" y="570"/>
                  </a:lnTo>
                  <a:lnTo>
                    <a:pt x="799" y="570"/>
                  </a:lnTo>
                  <a:lnTo>
                    <a:pt x="799" y="570"/>
                  </a:lnTo>
                  <a:lnTo>
                    <a:pt x="799" y="570"/>
                  </a:lnTo>
                  <a:lnTo>
                    <a:pt x="799" y="570"/>
                  </a:lnTo>
                  <a:lnTo>
                    <a:pt x="799" y="568"/>
                  </a:lnTo>
                  <a:lnTo>
                    <a:pt x="799" y="570"/>
                  </a:lnTo>
                  <a:lnTo>
                    <a:pt x="799" y="568"/>
                  </a:lnTo>
                  <a:lnTo>
                    <a:pt x="799" y="568"/>
                  </a:lnTo>
                  <a:lnTo>
                    <a:pt x="799" y="568"/>
                  </a:lnTo>
                  <a:lnTo>
                    <a:pt x="799" y="568"/>
                  </a:lnTo>
                  <a:lnTo>
                    <a:pt x="799" y="568"/>
                  </a:lnTo>
                  <a:lnTo>
                    <a:pt x="799" y="568"/>
                  </a:lnTo>
                  <a:lnTo>
                    <a:pt x="801" y="568"/>
                  </a:lnTo>
                  <a:lnTo>
                    <a:pt x="799" y="568"/>
                  </a:lnTo>
                  <a:lnTo>
                    <a:pt x="801" y="568"/>
                  </a:lnTo>
                  <a:lnTo>
                    <a:pt x="801" y="568"/>
                  </a:lnTo>
                  <a:lnTo>
                    <a:pt x="803" y="568"/>
                  </a:lnTo>
                  <a:lnTo>
                    <a:pt x="801" y="568"/>
                  </a:lnTo>
                  <a:lnTo>
                    <a:pt x="801" y="568"/>
                  </a:lnTo>
                  <a:lnTo>
                    <a:pt x="801" y="568"/>
                  </a:lnTo>
                  <a:lnTo>
                    <a:pt x="801" y="568"/>
                  </a:lnTo>
                  <a:lnTo>
                    <a:pt x="803" y="568"/>
                  </a:lnTo>
                  <a:lnTo>
                    <a:pt x="803" y="568"/>
                  </a:lnTo>
                  <a:lnTo>
                    <a:pt x="803" y="568"/>
                  </a:lnTo>
                  <a:lnTo>
                    <a:pt x="803" y="568"/>
                  </a:lnTo>
                  <a:lnTo>
                    <a:pt x="803" y="568"/>
                  </a:lnTo>
                  <a:lnTo>
                    <a:pt x="803" y="568"/>
                  </a:lnTo>
                  <a:lnTo>
                    <a:pt x="803" y="570"/>
                  </a:lnTo>
                  <a:lnTo>
                    <a:pt x="801" y="570"/>
                  </a:lnTo>
                  <a:lnTo>
                    <a:pt x="801" y="570"/>
                  </a:lnTo>
                  <a:lnTo>
                    <a:pt x="801" y="570"/>
                  </a:lnTo>
                  <a:lnTo>
                    <a:pt x="801" y="572"/>
                  </a:lnTo>
                  <a:lnTo>
                    <a:pt x="801" y="572"/>
                  </a:lnTo>
                  <a:lnTo>
                    <a:pt x="801" y="572"/>
                  </a:lnTo>
                  <a:lnTo>
                    <a:pt x="801" y="572"/>
                  </a:lnTo>
                  <a:lnTo>
                    <a:pt x="801" y="574"/>
                  </a:lnTo>
                  <a:lnTo>
                    <a:pt x="801" y="574"/>
                  </a:lnTo>
                  <a:lnTo>
                    <a:pt x="801" y="574"/>
                  </a:lnTo>
                  <a:lnTo>
                    <a:pt x="801" y="574"/>
                  </a:lnTo>
                  <a:lnTo>
                    <a:pt x="799" y="576"/>
                  </a:lnTo>
                  <a:lnTo>
                    <a:pt x="799" y="576"/>
                  </a:lnTo>
                  <a:lnTo>
                    <a:pt x="801" y="578"/>
                  </a:lnTo>
                  <a:lnTo>
                    <a:pt x="801" y="580"/>
                  </a:lnTo>
                  <a:lnTo>
                    <a:pt x="801" y="580"/>
                  </a:lnTo>
                  <a:lnTo>
                    <a:pt x="801" y="582"/>
                  </a:lnTo>
                  <a:lnTo>
                    <a:pt x="803" y="582"/>
                  </a:lnTo>
                  <a:lnTo>
                    <a:pt x="803" y="582"/>
                  </a:lnTo>
                  <a:lnTo>
                    <a:pt x="803" y="584"/>
                  </a:lnTo>
                  <a:lnTo>
                    <a:pt x="803" y="586"/>
                  </a:lnTo>
                  <a:lnTo>
                    <a:pt x="803" y="586"/>
                  </a:lnTo>
                  <a:lnTo>
                    <a:pt x="805" y="590"/>
                  </a:lnTo>
                  <a:lnTo>
                    <a:pt x="805" y="596"/>
                  </a:lnTo>
                  <a:lnTo>
                    <a:pt x="807" y="596"/>
                  </a:lnTo>
                  <a:lnTo>
                    <a:pt x="807" y="596"/>
                  </a:lnTo>
                  <a:lnTo>
                    <a:pt x="807" y="596"/>
                  </a:lnTo>
                  <a:lnTo>
                    <a:pt x="807" y="598"/>
                  </a:lnTo>
                  <a:lnTo>
                    <a:pt x="807" y="598"/>
                  </a:lnTo>
                  <a:lnTo>
                    <a:pt x="807" y="598"/>
                  </a:lnTo>
                  <a:lnTo>
                    <a:pt x="807" y="600"/>
                  </a:lnTo>
                  <a:lnTo>
                    <a:pt x="809" y="607"/>
                  </a:lnTo>
                  <a:lnTo>
                    <a:pt x="809" y="607"/>
                  </a:lnTo>
                  <a:lnTo>
                    <a:pt x="809" y="609"/>
                  </a:lnTo>
                  <a:lnTo>
                    <a:pt x="809" y="609"/>
                  </a:lnTo>
                  <a:lnTo>
                    <a:pt x="809" y="609"/>
                  </a:lnTo>
                  <a:lnTo>
                    <a:pt x="809" y="609"/>
                  </a:lnTo>
                  <a:lnTo>
                    <a:pt x="807" y="609"/>
                  </a:lnTo>
                  <a:lnTo>
                    <a:pt x="807" y="609"/>
                  </a:lnTo>
                  <a:lnTo>
                    <a:pt x="807" y="611"/>
                  </a:lnTo>
                  <a:lnTo>
                    <a:pt x="805" y="611"/>
                  </a:lnTo>
                  <a:lnTo>
                    <a:pt x="805" y="611"/>
                  </a:lnTo>
                  <a:lnTo>
                    <a:pt x="805" y="611"/>
                  </a:lnTo>
                  <a:lnTo>
                    <a:pt x="805" y="611"/>
                  </a:lnTo>
                  <a:lnTo>
                    <a:pt x="805" y="613"/>
                  </a:lnTo>
                  <a:lnTo>
                    <a:pt x="803" y="613"/>
                  </a:lnTo>
                  <a:lnTo>
                    <a:pt x="803" y="613"/>
                  </a:lnTo>
                  <a:lnTo>
                    <a:pt x="803" y="613"/>
                  </a:lnTo>
                  <a:lnTo>
                    <a:pt x="803" y="615"/>
                  </a:lnTo>
                  <a:lnTo>
                    <a:pt x="803" y="615"/>
                  </a:lnTo>
                  <a:lnTo>
                    <a:pt x="803" y="615"/>
                  </a:lnTo>
                  <a:lnTo>
                    <a:pt x="803" y="617"/>
                  </a:lnTo>
                  <a:lnTo>
                    <a:pt x="801" y="617"/>
                  </a:lnTo>
                  <a:lnTo>
                    <a:pt x="801" y="619"/>
                  </a:lnTo>
                  <a:lnTo>
                    <a:pt x="801" y="619"/>
                  </a:lnTo>
                  <a:lnTo>
                    <a:pt x="801" y="621"/>
                  </a:lnTo>
                  <a:lnTo>
                    <a:pt x="799" y="619"/>
                  </a:lnTo>
                  <a:lnTo>
                    <a:pt x="799" y="619"/>
                  </a:lnTo>
                  <a:lnTo>
                    <a:pt x="801" y="617"/>
                  </a:lnTo>
                  <a:lnTo>
                    <a:pt x="801" y="617"/>
                  </a:lnTo>
                  <a:lnTo>
                    <a:pt x="801" y="617"/>
                  </a:lnTo>
                  <a:lnTo>
                    <a:pt x="801" y="617"/>
                  </a:lnTo>
                  <a:lnTo>
                    <a:pt x="799" y="619"/>
                  </a:lnTo>
                  <a:lnTo>
                    <a:pt x="799" y="619"/>
                  </a:lnTo>
                  <a:lnTo>
                    <a:pt x="799" y="621"/>
                  </a:lnTo>
                  <a:lnTo>
                    <a:pt x="801" y="625"/>
                  </a:lnTo>
                  <a:lnTo>
                    <a:pt x="801" y="627"/>
                  </a:lnTo>
                  <a:lnTo>
                    <a:pt x="803" y="629"/>
                  </a:lnTo>
                  <a:lnTo>
                    <a:pt x="803" y="629"/>
                  </a:lnTo>
                  <a:lnTo>
                    <a:pt x="803" y="629"/>
                  </a:lnTo>
                  <a:lnTo>
                    <a:pt x="803" y="629"/>
                  </a:lnTo>
                  <a:lnTo>
                    <a:pt x="803" y="627"/>
                  </a:lnTo>
                  <a:lnTo>
                    <a:pt x="803" y="627"/>
                  </a:lnTo>
                  <a:lnTo>
                    <a:pt x="805" y="627"/>
                  </a:lnTo>
                  <a:lnTo>
                    <a:pt x="807" y="627"/>
                  </a:lnTo>
                  <a:lnTo>
                    <a:pt x="809" y="627"/>
                  </a:lnTo>
                  <a:lnTo>
                    <a:pt x="809" y="627"/>
                  </a:lnTo>
                  <a:lnTo>
                    <a:pt x="809" y="627"/>
                  </a:lnTo>
                  <a:lnTo>
                    <a:pt x="809" y="627"/>
                  </a:lnTo>
                  <a:lnTo>
                    <a:pt x="809" y="627"/>
                  </a:lnTo>
                  <a:lnTo>
                    <a:pt x="809" y="627"/>
                  </a:lnTo>
                  <a:lnTo>
                    <a:pt x="811" y="627"/>
                  </a:lnTo>
                  <a:lnTo>
                    <a:pt x="811" y="627"/>
                  </a:lnTo>
                  <a:lnTo>
                    <a:pt x="811" y="627"/>
                  </a:lnTo>
                  <a:lnTo>
                    <a:pt x="811" y="627"/>
                  </a:lnTo>
                  <a:lnTo>
                    <a:pt x="811" y="629"/>
                  </a:lnTo>
                  <a:lnTo>
                    <a:pt x="811" y="629"/>
                  </a:lnTo>
                  <a:lnTo>
                    <a:pt x="811" y="629"/>
                  </a:lnTo>
                  <a:lnTo>
                    <a:pt x="811" y="629"/>
                  </a:lnTo>
                  <a:lnTo>
                    <a:pt x="811" y="629"/>
                  </a:lnTo>
                  <a:lnTo>
                    <a:pt x="809" y="629"/>
                  </a:lnTo>
                  <a:lnTo>
                    <a:pt x="809" y="629"/>
                  </a:lnTo>
                  <a:lnTo>
                    <a:pt x="807" y="631"/>
                  </a:lnTo>
                  <a:lnTo>
                    <a:pt x="807" y="631"/>
                  </a:lnTo>
                  <a:lnTo>
                    <a:pt x="807" y="631"/>
                  </a:lnTo>
                  <a:lnTo>
                    <a:pt x="805" y="631"/>
                  </a:lnTo>
                  <a:lnTo>
                    <a:pt x="805" y="631"/>
                  </a:lnTo>
                  <a:lnTo>
                    <a:pt x="805" y="631"/>
                  </a:lnTo>
                  <a:lnTo>
                    <a:pt x="805" y="631"/>
                  </a:lnTo>
                  <a:lnTo>
                    <a:pt x="805" y="631"/>
                  </a:lnTo>
                  <a:lnTo>
                    <a:pt x="805" y="631"/>
                  </a:lnTo>
                  <a:lnTo>
                    <a:pt x="805" y="631"/>
                  </a:lnTo>
                  <a:lnTo>
                    <a:pt x="805" y="631"/>
                  </a:lnTo>
                  <a:lnTo>
                    <a:pt x="805" y="631"/>
                  </a:lnTo>
                  <a:lnTo>
                    <a:pt x="805" y="631"/>
                  </a:lnTo>
                  <a:lnTo>
                    <a:pt x="803" y="631"/>
                  </a:lnTo>
                  <a:lnTo>
                    <a:pt x="803" y="631"/>
                  </a:lnTo>
                  <a:lnTo>
                    <a:pt x="803" y="631"/>
                  </a:lnTo>
                  <a:lnTo>
                    <a:pt x="803" y="631"/>
                  </a:lnTo>
                  <a:lnTo>
                    <a:pt x="803" y="631"/>
                  </a:lnTo>
                  <a:lnTo>
                    <a:pt x="803" y="631"/>
                  </a:lnTo>
                  <a:lnTo>
                    <a:pt x="803" y="633"/>
                  </a:lnTo>
                  <a:lnTo>
                    <a:pt x="803" y="633"/>
                  </a:lnTo>
                  <a:lnTo>
                    <a:pt x="805" y="633"/>
                  </a:lnTo>
                  <a:lnTo>
                    <a:pt x="805" y="633"/>
                  </a:lnTo>
                  <a:lnTo>
                    <a:pt x="805" y="635"/>
                  </a:lnTo>
                  <a:lnTo>
                    <a:pt x="805" y="635"/>
                  </a:lnTo>
                  <a:lnTo>
                    <a:pt x="803" y="639"/>
                  </a:lnTo>
                  <a:lnTo>
                    <a:pt x="803" y="639"/>
                  </a:lnTo>
                  <a:lnTo>
                    <a:pt x="805" y="641"/>
                  </a:lnTo>
                  <a:lnTo>
                    <a:pt x="805" y="641"/>
                  </a:lnTo>
                  <a:lnTo>
                    <a:pt x="805" y="641"/>
                  </a:lnTo>
                  <a:lnTo>
                    <a:pt x="805" y="641"/>
                  </a:lnTo>
                  <a:lnTo>
                    <a:pt x="805" y="643"/>
                  </a:lnTo>
                  <a:lnTo>
                    <a:pt x="805" y="643"/>
                  </a:lnTo>
                  <a:lnTo>
                    <a:pt x="803" y="643"/>
                  </a:lnTo>
                  <a:lnTo>
                    <a:pt x="805" y="643"/>
                  </a:lnTo>
                  <a:lnTo>
                    <a:pt x="805" y="643"/>
                  </a:lnTo>
                  <a:lnTo>
                    <a:pt x="805" y="641"/>
                  </a:lnTo>
                  <a:lnTo>
                    <a:pt x="807" y="641"/>
                  </a:lnTo>
                  <a:lnTo>
                    <a:pt x="807" y="643"/>
                  </a:lnTo>
                  <a:lnTo>
                    <a:pt x="805" y="646"/>
                  </a:lnTo>
                  <a:lnTo>
                    <a:pt x="805" y="646"/>
                  </a:lnTo>
                  <a:lnTo>
                    <a:pt x="805" y="646"/>
                  </a:lnTo>
                  <a:lnTo>
                    <a:pt x="803" y="646"/>
                  </a:lnTo>
                  <a:lnTo>
                    <a:pt x="803" y="646"/>
                  </a:lnTo>
                  <a:lnTo>
                    <a:pt x="803" y="646"/>
                  </a:lnTo>
                  <a:lnTo>
                    <a:pt x="803" y="648"/>
                  </a:lnTo>
                  <a:lnTo>
                    <a:pt x="801" y="648"/>
                  </a:lnTo>
                  <a:lnTo>
                    <a:pt x="801" y="648"/>
                  </a:lnTo>
                  <a:lnTo>
                    <a:pt x="801" y="650"/>
                  </a:lnTo>
                  <a:lnTo>
                    <a:pt x="801" y="650"/>
                  </a:lnTo>
                  <a:lnTo>
                    <a:pt x="801" y="652"/>
                  </a:lnTo>
                  <a:lnTo>
                    <a:pt x="799" y="652"/>
                  </a:lnTo>
                  <a:lnTo>
                    <a:pt x="799" y="652"/>
                  </a:lnTo>
                  <a:lnTo>
                    <a:pt x="799" y="650"/>
                  </a:lnTo>
                  <a:lnTo>
                    <a:pt x="799" y="650"/>
                  </a:lnTo>
                  <a:lnTo>
                    <a:pt x="799" y="650"/>
                  </a:lnTo>
                  <a:lnTo>
                    <a:pt x="799" y="650"/>
                  </a:lnTo>
                  <a:lnTo>
                    <a:pt x="799" y="650"/>
                  </a:lnTo>
                  <a:lnTo>
                    <a:pt x="799" y="650"/>
                  </a:lnTo>
                  <a:lnTo>
                    <a:pt x="799" y="650"/>
                  </a:lnTo>
                  <a:lnTo>
                    <a:pt x="799" y="650"/>
                  </a:lnTo>
                  <a:lnTo>
                    <a:pt x="797" y="650"/>
                  </a:lnTo>
                  <a:lnTo>
                    <a:pt x="797" y="650"/>
                  </a:lnTo>
                  <a:lnTo>
                    <a:pt x="797" y="650"/>
                  </a:lnTo>
                  <a:lnTo>
                    <a:pt x="795" y="650"/>
                  </a:lnTo>
                  <a:lnTo>
                    <a:pt x="795" y="650"/>
                  </a:lnTo>
                  <a:lnTo>
                    <a:pt x="793" y="650"/>
                  </a:lnTo>
                  <a:lnTo>
                    <a:pt x="793" y="652"/>
                  </a:lnTo>
                  <a:lnTo>
                    <a:pt x="795" y="652"/>
                  </a:lnTo>
                  <a:lnTo>
                    <a:pt x="801" y="652"/>
                  </a:lnTo>
                  <a:lnTo>
                    <a:pt x="803" y="652"/>
                  </a:lnTo>
                  <a:lnTo>
                    <a:pt x="803" y="654"/>
                  </a:lnTo>
                  <a:lnTo>
                    <a:pt x="803" y="654"/>
                  </a:lnTo>
                  <a:lnTo>
                    <a:pt x="803" y="654"/>
                  </a:lnTo>
                  <a:lnTo>
                    <a:pt x="803" y="652"/>
                  </a:lnTo>
                  <a:lnTo>
                    <a:pt x="803" y="652"/>
                  </a:lnTo>
                  <a:lnTo>
                    <a:pt x="803" y="652"/>
                  </a:lnTo>
                  <a:lnTo>
                    <a:pt x="803" y="652"/>
                  </a:lnTo>
                  <a:lnTo>
                    <a:pt x="803" y="652"/>
                  </a:lnTo>
                  <a:lnTo>
                    <a:pt x="805" y="652"/>
                  </a:lnTo>
                  <a:lnTo>
                    <a:pt x="805" y="654"/>
                  </a:lnTo>
                  <a:lnTo>
                    <a:pt x="805" y="654"/>
                  </a:lnTo>
                  <a:lnTo>
                    <a:pt x="803" y="656"/>
                  </a:lnTo>
                  <a:lnTo>
                    <a:pt x="803" y="656"/>
                  </a:lnTo>
                  <a:lnTo>
                    <a:pt x="803" y="656"/>
                  </a:lnTo>
                  <a:lnTo>
                    <a:pt x="805" y="656"/>
                  </a:lnTo>
                  <a:lnTo>
                    <a:pt x="805" y="656"/>
                  </a:lnTo>
                  <a:lnTo>
                    <a:pt x="805" y="656"/>
                  </a:lnTo>
                  <a:lnTo>
                    <a:pt x="805" y="656"/>
                  </a:lnTo>
                  <a:lnTo>
                    <a:pt x="805" y="654"/>
                  </a:lnTo>
                  <a:lnTo>
                    <a:pt x="807" y="654"/>
                  </a:lnTo>
                  <a:lnTo>
                    <a:pt x="807" y="654"/>
                  </a:lnTo>
                  <a:lnTo>
                    <a:pt x="807" y="654"/>
                  </a:lnTo>
                  <a:lnTo>
                    <a:pt x="807" y="654"/>
                  </a:lnTo>
                  <a:lnTo>
                    <a:pt x="809" y="654"/>
                  </a:lnTo>
                  <a:lnTo>
                    <a:pt x="809" y="654"/>
                  </a:lnTo>
                  <a:lnTo>
                    <a:pt x="809" y="654"/>
                  </a:lnTo>
                  <a:lnTo>
                    <a:pt x="809" y="652"/>
                  </a:lnTo>
                  <a:lnTo>
                    <a:pt x="813" y="652"/>
                  </a:lnTo>
                  <a:lnTo>
                    <a:pt x="815" y="652"/>
                  </a:lnTo>
                  <a:lnTo>
                    <a:pt x="815" y="652"/>
                  </a:lnTo>
                  <a:lnTo>
                    <a:pt x="815" y="652"/>
                  </a:lnTo>
                  <a:lnTo>
                    <a:pt x="813" y="652"/>
                  </a:lnTo>
                  <a:lnTo>
                    <a:pt x="813" y="652"/>
                  </a:lnTo>
                  <a:lnTo>
                    <a:pt x="813" y="650"/>
                  </a:lnTo>
                  <a:lnTo>
                    <a:pt x="813" y="650"/>
                  </a:lnTo>
                  <a:lnTo>
                    <a:pt x="815" y="650"/>
                  </a:lnTo>
                  <a:lnTo>
                    <a:pt x="815" y="648"/>
                  </a:lnTo>
                  <a:lnTo>
                    <a:pt x="817" y="646"/>
                  </a:lnTo>
                  <a:lnTo>
                    <a:pt x="817" y="646"/>
                  </a:lnTo>
                  <a:lnTo>
                    <a:pt x="819" y="646"/>
                  </a:lnTo>
                  <a:lnTo>
                    <a:pt x="817" y="646"/>
                  </a:lnTo>
                  <a:lnTo>
                    <a:pt x="815" y="646"/>
                  </a:lnTo>
                  <a:lnTo>
                    <a:pt x="815" y="646"/>
                  </a:lnTo>
                  <a:lnTo>
                    <a:pt x="817" y="646"/>
                  </a:lnTo>
                  <a:lnTo>
                    <a:pt x="817" y="643"/>
                  </a:lnTo>
                  <a:lnTo>
                    <a:pt x="817" y="643"/>
                  </a:lnTo>
                  <a:lnTo>
                    <a:pt x="817" y="643"/>
                  </a:lnTo>
                  <a:lnTo>
                    <a:pt x="817" y="643"/>
                  </a:lnTo>
                  <a:lnTo>
                    <a:pt x="817" y="643"/>
                  </a:lnTo>
                  <a:lnTo>
                    <a:pt x="817" y="646"/>
                  </a:lnTo>
                  <a:lnTo>
                    <a:pt x="817" y="646"/>
                  </a:lnTo>
                  <a:lnTo>
                    <a:pt x="819" y="646"/>
                  </a:lnTo>
                  <a:lnTo>
                    <a:pt x="819" y="646"/>
                  </a:lnTo>
                  <a:lnTo>
                    <a:pt x="819" y="646"/>
                  </a:lnTo>
                  <a:lnTo>
                    <a:pt x="821" y="646"/>
                  </a:lnTo>
                  <a:lnTo>
                    <a:pt x="823" y="643"/>
                  </a:lnTo>
                  <a:lnTo>
                    <a:pt x="823" y="643"/>
                  </a:lnTo>
                  <a:lnTo>
                    <a:pt x="825" y="643"/>
                  </a:lnTo>
                  <a:lnTo>
                    <a:pt x="825" y="641"/>
                  </a:lnTo>
                  <a:lnTo>
                    <a:pt x="825" y="641"/>
                  </a:lnTo>
                  <a:lnTo>
                    <a:pt x="827" y="641"/>
                  </a:lnTo>
                  <a:lnTo>
                    <a:pt x="827" y="641"/>
                  </a:lnTo>
                  <a:lnTo>
                    <a:pt x="830" y="641"/>
                  </a:lnTo>
                  <a:lnTo>
                    <a:pt x="830" y="643"/>
                  </a:lnTo>
                  <a:lnTo>
                    <a:pt x="830" y="643"/>
                  </a:lnTo>
                  <a:lnTo>
                    <a:pt x="830" y="643"/>
                  </a:lnTo>
                  <a:lnTo>
                    <a:pt x="830" y="646"/>
                  </a:lnTo>
                  <a:lnTo>
                    <a:pt x="832" y="641"/>
                  </a:lnTo>
                  <a:lnTo>
                    <a:pt x="834" y="639"/>
                  </a:lnTo>
                  <a:lnTo>
                    <a:pt x="842" y="633"/>
                  </a:lnTo>
                  <a:lnTo>
                    <a:pt x="842" y="633"/>
                  </a:lnTo>
                  <a:lnTo>
                    <a:pt x="844" y="633"/>
                  </a:lnTo>
                  <a:lnTo>
                    <a:pt x="844" y="633"/>
                  </a:lnTo>
                  <a:lnTo>
                    <a:pt x="844" y="635"/>
                  </a:lnTo>
                  <a:lnTo>
                    <a:pt x="844" y="635"/>
                  </a:lnTo>
                  <a:lnTo>
                    <a:pt x="844" y="635"/>
                  </a:lnTo>
                  <a:lnTo>
                    <a:pt x="844" y="635"/>
                  </a:lnTo>
                  <a:lnTo>
                    <a:pt x="844" y="635"/>
                  </a:lnTo>
                  <a:lnTo>
                    <a:pt x="844" y="635"/>
                  </a:lnTo>
                  <a:lnTo>
                    <a:pt x="844" y="637"/>
                  </a:lnTo>
                  <a:lnTo>
                    <a:pt x="846" y="637"/>
                  </a:lnTo>
                  <a:lnTo>
                    <a:pt x="846" y="637"/>
                  </a:lnTo>
                  <a:lnTo>
                    <a:pt x="846" y="637"/>
                  </a:lnTo>
                  <a:lnTo>
                    <a:pt x="846" y="637"/>
                  </a:lnTo>
                  <a:lnTo>
                    <a:pt x="846" y="637"/>
                  </a:lnTo>
                  <a:lnTo>
                    <a:pt x="846" y="637"/>
                  </a:lnTo>
                  <a:lnTo>
                    <a:pt x="844" y="637"/>
                  </a:lnTo>
                  <a:lnTo>
                    <a:pt x="844" y="637"/>
                  </a:lnTo>
                  <a:lnTo>
                    <a:pt x="844" y="639"/>
                  </a:lnTo>
                  <a:lnTo>
                    <a:pt x="844" y="639"/>
                  </a:lnTo>
                  <a:lnTo>
                    <a:pt x="844" y="639"/>
                  </a:lnTo>
                  <a:lnTo>
                    <a:pt x="844" y="639"/>
                  </a:lnTo>
                  <a:lnTo>
                    <a:pt x="844" y="639"/>
                  </a:lnTo>
                  <a:lnTo>
                    <a:pt x="844" y="639"/>
                  </a:lnTo>
                  <a:lnTo>
                    <a:pt x="846" y="639"/>
                  </a:lnTo>
                  <a:lnTo>
                    <a:pt x="846" y="641"/>
                  </a:lnTo>
                  <a:lnTo>
                    <a:pt x="846" y="641"/>
                  </a:lnTo>
                  <a:lnTo>
                    <a:pt x="846" y="641"/>
                  </a:lnTo>
                  <a:lnTo>
                    <a:pt x="846" y="641"/>
                  </a:lnTo>
                  <a:lnTo>
                    <a:pt x="848" y="641"/>
                  </a:lnTo>
                  <a:lnTo>
                    <a:pt x="848" y="643"/>
                  </a:lnTo>
                  <a:lnTo>
                    <a:pt x="848" y="643"/>
                  </a:lnTo>
                  <a:lnTo>
                    <a:pt x="848" y="643"/>
                  </a:lnTo>
                  <a:lnTo>
                    <a:pt x="848" y="646"/>
                  </a:lnTo>
                  <a:lnTo>
                    <a:pt x="848" y="646"/>
                  </a:lnTo>
                  <a:lnTo>
                    <a:pt x="848" y="646"/>
                  </a:lnTo>
                  <a:lnTo>
                    <a:pt x="848" y="643"/>
                  </a:lnTo>
                  <a:lnTo>
                    <a:pt x="848" y="643"/>
                  </a:lnTo>
                  <a:lnTo>
                    <a:pt x="850" y="643"/>
                  </a:lnTo>
                  <a:lnTo>
                    <a:pt x="850" y="643"/>
                  </a:lnTo>
                  <a:lnTo>
                    <a:pt x="850" y="643"/>
                  </a:lnTo>
                  <a:lnTo>
                    <a:pt x="850" y="643"/>
                  </a:lnTo>
                  <a:lnTo>
                    <a:pt x="852" y="643"/>
                  </a:lnTo>
                  <a:lnTo>
                    <a:pt x="852" y="646"/>
                  </a:lnTo>
                  <a:lnTo>
                    <a:pt x="852" y="646"/>
                  </a:lnTo>
                  <a:lnTo>
                    <a:pt x="852" y="646"/>
                  </a:lnTo>
                  <a:lnTo>
                    <a:pt x="852" y="646"/>
                  </a:lnTo>
                  <a:lnTo>
                    <a:pt x="852" y="648"/>
                  </a:lnTo>
                  <a:lnTo>
                    <a:pt x="852" y="648"/>
                  </a:lnTo>
                  <a:lnTo>
                    <a:pt x="852" y="650"/>
                  </a:lnTo>
                  <a:lnTo>
                    <a:pt x="854" y="650"/>
                  </a:lnTo>
                  <a:lnTo>
                    <a:pt x="854" y="650"/>
                  </a:lnTo>
                  <a:lnTo>
                    <a:pt x="854" y="650"/>
                  </a:lnTo>
                  <a:lnTo>
                    <a:pt x="856" y="650"/>
                  </a:lnTo>
                  <a:lnTo>
                    <a:pt x="856" y="650"/>
                  </a:lnTo>
                  <a:lnTo>
                    <a:pt x="856" y="648"/>
                  </a:lnTo>
                  <a:lnTo>
                    <a:pt x="856" y="648"/>
                  </a:lnTo>
                  <a:lnTo>
                    <a:pt x="856" y="648"/>
                  </a:lnTo>
                  <a:lnTo>
                    <a:pt x="856" y="648"/>
                  </a:lnTo>
                  <a:lnTo>
                    <a:pt x="856" y="648"/>
                  </a:lnTo>
                  <a:lnTo>
                    <a:pt x="856" y="646"/>
                  </a:lnTo>
                  <a:lnTo>
                    <a:pt x="856" y="646"/>
                  </a:lnTo>
                  <a:lnTo>
                    <a:pt x="856" y="646"/>
                  </a:lnTo>
                  <a:lnTo>
                    <a:pt x="858" y="646"/>
                  </a:lnTo>
                  <a:lnTo>
                    <a:pt x="858" y="646"/>
                  </a:lnTo>
                  <a:lnTo>
                    <a:pt x="858" y="646"/>
                  </a:lnTo>
                  <a:lnTo>
                    <a:pt x="858" y="646"/>
                  </a:lnTo>
                  <a:lnTo>
                    <a:pt x="858" y="646"/>
                  </a:lnTo>
                  <a:lnTo>
                    <a:pt x="858" y="643"/>
                  </a:lnTo>
                  <a:lnTo>
                    <a:pt x="858" y="643"/>
                  </a:lnTo>
                  <a:lnTo>
                    <a:pt x="858" y="643"/>
                  </a:lnTo>
                  <a:lnTo>
                    <a:pt x="858" y="641"/>
                  </a:lnTo>
                  <a:lnTo>
                    <a:pt x="858" y="641"/>
                  </a:lnTo>
                  <a:lnTo>
                    <a:pt x="862" y="641"/>
                  </a:lnTo>
                  <a:lnTo>
                    <a:pt x="862" y="641"/>
                  </a:lnTo>
                  <a:lnTo>
                    <a:pt x="862" y="641"/>
                  </a:lnTo>
                  <a:lnTo>
                    <a:pt x="862" y="641"/>
                  </a:lnTo>
                  <a:lnTo>
                    <a:pt x="862" y="643"/>
                  </a:lnTo>
                  <a:lnTo>
                    <a:pt x="862" y="646"/>
                  </a:lnTo>
                  <a:lnTo>
                    <a:pt x="860" y="646"/>
                  </a:lnTo>
                  <a:lnTo>
                    <a:pt x="860" y="648"/>
                  </a:lnTo>
                  <a:lnTo>
                    <a:pt x="860" y="648"/>
                  </a:lnTo>
                  <a:lnTo>
                    <a:pt x="862" y="648"/>
                  </a:lnTo>
                  <a:lnTo>
                    <a:pt x="862" y="648"/>
                  </a:lnTo>
                  <a:lnTo>
                    <a:pt x="864" y="648"/>
                  </a:lnTo>
                  <a:lnTo>
                    <a:pt x="864" y="648"/>
                  </a:lnTo>
                  <a:lnTo>
                    <a:pt x="864" y="648"/>
                  </a:lnTo>
                  <a:lnTo>
                    <a:pt x="864" y="648"/>
                  </a:lnTo>
                  <a:lnTo>
                    <a:pt x="864" y="650"/>
                  </a:lnTo>
                  <a:lnTo>
                    <a:pt x="866" y="652"/>
                  </a:lnTo>
                  <a:lnTo>
                    <a:pt x="870" y="656"/>
                  </a:lnTo>
                  <a:lnTo>
                    <a:pt x="873" y="662"/>
                  </a:lnTo>
                  <a:lnTo>
                    <a:pt x="873" y="664"/>
                  </a:lnTo>
                  <a:lnTo>
                    <a:pt x="875" y="666"/>
                  </a:lnTo>
                  <a:lnTo>
                    <a:pt x="875" y="666"/>
                  </a:lnTo>
                  <a:lnTo>
                    <a:pt x="875" y="668"/>
                  </a:lnTo>
                  <a:lnTo>
                    <a:pt x="875" y="668"/>
                  </a:lnTo>
                  <a:lnTo>
                    <a:pt x="875" y="668"/>
                  </a:lnTo>
                  <a:lnTo>
                    <a:pt x="877" y="668"/>
                  </a:lnTo>
                  <a:lnTo>
                    <a:pt x="877" y="668"/>
                  </a:lnTo>
                  <a:lnTo>
                    <a:pt x="875" y="670"/>
                  </a:lnTo>
                  <a:lnTo>
                    <a:pt x="875" y="670"/>
                  </a:lnTo>
                  <a:lnTo>
                    <a:pt x="875" y="668"/>
                  </a:lnTo>
                  <a:lnTo>
                    <a:pt x="875" y="670"/>
                  </a:lnTo>
                  <a:lnTo>
                    <a:pt x="877" y="670"/>
                  </a:lnTo>
                  <a:lnTo>
                    <a:pt x="881" y="672"/>
                  </a:lnTo>
                  <a:lnTo>
                    <a:pt x="881" y="672"/>
                  </a:lnTo>
                  <a:lnTo>
                    <a:pt x="883" y="670"/>
                  </a:lnTo>
                  <a:lnTo>
                    <a:pt x="881" y="670"/>
                  </a:lnTo>
                  <a:lnTo>
                    <a:pt x="881" y="670"/>
                  </a:lnTo>
                  <a:lnTo>
                    <a:pt x="883" y="670"/>
                  </a:lnTo>
                  <a:lnTo>
                    <a:pt x="883" y="670"/>
                  </a:lnTo>
                  <a:lnTo>
                    <a:pt x="883" y="670"/>
                  </a:lnTo>
                  <a:lnTo>
                    <a:pt x="885" y="668"/>
                  </a:lnTo>
                  <a:lnTo>
                    <a:pt x="885" y="668"/>
                  </a:lnTo>
                  <a:lnTo>
                    <a:pt x="885" y="668"/>
                  </a:lnTo>
                  <a:lnTo>
                    <a:pt x="885" y="666"/>
                  </a:lnTo>
                  <a:lnTo>
                    <a:pt x="885" y="666"/>
                  </a:lnTo>
                  <a:lnTo>
                    <a:pt x="885" y="666"/>
                  </a:lnTo>
                  <a:lnTo>
                    <a:pt x="883" y="666"/>
                  </a:lnTo>
                  <a:lnTo>
                    <a:pt x="883" y="666"/>
                  </a:lnTo>
                  <a:lnTo>
                    <a:pt x="883" y="666"/>
                  </a:lnTo>
                  <a:lnTo>
                    <a:pt x="883" y="664"/>
                  </a:lnTo>
                  <a:lnTo>
                    <a:pt x="883" y="664"/>
                  </a:lnTo>
                  <a:lnTo>
                    <a:pt x="883" y="664"/>
                  </a:lnTo>
                  <a:lnTo>
                    <a:pt x="883" y="664"/>
                  </a:lnTo>
                  <a:lnTo>
                    <a:pt x="883" y="664"/>
                  </a:lnTo>
                  <a:lnTo>
                    <a:pt x="881" y="656"/>
                  </a:lnTo>
                  <a:lnTo>
                    <a:pt x="881" y="654"/>
                  </a:lnTo>
                  <a:lnTo>
                    <a:pt x="881" y="654"/>
                  </a:lnTo>
                  <a:lnTo>
                    <a:pt x="881" y="652"/>
                  </a:lnTo>
                  <a:lnTo>
                    <a:pt x="881" y="652"/>
                  </a:lnTo>
                  <a:lnTo>
                    <a:pt x="881" y="652"/>
                  </a:lnTo>
                  <a:lnTo>
                    <a:pt x="883" y="652"/>
                  </a:lnTo>
                  <a:lnTo>
                    <a:pt x="881" y="652"/>
                  </a:lnTo>
                  <a:lnTo>
                    <a:pt x="881" y="650"/>
                  </a:lnTo>
                  <a:lnTo>
                    <a:pt x="883" y="650"/>
                  </a:lnTo>
                  <a:lnTo>
                    <a:pt x="883" y="650"/>
                  </a:lnTo>
                  <a:lnTo>
                    <a:pt x="883" y="650"/>
                  </a:lnTo>
                  <a:lnTo>
                    <a:pt x="883" y="652"/>
                  </a:lnTo>
                  <a:lnTo>
                    <a:pt x="883" y="652"/>
                  </a:lnTo>
                  <a:lnTo>
                    <a:pt x="883" y="652"/>
                  </a:lnTo>
                  <a:lnTo>
                    <a:pt x="881" y="652"/>
                  </a:lnTo>
                  <a:lnTo>
                    <a:pt x="881" y="654"/>
                  </a:lnTo>
                  <a:lnTo>
                    <a:pt x="881" y="654"/>
                  </a:lnTo>
                  <a:lnTo>
                    <a:pt x="881" y="654"/>
                  </a:lnTo>
                  <a:lnTo>
                    <a:pt x="881" y="654"/>
                  </a:lnTo>
                  <a:lnTo>
                    <a:pt x="881" y="654"/>
                  </a:lnTo>
                  <a:lnTo>
                    <a:pt x="881" y="654"/>
                  </a:lnTo>
                  <a:lnTo>
                    <a:pt x="883" y="654"/>
                  </a:lnTo>
                  <a:lnTo>
                    <a:pt x="883" y="654"/>
                  </a:lnTo>
                  <a:lnTo>
                    <a:pt x="883" y="654"/>
                  </a:lnTo>
                  <a:lnTo>
                    <a:pt x="883" y="654"/>
                  </a:lnTo>
                  <a:lnTo>
                    <a:pt x="883" y="652"/>
                  </a:lnTo>
                  <a:lnTo>
                    <a:pt x="885" y="652"/>
                  </a:lnTo>
                  <a:lnTo>
                    <a:pt x="885" y="652"/>
                  </a:lnTo>
                  <a:lnTo>
                    <a:pt x="883" y="650"/>
                  </a:lnTo>
                  <a:lnTo>
                    <a:pt x="885" y="646"/>
                  </a:lnTo>
                  <a:lnTo>
                    <a:pt x="885" y="646"/>
                  </a:lnTo>
                  <a:lnTo>
                    <a:pt x="885" y="641"/>
                  </a:lnTo>
                  <a:lnTo>
                    <a:pt x="883" y="641"/>
                  </a:lnTo>
                  <a:lnTo>
                    <a:pt x="885" y="641"/>
                  </a:lnTo>
                  <a:lnTo>
                    <a:pt x="885" y="641"/>
                  </a:lnTo>
                  <a:lnTo>
                    <a:pt x="885" y="641"/>
                  </a:lnTo>
                  <a:lnTo>
                    <a:pt x="885" y="643"/>
                  </a:lnTo>
                  <a:lnTo>
                    <a:pt x="885" y="643"/>
                  </a:lnTo>
                  <a:lnTo>
                    <a:pt x="885" y="643"/>
                  </a:lnTo>
                  <a:lnTo>
                    <a:pt x="887" y="643"/>
                  </a:lnTo>
                  <a:lnTo>
                    <a:pt x="885" y="646"/>
                  </a:lnTo>
                  <a:lnTo>
                    <a:pt x="885" y="646"/>
                  </a:lnTo>
                  <a:lnTo>
                    <a:pt x="885" y="646"/>
                  </a:lnTo>
                  <a:lnTo>
                    <a:pt x="885" y="648"/>
                  </a:lnTo>
                  <a:lnTo>
                    <a:pt x="885" y="648"/>
                  </a:lnTo>
                  <a:lnTo>
                    <a:pt x="887" y="648"/>
                  </a:lnTo>
                  <a:lnTo>
                    <a:pt x="887" y="646"/>
                  </a:lnTo>
                  <a:lnTo>
                    <a:pt x="889" y="646"/>
                  </a:lnTo>
                  <a:lnTo>
                    <a:pt x="889" y="643"/>
                  </a:lnTo>
                  <a:lnTo>
                    <a:pt x="891" y="643"/>
                  </a:lnTo>
                  <a:lnTo>
                    <a:pt x="891" y="641"/>
                  </a:lnTo>
                  <a:lnTo>
                    <a:pt x="891" y="641"/>
                  </a:lnTo>
                  <a:lnTo>
                    <a:pt x="891" y="641"/>
                  </a:lnTo>
                  <a:lnTo>
                    <a:pt x="891" y="641"/>
                  </a:lnTo>
                  <a:lnTo>
                    <a:pt x="891" y="641"/>
                  </a:lnTo>
                  <a:lnTo>
                    <a:pt x="891" y="639"/>
                  </a:lnTo>
                  <a:lnTo>
                    <a:pt x="891" y="639"/>
                  </a:lnTo>
                  <a:lnTo>
                    <a:pt x="891" y="639"/>
                  </a:lnTo>
                  <a:lnTo>
                    <a:pt x="891" y="639"/>
                  </a:lnTo>
                  <a:lnTo>
                    <a:pt x="893" y="639"/>
                  </a:lnTo>
                  <a:lnTo>
                    <a:pt x="893" y="639"/>
                  </a:lnTo>
                  <a:lnTo>
                    <a:pt x="893" y="637"/>
                  </a:lnTo>
                  <a:lnTo>
                    <a:pt x="893" y="635"/>
                  </a:lnTo>
                  <a:lnTo>
                    <a:pt x="893" y="633"/>
                  </a:lnTo>
                  <a:lnTo>
                    <a:pt x="891" y="633"/>
                  </a:lnTo>
                  <a:lnTo>
                    <a:pt x="891" y="633"/>
                  </a:lnTo>
                  <a:lnTo>
                    <a:pt x="891" y="633"/>
                  </a:lnTo>
                  <a:lnTo>
                    <a:pt x="891" y="631"/>
                  </a:lnTo>
                  <a:lnTo>
                    <a:pt x="891" y="633"/>
                  </a:lnTo>
                  <a:lnTo>
                    <a:pt x="891" y="633"/>
                  </a:lnTo>
                  <a:lnTo>
                    <a:pt x="893" y="633"/>
                  </a:lnTo>
                  <a:lnTo>
                    <a:pt x="893" y="633"/>
                  </a:lnTo>
                  <a:lnTo>
                    <a:pt x="893" y="633"/>
                  </a:lnTo>
                  <a:lnTo>
                    <a:pt x="893" y="633"/>
                  </a:lnTo>
                  <a:lnTo>
                    <a:pt x="893" y="633"/>
                  </a:lnTo>
                  <a:lnTo>
                    <a:pt x="893" y="635"/>
                  </a:lnTo>
                  <a:lnTo>
                    <a:pt x="893" y="635"/>
                  </a:lnTo>
                  <a:lnTo>
                    <a:pt x="893" y="635"/>
                  </a:lnTo>
                  <a:lnTo>
                    <a:pt x="895" y="637"/>
                  </a:lnTo>
                  <a:lnTo>
                    <a:pt x="895" y="637"/>
                  </a:lnTo>
                  <a:lnTo>
                    <a:pt x="897" y="637"/>
                  </a:lnTo>
                  <a:lnTo>
                    <a:pt x="899" y="639"/>
                  </a:lnTo>
                  <a:lnTo>
                    <a:pt x="901" y="639"/>
                  </a:lnTo>
                  <a:lnTo>
                    <a:pt x="903" y="641"/>
                  </a:lnTo>
                  <a:lnTo>
                    <a:pt x="903" y="643"/>
                  </a:lnTo>
                  <a:lnTo>
                    <a:pt x="905" y="646"/>
                  </a:lnTo>
                  <a:lnTo>
                    <a:pt x="903" y="646"/>
                  </a:lnTo>
                  <a:lnTo>
                    <a:pt x="903" y="648"/>
                  </a:lnTo>
                  <a:lnTo>
                    <a:pt x="905" y="648"/>
                  </a:lnTo>
                  <a:lnTo>
                    <a:pt x="905" y="648"/>
                  </a:lnTo>
                  <a:lnTo>
                    <a:pt x="905" y="648"/>
                  </a:lnTo>
                  <a:lnTo>
                    <a:pt x="905" y="648"/>
                  </a:lnTo>
                  <a:lnTo>
                    <a:pt x="905" y="648"/>
                  </a:lnTo>
                  <a:lnTo>
                    <a:pt x="905" y="648"/>
                  </a:lnTo>
                  <a:lnTo>
                    <a:pt x="905" y="648"/>
                  </a:lnTo>
                  <a:lnTo>
                    <a:pt x="905" y="648"/>
                  </a:lnTo>
                  <a:lnTo>
                    <a:pt x="903" y="648"/>
                  </a:lnTo>
                  <a:lnTo>
                    <a:pt x="903" y="648"/>
                  </a:lnTo>
                  <a:lnTo>
                    <a:pt x="903" y="648"/>
                  </a:lnTo>
                  <a:lnTo>
                    <a:pt x="903" y="646"/>
                  </a:lnTo>
                  <a:lnTo>
                    <a:pt x="903" y="646"/>
                  </a:lnTo>
                  <a:lnTo>
                    <a:pt x="903" y="643"/>
                  </a:lnTo>
                  <a:lnTo>
                    <a:pt x="903" y="643"/>
                  </a:lnTo>
                  <a:lnTo>
                    <a:pt x="901" y="641"/>
                  </a:lnTo>
                  <a:lnTo>
                    <a:pt x="901" y="641"/>
                  </a:lnTo>
                  <a:lnTo>
                    <a:pt x="895" y="639"/>
                  </a:lnTo>
                  <a:lnTo>
                    <a:pt x="895" y="639"/>
                  </a:lnTo>
                  <a:lnTo>
                    <a:pt x="895" y="639"/>
                  </a:lnTo>
                  <a:lnTo>
                    <a:pt x="893" y="639"/>
                  </a:lnTo>
                  <a:lnTo>
                    <a:pt x="893" y="641"/>
                  </a:lnTo>
                  <a:lnTo>
                    <a:pt x="893" y="641"/>
                  </a:lnTo>
                  <a:lnTo>
                    <a:pt x="893" y="641"/>
                  </a:lnTo>
                  <a:lnTo>
                    <a:pt x="893" y="641"/>
                  </a:lnTo>
                  <a:lnTo>
                    <a:pt x="893" y="641"/>
                  </a:lnTo>
                  <a:lnTo>
                    <a:pt x="893" y="641"/>
                  </a:lnTo>
                  <a:lnTo>
                    <a:pt x="893" y="641"/>
                  </a:lnTo>
                  <a:lnTo>
                    <a:pt x="893" y="641"/>
                  </a:lnTo>
                  <a:lnTo>
                    <a:pt x="893" y="641"/>
                  </a:lnTo>
                  <a:lnTo>
                    <a:pt x="893" y="641"/>
                  </a:lnTo>
                  <a:lnTo>
                    <a:pt x="893" y="641"/>
                  </a:lnTo>
                  <a:lnTo>
                    <a:pt x="895" y="643"/>
                  </a:lnTo>
                  <a:lnTo>
                    <a:pt x="893" y="643"/>
                  </a:lnTo>
                  <a:lnTo>
                    <a:pt x="893" y="643"/>
                  </a:lnTo>
                  <a:lnTo>
                    <a:pt x="893" y="646"/>
                  </a:lnTo>
                  <a:lnTo>
                    <a:pt x="893" y="646"/>
                  </a:lnTo>
                  <a:lnTo>
                    <a:pt x="891" y="648"/>
                  </a:lnTo>
                  <a:lnTo>
                    <a:pt x="891" y="648"/>
                  </a:lnTo>
                  <a:lnTo>
                    <a:pt x="891" y="648"/>
                  </a:lnTo>
                  <a:lnTo>
                    <a:pt x="891" y="648"/>
                  </a:lnTo>
                  <a:lnTo>
                    <a:pt x="891" y="650"/>
                  </a:lnTo>
                  <a:lnTo>
                    <a:pt x="891" y="650"/>
                  </a:lnTo>
                  <a:lnTo>
                    <a:pt x="889" y="650"/>
                  </a:lnTo>
                  <a:lnTo>
                    <a:pt x="889" y="650"/>
                  </a:lnTo>
                  <a:lnTo>
                    <a:pt x="891" y="652"/>
                  </a:lnTo>
                  <a:lnTo>
                    <a:pt x="891" y="652"/>
                  </a:lnTo>
                  <a:lnTo>
                    <a:pt x="893" y="654"/>
                  </a:lnTo>
                  <a:lnTo>
                    <a:pt x="895" y="654"/>
                  </a:lnTo>
                  <a:lnTo>
                    <a:pt x="895" y="654"/>
                  </a:lnTo>
                  <a:lnTo>
                    <a:pt x="895" y="656"/>
                  </a:lnTo>
                  <a:lnTo>
                    <a:pt x="895" y="658"/>
                  </a:lnTo>
                  <a:lnTo>
                    <a:pt x="895" y="658"/>
                  </a:lnTo>
                  <a:lnTo>
                    <a:pt x="895" y="660"/>
                  </a:lnTo>
                  <a:lnTo>
                    <a:pt x="897" y="662"/>
                  </a:lnTo>
                  <a:lnTo>
                    <a:pt x="899" y="662"/>
                  </a:lnTo>
                  <a:lnTo>
                    <a:pt x="901" y="662"/>
                  </a:lnTo>
                  <a:lnTo>
                    <a:pt x="905" y="660"/>
                  </a:lnTo>
                  <a:lnTo>
                    <a:pt x="909" y="658"/>
                  </a:lnTo>
                  <a:lnTo>
                    <a:pt x="916" y="656"/>
                  </a:lnTo>
                  <a:lnTo>
                    <a:pt x="918" y="654"/>
                  </a:lnTo>
                  <a:lnTo>
                    <a:pt x="920" y="654"/>
                  </a:lnTo>
                  <a:lnTo>
                    <a:pt x="920" y="654"/>
                  </a:lnTo>
                  <a:lnTo>
                    <a:pt x="922" y="654"/>
                  </a:lnTo>
                  <a:lnTo>
                    <a:pt x="922" y="652"/>
                  </a:lnTo>
                  <a:lnTo>
                    <a:pt x="922" y="652"/>
                  </a:lnTo>
                  <a:lnTo>
                    <a:pt x="922" y="652"/>
                  </a:lnTo>
                  <a:lnTo>
                    <a:pt x="926" y="652"/>
                  </a:lnTo>
                  <a:lnTo>
                    <a:pt x="928" y="650"/>
                  </a:lnTo>
                  <a:lnTo>
                    <a:pt x="930" y="650"/>
                  </a:lnTo>
                  <a:lnTo>
                    <a:pt x="930" y="648"/>
                  </a:lnTo>
                  <a:lnTo>
                    <a:pt x="930" y="648"/>
                  </a:lnTo>
                  <a:lnTo>
                    <a:pt x="932" y="646"/>
                  </a:lnTo>
                  <a:lnTo>
                    <a:pt x="932" y="646"/>
                  </a:lnTo>
                  <a:lnTo>
                    <a:pt x="932" y="643"/>
                  </a:lnTo>
                  <a:lnTo>
                    <a:pt x="934" y="643"/>
                  </a:lnTo>
                  <a:lnTo>
                    <a:pt x="934" y="643"/>
                  </a:lnTo>
                  <a:lnTo>
                    <a:pt x="936" y="643"/>
                  </a:lnTo>
                  <a:lnTo>
                    <a:pt x="936" y="641"/>
                  </a:lnTo>
                  <a:lnTo>
                    <a:pt x="936" y="641"/>
                  </a:lnTo>
                  <a:lnTo>
                    <a:pt x="936" y="641"/>
                  </a:lnTo>
                  <a:lnTo>
                    <a:pt x="936" y="639"/>
                  </a:lnTo>
                  <a:lnTo>
                    <a:pt x="936" y="639"/>
                  </a:lnTo>
                  <a:lnTo>
                    <a:pt x="936" y="637"/>
                  </a:lnTo>
                  <a:lnTo>
                    <a:pt x="936" y="637"/>
                  </a:lnTo>
                  <a:lnTo>
                    <a:pt x="936" y="637"/>
                  </a:lnTo>
                  <a:lnTo>
                    <a:pt x="938" y="635"/>
                  </a:lnTo>
                  <a:lnTo>
                    <a:pt x="938" y="637"/>
                  </a:lnTo>
                  <a:lnTo>
                    <a:pt x="938" y="637"/>
                  </a:lnTo>
                  <a:lnTo>
                    <a:pt x="936" y="637"/>
                  </a:lnTo>
                  <a:lnTo>
                    <a:pt x="936" y="639"/>
                  </a:lnTo>
                  <a:lnTo>
                    <a:pt x="936" y="643"/>
                  </a:lnTo>
                  <a:lnTo>
                    <a:pt x="936" y="643"/>
                  </a:lnTo>
                  <a:lnTo>
                    <a:pt x="936" y="643"/>
                  </a:lnTo>
                  <a:lnTo>
                    <a:pt x="934" y="646"/>
                  </a:lnTo>
                  <a:lnTo>
                    <a:pt x="934" y="646"/>
                  </a:lnTo>
                  <a:lnTo>
                    <a:pt x="932" y="646"/>
                  </a:lnTo>
                  <a:lnTo>
                    <a:pt x="932" y="646"/>
                  </a:lnTo>
                  <a:lnTo>
                    <a:pt x="932" y="648"/>
                  </a:lnTo>
                  <a:lnTo>
                    <a:pt x="932" y="648"/>
                  </a:lnTo>
                  <a:lnTo>
                    <a:pt x="932" y="648"/>
                  </a:lnTo>
                  <a:lnTo>
                    <a:pt x="932" y="648"/>
                  </a:lnTo>
                  <a:lnTo>
                    <a:pt x="932" y="650"/>
                  </a:lnTo>
                  <a:lnTo>
                    <a:pt x="932" y="650"/>
                  </a:lnTo>
                  <a:lnTo>
                    <a:pt x="932" y="650"/>
                  </a:lnTo>
                  <a:lnTo>
                    <a:pt x="932" y="650"/>
                  </a:lnTo>
                  <a:lnTo>
                    <a:pt x="932" y="652"/>
                  </a:lnTo>
                  <a:lnTo>
                    <a:pt x="930" y="656"/>
                  </a:lnTo>
                  <a:lnTo>
                    <a:pt x="930" y="656"/>
                  </a:lnTo>
                  <a:lnTo>
                    <a:pt x="930" y="658"/>
                  </a:lnTo>
                  <a:lnTo>
                    <a:pt x="932" y="658"/>
                  </a:lnTo>
                  <a:lnTo>
                    <a:pt x="932" y="658"/>
                  </a:lnTo>
                  <a:lnTo>
                    <a:pt x="934" y="658"/>
                  </a:lnTo>
                  <a:lnTo>
                    <a:pt x="934" y="658"/>
                  </a:lnTo>
                  <a:lnTo>
                    <a:pt x="932" y="658"/>
                  </a:lnTo>
                  <a:lnTo>
                    <a:pt x="932" y="658"/>
                  </a:lnTo>
                  <a:lnTo>
                    <a:pt x="930" y="658"/>
                  </a:lnTo>
                  <a:lnTo>
                    <a:pt x="928" y="660"/>
                  </a:lnTo>
                  <a:lnTo>
                    <a:pt x="928" y="660"/>
                  </a:lnTo>
                  <a:lnTo>
                    <a:pt x="924" y="662"/>
                  </a:lnTo>
                  <a:lnTo>
                    <a:pt x="922" y="666"/>
                  </a:lnTo>
                  <a:lnTo>
                    <a:pt x="922" y="668"/>
                  </a:lnTo>
                  <a:lnTo>
                    <a:pt x="920" y="668"/>
                  </a:lnTo>
                  <a:lnTo>
                    <a:pt x="920" y="668"/>
                  </a:lnTo>
                  <a:lnTo>
                    <a:pt x="918" y="670"/>
                  </a:lnTo>
                  <a:lnTo>
                    <a:pt x="916" y="676"/>
                  </a:lnTo>
                  <a:lnTo>
                    <a:pt x="916" y="678"/>
                  </a:lnTo>
                  <a:lnTo>
                    <a:pt x="916" y="680"/>
                  </a:lnTo>
                  <a:lnTo>
                    <a:pt x="916" y="680"/>
                  </a:lnTo>
                  <a:lnTo>
                    <a:pt x="916" y="682"/>
                  </a:lnTo>
                  <a:lnTo>
                    <a:pt x="918" y="682"/>
                  </a:lnTo>
                  <a:lnTo>
                    <a:pt x="918" y="684"/>
                  </a:lnTo>
                  <a:lnTo>
                    <a:pt x="918" y="682"/>
                  </a:lnTo>
                  <a:lnTo>
                    <a:pt x="920" y="682"/>
                  </a:lnTo>
                  <a:lnTo>
                    <a:pt x="922" y="682"/>
                  </a:lnTo>
                  <a:lnTo>
                    <a:pt x="926" y="684"/>
                  </a:lnTo>
                  <a:lnTo>
                    <a:pt x="926" y="684"/>
                  </a:lnTo>
                  <a:lnTo>
                    <a:pt x="926" y="687"/>
                  </a:lnTo>
                  <a:lnTo>
                    <a:pt x="926" y="687"/>
                  </a:lnTo>
                  <a:lnTo>
                    <a:pt x="926" y="687"/>
                  </a:lnTo>
                  <a:lnTo>
                    <a:pt x="926" y="687"/>
                  </a:lnTo>
                  <a:lnTo>
                    <a:pt x="926" y="684"/>
                  </a:lnTo>
                  <a:lnTo>
                    <a:pt x="926" y="684"/>
                  </a:lnTo>
                  <a:lnTo>
                    <a:pt x="922" y="684"/>
                  </a:lnTo>
                  <a:lnTo>
                    <a:pt x="920" y="684"/>
                  </a:lnTo>
                  <a:lnTo>
                    <a:pt x="920" y="684"/>
                  </a:lnTo>
                  <a:lnTo>
                    <a:pt x="920" y="684"/>
                  </a:lnTo>
                  <a:lnTo>
                    <a:pt x="918" y="687"/>
                  </a:lnTo>
                  <a:lnTo>
                    <a:pt x="918" y="687"/>
                  </a:lnTo>
                  <a:lnTo>
                    <a:pt x="918" y="687"/>
                  </a:lnTo>
                  <a:lnTo>
                    <a:pt x="916" y="687"/>
                  </a:lnTo>
                  <a:lnTo>
                    <a:pt x="916" y="687"/>
                  </a:lnTo>
                  <a:lnTo>
                    <a:pt x="916" y="687"/>
                  </a:lnTo>
                  <a:lnTo>
                    <a:pt x="913" y="687"/>
                  </a:lnTo>
                  <a:lnTo>
                    <a:pt x="913" y="689"/>
                  </a:lnTo>
                  <a:lnTo>
                    <a:pt x="913" y="689"/>
                  </a:lnTo>
                  <a:lnTo>
                    <a:pt x="913" y="691"/>
                  </a:lnTo>
                  <a:lnTo>
                    <a:pt x="913" y="693"/>
                  </a:lnTo>
                  <a:lnTo>
                    <a:pt x="913" y="697"/>
                  </a:lnTo>
                  <a:lnTo>
                    <a:pt x="911" y="699"/>
                  </a:lnTo>
                  <a:lnTo>
                    <a:pt x="911" y="701"/>
                  </a:lnTo>
                  <a:lnTo>
                    <a:pt x="911" y="705"/>
                  </a:lnTo>
                  <a:lnTo>
                    <a:pt x="909" y="707"/>
                  </a:lnTo>
                  <a:lnTo>
                    <a:pt x="909" y="709"/>
                  </a:lnTo>
                  <a:lnTo>
                    <a:pt x="909" y="709"/>
                  </a:lnTo>
                  <a:lnTo>
                    <a:pt x="909" y="711"/>
                  </a:lnTo>
                  <a:lnTo>
                    <a:pt x="909" y="711"/>
                  </a:lnTo>
                  <a:lnTo>
                    <a:pt x="909" y="713"/>
                  </a:lnTo>
                  <a:lnTo>
                    <a:pt x="909" y="713"/>
                  </a:lnTo>
                  <a:lnTo>
                    <a:pt x="909" y="713"/>
                  </a:lnTo>
                  <a:lnTo>
                    <a:pt x="909" y="715"/>
                  </a:lnTo>
                  <a:lnTo>
                    <a:pt x="911" y="715"/>
                  </a:lnTo>
                  <a:lnTo>
                    <a:pt x="911" y="715"/>
                  </a:lnTo>
                  <a:lnTo>
                    <a:pt x="911" y="713"/>
                  </a:lnTo>
                  <a:lnTo>
                    <a:pt x="911" y="713"/>
                  </a:lnTo>
                  <a:lnTo>
                    <a:pt x="911" y="713"/>
                  </a:lnTo>
                  <a:lnTo>
                    <a:pt x="911" y="713"/>
                  </a:lnTo>
                  <a:lnTo>
                    <a:pt x="911" y="713"/>
                  </a:lnTo>
                  <a:lnTo>
                    <a:pt x="911" y="713"/>
                  </a:lnTo>
                  <a:lnTo>
                    <a:pt x="911" y="713"/>
                  </a:lnTo>
                  <a:lnTo>
                    <a:pt x="911" y="715"/>
                  </a:lnTo>
                  <a:lnTo>
                    <a:pt x="911" y="715"/>
                  </a:lnTo>
                  <a:lnTo>
                    <a:pt x="911" y="715"/>
                  </a:lnTo>
                  <a:lnTo>
                    <a:pt x="911" y="715"/>
                  </a:lnTo>
                  <a:lnTo>
                    <a:pt x="911" y="715"/>
                  </a:lnTo>
                  <a:lnTo>
                    <a:pt x="913" y="717"/>
                  </a:lnTo>
                  <a:lnTo>
                    <a:pt x="913" y="717"/>
                  </a:lnTo>
                  <a:lnTo>
                    <a:pt x="911" y="719"/>
                  </a:lnTo>
                  <a:lnTo>
                    <a:pt x="911" y="721"/>
                  </a:lnTo>
                  <a:lnTo>
                    <a:pt x="911" y="721"/>
                  </a:lnTo>
                  <a:lnTo>
                    <a:pt x="913" y="721"/>
                  </a:lnTo>
                  <a:lnTo>
                    <a:pt x="913" y="721"/>
                  </a:lnTo>
                  <a:lnTo>
                    <a:pt x="913" y="721"/>
                  </a:lnTo>
                  <a:lnTo>
                    <a:pt x="913" y="721"/>
                  </a:lnTo>
                  <a:lnTo>
                    <a:pt x="913" y="721"/>
                  </a:lnTo>
                  <a:lnTo>
                    <a:pt x="913" y="721"/>
                  </a:lnTo>
                  <a:lnTo>
                    <a:pt x="918" y="721"/>
                  </a:lnTo>
                  <a:lnTo>
                    <a:pt x="918" y="721"/>
                  </a:lnTo>
                  <a:lnTo>
                    <a:pt x="916" y="719"/>
                  </a:lnTo>
                  <a:lnTo>
                    <a:pt x="916" y="719"/>
                  </a:lnTo>
                  <a:lnTo>
                    <a:pt x="918" y="717"/>
                  </a:lnTo>
                  <a:lnTo>
                    <a:pt x="918" y="717"/>
                  </a:lnTo>
                  <a:lnTo>
                    <a:pt x="918" y="717"/>
                  </a:lnTo>
                  <a:lnTo>
                    <a:pt x="918" y="717"/>
                  </a:lnTo>
                  <a:lnTo>
                    <a:pt x="918" y="719"/>
                  </a:lnTo>
                  <a:lnTo>
                    <a:pt x="918" y="719"/>
                  </a:lnTo>
                  <a:lnTo>
                    <a:pt x="918" y="719"/>
                  </a:lnTo>
                  <a:lnTo>
                    <a:pt x="918" y="719"/>
                  </a:lnTo>
                  <a:lnTo>
                    <a:pt x="918" y="721"/>
                  </a:lnTo>
                  <a:lnTo>
                    <a:pt x="918" y="721"/>
                  </a:lnTo>
                  <a:lnTo>
                    <a:pt x="918" y="721"/>
                  </a:lnTo>
                  <a:lnTo>
                    <a:pt x="918" y="721"/>
                  </a:lnTo>
                  <a:lnTo>
                    <a:pt x="916" y="721"/>
                  </a:lnTo>
                  <a:lnTo>
                    <a:pt x="916" y="721"/>
                  </a:lnTo>
                  <a:lnTo>
                    <a:pt x="913" y="723"/>
                  </a:lnTo>
                  <a:lnTo>
                    <a:pt x="913" y="723"/>
                  </a:lnTo>
                  <a:lnTo>
                    <a:pt x="913" y="721"/>
                  </a:lnTo>
                  <a:lnTo>
                    <a:pt x="909" y="721"/>
                  </a:lnTo>
                  <a:lnTo>
                    <a:pt x="909" y="721"/>
                  </a:lnTo>
                  <a:lnTo>
                    <a:pt x="911" y="721"/>
                  </a:lnTo>
                  <a:lnTo>
                    <a:pt x="909" y="719"/>
                  </a:lnTo>
                  <a:lnTo>
                    <a:pt x="909" y="717"/>
                  </a:lnTo>
                  <a:lnTo>
                    <a:pt x="909" y="717"/>
                  </a:lnTo>
                  <a:lnTo>
                    <a:pt x="909" y="717"/>
                  </a:lnTo>
                  <a:lnTo>
                    <a:pt x="909" y="717"/>
                  </a:lnTo>
                  <a:lnTo>
                    <a:pt x="909" y="717"/>
                  </a:lnTo>
                  <a:lnTo>
                    <a:pt x="907" y="717"/>
                  </a:lnTo>
                  <a:lnTo>
                    <a:pt x="907" y="717"/>
                  </a:lnTo>
                  <a:lnTo>
                    <a:pt x="905" y="719"/>
                  </a:lnTo>
                  <a:lnTo>
                    <a:pt x="903" y="721"/>
                  </a:lnTo>
                  <a:lnTo>
                    <a:pt x="901" y="721"/>
                  </a:lnTo>
                  <a:lnTo>
                    <a:pt x="901" y="723"/>
                  </a:lnTo>
                  <a:lnTo>
                    <a:pt x="899" y="723"/>
                  </a:lnTo>
                  <a:lnTo>
                    <a:pt x="899" y="725"/>
                  </a:lnTo>
                  <a:lnTo>
                    <a:pt x="897" y="725"/>
                  </a:lnTo>
                  <a:lnTo>
                    <a:pt x="897" y="725"/>
                  </a:lnTo>
                  <a:lnTo>
                    <a:pt x="899" y="725"/>
                  </a:lnTo>
                  <a:lnTo>
                    <a:pt x="899" y="725"/>
                  </a:lnTo>
                  <a:lnTo>
                    <a:pt x="899" y="728"/>
                  </a:lnTo>
                  <a:lnTo>
                    <a:pt x="895" y="728"/>
                  </a:lnTo>
                  <a:lnTo>
                    <a:pt x="893" y="730"/>
                  </a:lnTo>
                  <a:lnTo>
                    <a:pt x="891" y="730"/>
                  </a:lnTo>
                  <a:lnTo>
                    <a:pt x="891" y="730"/>
                  </a:lnTo>
                  <a:lnTo>
                    <a:pt x="883" y="740"/>
                  </a:lnTo>
                  <a:lnTo>
                    <a:pt x="881" y="742"/>
                  </a:lnTo>
                  <a:lnTo>
                    <a:pt x="881" y="744"/>
                  </a:lnTo>
                  <a:lnTo>
                    <a:pt x="881" y="744"/>
                  </a:lnTo>
                  <a:lnTo>
                    <a:pt x="879" y="746"/>
                  </a:lnTo>
                  <a:lnTo>
                    <a:pt x="879" y="746"/>
                  </a:lnTo>
                  <a:lnTo>
                    <a:pt x="879" y="748"/>
                  </a:lnTo>
                  <a:lnTo>
                    <a:pt x="879" y="750"/>
                  </a:lnTo>
                  <a:lnTo>
                    <a:pt x="879" y="752"/>
                  </a:lnTo>
                  <a:lnTo>
                    <a:pt x="881" y="754"/>
                  </a:lnTo>
                  <a:lnTo>
                    <a:pt x="881" y="754"/>
                  </a:lnTo>
                  <a:lnTo>
                    <a:pt x="881" y="754"/>
                  </a:lnTo>
                  <a:lnTo>
                    <a:pt x="881" y="754"/>
                  </a:lnTo>
                  <a:lnTo>
                    <a:pt x="881" y="758"/>
                  </a:lnTo>
                  <a:lnTo>
                    <a:pt x="881" y="756"/>
                  </a:lnTo>
                  <a:lnTo>
                    <a:pt x="879" y="756"/>
                  </a:lnTo>
                  <a:lnTo>
                    <a:pt x="879" y="756"/>
                  </a:lnTo>
                  <a:lnTo>
                    <a:pt x="879" y="756"/>
                  </a:lnTo>
                  <a:lnTo>
                    <a:pt x="877" y="756"/>
                  </a:lnTo>
                  <a:lnTo>
                    <a:pt x="877" y="756"/>
                  </a:lnTo>
                  <a:lnTo>
                    <a:pt x="877" y="756"/>
                  </a:lnTo>
                  <a:lnTo>
                    <a:pt x="875" y="756"/>
                  </a:lnTo>
                  <a:lnTo>
                    <a:pt x="875" y="756"/>
                  </a:lnTo>
                  <a:lnTo>
                    <a:pt x="875" y="754"/>
                  </a:lnTo>
                  <a:lnTo>
                    <a:pt x="873" y="754"/>
                  </a:lnTo>
                  <a:lnTo>
                    <a:pt x="873" y="752"/>
                  </a:lnTo>
                  <a:lnTo>
                    <a:pt x="873" y="752"/>
                  </a:lnTo>
                  <a:lnTo>
                    <a:pt x="870" y="754"/>
                  </a:lnTo>
                  <a:lnTo>
                    <a:pt x="870" y="754"/>
                  </a:lnTo>
                  <a:lnTo>
                    <a:pt x="870" y="756"/>
                  </a:lnTo>
                  <a:lnTo>
                    <a:pt x="870" y="756"/>
                  </a:lnTo>
                  <a:lnTo>
                    <a:pt x="870" y="756"/>
                  </a:lnTo>
                  <a:lnTo>
                    <a:pt x="870" y="754"/>
                  </a:lnTo>
                  <a:lnTo>
                    <a:pt x="868" y="754"/>
                  </a:lnTo>
                  <a:lnTo>
                    <a:pt x="870" y="754"/>
                  </a:lnTo>
                  <a:lnTo>
                    <a:pt x="870" y="754"/>
                  </a:lnTo>
                  <a:lnTo>
                    <a:pt x="873" y="752"/>
                  </a:lnTo>
                  <a:lnTo>
                    <a:pt x="875" y="750"/>
                  </a:lnTo>
                  <a:lnTo>
                    <a:pt x="875" y="750"/>
                  </a:lnTo>
                  <a:lnTo>
                    <a:pt x="875" y="750"/>
                  </a:lnTo>
                  <a:lnTo>
                    <a:pt x="873" y="752"/>
                  </a:lnTo>
                  <a:lnTo>
                    <a:pt x="870" y="752"/>
                  </a:lnTo>
                  <a:lnTo>
                    <a:pt x="868" y="754"/>
                  </a:lnTo>
                  <a:lnTo>
                    <a:pt x="868" y="756"/>
                  </a:lnTo>
                  <a:lnTo>
                    <a:pt x="864" y="756"/>
                  </a:lnTo>
                  <a:lnTo>
                    <a:pt x="864" y="756"/>
                  </a:lnTo>
                  <a:lnTo>
                    <a:pt x="862" y="758"/>
                  </a:lnTo>
                  <a:lnTo>
                    <a:pt x="862" y="758"/>
                  </a:lnTo>
                  <a:lnTo>
                    <a:pt x="862" y="758"/>
                  </a:lnTo>
                  <a:lnTo>
                    <a:pt x="864" y="760"/>
                  </a:lnTo>
                  <a:lnTo>
                    <a:pt x="864" y="760"/>
                  </a:lnTo>
                  <a:lnTo>
                    <a:pt x="862" y="760"/>
                  </a:lnTo>
                  <a:lnTo>
                    <a:pt x="862" y="760"/>
                  </a:lnTo>
                  <a:lnTo>
                    <a:pt x="860" y="760"/>
                  </a:lnTo>
                  <a:lnTo>
                    <a:pt x="860" y="760"/>
                  </a:lnTo>
                  <a:lnTo>
                    <a:pt x="856" y="762"/>
                  </a:lnTo>
                  <a:lnTo>
                    <a:pt x="856" y="762"/>
                  </a:lnTo>
                  <a:lnTo>
                    <a:pt x="854" y="762"/>
                  </a:lnTo>
                  <a:lnTo>
                    <a:pt x="854" y="762"/>
                  </a:lnTo>
                  <a:lnTo>
                    <a:pt x="854" y="762"/>
                  </a:lnTo>
                  <a:lnTo>
                    <a:pt x="856" y="762"/>
                  </a:lnTo>
                  <a:lnTo>
                    <a:pt x="848" y="764"/>
                  </a:lnTo>
                  <a:lnTo>
                    <a:pt x="846" y="766"/>
                  </a:lnTo>
                  <a:lnTo>
                    <a:pt x="842" y="768"/>
                  </a:lnTo>
                  <a:lnTo>
                    <a:pt x="840" y="771"/>
                  </a:lnTo>
                  <a:lnTo>
                    <a:pt x="834" y="773"/>
                  </a:lnTo>
                  <a:lnTo>
                    <a:pt x="834" y="775"/>
                  </a:lnTo>
                  <a:lnTo>
                    <a:pt x="830" y="779"/>
                  </a:lnTo>
                  <a:lnTo>
                    <a:pt x="827" y="781"/>
                  </a:lnTo>
                  <a:lnTo>
                    <a:pt x="827" y="781"/>
                  </a:lnTo>
                  <a:lnTo>
                    <a:pt x="827" y="783"/>
                  </a:lnTo>
                  <a:lnTo>
                    <a:pt x="825" y="783"/>
                  </a:lnTo>
                  <a:lnTo>
                    <a:pt x="825" y="783"/>
                  </a:lnTo>
                  <a:lnTo>
                    <a:pt x="825" y="785"/>
                  </a:lnTo>
                  <a:lnTo>
                    <a:pt x="825" y="787"/>
                  </a:lnTo>
                  <a:lnTo>
                    <a:pt x="825" y="787"/>
                  </a:lnTo>
                  <a:lnTo>
                    <a:pt x="823" y="789"/>
                  </a:lnTo>
                  <a:lnTo>
                    <a:pt x="823" y="791"/>
                  </a:lnTo>
                  <a:lnTo>
                    <a:pt x="821" y="791"/>
                  </a:lnTo>
                  <a:lnTo>
                    <a:pt x="821" y="793"/>
                  </a:lnTo>
                  <a:lnTo>
                    <a:pt x="821" y="793"/>
                  </a:lnTo>
                  <a:lnTo>
                    <a:pt x="821" y="793"/>
                  </a:lnTo>
                  <a:lnTo>
                    <a:pt x="823" y="793"/>
                  </a:lnTo>
                  <a:lnTo>
                    <a:pt x="823" y="793"/>
                  </a:lnTo>
                  <a:lnTo>
                    <a:pt x="821" y="795"/>
                  </a:lnTo>
                  <a:lnTo>
                    <a:pt x="821" y="795"/>
                  </a:lnTo>
                  <a:lnTo>
                    <a:pt x="821" y="795"/>
                  </a:lnTo>
                  <a:lnTo>
                    <a:pt x="821" y="795"/>
                  </a:lnTo>
                  <a:lnTo>
                    <a:pt x="821" y="795"/>
                  </a:lnTo>
                  <a:lnTo>
                    <a:pt x="823" y="795"/>
                  </a:lnTo>
                  <a:lnTo>
                    <a:pt x="827" y="799"/>
                  </a:lnTo>
                  <a:lnTo>
                    <a:pt x="830" y="801"/>
                  </a:lnTo>
                  <a:lnTo>
                    <a:pt x="830" y="801"/>
                  </a:lnTo>
                  <a:lnTo>
                    <a:pt x="830" y="801"/>
                  </a:lnTo>
                  <a:lnTo>
                    <a:pt x="827" y="801"/>
                  </a:lnTo>
                  <a:lnTo>
                    <a:pt x="827" y="803"/>
                  </a:lnTo>
                  <a:lnTo>
                    <a:pt x="830" y="803"/>
                  </a:lnTo>
                  <a:lnTo>
                    <a:pt x="830" y="803"/>
                  </a:lnTo>
                  <a:lnTo>
                    <a:pt x="830" y="805"/>
                  </a:lnTo>
                  <a:lnTo>
                    <a:pt x="830" y="805"/>
                  </a:lnTo>
                  <a:lnTo>
                    <a:pt x="830" y="805"/>
                  </a:lnTo>
                  <a:lnTo>
                    <a:pt x="827" y="805"/>
                  </a:lnTo>
                  <a:lnTo>
                    <a:pt x="825" y="803"/>
                  </a:lnTo>
                  <a:lnTo>
                    <a:pt x="825" y="803"/>
                  </a:lnTo>
                  <a:lnTo>
                    <a:pt x="825" y="803"/>
                  </a:lnTo>
                  <a:lnTo>
                    <a:pt x="825" y="803"/>
                  </a:lnTo>
                  <a:lnTo>
                    <a:pt x="825" y="803"/>
                  </a:lnTo>
                  <a:lnTo>
                    <a:pt x="825" y="803"/>
                  </a:lnTo>
                  <a:lnTo>
                    <a:pt x="823" y="803"/>
                  </a:lnTo>
                  <a:lnTo>
                    <a:pt x="823" y="803"/>
                  </a:lnTo>
                  <a:lnTo>
                    <a:pt x="823" y="803"/>
                  </a:lnTo>
                  <a:lnTo>
                    <a:pt x="823" y="801"/>
                  </a:lnTo>
                  <a:lnTo>
                    <a:pt x="823" y="801"/>
                  </a:lnTo>
                  <a:lnTo>
                    <a:pt x="823" y="801"/>
                  </a:lnTo>
                  <a:lnTo>
                    <a:pt x="823" y="799"/>
                  </a:lnTo>
                  <a:lnTo>
                    <a:pt x="823" y="799"/>
                  </a:lnTo>
                  <a:lnTo>
                    <a:pt x="817" y="799"/>
                  </a:lnTo>
                  <a:lnTo>
                    <a:pt x="817" y="799"/>
                  </a:lnTo>
                  <a:lnTo>
                    <a:pt x="815" y="797"/>
                  </a:lnTo>
                  <a:lnTo>
                    <a:pt x="815" y="797"/>
                  </a:lnTo>
                  <a:lnTo>
                    <a:pt x="815" y="797"/>
                  </a:lnTo>
                  <a:lnTo>
                    <a:pt x="815" y="797"/>
                  </a:lnTo>
                  <a:lnTo>
                    <a:pt x="815" y="797"/>
                  </a:lnTo>
                  <a:lnTo>
                    <a:pt x="815" y="797"/>
                  </a:lnTo>
                  <a:lnTo>
                    <a:pt x="815" y="797"/>
                  </a:lnTo>
                  <a:lnTo>
                    <a:pt x="815" y="797"/>
                  </a:lnTo>
                  <a:lnTo>
                    <a:pt x="815" y="799"/>
                  </a:lnTo>
                  <a:lnTo>
                    <a:pt x="815" y="799"/>
                  </a:lnTo>
                  <a:lnTo>
                    <a:pt x="815" y="801"/>
                  </a:lnTo>
                  <a:lnTo>
                    <a:pt x="815" y="803"/>
                  </a:lnTo>
                  <a:lnTo>
                    <a:pt x="815" y="803"/>
                  </a:lnTo>
                  <a:lnTo>
                    <a:pt x="817" y="803"/>
                  </a:lnTo>
                  <a:lnTo>
                    <a:pt x="817" y="805"/>
                  </a:lnTo>
                  <a:lnTo>
                    <a:pt x="817" y="805"/>
                  </a:lnTo>
                  <a:lnTo>
                    <a:pt x="817" y="805"/>
                  </a:lnTo>
                  <a:lnTo>
                    <a:pt x="817" y="805"/>
                  </a:lnTo>
                  <a:lnTo>
                    <a:pt x="817" y="805"/>
                  </a:lnTo>
                  <a:lnTo>
                    <a:pt x="817" y="805"/>
                  </a:lnTo>
                  <a:lnTo>
                    <a:pt x="817" y="807"/>
                  </a:lnTo>
                  <a:lnTo>
                    <a:pt x="817" y="807"/>
                  </a:lnTo>
                  <a:lnTo>
                    <a:pt x="817" y="807"/>
                  </a:lnTo>
                  <a:lnTo>
                    <a:pt x="817" y="807"/>
                  </a:lnTo>
                  <a:lnTo>
                    <a:pt x="815" y="805"/>
                  </a:lnTo>
                  <a:lnTo>
                    <a:pt x="815" y="805"/>
                  </a:lnTo>
                  <a:lnTo>
                    <a:pt x="815" y="803"/>
                  </a:lnTo>
                  <a:lnTo>
                    <a:pt x="815" y="805"/>
                  </a:lnTo>
                  <a:lnTo>
                    <a:pt x="813" y="805"/>
                  </a:lnTo>
                  <a:lnTo>
                    <a:pt x="813" y="805"/>
                  </a:lnTo>
                  <a:lnTo>
                    <a:pt x="811" y="801"/>
                  </a:lnTo>
                  <a:lnTo>
                    <a:pt x="811" y="801"/>
                  </a:lnTo>
                  <a:lnTo>
                    <a:pt x="809" y="799"/>
                  </a:lnTo>
                  <a:lnTo>
                    <a:pt x="809" y="799"/>
                  </a:lnTo>
                  <a:lnTo>
                    <a:pt x="809" y="799"/>
                  </a:lnTo>
                  <a:lnTo>
                    <a:pt x="811" y="797"/>
                  </a:lnTo>
                  <a:lnTo>
                    <a:pt x="809" y="797"/>
                  </a:lnTo>
                  <a:lnTo>
                    <a:pt x="809" y="797"/>
                  </a:lnTo>
                  <a:lnTo>
                    <a:pt x="809" y="797"/>
                  </a:lnTo>
                  <a:lnTo>
                    <a:pt x="809" y="797"/>
                  </a:lnTo>
                  <a:lnTo>
                    <a:pt x="809" y="797"/>
                  </a:lnTo>
                  <a:lnTo>
                    <a:pt x="807" y="797"/>
                  </a:lnTo>
                  <a:lnTo>
                    <a:pt x="807" y="795"/>
                  </a:lnTo>
                  <a:lnTo>
                    <a:pt x="809" y="795"/>
                  </a:lnTo>
                  <a:lnTo>
                    <a:pt x="809" y="795"/>
                  </a:lnTo>
                  <a:lnTo>
                    <a:pt x="811" y="795"/>
                  </a:lnTo>
                  <a:lnTo>
                    <a:pt x="811" y="795"/>
                  </a:lnTo>
                  <a:lnTo>
                    <a:pt x="813" y="795"/>
                  </a:lnTo>
                  <a:lnTo>
                    <a:pt x="813" y="795"/>
                  </a:lnTo>
                  <a:lnTo>
                    <a:pt x="813" y="793"/>
                  </a:lnTo>
                  <a:lnTo>
                    <a:pt x="813" y="791"/>
                  </a:lnTo>
                  <a:lnTo>
                    <a:pt x="811" y="791"/>
                  </a:lnTo>
                  <a:lnTo>
                    <a:pt x="811" y="791"/>
                  </a:lnTo>
                  <a:lnTo>
                    <a:pt x="811" y="793"/>
                  </a:lnTo>
                  <a:lnTo>
                    <a:pt x="809" y="793"/>
                  </a:lnTo>
                  <a:lnTo>
                    <a:pt x="807" y="793"/>
                  </a:lnTo>
                  <a:lnTo>
                    <a:pt x="807" y="793"/>
                  </a:lnTo>
                  <a:lnTo>
                    <a:pt x="807" y="793"/>
                  </a:lnTo>
                  <a:lnTo>
                    <a:pt x="805" y="793"/>
                  </a:lnTo>
                  <a:lnTo>
                    <a:pt x="805" y="793"/>
                  </a:lnTo>
                  <a:lnTo>
                    <a:pt x="805" y="793"/>
                  </a:lnTo>
                  <a:lnTo>
                    <a:pt x="805" y="793"/>
                  </a:lnTo>
                  <a:lnTo>
                    <a:pt x="803" y="793"/>
                  </a:lnTo>
                  <a:lnTo>
                    <a:pt x="799" y="793"/>
                  </a:lnTo>
                  <a:lnTo>
                    <a:pt x="801" y="791"/>
                  </a:lnTo>
                  <a:lnTo>
                    <a:pt x="801" y="791"/>
                  </a:lnTo>
                  <a:lnTo>
                    <a:pt x="803" y="791"/>
                  </a:lnTo>
                  <a:lnTo>
                    <a:pt x="805" y="789"/>
                  </a:lnTo>
                  <a:lnTo>
                    <a:pt x="799" y="791"/>
                  </a:lnTo>
                  <a:lnTo>
                    <a:pt x="799" y="791"/>
                  </a:lnTo>
                  <a:lnTo>
                    <a:pt x="797" y="791"/>
                  </a:lnTo>
                  <a:lnTo>
                    <a:pt x="795" y="791"/>
                  </a:lnTo>
                  <a:lnTo>
                    <a:pt x="793" y="793"/>
                  </a:lnTo>
                  <a:lnTo>
                    <a:pt x="791" y="793"/>
                  </a:lnTo>
                  <a:lnTo>
                    <a:pt x="789" y="793"/>
                  </a:lnTo>
                  <a:lnTo>
                    <a:pt x="786" y="793"/>
                  </a:lnTo>
                  <a:lnTo>
                    <a:pt x="784" y="793"/>
                  </a:lnTo>
                  <a:lnTo>
                    <a:pt x="784" y="795"/>
                  </a:lnTo>
                  <a:lnTo>
                    <a:pt x="782" y="797"/>
                  </a:lnTo>
                  <a:lnTo>
                    <a:pt x="782" y="797"/>
                  </a:lnTo>
                  <a:lnTo>
                    <a:pt x="778" y="799"/>
                  </a:lnTo>
                  <a:lnTo>
                    <a:pt x="776" y="799"/>
                  </a:lnTo>
                  <a:lnTo>
                    <a:pt x="776" y="799"/>
                  </a:lnTo>
                  <a:lnTo>
                    <a:pt x="774" y="801"/>
                  </a:lnTo>
                  <a:lnTo>
                    <a:pt x="774" y="801"/>
                  </a:lnTo>
                  <a:lnTo>
                    <a:pt x="772" y="803"/>
                  </a:lnTo>
                  <a:lnTo>
                    <a:pt x="760" y="814"/>
                  </a:lnTo>
                  <a:lnTo>
                    <a:pt x="760" y="814"/>
                  </a:lnTo>
                  <a:lnTo>
                    <a:pt x="760" y="814"/>
                  </a:lnTo>
                  <a:lnTo>
                    <a:pt x="760" y="816"/>
                  </a:lnTo>
                  <a:lnTo>
                    <a:pt x="758" y="816"/>
                  </a:lnTo>
                  <a:lnTo>
                    <a:pt x="760" y="816"/>
                  </a:lnTo>
                  <a:lnTo>
                    <a:pt x="760" y="816"/>
                  </a:lnTo>
                  <a:lnTo>
                    <a:pt x="760" y="814"/>
                  </a:lnTo>
                  <a:lnTo>
                    <a:pt x="762" y="814"/>
                  </a:lnTo>
                  <a:lnTo>
                    <a:pt x="762" y="816"/>
                  </a:lnTo>
                  <a:lnTo>
                    <a:pt x="762" y="816"/>
                  </a:lnTo>
                  <a:lnTo>
                    <a:pt x="762" y="816"/>
                  </a:lnTo>
                  <a:lnTo>
                    <a:pt x="762" y="818"/>
                  </a:lnTo>
                  <a:lnTo>
                    <a:pt x="762" y="818"/>
                  </a:lnTo>
                  <a:lnTo>
                    <a:pt x="762" y="818"/>
                  </a:lnTo>
                  <a:lnTo>
                    <a:pt x="762" y="818"/>
                  </a:lnTo>
                  <a:lnTo>
                    <a:pt x="762" y="818"/>
                  </a:lnTo>
                  <a:lnTo>
                    <a:pt x="762" y="818"/>
                  </a:lnTo>
                  <a:lnTo>
                    <a:pt x="762" y="818"/>
                  </a:lnTo>
                  <a:lnTo>
                    <a:pt x="762" y="818"/>
                  </a:lnTo>
                  <a:lnTo>
                    <a:pt x="762" y="818"/>
                  </a:lnTo>
                  <a:lnTo>
                    <a:pt x="760" y="820"/>
                  </a:lnTo>
                  <a:lnTo>
                    <a:pt x="760" y="820"/>
                  </a:lnTo>
                  <a:lnTo>
                    <a:pt x="760" y="820"/>
                  </a:lnTo>
                  <a:lnTo>
                    <a:pt x="760" y="820"/>
                  </a:lnTo>
                  <a:lnTo>
                    <a:pt x="758" y="820"/>
                  </a:lnTo>
                  <a:lnTo>
                    <a:pt x="758" y="818"/>
                  </a:lnTo>
                  <a:lnTo>
                    <a:pt x="758" y="818"/>
                  </a:lnTo>
                  <a:lnTo>
                    <a:pt x="758" y="818"/>
                  </a:lnTo>
                  <a:lnTo>
                    <a:pt x="756" y="820"/>
                  </a:lnTo>
                  <a:lnTo>
                    <a:pt x="754" y="820"/>
                  </a:lnTo>
                  <a:lnTo>
                    <a:pt x="752" y="822"/>
                  </a:lnTo>
                  <a:lnTo>
                    <a:pt x="752" y="822"/>
                  </a:lnTo>
                  <a:lnTo>
                    <a:pt x="750" y="822"/>
                  </a:lnTo>
                  <a:lnTo>
                    <a:pt x="750" y="824"/>
                  </a:lnTo>
                  <a:lnTo>
                    <a:pt x="750" y="824"/>
                  </a:lnTo>
                  <a:lnTo>
                    <a:pt x="752" y="824"/>
                  </a:lnTo>
                  <a:lnTo>
                    <a:pt x="750" y="826"/>
                  </a:lnTo>
                  <a:lnTo>
                    <a:pt x="750" y="826"/>
                  </a:lnTo>
                  <a:lnTo>
                    <a:pt x="748" y="828"/>
                  </a:lnTo>
                  <a:lnTo>
                    <a:pt x="746" y="828"/>
                  </a:lnTo>
                  <a:lnTo>
                    <a:pt x="746" y="826"/>
                  </a:lnTo>
                  <a:lnTo>
                    <a:pt x="746" y="826"/>
                  </a:lnTo>
                  <a:lnTo>
                    <a:pt x="746" y="826"/>
                  </a:lnTo>
                  <a:lnTo>
                    <a:pt x="746" y="826"/>
                  </a:lnTo>
                  <a:lnTo>
                    <a:pt x="746" y="826"/>
                  </a:lnTo>
                  <a:lnTo>
                    <a:pt x="743" y="826"/>
                  </a:lnTo>
                  <a:lnTo>
                    <a:pt x="743" y="826"/>
                  </a:lnTo>
                  <a:lnTo>
                    <a:pt x="743" y="826"/>
                  </a:lnTo>
                  <a:lnTo>
                    <a:pt x="743" y="824"/>
                  </a:lnTo>
                  <a:lnTo>
                    <a:pt x="746" y="824"/>
                  </a:lnTo>
                  <a:lnTo>
                    <a:pt x="746" y="824"/>
                  </a:lnTo>
                  <a:lnTo>
                    <a:pt x="746" y="824"/>
                  </a:lnTo>
                  <a:lnTo>
                    <a:pt x="746" y="822"/>
                  </a:lnTo>
                  <a:lnTo>
                    <a:pt x="741" y="826"/>
                  </a:lnTo>
                  <a:lnTo>
                    <a:pt x="735" y="828"/>
                  </a:lnTo>
                  <a:lnTo>
                    <a:pt x="735" y="828"/>
                  </a:lnTo>
                  <a:lnTo>
                    <a:pt x="735" y="828"/>
                  </a:lnTo>
                  <a:lnTo>
                    <a:pt x="735" y="828"/>
                  </a:lnTo>
                  <a:lnTo>
                    <a:pt x="735" y="828"/>
                  </a:lnTo>
                  <a:lnTo>
                    <a:pt x="735" y="828"/>
                  </a:lnTo>
                  <a:lnTo>
                    <a:pt x="735" y="830"/>
                  </a:lnTo>
                  <a:lnTo>
                    <a:pt x="735" y="830"/>
                  </a:lnTo>
                  <a:lnTo>
                    <a:pt x="735" y="830"/>
                  </a:lnTo>
                  <a:lnTo>
                    <a:pt x="735" y="832"/>
                  </a:lnTo>
                  <a:lnTo>
                    <a:pt x="735" y="834"/>
                  </a:lnTo>
                  <a:lnTo>
                    <a:pt x="735" y="834"/>
                  </a:lnTo>
                  <a:lnTo>
                    <a:pt x="737" y="836"/>
                  </a:lnTo>
                  <a:lnTo>
                    <a:pt x="737" y="836"/>
                  </a:lnTo>
                  <a:lnTo>
                    <a:pt x="735" y="838"/>
                  </a:lnTo>
                  <a:lnTo>
                    <a:pt x="735" y="836"/>
                  </a:lnTo>
                  <a:lnTo>
                    <a:pt x="735" y="836"/>
                  </a:lnTo>
                  <a:lnTo>
                    <a:pt x="733" y="836"/>
                  </a:lnTo>
                  <a:lnTo>
                    <a:pt x="733" y="838"/>
                  </a:lnTo>
                  <a:lnTo>
                    <a:pt x="735" y="838"/>
                  </a:lnTo>
                  <a:lnTo>
                    <a:pt x="735" y="838"/>
                  </a:lnTo>
                  <a:lnTo>
                    <a:pt x="735" y="838"/>
                  </a:lnTo>
                  <a:lnTo>
                    <a:pt x="735" y="838"/>
                  </a:lnTo>
                  <a:lnTo>
                    <a:pt x="735" y="838"/>
                  </a:lnTo>
                  <a:lnTo>
                    <a:pt x="733" y="838"/>
                  </a:lnTo>
                  <a:lnTo>
                    <a:pt x="733" y="840"/>
                  </a:lnTo>
                  <a:lnTo>
                    <a:pt x="733" y="840"/>
                  </a:lnTo>
                  <a:lnTo>
                    <a:pt x="733" y="840"/>
                  </a:lnTo>
                  <a:lnTo>
                    <a:pt x="733" y="840"/>
                  </a:lnTo>
                  <a:lnTo>
                    <a:pt x="731" y="840"/>
                  </a:lnTo>
                  <a:lnTo>
                    <a:pt x="731" y="842"/>
                  </a:lnTo>
                  <a:lnTo>
                    <a:pt x="733" y="842"/>
                  </a:lnTo>
                  <a:lnTo>
                    <a:pt x="733" y="844"/>
                  </a:lnTo>
                  <a:lnTo>
                    <a:pt x="733" y="844"/>
                  </a:lnTo>
                  <a:lnTo>
                    <a:pt x="733" y="844"/>
                  </a:lnTo>
                  <a:lnTo>
                    <a:pt x="735" y="842"/>
                  </a:lnTo>
                  <a:lnTo>
                    <a:pt x="735" y="842"/>
                  </a:lnTo>
                  <a:lnTo>
                    <a:pt x="737" y="842"/>
                  </a:lnTo>
                  <a:lnTo>
                    <a:pt x="737" y="842"/>
                  </a:lnTo>
                  <a:lnTo>
                    <a:pt x="739" y="840"/>
                  </a:lnTo>
                  <a:lnTo>
                    <a:pt x="739" y="840"/>
                  </a:lnTo>
                  <a:lnTo>
                    <a:pt x="741" y="838"/>
                  </a:lnTo>
                  <a:lnTo>
                    <a:pt x="743" y="838"/>
                  </a:lnTo>
                  <a:lnTo>
                    <a:pt x="743" y="838"/>
                  </a:lnTo>
                  <a:lnTo>
                    <a:pt x="741" y="836"/>
                  </a:lnTo>
                  <a:lnTo>
                    <a:pt x="741" y="836"/>
                  </a:lnTo>
                  <a:lnTo>
                    <a:pt x="741" y="836"/>
                  </a:lnTo>
                  <a:lnTo>
                    <a:pt x="739" y="834"/>
                  </a:lnTo>
                  <a:lnTo>
                    <a:pt x="739" y="834"/>
                  </a:lnTo>
                  <a:lnTo>
                    <a:pt x="737" y="832"/>
                  </a:lnTo>
                  <a:lnTo>
                    <a:pt x="739" y="830"/>
                  </a:lnTo>
                  <a:lnTo>
                    <a:pt x="739" y="830"/>
                  </a:lnTo>
                  <a:lnTo>
                    <a:pt x="737" y="830"/>
                  </a:lnTo>
                  <a:lnTo>
                    <a:pt x="737" y="830"/>
                  </a:lnTo>
                  <a:lnTo>
                    <a:pt x="737" y="830"/>
                  </a:lnTo>
                  <a:lnTo>
                    <a:pt x="739" y="830"/>
                  </a:lnTo>
                  <a:lnTo>
                    <a:pt x="739" y="830"/>
                  </a:lnTo>
                  <a:lnTo>
                    <a:pt x="739" y="830"/>
                  </a:lnTo>
                  <a:lnTo>
                    <a:pt x="739" y="830"/>
                  </a:lnTo>
                  <a:lnTo>
                    <a:pt x="739" y="830"/>
                  </a:lnTo>
                  <a:lnTo>
                    <a:pt x="739" y="828"/>
                  </a:lnTo>
                  <a:lnTo>
                    <a:pt x="739" y="828"/>
                  </a:lnTo>
                  <a:lnTo>
                    <a:pt x="739" y="828"/>
                  </a:lnTo>
                  <a:lnTo>
                    <a:pt x="741" y="828"/>
                  </a:lnTo>
                  <a:lnTo>
                    <a:pt x="741" y="828"/>
                  </a:lnTo>
                  <a:lnTo>
                    <a:pt x="741" y="828"/>
                  </a:lnTo>
                  <a:lnTo>
                    <a:pt x="741" y="830"/>
                  </a:lnTo>
                  <a:lnTo>
                    <a:pt x="741" y="830"/>
                  </a:lnTo>
                  <a:lnTo>
                    <a:pt x="739" y="830"/>
                  </a:lnTo>
                  <a:lnTo>
                    <a:pt x="741" y="830"/>
                  </a:lnTo>
                  <a:lnTo>
                    <a:pt x="741" y="830"/>
                  </a:lnTo>
                  <a:lnTo>
                    <a:pt x="741" y="830"/>
                  </a:lnTo>
                  <a:lnTo>
                    <a:pt x="741" y="830"/>
                  </a:lnTo>
                  <a:lnTo>
                    <a:pt x="743" y="830"/>
                  </a:lnTo>
                  <a:lnTo>
                    <a:pt x="743" y="830"/>
                  </a:lnTo>
                  <a:lnTo>
                    <a:pt x="743" y="830"/>
                  </a:lnTo>
                  <a:lnTo>
                    <a:pt x="743" y="832"/>
                  </a:lnTo>
                  <a:lnTo>
                    <a:pt x="746" y="832"/>
                  </a:lnTo>
                  <a:lnTo>
                    <a:pt x="746" y="834"/>
                  </a:lnTo>
                  <a:lnTo>
                    <a:pt x="746" y="834"/>
                  </a:lnTo>
                  <a:lnTo>
                    <a:pt x="748" y="834"/>
                  </a:lnTo>
                  <a:lnTo>
                    <a:pt x="748" y="834"/>
                  </a:lnTo>
                  <a:lnTo>
                    <a:pt x="746" y="834"/>
                  </a:lnTo>
                  <a:lnTo>
                    <a:pt x="746" y="836"/>
                  </a:lnTo>
                  <a:lnTo>
                    <a:pt x="746" y="836"/>
                  </a:lnTo>
                  <a:lnTo>
                    <a:pt x="746" y="836"/>
                  </a:lnTo>
                  <a:lnTo>
                    <a:pt x="746" y="838"/>
                  </a:lnTo>
                  <a:lnTo>
                    <a:pt x="746" y="838"/>
                  </a:lnTo>
                  <a:lnTo>
                    <a:pt x="746" y="838"/>
                  </a:lnTo>
                  <a:lnTo>
                    <a:pt x="748" y="838"/>
                  </a:lnTo>
                  <a:lnTo>
                    <a:pt x="748" y="840"/>
                  </a:lnTo>
                  <a:lnTo>
                    <a:pt x="750" y="840"/>
                  </a:lnTo>
                  <a:lnTo>
                    <a:pt x="752" y="840"/>
                  </a:lnTo>
                  <a:lnTo>
                    <a:pt x="752" y="840"/>
                  </a:lnTo>
                  <a:lnTo>
                    <a:pt x="752" y="838"/>
                  </a:lnTo>
                  <a:lnTo>
                    <a:pt x="752" y="838"/>
                  </a:lnTo>
                  <a:lnTo>
                    <a:pt x="752" y="838"/>
                  </a:lnTo>
                  <a:lnTo>
                    <a:pt x="752" y="838"/>
                  </a:lnTo>
                  <a:lnTo>
                    <a:pt x="752" y="838"/>
                  </a:lnTo>
                  <a:lnTo>
                    <a:pt x="754" y="836"/>
                  </a:lnTo>
                  <a:lnTo>
                    <a:pt x="754" y="836"/>
                  </a:lnTo>
                  <a:lnTo>
                    <a:pt x="754" y="834"/>
                  </a:lnTo>
                  <a:lnTo>
                    <a:pt x="754" y="834"/>
                  </a:lnTo>
                  <a:lnTo>
                    <a:pt x="756" y="834"/>
                  </a:lnTo>
                  <a:lnTo>
                    <a:pt x="756" y="834"/>
                  </a:lnTo>
                  <a:lnTo>
                    <a:pt x="756" y="836"/>
                  </a:lnTo>
                  <a:lnTo>
                    <a:pt x="756" y="836"/>
                  </a:lnTo>
                  <a:lnTo>
                    <a:pt x="756" y="836"/>
                  </a:lnTo>
                  <a:lnTo>
                    <a:pt x="754" y="836"/>
                  </a:lnTo>
                  <a:lnTo>
                    <a:pt x="756" y="836"/>
                  </a:lnTo>
                  <a:lnTo>
                    <a:pt x="756" y="838"/>
                  </a:lnTo>
                  <a:lnTo>
                    <a:pt x="756" y="838"/>
                  </a:lnTo>
                  <a:lnTo>
                    <a:pt x="758" y="840"/>
                  </a:lnTo>
                  <a:lnTo>
                    <a:pt x="756" y="834"/>
                  </a:lnTo>
                  <a:lnTo>
                    <a:pt x="756" y="832"/>
                  </a:lnTo>
                  <a:lnTo>
                    <a:pt x="756" y="834"/>
                  </a:lnTo>
                  <a:lnTo>
                    <a:pt x="756" y="834"/>
                  </a:lnTo>
                  <a:lnTo>
                    <a:pt x="756" y="832"/>
                  </a:lnTo>
                  <a:lnTo>
                    <a:pt x="756" y="832"/>
                  </a:lnTo>
                  <a:lnTo>
                    <a:pt x="756" y="830"/>
                  </a:lnTo>
                  <a:lnTo>
                    <a:pt x="756" y="830"/>
                  </a:lnTo>
                  <a:lnTo>
                    <a:pt x="756" y="830"/>
                  </a:lnTo>
                  <a:lnTo>
                    <a:pt x="756" y="830"/>
                  </a:lnTo>
                  <a:lnTo>
                    <a:pt x="756" y="830"/>
                  </a:lnTo>
                  <a:lnTo>
                    <a:pt x="756" y="830"/>
                  </a:lnTo>
                  <a:lnTo>
                    <a:pt x="756" y="830"/>
                  </a:lnTo>
                  <a:lnTo>
                    <a:pt x="756" y="830"/>
                  </a:lnTo>
                  <a:lnTo>
                    <a:pt x="758" y="830"/>
                  </a:lnTo>
                  <a:lnTo>
                    <a:pt x="758" y="830"/>
                  </a:lnTo>
                  <a:lnTo>
                    <a:pt x="758" y="830"/>
                  </a:lnTo>
                  <a:lnTo>
                    <a:pt x="758" y="830"/>
                  </a:lnTo>
                  <a:lnTo>
                    <a:pt x="758" y="828"/>
                  </a:lnTo>
                  <a:lnTo>
                    <a:pt x="756" y="828"/>
                  </a:lnTo>
                  <a:lnTo>
                    <a:pt x="756" y="828"/>
                  </a:lnTo>
                  <a:lnTo>
                    <a:pt x="754" y="826"/>
                  </a:lnTo>
                  <a:lnTo>
                    <a:pt x="754" y="826"/>
                  </a:lnTo>
                  <a:lnTo>
                    <a:pt x="754" y="824"/>
                  </a:lnTo>
                  <a:lnTo>
                    <a:pt x="756" y="824"/>
                  </a:lnTo>
                  <a:lnTo>
                    <a:pt x="756" y="822"/>
                  </a:lnTo>
                  <a:lnTo>
                    <a:pt x="756" y="822"/>
                  </a:lnTo>
                  <a:lnTo>
                    <a:pt x="758" y="822"/>
                  </a:lnTo>
                  <a:lnTo>
                    <a:pt x="758" y="822"/>
                  </a:lnTo>
                  <a:lnTo>
                    <a:pt x="758" y="822"/>
                  </a:lnTo>
                  <a:lnTo>
                    <a:pt x="760" y="822"/>
                  </a:lnTo>
                  <a:lnTo>
                    <a:pt x="760" y="822"/>
                  </a:lnTo>
                  <a:lnTo>
                    <a:pt x="758" y="824"/>
                  </a:lnTo>
                  <a:lnTo>
                    <a:pt x="760" y="824"/>
                  </a:lnTo>
                  <a:lnTo>
                    <a:pt x="760" y="824"/>
                  </a:lnTo>
                  <a:lnTo>
                    <a:pt x="760" y="828"/>
                  </a:lnTo>
                  <a:lnTo>
                    <a:pt x="762" y="828"/>
                  </a:lnTo>
                  <a:lnTo>
                    <a:pt x="762" y="830"/>
                  </a:lnTo>
                  <a:lnTo>
                    <a:pt x="762" y="832"/>
                  </a:lnTo>
                  <a:lnTo>
                    <a:pt x="764" y="832"/>
                  </a:lnTo>
                  <a:lnTo>
                    <a:pt x="764" y="832"/>
                  </a:lnTo>
                  <a:lnTo>
                    <a:pt x="762" y="832"/>
                  </a:lnTo>
                  <a:lnTo>
                    <a:pt x="762" y="832"/>
                  </a:lnTo>
                  <a:lnTo>
                    <a:pt x="760" y="832"/>
                  </a:lnTo>
                  <a:lnTo>
                    <a:pt x="760" y="832"/>
                  </a:lnTo>
                  <a:lnTo>
                    <a:pt x="760" y="832"/>
                  </a:lnTo>
                  <a:lnTo>
                    <a:pt x="760" y="834"/>
                  </a:lnTo>
                  <a:lnTo>
                    <a:pt x="760" y="834"/>
                  </a:lnTo>
                  <a:lnTo>
                    <a:pt x="760" y="834"/>
                  </a:lnTo>
                  <a:lnTo>
                    <a:pt x="762" y="836"/>
                  </a:lnTo>
                  <a:lnTo>
                    <a:pt x="762" y="836"/>
                  </a:lnTo>
                  <a:lnTo>
                    <a:pt x="764" y="836"/>
                  </a:lnTo>
                  <a:lnTo>
                    <a:pt x="764" y="836"/>
                  </a:lnTo>
                  <a:lnTo>
                    <a:pt x="764" y="836"/>
                  </a:lnTo>
                  <a:lnTo>
                    <a:pt x="764" y="834"/>
                  </a:lnTo>
                  <a:lnTo>
                    <a:pt x="766" y="834"/>
                  </a:lnTo>
                  <a:lnTo>
                    <a:pt x="766" y="836"/>
                  </a:lnTo>
                  <a:lnTo>
                    <a:pt x="766" y="836"/>
                  </a:lnTo>
                  <a:lnTo>
                    <a:pt x="766" y="836"/>
                  </a:lnTo>
                  <a:lnTo>
                    <a:pt x="766" y="838"/>
                  </a:lnTo>
                  <a:lnTo>
                    <a:pt x="766" y="838"/>
                  </a:lnTo>
                  <a:lnTo>
                    <a:pt x="766" y="836"/>
                  </a:lnTo>
                  <a:lnTo>
                    <a:pt x="768" y="836"/>
                  </a:lnTo>
                  <a:lnTo>
                    <a:pt x="768" y="836"/>
                  </a:lnTo>
                  <a:lnTo>
                    <a:pt x="768" y="836"/>
                  </a:lnTo>
                  <a:lnTo>
                    <a:pt x="768" y="834"/>
                  </a:lnTo>
                  <a:lnTo>
                    <a:pt x="768" y="832"/>
                  </a:lnTo>
                  <a:lnTo>
                    <a:pt x="770" y="832"/>
                  </a:lnTo>
                  <a:lnTo>
                    <a:pt x="772" y="830"/>
                  </a:lnTo>
                  <a:lnTo>
                    <a:pt x="772" y="830"/>
                  </a:lnTo>
                  <a:lnTo>
                    <a:pt x="772" y="832"/>
                  </a:lnTo>
                  <a:lnTo>
                    <a:pt x="772" y="832"/>
                  </a:lnTo>
                  <a:lnTo>
                    <a:pt x="772" y="832"/>
                  </a:lnTo>
                  <a:lnTo>
                    <a:pt x="772" y="832"/>
                  </a:lnTo>
                  <a:lnTo>
                    <a:pt x="772" y="832"/>
                  </a:lnTo>
                  <a:lnTo>
                    <a:pt x="770" y="832"/>
                  </a:lnTo>
                  <a:lnTo>
                    <a:pt x="770" y="834"/>
                  </a:lnTo>
                  <a:lnTo>
                    <a:pt x="772" y="834"/>
                  </a:lnTo>
                  <a:lnTo>
                    <a:pt x="772" y="834"/>
                  </a:lnTo>
                  <a:lnTo>
                    <a:pt x="772" y="834"/>
                  </a:lnTo>
                  <a:lnTo>
                    <a:pt x="774" y="834"/>
                  </a:lnTo>
                  <a:lnTo>
                    <a:pt x="774" y="834"/>
                  </a:lnTo>
                  <a:lnTo>
                    <a:pt x="776" y="834"/>
                  </a:lnTo>
                  <a:lnTo>
                    <a:pt x="776" y="832"/>
                  </a:lnTo>
                  <a:lnTo>
                    <a:pt x="776" y="832"/>
                  </a:lnTo>
                  <a:lnTo>
                    <a:pt x="776" y="832"/>
                  </a:lnTo>
                  <a:lnTo>
                    <a:pt x="776" y="832"/>
                  </a:lnTo>
                  <a:lnTo>
                    <a:pt x="776" y="832"/>
                  </a:lnTo>
                  <a:lnTo>
                    <a:pt x="774" y="830"/>
                  </a:lnTo>
                  <a:lnTo>
                    <a:pt x="774" y="830"/>
                  </a:lnTo>
                  <a:lnTo>
                    <a:pt x="774" y="828"/>
                  </a:lnTo>
                  <a:lnTo>
                    <a:pt x="774" y="828"/>
                  </a:lnTo>
                  <a:lnTo>
                    <a:pt x="774" y="828"/>
                  </a:lnTo>
                  <a:lnTo>
                    <a:pt x="774" y="826"/>
                  </a:lnTo>
                  <a:lnTo>
                    <a:pt x="776" y="828"/>
                  </a:lnTo>
                  <a:lnTo>
                    <a:pt x="776" y="828"/>
                  </a:lnTo>
                  <a:lnTo>
                    <a:pt x="778" y="828"/>
                  </a:lnTo>
                  <a:lnTo>
                    <a:pt x="778" y="828"/>
                  </a:lnTo>
                  <a:lnTo>
                    <a:pt x="776" y="828"/>
                  </a:lnTo>
                  <a:lnTo>
                    <a:pt x="776" y="828"/>
                  </a:lnTo>
                  <a:lnTo>
                    <a:pt x="776" y="828"/>
                  </a:lnTo>
                  <a:lnTo>
                    <a:pt x="778" y="828"/>
                  </a:lnTo>
                  <a:lnTo>
                    <a:pt x="778" y="828"/>
                  </a:lnTo>
                  <a:lnTo>
                    <a:pt x="778" y="828"/>
                  </a:lnTo>
                  <a:lnTo>
                    <a:pt x="778" y="828"/>
                  </a:lnTo>
                  <a:lnTo>
                    <a:pt x="778" y="828"/>
                  </a:lnTo>
                  <a:lnTo>
                    <a:pt x="778" y="828"/>
                  </a:lnTo>
                  <a:lnTo>
                    <a:pt x="780" y="826"/>
                  </a:lnTo>
                  <a:lnTo>
                    <a:pt x="780" y="824"/>
                  </a:lnTo>
                  <a:lnTo>
                    <a:pt x="782" y="824"/>
                  </a:lnTo>
                  <a:lnTo>
                    <a:pt x="784" y="820"/>
                  </a:lnTo>
                  <a:lnTo>
                    <a:pt x="784" y="820"/>
                  </a:lnTo>
                  <a:lnTo>
                    <a:pt x="784" y="820"/>
                  </a:lnTo>
                  <a:lnTo>
                    <a:pt x="784" y="818"/>
                  </a:lnTo>
                  <a:lnTo>
                    <a:pt x="784" y="818"/>
                  </a:lnTo>
                  <a:lnTo>
                    <a:pt x="786" y="816"/>
                  </a:lnTo>
                  <a:lnTo>
                    <a:pt x="786" y="816"/>
                  </a:lnTo>
                  <a:lnTo>
                    <a:pt x="786" y="816"/>
                  </a:lnTo>
                  <a:lnTo>
                    <a:pt x="786" y="816"/>
                  </a:lnTo>
                  <a:lnTo>
                    <a:pt x="786" y="814"/>
                  </a:lnTo>
                  <a:lnTo>
                    <a:pt x="786" y="814"/>
                  </a:lnTo>
                  <a:lnTo>
                    <a:pt x="786" y="814"/>
                  </a:lnTo>
                  <a:lnTo>
                    <a:pt x="789" y="812"/>
                  </a:lnTo>
                  <a:lnTo>
                    <a:pt x="789" y="809"/>
                  </a:lnTo>
                  <a:lnTo>
                    <a:pt x="789" y="809"/>
                  </a:lnTo>
                  <a:lnTo>
                    <a:pt x="789" y="809"/>
                  </a:lnTo>
                  <a:lnTo>
                    <a:pt x="789" y="809"/>
                  </a:lnTo>
                  <a:lnTo>
                    <a:pt x="789" y="809"/>
                  </a:lnTo>
                  <a:lnTo>
                    <a:pt x="795" y="807"/>
                  </a:lnTo>
                  <a:lnTo>
                    <a:pt x="795" y="809"/>
                  </a:lnTo>
                  <a:lnTo>
                    <a:pt x="797" y="809"/>
                  </a:lnTo>
                  <a:lnTo>
                    <a:pt x="797" y="812"/>
                  </a:lnTo>
                  <a:lnTo>
                    <a:pt x="799" y="812"/>
                  </a:lnTo>
                  <a:lnTo>
                    <a:pt x="799" y="812"/>
                  </a:lnTo>
                  <a:lnTo>
                    <a:pt x="799" y="812"/>
                  </a:lnTo>
                  <a:lnTo>
                    <a:pt x="799" y="814"/>
                  </a:lnTo>
                  <a:lnTo>
                    <a:pt x="799" y="814"/>
                  </a:lnTo>
                  <a:lnTo>
                    <a:pt x="803" y="814"/>
                  </a:lnTo>
                  <a:lnTo>
                    <a:pt x="803" y="814"/>
                  </a:lnTo>
                  <a:lnTo>
                    <a:pt x="803" y="816"/>
                  </a:lnTo>
                  <a:lnTo>
                    <a:pt x="801" y="816"/>
                  </a:lnTo>
                  <a:lnTo>
                    <a:pt x="799" y="814"/>
                  </a:lnTo>
                  <a:lnTo>
                    <a:pt x="797" y="814"/>
                  </a:lnTo>
                  <a:lnTo>
                    <a:pt x="797" y="812"/>
                  </a:lnTo>
                  <a:lnTo>
                    <a:pt x="797" y="812"/>
                  </a:lnTo>
                  <a:lnTo>
                    <a:pt x="795" y="812"/>
                  </a:lnTo>
                  <a:lnTo>
                    <a:pt x="795" y="814"/>
                  </a:lnTo>
                  <a:lnTo>
                    <a:pt x="793" y="814"/>
                  </a:lnTo>
                  <a:lnTo>
                    <a:pt x="793" y="816"/>
                  </a:lnTo>
                  <a:lnTo>
                    <a:pt x="793" y="816"/>
                  </a:lnTo>
                  <a:lnTo>
                    <a:pt x="793" y="816"/>
                  </a:lnTo>
                  <a:lnTo>
                    <a:pt x="793" y="818"/>
                  </a:lnTo>
                  <a:lnTo>
                    <a:pt x="793" y="820"/>
                  </a:lnTo>
                  <a:lnTo>
                    <a:pt x="791" y="822"/>
                  </a:lnTo>
                  <a:lnTo>
                    <a:pt x="791" y="822"/>
                  </a:lnTo>
                  <a:lnTo>
                    <a:pt x="791" y="822"/>
                  </a:lnTo>
                  <a:lnTo>
                    <a:pt x="791" y="822"/>
                  </a:lnTo>
                  <a:lnTo>
                    <a:pt x="795" y="822"/>
                  </a:lnTo>
                  <a:lnTo>
                    <a:pt x="797" y="822"/>
                  </a:lnTo>
                  <a:lnTo>
                    <a:pt x="797" y="824"/>
                  </a:lnTo>
                  <a:lnTo>
                    <a:pt x="797" y="824"/>
                  </a:lnTo>
                  <a:lnTo>
                    <a:pt x="797" y="824"/>
                  </a:lnTo>
                  <a:lnTo>
                    <a:pt x="803" y="822"/>
                  </a:lnTo>
                  <a:lnTo>
                    <a:pt x="805" y="820"/>
                  </a:lnTo>
                  <a:lnTo>
                    <a:pt x="807" y="820"/>
                  </a:lnTo>
                  <a:lnTo>
                    <a:pt x="807" y="818"/>
                  </a:lnTo>
                  <a:lnTo>
                    <a:pt x="809" y="816"/>
                  </a:lnTo>
                  <a:lnTo>
                    <a:pt x="811" y="816"/>
                  </a:lnTo>
                  <a:lnTo>
                    <a:pt x="811" y="816"/>
                  </a:lnTo>
                  <a:lnTo>
                    <a:pt x="811" y="818"/>
                  </a:lnTo>
                  <a:lnTo>
                    <a:pt x="811" y="818"/>
                  </a:lnTo>
                  <a:lnTo>
                    <a:pt x="811" y="818"/>
                  </a:lnTo>
                  <a:lnTo>
                    <a:pt x="811" y="820"/>
                  </a:lnTo>
                  <a:lnTo>
                    <a:pt x="811" y="820"/>
                  </a:lnTo>
                  <a:lnTo>
                    <a:pt x="811" y="820"/>
                  </a:lnTo>
                  <a:lnTo>
                    <a:pt x="811" y="820"/>
                  </a:lnTo>
                  <a:lnTo>
                    <a:pt x="811" y="820"/>
                  </a:lnTo>
                  <a:lnTo>
                    <a:pt x="813" y="820"/>
                  </a:lnTo>
                  <a:lnTo>
                    <a:pt x="815" y="820"/>
                  </a:lnTo>
                  <a:lnTo>
                    <a:pt x="815" y="820"/>
                  </a:lnTo>
                  <a:lnTo>
                    <a:pt x="817" y="818"/>
                  </a:lnTo>
                  <a:lnTo>
                    <a:pt x="815" y="818"/>
                  </a:lnTo>
                  <a:lnTo>
                    <a:pt x="815" y="816"/>
                  </a:lnTo>
                  <a:lnTo>
                    <a:pt x="815" y="816"/>
                  </a:lnTo>
                  <a:lnTo>
                    <a:pt x="813" y="816"/>
                  </a:lnTo>
                  <a:lnTo>
                    <a:pt x="813" y="816"/>
                  </a:lnTo>
                  <a:lnTo>
                    <a:pt x="815" y="816"/>
                  </a:lnTo>
                  <a:lnTo>
                    <a:pt x="815" y="816"/>
                  </a:lnTo>
                  <a:lnTo>
                    <a:pt x="817" y="816"/>
                  </a:lnTo>
                  <a:lnTo>
                    <a:pt x="817" y="814"/>
                  </a:lnTo>
                  <a:lnTo>
                    <a:pt x="817" y="814"/>
                  </a:lnTo>
                  <a:lnTo>
                    <a:pt x="819" y="812"/>
                  </a:lnTo>
                  <a:lnTo>
                    <a:pt x="819" y="812"/>
                  </a:lnTo>
                  <a:lnTo>
                    <a:pt x="819" y="814"/>
                  </a:lnTo>
                  <a:lnTo>
                    <a:pt x="819" y="816"/>
                  </a:lnTo>
                  <a:lnTo>
                    <a:pt x="819" y="816"/>
                  </a:lnTo>
                  <a:lnTo>
                    <a:pt x="819" y="820"/>
                  </a:lnTo>
                  <a:lnTo>
                    <a:pt x="819" y="820"/>
                  </a:lnTo>
                  <a:lnTo>
                    <a:pt x="821" y="820"/>
                  </a:lnTo>
                  <a:lnTo>
                    <a:pt x="821" y="818"/>
                  </a:lnTo>
                  <a:lnTo>
                    <a:pt x="821" y="818"/>
                  </a:lnTo>
                  <a:lnTo>
                    <a:pt x="821" y="818"/>
                  </a:lnTo>
                  <a:lnTo>
                    <a:pt x="821" y="818"/>
                  </a:lnTo>
                  <a:lnTo>
                    <a:pt x="823" y="816"/>
                  </a:lnTo>
                  <a:lnTo>
                    <a:pt x="823" y="816"/>
                  </a:lnTo>
                  <a:lnTo>
                    <a:pt x="823" y="816"/>
                  </a:lnTo>
                  <a:lnTo>
                    <a:pt x="823" y="816"/>
                  </a:lnTo>
                  <a:lnTo>
                    <a:pt x="823" y="814"/>
                  </a:lnTo>
                  <a:lnTo>
                    <a:pt x="823" y="814"/>
                  </a:lnTo>
                  <a:lnTo>
                    <a:pt x="825" y="814"/>
                  </a:lnTo>
                  <a:lnTo>
                    <a:pt x="825" y="814"/>
                  </a:lnTo>
                  <a:lnTo>
                    <a:pt x="825" y="814"/>
                  </a:lnTo>
                  <a:lnTo>
                    <a:pt x="823" y="812"/>
                  </a:lnTo>
                  <a:lnTo>
                    <a:pt x="823" y="812"/>
                  </a:lnTo>
                  <a:lnTo>
                    <a:pt x="823" y="812"/>
                  </a:lnTo>
                  <a:lnTo>
                    <a:pt x="825" y="812"/>
                  </a:lnTo>
                  <a:lnTo>
                    <a:pt x="825" y="812"/>
                  </a:lnTo>
                  <a:lnTo>
                    <a:pt x="830" y="812"/>
                  </a:lnTo>
                  <a:lnTo>
                    <a:pt x="830" y="812"/>
                  </a:lnTo>
                  <a:lnTo>
                    <a:pt x="830" y="812"/>
                  </a:lnTo>
                  <a:lnTo>
                    <a:pt x="832" y="812"/>
                  </a:lnTo>
                  <a:lnTo>
                    <a:pt x="834" y="809"/>
                  </a:lnTo>
                  <a:lnTo>
                    <a:pt x="832" y="809"/>
                  </a:lnTo>
                  <a:lnTo>
                    <a:pt x="832" y="807"/>
                  </a:lnTo>
                  <a:lnTo>
                    <a:pt x="832" y="807"/>
                  </a:lnTo>
                  <a:lnTo>
                    <a:pt x="834" y="807"/>
                  </a:lnTo>
                  <a:lnTo>
                    <a:pt x="834" y="807"/>
                  </a:lnTo>
                  <a:lnTo>
                    <a:pt x="834" y="807"/>
                  </a:lnTo>
                  <a:lnTo>
                    <a:pt x="834" y="807"/>
                  </a:lnTo>
                  <a:lnTo>
                    <a:pt x="834" y="809"/>
                  </a:lnTo>
                  <a:lnTo>
                    <a:pt x="834" y="809"/>
                  </a:lnTo>
                  <a:lnTo>
                    <a:pt x="836" y="809"/>
                  </a:lnTo>
                  <a:lnTo>
                    <a:pt x="834" y="807"/>
                  </a:lnTo>
                  <a:lnTo>
                    <a:pt x="834" y="807"/>
                  </a:lnTo>
                  <a:lnTo>
                    <a:pt x="834" y="807"/>
                  </a:lnTo>
                  <a:lnTo>
                    <a:pt x="834" y="807"/>
                  </a:lnTo>
                  <a:lnTo>
                    <a:pt x="836" y="807"/>
                  </a:lnTo>
                  <a:lnTo>
                    <a:pt x="836" y="807"/>
                  </a:lnTo>
                  <a:lnTo>
                    <a:pt x="836" y="807"/>
                  </a:lnTo>
                  <a:lnTo>
                    <a:pt x="836" y="805"/>
                  </a:lnTo>
                  <a:lnTo>
                    <a:pt x="836" y="805"/>
                  </a:lnTo>
                  <a:lnTo>
                    <a:pt x="836" y="805"/>
                  </a:lnTo>
                  <a:lnTo>
                    <a:pt x="836" y="803"/>
                  </a:lnTo>
                  <a:lnTo>
                    <a:pt x="836" y="803"/>
                  </a:lnTo>
                  <a:lnTo>
                    <a:pt x="836" y="805"/>
                  </a:lnTo>
                  <a:lnTo>
                    <a:pt x="838" y="805"/>
                  </a:lnTo>
                  <a:lnTo>
                    <a:pt x="838" y="805"/>
                  </a:lnTo>
                  <a:lnTo>
                    <a:pt x="838" y="805"/>
                  </a:lnTo>
                  <a:lnTo>
                    <a:pt x="838" y="805"/>
                  </a:lnTo>
                  <a:lnTo>
                    <a:pt x="838" y="803"/>
                  </a:lnTo>
                  <a:lnTo>
                    <a:pt x="838" y="803"/>
                  </a:lnTo>
                  <a:lnTo>
                    <a:pt x="838" y="803"/>
                  </a:lnTo>
                  <a:lnTo>
                    <a:pt x="838" y="803"/>
                  </a:lnTo>
                  <a:lnTo>
                    <a:pt x="838" y="803"/>
                  </a:lnTo>
                  <a:lnTo>
                    <a:pt x="840" y="805"/>
                  </a:lnTo>
                  <a:lnTo>
                    <a:pt x="840" y="805"/>
                  </a:lnTo>
                  <a:lnTo>
                    <a:pt x="842" y="805"/>
                  </a:lnTo>
                  <a:lnTo>
                    <a:pt x="842" y="805"/>
                  </a:lnTo>
                  <a:lnTo>
                    <a:pt x="842" y="803"/>
                  </a:lnTo>
                  <a:lnTo>
                    <a:pt x="842" y="803"/>
                  </a:lnTo>
                  <a:lnTo>
                    <a:pt x="842" y="803"/>
                  </a:lnTo>
                  <a:lnTo>
                    <a:pt x="842" y="801"/>
                  </a:lnTo>
                  <a:lnTo>
                    <a:pt x="842" y="801"/>
                  </a:lnTo>
                  <a:lnTo>
                    <a:pt x="846" y="803"/>
                  </a:lnTo>
                  <a:lnTo>
                    <a:pt x="848" y="803"/>
                  </a:lnTo>
                  <a:lnTo>
                    <a:pt x="848" y="803"/>
                  </a:lnTo>
                  <a:lnTo>
                    <a:pt x="848" y="805"/>
                  </a:lnTo>
                  <a:lnTo>
                    <a:pt x="848" y="805"/>
                  </a:lnTo>
                  <a:lnTo>
                    <a:pt x="848" y="805"/>
                  </a:lnTo>
                  <a:lnTo>
                    <a:pt x="846" y="807"/>
                  </a:lnTo>
                  <a:lnTo>
                    <a:pt x="846" y="807"/>
                  </a:lnTo>
                  <a:lnTo>
                    <a:pt x="846" y="807"/>
                  </a:lnTo>
                  <a:lnTo>
                    <a:pt x="846" y="807"/>
                  </a:lnTo>
                  <a:lnTo>
                    <a:pt x="846" y="807"/>
                  </a:lnTo>
                  <a:lnTo>
                    <a:pt x="846" y="809"/>
                  </a:lnTo>
                  <a:lnTo>
                    <a:pt x="848" y="809"/>
                  </a:lnTo>
                  <a:lnTo>
                    <a:pt x="848" y="809"/>
                  </a:lnTo>
                  <a:lnTo>
                    <a:pt x="846" y="812"/>
                  </a:lnTo>
                  <a:lnTo>
                    <a:pt x="846" y="812"/>
                  </a:lnTo>
                  <a:lnTo>
                    <a:pt x="846" y="812"/>
                  </a:lnTo>
                  <a:lnTo>
                    <a:pt x="846" y="814"/>
                  </a:lnTo>
                  <a:lnTo>
                    <a:pt x="848" y="814"/>
                  </a:lnTo>
                  <a:lnTo>
                    <a:pt x="848" y="814"/>
                  </a:lnTo>
                  <a:lnTo>
                    <a:pt x="848" y="814"/>
                  </a:lnTo>
                  <a:lnTo>
                    <a:pt x="848" y="814"/>
                  </a:lnTo>
                  <a:lnTo>
                    <a:pt x="848" y="814"/>
                  </a:lnTo>
                  <a:lnTo>
                    <a:pt x="846" y="814"/>
                  </a:lnTo>
                  <a:lnTo>
                    <a:pt x="846" y="816"/>
                  </a:lnTo>
                  <a:lnTo>
                    <a:pt x="846" y="816"/>
                  </a:lnTo>
                  <a:lnTo>
                    <a:pt x="846" y="814"/>
                  </a:lnTo>
                  <a:lnTo>
                    <a:pt x="844" y="814"/>
                  </a:lnTo>
                  <a:lnTo>
                    <a:pt x="844" y="814"/>
                  </a:lnTo>
                  <a:lnTo>
                    <a:pt x="844" y="816"/>
                  </a:lnTo>
                  <a:lnTo>
                    <a:pt x="844" y="816"/>
                  </a:lnTo>
                  <a:lnTo>
                    <a:pt x="846" y="816"/>
                  </a:lnTo>
                  <a:lnTo>
                    <a:pt x="844" y="816"/>
                  </a:lnTo>
                  <a:lnTo>
                    <a:pt x="844" y="816"/>
                  </a:lnTo>
                  <a:lnTo>
                    <a:pt x="844" y="818"/>
                  </a:lnTo>
                  <a:lnTo>
                    <a:pt x="844" y="818"/>
                  </a:lnTo>
                  <a:lnTo>
                    <a:pt x="848" y="816"/>
                  </a:lnTo>
                  <a:lnTo>
                    <a:pt x="848" y="816"/>
                  </a:lnTo>
                  <a:lnTo>
                    <a:pt x="848" y="816"/>
                  </a:lnTo>
                  <a:lnTo>
                    <a:pt x="848" y="814"/>
                  </a:lnTo>
                  <a:lnTo>
                    <a:pt x="848" y="814"/>
                  </a:lnTo>
                  <a:lnTo>
                    <a:pt x="848" y="814"/>
                  </a:lnTo>
                  <a:lnTo>
                    <a:pt x="850" y="814"/>
                  </a:lnTo>
                  <a:lnTo>
                    <a:pt x="850" y="814"/>
                  </a:lnTo>
                  <a:lnTo>
                    <a:pt x="850" y="814"/>
                  </a:lnTo>
                  <a:lnTo>
                    <a:pt x="850" y="814"/>
                  </a:lnTo>
                  <a:lnTo>
                    <a:pt x="850" y="814"/>
                  </a:lnTo>
                  <a:lnTo>
                    <a:pt x="850" y="812"/>
                  </a:lnTo>
                  <a:lnTo>
                    <a:pt x="850" y="812"/>
                  </a:lnTo>
                  <a:lnTo>
                    <a:pt x="850" y="812"/>
                  </a:lnTo>
                  <a:lnTo>
                    <a:pt x="850" y="812"/>
                  </a:lnTo>
                  <a:lnTo>
                    <a:pt x="850" y="809"/>
                  </a:lnTo>
                  <a:lnTo>
                    <a:pt x="850" y="809"/>
                  </a:lnTo>
                  <a:lnTo>
                    <a:pt x="850" y="809"/>
                  </a:lnTo>
                  <a:lnTo>
                    <a:pt x="852" y="807"/>
                  </a:lnTo>
                  <a:lnTo>
                    <a:pt x="852" y="807"/>
                  </a:lnTo>
                  <a:lnTo>
                    <a:pt x="852" y="807"/>
                  </a:lnTo>
                  <a:lnTo>
                    <a:pt x="852" y="807"/>
                  </a:lnTo>
                  <a:lnTo>
                    <a:pt x="852" y="807"/>
                  </a:lnTo>
                  <a:lnTo>
                    <a:pt x="852" y="807"/>
                  </a:lnTo>
                  <a:lnTo>
                    <a:pt x="852" y="807"/>
                  </a:lnTo>
                  <a:lnTo>
                    <a:pt x="852" y="805"/>
                  </a:lnTo>
                  <a:lnTo>
                    <a:pt x="852" y="805"/>
                  </a:lnTo>
                  <a:lnTo>
                    <a:pt x="852" y="805"/>
                  </a:lnTo>
                  <a:lnTo>
                    <a:pt x="852" y="803"/>
                  </a:lnTo>
                  <a:lnTo>
                    <a:pt x="852" y="803"/>
                  </a:lnTo>
                  <a:lnTo>
                    <a:pt x="850" y="801"/>
                  </a:lnTo>
                  <a:lnTo>
                    <a:pt x="850" y="801"/>
                  </a:lnTo>
                  <a:lnTo>
                    <a:pt x="850" y="801"/>
                  </a:lnTo>
                  <a:lnTo>
                    <a:pt x="852" y="801"/>
                  </a:lnTo>
                  <a:lnTo>
                    <a:pt x="852" y="801"/>
                  </a:lnTo>
                  <a:lnTo>
                    <a:pt x="854" y="801"/>
                  </a:lnTo>
                  <a:lnTo>
                    <a:pt x="852" y="801"/>
                  </a:lnTo>
                  <a:lnTo>
                    <a:pt x="852" y="801"/>
                  </a:lnTo>
                  <a:lnTo>
                    <a:pt x="852" y="803"/>
                  </a:lnTo>
                  <a:lnTo>
                    <a:pt x="852" y="803"/>
                  </a:lnTo>
                  <a:lnTo>
                    <a:pt x="852" y="805"/>
                  </a:lnTo>
                  <a:lnTo>
                    <a:pt x="852" y="805"/>
                  </a:lnTo>
                  <a:lnTo>
                    <a:pt x="854" y="805"/>
                  </a:lnTo>
                  <a:lnTo>
                    <a:pt x="854" y="805"/>
                  </a:lnTo>
                  <a:lnTo>
                    <a:pt x="854" y="805"/>
                  </a:lnTo>
                  <a:lnTo>
                    <a:pt x="854" y="803"/>
                  </a:lnTo>
                  <a:lnTo>
                    <a:pt x="854" y="803"/>
                  </a:lnTo>
                  <a:lnTo>
                    <a:pt x="856" y="801"/>
                  </a:lnTo>
                  <a:lnTo>
                    <a:pt x="856" y="801"/>
                  </a:lnTo>
                  <a:lnTo>
                    <a:pt x="856" y="801"/>
                  </a:lnTo>
                  <a:lnTo>
                    <a:pt x="858" y="803"/>
                  </a:lnTo>
                  <a:lnTo>
                    <a:pt x="858" y="801"/>
                  </a:lnTo>
                  <a:lnTo>
                    <a:pt x="858" y="801"/>
                  </a:lnTo>
                  <a:lnTo>
                    <a:pt x="860" y="801"/>
                  </a:lnTo>
                  <a:lnTo>
                    <a:pt x="862" y="801"/>
                  </a:lnTo>
                  <a:lnTo>
                    <a:pt x="862" y="801"/>
                  </a:lnTo>
                  <a:lnTo>
                    <a:pt x="862" y="801"/>
                  </a:lnTo>
                  <a:lnTo>
                    <a:pt x="862" y="799"/>
                  </a:lnTo>
                  <a:lnTo>
                    <a:pt x="864" y="799"/>
                  </a:lnTo>
                  <a:lnTo>
                    <a:pt x="864" y="799"/>
                  </a:lnTo>
                  <a:lnTo>
                    <a:pt x="864" y="799"/>
                  </a:lnTo>
                  <a:lnTo>
                    <a:pt x="864" y="799"/>
                  </a:lnTo>
                  <a:lnTo>
                    <a:pt x="866" y="801"/>
                  </a:lnTo>
                  <a:lnTo>
                    <a:pt x="866" y="801"/>
                  </a:lnTo>
                  <a:lnTo>
                    <a:pt x="866" y="801"/>
                  </a:lnTo>
                  <a:lnTo>
                    <a:pt x="866" y="801"/>
                  </a:lnTo>
                  <a:lnTo>
                    <a:pt x="866" y="801"/>
                  </a:lnTo>
                  <a:lnTo>
                    <a:pt x="866" y="801"/>
                  </a:lnTo>
                  <a:lnTo>
                    <a:pt x="866" y="801"/>
                  </a:lnTo>
                  <a:lnTo>
                    <a:pt x="866" y="801"/>
                  </a:lnTo>
                  <a:lnTo>
                    <a:pt x="866" y="801"/>
                  </a:lnTo>
                  <a:lnTo>
                    <a:pt x="866" y="801"/>
                  </a:lnTo>
                  <a:lnTo>
                    <a:pt x="866" y="801"/>
                  </a:lnTo>
                  <a:lnTo>
                    <a:pt x="866" y="799"/>
                  </a:lnTo>
                  <a:lnTo>
                    <a:pt x="866" y="799"/>
                  </a:lnTo>
                  <a:lnTo>
                    <a:pt x="866" y="799"/>
                  </a:lnTo>
                  <a:lnTo>
                    <a:pt x="868" y="799"/>
                  </a:lnTo>
                  <a:lnTo>
                    <a:pt x="868" y="799"/>
                  </a:lnTo>
                  <a:lnTo>
                    <a:pt x="868" y="799"/>
                  </a:lnTo>
                  <a:lnTo>
                    <a:pt x="868" y="801"/>
                  </a:lnTo>
                  <a:lnTo>
                    <a:pt x="868" y="801"/>
                  </a:lnTo>
                  <a:lnTo>
                    <a:pt x="870" y="797"/>
                  </a:lnTo>
                  <a:lnTo>
                    <a:pt x="870" y="795"/>
                  </a:lnTo>
                  <a:lnTo>
                    <a:pt x="873" y="795"/>
                  </a:lnTo>
                  <a:lnTo>
                    <a:pt x="873" y="797"/>
                  </a:lnTo>
                  <a:lnTo>
                    <a:pt x="873" y="797"/>
                  </a:lnTo>
                  <a:lnTo>
                    <a:pt x="873" y="797"/>
                  </a:lnTo>
                  <a:lnTo>
                    <a:pt x="873" y="797"/>
                  </a:lnTo>
                  <a:lnTo>
                    <a:pt x="873" y="797"/>
                  </a:lnTo>
                  <a:lnTo>
                    <a:pt x="873" y="795"/>
                  </a:lnTo>
                  <a:lnTo>
                    <a:pt x="875" y="797"/>
                  </a:lnTo>
                  <a:lnTo>
                    <a:pt x="875" y="797"/>
                  </a:lnTo>
                  <a:lnTo>
                    <a:pt x="875" y="797"/>
                  </a:lnTo>
                  <a:lnTo>
                    <a:pt x="875" y="797"/>
                  </a:lnTo>
                  <a:lnTo>
                    <a:pt x="875" y="797"/>
                  </a:lnTo>
                  <a:lnTo>
                    <a:pt x="875" y="797"/>
                  </a:lnTo>
                  <a:lnTo>
                    <a:pt x="875" y="799"/>
                  </a:lnTo>
                  <a:lnTo>
                    <a:pt x="875" y="799"/>
                  </a:lnTo>
                  <a:lnTo>
                    <a:pt x="875" y="799"/>
                  </a:lnTo>
                  <a:lnTo>
                    <a:pt x="875" y="799"/>
                  </a:lnTo>
                  <a:lnTo>
                    <a:pt x="875" y="799"/>
                  </a:lnTo>
                  <a:lnTo>
                    <a:pt x="877" y="799"/>
                  </a:lnTo>
                  <a:lnTo>
                    <a:pt x="877" y="799"/>
                  </a:lnTo>
                  <a:lnTo>
                    <a:pt x="877" y="799"/>
                  </a:lnTo>
                  <a:lnTo>
                    <a:pt x="877" y="797"/>
                  </a:lnTo>
                  <a:lnTo>
                    <a:pt x="877" y="797"/>
                  </a:lnTo>
                  <a:lnTo>
                    <a:pt x="877" y="797"/>
                  </a:lnTo>
                  <a:lnTo>
                    <a:pt x="877" y="797"/>
                  </a:lnTo>
                  <a:lnTo>
                    <a:pt x="877" y="797"/>
                  </a:lnTo>
                  <a:lnTo>
                    <a:pt x="877" y="795"/>
                  </a:lnTo>
                  <a:lnTo>
                    <a:pt x="877" y="795"/>
                  </a:lnTo>
                  <a:lnTo>
                    <a:pt x="877" y="795"/>
                  </a:lnTo>
                  <a:lnTo>
                    <a:pt x="877" y="795"/>
                  </a:lnTo>
                  <a:lnTo>
                    <a:pt x="875" y="795"/>
                  </a:lnTo>
                  <a:lnTo>
                    <a:pt x="875" y="795"/>
                  </a:lnTo>
                  <a:lnTo>
                    <a:pt x="877" y="793"/>
                  </a:lnTo>
                  <a:lnTo>
                    <a:pt x="877" y="793"/>
                  </a:lnTo>
                  <a:lnTo>
                    <a:pt x="877" y="793"/>
                  </a:lnTo>
                  <a:lnTo>
                    <a:pt x="877" y="791"/>
                  </a:lnTo>
                  <a:lnTo>
                    <a:pt x="877" y="791"/>
                  </a:lnTo>
                  <a:lnTo>
                    <a:pt x="877" y="791"/>
                  </a:lnTo>
                  <a:lnTo>
                    <a:pt x="877" y="791"/>
                  </a:lnTo>
                  <a:lnTo>
                    <a:pt x="877" y="789"/>
                  </a:lnTo>
                  <a:lnTo>
                    <a:pt x="877" y="789"/>
                  </a:lnTo>
                  <a:lnTo>
                    <a:pt x="877" y="789"/>
                  </a:lnTo>
                  <a:lnTo>
                    <a:pt x="877" y="789"/>
                  </a:lnTo>
                  <a:lnTo>
                    <a:pt x="877" y="791"/>
                  </a:lnTo>
                  <a:lnTo>
                    <a:pt x="877" y="791"/>
                  </a:lnTo>
                  <a:lnTo>
                    <a:pt x="879" y="791"/>
                  </a:lnTo>
                  <a:lnTo>
                    <a:pt x="879" y="791"/>
                  </a:lnTo>
                  <a:lnTo>
                    <a:pt x="879" y="789"/>
                  </a:lnTo>
                  <a:lnTo>
                    <a:pt x="881" y="789"/>
                  </a:lnTo>
                  <a:lnTo>
                    <a:pt x="879" y="787"/>
                  </a:lnTo>
                  <a:lnTo>
                    <a:pt x="879" y="787"/>
                  </a:lnTo>
                  <a:lnTo>
                    <a:pt x="879" y="787"/>
                  </a:lnTo>
                  <a:lnTo>
                    <a:pt x="881" y="787"/>
                  </a:lnTo>
                  <a:lnTo>
                    <a:pt x="883" y="787"/>
                  </a:lnTo>
                  <a:lnTo>
                    <a:pt x="883" y="787"/>
                  </a:lnTo>
                  <a:lnTo>
                    <a:pt x="883" y="787"/>
                  </a:lnTo>
                  <a:lnTo>
                    <a:pt x="883" y="789"/>
                  </a:lnTo>
                  <a:lnTo>
                    <a:pt x="883" y="789"/>
                  </a:lnTo>
                  <a:lnTo>
                    <a:pt x="883" y="789"/>
                  </a:lnTo>
                  <a:lnTo>
                    <a:pt x="883" y="789"/>
                  </a:lnTo>
                  <a:lnTo>
                    <a:pt x="883" y="789"/>
                  </a:lnTo>
                  <a:lnTo>
                    <a:pt x="881" y="789"/>
                  </a:lnTo>
                  <a:lnTo>
                    <a:pt x="881" y="789"/>
                  </a:lnTo>
                  <a:lnTo>
                    <a:pt x="881" y="789"/>
                  </a:lnTo>
                  <a:lnTo>
                    <a:pt x="881" y="789"/>
                  </a:lnTo>
                  <a:lnTo>
                    <a:pt x="881" y="789"/>
                  </a:lnTo>
                  <a:lnTo>
                    <a:pt x="881" y="789"/>
                  </a:lnTo>
                  <a:lnTo>
                    <a:pt x="881" y="791"/>
                  </a:lnTo>
                  <a:lnTo>
                    <a:pt x="881" y="791"/>
                  </a:lnTo>
                  <a:lnTo>
                    <a:pt x="879" y="791"/>
                  </a:lnTo>
                  <a:lnTo>
                    <a:pt x="879" y="791"/>
                  </a:lnTo>
                  <a:lnTo>
                    <a:pt x="879" y="793"/>
                  </a:lnTo>
                  <a:lnTo>
                    <a:pt x="879" y="793"/>
                  </a:lnTo>
                  <a:lnTo>
                    <a:pt x="879" y="793"/>
                  </a:lnTo>
                  <a:lnTo>
                    <a:pt x="879" y="793"/>
                  </a:lnTo>
                  <a:lnTo>
                    <a:pt x="879" y="795"/>
                  </a:lnTo>
                  <a:lnTo>
                    <a:pt x="879" y="795"/>
                  </a:lnTo>
                  <a:lnTo>
                    <a:pt x="879" y="795"/>
                  </a:lnTo>
                  <a:lnTo>
                    <a:pt x="881" y="795"/>
                  </a:lnTo>
                  <a:lnTo>
                    <a:pt x="881" y="795"/>
                  </a:lnTo>
                  <a:lnTo>
                    <a:pt x="881" y="795"/>
                  </a:lnTo>
                  <a:lnTo>
                    <a:pt x="879" y="795"/>
                  </a:lnTo>
                  <a:lnTo>
                    <a:pt x="881" y="797"/>
                  </a:lnTo>
                  <a:lnTo>
                    <a:pt x="881" y="797"/>
                  </a:lnTo>
                  <a:lnTo>
                    <a:pt x="881" y="797"/>
                  </a:lnTo>
                  <a:lnTo>
                    <a:pt x="881" y="797"/>
                  </a:lnTo>
                  <a:lnTo>
                    <a:pt x="881" y="797"/>
                  </a:lnTo>
                  <a:lnTo>
                    <a:pt x="881" y="795"/>
                  </a:lnTo>
                  <a:lnTo>
                    <a:pt x="881" y="795"/>
                  </a:lnTo>
                  <a:lnTo>
                    <a:pt x="883" y="795"/>
                  </a:lnTo>
                  <a:lnTo>
                    <a:pt x="883" y="795"/>
                  </a:lnTo>
                  <a:lnTo>
                    <a:pt x="883" y="797"/>
                  </a:lnTo>
                  <a:lnTo>
                    <a:pt x="883" y="797"/>
                  </a:lnTo>
                  <a:lnTo>
                    <a:pt x="883" y="797"/>
                  </a:lnTo>
                  <a:lnTo>
                    <a:pt x="885" y="797"/>
                  </a:lnTo>
                  <a:lnTo>
                    <a:pt x="883" y="795"/>
                  </a:lnTo>
                  <a:lnTo>
                    <a:pt x="883" y="795"/>
                  </a:lnTo>
                  <a:lnTo>
                    <a:pt x="883" y="795"/>
                  </a:lnTo>
                  <a:lnTo>
                    <a:pt x="883" y="795"/>
                  </a:lnTo>
                  <a:lnTo>
                    <a:pt x="883" y="795"/>
                  </a:lnTo>
                  <a:lnTo>
                    <a:pt x="883" y="795"/>
                  </a:lnTo>
                  <a:lnTo>
                    <a:pt x="883" y="795"/>
                  </a:lnTo>
                  <a:lnTo>
                    <a:pt x="883" y="795"/>
                  </a:lnTo>
                  <a:lnTo>
                    <a:pt x="883" y="793"/>
                  </a:lnTo>
                  <a:lnTo>
                    <a:pt x="883" y="793"/>
                  </a:lnTo>
                  <a:lnTo>
                    <a:pt x="883" y="791"/>
                  </a:lnTo>
                  <a:lnTo>
                    <a:pt x="883" y="791"/>
                  </a:lnTo>
                  <a:lnTo>
                    <a:pt x="883" y="791"/>
                  </a:lnTo>
                  <a:lnTo>
                    <a:pt x="883" y="791"/>
                  </a:lnTo>
                  <a:lnTo>
                    <a:pt x="883" y="793"/>
                  </a:lnTo>
                  <a:lnTo>
                    <a:pt x="883" y="793"/>
                  </a:lnTo>
                  <a:lnTo>
                    <a:pt x="885" y="793"/>
                  </a:lnTo>
                  <a:lnTo>
                    <a:pt x="885" y="793"/>
                  </a:lnTo>
                  <a:lnTo>
                    <a:pt x="885" y="793"/>
                  </a:lnTo>
                  <a:lnTo>
                    <a:pt x="885" y="791"/>
                  </a:lnTo>
                  <a:lnTo>
                    <a:pt x="885" y="791"/>
                  </a:lnTo>
                  <a:lnTo>
                    <a:pt x="885" y="791"/>
                  </a:lnTo>
                  <a:lnTo>
                    <a:pt x="885" y="791"/>
                  </a:lnTo>
                  <a:lnTo>
                    <a:pt x="885" y="789"/>
                  </a:lnTo>
                  <a:lnTo>
                    <a:pt x="885" y="789"/>
                  </a:lnTo>
                  <a:lnTo>
                    <a:pt x="885" y="789"/>
                  </a:lnTo>
                  <a:lnTo>
                    <a:pt x="885" y="789"/>
                  </a:lnTo>
                  <a:lnTo>
                    <a:pt x="885" y="789"/>
                  </a:lnTo>
                  <a:lnTo>
                    <a:pt x="885" y="789"/>
                  </a:lnTo>
                  <a:lnTo>
                    <a:pt x="885" y="791"/>
                  </a:lnTo>
                  <a:lnTo>
                    <a:pt x="887" y="791"/>
                  </a:lnTo>
                  <a:lnTo>
                    <a:pt x="887" y="789"/>
                  </a:lnTo>
                  <a:lnTo>
                    <a:pt x="887" y="789"/>
                  </a:lnTo>
                  <a:lnTo>
                    <a:pt x="889" y="789"/>
                  </a:lnTo>
                  <a:lnTo>
                    <a:pt x="889" y="789"/>
                  </a:lnTo>
                  <a:lnTo>
                    <a:pt x="889" y="789"/>
                  </a:lnTo>
                  <a:lnTo>
                    <a:pt x="889" y="789"/>
                  </a:lnTo>
                  <a:lnTo>
                    <a:pt x="889" y="789"/>
                  </a:lnTo>
                  <a:lnTo>
                    <a:pt x="891" y="789"/>
                  </a:lnTo>
                  <a:lnTo>
                    <a:pt x="891" y="789"/>
                  </a:lnTo>
                  <a:lnTo>
                    <a:pt x="891" y="789"/>
                  </a:lnTo>
                  <a:lnTo>
                    <a:pt x="891" y="787"/>
                  </a:lnTo>
                  <a:lnTo>
                    <a:pt x="891" y="787"/>
                  </a:lnTo>
                  <a:lnTo>
                    <a:pt x="891" y="787"/>
                  </a:lnTo>
                  <a:lnTo>
                    <a:pt x="893" y="787"/>
                  </a:lnTo>
                  <a:lnTo>
                    <a:pt x="893" y="787"/>
                  </a:lnTo>
                  <a:lnTo>
                    <a:pt x="893" y="787"/>
                  </a:lnTo>
                  <a:lnTo>
                    <a:pt x="893" y="785"/>
                  </a:lnTo>
                  <a:lnTo>
                    <a:pt x="893" y="785"/>
                  </a:lnTo>
                  <a:lnTo>
                    <a:pt x="891" y="785"/>
                  </a:lnTo>
                  <a:lnTo>
                    <a:pt x="891" y="787"/>
                  </a:lnTo>
                  <a:lnTo>
                    <a:pt x="889" y="787"/>
                  </a:lnTo>
                  <a:lnTo>
                    <a:pt x="889" y="789"/>
                  </a:lnTo>
                  <a:lnTo>
                    <a:pt x="887" y="789"/>
                  </a:lnTo>
                  <a:lnTo>
                    <a:pt x="887" y="789"/>
                  </a:lnTo>
                  <a:lnTo>
                    <a:pt x="887" y="787"/>
                  </a:lnTo>
                  <a:lnTo>
                    <a:pt x="887" y="787"/>
                  </a:lnTo>
                  <a:lnTo>
                    <a:pt x="887" y="787"/>
                  </a:lnTo>
                  <a:lnTo>
                    <a:pt x="885" y="787"/>
                  </a:lnTo>
                  <a:lnTo>
                    <a:pt x="885" y="787"/>
                  </a:lnTo>
                  <a:lnTo>
                    <a:pt x="885" y="787"/>
                  </a:lnTo>
                  <a:lnTo>
                    <a:pt x="885" y="787"/>
                  </a:lnTo>
                  <a:lnTo>
                    <a:pt x="885" y="787"/>
                  </a:lnTo>
                  <a:lnTo>
                    <a:pt x="885" y="785"/>
                  </a:lnTo>
                  <a:lnTo>
                    <a:pt x="885" y="785"/>
                  </a:lnTo>
                  <a:lnTo>
                    <a:pt x="885" y="785"/>
                  </a:lnTo>
                  <a:lnTo>
                    <a:pt x="887" y="785"/>
                  </a:lnTo>
                  <a:lnTo>
                    <a:pt x="887" y="785"/>
                  </a:lnTo>
                  <a:lnTo>
                    <a:pt x="887" y="785"/>
                  </a:lnTo>
                  <a:lnTo>
                    <a:pt x="889" y="785"/>
                  </a:lnTo>
                  <a:lnTo>
                    <a:pt x="889" y="785"/>
                  </a:lnTo>
                  <a:lnTo>
                    <a:pt x="889" y="785"/>
                  </a:lnTo>
                  <a:lnTo>
                    <a:pt x="891" y="783"/>
                  </a:lnTo>
                  <a:lnTo>
                    <a:pt x="891" y="783"/>
                  </a:lnTo>
                  <a:lnTo>
                    <a:pt x="891" y="783"/>
                  </a:lnTo>
                  <a:lnTo>
                    <a:pt x="889" y="783"/>
                  </a:lnTo>
                  <a:lnTo>
                    <a:pt x="889" y="781"/>
                  </a:lnTo>
                  <a:lnTo>
                    <a:pt x="887" y="781"/>
                  </a:lnTo>
                  <a:lnTo>
                    <a:pt x="887" y="781"/>
                  </a:lnTo>
                  <a:lnTo>
                    <a:pt x="887" y="781"/>
                  </a:lnTo>
                  <a:lnTo>
                    <a:pt x="887" y="781"/>
                  </a:lnTo>
                  <a:lnTo>
                    <a:pt x="885" y="783"/>
                  </a:lnTo>
                  <a:lnTo>
                    <a:pt x="885" y="781"/>
                  </a:lnTo>
                  <a:lnTo>
                    <a:pt x="885" y="781"/>
                  </a:lnTo>
                  <a:lnTo>
                    <a:pt x="885" y="781"/>
                  </a:lnTo>
                  <a:lnTo>
                    <a:pt x="885" y="781"/>
                  </a:lnTo>
                  <a:lnTo>
                    <a:pt x="885" y="781"/>
                  </a:lnTo>
                  <a:lnTo>
                    <a:pt x="885" y="781"/>
                  </a:lnTo>
                  <a:lnTo>
                    <a:pt x="885" y="779"/>
                  </a:lnTo>
                  <a:lnTo>
                    <a:pt x="883" y="779"/>
                  </a:lnTo>
                  <a:lnTo>
                    <a:pt x="881" y="781"/>
                  </a:lnTo>
                  <a:lnTo>
                    <a:pt x="881" y="781"/>
                  </a:lnTo>
                  <a:lnTo>
                    <a:pt x="881" y="783"/>
                  </a:lnTo>
                  <a:lnTo>
                    <a:pt x="881" y="783"/>
                  </a:lnTo>
                  <a:lnTo>
                    <a:pt x="881" y="783"/>
                  </a:lnTo>
                  <a:lnTo>
                    <a:pt x="881" y="783"/>
                  </a:lnTo>
                  <a:lnTo>
                    <a:pt x="881" y="785"/>
                  </a:lnTo>
                  <a:lnTo>
                    <a:pt x="879" y="783"/>
                  </a:lnTo>
                  <a:lnTo>
                    <a:pt x="879" y="783"/>
                  </a:lnTo>
                  <a:lnTo>
                    <a:pt x="879" y="781"/>
                  </a:lnTo>
                  <a:lnTo>
                    <a:pt x="879" y="781"/>
                  </a:lnTo>
                  <a:lnTo>
                    <a:pt x="881" y="781"/>
                  </a:lnTo>
                  <a:lnTo>
                    <a:pt x="881" y="779"/>
                  </a:lnTo>
                  <a:lnTo>
                    <a:pt x="883" y="779"/>
                  </a:lnTo>
                  <a:lnTo>
                    <a:pt x="883" y="779"/>
                  </a:lnTo>
                  <a:lnTo>
                    <a:pt x="883" y="779"/>
                  </a:lnTo>
                  <a:lnTo>
                    <a:pt x="883" y="777"/>
                  </a:lnTo>
                  <a:lnTo>
                    <a:pt x="885" y="777"/>
                  </a:lnTo>
                  <a:lnTo>
                    <a:pt x="885" y="777"/>
                  </a:lnTo>
                  <a:lnTo>
                    <a:pt x="885" y="775"/>
                  </a:lnTo>
                  <a:lnTo>
                    <a:pt x="885" y="775"/>
                  </a:lnTo>
                  <a:lnTo>
                    <a:pt x="885" y="775"/>
                  </a:lnTo>
                  <a:lnTo>
                    <a:pt x="887" y="773"/>
                  </a:lnTo>
                  <a:lnTo>
                    <a:pt x="889" y="773"/>
                  </a:lnTo>
                  <a:lnTo>
                    <a:pt x="889" y="773"/>
                  </a:lnTo>
                  <a:lnTo>
                    <a:pt x="889" y="773"/>
                  </a:lnTo>
                  <a:lnTo>
                    <a:pt x="889" y="773"/>
                  </a:lnTo>
                  <a:lnTo>
                    <a:pt x="891" y="775"/>
                  </a:lnTo>
                  <a:lnTo>
                    <a:pt x="891" y="775"/>
                  </a:lnTo>
                  <a:lnTo>
                    <a:pt x="891" y="775"/>
                  </a:lnTo>
                  <a:lnTo>
                    <a:pt x="893" y="775"/>
                  </a:lnTo>
                  <a:lnTo>
                    <a:pt x="893" y="775"/>
                  </a:lnTo>
                  <a:lnTo>
                    <a:pt x="895" y="773"/>
                  </a:lnTo>
                  <a:lnTo>
                    <a:pt x="893" y="773"/>
                  </a:lnTo>
                  <a:lnTo>
                    <a:pt x="893" y="773"/>
                  </a:lnTo>
                  <a:lnTo>
                    <a:pt x="893" y="773"/>
                  </a:lnTo>
                  <a:lnTo>
                    <a:pt x="893" y="771"/>
                  </a:lnTo>
                  <a:lnTo>
                    <a:pt x="893" y="771"/>
                  </a:lnTo>
                  <a:lnTo>
                    <a:pt x="895" y="771"/>
                  </a:lnTo>
                  <a:lnTo>
                    <a:pt x="895" y="771"/>
                  </a:lnTo>
                  <a:lnTo>
                    <a:pt x="899" y="773"/>
                  </a:lnTo>
                  <a:lnTo>
                    <a:pt x="901" y="775"/>
                  </a:lnTo>
                  <a:lnTo>
                    <a:pt x="901" y="775"/>
                  </a:lnTo>
                  <a:lnTo>
                    <a:pt x="901" y="773"/>
                  </a:lnTo>
                  <a:lnTo>
                    <a:pt x="901" y="773"/>
                  </a:lnTo>
                  <a:lnTo>
                    <a:pt x="903" y="773"/>
                  </a:lnTo>
                  <a:lnTo>
                    <a:pt x="903" y="773"/>
                  </a:lnTo>
                  <a:lnTo>
                    <a:pt x="903" y="771"/>
                  </a:lnTo>
                  <a:lnTo>
                    <a:pt x="901" y="771"/>
                  </a:lnTo>
                  <a:lnTo>
                    <a:pt x="901" y="771"/>
                  </a:lnTo>
                  <a:lnTo>
                    <a:pt x="901" y="771"/>
                  </a:lnTo>
                  <a:lnTo>
                    <a:pt x="901" y="768"/>
                  </a:lnTo>
                  <a:lnTo>
                    <a:pt x="901" y="768"/>
                  </a:lnTo>
                  <a:lnTo>
                    <a:pt x="901" y="768"/>
                  </a:lnTo>
                  <a:lnTo>
                    <a:pt x="899" y="768"/>
                  </a:lnTo>
                  <a:lnTo>
                    <a:pt x="895" y="771"/>
                  </a:lnTo>
                  <a:lnTo>
                    <a:pt x="893" y="771"/>
                  </a:lnTo>
                  <a:lnTo>
                    <a:pt x="895" y="768"/>
                  </a:lnTo>
                  <a:lnTo>
                    <a:pt x="895" y="768"/>
                  </a:lnTo>
                  <a:lnTo>
                    <a:pt x="895" y="768"/>
                  </a:lnTo>
                  <a:lnTo>
                    <a:pt x="895" y="768"/>
                  </a:lnTo>
                  <a:lnTo>
                    <a:pt x="897" y="768"/>
                  </a:lnTo>
                  <a:lnTo>
                    <a:pt x="897" y="768"/>
                  </a:lnTo>
                  <a:lnTo>
                    <a:pt x="897" y="768"/>
                  </a:lnTo>
                  <a:lnTo>
                    <a:pt x="897" y="766"/>
                  </a:lnTo>
                  <a:lnTo>
                    <a:pt x="897" y="766"/>
                  </a:lnTo>
                  <a:lnTo>
                    <a:pt x="897" y="766"/>
                  </a:lnTo>
                  <a:lnTo>
                    <a:pt x="899" y="766"/>
                  </a:lnTo>
                  <a:lnTo>
                    <a:pt x="899" y="766"/>
                  </a:lnTo>
                  <a:lnTo>
                    <a:pt x="899" y="764"/>
                  </a:lnTo>
                  <a:lnTo>
                    <a:pt x="901" y="764"/>
                  </a:lnTo>
                  <a:lnTo>
                    <a:pt x="901" y="764"/>
                  </a:lnTo>
                  <a:lnTo>
                    <a:pt x="901" y="764"/>
                  </a:lnTo>
                  <a:lnTo>
                    <a:pt x="903" y="764"/>
                  </a:lnTo>
                  <a:lnTo>
                    <a:pt x="903" y="764"/>
                  </a:lnTo>
                  <a:lnTo>
                    <a:pt x="903" y="762"/>
                  </a:lnTo>
                  <a:lnTo>
                    <a:pt x="905" y="762"/>
                  </a:lnTo>
                  <a:lnTo>
                    <a:pt x="905" y="764"/>
                  </a:lnTo>
                  <a:lnTo>
                    <a:pt x="905" y="766"/>
                  </a:lnTo>
                  <a:lnTo>
                    <a:pt x="907" y="766"/>
                  </a:lnTo>
                  <a:lnTo>
                    <a:pt x="907" y="766"/>
                  </a:lnTo>
                  <a:lnTo>
                    <a:pt x="909" y="766"/>
                  </a:lnTo>
                  <a:lnTo>
                    <a:pt x="909" y="766"/>
                  </a:lnTo>
                  <a:lnTo>
                    <a:pt x="909" y="766"/>
                  </a:lnTo>
                  <a:lnTo>
                    <a:pt x="911" y="766"/>
                  </a:lnTo>
                  <a:lnTo>
                    <a:pt x="913" y="766"/>
                  </a:lnTo>
                  <a:lnTo>
                    <a:pt x="913" y="766"/>
                  </a:lnTo>
                  <a:lnTo>
                    <a:pt x="913" y="766"/>
                  </a:lnTo>
                  <a:lnTo>
                    <a:pt x="913" y="766"/>
                  </a:lnTo>
                  <a:lnTo>
                    <a:pt x="913" y="764"/>
                  </a:lnTo>
                  <a:lnTo>
                    <a:pt x="913" y="764"/>
                  </a:lnTo>
                  <a:lnTo>
                    <a:pt x="913" y="764"/>
                  </a:lnTo>
                  <a:lnTo>
                    <a:pt x="913" y="764"/>
                  </a:lnTo>
                  <a:lnTo>
                    <a:pt x="911" y="764"/>
                  </a:lnTo>
                  <a:lnTo>
                    <a:pt x="911" y="762"/>
                  </a:lnTo>
                  <a:lnTo>
                    <a:pt x="911" y="762"/>
                  </a:lnTo>
                  <a:lnTo>
                    <a:pt x="909" y="762"/>
                  </a:lnTo>
                  <a:lnTo>
                    <a:pt x="909" y="762"/>
                  </a:lnTo>
                  <a:lnTo>
                    <a:pt x="909" y="762"/>
                  </a:lnTo>
                  <a:lnTo>
                    <a:pt x="909" y="762"/>
                  </a:lnTo>
                  <a:lnTo>
                    <a:pt x="909" y="760"/>
                  </a:lnTo>
                  <a:lnTo>
                    <a:pt x="909" y="760"/>
                  </a:lnTo>
                  <a:lnTo>
                    <a:pt x="911" y="762"/>
                  </a:lnTo>
                  <a:lnTo>
                    <a:pt x="911" y="760"/>
                  </a:lnTo>
                  <a:lnTo>
                    <a:pt x="911" y="760"/>
                  </a:lnTo>
                  <a:lnTo>
                    <a:pt x="913" y="758"/>
                  </a:lnTo>
                  <a:lnTo>
                    <a:pt x="913" y="760"/>
                  </a:lnTo>
                  <a:lnTo>
                    <a:pt x="913" y="760"/>
                  </a:lnTo>
                  <a:lnTo>
                    <a:pt x="913" y="760"/>
                  </a:lnTo>
                  <a:lnTo>
                    <a:pt x="913" y="760"/>
                  </a:lnTo>
                  <a:lnTo>
                    <a:pt x="916" y="758"/>
                  </a:lnTo>
                  <a:lnTo>
                    <a:pt x="916" y="758"/>
                  </a:lnTo>
                  <a:lnTo>
                    <a:pt x="916" y="758"/>
                  </a:lnTo>
                  <a:lnTo>
                    <a:pt x="916" y="758"/>
                  </a:lnTo>
                  <a:lnTo>
                    <a:pt x="916" y="758"/>
                  </a:lnTo>
                  <a:lnTo>
                    <a:pt x="916" y="760"/>
                  </a:lnTo>
                  <a:lnTo>
                    <a:pt x="916" y="758"/>
                  </a:lnTo>
                  <a:lnTo>
                    <a:pt x="916" y="758"/>
                  </a:lnTo>
                  <a:lnTo>
                    <a:pt x="916" y="758"/>
                  </a:lnTo>
                  <a:lnTo>
                    <a:pt x="916" y="756"/>
                  </a:lnTo>
                  <a:lnTo>
                    <a:pt x="916" y="756"/>
                  </a:lnTo>
                  <a:lnTo>
                    <a:pt x="913" y="756"/>
                  </a:lnTo>
                  <a:lnTo>
                    <a:pt x="913" y="756"/>
                  </a:lnTo>
                  <a:lnTo>
                    <a:pt x="913" y="756"/>
                  </a:lnTo>
                  <a:lnTo>
                    <a:pt x="913" y="756"/>
                  </a:lnTo>
                  <a:lnTo>
                    <a:pt x="913" y="754"/>
                  </a:lnTo>
                  <a:lnTo>
                    <a:pt x="916" y="754"/>
                  </a:lnTo>
                  <a:lnTo>
                    <a:pt x="916" y="754"/>
                  </a:lnTo>
                  <a:lnTo>
                    <a:pt x="916" y="754"/>
                  </a:lnTo>
                  <a:lnTo>
                    <a:pt x="918" y="754"/>
                  </a:lnTo>
                  <a:lnTo>
                    <a:pt x="918" y="756"/>
                  </a:lnTo>
                  <a:lnTo>
                    <a:pt x="920" y="758"/>
                  </a:lnTo>
                  <a:lnTo>
                    <a:pt x="920" y="758"/>
                  </a:lnTo>
                  <a:lnTo>
                    <a:pt x="922" y="758"/>
                  </a:lnTo>
                  <a:lnTo>
                    <a:pt x="922" y="758"/>
                  </a:lnTo>
                  <a:lnTo>
                    <a:pt x="922" y="758"/>
                  </a:lnTo>
                  <a:lnTo>
                    <a:pt x="924" y="756"/>
                  </a:lnTo>
                  <a:lnTo>
                    <a:pt x="922" y="756"/>
                  </a:lnTo>
                  <a:lnTo>
                    <a:pt x="922" y="756"/>
                  </a:lnTo>
                  <a:lnTo>
                    <a:pt x="922" y="756"/>
                  </a:lnTo>
                  <a:lnTo>
                    <a:pt x="922" y="754"/>
                  </a:lnTo>
                  <a:lnTo>
                    <a:pt x="924" y="756"/>
                  </a:lnTo>
                  <a:lnTo>
                    <a:pt x="924" y="756"/>
                  </a:lnTo>
                  <a:lnTo>
                    <a:pt x="926" y="756"/>
                  </a:lnTo>
                  <a:lnTo>
                    <a:pt x="926" y="754"/>
                  </a:lnTo>
                  <a:lnTo>
                    <a:pt x="926" y="754"/>
                  </a:lnTo>
                  <a:lnTo>
                    <a:pt x="926" y="754"/>
                  </a:lnTo>
                  <a:lnTo>
                    <a:pt x="928" y="752"/>
                  </a:lnTo>
                  <a:lnTo>
                    <a:pt x="928" y="752"/>
                  </a:lnTo>
                  <a:lnTo>
                    <a:pt x="930" y="752"/>
                  </a:lnTo>
                  <a:lnTo>
                    <a:pt x="930" y="752"/>
                  </a:lnTo>
                  <a:lnTo>
                    <a:pt x="928" y="752"/>
                  </a:lnTo>
                  <a:lnTo>
                    <a:pt x="928" y="752"/>
                  </a:lnTo>
                  <a:lnTo>
                    <a:pt x="930" y="750"/>
                  </a:lnTo>
                  <a:lnTo>
                    <a:pt x="930" y="750"/>
                  </a:lnTo>
                  <a:lnTo>
                    <a:pt x="928" y="750"/>
                  </a:lnTo>
                  <a:lnTo>
                    <a:pt x="928" y="748"/>
                  </a:lnTo>
                  <a:lnTo>
                    <a:pt x="930" y="748"/>
                  </a:lnTo>
                  <a:lnTo>
                    <a:pt x="930" y="750"/>
                  </a:lnTo>
                  <a:lnTo>
                    <a:pt x="930" y="750"/>
                  </a:lnTo>
                  <a:lnTo>
                    <a:pt x="930" y="750"/>
                  </a:lnTo>
                  <a:lnTo>
                    <a:pt x="932" y="752"/>
                  </a:lnTo>
                  <a:lnTo>
                    <a:pt x="932" y="754"/>
                  </a:lnTo>
                  <a:lnTo>
                    <a:pt x="932" y="752"/>
                  </a:lnTo>
                  <a:lnTo>
                    <a:pt x="934" y="752"/>
                  </a:lnTo>
                  <a:lnTo>
                    <a:pt x="934" y="750"/>
                  </a:lnTo>
                  <a:lnTo>
                    <a:pt x="934" y="750"/>
                  </a:lnTo>
                  <a:lnTo>
                    <a:pt x="934" y="750"/>
                  </a:lnTo>
                  <a:lnTo>
                    <a:pt x="934" y="750"/>
                  </a:lnTo>
                  <a:lnTo>
                    <a:pt x="934" y="748"/>
                  </a:lnTo>
                  <a:lnTo>
                    <a:pt x="934" y="748"/>
                  </a:lnTo>
                  <a:lnTo>
                    <a:pt x="934" y="748"/>
                  </a:lnTo>
                  <a:lnTo>
                    <a:pt x="934" y="748"/>
                  </a:lnTo>
                  <a:lnTo>
                    <a:pt x="934" y="748"/>
                  </a:lnTo>
                  <a:lnTo>
                    <a:pt x="934" y="748"/>
                  </a:lnTo>
                  <a:lnTo>
                    <a:pt x="934" y="746"/>
                  </a:lnTo>
                  <a:lnTo>
                    <a:pt x="934" y="746"/>
                  </a:lnTo>
                  <a:lnTo>
                    <a:pt x="934" y="746"/>
                  </a:lnTo>
                  <a:lnTo>
                    <a:pt x="934" y="746"/>
                  </a:lnTo>
                  <a:lnTo>
                    <a:pt x="934" y="746"/>
                  </a:lnTo>
                  <a:lnTo>
                    <a:pt x="934" y="746"/>
                  </a:lnTo>
                  <a:lnTo>
                    <a:pt x="936" y="746"/>
                  </a:lnTo>
                  <a:lnTo>
                    <a:pt x="936" y="746"/>
                  </a:lnTo>
                  <a:lnTo>
                    <a:pt x="936" y="746"/>
                  </a:lnTo>
                  <a:lnTo>
                    <a:pt x="936" y="746"/>
                  </a:lnTo>
                  <a:lnTo>
                    <a:pt x="936" y="748"/>
                  </a:lnTo>
                  <a:lnTo>
                    <a:pt x="936" y="748"/>
                  </a:lnTo>
                  <a:lnTo>
                    <a:pt x="936" y="748"/>
                  </a:lnTo>
                  <a:lnTo>
                    <a:pt x="936" y="748"/>
                  </a:lnTo>
                  <a:lnTo>
                    <a:pt x="938" y="748"/>
                  </a:lnTo>
                  <a:lnTo>
                    <a:pt x="940" y="750"/>
                  </a:lnTo>
                  <a:lnTo>
                    <a:pt x="940" y="750"/>
                  </a:lnTo>
                  <a:lnTo>
                    <a:pt x="940" y="748"/>
                  </a:lnTo>
                  <a:lnTo>
                    <a:pt x="938" y="746"/>
                  </a:lnTo>
                  <a:lnTo>
                    <a:pt x="938" y="746"/>
                  </a:lnTo>
                  <a:lnTo>
                    <a:pt x="938" y="744"/>
                  </a:lnTo>
                  <a:lnTo>
                    <a:pt x="938" y="744"/>
                  </a:lnTo>
                  <a:lnTo>
                    <a:pt x="940" y="746"/>
                  </a:lnTo>
                  <a:lnTo>
                    <a:pt x="940" y="746"/>
                  </a:lnTo>
                  <a:lnTo>
                    <a:pt x="940" y="746"/>
                  </a:lnTo>
                  <a:lnTo>
                    <a:pt x="940" y="746"/>
                  </a:lnTo>
                  <a:lnTo>
                    <a:pt x="940" y="746"/>
                  </a:lnTo>
                  <a:lnTo>
                    <a:pt x="942" y="746"/>
                  </a:lnTo>
                  <a:lnTo>
                    <a:pt x="942" y="746"/>
                  </a:lnTo>
                  <a:lnTo>
                    <a:pt x="942" y="744"/>
                  </a:lnTo>
                  <a:lnTo>
                    <a:pt x="942" y="744"/>
                  </a:lnTo>
                  <a:lnTo>
                    <a:pt x="942" y="744"/>
                  </a:lnTo>
                  <a:lnTo>
                    <a:pt x="942" y="744"/>
                  </a:lnTo>
                  <a:lnTo>
                    <a:pt x="942" y="744"/>
                  </a:lnTo>
                  <a:lnTo>
                    <a:pt x="942" y="744"/>
                  </a:lnTo>
                  <a:lnTo>
                    <a:pt x="942" y="744"/>
                  </a:lnTo>
                  <a:lnTo>
                    <a:pt x="942" y="742"/>
                  </a:lnTo>
                  <a:lnTo>
                    <a:pt x="942" y="742"/>
                  </a:lnTo>
                  <a:lnTo>
                    <a:pt x="946" y="742"/>
                  </a:lnTo>
                  <a:lnTo>
                    <a:pt x="946" y="740"/>
                  </a:lnTo>
                  <a:lnTo>
                    <a:pt x="946" y="740"/>
                  </a:lnTo>
                  <a:lnTo>
                    <a:pt x="946" y="740"/>
                  </a:lnTo>
                  <a:lnTo>
                    <a:pt x="946" y="740"/>
                  </a:lnTo>
                  <a:lnTo>
                    <a:pt x="946" y="738"/>
                  </a:lnTo>
                  <a:lnTo>
                    <a:pt x="946" y="738"/>
                  </a:lnTo>
                  <a:lnTo>
                    <a:pt x="946" y="738"/>
                  </a:lnTo>
                  <a:lnTo>
                    <a:pt x="946" y="738"/>
                  </a:lnTo>
                  <a:lnTo>
                    <a:pt x="944" y="738"/>
                  </a:lnTo>
                  <a:lnTo>
                    <a:pt x="944" y="738"/>
                  </a:lnTo>
                  <a:lnTo>
                    <a:pt x="944" y="736"/>
                  </a:lnTo>
                  <a:lnTo>
                    <a:pt x="944" y="736"/>
                  </a:lnTo>
                  <a:lnTo>
                    <a:pt x="944" y="736"/>
                  </a:lnTo>
                  <a:lnTo>
                    <a:pt x="946" y="736"/>
                  </a:lnTo>
                  <a:lnTo>
                    <a:pt x="946" y="736"/>
                  </a:lnTo>
                  <a:lnTo>
                    <a:pt x="946" y="734"/>
                  </a:lnTo>
                  <a:lnTo>
                    <a:pt x="946" y="734"/>
                  </a:lnTo>
                  <a:lnTo>
                    <a:pt x="946" y="734"/>
                  </a:lnTo>
                  <a:lnTo>
                    <a:pt x="946" y="734"/>
                  </a:lnTo>
                  <a:lnTo>
                    <a:pt x="946" y="734"/>
                  </a:lnTo>
                  <a:lnTo>
                    <a:pt x="946" y="734"/>
                  </a:lnTo>
                  <a:lnTo>
                    <a:pt x="946" y="734"/>
                  </a:lnTo>
                  <a:lnTo>
                    <a:pt x="946" y="732"/>
                  </a:lnTo>
                  <a:lnTo>
                    <a:pt x="946" y="732"/>
                  </a:lnTo>
                  <a:lnTo>
                    <a:pt x="946" y="732"/>
                  </a:lnTo>
                  <a:lnTo>
                    <a:pt x="942" y="734"/>
                  </a:lnTo>
                  <a:lnTo>
                    <a:pt x="940" y="734"/>
                  </a:lnTo>
                  <a:lnTo>
                    <a:pt x="940" y="732"/>
                  </a:lnTo>
                  <a:lnTo>
                    <a:pt x="940" y="732"/>
                  </a:lnTo>
                  <a:lnTo>
                    <a:pt x="942" y="732"/>
                  </a:lnTo>
                  <a:lnTo>
                    <a:pt x="942" y="732"/>
                  </a:lnTo>
                  <a:lnTo>
                    <a:pt x="942" y="732"/>
                  </a:lnTo>
                  <a:lnTo>
                    <a:pt x="946" y="728"/>
                  </a:lnTo>
                  <a:lnTo>
                    <a:pt x="948" y="725"/>
                  </a:lnTo>
                  <a:lnTo>
                    <a:pt x="948" y="725"/>
                  </a:lnTo>
                  <a:lnTo>
                    <a:pt x="950" y="725"/>
                  </a:lnTo>
                  <a:lnTo>
                    <a:pt x="950" y="725"/>
                  </a:lnTo>
                  <a:lnTo>
                    <a:pt x="950" y="725"/>
                  </a:lnTo>
                  <a:lnTo>
                    <a:pt x="950" y="723"/>
                  </a:lnTo>
                  <a:lnTo>
                    <a:pt x="950" y="723"/>
                  </a:lnTo>
                  <a:lnTo>
                    <a:pt x="952" y="723"/>
                  </a:lnTo>
                  <a:lnTo>
                    <a:pt x="952" y="725"/>
                  </a:lnTo>
                  <a:lnTo>
                    <a:pt x="954" y="725"/>
                  </a:lnTo>
                  <a:lnTo>
                    <a:pt x="956" y="725"/>
                  </a:lnTo>
                  <a:lnTo>
                    <a:pt x="956" y="725"/>
                  </a:lnTo>
                  <a:lnTo>
                    <a:pt x="954" y="723"/>
                  </a:lnTo>
                  <a:lnTo>
                    <a:pt x="954" y="723"/>
                  </a:lnTo>
                  <a:lnTo>
                    <a:pt x="954" y="721"/>
                  </a:lnTo>
                  <a:lnTo>
                    <a:pt x="954" y="721"/>
                  </a:lnTo>
                  <a:lnTo>
                    <a:pt x="954" y="721"/>
                  </a:lnTo>
                  <a:lnTo>
                    <a:pt x="954" y="721"/>
                  </a:lnTo>
                  <a:lnTo>
                    <a:pt x="954" y="721"/>
                  </a:lnTo>
                  <a:lnTo>
                    <a:pt x="956" y="721"/>
                  </a:lnTo>
                  <a:lnTo>
                    <a:pt x="956" y="721"/>
                  </a:lnTo>
                  <a:lnTo>
                    <a:pt x="956" y="719"/>
                  </a:lnTo>
                  <a:lnTo>
                    <a:pt x="956" y="719"/>
                  </a:lnTo>
                  <a:lnTo>
                    <a:pt x="956" y="719"/>
                  </a:lnTo>
                  <a:lnTo>
                    <a:pt x="956" y="719"/>
                  </a:lnTo>
                  <a:lnTo>
                    <a:pt x="959" y="721"/>
                  </a:lnTo>
                  <a:lnTo>
                    <a:pt x="959" y="721"/>
                  </a:lnTo>
                  <a:lnTo>
                    <a:pt x="959" y="719"/>
                  </a:lnTo>
                  <a:lnTo>
                    <a:pt x="959" y="719"/>
                  </a:lnTo>
                  <a:lnTo>
                    <a:pt x="961" y="719"/>
                  </a:lnTo>
                  <a:lnTo>
                    <a:pt x="961" y="719"/>
                  </a:lnTo>
                  <a:lnTo>
                    <a:pt x="961" y="719"/>
                  </a:lnTo>
                  <a:lnTo>
                    <a:pt x="961" y="719"/>
                  </a:lnTo>
                  <a:lnTo>
                    <a:pt x="963" y="719"/>
                  </a:lnTo>
                  <a:lnTo>
                    <a:pt x="963" y="719"/>
                  </a:lnTo>
                  <a:lnTo>
                    <a:pt x="963" y="719"/>
                  </a:lnTo>
                  <a:lnTo>
                    <a:pt x="963" y="721"/>
                  </a:lnTo>
                  <a:lnTo>
                    <a:pt x="963" y="721"/>
                  </a:lnTo>
                  <a:lnTo>
                    <a:pt x="965" y="719"/>
                  </a:lnTo>
                  <a:lnTo>
                    <a:pt x="965" y="719"/>
                  </a:lnTo>
                  <a:lnTo>
                    <a:pt x="965" y="719"/>
                  </a:lnTo>
                  <a:lnTo>
                    <a:pt x="965" y="717"/>
                  </a:lnTo>
                  <a:lnTo>
                    <a:pt x="965" y="717"/>
                  </a:lnTo>
                  <a:lnTo>
                    <a:pt x="965" y="717"/>
                  </a:lnTo>
                  <a:lnTo>
                    <a:pt x="965" y="717"/>
                  </a:lnTo>
                  <a:lnTo>
                    <a:pt x="965" y="717"/>
                  </a:lnTo>
                  <a:lnTo>
                    <a:pt x="965" y="717"/>
                  </a:lnTo>
                  <a:lnTo>
                    <a:pt x="963" y="715"/>
                  </a:lnTo>
                  <a:lnTo>
                    <a:pt x="963" y="715"/>
                  </a:lnTo>
                  <a:lnTo>
                    <a:pt x="963" y="715"/>
                  </a:lnTo>
                  <a:lnTo>
                    <a:pt x="965" y="715"/>
                  </a:lnTo>
                  <a:lnTo>
                    <a:pt x="967" y="715"/>
                  </a:lnTo>
                  <a:lnTo>
                    <a:pt x="969" y="713"/>
                  </a:lnTo>
                  <a:lnTo>
                    <a:pt x="969" y="713"/>
                  </a:lnTo>
                  <a:lnTo>
                    <a:pt x="967" y="711"/>
                  </a:lnTo>
                  <a:lnTo>
                    <a:pt x="967" y="711"/>
                  </a:lnTo>
                  <a:lnTo>
                    <a:pt x="967" y="711"/>
                  </a:lnTo>
                  <a:lnTo>
                    <a:pt x="967" y="709"/>
                  </a:lnTo>
                  <a:lnTo>
                    <a:pt x="967" y="709"/>
                  </a:lnTo>
                  <a:lnTo>
                    <a:pt x="969" y="707"/>
                  </a:lnTo>
                  <a:lnTo>
                    <a:pt x="969" y="707"/>
                  </a:lnTo>
                  <a:lnTo>
                    <a:pt x="969" y="707"/>
                  </a:lnTo>
                  <a:lnTo>
                    <a:pt x="971" y="709"/>
                  </a:lnTo>
                  <a:lnTo>
                    <a:pt x="971" y="709"/>
                  </a:lnTo>
                  <a:lnTo>
                    <a:pt x="971" y="709"/>
                  </a:lnTo>
                  <a:lnTo>
                    <a:pt x="973" y="711"/>
                  </a:lnTo>
                  <a:lnTo>
                    <a:pt x="973" y="711"/>
                  </a:lnTo>
                  <a:lnTo>
                    <a:pt x="973" y="711"/>
                  </a:lnTo>
                  <a:lnTo>
                    <a:pt x="975" y="711"/>
                  </a:lnTo>
                  <a:lnTo>
                    <a:pt x="975" y="711"/>
                  </a:lnTo>
                  <a:lnTo>
                    <a:pt x="975" y="711"/>
                  </a:lnTo>
                  <a:lnTo>
                    <a:pt x="975" y="711"/>
                  </a:lnTo>
                  <a:lnTo>
                    <a:pt x="977" y="711"/>
                  </a:lnTo>
                  <a:lnTo>
                    <a:pt x="977" y="709"/>
                  </a:lnTo>
                  <a:lnTo>
                    <a:pt x="977" y="709"/>
                  </a:lnTo>
                  <a:lnTo>
                    <a:pt x="975" y="707"/>
                  </a:lnTo>
                  <a:lnTo>
                    <a:pt x="975" y="707"/>
                  </a:lnTo>
                  <a:lnTo>
                    <a:pt x="975" y="707"/>
                  </a:lnTo>
                  <a:lnTo>
                    <a:pt x="975" y="707"/>
                  </a:lnTo>
                  <a:lnTo>
                    <a:pt x="977" y="707"/>
                  </a:lnTo>
                  <a:lnTo>
                    <a:pt x="975" y="707"/>
                  </a:lnTo>
                  <a:lnTo>
                    <a:pt x="975" y="705"/>
                  </a:lnTo>
                  <a:lnTo>
                    <a:pt x="975" y="705"/>
                  </a:lnTo>
                  <a:lnTo>
                    <a:pt x="977" y="705"/>
                  </a:lnTo>
                  <a:lnTo>
                    <a:pt x="977" y="705"/>
                  </a:lnTo>
                  <a:lnTo>
                    <a:pt x="979" y="705"/>
                  </a:lnTo>
                  <a:lnTo>
                    <a:pt x="979" y="705"/>
                  </a:lnTo>
                  <a:lnTo>
                    <a:pt x="979" y="705"/>
                  </a:lnTo>
                  <a:lnTo>
                    <a:pt x="979" y="705"/>
                  </a:lnTo>
                  <a:lnTo>
                    <a:pt x="977" y="703"/>
                  </a:lnTo>
                  <a:lnTo>
                    <a:pt x="981" y="703"/>
                  </a:lnTo>
                  <a:lnTo>
                    <a:pt x="983" y="703"/>
                  </a:lnTo>
                  <a:lnTo>
                    <a:pt x="983" y="703"/>
                  </a:lnTo>
                  <a:lnTo>
                    <a:pt x="983" y="701"/>
                  </a:lnTo>
                  <a:lnTo>
                    <a:pt x="981" y="699"/>
                  </a:lnTo>
                  <a:lnTo>
                    <a:pt x="983" y="699"/>
                  </a:lnTo>
                  <a:lnTo>
                    <a:pt x="983" y="699"/>
                  </a:lnTo>
                  <a:lnTo>
                    <a:pt x="983" y="699"/>
                  </a:lnTo>
                  <a:lnTo>
                    <a:pt x="983" y="697"/>
                  </a:lnTo>
                  <a:lnTo>
                    <a:pt x="983" y="697"/>
                  </a:lnTo>
                  <a:lnTo>
                    <a:pt x="985" y="697"/>
                  </a:lnTo>
                  <a:lnTo>
                    <a:pt x="985" y="695"/>
                  </a:lnTo>
                  <a:lnTo>
                    <a:pt x="987" y="695"/>
                  </a:lnTo>
                  <a:lnTo>
                    <a:pt x="989" y="697"/>
                  </a:lnTo>
                  <a:lnTo>
                    <a:pt x="989" y="697"/>
                  </a:lnTo>
                  <a:lnTo>
                    <a:pt x="991" y="697"/>
                  </a:lnTo>
                  <a:lnTo>
                    <a:pt x="991" y="697"/>
                  </a:lnTo>
                  <a:lnTo>
                    <a:pt x="991" y="697"/>
                  </a:lnTo>
                  <a:lnTo>
                    <a:pt x="991" y="697"/>
                  </a:lnTo>
                  <a:lnTo>
                    <a:pt x="991" y="697"/>
                  </a:lnTo>
                  <a:lnTo>
                    <a:pt x="991" y="697"/>
                  </a:lnTo>
                  <a:lnTo>
                    <a:pt x="991" y="695"/>
                  </a:lnTo>
                  <a:lnTo>
                    <a:pt x="991" y="695"/>
                  </a:lnTo>
                  <a:lnTo>
                    <a:pt x="993" y="695"/>
                  </a:lnTo>
                  <a:lnTo>
                    <a:pt x="993" y="695"/>
                  </a:lnTo>
                  <a:lnTo>
                    <a:pt x="993" y="693"/>
                  </a:lnTo>
                  <a:lnTo>
                    <a:pt x="995" y="695"/>
                  </a:lnTo>
                  <a:lnTo>
                    <a:pt x="995" y="695"/>
                  </a:lnTo>
                  <a:lnTo>
                    <a:pt x="995" y="695"/>
                  </a:lnTo>
                  <a:lnTo>
                    <a:pt x="995" y="695"/>
                  </a:lnTo>
                  <a:lnTo>
                    <a:pt x="995" y="695"/>
                  </a:lnTo>
                  <a:lnTo>
                    <a:pt x="995" y="697"/>
                  </a:lnTo>
                  <a:lnTo>
                    <a:pt x="997" y="695"/>
                  </a:lnTo>
                  <a:lnTo>
                    <a:pt x="997" y="695"/>
                  </a:lnTo>
                  <a:lnTo>
                    <a:pt x="997" y="693"/>
                  </a:lnTo>
                  <a:lnTo>
                    <a:pt x="997" y="693"/>
                  </a:lnTo>
                  <a:lnTo>
                    <a:pt x="997" y="693"/>
                  </a:lnTo>
                  <a:lnTo>
                    <a:pt x="995" y="691"/>
                  </a:lnTo>
                  <a:lnTo>
                    <a:pt x="995" y="691"/>
                  </a:lnTo>
                  <a:lnTo>
                    <a:pt x="997" y="691"/>
                  </a:lnTo>
                  <a:lnTo>
                    <a:pt x="999" y="693"/>
                  </a:lnTo>
                  <a:lnTo>
                    <a:pt x="999" y="693"/>
                  </a:lnTo>
                  <a:lnTo>
                    <a:pt x="999" y="691"/>
                  </a:lnTo>
                  <a:lnTo>
                    <a:pt x="999" y="691"/>
                  </a:lnTo>
                  <a:lnTo>
                    <a:pt x="999" y="687"/>
                  </a:lnTo>
                  <a:lnTo>
                    <a:pt x="999" y="687"/>
                  </a:lnTo>
                  <a:lnTo>
                    <a:pt x="999" y="689"/>
                  </a:lnTo>
                  <a:lnTo>
                    <a:pt x="999" y="689"/>
                  </a:lnTo>
                  <a:lnTo>
                    <a:pt x="999" y="689"/>
                  </a:lnTo>
                  <a:lnTo>
                    <a:pt x="999" y="689"/>
                  </a:lnTo>
                  <a:lnTo>
                    <a:pt x="999" y="689"/>
                  </a:lnTo>
                  <a:lnTo>
                    <a:pt x="999" y="691"/>
                  </a:lnTo>
                  <a:lnTo>
                    <a:pt x="1002" y="691"/>
                  </a:lnTo>
                  <a:lnTo>
                    <a:pt x="1002" y="691"/>
                  </a:lnTo>
                  <a:lnTo>
                    <a:pt x="1002" y="691"/>
                  </a:lnTo>
                  <a:lnTo>
                    <a:pt x="1002" y="693"/>
                  </a:lnTo>
                  <a:lnTo>
                    <a:pt x="1004" y="693"/>
                  </a:lnTo>
                  <a:lnTo>
                    <a:pt x="1004" y="693"/>
                  </a:lnTo>
                  <a:lnTo>
                    <a:pt x="1004" y="693"/>
                  </a:lnTo>
                  <a:lnTo>
                    <a:pt x="1004" y="691"/>
                  </a:lnTo>
                  <a:lnTo>
                    <a:pt x="1004" y="691"/>
                  </a:lnTo>
                  <a:lnTo>
                    <a:pt x="1004" y="691"/>
                  </a:lnTo>
                  <a:lnTo>
                    <a:pt x="1004" y="689"/>
                  </a:lnTo>
                  <a:lnTo>
                    <a:pt x="1006" y="691"/>
                  </a:lnTo>
                  <a:lnTo>
                    <a:pt x="1006" y="691"/>
                  </a:lnTo>
                  <a:lnTo>
                    <a:pt x="1006" y="691"/>
                  </a:lnTo>
                  <a:lnTo>
                    <a:pt x="1006" y="689"/>
                  </a:lnTo>
                  <a:lnTo>
                    <a:pt x="1004" y="689"/>
                  </a:lnTo>
                  <a:lnTo>
                    <a:pt x="1004" y="687"/>
                  </a:lnTo>
                  <a:lnTo>
                    <a:pt x="1004" y="687"/>
                  </a:lnTo>
                  <a:lnTo>
                    <a:pt x="1006" y="687"/>
                  </a:lnTo>
                  <a:lnTo>
                    <a:pt x="1006" y="687"/>
                  </a:lnTo>
                  <a:lnTo>
                    <a:pt x="1006" y="687"/>
                  </a:lnTo>
                  <a:lnTo>
                    <a:pt x="1008" y="687"/>
                  </a:lnTo>
                  <a:lnTo>
                    <a:pt x="1008" y="687"/>
                  </a:lnTo>
                  <a:lnTo>
                    <a:pt x="1008" y="684"/>
                  </a:lnTo>
                  <a:lnTo>
                    <a:pt x="1008" y="684"/>
                  </a:lnTo>
                  <a:lnTo>
                    <a:pt x="1006" y="684"/>
                  </a:lnTo>
                  <a:lnTo>
                    <a:pt x="1008" y="684"/>
                  </a:lnTo>
                  <a:lnTo>
                    <a:pt x="1008" y="682"/>
                  </a:lnTo>
                  <a:lnTo>
                    <a:pt x="1010" y="682"/>
                  </a:lnTo>
                  <a:lnTo>
                    <a:pt x="1008" y="680"/>
                  </a:lnTo>
                  <a:lnTo>
                    <a:pt x="1008" y="680"/>
                  </a:lnTo>
                  <a:lnTo>
                    <a:pt x="1008" y="680"/>
                  </a:lnTo>
                  <a:lnTo>
                    <a:pt x="1008" y="680"/>
                  </a:lnTo>
                  <a:lnTo>
                    <a:pt x="1008" y="680"/>
                  </a:lnTo>
                  <a:lnTo>
                    <a:pt x="1008" y="680"/>
                  </a:lnTo>
                  <a:lnTo>
                    <a:pt x="1008" y="682"/>
                  </a:lnTo>
                  <a:lnTo>
                    <a:pt x="1008" y="682"/>
                  </a:lnTo>
                  <a:lnTo>
                    <a:pt x="1006" y="682"/>
                  </a:lnTo>
                  <a:lnTo>
                    <a:pt x="1006" y="682"/>
                  </a:lnTo>
                  <a:lnTo>
                    <a:pt x="1006" y="682"/>
                  </a:lnTo>
                  <a:lnTo>
                    <a:pt x="1006" y="682"/>
                  </a:lnTo>
                  <a:lnTo>
                    <a:pt x="1004" y="682"/>
                  </a:lnTo>
                  <a:lnTo>
                    <a:pt x="1004" y="682"/>
                  </a:lnTo>
                  <a:lnTo>
                    <a:pt x="1004" y="684"/>
                  </a:lnTo>
                  <a:lnTo>
                    <a:pt x="1004" y="684"/>
                  </a:lnTo>
                  <a:lnTo>
                    <a:pt x="1004" y="684"/>
                  </a:lnTo>
                  <a:lnTo>
                    <a:pt x="1002" y="684"/>
                  </a:lnTo>
                  <a:lnTo>
                    <a:pt x="1004" y="684"/>
                  </a:lnTo>
                  <a:lnTo>
                    <a:pt x="1004" y="682"/>
                  </a:lnTo>
                  <a:lnTo>
                    <a:pt x="1004" y="682"/>
                  </a:lnTo>
                  <a:lnTo>
                    <a:pt x="1002" y="682"/>
                  </a:lnTo>
                  <a:lnTo>
                    <a:pt x="1004" y="682"/>
                  </a:lnTo>
                  <a:lnTo>
                    <a:pt x="1004" y="680"/>
                  </a:lnTo>
                  <a:lnTo>
                    <a:pt x="1004" y="680"/>
                  </a:lnTo>
                  <a:lnTo>
                    <a:pt x="1006" y="680"/>
                  </a:lnTo>
                  <a:lnTo>
                    <a:pt x="1006" y="680"/>
                  </a:lnTo>
                  <a:lnTo>
                    <a:pt x="1008" y="680"/>
                  </a:lnTo>
                  <a:lnTo>
                    <a:pt x="1008" y="680"/>
                  </a:lnTo>
                  <a:lnTo>
                    <a:pt x="1008" y="678"/>
                  </a:lnTo>
                  <a:lnTo>
                    <a:pt x="1008" y="678"/>
                  </a:lnTo>
                  <a:lnTo>
                    <a:pt x="1008" y="678"/>
                  </a:lnTo>
                  <a:lnTo>
                    <a:pt x="1010" y="678"/>
                  </a:lnTo>
                  <a:lnTo>
                    <a:pt x="1010" y="678"/>
                  </a:lnTo>
                  <a:lnTo>
                    <a:pt x="1012" y="678"/>
                  </a:lnTo>
                  <a:lnTo>
                    <a:pt x="1012" y="678"/>
                  </a:lnTo>
                  <a:lnTo>
                    <a:pt x="1012" y="678"/>
                  </a:lnTo>
                  <a:lnTo>
                    <a:pt x="1012" y="676"/>
                  </a:lnTo>
                  <a:lnTo>
                    <a:pt x="1012" y="676"/>
                  </a:lnTo>
                  <a:lnTo>
                    <a:pt x="1012" y="676"/>
                  </a:lnTo>
                  <a:lnTo>
                    <a:pt x="1010" y="676"/>
                  </a:lnTo>
                  <a:lnTo>
                    <a:pt x="1010" y="676"/>
                  </a:lnTo>
                  <a:lnTo>
                    <a:pt x="1010" y="676"/>
                  </a:lnTo>
                  <a:lnTo>
                    <a:pt x="1010" y="676"/>
                  </a:lnTo>
                  <a:lnTo>
                    <a:pt x="1010" y="676"/>
                  </a:lnTo>
                  <a:lnTo>
                    <a:pt x="1010" y="674"/>
                  </a:lnTo>
                  <a:lnTo>
                    <a:pt x="1010" y="672"/>
                  </a:lnTo>
                  <a:lnTo>
                    <a:pt x="1010" y="672"/>
                  </a:lnTo>
                  <a:lnTo>
                    <a:pt x="1010" y="672"/>
                  </a:lnTo>
                  <a:lnTo>
                    <a:pt x="1012" y="672"/>
                  </a:lnTo>
                  <a:lnTo>
                    <a:pt x="1012" y="672"/>
                  </a:lnTo>
                  <a:lnTo>
                    <a:pt x="1014" y="672"/>
                  </a:lnTo>
                  <a:lnTo>
                    <a:pt x="1014" y="672"/>
                  </a:lnTo>
                  <a:lnTo>
                    <a:pt x="1014" y="672"/>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68"/>
                  </a:lnTo>
                  <a:lnTo>
                    <a:pt x="1014" y="668"/>
                  </a:lnTo>
                  <a:lnTo>
                    <a:pt x="1016" y="668"/>
                  </a:lnTo>
                  <a:lnTo>
                    <a:pt x="1016" y="666"/>
                  </a:lnTo>
                  <a:lnTo>
                    <a:pt x="1016" y="666"/>
                  </a:lnTo>
                  <a:lnTo>
                    <a:pt x="1014" y="666"/>
                  </a:lnTo>
                  <a:lnTo>
                    <a:pt x="1014" y="666"/>
                  </a:lnTo>
                  <a:lnTo>
                    <a:pt x="1016" y="666"/>
                  </a:lnTo>
                  <a:lnTo>
                    <a:pt x="1016" y="666"/>
                  </a:lnTo>
                  <a:lnTo>
                    <a:pt x="1018" y="666"/>
                  </a:lnTo>
                  <a:lnTo>
                    <a:pt x="1020" y="664"/>
                  </a:lnTo>
                  <a:lnTo>
                    <a:pt x="1022" y="664"/>
                  </a:lnTo>
                  <a:lnTo>
                    <a:pt x="1022" y="664"/>
                  </a:lnTo>
                  <a:lnTo>
                    <a:pt x="1024" y="664"/>
                  </a:lnTo>
                  <a:lnTo>
                    <a:pt x="1024" y="662"/>
                  </a:lnTo>
                  <a:lnTo>
                    <a:pt x="1024" y="662"/>
                  </a:lnTo>
                  <a:lnTo>
                    <a:pt x="1024" y="662"/>
                  </a:lnTo>
                  <a:lnTo>
                    <a:pt x="1026" y="662"/>
                  </a:lnTo>
                  <a:lnTo>
                    <a:pt x="1028" y="660"/>
                  </a:lnTo>
                  <a:lnTo>
                    <a:pt x="1028" y="658"/>
                  </a:lnTo>
                  <a:lnTo>
                    <a:pt x="1028" y="658"/>
                  </a:lnTo>
                  <a:lnTo>
                    <a:pt x="1028" y="656"/>
                  </a:lnTo>
                  <a:lnTo>
                    <a:pt x="1028" y="654"/>
                  </a:lnTo>
                  <a:lnTo>
                    <a:pt x="1030" y="654"/>
                  </a:lnTo>
                  <a:lnTo>
                    <a:pt x="1030" y="654"/>
                  </a:lnTo>
                  <a:lnTo>
                    <a:pt x="1032" y="654"/>
                  </a:lnTo>
                  <a:lnTo>
                    <a:pt x="1032" y="652"/>
                  </a:lnTo>
                  <a:lnTo>
                    <a:pt x="1032" y="652"/>
                  </a:lnTo>
                  <a:lnTo>
                    <a:pt x="1032" y="652"/>
                  </a:lnTo>
                  <a:lnTo>
                    <a:pt x="1030" y="652"/>
                  </a:lnTo>
                  <a:lnTo>
                    <a:pt x="1030" y="652"/>
                  </a:lnTo>
                  <a:lnTo>
                    <a:pt x="1030" y="652"/>
                  </a:lnTo>
                  <a:lnTo>
                    <a:pt x="1030" y="652"/>
                  </a:lnTo>
                  <a:lnTo>
                    <a:pt x="1032" y="652"/>
                  </a:lnTo>
                  <a:lnTo>
                    <a:pt x="1032" y="652"/>
                  </a:lnTo>
                  <a:lnTo>
                    <a:pt x="1030" y="652"/>
                  </a:lnTo>
                  <a:lnTo>
                    <a:pt x="1030" y="652"/>
                  </a:lnTo>
                  <a:lnTo>
                    <a:pt x="1030" y="650"/>
                  </a:lnTo>
                  <a:lnTo>
                    <a:pt x="1030" y="650"/>
                  </a:lnTo>
                  <a:lnTo>
                    <a:pt x="1030" y="650"/>
                  </a:lnTo>
                  <a:lnTo>
                    <a:pt x="1030" y="650"/>
                  </a:lnTo>
                  <a:lnTo>
                    <a:pt x="1030" y="648"/>
                  </a:lnTo>
                  <a:lnTo>
                    <a:pt x="1030" y="648"/>
                  </a:lnTo>
                  <a:lnTo>
                    <a:pt x="1028" y="648"/>
                  </a:lnTo>
                  <a:lnTo>
                    <a:pt x="1028" y="646"/>
                  </a:lnTo>
                  <a:lnTo>
                    <a:pt x="1028" y="646"/>
                  </a:lnTo>
                  <a:lnTo>
                    <a:pt x="1026" y="646"/>
                  </a:lnTo>
                  <a:lnTo>
                    <a:pt x="1026" y="646"/>
                  </a:lnTo>
                  <a:lnTo>
                    <a:pt x="1026" y="646"/>
                  </a:lnTo>
                  <a:lnTo>
                    <a:pt x="1026" y="646"/>
                  </a:lnTo>
                  <a:lnTo>
                    <a:pt x="1026" y="646"/>
                  </a:lnTo>
                  <a:lnTo>
                    <a:pt x="1024" y="646"/>
                  </a:lnTo>
                  <a:lnTo>
                    <a:pt x="1024" y="646"/>
                  </a:lnTo>
                  <a:lnTo>
                    <a:pt x="1024" y="646"/>
                  </a:lnTo>
                  <a:lnTo>
                    <a:pt x="1024" y="646"/>
                  </a:lnTo>
                  <a:lnTo>
                    <a:pt x="1022" y="646"/>
                  </a:lnTo>
                  <a:lnTo>
                    <a:pt x="1022" y="643"/>
                  </a:lnTo>
                  <a:lnTo>
                    <a:pt x="1022" y="643"/>
                  </a:lnTo>
                  <a:lnTo>
                    <a:pt x="1022" y="643"/>
                  </a:lnTo>
                  <a:lnTo>
                    <a:pt x="1020" y="641"/>
                  </a:lnTo>
                  <a:lnTo>
                    <a:pt x="1020" y="641"/>
                  </a:lnTo>
                  <a:lnTo>
                    <a:pt x="1018" y="641"/>
                  </a:lnTo>
                  <a:lnTo>
                    <a:pt x="1018" y="641"/>
                  </a:lnTo>
                  <a:lnTo>
                    <a:pt x="1016" y="641"/>
                  </a:lnTo>
                  <a:lnTo>
                    <a:pt x="1016" y="641"/>
                  </a:lnTo>
                  <a:lnTo>
                    <a:pt x="1012" y="641"/>
                  </a:lnTo>
                  <a:lnTo>
                    <a:pt x="1010" y="641"/>
                  </a:lnTo>
                  <a:lnTo>
                    <a:pt x="1010" y="641"/>
                  </a:lnTo>
                  <a:lnTo>
                    <a:pt x="1010" y="643"/>
                  </a:lnTo>
                  <a:lnTo>
                    <a:pt x="1008" y="643"/>
                  </a:lnTo>
                  <a:lnTo>
                    <a:pt x="1008" y="643"/>
                  </a:lnTo>
                  <a:lnTo>
                    <a:pt x="1008" y="643"/>
                  </a:lnTo>
                  <a:lnTo>
                    <a:pt x="1008" y="641"/>
                  </a:lnTo>
                  <a:lnTo>
                    <a:pt x="1008" y="641"/>
                  </a:lnTo>
                  <a:lnTo>
                    <a:pt x="1008" y="641"/>
                  </a:lnTo>
                  <a:lnTo>
                    <a:pt x="1008" y="639"/>
                  </a:lnTo>
                  <a:lnTo>
                    <a:pt x="1008" y="639"/>
                  </a:lnTo>
                  <a:lnTo>
                    <a:pt x="1008" y="639"/>
                  </a:lnTo>
                  <a:lnTo>
                    <a:pt x="1008" y="639"/>
                  </a:lnTo>
                  <a:lnTo>
                    <a:pt x="1008" y="639"/>
                  </a:lnTo>
                  <a:lnTo>
                    <a:pt x="1008" y="639"/>
                  </a:lnTo>
                  <a:lnTo>
                    <a:pt x="1008" y="637"/>
                  </a:lnTo>
                  <a:lnTo>
                    <a:pt x="1006" y="639"/>
                  </a:lnTo>
                  <a:lnTo>
                    <a:pt x="1006" y="639"/>
                  </a:lnTo>
                  <a:lnTo>
                    <a:pt x="1006" y="637"/>
                  </a:lnTo>
                  <a:lnTo>
                    <a:pt x="1006" y="637"/>
                  </a:lnTo>
                  <a:lnTo>
                    <a:pt x="1006" y="637"/>
                  </a:lnTo>
                  <a:lnTo>
                    <a:pt x="1006" y="637"/>
                  </a:lnTo>
                  <a:lnTo>
                    <a:pt x="1006" y="637"/>
                  </a:lnTo>
                  <a:lnTo>
                    <a:pt x="1006" y="637"/>
                  </a:lnTo>
                  <a:lnTo>
                    <a:pt x="1006" y="637"/>
                  </a:lnTo>
                  <a:lnTo>
                    <a:pt x="1006" y="637"/>
                  </a:lnTo>
                  <a:lnTo>
                    <a:pt x="1008" y="635"/>
                  </a:lnTo>
                  <a:lnTo>
                    <a:pt x="1008" y="635"/>
                  </a:lnTo>
                  <a:lnTo>
                    <a:pt x="1008" y="635"/>
                  </a:lnTo>
                  <a:lnTo>
                    <a:pt x="1008" y="635"/>
                  </a:lnTo>
                  <a:lnTo>
                    <a:pt x="1010" y="635"/>
                  </a:lnTo>
                  <a:lnTo>
                    <a:pt x="1010" y="633"/>
                  </a:lnTo>
                  <a:lnTo>
                    <a:pt x="1008" y="633"/>
                  </a:lnTo>
                  <a:lnTo>
                    <a:pt x="1008" y="633"/>
                  </a:lnTo>
                  <a:lnTo>
                    <a:pt x="1008" y="631"/>
                  </a:lnTo>
                  <a:lnTo>
                    <a:pt x="1008" y="631"/>
                  </a:lnTo>
                  <a:lnTo>
                    <a:pt x="1010" y="629"/>
                  </a:lnTo>
                  <a:lnTo>
                    <a:pt x="1010" y="629"/>
                  </a:lnTo>
                  <a:lnTo>
                    <a:pt x="1012" y="627"/>
                  </a:lnTo>
                  <a:lnTo>
                    <a:pt x="1014" y="627"/>
                  </a:lnTo>
                  <a:lnTo>
                    <a:pt x="1014" y="625"/>
                  </a:lnTo>
                  <a:lnTo>
                    <a:pt x="1014" y="627"/>
                  </a:lnTo>
                  <a:lnTo>
                    <a:pt x="1014" y="625"/>
                  </a:lnTo>
                  <a:lnTo>
                    <a:pt x="1012" y="625"/>
                  </a:lnTo>
                  <a:lnTo>
                    <a:pt x="1012" y="625"/>
                  </a:lnTo>
                  <a:lnTo>
                    <a:pt x="1012" y="627"/>
                  </a:lnTo>
                  <a:lnTo>
                    <a:pt x="1010" y="627"/>
                  </a:lnTo>
                  <a:lnTo>
                    <a:pt x="1010" y="627"/>
                  </a:lnTo>
                  <a:lnTo>
                    <a:pt x="1008" y="625"/>
                  </a:lnTo>
                  <a:lnTo>
                    <a:pt x="1010" y="625"/>
                  </a:lnTo>
                  <a:lnTo>
                    <a:pt x="1010" y="625"/>
                  </a:lnTo>
                  <a:lnTo>
                    <a:pt x="1010" y="625"/>
                  </a:lnTo>
                  <a:lnTo>
                    <a:pt x="1012" y="625"/>
                  </a:lnTo>
                  <a:lnTo>
                    <a:pt x="1012" y="625"/>
                  </a:lnTo>
                  <a:lnTo>
                    <a:pt x="1012" y="625"/>
                  </a:lnTo>
                  <a:lnTo>
                    <a:pt x="1012" y="625"/>
                  </a:lnTo>
                  <a:lnTo>
                    <a:pt x="1012" y="625"/>
                  </a:lnTo>
                  <a:lnTo>
                    <a:pt x="1014" y="625"/>
                  </a:lnTo>
                  <a:lnTo>
                    <a:pt x="1014" y="623"/>
                  </a:lnTo>
                  <a:lnTo>
                    <a:pt x="1014" y="623"/>
                  </a:lnTo>
                  <a:lnTo>
                    <a:pt x="1014" y="623"/>
                  </a:lnTo>
                  <a:lnTo>
                    <a:pt x="1016" y="623"/>
                  </a:lnTo>
                  <a:lnTo>
                    <a:pt x="1016" y="623"/>
                  </a:lnTo>
                  <a:lnTo>
                    <a:pt x="1018" y="623"/>
                  </a:lnTo>
                  <a:lnTo>
                    <a:pt x="1020" y="623"/>
                  </a:lnTo>
                  <a:lnTo>
                    <a:pt x="1020" y="621"/>
                  </a:lnTo>
                  <a:lnTo>
                    <a:pt x="1020" y="621"/>
                  </a:lnTo>
                  <a:lnTo>
                    <a:pt x="1020" y="621"/>
                  </a:lnTo>
                  <a:lnTo>
                    <a:pt x="1020" y="619"/>
                  </a:lnTo>
                  <a:lnTo>
                    <a:pt x="1018" y="617"/>
                  </a:lnTo>
                  <a:lnTo>
                    <a:pt x="1018" y="617"/>
                  </a:lnTo>
                  <a:lnTo>
                    <a:pt x="1016" y="617"/>
                  </a:lnTo>
                  <a:lnTo>
                    <a:pt x="1016" y="617"/>
                  </a:lnTo>
                  <a:lnTo>
                    <a:pt x="1016" y="617"/>
                  </a:lnTo>
                  <a:lnTo>
                    <a:pt x="1016" y="617"/>
                  </a:lnTo>
                  <a:lnTo>
                    <a:pt x="1018" y="617"/>
                  </a:lnTo>
                  <a:lnTo>
                    <a:pt x="1018" y="617"/>
                  </a:lnTo>
                  <a:lnTo>
                    <a:pt x="1022" y="617"/>
                  </a:lnTo>
                  <a:lnTo>
                    <a:pt x="1024" y="615"/>
                  </a:lnTo>
                  <a:lnTo>
                    <a:pt x="1024" y="615"/>
                  </a:lnTo>
                  <a:lnTo>
                    <a:pt x="1024" y="613"/>
                  </a:lnTo>
                  <a:lnTo>
                    <a:pt x="1024" y="613"/>
                  </a:lnTo>
                  <a:lnTo>
                    <a:pt x="1022" y="613"/>
                  </a:lnTo>
                  <a:lnTo>
                    <a:pt x="1022" y="613"/>
                  </a:lnTo>
                  <a:lnTo>
                    <a:pt x="1020" y="613"/>
                  </a:lnTo>
                  <a:lnTo>
                    <a:pt x="1020" y="611"/>
                  </a:lnTo>
                  <a:lnTo>
                    <a:pt x="1022" y="611"/>
                  </a:lnTo>
                  <a:lnTo>
                    <a:pt x="1022" y="611"/>
                  </a:lnTo>
                  <a:lnTo>
                    <a:pt x="1022" y="611"/>
                  </a:lnTo>
                  <a:lnTo>
                    <a:pt x="1022" y="609"/>
                  </a:lnTo>
                  <a:lnTo>
                    <a:pt x="1022" y="609"/>
                  </a:lnTo>
                  <a:lnTo>
                    <a:pt x="1022" y="609"/>
                  </a:lnTo>
                  <a:lnTo>
                    <a:pt x="1022" y="609"/>
                  </a:lnTo>
                  <a:lnTo>
                    <a:pt x="1022" y="609"/>
                  </a:lnTo>
                  <a:lnTo>
                    <a:pt x="1022" y="609"/>
                  </a:lnTo>
                  <a:lnTo>
                    <a:pt x="1022" y="609"/>
                  </a:lnTo>
                  <a:lnTo>
                    <a:pt x="1022" y="611"/>
                  </a:lnTo>
                  <a:lnTo>
                    <a:pt x="1024" y="611"/>
                  </a:lnTo>
                  <a:lnTo>
                    <a:pt x="1024" y="613"/>
                  </a:lnTo>
                  <a:lnTo>
                    <a:pt x="1024" y="613"/>
                  </a:lnTo>
                  <a:lnTo>
                    <a:pt x="1026" y="611"/>
                  </a:lnTo>
                  <a:lnTo>
                    <a:pt x="1026" y="611"/>
                  </a:lnTo>
                  <a:lnTo>
                    <a:pt x="1026" y="611"/>
                  </a:lnTo>
                  <a:lnTo>
                    <a:pt x="1026" y="611"/>
                  </a:lnTo>
                  <a:lnTo>
                    <a:pt x="1026" y="609"/>
                  </a:lnTo>
                  <a:lnTo>
                    <a:pt x="1026" y="607"/>
                  </a:lnTo>
                  <a:lnTo>
                    <a:pt x="1026" y="607"/>
                  </a:lnTo>
                  <a:lnTo>
                    <a:pt x="1026" y="605"/>
                  </a:lnTo>
                  <a:lnTo>
                    <a:pt x="1026" y="605"/>
                  </a:lnTo>
                  <a:lnTo>
                    <a:pt x="1026" y="605"/>
                  </a:lnTo>
                  <a:lnTo>
                    <a:pt x="1028" y="607"/>
                  </a:lnTo>
                  <a:lnTo>
                    <a:pt x="1030" y="607"/>
                  </a:lnTo>
                  <a:lnTo>
                    <a:pt x="1030" y="609"/>
                  </a:lnTo>
                  <a:lnTo>
                    <a:pt x="1030" y="607"/>
                  </a:lnTo>
                  <a:lnTo>
                    <a:pt x="1028" y="607"/>
                  </a:lnTo>
                  <a:lnTo>
                    <a:pt x="1028" y="611"/>
                  </a:lnTo>
                  <a:lnTo>
                    <a:pt x="1028" y="611"/>
                  </a:lnTo>
                  <a:lnTo>
                    <a:pt x="1028" y="611"/>
                  </a:lnTo>
                  <a:lnTo>
                    <a:pt x="1028" y="611"/>
                  </a:lnTo>
                  <a:lnTo>
                    <a:pt x="1028" y="611"/>
                  </a:lnTo>
                  <a:lnTo>
                    <a:pt x="1028" y="611"/>
                  </a:lnTo>
                  <a:lnTo>
                    <a:pt x="1030" y="613"/>
                  </a:lnTo>
                  <a:lnTo>
                    <a:pt x="1030" y="613"/>
                  </a:lnTo>
                  <a:lnTo>
                    <a:pt x="1030" y="613"/>
                  </a:lnTo>
                  <a:lnTo>
                    <a:pt x="1030" y="611"/>
                  </a:lnTo>
                  <a:lnTo>
                    <a:pt x="1030" y="611"/>
                  </a:lnTo>
                  <a:lnTo>
                    <a:pt x="1030" y="611"/>
                  </a:lnTo>
                  <a:lnTo>
                    <a:pt x="1030" y="611"/>
                  </a:lnTo>
                  <a:lnTo>
                    <a:pt x="1030" y="611"/>
                  </a:lnTo>
                  <a:lnTo>
                    <a:pt x="1030" y="609"/>
                  </a:lnTo>
                  <a:lnTo>
                    <a:pt x="1030" y="609"/>
                  </a:lnTo>
                  <a:lnTo>
                    <a:pt x="1032" y="611"/>
                  </a:lnTo>
                  <a:lnTo>
                    <a:pt x="1032" y="611"/>
                  </a:lnTo>
                  <a:lnTo>
                    <a:pt x="1032" y="611"/>
                  </a:lnTo>
                  <a:lnTo>
                    <a:pt x="1032" y="611"/>
                  </a:lnTo>
                  <a:lnTo>
                    <a:pt x="1034" y="611"/>
                  </a:lnTo>
                  <a:lnTo>
                    <a:pt x="1034" y="611"/>
                  </a:lnTo>
                  <a:lnTo>
                    <a:pt x="1034" y="611"/>
                  </a:lnTo>
                  <a:lnTo>
                    <a:pt x="1034" y="609"/>
                  </a:lnTo>
                  <a:lnTo>
                    <a:pt x="1036" y="609"/>
                  </a:lnTo>
                  <a:lnTo>
                    <a:pt x="1036" y="609"/>
                  </a:lnTo>
                  <a:lnTo>
                    <a:pt x="1038" y="607"/>
                  </a:lnTo>
                  <a:lnTo>
                    <a:pt x="1038" y="605"/>
                  </a:lnTo>
                  <a:lnTo>
                    <a:pt x="1038" y="605"/>
                  </a:lnTo>
                  <a:lnTo>
                    <a:pt x="1038" y="605"/>
                  </a:lnTo>
                  <a:lnTo>
                    <a:pt x="1038" y="603"/>
                  </a:lnTo>
                  <a:lnTo>
                    <a:pt x="1038" y="603"/>
                  </a:lnTo>
                  <a:lnTo>
                    <a:pt x="1038" y="603"/>
                  </a:lnTo>
                  <a:lnTo>
                    <a:pt x="1038" y="603"/>
                  </a:lnTo>
                  <a:lnTo>
                    <a:pt x="1036" y="603"/>
                  </a:lnTo>
                  <a:lnTo>
                    <a:pt x="1034" y="603"/>
                  </a:lnTo>
                  <a:lnTo>
                    <a:pt x="1034" y="603"/>
                  </a:lnTo>
                  <a:lnTo>
                    <a:pt x="1034" y="603"/>
                  </a:lnTo>
                  <a:lnTo>
                    <a:pt x="1034" y="603"/>
                  </a:lnTo>
                  <a:lnTo>
                    <a:pt x="1032" y="603"/>
                  </a:lnTo>
                  <a:lnTo>
                    <a:pt x="1032" y="603"/>
                  </a:lnTo>
                  <a:lnTo>
                    <a:pt x="1030" y="603"/>
                  </a:lnTo>
                  <a:lnTo>
                    <a:pt x="1030" y="603"/>
                  </a:lnTo>
                  <a:lnTo>
                    <a:pt x="1032" y="600"/>
                  </a:lnTo>
                  <a:lnTo>
                    <a:pt x="1032" y="600"/>
                  </a:lnTo>
                  <a:lnTo>
                    <a:pt x="1032" y="600"/>
                  </a:lnTo>
                  <a:lnTo>
                    <a:pt x="1036" y="598"/>
                  </a:lnTo>
                  <a:lnTo>
                    <a:pt x="1036" y="598"/>
                  </a:lnTo>
                  <a:lnTo>
                    <a:pt x="1038" y="598"/>
                  </a:lnTo>
                  <a:lnTo>
                    <a:pt x="1040" y="598"/>
                  </a:lnTo>
                  <a:lnTo>
                    <a:pt x="1040" y="598"/>
                  </a:lnTo>
                  <a:lnTo>
                    <a:pt x="1040" y="598"/>
                  </a:lnTo>
                  <a:lnTo>
                    <a:pt x="1043" y="598"/>
                  </a:lnTo>
                  <a:lnTo>
                    <a:pt x="1043" y="598"/>
                  </a:lnTo>
                  <a:lnTo>
                    <a:pt x="1043" y="598"/>
                  </a:lnTo>
                  <a:lnTo>
                    <a:pt x="1043" y="598"/>
                  </a:lnTo>
                  <a:lnTo>
                    <a:pt x="1045" y="598"/>
                  </a:lnTo>
                  <a:lnTo>
                    <a:pt x="1047" y="596"/>
                  </a:lnTo>
                  <a:lnTo>
                    <a:pt x="1047" y="596"/>
                  </a:lnTo>
                  <a:lnTo>
                    <a:pt x="1047" y="594"/>
                  </a:lnTo>
                  <a:lnTo>
                    <a:pt x="1047" y="594"/>
                  </a:lnTo>
                  <a:lnTo>
                    <a:pt x="1047" y="592"/>
                  </a:lnTo>
                  <a:lnTo>
                    <a:pt x="1049" y="592"/>
                  </a:lnTo>
                  <a:lnTo>
                    <a:pt x="1049" y="592"/>
                  </a:lnTo>
                  <a:lnTo>
                    <a:pt x="1049" y="592"/>
                  </a:lnTo>
                  <a:lnTo>
                    <a:pt x="1049" y="590"/>
                  </a:lnTo>
                  <a:lnTo>
                    <a:pt x="1049" y="590"/>
                  </a:lnTo>
                  <a:lnTo>
                    <a:pt x="1049" y="590"/>
                  </a:lnTo>
                  <a:lnTo>
                    <a:pt x="1049" y="588"/>
                  </a:lnTo>
                  <a:lnTo>
                    <a:pt x="1049" y="588"/>
                  </a:lnTo>
                  <a:lnTo>
                    <a:pt x="1049" y="588"/>
                  </a:lnTo>
                  <a:lnTo>
                    <a:pt x="1047" y="586"/>
                  </a:lnTo>
                  <a:lnTo>
                    <a:pt x="1047" y="586"/>
                  </a:lnTo>
                  <a:lnTo>
                    <a:pt x="1047" y="586"/>
                  </a:lnTo>
                  <a:lnTo>
                    <a:pt x="1047" y="586"/>
                  </a:lnTo>
                  <a:lnTo>
                    <a:pt x="1047" y="584"/>
                  </a:lnTo>
                  <a:lnTo>
                    <a:pt x="1047" y="584"/>
                  </a:lnTo>
                  <a:lnTo>
                    <a:pt x="1047" y="584"/>
                  </a:lnTo>
                  <a:lnTo>
                    <a:pt x="1047" y="584"/>
                  </a:lnTo>
                  <a:lnTo>
                    <a:pt x="1047" y="584"/>
                  </a:lnTo>
                  <a:lnTo>
                    <a:pt x="1047" y="584"/>
                  </a:lnTo>
                  <a:lnTo>
                    <a:pt x="1045" y="584"/>
                  </a:lnTo>
                  <a:lnTo>
                    <a:pt x="1045" y="584"/>
                  </a:lnTo>
                  <a:lnTo>
                    <a:pt x="1045" y="584"/>
                  </a:lnTo>
                  <a:lnTo>
                    <a:pt x="1045" y="582"/>
                  </a:lnTo>
                  <a:lnTo>
                    <a:pt x="1043" y="582"/>
                  </a:lnTo>
                  <a:lnTo>
                    <a:pt x="1040" y="580"/>
                  </a:lnTo>
                  <a:lnTo>
                    <a:pt x="1040" y="580"/>
                  </a:lnTo>
                  <a:lnTo>
                    <a:pt x="1040" y="580"/>
                  </a:lnTo>
                  <a:lnTo>
                    <a:pt x="1040" y="580"/>
                  </a:lnTo>
                  <a:lnTo>
                    <a:pt x="1040" y="578"/>
                  </a:lnTo>
                  <a:lnTo>
                    <a:pt x="1040" y="578"/>
                  </a:lnTo>
                  <a:lnTo>
                    <a:pt x="1038" y="578"/>
                  </a:lnTo>
                  <a:lnTo>
                    <a:pt x="1038" y="578"/>
                  </a:lnTo>
                  <a:lnTo>
                    <a:pt x="1036" y="578"/>
                  </a:lnTo>
                  <a:lnTo>
                    <a:pt x="1036" y="578"/>
                  </a:lnTo>
                  <a:lnTo>
                    <a:pt x="1036" y="578"/>
                  </a:lnTo>
                  <a:lnTo>
                    <a:pt x="1036" y="578"/>
                  </a:lnTo>
                  <a:lnTo>
                    <a:pt x="1036" y="578"/>
                  </a:lnTo>
                  <a:lnTo>
                    <a:pt x="1036" y="578"/>
                  </a:lnTo>
                  <a:lnTo>
                    <a:pt x="1036" y="576"/>
                  </a:lnTo>
                  <a:lnTo>
                    <a:pt x="1038" y="576"/>
                  </a:lnTo>
                  <a:lnTo>
                    <a:pt x="1040" y="576"/>
                  </a:lnTo>
                  <a:lnTo>
                    <a:pt x="1040" y="576"/>
                  </a:lnTo>
                  <a:lnTo>
                    <a:pt x="1040" y="578"/>
                  </a:lnTo>
                  <a:lnTo>
                    <a:pt x="1040" y="578"/>
                  </a:lnTo>
                  <a:lnTo>
                    <a:pt x="1040" y="580"/>
                  </a:lnTo>
                  <a:lnTo>
                    <a:pt x="1043" y="578"/>
                  </a:lnTo>
                  <a:lnTo>
                    <a:pt x="1043" y="578"/>
                  </a:lnTo>
                  <a:lnTo>
                    <a:pt x="1045" y="580"/>
                  </a:lnTo>
                  <a:lnTo>
                    <a:pt x="1045" y="580"/>
                  </a:lnTo>
                  <a:lnTo>
                    <a:pt x="1043" y="580"/>
                  </a:lnTo>
                  <a:lnTo>
                    <a:pt x="1043" y="580"/>
                  </a:lnTo>
                  <a:lnTo>
                    <a:pt x="1043" y="580"/>
                  </a:lnTo>
                  <a:lnTo>
                    <a:pt x="1043" y="580"/>
                  </a:lnTo>
                  <a:lnTo>
                    <a:pt x="1043" y="580"/>
                  </a:lnTo>
                  <a:lnTo>
                    <a:pt x="1047" y="580"/>
                  </a:lnTo>
                  <a:lnTo>
                    <a:pt x="1047" y="580"/>
                  </a:lnTo>
                  <a:lnTo>
                    <a:pt x="1047" y="580"/>
                  </a:lnTo>
                  <a:lnTo>
                    <a:pt x="1049" y="580"/>
                  </a:lnTo>
                  <a:lnTo>
                    <a:pt x="1049" y="580"/>
                  </a:lnTo>
                  <a:lnTo>
                    <a:pt x="1051" y="578"/>
                  </a:lnTo>
                  <a:lnTo>
                    <a:pt x="1051" y="578"/>
                  </a:lnTo>
                  <a:lnTo>
                    <a:pt x="1053" y="578"/>
                  </a:lnTo>
                  <a:lnTo>
                    <a:pt x="1053" y="578"/>
                  </a:lnTo>
                  <a:lnTo>
                    <a:pt x="1053" y="576"/>
                  </a:lnTo>
                  <a:lnTo>
                    <a:pt x="1053" y="576"/>
                  </a:lnTo>
                  <a:lnTo>
                    <a:pt x="1053" y="576"/>
                  </a:lnTo>
                  <a:lnTo>
                    <a:pt x="1053" y="576"/>
                  </a:lnTo>
                  <a:lnTo>
                    <a:pt x="1055" y="574"/>
                  </a:lnTo>
                  <a:lnTo>
                    <a:pt x="1057" y="572"/>
                  </a:lnTo>
                  <a:lnTo>
                    <a:pt x="1057" y="572"/>
                  </a:lnTo>
                  <a:lnTo>
                    <a:pt x="1057" y="572"/>
                  </a:lnTo>
                  <a:lnTo>
                    <a:pt x="1055" y="570"/>
                  </a:lnTo>
                  <a:lnTo>
                    <a:pt x="1055" y="570"/>
                  </a:lnTo>
                  <a:lnTo>
                    <a:pt x="1055" y="568"/>
                  </a:lnTo>
                  <a:lnTo>
                    <a:pt x="1055" y="568"/>
                  </a:lnTo>
                  <a:lnTo>
                    <a:pt x="1055" y="568"/>
                  </a:lnTo>
                  <a:lnTo>
                    <a:pt x="1055" y="566"/>
                  </a:lnTo>
                  <a:lnTo>
                    <a:pt x="1057" y="564"/>
                  </a:lnTo>
                  <a:lnTo>
                    <a:pt x="1059" y="562"/>
                  </a:lnTo>
                  <a:lnTo>
                    <a:pt x="1059" y="562"/>
                  </a:lnTo>
                  <a:lnTo>
                    <a:pt x="1061" y="562"/>
                  </a:lnTo>
                  <a:lnTo>
                    <a:pt x="1061" y="562"/>
                  </a:lnTo>
                  <a:lnTo>
                    <a:pt x="1061" y="559"/>
                  </a:lnTo>
                  <a:lnTo>
                    <a:pt x="1061" y="557"/>
                  </a:lnTo>
                  <a:lnTo>
                    <a:pt x="1061" y="557"/>
                  </a:lnTo>
                  <a:lnTo>
                    <a:pt x="1061" y="557"/>
                  </a:lnTo>
                  <a:lnTo>
                    <a:pt x="1063" y="557"/>
                  </a:lnTo>
                  <a:lnTo>
                    <a:pt x="1063" y="557"/>
                  </a:lnTo>
                  <a:lnTo>
                    <a:pt x="1063" y="557"/>
                  </a:lnTo>
                  <a:lnTo>
                    <a:pt x="1065" y="555"/>
                  </a:lnTo>
                  <a:lnTo>
                    <a:pt x="1065" y="553"/>
                  </a:lnTo>
                  <a:lnTo>
                    <a:pt x="1065" y="553"/>
                  </a:lnTo>
                  <a:lnTo>
                    <a:pt x="1067" y="553"/>
                  </a:lnTo>
                  <a:lnTo>
                    <a:pt x="1067" y="553"/>
                  </a:lnTo>
                  <a:lnTo>
                    <a:pt x="1067" y="553"/>
                  </a:lnTo>
                  <a:lnTo>
                    <a:pt x="1067" y="553"/>
                  </a:lnTo>
                  <a:lnTo>
                    <a:pt x="1067" y="553"/>
                  </a:lnTo>
                  <a:lnTo>
                    <a:pt x="1069" y="553"/>
                  </a:lnTo>
                  <a:lnTo>
                    <a:pt x="1069" y="555"/>
                  </a:lnTo>
                  <a:lnTo>
                    <a:pt x="1071" y="553"/>
                  </a:lnTo>
                  <a:lnTo>
                    <a:pt x="1071" y="553"/>
                  </a:lnTo>
                  <a:lnTo>
                    <a:pt x="1067" y="549"/>
                  </a:lnTo>
                  <a:lnTo>
                    <a:pt x="1067" y="549"/>
                  </a:lnTo>
                  <a:lnTo>
                    <a:pt x="1067" y="547"/>
                  </a:lnTo>
                  <a:lnTo>
                    <a:pt x="1067" y="547"/>
                  </a:lnTo>
                  <a:lnTo>
                    <a:pt x="1069" y="545"/>
                  </a:lnTo>
                  <a:lnTo>
                    <a:pt x="1069" y="545"/>
                  </a:lnTo>
                  <a:lnTo>
                    <a:pt x="1069" y="543"/>
                  </a:lnTo>
                  <a:lnTo>
                    <a:pt x="1071" y="543"/>
                  </a:lnTo>
                  <a:lnTo>
                    <a:pt x="1071" y="543"/>
                  </a:lnTo>
                  <a:lnTo>
                    <a:pt x="1073" y="541"/>
                  </a:lnTo>
                  <a:lnTo>
                    <a:pt x="1073" y="539"/>
                  </a:lnTo>
                  <a:lnTo>
                    <a:pt x="1075" y="539"/>
                  </a:lnTo>
                  <a:lnTo>
                    <a:pt x="1075" y="539"/>
                  </a:lnTo>
                  <a:lnTo>
                    <a:pt x="1077" y="539"/>
                  </a:lnTo>
                  <a:lnTo>
                    <a:pt x="1079" y="539"/>
                  </a:lnTo>
                  <a:lnTo>
                    <a:pt x="1079" y="539"/>
                  </a:lnTo>
                  <a:lnTo>
                    <a:pt x="1079" y="537"/>
                  </a:lnTo>
                  <a:lnTo>
                    <a:pt x="1079" y="537"/>
                  </a:lnTo>
                  <a:lnTo>
                    <a:pt x="1081" y="537"/>
                  </a:lnTo>
                  <a:lnTo>
                    <a:pt x="1083" y="537"/>
                  </a:lnTo>
                  <a:lnTo>
                    <a:pt x="1083" y="535"/>
                  </a:lnTo>
                  <a:lnTo>
                    <a:pt x="1083" y="535"/>
                  </a:lnTo>
                  <a:lnTo>
                    <a:pt x="1083" y="535"/>
                  </a:lnTo>
                  <a:lnTo>
                    <a:pt x="1086" y="531"/>
                  </a:lnTo>
                  <a:lnTo>
                    <a:pt x="1086" y="531"/>
                  </a:lnTo>
                  <a:lnTo>
                    <a:pt x="1088" y="529"/>
                  </a:lnTo>
                  <a:lnTo>
                    <a:pt x="1088" y="529"/>
                  </a:lnTo>
                  <a:lnTo>
                    <a:pt x="1088" y="529"/>
                  </a:lnTo>
                  <a:lnTo>
                    <a:pt x="1088" y="529"/>
                  </a:lnTo>
                  <a:lnTo>
                    <a:pt x="1088" y="529"/>
                  </a:lnTo>
                  <a:lnTo>
                    <a:pt x="1090" y="529"/>
                  </a:lnTo>
                  <a:lnTo>
                    <a:pt x="1090" y="529"/>
                  </a:lnTo>
                  <a:lnTo>
                    <a:pt x="1094" y="525"/>
                  </a:lnTo>
                  <a:lnTo>
                    <a:pt x="1096" y="525"/>
                  </a:lnTo>
                  <a:lnTo>
                    <a:pt x="1096" y="523"/>
                  </a:lnTo>
                  <a:lnTo>
                    <a:pt x="1096" y="523"/>
                  </a:lnTo>
                  <a:lnTo>
                    <a:pt x="1098" y="523"/>
                  </a:lnTo>
                  <a:lnTo>
                    <a:pt x="1098" y="523"/>
                  </a:lnTo>
                  <a:lnTo>
                    <a:pt x="1098" y="521"/>
                  </a:lnTo>
                  <a:lnTo>
                    <a:pt x="1098" y="521"/>
                  </a:lnTo>
                  <a:lnTo>
                    <a:pt x="1098" y="518"/>
                  </a:lnTo>
                  <a:lnTo>
                    <a:pt x="1098" y="518"/>
                  </a:lnTo>
                  <a:lnTo>
                    <a:pt x="1098" y="523"/>
                  </a:lnTo>
                  <a:lnTo>
                    <a:pt x="1098" y="523"/>
                  </a:lnTo>
                  <a:lnTo>
                    <a:pt x="1100" y="525"/>
                  </a:lnTo>
                  <a:lnTo>
                    <a:pt x="1102" y="525"/>
                  </a:lnTo>
                  <a:lnTo>
                    <a:pt x="1104" y="525"/>
                  </a:lnTo>
                  <a:lnTo>
                    <a:pt x="1104" y="525"/>
                  </a:lnTo>
                  <a:lnTo>
                    <a:pt x="1104" y="525"/>
                  </a:lnTo>
                  <a:lnTo>
                    <a:pt x="1104" y="525"/>
                  </a:lnTo>
                  <a:lnTo>
                    <a:pt x="1104" y="525"/>
                  </a:lnTo>
                  <a:lnTo>
                    <a:pt x="1104" y="525"/>
                  </a:lnTo>
                  <a:lnTo>
                    <a:pt x="1104" y="523"/>
                  </a:lnTo>
                  <a:lnTo>
                    <a:pt x="1104" y="523"/>
                  </a:lnTo>
                  <a:lnTo>
                    <a:pt x="1104" y="525"/>
                  </a:lnTo>
                  <a:lnTo>
                    <a:pt x="1104" y="525"/>
                  </a:lnTo>
                  <a:lnTo>
                    <a:pt x="1106" y="525"/>
                  </a:lnTo>
                  <a:lnTo>
                    <a:pt x="1112" y="525"/>
                  </a:lnTo>
                  <a:lnTo>
                    <a:pt x="1114" y="525"/>
                  </a:lnTo>
                  <a:lnTo>
                    <a:pt x="1114" y="523"/>
                  </a:lnTo>
                  <a:lnTo>
                    <a:pt x="1114" y="523"/>
                  </a:lnTo>
                  <a:lnTo>
                    <a:pt x="1114" y="521"/>
                  </a:lnTo>
                  <a:lnTo>
                    <a:pt x="1114" y="518"/>
                  </a:lnTo>
                  <a:lnTo>
                    <a:pt x="1114" y="518"/>
                  </a:lnTo>
                  <a:lnTo>
                    <a:pt x="1114" y="516"/>
                  </a:lnTo>
                  <a:lnTo>
                    <a:pt x="1114" y="516"/>
                  </a:lnTo>
                  <a:lnTo>
                    <a:pt x="1116" y="516"/>
                  </a:lnTo>
                  <a:lnTo>
                    <a:pt x="1116" y="514"/>
                  </a:lnTo>
                  <a:lnTo>
                    <a:pt x="1118" y="514"/>
                  </a:lnTo>
                  <a:lnTo>
                    <a:pt x="1120" y="512"/>
                  </a:lnTo>
                  <a:lnTo>
                    <a:pt x="1126" y="510"/>
                  </a:lnTo>
                  <a:lnTo>
                    <a:pt x="1126" y="510"/>
                  </a:lnTo>
                  <a:lnTo>
                    <a:pt x="1126" y="510"/>
                  </a:lnTo>
                  <a:lnTo>
                    <a:pt x="1129" y="510"/>
                  </a:lnTo>
                  <a:lnTo>
                    <a:pt x="1131" y="510"/>
                  </a:lnTo>
                  <a:lnTo>
                    <a:pt x="1131" y="510"/>
                  </a:lnTo>
                  <a:lnTo>
                    <a:pt x="1129" y="512"/>
                  </a:lnTo>
                  <a:lnTo>
                    <a:pt x="1129" y="512"/>
                  </a:lnTo>
                  <a:lnTo>
                    <a:pt x="1120" y="516"/>
                  </a:lnTo>
                  <a:lnTo>
                    <a:pt x="1120" y="516"/>
                  </a:lnTo>
                  <a:lnTo>
                    <a:pt x="1118" y="516"/>
                  </a:lnTo>
                  <a:lnTo>
                    <a:pt x="1118" y="518"/>
                  </a:lnTo>
                  <a:lnTo>
                    <a:pt x="1118" y="521"/>
                  </a:lnTo>
                  <a:lnTo>
                    <a:pt x="1118" y="521"/>
                  </a:lnTo>
                  <a:lnTo>
                    <a:pt x="1118" y="521"/>
                  </a:lnTo>
                  <a:lnTo>
                    <a:pt x="1116" y="521"/>
                  </a:lnTo>
                  <a:lnTo>
                    <a:pt x="1116" y="521"/>
                  </a:lnTo>
                  <a:lnTo>
                    <a:pt x="1116" y="523"/>
                  </a:lnTo>
                  <a:lnTo>
                    <a:pt x="1116" y="523"/>
                  </a:lnTo>
                  <a:lnTo>
                    <a:pt x="1114" y="525"/>
                  </a:lnTo>
                  <a:lnTo>
                    <a:pt x="1114" y="525"/>
                  </a:lnTo>
                  <a:lnTo>
                    <a:pt x="1114" y="527"/>
                  </a:lnTo>
                  <a:lnTo>
                    <a:pt x="1114" y="527"/>
                  </a:lnTo>
                  <a:lnTo>
                    <a:pt x="1112" y="527"/>
                  </a:lnTo>
                  <a:lnTo>
                    <a:pt x="1112" y="527"/>
                  </a:lnTo>
                  <a:lnTo>
                    <a:pt x="1112" y="527"/>
                  </a:lnTo>
                  <a:lnTo>
                    <a:pt x="1112" y="529"/>
                  </a:lnTo>
                  <a:lnTo>
                    <a:pt x="1110" y="529"/>
                  </a:lnTo>
                  <a:lnTo>
                    <a:pt x="1110" y="529"/>
                  </a:lnTo>
                  <a:lnTo>
                    <a:pt x="1114" y="533"/>
                  </a:lnTo>
                  <a:lnTo>
                    <a:pt x="1116" y="533"/>
                  </a:lnTo>
                  <a:lnTo>
                    <a:pt x="1118" y="535"/>
                  </a:lnTo>
                  <a:lnTo>
                    <a:pt x="1122" y="537"/>
                  </a:lnTo>
                  <a:lnTo>
                    <a:pt x="1124" y="537"/>
                  </a:lnTo>
                  <a:lnTo>
                    <a:pt x="1126" y="537"/>
                  </a:lnTo>
                  <a:lnTo>
                    <a:pt x="1129" y="539"/>
                  </a:lnTo>
                  <a:lnTo>
                    <a:pt x="1129" y="541"/>
                  </a:lnTo>
                  <a:lnTo>
                    <a:pt x="1131" y="541"/>
                  </a:lnTo>
                  <a:lnTo>
                    <a:pt x="1133" y="539"/>
                  </a:lnTo>
                  <a:lnTo>
                    <a:pt x="1135" y="539"/>
                  </a:lnTo>
                  <a:lnTo>
                    <a:pt x="1135" y="539"/>
                  </a:lnTo>
                  <a:lnTo>
                    <a:pt x="1137" y="541"/>
                  </a:lnTo>
                  <a:lnTo>
                    <a:pt x="1139" y="543"/>
                  </a:lnTo>
                  <a:lnTo>
                    <a:pt x="1137" y="543"/>
                  </a:lnTo>
                  <a:lnTo>
                    <a:pt x="1137" y="543"/>
                  </a:lnTo>
                  <a:lnTo>
                    <a:pt x="1137" y="543"/>
                  </a:lnTo>
                  <a:lnTo>
                    <a:pt x="1137" y="543"/>
                  </a:lnTo>
                  <a:lnTo>
                    <a:pt x="1137" y="543"/>
                  </a:lnTo>
                  <a:lnTo>
                    <a:pt x="1135" y="543"/>
                  </a:lnTo>
                  <a:lnTo>
                    <a:pt x="1126" y="541"/>
                  </a:lnTo>
                  <a:lnTo>
                    <a:pt x="1126" y="541"/>
                  </a:lnTo>
                  <a:lnTo>
                    <a:pt x="1124" y="541"/>
                  </a:lnTo>
                  <a:lnTo>
                    <a:pt x="1122" y="541"/>
                  </a:lnTo>
                  <a:lnTo>
                    <a:pt x="1122" y="541"/>
                  </a:lnTo>
                  <a:lnTo>
                    <a:pt x="1120" y="539"/>
                  </a:lnTo>
                  <a:lnTo>
                    <a:pt x="1120" y="539"/>
                  </a:lnTo>
                  <a:lnTo>
                    <a:pt x="1118" y="539"/>
                  </a:lnTo>
                  <a:lnTo>
                    <a:pt x="1118" y="539"/>
                  </a:lnTo>
                  <a:lnTo>
                    <a:pt x="1116" y="539"/>
                  </a:lnTo>
                  <a:lnTo>
                    <a:pt x="1114" y="541"/>
                  </a:lnTo>
                  <a:lnTo>
                    <a:pt x="1114" y="541"/>
                  </a:lnTo>
                  <a:lnTo>
                    <a:pt x="1112" y="543"/>
                  </a:lnTo>
                  <a:lnTo>
                    <a:pt x="1108" y="541"/>
                  </a:lnTo>
                  <a:lnTo>
                    <a:pt x="1108" y="541"/>
                  </a:lnTo>
                  <a:lnTo>
                    <a:pt x="1106" y="541"/>
                  </a:lnTo>
                  <a:lnTo>
                    <a:pt x="1106" y="539"/>
                  </a:lnTo>
                  <a:lnTo>
                    <a:pt x="1106" y="539"/>
                  </a:lnTo>
                  <a:lnTo>
                    <a:pt x="1104" y="537"/>
                  </a:lnTo>
                  <a:lnTo>
                    <a:pt x="1104" y="537"/>
                  </a:lnTo>
                  <a:lnTo>
                    <a:pt x="1104" y="535"/>
                  </a:lnTo>
                  <a:lnTo>
                    <a:pt x="1102" y="537"/>
                  </a:lnTo>
                  <a:lnTo>
                    <a:pt x="1098" y="539"/>
                  </a:lnTo>
                  <a:lnTo>
                    <a:pt x="1094" y="543"/>
                  </a:lnTo>
                  <a:lnTo>
                    <a:pt x="1088" y="549"/>
                  </a:lnTo>
                  <a:lnTo>
                    <a:pt x="1088" y="549"/>
                  </a:lnTo>
                  <a:lnTo>
                    <a:pt x="1088" y="551"/>
                  </a:lnTo>
                  <a:lnTo>
                    <a:pt x="1081" y="551"/>
                  </a:lnTo>
                  <a:lnTo>
                    <a:pt x="1081" y="551"/>
                  </a:lnTo>
                  <a:lnTo>
                    <a:pt x="1081" y="553"/>
                  </a:lnTo>
                  <a:lnTo>
                    <a:pt x="1079" y="553"/>
                  </a:lnTo>
                  <a:lnTo>
                    <a:pt x="1079" y="553"/>
                  </a:lnTo>
                  <a:lnTo>
                    <a:pt x="1077" y="553"/>
                  </a:lnTo>
                  <a:lnTo>
                    <a:pt x="1077" y="555"/>
                  </a:lnTo>
                  <a:lnTo>
                    <a:pt x="1079" y="555"/>
                  </a:lnTo>
                  <a:lnTo>
                    <a:pt x="1079" y="557"/>
                  </a:lnTo>
                  <a:lnTo>
                    <a:pt x="1079" y="557"/>
                  </a:lnTo>
                  <a:lnTo>
                    <a:pt x="1079" y="562"/>
                  </a:lnTo>
                  <a:lnTo>
                    <a:pt x="1081" y="562"/>
                  </a:lnTo>
                  <a:lnTo>
                    <a:pt x="1081" y="564"/>
                  </a:lnTo>
                  <a:lnTo>
                    <a:pt x="1081" y="564"/>
                  </a:lnTo>
                  <a:lnTo>
                    <a:pt x="1081" y="566"/>
                  </a:lnTo>
                  <a:lnTo>
                    <a:pt x="1081" y="566"/>
                  </a:lnTo>
                  <a:lnTo>
                    <a:pt x="1081" y="570"/>
                  </a:lnTo>
                  <a:lnTo>
                    <a:pt x="1081" y="572"/>
                  </a:lnTo>
                  <a:lnTo>
                    <a:pt x="1081" y="572"/>
                  </a:lnTo>
                  <a:lnTo>
                    <a:pt x="1081" y="572"/>
                  </a:lnTo>
                  <a:lnTo>
                    <a:pt x="1079" y="572"/>
                  </a:lnTo>
                  <a:lnTo>
                    <a:pt x="1079" y="572"/>
                  </a:lnTo>
                  <a:lnTo>
                    <a:pt x="1079" y="572"/>
                  </a:lnTo>
                  <a:lnTo>
                    <a:pt x="1079" y="574"/>
                  </a:lnTo>
                  <a:lnTo>
                    <a:pt x="1079" y="574"/>
                  </a:lnTo>
                  <a:lnTo>
                    <a:pt x="1079" y="576"/>
                  </a:lnTo>
                  <a:lnTo>
                    <a:pt x="1079" y="578"/>
                  </a:lnTo>
                  <a:lnTo>
                    <a:pt x="1079" y="580"/>
                  </a:lnTo>
                  <a:lnTo>
                    <a:pt x="1077" y="582"/>
                  </a:lnTo>
                  <a:lnTo>
                    <a:pt x="1071" y="590"/>
                  </a:lnTo>
                  <a:lnTo>
                    <a:pt x="1071" y="590"/>
                  </a:lnTo>
                  <a:lnTo>
                    <a:pt x="1071" y="592"/>
                  </a:lnTo>
                  <a:lnTo>
                    <a:pt x="1071" y="592"/>
                  </a:lnTo>
                  <a:lnTo>
                    <a:pt x="1069" y="600"/>
                  </a:lnTo>
                  <a:lnTo>
                    <a:pt x="1069" y="600"/>
                  </a:lnTo>
                  <a:lnTo>
                    <a:pt x="1069" y="603"/>
                  </a:lnTo>
                  <a:lnTo>
                    <a:pt x="1067" y="603"/>
                  </a:lnTo>
                  <a:lnTo>
                    <a:pt x="1067" y="603"/>
                  </a:lnTo>
                  <a:lnTo>
                    <a:pt x="1067" y="605"/>
                  </a:lnTo>
                  <a:lnTo>
                    <a:pt x="1069" y="607"/>
                  </a:lnTo>
                  <a:lnTo>
                    <a:pt x="1071" y="609"/>
                  </a:lnTo>
                  <a:lnTo>
                    <a:pt x="1071" y="609"/>
                  </a:lnTo>
                  <a:lnTo>
                    <a:pt x="1079" y="613"/>
                  </a:lnTo>
                  <a:lnTo>
                    <a:pt x="1079" y="613"/>
                  </a:lnTo>
                  <a:lnTo>
                    <a:pt x="1079" y="611"/>
                  </a:lnTo>
                  <a:lnTo>
                    <a:pt x="1079" y="611"/>
                  </a:lnTo>
                  <a:lnTo>
                    <a:pt x="1079" y="611"/>
                  </a:lnTo>
                  <a:lnTo>
                    <a:pt x="1079" y="609"/>
                  </a:lnTo>
                  <a:lnTo>
                    <a:pt x="1079" y="609"/>
                  </a:lnTo>
                  <a:lnTo>
                    <a:pt x="1079" y="609"/>
                  </a:lnTo>
                  <a:lnTo>
                    <a:pt x="1081" y="609"/>
                  </a:lnTo>
                  <a:lnTo>
                    <a:pt x="1086" y="605"/>
                  </a:lnTo>
                  <a:lnTo>
                    <a:pt x="1088" y="605"/>
                  </a:lnTo>
                  <a:lnTo>
                    <a:pt x="1088" y="603"/>
                  </a:lnTo>
                  <a:lnTo>
                    <a:pt x="1090" y="603"/>
                  </a:lnTo>
                  <a:lnTo>
                    <a:pt x="1090" y="603"/>
                  </a:lnTo>
                  <a:lnTo>
                    <a:pt x="1092" y="603"/>
                  </a:lnTo>
                  <a:lnTo>
                    <a:pt x="1090" y="605"/>
                  </a:lnTo>
                  <a:lnTo>
                    <a:pt x="1088" y="607"/>
                  </a:lnTo>
                  <a:lnTo>
                    <a:pt x="1088" y="607"/>
                  </a:lnTo>
                  <a:lnTo>
                    <a:pt x="1088" y="609"/>
                  </a:lnTo>
                  <a:lnTo>
                    <a:pt x="1088" y="609"/>
                  </a:lnTo>
                  <a:lnTo>
                    <a:pt x="1088" y="609"/>
                  </a:lnTo>
                  <a:lnTo>
                    <a:pt x="1086" y="609"/>
                  </a:lnTo>
                  <a:lnTo>
                    <a:pt x="1086" y="609"/>
                  </a:lnTo>
                  <a:lnTo>
                    <a:pt x="1086" y="611"/>
                  </a:lnTo>
                  <a:lnTo>
                    <a:pt x="1086" y="611"/>
                  </a:lnTo>
                  <a:lnTo>
                    <a:pt x="1088" y="613"/>
                  </a:lnTo>
                  <a:lnTo>
                    <a:pt x="1088" y="613"/>
                  </a:lnTo>
                  <a:lnTo>
                    <a:pt x="1086" y="613"/>
                  </a:lnTo>
                  <a:lnTo>
                    <a:pt x="1086" y="613"/>
                  </a:lnTo>
                  <a:lnTo>
                    <a:pt x="1083" y="613"/>
                  </a:lnTo>
                  <a:lnTo>
                    <a:pt x="1083" y="613"/>
                  </a:lnTo>
                  <a:lnTo>
                    <a:pt x="1083" y="615"/>
                  </a:lnTo>
                  <a:lnTo>
                    <a:pt x="1083" y="615"/>
                  </a:lnTo>
                  <a:lnTo>
                    <a:pt x="1083" y="615"/>
                  </a:lnTo>
                  <a:lnTo>
                    <a:pt x="1081" y="615"/>
                  </a:lnTo>
                  <a:lnTo>
                    <a:pt x="1081" y="615"/>
                  </a:lnTo>
                  <a:lnTo>
                    <a:pt x="1079" y="615"/>
                  </a:lnTo>
                  <a:lnTo>
                    <a:pt x="1079" y="617"/>
                  </a:lnTo>
                  <a:lnTo>
                    <a:pt x="1079" y="617"/>
                  </a:lnTo>
                  <a:lnTo>
                    <a:pt x="1079" y="619"/>
                  </a:lnTo>
                  <a:lnTo>
                    <a:pt x="1081" y="619"/>
                  </a:lnTo>
                  <a:lnTo>
                    <a:pt x="1081" y="621"/>
                  </a:lnTo>
                  <a:lnTo>
                    <a:pt x="1081" y="621"/>
                  </a:lnTo>
                  <a:lnTo>
                    <a:pt x="1081" y="621"/>
                  </a:lnTo>
                  <a:lnTo>
                    <a:pt x="1079" y="621"/>
                  </a:lnTo>
                  <a:lnTo>
                    <a:pt x="1079" y="619"/>
                  </a:lnTo>
                  <a:lnTo>
                    <a:pt x="1079" y="619"/>
                  </a:lnTo>
                  <a:lnTo>
                    <a:pt x="1075" y="619"/>
                  </a:lnTo>
                  <a:lnTo>
                    <a:pt x="1073" y="619"/>
                  </a:lnTo>
                  <a:lnTo>
                    <a:pt x="1073" y="619"/>
                  </a:lnTo>
                  <a:lnTo>
                    <a:pt x="1073" y="621"/>
                  </a:lnTo>
                  <a:lnTo>
                    <a:pt x="1071" y="621"/>
                  </a:lnTo>
                  <a:lnTo>
                    <a:pt x="1071" y="621"/>
                  </a:lnTo>
                  <a:lnTo>
                    <a:pt x="1069" y="623"/>
                  </a:lnTo>
                  <a:lnTo>
                    <a:pt x="1067" y="623"/>
                  </a:lnTo>
                  <a:lnTo>
                    <a:pt x="1067" y="623"/>
                  </a:lnTo>
                  <a:lnTo>
                    <a:pt x="1069" y="625"/>
                  </a:lnTo>
                  <a:lnTo>
                    <a:pt x="1069" y="625"/>
                  </a:lnTo>
                  <a:lnTo>
                    <a:pt x="1071" y="625"/>
                  </a:lnTo>
                  <a:lnTo>
                    <a:pt x="1067" y="625"/>
                  </a:lnTo>
                  <a:lnTo>
                    <a:pt x="1067" y="625"/>
                  </a:lnTo>
                  <a:lnTo>
                    <a:pt x="1067" y="627"/>
                  </a:lnTo>
                  <a:lnTo>
                    <a:pt x="1065" y="627"/>
                  </a:lnTo>
                  <a:lnTo>
                    <a:pt x="1065" y="627"/>
                  </a:lnTo>
                  <a:lnTo>
                    <a:pt x="1065" y="629"/>
                  </a:lnTo>
                  <a:lnTo>
                    <a:pt x="1065" y="629"/>
                  </a:lnTo>
                  <a:lnTo>
                    <a:pt x="1067" y="631"/>
                  </a:lnTo>
                  <a:lnTo>
                    <a:pt x="1067" y="631"/>
                  </a:lnTo>
                  <a:lnTo>
                    <a:pt x="1067" y="631"/>
                  </a:lnTo>
                  <a:lnTo>
                    <a:pt x="1069" y="631"/>
                  </a:lnTo>
                  <a:lnTo>
                    <a:pt x="1069" y="631"/>
                  </a:lnTo>
                  <a:lnTo>
                    <a:pt x="1069" y="631"/>
                  </a:lnTo>
                  <a:lnTo>
                    <a:pt x="1069" y="631"/>
                  </a:lnTo>
                  <a:lnTo>
                    <a:pt x="1067" y="631"/>
                  </a:lnTo>
                  <a:lnTo>
                    <a:pt x="1069" y="633"/>
                  </a:lnTo>
                  <a:lnTo>
                    <a:pt x="1069" y="633"/>
                  </a:lnTo>
                  <a:lnTo>
                    <a:pt x="1069" y="633"/>
                  </a:lnTo>
                  <a:lnTo>
                    <a:pt x="1071" y="633"/>
                  </a:lnTo>
                  <a:lnTo>
                    <a:pt x="1071" y="633"/>
                  </a:lnTo>
                  <a:lnTo>
                    <a:pt x="1071" y="633"/>
                  </a:lnTo>
                  <a:lnTo>
                    <a:pt x="1071" y="633"/>
                  </a:lnTo>
                  <a:lnTo>
                    <a:pt x="1073" y="635"/>
                  </a:lnTo>
                  <a:lnTo>
                    <a:pt x="1073" y="635"/>
                  </a:lnTo>
                  <a:lnTo>
                    <a:pt x="1077" y="635"/>
                  </a:lnTo>
                  <a:lnTo>
                    <a:pt x="1077" y="633"/>
                  </a:lnTo>
                  <a:lnTo>
                    <a:pt x="1075" y="635"/>
                  </a:lnTo>
                  <a:lnTo>
                    <a:pt x="1075" y="633"/>
                  </a:lnTo>
                  <a:lnTo>
                    <a:pt x="1075" y="633"/>
                  </a:lnTo>
                  <a:lnTo>
                    <a:pt x="1075" y="633"/>
                  </a:lnTo>
                  <a:lnTo>
                    <a:pt x="1077" y="633"/>
                  </a:lnTo>
                  <a:lnTo>
                    <a:pt x="1079" y="633"/>
                  </a:lnTo>
                  <a:lnTo>
                    <a:pt x="1079" y="633"/>
                  </a:lnTo>
                  <a:lnTo>
                    <a:pt x="1079" y="633"/>
                  </a:lnTo>
                  <a:lnTo>
                    <a:pt x="1079" y="633"/>
                  </a:lnTo>
                  <a:lnTo>
                    <a:pt x="1079" y="633"/>
                  </a:lnTo>
                  <a:lnTo>
                    <a:pt x="1077" y="633"/>
                  </a:lnTo>
                  <a:lnTo>
                    <a:pt x="1079" y="631"/>
                  </a:lnTo>
                  <a:lnTo>
                    <a:pt x="1081" y="631"/>
                  </a:lnTo>
                  <a:lnTo>
                    <a:pt x="1081" y="631"/>
                  </a:lnTo>
                  <a:lnTo>
                    <a:pt x="1081" y="631"/>
                  </a:lnTo>
                  <a:lnTo>
                    <a:pt x="1081" y="631"/>
                  </a:lnTo>
                  <a:lnTo>
                    <a:pt x="1081" y="631"/>
                  </a:lnTo>
                  <a:lnTo>
                    <a:pt x="1083" y="631"/>
                  </a:lnTo>
                  <a:lnTo>
                    <a:pt x="1083" y="631"/>
                  </a:lnTo>
                  <a:lnTo>
                    <a:pt x="1086" y="631"/>
                  </a:lnTo>
                  <a:lnTo>
                    <a:pt x="1086" y="631"/>
                  </a:lnTo>
                  <a:lnTo>
                    <a:pt x="1086" y="631"/>
                  </a:lnTo>
                  <a:lnTo>
                    <a:pt x="1088" y="633"/>
                  </a:lnTo>
                  <a:lnTo>
                    <a:pt x="1088" y="633"/>
                  </a:lnTo>
                  <a:lnTo>
                    <a:pt x="1088" y="633"/>
                  </a:lnTo>
                  <a:lnTo>
                    <a:pt x="1090" y="631"/>
                  </a:lnTo>
                  <a:lnTo>
                    <a:pt x="1090" y="631"/>
                  </a:lnTo>
                  <a:lnTo>
                    <a:pt x="1090" y="631"/>
                  </a:lnTo>
                  <a:lnTo>
                    <a:pt x="1090" y="631"/>
                  </a:lnTo>
                  <a:lnTo>
                    <a:pt x="1090" y="631"/>
                  </a:lnTo>
                  <a:lnTo>
                    <a:pt x="1090" y="631"/>
                  </a:lnTo>
                  <a:lnTo>
                    <a:pt x="1088" y="629"/>
                  </a:lnTo>
                  <a:lnTo>
                    <a:pt x="1088" y="629"/>
                  </a:lnTo>
                  <a:lnTo>
                    <a:pt x="1088" y="629"/>
                  </a:lnTo>
                  <a:lnTo>
                    <a:pt x="1086" y="629"/>
                  </a:lnTo>
                  <a:lnTo>
                    <a:pt x="1086" y="629"/>
                  </a:lnTo>
                  <a:lnTo>
                    <a:pt x="1086" y="629"/>
                  </a:lnTo>
                  <a:lnTo>
                    <a:pt x="1086" y="627"/>
                  </a:lnTo>
                  <a:lnTo>
                    <a:pt x="1086" y="627"/>
                  </a:lnTo>
                  <a:lnTo>
                    <a:pt x="1086" y="627"/>
                  </a:lnTo>
                  <a:lnTo>
                    <a:pt x="1086" y="627"/>
                  </a:lnTo>
                  <a:lnTo>
                    <a:pt x="1088" y="627"/>
                  </a:lnTo>
                  <a:lnTo>
                    <a:pt x="1090" y="629"/>
                  </a:lnTo>
                  <a:lnTo>
                    <a:pt x="1090" y="629"/>
                  </a:lnTo>
                  <a:lnTo>
                    <a:pt x="1090" y="629"/>
                  </a:lnTo>
                  <a:lnTo>
                    <a:pt x="1090" y="627"/>
                  </a:lnTo>
                  <a:lnTo>
                    <a:pt x="1090" y="627"/>
                  </a:lnTo>
                  <a:lnTo>
                    <a:pt x="1092" y="627"/>
                  </a:lnTo>
                  <a:lnTo>
                    <a:pt x="1092" y="629"/>
                  </a:lnTo>
                  <a:lnTo>
                    <a:pt x="1092" y="629"/>
                  </a:lnTo>
                  <a:lnTo>
                    <a:pt x="1092" y="629"/>
                  </a:lnTo>
                  <a:lnTo>
                    <a:pt x="1092" y="629"/>
                  </a:lnTo>
                  <a:lnTo>
                    <a:pt x="1092" y="629"/>
                  </a:lnTo>
                  <a:lnTo>
                    <a:pt x="1092" y="629"/>
                  </a:lnTo>
                  <a:lnTo>
                    <a:pt x="1092" y="631"/>
                  </a:lnTo>
                  <a:lnTo>
                    <a:pt x="1092" y="631"/>
                  </a:lnTo>
                  <a:lnTo>
                    <a:pt x="1094" y="633"/>
                  </a:lnTo>
                  <a:lnTo>
                    <a:pt x="1094" y="631"/>
                  </a:lnTo>
                  <a:lnTo>
                    <a:pt x="1094" y="631"/>
                  </a:lnTo>
                  <a:lnTo>
                    <a:pt x="1096" y="629"/>
                  </a:lnTo>
                  <a:lnTo>
                    <a:pt x="1096" y="629"/>
                  </a:lnTo>
                  <a:lnTo>
                    <a:pt x="1094" y="627"/>
                  </a:lnTo>
                  <a:lnTo>
                    <a:pt x="1094" y="627"/>
                  </a:lnTo>
                  <a:lnTo>
                    <a:pt x="1094" y="627"/>
                  </a:lnTo>
                  <a:lnTo>
                    <a:pt x="1096" y="625"/>
                  </a:lnTo>
                  <a:lnTo>
                    <a:pt x="1096" y="625"/>
                  </a:lnTo>
                  <a:lnTo>
                    <a:pt x="1096" y="625"/>
                  </a:lnTo>
                  <a:lnTo>
                    <a:pt x="1098" y="623"/>
                  </a:lnTo>
                  <a:lnTo>
                    <a:pt x="1098" y="623"/>
                  </a:lnTo>
                  <a:lnTo>
                    <a:pt x="1098" y="623"/>
                  </a:lnTo>
                  <a:lnTo>
                    <a:pt x="1098" y="623"/>
                  </a:lnTo>
                  <a:lnTo>
                    <a:pt x="1098" y="621"/>
                  </a:lnTo>
                  <a:lnTo>
                    <a:pt x="1098" y="621"/>
                  </a:lnTo>
                  <a:lnTo>
                    <a:pt x="1100" y="621"/>
                  </a:lnTo>
                  <a:lnTo>
                    <a:pt x="1102" y="621"/>
                  </a:lnTo>
                  <a:lnTo>
                    <a:pt x="1102" y="621"/>
                  </a:lnTo>
                  <a:lnTo>
                    <a:pt x="1102" y="619"/>
                  </a:lnTo>
                  <a:lnTo>
                    <a:pt x="1102" y="619"/>
                  </a:lnTo>
                  <a:lnTo>
                    <a:pt x="1102" y="619"/>
                  </a:lnTo>
                  <a:lnTo>
                    <a:pt x="1102" y="619"/>
                  </a:lnTo>
                  <a:lnTo>
                    <a:pt x="1102" y="619"/>
                  </a:lnTo>
                  <a:lnTo>
                    <a:pt x="1102" y="617"/>
                  </a:lnTo>
                  <a:lnTo>
                    <a:pt x="1102" y="617"/>
                  </a:lnTo>
                  <a:lnTo>
                    <a:pt x="1102" y="617"/>
                  </a:lnTo>
                  <a:lnTo>
                    <a:pt x="1102" y="615"/>
                  </a:lnTo>
                  <a:lnTo>
                    <a:pt x="1100" y="615"/>
                  </a:lnTo>
                  <a:lnTo>
                    <a:pt x="1100" y="615"/>
                  </a:lnTo>
                  <a:lnTo>
                    <a:pt x="1100" y="615"/>
                  </a:lnTo>
                  <a:lnTo>
                    <a:pt x="1102" y="613"/>
                  </a:lnTo>
                  <a:lnTo>
                    <a:pt x="1104" y="611"/>
                  </a:lnTo>
                  <a:lnTo>
                    <a:pt x="1104" y="611"/>
                  </a:lnTo>
                  <a:lnTo>
                    <a:pt x="1104" y="613"/>
                  </a:lnTo>
                  <a:lnTo>
                    <a:pt x="1104" y="615"/>
                  </a:lnTo>
                  <a:lnTo>
                    <a:pt x="1104" y="615"/>
                  </a:lnTo>
                  <a:lnTo>
                    <a:pt x="1104" y="617"/>
                  </a:lnTo>
                  <a:lnTo>
                    <a:pt x="1104" y="617"/>
                  </a:lnTo>
                  <a:lnTo>
                    <a:pt x="1104" y="619"/>
                  </a:lnTo>
                  <a:lnTo>
                    <a:pt x="1104" y="619"/>
                  </a:lnTo>
                  <a:lnTo>
                    <a:pt x="1106" y="619"/>
                  </a:lnTo>
                  <a:lnTo>
                    <a:pt x="1106" y="617"/>
                  </a:lnTo>
                  <a:lnTo>
                    <a:pt x="1106" y="617"/>
                  </a:lnTo>
                  <a:lnTo>
                    <a:pt x="1106" y="615"/>
                  </a:lnTo>
                  <a:lnTo>
                    <a:pt x="1108" y="613"/>
                  </a:lnTo>
                  <a:lnTo>
                    <a:pt x="1108" y="613"/>
                  </a:lnTo>
                  <a:lnTo>
                    <a:pt x="1108" y="611"/>
                  </a:lnTo>
                  <a:lnTo>
                    <a:pt x="1110" y="607"/>
                  </a:lnTo>
                  <a:lnTo>
                    <a:pt x="1110" y="605"/>
                  </a:lnTo>
                  <a:lnTo>
                    <a:pt x="1112" y="605"/>
                  </a:lnTo>
                  <a:lnTo>
                    <a:pt x="1110" y="607"/>
                  </a:lnTo>
                  <a:lnTo>
                    <a:pt x="1110" y="607"/>
                  </a:lnTo>
                  <a:lnTo>
                    <a:pt x="1110" y="609"/>
                  </a:lnTo>
                  <a:lnTo>
                    <a:pt x="1110" y="609"/>
                  </a:lnTo>
                  <a:lnTo>
                    <a:pt x="1110" y="611"/>
                  </a:lnTo>
                  <a:lnTo>
                    <a:pt x="1110" y="611"/>
                  </a:lnTo>
                  <a:lnTo>
                    <a:pt x="1110" y="611"/>
                  </a:lnTo>
                  <a:lnTo>
                    <a:pt x="1110" y="611"/>
                  </a:lnTo>
                  <a:lnTo>
                    <a:pt x="1110" y="613"/>
                  </a:lnTo>
                  <a:lnTo>
                    <a:pt x="1110" y="613"/>
                  </a:lnTo>
                  <a:lnTo>
                    <a:pt x="1110" y="613"/>
                  </a:lnTo>
                  <a:lnTo>
                    <a:pt x="1108" y="613"/>
                  </a:lnTo>
                  <a:lnTo>
                    <a:pt x="1108" y="615"/>
                  </a:lnTo>
                  <a:lnTo>
                    <a:pt x="1108" y="615"/>
                  </a:lnTo>
                  <a:lnTo>
                    <a:pt x="1108" y="615"/>
                  </a:lnTo>
                  <a:lnTo>
                    <a:pt x="1108" y="615"/>
                  </a:lnTo>
                  <a:lnTo>
                    <a:pt x="1108" y="615"/>
                  </a:lnTo>
                  <a:lnTo>
                    <a:pt x="1108" y="617"/>
                  </a:lnTo>
                  <a:lnTo>
                    <a:pt x="1108" y="617"/>
                  </a:lnTo>
                  <a:lnTo>
                    <a:pt x="1108" y="617"/>
                  </a:lnTo>
                  <a:lnTo>
                    <a:pt x="1108" y="617"/>
                  </a:lnTo>
                  <a:lnTo>
                    <a:pt x="1108" y="617"/>
                  </a:lnTo>
                  <a:lnTo>
                    <a:pt x="1108" y="617"/>
                  </a:lnTo>
                  <a:lnTo>
                    <a:pt x="1108" y="617"/>
                  </a:lnTo>
                  <a:lnTo>
                    <a:pt x="1108" y="617"/>
                  </a:lnTo>
                  <a:lnTo>
                    <a:pt x="1108" y="617"/>
                  </a:lnTo>
                  <a:lnTo>
                    <a:pt x="1108" y="619"/>
                  </a:lnTo>
                  <a:lnTo>
                    <a:pt x="1108" y="619"/>
                  </a:lnTo>
                  <a:lnTo>
                    <a:pt x="1110" y="617"/>
                  </a:lnTo>
                  <a:lnTo>
                    <a:pt x="1110" y="617"/>
                  </a:lnTo>
                  <a:lnTo>
                    <a:pt x="1110" y="617"/>
                  </a:lnTo>
                  <a:lnTo>
                    <a:pt x="1112" y="617"/>
                  </a:lnTo>
                  <a:lnTo>
                    <a:pt x="1110" y="615"/>
                  </a:lnTo>
                  <a:lnTo>
                    <a:pt x="1112" y="615"/>
                  </a:lnTo>
                  <a:lnTo>
                    <a:pt x="1112" y="615"/>
                  </a:lnTo>
                  <a:lnTo>
                    <a:pt x="1112" y="613"/>
                  </a:lnTo>
                  <a:lnTo>
                    <a:pt x="1112" y="613"/>
                  </a:lnTo>
                  <a:lnTo>
                    <a:pt x="1112" y="613"/>
                  </a:lnTo>
                  <a:lnTo>
                    <a:pt x="1112" y="611"/>
                  </a:lnTo>
                  <a:lnTo>
                    <a:pt x="1112" y="611"/>
                  </a:lnTo>
                  <a:lnTo>
                    <a:pt x="1114" y="613"/>
                  </a:lnTo>
                  <a:lnTo>
                    <a:pt x="1114" y="613"/>
                  </a:lnTo>
                  <a:lnTo>
                    <a:pt x="1114" y="613"/>
                  </a:lnTo>
                  <a:lnTo>
                    <a:pt x="1114" y="613"/>
                  </a:lnTo>
                  <a:lnTo>
                    <a:pt x="1114" y="611"/>
                  </a:lnTo>
                  <a:lnTo>
                    <a:pt x="1114" y="611"/>
                  </a:lnTo>
                  <a:lnTo>
                    <a:pt x="1114" y="611"/>
                  </a:lnTo>
                  <a:lnTo>
                    <a:pt x="1114" y="609"/>
                  </a:lnTo>
                  <a:lnTo>
                    <a:pt x="1114" y="609"/>
                  </a:lnTo>
                  <a:lnTo>
                    <a:pt x="1114" y="609"/>
                  </a:lnTo>
                  <a:lnTo>
                    <a:pt x="1114" y="607"/>
                  </a:lnTo>
                  <a:lnTo>
                    <a:pt x="1114" y="607"/>
                  </a:lnTo>
                  <a:lnTo>
                    <a:pt x="1114" y="607"/>
                  </a:lnTo>
                  <a:lnTo>
                    <a:pt x="1114" y="607"/>
                  </a:lnTo>
                  <a:lnTo>
                    <a:pt x="1114" y="607"/>
                  </a:lnTo>
                  <a:lnTo>
                    <a:pt x="1114" y="607"/>
                  </a:lnTo>
                  <a:lnTo>
                    <a:pt x="1116" y="607"/>
                  </a:lnTo>
                  <a:lnTo>
                    <a:pt x="1116" y="609"/>
                  </a:lnTo>
                  <a:lnTo>
                    <a:pt x="1116" y="609"/>
                  </a:lnTo>
                  <a:lnTo>
                    <a:pt x="1116" y="609"/>
                  </a:lnTo>
                  <a:lnTo>
                    <a:pt x="1116" y="609"/>
                  </a:lnTo>
                  <a:lnTo>
                    <a:pt x="1118" y="607"/>
                  </a:lnTo>
                  <a:lnTo>
                    <a:pt x="1118" y="605"/>
                  </a:lnTo>
                  <a:lnTo>
                    <a:pt x="1118" y="605"/>
                  </a:lnTo>
                  <a:lnTo>
                    <a:pt x="1118" y="605"/>
                  </a:lnTo>
                  <a:lnTo>
                    <a:pt x="1118" y="605"/>
                  </a:lnTo>
                  <a:lnTo>
                    <a:pt x="1118" y="603"/>
                  </a:lnTo>
                  <a:lnTo>
                    <a:pt x="1118" y="603"/>
                  </a:lnTo>
                  <a:lnTo>
                    <a:pt x="1116" y="603"/>
                  </a:lnTo>
                  <a:lnTo>
                    <a:pt x="1116" y="600"/>
                  </a:lnTo>
                  <a:lnTo>
                    <a:pt x="1116" y="600"/>
                  </a:lnTo>
                  <a:lnTo>
                    <a:pt x="1116" y="600"/>
                  </a:lnTo>
                  <a:lnTo>
                    <a:pt x="1118" y="600"/>
                  </a:lnTo>
                  <a:lnTo>
                    <a:pt x="1118" y="600"/>
                  </a:lnTo>
                  <a:lnTo>
                    <a:pt x="1118" y="603"/>
                  </a:lnTo>
                  <a:lnTo>
                    <a:pt x="1120" y="603"/>
                  </a:lnTo>
                  <a:lnTo>
                    <a:pt x="1120" y="605"/>
                  </a:lnTo>
                  <a:lnTo>
                    <a:pt x="1122" y="605"/>
                  </a:lnTo>
                  <a:lnTo>
                    <a:pt x="1122" y="605"/>
                  </a:lnTo>
                  <a:lnTo>
                    <a:pt x="1122" y="605"/>
                  </a:lnTo>
                  <a:lnTo>
                    <a:pt x="1122" y="607"/>
                  </a:lnTo>
                  <a:lnTo>
                    <a:pt x="1122" y="607"/>
                  </a:lnTo>
                  <a:lnTo>
                    <a:pt x="1122" y="607"/>
                  </a:lnTo>
                  <a:lnTo>
                    <a:pt x="1122" y="607"/>
                  </a:lnTo>
                  <a:lnTo>
                    <a:pt x="1124" y="607"/>
                  </a:lnTo>
                  <a:lnTo>
                    <a:pt x="1124" y="607"/>
                  </a:lnTo>
                  <a:lnTo>
                    <a:pt x="1124" y="607"/>
                  </a:lnTo>
                  <a:lnTo>
                    <a:pt x="1124" y="605"/>
                  </a:lnTo>
                  <a:lnTo>
                    <a:pt x="1122" y="600"/>
                  </a:lnTo>
                  <a:lnTo>
                    <a:pt x="1122" y="600"/>
                  </a:lnTo>
                  <a:lnTo>
                    <a:pt x="1120" y="598"/>
                  </a:lnTo>
                  <a:lnTo>
                    <a:pt x="1120" y="598"/>
                  </a:lnTo>
                  <a:lnTo>
                    <a:pt x="1120" y="598"/>
                  </a:lnTo>
                  <a:lnTo>
                    <a:pt x="1120" y="596"/>
                  </a:lnTo>
                  <a:lnTo>
                    <a:pt x="1120" y="596"/>
                  </a:lnTo>
                  <a:lnTo>
                    <a:pt x="1122" y="598"/>
                  </a:lnTo>
                  <a:lnTo>
                    <a:pt x="1122" y="598"/>
                  </a:lnTo>
                  <a:lnTo>
                    <a:pt x="1122" y="598"/>
                  </a:lnTo>
                  <a:lnTo>
                    <a:pt x="1122" y="596"/>
                  </a:lnTo>
                  <a:lnTo>
                    <a:pt x="1122" y="594"/>
                  </a:lnTo>
                  <a:lnTo>
                    <a:pt x="1122" y="592"/>
                  </a:lnTo>
                  <a:lnTo>
                    <a:pt x="1122" y="592"/>
                  </a:lnTo>
                  <a:lnTo>
                    <a:pt x="1124" y="592"/>
                  </a:lnTo>
                  <a:lnTo>
                    <a:pt x="1124" y="592"/>
                  </a:lnTo>
                  <a:lnTo>
                    <a:pt x="1126" y="594"/>
                  </a:lnTo>
                  <a:lnTo>
                    <a:pt x="1126" y="594"/>
                  </a:lnTo>
                  <a:lnTo>
                    <a:pt x="1126" y="596"/>
                  </a:lnTo>
                  <a:lnTo>
                    <a:pt x="1126" y="598"/>
                  </a:lnTo>
                  <a:lnTo>
                    <a:pt x="1124" y="598"/>
                  </a:lnTo>
                  <a:lnTo>
                    <a:pt x="1124" y="598"/>
                  </a:lnTo>
                  <a:lnTo>
                    <a:pt x="1126" y="600"/>
                  </a:lnTo>
                  <a:lnTo>
                    <a:pt x="1126" y="600"/>
                  </a:lnTo>
                  <a:lnTo>
                    <a:pt x="1126" y="600"/>
                  </a:lnTo>
                  <a:lnTo>
                    <a:pt x="1126" y="600"/>
                  </a:lnTo>
                  <a:lnTo>
                    <a:pt x="1126" y="600"/>
                  </a:lnTo>
                  <a:lnTo>
                    <a:pt x="1126" y="600"/>
                  </a:lnTo>
                  <a:lnTo>
                    <a:pt x="1126" y="600"/>
                  </a:lnTo>
                  <a:lnTo>
                    <a:pt x="1126" y="603"/>
                  </a:lnTo>
                  <a:lnTo>
                    <a:pt x="1129" y="603"/>
                  </a:lnTo>
                  <a:lnTo>
                    <a:pt x="1129" y="603"/>
                  </a:lnTo>
                  <a:lnTo>
                    <a:pt x="1129" y="605"/>
                  </a:lnTo>
                  <a:lnTo>
                    <a:pt x="1129" y="605"/>
                  </a:lnTo>
                  <a:lnTo>
                    <a:pt x="1129" y="605"/>
                  </a:lnTo>
                  <a:lnTo>
                    <a:pt x="1129" y="603"/>
                  </a:lnTo>
                  <a:lnTo>
                    <a:pt x="1129" y="603"/>
                  </a:lnTo>
                  <a:lnTo>
                    <a:pt x="1129" y="603"/>
                  </a:lnTo>
                  <a:lnTo>
                    <a:pt x="1129" y="603"/>
                  </a:lnTo>
                  <a:lnTo>
                    <a:pt x="1129" y="600"/>
                  </a:lnTo>
                  <a:lnTo>
                    <a:pt x="1129" y="600"/>
                  </a:lnTo>
                  <a:lnTo>
                    <a:pt x="1129" y="600"/>
                  </a:lnTo>
                  <a:lnTo>
                    <a:pt x="1129" y="600"/>
                  </a:lnTo>
                  <a:lnTo>
                    <a:pt x="1129" y="600"/>
                  </a:lnTo>
                  <a:lnTo>
                    <a:pt x="1129" y="600"/>
                  </a:lnTo>
                  <a:lnTo>
                    <a:pt x="1126" y="600"/>
                  </a:lnTo>
                  <a:lnTo>
                    <a:pt x="1126" y="598"/>
                  </a:lnTo>
                  <a:lnTo>
                    <a:pt x="1126" y="598"/>
                  </a:lnTo>
                  <a:lnTo>
                    <a:pt x="1126" y="598"/>
                  </a:lnTo>
                  <a:lnTo>
                    <a:pt x="1126" y="598"/>
                  </a:lnTo>
                  <a:lnTo>
                    <a:pt x="1126" y="596"/>
                  </a:lnTo>
                  <a:lnTo>
                    <a:pt x="1126" y="594"/>
                  </a:lnTo>
                  <a:lnTo>
                    <a:pt x="1129" y="594"/>
                  </a:lnTo>
                  <a:lnTo>
                    <a:pt x="1129" y="594"/>
                  </a:lnTo>
                  <a:lnTo>
                    <a:pt x="1129" y="592"/>
                  </a:lnTo>
                  <a:lnTo>
                    <a:pt x="1129" y="592"/>
                  </a:lnTo>
                  <a:lnTo>
                    <a:pt x="1129" y="592"/>
                  </a:lnTo>
                  <a:lnTo>
                    <a:pt x="1131" y="592"/>
                  </a:lnTo>
                  <a:lnTo>
                    <a:pt x="1131" y="592"/>
                  </a:lnTo>
                  <a:lnTo>
                    <a:pt x="1131" y="592"/>
                  </a:lnTo>
                  <a:lnTo>
                    <a:pt x="1131" y="592"/>
                  </a:lnTo>
                  <a:lnTo>
                    <a:pt x="1131" y="590"/>
                  </a:lnTo>
                  <a:lnTo>
                    <a:pt x="1131" y="590"/>
                  </a:lnTo>
                  <a:lnTo>
                    <a:pt x="1131" y="590"/>
                  </a:lnTo>
                  <a:lnTo>
                    <a:pt x="1131" y="590"/>
                  </a:lnTo>
                  <a:lnTo>
                    <a:pt x="1133" y="588"/>
                  </a:lnTo>
                  <a:lnTo>
                    <a:pt x="1131" y="588"/>
                  </a:lnTo>
                  <a:lnTo>
                    <a:pt x="1131" y="588"/>
                  </a:lnTo>
                  <a:lnTo>
                    <a:pt x="1131" y="586"/>
                  </a:lnTo>
                  <a:lnTo>
                    <a:pt x="1131" y="586"/>
                  </a:lnTo>
                  <a:lnTo>
                    <a:pt x="1131" y="584"/>
                  </a:lnTo>
                  <a:lnTo>
                    <a:pt x="1131" y="584"/>
                  </a:lnTo>
                  <a:lnTo>
                    <a:pt x="1131" y="582"/>
                  </a:lnTo>
                  <a:lnTo>
                    <a:pt x="1131" y="582"/>
                  </a:lnTo>
                  <a:lnTo>
                    <a:pt x="1133" y="582"/>
                  </a:lnTo>
                  <a:lnTo>
                    <a:pt x="1133" y="582"/>
                  </a:lnTo>
                  <a:lnTo>
                    <a:pt x="1133" y="584"/>
                  </a:lnTo>
                  <a:lnTo>
                    <a:pt x="1133" y="588"/>
                  </a:lnTo>
                  <a:lnTo>
                    <a:pt x="1135" y="588"/>
                  </a:lnTo>
                  <a:lnTo>
                    <a:pt x="1135" y="588"/>
                  </a:lnTo>
                  <a:lnTo>
                    <a:pt x="1135" y="588"/>
                  </a:lnTo>
                  <a:lnTo>
                    <a:pt x="1135" y="588"/>
                  </a:lnTo>
                  <a:lnTo>
                    <a:pt x="1135" y="588"/>
                  </a:lnTo>
                  <a:lnTo>
                    <a:pt x="1133" y="588"/>
                  </a:lnTo>
                  <a:lnTo>
                    <a:pt x="1133" y="590"/>
                  </a:lnTo>
                  <a:lnTo>
                    <a:pt x="1135" y="590"/>
                  </a:lnTo>
                  <a:lnTo>
                    <a:pt x="1135" y="590"/>
                  </a:lnTo>
                  <a:lnTo>
                    <a:pt x="1135" y="590"/>
                  </a:lnTo>
                  <a:lnTo>
                    <a:pt x="1135" y="590"/>
                  </a:lnTo>
                  <a:lnTo>
                    <a:pt x="1135" y="592"/>
                  </a:lnTo>
                  <a:lnTo>
                    <a:pt x="1135" y="592"/>
                  </a:lnTo>
                  <a:lnTo>
                    <a:pt x="1135" y="594"/>
                  </a:lnTo>
                  <a:lnTo>
                    <a:pt x="1135" y="594"/>
                  </a:lnTo>
                  <a:lnTo>
                    <a:pt x="1135" y="594"/>
                  </a:lnTo>
                  <a:lnTo>
                    <a:pt x="1137" y="594"/>
                  </a:lnTo>
                  <a:lnTo>
                    <a:pt x="1137" y="594"/>
                  </a:lnTo>
                  <a:lnTo>
                    <a:pt x="1137" y="592"/>
                  </a:lnTo>
                  <a:lnTo>
                    <a:pt x="1137" y="592"/>
                  </a:lnTo>
                  <a:lnTo>
                    <a:pt x="1137" y="592"/>
                  </a:lnTo>
                  <a:lnTo>
                    <a:pt x="1137" y="590"/>
                  </a:lnTo>
                  <a:lnTo>
                    <a:pt x="1137" y="590"/>
                  </a:lnTo>
                  <a:lnTo>
                    <a:pt x="1137" y="590"/>
                  </a:lnTo>
                  <a:lnTo>
                    <a:pt x="1137" y="590"/>
                  </a:lnTo>
                  <a:lnTo>
                    <a:pt x="1137" y="588"/>
                  </a:lnTo>
                  <a:lnTo>
                    <a:pt x="1137" y="588"/>
                  </a:lnTo>
                  <a:lnTo>
                    <a:pt x="1137" y="588"/>
                  </a:lnTo>
                  <a:lnTo>
                    <a:pt x="1139" y="586"/>
                  </a:lnTo>
                  <a:lnTo>
                    <a:pt x="1139" y="586"/>
                  </a:lnTo>
                  <a:lnTo>
                    <a:pt x="1141" y="586"/>
                  </a:lnTo>
                  <a:lnTo>
                    <a:pt x="1141" y="586"/>
                  </a:lnTo>
                  <a:lnTo>
                    <a:pt x="1141" y="586"/>
                  </a:lnTo>
                  <a:lnTo>
                    <a:pt x="1139" y="588"/>
                  </a:lnTo>
                  <a:lnTo>
                    <a:pt x="1139" y="588"/>
                  </a:lnTo>
                  <a:lnTo>
                    <a:pt x="1139" y="590"/>
                  </a:lnTo>
                  <a:lnTo>
                    <a:pt x="1141" y="590"/>
                  </a:lnTo>
                  <a:lnTo>
                    <a:pt x="1141" y="588"/>
                  </a:lnTo>
                  <a:lnTo>
                    <a:pt x="1141" y="590"/>
                  </a:lnTo>
                  <a:lnTo>
                    <a:pt x="1143" y="590"/>
                  </a:lnTo>
                  <a:lnTo>
                    <a:pt x="1143" y="590"/>
                  </a:lnTo>
                  <a:lnTo>
                    <a:pt x="1145" y="590"/>
                  </a:lnTo>
                  <a:lnTo>
                    <a:pt x="1145" y="590"/>
                  </a:lnTo>
                  <a:lnTo>
                    <a:pt x="1145" y="590"/>
                  </a:lnTo>
                  <a:lnTo>
                    <a:pt x="1147" y="590"/>
                  </a:lnTo>
                  <a:lnTo>
                    <a:pt x="1147" y="590"/>
                  </a:lnTo>
                  <a:lnTo>
                    <a:pt x="1149" y="590"/>
                  </a:lnTo>
                  <a:lnTo>
                    <a:pt x="1149" y="590"/>
                  </a:lnTo>
                  <a:lnTo>
                    <a:pt x="1149" y="590"/>
                  </a:lnTo>
                  <a:lnTo>
                    <a:pt x="1149" y="590"/>
                  </a:lnTo>
                  <a:lnTo>
                    <a:pt x="1151" y="590"/>
                  </a:lnTo>
                  <a:lnTo>
                    <a:pt x="1151" y="590"/>
                  </a:lnTo>
                  <a:lnTo>
                    <a:pt x="1151" y="590"/>
                  </a:lnTo>
                  <a:lnTo>
                    <a:pt x="1151" y="590"/>
                  </a:lnTo>
                  <a:lnTo>
                    <a:pt x="1151" y="590"/>
                  </a:lnTo>
                  <a:lnTo>
                    <a:pt x="1151" y="590"/>
                  </a:lnTo>
                  <a:lnTo>
                    <a:pt x="1151" y="590"/>
                  </a:lnTo>
                  <a:lnTo>
                    <a:pt x="1151" y="592"/>
                  </a:lnTo>
                  <a:lnTo>
                    <a:pt x="1151" y="592"/>
                  </a:lnTo>
                  <a:lnTo>
                    <a:pt x="1153" y="590"/>
                  </a:lnTo>
                  <a:lnTo>
                    <a:pt x="1153" y="588"/>
                  </a:lnTo>
                  <a:lnTo>
                    <a:pt x="1153" y="588"/>
                  </a:lnTo>
                  <a:lnTo>
                    <a:pt x="1153" y="588"/>
                  </a:lnTo>
                  <a:lnTo>
                    <a:pt x="1153" y="588"/>
                  </a:lnTo>
                  <a:lnTo>
                    <a:pt x="1153" y="586"/>
                  </a:lnTo>
                  <a:lnTo>
                    <a:pt x="1153" y="586"/>
                  </a:lnTo>
                  <a:lnTo>
                    <a:pt x="1155" y="586"/>
                  </a:lnTo>
                  <a:lnTo>
                    <a:pt x="1155" y="586"/>
                  </a:lnTo>
                  <a:lnTo>
                    <a:pt x="1155" y="588"/>
                  </a:lnTo>
                  <a:lnTo>
                    <a:pt x="1157" y="590"/>
                  </a:lnTo>
                  <a:lnTo>
                    <a:pt x="1157" y="588"/>
                  </a:lnTo>
                  <a:lnTo>
                    <a:pt x="1157" y="588"/>
                  </a:lnTo>
                  <a:lnTo>
                    <a:pt x="1157" y="586"/>
                  </a:lnTo>
                  <a:lnTo>
                    <a:pt x="1157" y="586"/>
                  </a:lnTo>
                  <a:lnTo>
                    <a:pt x="1157" y="586"/>
                  </a:lnTo>
                  <a:lnTo>
                    <a:pt x="1157" y="586"/>
                  </a:lnTo>
                  <a:lnTo>
                    <a:pt x="1157" y="586"/>
                  </a:lnTo>
                  <a:lnTo>
                    <a:pt x="1157" y="586"/>
                  </a:lnTo>
                  <a:lnTo>
                    <a:pt x="1157" y="586"/>
                  </a:lnTo>
                  <a:lnTo>
                    <a:pt x="1157" y="584"/>
                  </a:lnTo>
                  <a:lnTo>
                    <a:pt x="1157" y="584"/>
                  </a:lnTo>
                  <a:lnTo>
                    <a:pt x="1157" y="582"/>
                  </a:lnTo>
                  <a:lnTo>
                    <a:pt x="1157" y="580"/>
                  </a:lnTo>
                  <a:lnTo>
                    <a:pt x="1159" y="578"/>
                  </a:lnTo>
                  <a:lnTo>
                    <a:pt x="1159" y="578"/>
                  </a:lnTo>
                  <a:lnTo>
                    <a:pt x="1159" y="578"/>
                  </a:lnTo>
                  <a:lnTo>
                    <a:pt x="1159" y="578"/>
                  </a:lnTo>
                  <a:lnTo>
                    <a:pt x="1159" y="580"/>
                  </a:lnTo>
                  <a:lnTo>
                    <a:pt x="1159" y="580"/>
                  </a:lnTo>
                  <a:lnTo>
                    <a:pt x="1161" y="580"/>
                  </a:lnTo>
                  <a:lnTo>
                    <a:pt x="1163" y="580"/>
                  </a:lnTo>
                  <a:lnTo>
                    <a:pt x="1163" y="578"/>
                  </a:lnTo>
                  <a:lnTo>
                    <a:pt x="1163" y="576"/>
                  </a:lnTo>
                  <a:lnTo>
                    <a:pt x="1163" y="576"/>
                  </a:lnTo>
                  <a:lnTo>
                    <a:pt x="1163" y="574"/>
                  </a:lnTo>
                  <a:lnTo>
                    <a:pt x="1163" y="574"/>
                  </a:lnTo>
                  <a:lnTo>
                    <a:pt x="1163" y="574"/>
                  </a:lnTo>
                  <a:lnTo>
                    <a:pt x="1163" y="574"/>
                  </a:lnTo>
                  <a:lnTo>
                    <a:pt x="1163" y="574"/>
                  </a:lnTo>
                  <a:lnTo>
                    <a:pt x="1163" y="576"/>
                  </a:lnTo>
                  <a:lnTo>
                    <a:pt x="1161" y="578"/>
                  </a:lnTo>
                  <a:lnTo>
                    <a:pt x="1161" y="578"/>
                  </a:lnTo>
                  <a:lnTo>
                    <a:pt x="1161" y="576"/>
                  </a:lnTo>
                  <a:lnTo>
                    <a:pt x="1161" y="576"/>
                  </a:lnTo>
                  <a:lnTo>
                    <a:pt x="1161" y="576"/>
                  </a:lnTo>
                  <a:lnTo>
                    <a:pt x="1161" y="576"/>
                  </a:lnTo>
                  <a:lnTo>
                    <a:pt x="1161" y="574"/>
                  </a:lnTo>
                  <a:lnTo>
                    <a:pt x="1159" y="574"/>
                  </a:lnTo>
                  <a:lnTo>
                    <a:pt x="1161" y="574"/>
                  </a:lnTo>
                  <a:lnTo>
                    <a:pt x="1161" y="574"/>
                  </a:lnTo>
                  <a:lnTo>
                    <a:pt x="1161" y="574"/>
                  </a:lnTo>
                  <a:lnTo>
                    <a:pt x="1161" y="574"/>
                  </a:lnTo>
                  <a:lnTo>
                    <a:pt x="1159" y="574"/>
                  </a:lnTo>
                  <a:lnTo>
                    <a:pt x="1159" y="576"/>
                  </a:lnTo>
                  <a:lnTo>
                    <a:pt x="1157" y="576"/>
                  </a:lnTo>
                  <a:lnTo>
                    <a:pt x="1157" y="576"/>
                  </a:lnTo>
                  <a:lnTo>
                    <a:pt x="1157" y="578"/>
                  </a:lnTo>
                  <a:lnTo>
                    <a:pt x="1155" y="578"/>
                  </a:lnTo>
                  <a:lnTo>
                    <a:pt x="1155" y="576"/>
                  </a:lnTo>
                  <a:lnTo>
                    <a:pt x="1157" y="576"/>
                  </a:lnTo>
                  <a:lnTo>
                    <a:pt x="1157" y="576"/>
                  </a:lnTo>
                  <a:lnTo>
                    <a:pt x="1157" y="576"/>
                  </a:lnTo>
                  <a:lnTo>
                    <a:pt x="1157" y="576"/>
                  </a:lnTo>
                  <a:lnTo>
                    <a:pt x="1157" y="574"/>
                  </a:lnTo>
                  <a:lnTo>
                    <a:pt x="1157" y="574"/>
                  </a:lnTo>
                  <a:lnTo>
                    <a:pt x="1157" y="574"/>
                  </a:lnTo>
                  <a:lnTo>
                    <a:pt x="1157" y="574"/>
                  </a:lnTo>
                  <a:lnTo>
                    <a:pt x="1157" y="572"/>
                  </a:lnTo>
                  <a:lnTo>
                    <a:pt x="1157" y="572"/>
                  </a:lnTo>
                  <a:lnTo>
                    <a:pt x="1157" y="572"/>
                  </a:lnTo>
                  <a:lnTo>
                    <a:pt x="1157" y="572"/>
                  </a:lnTo>
                  <a:lnTo>
                    <a:pt x="1157" y="574"/>
                  </a:lnTo>
                  <a:lnTo>
                    <a:pt x="1157" y="574"/>
                  </a:lnTo>
                  <a:lnTo>
                    <a:pt x="1159" y="574"/>
                  </a:lnTo>
                  <a:lnTo>
                    <a:pt x="1159" y="572"/>
                  </a:lnTo>
                  <a:lnTo>
                    <a:pt x="1159" y="572"/>
                  </a:lnTo>
                  <a:lnTo>
                    <a:pt x="1161" y="572"/>
                  </a:lnTo>
                  <a:lnTo>
                    <a:pt x="1161" y="570"/>
                  </a:lnTo>
                  <a:lnTo>
                    <a:pt x="1161" y="568"/>
                  </a:lnTo>
                  <a:lnTo>
                    <a:pt x="1161" y="568"/>
                  </a:lnTo>
                  <a:lnTo>
                    <a:pt x="1159" y="568"/>
                  </a:lnTo>
                  <a:lnTo>
                    <a:pt x="1159" y="568"/>
                  </a:lnTo>
                  <a:lnTo>
                    <a:pt x="1159" y="568"/>
                  </a:lnTo>
                  <a:lnTo>
                    <a:pt x="1159" y="568"/>
                  </a:lnTo>
                  <a:lnTo>
                    <a:pt x="1159" y="566"/>
                  </a:lnTo>
                  <a:lnTo>
                    <a:pt x="1161" y="568"/>
                  </a:lnTo>
                  <a:lnTo>
                    <a:pt x="1161" y="568"/>
                  </a:lnTo>
                  <a:lnTo>
                    <a:pt x="1161" y="568"/>
                  </a:lnTo>
                  <a:lnTo>
                    <a:pt x="1161" y="568"/>
                  </a:lnTo>
                  <a:lnTo>
                    <a:pt x="1163" y="568"/>
                  </a:lnTo>
                  <a:lnTo>
                    <a:pt x="1163" y="568"/>
                  </a:lnTo>
                  <a:lnTo>
                    <a:pt x="1163" y="566"/>
                  </a:lnTo>
                  <a:lnTo>
                    <a:pt x="1161" y="566"/>
                  </a:lnTo>
                  <a:lnTo>
                    <a:pt x="1161" y="566"/>
                  </a:lnTo>
                  <a:lnTo>
                    <a:pt x="1161" y="566"/>
                  </a:lnTo>
                  <a:lnTo>
                    <a:pt x="1163" y="566"/>
                  </a:lnTo>
                  <a:lnTo>
                    <a:pt x="1163" y="566"/>
                  </a:lnTo>
                  <a:lnTo>
                    <a:pt x="1163" y="564"/>
                  </a:lnTo>
                  <a:lnTo>
                    <a:pt x="1163" y="564"/>
                  </a:lnTo>
                  <a:lnTo>
                    <a:pt x="1165" y="566"/>
                  </a:lnTo>
                  <a:lnTo>
                    <a:pt x="1165" y="566"/>
                  </a:lnTo>
                  <a:lnTo>
                    <a:pt x="1165" y="566"/>
                  </a:lnTo>
                  <a:lnTo>
                    <a:pt x="1165" y="564"/>
                  </a:lnTo>
                  <a:lnTo>
                    <a:pt x="1165" y="564"/>
                  </a:lnTo>
                  <a:lnTo>
                    <a:pt x="1167" y="564"/>
                  </a:lnTo>
                  <a:lnTo>
                    <a:pt x="1167" y="564"/>
                  </a:lnTo>
                  <a:lnTo>
                    <a:pt x="1167" y="562"/>
                  </a:lnTo>
                  <a:lnTo>
                    <a:pt x="1167" y="562"/>
                  </a:lnTo>
                  <a:lnTo>
                    <a:pt x="1167" y="562"/>
                  </a:lnTo>
                  <a:lnTo>
                    <a:pt x="1165" y="562"/>
                  </a:lnTo>
                  <a:lnTo>
                    <a:pt x="1165" y="562"/>
                  </a:lnTo>
                  <a:lnTo>
                    <a:pt x="1165" y="562"/>
                  </a:lnTo>
                  <a:lnTo>
                    <a:pt x="1165" y="562"/>
                  </a:lnTo>
                  <a:lnTo>
                    <a:pt x="1167" y="559"/>
                  </a:lnTo>
                  <a:lnTo>
                    <a:pt x="1167" y="559"/>
                  </a:lnTo>
                  <a:lnTo>
                    <a:pt x="1167" y="559"/>
                  </a:lnTo>
                  <a:lnTo>
                    <a:pt x="1165" y="559"/>
                  </a:lnTo>
                  <a:lnTo>
                    <a:pt x="1165" y="559"/>
                  </a:lnTo>
                  <a:lnTo>
                    <a:pt x="1165" y="559"/>
                  </a:lnTo>
                  <a:lnTo>
                    <a:pt x="1165" y="557"/>
                  </a:lnTo>
                  <a:lnTo>
                    <a:pt x="1165" y="557"/>
                  </a:lnTo>
                  <a:lnTo>
                    <a:pt x="1165" y="557"/>
                  </a:lnTo>
                  <a:lnTo>
                    <a:pt x="1165" y="557"/>
                  </a:lnTo>
                  <a:lnTo>
                    <a:pt x="1165" y="557"/>
                  </a:lnTo>
                  <a:lnTo>
                    <a:pt x="1163" y="557"/>
                  </a:lnTo>
                  <a:lnTo>
                    <a:pt x="1163" y="557"/>
                  </a:lnTo>
                  <a:lnTo>
                    <a:pt x="1163" y="555"/>
                  </a:lnTo>
                  <a:lnTo>
                    <a:pt x="1163" y="555"/>
                  </a:lnTo>
                  <a:lnTo>
                    <a:pt x="1163" y="555"/>
                  </a:lnTo>
                  <a:lnTo>
                    <a:pt x="1163" y="555"/>
                  </a:lnTo>
                  <a:lnTo>
                    <a:pt x="1163" y="555"/>
                  </a:lnTo>
                  <a:lnTo>
                    <a:pt x="1161" y="555"/>
                  </a:lnTo>
                  <a:lnTo>
                    <a:pt x="1161" y="555"/>
                  </a:lnTo>
                  <a:lnTo>
                    <a:pt x="1161" y="557"/>
                  </a:lnTo>
                  <a:lnTo>
                    <a:pt x="1161" y="559"/>
                  </a:lnTo>
                  <a:lnTo>
                    <a:pt x="1161" y="559"/>
                  </a:lnTo>
                  <a:lnTo>
                    <a:pt x="1161" y="559"/>
                  </a:lnTo>
                  <a:lnTo>
                    <a:pt x="1161" y="559"/>
                  </a:lnTo>
                  <a:lnTo>
                    <a:pt x="1161" y="559"/>
                  </a:lnTo>
                  <a:lnTo>
                    <a:pt x="1161" y="557"/>
                  </a:lnTo>
                  <a:lnTo>
                    <a:pt x="1161" y="557"/>
                  </a:lnTo>
                  <a:lnTo>
                    <a:pt x="1161" y="557"/>
                  </a:lnTo>
                  <a:lnTo>
                    <a:pt x="1161" y="557"/>
                  </a:lnTo>
                  <a:lnTo>
                    <a:pt x="1159" y="557"/>
                  </a:lnTo>
                  <a:lnTo>
                    <a:pt x="1159" y="559"/>
                  </a:lnTo>
                  <a:lnTo>
                    <a:pt x="1159" y="559"/>
                  </a:lnTo>
                  <a:lnTo>
                    <a:pt x="1159" y="559"/>
                  </a:lnTo>
                  <a:lnTo>
                    <a:pt x="1159" y="559"/>
                  </a:lnTo>
                  <a:lnTo>
                    <a:pt x="1159" y="559"/>
                  </a:lnTo>
                  <a:lnTo>
                    <a:pt x="1159" y="559"/>
                  </a:lnTo>
                  <a:lnTo>
                    <a:pt x="1159" y="559"/>
                  </a:lnTo>
                  <a:lnTo>
                    <a:pt x="1159" y="559"/>
                  </a:lnTo>
                  <a:lnTo>
                    <a:pt x="1159" y="562"/>
                  </a:lnTo>
                  <a:lnTo>
                    <a:pt x="1159" y="562"/>
                  </a:lnTo>
                  <a:lnTo>
                    <a:pt x="1159" y="562"/>
                  </a:lnTo>
                  <a:lnTo>
                    <a:pt x="1159" y="564"/>
                  </a:lnTo>
                  <a:lnTo>
                    <a:pt x="1159" y="564"/>
                  </a:lnTo>
                  <a:lnTo>
                    <a:pt x="1159" y="562"/>
                  </a:lnTo>
                  <a:lnTo>
                    <a:pt x="1159" y="562"/>
                  </a:lnTo>
                  <a:lnTo>
                    <a:pt x="1157" y="562"/>
                  </a:lnTo>
                  <a:lnTo>
                    <a:pt x="1157" y="562"/>
                  </a:lnTo>
                  <a:lnTo>
                    <a:pt x="1157" y="562"/>
                  </a:lnTo>
                  <a:lnTo>
                    <a:pt x="1157" y="562"/>
                  </a:lnTo>
                  <a:lnTo>
                    <a:pt x="1157" y="562"/>
                  </a:lnTo>
                  <a:lnTo>
                    <a:pt x="1157" y="559"/>
                  </a:lnTo>
                  <a:lnTo>
                    <a:pt x="1157" y="559"/>
                  </a:lnTo>
                  <a:lnTo>
                    <a:pt x="1155" y="562"/>
                  </a:lnTo>
                  <a:lnTo>
                    <a:pt x="1155" y="559"/>
                  </a:lnTo>
                  <a:lnTo>
                    <a:pt x="1155" y="559"/>
                  </a:lnTo>
                  <a:lnTo>
                    <a:pt x="1155" y="559"/>
                  </a:lnTo>
                  <a:lnTo>
                    <a:pt x="1155" y="559"/>
                  </a:lnTo>
                  <a:lnTo>
                    <a:pt x="1155" y="559"/>
                  </a:lnTo>
                  <a:lnTo>
                    <a:pt x="1153" y="559"/>
                  </a:lnTo>
                  <a:lnTo>
                    <a:pt x="1153" y="559"/>
                  </a:lnTo>
                  <a:lnTo>
                    <a:pt x="1151" y="562"/>
                  </a:lnTo>
                  <a:lnTo>
                    <a:pt x="1149" y="562"/>
                  </a:lnTo>
                  <a:lnTo>
                    <a:pt x="1149" y="564"/>
                  </a:lnTo>
                  <a:lnTo>
                    <a:pt x="1149" y="564"/>
                  </a:lnTo>
                  <a:lnTo>
                    <a:pt x="1149" y="564"/>
                  </a:lnTo>
                  <a:lnTo>
                    <a:pt x="1149" y="564"/>
                  </a:lnTo>
                  <a:lnTo>
                    <a:pt x="1149" y="562"/>
                  </a:lnTo>
                  <a:lnTo>
                    <a:pt x="1149" y="562"/>
                  </a:lnTo>
                  <a:lnTo>
                    <a:pt x="1151" y="559"/>
                  </a:lnTo>
                  <a:lnTo>
                    <a:pt x="1151" y="557"/>
                  </a:lnTo>
                  <a:lnTo>
                    <a:pt x="1153" y="557"/>
                  </a:lnTo>
                  <a:lnTo>
                    <a:pt x="1153" y="555"/>
                  </a:lnTo>
                  <a:lnTo>
                    <a:pt x="1153" y="557"/>
                  </a:lnTo>
                  <a:lnTo>
                    <a:pt x="1155" y="557"/>
                  </a:lnTo>
                  <a:lnTo>
                    <a:pt x="1155" y="557"/>
                  </a:lnTo>
                  <a:lnTo>
                    <a:pt x="1155" y="557"/>
                  </a:lnTo>
                  <a:lnTo>
                    <a:pt x="1155" y="557"/>
                  </a:lnTo>
                  <a:lnTo>
                    <a:pt x="1155" y="557"/>
                  </a:lnTo>
                  <a:lnTo>
                    <a:pt x="1157" y="559"/>
                  </a:lnTo>
                  <a:lnTo>
                    <a:pt x="1157" y="557"/>
                  </a:lnTo>
                  <a:lnTo>
                    <a:pt x="1159" y="555"/>
                  </a:lnTo>
                  <a:lnTo>
                    <a:pt x="1159" y="555"/>
                  </a:lnTo>
                  <a:lnTo>
                    <a:pt x="1159" y="555"/>
                  </a:lnTo>
                  <a:lnTo>
                    <a:pt x="1159" y="553"/>
                  </a:lnTo>
                  <a:lnTo>
                    <a:pt x="1159" y="553"/>
                  </a:lnTo>
                  <a:lnTo>
                    <a:pt x="1159" y="553"/>
                  </a:lnTo>
                  <a:lnTo>
                    <a:pt x="1159" y="553"/>
                  </a:lnTo>
                  <a:lnTo>
                    <a:pt x="1159" y="553"/>
                  </a:lnTo>
                  <a:lnTo>
                    <a:pt x="1159" y="551"/>
                  </a:lnTo>
                  <a:lnTo>
                    <a:pt x="1159" y="551"/>
                  </a:lnTo>
                  <a:lnTo>
                    <a:pt x="1159" y="551"/>
                  </a:lnTo>
                  <a:lnTo>
                    <a:pt x="1159" y="551"/>
                  </a:lnTo>
                  <a:lnTo>
                    <a:pt x="1157" y="549"/>
                  </a:lnTo>
                  <a:lnTo>
                    <a:pt x="1157" y="547"/>
                  </a:lnTo>
                  <a:lnTo>
                    <a:pt x="1157" y="547"/>
                  </a:lnTo>
                  <a:lnTo>
                    <a:pt x="1159" y="547"/>
                  </a:lnTo>
                  <a:lnTo>
                    <a:pt x="1159" y="547"/>
                  </a:lnTo>
                  <a:lnTo>
                    <a:pt x="1157" y="547"/>
                  </a:lnTo>
                  <a:lnTo>
                    <a:pt x="1157" y="549"/>
                  </a:lnTo>
                  <a:lnTo>
                    <a:pt x="1155" y="549"/>
                  </a:lnTo>
                  <a:lnTo>
                    <a:pt x="1155" y="551"/>
                  </a:lnTo>
                  <a:lnTo>
                    <a:pt x="1155" y="551"/>
                  </a:lnTo>
                  <a:lnTo>
                    <a:pt x="1155" y="551"/>
                  </a:lnTo>
                  <a:lnTo>
                    <a:pt x="1155" y="553"/>
                  </a:lnTo>
                  <a:lnTo>
                    <a:pt x="1155" y="553"/>
                  </a:lnTo>
                  <a:lnTo>
                    <a:pt x="1155" y="553"/>
                  </a:lnTo>
                  <a:lnTo>
                    <a:pt x="1153" y="553"/>
                  </a:lnTo>
                  <a:lnTo>
                    <a:pt x="1153" y="551"/>
                  </a:lnTo>
                  <a:lnTo>
                    <a:pt x="1153" y="551"/>
                  </a:lnTo>
                  <a:lnTo>
                    <a:pt x="1155" y="551"/>
                  </a:lnTo>
                  <a:lnTo>
                    <a:pt x="1155" y="551"/>
                  </a:lnTo>
                  <a:lnTo>
                    <a:pt x="1155" y="549"/>
                  </a:lnTo>
                  <a:lnTo>
                    <a:pt x="1155" y="549"/>
                  </a:lnTo>
                  <a:lnTo>
                    <a:pt x="1155" y="549"/>
                  </a:lnTo>
                  <a:lnTo>
                    <a:pt x="1155" y="549"/>
                  </a:lnTo>
                  <a:lnTo>
                    <a:pt x="1155" y="547"/>
                  </a:lnTo>
                  <a:lnTo>
                    <a:pt x="1155" y="547"/>
                  </a:lnTo>
                  <a:lnTo>
                    <a:pt x="1155" y="547"/>
                  </a:lnTo>
                  <a:lnTo>
                    <a:pt x="1155" y="547"/>
                  </a:lnTo>
                  <a:lnTo>
                    <a:pt x="1155" y="547"/>
                  </a:lnTo>
                  <a:lnTo>
                    <a:pt x="1155" y="547"/>
                  </a:lnTo>
                  <a:lnTo>
                    <a:pt x="1155" y="547"/>
                  </a:lnTo>
                  <a:lnTo>
                    <a:pt x="1155" y="547"/>
                  </a:lnTo>
                  <a:lnTo>
                    <a:pt x="1153" y="547"/>
                  </a:lnTo>
                  <a:lnTo>
                    <a:pt x="1153" y="547"/>
                  </a:lnTo>
                  <a:lnTo>
                    <a:pt x="1153" y="547"/>
                  </a:lnTo>
                  <a:lnTo>
                    <a:pt x="1153" y="547"/>
                  </a:lnTo>
                  <a:lnTo>
                    <a:pt x="1151" y="547"/>
                  </a:lnTo>
                  <a:lnTo>
                    <a:pt x="1151" y="547"/>
                  </a:lnTo>
                  <a:lnTo>
                    <a:pt x="1151" y="547"/>
                  </a:lnTo>
                  <a:lnTo>
                    <a:pt x="1151" y="549"/>
                  </a:lnTo>
                  <a:lnTo>
                    <a:pt x="1151" y="549"/>
                  </a:lnTo>
                  <a:lnTo>
                    <a:pt x="1149" y="549"/>
                  </a:lnTo>
                  <a:lnTo>
                    <a:pt x="1149" y="549"/>
                  </a:lnTo>
                  <a:lnTo>
                    <a:pt x="1149" y="549"/>
                  </a:lnTo>
                  <a:lnTo>
                    <a:pt x="1149" y="549"/>
                  </a:lnTo>
                  <a:lnTo>
                    <a:pt x="1149" y="551"/>
                  </a:lnTo>
                  <a:lnTo>
                    <a:pt x="1149" y="551"/>
                  </a:lnTo>
                  <a:lnTo>
                    <a:pt x="1149" y="551"/>
                  </a:lnTo>
                  <a:lnTo>
                    <a:pt x="1149" y="551"/>
                  </a:lnTo>
                  <a:lnTo>
                    <a:pt x="1149" y="551"/>
                  </a:lnTo>
                  <a:lnTo>
                    <a:pt x="1147" y="553"/>
                  </a:lnTo>
                  <a:lnTo>
                    <a:pt x="1147" y="553"/>
                  </a:lnTo>
                  <a:lnTo>
                    <a:pt x="1147" y="551"/>
                  </a:lnTo>
                  <a:lnTo>
                    <a:pt x="1147" y="551"/>
                  </a:lnTo>
                  <a:lnTo>
                    <a:pt x="1147" y="551"/>
                  </a:lnTo>
                  <a:lnTo>
                    <a:pt x="1147" y="549"/>
                  </a:lnTo>
                  <a:lnTo>
                    <a:pt x="1147" y="549"/>
                  </a:lnTo>
                  <a:lnTo>
                    <a:pt x="1149" y="549"/>
                  </a:lnTo>
                  <a:lnTo>
                    <a:pt x="1149" y="547"/>
                  </a:lnTo>
                  <a:lnTo>
                    <a:pt x="1149" y="547"/>
                  </a:lnTo>
                  <a:lnTo>
                    <a:pt x="1151" y="545"/>
                  </a:lnTo>
                  <a:lnTo>
                    <a:pt x="1153" y="545"/>
                  </a:lnTo>
                  <a:lnTo>
                    <a:pt x="1153" y="545"/>
                  </a:lnTo>
                  <a:lnTo>
                    <a:pt x="1151" y="545"/>
                  </a:lnTo>
                  <a:lnTo>
                    <a:pt x="1151" y="545"/>
                  </a:lnTo>
                  <a:lnTo>
                    <a:pt x="1151" y="545"/>
                  </a:lnTo>
                  <a:lnTo>
                    <a:pt x="1151" y="545"/>
                  </a:lnTo>
                  <a:lnTo>
                    <a:pt x="1149" y="545"/>
                  </a:lnTo>
                  <a:lnTo>
                    <a:pt x="1149" y="545"/>
                  </a:lnTo>
                  <a:lnTo>
                    <a:pt x="1149" y="545"/>
                  </a:lnTo>
                  <a:lnTo>
                    <a:pt x="1149" y="545"/>
                  </a:lnTo>
                  <a:lnTo>
                    <a:pt x="1147" y="547"/>
                  </a:lnTo>
                  <a:lnTo>
                    <a:pt x="1147" y="547"/>
                  </a:lnTo>
                  <a:lnTo>
                    <a:pt x="1149" y="543"/>
                  </a:lnTo>
                  <a:lnTo>
                    <a:pt x="1151" y="543"/>
                  </a:lnTo>
                  <a:lnTo>
                    <a:pt x="1153" y="543"/>
                  </a:lnTo>
                  <a:lnTo>
                    <a:pt x="1153" y="543"/>
                  </a:lnTo>
                  <a:lnTo>
                    <a:pt x="1155" y="545"/>
                  </a:lnTo>
                  <a:lnTo>
                    <a:pt x="1155" y="545"/>
                  </a:lnTo>
                  <a:lnTo>
                    <a:pt x="1155" y="545"/>
                  </a:lnTo>
                  <a:lnTo>
                    <a:pt x="1155" y="543"/>
                  </a:lnTo>
                  <a:lnTo>
                    <a:pt x="1153" y="543"/>
                  </a:lnTo>
                  <a:lnTo>
                    <a:pt x="1155" y="543"/>
                  </a:lnTo>
                  <a:lnTo>
                    <a:pt x="1155" y="543"/>
                  </a:lnTo>
                  <a:lnTo>
                    <a:pt x="1155" y="543"/>
                  </a:lnTo>
                  <a:lnTo>
                    <a:pt x="1155" y="543"/>
                  </a:lnTo>
                  <a:lnTo>
                    <a:pt x="1155" y="541"/>
                  </a:lnTo>
                  <a:lnTo>
                    <a:pt x="1155" y="541"/>
                  </a:lnTo>
                  <a:lnTo>
                    <a:pt x="1155" y="541"/>
                  </a:lnTo>
                  <a:lnTo>
                    <a:pt x="1155" y="539"/>
                  </a:lnTo>
                  <a:lnTo>
                    <a:pt x="1157" y="539"/>
                  </a:lnTo>
                  <a:lnTo>
                    <a:pt x="1157" y="539"/>
                  </a:lnTo>
                  <a:lnTo>
                    <a:pt x="1157" y="539"/>
                  </a:lnTo>
                  <a:lnTo>
                    <a:pt x="1155" y="537"/>
                  </a:lnTo>
                  <a:lnTo>
                    <a:pt x="1155" y="537"/>
                  </a:lnTo>
                  <a:lnTo>
                    <a:pt x="1155" y="537"/>
                  </a:lnTo>
                  <a:lnTo>
                    <a:pt x="1157" y="537"/>
                  </a:lnTo>
                  <a:lnTo>
                    <a:pt x="1157" y="537"/>
                  </a:lnTo>
                  <a:lnTo>
                    <a:pt x="1157" y="537"/>
                  </a:lnTo>
                  <a:lnTo>
                    <a:pt x="1157" y="535"/>
                  </a:lnTo>
                  <a:lnTo>
                    <a:pt x="1157" y="535"/>
                  </a:lnTo>
                  <a:lnTo>
                    <a:pt x="1159" y="533"/>
                  </a:lnTo>
                  <a:lnTo>
                    <a:pt x="1159" y="533"/>
                  </a:lnTo>
                  <a:lnTo>
                    <a:pt x="1159" y="533"/>
                  </a:lnTo>
                  <a:lnTo>
                    <a:pt x="1159" y="531"/>
                  </a:lnTo>
                  <a:lnTo>
                    <a:pt x="1159" y="531"/>
                  </a:lnTo>
                  <a:lnTo>
                    <a:pt x="1159" y="531"/>
                  </a:lnTo>
                  <a:lnTo>
                    <a:pt x="1157" y="531"/>
                  </a:lnTo>
                  <a:lnTo>
                    <a:pt x="1155" y="531"/>
                  </a:lnTo>
                  <a:lnTo>
                    <a:pt x="1155" y="533"/>
                  </a:lnTo>
                  <a:lnTo>
                    <a:pt x="1153" y="535"/>
                  </a:lnTo>
                  <a:lnTo>
                    <a:pt x="1153" y="535"/>
                  </a:lnTo>
                  <a:lnTo>
                    <a:pt x="1151" y="535"/>
                  </a:lnTo>
                  <a:lnTo>
                    <a:pt x="1151" y="535"/>
                  </a:lnTo>
                  <a:lnTo>
                    <a:pt x="1153" y="535"/>
                  </a:lnTo>
                  <a:lnTo>
                    <a:pt x="1153" y="535"/>
                  </a:lnTo>
                  <a:lnTo>
                    <a:pt x="1153" y="533"/>
                  </a:lnTo>
                  <a:lnTo>
                    <a:pt x="1153" y="533"/>
                  </a:lnTo>
                  <a:lnTo>
                    <a:pt x="1153" y="533"/>
                  </a:lnTo>
                  <a:lnTo>
                    <a:pt x="1153" y="533"/>
                  </a:lnTo>
                  <a:lnTo>
                    <a:pt x="1153" y="533"/>
                  </a:lnTo>
                  <a:lnTo>
                    <a:pt x="1153" y="531"/>
                  </a:lnTo>
                  <a:lnTo>
                    <a:pt x="1153" y="531"/>
                  </a:lnTo>
                  <a:lnTo>
                    <a:pt x="1155" y="531"/>
                  </a:lnTo>
                  <a:lnTo>
                    <a:pt x="1155" y="531"/>
                  </a:lnTo>
                  <a:lnTo>
                    <a:pt x="1157" y="529"/>
                  </a:lnTo>
                  <a:lnTo>
                    <a:pt x="1157" y="529"/>
                  </a:lnTo>
                  <a:lnTo>
                    <a:pt x="1159" y="529"/>
                  </a:lnTo>
                  <a:lnTo>
                    <a:pt x="1159" y="529"/>
                  </a:lnTo>
                  <a:lnTo>
                    <a:pt x="1159" y="529"/>
                  </a:lnTo>
                  <a:lnTo>
                    <a:pt x="1159" y="529"/>
                  </a:lnTo>
                  <a:lnTo>
                    <a:pt x="1159" y="529"/>
                  </a:lnTo>
                  <a:lnTo>
                    <a:pt x="1159" y="531"/>
                  </a:lnTo>
                  <a:lnTo>
                    <a:pt x="1159" y="531"/>
                  </a:lnTo>
                  <a:lnTo>
                    <a:pt x="1161" y="533"/>
                  </a:lnTo>
                  <a:lnTo>
                    <a:pt x="1161" y="533"/>
                  </a:lnTo>
                  <a:lnTo>
                    <a:pt x="1161" y="533"/>
                  </a:lnTo>
                  <a:lnTo>
                    <a:pt x="1161" y="533"/>
                  </a:lnTo>
                  <a:lnTo>
                    <a:pt x="1161" y="533"/>
                  </a:lnTo>
                  <a:lnTo>
                    <a:pt x="1163" y="533"/>
                  </a:lnTo>
                  <a:lnTo>
                    <a:pt x="1163" y="531"/>
                  </a:lnTo>
                  <a:lnTo>
                    <a:pt x="1163" y="529"/>
                  </a:lnTo>
                  <a:lnTo>
                    <a:pt x="1165" y="525"/>
                  </a:lnTo>
                  <a:lnTo>
                    <a:pt x="1165" y="525"/>
                  </a:lnTo>
                  <a:lnTo>
                    <a:pt x="1165" y="525"/>
                  </a:lnTo>
                  <a:lnTo>
                    <a:pt x="1165" y="523"/>
                  </a:lnTo>
                  <a:lnTo>
                    <a:pt x="1167" y="521"/>
                  </a:lnTo>
                  <a:lnTo>
                    <a:pt x="1167" y="521"/>
                  </a:lnTo>
                  <a:lnTo>
                    <a:pt x="1167" y="518"/>
                  </a:lnTo>
                  <a:lnTo>
                    <a:pt x="1169" y="518"/>
                  </a:lnTo>
                  <a:lnTo>
                    <a:pt x="1169" y="518"/>
                  </a:lnTo>
                  <a:lnTo>
                    <a:pt x="1169" y="521"/>
                  </a:lnTo>
                  <a:lnTo>
                    <a:pt x="1167" y="523"/>
                  </a:lnTo>
                  <a:lnTo>
                    <a:pt x="1167" y="523"/>
                  </a:lnTo>
                  <a:lnTo>
                    <a:pt x="1169" y="523"/>
                  </a:lnTo>
                  <a:lnTo>
                    <a:pt x="1169" y="521"/>
                  </a:lnTo>
                  <a:lnTo>
                    <a:pt x="1169" y="523"/>
                  </a:lnTo>
                  <a:lnTo>
                    <a:pt x="1169" y="523"/>
                  </a:lnTo>
                  <a:lnTo>
                    <a:pt x="1167" y="523"/>
                  </a:lnTo>
                  <a:lnTo>
                    <a:pt x="1167" y="525"/>
                  </a:lnTo>
                  <a:lnTo>
                    <a:pt x="1167" y="525"/>
                  </a:lnTo>
                  <a:lnTo>
                    <a:pt x="1167" y="527"/>
                  </a:lnTo>
                  <a:lnTo>
                    <a:pt x="1165" y="527"/>
                  </a:lnTo>
                  <a:lnTo>
                    <a:pt x="1165" y="527"/>
                  </a:lnTo>
                  <a:lnTo>
                    <a:pt x="1165" y="529"/>
                  </a:lnTo>
                  <a:lnTo>
                    <a:pt x="1165" y="531"/>
                  </a:lnTo>
                  <a:lnTo>
                    <a:pt x="1165" y="531"/>
                  </a:lnTo>
                  <a:lnTo>
                    <a:pt x="1165" y="531"/>
                  </a:lnTo>
                  <a:lnTo>
                    <a:pt x="1165" y="531"/>
                  </a:lnTo>
                  <a:lnTo>
                    <a:pt x="1165" y="533"/>
                  </a:lnTo>
                  <a:lnTo>
                    <a:pt x="1163" y="533"/>
                  </a:lnTo>
                  <a:lnTo>
                    <a:pt x="1163" y="533"/>
                  </a:lnTo>
                  <a:lnTo>
                    <a:pt x="1163" y="533"/>
                  </a:lnTo>
                  <a:lnTo>
                    <a:pt x="1163" y="535"/>
                  </a:lnTo>
                  <a:lnTo>
                    <a:pt x="1163" y="535"/>
                  </a:lnTo>
                  <a:lnTo>
                    <a:pt x="1163" y="535"/>
                  </a:lnTo>
                  <a:lnTo>
                    <a:pt x="1163" y="535"/>
                  </a:lnTo>
                  <a:lnTo>
                    <a:pt x="1163" y="535"/>
                  </a:lnTo>
                  <a:lnTo>
                    <a:pt x="1163" y="537"/>
                  </a:lnTo>
                  <a:lnTo>
                    <a:pt x="1161" y="537"/>
                  </a:lnTo>
                  <a:lnTo>
                    <a:pt x="1163" y="537"/>
                  </a:lnTo>
                  <a:lnTo>
                    <a:pt x="1163" y="537"/>
                  </a:lnTo>
                  <a:lnTo>
                    <a:pt x="1165" y="539"/>
                  </a:lnTo>
                  <a:lnTo>
                    <a:pt x="1165" y="539"/>
                  </a:lnTo>
                  <a:lnTo>
                    <a:pt x="1165" y="539"/>
                  </a:lnTo>
                  <a:lnTo>
                    <a:pt x="1165" y="539"/>
                  </a:lnTo>
                  <a:lnTo>
                    <a:pt x="1165" y="541"/>
                  </a:lnTo>
                  <a:lnTo>
                    <a:pt x="1165" y="541"/>
                  </a:lnTo>
                  <a:lnTo>
                    <a:pt x="1167" y="541"/>
                  </a:lnTo>
                  <a:lnTo>
                    <a:pt x="1167" y="543"/>
                  </a:lnTo>
                  <a:lnTo>
                    <a:pt x="1169" y="543"/>
                  </a:lnTo>
                  <a:lnTo>
                    <a:pt x="1169" y="543"/>
                  </a:lnTo>
                  <a:lnTo>
                    <a:pt x="1169" y="541"/>
                  </a:lnTo>
                  <a:lnTo>
                    <a:pt x="1169" y="541"/>
                  </a:lnTo>
                  <a:lnTo>
                    <a:pt x="1169" y="541"/>
                  </a:lnTo>
                  <a:lnTo>
                    <a:pt x="1169" y="541"/>
                  </a:lnTo>
                  <a:lnTo>
                    <a:pt x="1169" y="541"/>
                  </a:lnTo>
                  <a:lnTo>
                    <a:pt x="1169" y="541"/>
                  </a:lnTo>
                  <a:lnTo>
                    <a:pt x="1169" y="541"/>
                  </a:lnTo>
                  <a:lnTo>
                    <a:pt x="1167" y="541"/>
                  </a:lnTo>
                  <a:lnTo>
                    <a:pt x="1169" y="539"/>
                  </a:lnTo>
                  <a:lnTo>
                    <a:pt x="1169" y="539"/>
                  </a:lnTo>
                  <a:lnTo>
                    <a:pt x="1169" y="537"/>
                  </a:lnTo>
                  <a:lnTo>
                    <a:pt x="1169" y="537"/>
                  </a:lnTo>
                  <a:lnTo>
                    <a:pt x="1169" y="537"/>
                  </a:lnTo>
                  <a:lnTo>
                    <a:pt x="1169" y="537"/>
                  </a:lnTo>
                  <a:lnTo>
                    <a:pt x="1169" y="537"/>
                  </a:lnTo>
                  <a:lnTo>
                    <a:pt x="1169" y="537"/>
                  </a:lnTo>
                  <a:lnTo>
                    <a:pt x="1172" y="535"/>
                  </a:lnTo>
                  <a:lnTo>
                    <a:pt x="1172" y="537"/>
                  </a:lnTo>
                  <a:lnTo>
                    <a:pt x="1172" y="537"/>
                  </a:lnTo>
                  <a:lnTo>
                    <a:pt x="1169" y="537"/>
                  </a:lnTo>
                  <a:lnTo>
                    <a:pt x="1169" y="539"/>
                  </a:lnTo>
                  <a:lnTo>
                    <a:pt x="1169" y="539"/>
                  </a:lnTo>
                  <a:lnTo>
                    <a:pt x="1172" y="539"/>
                  </a:lnTo>
                  <a:lnTo>
                    <a:pt x="1172" y="539"/>
                  </a:lnTo>
                  <a:lnTo>
                    <a:pt x="1172" y="539"/>
                  </a:lnTo>
                  <a:lnTo>
                    <a:pt x="1172" y="541"/>
                  </a:lnTo>
                  <a:lnTo>
                    <a:pt x="1172" y="541"/>
                  </a:lnTo>
                  <a:lnTo>
                    <a:pt x="1174" y="541"/>
                  </a:lnTo>
                  <a:lnTo>
                    <a:pt x="1174" y="539"/>
                  </a:lnTo>
                  <a:lnTo>
                    <a:pt x="1174" y="539"/>
                  </a:lnTo>
                  <a:lnTo>
                    <a:pt x="1174" y="537"/>
                  </a:lnTo>
                  <a:lnTo>
                    <a:pt x="1174" y="537"/>
                  </a:lnTo>
                  <a:lnTo>
                    <a:pt x="1174" y="535"/>
                  </a:lnTo>
                  <a:lnTo>
                    <a:pt x="1174" y="535"/>
                  </a:lnTo>
                  <a:lnTo>
                    <a:pt x="1174" y="535"/>
                  </a:lnTo>
                  <a:lnTo>
                    <a:pt x="1174" y="535"/>
                  </a:lnTo>
                  <a:lnTo>
                    <a:pt x="1174" y="535"/>
                  </a:lnTo>
                  <a:lnTo>
                    <a:pt x="1172" y="535"/>
                  </a:lnTo>
                  <a:lnTo>
                    <a:pt x="1172" y="535"/>
                  </a:lnTo>
                  <a:lnTo>
                    <a:pt x="1174" y="533"/>
                  </a:lnTo>
                  <a:lnTo>
                    <a:pt x="1174" y="533"/>
                  </a:lnTo>
                  <a:lnTo>
                    <a:pt x="1174" y="533"/>
                  </a:lnTo>
                  <a:lnTo>
                    <a:pt x="1174" y="533"/>
                  </a:lnTo>
                  <a:lnTo>
                    <a:pt x="1174" y="533"/>
                  </a:lnTo>
                  <a:lnTo>
                    <a:pt x="1174" y="533"/>
                  </a:lnTo>
                  <a:lnTo>
                    <a:pt x="1174" y="533"/>
                  </a:lnTo>
                  <a:lnTo>
                    <a:pt x="1172" y="533"/>
                  </a:lnTo>
                  <a:lnTo>
                    <a:pt x="1172" y="533"/>
                  </a:lnTo>
                  <a:lnTo>
                    <a:pt x="1172" y="533"/>
                  </a:lnTo>
                  <a:lnTo>
                    <a:pt x="1172" y="533"/>
                  </a:lnTo>
                  <a:lnTo>
                    <a:pt x="1172" y="531"/>
                  </a:lnTo>
                  <a:lnTo>
                    <a:pt x="1174" y="531"/>
                  </a:lnTo>
                  <a:lnTo>
                    <a:pt x="1174" y="531"/>
                  </a:lnTo>
                  <a:lnTo>
                    <a:pt x="1174" y="529"/>
                  </a:lnTo>
                  <a:lnTo>
                    <a:pt x="1174" y="527"/>
                  </a:lnTo>
                  <a:lnTo>
                    <a:pt x="1174" y="527"/>
                  </a:lnTo>
                  <a:lnTo>
                    <a:pt x="1174" y="527"/>
                  </a:lnTo>
                  <a:lnTo>
                    <a:pt x="1174" y="527"/>
                  </a:lnTo>
                  <a:lnTo>
                    <a:pt x="1174" y="525"/>
                  </a:lnTo>
                  <a:lnTo>
                    <a:pt x="1174" y="525"/>
                  </a:lnTo>
                  <a:lnTo>
                    <a:pt x="1174" y="525"/>
                  </a:lnTo>
                  <a:lnTo>
                    <a:pt x="1174" y="525"/>
                  </a:lnTo>
                  <a:lnTo>
                    <a:pt x="1176" y="525"/>
                  </a:lnTo>
                  <a:lnTo>
                    <a:pt x="1174" y="525"/>
                  </a:lnTo>
                  <a:lnTo>
                    <a:pt x="1174" y="527"/>
                  </a:lnTo>
                  <a:lnTo>
                    <a:pt x="1174" y="527"/>
                  </a:lnTo>
                  <a:lnTo>
                    <a:pt x="1176" y="529"/>
                  </a:lnTo>
                  <a:lnTo>
                    <a:pt x="1176" y="529"/>
                  </a:lnTo>
                  <a:lnTo>
                    <a:pt x="1176" y="529"/>
                  </a:lnTo>
                  <a:lnTo>
                    <a:pt x="1176" y="529"/>
                  </a:lnTo>
                  <a:lnTo>
                    <a:pt x="1176" y="529"/>
                  </a:lnTo>
                  <a:lnTo>
                    <a:pt x="1176" y="529"/>
                  </a:lnTo>
                  <a:lnTo>
                    <a:pt x="1176" y="529"/>
                  </a:lnTo>
                  <a:lnTo>
                    <a:pt x="1174" y="531"/>
                  </a:lnTo>
                  <a:lnTo>
                    <a:pt x="1176" y="531"/>
                  </a:lnTo>
                  <a:lnTo>
                    <a:pt x="1176" y="533"/>
                  </a:lnTo>
                  <a:lnTo>
                    <a:pt x="1176" y="533"/>
                  </a:lnTo>
                  <a:lnTo>
                    <a:pt x="1176" y="533"/>
                  </a:lnTo>
                  <a:lnTo>
                    <a:pt x="1176" y="537"/>
                  </a:lnTo>
                  <a:lnTo>
                    <a:pt x="1176" y="537"/>
                  </a:lnTo>
                  <a:lnTo>
                    <a:pt x="1176" y="537"/>
                  </a:lnTo>
                  <a:lnTo>
                    <a:pt x="1176" y="535"/>
                  </a:lnTo>
                  <a:lnTo>
                    <a:pt x="1176" y="533"/>
                  </a:lnTo>
                  <a:lnTo>
                    <a:pt x="1178" y="533"/>
                  </a:lnTo>
                  <a:lnTo>
                    <a:pt x="1178" y="533"/>
                  </a:lnTo>
                  <a:lnTo>
                    <a:pt x="1178" y="533"/>
                  </a:lnTo>
                  <a:lnTo>
                    <a:pt x="1178" y="533"/>
                  </a:lnTo>
                  <a:lnTo>
                    <a:pt x="1178" y="535"/>
                  </a:lnTo>
                  <a:lnTo>
                    <a:pt x="1178" y="535"/>
                  </a:lnTo>
                  <a:lnTo>
                    <a:pt x="1178" y="535"/>
                  </a:lnTo>
                  <a:lnTo>
                    <a:pt x="1178" y="533"/>
                  </a:lnTo>
                  <a:lnTo>
                    <a:pt x="1178" y="533"/>
                  </a:lnTo>
                  <a:lnTo>
                    <a:pt x="1180" y="533"/>
                  </a:lnTo>
                  <a:lnTo>
                    <a:pt x="1178" y="537"/>
                  </a:lnTo>
                  <a:lnTo>
                    <a:pt x="1178" y="537"/>
                  </a:lnTo>
                  <a:lnTo>
                    <a:pt x="1178" y="537"/>
                  </a:lnTo>
                  <a:lnTo>
                    <a:pt x="1178" y="537"/>
                  </a:lnTo>
                  <a:lnTo>
                    <a:pt x="1180" y="537"/>
                  </a:lnTo>
                  <a:lnTo>
                    <a:pt x="1180" y="537"/>
                  </a:lnTo>
                  <a:lnTo>
                    <a:pt x="1180" y="539"/>
                  </a:lnTo>
                  <a:lnTo>
                    <a:pt x="1180" y="537"/>
                  </a:lnTo>
                  <a:lnTo>
                    <a:pt x="1182" y="537"/>
                  </a:lnTo>
                  <a:lnTo>
                    <a:pt x="1180" y="537"/>
                  </a:lnTo>
                  <a:lnTo>
                    <a:pt x="1182" y="535"/>
                  </a:lnTo>
                  <a:lnTo>
                    <a:pt x="1182" y="535"/>
                  </a:lnTo>
                  <a:lnTo>
                    <a:pt x="1182" y="535"/>
                  </a:lnTo>
                  <a:lnTo>
                    <a:pt x="1182" y="535"/>
                  </a:lnTo>
                  <a:lnTo>
                    <a:pt x="1182" y="533"/>
                  </a:lnTo>
                  <a:lnTo>
                    <a:pt x="1182" y="533"/>
                  </a:lnTo>
                  <a:lnTo>
                    <a:pt x="1182" y="533"/>
                  </a:lnTo>
                  <a:lnTo>
                    <a:pt x="1182" y="533"/>
                  </a:lnTo>
                  <a:lnTo>
                    <a:pt x="1182" y="533"/>
                  </a:lnTo>
                  <a:lnTo>
                    <a:pt x="1182" y="533"/>
                  </a:lnTo>
                  <a:lnTo>
                    <a:pt x="1184" y="531"/>
                  </a:lnTo>
                  <a:lnTo>
                    <a:pt x="1184" y="531"/>
                  </a:lnTo>
                  <a:lnTo>
                    <a:pt x="1184" y="531"/>
                  </a:lnTo>
                  <a:lnTo>
                    <a:pt x="1184" y="533"/>
                  </a:lnTo>
                  <a:lnTo>
                    <a:pt x="1184" y="533"/>
                  </a:lnTo>
                  <a:lnTo>
                    <a:pt x="1184" y="535"/>
                  </a:lnTo>
                  <a:lnTo>
                    <a:pt x="1184" y="535"/>
                  </a:lnTo>
                  <a:lnTo>
                    <a:pt x="1184" y="535"/>
                  </a:lnTo>
                  <a:lnTo>
                    <a:pt x="1184" y="535"/>
                  </a:lnTo>
                  <a:lnTo>
                    <a:pt x="1184" y="533"/>
                  </a:lnTo>
                  <a:lnTo>
                    <a:pt x="1184" y="533"/>
                  </a:lnTo>
                  <a:lnTo>
                    <a:pt x="1184" y="533"/>
                  </a:lnTo>
                  <a:lnTo>
                    <a:pt x="1186" y="531"/>
                  </a:lnTo>
                  <a:lnTo>
                    <a:pt x="1186" y="531"/>
                  </a:lnTo>
                  <a:lnTo>
                    <a:pt x="1186" y="531"/>
                  </a:lnTo>
                  <a:lnTo>
                    <a:pt x="1188" y="531"/>
                  </a:lnTo>
                  <a:lnTo>
                    <a:pt x="1188" y="531"/>
                  </a:lnTo>
                  <a:lnTo>
                    <a:pt x="1188" y="533"/>
                  </a:lnTo>
                  <a:lnTo>
                    <a:pt x="1186" y="533"/>
                  </a:lnTo>
                  <a:lnTo>
                    <a:pt x="1188" y="533"/>
                  </a:lnTo>
                  <a:lnTo>
                    <a:pt x="1188" y="533"/>
                  </a:lnTo>
                  <a:lnTo>
                    <a:pt x="1188" y="533"/>
                  </a:lnTo>
                  <a:lnTo>
                    <a:pt x="1188" y="533"/>
                  </a:lnTo>
                  <a:lnTo>
                    <a:pt x="1188" y="531"/>
                  </a:lnTo>
                  <a:lnTo>
                    <a:pt x="1188" y="531"/>
                  </a:lnTo>
                  <a:lnTo>
                    <a:pt x="1188" y="531"/>
                  </a:lnTo>
                  <a:lnTo>
                    <a:pt x="1188" y="531"/>
                  </a:lnTo>
                  <a:lnTo>
                    <a:pt x="1188" y="531"/>
                  </a:lnTo>
                  <a:lnTo>
                    <a:pt x="1188" y="531"/>
                  </a:lnTo>
                  <a:lnTo>
                    <a:pt x="1188" y="533"/>
                  </a:lnTo>
                  <a:lnTo>
                    <a:pt x="1188" y="533"/>
                  </a:lnTo>
                  <a:lnTo>
                    <a:pt x="1188" y="535"/>
                  </a:lnTo>
                  <a:lnTo>
                    <a:pt x="1190" y="535"/>
                  </a:lnTo>
                  <a:lnTo>
                    <a:pt x="1190" y="535"/>
                  </a:lnTo>
                  <a:lnTo>
                    <a:pt x="1190" y="533"/>
                  </a:lnTo>
                  <a:lnTo>
                    <a:pt x="1192" y="533"/>
                  </a:lnTo>
                  <a:lnTo>
                    <a:pt x="1192" y="533"/>
                  </a:lnTo>
                  <a:lnTo>
                    <a:pt x="1192" y="531"/>
                  </a:lnTo>
                  <a:lnTo>
                    <a:pt x="1192" y="529"/>
                  </a:lnTo>
                  <a:lnTo>
                    <a:pt x="1194" y="527"/>
                  </a:lnTo>
                  <a:lnTo>
                    <a:pt x="1196" y="527"/>
                  </a:lnTo>
                  <a:lnTo>
                    <a:pt x="1196" y="525"/>
                  </a:lnTo>
                  <a:lnTo>
                    <a:pt x="1198" y="525"/>
                  </a:lnTo>
                  <a:lnTo>
                    <a:pt x="1198" y="523"/>
                  </a:lnTo>
                  <a:lnTo>
                    <a:pt x="1200" y="523"/>
                  </a:lnTo>
                  <a:lnTo>
                    <a:pt x="1202" y="523"/>
                  </a:lnTo>
                  <a:lnTo>
                    <a:pt x="1202" y="523"/>
                  </a:lnTo>
                  <a:lnTo>
                    <a:pt x="1204" y="523"/>
                  </a:lnTo>
                  <a:lnTo>
                    <a:pt x="1204" y="523"/>
                  </a:lnTo>
                  <a:lnTo>
                    <a:pt x="1206" y="523"/>
                  </a:lnTo>
                  <a:lnTo>
                    <a:pt x="1206" y="525"/>
                  </a:lnTo>
                  <a:lnTo>
                    <a:pt x="1206" y="525"/>
                  </a:lnTo>
                  <a:lnTo>
                    <a:pt x="1198" y="527"/>
                  </a:lnTo>
                  <a:lnTo>
                    <a:pt x="1196" y="527"/>
                  </a:lnTo>
                  <a:lnTo>
                    <a:pt x="1196" y="527"/>
                  </a:lnTo>
                  <a:lnTo>
                    <a:pt x="1198" y="527"/>
                  </a:lnTo>
                  <a:lnTo>
                    <a:pt x="1198" y="529"/>
                  </a:lnTo>
                  <a:lnTo>
                    <a:pt x="1198" y="529"/>
                  </a:lnTo>
                  <a:lnTo>
                    <a:pt x="1198" y="529"/>
                  </a:lnTo>
                  <a:lnTo>
                    <a:pt x="1198" y="529"/>
                  </a:lnTo>
                  <a:lnTo>
                    <a:pt x="1198" y="529"/>
                  </a:lnTo>
                  <a:lnTo>
                    <a:pt x="1196" y="529"/>
                  </a:lnTo>
                  <a:lnTo>
                    <a:pt x="1196" y="529"/>
                  </a:lnTo>
                  <a:lnTo>
                    <a:pt x="1196" y="529"/>
                  </a:lnTo>
                  <a:lnTo>
                    <a:pt x="1196" y="531"/>
                  </a:lnTo>
                  <a:lnTo>
                    <a:pt x="1196" y="531"/>
                  </a:lnTo>
                  <a:lnTo>
                    <a:pt x="1196" y="533"/>
                  </a:lnTo>
                  <a:lnTo>
                    <a:pt x="1196" y="533"/>
                  </a:lnTo>
                  <a:lnTo>
                    <a:pt x="1198" y="533"/>
                  </a:lnTo>
                  <a:lnTo>
                    <a:pt x="1198" y="533"/>
                  </a:lnTo>
                  <a:lnTo>
                    <a:pt x="1198" y="533"/>
                  </a:lnTo>
                  <a:lnTo>
                    <a:pt x="1196" y="533"/>
                  </a:lnTo>
                  <a:lnTo>
                    <a:pt x="1196" y="533"/>
                  </a:lnTo>
                  <a:lnTo>
                    <a:pt x="1196" y="533"/>
                  </a:lnTo>
                  <a:lnTo>
                    <a:pt x="1194" y="533"/>
                  </a:lnTo>
                  <a:lnTo>
                    <a:pt x="1194" y="533"/>
                  </a:lnTo>
                  <a:lnTo>
                    <a:pt x="1196" y="535"/>
                  </a:lnTo>
                  <a:lnTo>
                    <a:pt x="1196" y="535"/>
                  </a:lnTo>
                  <a:lnTo>
                    <a:pt x="1196" y="535"/>
                  </a:lnTo>
                  <a:lnTo>
                    <a:pt x="1196" y="535"/>
                  </a:lnTo>
                  <a:lnTo>
                    <a:pt x="1196" y="535"/>
                  </a:lnTo>
                  <a:lnTo>
                    <a:pt x="1196" y="537"/>
                  </a:lnTo>
                  <a:lnTo>
                    <a:pt x="1196" y="537"/>
                  </a:lnTo>
                  <a:lnTo>
                    <a:pt x="1196" y="537"/>
                  </a:lnTo>
                  <a:lnTo>
                    <a:pt x="1198" y="537"/>
                  </a:lnTo>
                  <a:lnTo>
                    <a:pt x="1198" y="537"/>
                  </a:lnTo>
                  <a:lnTo>
                    <a:pt x="1198" y="537"/>
                  </a:lnTo>
                  <a:lnTo>
                    <a:pt x="1198" y="537"/>
                  </a:lnTo>
                  <a:lnTo>
                    <a:pt x="1198" y="537"/>
                  </a:lnTo>
                  <a:lnTo>
                    <a:pt x="1198" y="537"/>
                  </a:lnTo>
                  <a:lnTo>
                    <a:pt x="1198" y="537"/>
                  </a:lnTo>
                  <a:lnTo>
                    <a:pt x="1198" y="537"/>
                  </a:lnTo>
                  <a:lnTo>
                    <a:pt x="1198" y="539"/>
                  </a:lnTo>
                  <a:lnTo>
                    <a:pt x="1198" y="539"/>
                  </a:lnTo>
                  <a:lnTo>
                    <a:pt x="1198" y="539"/>
                  </a:lnTo>
                  <a:lnTo>
                    <a:pt x="1198" y="539"/>
                  </a:lnTo>
                  <a:lnTo>
                    <a:pt x="1198" y="539"/>
                  </a:lnTo>
                  <a:lnTo>
                    <a:pt x="1200" y="539"/>
                  </a:lnTo>
                  <a:lnTo>
                    <a:pt x="1200" y="537"/>
                  </a:lnTo>
                  <a:lnTo>
                    <a:pt x="1200" y="539"/>
                  </a:lnTo>
                  <a:lnTo>
                    <a:pt x="1200" y="539"/>
                  </a:lnTo>
                  <a:lnTo>
                    <a:pt x="1202" y="539"/>
                  </a:lnTo>
                  <a:lnTo>
                    <a:pt x="1204" y="537"/>
                  </a:lnTo>
                  <a:lnTo>
                    <a:pt x="1204" y="539"/>
                  </a:lnTo>
                  <a:lnTo>
                    <a:pt x="1204" y="539"/>
                  </a:lnTo>
                  <a:lnTo>
                    <a:pt x="1204" y="539"/>
                  </a:lnTo>
                  <a:lnTo>
                    <a:pt x="1204" y="539"/>
                  </a:lnTo>
                  <a:lnTo>
                    <a:pt x="1204" y="539"/>
                  </a:lnTo>
                  <a:lnTo>
                    <a:pt x="1206" y="539"/>
                  </a:lnTo>
                  <a:lnTo>
                    <a:pt x="1206" y="537"/>
                  </a:lnTo>
                  <a:lnTo>
                    <a:pt x="1208" y="535"/>
                  </a:lnTo>
                  <a:lnTo>
                    <a:pt x="1208" y="535"/>
                  </a:lnTo>
                  <a:lnTo>
                    <a:pt x="1212" y="537"/>
                  </a:lnTo>
                  <a:lnTo>
                    <a:pt x="1208" y="537"/>
                  </a:lnTo>
                  <a:lnTo>
                    <a:pt x="1208" y="537"/>
                  </a:lnTo>
                  <a:lnTo>
                    <a:pt x="1208" y="537"/>
                  </a:lnTo>
                  <a:lnTo>
                    <a:pt x="1208" y="539"/>
                  </a:lnTo>
                  <a:lnTo>
                    <a:pt x="1208" y="539"/>
                  </a:lnTo>
                  <a:lnTo>
                    <a:pt x="1208" y="539"/>
                  </a:lnTo>
                  <a:lnTo>
                    <a:pt x="1208" y="539"/>
                  </a:lnTo>
                  <a:lnTo>
                    <a:pt x="1206" y="541"/>
                  </a:lnTo>
                  <a:lnTo>
                    <a:pt x="1204" y="541"/>
                  </a:lnTo>
                  <a:lnTo>
                    <a:pt x="1204" y="541"/>
                  </a:lnTo>
                  <a:lnTo>
                    <a:pt x="1204" y="541"/>
                  </a:lnTo>
                  <a:lnTo>
                    <a:pt x="1202" y="541"/>
                  </a:lnTo>
                  <a:lnTo>
                    <a:pt x="1202" y="541"/>
                  </a:lnTo>
                  <a:lnTo>
                    <a:pt x="1200" y="543"/>
                  </a:lnTo>
                  <a:lnTo>
                    <a:pt x="1202" y="541"/>
                  </a:lnTo>
                  <a:lnTo>
                    <a:pt x="1202" y="543"/>
                  </a:lnTo>
                  <a:lnTo>
                    <a:pt x="1202" y="543"/>
                  </a:lnTo>
                  <a:lnTo>
                    <a:pt x="1202" y="543"/>
                  </a:lnTo>
                  <a:lnTo>
                    <a:pt x="1202" y="543"/>
                  </a:lnTo>
                  <a:lnTo>
                    <a:pt x="1202" y="543"/>
                  </a:lnTo>
                  <a:lnTo>
                    <a:pt x="1200" y="543"/>
                  </a:lnTo>
                  <a:lnTo>
                    <a:pt x="1200" y="543"/>
                  </a:lnTo>
                  <a:lnTo>
                    <a:pt x="1200" y="543"/>
                  </a:lnTo>
                  <a:lnTo>
                    <a:pt x="1200" y="543"/>
                  </a:lnTo>
                  <a:lnTo>
                    <a:pt x="1198" y="543"/>
                  </a:lnTo>
                  <a:lnTo>
                    <a:pt x="1198" y="545"/>
                  </a:lnTo>
                  <a:lnTo>
                    <a:pt x="1198" y="543"/>
                  </a:lnTo>
                  <a:lnTo>
                    <a:pt x="1198" y="543"/>
                  </a:lnTo>
                  <a:lnTo>
                    <a:pt x="1198" y="543"/>
                  </a:lnTo>
                  <a:lnTo>
                    <a:pt x="1198" y="543"/>
                  </a:lnTo>
                  <a:lnTo>
                    <a:pt x="1198" y="545"/>
                  </a:lnTo>
                  <a:lnTo>
                    <a:pt x="1198" y="545"/>
                  </a:lnTo>
                  <a:lnTo>
                    <a:pt x="1198" y="545"/>
                  </a:lnTo>
                  <a:lnTo>
                    <a:pt x="1198" y="545"/>
                  </a:lnTo>
                  <a:lnTo>
                    <a:pt x="1198" y="545"/>
                  </a:lnTo>
                  <a:lnTo>
                    <a:pt x="1198" y="547"/>
                  </a:lnTo>
                  <a:lnTo>
                    <a:pt x="1200" y="545"/>
                  </a:lnTo>
                  <a:lnTo>
                    <a:pt x="1202" y="545"/>
                  </a:lnTo>
                  <a:lnTo>
                    <a:pt x="1202" y="547"/>
                  </a:lnTo>
                  <a:lnTo>
                    <a:pt x="1202" y="547"/>
                  </a:lnTo>
                  <a:lnTo>
                    <a:pt x="1204" y="545"/>
                  </a:lnTo>
                  <a:lnTo>
                    <a:pt x="1204" y="545"/>
                  </a:lnTo>
                  <a:lnTo>
                    <a:pt x="1204" y="545"/>
                  </a:lnTo>
                  <a:lnTo>
                    <a:pt x="1204" y="545"/>
                  </a:lnTo>
                  <a:lnTo>
                    <a:pt x="1206" y="543"/>
                  </a:lnTo>
                  <a:lnTo>
                    <a:pt x="1206" y="541"/>
                  </a:lnTo>
                  <a:lnTo>
                    <a:pt x="1208" y="541"/>
                  </a:lnTo>
                  <a:lnTo>
                    <a:pt x="1206" y="541"/>
                  </a:lnTo>
                  <a:lnTo>
                    <a:pt x="1206" y="541"/>
                  </a:lnTo>
                  <a:lnTo>
                    <a:pt x="1206" y="543"/>
                  </a:lnTo>
                  <a:lnTo>
                    <a:pt x="1206" y="543"/>
                  </a:lnTo>
                  <a:lnTo>
                    <a:pt x="1206" y="543"/>
                  </a:lnTo>
                  <a:lnTo>
                    <a:pt x="1208" y="543"/>
                  </a:lnTo>
                  <a:lnTo>
                    <a:pt x="1208" y="543"/>
                  </a:lnTo>
                  <a:lnTo>
                    <a:pt x="1208" y="543"/>
                  </a:lnTo>
                  <a:lnTo>
                    <a:pt x="1208" y="543"/>
                  </a:lnTo>
                  <a:lnTo>
                    <a:pt x="1208" y="543"/>
                  </a:lnTo>
                  <a:lnTo>
                    <a:pt x="1208" y="541"/>
                  </a:lnTo>
                  <a:lnTo>
                    <a:pt x="1210" y="541"/>
                  </a:lnTo>
                  <a:lnTo>
                    <a:pt x="1210" y="541"/>
                  </a:lnTo>
                  <a:lnTo>
                    <a:pt x="1210" y="541"/>
                  </a:lnTo>
                  <a:lnTo>
                    <a:pt x="1210" y="543"/>
                  </a:lnTo>
                  <a:lnTo>
                    <a:pt x="1210" y="543"/>
                  </a:lnTo>
                  <a:lnTo>
                    <a:pt x="1210" y="543"/>
                  </a:lnTo>
                  <a:lnTo>
                    <a:pt x="1212" y="541"/>
                  </a:lnTo>
                  <a:lnTo>
                    <a:pt x="1212" y="541"/>
                  </a:lnTo>
                  <a:lnTo>
                    <a:pt x="1212" y="539"/>
                  </a:lnTo>
                  <a:lnTo>
                    <a:pt x="1212" y="539"/>
                  </a:lnTo>
                  <a:lnTo>
                    <a:pt x="1212" y="539"/>
                  </a:lnTo>
                  <a:lnTo>
                    <a:pt x="1212" y="539"/>
                  </a:lnTo>
                  <a:lnTo>
                    <a:pt x="1212" y="539"/>
                  </a:lnTo>
                  <a:lnTo>
                    <a:pt x="1215" y="539"/>
                  </a:lnTo>
                  <a:lnTo>
                    <a:pt x="1215" y="539"/>
                  </a:lnTo>
                  <a:lnTo>
                    <a:pt x="1215" y="541"/>
                  </a:lnTo>
                  <a:lnTo>
                    <a:pt x="1215" y="541"/>
                  </a:lnTo>
                  <a:lnTo>
                    <a:pt x="1215" y="541"/>
                  </a:lnTo>
                  <a:lnTo>
                    <a:pt x="1215" y="541"/>
                  </a:lnTo>
                  <a:lnTo>
                    <a:pt x="1212" y="541"/>
                  </a:lnTo>
                  <a:lnTo>
                    <a:pt x="1212" y="541"/>
                  </a:lnTo>
                  <a:lnTo>
                    <a:pt x="1212" y="543"/>
                  </a:lnTo>
                  <a:lnTo>
                    <a:pt x="1212" y="543"/>
                  </a:lnTo>
                  <a:lnTo>
                    <a:pt x="1212" y="543"/>
                  </a:lnTo>
                  <a:lnTo>
                    <a:pt x="1212" y="543"/>
                  </a:lnTo>
                  <a:lnTo>
                    <a:pt x="1210" y="547"/>
                  </a:lnTo>
                  <a:lnTo>
                    <a:pt x="1208" y="547"/>
                  </a:lnTo>
                  <a:lnTo>
                    <a:pt x="1208" y="547"/>
                  </a:lnTo>
                  <a:lnTo>
                    <a:pt x="1208" y="547"/>
                  </a:lnTo>
                  <a:lnTo>
                    <a:pt x="1208" y="547"/>
                  </a:lnTo>
                  <a:lnTo>
                    <a:pt x="1208" y="547"/>
                  </a:lnTo>
                  <a:lnTo>
                    <a:pt x="1208" y="547"/>
                  </a:lnTo>
                  <a:lnTo>
                    <a:pt x="1208" y="547"/>
                  </a:lnTo>
                  <a:lnTo>
                    <a:pt x="1208" y="547"/>
                  </a:lnTo>
                  <a:lnTo>
                    <a:pt x="1210" y="549"/>
                  </a:lnTo>
                  <a:lnTo>
                    <a:pt x="1210" y="547"/>
                  </a:lnTo>
                  <a:lnTo>
                    <a:pt x="1215" y="545"/>
                  </a:lnTo>
                  <a:lnTo>
                    <a:pt x="1215" y="545"/>
                  </a:lnTo>
                  <a:lnTo>
                    <a:pt x="1215" y="545"/>
                  </a:lnTo>
                  <a:lnTo>
                    <a:pt x="1217" y="545"/>
                  </a:lnTo>
                  <a:lnTo>
                    <a:pt x="1217" y="543"/>
                  </a:lnTo>
                  <a:lnTo>
                    <a:pt x="1217" y="543"/>
                  </a:lnTo>
                  <a:lnTo>
                    <a:pt x="1217" y="545"/>
                  </a:lnTo>
                  <a:lnTo>
                    <a:pt x="1217" y="545"/>
                  </a:lnTo>
                  <a:lnTo>
                    <a:pt x="1217" y="545"/>
                  </a:lnTo>
                  <a:lnTo>
                    <a:pt x="1217" y="547"/>
                  </a:lnTo>
                  <a:lnTo>
                    <a:pt x="1215" y="547"/>
                  </a:lnTo>
                  <a:lnTo>
                    <a:pt x="1215" y="547"/>
                  </a:lnTo>
                  <a:lnTo>
                    <a:pt x="1217" y="547"/>
                  </a:lnTo>
                  <a:lnTo>
                    <a:pt x="1217" y="547"/>
                  </a:lnTo>
                  <a:lnTo>
                    <a:pt x="1219" y="545"/>
                  </a:lnTo>
                  <a:lnTo>
                    <a:pt x="1219" y="545"/>
                  </a:lnTo>
                  <a:lnTo>
                    <a:pt x="1219" y="543"/>
                  </a:lnTo>
                  <a:lnTo>
                    <a:pt x="1219" y="543"/>
                  </a:lnTo>
                  <a:lnTo>
                    <a:pt x="1219" y="545"/>
                  </a:lnTo>
                  <a:lnTo>
                    <a:pt x="1219" y="545"/>
                  </a:lnTo>
                  <a:lnTo>
                    <a:pt x="1219" y="545"/>
                  </a:lnTo>
                  <a:lnTo>
                    <a:pt x="1219" y="545"/>
                  </a:lnTo>
                  <a:lnTo>
                    <a:pt x="1221" y="545"/>
                  </a:lnTo>
                  <a:lnTo>
                    <a:pt x="1221" y="545"/>
                  </a:lnTo>
                  <a:lnTo>
                    <a:pt x="1221" y="547"/>
                  </a:lnTo>
                  <a:lnTo>
                    <a:pt x="1219" y="547"/>
                  </a:lnTo>
                  <a:lnTo>
                    <a:pt x="1219" y="547"/>
                  </a:lnTo>
                  <a:lnTo>
                    <a:pt x="1219" y="547"/>
                  </a:lnTo>
                  <a:lnTo>
                    <a:pt x="1223" y="545"/>
                  </a:lnTo>
                  <a:lnTo>
                    <a:pt x="1225" y="545"/>
                  </a:lnTo>
                  <a:lnTo>
                    <a:pt x="1225" y="545"/>
                  </a:lnTo>
                  <a:lnTo>
                    <a:pt x="1225" y="545"/>
                  </a:lnTo>
                  <a:lnTo>
                    <a:pt x="1225" y="545"/>
                  </a:lnTo>
                  <a:lnTo>
                    <a:pt x="1225" y="545"/>
                  </a:lnTo>
                  <a:lnTo>
                    <a:pt x="1225" y="547"/>
                  </a:lnTo>
                  <a:lnTo>
                    <a:pt x="1225" y="547"/>
                  </a:lnTo>
                  <a:lnTo>
                    <a:pt x="1223" y="547"/>
                  </a:lnTo>
                  <a:lnTo>
                    <a:pt x="1223" y="551"/>
                  </a:lnTo>
                  <a:lnTo>
                    <a:pt x="1221" y="553"/>
                  </a:lnTo>
                  <a:lnTo>
                    <a:pt x="1221" y="555"/>
                  </a:lnTo>
                  <a:lnTo>
                    <a:pt x="1219" y="555"/>
                  </a:lnTo>
                  <a:lnTo>
                    <a:pt x="1219" y="555"/>
                  </a:lnTo>
                  <a:lnTo>
                    <a:pt x="1219" y="555"/>
                  </a:lnTo>
                  <a:lnTo>
                    <a:pt x="1221" y="555"/>
                  </a:lnTo>
                  <a:lnTo>
                    <a:pt x="1223" y="555"/>
                  </a:lnTo>
                  <a:lnTo>
                    <a:pt x="1225" y="555"/>
                  </a:lnTo>
                  <a:lnTo>
                    <a:pt x="1227" y="555"/>
                  </a:lnTo>
                  <a:lnTo>
                    <a:pt x="1227" y="555"/>
                  </a:lnTo>
                  <a:lnTo>
                    <a:pt x="1229" y="555"/>
                  </a:lnTo>
                  <a:lnTo>
                    <a:pt x="1229" y="555"/>
                  </a:lnTo>
                  <a:lnTo>
                    <a:pt x="1229" y="557"/>
                  </a:lnTo>
                  <a:lnTo>
                    <a:pt x="1229" y="557"/>
                  </a:lnTo>
                  <a:lnTo>
                    <a:pt x="1231" y="557"/>
                  </a:lnTo>
                  <a:lnTo>
                    <a:pt x="1231" y="557"/>
                  </a:lnTo>
                  <a:lnTo>
                    <a:pt x="1231" y="559"/>
                  </a:lnTo>
                  <a:lnTo>
                    <a:pt x="1231" y="559"/>
                  </a:lnTo>
                  <a:lnTo>
                    <a:pt x="1233" y="559"/>
                  </a:lnTo>
                  <a:lnTo>
                    <a:pt x="1233" y="559"/>
                  </a:lnTo>
                  <a:lnTo>
                    <a:pt x="1233" y="559"/>
                  </a:lnTo>
                  <a:lnTo>
                    <a:pt x="1235" y="559"/>
                  </a:lnTo>
                  <a:lnTo>
                    <a:pt x="1235" y="559"/>
                  </a:lnTo>
                  <a:lnTo>
                    <a:pt x="1237" y="559"/>
                  </a:lnTo>
                  <a:lnTo>
                    <a:pt x="1239" y="555"/>
                  </a:lnTo>
                  <a:lnTo>
                    <a:pt x="1239" y="555"/>
                  </a:lnTo>
                  <a:lnTo>
                    <a:pt x="1239" y="555"/>
                  </a:lnTo>
                  <a:lnTo>
                    <a:pt x="1239" y="553"/>
                  </a:lnTo>
                  <a:lnTo>
                    <a:pt x="1241" y="551"/>
                  </a:lnTo>
                  <a:lnTo>
                    <a:pt x="1241" y="549"/>
                  </a:lnTo>
                  <a:lnTo>
                    <a:pt x="1241" y="549"/>
                  </a:lnTo>
                  <a:lnTo>
                    <a:pt x="1241" y="549"/>
                  </a:lnTo>
                  <a:lnTo>
                    <a:pt x="1243" y="547"/>
                  </a:lnTo>
                  <a:lnTo>
                    <a:pt x="1243" y="547"/>
                  </a:lnTo>
                  <a:lnTo>
                    <a:pt x="1243" y="547"/>
                  </a:lnTo>
                  <a:lnTo>
                    <a:pt x="1243" y="545"/>
                  </a:lnTo>
                  <a:lnTo>
                    <a:pt x="1245" y="545"/>
                  </a:lnTo>
                  <a:lnTo>
                    <a:pt x="1245" y="543"/>
                  </a:lnTo>
                  <a:lnTo>
                    <a:pt x="1245" y="543"/>
                  </a:lnTo>
                  <a:lnTo>
                    <a:pt x="1245" y="541"/>
                  </a:lnTo>
                  <a:lnTo>
                    <a:pt x="1247" y="541"/>
                  </a:lnTo>
                  <a:lnTo>
                    <a:pt x="1247" y="541"/>
                  </a:lnTo>
                  <a:lnTo>
                    <a:pt x="1247" y="539"/>
                  </a:lnTo>
                  <a:lnTo>
                    <a:pt x="1249" y="539"/>
                  </a:lnTo>
                  <a:lnTo>
                    <a:pt x="1249" y="539"/>
                  </a:lnTo>
                  <a:lnTo>
                    <a:pt x="1249" y="539"/>
                  </a:lnTo>
                  <a:lnTo>
                    <a:pt x="1249" y="539"/>
                  </a:lnTo>
                  <a:lnTo>
                    <a:pt x="1249" y="541"/>
                  </a:lnTo>
                  <a:lnTo>
                    <a:pt x="1249" y="541"/>
                  </a:lnTo>
                  <a:lnTo>
                    <a:pt x="1249" y="541"/>
                  </a:lnTo>
                  <a:lnTo>
                    <a:pt x="1249" y="541"/>
                  </a:lnTo>
                  <a:lnTo>
                    <a:pt x="1249" y="541"/>
                  </a:lnTo>
                  <a:lnTo>
                    <a:pt x="1247" y="541"/>
                  </a:lnTo>
                  <a:lnTo>
                    <a:pt x="1247" y="541"/>
                  </a:lnTo>
                  <a:lnTo>
                    <a:pt x="1247" y="541"/>
                  </a:lnTo>
                  <a:lnTo>
                    <a:pt x="1247" y="543"/>
                  </a:lnTo>
                  <a:lnTo>
                    <a:pt x="1247" y="543"/>
                  </a:lnTo>
                  <a:lnTo>
                    <a:pt x="1247" y="543"/>
                  </a:lnTo>
                  <a:lnTo>
                    <a:pt x="1247" y="543"/>
                  </a:lnTo>
                  <a:lnTo>
                    <a:pt x="1247" y="543"/>
                  </a:lnTo>
                  <a:lnTo>
                    <a:pt x="1245" y="545"/>
                  </a:lnTo>
                  <a:lnTo>
                    <a:pt x="1245" y="545"/>
                  </a:lnTo>
                  <a:lnTo>
                    <a:pt x="1245" y="545"/>
                  </a:lnTo>
                  <a:lnTo>
                    <a:pt x="1245" y="547"/>
                  </a:lnTo>
                  <a:lnTo>
                    <a:pt x="1245" y="547"/>
                  </a:lnTo>
                  <a:lnTo>
                    <a:pt x="1245" y="547"/>
                  </a:lnTo>
                  <a:lnTo>
                    <a:pt x="1245" y="549"/>
                  </a:lnTo>
                  <a:lnTo>
                    <a:pt x="1245" y="549"/>
                  </a:lnTo>
                  <a:lnTo>
                    <a:pt x="1245" y="549"/>
                  </a:lnTo>
                  <a:lnTo>
                    <a:pt x="1245" y="549"/>
                  </a:lnTo>
                  <a:lnTo>
                    <a:pt x="1245" y="549"/>
                  </a:lnTo>
                  <a:lnTo>
                    <a:pt x="1245" y="549"/>
                  </a:lnTo>
                  <a:lnTo>
                    <a:pt x="1245" y="549"/>
                  </a:lnTo>
                  <a:lnTo>
                    <a:pt x="1245" y="551"/>
                  </a:lnTo>
                  <a:lnTo>
                    <a:pt x="1245" y="551"/>
                  </a:lnTo>
                  <a:lnTo>
                    <a:pt x="1245" y="551"/>
                  </a:lnTo>
                  <a:lnTo>
                    <a:pt x="1245" y="551"/>
                  </a:lnTo>
                  <a:lnTo>
                    <a:pt x="1245" y="553"/>
                  </a:lnTo>
                  <a:lnTo>
                    <a:pt x="1245" y="553"/>
                  </a:lnTo>
                  <a:lnTo>
                    <a:pt x="1245" y="551"/>
                  </a:lnTo>
                  <a:lnTo>
                    <a:pt x="1247" y="551"/>
                  </a:lnTo>
                  <a:lnTo>
                    <a:pt x="1247" y="551"/>
                  </a:lnTo>
                  <a:lnTo>
                    <a:pt x="1247" y="551"/>
                  </a:lnTo>
                  <a:lnTo>
                    <a:pt x="1247" y="553"/>
                  </a:lnTo>
                  <a:lnTo>
                    <a:pt x="1245" y="553"/>
                  </a:lnTo>
                  <a:lnTo>
                    <a:pt x="1245" y="555"/>
                  </a:lnTo>
                  <a:lnTo>
                    <a:pt x="1247" y="555"/>
                  </a:lnTo>
                  <a:lnTo>
                    <a:pt x="1247" y="555"/>
                  </a:lnTo>
                  <a:lnTo>
                    <a:pt x="1245" y="555"/>
                  </a:lnTo>
                  <a:lnTo>
                    <a:pt x="1245" y="555"/>
                  </a:lnTo>
                  <a:lnTo>
                    <a:pt x="1245" y="555"/>
                  </a:lnTo>
                  <a:lnTo>
                    <a:pt x="1245" y="557"/>
                  </a:lnTo>
                  <a:lnTo>
                    <a:pt x="1245" y="557"/>
                  </a:lnTo>
                  <a:lnTo>
                    <a:pt x="1245" y="557"/>
                  </a:lnTo>
                  <a:lnTo>
                    <a:pt x="1245" y="557"/>
                  </a:lnTo>
                  <a:lnTo>
                    <a:pt x="1245" y="557"/>
                  </a:lnTo>
                  <a:lnTo>
                    <a:pt x="1245" y="557"/>
                  </a:lnTo>
                  <a:lnTo>
                    <a:pt x="1245" y="559"/>
                  </a:lnTo>
                  <a:lnTo>
                    <a:pt x="1245" y="559"/>
                  </a:lnTo>
                  <a:lnTo>
                    <a:pt x="1245" y="559"/>
                  </a:lnTo>
                  <a:lnTo>
                    <a:pt x="1245" y="562"/>
                  </a:lnTo>
                  <a:lnTo>
                    <a:pt x="1245" y="562"/>
                  </a:lnTo>
                  <a:lnTo>
                    <a:pt x="1245" y="562"/>
                  </a:lnTo>
                  <a:lnTo>
                    <a:pt x="1245" y="562"/>
                  </a:lnTo>
                  <a:lnTo>
                    <a:pt x="1245" y="562"/>
                  </a:lnTo>
                  <a:lnTo>
                    <a:pt x="1245" y="562"/>
                  </a:lnTo>
                  <a:lnTo>
                    <a:pt x="1247" y="562"/>
                  </a:lnTo>
                  <a:lnTo>
                    <a:pt x="1247" y="562"/>
                  </a:lnTo>
                  <a:lnTo>
                    <a:pt x="1247" y="562"/>
                  </a:lnTo>
                  <a:lnTo>
                    <a:pt x="1247" y="562"/>
                  </a:lnTo>
                  <a:lnTo>
                    <a:pt x="1247" y="562"/>
                  </a:lnTo>
                  <a:lnTo>
                    <a:pt x="1247" y="562"/>
                  </a:lnTo>
                  <a:lnTo>
                    <a:pt x="1247" y="562"/>
                  </a:lnTo>
                  <a:lnTo>
                    <a:pt x="1247" y="562"/>
                  </a:lnTo>
                  <a:lnTo>
                    <a:pt x="1249" y="562"/>
                  </a:lnTo>
                  <a:lnTo>
                    <a:pt x="1249" y="562"/>
                  </a:lnTo>
                  <a:lnTo>
                    <a:pt x="1249" y="562"/>
                  </a:lnTo>
                  <a:lnTo>
                    <a:pt x="1249" y="562"/>
                  </a:lnTo>
                  <a:lnTo>
                    <a:pt x="1249" y="562"/>
                  </a:lnTo>
                  <a:lnTo>
                    <a:pt x="1251" y="562"/>
                  </a:lnTo>
                  <a:lnTo>
                    <a:pt x="1251" y="564"/>
                  </a:lnTo>
                  <a:lnTo>
                    <a:pt x="1253" y="564"/>
                  </a:lnTo>
                  <a:lnTo>
                    <a:pt x="1253" y="566"/>
                  </a:lnTo>
                  <a:lnTo>
                    <a:pt x="1253" y="564"/>
                  </a:lnTo>
                  <a:lnTo>
                    <a:pt x="1251" y="564"/>
                  </a:lnTo>
                  <a:lnTo>
                    <a:pt x="1251" y="564"/>
                  </a:lnTo>
                  <a:lnTo>
                    <a:pt x="1251" y="564"/>
                  </a:lnTo>
                  <a:lnTo>
                    <a:pt x="1251" y="566"/>
                  </a:lnTo>
                  <a:lnTo>
                    <a:pt x="1253" y="566"/>
                  </a:lnTo>
                  <a:lnTo>
                    <a:pt x="1256" y="566"/>
                  </a:lnTo>
                  <a:lnTo>
                    <a:pt x="1256" y="566"/>
                  </a:lnTo>
                  <a:lnTo>
                    <a:pt x="1256" y="566"/>
                  </a:lnTo>
                  <a:lnTo>
                    <a:pt x="1258" y="564"/>
                  </a:lnTo>
                  <a:lnTo>
                    <a:pt x="1258" y="566"/>
                  </a:lnTo>
                  <a:lnTo>
                    <a:pt x="1258" y="566"/>
                  </a:lnTo>
                  <a:lnTo>
                    <a:pt x="1258" y="566"/>
                  </a:lnTo>
                  <a:lnTo>
                    <a:pt x="1258" y="566"/>
                  </a:lnTo>
                  <a:lnTo>
                    <a:pt x="1258" y="566"/>
                  </a:lnTo>
                  <a:lnTo>
                    <a:pt x="1260" y="566"/>
                  </a:lnTo>
                  <a:lnTo>
                    <a:pt x="1260" y="566"/>
                  </a:lnTo>
                  <a:lnTo>
                    <a:pt x="1260" y="564"/>
                  </a:lnTo>
                  <a:lnTo>
                    <a:pt x="1264" y="566"/>
                  </a:lnTo>
                  <a:lnTo>
                    <a:pt x="1264" y="564"/>
                  </a:lnTo>
                  <a:lnTo>
                    <a:pt x="1264" y="564"/>
                  </a:lnTo>
                  <a:lnTo>
                    <a:pt x="1264" y="564"/>
                  </a:lnTo>
                  <a:lnTo>
                    <a:pt x="1264" y="564"/>
                  </a:lnTo>
                  <a:lnTo>
                    <a:pt x="1264" y="564"/>
                  </a:lnTo>
                  <a:lnTo>
                    <a:pt x="1264" y="566"/>
                  </a:lnTo>
                  <a:lnTo>
                    <a:pt x="1264" y="566"/>
                  </a:lnTo>
                  <a:lnTo>
                    <a:pt x="1264" y="566"/>
                  </a:lnTo>
                  <a:lnTo>
                    <a:pt x="1264" y="566"/>
                  </a:lnTo>
                  <a:lnTo>
                    <a:pt x="1264" y="566"/>
                  </a:lnTo>
                  <a:lnTo>
                    <a:pt x="1264" y="568"/>
                  </a:lnTo>
                  <a:lnTo>
                    <a:pt x="1264" y="568"/>
                  </a:lnTo>
                  <a:lnTo>
                    <a:pt x="1264" y="568"/>
                  </a:lnTo>
                  <a:lnTo>
                    <a:pt x="1270" y="570"/>
                  </a:lnTo>
                  <a:lnTo>
                    <a:pt x="1270" y="570"/>
                  </a:lnTo>
                  <a:lnTo>
                    <a:pt x="1270" y="572"/>
                  </a:lnTo>
                  <a:lnTo>
                    <a:pt x="1270" y="572"/>
                  </a:lnTo>
                  <a:lnTo>
                    <a:pt x="1268" y="572"/>
                  </a:lnTo>
                  <a:lnTo>
                    <a:pt x="1264" y="574"/>
                  </a:lnTo>
                  <a:lnTo>
                    <a:pt x="1268" y="572"/>
                  </a:lnTo>
                  <a:lnTo>
                    <a:pt x="1270" y="572"/>
                  </a:lnTo>
                  <a:lnTo>
                    <a:pt x="1274" y="574"/>
                  </a:lnTo>
                  <a:lnTo>
                    <a:pt x="1274" y="574"/>
                  </a:lnTo>
                  <a:lnTo>
                    <a:pt x="1278" y="572"/>
                  </a:lnTo>
                  <a:lnTo>
                    <a:pt x="1280" y="570"/>
                  </a:lnTo>
                  <a:lnTo>
                    <a:pt x="1284" y="568"/>
                  </a:lnTo>
                  <a:lnTo>
                    <a:pt x="1290" y="568"/>
                  </a:lnTo>
                  <a:lnTo>
                    <a:pt x="1296" y="564"/>
                  </a:lnTo>
                  <a:lnTo>
                    <a:pt x="1301" y="564"/>
                  </a:lnTo>
                  <a:lnTo>
                    <a:pt x="1305" y="564"/>
                  </a:lnTo>
                  <a:lnTo>
                    <a:pt x="1309" y="564"/>
                  </a:lnTo>
                  <a:lnTo>
                    <a:pt x="1313" y="564"/>
                  </a:lnTo>
                  <a:lnTo>
                    <a:pt x="1317" y="564"/>
                  </a:lnTo>
                  <a:lnTo>
                    <a:pt x="1319" y="564"/>
                  </a:lnTo>
                  <a:lnTo>
                    <a:pt x="1323" y="564"/>
                  </a:lnTo>
                  <a:lnTo>
                    <a:pt x="1325" y="564"/>
                  </a:lnTo>
                  <a:lnTo>
                    <a:pt x="1329" y="566"/>
                  </a:lnTo>
                  <a:lnTo>
                    <a:pt x="1331" y="566"/>
                  </a:lnTo>
                  <a:lnTo>
                    <a:pt x="1331" y="566"/>
                  </a:lnTo>
                  <a:lnTo>
                    <a:pt x="1335" y="562"/>
                  </a:lnTo>
                  <a:lnTo>
                    <a:pt x="1337" y="562"/>
                  </a:lnTo>
                  <a:lnTo>
                    <a:pt x="1337" y="562"/>
                  </a:lnTo>
                  <a:lnTo>
                    <a:pt x="1337" y="559"/>
                  </a:lnTo>
                  <a:lnTo>
                    <a:pt x="1337" y="559"/>
                  </a:lnTo>
                  <a:lnTo>
                    <a:pt x="1335" y="559"/>
                  </a:lnTo>
                  <a:lnTo>
                    <a:pt x="1335" y="559"/>
                  </a:lnTo>
                  <a:lnTo>
                    <a:pt x="1335" y="559"/>
                  </a:lnTo>
                  <a:lnTo>
                    <a:pt x="1335" y="557"/>
                  </a:lnTo>
                  <a:lnTo>
                    <a:pt x="1333" y="557"/>
                  </a:lnTo>
                  <a:lnTo>
                    <a:pt x="1333" y="555"/>
                  </a:lnTo>
                  <a:lnTo>
                    <a:pt x="1335" y="555"/>
                  </a:lnTo>
                  <a:lnTo>
                    <a:pt x="1337" y="555"/>
                  </a:lnTo>
                  <a:lnTo>
                    <a:pt x="1337" y="555"/>
                  </a:lnTo>
                  <a:lnTo>
                    <a:pt x="1337" y="557"/>
                  </a:lnTo>
                  <a:lnTo>
                    <a:pt x="1339" y="557"/>
                  </a:lnTo>
                  <a:lnTo>
                    <a:pt x="1339" y="557"/>
                  </a:lnTo>
                  <a:lnTo>
                    <a:pt x="1339" y="557"/>
                  </a:lnTo>
                  <a:lnTo>
                    <a:pt x="1339" y="557"/>
                  </a:lnTo>
                  <a:lnTo>
                    <a:pt x="1339" y="559"/>
                  </a:lnTo>
                  <a:lnTo>
                    <a:pt x="1339" y="559"/>
                  </a:lnTo>
                  <a:lnTo>
                    <a:pt x="1339" y="559"/>
                  </a:lnTo>
                  <a:lnTo>
                    <a:pt x="1342" y="562"/>
                  </a:lnTo>
                  <a:lnTo>
                    <a:pt x="1342" y="562"/>
                  </a:lnTo>
                  <a:lnTo>
                    <a:pt x="1342" y="564"/>
                  </a:lnTo>
                  <a:lnTo>
                    <a:pt x="1342" y="564"/>
                  </a:lnTo>
                  <a:lnTo>
                    <a:pt x="1342" y="564"/>
                  </a:lnTo>
                  <a:lnTo>
                    <a:pt x="1342" y="566"/>
                  </a:lnTo>
                  <a:lnTo>
                    <a:pt x="1339" y="566"/>
                  </a:lnTo>
                  <a:lnTo>
                    <a:pt x="1339" y="566"/>
                  </a:lnTo>
                  <a:lnTo>
                    <a:pt x="1339" y="566"/>
                  </a:lnTo>
                  <a:lnTo>
                    <a:pt x="1339" y="566"/>
                  </a:lnTo>
                  <a:lnTo>
                    <a:pt x="1337" y="568"/>
                  </a:lnTo>
                  <a:lnTo>
                    <a:pt x="1337" y="568"/>
                  </a:lnTo>
                  <a:lnTo>
                    <a:pt x="1337" y="568"/>
                  </a:lnTo>
                  <a:lnTo>
                    <a:pt x="1337" y="568"/>
                  </a:lnTo>
                  <a:lnTo>
                    <a:pt x="1337" y="566"/>
                  </a:lnTo>
                  <a:lnTo>
                    <a:pt x="1337" y="566"/>
                  </a:lnTo>
                  <a:lnTo>
                    <a:pt x="1337" y="566"/>
                  </a:lnTo>
                  <a:lnTo>
                    <a:pt x="1337" y="568"/>
                  </a:lnTo>
                  <a:lnTo>
                    <a:pt x="1337" y="568"/>
                  </a:lnTo>
                  <a:lnTo>
                    <a:pt x="1337" y="568"/>
                  </a:lnTo>
                  <a:lnTo>
                    <a:pt x="1337" y="570"/>
                  </a:lnTo>
                  <a:lnTo>
                    <a:pt x="1339" y="570"/>
                  </a:lnTo>
                  <a:lnTo>
                    <a:pt x="1342" y="570"/>
                  </a:lnTo>
                  <a:lnTo>
                    <a:pt x="1346" y="570"/>
                  </a:lnTo>
                  <a:lnTo>
                    <a:pt x="1350" y="572"/>
                  </a:lnTo>
                  <a:lnTo>
                    <a:pt x="1354" y="572"/>
                  </a:lnTo>
                  <a:lnTo>
                    <a:pt x="1356" y="574"/>
                  </a:lnTo>
                  <a:lnTo>
                    <a:pt x="1358" y="574"/>
                  </a:lnTo>
                  <a:lnTo>
                    <a:pt x="1360" y="574"/>
                  </a:lnTo>
                  <a:lnTo>
                    <a:pt x="1364" y="572"/>
                  </a:lnTo>
                  <a:lnTo>
                    <a:pt x="1368" y="572"/>
                  </a:lnTo>
                  <a:lnTo>
                    <a:pt x="1370" y="572"/>
                  </a:lnTo>
                  <a:lnTo>
                    <a:pt x="1372" y="570"/>
                  </a:lnTo>
                  <a:lnTo>
                    <a:pt x="1374" y="568"/>
                  </a:lnTo>
                  <a:lnTo>
                    <a:pt x="1376" y="566"/>
                  </a:lnTo>
                  <a:lnTo>
                    <a:pt x="1378" y="564"/>
                  </a:lnTo>
                  <a:lnTo>
                    <a:pt x="1380" y="562"/>
                  </a:lnTo>
                  <a:lnTo>
                    <a:pt x="1380" y="559"/>
                  </a:lnTo>
                  <a:lnTo>
                    <a:pt x="1380" y="557"/>
                  </a:lnTo>
                  <a:lnTo>
                    <a:pt x="1382" y="555"/>
                  </a:lnTo>
                  <a:lnTo>
                    <a:pt x="1382" y="555"/>
                  </a:lnTo>
                  <a:lnTo>
                    <a:pt x="1385" y="555"/>
                  </a:lnTo>
                  <a:lnTo>
                    <a:pt x="1385" y="555"/>
                  </a:lnTo>
                  <a:lnTo>
                    <a:pt x="1385" y="555"/>
                  </a:lnTo>
                  <a:lnTo>
                    <a:pt x="1382" y="553"/>
                  </a:lnTo>
                  <a:lnTo>
                    <a:pt x="1385" y="551"/>
                  </a:lnTo>
                  <a:lnTo>
                    <a:pt x="1385" y="551"/>
                  </a:lnTo>
                  <a:lnTo>
                    <a:pt x="1385" y="549"/>
                  </a:lnTo>
                  <a:lnTo>
                    <a:pt x="1385" y="549"/>
                  </a:lnTo>
                  <a:lnTo>
                    <a:pt x="1385" y="549"/>
                  </a:lnTo>
                  <a:lnTo>
                    <a:pt x="1387" y="551"/>
                  </a:lnTo>
                  <a:lnTo>
                    <a:pt x="1387" y="551"/>
                  </a:lnTo>
                  <a:lnTo>
                    <a:pt x="1389" y="551"/>
                  </a:lnTo>
                  <a:lnTo>
                    <a:pt x="1389" y="551"/>
                  </a:lnTo>
                  <a:lnTo>
                    <a:pt x="1389" y="553"/>
                  </a:lnTo>
                  <a:lnTo>
                    <a:pt x="1389" y="553"/>
                  </a:lnTo>
                  <a:lnTo>
                    <a:pt x="1391" y="553"/>
                  </a:lnTo>
                  <a:lnTo>
                    <a:pt x="1391" y="553"/>
                  </a:lnTo>
                  <a:lnTo>
                    <a:pt x="1393" y="557"/>
                  </a:lnTo>
                  <a:lnTo>
                    <a:pt x="1395" y="557"/>
                  </a:lnTo>
                  <a:lnTo>
                    <a:pt x="1399" y="557"/>
                  </a:lnTo>
                  <a:lnTo>
                    <a:pt x="1399" y="557"/>
                  </a:lnTo>
                  <a:lnTo>
                    <a:pt x="1401" y="557"/>
                  </a:lnTo>
                  <a:lnTo>
                    <a:pt x="1403" y="557"/>
                  </a:lnTo>
                  <a:lnTo>
                    <a:pt x="1403" y="557"/>
                  </a:lnTo>
                  <a:lnTo>
                    <a:pt x="1403" y="557"/>
                  </a:lnTo>
                  <a:lnTo>
                    <a:pt x="1403" y="559"/>
                  </a:lnTo>
                  <a:lnTo>
                    <a:pt x="1403" y="559"/>
                  </a:lnTo>
                  <a:lnTo>
                    <a:pt x="1401" y="557"/>
                  </a:lnTo>
                  <a:lnTo>
                    <a:pt x="1399" y="557"/>
                  </a:lnTo>
                  <a:lnTo>
                    <a:pt x="1399" y="557"/>
                  </a:lnTo>
                  <a:lnTo>
                    <a:pt x="1395" y="557"/>
                  </a:lnTo>
                  <a:lnTo>
                    <a:pt x="1393" y="559"/>
                  </a:lnTo>
                  <a:lnTo>
                    <a:pt x="1393" y="559"/>
                  </a:lnTo>
                  <a:lnTo>
                    <a:pt x="1393" y="559"/>
                  </a:lnTo>
                  <a:lnTo>
                    <a:pt x="1395" y="562"/>
                  </a:lnTo>
                  <a:lnTo>
                    <a:pt x="1395" y="562"/>
                  </a:lnTo>
                  <a:lnTo>
                    <a:pt x="1395" y="562"/>
                  </a:lnTo>
                  <a:lnTo>
                    <a:pt x="1393" y="564"/>
                  </a:lnTo>
                  <a:lnTo>
                    <a:pt x="1393" y="564"/>
                  </a:lnTo>
                  <a:lnTo>
                    <a:pt x="1395" y="564"/>
                  </a:lnTo>
                  <a:lnTo>
                    <a:pt x="1395" y="564"/>
                  </a:lnTo>
                  <a:lnTo>
                    <a:pt x="1395" y="564"/>
                  </a:lnTo>
                  <a:lnTo>
                    <a:pt x="1395" y="564"/>
                  </a:lnTo>
                  <a:lnTo>
                    <a:pt x="1395" y="566"/>
                  </a:lnTo>
                  <a:lnTo>
                    <a:pt x="1395" y="566"/>
                  </a:lnTo>
                  <a:lnTo>
                    <a:pt x="1395" y="568"/>
                  </a:lnTo>
                  <a:lnTo>
                    <a:pt x="1395" y="568"/>
                  </a:lnTo>
                  <a:lnTo>
                    <a:pt x="1397" y="570"/>
                  </a:lnTo>
                  <a:lnTo>
                    <a:pt x="1397" y="570"/>
                  </a:lnTo>
                  <a:lnTo>
                    <a:pt x="1397" y="572"/>
                  </a:lnTo>
                  <a:lnTo>
                    <a:pt x="1397" y="572"/>
                  </a:lnTo>
                  <a:lnTo>
                    <a:pt x="1397" y="572"/>
                  </a:lnTo>
                  <a:lnTo>
                    <a:pt x="1395" y="572"/>
                  </a:lnTo>
                  <a:lnTo>
                    <a:pt x="1395" y="572"/>
                  </a:lnTo>
                  <a:lnTo>
                    <a:pt x="1395" y="570"/>
                  </a:lnTo>
                  <a:lnTo>
                    <a:pt x="1395" y="570"/>
                  </a:lnTo>
                  <a:lnTo>
                    <a:pt x="1397" y="570"/>
                  </a:lnTo>
                  <a:lnTo>
                    <a:pt x="1395" y="570"/>
                  </a:lnTo>
                  <a:lnTo>
                    <a:pt x="1395" y="568"/>
                  </a:lnTo>
                  <a:lnTo>
                    <a:pt x="1395" y="566"/>
                  </a:lnTo>
                  <a:lnTo>
                    <a:pt x="1395" y="566"/>
                  </a:lnTo>
                  <a:lnTo>
                    <a:pt x="1393" y="566"/>
                  </a:lnTo>
                  <a:lnTo>
                    <a:pt x="1393" y="566"/>
                  </a:lnTo>
                  <a:lnTo>
                    <a:pt x="1393" y="566"/>
                  </a:lnTo>
                  <a:lnTo>
                    <a:pt x="1393" y="566"/>
                  </a:lnTo>
                  <a:lnTo>
                    <a:pt x="1393" y="564"/>
                  </a:lnTo>
                  <a:lnTo>
                    <a:pt x="1393" y="564"/>
                  </a:lnTo>
                  <a:lnTo>
                    <a:pt x="1393" y="562"/>
                  </a:lnTo>
                  <a:lnTo>
                    <a:pt x="1393" y="562"/>
                  </a:lnTo>
                  <a:lnTo>
                    <a:pt x="1393" y="559"/>
                  </a:lnTo>
                  <a:lnTo>
                    <a:pt x="1393" y="557"/>
                  </a:lnTo>
                  <a:lnTo>
                    <a:pt x="1391" y="555"/>
                  </a:lnTo>
                  <a:lnTo>
                    <a:pt x="1389" y="553"/>
                  </a:lnTo>
                  <a:lnTo>
                    <a:pt x="1387" y="553"/>
                  </a:lnTo>
                  <a:lnTo>
                    <a:pt x="1387" y="551"/>
                  </a:lnTo>
                  <a:lnTo>
                    <a:pt x="1387" y="553"/>
                  </a:lnTo>
                  <a:lnTo>
                    <a:pt x="1387" y="555"/>
                  </a:lnTo>
                  <a:lnTo>
                    <a:pt x="1385" y="555"/>
                  </a:lnTo>
                  <a:lnTo>
                    <a:pt x="1385" y="555"/>
                  </a:lnTo>
                  <a:lnTo>
                    <a:pt x="1385" y="555"/>
                  </a:lnTo>
                  <a:lnTo>
                    <a:pt x="1385" y="555"/>
                  </a:lnTo>
                  <a:lnTo>
                    <a:pt x="1385" y="557"/>
                  </a:lnTo>
                  <a:lnTo>
                    <a:pt x="1385" y="557"/>
                  </a:lnTo>
                  <a:lnTo>
                    <a:pt x="1385" y="557"/>
                  </a:lnTo>
                  <a:lnTo>
                    <a:pt x="1385" y="559"/>
                  </a:lnTo>
                  <a:lnTo>
                    <a:pt x="1385" y="562"/>
                  </a:lnTo>
                  <a:lnTo>
                    <a:pt x="1387" y="564"/>
                  </a:lnTo>
                  <a:lnTo>
                    <a:pt x="1387" y="564"/>
                  </a:lnTo>
                  <a:lnTo>
                    <a:pt x="1387" y="564"/>
                  </a:lnTo>
                  <a:lnTo>
                    <a:pt x="1387" y="566"/>
                  </a:lnTo>
                  <a:lnTo>
                    <a:pt x="1389" y="566"/>
                  </a:lnTo>
                  <a:lnTo>
                    <a:pt x="1389" y="568"/>
                  </a:lnTo>
                  <a:lnTo>
                    <a:pt x="1389" y="568"/>
                  </a:lnTo>
                  <a:lnTo>
                    <a:pt x="1389" y="572"/>
                  </a:lnTo>
                  <a:lnTo>
                    <a:pt x="1387" y="572"/>
                  </a:lnTo>
                  <a:lnTo>
                    <a:pt x="1389" y="572"/>
                  </a:lnTo>
                  <a:lnTo>
                    <a:pt x="1387" y="574"/>
                  </a:lnTo>
                  <a:lnTo>
                    <a:pt x="1387" y="574"/>
                  </a:lnTo>
                  <a:lnTo>
                    <a:pt x="1387" y="574"/>
                  </a:lnTo>
                  <a:lnTo>
                    <a:pt x="1387" y="574"/>
                  </a:lnTo>
                  <a:lnTo>
                    <a:pt x="1387" y="574"/>
                  </a:lnTo>
                  <a:lnTo>
                    <a:pt x="1387" y="574"/>
                  </a:lnTo>
                  <a:lnTo>
                    <a:pt x="1387" y="574"/>
                  </a:lnTo>
                  <a:lnTo>
                    <a:pt x="1385" y="574"/>
                  </a:lnTo>
                  <a:lnTo>
                    <a:pt x="1385" y="576"/>
                  </a:lnTo>
                  <a:lnTo>
                    <a:pt x="1385" y="576"/>
                  </a:lnTo>
                  <a:lnTo>
                    <a:pt x="1385" y="576"/>
                  </a:lnTo>
                  <a:lnTo>
                    <a:pt x="1385" y="576"/>
                  </a:lnTo>
                  <a:lnTo>
                    <a:pt x="1385" y="576"/>
                  </a:lnTo>
                  <a:lnTo>
                    <a:pt x="1385" y="576"/>
                  </a:lnTo>
                  <a:lnTo>
                    <a:pt x="1382" y="576"/>
                  </a:lnTo>
                  <a:lnTo>
                    <a:pt x="1382" y="578"/>
                  </a:lnTo>
                  <a:lnTo>
                    <a:pt x="1389" y="580"/>
                  </a:lnTo>
                  <a:lnTo>
                    <a:pt x="1391" y="580"/>
                  </a:lnTo>
                  <a:lnTo>
                    <a:pt x="1391" y="580"/>
                  </a:lnTo>
                  <a:lnTo>
                    <a:pt x="1393" y="582"/>
                  </a:lnTo>
                  <a:lnTo>
                    <a:pt x="1393" y="582"/>
                  </a:lnTo>
                  <a:lnTo>
                    <a:pt x="1395" y="582"/>
                  </a:lnTo>
                  <a:lnTo>
                    <a:pt x="1395" y="582"/>
                  </a:lnTo>
                  <a:lnTo>
                    <a:pt x="1395" y="582"/>
                  </a:lnTo>
                  <a:lnTo>
                    <a:pt x="1395" y="582"/>
                  </a:lnTo>
                  <a:lnTo>
                    <a:pt x="1397" y="582"/>
                  </a:lnTo>
                  <a:lnTo>
                    <a:pt x="1397" y="582"/>
                  </a:lnTo>
                  <a:lnTo>
                    <a:pt x="1397" y="582"/>
                  </a:lnTo>
                  <a:lnTo>
                    <a:pt x="1397" y="582"/>
                  </a:lnTo>
                  <a:lnTo>
                    <a:pt x="1395" y="582"/>
                  </a:lnTo>
                  <a:lnTo>
                    <a:pt x="1395" y="582"/>
                  </a:lnTo>
                  <a:lnTo>
                    <a:pt x="1393" y="582"/>
                  </a:lnTo>
                  <a:lnTo>
                    <a:pt x="1393" y="582"/>
                  </a:lnTo>
                  <a:lnTo>
                    <a:pt x="1395" y="582"/>
                  </a:lnTo>
                  <a:lnTo>
                    <a:pt x="1395" y="584"/>
                  </a:lnTo>
                  <a:lnTo>
                    <a:pt x="1397" y="584"/>
                  </a:lnTo>
                  <a:lnTo>
                    <a:pt x="1397" y="584"/>
                  </a:lnTo>
                  <a:lnTo>
                    <a:pt x="1397" y="584"/>
                  </a:lnTo>
                  <a:lnTo>
                    <a:pt x="1399" y="584"/>
                  </a:lnTo>
                  <a:lnTo>
                    <a:pt x="1399" y="584"/>
                  </a:lnTo>
                  <a:lnTo>
                    <a:pt x="1399" y="582"/>
                  </a:lnTo>
                  <a:lnTo>
                    <a:pt x="1399" y="582"/>
                  </a:lnTo>
                  <a:lnTo>
                    <a:pt x="1399" y="582"/>
                  </a:lnTo>
                  <a:lnTo>
                    <a:pt x="1399" y="582"/>
                  </a:lnTo>
                  <a:lnTo>
                    <a:pt x="1399" y="582"/>
                  </a:lnTo>
                  <a:lnTo>
                    <a:pt x="1399" y="582"/>
                  </a:lnTo>
                  <a:lnTo>
                    <a:pt x="1399" y="584"/>
                  </a:lnTo>
                  <a:lnTo>
                    <a:pt x="1399" y="584"/>
                  </a:lnTo>
                  <a:lnTo>
                    <a:pt x="1401" y="584"/>
                  </a:lnTo>
                  <a:lnTo>
                    <a:pt x="1401" y="584"/>
                  </a:lnTo>
                  <a:lnTo>
                    <a:pt x="1401" y="584"/>
                  </a:lnTo>
                  <a:lnTo>
                    <a:pt x="1401" y="584"/>
                  </a:lnTo>
                  <a:lnTo>
                    <a:pt x="1403" y="584"/>
                  </a:lnTo>
                  <a:lnTo>
                    <a:pt x="1403" y="584"/>
                  </a:lnTo>
                  <a:lnTo>
                    <a:pt x="1403" y="586"/>
                  </a:lnTo>
                  <a:lnTo>
                    <a:pt x="1401" y="584"/>
                  </a:lnTo>
                  <a:lnTo>
                    <a:pt x="1401" y="584"/>
                  </a:lnTo>
                  <a:lnTo>
                    <a:pt x="1407" y="586"/>
                  </a:lnTo>
                  <a:lnTo>
                    <a:pt x="1411" y="588"/>
                  </a:lnTo>
                  <a:lnTo>
                    <a:pt x="1413" y="588"/>
                  </a:lnTo>
                  <a:lnTo>
                    <a:pt x="1413" y="588"/>
                  </a:lnTo>
                  <a:lnTo>
                    <a:pt x="1415" y="588"/>
                  </a:lnTo>
                  <a:lnTo>
                    <a:pt x="1415" y="590"/>
                  </a:lnTo>
                  <a:lnTo>
                    <a:pt x="1417" y="590"/>
                  </a:lnTo>
                  <a:lnTo>
                    <a:pt x="1417" y="590"/>
                  </a:lnTo>
                  <a:lnTo>
                    <a:pt x="1417" y="590"/>
                  </a:lnTo>
                  <a:lnTo>
                    <a:pt x="1417" y="590"/>
                  </a:lnTo>
                  <a:lnTo>
                    <a:pt x="1417" y="590"/>
                  </a:lnTo>
                  <a:lnTo>
                    <a:pt x="1417" y="590"/>
                  </a:lnTo>
                  <a:lnTo>
                    <a:pt x="1419" y="588"/>
                  </a:lnTo>
                  <a:lnTo>
                    <a:pt x="1419" y="588"/>
                  </a:lnTo>
                  <a:lnTo>
                    <a:pt x="1419" y="588"/>
                  </a:lnTo>
                  <a:lnTo>
                    <a:pt x="1421" y="586"/>
                  </a:lnTo>
                  <a:lnTo>
                    <a:pt x="1421" y="588"/>
                  </a:lnTo>
                  <a:lnTo>
                    <a:pt x="1421" y="588"/>
                  </a:lnTo>
                  <a:lnTo>
                    <a:pt x="1421" y="588"/>
                  </a:lnTo>
                  <a:lnTo>
                    <a:pt x="1421" y="588"/>
                  </a:lnTo>
                  <a:lnTo>
                    <a:pt x="1421" y="590"/>
                  </a:lnTo>
                  <a:lnTo>
                    <a:pt x="1421" y="590"/>
                  </a:lnTo>
                  <a:lnTo>
                    <a:pt x="1421" y="590"/>
                  </a:lnTo>
                  <a:lnTo>
                    <a:pt x="1421" y="590"/>
                  </a:lnTo>
                  <a:lnTo>
                    <a:pt x="1421" y="590"/>
                  </a:lnTo>
                  <a:lnTo>
                    <a:pt x="1419" y="592"/>
                  </a:lnTo>
                  <a:lnTo>
                    <a:pt x="1419" y="592"/>
                  </a:lnTo>
                  <a:lnTo>
                    <a:pt x="1423" y="590"/>
                  </a:lnTo>
                  <a:lnTo>
                    <a:pt x="1425" y="590"/>
                  </a:lnTo>
                  <a:lnTo>
                    <a:pt x="1425" y="592"/>
                  </a:lnTo>
                  <a:lnTo>
                    <a:pt x="1425" y="592"/>
                  </a:lnTo>
                  <a:lnTo>
                    <a:pt x="1423" y="592"/>
                  </a:lnTo>
                  <a:lnTo>
                    <a:pt x="1425" y="592"/>
                  </a:lnTo>
                  <a:lnTo>
                    <a:pt x="1425" y="592"/>
                  </a:lnTo>
                  <a:lnTo>
                    <a:pt x="1428" y="592"/>
                  </a:lnTo>
                  <a:lnTo>
                    <a:pt x="1428" y="592"/>
                  </a:lnTo>
                  <a:lnTo>
                    <a:pt x="1430" y="592"/>
                  </a:lnTo>
                  <a:lnTo>
                    <a:pt x="1432" y="594"/>
                  </a:lnTo>
                  <a:lnTo>
                    <a:pt x="1438" y="598"/>
                  </a:lnTo>
                  <a:lnTo>
                    <a:pt x="1440" y="598"/>
                  </a:lnTo>
                  <a:lnTo>
                    <a:pt x="1440" y="600"/>
                  </a:lnTo>
                  <a:lnTo>
                    <a:pt x="1440" y="603"/>
                  </a:lnTo>
                  <a:lnTo>
                    <a:pt x="1440" y="603"/>
                  </a:lnTo>
                  <a:lnTo>
                    <a:pt x="1440" y="603"/>
                  </a:lnTo>
                  <a:lnTo>
                    <a:pt x="1440" y="605"/>
                  </a:lnTo>
                  <a:lnTo>
                    <a:pt x="1440" y="605"/>
                  </a:lnTo>
                  <a:lnTo>
                    <a:pt x="1442" y="605"/>
                  </a:lnTo>
                  <a:lnTo>
                    <a:pt x="1442" y="605"/>
                  </a:lnTo>
                  <a:lnTo>
                    <a:pt x="1442" y="605"/>
                  </a:lnTo>
                  <a:lnTo>
                    <a:pt x="1448" y="609"/>
                  </a:lnTo>
                  <a:lnTo>
                    <a:pt x="1448" y="609"/>
                  </a:lnTo>
                  <a:lnTo>
                    <a:pt x="1448" y="611"/>
                  </a:lnTo>
                  <a:lnTo>
                    <a:pt x="1450" y="611"/>
                  </a:lnTo>
                  <a:lnTo>
                    <a:pt x="1450" y="611"/>
                  </a:lnTo>
                  <a:lnTo>
                    <a:pt x="1452" y="609"/>
                  </a:lnTo>
                  <a:lnTo>
                    <a:pt x="1452" y="609"/>
                  </a:lnTo>
                  <a:lnTo>
                    <a:pt x="1452" y="609"/>
                  </a:lnTo>
                  <a:lnTo>
                    <a:pt x="1454" y="607"/>
                  </a:lnTo>
                  <a:lnTo>
                    <a:pt x="1454" y="607"/>
                  </a:lnTo>
                  <a:lnTo>
                    <a:pt x="1454" y="607"/>
                  </a:lnTo>
                  <a:lnTo>
                    <a:pt x="1454" y="607"/>
                  </a:lnTo>
                  <a:lnTo>
                    <a:pt x="1454" y="609"/>
                  </a:lnTo>
                  <a:lnTo>
                    <a:pt x="1454" y="609"/>
                  </a:lnTo>
                  <a:lnTo>
                    <a:pt x="1454" y="609"/>
                  </a:lnTo>
                  <a:lnTo>
                    <a:pt x="1454" y="609"/>
                  </a:lnTo>
                  <a:lnTo>
                    <a:pt x="1454" y="609"/>
                  </a:lnTo>
                  <a:lnTo>
                    <a:pt x="1452" y="611"/>
                  </a:lnTo>
                  <a:lnTo>
                    <a:pt x="1452" y="611"/>
                  </a:lnTo>
                  <a:lnTo>
                    <a:pt x="1450" y="611"/>
                  </a:lnTo>
                  <a:lnTo>
                    <a:pt x="1450" y="611"/>
                  </a:lnTo>
                  <a:lnTo>
                    <a:pt x="1450" y="611"/>
                  </a:lnTo>
                  <a:lnTo>
                    <a:pt x="1450" y="611"/>
                  </a:lnTo>
                  <a:lnTo>
                    <a:pt x="1452" y="611"/>
                  </a:lnTo>
                  <a:lnTo>
                    <a:pt x="1452" y="613"/>
                  </a:lnTo>
                  <a:lnTo>
                    <a:pt x="1454" y="613"/>
                  </a:lnTo>
                  <a:lnTo>
                    <a:pt x="1456" y="613"/>
                  </a:lnTo>
                  <a:lnTo>
                    <a:pt x="1458" y="615"/>
                  </a:lnTo>
                  <a:lnTo>
                    <a:pt x="1460" y="615"/>
                  </a:lnTo>
                  <a:lnTo>
                    <a:pt x="1460" y="615"/>
                  </a:lnTo>
                  <a:lnTo>
                    <a:pt x="1460" y="615"/>
                  </a:lnTo>
                  <a:lnTo>
                    <a:pt x="1460" y="617"/>
                  </a:lnTo>
                  <a:lnTo>
                    <a:pt x="1462" y="617"/>
                  </a:lnTo>
                  <a:lnTo>
                    <a:pt x="1464" y="617"/>
                  </a:lnTo>
                  <a:lnTo>
                    <a:pt x="1466" y="619"/>
                  </a:lnTo>
                  <a:lnTo>
                    <a:pt x="1466" y="619"/>
                  </a:lnTo>
                  <a:lnTo>
                    <a:pt x="1468" y="619"/>
                  </a:lnTo>
                  <a:lnTo>
                    <a:pt x="1468" y="619"/>
                  </a:lnTo>
                  <a:lnTo>
                    <a:pt x="1468" y="617"/>
                  </a:lnTo>
                  <a:lnTo>
                    <a:pt x="1471" y="617"/>
                  </a:lnTo>
                  <a:lnTo>
                    <a:pt x="1471" y="617"/>
                  </a:lnTo>
                  <a:lnTo>
                    <a:pt x="1471" y="617"/>
                  </a:lnTo>
                  <a:lnTo>
                    <a:pt x="1473" y="617"/>
                  </a:lnTo>
                  <a:lnTo>
                    <a:pt x="1473" y="619"/>
                  </a:lnTo>
                  <a:lnTo>
                    <a:pt x="1473" y="619"/>
                  </a:lnTo>
                  <a:lnTo>
                    <a:pt x="1473" y="619"/>
                  </a:lnTo>
                  <a:lnTo>
                    <a:pt x="1473" y="619"/>
                  </a:lnTo>
                  <a:lnTo>
                    <a:pt x="1473" y="617"/>
                  </a:lnTo>
                  <a:lnTo>
                    <a:pt x="1475" y="617"/>
                  </a:lnTo>
                  <a:lnTo>
                    <a:pt x="1475" y="619"/>
                  </a:lnTo>
                  <a:lnTo>
                    <a:pt x="1475" y="619"/>
                  </a:lnTo>
                  <a:lnTo>
                    <a:pt x="1475" y="619"/>
                  </a:lnTo>
                  <a:lnTo>
                    <a:pt x="1475" y="619"/>
                  </a:lnTo>
                  <a:lnTo>
                    <a:pt x="1475" y="621"/>
                  </a:lnTo>
                  <a:lnTo>
                    <a:pt x="1475" y="621"/>
                  </a:lnTo>
                  <a:lnTo>
                    <a:pt x="1475" y="621"/>
                  </a:lnTo>
                  <a:lnTo>
                    <a:pt x="1477" y="619"/>
                  </a:lnTo>
                  <a:lnTo>
                    <a:pt x="1477" y="619"/>
                  </a:lnTo>
                  <a:lnTo>
                    <a:pt x="1477" y="621"/>
                  </a:lnTo>
                  <a:lnTo>
                    <a:pt x="1477" y="621"/>
                  </a:lnTo>
                  <a:lnTo>
                    <a:pt x="1477" y="621"/>
                  </a:lnTo>
                  <a:lnTo>
                    <a:pt x="1477" y="621"/>
                  </a:lnTo>
                  <a:lnTo>
                    <a:pt x="1477" y="621"/>
                  </a:lnTo>
                  <a:lnTo>
                    <a:pt x="1479" y="621"/>
                  </a:lnTo>
                  <a:lnTo>
                    <a:pt x="1479" y="621"/>
                  </a:lnTo>
                  <a:lnTo>
                    <a:pt x="1479" y="621"/>
                  </a:lnTo>
                  <a:lnTo>
                    <a:pt x="1479" y="621"/>
                  </a:lnTo>
                  <a:lnTo>
                    <a:pt x="1479" y="621"/>
                  </a:lnTo>
                  <a:lnTo>
                    <a:pt x="1479" y="621"/>
                  </a:lnTo>
                  <a:lnTo>
                    <a:pt x="1479" y="621"/>
                  </a:lnTo>
                  <a:lnTo>
                    <a:pt x="1479" y="621"/>
                  </a:lnTo>
                  <a:lnTo>
                    <a:pt x="1481" y="621"/>
                  </a:lnTo>
                  <a:lnTo>
                    <a:pt x="1481" y="621"/>
                  </a:lnTo>
                  <a:lnTo>
                    <a:pt x="1479" y="621"/>
                  </a:lnTo>
                  <a:lnTo>
                    <a:pt x="1479" y="623"/>
                  </a:lnTo>
                  <a:lnTo>
                    <a:pt x="1479" y="623"/>
                  </a:lnTo>
                  <a:lnTo>
                    <a:pt x="1481" y="625"/>
                  </a:lnTo>
                  <a:lnTo>
                    <a:pt x="1481" y="625"/>
                  </a:lnTo>
                  <a:lnTo>
                    <a:pt x="1481" y="625"/>
                  </a:lnTo>
                  <a:lnTo>
                    <a:pt x="1481" y="625"/>
                  </a:lnTo>
                  <a:lnTo>
                    <a:pt x="1481" y="623"/>
                  </a:lnTo>
                  <a:lnTo>
                    <a:pt x="1481" y="623"/>
                  </a:lnTo>
                  <a:lnTo>
                    <a:pt x="1483" y="623"/>
                  </a:lnTo>
                  <a:lnTo>
                    <a:pt x="1483" y="623"/>
                  </a:lnTo>
                  <a:lnTo>
                    <a:pt x="1483" y="623"/>
                  </a:lnTo>
                  <a:lnTo>
                    <a:pt x="1483" y="621"/>
                  </a:lnTo>
                  <a:lnTo>
                    <a:pt x="1483" y="621"/>
                  </a:lnTo>
                  <a:lnTo>
                    <a:pt x="1483" y="621"/>
                  </a:lnTo>
                  <a:lnTo>
                    <a:pt x="1483" y="621"/>
                  </a:lnTo>
                  <a:lnTo>
                    <a:pt x="1479" y="619"/>
                  </a:lnTo>
                  <a:lnTo>
                    <a:pt x="1481" y="617"/>
                  </a:lnTo>
                  <a:lnTo>
                    <a:pt x="1481" y="617"/>
                  </a:lnTo>
                  <a:lnTo>
                    <a:pt x="1481" y="617"/>
                  </a:lnTo>
                  <a:lnTo>
                    <a:pt x="1481" y="617"/>
                  </a:lnTo>
                  <a:lnTo>
                    <a:pt x="1483" y="617"/>
                  </a:lnTo>
                  <a:lnTo>
                    <a:pt x="1483" y="617"/>
                  </a:lnTo>
                  <a:lnTo>
                    <a:pt x="1483" y="617"/>
                  </a:lnTo>
                  <a:lnTo>
                    <a:pt x="1483" y="617"/>
                  </a:lnTo>
                  <a:lnTo>
                    <a:pt x="1483" y="617"/>
                  </a:lnTo>
                  <a:lnTo>
                    <a:pt x="1483" y="619"/>
                  </a:lnTo>
                  <a:lnTo>
                    <a:pt x="1483" y="619"/>
                  </a:lnTo>
                  <a:lnTo>
                    <a:pt x="1485" y="619"/>
                  </a:lnTo>
                  <a:lnTo>
                    <a:pt x="1485" y="617"/>
                  </a:lnTo>
                  <a:lnTo>
                    <a:pt x="1487" y="619"/>
                  </a:lnTo>
                  <a:lnTo>
                    <a:pt x="1487" y="619"/>
                  </a:lnTo>
                  <a:lnTo>
                    <a:pt x="1487" y="617"/>
                  </a:lnTo>
                  <a:lnTo>
                    <a:pt x="1487" y="617"/>
                  </a:lnTo>
                  <a:lnTo>
                    <a:pt x="1487" y="615"/>
                  </a:lnTo>
                  <a:lnTo>
                    <a:pt x="1487" y="615"/>
                  </a:lnTo>
                  <a:lnTo>
                    <a:pt x="1487" y="615"/>
                  </a:lnTo>
                  <a:lnTo>
                    <a:pt x="1485" y="615"/>
                  </a:lnTo>
                  <a:lnTo>
                    <a:pt x="1485" y="615"/>
                  </a:lnTo>
                  <a:lnTo>
                    <a:pt x="1485" y="615"/>
                  </a:lnTo>
                  <a:lnTo>
                    <a:pt x="1485" y="615"/>
                  </a:lnTo>
                  <a:lnTo>
                    <a:pt x="1485" y="615"/>
                  </a:lnTo>
                  <a:lnTo>
                    <a:pt x="1485" y="615"/>
                  </a:lnTo>
                  <a:lnTo>
                    <a:pt x="1485" y="615"/>
                  </a:lnTo>
                  <a:lnTo>
                    <a:pt x="1483" y="615"/>
                  </a:lnTo>
                  <a:lnTo>
                    <a:pt x="1483" y="617"/>
                  </a:lnTo>
                  <a:lnTo>
                    <a:pt x="1485" y="617"/>
                  </a:lnTo>
                  <a:lnTo>
                    <a:pt x="1485" y="617"/>
                  </a:lnTo>
                  <a:lnTo>
                    <a:pt x="1483" y="617"/>
                  </a:lnTo>
                  <a:lnTo>
                    <a:pt x="1483" y="617"/>
                  </a:lnTo>
                  <a:lnTo>
                    <a:pt x="1483" y="617"/>
                  </a:lnTo>
                  <a:lnTo>
                    <a:pt x="1483" y="617"/>
                  </a:lnTo>
                  <a:lnTo>
                    <a:pt x="1483" y="617"/>
                  </a:lnTo>
                  <a:lnTo>
                    <a:pt x="1483" y="617"/>
                  </a:lnTo>
                  <a:lnTo>
                    <a:pt x="1483" y="617"/>
                  </a:lnTo>
                  <a:lnTo>
                    <a:pt x="1481" y="617"/>
                  </a:lnTo>
                  <a:lnTo>
                    <a:pt x="1483" y="615"/>
                  </a:lnTo>
                  <a:lnTo>
                    <a:pt x="1483" y="615"/>
                  </a:lnTo>
                  <a:lnTo>
                    <a:pt x="1483" y="615"/>
                  </a:lnTo>
                  <a:lnTo>
                    <a:pt x="1483" y="613"/>
                  </a:lnTo>
                  <a:lnTo>
                    <a:pt x="1483" y="613"/>
                  </a:lnTo>
                  <a:lnTo>
                    <a:pt x="1483" y="613"/>
                  </a:lnTo>
                  <a:lnTo>
                    <a:pt x="1483" y="613"/>
                  </a:lnTo>
                  <a:lnTo>
                    <a:pt x="1483" y="613"/>
                  </a:lnTo>
                  <a:lnTo>
                    <a:pt x="1483" y="613"/>
                  </a:lnTo>
                  <a:lnTo>
                    <a:pt x="1483" y="613"/>
                  </a:lnTo>
                  <a:lnTo>
                    <a:pt x="1483" y="613"/>
                  </a:lnTo>
                  <a:lnTo>
                    <a:pt x="1485" y="615"/>
                  </a:lnTo>
                  <a:lnTo>
                    <a:pt x="1487" y="615"/>
                  </a:lnTo>
                  <a:lnTo>
                    <a:pt x="1487" y="615"/>
                  </a:lnTo>
                  <a:lnTo>
                    <a:pt x="1487" y="613"/>
                  </a:lnTo>
                  <a:lnTo>
                    <a:pt x="1489" y="615"/>
                  </a:lnTo>
                  <a:lnTo>
                    <a:pt x="1489" y="615"/>
                  </a:lnTo>
                  <a:lnTo>
                    <a:pt x="1489" y="615"/>
                  </a:lnTo>
                  <a:lnTo>
                    <a:pt x="1489" y="617"/>
                  </a:lnTo>
                  <a:lnTo>
                    <a:pt x="1489" y="617"/>
                  </a:lnTo>
                  <a:lnTo>
                    <a:pt x="1491" y="617"/>
                  </a:lnTo>
                  <a:lnTo>
                    <a:pt x="1493" y="617"/>
                  </a:lnTo>
                  <a:lnTo>
                    <a:pt x="1493" y="615"/>
                  </a:lnTo>
                  <a:lnTo>
                    <a:pt x="1495" y="615"/>
                  </a:lnTo>
                  <a:lnTo>
                    <a:pt x="1495" y="615"/>
                  </a:lnTo>
                  <a:lnTo>
                    <a:pt x="1495" y="613"/>
                  </a:lnTo>
                  <a:lnTo>
                    <a:pt x="1495" y="611"/>
                  </a:lnTo>
                  <a:lnTo>
                    <a:pt x="1495" y="611"/>
                  </a:lnTo>
                  <a:lnTo>
                    <a:pt x="1493" y="609"/>
                  </a:lnTo>
                  <a:lnTo>
                    <a:pt x="1493" y="609"/>
                  </a:lnTo>
                  <a:lnTo>
                    <a:pt x="1493" y="609"/>
                  </a:lnTo>
                  <a:lnTo>
                    <a:pt x="1493" y="607"/>
                  </a:lnTo>
                  <a:lnTo>
                    <a:pt x="1493" y="607"/>
                  </a:lnTo>
                  <a:lnTo>
                    <a:pt x="1493" y="607"/>
                  </a:lnTo>
                  <a:lnTo>
                    <a:pt x="1493" y="607"/>
                  </a:lnTo>
                  <a:lnTo>
                    <a:pt x="1493" y="607"/>
                  </a:lnTo>
                  <a:lnTo>
                    <a:pt x="1493" y="607"/>
                  </a:lnTo>
                  <a:lnTo>
                    <a:pt x="1493" y="607"/>
                  </a:lnTo>
                  <a:lnTo>
                    <a:pt x="1493" y="605"/>
                  </a:lnTo>
                  <a:lnTo>
                    <a:pt x="1493" y="605"/>
                  </a:lnTo>
                  <a:lnTo>
                    <a:pt x="1491" y="605"/>
                  </a:lnTo>
                  <a:lnTo>
                    <a:pt x="1491" y="607"/>
                  </a:lnTo>
                  <a:lnTo>
                    <a:pt x="1489" y="607"/>
                  </a:lnTo>
                  <a:lnTo>
                    <a:pt x="1489" y="607"/>
                  </a:lnTo>
                  <a:lnTo>
                    <a:pt x="1489" y="607"/>
                  </a:lnTo>
                  <a:lnTo>
                    <a:pt x="1489" y="607"/>
                  </a:lnTo>
                  <a:lnTo>
                    <a:pt x="1491" y="605"/>
                  </a:lnTo>
                  <a:lnTo>
                    <a:pt x="1491" y="605"/>
                  </a:lnTo>
                  <a:lnTo>
                    <a:pt x="1491" y="605"/>
                  </a:lnTo>
                  <a:lnTo>
                    <a:pt x="1491" y="605"/>
                  </a:lnTo>
                  <a:lnTo>
                    <a:pt x="1491" y="605"/>
                  </a:lnTo>
                  <a:lnTo>
                    <a:pt x="1491" y="605"/>
                  </a:lnTo>
                  <a:lnTo>
                    <a:pt x="1491" y="603"/>
                  </a:lnTo>
                  <a:lnTo>
                    <a:pt x="1489" y="603"/>
                  </a:lnTo>
                  <a:lnTo>
                    <a:pt x="1489" y="603"/>
                  </a:lnTo>
                  <a:lnTo>
                    <a:pt x="1489" y="603"/>
                  </a:lnTo>
                  <a:lnTo>
                    <a:pt x="1489" y="603"/>
                  </a:lnTo>
                  <a:lnTo>
                    <a:pt x="1487" y="603"/>
                  </a:lnTo>
                  <a:lnTo>
                    <a:pt x="1489" y="603"/>
                  </a:lnTo>
                  <a:lnTo>
                    <a:pt x="1489" y="603"/>
                  </a:lnTo>
                  <a:lnTo>
                    <a:pt x="1489" y="603"/>
                  </a:lnTo>
                  <a:lnTo>
                    <a:pt x="1489" y="600"/>
                  </a:lnTo>
                  <a:lnTo>
                    <a:pt x="1485" y="600"/>
                  </a:lnTo>
                  <a:lnTo>
                    <a:pt x="1485" y="598"/>
                  </a:lnTo>
                  <a:lnTo>
                    <a:pt x="1485" y="600"/>
                  </a:lnTo>
                  <a:lnTo>
                    <a:pt x="1485" y="600"/>
                  </a:lnTo>
                  <a:lnTo>
                    <a:pt x="1485" y="600"/>
                  </a:lnTo>
                  <a:lnTo>
                    <a:pt x="1485" y="600"/>
                  </a:lnTo>
                  <a:lnTo>
                    <a:pt x="1485" y="600"/>
                  </a:lnTo>
                  <a:lnTo>
                    <a:pt x="1485" y="600"/>
                  </a:lnTo>
                  <a:lnTo>
                    <a:pt x="1485" y="600"/>
                  </a:lnTo>
                  <a:lnTo>
                    <a:pt x="1485" y="600"/>
                  </a:lnTo>
                  <a:lnTo>
                    <a:pt x="1483" y="600"/>
                  </a:lnTo>
                  <a:lnTo>
                    <a:pt x="1483" y="600"/>
                  </a:lnTo>
                  <a:lnTo>
                    <a:pt x="1483" y="603"/>
                  </a:lnTo>
                  <a:lnTo>
                    <a:pt x="1483" y="603"/>
                  </a:lnTo>
                  <a:lnTo>
                    <a:pt x="1485" y="603"/>
                  </a:lnTo>
                  <a:lnTo>
                    <a:pt x="1485" y="603"/>
                  </a:lnTo>
                  <a:lnTo>
                    <a:pt x="1485" y="603"/>
                  </a:lnTo>
                  <a:lnTo>
                    <a:pt x="1483" y="603"/>
                  </a:lnTo>
                  <a:lnTo>
                    <a:pt x="1483" y="603"/>
                  </a:lnTo>
                  <a:lnTo>
                    <a:pt x="1481" y="603"/>
                  </a:lnTo>
                  <a:lnTo>
                    <a:pt x="1481" y="605"/>
                  </a:lnTo>
                  <a:lnTo>
                    <a:pt x="1481" y="605"/>
                  </a:lnTo>
                  <a:lnTo>
                    <a:pt x="1481" y="605"/>
                  </a:lnTo>
                  <a:lnTo>
                    <a:pt x="1479" y="605"/>
                  </a:lnTo>
                  <a:lnTo>
                    <a:pt x="1479" y="603"/>
                  </a:lnTo>
                  <a:lnTo>
                    <a:pt x="1481" y="603"/>
                  </a:lnTo>
                  <a:lnTo>
                    <a:pt x="1481" y="603"/>
                  </a:lnTo>
                  <a:lnTo>
                    <a:pt x="1483" y="600"/>
                  </a:lnTo>
                  <a:lnTo>
                    <a:pt x="1483" y="600"/>
                  </a:lnTo>
                  <a:lnTo>
                    <a:pt x="1483" y="598"/>
                  </a:lnTo>
                  <a:lnTo>
                    <a:pt x="1483" y="598"/>
                  </a:lnTo>
                  <a:lnTo>
                    <a:pt x="1483" y="598"/>
                  </a:lnTo>
                  <a:lnTo>
                    <a:pt x="1483" y="598"/>
                  </a:lnTo>
                  <a:lnTo>
                    <a:pt x="1483" y="596"/>
                  </a:lnTo>
                  <a:lnTo>
                    <a:pt x="1481" y="596"/>
                  </a:lnTo>
                  <a:lnTo>
                    <a:pt x="1479" y="596"/>
                  </a:lnTo>
                  <a:lnTo>
                    <a:pt x="1479" y="596"/>
                  </a:lnTo>
                  <a:lnTo>
                    <a:pt x="1479" y="598"/>
                  </a:lnTo>
                  <a:lnTo>
                    <a:pt x="1479" y="598"/>
                  </a:lnTo>
                  <a:lnTo>
                    <a:pt x="1481" y="598"/>
                  </a:lnTo>
                  <a:lnTo>
                    <a:pt x="1481" y="600"/>
                  </a:lnTo>
                  <a:lnTo>
                    <a:pt x="1481" y="600"/>
                  </a:lnTo>
                  <a:lnTo>
                    <a:pt x="1479" y="598"/>
                  </a:lnTo>
                  <a:lnTo>
                    <a:pt x="1479" y="598"/>
                  </a:lnTo>
                  <a:lnTo>
                    <a:pt x="1479" y="598"/>
                  </a:lnTo>
                  <a:lnTo>
                    <a:pt x="1479" y="598"/>
                  </a:lnTo>
                  <a:lnTo>
                    <a:pt x="1479" y="598"/>
                  </a:lnTo>
                  <a:lnTo>
                    <a:pt x="1479" y="598"/>
                  </a:lnTo>
                  <a:lnTo>
                    <a:pt x="1479" y="598"/>
                  </a:lnTo>
                  <a:lnTo>
                    <a:pt x="1479" y="598"/>
                  </a:lnTo>
                  <a:lnTo>
                    <a:pt x="1479" y="596"/>
                  </a:lnTo>
                  <a:lnTo>
                    <a:pt x="1477" y="596"/>
                  </a:lnTo>
                  <a:lnTo>
                    <a:pt x="1477" y="596"/>
                  </a:lnTo>
                  <a:lnTo>
                    <a:pt x="1477" y="596"/>
                  </a:lnTo>
                  <a:lnTo>
                    <a:pt x="1477" y="596"/>
                  </a:lnTo>
                  <a:lnTo>
                    <a:pt x="1475" y="596"/>
                  </a:lnTo>
                  <a:lnTo>
                    <a:pt x="1475" y="596"/>
                  </a:lnTo>
                  <a:lnTo>
                    <a:pt x="1475" y="596"/>
                  </a:lnTo>
                  <a:lnTo>
                    <a:pt x="1477" y="596"/>
                  </a:lnTo>
                  <a:lnTo>
                    <a:pt x="1477" y="596"/>
                  </a:lnTo>
                  <a:lnTo>
                    <a:pt x="1475" y="594"/>
                  </a:lnTo>
                  <a:lnTo>
                    <a:pt x="1475" y="594"/>
                  </a:lnTo>
                  <a:lnTo>
                    <a:pt x="1473" y="594"/>
                  </a:lnTo>
                  <a:lnTo>
                    <a:pt x="1475" y="594"/>
                  </a:lnTo>
                  <a:lnTo>
                    <a:pt x="1475" y="594"/>
                  </a:lnTo>
                  <a:lnTo>
                    <a:pt x="1477" y="594"/>
                  </a:lnTo>
                  <a:lnTo>
                    <a:pt x="1477" y="596"/>
                  </a:lnTo>
                  <a:lnTo>
                    <a:pt x="1477" y="596"/>
                  </a:lnTo>
                  <a:lnTo>
                    <a:pt x="1477" y="594"/>
                  </a:lnTo>
                  <a:lnTo>
                    <a:pt x="1477" y="594"/>
                  </a:lnTo>
                  <a:lnTo>
                    <a:pt x="1479" y="594"/>
                  </a:lnTo>
                  <a:lnTo>
                    <a:pt x="1479" y="594"/>
                  </a:lnTo>
                  <a:lnTo>
                    <a:pt x="1477" y="592"/>
                  </a:lnTo>
                  <a:lnTo>
                    <a:pt x="1475" y="592"/>
                  </a:lnTo>
                  <a:lnTo>
                    <a:pt x="1475" y="592"/>
                  </a:lnTo>
                  <a:lnTo>
                    <a:pt x="1475" y="592"/>
                  </a:lnTo>
                  <a:lnTo>
                    <a:pt x="1475" y="592"/>
                  </a:lnTo>
                  <a:lnTo>
                    <a:pt x="1475" y="592"/>
                  </a:lnTo>
                  <a:lnTo>
                    <a:pt x="1475" y="592"/>
                  </a:lnTo>
                  <a:lnTo>
                    <a:pt x="1473" y="592"/>
                  </a:lnTo>
                  <a:lnTo>
                    <a:pt x="1473" y="592"/>
                  </a:lnTo>
                  <a:lnTo>
                    <a:pt x="1473" y="592"/>
                  </a:lnTo>
                  <a:lnTo>
                    <a:pt x="1473" y="592"/>
                  </a:lnTo>
                  <a:lnTo>
                    <a:pt x="1473" y="592"/>
                  </a:lnTo>
                  <a:lnTo>
                    <a:pt x="1471" y="592"/>
                  </a:lnTo>
                  <a:lnTo>
                    <a:pt x="1471" y="592"/>
                  </a:lnTo>
                  <a:lnTo>
                    <a:pt x="1471" y="592"/>
                  </a:lnTo>
                  <a:lnTo>
                    <a:pt x="1468" y="592"/>
                  </a:lnTo>
                  <a:lnTo>
                    <a:pt x="1468" y="594"/>
                  </a:lnTo>
                  <a:lnTo>
                    <a:pt x="1468" y="594"/>
                  </a:lnTo>
                  <a:lnTo>
                    <a:pt x="1468" y="594"/>
                  </a:lnTo>
                  <a:lnTo>
                    <a:pt x="1468" y="594"/>
                  </a:lnTo>
                  <a:lnTo>
                    <a:pt x="1468" y="592"/>
                  </a:lnTo>
                  <a:lnTo>
                    <a:pt x="1468" y="592"/>
                  </a:lnTo>
                  <a:lnTo>
                    <a:pt x="1468" y="592"/>
                  </a:lnTo>
                  <a:lnTo>
                    <a:pt x="1468" y="592"/>
                  </a:lnTo>
                  <a:lnTo>
                    <a:pt x="1466" y="592"/>
                  </a:lnTo>
                  <a:lnTo>
                    <a:pt x="1464" y="592"/>
                  </a:lnTo>
                  <a:lnTo>
                    <a:pt x="1462" y="592"/>
                  </a:lnTo>
                  <a:lnTo>
                    <a:pt x="1462" y="594"/>
                  </a:lnTo>
                  <a:lnTo>
                    <a:pt x="1462" y="596"/>
                  </a:lnTo>
                  <a:lnTo>
                    <a:pt x="1462" y="596"/>
                  </a:lnTo>
                  <a:lnTo>
                    <a:pt x="1462" y="596"/>
                  </a:lnTo>
                  <a:lnTo>
                    <a:pt x="1460" y="596"/>
                  </a:lnTo>
                  <a:lnTo>
                    <a:pt x="1460" y="596"/>
                  </a:lnTo>
                  <a:lnTo>
                    <a:pt x="1460" y="594"/>
                  </a:lnTo>
                  <a:lnTo>
                    <a:pt x="1462" y="594"/>
                  </a:lnTo>
                  <a:lnTo>
                    <a:pt x="1462" y="594"/>
                  </a:lnTo>
                  <a:lnTo>
                    <a:pt x="1462" y="592"/>
                  </a:lnTo>
                  <a:lnTo>
                    <a:pt x="1462" y="592"/>
                  </a:lnTo>
                  <a:lnTo>
                    <a:pt x="1464" y="590"/>
                  </a:lnTo>
                  <a:lnTo>
                    <a:pt x="1464" y="590"/>
                  </a:lnTo>
                  <a:lnTo>
                    <a:pt x="1464" y="588"/>
                  </a:lnTo>
                  <a:lnTo>
                    <a:pt x="1464" y="588"/>
                  </a:lnTo>
                  <a:lnTo>
                    <a:pt x="1462" y="588"/>
                  </a:lnTo>
                  <a:lnTo>
                    <a:pt x="1462" y="586"/>
                  </a:lnTo>
                  <a:lnTo>
                    <a:pt x="1460" y="586"/>
                  </a:lnTo>
                  <a:lnTo>
                    <a:pt x="1460" y="586"/>
                  </a:lnTo>
                  <a:lnTo>
                    <a:pt x="1460" y="586"/>
                  </a:lnTo>
                  <a:lnTo>
                    <a:pt x="1460" y="584"/>
                  </a:lnTo>
                  <a:lnTo>
                    <a:pt x="1460" y="584"/>
                  </a:lnTo>
                  <a:lnTo>
                    <a:pt x="1460" y="584"/>
                  </a:lnTo>
                  <a:lnTo>
                    <a:pt x="1460" y="584"/>
                  </a:lnTo>
                  <a:lnTo>
                    <a:pt x="1460" y="584"/>
                  </a:lnTo>
                  <a:lnTo>
                    <a:pt x="1462" y="586"/>
                  </a:lnTo>
                  <a:lnTo>
                    <a:pt x="1464" y="586"/>
                  </a:lnTo>
                  <a:lnTo>
                    <a:pt x="1464" y="588"/>
                  </a:lnTo>
                  <a:lnTo>
                    <a:pt x="1466" y="588"/>
                  </a:lnTo>
                  <a:lnTo>
                    <a:pt x="1466" y="588"/>
                  </a:lnTo>
                  <a:lnTo>
                    <a:pt x="1468" y="588"/>
                  </a:lnTo>
                  <a:lnTo>
                    <a:pt x="1468" y="588"/>
                  </a:lnTo>
                  <a:lnTo>
                    <a:pt x="1471" y="590"/>
                  </a:lnTo>
                  <a:lnTo>
                    <a:pt x="1471" y="590"/>
                  </a:lnTo>
                  <a:lnTo>
                    <a:pt x="1471" y="590"/>
                  </a:lnTo>
                  <a:lnTo>
                    <a:pt x="1471" y="590"/>
                  </a:lnTo>
                  <a:lnTo>
                    <a:pt x="1473" y="590"/>
                  </a:lnTo>
                  <a:lnTo>
                    <a:pt x="1473" y="590"/>
                  </a:lnTo>
                  <a:lnTo>
                    <a:pt x="1473" y="590"/>
                  </a:lnTo>
                  <a:lnTo>
                    <a:pt x="1468" y="584"/>
                  </a:lnTo>
                  <a:lnTo>
                    <a:pt x="1471" y="584"/>
                  </a:lnTo>
                  <a:lnTo>
                    <a:pt x="1471" y="584"/>
                  </a:lnTo>
                  <a:lnTo>
                    <a:pt x="1473" y="586"/>
                  </a:lnTo>
                  <a:lnTo>
                    <a:pt x="1475" y="588"/>
                  </a:lnTo>
                  <a:lnTo>
                    <a:pt x="1475" y="586"/>
                  </a:lnTo>
                  <a:lnTo>
                    <a:pt x="1475" y="586"/>
                  </a:lnTo>
                  <a:lnTo>
                    <a:pt x="1475" y="586"/>
                  </a:lnTo>
                  <a:lnTo>
                    <a:pt x="1475" y="586"/>
                  </a:lnTo>
                  <a:lnTo>
                    <a:pt x="1475" y="586"/>
                  </a:lnTo>
                  <a:lnTo>
                    <a:pt x="1477" y="588"/>
                  </a:lnTo>
                  <a:lnTo>
                    <a:pt x="1477" y="590"/>
                  </a:lnTo>
                  <a:lnTo>
                    <a:pt x="1477" y="592"/>
                  </a:lnTo>
                  <a:lnTo>
                    <a:pt x="1479" y="592"/>
                  </a:lnTo>
                  <a:lnTo>
                    <a:pt x="1479" y="592"/>
                  </a:lnTo>
                  <a:lnTo>
                    <a:pt x="1481" y="592"/>
                  </a:lnTo>
                  <a:lnTo>
                    <a:pt x="1483" y="590"/>
                  </a:lnTo>
                  <a:lnTo>
                    <a:pt x="1483" y="590"/>
                  </a:lnTo>
                  <a:lnTo>
                    <a:pt x="1483" y="592"/>
                  </a:lnTo>
                  <a:lnTo>
                    <a:pt x="1483" y="592"/>
                  </a:lnTo>
                  <a:lnTo>
                    <a:pt x="1481" y="592"/>
                  </a:lnTo>
                  <a:lnTo>
                    <a:pt x="1481" y="592"/>
                  </a:lnTo>
                  <a:lnTo>
                    <a:pt x="1485" y="594"/>
                  </a:lnTo>
                  <a:lnTo>
                    <a:pt x="1485" y="594"/>
                  </a:lnTo>
                  <a:lnTo>
                    <a:pt x="1487" y="592"/>
                  </a:lnTo>
                  <a:lnTo>
                    <a:pt x="1487" y="592"/>
                  </a:lnTo>
                  <a:lnTo>
                    <a:pt x="1487" y="592"/>
                  </a:lnTo>
                  <a:lnTo>
                    <a:pt x="1487" y="592"/>
                  </a:lnTo>
                  <a:lnTo>
                    <a:pt x="1487" y="592"/>
                  </a:lnTo>
                  <a:lnTo>
                    <a:pt x="1487" y="590"/>
                  </a:lnTo>
                  <a:lnTo>
                    <a:pt x="1487" y="590"/>
                  </a:lnTo>
                  <a:lnTo>
                    <a:pt x="1487" y="588"/>
                  </a:lnTo>
                  <a:lnTo>
                    <a:pt x="1487" y="588"/>
                  </a:lnTo>
                  <a:lnTo>
                    <a:pt x="1487" y="586"/>
                  </a:lnTo>
                  <a:lnTo>
                    <a:pt x="1487" y="586"/>
                  </a:lnTo>
                  <a:lnTo>
                    <a:pt x="1485" y="586"/>
                  </a:lnTo>
                  <a:lnTo>
                    <a:pt x="1487" y="586"/>
                  </a:lnTo>
                  <a:lnTo>
                    <a:pt x="1487" y="586"/>
                  </a:lnTo>
                  <a:lnTo>
                    <a:pt x="1485" y="584"/>
                  </a:lnTo>
                  <a:lnTo>
                    <a:pt x="1485" y="584"/>
                  </a:lnTo>
                  <a:lnTo>
                    <a:pt x="1483" y="586"/>
                  </a:lnTo>
                  <a:lnTo>
                    <a:pt x="1483" y="586"/>
                  </a:lnTo>
                  <a:lnTo>
                    <a:pt x="1485" y="584"/>
                  </a:lnTo>
                  <a:lnTo>
                    <a:pt x="1485" y="584"/>
                  </a:lnTo>
                  <a:lnTo>
                    <a:pt x="1485" y="582"/>
                  </a:lnTo>
                  <a:lnTo>
                    <a:pt x="1485" y="582"/>
                  </a:lnTo>
                  <a:lnTo>
                    <a:pt x="1485" y="582"/>
                  </a:lnTo>
                  <a:lnTo>
                    <a:pt x="1483" y="580"/>
                  </a:lnTo>
                  <a:lnTo>
                    <a:pt x="1483" y="580"/>
                  </a:lnTo>
                  <a:lnTo>
                    <a:pt x="1483" y="580"/>
                  </a:lnTo>
                  <a:lnTo>
                    <a:pt x="1483" y="580"/>
                  </a:lnTo>
                  <a:lnTo>
                    <a:pt x="1485" y="580"/>
                  </a:lnTo>
                  <a:lnTo>
                    <a:pt x="1485" y="580"/>
                  </a:lnTo>
                  <a:lnTo>
                    <a:pt x="1485" y="580"/>
                  </a:lnTo>
                  <a:lnTo>
                    <a:pt x="1485" y="580"/>
                  </a:lnTo>
                  <a:lnTo>
                    <a:pt x="1485" y="582"/>
                  </a:lnTo>
                  <a:lnTo>
                    <a:pt x="1485" y="582"/>
                  </a:lnTo>
                  <a:lnTo>
                    <a:pt x="1485" y="582"/>
                  </a:lnTo>
                  <a:lnTo>
                    <a:pt x="1487" y="584"/>
                  </a:lnTo>
                  <a:lnTo>
                    <a:pt x="1487" y="584"/>
                  </a:lnTo>
                  <a:lnTo>
                    <a:pt x="1487" y="584"/>
                  </a:lnTo>
                  <a:lnTo>
                    <a:pt x="1487" y="584"/>
                  </a:lnTo>
                  <a:lnTo>
                    <a:pt x="1487" y="586"/>
                  </a:lnTo>
                  <a:lnTo>
                    <a:pt x="1487" y="586"/>
                  </a:lnTo>
                  <a:lnTo>
                    <a:pt x="1489" y="586"/>
                  </a:lnTo>
                  <a:lnTo>
                    <a:pt x="1489" y="586"/>
                  </a:lnTo>
                  <a:lnTo>
                    <a:pt x="1489" y="588"/>
                  </a:lnTo>
                  <a:lnTo>
                    <a:pt x="1489" y="588"/>
                  </a:lnTo>
                  <a:lnTo>
                    <a:pt x="1489" y="588"/>
                  </a:lnTo>
                  <a:lnTo>
                    <a:pt x="1489" y="588"/>
                  </a:lnTo>
                  <a:lnTo>
                    <a:pt x="1491" y="586"/>
                  </a:lnTo>
                  <a:lnTo>
                    <a:pt x="1491" y="584"/>
                  </a:lnTo>
                  <a:lnTo>
                    <a:pt x="1491" y="584"/>
                  </a:lnTo>
                  <a:lnTo>
                    <a:pt x="1489" y="584"/>
                  </a:lnTo>
                  <a:lnTo>
                    <a:pt x="1489" y="584"/>
                  </a:lnTo>
                  <a:lnTo>
                    <a:pt x="1491" y="584"/>
                  </a:lnTo>
                  <a:lnTo>
                    <a:pt x="1495" y="584"/>
                  </a:lnTo>
                  <a:lnTo>
                    <a:pt x="1495" y="584"/>
                  </a:lnTo>
                  <a:lnTo>
                    <a:pt x="1495" y="584"/>
                  </a:lnTo>
                  <a:lnTo>
                    <a:pt x="1491" y="586"/>
                  </a:lnTo>
                  <a:lnTo>
                    <a:pt x="1491" y="586"/>
                  </a:lnTo>
                  <a:lnTo>
                    <a:pt x="1491" y="586"/>
                  </a:lnTo>
                  <a:lnTo>
                    <a:pt x="1491" y="586"/>
                  </a:lnTo>
                  <a:lnTo>
                    <a:pt x="1491" y="586"/>
                  </a:lnTo>
                  <a:lnTo>
                    <a:pt x="1489" y="590"/>
                  </a:lnTo>
                  <a:lnTo>
                    <a:pt x="1489" y="590"/>
                  </a:lnTo>
                  <a:lnTo>
                    <a:pt x="1489" y="590"/>
                  </a:lnTo>
                  <a:lnTo>
                    <a:pt x="1491" y="592"/>
                  </a:lnTo>
                  <a:lnTo>
                    <a:pt x="1491" y="592"/>
                  </a:lnTo>
                  <a:lnTo>
                    <a:pt x="1491" y="592"/>
                  </a:lnTo>
                  <a:lnTo>
                    <a:pt x="1491" y="592"/>
                  </a:lnTo>
                  <a:lnTo>
                    <a:pt x="1493" y="594"/>
                  </a:lnTo>
                  <a:lnTo>
                    <a:pt x="1493" y="594"/>
                  </a:lnTo>
                  <a:lnTo>
                    <a:pt x="1493" y="594"/>
                  </a:lnTo>
                  <a:lnTo>
                    <a:pt x="1493" y="594"/>
                  </a:lnTo>
                  <a:lnTo>
                    <a:pt x="1493" y="596"/>
                  </a:lnTo>
                  <a:lnTo>
                    <a:pt x="1493" y="596"/>
                  </a:lnTo>
                  <a:lnTo>
                    <a:pt x="1493" y="596"/>
                  </a:lnTo>
                  <a:lnTo>
                    <a:pt x="1495" y="598"/>
                  </a:lnTo>
                  <a:lnTo>
                    <a:pt x="1497" y="598"/>
                  </a:lnTo>
                  <a:lnTo>
                    <a:pt x="1497" y="598"/>
                  </a:lnTo>
                  <a:lnTo>
                    <a:pt x="1497" y="598"/>
                  </a:lnTo>
                  <a:lnTo>
                    <a:pt x="1497" y="598"/>
                  </a:lnTo>
                  <a:lnTo>
                    <a:pt x="1497" y="600"/>
                  </a:lnTo>
                  <a:lnTo>
                    <a:pt x="1497" y="600"/>
                  </a:lnTo>
                  <a:lnTo>
                    <a:pt x="1497" y="600"/>
                  </a:lnTo>
                  <a:lnTo>
                    <a:pt x="1497" y="603"/>
                  </a:lnTo>
                  <a:lnTo>
                    <a:pt x="1497" y="603"/>
                  </a:lnTo>
                  <a:lnTo>
                    <a:pt x="1499" y="603"/>
                  </a:lnTo>
                  <a:lnTo>
                    <a:pt x="1499" y="605"/>
                  </a:lnTo>
                  <a:lnTo>
                    <a:pt x="1499" y="605"/>
                  </a:lnTo>
                  <a:lnTo>
                    <a:pt x="1499" y="605"/>
                  </a:lnTo>
                  <a:lnTo>
                    <a:pt x="1499" y="607"/>
                  </a:lnTo>
                  <a:lnTo>
                    <a:pt x="1497" y="607"/>
                  </a:lnTo>
                  <a:lnTo>
                    <a:pt x="1497" y="607"/>
                  </a:lnTo>
                  <a:lnTo>
                    <a:pt x="1497" y="607"/>
                  </a:lnTo>
                  <a:lnTo>
                    <a:pt x="1497" y="607"/>
                  </a:lnTo>
                  <a:lnTo>
                    <a:pt x="1497" y="607"/>
                  </a:lnTo>
                  <a:lnTo>
                    <a:pt x="1497" y="607"/>
                  </a:lnTo>
                  <a:lnTo>
                    <a:pt x="1497" y="607"/>
                  </a:lnTo>
                  <a:lnTo>
                    <a:pt x="1497" y="607"/>
                  </a:lnTo>
                  <a:lnTo>
                    <a:pt x="1499" y="607"/>
                  </a:lnTo>
                  <a:lnTo>
                    <a:pt x="1499" y="607"/>
                  </a:lnTo>
                  <a:lnTo>
                    <a:pt x="1499" y="609"/>
                  </a:lnTo>
                  <a:lnTo>
                    <a:pt x="1499" y="611"/>
                  </a:lnTo>
                  <a:lnTo>
                    <a:pt x="1499" y="611"/>
                  </a:lnTo>
                  <a:lnTo>
                    <a:pt x="1499" y="611"/>
                  </a:lnTo>
                  <a:lnTo>
                    <a:pt x="1505" y="609"/>
                  </a:lnTo>
                  <a:lnTo>
                    <a:pt x="1505" y="607"/>
                  </a:lnTo>
                  <a:lnTo>
                    <a:pt x="1505" y="607"/>
                  </a:lnTo>
                  <a:lnTo>
                    <a:pt x="1507" y="607"/>
                  </a:lnTo>
                  <a:lnTo>
                    <a:pt x="1507" y="607"/>
                  </a:lnTo>
                  <a:lnTo>
                    <a:pt x="1509" y="609"/>
                  </a:lnTo>
                  <a:lnTo>
                    <a:pt x="1509" y="609"/>
                  </a:lnTo>
                  <a:lnTo>
                    <a:pt x="1509" y="609"/>
                  </a:lnTo>
                  <a:lnTo>
                    <a:pt x="1509" y="609"/>
                  </a:lnTo>
                  <a:lnTo>
                    <a:pt x="1509" y="607"/>
                  </a:lnTo>
                  <a:lnTo>
                    <a:pt x="1509" y="607"/>
                  </a:lnTo>
                  <a:lnTo>
                    <a:pt x="1509" y="605"/>
                  </a:lnTo>
                  <a:lnTo>
                    <a:pt x="1509" y="605"/>
                  </a:lnTo>
                  <a:lnTo>
                    <a:pt x="1507" y="605"/>
                  </a:lnTo>
                  <a:lnTo>
                    <a:pt x="1507" y="603"/>
                  </a:lnTo>
                  <a:lnTo>
                    <a:pt x="1507" y="603"/>
                  </a:lnTo>
                  <a:lnTo>
                    <a:pt x="1509" y="603"/>
                  </a:lnTo>
                  <a:lnTo>
                    <a:pt x="1509" y="605"/>
                  </a:lnTo>
                  <a:lnTo>
                    <a:pt x="1509" y="605"/>
                  </a:lnTo>
                  <a:lnTo>
                    <a:pt x="1512" y="607"/>
                  </a:lnTo>
                  <a:lnTo>
                    <a:pt x="1512" y="607"/>
                  </a:lnTo>
                  <a:lnTo>
                    <a:pt x="1512" y="609"/>
                  </a:lnTo>
                  <a:lnTo>
                    <a:pt x="1514" y="611"/>
                  </a:lnTo>
                  <a:lnTo>
                    <a:pt x="1516" y="613"/>
                  </a:lnTo>
                  <a:lnTo>
                    <a:pt x="1516" y="613"/>
                  </a:lnTo>
                  <a:lnTo>
                    <a:pt x="1520" y="613"/>
                  </a:lnTo>
                  <a:lnTo>
                    <a:pt x="1522" y="613"/>
                  </a:lnTo>
                  <a:lnTo>
                    <a:pt x="1522" y="613"/>
                  </a:lnTo>
                  <a:lnTo>
                    <a:pt x="1522" y="613"/>
                  </a:lnTo>
                  <a:lnTo>
                    <a:pt x="1522" y="613"/>
                  </a:lnTo>
                  <a:lnTo>
                    <a:pt x="1522" y="611"/>
                  </a:lnTo>
                  <a:lnTo>
                    <a:pt x="1522" y="611"/>
                  </a:lnTo>
                  <a:lnTo>
                    <a:pt x="1522" y="611"/>
                  </a:lnTo>
                  <a:lnTo>
                    <a:pt x="1522" y="611"/>
                  </a:lnTo>
                  <a:lnTo>
                    <a:pt x="1522" y="609"/>
                  </a:lnTo>
                  <a:lnTo>
                    <a:pt x="1522" y="609"/>
                  </a:lnTo>
                  <a:lnTo>
                    <a:pt x="1522" y="609"/>
                  </a:lnTo>
                  <a:lnTo>
                    <a:pt x="1522" y="609"/>
                  </a:lnTo>
                  <a:lnTo>
                    <a:pt x="1522" y="609"/>
                  </a:lnTo>
                  <a:lnTo>
                    <a:pt x="1522" y="609"/>
                  </a:lnTo>
                  <a:lnTo>
                    <a:pt x="1522" y="607"/>
                  </a:lnTo>
                  <a:lnTo>
                    <a:pt x="1522" y="607"/>
                  </a:lnTo>
                  <a:lnTo>
                    <a:pt x="1520" y="603"/>
                  </a:lnTo>
                  <a:lnTo>
                    <a:pt x="1518" y="600"/>
                  </a:lnTo>
                  <a:lnTo>
                    <a:pt x="1518" y="600"/>
                  </a:lnTo>
                  <a:lnTo>
                    <a:pt x="1518" y="600"/>
                  </a:lnTo>
                  <a:lnTo>
                    <a:pt x="1518" y="598"/>
                  </a:lnTo>
                  <a:lnTo>
                    <a:pt x="1518" y="598"/>
                  </a:lnTo>
                  <a:lnTo>
                    <a:pt x="1518" y="598"/>
                  </a:lnTo>
                  <a:lnTo>
                    <a:pt x="1518" y="598"/>
                  </a:lnTo>
                  <a:lnTo>
                    <a:pt x="1516" y="598"/>
                  </a:lnTo>
                  <a:lnTo>
                    <a:pt x="1516" y="596"/>
                  </a:lnTo>
                  <a:lnTo>
                    <a:pt x="1514" y="594"/>
                  </a:lnTo>
                  <a:lnTo>
                    <a:pt x="1514" y="594"/>
                  </a:lnTo>
                  <a:lnTo>
                    <a:pt x="1514" y="594"/>
                  </a:lnTo>
                  <a:lnTo>
                    <a:pt x="1514" y="592"/>
                  </a:lnTo>
                  <a:lnTo>
                    <a:pt x="1514" y="592"/>
                  </a:lnTo>
                  <a:lnTo>
                    <a:pt x="1514" y="592"/>
                  </a:lnTo>
                  <a:lnTo>
                    <a:pt x="1512" y="588"/>
                  </a:lnTo>
                  <a:lnTo>
                    <a:pt x="1512" y="588"/>
                  </a:lnTo>
                  <a:lnTo>
                    <a:pt x="1512" y="588"/>
                  </a:lnTo>
                  <a:lnTo>
                    <a:pt x="1512" y="586"/>
                  </a:lnTo>
                  <a:lnTo>
                    <a:pt x="1507" y="584"/>
                  </a:lnTo>
                  <a:lnTo>
                    <a:pt x="1507" y="582"/>
                  </a:lnTo>
                  <a:lnTo>
                    <a:pt x="1507" y="582"/>
                  </a:lnTo>
                  <a:lnTo>
                    <a:pt x="1507" y="580"/>
                  </a:lnTo>
                  <a:lnTo>
                    <a:pt x="1507" y="580"/>
                  </a:lnTo>
                  <a:lnTo>
                    <a:pt x="1505" y="580"/>
                  </a:lnTo>
                  <a:lnTo>
                    <a:pt x="1505" y="580"/>
                  </a:lnTo>
                  <a:lnTo>
                    <a:pt x="1505" y="580"/>
                  </a:lnTo>
                  <a:lnTo>
                    <a:pt x="1503" y="578"/>
                  </a:lnTo>
                  <a:lnTo>
                    <a:pt x="1503" y="578"/>
                  </a:lnTo>
                  <a:lnTo>
                    <a:pt x="1503" y="576"/>
                  </a:lnTo>
                  <a:lnTo>
                    <a:pt x="1503" y="576"/>
                  </a:lnTo>
                  <a:lnTo>
                    <a:pt x="1503" y="576"/>
                  </a:lnTo>
                  <a:lnTo>
                    <a:pt x="1503" y="576"/>
                  </a:lnTo>
                  <a:lnTo>
                    <a:pt x="1503" y="574"/>
                  </a:lnTo>
                  <a:lnTo>
                    <a:pt x="1503" y="574"/>
                  </a:lnTo>
                  <a:lnTo>
                    <a:pt x="1503" y="574"/>
                  </a:lnTo>
                  <a:lnTo>
                    <a:pt x="1503" y="572"/>
                  </a:lnTo>
                  <a:lnTo>
                    <a:pt x="1503" y="572"/>
                  </a:lnTo>
                  <a:lnTo>
                    <a:pt x="1501" y="572"/>
                  </a:lnTo>
                  <a:lnTo>
                    <a:pt x="1501" y="570"/>
                  </a:lnTo>
                  <a:lnTo>
                    <a:pt x="1501" y="570"/>
                  </a:lnTo>
                  <a:lnTo>
                    <a:pt x="1499" y="570"/>
                  </a:lnTo>
                  <a:lnTo>
                    <a:pt x="1499" y="568"/>
                  </a:lnTo>
                  <a:lnTo>
                    <a:pt x="1499" y="568"/>
                  </a:lnTo>
                  <a:lnTo>
                    <a:pt x="1497" y="566"/>
                  </a:lnTo>
                  <a:lnTo>
                    <a:pt x="1495" y="566"/>
                  </a:lnTo>
                  <a:lnTo>
                    <a:pt x="1497" y="566"/>
                  </a:lnTo>
                  <a:lnTo>
                    <a:pt x="1497" y="566"/>
                  </a:lnTo>
                  <a:lnTo>
                    <a:pt x="1499" y="566"/>
                  </a:lnTo>
                  <a:lnTo>
                    <a:pt x="1501" y="568"/>
                  </a:lnTo>
                  <a:lnTo>
                    <a:pt x="1501" y="568"/>
                  </a:lnTo>
                  <a:lnTo>
                    <a:pt x="1501" y="570"/>
                  </a:lnTo>
                  <a:lnTo>
                    <a:pt x="1501" y="570"/>
                  </a:lnTo>
                  <a:lnTo>
                    <a:pt x="1503" y="570"/>
                  </a:lnTo>
                  <a:lnTo>
                    <a:pt x="1503" y="570"/>
                  </a:lnTo>
                  <a:lnTo>
                    <a:pt x="1503" y="572"/>
                  </a:lnTo>
                  <a:lnTo>
                    <a:pt x="1503" y="570"/>
                  </a:lnTo>
                  <a:lnTo>
                    <a:pt x="1503" y="570"/>
                  </a:lnTo>
                  <a:lnTo>
                    <a:pt x="1503" y="570"/>
                  </a:lnTo>
                  <a:lnTo>
                    <a:pt x="1503" y="570"/>
                  </a:lnTo>
                  <a:lnTo>
                    <a:pt x="1503" y="568"/>
                  </a:lnTo>
                  <a:lnTo>
                    <a:pt x="1503" y="568"/>
                  </a:lnTo>
                  <a:lnTo>
                    <a:pt x="1503" y="568"/>
                  </a:lnTo>
                  <a:lnTo>
                    <a:pt x="1503" y="568"/>
                  </a:lnTo>
                  <a:lnTo>
                    <a:pt x="1503" y="568"/>
                  </a:lnTo>
                  <a:lnTo>
                    <a:pt x="1503" y="568"/>
                  </a:lnTo>
                  <a:lnTo>
                    <a:pt x="1501" y="566"/>
                  </a:lnTo>
                  <a:lnTo>
                    <a:pt x="1501" y="566"/>
                  </a:lnTo>
                  <a:lnTo>
                    <a:pt x="1501" y="566"/>
                  </a:lnTo>
                  <a:lnTo>
                    <a:pt x="1501" y="566"/>
                  </a:lnTo>
                  <a:lnTo>
                    <a:pt x="1499" y="564"/>
                  </a:lnTo>
                  <a:lnTo>
                    <a:pt x="1499" y="564"/>
                  </a:lnTo>
                  <a:lnTo>
                    <a:pt x="1499" y="564"/>
                  </a:lnTo>
                  <a:lnTo>
                    <a:pt x="1499" y="564"/>
                  </a:lnTo>
                  <a:lnTo>
                    <a:pt x="1499" y="564"/>
                  </a:lnTo>
                  <a:lnTo>
                    <a:pt x="1499" y="564"/>
                  </a:lnTo>
                  <a:lnTo>
                    <a:pt x="1497" y="562"/>
                  </a:lnTo>
                  <a:lnTo>
                    <a:pt x="1497" y="562"/>
                  </a:lnTo>
                  <a:lnTo>
                    <a:pt x="1495" y="562"/>
                  </a:lnTo>
                  <a:lnTo>
                    <a:pt x="1495" y="562"/>
                  </a:lnTo>
                  <a:lnTo>
                    <a:pt x="1495" y="562"/>
                  </a:lnTo>
                  <a:lnTo>
                    <a:pt x="1497" y="562"/>
                  </a:lnTo>
                  <a:lnTo>
                    <a:pt x="1497" y="562"/>
                  </a:lnTo>
                  <a:lnTo>
                    <a:pt x="1499" y="562"/>
                  </a:lnTo>
                  <a:lnTo>
                    <a:pt x="1499" y="559"/>
                  </a:lnTo>
                  <a:lnTo>
                    <a:pt x="1497" y="557"/>
                  </a:lnTo>
                  <a:lnTo>
                    <a:pt x="1497" y="553"/>
                  </a:lnTo>
                  <a:lnTo>
                    <a:pt x="1497" y="551"/>
                  </a:lnTo>
                  <a:lnTo>
                    <a:pt x="1499" y="553"/>
                  </a:lnTo>
                  <a:lnTo>
                    <a:pt x="1499" y="555"/>
                  </a:lnTo>
                  <a:lnTo>
                    <a:pt x="1499" y="559"/>
                  </a:lnTo>
                  <a:lnTo>
                    <a:pt x="1499" y="562"/>
                  </a:lnTo>
                  <a:lnTo>
                    <a:pt x="1501" y="564"/>
                  </a:lnTo>
                  <a:lnTo>
                    <a:pt x="1503" y="566"/>
                  </a:lnTo>
                  <a:lnTo>
                    <a:pt x="1503" y="566"/>
                  </a:lnTo>
                  <a:lnTo>
                    <a:pt x="1505" y="568"/>
                  </a:lnTo>
                  <a:lnTo>
                    <a:pt x="1505" y="570"/>
                  </a:lnTo>
                  <a:lnTo>
                    <a:pt x="1505" y="570"/>
                  </a:lnTo>
                  <a:lnTo>
                    <a:pt x="1507" y="572"/>
                  </a:lnTo>
                  <a:lnTo>
                    <a:pt x="1507" y="572"/>
                  </a:lnTo>
                  <a:lnTo>
                    <a:pt x="1507" y="574"/>
                  </a:lnTo>
                  <a:lnTo>
                    <a:pt x="1507" y="574"/>
                  </a:lnTo>
                  <a:lnTo>
                    <a:pt x="1509" y="574"/>
                  </a:lnTo>
                  <a:lnTo>
                    <a:pt x="1509" y="574"/>
                  </a:lnTo>
                  <a:lnTo>
                    <a:pt x="1509" y="576"/>
                  </a:lnTo>
                  <a:lnTo>
                    <a:pt x="1509" y="578"/>
                  </a:lnTo>
                  <a:lnTo>
                    <a:pt x="1512" y="578"/>
                  </a:lnTo>
                  <a:lnTo>
                    <a:pt x="1512" y="578"/>
                  </a:lnTo>
                  <a:lnTo>
                    <a:pt x="1512" y="580"/>
                  </a:lnTo>
                  <a:lnTo>
                    <a:pt x="1512" y="582"/>
                  </a:lnTo>
                  <a:lnTo>
                    <a:pt x="1512" y="582"/>
                  </a:lnTo>
                  <a:lnTo>
                    <a:pt x="1512" y="582"/>
                  </a:lnTo>
                  <a:lnTo>
                    <a:pt x="1514" y="584"/>
                  </a:lnTo>
                  <a:lnTo>
                    <a:pt x="1516" y="586"/>
                  </a:lnTo>
                  <a:lnTo>
                    <a:pt x="1516" y="586"/>
                  </a:lnTo>
                  <a:lnTo>
                    <a:pt x="1516" y="586"/>
                  </a:lnTo>
                  <a:lnTo>
                    <a:pt x="1516" y="586"/>
                  </a:lnTo>
                  <a:lnTo>
                    <a:pt x="1516" y="586"/>
                  </a:lnTo>
                  <a:lnTo>
                    <a:pt x="1516" y="584"/>
                  </a:lnTo>
                  <a:lnTo>
                    <a:pt x="1516" y="584"/>
                  </a:lnTo>
                  <a:lnTo>
                    <a:pt x="1516" y="584"/>
                  </a:lnTo>
                  <a:lnTo>
                    <a:pt x="1516" y="584"/>
                  </a:lnTo>
                  <a:lnTo>
                    <a:pt x="1516" y="582"/>
                  </a:lnTo>
                  <a:lnTo>
                    <a:pt x="1516" y="582"/>
                  </a:lnTo>
                  <a:lnTo>
                    <a:pt x="1516" y="582"/>
                  </a:lnTo>
                  <a:lnTo>
                    <a:pt x="1518" y="582"/>
                  </a:lnTo>
                  <a:lnTo>
                    <a:pt x="1518" y="582"/>
                  </a:lnTo>
                  <a:lnTo>
                    <a:pt x="1518" y="582"/>
                  </a:lnTo>
                  <a:lnTo>
                    <a:pt x="1518" y="582"/>
                  </a:lnTo>
                  <a:lnTo>
                    <a:pt x="1518" y="584"/>
                  </a:lnTo>
                  <a:lnTo>
                    <a:pt x="1520" y="584"/>
                  </a:lnTo>
                  <a:lnTo>
                    <a:pt x="1520" y="586"/>
                  </a:lnTo>
                  <a:lnTo>
                    <a:pt x="1520" y="588"/>
                  </a:lnTo>
                  <a:lnTo>
                    <a:pt x="1520" y="588"/>
                  </a:lnTo>
                  <a:lnTo>
                    <a:pt x="1520" y="590"/>
                  </a:lnTo>
                  <a:lnTo>
                    <a:pt x="1520" y="590"/>
                  </a:lnTo>
                  <a:lnTo>
                    <a:pt x="1520" y="590"/>
                  </a:lnTo>
                  <a:lnTo>
                    <a:pt x="1520" y="588"/>
                  </a:lnTo>
                  <a:lnTo>
                    <a:pt x="1520" y="590"/>
                  </a:lnTo>
                  <a:lnTo>
                    <a:pt x="1520" y="590"/>
                  </a:lnTo>
                  <a:lnTo>
                    <a:pt x="1518" y="588"/>
                  </a:lnTo>
                  <a:lnTo>
                    <a:pt x="1520" y="590"/>
                  </a:lnTo>
                  <a:lnTo>
                    <a:pt x="1520" y="592"/>
                  </a:lnTo>
                  <a:lnTo>
                    <a:pt x="1522" y="594"/>
                  </a:lnTo>
                  <a:lnTo>
                    <a:pt x="1524" y="594"/>
                  </a:lnTo>
                  <a:lnTo>
                    <a:pt x="1524" y="594"/>
                  </a:lnTo>
                  <a:lnTo>
                    <a:pt x="1526" y="596"/>
                  </a:lnTo>
                  <a:lnTo>
                    <a:pt x="1526" y="596"/>
                  </a:lnTo>
                  <a:lnTo>
                    <a:pt x="1526" y="596"/>
                  </a:lnTo>
                  <a:lnTo>
                    <a:pt x="1526" y="596"/>
                  </a:lnTo>
                  <a:lnTo>
                    <a:pt x="1526" y="596"/>
                  </a:lnTo>
                  <a:lnTo>
                    <a:pt x="1526" y="596"/>
                  </a:lnTo>
                  <a:lnTo>
                    <a:pt x="1526" y="596"/>
                  </a:lnTo>
                  <a:lnTo>
                    <a:pt x="1526" y="596"/>
                  </a:lnTo>
                  <a:lnTo>
                    <a:pt x="1528" y="598"/>
                  </a:lnTo>
                  <a:lnTo>
                    <a:pt x="1528" y="600"/>
                  </a:lnTo>
                  <a:lnTo>
                    <a:pt x="1528" y="600"/>
                  </a:lnTo>
                  <a:lnTo>
                    <a:pt x="1528" y="603"/>
                  </a:lnTo>
                  <a:lnTo>
                    <a:pt x="1530" y="603"/>
                  </a:lnTo>
                  <a:lnTo>
                    <a:pt x="1530" y="603"/>
                  </a:lnTo>
                  <a:lnTo>
                    <a:pt x="1530" y="603"/>
                  </a:lnTo>
                  <a:lnTo>
                    <a:pt x="1532" y="600"/>
                  </a:lnTo>
                  <a:lnTo>
                    <a:pt x="1532" y="600"/>
                  </a:lnTo>
                  <a:lnTo>
                    <a:pt x="1532" y="603"/>
                  </a:lnTo>
                  <a:lnTo>
                    <a:pt x="1532" y="603"/>
                  </a:lnTo>
                  <a:lnTo>
                    <a:pt x="1532" y="603"/>
                  </a:lnTo>
                  <a:lnTo>
                    <a:pt x="1532" y="603"/>
                  </a:lnTo>
                  <a:lnTo>
                    <a:pt x="1532" y="603"/>
                  </a:lnTo>
                  <a:lnTo>
                    <a:pt x="1532" y="603"/>
                  </a:lnTo>
                  <a:lnTo>
                    <a:pt x="1532" y="603"/>
                  </a:lnTo>
                  <a:lnTo>
                    <a:pt x="1534" y="603"/>
                  </a:lnTo>
                  <a:lnTo>
                    <a:pt x="1534" y="603"/>
                  </a:lnTo>
                  <a:lnTo>
                    <a:pt x="1534" y="603"/>
                  </a:lnTo>
                  <a:lnTo>
                    <a:pt x="1536" y="603"/>
                  </a:lnTo>
                  <a:lnTo>
                    <a:pt x="1536" y="603"/>
                  </a:lnTo>
                  <a:lnTo>
                    <a:pt x="1536" y="603"/>
                  </a:lnTo>
                  <a:lnTo>
                    <a:pt x="1538" y="603"/>
                  </a:lnTo>
                  <a:lnTo>
                    <a:pt x="1538" y="603"/>
                  </a:lnTo>
                  <a:lnTo>
                    <a:pt x="1544" y="607"/>
                  </a:lnTo>
                  <a:lnTo>
                    <a:pt x="1546" y="607"/>
                  </a:lnTo>
                  <a:lnTo>
                    <a:pt x="1546" y="607"/>
                  </a:lnTo>
                  <a:lnTo>
                    <a:pt x="1546" y="607"/>
                  </a:lnTo>
                  <a:lnTo>
                    <a:pt x="1548" y="607"/>
                  </a:lnTo>
                  <a:lnTo>
                    <a:pt x="1548" y="605"/>
                  </a:lnTo>
                  <a:lnTo>
                    <a:pt x="1548" y="605"/>
                  </a:lnTo>
                  <a:lnTo>
                    <a:pt x="1548" y="605"/>
                  </a:lnTo>
                  <a:lnTo>
                    <a:pt x="1548" y="603"/>
                  </a:lnTo>
                  <a:lnTo>
                    <a:pt x="1546" y="603"/>
                  </a:lnTo>
                  <a:lnTo>
                    <a:pt x="1546" y="603"/>
                  </a:lnTo>
                  <a:lnTo>
                    <a:pt x="1546" y="600"/>
                  </a:lnTo>
                  <a:lnTo>
                    <a:pt x="1546" y="600"/>
                  </a:lnTo>
                  <a:lnTo>
                    <a:pt x="1546" y="598"/>
                  </a:lnTo>
                  <a:lnTo>
                    <a:pt x="1548" y="598"/>
                  </a:lnTo>
                  <a:lnTo>
                    <a:pt x="1548" y="596"/>
                  </a:lnTo>
                  <a:lnTo>
                    <a:pt x="1546" y="596"/>
                  </a:lnTo>
                  <a:lnTo>
                    <a:pt x="1546" y="594"/>
                  </a:lnTo>
                  <a:lnTo>
                    <a:pt x="1546" y="594"/>
                  </a:lnTo>
                  <a:lnTo>
                    <a:pt x="1546" y="594"/>
                  </a:lnTo>
                  <a:lnTo>
                    <a:pt x="1546" y="594"/>
                  </a:lnTo>
                  <a:lnTo>
                    <a:pt x="1548" y="594"/>
                  </a:lnTo>
                  <a:lnTo>
                    <a:pt x="1548" y="592"/>
                  </a:lnTo>
                  <a:lnTo>
                    <a:pt x="1548" y="592"/>
                  </a:lnTo>
                  <a:lnTo>
                    <a:pt x="1548" y="590"/>
                  </a:lnTo>
                  <a:lnTo>
                    <a:pt x="1546" y="590"/>
                  </a:lnTo>
                  <a:lnTo>
                    <a:pt x="1548" y="590"/>
                  </a:lnTo>
                  <a:lnTo>
                    <a:pt x="1548" y="588"/>
                  </a:lnTo>
                  <a:lnTo>
                    <a:pt x="1548" y="588"/>
                  </a:lnTo>
                  <a:lnTo>
                    <a:pt x="1552" y="588"/>
                  </a:lnTo>
                  <a:lnTo>
                    <a:pt x="1552" y="588"/>
                  </a:lnTo>
                  <a:lnTo>
                    <a:pt x="1550" y="588"/>
                  </a:lnTo>
                  <a:lnTo>
                    <a:pt x="1548" y="590"/>
                  </a:lnTo>
                  <a:lnTo>
                    <a:pt x="1548" y="592"/>
                  </a:lnTo>
                  <a:lnTo>
                    <a:pt x="1548" y="592"/>
                  </a:lnTo>
                  <a:lnTo>
                    <a:pt x="1548" y="592"/>
                  </a:lnTo>
                  <a:lnTo>
                    <a:pt x="1548" y="592"/>
                  </a:lnTo>
                  <a:lnTo>
                    <a:pt x="1548" y="594"/>
                  </a:lnTo>
                  <a:lnTo>
                    <a:pt x="1548" y="594"/>
                  </a:lnTo>
                  <a:lnTo>
                    <a:pt x="1548" y="594"/>
                  </a:lnTo>
                  <a:lnTo>
                    <a:pt x="1548" y="594"/>
                  </a:lnTo>
                  <a:lnTo>
                    <a:pt x="1548" y="596"/>
                  </a:lnTo>
                  <a:lnTo>
                    <a:pt x="1548" y="596"/>
                  </a:lnTo>
                  <a:lnTo>
                    <a:pt x="1550" y="598"/>
                  </a:lnTo>
                  <a:lnTo>
                    <a:pt x="1550" y="598"/>
                  </a:lnTo>
                  <a:lnTo>
                    <a:pt x="1550" y="598"/>
                  </a:lnTo>
                  <a:lnTo>
                    <a:pt x="1550" y="598"/>
                  </a:lnTo>
                  <a:lnTo>
                    <a:pt x="1550" y="600"/>
                  </a:lnTo>
                  <a:lnTo>
                    <a:pt x="1550" y="600"/>
                  </a:lnTo>
                  <a:lnTo>
                    <a:pt x="1548" y="600"/>
                  </a:lnTo>
                  <a:lnTo>
                    <a:pt x="1548" y="600"/>
                  </a:lnTo>
                  <a:lnTo>
                    <a:pt x="1548" y="603"/>
                  </a:lnTo>
                  <a:lnTo>
                    <a:pt x="1548" y="603"/>
                  </a:lnTo>
                  <a:lnTo>
                    <a:pt x="1548" y="603"/>
                  </a:lnTo>
                  <a:lnTo>
                    <a:pt x="1548" y="603"/>
                  </a:lnTo>
                  <a:lnTo>
                    <a:pt x="1548" y="603"/>
                  </a:lnTo>
                  <a:lnTo>
                    <a:pt x="1548" y="603"/>
                  </a:lnTo>
                  <a:lnTo>
                    <a:pt x="1548" y="603"/>
                  </a:lnTo>
                  <a:lnTo>
                    <a:pt x="1548" y="605"/>
                  </a:lnTo>
                  <a:lnTo>
                    <a:pt x="1548" y="605"/>
                  </a:lnTo>
                  <a:lnTo>
                    <a:pt x="1548" y="605"/>
                  </a:lnTo>
                  <a:lnTo>
                    <a:pt x="1548" y="605"/>
                  </a:lnTo>
                  <a:lnTo>
                    <a:pt x="1548" y="605"/>
                  </a:lnTo>
                  <a:lnTo>
                    <a:pt x="1548" y="607"/>
                  </a:lnTo>
                  <a:lnTo>
                    <a:pt x="1548" y="607"/>
                  </a:lnTo>
                  <a:lnTo>
                    <a:pt x="1550" y="607"/>
                  </a:lnTo>
                  <a:lnTo>
                    <a:pt x="1550" y="609"/>
                  </a:lnTo>
                  <a:lnTo>
                    <a:pt x="1550" y="609"/>
                  </a:lnTo>
                  <a:lnTo>
                    <a:pt x="1550" y="609"/>
                  </a:lnTo>
                  <a:lnTo>
                    <a:pt x="1550" y="609"/>
                  </a:lnTo>
                  <a:lnTo>
                    <a:pt x="1550" y="609"/>
                  </a:lnTo>
                  <a:lnTo>
                    <a:pt x="1552" y="609"/>
                  </a:lnTo>
                  <a:lnTo>
                    <a:pt x="1550" y="611"/>
                  </a:lnTo>
                  <a:lnTo>
                    <a:pt x="1550" y="611"/>
                  </a:lnTo>
                  <a:lnTo>
                    <a:pt x="1550" y="611"/>
                  </a:lnTo>
                  <a:lnTo>
                    <a:pt x="1552" y="611"/>
                  </a:lnTo>
                  <a:lnTo>
                    <a:pt x="1552" y="613"/>
                  </a:lnTo>
                  <a:lnTo>
                    <a:pt x="1552" y="613"/>
                  </a:lnTo>
                  <a:lnTo>
                    <a:pt x="1552" y="613"/>
                  </a:lnTo>
                  <a:lnTo>
                    <a:pt x="1552" y="613"/>
                  </a:lnTo>
                  <a:lnTo>
                    <a:pt x="1552" y="613"/>
                  </a:lnTo>
                  <a:lnTo>
                    <a:pt x="1552" y="613"/>
                  </a:lnTo>
                  <a:lnTo>
                    <a:pt x="1555" y="613"/>
                  </a:lnTo>
                  <a:lnTo>
                    <a:pt x="1555" y="613"/>
                  </a:lnTo>
                  <a:lnTo>
                    <a:pt x="1555" y="613"/>
                  </a:lnTo>
                  <a:lnTo>
                    <a:pt x="1555" y="613"/>
                  </a:lnTo>
                  <a:lnTo>
                    <a:pt x="1555" y="613"/>
                  </a:lnTo>
                  <a:lnTo>
                    <a:pt x="1555" y="615"/>
                  </a:lnTo>
                  <a:lnTo>
                    <a:pt x="1555" y="615"/>
                  </a:lnTo>
                  <a:lnTo>
                    <a:pt x="1555" y="615"/>
                  </a:lnTo>
                  <a:lnTo>
                    <a:pt x="1557" y="615"/>
                  </a:lnTo>
                  <a:lnTo>
                    <a:pt x="1557" y="615"/>
                  </a:lnTo>
                  <a:lnTo>
                    <a:pt x="1557" y="615"/>
                  </a:lnTo>
                  <a:lnTo>
                    <a:pt x="1557" y="615"/>
                  </a:lnTo>
                  <a:lnTo>
                    <a:pt x="1557" y="615"/>
                  </a:lnTo>
                  <a:lnTo>
                    <a:pt x="1557" y="615"/>
                  </a:lnTo>
                  <a:lnTo>
                    <a:pt x="1557" y="615"/>
                  </a:lnTo>
                  <a:lnTo>
                    <a:pt x="1559" y="615"/>
                  </a:lnTo>
                  <a:lnTo>
                    <a:pt x="1559" y="615"/>
                  </a:lnTo>
                  <a:lnTo>
                    <a:pt x="1559" y="613"/>
                  </a:lnTo>
                  <a:lnTo>
                    <a:pt x="1559" y="613"/>
                  </a:lnTo>
                  <a:lnTo>
                    <a:pt x="1559" y="611"/>
                  </a:lnTo>
                  <a:lnTo>
                    <a:pt x="1559" y="609"/>
                  </a:lnTo>
                  <a:lnTo>
                    <a:pt x="1559" y="607"/>
                  </a:lnTo>
                  <a:lnTo>
                    <a:pt x="1559" y="607"/>
                  </a:lnTo>
                  <a:lnTo>
                    <a:pt x="1559" y="607"/>
                  </a:lnTo>
                  <a:lnTo>
                    <a:pt x="1561" y="605"/>
                  </a:lnTo>
                  <a:lnTo>
                    <a:pt x="1561" y="605"/>
                  </a:lnTo>
                  <a:lnTo>
                    <a:pt x="1561" y="605"/>
                  </a:lnTo>
                  <a:lnTo>
                    <a:pt x="1561" y="605"/>
                  </a:lnTo>
                  <a:lnTo>
                    <a:pt x="1561" y="607"/>
                  </a:lnTo>
                  <a:lnTo>
                    <a:pt x="1561" y="607"/>
                  </a:lnTo>
                  <a:lnTo>
                    <a:pt x="1561" y="607"/>
                  </a:lnTo>
                  <a:lnTo>
                    <a:pt x="1561" y="607"/>
                  </a:lnTo>
                  <a:lnTo>
                    <a:pt x="1561" y="609"/>
                  </a:lnTo>
                  <a:lnTo>
                    <a:pt x="1561" y="609"/>
                  </a:lnTo>
                  <a:lnTo>
                    <a:pt x="1561" y="611"/>
                  </a:lnTo>
                  <a:lnTo>
                    <a:pt x="1561" y="611"/>
                  </a:lnTo>
                  <a:lnTo>
                    <a:pt x="1561" y="613"/>
                  </a:lnTo>
                  <a:lnTo>
                    <a:pt x="1563" y="611"/>
                  </a:lnTo>
                  <a:lnTo>
                    <a:pt x="1563" y="613"/>
                  </a:lnTo>
                  <a:lnTo>
                    <a:pt x="1563" y="613"/>
                  </a:lnTo>
                  <a:lnTo>
                    <a:pt x="1563" y="613"/>
                  </a:lnTo>
                  <a:lnTo>
                    <a:pt x="1563" y="615"/>
                  </a:lnTo>
                  <a:lnTo>
                    <a:pt x="1563" y="615"/>
                  </a:lnTo>
                  <a:lnTo>
                    <a:pt x="1563" y="615"/>
                  </a:lnTo>
                  <a:lnTo>
                    <a:pt x="1563" y="615"/>
                  </a:lnTo>
                  <a:lnTo>
                    <a:pt x="1563" y="615"/>
                  </a:lnTo>
                  <a:lnTo>
                    <a:pt x="1561" y="615"/>
                  </a:lnTo>
                  <a:lnTo>
                    <a:pt x="1561" y="615"/>
                  </a:lnTo>
                  <a:lnTo>
                    <a:pt x="1561" y="615"/>
                  </a:lnTo>
                  <a:lnTo>
                    <a:pt x="1561" y="615"/>
                  </a:lnTo>
                  <a:lnTo>
                    <a:pt x="1561" y="615"/>
                  </a:lnTo>
                  <a:lnTo>
                    <a:pt x="1559" y="617"/>
                  </a:lnTo>
                  <a:lnTo>
                    <a:pt x="1561" y="617"/>
                  </a:lnTo>
                  <a:lnTo>
                    <a:pt x="1561" y="617"/>
                  </a:lnTo>
                  <a:lnTo>
                    <a:pt x="1561" y="619"/>
                  </a:lnTo>
                  <a:lnTo>
                    <a:pt x="1561" y="619"/>
                  </a:lnTo>
                  <a:lnTo>
                    <a:pt x="1561" y="619"/>
                  </a:lnTo>
                  <a:lnTo>
                    <a:pt x="1563" y="621"/>
                  </a:lnTo>
                  <a:lnTo>
                    <a:pt x="1565" y="623"/>
                  </a:lnTo>
                  <a:lnTo>
                    <a:pt x="1567" y="623"/>
                  </a:lnTo>
                  <a:lnTo>
                    <a:pt x="1567" y="623"/>
                  </a:lnTo>
                  <a:lnTo>
                    <a:pt x="1567" y="621"/>
                  </a:lnTo>
                  <a:lnTo>
                    <a:pt x="1567" y="621"/>
                  </a:lnTo>
                  <a:lnTo>
                    <a:pt x="1567" y="619"/>
                  </a:lnTo>
                  <a:lnTo>
                    <a:pt x="1567" y="617"/>
                  </a:lnTo>
                  <a:lnTo>
                    <a:pt x="1567" y="619"/>
                  </a:lnTo>
                  <a:lnTo>
                    <a:pt x="1567" y="619"/>
                  </a:lnTo>
                  <a:lnTo>
                    <a:pt x="1567" y="619"/>
                  </a:lnTo>
                  <a:lnTo>
                    <a:pt x="1567" y="619"/>
                  </a:lnTo>
                  <a:lnTo>
                    <a:pt x="1567" y="619"/>
                  </a:lnTo>
                  <a:lnTo>
                    <a:pt x="1567" y="617"/>
                  </a:lnTo>
                  <a:lnTo>
                    <a:pt x="1567" y="617"/>
                  </a:lnTo>
                  <a:lnTo>
                    <a:pt x="1567" y="617"/>
                  </a:lnTo>
                  <a:lnTo>
                    <a:pt x="1567" y="615"/>
                  </a:lnTo>
                  <a:lnTo>
                    <a:pt x="1567" y="615"/>
                  </a:lnTo>
                  <a:lnTo>
                    <a:pt x="1577" y="613"/>
                  </a:lnTo>
                  <a:lnTo>
                    <a:pt x="1577" y="615"/>
                  </a:lnTo>
                  <a:lnTo>
                    <a:pt x="1579" y="615"/>
                  </a:lnTo>
                  <a:lnTo>
                    <a:pt x="1579" y="615"/>
                  </a:lnTo>
                  <a:lnTo>
                    <a:pt x="1579" y="615"/>
                  </a:lnTo>
                  <a:lnTo>
                    <a:pt x="1577" y="615"/>
                  </a:lnTo>
                  <a:lnTo>
                    <a:pt x="1575" y="615"/>
                  </a:lnTo>
                  <a:lnTo>
                    <a:pt x="1575" y="615"/>
                  </a:lnTo>
                  <a:lnTo>
                    <a:pt x="1575" y="615"/>
                  </a:lnTo>
                  <a:lnTo>
                    <a:pt x="1575" y="615"/>
                  </a:lnTo>
                  <a:lnTo>
                    <a:pt x="1575" y="615"/>
                  </a:lnTo>
                  <a:lnTo>
                    <a:pt x="1573" y="615"/>
                  </a:lnTo>
                  <a:lnTo>
                    <a:pt x="1571" y="615"/>
                  </a:lnTo>
                  <a:lnTo>
                    <a:pt x="1571" y="615"/>
                  </a:lnTo>
                  <a:lnTo>
                    <a:pt x="1569" y="615"/>
                  </a:lnTo>
                  <a:lnTo>
                    <a:pt x="1569" y="615"/>
                  </a:lnTo>
                  <a:lnTo>
                    <a:pt x="1567" y="615"/>
                  </a:lnTo>
                  <a:lnTo>
                    <a:pt x="1567" y="617"/>
                  </a:lnTo>
                  <a:lnTo>
                    <a:pt x="1569" y="621"/>
                  </a:lnTo>
                  <a:lnTo>
                    <a:pt x="1571" y="623"/>
                  </a:lnTo>
                  <a:lnTo>
                    <a:pt x="1571" y="623"/>
                  </a:lnTo>
                  <a:lnTo>
                    <a:pt x="1571" y="625"/>
                  </a:lnTo>
                  <a:lnTo>
                    <a:pt x="1573" y="625"/>
                  </a:lnTo>
                  <a:lnTo>
                    <a:pt x="1575" y="625"/>
                  </a:lnTo>
                  <a:lnTo>
                    <a:pt x="1575" y="625"/>
                  </a:lnTo>
                  <a:lnTo>
                    <a:pt x="1577" y="625"/>
                  </a:lnTo>
                  <a:lnTo>
                    <a:pt x="1579" y="627"/>
                  </a:lnTo>
                  <a:lnTo>
                    <a:pt x="1581" y="627"/>
                  </a:lnTo>
                  <a:lnTo>
                    <a:pt x="1581" y="627"/>
                  </a:lnTo>
                  <a:lnTo>
                    <a:pt x="1581" y="627"/>
                  </a:lnTo>
                  <a:lnTo>
                    <a:pt x="1583" y="627"/>
                  </a:lnTo>
                  <a:lnTo>
                    <a:pt x="1583" y="627"/>
                  </a:lnTo>
                  <a:lnTo>
                    <a:pt x="1583" y="627"/>
                  </a:lnTo>
                  <a:lnTo>
                    <a:pt x="1583" y="629"/>
                  </a:lnTo>
                  <a:lnTo>
                    <a:pt x="1585" y="629"/>
                  </a:lnTo>
                  <a:lnTo>
                    <a:pt x="1585" y="631"/>
                  </a:lnTo>
                  <a:lnTo>
                    <a:pt x="1587" y="631"/>
                  </a:lnTo>
                  <a:lnTo>
                    <a:pt x="1589" y="631"/>
                  </a:lnTo>
                  <a:lnTo>
                    <a:pt x="1589" y="631"/>
                  </a:lnTo>
                  <a:lnTo>
                    <a:pt x="1587" y="631"/>
                  </a:lnTo>
                  <a:lnTo>
                    <a:pt x="1587" y="631"/>
                  </a:lnTo>
                  <a:lnTo>
                    <a:pt x="1587" y="631"/>
                  </a:lnTo>
                  <a:lnTo>
                    <a:pt x="1587" y="631"/>
                  </a:lnTo>
                  <a:lnTo>
                    <a:pt x="1585" y="631"/>
                  </a:lnTo>
                  <a:lnTo>
                    <a:pt x="1585" y="629"/>
                  </a:lnTo>
                  <a:lnTo>
                    <a:pt x="1585" y="629"/>
                  </a:lnTo>
                  <a:lnTo>
                    <a:pt x="1583" y="629"/>
                  </a:lnTo>
                  <a:lnTo>
                    <a:pt x="1583" y="629"/>
                  </a:lnTo>
                  <a:lnTo>
                    <a:pt x="1581" y="629"/>
                  </a:lnTo>
                  <a:lnTo>
                    <a:pt x="1575" y="627"/>
                  </a:lnTo>
                  <a:lnTo>
                    <a:pt x="1573" y="627"/>
                  </a:lnTo>
                  <a:lnTo>
                    <a:pt x="1573" y="627"/>
                  </a:lnTo>
                  <a:lnTo>
                    <a:pt x="1571" y="627"/>
                  </a:lnTo>
                  <a:lnTo>
                    <a:pt x="1571" y="627"/>
                  </a:lnTo>
                  <a:lnTo>
                    <a:pt x="1571" y="627"/>
                  </a:lnTo>
                  <a:lnTo>
                    <a:pt x="1571" y="625"/>
                  </a:lnTo>
                  <a:lnTo>
                    <a:pt x="1571" y="625"/>
                  </a:lnTo>
                  <a:lnTo>
                    <a:pt x="1571" y="625"/>
                  </a:lnTo>
                  <a:lnTo>
                    <a:pt x="1571" y="627"/>
                  </a:lnTo>
                  <a:lnTo>
                    <a:pt x="1569" y="627"/>
                  </a:lnTo>
                  <a:lnTo>
                    <a:pt x="1569" y="627"/>
                  </a:lnTo>
                  <a:lnTo>
                    <a:pt x="1569" y="627"/>
                  </a:lnTo>
                  <a:lnTo>
                    <a:pt x="1569" y="627"/>
                  </a:lnTo>
                  <a:lnTo>
                    <a:pt x="1569" y="627"/>
                  </a:lnTo>
                  <a:lnTo>
                    <a:pt x="1569" y="631"/>
                  </a:lnTo>
                  <a:lnTo>
                    <a:pt x="1569" y="631"/>
                  </a:lnTo>
                  <a:lnTo>
                    <a:pt x="1569" y="631"/>
                  </a:lnTo>
                  <a:lnTo>
                    <a:pt x="1571" y="633"/>
                  </a:lnTo>
                  <a:lnTo>
                    <a:pt x="1571" y="633"/>
                  </a:lnTo>
                  <a:lnTo>
                    <a:pt x="1573" y="633"/>
                  </a:lnTo>
                  <a:lnTo>
                    <a:pt x="1575" y="631"/>
                  </a:lnTo>
                  <a:lnTo>
                    <a:pt x="1575" y="631"/>
                  </a:lnTo>
                  <a:lnTo>
                    <a:pt x="1577" y="631"/>
                  </a:lnTo>
                  <a:lnTo>
                    <a:pt x="1579" y="629"/>
                  </a:lnTo>
                  <a:lnTo>
                    <a:pt x="1579" y="629"/>
                  </a:lnTo>
                  <a:lnTo>
                    <a:pt x="1579" y="631"/>
                  </a:lnTo>
                  <a:lnTo>
                    <a:pt x="1577" y="631"/>
                  </a:lnTo>
                  <a:lnTo>
                    <a:pt x="1575" y="633"/>
                  </a:lnTo>
                  <a:lnTo>
                    <a:pt x="1575" y="633"/>
                  </a:lnTo>
                  <a:lnTo>
                    <a:pt x="1575" y="635"/>
                  </a:lnTo>
                  <a:lnTo>
                    <a:pt x="1575" y="635"/>
                  </a:lnTo>
                  <a:lnTo>
                    <a:pt x="1575" y="637"/>
                  </a:lnTo>
                  <a:lnTo>
                    <a:pt x="1575" y="637"/>
                  </a:lnTo>
                  <a:lnTo>
                    <a:pt x="1577" y="639"/>
                  </a:lnTo>
                  <a:lnTo>
                    <a:pt x="1577" y="639"/>
                  </a:lnTo>
                  <a:lnTo>
                    <a:pt x="1579" y="639"/>
                  </a:lnTo>
                  <a:lnTo>
                    <a:pt x="1579" y="639"/>
                  </a:lnTo>
                  <a:lnTo>
                    <a:pt x="1579" y="639"/>
                  </a:lnTo>
                  <a:lnTo>
                    <a:pt x="1579" y="639"/>
                  </a:lnTo>
                  <a:lnTo>
                    <a:pt x="1579" y="639"/>
                  </a:lnTo>
                  <a:lnTo>
                    <a:pt x="1581" y="637"/>
                  </a:lnTo>
                  <a:lnTo>
                    <a:pt x="1581" y="637"/>
                  </a:lnTo>
                  <a:lnTo>
                    <a:pt x="1581" y="637"/>
                  </a:lnTo>
                  <a:lnTo>
                    <a:pt x="1581" y="637"/>
                  </a:lnTo>
                  <a:lnTo>
                    <a:pt x="1581" y="637"/>
                  </a:lnTo>
                  <a:lnTo>
                    <a:pt x="1581" y="639"/>
                  </a:lnTo>
                  <a:lnTo>
                    <a:pt x="1581" y="639"/>
                  </a:lnTo>
                  <a:lnTo>
                    <a:pt x="1581" y="639"/>
                  </a:lnTo>
                  <a:lnTo>
                    <a:pt x="1579" y="639"/>
                  </a:lnTo>
                  <a:lnTo>
                    <a:pt x="1579" y="641"/>
                  </a:lnTo>
                  <a:lnTo>
                    <a:pt x="1579" y="641"/>
                  </a:lnTo>
                  <a:lnTo>
                    <a:pt x="1579" y="641"/>
                  </a:lnTo>
                  <a:lnTo>
                    <a:pt x="1581" y="643"/>
                  </a:lnTo>
                  <a:lnTo>
                    <a:pt x="1581" y="643"/>
                  </a:lnTo>
                  <a:lnTo>
                    <a:pt x="1583" y="641"/>
                  </a:lnTo>
                  <a:lnTo>
                    <a:pt x="1585" y="641"/>
                  </a:lnTo>
                  <a:lnTo>
                    <a:pt x="1585" y="643"/>
                  </a:lnTo>
                  <a:lnTo>
                    <a:pt x="1585" y="643"/>
                  </a:lnTo>
                  <a:lnTo>
                    <a:pt x="1585" y="641"/>
                  </a:lnTo>
                  <a:lnTo>
                    <a:pt x="1587" y="641"/>
                  </a:lnTo>
                  <a:lnTo>
                    <a:pt x="1587" y="641"/>
                  </a:lnTo>
                  <a:lnTo>
                    <a:pt x="1587" y="641"/>
                  </a:lnTo>
                  <a:lnTo>
                    <a:pt x="1589" y="639"/>
                  </a:lnTo>
                  <a:lnTo>
                    <a:pt x="1589" y="639"/>
                  </a:lnTo>
                  <a:lnTo>
                    <a:pt x="1589" y="639"/>
                  </a:lnTo>
                  <a:lnTo>
                    <a:pt x="1589" y="639"/>
                  </a:lnTo>
                  <a:lnTo>
                    <a:pt x="1589" y="641"/>
                  </a:lnTo>
                  <a:lnTo>
                    <a:pt x="1589" y="641"/>
                  </a:lnTo>
                  <a:lnTo>
                    <a:pt x="1589" y="641"/>
                  </a:lnTo>
                  <a:lnTo>
                    <a:pt x="1587" y="641"/>
                  </a:lnTo>
                  <a:lnTo>
                    <a:pt x="1587" y="641"/>
                  </a:lnTo>
                  <a:lnTo>
                    <a:pt x="1587" y="643"/>
                  </a:lnTo>
                  <a:lnTo>
                    <a:pt x="1587" y="643"/>
                  </a:lnTo>
                  <a:lnTo>
                    <a:pt x="1585" y="646"/>
                  </a:lnTo>
                  <a:lnTo>
                    <a:pt x="1581" y="646"/>
                  </a:lnTo>
                  <a:lnTo>
                    <a:pt x="1579" y="646"/>
                  </a:lnTo>
                  <a:lnTo>
                    <a:pt x="1579" y="648"/>
                  </a:lnTo>
                  <a:lnTo>
                    <a:pt x="1579" y="648"/>
                  </a:lnTo>
                  <a:lnTo>
                    <a:pt x="1579" y="648"/>
                  </a:lnTo>
                  <a:lnTo>
                    <a:pt x="1579" y="648"/>
                  </a:lnTo>
                  <a:lnTo>
                    <a:pt x="1579" y="648"/>
                  </a:lnTo>
                  <a:lnTo>
                    <a:pt x="1579" y="650"/>
                  </a:lnTo>
                  <a:lnTo>
                    <a:pt x="1581" y="650"/>
                  </a:lnTo>
                  <a:lnTo>
                    <a:pt x="1579" y="650"/>
                  </a:lnTo>
                  <a:lnTo>
                    <a:pt x="1579" y="652"/>
                  </a:lnTo>
                  <a:lnTo>
                    <a:pt x="1579" y="652"/>
                  </a:lnTo>
                  <a:lnTo>
                    <a:pt x="1579" y="652"/>
                  </a:lnTo>
                  <a:lnTo>
                    <a:pt x="1579" y="652"/>
                  </a:lnTo>
                  <a:lnTo>
                    <a:pt x="1581" y="652"/>
                  </a:lnTo>
                  <a:lnTo>
                    <a:pt x="1581" y="652"/>
                  </a:lnTo>
                  <a:lnTo>
                    <a:pt x="1581" y="652"/>
                  </a:lnTo>
                  <a:lnTo>
                    <a:pt x="1583" y="654"/>
                  </a:lnTo>
                  <a:lnTo>
                    <a:pt x="1583" y="654"/>
                  </a:lnTo>
                  <a:lnTo>
                    <a:pt x="1583" y="654"/>
                  </a:lnTo>
                  <a:lnTo>
                    <a:pt x="1585" y="654"/>
                  </a:lnTo>
                  <a:lnTo>
                    <a:pt x="1587" y="654"/>
                  </a:lnTo>
                  <a:lnTo>
                    <a:pt x="1587" y="654"/>
                  </a:lnTo>
                  <a:lnTo>
                    <a:pt x="1587" y="654"/>
                  </a:lnTo>
                  <a:lnTo>
                    <a:pt x="1587" y="652"/>
                  </a:lnTo>
                  <a:lnTo>
                    <a:pt x="1587" y="650"/>
                  </a:lnTo>
                  <a:lnTo>
                    <a:pt x="1587" y="650"/>
                  </a:lnTo>
                  <a:lnTo>
                    <a:pt x="1587" y="650"/>
                  </a:lnTo>
                  <a:lnTo>
                    <a:pt x="1589" y="650"/>
                  </a:lnTo>
                  <a:lnTo>
                    <a:pt x="1589" y="650"/>
                  </a:lnTo>
                  <a:lnTo>
                    <a:pt x="1589" y="652"/>
                  </a:lnTo>
                  <a:lnTo>
                    <a:pt x="1589" y="652"/>
                  </a:lnTo>
                  <a:lnTo>
                    <a:pt x="1589" y="652"/>
                  </a:lnTo>
                  <a:lnTo>
                    <a:pt x="1589" y="650"/>
                  </a:lnTo>
                  <a:lnTo>
                    <a:pt x="1589" y="652"/>
                  </a:lnTo>
                  <a:lnTo>
                    <a:pt x="1589" y="650"/>
                  </a:lnTo>
                  <a:lnTo>
                    <a:pt x="1591" y="650"/>
                  </a:lnTo>
                  <a:lnTo>
                    <a:pt x="1591" y="650"/>
                  </a:lnTo>
                  <a:lnTo>
                    <a:pt x="1591" y="650"/>
                  </a:lnTo>
                  <a:lnTo>
                    <a:pt x="1591" y="652"/>
                  </a:lnTo>
                  <a:lnTo>
                    <a:pt x="1591" y="652"/>
                  </a:lnTo>
                  <a:lnTo>
                    <a:pt x="1591" y="652"/>
                  </a:lnTo>
                  <a:lnTo>
                    <a:pt x="1591" y="652"/>
                  </a:lnTo>
                  <a:lnTo>
                    <a:pt x="1591" y="654"/>
                  </a:lnTo>
                  <a:lnTo>
                    <a:pt x="1591" y="654"/>
                  </a:lnTo>
                  <a:lnTo>
                    <a:pt x="1591" y="654"/>
                  </a:lnTo>
                  <a:lnTo>
                    <a:pt x="1591" y="654"/>
                  </a:lnTo>
                  <a:lnTo>
                    <a:pt x="1591" y="654"/>
                  </a:lnTo>
                  <a:lnTo>
                    <a:pt x="1591" y="654"/>
                  </a:lnTo>
                  <a:lnTo>
                    <a:pt x="1591" y="654"/>
                  </a:lnTo>
                  <a:lnTo>
                    <a:pt x="1591" y="654"/>
                  </a:lnTo>
                  <a:lnTo>
                    <a:pt x="1593" y="654"/>
                  </a:lnTo>
                  <a:lnTo>
                    <a:pt x="1593" y="654"/>
                  </a:lnTo>
                  <a:lnTo>
                    <a:pt x="1593" y="654"/>
                  </a:lnTo>
                  <a:lnTo>
                    <a:pt x="1593" y="654"/>
                  </a:lnTo>
                  <a:lnTo>
                    <a:pt x="1595" y="654"/>
                  </a:lnTo>
                  <a:lnTo>
                    <a:pt x="1595" y="654"/>
                  </a:lnTo>
                  <a:lnTo>
                    <a:pt x="1598" y="654"/>
                  </a:lnTo>
                  <a:lnTo>
                    <a:pt x="1598" y="654"/>
                  </a:lnTo>
                  <a:lnTo>
                    <a:pt x="1598" y="654"/>
                  </a:lnTo>
                  <a:lnTo>
                    <a:pt x="1600" y="654"/>
                  </a:lnTo>
                  <a:lnTo>
                    <a:pt x="1600" y="654"/>
                  </a:lnTo>
                  <a:lnTo>
                    <a:pt x="1600" y="654"/>
                  </a:lnTo>
                  <a:lnTo>
                    <a:pt x="1600" y="652"/>
                  </a:lnTo>
                  <a:lnTo>
                    <a:pt x="1600" y="652"/>
                  </a:lnTo>
                  <a:lnTo>
                    <a:pt x="1602" y="650"/>
                  </a:lnTo>
                  <a:lnTo>
                    <a:pt x="1602" y="650"/>
                  </a:lnTo>
                  <a:lnTo>
                    <a:pt x="1602" y="650"/>
                  </a:lnTo>
                  <a:lnTo>
                    <a:pt x="1602" y="650"/>
                  </a:lnTo>
                  <a:lnTo>
                    <a:pt x="1602" y="652"/>
                  </a:lnTo>
                  <a:lnTo>
                    <a:pt x="1602" y="652"/>
                  </a:lnTo>
                  <a:lnTo>
                    <a:pt x="1602" y="652"/>
                  </a:lnTo>
                  <a:lnTo>
                    <a:pt x="1604" y="654"/>
                  </a:lnTo>
                  <a:lnTo>
                    <a:pt x="1604" y="656"/>
                  </a:lnTo>
                  <a:lnTo>
                    <a:pt x="1604" y="656"/>
                  </a:lnTo>
                  <a:lnTo>
                    <a:pt x="1602" y="656"/>
                  </a:lnTo>
                  <a:lnTo>
                    <a:pt x="1602" y="656"/>
                  </a:lnTo>
                  <a:lnTo>
                    <a:pt x="1602" y="656"/>
                  </a:lnTo>
                  <a:lnTo>
                    <a:pt x="1602" y="656"/>
                  </a:lnTo>
                  <a:lnTo>
                    <a:pt x="1602" y="656"/>
                  </a:lnTo>
                  <a:lnTo>
                    <a:pt x="1600" y="656"/>
                  </a:lnTo>
                  <a:lnTo>
                    <a:pt x="1600" y="656"/>
                  </a:lnTo>
                  <a:lnTo>
                    <a:pt x="1600" y="656"/>
                  </a:lnTo>
                  <a:lnTo>
                    <a:pt x="1600" y="658"/>
                  </a:lnTo>
                  <a:lnTo>
                    <a:pt x="1600" y="658"/>
                  </a:lnTo>
                  <a:lnTo>
                    <a:pt x="1602" y="658"/>
                  </a:lnTo>
                  <a:lnTo>
                    <a:pt x="1602" y="658"/>
                  </a:lnTo>
                  <a:lnTo>
                    <a:pt x="1602" y="658"/>
                  </a:lnTo>
                  <a:lnTo>
                    <a:pt x="1602" y="660"/>
                  </a:lnTo>
                  <a:lnTo>
                    <a:pt x="1602" y="660"/>
                  </a:lnTo>
                  <a:lnTo>
                    <a:pt x="1602" y="660"/>
                  </a:lnTo>
                  <a:lnTo>
                    <a:pt x="1604" y="660"/>
                  </a:lnTo>
                  <a:lnTo>
                    <a:pt x="1604" y="660"/>
                  </a:lnTo>
                  <a:lnTo>
                    <a:pt x="1606" y="660"/>
                  </a:lnTo>
                  <a:lnTo>
                    <a:pt x="1606" y="662"/>
                  </a:lnTo>
                  <a:lnTo>
                    <a:pt x="1606" y="662"/>
                  </a:lnTo>
                  <a:lnTo>
                    <a:pt x="1606" y="662"/>
                  </a:lnTo>
                  <a:lnTo>
                    <a:pt x="1610" y="664"/>
                  </a:lnTo>
                  <a:lnTo>
                    <a:pt x="1614" y="664"/>
                  </a:lnTo>
                  <a:lnTo>
                    <a:pt x="1614" y="664"/>
                  </a:lnTo>
                  <a:lnTo>
                    <a:pt x="1614" y="664"/>
                  </a:lnTo>
                  <a:lnTo>
                    <a:pt x="1614" y="662"/>
                  </a:lnTo>
                  <a:lnTo>
                    <a:pt x="1614" y="662"/>
                  </a:lnTo>
                  <a:lnTo>
                    <a:pt x="1616" y="662"/>
                  </a:lnTo>
                  <a:lnTo>
                    <a:pt x="1616" y="662"/>
                  </a:lnTo>
                  <a:lnTo>
                    <a:pt x="1616" y="662"/>
                  </a:lnTo>
                  <a:lnTo>
                    <a:pt x="1616" y="660"/>
                  </a:lnTo>
                  <a:lnTo>
                    <a:pt x="1616" y="660"/>
                  </a:lnTo>
                  <a:lnTo>
                    <a:pt x="1616" y="660"/>
                  </a:lnTo>
                  <a:lnTo>
                    <a:pt x="1618" y="660"/>
                  </a:lnTo>
                  <a:lnTo>
                    <a:pt x="1616" y="660"/>
                  </a:lnTo>
                  <a:lnTo>
                    <a:pt x="1616" y="660"/>
                  </a:lnTo>
                  <a:lnTo>
                    <a:pt x="1616" y="660"/>
                  </a:lnTo>
                  <a:lnTo>
                    <a:pt x="1616" y="660"/>
                  </a:lnTo>
                  <a:lnTo>
                    <a:pt x="1616" y="662"/>
                  </a:lnTo>
                  <a:lnTo>
                    <a:pt x="1616" y="662"/>
                  </a:lnTo>
                  <a:lnTo>
                    <a:pt x="1616" y="662"/>
                  </a:lnTo>
                  <a:lnTo>
                    <a:pt x="1616" y="664"/>
                  </a:lnTo>
                  <a:lnTo>
                    <a:pt x="1616" y="664"/>
                  </a:lnTo>
                  <a:lnTo>
                    <a:pt x="1616" y="664"/>
                  </a:lnTo>
                  <a:lnTo>
                    <a:pt x="1614" y="666"/>
                  </a:lnTo>
                  <a:lnTo>
                    <a:pt x="1616" y="666"/>
                  </a:lnTo>
                  <a:lnTo>
                    <a:pt x="1616" y="666"/>
                  </a:lnTo>
                  <a:lnTo>
                    <a:pt x="1616" y="666"/>
                  </a:lnTo>
                  <a:lnTo>
                    <a:pt x="1616" y="668"/>
                  </a:lnTo>
                  <a:lnTo>
                    <a:pt x="1616" y="668"/>
                  </a:lnTo>
                  <a:lnTo>
                    <a:pt x="1616" y="668"/>
                  </a:lnTo>
                  <a:lnTo>
                    <a:pt x="1614" y="668"/>
                  </a:lnTo>
                  <a:lnTo>
                    <a:pt x="1616" y="670"/>
                  </a:lnTo>
                  <a:lnTo>
                    <a:pt x="1616" y="670"/>
                  </a:lnTo>
                  <a:lnTo>
                    <a:pt x="1616" y="670"/>
                  </a:lnTo>
                  <a:lnTo>
                    <a:pt x="1618" y="672"/>
                  </a:lnTo>
                  <a:lnTo>
                    <a:pt x="1618" y="670"/>
                  </a:lnTo>
                  <a:lnTo>
                    <a:pt x="1620" y="670"/>
                  </a:lnTo>
                  <a:lnTo>
                    <a:pt x="1620" y="668"/>
                  </a:lnTo>
                  <a:lnTo>
                    <a:pt x="1622" y="668"/>
                  </a:lnTo>
                  <a:lnTo>
                    <a:pt x="1622" y="670"/>
                  </a:lnTo>
                  <a:lnTo>
                    <a:pt x="1622" y="672"/>
                  </a:lnTo>
                  <a:lnTo>
                    <a:pt x="1622" y="672"/>
                  </a:lnTo>
                  <a:lnTo>
                    <a:pt x="1622" y="674"/>
                  </a:lnTo>
                  <a:lnTo>
                    <a:pt x="1622" y="674"/>
                  </a:lnTo>
                  <a:lnTo>
                    <a:pt x="1622" y="674"/>
                  </a:lnTo>
                  <a:lnTo>
                    <a:pt x="1624" y="674"/>
                  </a:lnTo>
                  <a:lnTo>
                    <a:pt x="1624" y="674"/>
                  </a:lnTo>
                  <a:lnTo>
                    <a:pt x="1626" y="674"/>
                  </a:lnTo>
                  <a:lnTo>
                    <a:pt x="1626" y="676"/>
                  </a:lnTo>
                  <a:lnTo>
                    <a:pt x="1628" y="676"/>
                  </a:lnTo>
                  <a:lnTo>
                    <a:pt x="1628" y="676"/>
                  </a:lnTo>
                  <a:lnTo>
                    <a:pt x="1630" y="680"/>
                  </a:lnTo>
                  <a:lnTo>
                    <a:pt x="1630" y="678"/>
                  </a:lnTo>
                  <a:lnTo>
                    <a:pt x="1630" y="678"/>
                  </a:lnTo>
                  <a:lnTo>
                    <a:pt x="1632" y="678"/>
                  </a:lnTo>
                  <a:lnTo>
                    <a:pt x="1632" y="678"/>
                  </a:lnTo>
                  <a:lnTo>
                    <a:pt x="1632" y="678"/>
                  </a:lnTo>
                  <a:lnTo>
                    <a:pt x="1632" y="678"/>
                  </a:lnTo>
                  <a:lnTo>
                    <a:pt x="1634" y="678"/>
                  </a:lnTo>
                  <a:lnTo>
                    <a:pt x="1634" y="678"/>
                  </a:lnTo>
                  <a:lnTo>
                    <a:pt x="1634" y="678"/>
                  </a:lnTo>
                  <a:lnTo>
                    <a:pt x="1636" y="680"/>
                  </a:lnTo>
                  <a:lnTo>
                    <a:pt x="1636" y="682"/>
                  </a:lnTo>
                  <a:lnTo>
                    <a:pt x="1638" y="684"/>
                  </a:lnTo>
                  <a:lnTo>
                    <a:pt x="1641" y="684"/>
                  </a:lnTo>
                  <a:lnTo>
                    <a:pt x="1645" y="682"/>
                  </a:lnTo>
                  <a:lnTo>
                    <a:pt x="1647" y="682"/>
                  </a:lnTo>
                  <a:lnTo>
                    <a:pt x="1649" y="682"/>
                  </a:lnTo>
                  <a:lnTo>
                    <a:pt x="1649" y="682"/>
                  </a:lnTo>
                  <a:lnTo>
                    <a:pt x="1649" y="680"/>
                  </a:lnTo>
                  <a:lnTo>
                    <a:pt x="1651" y="680"/>
                  </a:lnTo>
                  <a:lnTo>
                    <a:pt x="1651" y="680"/>
                  </a:lnTo>
                  <a:lnTo>
                    <a:pt x="1651" y="680"/>
                  </a:lnTo>
                  <a:lnTo>
                    <a:pt x="1651" y="682"/>
                  </a:lnTo>
                  <a:lnTo>
                    <a:pt x="1649" y="682"/>
                  </a:lnTo>
                  <a:lnTo>
                    <a:pt x="1649" y="684"/>
                  </a:lnTo>
                  <a:lnTo>
                    <a:pt x="1649" y="684"/>
                  </a:lnTo>
                  <a:lnTo>
                    <a:pt x="1645" y="684"/>
                  </a:lnTo>
                  <a:lnTo>
                    <a:pt x="1643" y="684"/>
                  </a:lnTo>
                  <a:lnTo>
                    <a:pt x="1641" y="687"/>
                  </a:lnTo>
                  <a:lnTo>
                    <a:pt x="1638" y="689"/>
                  </a:lnTo>
                  <a:lnTo>
                    <a:pt x="1638" y="689"/>
                  </a:lnTo>
                  <a:lnTo>
                    <a:pt x="1641" y="693"/>
                  </a:lnTo>
                  <a:lnTo>
                    <a:pt x="1643" y="695"/>
                  </a:lnTo>
                  <a:lnTo>
                    <a:pt x="1643" y="697"/>
                  </a:lnTo>
                  <a:lnTo>
                    <a:pt x="1643" y="697"/>
                  </a:lnTo>
                  <a:lnTo>
                    <a:pt x="1643" y="697"/>
                  </a:lnTo>
                  <a:lnTo>
                    <a:pt x="1643" y="699"/>
                  </a:lnTo>
                  <a:lnTo>
                    <a:pt x="1643" y="699"/>
                  </a:lnTo>
                  <a:lnTo>
                    <a:pt x="1641" y="699"/>
                  </a:lnTo>
                  <a:lnTo>
                    <a:pt x="1641" y="699"/>
                  </a:lnTo>
                  <a:lnTo>
                    <a:pt x="1641" y="701"/>
                  </a:lnTo>
                  <a:lnTo>
                    <a:pt x="1641" y="701"/>
                  </a:lnTo>
                  <a:lnTo>
                    <a:pt x="1641" y="701"/>
                  </a:lnTo>
                  <a:lnTo>
                    <a:pt x="1641" y="703"/>
                  </a:lnTo>
                  <a:lnTo>
                    <a:pt x="1641" y="703"/>
                  </a:lnTo>
                  <a:lnTo>
                    <a:pt x="1641" y="705"/>
                  </a:lnTo>
                  <a:lnTo>
                    <a:pt x="1641" y="705"/>
                  </a:lnTo>
                  <a:lnTo>
                    <a:pt x="1643" y="705"/>
                  </a:lnTo>
                  <a:lnTo>
                    <a:pt x="1643" y="707"/>
                  </a:lnTo>
                  <a:lnTo>
                    <a:pt x="1643" y="707"/>
                  </a:lnTo>
                  <a:lnTo>
                    <a:pt x="1643" y="707"/>
                  </a:lnTo>
                  <a:lnTo>
                    <a:pt x="1641" y="707"/>
                  </a:lnTo>
                  <a:lnTo>
                    <a:pt x="1638" y="707"/>
                  </a:lnTo>
                  <a:lnTo>
                    <a:pt x="1638" y="709"/>
                  </a:lnTo>
                  <a:lnTo>
                    <a:pt x="1638" y="709"/>
                  </a:lnTo>
                  <a:lnTo>
                    <a:pt x="1641" y="711"/>
                  </a:lnTo>
                  <a:lnTo>
                    <a:pt x="1641" y="711"/>
                  </a:lnTo>
                  <a:lnTo>
                    <a:pt x="1641" y="711"/>
                  </a:lnTo>
                  <a:lnTo>
                    <a:pt x="1638" y="711"/>
                  </a:lnTo>
                  <a:lnTo>
                    <a:pt x="1638" y="711"/>
                  </a:lnTo>
                  <a:lnTo>
                    <a:pt x="1636" y="711"/>
                  </a:lnTo>
                  <a:lnTo>
                    <a:pt x="1638" y="711"/>
                  </a:lnTo>
                  <a:lnTo>
                    <a:pt x="1638" y="713"/>
                  </a:lnTo>
                  <a:lnTo>
                    <a:pt x="1638" y="713"/>
                  </a:lnTo>
                  <a:lnTo>
                    <a:pt x="1641" y="713"/>
                  </a:lnTo>
                  <a:lnTo>
                    <a:pt x="1643" y="717"/>
                  </a:lnTo>
                  <a:lnTo>
                    <a:pt x="1643" y="719"/>
                  </a:lnTo>
                  <a:lnTo>
                    <a:pt x="1645" y="719"/>
                  </a:lnTo>
                  <a:lnTo>
                    <a:pt x="1649" y="721"/>
                  </a:lnTo>
                  <a:lnTo>
                    <a:pt x="1651" y="721"/>
                  </a:lnTo>
                  <a:lnTo>
                    <a:pt x="1651" y="721"/>
                  </a:lnTo>
                  <a:lnTo>
                    <a:pt x="1651" y="721"/>
                  </a:lnTo>
                  <a:lnTo>
                    <a:pt x="1651" y="719"/>
                  </a:lnTo>
                  <a:lnTo>
                    <a:pt x="1651" y="719"/>
                  </a:lnTo>
                  <a:lnTo>
                    <a:pt x="1651" y="719"/>
                  </a:lnTo>
                  <a:lnTo>
                    <a:pt x="1651" y="719"/>
                  </a:lnTo>
                  <a:lnTo>
                    <a:pt x="1651" y="717"/>
                  </a:lnTo>
                  <a:lnTo>
                    <a:pt x="1651" y="717"/>
                  </a:lnTo>
                  <a:lnTo>
                    <a:pt x="1649" y="717"/>
                  </a:lnTo>
                  <a:lnTo>
                    <a:pt x="1649" y="717"/>
                  </a:lnTo>
                  <a:lnTo>
                    <a:pt x="1649" y="715"/>
                  </a:lnTo>
                  <a:lnTo>
                    <a:pt x="1649" y="715"/>
                  </a:lnTo>
                  <a:lnTo>
                    <a:pt x="1649" y="715"/>
                  </a:lnTo>
                  <a:lnTo>
                    <a:pt x="1649" y="715"/>
                  </a:lnTo>
                  <a:lnTo>
                    <a:pt x="1649" y="715"/>
                  </a:lnTo>
                  <a:lnTo>
                    <a:pt x="1649" y="715"/>
                  </a:lnTo>
                  <a:lnTo>
                    <a:pt x="1647" y="713"/>
                  </a:lnTo>
                  <a:lnTo>
                    <a:pt x="1647" y="713"/>
                  </a:lnTo>
                  <a:lnTo>
                    <a:pt x="1651" y="715"/>
                  </a:lnTo>
                  <a:lnTo>
                    <a:pt x="1651" y="715"/>
                  </a:lnTo>
                  <a:lnTo>
                    <a:pt x="1651" y="715"/>
                  </a:lnTo>
                  <a:lnTo>
                    <a:pt x="1651" y="715"/>
                  </a:lnTo>
                  <a:lnTo>
                    <a:pt x="1651" y="713"/>
                  </a:lnTo>
                  <a:lnTo>
                    <a:pt x="1651" y="711"/>
                  </a:lnTo>
                  <a:lnTo>
                    <a:pt x="1651" y="709"/>
                  </a:lnTo>
                  <a:lnTo>
                    <a:pt x="1649" y="709"/>
                  </a:lnTo>
                  <a:lnTo>
                    <a:pt x="1651" y="709"/>
                  </a:lnTo>
                  <a:lnTo>
                    <a:pt x="1651" y="709"/>
                  </a:lnTo>
                  <a:lnTo>
                    <a:pt x="1651" y="707"/>
                  </a:lnTo>
                  <a:lnTo>
                    <a:pt x="1651" y="707"/>
                  </a:lnTo>
                  <a:lnTo>
                    <a:pt x="1651" y="705"/>
                  </a:lnTo>
                  <a:lnTo>
                    <a:pt x="1651" y="705"/>
                  </a:lnTo>
                  <a:lnTo>
                    <a:pt x="1651" y="703"/>
                  </a:lnTo>
                  <a:lnTo>
                    <a:pt x="1651" y="703"/>
                  </a:lnTo>
                  <a:lnTo>
                    <a:pt x="1649" y="703"/>
                  </a:lnTo>
                  <a:lnTo>
                    <a:pt x="1647" y="703"/>
                  </a:lnTo>
                  <a:lnTo>
                    <a:pt x="1645" y="703"/>
                  </a:lnTo>
                  <a:lnTo>
                    <a:pt x="1647" y="703"/>
                  </a:lnTo>
                  <a:lnTo>
                    <a:pt x="1647" y="703"/>
                  </a:lnTo>
                  <a:lnTo>
                    <a:pt x="1647" y="703"/>
                  </a:lnTo>
                  <a:lnTo>
                    <a:pt x="1647" y="701"/>
                  </a:lnTo>
                  <a:lnTo>
                    <a:pt x="1647" y="701"/>
                  </a:lnTo>
                  <a:lnTo>
                    <a:pt x="1647" y="701"/>
                  </a:lnTo>
                  <a:lnTo>
                    <a:pt x="1649" y="701"/>
                  </a:lnTo>
                  <a:lnTo>
                    <a:pt x="1649" y="701"/>
                  </a:lnTo>
                  <a:lnTo>
                    <a:pt x="1649" y="701"/>
                  </a:lnTo>
                  <a:lnTo>
                    <a:pt x="1651" y="699"/>
                  </a:lnTo>
                  <a:lnTo>
                    <a:pt x="1651" y="699"/>
                  </a:lnTo>
                  <a:lnTo>
                    <a:pt x="1651" y="699"/>
                  </a:lnTo>
                  <a:lnTo>
                    <a:pt x="1651" y="699"/>
                  </a:lnTo>
                  <a:lnTo>
                    <a:pt x="1651" y="697"/>
                  </a:lnTo>
                  <a:lnTo>
                    <a:pt x="1653" y="697"/>
                  </a:lnTo>
                  <a:lnTo>
                    <a:pt x="1653" y="697"/>
                  </a:lnTo>
                  <a:lnTo>
                    <a:pt x="1653" y="697"/>
                  </a:lnTo>
                  <a:lnTo>
                    <a:pt x="1653" y="697"/>
                  </a:lnTo>
                  <a:lnTo>
                    <a:pt x="1653" y="697"/>
                  </a:lnTo>
                  <a:lnTo>
                    <a:pt x="1653" y="695"/>
                  </a:lnTo>
                  <a:lnTo>
                    <a:pt x="1653" y="695"/>
                  </a:lnTo>
                  <a:lnTo>
                    <a:pt x="1655" y="693"/>
                  </a:lnTo>
                  <a:lnTo>
                    <a:pt x="1655" y="693"/>
                  </a:lnTo>
                  <a:lnTo>
                    <a:pt x="1655" y="693"/>
                  </a:lnTo>
                  <a:lnTo>
                    <a:pt x="1657" y="691"/>
                  </a:lnTo>
                  <a:lnTo>
                    <a:pt x="1657" y="691"/>
                  </a:lnTo>
                  <a:lnTo>
                    <a:pt x="1657" y="691"/>
                  </a:lnTo>
                  <a:lnTo>
                    <a:pt x="1659" y="693"/>
                  </a:lnTo>
                  <a:lnTo>
                    <a:pt x="1659" y="693"/>
                  </a:lnTo>
                  <a:lnTo>
                    <a:pt x="1659" y="691"/>
                  </a:lnTo>
                  <a:lnTo>
                    <a:pt x="1661" y="691"/>
                  </a:lnTo>
                  <a:lnTo>
                    <a:pt x="1661" y="691"/>
                  </a:lnTo>
                  <a:lnTo>
                    <a:pt x="1663" y="689"/>
                  </a:lnTo>
                  <a:lnTo>
                    <a:pt x="1663" y="687"/>
                  </a:lnTo>
                  <a:lnTo>
                    <a:pt x="1663" y="687"/>
                  </a:lnTo>
                  <a:lnTo>
                    <a:pt x="1663" y="687"/>
                  </a:lnTo>
                  <a:lnTo>
                    <a:pt x="1663" y="684"/>
                  </a:lnTo>
                  <a:lnTo>
                    <a:pt x="1665" y="684"/>
                  </a:lnTo>
                  <a:lnTo>
                    <a:pt x="1665" y="682"/>
                  </a:lnTo>
                  <a:lnTo>
                    <a:pt x="1665" y="682"/>
                  </a:lnTo>
                  <a:lnTo>
                    <a:pt x="1665" y="684"/>
                  </a:lnTo>
                  <a:lnTo>
                    <a:pt x="1665" y="684"/>
                  </a:lnTo>
                  <a:lnTo>
                    <a:pt x="1665" y="684"/>
                  </a:lnTo>
                  <a:lnTo>
                    <a:pt x="1665" y="684"/>
                  </a:lnTo>
                  <a:lnTo>
                    <a:pt x="1663" y="687"/>
                  </a:lnTo>
                  <a:lnTo>
                    <a:pt x="1663" y="689"/>
                  </a:lnTo>
                  <a:lnTo>
                    <a:pt x="1663" y="691"/>
                  </a:lnTo>
                  <a:lnTo>
                    <a:pt x="1663" y="691"/>
                  </a:lnTo>
                  <a:lnTo>
                    <a:pt x="1665" y="691"/>
                  </a:lnTo>
                  <a:lnTo>
                    <a:pt x="1665" y="691"/>
                  </a:lnTo>
                  <a:lnTo>
                    <a:pt x="1665" y="691"/>
                  </a:lnTo>
                  <a:lnTo>
                    <a:pt x="1665" y="691"/>
                  </a:lnTo>
                  <a:lnTo>
                    <a:pt x="1665" y="693"/>
                  </a:lnTo>
                  <a:lnTo>
                    <a:pt x="1665" y="693"/>
                  </a:lnTo>
                  <a:lnTo>
                    <a:pt x="1667" y="693"/>
                  </a:lnTo>
                  <a:lnTo>
                    <a:pt x="1669" y="693"/>
                  </a:lnTo>
                  <a:lnTo>
                    <a:pt x="1671" y="695"/>
                  </a:lnTo>
                  <a:lnTo>
                    <a:pt x="1671" y="697"/>
                  </a:lnTo>
                  <a:lnTo>
                    <a:pt x="1671" y="697"/>
                  </a:lnTo>
                  <a:lnTo>
                    <a:pt x="1671" y="697"/>
                  </a:lnTo>
                  <a:lnTo>
                    <a:pt x="1671" y="697"/>
                  </a:lnTo>
                  <a:lnTo>
                    <a:pt x="1673" y="697"/>
                  </a:lnTo>
                  <a:lnTo>
                    <a:pt x="1673" y="695"/>
                  </a:lnTo>
                  <a:lnTo>
                    <a:pt x="1673" y="695"/>
                  </a:lnTo>
                  <a:lnTo>
                    <a:pt x="1673" y="695"/>
                  </a:lnTo>
                  <a:lnTo>
                    <a:pt x="1673" y="697"/>
                  </a:lnTo>
                  <a:lnTo>
                    <a:pt x="1673" y="697"/>
                  </a:lnTo>
                  <a:lnTo>
                    <a:pt x="1673" y="697"/>
                  </a:lnTo>
                  <a:lnTo>
                    <a:pt x="1675" y="699"/>
                  </a:lnTo>
                  <a:lnTo>
                    <a:pt x="1675" y="699"/>
                  </a:lnTo>
                  <a:lnTo>
                    <a:pt x="1675" y="699"/>
                  </a:lnTo>
                  <a:lnTo>
                    <a:pt x="1675" y="701"/>
                  </a:lnTo>
                  <a:lnTo>
                    <a:pt x="1677" y="701"/>
                  </a:lnTo>
                  <a:lnTo>
                    <a:pt x="1675" y="701"/>
                  </a:lnTo>
                  <a:lnTo>
                    <a:pt x="1675" y="701"/>
                  </a:lnTo>
                  <a:lnTo>
                    <a:pt x="1677" y="703"/>
                  </a:lnTo>
                  <a:lnTo>
                    <a:pt x="1677" y="703"/>
                  </a:lnTo>
                  <a:lnTo>
                    <a:pt x="1677" y="705"/>
                  </a:lnTo>
                  <a:lnTo>
                    <a:pt x="1679" y="707"/>
                  </a:lnTo>
                  <a:lnTo>
                    <a:pt x="1679" y="709"/>
                  </a:lnTo>
                  <a:lnTo>
                    <a:pt x="1681" y="713"/>
                  </a:lnTo>
                  <a:lnTo>
                    <a:pt x="1684" y="717"/>
                  </a:lnTo>
                  <a:lnTo>
                    <a:pt x="1684" y="719"/>
                  </a:lnTo>
                  <a:lnTo>
                    <a:pt x="1686" y="719"/>
                  </a:lnTo>
                  <a:lnTo>
                    <a:pt x="1688" y="717"/>
                  </a:lnTo>
                  <a:lnTo>
                    <a:pt x="1688" y="717"/>
                  </a:lnTo>
                  <a:lnTo>
                    <a:pt x="1690" y="715"/>
                  </a:lnTo>
                  <a:lnTo>
                    <a:pt x="1690" y="715"/>
                  </a:lnTo>
                  <a:lnTo>
                    <a:pt x="1690" y="715"/>
                  </a:lnTo>
                  <a:lnTo>
                    <a:pt x="1690" y="717"/>
                  </a:lnTo>
                  <a:lnTo>
                    <a:pt x="1690" y="717"/>
                  </a:lnTo>
                  <a:lnTo>
                    <a:pt x="1692" y="717"/>
                  </a:lnTo>
                  <a:lnTo>
                    <a:pt x="1692" y="717"/>
                  </a:lnTo>
                  <a:lnTo>
                    <a:pt x="1692" y="717"/>
                  </a:lnTo>
                  <a:lnTo>
                    <a:pt x="1684" y="721"/>
                  </a:lnTo>
                  <a:lnTo>
                    <a:pt x="1684" y="721"/>
                  </a:lnTo>
                  <a:lnTo>
                    <a:pt x="1684" y="721"/>
                  </a:lnTo>
                  <a:lnTo>
                    <a:pt x="1681" y="721"/>
                  </a:lnTo>
                  <a:lnTo>
                    <a:pt x="1681" y="723"/>
                  </a:lnTo>
                  <a:lnTo>
                    <a:pt x="1681" y="723"/>
                  </a:lnTo>
                  <a:lnTo>
                    <a:pt x="1681" y="723"/>
                  </a:lnTo>
                  <a:lnTo>
                    <a:pt x="1681" y="723"/>
                  </a:lnTo>
                  <a:lnTo>
                    <a:pt x="1681" y="728"/>
                  </a:lnTo>
                  <a:lnTo>
                    <a:pt x="1681" y="728"/>
                  </a:lnTo>
                  <a:lnTo>
                    <a:pt x="1681" y="730"/>
                  </a:lnTo>
                  <a:lnTo>
                    <a:pt x="1681" y="730"/>
                  </a:lnTo>
                  <a:lnTo>
                    <a:pt x="1684" y="732"/>
                  </a:lnTo>
                  <a:lnTo>
                    <a:pt x="1684" y="732"/>
                  </a:lnTo>
                  <a:lnTo>
                    <a:pt x="1684" y="732"/>
                  </a:lnTo>
                  <a:lnTo>
                    <a:pt x="1686" y="732"/>
                  </a:lnTo>
                  <a:lnTo>
                    <a:pt x="1688" y="730"/>
                  </a:lnTo>
                  <a:lnTo>
                    <a:pt x="1688" y="730"/>
                  </a:lnTo>
                  <a:lnTo>
                    <a:pt x="1688" y="728"/>
                  </a:lnTo>
                  <a:lnTo>
                    <a:pt x="1688" y="728"/>
                  </a:lnTo>
                  <a:lnTo>
                    <a:pt x="1688" y="728"/>
                  </a:lnTo>
                  <a:lnTo>
                    <a:pt x="1690" y="728"/>
                  </a:lnTo>
                  <a:lnTo>
                    <a:pt x="1690" y="728"/>
                  </a:lnTo>
                  <a:lnTo>
                    <a:pt x="1690" y="730"/>
                  </a:lnTo>
                  <a:lnTo>
                    <a:pt x="1690" y="730"/>
                  </a:lnTo>
                  <a:lnTo>
                    <a:pt x="1692" y="730"/>
                  </a:lnTo>
                  <a:lnTo>
                    <a:pt x="1692" y="725"/>
                  </a:lnTo>
                  <a:lnTo>
                    <a:pt x="1692" y="723"/>
                  </a:lnTo>
                  <a:lnTo>
                    <a:pt x="1694" y="721"/>
                  </a:lnTo>
                  <a:lnTo>
                    <a:pt x="1694" y="721"/>
                  </a:lnTo>
                  <a:lnTo>
                    <a:pt x="1694" y="717"/>
                  </a:lnTo>
                  <a:lnTo>
                    <a:pt x="1694" y="717"/>
                  </a:lnTo>
                  <a:lnTo>
                    <a:pt x="1694" y="715"/>
                  </a:lnTo>
                  <a:lnTo>
                    <a:pt x="1694" y="715"/>
                  </a:lnTo>
                  <a:lnTo>
                    <a:pt x="1694" y="715"/>
                  </a:lnTo>
                  <a:lnTo>
                    <a:pt x="1694" y="715"/>
                  </a:lnTo>
                  <a:lnTo>
                    <a:pt x="1696" y="713"/>
                  </a:lnTo>
                  <a:lnTo>
                    <a:pt x="1696" y="715"/>
                  </a:lnTo>
                  <a:lnTo>
                    <a:pt x="1694" y="721"/>
                  </a:lnTo>
                  <a:lnTo>
                    <a:pt x="1692" y="723"/>
                  </a:lnTo>
                  <a:lnTo>
                    <a:pt x="1692" y="725"/>
                  </a:lnTo>
                  <a:lnTo>
                    <a:pt x="1692" y="728"/>
                  </a:lnTo>
                  <a:lnTo>
                    <a:pt x="1692" y="728"/>
                  </a:lnTo>
                  <a:lnTo>
                    <a:pt x="1692" y="730"/>
                  </a:lnTo>
                  <a:lnTo>
                    <a:pt x="1692" y="730"/>
                  </a:lnTo>
                  <a:lnTo>
                    <a:pt x="1692" y="730"/>
                  </a:lnTo>
                  <a:lnTo>
                    <a:pt x="1692" y="730"/>
                  </a:lnTo>
                  <a:lnTo>
                    <a:pt x="1692" y="730"/>
                  </a:lnTo>
                  <a:lnTo>
                    <a:pt x="1690" y="730"/>
                  </a:lnTo>
                  <a:lnTo>
                    <a:pt x="1690" y="730"/>
                  </a:lnTo>
                  <a:lnTo>
                    <a:pt x="1690" y="730"/>
                  </a:lnTo>
                  <a:lnTo>
                    <a:pt x="1690" y="730"/>
                  </a:lnTo>
                  <a:lnTo>
                    <a:pt x="1690" y="730"/>
                  </a:lnTo>
                  <a:lnTo>
                    <a:pt x="1688" y="730"/>
                  </a:lnTo>
                  <a:lnTo>
                    <a:pt x="1688" y="730"/>
                  </a:lnTo>
                  <a:lnTo>
                    <a:pt x="1688" y="732"/>
                  </a:lnTo>
                  <a:lnTo>
                    <a:pt x="1686" y="732"/>
                  </a:lnTo>
                  <a:lnTo>
                    <a:pt x="1686" y="732"/>
                  </a:lnTo>
                  <a:lnTo>
                    <a:pt x="1686" y="734"/>
                  </a:lnTo>
                  <a:lnTo>
                    <a:pt x="1686" y="736"/>
                  </a:lnTo>
                  <a:lnTo>
                    <a:pt x="1686" y="736"/>
                  </a:lnTo>
                  <a:lnTo>
                    <a:pt x="1686" y="736"/>
                  </a:lnTo>
                  <a:lnTo>
                    <a:pt x="1686" y="736"/>
                  </a:lnTo>
                  <a:lnTo>
                    <a:pt x="1686" y="736"/>
                  </a:lnTo>
                  <a:lnTo>
                    <a:pt x="1688" y="736"/>
                  </a:lnTo>
                  <a:lnTo>
                    <a:pt x="1688" y="738"/>
                  </a:lnTo>
                  <a:lnTo>
                    <a:pt x="1688" y="738"/>
                  </a:lnTo>
                  <a:lnTo>
                    <a:pt x="1690" y="738"/>
                  </a:lnTo>
                  <a:lnTo>
                    <a:pt x="1690" y="740"/>
                  </a:lnTo>
                  <a:lnTo>
                    <a:pt x="1688" y="740"/>
                  </a:lnTo>
                  <a:lnTo>
                    <a:pt x="1688" y="740"/>
                  </a:lnTo>
                  <a:lnTo>
                    <a:pt x="1690" y="740"/>
                  </a:lnTo>
                  <a:lnTo>
                    <a:pt x="1690" y="742"/>
                  </a:lnTo>
                  <a:lnTo>
                    <a:pt x="1690" y="742"/>
                  </a:lnTo>
                  <a:lnTo>
                    <a:pt x="1690" y="742"/>
                  </a:lnTo>
                  <a:lnTo>
                    <a:pt x="1690" y="742"/>
                  </a:lnTo>
                  <a:lnTo>
                    <a:pt x="1690" y="744"/>
                  </a:lnTo>
                  <a:lnTo>
                    <a:pt x="1692" y="744"/>
                  </a:lnTo>
                  <a:lnTo>
                    <a:pt x="1694" y="746"/>
                  </a:lnTo>
                  <a:lnTo>
                    <a:pt x="1694" y="746"/>
                  </a:lnTo>
                  <a:lnTo>
                    <a:pt x="1696" y="744"/>
                  </a:lnTo>
                  <a:lnTo>
                    <a:pt x="1696" y="744"/>
                  </a:lnTo>
                  <a:lnTo>
                    <a:pt x="1696" y="742"/>
                  </a:lnTo>
                  <a:lnTo>
                    <a:pt x="1696" y="742"/>
                  </a:lnTo>
                  <a:lnTo>
                    <a:pt x="1696" y="742"/>
                  </a:lnTo>
                  <a:lnTo>
                    <a:pt x="1696" y="742"/>
                  </a:lnTo>
                  <a:lnTo>
                    <a:pt x="1696" y="742"/>
                  </a:lnTo>
                  <a:lnTo>
                    <a:pt x="1696" y="740"/>
                  </a:lnTo>
                  <a:lnTo>
                    <a:pt x="1696" y="740"/>
                  </a:lnTo>
                  <a:lnTo>
                    <a:pt x="1696" y="740"/>
                  </a:lnTo>
                  <a:lnTo>
                    <a:pt x="1694" y="738"/>
                  </a:lnTo>
                  <a:lnTo>
                    <a:pt x="1694" y="736"/>
                  </a:lnTo>
                  <a:lnTo>
                    <a:pt x="1694" y="736"/>
                  </a:lnTo>
                  <a:lnTo>
                    <a:pt x="1694" y="736"/>
                  </a:lnTo>
                  <a:lnTo>
                    <a:pt x="1694" y="736"/>
                  </a:lnTo>
                  <a:lnTo>
                    <a:pt x="1694" y="736"/>
                  </a:lnTo>
                  <a:lnTo>
                    <a:pt x="1694" y="736"/>
                  </a:lnTo>
                  <a:lnTo>
                    <a:pt x="1696" y="738"/>
                  </a:lnTo>
                  <a:lnTo>
                    <a:pt x="1696" y="738"/>
                  </a:lnTo>
                  <a:lnTo>
                    <a:pt x="1696" y="738"/>
                  </a:lnTo>
                  <a:lnTo>
                    <a:pt x="1696" y="740"/>
                  </a:lnTo>
                  <a:lnTo>
                    <a:pt x="1696" y="740"/>
                  </a:lnTo>
                  <a:lnTo>
                    <a:pt x="1698" y="740"/>
                  </a:lnTo>
                  <a:lnTo>
                    <a:pt x="1698" y="742"/>
                  </a:lnTo>
                  <a:lnTo>
                    <a:pt x="1698" y="742"/>
                  </a:lnTo>
                  <a:lnTo>
                    <a:pt x="1698" y="742"/>
                  </a:lnTo>
                  <a:lnTo>
                    <a:pt x="1698" y="744"/>
                  </a:lnTo>
                  <a:lnTo>
                    <a:pt x="1698" y="744"/>
                  </a:lnTo>
                  <a:lnTo>
                    <a:pt x="1698" y="744"/>
                  </a:lnTo>
                  <a:lnTo>
                    <a:pt x="1698" y="744"/>
                  </a:lnTo>
                  <a:lnTo>
                    <a:pt x="1698" y="744"/>
                  </a:lnTo>
                  <a:lnTo>
                    <a:pt x="1698" y="744"/>
                  </a:lnTo>
                  <a:lnTo>
                    <a:pt x="1700" y="744"/>
                  </a:lnTo>
                  <a:lnTo>
                    <a:pt x="1700" y="740"/>
                  </a:lnTo>
                  <a:lnTo>
                    <a:pt x="1700" y="740"/>
                  </a:lnTo>
                  <a:lnTo>
                    <a:pt x="1700" y="738"/>
                  </a:lnTo>
                  <a:lnTo>
                    <a:pt x="1700" y="738"/>
                  </a:lnTo>
                  <a:lnTo>
                    <a:pt x="1700" y="738"/>
                  </a:lnTo>
                  <a:lnTo>
                    <a:pt x="1700" y="740"/>
                  </a:lnTo>
                  <a:lnTo>
                    <a:pt x="1700" y="742"/>
                  </a:lnTo>
                  <a:lnTo>
                    <a:pt x="1700" y="742"/>
                  </a:lnTo>
                  <a:lnTo>
                    <a:pt x="1702" y="742"/>
                  </a:lnTo>
                  <a:lnTo>
                    <a:pt x="1702" y="738"/>
                  </a:lnTo>
                  <a:lnTo>
                    <a:pt x="1704" y="736"/>
                  </a:lnTo>
                  <a:lnTo>
                    <a:pt x="1704" y="734"/>
                  </a:lnTo>
                  <a:lnTo>
                    <a:pt x="1706" y="734"/>
                  </a:lnTo>
                  <a:lnTo>
                    <a:pt x="1706" y="732"/>
                  </a:lnTo>
                  <a:lnTo>
                    <a:pt x="1706" y="732"/>
                  </a:lnTo>
                  <a:lnTo>
                    <a:pt x="1706" y="730"/>
                  </a:lnTo>
                  <a:lnTo>
                    <a:pt x="1706" y="730"/>
                  </a:lnTo>
                  <a:lnTo>
                    <a:pt x="1706" y="728"/>
                  </a:lnTo>
                  <a:lnTo>
                    <a:pt x="1706" y="728"/>
                  </a:lnTo>
                  <a:lnTo>
                    <a:pt x="1706" y="728"/>
                  </a:lnTo>
                  <a:lnTo>
                    <a:pt x="1706" y="725"/>
                  </a:lnTo>
                  <a:lnTo>
                    <a:pt x="1706" y="725"/>
                  </a:lnTo>
                  <a:lnTo>
                    <a:pt x="1706" y="723"/>
                  </a:lnTo>
                  <a:lnTo>
                    <a:pt x="1706" y="723"/>
                  </a:lnTo>
                  <a:lnTo>
                    <a:pt x="1706" y="721"/>
                  </a:lnTo>
                  <a:lnTo>
                    <a:pt x="1706" y="721"/>
                  </a:lnTo>
                  <a:lnTo>
                    <a:pt x="1706" y="719"/>
                  </a:lnTo>
                  <a:lnTo>
                    <a:pt x="1706" y="719"/>
                  </a:lnTo>
                  <a:lnTo>
                    <a:pt x="1706" y="717"/>
                  </a:lnTo>
                  <a:lnTo>
                    <a:pt x="1706" y="717"/>
                  </a:lnTo>
                  <a:lnTo>
                    <a:pt x="1706" y="717"/>
                  </a:lnTo>
                  <a:lnTo>
                    <a:pt x="1706" y="717"/>
                  </a:lnTo>
                  <a:lnTo>
                    <a:pt x="1706" y="715"/>
                  </a:lnTo>
                  <a:lnTo>
                    <a:pt x="1706" y="715"/>
                  </a:lnTo>
                  <a:lnTo>
                    <a:pt x="1708" y="715"/>
                  </a:lnTo>
                  <a:lnTo>
                    <a:pt x="1708" y="715"/>
                  </a:lnTo>
                  <a:lnTo>
                    <a:pt x="1708" y="713"/>
                  </a:lnTo>
                  <a:lnTo>
                    <a:pt x="1708" y="713"/>
                  </a:lnTo>
                  <a:lnTo>
                    <a:pt x="1708" y="711"/>
                  </a:lnTo>
                  <a:lnTo>
                    <a:pt x="1706" y="709"/>
                  </a:lnTo>
                  <a:close/>
                  <a:moveTo>
                    <a:pt x="1681" y="742"/>
                  </a:moveTo>
                  <a:lnTo>
                    <a:pt x="1679" y="742"/>
                  </a:lnTo>
                  <a:lnTo>
                    <a:pt x="1679" y="742"/>
                  </a:lnTo>
                  <a:lnTo>
                    <a:pt x="1679" y="740"/>
                  </a:lnTo>
                  <a:lnTo>
                    <a:pt x="1679" y="740"/>
                  </a:lnTo>
                  <a:lnTo>
                    <a:pt x="1679" y="740"/>
                  </a:lnTo>
                  <a:lnTo>
                    <a:pt x="1679" y="740"/>
                  </a:lnTo>
                  <a:lnTo>
                    <a:pt x="1679" y="738"/>
                  </a:lnTo>
                  <a:lnTo>
                    <a:pt x="1677" y="738"/>
                  </a:lnTo>
                  <a:lnTo>
                    <a:pt x="1677" y="742"/>
                  </a:lnTo>
                  <a:lnTo>
                    <a:pt x="1675" y="740"/>
                  </a:lnTo>
                  <a:lnTo>
                    <a:pt x="1675" y="742"/>
                  </a:lnTo>
                  <a:lnTo>
                    <a:pt x="1675" y="742"/>
                  </a:lnTo>
                  <a:lnTo>
                    <a:pt x="1673" y="742"/>
                  </a:lnTo>
                  <a:lnTo>
                    <a:pt x="1673" y="744"/>
                  </a:lnTo>
                  <a:lnTo>
                    <a:pt x="1673" y="744"/>
                  </a:lnTo>
                  <a:lnTo>
                    <a:pt x="1673" y="744"/>
                  </a:lnTo>
                  <a:lnTo>
                    <a:pt x="1675" y="744"/>
                  </a:lnTo>
                  <a:lnTo>
                    <a:pt x="1675" y="744"/>
                  </a:lnTo>
                  <a:lnTo>
                    <a:pt x="1677" y="746"/>
                  </a:lnTo>
                  <a:lnTo>
                    <a:pt x="1677" y="746"/>
                  </a:lnTo>
                  <a:lnTo>
                    <a:pt x="1677" y="746"/>
                  </a:lnTo>
                  <a:lnTo>
                    <a:pt x="1677" y="746"/>
                  </a:lnTo>
                  <a:lnTo>
                    <a:pt x="1679" y="746"/>
                  </a:lnTo>
                  <a:lnTo>
                    <a:pt x="1679" y="746"/>
                  </a:lnTo>
                  <a:lnTo>
                    <a:pt x="1679" y="744"/>
                  </a:lnTo>
                  <a:lnTo>
                    <a:pt x="1679" y="744"/>
                  </a:lnTo>
                  <a:lnTo>
                    <a:pt x="1681" y="744"/>
                  </a:lnTo>
                  <a:lnTo>
                    <a:pt x="1681" y="744"/>
                  </a:lnTo>
                  <a:lnTo>
                    <a:pt x="1681" y="742"/>
                  </a:lnTo>
                  <a:lnTo>
                    <a:pt x="1681" y="742"/>
                  </a:lnTo>
                  <a:lnTo>
                    <a:pt x="1681" y="742"/>
                  </a:lnTo>
                  <a:lnTo>
                    <a:pt x="1681" y="742"/>
                  </a:lnTo>
                  <a:close/>
                  <a:moveTo>
                    <a:pt x="1675" y="740"/>
                  </a:moveTo>
                  <a:lnTo>
                    <a:pt x="1675" y="738"/>
                  </a:lnTo>
                  <a:lnTo>
                    <a:pt x="1675" y="736"/>
                  </a:lnTo>
                  <a:lnTo>
                    <a:pt x="1675" y="736"/>
                  </a:lnTo>
                  <a:lnTo>
                    <a:pt x="1675" y="736"/>
                  </a:lnTo>
                  <a:lnTo>
                    <a:pt x="1673" y="736"/>
                  </a:lnTo>
                  <a:lnTo>
                    <a:pt x="1673" y="736"/>
                  </a:lnTo>
                  <a:lnTo>
                    <a:pt x="1673" y="734"/>
                  </a:lnTo>
                  <a:lnTo>
                    <a:pt x="1673" y="734"/>
                  </a:lnTo>
                  <a:lnTo>
                    <a:pt x="1673" y="734"/>
                  </a:lnTo>
                  <a:lnTo>
                    <a:pt x="1673" y="732"/>
                  </a:lnTo>
                  <a:lnTo>
                    <a:pt x="1673" y="732"/>
                  </a:lnTo>
                  <a:lnTo>
                    <a:pt x="1671" y="732"/>
                  </a:lnTo>
                  <a:lnTo>
                    <a:pt x="1671" y="730"/>
                  </a:lnTo>
                  <a:lnTo>
                    <a:pt x="1671" y="730"/>
                  </a:lnTo>
                  <a:lnTo>
                    <a:pt x="1669" y="730"/>
                  </a:lnTo>
                  <a:lnTo>
                    <a:pt x="1667" y="728"/>
                  </a:lnTo>
                  <a:lnTo>
                    <a:pt x="1667" y="728"/>
                  </a:lnTo>
                  <a:lnTo>
                    <a:pt x="1665" y="728"/>
                  </a:lnTo>
                  <a:lnTo>
                    <a:pt x="1665" y="728"/>
                  </a:lnTo>
                  <a:lnTo>
                    <a:pt x="1665" y="728"/>
                  </a:lnTo>
                  <a:lnTo>
                    <a:pt x="1665" y="730"/>
                  </a:lnTo>
                  <a:lnTo>
                    <a:pt x="1665" y="730"/>
                  </a:lnTo>
                  <a:lnTo>
                    <a:pt x="1665" y="730"/>
                  </a:lnTo>
                  <a:lnTo>
                    <a:pt x="1665" y="730"/>
                  </a:lnTo>
                  <a:lnTo>
                    <a:pt x="1665" y="732"/>
                  </a:lnTo>
                  <a:lnTo>
                    <a:pt x="1665" y="732"/>
                  </a:lnTo>
                  <a:lnTo>
                    <a:pt x="1667" y="732"/>
                  </a:lnTo>
                  <a:lnTo>
                    <a:pt x="1667" y="732"/>
                  </a:lnTo>
                  <a:lnTo>
                    <a:pt x="1667" y="732"/>
                  </a:lnTo>
                  <a:lnTo>
                    <a:pt x="1667" y="734"/>
                  </a:lnTo>
                  <a:lnTo>
                    <a:pt x="1667" y="734"/>
                  </a:lnTo>
                  <a:lnTo>
                    <a:pt x="1667" y="734"/>
                  </a:lnTo>
                  <a:lnTo>
                    <a:pt x="1667" y="734"/>
                  </a:lnTo>
                  <a:lnTo>
                    <a:pt x="1669" y="734"/>
                  </a:lnTo>
                  <a:lnTo>
                    <a:pt x="1669" y="736"/>
                  </a:lnTo>
                  <a:lnTo>
                    <a:pt x="1669" y="736"/>
                  </a:lnTo>
                  <a:lnTo>
                    <a:pt x="1667" y="736"/>
                  </a:lnTo>
                  <a:lnTo>
                    <a:pt x="1667" y="736"/>
                  </a:lnTo>
                  <a:lnTo>
                    <a:pt x="1667" y="738"/>
                  </a:lnTo>
                  <a:lnTo>
                    <a:pt x="1667" y="738"/>
                  </a:lnTo>
                  <a:lnTo>
                    <a:pt x="1667" y="738"/>
                  </a:lnTo>
                  <a:lnTo>
                    <a:pt x="1667" y="740"/>
                  </a:lnTo>
                  <a:lnTo>
                    <a:pt x="1667" y="742"/>
                  </a:lnTo>
                  <a:lnTo>
                    <a:pt x="1669" y="742"/>
                  </a:lnTo>
                  <a:lnTo>
                    <a:pt x="1669" y="742"/>
                  </a:lnTo>
                  <a:lnTo>
                    <a:pt x="1669" y="742"/>
                  </a:lnTo>
                  <a:lnTo>
                    <a:pt x="1669" y="742"/>
                  </a:lnTo>
                  <a:lnTo>
                    <a:pt x="1669" y="742"/>
                  </a:lnTo>
                  <a:lnTo>
                    <a:pt x="1669" y="742"/>
                  </a:lnTo>
                  <a:lnTo>
                    <a:pt x="1669" y="742"/>
                  </a:lnTo>
                  <a:lnTo>
                    <a:pt x="1669" y="742"/>
                  </a:lnTo>
                  <a:lnTo>
                    <a:pt x="1669" y="742"/>
                  </a:lnTo>
                  <a:lnTo>
                    <a:pt x="1669" y="740"/>
                  </a:lnTo>
                  <a:lnTo>
                    <a:pt x="1669" y="740"/>
                  </a:lnTo>
                  <a:lnTo>
                    <a:pt x="1671" y="740"/>
                  </a:lnTo>
                  <a:lnTo>
                    <a:pt x="1669" y="738"/>
                  </a:lnTo>
                  <a:lnTo>
                    <a:pt x="1669" y="738"/>
                  </a:lnTo>
                  <a:lnTo>
                    <a:pt x="1669" y="738"/>
                  </a:lnTo>
                  <a:lnTo>
                    <a:pt x="1669" y="738"/>
                  </a:lnTo>
                  <a:lnTo>
                    <a:pt x="1669" y="738"/>
                  </a:lnTo>
                  <a:lnTo>
                    <a:pt x="1669" y="738"/>
                  </a:lnTo>
                  <a:lnTo>
                    <a:pt x="1671" y="738"/>
                  </a:lnTo>
                  <a:lnTo>
                    <a:pt x="1671" y="738"/>
                  </a:lnTo>
                  <a:lnTo>
                    <a:pt x="1671" y="740"/>
                  </a:lnTo>
                  <a:lnTo>
                    <a:pt x="1671" y="740"/>
                  </a:lnTo>
                  <a:lnTo>
                    <a:pt x="1671" y="740"/>
                  </a:lnTo>
                  <a:lnTo>
                    <a:pt x="1671" y="740"/>
                  </a:lnTo>
                  <a:lnTo>
                    <a:pt x="1673" y="740"/>
                  </a:lnTo>
                  <a:lnTo>
                    <a:pt x="1673" y="740"/>
                  </a:lnTo>
                  <a:lnTo>
                    <a:pt x="1675" y="740"/>
                  </a:lnTo>
                  <a:close/>
                  <a:moveTo>
                    <a:pt x="1079" y="613"/>
                  </a:moveTo>
                  <a:lnTo>
                    <a:pt x="1079" y="613"/>
                  </a:lnTo>
                  <a:lnTo>
                    <a:pt x="1079" y="613"/>
                  </a:lnTo>
                  <a:lnTo>
                    <a:pt x="1079" y="613"/>
                  </a:lnTo>
                  <a:close/>
                  <a:moveTo>
                    <a:pt x="743" y="814"/>
                  </a:moveTo>
                  <a:lnTo>
                    <a:pt x="743" y="814"/>
                  </a:lnTo>
                  <a:lnTo>
                    <a:pt x="743" y="814"/>
                  </a:lnTo>
                  <a:lnTo>
                    <a:pt x="743" y="814"/>
                  </a:lnTo>
                  <a:lnTo>
                    <a:pt x="743" y="814"/>
                  </a:lnTo>
                  <a:lnTo>
                    <a:pt x="743" y="812"/>
                  </a:lnTo>
                  <a:lnTo>
                    <a:pt x="743" y="812"/>
                  </a:lnTo>
                  <a:lnTo>
                    <a:pt x="741" y="814"/>
                  </a:lnTo>
                  <a:lnTo>
                    <a:pt x="741" y="814"/>
                  </a:lnTo>
                  <a:lnTo>
                    <a:pt x="741" y="814"/>
                  </a:lnTo>
                  <a:lnTo>
                    <a:pt x="741" y="814"/>
                  </a:lnTo>
                  <a:lnTo>
                    <a:pt x="743" y="814"/>
                  </a:lnTo>
                  <a:close/>
                  <a:moveTo>
                    <a:pt x="811" y="791"/>
                  </a:moveTo>
                  <a:lnTo>
                    <a:pt x="811" y="791"/>
                  </a:lnTo>
                  <a:lnTo>
                    <a:pt x="811" y="791"/>
                  </a:lnTo>
                  <a:lnTo>
                    <a:pt x="813" y="791"/>
                  </a:lnTo>
                  <a:lnTo>
                    <a:pt x="813" y="789"/>
                  </a:lnTo>
                  <a:lnTo>
                    <a:pt x="811" y="789"/>
                  </a:lnTo>
                  <a:lnTo>
                    <a:pt x="811" y="789"/>
                  </a:lnTo>
                  <a:lnTo>
                    <a:pt x="811" y="791"/>
                  </a:lnTo>
                  <a:lnTo>
                    <a:pt x="811" y="791"/>
                  </a:lnTo>
                  <a:lnTo>
                    <a:pt x="811" y="791"/>
                  </a:lnTo>
                  <a:lnTo>
                    <a:pt x="811" y="791"/>
                  </a:lnTo>
                  <a:close/>
                  <a:moveTo>
                    <a:pt x="815" y="791"/>
                  </a:moveTo>
                  <a:lnTo>
                    <a:pt x="815" y="791"/>
                  </a:lnTo>
                  <a:lnTo>
                    <a:pt x="815" y="791"/>
                  </a:lnTo>
                  <a:lnTo>
                    <a:pt x="815" y="789"/>
                  </a:lnTo>
                  <a:lnTo>
                    <a:pt x="813" y="789"/>
                  </a:lnTo>
                  <a:lnTo>
                    <a:pt x="813" y="791"/>
                  </a:lnTo>
                  <a:lnTo>
                    <a:pt x="813" y="791"/>
                  </a:lnTo>
                  <a:lnTo>
                    <a:pt x="813" y="791"/>
                  </a:lnTo>
                  <a:lnTo>
                    <a:pt x="815" y="791"/>
                  </a:lnTo>
                  <a:close/>
                  <a:moveTo>
                    <a:pt x="821" y="658"/>
                  </a:moveTo>
                  <a:lnTo>
                    <a:pt x="821" y="658"/>
                  </a:lnTo>
                  <a:lnTo>
                    <a:pt x="823" y="658"/>
                  </a:lnTo>
                  <a:lnTo>
                    <a:pt x="825" y="658"/>
                  </a:lnTo>
                  <a:lnTo>
                    <a:pt x="825" y="658"/>
                  </a:lnTo>
                  <a:lnTo>
                    <a:pt x="825" y="656"/>
                  </a:lnTo>
                  <a:lnTo>
                    <a:pt x="827" y="654"/>
                  </a:lnTo>
                  <a:lnTo>
                    <a:pt x="827" y="654"/>
                  </a:lnTo>
                  <a:lnTo>
                    <a:pt x="830" y="654"/>
                  </a:lnTo>
                  <a:lnTo>
                    <a:pt x="830" y="654"/>
                  </a:lnTo>
                  <a:lnTo>
                    <a:pt x="830" y="652"/>
                  </a:lnTo>
                  <a:lnTo>
                    <a:pt x="832" y="648"/>
                  </a:lnTo>
                  <a:lnTo>
                    <a:pt x="832" y="648"/>
                  </a:lnTo>
                  <a:lnTo>
                    <a:pt x="832" y="646"/>
                  </a:lnTo>
                  <a:lnTo>
                    <a:pt x="834" y="646"/>
                  </a:lnTo>
                  <a:lnTo>
                    <a:pt x="834" y="646"/>
                  </a:lnTo>
                  <a:lnTo>
                    <a:pt x="834" y="646"/>
                  </a:lnTo>
                  <a:lnTo>
                    <a:pt x="827" y="650"/>
                  </a:lnTo>
                  <a:lnTo>
                    <a:pt x="825" y="650"/>
                  </a:lnTo>
                  <a:lnTo>
                    <a:pt x="825" y="650"/>
                  </a:lnTo>
                  <a:lnTo>
                    <a:pt x="823" y="650"/>
                  </a:lnTo>
                  <a:lnTo>
                    <a:pt x="823" y="650"/>
                  </a:lnTo>
                  <a:lnTo>
                    <a:pt x="821" y="652"/>
                  </a:lnTo>
                  <a:lnTo>
                    <a:pt x="821" y="654"/>
                  </a:lnTo>
                  <a:lnTo>
                    <a:pt x="821" y="654"/>
                  </a:lnTo>
                  <a:lnTo>
                    <a:pt x="821" y="654"/>
                  </a:lnTo>
                  <a:lnTo>
                    <a:pt x="819" y="652"/>
                  </a:lnTo>
                  <a:lnTo>
                    <a:pt x="821" y="654"/>
                  </a:lnTo>
                  <a:lnTo>
                    <a:pt x="821" y="654"/>
                  </a:lnTo>
                  <a:lnTo>
                    <a:pt x="821" y="656"/>
                  </a:lnTo>
                  <a:lnTo>
                    <a:pt x="821" y="656"/>
                  </a:lnTo>
                  <a:lnTo>
                    <a:pt x="821" y="656"/>
                  </a:lnTo>
                  <a:lnTo>
                    <a:pt x="821" y="656"/>
                  </a:lnTo>
                  <a:lnTo>
                    <a:pt x="821" y="658"/>
                  </a:lnTo>
                  <a:lnTo>
                    <a:pt x="821" y="658"/>
                  </a:lnTo>
                  <a:close/>
                  <a:moveTo>
                    <a:pt x="840" y="654"/>
                  </a:moveTo>
                  <a:lnTo>
                    <a:pt x="840" y="654"/>
                  </a:lnTo>
                  <a:lnTo>
                    <a:pt x="840" y="652"/>
                  </a:lnTo>
                  <a:lnTo>
                    <a:pt x="840" y="652"/>
                  </a:lnTo>
                  <a:lnTo>
                    <a:pt x="840" y="652"/>
                  </a:lnTo>
                  <a:lnTo>
                    <a:pt x="840" y="652"/>
                  </a:lnTo>
                  <a:lnTo>
                    <a:pt x="840" y="652"/>
                  </a:lnTo>
                  <a:lnTo>
                    <a:pt x="840" y="652"/>
                  </a:lnTo>
                  <a:lnTo>
                    <a:pt x="840" y="650"/>
                  </a:lnTo>
                  <a:lnTo>
                    <a:pt x="840" y="650"/>
                  </a:lnTo>
                  <a:lnTo>
                    <a:pt x="840" y="652"/>
                  </a:lnTo>
                  <a:lnTo>
                    <a:pt x="840" y="654"/>
                  </a:lnTo>
                  <a:lnTo>
                    <a:pt x="840" y="654"/>
                  </a:lnTo>
                  <a:lnTo>
                    <a:pt x="840" y="654"/>
                  </a:lnTo>
                  <a:lnTo>
                    <a:pt x="840" y="654"/>
                  </a:lnTo>
                  <a:close/>
                  <a:moveTo>
                    <a:pt x="844" y="656"/>
                  </a:moveTo>
                  <a:lnTo>
                    <a:pt x="844" y="656"/>
                  </a:lnTo>
                  <a:lnTo>
                    <a:pt x="844" y="656"/>
                  </a:lnTo>
                  <a:lnTo>
                    <a:pt x="844" y="656"/>
                  </a:lnTo>
                  <a:lnTo>
                    <a:pt x="844" y="656"/>
                  </a:lnTo>
                  <a:lnTo>
                    <a:pt x="844" y="654"/>
                  </a:lnTo>
                  <a:lnTo>
                    <a:pt x="844" y="654"/>
                  </a:lnTo>
                  <a:lnTo>
                    <a:pt x="844" y="654"/>
                  </a:lnTo>
                  <a:lnTo>
                    <a:pt x="844" y="654"/>
                  </a:lnTo>
                  <a:lnTo>
                    <a:pt x="844" y="654"/>
                  </a:lnTo>
                  <a:lnTo>
                    <a:pt x="844" y="652"/>
                  </a:lnTo>
                  <a:lnTo>
                    <a:pt x="844" y="652"/>
                  </a:lnTo>
                  <a:lnTo>
                    <a:pt x="842" y="652"/>
                  </a:lnTo>
                  <a:lnTo>
                    <a:pt x="842" y="652"/>
                  </a:lnTo>
                  <a:lnTo>
                    <a:pt x="842" y="654"/>
                  </a:lnTo>
                  <a:lnTo>
                    <a:pt x="842" y="654"/>
                  </a:lnTo>
                  <a:lnTo>
                    <a:pt x="842" y="654"/>
                  </a:lnTo>
                  <a:lnTo>
                    <a:pt x="844" y="654"/>
                  </a:lnTo>
                  <a:lnTo>
                    <a:pt x="844" y="656"/>
                  </a:lnTo>
                  <a:close/>
                  <a:moveTo>
                    <a:pt x="748" y="822"/>
                  </a:moveTo>
                  <a:lnTo>
                    <a:pt x="748" y="822"/>
                  </a:lnTo>
                  <a:lnTo>
                    <a:pt x="748" y="822"/>
                  </a:lnTo>
                  <a:lnTo>
                    <a:pt x="750" y="820"/>
                  </a:lnTo>
                  <a:lnTo>
                    <a:pt x="750" y="820"/>
                  </a:lnTo>
                  <a:lnTo>
                    <a:pt x="750" y="820"/>
                  </a:lnTo>
                  <a:lnTo>
                    <a:pt x="750" y="820"/>
                  </a:lnTo>
                  <a:lnTo>
                    <a:pt x="750" y="820"/>
                  </a:lnTo>
                  <a:lnTo>
                    <a:pt x="750" y="820"/>
                  </a:lnTo>
                  <a:lnTo>
                    <a:pt x="748" y="822"/>
                  </a:lnTo>
                  <a:lnTo>
                    <a:pt x="748" y="822"/>
                  </a:lnTo>
                  <a:lnTo>
                    <a:pt x="748" y="822"/>
                  </a:lnTo>
                  <a:lnTo>
                    <a:pt x="748" y="822"/>
                  </a:lnTo>
                  <a:lnTo>
                    <a:pt x="748" y="822"/>
                  </a:lnTo>
                  <a:close/>
                  <a:moveTo>
                    <a:pt x="813" y="795"/>
                  </a:moveTo>
                  <a:lnTo>
                    <a:pt x="811" y="797"/>
                  </a:lnTo>
                  <a:lnTo>
                    <a:pt x="811" y="795"/>
                  </a:lnTo>
                  <a:lnTo>
                    <a:pt x="811" y="795"/>
                  </a:lnTo>
                  <a:lnTo>
                    <a:pt x="811" y="797"/>
                  </a:lnTo>
                  <a:lnTo>
                    <a:pt x="813" y="795"/>
                  </a:lnTo>
                  <a:lnTo>
                    <a:pt x="815" y="797"/>
                  </a:lnTo>
                  <a:lnTo>
                    <a:pt x="815" y="795"/>
                  </a:lnTo>
                  <a:lnTo>
                    <a:pt x="815" y="795"/>
                  </a:lnTo>
                  <a:lnTo>
                    <a:pt x="813" y="795"/>
                  </a:lnTo>
                  <a:lnTo>
                    <a:pt x="813" y="795"/>
                  </a:lnTo>
                  <a:lnTo>
                    <a:pt x="813" y="795"/>
                  </a:lnTo>
                  <a:lnTo>
                    <a:pt x="813" y="795"/>
                  </a:lnTo>
                  <a:lnTo>
                    <a:pt x="813" y="795"/>
                  </a:lnTo>
                  <a:close/>
                  <a:moveTo>
                    <a:pt x="1665" y="725"/>
                  </a:moveTo>
                  <a:lnTo>
                    <a:pt x="1665" y="725"/>
                  </a:lnTo>
                  <a:lnTo>
                    <a:pt x="1667" y="723"/>
                  </a:lnTo>
                  <a:lnTo>
                    <a:pt x="1667" y="721"/>
                  </a:lnTo>
                  <a:lnTo>
                    <a:pt x="1665" y="721"/>
                  </a:lnTo>
                  <a:lnTo>
                    <a:pt x="1665" y="719"/>
                  </a:lnTo>
                  <a:lnTo>
                    <a:pt x="1663" y="719"/>
                  </a:lnTo>
                  <a:lnTo>
                    <a:pt x="1663" y="719"/>
                  </a:lnTo>
                  <a:lnTo>
                    <a:pt x="1663" y="717"/>
                  </a:lnTo>
                  <a:lnTo>
                    <a:pt x="1663" y="717"/>
                  </a:lnTo>
                  <a:lnTo>
                    <a:pt x="1663" y="715"/>
                  </a:lnTo>
                  <a:lnTo>
                    <a:pt x="1663" y="715"/>
                  </a:lnTo>
                  <a:lnTo>
                    <a:pt x="1665" y="715"/>
                  </a:lnTo>
                  <a:lnTo>
                    <a:pt x="1665" y="713"/>
                  </a:lnTo>
                  <a:lnTo>
                    <a:pt x="1665" y="717"/>
                  </a:lnTo>
                  <a:lnTo>
                    <a:pt x="1665" y="717"/>
                  </a:lnTo>
                  <a:lnTo>
                    <a:pt x="1665" y="719"/>
                  </a:lnTo>
                  <a:lnTo>
                    <a:pt x="1665" y="719"/>
                  </a:lnTo>
                  <a:lnTo>
                    <a:pt x="1667" y="721"/>
                  </a:lnTo>
                  <a:lnTo>
                    <a:pt x="1667" y="721"/>
                  </a:lnTo>
                  <a:lnTo>
                    <a:pt x="1667" y="721"/>
                  </a:lnTo>
                  <a:lnTo>
                    <a:pt x="1667" y="721"/>
                  </a:lnTo>
                  <a:lnTo>
                    <a:pt x="1667" y="723"/>
                  </a:lnTo>
                  <a:lnTo>
                    <a:pt x="1667" y="723"/>
                  </a:lnTo>
                  <a:lnTo>
                    <a:pt x="1667" y="723"/>
                  </a:lnTo>
                  <a:lnTo>
                    <a:pt x="1667" y="723"/>
                  </a:lnTo>
                  <a:lnTo>
                    <a:pt x="1669" y="721"/>
                  </a:lnTo>
                  <a:lnTo>
                    <a:pt x="1669" y="721"/>
                  </a:lnTo>
                  <a:lnTo>
                    <a:pt x="1669" y="721"/>
                  </a:lnTo>
                  <a:lnTo>
                    <a:pt x="1669" y="719"/>
                  </a:lnTo>
                  <a:lnTo>
                    <a:pt x="1669" y="719"/>
                  </a:lnTo>
                  <a:lnTo>
                    <a:pt x="1669" y="717"/>
                  </a:lnTo>
                  <a:lnTo>
                    <a:pt x="1669" y="715"/>
                  </a:lnTo>
                  <a:lnTo>
                    <a:pt x="1667" y="715"/>
                  </a:lnTo>
                  <a:lnTo>
                    <a:pt x="1665" y="711"/>
                  </a:lnTo>
                  <a:lnTo>
                    <a:pt x="1665" y="709"/>
                  </a:lnTo>
                  <a:lnTo>
                    <a:pt x="1665" y="707"/>
                  </a:lnTo>
                  <a:lnTo>
                    <a:pt x="1665" y="707"/>
                  </a:lnTo>
                  <a:lnTo>
                    <a:pt x="1665" y="709"/>
                  </a:lnTo>
                  <a:lnTo>
                    <a:pt x="1667" y="711"/>
                  </a:lnTo>
                  <a:lnTo>
                    <a:pt x="1667" y="711"/>
                  </a:lnTo>
                  <a:lnTo>
                    <a:pt x="1667" y="713"/>
                  </a:lnTo>
                  <a:lnTo>
                    <a:pt x="1669" y="713"/>
                  </a:lnTo>
                  <a:lnTo>
                    <a:pt x="1669" y="715"/>
                  </a:lnTo>
                  <a:lnTo>
                    <a:pt x="1669" y="715"/>
                  </a:lnTo>
                  <a:lnTo>
                    <a:pt x="1671" y="717"/>
                  </a:lnTo>
                  <a:lnTo>
                    <a:pt x="1671" y="717"/>
                  </a:lnTo>
                  <a:lnTo>
                    <a:pt x="1669" y="719"/>
                  </a:lnTo>
                  <a:lnTo>
                    <a:pt x="1669" y="719"/>
                  </a:lnTo>
                  <a:lnTo>
                    <a:pt x="1669" y="721"/>
                  </a:lnTo>
                  <a:lnTo>
                    <a:pt x="1669" y="721"/>
                  </a:lnTo>
                  <a:lnTo>
                    <a:pt x="1669" y="721"/>
                  </a:lnTo>
                  <a:lnTo>
                    <a:pt x="1669" y="721"/>
                  </a:lnTo>
                  <a:lnTo>
                    <a:pt x="1669" y="721"/>
                  </a:lnTo>
                  <a:lnTo>
                    <a:pt x="1669" y="723"/>
                  </a:lnTo>
                  <a:lnTo>
                    <a:pt x="1669" y="723"/>
                  </a:lnTo>
                  <a:lnTo>
                    <a:pt x="1669" y="723"/>
                  </a:lnTo>
                  <a:lnTo>
                    <a:pt x="1667" y="725"/>
                  </a:lnTo>
                  <a:lnTo>
                    <a:pt x="1667" y="725"/>
                  </a:lnTo>
                  <a:lnTo>
                    <a:pt x="1667" y="725"/>
                  </a:lnTo>
                  <a:lnTo>
                    <a:pt x="1669" y="728"/>
                  </a:lnTo>
                  <a:lnTo>
                    <a:pt x="1669" y="728"/>
                  </a:lnTo>
                  <a:lnTo>
                    <a:pt x="1669" y="728"/>
                  </a:lnTo>
                  <a:lnTo>
                    <a:pt x="1671" y="728"/>
                  </a:lnTo>
                  <a:lnTo>
                    <a:pt x="1671" y="725"/>
                  </a:lnTo>
                  <a:lnTo>
                    <a:pt x="1673" y="725"/>
                  </a:lnTo>
                  <a:lnTo>
                    <a:pt x="1673" y="723"/>
                  </a:lnTo>
                  <a:lnTo>
                    <a:pt x="1673" y="723"/>
                  </a:lnTo>
                  <a:lnTo>
                    <a:pt x="1673" y="723"/>
                  </a:lnTo>
                  <a:lnTo>
                    <a:pt x="1671" y="721"/>
                  </a:lnTo>
                  <a:lnTo>
                    <a:pt x="1671" y="721"/>
                  </a:lnTo>
                  <a:lnTo>
                    <a:pt x="1671" y="719"/>
                  </a:lnTo>
                  <a:lnTo>
                    <a:pt x="1671" y="719"/>
                  </a:lnTo>
                  <a:lnTo>
                    <a:pt x="1673" y="719"/>
                  </a:lnTo>
                  <a:lnTo>
                    <a:pt x="1671" y="717"/>
                  </a:lnTo>
                  <a:lnTo>
                    <a:pt x="1673" y="717"/>
                  </a:lnTo>
                  <a:lnTo>
                    <a:pt x="1673" y="719"/>
                  </a:lnTo>
                  <a:lnTo>
                    <a:pt x="1673" y="719"/>
                  </a:lnTo>
                  <a:lnTo>
                    <a:pt x="1673" y="719"/>
                  </a:lnTo>
                  <a:lnTo>
                    <a:pt x="1673" y="719"/>
                  </a:lnTo>
                  <a:lnTo>
                    <a:pt x="1673" y="721"/>
                  </a:lnTo>
                  <a:lnTo>
                    <a:pt x="1673" y="721"/>
                  </a:lnTo>
                  <a:lnTo>
                    <a:pt x="1673" y="721"/>
                  </a:lnTo>
                  <a:lnTo>
                    <a:pt x="1673" y="721"/>
                  </a:lnTo>
                  <a:lnTo>
                    <a:pt x="1673" y="723"/>
                  </a:lnTo>
                  <a:lnTo>
                    <a:pt x="1673" y="723"/>
                  </a:lnTo>
                  <a:lnTo>
                    <a:pt x="1673" y="725"/>
                  </a:lnTo>
                  <a:lnTo>
                    <a:pt x="1673" y="728"/>
                  </a:lnTo>
                  <a:lnTo>
                    <a:pt x="1673" y="728"/>
                  </a:lnTo>
                  <a:lnTo>
                    <a:pt x="1675" y="728"/>
                  </a:lnTo>
                  <a:lnTo>
                    <a:pt x="1677" y="730"/>
                  </a:lnTo>
                  <a:lnTo>
                    <a:pt x="1677" y="728"/>
                  </a:lnTo>
                  <a:lnTo>
                    <a:pt x="1677" y="728"/>
                  </a:lnTo>
                  <a:lnTo>
                    <a:pt x="1677" y="725"/>
                  </a:lnTo>
                  <a:lnTo>
                    <a:pt x="1677" y="725"/>
                  </a:lnTo>
                  <a:lnTo>
                    <a:pt x="1677" y="725"/>
                  </a:lnTo>
                  <a:lnTo>
                    <a:pt x="1677" y="725"/>
                  </a:lnTo>
                  <a:lnTo>
                    <a:pt x="1679" y="725"/>
                  </a:lnTo>
                  <a:lnTo>
                    <a:pt x="1679" y="725"/>
                  </a:lnTo>
                  <a:lnTo>
                    <a:pt x="1679" y="723"/>
                  </a:lnTo>
                  <a:lnTo>
                    <a:pt x="1679" y="723"/>
                  </a:lnTo>
                  <a:lnTo>
                    <a:pt x="1679" y="721"/>
                  </a:lnTo>
                  <a:lnTo>
                    <a:pt x="1679" y="719"/>
                  </a:lnTo>
                  <a:lnTo>
                    <a:pt x="1679" y="719"/>
                  </a:lnTo>
                  <a:lnTo>
                    <a:pt x="1679" y="719"/>
                  </a:lnTo>
                  <a:lnTo>
                    <a:pt x="1679" y="717"/>
                  </a:lnTo>
                  <a:lnTo>
                    <a:pt x="1677" y="717"/>
                  </a:lnTo>
                  <a:lnTo>
                    <a:pt x="1677" y="717"/>
                  </a:lnTo>
                  <a:lnTo>
                    <a:pt x="1677" y="717"/>
                  </a:lnTo>
                  <a:lnTo>
                    <a:pt x="1677" y="715"/>
                  </a:lnTo>
                  <a:lnTo>
                    <a:pt x="1677" y="715"/>
                  </a:lnTo>
                  <a:lnTo>
                    <a:pt x="1677" y="715"/>
                  </a:lnTo>
                  <a:lnTo>
                    <a:pt x="1679" y="715"/>
                  </a:lnTo>
                  <a:lnTo>
                    <a:pt x="1679" y="717"/>
                  </a:lnTo>
                  <a:lnTo>
                    <a:pt x="1679" y="717"/>
                  </a:lnTo>
                  <a:lnTo>
                    <a:pt x="1679" y="715"/>
                  </a:lnTo>
                  <a:lnTo>
                    <a:pt x="1679" y="715"/>
                  </a:lnTo>
                  <a:lnTo>
                    <a:pt x="1679" y="715"/>
                  </a:lnTo>
                  <a:lnTo>
                    <a:pt x="1679" y="713"/>
                  </a:lnTo>
                  <a:lnTo>
                    <a:pt x="1677" y="713"/>
                  </a:lnTo>
                  <a:lnTo>
                    <a:pt x="1677" y="713"/>
                  </a:lnTo>
                  <a:lnTo>
                    <a:pt x="1677" y="711"/>
                  </a:lnTo>
                  <a:lnTo>
                    <a:pt x="1677" y="711"/>
                  </a:lnTo>
                  <a:lnTo>
                    <a:pt x="1677" y="711"/>
                  </a:lnTo>
                  <a:lnTo>
                    <a:pt x="1677" y="711"/>
                  </a:lnTo>
                  <a:lnTo>
                    <a:pt x="1677" y="709"/>
                  </a:lnTo>
                  <a:lnTo>
                    <a:pt x="1675" y="707"/>
                  </a:lnTo>
                  <a:lnTo>
                    <a:pt x="1677" y="707"/>
                  </a:lnTo>
                  <a:lnTo>
                    <a:pt x="1677" y="707"/>
                  </a:lnTo>
                  <a:lnTo>
                    <a:pt x="1677" y="707"/>
                  </a:lnTo>
                  <a:lnTo>
                    <a:pt x="1677" y="707"/>
                  </a:lnTo>
                  <a:lnTo>
                    <a:pt x="1677" y="707"/>
                  </a:lnTo>
                  <a:lnTo>
                    <a:pt x="1677" y="705"/>
                  </a:lnTo>
                  <a:lnTo>
                    <a:pt x="1675" y="703"/>
                  </a:lnTo>
                  <a:lnTo>
                    <a:pt x="1675" y="703"/>
                  </a:lnTo>
                  <a:lnTo>
                    <a:pt x="1675" y="703"/>
                  </a:lnTo>
                  <a:lnTo>
                    <a:pt x="1675" y="703"/>
                  </a:lnTo>
                  <a:lnTo>
                    <a:pt x="1675" y="701"/>
                  </a:lnTo>
                  <a:lnTo>
                    <a:pt x="1673" y="701"/>
                  </a:lnTo>
                  <a:lnTo>
                    <a:pt x="1671" y="699"/>
                  </a:lnTo>
                  <a:lnTo>
                    <a:pt x="1671" y="699"/>
                  </a:lnTo>
                  <a:lnTo>
                    <a:pt x="1671" y="697"/>
                  </a:lnTo>
                  <a:lnTo>
                    <a:pt x="1665" y="693"/>
                  </a:lnTo>
                  <a:lnTo>
                    <a:pt x="1663" y="693"/>
                  </a:lnTo>
                  <a:lnTo>
                    <a:pt x="1663" y="691"/>
                  </a:lnTo>
                  <a:lnTo>
                    <a:pt x="1661" y="691"/>
                  </a:lnTo>
                  <a:lnTo>
                    <a:pt x="1661" y="693"/>
                  </a:lnTo>
                  <a:lnTo>
                    <a:pt x="1659" y="693"/>
                  </a:lnTo>
                  <a:lnTo>
                    <a:pt x="1659" y="695"/>
                  </a:lnTo>
                  <a:lnTo>
                    <a:pt x="1657" y="695"/>
                  </a:lnTo>
                  <a:lnTo>
                    <a:pt x="1657" y="695"/>
                  </a:lnTo>
                  <a:lnTo>
                    <a:pt x="1657" y="695"/>
                  </a:lnTo>
                  <a:lnTo>
                    <a:pt x="1657" y="695"/>
                  </a:lnTo>
                  <a:lnTo>
                    <a:pt x="1657" y="697"/>
                  </a:lnTo>
                  <a:lnTo>
                    <a:pt x="1655" y="697"/>
                  </a:lnTo>
                  <a:lnTo>
                    <a:pt x="1653" y="697"/>
                  </a:lnTo>
                  <a:lnTo>
                    <a:pt x="1655" y="697"/>
                  </a:lnTo>
                  <a:lnTo>
                    <a:pt x="1655" y="699"/>
                  </a:lnTo>
                  <a:lnTo>
                    <a:pt x="1655" y="699"/>
                  </a:lnTo>
                  <a:lnTo>
                    <a:pt x="1657" y="699"/>
                  </a:lnTo>
                  <a:lnTo>
                    <a:pt x="1659" y="699"/>
                  </a:lnTo>
                  <a:lnTo>
                    <a:pt x="1659" y="699"/>
                  </a:lnTo>
                  <a:lnTo>
                    <a:pt x="1659" y="699"/>
                  </a:lnTo>
                  <a:lnTo>
                    <a:pt x="1653" y="701"/>
                  </a:lnTo>
                  <a:lnTo>
                    <a:pt x="1653" y="701"/>
                  </a:lnTo>
                  <a:lnTo>
                    <a:pt x="1653" y="703"/>
                  </a:lnTo>
                  <a:lnTo>
                    <a:pt x="1653" y="703"/>
                  </a:lnTo>
                  <a:lnTo>
                    <a:pt x="1655" y="703"/>
                  </a:lnTo>
                  <a:lnTo>
                    <a:pt x="1655" y="703"/>
                  </a:lnTo>
                  <a:lnTo>
                    <a:pt x="1655" y="703"/>
                  </a:lnTo>
                  <a:lnTo>
                    <a:pt x="1655" y="703"/>
                  </a:lnTo>
                  <a:lnTo>
                    <a:pt x="1657" y="703"/>
                  </a:lnTo>
                  <a:lnTo>
                    <a:pt x="1657" y="701"/>
                  </a:lnTo>
                  <a:lnTo>
                    <a:pt x="1657" y="701"/>
                  </a:lnTo>
                  <a:lnTo>
                    <a:pt x="1657" y="701"/>
                  </a:lnTo>
                  <a:lnTo>
                    <a:pt x="1657" y="701"/>
                  </a:lnTo>
                  <a:lnTo>
                    <a:pt x="1657" y="701"/>
                  </a:lnTo>
                  <a:lnTo>
                    <a:pt x="1657" y="701"/>
                  </a:lnTo>
                  <a:lnTo>
                    <a:pt x="1659" y="703"/>
                  </a:lnTo>
                  <a:lnTo>
                    <a:pt x="1659" y="703"/>
                  </a:lnTo>
                  <a:lnTo>
                    <a:pt x="1657" y="703"/>
                  </a:lnTo>
                  <a:lnTo>
                    <a:pt x="1655" y="705"/>
                  </a:lnTo>
                  <a:lnTo>
                    <a:pt x="1655" y="705"/>
                  </a:lnTo>
                  <a:lnTo>
                    <a:pt x="1653" y="705"/>
                  </a:lnTo>
                  <a:lnTo>
                    <a:pt x="1653" y="707"/>
                  </a:lnTo>
                  <a:lnTo>
                    <a:pt x="1653" y="709"/>
                  </a:lnTo>
                  <a:lnTo>
                    <a:pt x="1655" y="709"/>
                  </a:lnTo>
                  <a:lnTo>
                    <a:pt x="1655" y="707"/>
                  </a:lnTo>
                  <a:lnTo>
                    <a:pt x="1655" y="707"/>
                  </a:lnTo>
                  <a:lnTo>
                    <a:pt x="1657" y="705"/>
                  </a:lnTo>
                  <a:lnTo>
                    <a:pt x="1659" y="705"/>
                  </a:lnTo>
                  <a:lnTo>
                    <a:pt x="1659" y="705"/>
                  </a:lnTo>
                  <a:lnTo>
                    <a:pt x="1659" y="705"/>
                  </a:lnTo>
                  <a:lnTo>
                    <a:pt x="1659" y="705"/>
                  </a:lnTo>
                  <a:lnTo>
                    <a:pt x="1657" y="707"/>
                  </a:lnTo>
                  <a:lnTo>
                    <a:pt x="1657" y="707"/>
                  </a:lnTo>
                  <a:lnTo>
                    <a:pt x="1657" y="707"/>
                  </a:lnTo>
                  <a:lnTo>
                    <a:pt x="1657" y="707"/>
                  </a:lnTo>
                  <a:lnTo>
                    <a:pt x="1655" y="707"/>
                  </a:lnTo>
                  <a:lnTo>
                    <a:pt x="1655" y="707"/>
                  </a:lnTo>
                  <a:lnTo>
                    <a:pt x="1657" y="709"/>
                  </a:lnTo>
                  <a:lnTo>
                    <a:pt x="1657" y="709"/>
                  </a:lnTo>
                  <a:lnTo>
                    <a:pt x="1657" y="709"/>
                  </a:lnTo>
                  <a:lnTo>
                    <a:pt x="1655" y="709"/>
                  </a:lnTo>
                  <a:lnTo>
                    <a:pt x="1655" y="709"/>
                  </a:lnTo>
                  <a:lnTo>
                    <a:pt x="1655" y="709"/>
                  </a:lnTo>
                  <a:lnTo>
                    <a:pt x="1655" y="709"/>
                  </a:lnTo>
                  <a:lnTo>
                    <a:pt x="1655" y="709"/>
                  </a:lnTo>
                  <a:lnTo>
                    <a:pt x="1655" y="711"/>
                  </a:lnTo>
                  <a:lnTo>
                    <a:pt x="1655" y="711"/>
                  </a:lnTo>
                  <a:lnTo>
                    <a:pt x="1655" y="711"/>
                  </a:lnTo>
                  <a:lnTo>
                    <a:pt x="1655" y="713"/>
                  </a:lnTo>
                  <a:lnTo>
                    <a:pt x="1657" y="713"/>
                  </a:lnTo>
                  <a:lnTo>
                    <a:pt x="1657" y="713"/>
                  </a:lnTo>
                  <a:lnTo>
                    <a:pt x="1659" y="713"/>
                  </a:lnTo>
                  <a:lnTo>
                    <a:pt x="1659" y="715"/>
                  </a:lnTo>
                  <a:lnTo>
                    <a:pt x="1659" y="715"/>
                  </a:lnTo>
                  <a:lnTo>
                    <a:pt x="1657" y="715"/>
                  </a:lnTo>
                  <a:lnTo>
                    <a:pt x="1657" y="715"/>
                  </a:lnTo>
                  <a:lnTo>
                    <a:pt x="1657" y="715"/>
                  </a:lnTo>
                  <a:lnTo>
                    <a:pt x="1657" y="717"/>
                  </a:lnTo>
                  <a:lnTo>
                    <a:pt x="1657" y="717"/>
                  </a:lnTo>
                  <a:lnTo>
                    <a:pt x="1655" y="721"/>
                  </a:lnTo>
                  <a:lnTo>
                    <a:pt x="1655" y="721"/>
                  </a:lnTo>
                  <a:lnTo>
                    <a:pt x="1655" y="721"/>
                  </a:lnTo>
                  <a:lnTo>
                    <a:pt x="1657" y="723"/>
                  </a:lnTo>
                  <a:lnTo>
                    <a:pt x="1659" y="723"/>
                  </a:lnTo>
                  <a:lnTo>
                    <a:pt x="1659" y="723"/>
                  </a:lnTo>
                  <a:lnTo>
                    <a:pt x="1659" y="723"/>
                  </a:lnTo>
                  <a:lnTo>
                    <a:pt x="1659" y="723"/>
                  </a:lnTo>
                  <a:lnTo>
                    <a:pt x="1661" y="725"/>
                  </a:lnTo>
                  <a:lnTo>
                    <a:pt x="1661" y="725"/>
                  </a:lnTo>
                  <a:lnTo>
                    <a:pt x="1663" y="725"/>
                  </a:lnTo>
                  <a:lnTo>
                    <a:pt x="1665" y="728"/>
                  </a:lnTo>
                  <a:lnTo>
                    <a:pt x="1665" y="728"/>
                  </a:lnTo>
                  <a:lnTo>
                    <a:pt x="1665" y="725"/>
                  </a:lnTo>
                  <a:close/>
                  <a:moveTo>
                    <a:pt x="756" y="816"/>
                  </a:moveTo>
                  <a:lnTo>
                    <a:pt x="756" y="816"/>
                  </a:lnTo>
                  <a:lnTo>
                    <a:pt x="756" y="816"/>
                  </a:lnTo>
                  <a:lnTo>
                    <a:pt x="754" y="816"/>
                  </a:lnTo>
                  <a:lnTo>
                    <a:pt x="752" y="818"/>
                  </a:lnTo>
                  <a:lnTo>
                    <a:pt x="750" y="818"/>
                  </a:lnTo>
                  <a:lnTo>
                    <a:pt x="750" y="820"/>
                  </a:lnTo>
                  <a:lnTo>
                    <a:pt x="750" y="818"/>
                  </a:lnTo>
                  <a:lnTo>
                    <a:pt x="756" y="816"/>
                  </a:lnTo>
                  <a:lnTo>
                    <a:pt x="756" y="816"/>
                  </a:lnTo>
                  <a:close/>
                  <a:moveTo>
                    <a:pt x="1602" y="725"/>
                  </a:moveTo>
                  <a:lnTo>
                    <a:pt x="1604" y="725"/>
                  </a:lnTo>
                  <a:lnTo>
                    <a:pt x="1604" y="725"/>
                  </a:lnTo>
                  <a:lnTo>
                    <a:pt x="1604" y="723"/>
                  </a:lnTo>
                  <a:lnTo>
                    <a:pt x="1604" y="721"/>
                  </a:lnTo>
                  <a:lnTo>
                    <a:pt x="1604" y="721"/>
                  </a:lnTo>
                  <a:lnTo>
                    <a:pt x="1604" y="721"/>
                  </a:lnTo>
                  <a:lnTo>
                    <a:pt x="1604" y="721"/>
                  </a:lnTo>
                  <a:lnTo>
                    <a:pt x="1606" y="723"/>
                  </a:lnTo>
                  <a:lnTo>
                    <a:pt x="1606" y="721"/>
                  </a:lnTo>
                  <a:lnTo>
                    <a:pt x="1606" y="721"/>
                  </a:lnTo>
                  <a:lnTo>
                    <a:pt x="1608" y="719"/>
                  </a:lnTo>
                  <a:lnTo>
                    <a:pt x="1608" y="719"/>
                  </a:lnTo>
                  <a:lnTo>
                    <a:pt x="1608" y="717"/>
                  </a:lnTo>
                  <a:lnTo>
                    <a:pt x="1608" y="717"/>
                  </a:lnTo>
                  <a:lnTo>
                    <a:pt x="1608" y="719"/>
                  </a:lnTo>
                  <a:lnTo>
                    <a:pt x="1608" y="719"/>
                  </a:lnTo>
                  <a:lnTo>
                    <a:pt x="1606" y="719"/>
                  </a:lnTo>
                  <a:lnTo>
                    <a:pt x="1604" y="721"/>
                  </a:lnTo>
                  <a:lnTo>
                    <a:pt x="1604" y="721"/>
                  </a:lnTo>
                  <a:lnTo>
                    <a:pt x="1604" y="719"/>
                  </a:lnTo>
                  <a:lnTo>
                    <a:pt x="1604" y="719"/>
                  </a:lnTo>
                  <a:lnTo>
                    <a:pt x="1602" y="719"/>
                  </a:lnTo>
                  <a:lnTo>
                    <a:pt x="1602" y="719"/>
                  </a:lnTo>
                  <a:lnTo>
                    <a:pt x="1602" y="719"/>
                  </a:lnTo>
                  <a:lnTo>
                    <a:pt x="1600" y="719"/>
                  </a:lnTo>
                  <a:lnTo>
                    <a:pt x="1600" y="719"/>
                  </a:lnTo>
                  <a:lnTo>
                    <a:pt x="1600" y="721"/>
                  </a:lnTo>
                  <a:lnTo>
                    <a:pt x="1600" y="721"/>
                  </a:lnTo>
                  <a:lnTo>
                    <a:pt x="1600" y="719"/>
                  </a:lnTo>
                  <a:lnTo>
                    <a:pt x="1600" y="719"/>
                  </a:lnTo>
                  <a:lnTo>
                    <a:pt x="1598" y="719"/>
                  </a:lnTo>
                  <a:lnTo>
                    <a:pt x="1598" y="721"/>
                  </a:lnTo>
                  <a:lnTo>
                    <a:pt x="1600" y="721"/>
                  </a:lnTo>
                  <a:lnTo>
                    <a:pt x="1600" y="721"/>
                  </a:lnTo>
                  <a:lnTo>
                    <a:pt x="1598" y="721"/>
                  </a:lnTo>
                  <a:lnTo>
                    <a:pt x="1598" y="721"/>
                  </a:lnTo>
                  <a:lnTo>
                    <a:pt x="1598" y="723"/>
                  </a:lnTo>
                  <a:lnTo>
                    <a:pt x="1600" y="725"/>
                  </a:lnTo>
                  <a:lnTo>
                    <a:pt x="1602" y="725"/>
                  </a:lnTo>
                  <a:close/>
                  <a:moveTo>
                    <a:pt x="1606" y="717"/>
                  </a:moveTo>
                  <a:lnTo>
                    <a:pt x="1606" y="717"/>
                  </a:lnTo>
                  <a:lnTo>
                    <a:pt x="1606" y="717"/>
                  </a:lnTo>
                  <a:lnTo>
                    <a:pt x="1608" y="717"/>
                  </a:lnTo>
                  <a:lnTo>
                    <a:pt x="1608" y="717"/>
                  </a:lnTo>
                  <a:lnTo>
                    <a:pt x="1608" y="717"/>
                  </a:lnTo>
                  <a:lnTo>
                    <a:pt x="1608" y="719"/>
                  </a:lnTo>
                  <a:lnTo>
                    <a:pt x="1610" y="719"/>
                  </a:lnTo>
                  <a:lnTo>
                    <a:pt x="1610" y="719"/>
                  </a:lnTo>
                  <a:lnTo>
                    <a:pt x="1610" y="719"/>
                  </a:lnTo>
                  <a:lnTo>
                    <a:pt x="1610" y="719"/>
                  </a:lnTo>
                  <a:lnTo>
                    <a:pt x="1610" y="719"/>
                  </a:lnTo>
                  <a:lnTo>
                    <a:pt x="1610" y="719"/>
                  </a:lnTo>
                  <a:lnTo>
                    <a:pt x="1610" y="717"/>
                  </a:lnTo>
                  <a:lnTo>
                    <a:pt x="1610" y="717"/>
                  </a:lnTo>
                  <a:lnTo>
                    <a:pt x="1610" y="715"/>
                  </a:lnTo>
                  <a:lnTo>
                    <a:pt x="1610" y="715"/>
                  </a:lnTo>
                  <a:lnTo>
                    <a:pt x="1608" y="715"/>
                  </a:lnTo>
                  <a:lnTo>
                    <a:pt x="1608" y="715"/>
                  </a:lnTo>
                  <a:lnTo>
                    <a:pt x="1608" y="715"/>
                  </a:lnTo>
                  <a:lnTo>
                    <a:pt x="1608" y="713"/>
                  </a:lnTo>
                  <a:lnTo>
                    <a:pt x="1608" y="713"/>
                  </a:lnTo>
                  <a:lnTo>
                    <a:pt x="1606" y="713"/>
                  </a:lnTo>
                  <a:lnTo>
                    <a:pt x="1606" y="713"/>
                  </a:lnTo>
                  <a:lnTo>
                    <a:pt x="1606" y="715"/>
                  </a:lnTo>
                  <a:lnTo>
                    <a:pt x="1606" y="715"/>
                  </a:lnTo>
                  <a:lnTo>
                    <a:pt x="1606" y="715"/>
                  </a:lnTo>
                  <a:lnTo>
                    <a:pt x="1606" y="715"/>
                  </a:lnTo>
                  <a:lnTo>
                    <a:pt x="1608" y="715"/>
                  </a:lnTo>
                  <a:lnTo>
                    <a:pt x="1606" y="717"/>
                  </a:lnTo>
                  <a:lnTo>
                    <a:pt x="1606" y="717"/>
                  </a:lnTo>
                  <a:close/>
                  <a:moveTo>
                    <a:pt x="1606" y="738"/>
                  </a:moveTo>
                  <a:lnTo>
                    <a:pt x="1606" y="738"/>
                  </a:lnTo>
                  <a:lnTo>
                    <a:pt x="1606" y="738"/>
                  </a:lnTo>
                  <a:lnTo>
                    <a:pt x="1606" y="738"/>
                  </a:lnTo>
                  <a:lnTo>
                    <a:pt x="1608" y="740"/>
                  </a:lnTo>
                  <a:lnTo>
                    <a:pt x="1608" y="740"/>
                  </a:lnTo>
                  <a:lnTo>
                    <a:pt x="1608" y="738"/>
                  </a:lnTo>
                  <a:lnTo>
                    <a:pt x="1610" y="738"/>
                  </a:lnTo>
                  <a:lnTo>
                    <a:pt x="1610" y="738"/>
                  </a:lnTo>
                  <a:lnTo>
                    <a:pt x="1610" y="738"/>
                  </a:lnTo>
                  <a:lnTo>
                    <a:pt x="1610" y="736"/>
                  </a:lnTo>
                  <a:lnTo>
                    <a:pt x="1610" y="736"/>
                  </a:lnTo>
                  <a:lnTo>
                    <a:pt x="1610" y="736"/>
                  </a:lnTo>
                  <a:lnTo>
                    <a:pt x="1610" y="734"/>
                  </a:lnTo>
                  <a:lnTo>
                    <a:pt x="1608" y="734"/>
                  </a:lnTo>
                  <a:lnTo>
                    <a:pt x="1606" y="734"/>
                  </a:lnTo>
                  <a:lnTo>
                    <a:pt x="1606" y="734"/>
                  </a:lnTo>
                  <a:lnTo>
                    <a:pt x="1606" y="736"/>
                  </a:lnTo>
                  <a:lnTo>
                    <a:pt x="1606" y="736"/>
                  </a:lnTo>
                  <a:lnTo>
                    <a:pt x="1606" y="738"/>
                  </a:lnTo>
                  <a:close/>
                  <a:moveTo>
                    <a:pt x="1598" y="713"/>
                  </a:moveTo>
                  <a:lnTo>
                    <a:pt x="1598" y="713"/>
                  </a:lnTo>
                  <a:lnTo>
                    <a:pt x="1600" y="711"/>
                  </a:lnTo>
                  <a:lnTo>
                    <a:pt x="1600" y="711"/>
                  </a:lnTo>
                  <a:lnTo>
                    <a:pt x="1600" y="709"/>
                  </a:lnTo>
                  <a:lnTo>
                    <a:pt x="1600" y="709"/>
                  </a:lnTo>
                  <a:lnTo>
                    <a:pt x="1602" y="709"/>
                  </a:lnTo>
                  <a:lnTo>
                    <a:pt x="1602" y="709"/>
                  </a:lnTo>
                  <a:lnTo>
                    <a:pt x="1602" y="709"/>
                  </a:lnTo>
                  <a:lnTo>
                    <a:pt x="1604" y="709"/>
                  </a:lnTo>
                  <a:lnTo>
                    <a:pt x="1604" y="709"/>
                  </a:lnTo>
                  <a:lnTo>
                    <a:pt x="1604" y="709"/>
                  </a:lnTo>
                  <a:lnTo>
                    <a:pt x="1604" y="707"/>
                  </a:lnTo>
                  <a:lnTo>
                    <a:pt x="1604" y="707"/>
                  </a:lnTo>
                  <a:lnTo>
                    <a:pt x="1604" y="705"/>
                  </a:lnTo>
                  <a:lnTo>
                    <a:pt x="1604" y="705"/>
                  </a:lnTo>
                  <a:lnTo>
                    <a:pt x="1604" y="705"/>
                  </a:lnTo>
                  <a:lnTo>
                    <a:pt x="1604" y="705"/>
                  </a:lnTo>
                  <a:lnTo>
                    <a:pt x="1604" y="703"/>
                  </a:lnTo>
                  <a:lnTo>
                    <a:pt x="1604" y="701"/>
                  </a:lnTo>
                  <a:lnTo>
                    <a:pt x="1604" y="701"/>
                  </a:lnTo>
                  <a:lnTo>
                    <a:pt x="1602" y="701"/>
                  </a:lnTo>
                  <a:lnTo>
                    <a:pt x="1602" y="701"/>
                  </a:lnTo>
                  <a:lnTo>
                    <a:pt x="1600" y="701"/>
                  </a:lnTo>
                  <a:lnTo>
                    <a:pt x="1600" y="701"/>
                  </a:lnTo>
                  <a:lnTo>
                    <a:pt x="1600" y="703"/>
                  </a:lnTo>
                  <a:lnTo>
                    <a:pt x="1600" y="703"/>
                  </a:lnTo>
                  <a:lnTo>
                    <a:pt x="1598" y="703"/>
                  </a:lnTo>
                  <a:lnTo>
                    <a:pt x="1598" y="705"/>
                  </a:lnTo>
                  <a:lnTo>
                    <a:pt x="1598" y="705"/>
                  </a:lnTo>
                  <a:lnTo>
                    <a:pt x="1598" y="705"/>
                  </a:lnTo>
                  <a:lnTo>
                    <a:pt x="1595" y="705"/>
                  </a:lnTo>
                  <a:lnTo>
                    <a:pt x="1593" y="705"/>
                  </a:lnTo>
                  <a:lnTo>
                    <a:pt x="1593" y="705"/>
                  </a:lnTo>
                  <a:lnTo>
                    <a:pt x="1595" y="707"/>
                  </a:lnTo>
                  <a:lnTo>
                    <a:pt x="1598" y="705"/>
                  </a:lnTo>
                  <a:lnTo>
                    <a:pt x="1598" y="705"/>
                  </a:lnTo>
                  <a:lnTo>
                    <a:pt x="1598" y="707"/>
                  </a:lnTo>
                  <a:lnTo>
                    <a:pt x="1598" y="707"/>
                  </a:lnTo>
                  <a:lnTo>
                    <a:pt x="1595" y="707"/>
                  </a:lnTo>
                  <a:lnTo>
                    <a:pt x="1593" y="709"/>
                  </a:lnTo>
                  <a:lnTo>
                    <a:pt x="1593" y="709"/>
                  </a:lnTo>
                  <a:lnTo>
                    <a:pt x="1593" y="709"/>
                  </a:lnTo>
                  <a:lnTo>
                    <a:pt x="1593" y="709"/>
                  </a:lnTo>
                  <a:lnTo>
                    <a:pt x="1591" y="713"/>
                  </a:lnTo>
                  <a:lnTo>
                    <a:pt x="1591" y="715"/>
                  </a:lnTo>
                  <a:lnTo>
                    <a:pt x="1593" y="717"/>
                  </a:lnTo>
                  <a:lnTo>
                    <a:pt x="1593" y="717"/>
                  </a:lnTo>
                  <a:lnTo>
                    <a:pt x="1593" y="717"/>
                  </a:lnTo>
                  <a:lnTo>
                    <a:pt x="1595" y="717"/>
                  </a:lnTo>
                  <a:lnTo>
                    <a:pt x="1595" y="717"/>
                  </a:lnTo>
                  <a:lnTo>
                    <a:pt x="1595" y="717"/>
                  </a:lnTo>
                  <a:lnTo>
                    <a:pt x="1595" y="715"/>
                  </a:lnTo>
                  <a:lnTo>
                    <a:pt x="1598" y="715"/>
                  </a:lnTo>
                  <a:lnTo>
                    <a:pt x="1598" y="715"/>
                  </a:lnTo>
                  <a:lnTo>
                    <a:pt x="1598" y="715"/>
                  </a:lnTo>
                  <a:lnTo>
                    <a:pt x="1595" y="715"/>
                  </a:lnTo>
                  <a:lnTo>
                    <a:pt x="1595" y="713"/>
                  </a:lnTo>
                  <a:lnTo>
                    <a:pt x="1595" y="713"/>
                  </a:lnTo>
                  <a:lnTo>
                    <a:pt x="1598" y="713"/>
                  </a:lnTo>
                  <a:close/>
                  <a:moveTo>
                    <a:pt x="1606" y="736"/>
                  </a:moveTo>
                  <a:lnTo>
                    <a:pt x="1606" y="736"/>
                  </a:lnTo>
                  <a:lnTo>
                    <a:pt x="1604" y="734"/>
                  </a:lnTo>
                  <a:lnTo>
                    <a:pt x="1604" y="734"/>
                  </a:lnTo>
                  <a:lnTo>
                    <a:pt x="1604" y="734"/>
                  </a:lnTo>
                  <a:lnTo>
                    <a:pt x="1602" y="734"/>
                  </a:lnTo>
                  <a:lnTo>
                    <a:pt x="1602" y="734"/>
                  </a:lnTo>
                  <a:lnTo>
                    <a:pt x="1600" y="734"/>
                  </a:lnTo>
                  <a:lnTo>
                    <a:pt x="1600" y="734"/>
                  </a:lnTo>
                  <a:lnTo>
                    <a:pt x="1600" y="736"/>
                  </a:lnTo>
                  <a:lnTo>
                    <a:pt x="1600" y="736"/>
                  </a:lnTo>
                  <a:lnTo>
                    <a:pt x="1600" y="736"/>
                  </a:lnTo>
                  <a:lnTo>
                    <a:pt x="1600" y="736"/>
                  </a:lnTo>
                  <a:lnTo>
                    <a:pt x="1600" y="736"/>
                  </a:lnTo>
                  <a:lnTo>
                    <a:pt x="1602" y="736"/>
                  </a:lnTo>
                  <a:lnTo>
                    <a:pt x="1602" y="736"/>
                  </a:lnTo>
                  <a:lnTo>
                    <a:pt x="1602" y="736"/>
                  </a:lnTo>
                  <a:lnTo>
                    <a:pt x="1600" y="738"/>
                  </a:lnTo>
                  <a:lnTo>
                    <a:pt x="1600" y="740"/>
                  </a:lnTo>
                  <a:lnTo>
                    <a:pt x="1600" y="740"/>
                  </a:lnTo>
                  <a:lnTo>
                    <a:pt x="1600" y="740"/>
                  </a:lnTo>
                  <a:lnTo>
                    <a:pt x="1600" y="740"/>
                  </a:lnTo>
                  <a:lnTo>
                    <a:pt x="1602" y="740"/>
                  </a:lnTo>
                  <a:lnTo>
                    <a:pt x="1602" y="738"/>
                  </a:lnTo>
                  <a:lnTo>
                    <a:pt x="1602" y="738"/>
                  </a:lnTo>
                  <a:lnTo>
                    <a:pt x="1604" y="740"/>
                  </a:lnTo>
                  <a:lnTo>
                    <a:pt x="1604" y="740"/>
                  </a:lnTo>
                  <a:lnTo>
                    <a:pt x="1604" y="738"/>
                  </a:lnTo>
                  <a:lnTo>
                    <a:pt x="1604" y="738"/>
                  </a:lnTo>
                  <a:lnTo>
                    <a:pt x="1604" y="736"/>
                  </a:lnTo>
                  <a:lnTo>
                    <a:pt x="1606" y="736"/>
                  </a:lnTo>
                  <a:close/>
                  <a:moveTo>
                    <a:pt x="1616" y="672"/>
                  </a:moveTo>
                  <a:lnTo>
                    <a:pt x="1616" y="672"/>
                  </a:lnTo>
                  <a:lnTo>
                    <a:pt x="1616" y="672"/>
                  </a:lnTo>
                  <a:lnTo>
                    <a:pt x="1616" y="672"/>
                  </a:lnTo>
                  <a:lnTo>
                    <a:pt x="1614" y="672"/>
                  </a:lnTo>
                  <a:lnTo>
                    <a:pt x="1614" y="672"/>
                  </a:lnTo>
                  <a:lnTo>
                    <a:pt x="1614" y="672"/>
                  </a:lnTo>
                  <a:lnTo>
                    <a:pt x="1614" y="670"/>
                  </a:lnTo>
                  <a:lnTo>
                    <a:pt x="1614" y="670"/>
                  </a:lnTo>
                  <a:lnTo>
                    <a:pt x="1612" y="670"/>
                  </a:lnTo>
                  <a:lnTo>
                    <a:pt x="1612" y="670"/>
                  </a:lnTo>
                  <a:lnTo>
                    <a:pt x="1612" y="670"/>
                  </a:lnTo>
                  <a:lnTo>
                    <a:pt x="1612" y="670"/>
                  </a:lnTo>
                  <a:lnTo>
                    <a:pt x="1612" y="668"/>
                  </a:lnTo>
                  <a:lnTo>
                    <a:pt x="1610" y="668"/>
                  </a:lnTo>
                  <a:lnTo>
                    <a:pt x="1610" y="668"/>
                  </a:lnTo>
                  <a:lnTo>
                    <a:pt x="1610" y="668"/>
                  </a:lnTo>
                  <a:lnTo>
                    <a:pt x="1608" y="668"/>
                  </a:lnTo>
                  <a:lnTo>
                    <a:pt x="1608" y="666"/>
                  </a:lnTo>
                  <a:lnTo>
                    <a:pt x="1608" y="666"/>
                  </a:lnTo>
                  <a:lnTo>
                    <a:pt x="1606" y="664"/>
                  </a:lnTo>
                  <a:lnTo>
                    <a:pt x="1604" y="664"/>
                  </a:lnTo>
                  <a:lnTo>
                    <a:pt x="1604" y="666"/>
                  </a:lnTo>
                  <a:lnTo>
                    <a:pt x="1604" y="666"/>
                  </a:lnTo>
                  <a:lnTo>
                    <a:pt x="1602" y="664"/>
                  </a:lnTo>
                  <a:lnTo>
                    <a:pt x="1602" y="666"/>
                  </a:lnTo>
                  <a:lnTo>
                    <a:pt x="1602" y="666"/>
                  </a:lnTo>
                  <a:lnTo>
                    <a:pt x="1602" y="666"/>
                  </a:lnTo>
                  <a:lnTo>
                    <a:pt x="1604" y="668"/>
                  </a:lnTo>
                  <a:lnTo>
                    <a:pt x="1604" y="668"/>
                  </a:lnTo>
                  <a:lnTo>
                    <a:pt x="1604" y="668"/>
                  </a:lnTo>
                  <a:lnTo>
                    <a:pt x="1604" y="670"/>
                  </a:lnTo>
                  <a:lnTo>
                    <a:pt x="1604" y="670"/>
                  </a:lnTo>
                  <a:lnTo>
                    <a:pt x="1604" y="670"/>
                  </a:lnTo>
                  <a:lnTo>
                    <a:pt x="1606" y="672"/>
                  </a:lnTo>
                  <a:lnTo>
                    <a:pt x="1606" y="672"/>
                  </a:lnTo>
                  <a:lnTo>
                    <a:pt x="1606" y="674"/>
                  </a:lnTo>
                  <a:lnTo>
                    <a:pt x="1606" y="674"/>
                  </a:lnTo>
                  <a:lnTo>
                    <a:pt x="1606" y="674"/>
                  </a:lnTo>
                  <a:lnTo>
                    <a:pt x="1604" y="676"/>
                  </a:lnTo>
                  <a:lnTo>
                    <a:pt x="1606" y="676"/>
                  </a:lnTo>
                  <a:lnTo>
                    <a:pt x="1606" y="678"/>
                  </a:lnTo>
                  <a:lnTo>
                    <a:pt x="1606" y="680"/>
                  </a:lnTo>
                  <a:lnTo>
                    <a:pt x="1608" y="680"/>
                  </a:lnTo>
                  <a:lnTo>
                    <a:pt x="1610" y="680"/>
                  </a:lnTo>
                  <a:lnTo>
                    <a:pt x="1612" y="678"/>
                  </a:lnTo>
                  <a:lnTo>
                    <a:pt x="1612" y="678"/>
                  </a:lnTo>
                  <a:lnTo>
                    <a:pt x="1612" y="678"/>
                  </a:lnTo>
                  <a:lnTo>
                    <a:pt x="1612" y="678"/>
                  </a:lnTo>
                  <a:lnTo>
                    <a:pt x="1610" y="676"/>
                  </a:lnTo>
                  <a:lnTo>
                    <a:pt x="1612" y="676"/>
                  </a:lnTo>
                  <a:lnTo>
                    <a:pt x="1612" y="676"/>
                  </a:lnTo>
                  <a:lnTo>
                    <a:pt x="1612" y="676"/>
                  </a:lnTo>
                  <a:lnTo>
                    <a:pt x="1612" y="676"/>
                  </a:lnTo>
                  <a:lnTo>
                    <a:pt x="1614" y="676"/>
                  </a:lnTo>
                  <a:lnTo>
                    <a:pt x="1614" y="676"/>
                  </a:lnTo>
                  <a:lnTo>
                    <a:pt x="1614" y="676"/>
                  </a:lnTo>
                  <a:lnTo>
                    <a:pt x="1614" y="676"/>
                  </a:lnTo>
                  <a:lnTo>
                    <a:pt x="1614" y="674"/>
                  </a:lnTo>
                  <a:lnTo>
                    <a:pt x="1616" y="674"/>
                  </a:lnTo>
                  <a:lnTo>
                    <a:pt x="1616" y="674"/>
                  </a:lnTo>
                  <a:lnTo>
                    <a:pt x="1616" y="674"/>
                  </a:lnTo>
                  <a:lnTo>
                    <a:pt x="1616" y="672"/>
                  </a:lnTo>
                  <a:lnTo>
                    <a:pt x="1616" y="672"/>
                  </a:lnTo>
                  <a:lnTo>
                    <a:pt x="1616" y="672"/>
                  </a:lnTo>
                  <a:lnTo>
                    <a:pt x="1616" y="672"/>
                  </a:lnTo>
                  <a:close/>
                  <a:moveTo>
                    <a:pt x="1589" y="717"/>
                  </a:moveTo>
                  <a:lnTo>
                    <a:pt x="1589" y="717"/>
                  </a:lnTo>
                  <a:lnTo>
                    <a:pt x="1589" y="717"/>
                  </a:lnTo>
                  <a:lnTo>
                    <a:pt x="1589" y="719"/>
                  </a:lnTo>
                  <a:lnTo>
                    <a:pt x="1589" y="719"/>
                  </a:lnTo>
                  <a:lnTo>
                    <a:pt x="1589" y="719"/>
                  </a:lnTo>
                  <a:lnTo>
                    <a:pt x="1589" y="721"/>
                  </a:lnTo>
                  <a:lnTo>
                    <a:pt x="1591" y="721"/>
                  </a:lnTo>
                  <a:lnTo>
                    <a:pt x="1591" y="719"/>
                  </a:lnTo>
                  <a:lnTo>
                    <a:pt x="1591" y="717"/>
                  </a:lnTo>
                  <a:lnTo>
                    <a:pt x="1589" y="717"/>
                  </a:lnTo>
                  <a:close/>
                  <a:moveTo>
                    <a:pt x="1661" y="725"/>
                  </a:moveTo>
                  <a:lnTo>
                    <a:pt x="1655" y="723"/>
                  </a:lnTo>
                  <a:lnTo>
                    <a:pt x="1655" y="723"/>
                  </a:lnTo>
                  <a:lnTo>
                    <a:pt x="1655" y="723"/>
                  </a:lnTo>
                  <a:lnTo>
                    <a:pt x="1655" y="725"/>
                  </a:lnTo>
                  <a:lnTo>
                    <a:pt x="1655" y="725"/>
                  </a:lnTo>
                  <a:lnTo>
                    <a:pt x="1655" y="725"/>
                  </a:lnTo>
                  <a:lnTo>
                    <a:pt x="1655" y="725"/>
                  </a:lnTo>
                  <a:lnTo>
                    <a:pt x="1655" y="728"/>
                  </a:lnTo>
                  <a:lnTo>
                    <a:pt x="1657" y="728"/>
                  </a:lnTo>
                  <a:lnTo>
                    <a:pt x="1657" y="730"/>
                  </a:lnTo>
                  <a:lnTo>
                    <a:pt x="1659" y="734"/>
                  </a:lnTo>
                  <a:lnTo>
                    <a:pt x="1661" y="736"/>
                  </a:lnTo>
                  <a:lnTo>
                    <a:pt x="1661" y="736"/>
                  </a:lnTo>
                  <a:lnTo>
                    <a:pt x="1663" y="736"/>
                  </a:lnTo>
                  <a:lnTo>
                    <a:pt x="1663" y="736"/>
                  </a:lnTo>
                  <a:lnTo>
                    <a:pt x="1663" y="736"/>
                  </a:lnTo>
                  <a:lnTo>
                    <a:pt x="1663" y="736"/>
                  </a:lnTo>
                  <a:lnTo>
                    <a:pt x="1663" y="734"/>
                  </a:lnTo>
                  <a:lnTo>
                    <a:pt x="1663" y="734"/>
                  </a:lnTo>
                  <a:lnTo>
                    <a:pt x="1661" y="734"/>
                  </a:lnTo>
                  <a:lnTo>
                    <a:pt x="1661" y="732"/>
                  </a:lnTo>
                  <a:lnTo>
                    <a:pt x="1661" y="732"/>
                  </a:lnTo>
                  <a:lnTo>
                    <a:pt x="1661" y="732"/>
                  </a:lnTo>
                  <a:lnTo>
                    <a:pt x="1661" y="732"/>
                  </a:lnTo>
                  <a:lnTo>
                    <a:pt x="1663" y="732"/>
                  </a:lnTo>
                  <a:lnTo>
                    <a:pt x="1663" y="730"/>
                  </a:lnTo>
                  <a:lnTo>
                    <a:pt x="1661" y="728"/>
                  </a:lnTo>
                  <a:lnTo>
                    <a:pt x="1661" y="728"/>
                  </a:lnTo>
                  <a:lnTo>
                    <a:pt x="1663" y="728"/>
                  </a:lnTo>
                  <a:lnTo>
                    <a:pt x="1663" y="728"/>
                  </a:lnTo>
                  <a:lnTo>
                    <a:pt x="1663" y="730"/>
                  </a:lnTo>
                  <a:lnTo>
                    <a:pt x="1663" y="730"/>
                  </a:lnTo>
                  <a:lnTo>
                    <a:pt x="1663" y="728"/>
                  </a:lnTo>
                  <a:lnTo>
                    <a:pt x="1661" y="725"/>
                  </a:lnTo>
                  <a:close/>
                  <a:moveTo>
                    <a:pt x="1610" y="740"/>
                  </a:moveTo>
                  <a:lnTo>
                    <a:pt x="1610" y="740"/>
                  </a:lnTo>
                  <a:lnTo>
                    <a:pt x="1610" y="740"/>
                  </a:lnTo>
                  <a:lnTo>
                    <a:pt x="1608" y="740"/>
                  </a:lnTo>
                  <a:lnTo>
                    <a:pt x="1606" y="740"/>
                  </a:lnTo>
                  <a:lnTo>
                    <a:pt x="1606" y="740"/>
                  </a:lnTo>
                  <a:lnTo>
                    <a:pt x="1606" y="740"/>
                  </a:lnTo>
                  <a:lnTo>
                    <a:pt x="1606" y="742"/>
                  </a:lnTo>
                  <a:lnTo>
                    <a:pt x="1606" y="742"/>
                  </a:lnTo>
                  <a:lnTo>
                    <a:pt x="1606" y="742"/>
                  </a:lnTo>
                  <a:lnTo>
                    <a:pt x="1606" y="742"/>
                  </a:lnTo>
                  <a:lnTo>
                    <a:pt x="1606" y="744"/>
                  </a:lnTo>
                  <a:lnTo>
                    <a:pt x="1606" y="744"/>
                  </a:lnTo>
                  <a:lnTo>
                    <a:pt x="1606" y="744"/>
                  </a:lnTo>
                  <a:lnTo>
                    <a:pt x="1606" y="744"/>
                  </a:lnTo>
                  <a:lnTo>
                    <a:pt x="1606" y="746"/>
                  </a:lnTo>
                  <a:lnTo>
                    <a:pt x="1606" y="746"/>
                  </a:lnTo>
                  <a:lnTo>
                    <a:pt x="1606" y="746"/>
                  </a:lnTo>
                  <a:lnTo>
                    <a:pt x="1606" y="746"/>
                  </a:lnTo>
                  <a:lnTo>
                    <a:pt x="1606" y="746"/>
                  </a:lnTo>
                  <a:lnTo>
                    <a:pt x="1606" y="746"/>
                  </a:lnTo>
                  <a:lnTo>
                    <a:pt x="1606" y="746"/>
                  </a:lnTo>
                  <a:lnTo>
                    <a:pt x="1606" y="746"/>
                  </a:lnTo>
                  <a:lnTo>
                    <a:pt x="1606" y="748"/>
                  </a:lnTo>
                  <a:lnTo>
                    <a:pt x="1606" y="748"/>
                  </a:lnTo>
                  <a:lnTo>
                    <a:pt x="1608" y="748"/>
                  </a:lnTo>
                  <a:lnTo>
                    <a:pt x="1608" y="750"/>
                  </a:lnTo>
                  <a:lnTo>
                    <a:pt x="1608" y="750"/>
                  </a:lnTo>
                  <a:lnTo>
                    <a:pt x="1608" y="748"/>
                  </a:lnTo>
                  <a:lnTo>
                    <a:pt x="1608" y="748"/>
                  </a:lnTo>
                  <a:lnTo>
                    <a:pt x="1608" y="746"/>
                  </a:lnTo>
                  <a:lnTo>
                    <a:pt x="1608" y="744"/>
                  </a:lnTo>
                  <a:lnTo>
                    <a:pt x="1608" y="744"/>
                  </a:lnTo>
                  <a:lnTo>
                    <a:pt x="1608" y="744"/>
                  </a:lnTo>
                  <a:lnTo>
                    <a:pt x="1608" y="744"/>
                  </a:lnTo>
                  <a:lnTo>
                    <a:pt x="1608" y="744"/>
                  </a:lnTo>
                  <a:lnTo>
                    <a:pt x="1608" y="744"/>
                  </a:lnTo>
                  <a:lnTo>
                    <a:pt x="1610" y="744"/>
                  </a:lnTo>
                  <a:lnTo>
                    <a:pt x="1610" y="744"/>
                  </a:lnTo>
                  <a:lnTo>
                    <a:pt x="1610" y="744"/>
                  </a:lnTo>
                  <a:lnTo>
                    <a:pt x="1610" y="742"/>
                  </a:lnTo>
                  <a:lnTo>
                    <a:pt x="1610" y="742"/>
                  </a:lnTo>
                  <a:lnTo>
                    <a:pt x="1610" y="742"/>
                  </a:lnTo>
                  <a:lnTo>
                    <a:pt x="1610" y="742"/>
                  </a:lnTo>
                  <a:lnTo>
                    <a:pt x="1610" y="742"/>
                  </a:lnTo>
                  <a:lnTo>
                    <a:pt x="1610" y="742"/>
                  </a:lnTo>
                  <a:lnTo>
                    <a:pt x="1610" y="742"/>
                  </a:lnTo>
                  <a:lnTo>
                    <a:pt x="1610" y="742"/>
                  </a:lnTo>
                  <a:lnTo>
                    <a:pt x="1610" y="740"/>
                  </a:lnTo>
                  <a:lnTo>
                    <a:pt x="1610" y="740"/>
                  </a:lnTo>
                  <a:lnTo>
                    <a:pt x="1610" y="740"/>
                  </a:lnTo>
                  <a:close/>
                  <a:moveTo>
                    <a:pt x="1643" y="762"/>
                  </a:moveTo>
                  <a:lnTo>
                    <a:pt x="1643" y="762"/>
                  </a:lnTo>
                  <a:lnTo>
                    <a:pt x="1643" y="760"/>
                  </a:lnTo>
                  <a:lnTo>
                    <a:pt x="1643" y="760"/>
                  </a:lnTo>
                  <a:lnTo>
                    <a:pt x="1643" y="760"/>
                  </a:lnTo>
                  <a:lnTo>
                    <a:pt x="1641" y="760"/>
                  </a:lnTo>
                  <a:lnTo>
                    <a:pt x="1641" y="760"/>
                  </a:lnTo>
                  <a:lnTo>
                    <a:pt x="1641" y="760"/>
                  </a:lnTo>
                  <a:lnTo>
                    <a:pt x="1641" y="760"/>
                  </a:lnTo>
                  <a:lnTo>
                    <a:pt x="1641" y="760"/>
                  </a:lnTo>
                  <a:lnTo>
                    <a:pt x="1643" y="760"/>
                  </a:lnTo>
                  <a:lnTo>
                    <a:pt x="1643" y="760"/>
                  </a:lnTo>
                  <a:lnTo>
                    <a:pt x="1643" y="760"/>
                  </a:lnTo>
                  <a:lnTo>
                    <a:pt x="1643" y="758"/>
                  </a:lnTo>
                  <a:lnTo>
                    <a:pt x="1643" y="758"/>
                  </a:lnTo>
                  <a:lnTo>
                    <a:pt x="1643" y="758"/>
                  </a:lnTo>
                  <a:lnTo>
                    <a:pt x="1643" y="758"/>
                  </a:lnTo>
                  <a:lnTo>
                    <a:pt x="1643" y="758"/>
                  </a:lnTo>
                  <a:lnTo>
                    <a:pt x="1643" y="758"/>
                  </a:lnTo>
                  <a:lnTo>
                    <a:pt x="1643" y="756"/>
                  </a:lnTo>
                  <a:lnTo>
                    <a:pt x="1641" y="756"/>
                  </a:lnTo>
                  <a:lnTo>
                    <a:pt x="1641" y="756"/>
                  </a:lnTo>
                  <a:lnTo>
                    <a:pt x="1641" y="756"/>
                  </a:lnTo>
                  <a:lnTo>
                    <a:pt x="1641" y="756"/>
                  </a:lnTo>
                  <a:lnTo>
                    <a:pt x="1641" y="756"/>
                  </a:lnTo>
                  <a:lnTo>
                    <a:pt x="1641"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6" y="756"/>
                  </a:lnTo>
                  <a:lnTo>
                    <a:pt x="1636" y="756"/>
                  </a:lnTo>
                  <a:lnTo>
                    <a:pt x="1636" y="756"/>
                  </a:lnTo>
                  <a:lnTo>
                    <a:pt x="1636" y="756"/>
                  </a:lnTo>
                  <a:lnTo>
                    <a:pt x="1636" y="756"/>
                  </a:lnTo>
                  <a:lnTo>
                    <a:pt x="1636" y="758"/>
                  </a:lnTo>
                  <a:lnTo>
                    <a:pt x="1636" y="758"/>
                  </a:lnTo>
                  <a:lnTo>
                    <a:pt x="1636" y="758"/>
                  </a:lnTo>
                  <a:lnTo>
                    <a:pt x="1636" y="758"/>
                  </a:lnTo>
                  <a:lnTo>
                    <a:pt x="1638" y="758"/>
                  </a:lnTo>
                  <a:lnTo>
                    <a:pt x="1638" y="760"/>
                  </a:lnTo>
                  <a:lnTo>
                    <a:pt x="1638" y="760"/>
                  </a:lnTo>
                  <a:lnTo>
                    <a:pt x="1638" y="760"/>
                  </a:lnTo>
                  <a:lnTo>
                    <a:pt x="1638" y="760"/>
                  </a:lnTo>
                  <a:lnTo>
                    <a:pt x="1638" y="760"/>
                  </a:lnTo>
                  <a:lnTo>
                    <a:pt x="1638" y="760"/>
                  </a:lnTo>
                  <a:lnTo>
                    <a:pt x="1641" y="760"/>
                  </a:lnTo>
                  <a:lnTo>
                    <a:pt x="1641" y="760"/>
                  </a:lnTo>
                  <a:lnTo>
                    <a:pt x="1641" y="762"/>
                  </a:lnTo>
                  <a:lnTo>
                    <a:pt x="1641" y="762"/>
                  </a:lnTo>
                  <a:lnTo>
                    <a:pt x="1641" y="762"/>
                  </a:lnTo>
                  <a:lnTo>
                    <a:pt x="1641" y="762"/>
                  </a:lnTo>
                  <a:lnTo>
                    <a:pt x="1641" y="762"/>
                  </a:lnTo>
                  <a:lnTo>
                    <a:pt x="1643" y="762"/>
                  </a:lnTo>
                  <a:lnTo>
                    <a:pt x="1643" y="762"/>
                  </a:lnTo>
                  <a:lnTo>
                    <a:pt x="1643" y="764"/>
                  </a:lnTo>
                  <a:lnTo>
                    <a:pt x="1643" y="764"/>
                  </a:lnTo>
                  <a:lnTo>
                    <a:pt x="1645" y="764"/>
                  </a:lnTo>
                  <a:lnTo>
                    <a:pt x="1645" y="762"/>
                  </a:lnTo>
                  <a:lnTo>
                    <a:pt x="1643" y="762"/>
                  </a:lnTo>
                  <a:close/>
                  <a:moveTo>
                    <a:pt x="1663" y="760"/>
                  </a:moveTo>
                  <a:lnTo>
                    <a:pt x="1663" y="760"/>
                  </a:lnTo>
                  <a:lnTo>
                    <a:pt x="1663" y="758"/>
                  </a:lnTo>
                  <a:lnTo>
                    <a:pt x="1661" y="758"/>
                  </a:lnTo>
                  <a:lnTo>
                    <a:pt x="1661" y="758"/>
                  </a:lnTo>
                  <a:lnTo>
                    <a:pt x="1661" y="758"/>
                  </a:lnTo>
                  <a:lnTo>
                    <a:pt x="1661" y="756"/>
                  </a:lnTo>
                  <a:lnTo>
                    <a:pt x="1661" y="756"/>
                  </a:lnTo>
                  <a:lnTo>
                    <a:pt x="1661" y="756"/>
                  </a:lnTo>
                  <a:lnTo>
                    <a:pt x="1663" y="756"/>
                  </a:lnTo>
                  <a:lnTo>
                    <a:pt x="1663" y="756"/>
                  </a:lnTo>
                  <a:lnTo>
                    <a:pt x="1663" y="754"/>
                  </a:lnTo>
                  <a:lnTo>
                    <a:pt x="1661" y="754"/>
                  </a:lnTo>
                  <a:lnTo>
                    <a:pt x="1661" y="754"/>
                  </a:lnTo>
                  <a:lnTo>
                    <a:pt x="1661" y="754"/>
                  </a:lnTo>
                  <a:lnTo>
                    <a:pt x="1661" y="754"/>
                  </a:lnTo>
                  <a:lnTo>
                    <a:pt x="1661" y="754"/>
                  </a:lnTo>
                  <a:lnTo>
                    <a:pt x="1661" y="754"/>
                  </a:lnTo>
                  <a:lnTo>
                    <a:pt x="1661" y="754"/>
                  </a:lnTo>
                  <a:lnTo>
                    <a:pt x="1661" y="752"/>
                  </a:lnTo>
                  <a:lnTo>
                    <a:pt x="1661" y="752"/>
                  </a:lnTo>
                  <a:lnTo>
                    <a:pt x="1659" y="752"/>
                  </a:lnTo>
                  <a:lnTo>
                    <a:pt x="1659" y="752"/>
                  </a:lnTo>
                  <a:lnTo>
                    <a:pt x="1659" y="752"/>
                  </a:lnTo>
                  <a:lnTo>
                    <a:pt x="1659" y="750"/>
                  </a:lnTo>
                  <a:lnTo>
                    <a:pt x="1659" y="750"/>
                  </a:lnTo>
                  <a:lnTo>
                    <a:pt x="1659" y="750"/>
                  </a:lnTo>
                  <a:lnTo>
                    <a:pt x="1659" y="750"/>
                  </a:lnTo>
                  <a:lnTo>
                    <a:pt x="1659" y="748"/>
                  </a:lnTo>
                  <a:lnTo>
                    <a:pt x="1659" y="748"/>
                  </a:lnTo>
                  <a:lnTo>
                    <a:pt x="1659" y="748"/>
                  </a:lnTo>
                  <a:lnTo>
                    <a:pt x="1659" y="748"/>
                  </a:lnTo>
                  <a:lnTo>
                    <a:pt x="1659" y="748"/>
                  </a:lnTo>
                  <a:lnTo>
                    <a:pt x="1659" y="748"/>
                  </a:lnTo>
                  <a:lnTo>
                    <a:pt x="1657" y="748"/>
                  </a:lnTo>
                  <a:lnTo>
                    <a:pt x="1657" y="746"/>
                  </a:lnTo>
                  <a:lnTo>
                    <a:pt x="1657" y="746"/>
                  </a:lnTo>
                  <a:lnTo>
                    <a:pt x="1659" y="746"/>
                  </a:lnTo>
                  <a:lnTo>
                    <a:pt x="1659" y="746"/>
                  </a:lnTo>
                  <a:lnTo>
                    <a:pt x="1657" y="744"/>
                  </a:lnTo>
                  <a:lnTo>
                    <a:pt x="1657" y="744"/>
                  </a:lnTo>
                  <a:lnTo>
                    <a:pt x="1659" y="744"/>
                  </a:lnTo>
                  <a:lnTo>
                    <a:pt x="1657" y="744"/>
                  </a:lnTo>
                  <a:lnTo>
                    <a:pt x="1657" y="746"/>
                  </a:lnTo>
                  <a:lnTo>
                    <a:pt x="1655" y="746"/>
                  </a:lnTo>
                  <a:lnTo>
                    <a:pt x="1655" y="748"/>
                  </a:lnTo>
                  <a:lnTo>
                    <a:pt x="1655" y="748"/>
                  </a:lnTo>
                  <a:lnTo>
                    <a:pt x="1655" y="748"/>
                  </a:lnTo>
                  <a:lnTo>
                    <a:pt x="1655" y="748"/>
                  </a:lnTo>
                  <a:lnTo>
                    <a:pt x="1655" y="748"/>
                  </a:lnTo>
                  <a:lnTo>
                    <a:pt x="1655" y="748"/>
                  </a:lnTo>
                  <a:lnTo>
                    <a:pt x="1653" y="748"/>
                  </a:lnTo>
                  <a:lnTo>
                    <a:pt x="1653" y="748"/>
                  </a:lnTo>
                  <a:lnTo>
                    <a:pt x="1653" y="748"/>
                  </a:lnTo>
                  <a:lnTo>
                    <a:pt x="1653" y="748"/>
                  </a:lnTo>
                  <a:lnTo>
                    <a:pt x="1651" y="748"/>
                  </a:lnTo>
                  <a:lnTo>
                    <a:pt x="1651" y="748"/>
                  </a:lnTo>
                  <a:lnTo>
                    <a:pt x="1653" y="746"/>
                  </a:lnTo>
                  <a:lnTo>
                    <a:pt x="1653" y="746"/>
                  </a:lnTo>
                  <a:lnTo>
                    <a:pt x="1655" y="746"/>
                  </a:lnTo>
                  <a:lnTo>
                    <a:pt x="1655" y="744"/>
                  </a:lnTo>
                  <a:lnTo>
                    <a:pt x="1655" y="744"/>
                  </a:lnTo>
                  <a:lnTo>
                    <a:pt x="1655" y="744"/>
                  </a:lnTo>
                  <a:lnTo>
                    <a:pt x="1653" y="744"/>
                  </a:lnTo>
                  <a:lnTo>
                    <a:pt x="1653" y="744"/>
                  </a:lnTo>
                  <a:lnTo>
                    <a:pt x="1653" y="744"/>
                  </a:lnTo>
                  <a:lnTo>
                    <a:pt x="1653" y="744"/>
                  </a:lnTo>
                  <a:lnTo>
                    <a:pt x="1655" y="744"/>
                  </a:lnTo>
                  <a:lnTo>
                    <a:pt x="1655" y="742"/>
                  </a:lnTo>
                  <a:lnTo>
                    <a:pt x="1653" y="742"/>
                  </a:lnTo>
                  <a:lnTo>
                    <a:pt x="1653" y="742"/>
                  </a:lnTo>
                  <a:lnTo>
                    <a:pt x="1653" y="742"/>
                  </a:lnTo>
                  <a:lnTo>
                    <a:pt x="1653" y="742"/>
                  </a:lnTo>
                  <a:lnTo>
                    <a:pt x="1653" y="742"/>
                  </a:lnTo>
                  <a:lnTo>
                    <a:pt x="1655" y="742"/>
                  </a:lnTo>
                  <a:lnTo>
                    <a:pt x="1655" y="742"/>
                  </a:lnTo>
                  <a:lnTo>
                    <a:pt x="1655" y="742"/>
                  </a:lnTo>
                  <a:lnTo>
                    <a:pt x="1655" y="742"/>
                  </a:lnTo>
                  <a:lnTo>
                    <a:pt x="1655" y="740"/>
                  </a:lnTo>
                  <a:lnTo>
                    <a:pt x="1655" y="740"/>
                  </a:lnTo>
                  <a:lnTo>
                    <a:pt x="1655" y="740"/>
                  </a:lnTo>
                  <a:lnTo>
                    <a:pt x="1655" y="740"/>
                  </a:lnTo>
                  <a:lnTo>
                    <a:pt x="1655" y="738"/>
                  </a:lnTo>
                  <a:lnTo>
                    <a:pt x="1655" y="738"/>
                  </a:lnTo>
                  <a:lnTo>
                    <a:pt x="1655" y="736"/>
                  </a:lnTo>
                  <a:lnTo>
                    <a:pt x="1655" y="736"/>
                  </a:lnTo>
                  <a:lnTo>
                    <a:pt x="1655" y="734"/>
                  </a:lnTo>
                  <a:lnTo>
                    <a:pt x="1655" y="734"/>
                  </a:lnTo>
                  <a:lnTo>
                    <a:pt x="1653" y="734"/>
                  </a:lnTo>
                  <a:lnTo>
                    <a:pt x="1653" y="732"/>
                  </a:lnTo>
                  <a:lnTo>
                    <a:pt x="1653" y="732"/>
                  </a:lnTo>
                  <a:lnTo>
                    <a:pt x="1653" y="734"/>
                  </a:lnTo>
                  <a:lnTo>
                    <a:pt x="1651" y="734"/>
                  </a:lnTo>
                  <a:lnTo>
                    <a:pt x="1651" y="736"/>
                  </a:lnTo>
                  <a:lnTo>
                    <a:pt x="1651" y="738"/>
                  </a:lnTo>
                  <a:lnTo>
                    <a:pt x="1649" y="736"/>
                  </a:lnTo>
                  <a:lnTo>
                    <a:pt x="1649" y="736"/>
                  </a:lnTo>
                  <a:lnTo>
                    <a:pt x="1649" y="738"/>
                  </a:lnTo>
                  <a:lnTo>
                    <a:pt x="1649" y="738"/>
                  </a:lnTo>
                  <a:lnTo>
                    <a:pt x="1649" y="738"/>
                  </a:lnTo>
                  <a:lnTo>
                    <a:pt x="1647" y="738"/>
                  </a:lnTo>
                  <a:lnTo>
                    <a:pt x="1647" y="738"/>
                  </a:lnTo>
                  <a:lnTo>
                    <a:pt x="1647" y="738"/>
                  </a:lnTo>
                  <a:lnTo>
                    <a:pt x="1647" y="736"/>
                  </a:lnTo>
                  <a:lnTo>
                    <a:pt x="1647" y="736"/>
                  </a:lnTo>
                  <a:lnTo>
                    <a:pt x="1647" y="736"/>
                  </a:lnTo>
                  <a:lnTo>
                    <a:pt x="1647" y="736"/>
                  </a:lnTo>
                  <a:lnTo>
                    <a:pt x="1649" y="736"/>
                  </a:lnTo>
                  <a:lnTo>
                    <a:pt x="1649" y="736"/>
                  </a:lnTo>
                  <a:lnTo>
                    <a:pt x="1651" y="734"/>
                  </a:lnTo>
                  <a:lnTo>
                    <a:pt x="1651" y="734"/>
                  </a:lnTo>
                  <a:lnTo>
                    <a:pt x="1651" y="734"/>
                  </a:lnTo>
                  <a:lnTo>
                    <a:pt x="1651" y="732"/>
                  </a:lnTo>
                  <a:lnTo>
                    <a:pt x="1649" y="732"/>
                  </a:lnTo>
                  <a:lnTo>
                    <a:pt x="1649" y="732"/>
                  </a:lnTo>
                  <a:lnTo>
                    <a:pt x="1649" y="732"/>
                  </a:lnTo>
                  <a:lnTo>
                    <a:pt x="1649" y="732"/>
                  </a:lnTo>
                  <a:lnTo>
                    <a:pt x="1649" y="732"/>
                  </a:lnTo>
                  <a:lnTo>
                    <a:pt x="1649" y="732"/>
                  </a:lnTo>
                  <a:lnTo>
                    <a:pt x="1647" y="730"/>
                  </a:lnTo>
                  <a:lnTo>
                    <a:pt x="1647" y="730"/>
                  </a:lnTo>
                  <a:lnTo>
                    <a:pt x="1647" y="730"/>
                  </a:lnTo>
                  <a:lnTo>
                    <a:pt x="1647" y="730"/>
                  </a:lnTo>
                  <a:lnTo>
                    <a:pt x="1647" y="730"/>
                  </a:lnTo>
                  <a:lnTo>
                    <a:pt x="1647" y="730"/>
                  </a:lnTo>
                  <a:lnTo>
                    <a:pt x="1647" y="730"/>
                  </a:lnTo>
                  <a:lnTo>
                    <a:pt x="1647" y="730"/>
                  </a:lnTo>
                  <a:lnTo>
                    <a:pt x="1645" y="730"/>
                  </a:lnTo>
                  <a:lnTo>
                    <a:pt x="1645" y="728"/>
                  </a:lnTo>
                  <a:lnTo>
                    <a:pt x="1643" y="728"/>
                  </a:lnTo>
                  <a:lnTo>
                    <a:pt x="1643" y="730"/>
                  </a:lnTo>
                  <a:lnTo>
                    <a:pt x="1643" y="730"/>
                  </a:lnTo>
                  <a:lnTo>
                    <a:pt x="1641" y="730"/>
                  </a:lnTo>
                  <a:lnTo>
                    <a:pt x="1641" y="730"/>
                  </a:lnTo>
                  <a:lnTo>
                    <a:pt x="1641" y="730"/>
                  </a:lnTo>
                  <a:lnTo>
                    <a:pt x="1641" y="730"/>
                  </a:lnTo>
                  <a:lnTo>
                    <a:pt x="1641" y="732"/>
                  </a:lnTo>
                  <a:lnTo>
                    <a:pt x="1641" y="730"/>
                  </a:lnTo>
                  <a:lnTo>
                    <a:pt x="1641" y="730"/>
                  </a:lnTo>
                  <a:lnTo>
                    <a:pt x="1638" y="730"/>
                  </a:lnTo>
                  <a:lnTo>
                    <a:pt x="1638" y="730"/>
                  </a:lnTo>
                  <a:lnTo>
                    <a:pt x="1638" y="732"/>
                  </a:lnTo>
                  <a:lnTo>
                    <a:pt x="1638" y="732"/>
                  </a:lnTo>
                  <a:lnTo>
                    <a:pt x="1636" y="730"/>
                  </a:lnTo>
                  <a:lnTo>
                    <a:pt x="1636" y="730"/>
                  </a:lnTo>
                  <a:lnTo>
                    <a:pt x="1638" y="730"/>
                  </a:lnTo>
                  <a:lnTo>
                    <a:pt x="1641" y="728"/>
                  </a:lnTo>
                  <a:lnTo>
                    <a:pt x="1641" y="728"/>
                  </a:lnTo>
                  <a:lnTo>
                    <a:pt x="1641" y="728"/>
                  </a:lnTo>
                  <a:lnTo>
                    <a:pt x="1641" y="728"/>
                  </a:lnTo>
                  <a:lnTo>
                    <a:pt x="1641" y="728"/>
                  </a:lnTo>
                  <a:lnTo>
                    <a:pt x="1641" y="728"/>
                  </a:lnTo>
                  <a:lnTo>
                    <a:pt x="1643" y="728"/>
                  </a:lnTo>
                  <a:lnTo>
                    <a:pt x="1643" y="728"/>
                  </a:lnTo>
                  <a:lnTo>
                    <a:pt x="1643" y="728"/>
                  </a:lnTo>
                  <a:lnTo>
                    <a:pt x="1643" y="725"/>
                  </a:lnTo>
                  <a:lnTo>
                    <a:pt x="1641" y="725"/>
                  </a:lnTo>
                  <a:lnTo>
                    <a:pt x="1638" y="725"/>
                  </a:lnTo>
                  <a:lnTo>
                    <a:pt x="1638" y="725"/>
                  </a:lnTo>
                  <a:lnTo>
                    <a:pt x="1638" y="725"/>
                  </a:lnTo>
                  <a:lnTo>
                    <a:pt x="1638" y="723"/>
                  </a:lnTo>
                  <a:lnTo>
                    <a:pt x="1636" y="725"/>
                  </a:lnTo>
                  <a:lnTo>
                    <a:pt x="1636" y="725"/>
                  </a:lnTo>
                  <a:lnTo>
                    <a:pt x="1636" y="725"/>
                  </a:lnTo>
                  <a:lnTo>
                    <a:pt x="1636" y="725"/>
                  </a:lnTo>
                  <a:lnTo>
                    <a:pt x="1634" y="725"/>
                  </a:lnTo>
                  <a:lnTo>
                    <a:pt x="1634" y="725"/>
                  </a:lnTo>
                  <a:lnTo>
                    <a:pt x="1634" y="725"/>
                  </a:lnTo>
                  <a:lnTo>
                    <a:pt x="1634" y="725"/>
                  </a:lnTo>
                  <a:lnTo>
                    <a:pt x="1634" y="725"/>
                  </a:lnTo>
                  <a:lnTo>
                    <a:pt x="1634" y="725"/>
                  </a:lnTo>
                  <a:lnTo>
                    <a:pt x="1634" y="728"/>
                  </a:lnTo>
                  <a:lnTo>
                    <a:pt x="1634" y="728"/>
                  </a:lnTo>
                  <a:lnTo>
                    <a:pt x="1634" y="728"/>
                  </a:lnTo>
                  <a:lnTo>
                    <a:pt x="1634" y="728"/>
                  </a:lnTo>
                  <a:lnTo>
                    <a:pt x="1634" y="728"/>
                  </a:lnTo>
                  <a:lnTo>
                    <a:pt x="1632" y="730"/>
                  </a:lnTo>
                  <a:lnTo>
                    <a:pt x="1632" y="730"/>
                  </a:lnTo>
                  <a:lnTo>
                    <a:pt x="1632" y="732"/>
                  </a:lnTo>
                  <a:lnTo>
                    <a:pt x="1632" y="732"/>
                  </a:lnTo>
                  <a:lnTo>
                    <a:pt x="1632" y="730"/>
                  </a:lnTo>
                  <a:lnTo>
                    <a:pt x="1632" y="730"/>
                  </a:lnTo>
                  <a:lnTo>
                    <a:pt x="1630" y="730"/>
                  </a:lnTo>
                  <a:lnTo>
                    <a:pt x="1630" y="730"/>
                  </a:lnTo>
                  <a:lnTo>
                    <a:pt x="1630" y="730"/>
                  </a:lnTo>
                  <a:lnTo>
                    <a:pt x="1632" y="728"/>
                  </a:lnTo>
                  <a:lnTo>
                    <a:pt x="1632" y="725"/>
                  </a:lnTo>
                  <a:lnTo>
                    <a:pt x="1634" y="723"/>
                  </a:lnTo>
                  <a:lnTo>
                    <a:pt x="1634" y="723"/>
                  </a:lnTo>
                  <a:lnTo>
                    <a:pt x="1632" y="723"/>
                  </a:lnTo>
                  <a:lnTo>
                    <a:pt x="1632" y="723"/>
                  </a:lnTo>
                  <a:lnTo>
                    <a:pt x="1632" y="723"/>
                  </a:lnTo>
                  <a:lnTo>
                    <a:pt x="1632" y="723"/>
                  </a:lnTo>
                  <a:lnTo>
                    <a:pt x="1632" y="721"/>
                  </a:lnTo>
                  <a:lnTo>
                    <a:pt x="1632" y="721"/>
                  </a:lnTo>
                  <a:lnTo>
                    <a:pt x="1632" y="721"/>
                  </a:lnTo>
                  <a:lnTo>
                    <a:pt x="1632" y="721"/>
                  </a:lnTo>
                  <a:lnTo>
                    <a:pt x="1632" y="721"/>
                  </a:lnTo>
                  <a:lnTo>
                    <a:pt x="1632" y="721"/>
                  </a:lnTo>
                  <a:lnTo>
                    <a:pt x="1632" y="719"/>
                  </a:lnTo>
                  <a:lnTo>
                    <a:pt x="1634" y="721"/>
                  </a:lnTo>
                  <a:lnTo>
                    <a:pt x="1636" y="723"/>
                  </a:lnTo>
                  <a:lnTo>
                    <a:pt x="1636" y="723"/>
                  </a:lnTo>
                  <a:lnTo>
                    <a:pt x="1638" y="723"/>
                  </a:lnTo>
                  <a:lnTo>
                    <a:pt x="1641" y="723"/>
                  </a:lnTo>
                  <a:lnTo>
                    <a:pt x="1643" y="723"/>
                  </a:lnTo>
                  <a:lnTo>
                    <a:pt x="1643" y="725"/>
                  </a:lnTo>
                  <a:lnTo>
                    <a:pt x="1645" y="725"/>
                  </a:lnTo>
                  <a:lnTo>
                    <a:pt x="1647" y="725"/>
                  </a:lnTo>
                  <a:lnTo>
                    <a:pt x="1647" y="723"/>
                  </a:lnTo>
                  <a:lnTo>
                    <a:pt x="1645" y="723"/>
                  </a:lnTo>
                  <a:lnTo>
                    <a:pt x="1645" y="723"/>
                  </a:lnTo>
                  <a:lnTo>
                    <a:pt x="1643" y="721"/>
                  </a:lnTo>
                  <a:lnTo>
                    <a:pt x="1643" y="721"/>
                  </a:lnTo>
                  <a:lnTo>
                    <a:pt x="1641" y="721"/>
                  </a:lnTo>
                  <a:lnTo>
                    <a:pt x="1641" y="721"/>
                  </a:lnTo>
                  <a:lnTo>
                    <a:pt x="1638" y="719"/>
                  </a:lnTo>
                  <a:lnTo>
                    <a:pt x="1638" y="719"/>
                  </a:lnTo>
                  <a:lnTo>
                    <a:pt x="1638" y="719"/>
                  </a:lnTo>
                  <a:lnTo>
                    <a:pt x="1636" y="717"/>
                  </a:lnTo>
                  <a:lnTo>
                    <a:pt x="1636" y="717"/>
                  </a:lnTo>
                  <a:lnTo>
                    <a:pt x="1636" y="717"/>
                  </a:lnTo>
                  <a:lnTo>
                    <a:pt x="1636" y="717"/>
                  </a:lnTo>
                  <a:lnTo>
                    <a:pt x="1634" y="717"/>
                  </a:lnTo>
                  <a:lnTo>
                    <a:pt x="1634" y="719"/>
                  </a:lnTo>
                  <a:lnTo>
                    <a:pt x="1634" y="719"/>
                  </a:lnTo>
                  <a:lnTo>
                    <a:pt x="1634" y="719"/>
                  </a:lnTo>
                  <a:lnTo>
                    <a:pt x="1634" y="717"/>
                  </a:lnTo>
                  <a:lnTo>
                    <a:pt x="1634" y="717"/>
                  </a:lnTo>
                  <a:lnTo>
                    <a:pt x="1634" y="717"/>
                  </a:lnTo>
                  <a:lnTo>
                    <a:pt x="1634" y="715"/>
                  </a:lnTo>
                  <a:lnTo>
                    <a:pt x="1632" y="715"/>
                  </a:lnTo>
                  <a:lnTo>
                    <a:pt x="1632" y="715"/>
                  </a:lnTo>
                  <a:lnTo>
                    <a:pt x="1632" y="713"/>
                  </a:lnTo>
                  <a:lnTo>
                    <a:pt x="1632" y="713"/>
                  </a:lnTo>
                  <a:lnTo>
                    <a:pt x="1632" y="713"/>
                  </a:lnTo>
                  <a:lnTo>
                    <a:pt x="1632" y="711"/>
                  </a:lnTo>
                  <a:lnTo>
                    <a:pt x="1630" y="709"/>
                  </a:lnTo>
                  <a:lnTo>
                    <a:pt x="1628" y="709"/>
                  </a:lnTo>
                  <a:lnTo>
                    <a:pt x="1628" y="709"/>
                  </a:lnTo>
                  <a:lnTo>
                    <a:pt x="1628" y="709"/>
                  </a:lnTo>
                  <a:lnTo>
                    <a:pt x="1626" y="707"/>
                  </a:lnTo>
                  <a:lnTo>
                    <a:pt x="1626" y="707"/>
                  </a:lnTo>
                  <a:lnTo>
                    <a:pt x="1626" y="707"/>
                  </a:lnTo>
                  <a:lnTo>
                    <a:pt x="1626" y="707"/>
                  </a:lnTo>
                  <a:lnTo>
                    <a:pt x="1624" y="707"/>
                  </a:lnTo>
                  <a:lnTo>
                    <a:pt x="1624" y="705"/>
                  </a:lnTo>
                  <a:lnTo>
                    <a:pt x="1622" y="705"/>
                  </a:lnTo>
                  <a:lnTo>
                    <a:pt x="1622" y="705"/>
                  </a:lnTo>
                  <a:lnTo>
                    <a:pt x="1622" y="705"/>
                  </a:lnTo>
                  <a:lnTo>
                    <a:pt x="1620" y="703"/>
                  </a:lnTo>
                  <a:lnTo>
                    <a:pt x="1618" y="703"/>
                  </a:lnTo>
                  <a:lnTo>
                    <a:pt x="1618" y="703"/>
                  </a:lnTo>
                  <a:lnTo>
                    <a:pt x="1618" y="703"/>
                  </a:lnTo>
                  <a:lnTo>
                    <a:pt x="1618" y="703"/>
                  </a:lnTo>
                  <a:lnTo>
                    <a:pt x="1616" y="703"/>
                  </a:lnTo>
                  <a:lnTo>
                    <a:pt x="1616" y="703"/>
                  </a:lnTo>
                  <a:lnTo>
                    <a:pt x="1616" y="703"/>
                  </a:lnTo>
                  <a:lnTo>
                    <a:pt x="1616" y="703"/>
                  </a:lnTo>
                  <a:lnTo>
                    <a:pt x="1616" y="703"/>
                  </a:lnTo>
                  <a:lnTo>
                    <a:pt x="1616" y="703"/>
                  </a:lnTo>
                  <a:lnTo>
                    <a:pt x="1616" y="703"/>
                  </a:lnTo>
                  <a:lnTo>
                    <a:pt x="1616" y="703"/>
                  </a:lnTo>
                  <a:lnTo>
                    <a:pt x="1614" y="703"/>
                  </a:lnTo>
                  <a:lnTo>
                    <a:pt x="1614" y="703"/>
                  </a:lnTo>
                  <a:lnTo>
                    <a:pt x="1614" y="701"/>
                  </a:lnTo>
                  <a:lnTo>
                    <a:pt x="1614" y="701"/>
                  </a:lnTo>
                  <a:lnTo>
                    <a:pt x="1614" y="703"/>
                  </a:lnTo>
                  <a:lnTo>
                    <a:pt x="1614" y="703"/>
                  </a:lnTo>
                  <a:lnTo>
                    <a:pt x="1614" y="703"/>
                  </a:lnTo>
                  <a:lnTo>
                    <a:pt x="1614" y="703"/>
                  </a:lnTo>
                  <a:lnTo>
                    <a:pt x="1612" y="703"/>
                  </a:lnTo>
                  <a:lnTo>
                    <a:pt x="1612" y="703"/>
                  </a:lnTo>
                  <a:lnTo>
                    <a:pt x="1612" y="703"/>
                  </a:lnTo>
                  <a:lnTo>
                    <a:pt x="1610" y="703"/>
                  </a:lnTo>
                  <a:lnTo>
                    <a:pt x="1610" y="703"/>
                  </a:lnTo>
                  <a:lnTo>
                    <a:pt x="1610" y="703"/>
                  </a:lnTo>
                  <a:lnTo>
                    <a:pt x="1608" y="701"/>
                  </a:lnTo>
                  <a:lnTo>
                    <a:pt x="1608" y="701"/>
                  </a:lnTo>
                  <a:lnTo>
                    <a:pt x="1608" y="701"/>
                  </a:lnTo>
                  <a:lnTo>
                    <a:pt x="1610" y="701"/>
                  </a:lnTo>
                  <a:lnTo>
                    <a:pt x="1610" y="701"/>
                  </a:lnTo>
                  <a:lnTo>
                    <a:pt x="1610" y="699"/>
                  </a:lnTo>
                  <a:lnTo>
                    <a:pt x="1610" y="699"/>
                  </a:lnTo>
                  <a:lnTo>
                    <a:pt x="1610" y="699"/>
                  </a:lnTo>
                  <a:lnTo>
                    <a:pt x="1610" y="697"/>
                  </a:lnTo>
                  <a:lnTo>
                    <a:pt x="1610" y="697"/>
                  </a:lnTo>
                  <a:lnTo>
                    <a:pt x="1610" y="697"/>
                  </a:lnTo>
                  <a:lnTo>
                    <a:pt x="1610" y="697"/>
                  </a:lnTo>
                  <a:lnTo>
                    <a:pt x="1608" y="697"/>
                  </a:lnTo>
                  <a:lnTo>
                    <a:pt x="1608" y="697"/>
                  </a:lnTo>
                  <a:lnTo>
                    <a:pt x="1608" y="697"/>
                  </a:lnTo>
                  <a:lnTo>
                    <a:pt x="1608" y="697"/>
                  </a:lnTo>
                  <a:lnTo>
                    <a:pt x="1608" y="697"/>
                  </a:lnTo>
                  <a:lnTo>
                    <a:pt x="1608" y="697"/>
                  </a:lnTo>
                  <a:lnTo>
                    <a:pt x="1608" y="695"/>
                  </a:lnTo>
                  <a:lnTo>
                    <a:pt x="1608" y="695"/>
                  </a:lnTo>
                  <a:lnTo>
                    <a:pt x="1608" y="695"/>
                  </a:lnTo>
                  <a:lnTo>
                    <a:pt x="1608" y="695"/>
                  </a:lnTo>
                  <a:lnTo>
                    <a:pt x="1608" y="695"/>
                  </a:lnTo>
                  <a:lnTo>
                    <a:pt x="1606" y="695"/>
                  </a:lnTo>
                  <a:lnTo>
                    <a:pt x="1606" y="695"/>
                  </a:lnTo>
                  <a:lnTo>
                    <a:pt x="1606" y="695"/>
                  </a:lnTo>
                  <a:lnTo>
                    <a:pt x="1606" y="695"/>
                  </a:lnTo>
                  <a:lnTo>
                    <a:pt x="1606" y="695"/>
                  </a:lnTo>
                  <a:lnTo>
                    <a:pt x="1606" y="693"/>
                  </a:lnTo>
                  <a:lnTo>
                    <a:pt x="1606" y="693"/>
                  </a:lnTo>
                  <a:lnTo>
                    <a:pt x="1606" y="693"/>
                  </a:lnTo>
                  <a:lnTo>
                    <a:pt x="1604" y="693"/>
                  </a:lnTo>
                  <a:lnTo>
                    <a:pt x="1604" y="693"/>
                  </a:lnTo>
                  <a:lnTo>
                    <a:pt x="1604" y="691"/>
                  </a:lnTo>
                  <a:lnTo>
                    <a:pt x="1604" y="691"/>
                  </a:lnTo>
                  <a:lnTo>
                    <a:pt x="1602" y="691"/>
                  </a:lnTo>
                  <a:lnTo>
                    <a:pt x="1602" y="693"/>
                  </a:lnTo>
                  <a:lnTo>
                    <a:pt x="1600" y="693"/>
                  </a:lnTo>
                  <a:lnTo>
                    <a:pt x="1600" y="695"/>
                  </a:lnTo>
                  <a:lnTo>
                    <a:pt x="1600" y="695"/>
                  </a:lnTo>
                  <a:lnTo>
                    <a:pt x="1600" y="695"/>
                  </a:lnTo>
                  <a:lnTo>
                    <a:pt x="1600" y="695"/>
                  </a:lnTo>
                  <a:lnTo>
                    <a:pt x="1602" y="695"/>
                  </a:lnTo>
                  <a:lnTo>
                    <a:pt x="1600" y="695"/>
                  </a:lnTo>
                  <a:lnTo>
                    <a:pt x="1600" y="695"/>
                  </a:lnTo>
                  <a:lnTo>
                    <a:pt x="1600" y="693"/>
                  </a:lnTo>
                  <a:lnTo>
                    <a:pt x="1600" y="693"/>
                  </a:lnTo>
                  <a:lnTo>
                    <a:pt x="1600" y="693"/>
                  </a:lnTo>
                  <a:lnTo>
                    <a:pt x="1598" y="693"/>
                  </a:lnTo>
                  <a:lnTo>
                    <a:pt x="1595" y="693"/>
                  </a:lnTo>
                  <a:lnTo>
                    <a:pt x="1591" y="693"/>
                  </a:lnTo>
                  <a:lnTo>
                    <a:pt x="1591" y="695"/>
                  </a:lnTo>
                  <a:lnTo>
                    <a:pt x="1591" y="695"/>
                  </a:lnTo>
                  <a:lnTo>
                    <a:pt x="1591" y="695"/>
                  </a:lnTo>
                  <a:lnTo>
                    <a:pt x="1591" y="695"/>
                  </a:lnTo>
                  <a:lnTo>
                    <a:pt x="1593" y="697"/>
                  </a:lnTo>
                  <a:lnTo>
                    <a:pt x="1593" y="697"/>
                  </a:lnTo>
                  <a:lnTo>
                    <a:pt x="1591" y="697"/>
                  </a:lnTo>
                  <a:lnTo>
                    <a:pt x="1591" y="697"/>
                  </a:lnTo>
                  <a:lnTo>
                    <a:pt x="1591" y="699"/>
                  </a:lnTo>
                  <a:lnTo>
                    <a:pt x="1591" y="699"/>
                  </a:lnTo>
                  <a:lnTo>
                    <a:pt x="1591" y="699"/>
                  </a:lnTo>
                  <a:lnTo>
                    <a:pt x="1591" y="699"/>
                  </a:lnTo>
                  <a:lnTo>
                    <a:pt x="1591" y="699"/>
                  </a:lnTo>
                  <a:lnTo>
                    <a:pt x="1593" y="701"/>
                  </a:lnTo>
                  <a:lnTo>
                    <a:pt x="1593" y="701"/>
                  </a:lnTo>
                  <a:lnTo>
                    <a:pt x="1593" y="701"/>
                  </a:lnTo>
                  <a:lnTo>
                    <a:pt x="1593" y="701"/>
                  </a:lnTo>
                  <a:lnTo>
                    <a:pt x="1593" y="701"/>
                  </a:lnTo>
                  <a:lnTo>
                    <a:pt x="1593" y="701"/>
                  </a:lnTo>
                  <a:lnTo>
                    <a:pt x="1593" y="701"/>
                  </a:lnTo>
                  <a:lnTo>
                    <a:pt x="1593" y="701"/>
                  </a:lnTo>
                  <a:lnTo>
                    <a:pt x="1595" y="701"/>
                  </a:lnTo>
                  <a:lnTo>
                    <a:pt x="1595" y="701"/>
                  </a:lnTo>
                  <a:lnTo>
                    <a:pt x="1595" y="701"/>
                  </a:lnTo>
                  <a:lnTo>
                    <a:pt x="1598" y="701"/>
                  </a:lnTo>
                  <a:lnTo>
                    <a:pt x="1598" y="701"/>
                  </a:lnTo>
                  <a:lnTo>
                    <a:pt x="1600" y="701"/>
                  </a:lnTo>
                  <a:lnTo>
                    <a:pt x="1602" y="701"/>
                  </a:lnTo>
                  <a:lnTo>
                    <a:pt x="1602" y="701"/>
                  </a:lnTo>
                  <a:lnTo>
                    <a:pt x="1604" y="701"/>
                  </a:lnTo>
                  <a:lnTo>
                    <a:pt x="1604" y="703"/>
                  </a:lnTo>
                  <a:lnTo>
                    <a:pt x="1604" y="705"/>
                  </a:lnTo>
                  <a:lnTo>
                    <a:pt x="1606" y="705"/>
                  </a:lnTo>
                  <a:lnTo>
                    <a:pt x="1606" y="707"/>
                  </a:lnTo>
                  <a:lnTo>
                    <a:pt x="1606" y="709"/>
                  </a:lnTo>
                  <a:lnTo>
                    <a:pt x="1608" y="709"/>
                  </a:lnTo>
                  <a:lnTo>
                    <a:pt x="1608" y="709"/>
                  </a:lnTo>
                  <a:lnTo>
                    <a:pt x="1608" y="709"/>
                  </a:lnTo>
                  <a:lnTo>
                    <a:pt x="1608" y="711"/>
                  </a:lnTo>
                  <a:lnTo>
                    <a:pt x="1608" y="711"/>
                  </a:lnTo>
                  <a:lnTo>
                    <a:pt x="1608" y="711"/>
                  </a:lnTo>
                  <a:lnTo>
                    <a:pt x="1608" y="711"/>
                  </a:lnTo>
                  <a:lnTo>
                    <a:pt x="1608" y="713"/>
                  </a:lnTo>
                  <a:lnTo>
                    <a:pt x="1608" y="713"/>
                  </a:lnTo>
                  <a:lnTo>
                    <a:pt x="1608" y="713"/>
                  </a:lnTo>
                  <a:lnTo>
                    <a:pt x="1610" y="713"/>
                  </a:lnTo>
                  <a:lnTo>
                    <a:pt x="1610" y="713"/>
                  </a:lnTo>
                  <a:lnTo>
                    <a:pt x="1610" y="713"/>
                  </a:lnTo>
                  <a:lnTo>
                    <a:pt x="1610" y="713"/>
                  </a:lnTo>
                  <a:lnTo>
                    <a:pt x="1610" y="713"/>
                  </a:lnTo>
                  <a:lnTo>
                    <a:pt x="1610" y="713"/>
                  </a:lnTo>
                  <a:lnTo>
                    <a:pt x="1610" y="713"/>
                  </a:lnTo>
                  <a:lnTo>
                    <a:pt x="1612" y="713"/>
                  </a:lnTo>
                  <a:lnTo>
                    <a:pt x="1612" y="713"/>
                  </a:lnTo>
                  <a:lnTo>
                    <a:pt x="1612" y="715"/>
                  </a:lnTo>
                  <a:lnTo>
                    <a:pt x="1612" y="715"/>
                  </a:lnTo>
                  <a:lnTo>
                    <a:pt x="1612" y="715"/>
                  </a:lnTo>
                  <a:lnTo>
                    <a:pt x="1612" y="717"/>
                  </a:lnTo>
                  <a:lnTo>
                    <a:pt x="1612" y="717"/>
                  </a:lnTo>
                  <a:lnTo>
                    <a:pt x="1610" y="719"/>
                  </a:lnTo>
                  <a:lnTo>
                    <a:pt x="1610" y="719"/>
                  </a:lnTo>
                  <a:lnTo>
                    <a:pt x="1610" y="721"/>
                  </a:lnTo>
                  <a:lnTo>
                    <a:pt x="1610" y="721"/>
                  </a:lnTo>
                  <a:lnTo>
                    <a:pt x="1610" y="721"/>
                  </a:lnTo>
                  <a:lnTo>
                    <a:pt x="1608" y="719"/>
                  </a:lnTo>
                  <a:lnTo>
                    <a:pt x="1608" y="721"/>
                  </a:lnTo>
                  <a:lnTo>
                    <a:pt x="1608" y="721"/>
                  </a:lnTo>
                  <a:lnTo>
                    <a:pt x="1608" y="723"/>
                  </a:lnTo>
                  <a:lnTo>
                    <a:pt x="1608" y="723"/>
                  </a:lnTo>
                  <a:lnTo>
                    <a:pt x="1608" y="723"/>
                  </a:lnTo>
                  <a:lnTo>
                    <a:pt x="1608" y="723"/>
                  </a:lnTo>
                  <a:lnTo>
                    <a:pt x="1608" y="723"/>
                  </a:lnTo>
                  <a:lnTo>
                    <a:pt x="1608" y="723"/>
                  </a:lnTo>
                  <a:lnTo>
                    <a:pt x="1608" y="723"/>
                  </a:lnTo>
                  <a:lnTo>
                    <a:pt x="1608" y="723"/>
                  </a:lnTo>
                  <a:lnTo>
                    <a:pt x="1608" y="723"/>
                  </a:lnTo>
                  <a:lnTo>
                    <a:pt x="1608" y="723"/>
                  </a:lnTo>
                  <a:lnTo>
                    <a:pt x="1608" y="725"/>
                  </a:lnTo>
                  <a:lnTo>
                    <a:pt x="1608" y="725"/>
                  </a:lnTo>
                  <a:lnTo>
                    <a:pt x="1608" y="725"/>
                  </a:lnTo>
                  <a:lnTo>
                    <a:pt x="1608" y="725"/>
                  </a:lnTo>
                  <a:lnTo>
                    <a:pt x="1608" y="725"/>
                  </a:lnTo>
                  <a:lnTo>
                    <a:pt x="1608" y="728"/>
                  </a:lnTo>
                  <a:lnTo>
                    <a:pt x="1608" y="728"/>
                  </a:lnTo>
                  <a:lnTo>
                    <a:pt x="1610" y="728"/>
                  </a:lnTo>
                  <a:lnTo>
                    <a:pt x="1612" y="730"/>
                  </a:lnTo>
                  <a:lnTo>
                    <a:pt x="1614" y="728"/>
                  </a:lnTo>
                  <a:lnTo>
                    <a:pt x="1618" y="725"/>
                  </a:lnTo>
                  <a:lnTo>
                    <a:pt x="1618" y="725"/>
                  </a:lnTo>
                  <a:lnTo>
                    <a:pt x="1620" y="723"/>
                  </a:lnTo>
                  <a:lnTo>
                    <a:pt x="1620" y="723"/>
                  </a:lnTo>
                  <a:lnTo>
                    <a:pt x="1620" y="723"/>
                  </a:lnTo>
                  <a:lnTo>
                    <a:pt x="1622" y="723"/>
                  </a:lnTo>
                  <a:lnTo>
                    <a:pt x="1622" y="723"/>
                  </a:lnTo>
                  <a:lnTo>
                    <a:pt x="1622" y="723"/>
                  </a:lnTo>
                  <a:lnTo>
                    <a:pt x="1620" y="723"/>
                  </a:lnTo>
                  <a:lnTo>
                    <a:pt x="1620" y="725"/>
                  </a:lnTo>
                  <a:lnTo>
                    <a:pt x="1620" y="725"/>
                  </a:lnTo>
                  <a:lnTo>
                    <a:pt x="1618" y="725"/>
                  </a:lnTo>
                  <a:lnTo>
                    <a:pt x="1618" y="728"/>
                  </a:lnTo>
                  <a:lnTo>
                    <a:pt x="1618" y="728"/>
                  </a:lnTo>
                  <a:lnTo>
                    <a:pt x="1618" y="728"/>
                  </a:lnTo>
                  <a:lnTo>
                    <a:pt x="1618" y="730"/>
                  </a:lnTo>
                  <a:lnTo>
                    <a:pt x="1618" y="730"/>
                  </a:lnTo>
                  <a:lnTo>
                    <a:pt x="1618" y="732"/>
                  </a:lnTo>
                  <a:lnTo>
                    <a:pt x="1618" y="732"/>
                  </a:lnTo>
                  <a:lnTo>
                    <a:pt x="1618" y="732"/>
                  </a:lnTo>
                  <a:lnTo>
                    <a:pt x="1618" y="734"/>
                  </a:lnTo>
                  <a:lnTo>
                    <a:pt x="1620" y="734"/>
                  </a:lnTo>
                  <a:lnTo>
                    <a:pt x="1622" y="734"/>
                  </a:lnTo>
                  <a:lnTo>
                    <a:pt x="1622" y="734"/>
                  </a:lnTo>
                  <a:lnTo>
                    <a:pt x="1622" y="734"/>
                  </a:lnTo>
                  <a:lnTo>
                    <a:pt x="1622" y="734"/>
                  </a:lnTo>
                  <a:lnTo>
                    <a:pt x="1620" y="734"/>
                  </a:lnTo>
                  <a:lnTo>
                    <a:pt x="1620" y="736"/>
                  </a:lnTo>
                  <a:lnTo>
                    <a:pt x="1620" y="734"/>
                  </a:lnTo>
                  <a:lnTo>
                    <a:pt x="1622" y="734"/>
                  </a:lnTo>
                  <a:lnTo>
                    <a:pt x="1622" y="736"/>
                  </a:lnTo>
                  <a:lnTo>
                    <a:pt x="1622" y="736"/>
                  </a:lnTo>
                  <a:lnTo>
                    <a:pt x="1622" y="736"/>
                  </a:lnTo>
                  <a:lnTo>
                    <a:pt x="1622" y="736"/>
                  </a:lnTo>
                  <a:lnTo>
                    <a:pt x="1624" y="736"/>
                  </a:lnTo>
                  <a:lnTo>
                    <a:pt x="1626" y="736"/>
                  </a:lnTo>
                  <a:lnTo>
                    <a:pt x="1628" y="736"/>
                  </a:lnTo>
                  <a:lnTo>
                    <a:pt x="1626" y="736"/>
                  </a:lnTo>
                  <a:lnTo>
                    <a:pt x="1622" y="738"/>
                  </a:lnTo>
                  <a:lnTo>
                    <a:pt x="1622" y="738"/>
                  </a:lnTo>
                  <a:lnTo>
                    <a:pt x="1622" y="738"/>
                  </a:lnTo>
                  <a:lnTo>
                    <a:pt x="1622" y="738"/>
                  </a:lnTo>
                  <a:lnTo>
                    <a:pt x="1622" y="738"/>
                  </a:lnTo>
                  <a:lnTo>
                    <a:pt x="1620" y="738"/>
                  </a:lnTo>
                  <a:lnTo>
                    <a:pt x="1618" y="738"/>
                  </a:lnTo>
                  <a:lnTo>
                    <a:pt x="1618" y="738"/>
                  </a:lnTo>
                  <a:lnTo>
                    <a:pt x="1618" y="738"/>
                  </a:lnTo>
                  <a:lnTo>
                    <a:pt x="1618" y="738"/>
                  </a:lnTo>
                  <a:lnTo>
                    <a:pt x="1618" y="738"/>
                  </a:lnTo>
                  <a:lnTo>
                    <a:pt x="1618" y="738"/>
                  </a:lnTo>
                  <a:lnTo>
                    <a:pt x="1618" y="738"/>
                  </a:lnTo>
                  <a:lnTo>
                    <a:pt x="1618" y="738"/>
                  </a:lnTo>
                  <a:lnTo>
                    <a:pt x="1618" y="738"/>
                  </a:lnTo>
                  <a:lnTo>
                    <a:pt x="1616" y="740"/>
                  </a:lnTo>
                  <a:lnTo>
                    <a:pt x="1616" y="740"/>
                  </a:lnTo>
                  <a:lnTo>
                    <a:pt x="1616" y="740"/>
                  </a:lnTo>
                  <a:lnTo>
                    <a:pt x="1616" y="740"/>
                  </a:lnTo>
                  <a:lnTo>
                    <a:pt x="1616" y="740"/>
                  </a:lnTo>
                  <a:lnTo>
                    <a:pt x="1616" y="742"/>
                  </a:lnTo>
                  <a:lnTo>
                    <a:pt x="1618" y="742"/>
                  </a:lnTo>
                  <a:lnTo>
                    <a:pt x="1618" y="742"/>
                  </a:lnTo>
                  <a:lnTo>
                    <a:pt x="1618" y="742"/>
                  </a:lnTo>
                  <a:lnTo>
                    <a:pt x="1618" y="742"/>
                  </a:lnTo>
                  <a:lnTo>
                    <a:pt x="1618" y="744"/>
                  </a:lnTo>
                  <a:lnTo>
                    <a:pt x="1618" y="744"/>
                  </a:lnTo>
                  <a:lnTo>
                    <a:pt x="1620" y="744"/>
                  </a:lnTo>
                  <a:lnTo>
                    <a:pt x="1620" y="744"/>
                  </a:lnTo>
                  <a:lnTo>
                    <a:pt x="1620" y="742"/>
                  </a:lnTo>
                  <a:lnTo>
                    <a:pt x="1620" y="742"/>
                  </a:lnTo>
                  <a:lnTo>
                    <a:pt x="1622" y="742"/>
                  </a:lnTo>
                  <a:lnTo>
                    <a:pt x="1622" y="742"/>
                  </a:lnTo>
                  <a:lnTo>
                    <a:pt x="1622" y="742"/>
                  </a:lnTo>
                  <a:lnTo>
                    <a:pt x="1622" y="744"/>
                  </a:lnTo>
                  <a:lnTo>
                    <a:pt x="1622" y="742"/>
                  </a:lnTo>
                  <a:lnTo>
                    <a:pt x="1622" y="742"/>
                  </a:lnTo>
                  <a:lnTo>
                    <a:pt x="1626" y="742"/>
                  </a:lnTo>
                  <a:lnTo>
                    <a:pt x="1626" y="740"/>
                  </a:lnTo>
                  <a:lnTo>
                    <a:pt x="1626" y="740"/>
                  </a:lnTo>
                  <a:lnTo>
                    <a:pt x="1628" y="740"/>
                  </a:lnTo>
                  <a:lnTo>
                    <a:pt x="1628" y="742"/>
                  </a:lnTo>
                  <a:lnTo>
                    <a:pt x="1628" y="742"/>
                  </a:lnTo>
                  <a:lnTo>
                    <a:pt x="1626" y="744"/>
                  </a:lnTo>
                  <a:lnTo>
                    <a:pt x="1624" y="744"/>
                  </a:lnTo>
                  <a:lnTo>
                    <a:pt x="1624" y="744"/>
                  </a:lnTo>
                  <a:lnTo>
                    <a:pt x="1624" y="746"/>
                  </a:lnTo>
                  <a:lnTo>
                    <a:pt x="1628" y="744"/>
                  </a:lnTo>
                  <a:lnTo>
                    <a:pt x="1628" y="744"/>
                  </a:lnTo>
                  <a:lnTo>
                    <a:pt x="1628" y="744"/>
                  </a:lnTo>
                  <a:lnTo>
                    <a:pt x="1630" y="742"/>
                  </a:lnTo>
                  <a:lnTo>
                    <a:pt x="1630" y="742"/>
                  </a:lnTo>
                  <a:lnTo>
                    <a:pt x="1630" y="742"/>
                  </a:lnTo>
                  <a:lnTo>
                    <a:pt x="1630" y="742"/>
                  </a:lnTo>
                  <a:lnTo>
                    <a:pt x="1630" y="740"/>
                  </a:lnTo>
                  <a:lnTo>
                    <a:pt x="1630" y="740"/>
                  </a:lnTo>
                  <a:lnTo>
                    <a:pt x="1630" y="740"/>
                  </a:lnTo>
                  <a:lnTo>
                    <a:pt x="1630" y="740"/>
                  </a:lnTo>
                  <a:lnTo>
                    <a:pt x="1630" y="742"/>
                  </a:lnTo>
                  <a:lnTo>
                    <a:pt x="1630" y="742"/>
                  </a:lnTo>
                  <a:lnTo>
                    <a:pt x="1632" y="744"/>
                  </a:lnTo>
                  <a:lnTo>
                    <a:pt x="1632" y="744"/>
                  </a:lnTo>
                  <a:lnTo>
                    <a:pt x="1632" y="744"/>
                  </a:lnTo>
                  <a:lnTo>
                    <a:pt x="1634" y="744"/>
                  </a:lnTo>
                  <a:lnTo>
                    <a:pt x="1634" y="746"/>
                  </a:lnTo>
                  <a:lnTo>
                    <a:pt x="1636" y="746"/>
                  </a:lnTo>
                  <a:lnTo>
                    <a:pt x="1636" y="744"/>
                  </a:lnTo>
                  <a:lnTo>
                    <a:pt x="1638" y="744"/>
                  </a:lnTo>
                  <a:lnTo>
                    <a:pt x="1636" y="744"/>
                  </a:lnTo>
                  <a:lnTo>
                    <a:pt x="1636" y="742"/>
                  </a:lnTo>
                  <a:lnTo>
                    <a:pt x="1636" y="742"/>
                  </a:lnTo>
                  <a:lnTo>
                    <a:pt x="1636" y="742"/>
                  </a:lnTo>
                  <a:lnTo>
                    <a:pt x="1636" y="742"/>
                  </a:lnTo>
                  <a:lnTo>
                    <a:pt x="1634" y="740"/>
                  </a:lnTo>
                  <a:lnTo>
                    <a:pt x="1634" y="740"/>
                  </a:lnTo>
                  <a:lnTo>
                    <a:pt x="1636" y="740"/>
                  </a:lnTo>
                  <a:lnTo>
                    <a:pt x="1636" y="740"/>
                  </a:lnTo>
                  <a:lnTo>
                    <a:pt x="1636" y="742"/>
                  </a:lnTo>
                  <a:lnTo>
                    <a:pt x="1638" y="742"/>
                  </a:lnTo>
                  <a:lnTo>
                    <a:pt x="1638" y="742"/>
                  </a:lnTo>
                  <a:lnTo>
                    <a:pt x="1638" y="744"/>
                  </a:lnTo>
                  <a:lnTo>
                    <a:pt x="1638" y="744"/>
                  </a:lnTo>
                  <a:lnTo>
                    <a:pt x="1638" y="746"/>
                  </a:lnTo>
                  <a:lnTo>
                    <a:pt x="1638" y="748"/>
                  </a:lnTo>
                  <a:lnTo>
                    <a:pt x="1638" y="748"/>
                  </a:lnTo>
                  <a:lnTo>
                    <a:pt x="1638" y="748"/>
                  </a:lnTo>
                  <a:lnTo>
                    <a:pt x="1638" y="746"/>
                  </a:lnTo>
                  <a:lnTo>
                    <a:pt x="1641" y="746"/>
                  </a:lnTo>
                  <a:lnTo>
                    <a:pt x="1641" y="746"/>
                  </a:lnTo>
                  <a:lnTo>
                    <a:pt x="1641" y="746"/>
                  </a:lnTo>
                  <a:lnTo>
                    <a:pt x="1641" y="746"/>
                  </a:lnTo>
                  <a:lnTo>
                    <a:pt x="1641" y="746"/>
                  </a:lnTo>
                  <a:lnTo>
                    <a:pt x="1641" y="748"/>
                  </a:lnTo>
                  <a:lnTo>
                    <a:pt x="1643" y="748"/>
                  </a:lnTo>
                  <a:lnTo>
                    <a:pt x="1643" y="748"/>
                  </a:lnTo>
                  <a:lnTo>
                    <a:pt x="1643" y="748"/>
                  </a:lnTo>
                  <a:lnTo>
                    <a:pt x="1643" y="748"/>
                  </a:lnTo>
                  <a:lnTo>
                    <a:pt x="1643" y="748"/>
                  </a:lnTo>
                  <a:lnTo>
                    <a:pt x="1641" y="748"/>
                  </a:lnTo>
                  <a:lnTo>
                    <a:pt x="1641" y="750"/>
                  </a:lnTo>
                  <a:lnTo>
                    <a:pt x="1641" y="750"/>
                  </a:lnTo>
                  <a:lnTo>
                    <a:pt x="1641" y="750"/>
                  </a:lnTo>
                  <a:lnTo>
                    <a:pt x="1643" y="750"/>
                  </a:lnTo>
                  <a:lnTo>
                    <a:pt x="1643" y="750"/>
                  </a:lnTo>
                  <a:lnTo>
                    <a:pt x="1643" y="750"/>
                  </a:lnTo>
                  <a:lnTo>
                    <a:pt x="1643" y="750"/>
                  </a:lnTo>
                  <a:lnTo>
                    <a:pt x="1643" y="752"/>
                  </a:lnTo>
                  <a:lnTo>
                    <a:pt x="1643" y="752"/>
                  </a:lnTo>
                  <a:lnTo>
                    <a:pt x="1643" y="752"/>
                  </a:lnTo>
                  <a:lnTo>
                    <a:pt x="1641" y="752"/>
                  </a:lnTo>
                  <a:lnTo>
                    <a:pt x="1641" y="752"/>
                  </a:lnTo>
                  <a:lnTo>
                    <a:pt x="1641" y="752"/>
                  </a:lnTo>
                  <a:lnTo>
                    <a:pt x="1641" y="752"/>
                  </a:lnTo>
                  <a:lnTo>
                    <a:pt x="1643" y="754"/>
                  </a:lnTo>
                  <a:lnTo>
                    <a:pt x="1643" y="754"/>
                  </a:lnTo>
                  <a:lnTo>
                    <a:pt x="1645" y="754"/>
                  </a:lnTo>
                  <a:lnTo>
                    <a:pt x="1645" y="752"/>
                  </a:lnTo>
                  <a:lnTo>
                    <a:pt x="1645" y="750"/>
                  </a:lnTo>
                  <a:lnTo>
                    <a:pt x="1645" y="750"/>
                  </a:lnTo>
                  <a:lnTo>
                    <a:pt x="1645" y="752"/>
                  </a:lnTo>
                  <a:lnTo>
                    <a:pt x="1645" y="752"/>
                  </a:lnTo>
                  <a:lnTo>
                    <a:pt x="1645" y="752"/>
                  </a:lnTo>
                  <a:lnTo>
                    <a:pt x="1645" y="754"/>
                  </a:lnTo>
                  <a:lnTo>
                    <a:pt x="1645" y="754"/>
                  </a:lnTo>
                  <a:lnTo>
                    <a:pt x="1645" y="754"/>
                  </a:lnTo>
                  <a:lnTo>
                    <a:pt x="1645" y="754"/>
                  </a:lnTo>
                  <a:lnTo>
                    <a:pt x="1645" y="754"/>
                  </a:lnTo>
                  <a:lnTo>
                    <a:pt x="1645" y="754"/>
                  </a:lnTo>
                  <a:lnTo>
                    <a:pt x="1645" y="754"/>
                  </a:lnTo>
                  <a:lnTo>
                    <a:pt x="1647" y="754"/>
                  </a:lnTo>
                  <a:lnTo>
                    <a:pt x="1647" y="754"/>
                  </a:lnTo>
                  <a:lnTo>
                    <a:pt x="1647" y="754"/>
                  </a:lnTo>
                  <a:lnTo>
                    <a:pt x="1647" y="754"/>
                  </a:lnTo>
                  <a:lnTo>
                    <a:pt x="1647" y="752"/>
                  </a:lnTo>
                  <a:lnTo>
                    <a:pt x="1647" y="752"/>
                  </a:lnTo>
                  <a:lnTo>
                    <a:pt x="1647" y="752"/>
                  </a:lnTo>
                  <a:lnTo>
                    <a:pt x="1647" y="752"/>
                  </a:lnTo>
                  <a:lnTo>
                    <a:pt x="1647" y="750"/>
                  </a:lnTo>
                  <a:lnTo>
                    <a:pt x="1647" y="748"/>
                  </a:lnTo>
                  <a:lnTo>
                    <a:pt x="1647" y="748"/>
                  </a:lnTo>
                  <a:lnTo>
                    <a:pt x="1647" y="750"/>
                  </a:lnTo>
                  <a:lnTo>
                    <a:pt x="1647" y="750"/>
                  </a:lnTo>
                  <a:lnTo>
                    <a:pt x="1647" y="750"/>
                  </a:lnTo>
                  <a:lnTo>
                    <a:pt x="1647" y="752"/>
                  </a:lnTo>
                  <a:lnTo>
                    <a:pt x="1649" y="752"/>
                  </a:lnTo>
                  <a:lnTo>
                    <a:pt x="1649" y="752"/>
                  </a:lnTo>
                  <a:lnTo>
                    <a:pt x="1649" y="752"/>
                  </a:lnTo>
                  <a:lnTo>
                    <a:pt x="1649" y="752"/>
                  </a:lnTo>
                  <a:lnTo>
                    <a:pt x="1647" y="752"/>
                  </a:lnTo>
                  <a:lnTo>
                    <a:pt x="1649" y="752"/>
                  </a:lnTo>
                  <a:lnTo>
                    <a:pt x="1649" y="754"/>
                  </a:lnTo>
                  <a:lnTo>
                    <a:pt x="1649" y="754"/>
                  </a:lnTo>
                  <a:lnTo>
                    <a:pt x="1649" y="754"/>
                  </a:lnTo>
                  <a:lnTo>
                    <a:pt x="1649" y="754"/>
                  </a:lnTo>
                  <a:lnTo>
                    <a:pt x="1649" y="754"/>
                  </a:lnTo>
                  <a:lnTo>
                    <a:pt x="1649" y="754"/>
                  </a:lnTo>
                  <a:lnTo>
                    <a:pt x="1649" y="754"/>
                  </a:lnTo>
                  <a:lnTo>
                    <a:pt x="1651" y="754"/>
                  </a:lnTo>
                  <a:lnTo>
                    <a:pt x="1651" y="754"/>
                  </a:lnTo>
                  <a:lnTo>
                    <a:pt x="1651" y="754"/>
                  </a:lnTo>
                  <a:lnTo>
                    <a:pt x="1653" y="754"/>
                  </a:lnTo>
                  <a:lnTo>
                    <a:pt x="1651" y="754"/>
                  </a:lnTo>
                  <a:lnTo>
                    <a:pt x="1651" y="756"/>
                  </a:lnTo>
                  <a:lnTo>
                    <a:pt x="1651" y="756"/>
                  </a:lnTo>
                  <a:lnTo>
                    <a:pt x="1651" y="756"/>
                  </a:lnTo>
                  <a:lnTo>
                    <a:pt x="1653" y="756"/>
                  </a:lnTo>
                  <a:lnTo>
                    <a:pt x="1653" y="756"/>
                  </a:lnTo>
                  <a:lnTo>
                    <a:pt x="1653" y="756"/>
                  </a:lnTo>
                  <a:lnTo>
                    <a:pt x="1651" y="758"/>
                  </a:lnTo>
                  <a:lnTo>
                    <a:pt x="1651" y="758"/>
                  </a:lnTo>
                  <a:lnTo>
                    <a:pt x="1651" y="758"/>
                  </a:lnTo>
                  <a:lnTo>
                    <a:pt x="1653" y="758"/>
                  </a:lnTo>
                  <a:lnTo>
                    <a:pt x="1653" y="758"/>
                  </a:lnTo>
                  <a:lnTo>
                    <a:pt x="1653" y="758"/>
                  </a:lnTo>
                  <a:lnTo>
                    <a:pt x="1653" y="758"/>
                  </a:lnTo>
                  <a:lnTo>
                    <a:pt x="1653" y="758"/>
                  </a:lnTo>
                  <a:lnTo>
                    <a:pt x="1653" y="756"/>
                  </a:lnTo>
                  <a:lnTo>
                    <a:pt x="1655" y="756"/>
                  </a:lnTo>
                  <a:lnTo>
                    <a:pt x="1655" y="756"/>
                  </a:lnTo>
                  <a:lnTo>
                    <a:pt x="1655" y="758"/>
                  </a:lnTo>
                  <a:lnTo>
                    <a:pt x="1655" y="758"/>
                  </a:lnTo>
                  <a:lnTo>
                    <a:pt x="1655" y="758"/>
                  </a:lnTo>
                  <a:lnTo>
                    <a:pt x="1653" y="758"/>
                  </a:lnTo>
                  <a:lnTo>
                    <a:pt x="1653" y="760"/>
                  </a:lnTo>
                  <a:lnTo>
                    <a:pt x="1653" y="760"/>
                  </a:lnTo>
                  <a:lnTo>
                    <a:pt x="1653" y="760"/>
                  </a:lnTo>
                  <a:lnTo>
                    <a:pt x="1655" y="762"/>
                  </a:lnTo>
                  <a:lnTo>
                    <a:pt x="1655" y="762"/>
                  </a:lnTo>
                  <a:lnTo>
                    <a:pt x="1655" y="760"/>
                  </a:lnTo>
                  <a:lnTo>
                    <a:pt x="1657" y="760"/>
                  </a:lnTo>
                  <a:lnTo>
                    <a:pt x="1659" y="762"/>
                  </a:lnTo>
                  <a:lnTo>
                    <a:pt x="1659" y="762"/>
                  </a:lnTo>
                  <a:lnTo>
                    <a:pt x="1659" y="760"/>
                  </a:lnTo>
                  <a:lnTo>
                    <a:pt x="1659" y="760"/>
                  </a:lnTo>
                  <a:lnTo>
                    <a:pt x="1659" y="760"/>
                  </a:lnTo>
                  <a:lnTo>
                    <a:pt x="1661" y="760"/>
                  </a:lnTo>
                  <a:lnTo>
                    <a:pt x="1661" y="760"/>
                  </a:lnTo>
                  <a:lnTo>
                    <a:pt x="1663" y="760"/>
                  </a:lnTo>
                  <a:lnTo>
                    <a:pt x="1663" y="760"/>
                  </a:lnTo>
                  <a:lnTo>
                    <a:pt x="1663" y="760"/>
                  </a:lnTo>
                  <a:close/>
                  <a:moveTo>
                    <a:pt x="1630" y="746"/>
                  </a:moveTo>
                  <a:lnTo>
                    <a:pt x="1630" y="746"/>
                  </a:lnTo>
                  <a:lnTo>
                    <a:pt x="1630" y="746"/>
                  </a:lnTo>
                  <a:lnTo>
                    <a:pt x="1630" y="746"/>
                  </a:lnTo>
                  <a:lnTo>
                    <a:pt x="1630" y="748"/>
                  </a:lnTo>
                  <a:lnTo>
                    <a:pt x="1630" y="748"/>
                  </a:lnTo>
                  <a:lnTo>
                    <a:pt x="1632" y="748"/>
                  </a:lnTo>
                  <a:lnTo>
                    <a:pt x="1632" y="750"/>
                  </a:lnTo>
                  <a:lnTo>
                    <a:pt x="1632" y="748"/>
                  </a:lnTo>
                  <a:lnTo>
                    <a:pt x="1632" y="750"/>
                  </a:lnTo>
                  <a:lnTo>
                    <a:pt x="1634" y="750"/>
                  </a:lnTo>
                  <a:lnTo>
                    <a:pt x="1634" y="750"/>
                  </a:lnTo>
                  <a:lnTo>
                    <a:pt x="1632" y="750"/>
                  </a:lnTo>
                  <a:lnTo>
                    <a:pt x="1632" y="750"/>
                  </a:lnTo>
                  <a:lnTo>
                    <a:pt x="1632" y="750"/>
                  </a:lnTo>
                  <a:lnTo>
                    <a:pt x="1632" y="752"/>
                  </a:lnTo>
                  <a:lnTo>
                    <a:pt x="1632" y="752"/>
                  </a:lnTo>
                  <a:lnTo>
                    <a:pt x="1632" y="752"/>
                  </a:lnTo>
                  <a:lnTo>
                    <a:pt x="1634" y="752"/>
                  </a:lnTo>
                  <a:lnTo>
                    <a:pt x="1634" y="752"/>
                  </a:lnTo>
                  <a:lnTo>
                    <a:pt x="1634" y="752"/>
                  </a:lnTo>
                  <a:lnTo>
                    <a:pt x="1636" y="752"/>
                  </a:lnTo>
                  <a:lnTo>
                    <a:pt x="1636" y="752"/>
                  </a:lnTo>
                  <a:lnTo>
                    <a:pt x="1636" y="754"/>
                  </a:lnTo>
                  <a:lnTo>
                    <a:pt x="1638" y="750"/>
                  </a:lnTo>
                  <a:lnTo>
                    <a:pt x="1638" y="750"/>
                  </a:lnTo>
                  <a:lnTo>
                    <a:pt x="1634" y="746"/>
                  </a:lnTo>
                  <a:lnTo>
                    <a:pt x="1634" y="746"/>
                  </a:lnTo>
                  <a:lnTo>
                    <a:pt x="1632" y="744"/>
                  </a:lnTo>
                  <a:lnTo>
                    <a:pt x="1632" y="744"/>
                  </a:lnTo>
                  <a:lnTo>
                    <a:pt x="1630" y="744"/>
                  </a:lnTo>
                  <a:lnTo>
                    <a:pt x="1630" y="744"/>
                  </a:lnTo>
                  <a:lnTo>
                    <a:pt x="1630" y="746"/>
                  </a:lnTo>
                  <a:lnTo>
                    <a:pt x="1630" y="746"/>
                  </a:lnTo>
                  <a:lnTo>
                    <a:pt x="1630" y="746"/>
                  </a:lnTo>
                  <a:lnTo>
                    <a:pt x="1630" y="746"/>
                  </a:lnTo>
                  <a:close/>
                  <a:moveTo>
                    <a:pt x="1643" y="766"/>
                  </a:moveTo>
                  <a:lnTo>
                    <a:pt x="1643" y="766"/>
                  </a:lnTo>
                  <a:lnTo>
                    <a:pt x="1641" y="766"/>
                  </a:lnTo>
                  <a:lnTo>
                    <a:pt x="1641" y="766"/>
                  </a:lnTo>
                  <a:lnTo>
                    <a:pt x="1641" y="766"/>
                  </a:lnTo>
                  <a:lnTo>
                    <a:pt x="1641" y="764"/>
                  </a:lnTo>
                  <a:lnTo>
                    <a:pt x="1641" y="764"/>
                  </a:lnTo>
                  <a:lnTo>
                    <a:pt x="1641" y="764"/>
                  </a:lnTo>
                  <a:lnTo>
                    <a:pt x="1641" y="764"/>
                  </a:lnTo>
                  <a:lnTo>
                    <a:pt x="1641" y="762"/>
                  </a:lnTo>
                  <a:lnTo>
                    <a:pt x="1638" y="762"/>
                  </a:lnTo>
                  <a:lnTo>
                    <a:pt x="1638" y="762"/>
                  </a:lnTo>
                  <a:lnTo>
                    <a:pt x="1638" y="762"/>
                  </a:lnTo>
                  <a:lnTo>
                    <a:pt x="1638" y="762"/>
                  </a:lnTo>
                  <a:lnTo>
                    <a:pt x="1638" y="762"/>
                  </a:lnTo>
                  <a:lnTo>
                    <a:pt x="1636" y="762"/>
                  </a:lnTo>
                  <a:lnTo>
                    <a:pt x="1636" y="762"/>
                  </a:lnTo>
                  <a:lnTo>
                    <a:pt x="1636" y="760"/>
                  </a:lnTo>
                  <a:lnTo>
                    <a:pt x="1636" y="760"/>
                  </a:lnTo>
                  <a:lnTo>
                    <a:pt x="1636" y="760"/>
                  </a:lnTo>
                  <a:lnTo>
                    <a:pt x="1636" y="760"/>
                  </a:lnTo>
                  <a:lnTo>
                    <a:pt x="1636" y="760"/>
                  </a:lnTo>
                  <a:lnTo>
                    <a:pt x="1634" y="758"/>
                  </a:lnTo>
                  <a:lnTo>
                    <a:pt x="1634" y="758"/>
                  </a:lnTo>
                  <a:lnTo>
                    <a:pt x="1634" y="758"/>
                  </a:lnTo>
                  <a:lnTo>
                    <a:pt x="1634" y="758"/>
                  </a:lnTo>
                  <a:lnTo>
                    <a:pt x="1632" y="758"/>
                  </a:lnTo>
                  <a:lnTo>
                    <a:pt x="1632" y="758"/>
                  </a:lnTo>
                  <a:lnTo>
                    <a:pt x="1632" y="758"/>
                  </a:lnTo>
                  <a:lnTo>
                    <a:pt x="1632" y="756"/>
                  </a:lnTo>
                  <a:lnTo>
                    <a:pt x="1632" y="756"/>
                  </a:lnTo>
                  <a:lnTo>
                    <a:pt x="1632" y="758"/>
                  </a:lnTo>
                  <a:lnTo>
                    <a:pt x="1632" y="758"/>
                  </a:lnTo>
                  <a:lnTo>
                    <a:pt x="1632" y="756"/>
                  </a:lnTo>
                  <a:lnTo>
                    <a:pt x="1630" y="754"/>
                  </a:lnTo>
                  <a:lnTo>
                    <a:pt x="1630" y="754"/>
                  </a:lnTo>
                  <a:lnTo>
                    <a:pt x="1628" y="754"/>
                  </a:lnTo>
                  <a:lnTo>
                    <a:pt x="1628" y="754"/>
                  </a:lnTo>
                  <a:lnTo>
                    <a:pt x="1628" y="754"/>
                  </a:lnTo>
                  <a:lnTo>
                    <a:pt x="1626" y="754"/>
                  </a:lnTo>
                  <a:lnTo>
                    <a:pt x="1628" y="754"/>
                  </a:lnTo>
                  <a:lnTo>
                    <a:pt x="1628" y="752"/>
                  </a:lnTo>
                  <a:lnTo>
                    <a:pt x="1628" y="752"/>
                  </a:lnTo>
                  <a:lnTo>
                    <a:pt x="1626" y="752"/>
                  </a:lnTo>
                  <a:lnTo>
                    <a:pt x="1626" y="750"/>
                  </a:lnTo>
                  <a:lnTo>
                    <a:pt x="1626" y="750"/>
                  </a:lnTo>
                  <a:lnTo>
                    <a:pt x="1628" y="752"/>
                  </a:lnTo>
                  <a:lnTo>
                    <a:pt x="1630" y="752"/>
                  </a:lnTo>
                  <a:lnTo>
                    <a:pt x="1628" y="750"/>
                  </a:lnTo>
                  <a:lnTo>
                    <a:pt x="1628" y="750"/>
                  </a:lnTo>
                  <a:lnTo>
                    <a:pt x="1628" y="750"/>
                  </a:lnTo>
                  <a:lnTo>
                    <a:pt x="1628" y="750"/>
                  </a:lnTo>
                  <a:lnTo>
                    <a:pt x="1626" y="748"/>
                  </a:lnTo>
                  <a:lnTo>
                    <a:pt x="1626" y="748"/>
                  </a:lnTo>
                  <a:lnTo>
                    <a:pt x="1624" y="748"/>
                  </a:lnTo>
                  <a:lnTo>
                    <a:pt x="1624" y="746"/>
                  </a:lnTo>
                  <a:lnTo>
                    <a:pt x="1624" y="746"/>
                  </a:lnTo>
                  <a:lnTo>
                    <a:pt x="1624" y="746"/>
                  </a:lnTo>
                  <a:lnTo>
                    <a:pt x="1622" y="746"/>
                  </a:lnTo>
                  <a:lnTo>
                    <a:pt x="1622" y="746"/>
                  </a:lnTo>
                  <a:lnTo>
                    <a:pt x="1622" y="744"/>
                  </a:lnTo>
                  <a:lnTo>
                    <a:pt x="1622" y="744"/>
                  </a:lnTo>
                  <a:lnTo>
                    <a:pt x="1622" y="744"/>
                  </a:lnTo>
                  <a:lnTo>
                    <a:pt x="1622" y="744"/>
                  </a:lnTo>
                  <a:lnTo>
                    <a:pt x="1620" y="744"/>
                  </a:lnTo>
                  <a:lnTo>
                    <a:pt x="1620" y="746"/>
                  </a:lnTo>
                  <a:lnTo>
                    <a:pt x="1620" y="746"/>
                  </a:lnTo>
                  <a:lnTo>
                    <a:pt x="1620" y="746"/>
                  </a:lnTo>
                  <a:lnTo>
                    <a:pt x="1622" y="748"/>
                  </a:lnTo>
                  <a:lnTo>
                    <a:pt x="1620" y="748"/>
                  </a:lnTo>
                  <a:lnTo>
                    <a:pt x="1620" y="748"/>
                  </a:lnTo>
                  <a:lnTo>
                    <a:pt x="1620" y="748"/>
                  </a:lnTo>
                  <a:lnTo>
                    <a:pt x="1622" y="748"/>
                  </a:lnTo>
                  <a:lnTo>
                    <a:pt x="1622" y="748"/>
                  </a:lnTo>
                  <a:lnTo>
                    <a:pt x="1622" y="750"/>
                  </a:lnTo>
                  <a:lnTo>
                    <a:pt x="1622" y="750"/>
                  </a:lnTo>
                  <a:lnTo>
                    <a:pt x="1620" y="750"/>
                  </a:lnTo>
                  <a:lnTo>
                    <a:pt x="1620" y="750"/>
                  </a:lnTo>
                  <a:lnTo>
                    <a:pt x="1622" y="750"/>
                  </a:lnTo>
                  <a:lnTo>
                    <a:pt x="1622" y="750"/>
                  </a:lnTo>
                  <a:lnTo>
                    <a:pt x="1622" y="750"/>
                  </a:lnTo>
                  <a:lnTo>
                    <a:pt x="1624" y="750"/>
                  </a:lnTo>
                  <a:lnTo>
                    <a:pt x="1624" y="752"/>
                  </a:lnTo>
                  <a:lnTo>
                    <a:pt x="1622" y="752"/>
                  </a:lnTo>
                  <a:lnTo>
                    <a:pt x="1622" y="752"/>
                  </a:lnTo>
                  <a:lnTo>
                    <a:pt x="1622" y="752"/>
                  </a:lnTo>
                  <a:lnTo>
                    <a:pt x="1622" y="754"/>
                  </a:lnTo>
                  <a:lnTo>
                    <a:pt x="1622" y="754"/>
                  </a:lnTo>
                  <a:lnTo>
                    <a:pt x="1622" y="754"/>
                  </a:lnTo>
                  <a:lnTo>
                    <a:pt x="1624" y="756"/>
                  </a:lnTo>
                  <a:lnTo>
                    <a:pt x="1626" y="756"/>
                  </a:lnTo>
                  <a:lnTo>
                    <a:pt x="1624" y="758"/>
                  </a:lnTo>
                  <a:lnTo>
                    <a:pt x="1626" y="758"/>
                  </a:lnTo>
                  <a:lnTo>
                    <a:pt x="1626" y="758"/>
                  </a:lnTo>
                  <a:lnTo>
                    <a:pt x="1626" y="758"/>
                  </a:lnTo>
                  <a:lnTo>
                    <a:pt x="1626" y="758"/>
                  </a:lnTo>
                  <a:lnTo>
                    <a:pt x="1626" y="760"/>
                  </a:lnTo>
                  <a:lnTo>
                    <a:pt x="1626" y="760"/>
                  </a:lnTo>
                  <a:lnTo>
                    <a:pt x="1626" y="758"/>
                  </a:lnTo>
                  <a:lnTo>
                    <a:pt x="1628" y="758"/>
                  </a:lnTo>
                  <a:lnTo>
                    <a:pt x="1628" y="758"/>
                  </a:lnTo>
                  <a:lnTo>
                    <a:pt x="1628" y="758"/>
                  </a:lnTo>
                  <a:lnTo>
                    <a:pt x="1628" y="758"/>
                  </a:lnTo>
                  <a:lnTo>
                    <a:pt x="1628" y="760"/>
                  </a:lnTo>
                  <a:lnTo>
                    <a:pt x="1628" y="760"/>
                  </a:lnTo>
                  <a:lnTo>
                    <a:pt x="1628" y="760"/>
                  </a:lnTo>
                  <a:lnTo>
                    <a:pt x="1628" y="760"/>
                  </a:lnTo>
                  <a:lnTo>
                    <a:pt x="1628" y="760"/>
                  </a:lnTo>
                  <a:lnTo>
                    <a:pt x="1630" y="760"/>
                  </a:lnTo>
                  <a:lnTo>
                    <a:pt x="1630" y="760"/>
                  </a:lnTo>
                  <a:lnTo>
                    <a:pt x="1630" y="760"/>
                  </a:lnTo>
                  <a:lnTo>
                    <a:pt x="1630" y="762"/>
                  </a:lnTo>
                  <a:lnTo>
                    <a:pt x="1630" y="762"/>
                  </a:lnTo>
                  <a:lnTo>
                    <a:pt x="1630" y="762"/>
                  </a:lnTo>
                  <a:lnTo>
                    <a:pt x="1632" y="762"/>
                  </a:lnTo>
                  <a:lnTo>
                    <a:pt x="1632" y="764"/>
                  </a:lnTo>
                  <a:lnTo>
                    <a:pt x="1634" y="762"/>
                  </a:lnTo>
                  <a:lnTo>
                    <a:pt x="1634" y="762"/>
                  </a:lnTo>
                  <a:lnTo>
                    <a:pt x="1634" y="762"/>
                  </a:lnTo>
                  <a:lnTo>
                    <a:pt x="1634" y="762"/>
                  </a:lnTo>
                  <a:lnTo>
                    <a:pt x="1634" y="764"/>
                  </a:lnTo>
                  <a:lnTo>
                    <a:pt x="1634" y="764"/>
                  </a:lnTo>
                  <a:lnTo>
                    <a:pt x="1634" y="764"/>
                  </a:lnTo>
                  <a:lnTo>
                    <a:pt x="1634" y="764"/>
                  </a:lnTo>
                  <a:lnTo>
                    <a:pt x="1638" y="766"/>
                  </a:lnTo>
                  <a:lnTo>
                    <a:pt x="1638" y="766"/>
                  </a:lnTo>
                  <a:lnTo>
                    <a:pt x="1636" y="766"/>
                  </a:lnTo>
                  <a:lnTo>
                    <a:pt x="1636" y="766"/>
                  </a:lnTo>
                  <a:lnTo>
                    <a:pt x="1638" y="768"/>
                  </a:lnTo>
                  <a:lnTo>
                    <a:pt x="1638" y="768"/>
                  </a:lnTo>
                  <a:lnTo>
                    <a:pt x="1638" y="768"/>
                  </a:lnTo>
                  <a:lnTo>
                    <a:pt x="1641" y="768"/>
                  </a:lnTo>
                  <a:lnTo>
                    <a:pt x="1641" y="768"/>
                  </a:lnTo>
                  <a:lnTo>
                    <a:pt x="1641" y="768"/>
                  </a:lnTo>
                  <a:lnTo>
                    <a:pt x="1643" y="768"/>
                  </a:lnTo>
                  <a:lnTo>
                    <a:pt x="1643" y="768"/>
                  </a:lnTo>
                  <a:lnTo>
                    <a:pt x="1645" y="768"/>
                  </a:lnTo>
                  <a:lnTo>
                    <a:pt x="1643" y="766"/>
                  </a:lnTo>
                  <a:lnTo>
                    <a:pt x="1643" y="766"/>
                  </a:lnTo>
                  <a:close/>
                  <a:moveTo>
                    <a:pt x="1612" y="736"/>
                  </a:moveTo>
                  <a:lnTo>
                    <a:pt x="1612" y="736"/>
                  </a:lnTo>
                  <a:lnTo>
                    <a:pt x="1614" y="734"/>
                  </a:lnTo>
                  <a:lnTo>
                    <a:pt x="1614" y="734"/>
                  </a:lnTo>
                  <a:lnTo>
                    <a:pt x="1614" y="734"/>
                  </a:lnTo>
                  <a:lnTo>
                    <a:pt x="1614" y="734"/>
                  </a:lnTo>
                  <a:lnTo>
                    <a:pt x="1614" y="732"/>
                  </a:lnTo>
                  <a:lnTo>
                    <a:pt x="1614" y="732"/>
                  </a:lnTo>
                  <a:lnTo>
                    <a:pt x="1612" y="732"/>
                  </a:lnTo>
                  <a:lnTo>
                    <a:pt x="1612" y="732"/>
                  </a:lnTo>
                  <a:lnTo>
                    <a:pt x="1612" y="732"/>
                  </a:lnTo>
                  <a:lnTo>
                    <a:pt x="1610" y="732"/>
                  </a:lnTo>
                  <a:lnTo>
                    <a:pt x="1608" y="732"/>
                  </a:lnTo>
                  <a:lnTo>
                    <a:pt x="1608" y="732"/>
                  </a:lnTo>
                  <a:lnTo>
                    <a:pt x="1608" y="734"/>
                  </a:lnTo>
                  <a:lnTo>
                    <a:pt x="1610" y="734"/>
                  </a:lnTo>
                  <a:lnTo>
                    <a:pt x="1610" y="734"/>
                  </a:lnTo>
                  <a:lnTo>
                    <a:pt x="1612" y="736"/>
                  </a:lnTo>
                  <a:lnTo>
                    <a:pt x="1612" y="736"/>
                  </a:lnTo>
                  <a:lnTo>
                    <a:pt x="1612" y="736"/>
                  </a:lnTo>
                  <a:close/>
                  <a:moveTo>
                    <a:pt x="1618" y="744"/>
                  </a:moveTo>
                  <a:lnTo>
                    <a:pt x="1618" y="744"/>
                  </a:lnTo>
                  <a:lnTo>
                    <a:pt x="1618" y="744"/>
                  </a:lnTo>
                  <a:lnTo>
                    <a:pt x="1616" y="744"/>
                  </a:lnTo>
                  <a:lnTo>
                    <a:pt x="1616" y="746"/>
                  </a:lnTo>
                  <a:lnTo>
                    <a:pt x="1616" y="744"/>
                  </a:lnTo>
                  <a:lnTo>
                    <a:pt x="1616" y="744"/>
                  </a:lnTo>
                  <a:lnTo>
                    <a:pt x="1616" y="742"/>
                  </a:lnTo>
                  <a:lnTo>
                    <a:pt x="1616" y="742"/>
                  </a:lnTo>
                  <a:lnTo>
                    <a:pt x="1614" y="742"/>
                  </a:lnTo>
                  <a:lnTo>
                    <a:pt x="1614" y="742"/>
                  </a:lnTo>
                  <a:lnTo>
                    <a:pt x="1614" y="742"/>
                  </a:lnTo>
                  <a:lnTo>
                    <a:pt x="1614" y="742"/>
                  </a:lnTo>
                  <a:lnTo>
                    <a:pt x="1614" y="744"/>
                  </a:lnTo>
                  <a:lnTo>
                    <a:pt x="1614" y="744"/>
                  </a:lnTo>
                  <a:lnTo>
                    <a:pt x="1612" y="744"/>
                  </a:lnTo>
                  <a:lnTo>
                    <a:pt x="1612" y="744"/>
                  </a:lnTo>
                  <a:lnTo>
                    <a:pt x="1612" y="744"/>
                  </a:lnTo>
                  <a:lnTo>
                    <a:pt x="1612" y="746"/>
                  </a:lnTo>
                  <a:lnTo>
                    <a:pt x="1614" y="746"/>
                  </a:lnTo>
                  <a:lnTo>
                    <a:pt x="1614" y="746"/>
                  </a:lnTo>
                  <a:lnTo>
                    <a:pt x="1614" y="746"/>
                  </a:lnTo>
                  <a:lnTo>
                    <a:pt x="1612" y="746"/>
                  </a:lnTo>
                  <a:lnTo>
                    <a:pt x="1612" y="746"/>
                  </a:lnTo>
                  <a:lnTo>
                    <a:pt x="1612" y="748"/>
                  </a:lnTo>
                  <a:lnTo>
                    <a:pt x="1614" y="748"/>
                  </a:lnTo>
                  <a:lnTo>
                    <a:pt x="1614" y="748"/>
                  </a:lnTo>
                  <a:lnTo>
                    <a:pt x="1614" y="750"/>
                  </a:lnTo>
                  <a:lnTo>
                    <a:pt x="1614" y="750"/>
                  </a:lnTo>
                  <a:lnTo>
                    <a:pt x="1614" y="748"/>
                  </a:lnTo>
                  <a:lnTo>
                    <a:pt x="1614" y="748"/>
                  </a:lnTo>
                  <a:lnTo>
                    <a:pt x="1614" y="748"/>
                  </a:lnTo>
                  <a:lnTo>
                    <a:pt x="1614" y="748"/>
                  </a:lnTo>
                  <a:lnTo>
                    <a:pt x="1616" y="748"/>
                  </a:lnTo>
                  <a:lnTo>
                    <a:pt x="1616" y="748"/>
                  </a:lnTo>
                  <a:lnTo>
                    <a:pt x="1616" y="748"/>
                  </a:lnTo>
                  <a:lnTo>
                    <a:pt x="1616" y="748"/>
                  </a:lnTo>
                  <a:lnTo>
                    <a:pt x="1616" y="748"/>
                  </a:lnTo>
                  <a:lnTo>
                    <a:pt x="1618" y="748"/>
                  </a:lnTo>
                  <a:lnTo>
                    <a:pt x="1618" y="748"/>
                  </a:lnTo>
                  <a:lnTo>
                    <a:pt x="1618" y="748"/>
                  </a:lnTo>
                  <a:lnTo>
                    <a:pt x="1618" y="746"/>
                  </a:lnTo>
                  <a:lnTo>
                    <a:pt x="1618" y="746"/>
                  </a:lnTo>
                  <a:lnTo>
                    <a:pt x="1618" y="746"/>
                  </a:lnTo>
                  <a:lnTo>
                    <a:pt x="1618" y="744"/>
                  </a:lnTo>
                  <a:lnTo>
                    <a:pt x="1618" y="744"/>
                  </a:lnTo>
                  <a:close/>
                  <a:moveTo>
                    <a:pt x="1106" y="531"/>
                  </a:moveTo>
                  <a:lnTo>
                    <a:pt x="1108" y="531"/>
                  </a:lnTo>
                  <a:lnTo>
                    <a:pt x="1108" y="529"/>
                  </a:lnTo>
                  <a:lnTo>
                    <a:pt x="1108" y="529"/>
                  </a:lnTo>
                  <a:lnTo>
                    <a:pt x="1108" y="529"/>
                  </a:lnTo>
                  <a:lnTo>
                    <a:pt x="1106" y="529"/>
                  </a:lnTo>
                  <a:lnTo>
                    <a:pt x="1106" y="529"/>
                  </a:lnTo>
                  <a:lnTo>
                    <a:pt x="1106" y="531"/>
                  </a:lnTo>
                  <a:lnTo>
                    <a:pt x="1106" y="531"/>
                  </a:lnTo>
                  <a:lnTo>
                    <a:pt x="1106" y="531"/>
                  </a:lnTo>
                  <a:lnTo>
                    <a:pt x="1106" y="531"/>
                  </a:lnTo>
                  <a:lnTo>
                    <a:pt x="1106" y="531"/>
                  </a:lnTo>
                  <a:close/>
                  <a:moveTo>
                    <a:pt x="780" y="236"/>
                  </a:moveTo>
                  <a:lnTo>
                    <a:pt x="780" y="236"/>
                  </a:lnTo>
                  <a:lnTo>
                    <a:pt x="782" y="236"/>
                  </a:lnTo>
                  <a:lnTo>
                    <a:pt x="782" y="236"/>
                  </a:lnTo>
                  <a:lnTo>
                    <a:pt x="786" y="236"/>
                  </a:lnTo>
                  <a:lnTo>
                    <a:pt x="786" y="236"/>
                  </a:lnTo>
                  <a:lnTo>
                    <a:pt x="786" y="236"/>
                  </a:lnTo>
                  <a:lnTo>
                    <a:pt x="786" y="236"/>
                  </a:lnTo>
                  <a:lnTo>
                    <a:pt x="786" y="236"/>
                  </a:lnTo>
                  <a:lnTo>
                    <a:pt x="786" y="236"/>
                  </a:lnTo>
                  <a:lnTo>
                    <a:pt x="789" y="234"/>
                  </a:lnTo>
                  <a:lnTo>
                    <a:pt x="789" y="234"/>
                  </a:lnTo>
                  <a:lnTo>
                    <a:pt x="789" y="234"/>
                  </a:lnTo>
                  <a:lnTo>
                    <a:pt x="789" y="234"/>
                  </a:lnTo>
                  <a:lnTo>
                    <a:pt x="789" y="234"/>
                  </a:lnTo>
                  <a:lnTo>
                    <a:pt x="789" y="234"/>
                  </a:lnTo>
                  <a:lnTo>
                    <a:pt x="789" y="234"/>
                  </a:lnTo>
                  <a:lnTo>
                    <a:pt x="791" y="234"/>
                  </a:lnTo>
                  <a:lnTo>
                    <a:pt x="791" y="234"/>
                  </a:lnTo>
                  <a:lnTo>
                    <a:pt x="789" y="234"/>
                  </a:lnTo>
                  <a:lnTo>
                    <a:pt x="776" y="238"/>
                  </a:lnTo>
                  <a:lnTo>
                    <a:pt x="778" y="238"/>
                  </a:lnTo>
                  <a:lnTo>
                    <a:pt x="780" y="236"/>
                  </a:lnTo>
                  <a:close/>
                  <a:moveTo>
                    <a:pt x="776" y="238"/>
                  </a:moveTo>
                  <a:lnTo>
                    <a:pt x="776" y="238"/>
                  </a:lnTo>
                  <a:lnTo>
                    <a:pt x="776" y="238"/>
                  </a:lnTo>
                  <a:lnTo>
                    <a:pt x="776" y="238"/>
                  </a:lnTo>
                  <a:close/>
                  <a:moveTo>
                    <a:pt x="776" y="238"/>
                  </a:moveTo>
                  <a:lnTo>
                    <a:pt x="776" y="238"/>
                  </a:lnTo>
                  <a:lnTo>
                    <a:pt x="774" y="238"/>
                  </a:lnTo>
                  <a:lnTo>
                    <a:pt x="776" y="238"/>
                  </a:lnTo>
                  <a:lnTo>
                    <a:pt x="776" y="238"/>
                  </a:lnTo>
                  <a:close/>
                  <a:moveTo>
                    <a:pt x="774" y="238"/>
                  </a:moveTo>
                  <a:lnTo>
                    <a:pt x="774" y="238"/>
                  </a:lnTo>
                  <a:lnTo>
                    <a:pt x="774" y="238"/>
                  </a:lnTo>
                  <a:lnTo>
                    <a:pt x="774" y="238"/>
                  </a:lnTo>
                  <a:lnTo>
                    <a:pt x="774" y="238"/>
                  </a:lnTo>
                  <a:close/>
                  <a:moveTo>
                    <a:pt x="770" y="240"/>
                  </a:moveTo>
                  <a:lnTo>
                    <a:pt x="770" y="240"/>
                  </a:lnTo>
                  <a:lnTo>
                    <a:pt x="770" y="240"/>
                  </a:lnTo>
                  <a:lnTo>
                    <a:pt x="770" y="240"/>
                  </a:lnTo>
                  <a:lnTo>
                    <a:pt x="772" y="238"/>
                  </a:lnTo>
                  <a:lnTo>
                    <a:pt x="772" y="238"/>
                  </a:lnTo>
                  <a:lnTo>
                    <a:pt x="774" y="238"/>
                  </a:lnTo>
                  <a:lnTo>
                    <a:pt x="768" y="240"/>
                  </a:lnTo>
                  <a:lnTo>
                    <a:pt x="768" y="240"/>
                  </a:lnTo>
                  <a:lnTo>
                    <a:pt x="768" y="240"/>
                  </a:lnTo>
                  <a:lnTo>
                    <a:pt x="768" y="240"/>
                  </a:lnTo>
                  <a:lnTo>
                    <a:pt x="770" y="240"/>
                  </a:lnTo>
                  <a:close/>
                  <a:moveTo>
                    <a:pt x="758" y="246"/>
                  </a:moveTo>
                  <a:lnTo>
                    <a:pt x="760" y="244"/>
                  </a:lnTo>
                  <a:lnTo>
                    <a:pt x="760" y="244"/>
                  </a:lnTo>
                  <a:lnTo>
                    <a:pt x="760" y="244"/>
                  </a:lnTo>
                  <a:lnTo>
                    <a:pt x="760" y="244"/>
                  </a:lnTo>
                  <a:lnTo>
                    <a:pt x="760" y="244"/>
                  </a:lnTo>
                  <a:lnTo>
                    <a:pt x="758" y="244"/>
                  </a:lnTo>
                  <a:lnTo>
                    <a:pt x="758" y="244"/>
                  </a:lnTo>
                  <a:lnTo>
                    <a:pt x="758" y="246"/>
                  </a:lnTo>
                  <a:lnTo>
                    <a:pt x="758" y="246"/>
                  </a:lnTo>
                  <a:lnTo>
                    <a:pt x="758" y="246"/>
                  </a:lnTo>
                  <a:close/>
                  <a:moveTo>
                    <a:pt x="762" y="244"/>
                  </a:moveTo>
                  <a:lnTo>
                    <a:pt x="764" y="242"/>
                  </a:lnTo>
                  <a:lnTo>
                    <a:pt x="764" y="242"/>
                  </a:lnTo>
                  <a:lnTo>
                    <a:pt x="766" y="242"/>
                  </a:lnTo>
                  <a:lnTo>
                    <a:pt x="766" y="242"/>
                  </a:lnTo>
                  <a:lnTo>
                    <a:pt x="764" y="242"/>
                  </a:lnTo>
                  <a:lnTo>
                    <a:pt x="762" y="242"/>
                  </a:lnTo>
                  <a:lnTo>
                    <a:pt x="762" y="242"/>
                  </a:lnTo>
                  <a:lnTo>
                    <a:pt x="762" y="244"/>
                  </a:lnTo>
                  <a:lnTo>
                    <a:pt x="762" y="244"/>
                  </a:lnTo>
                  <a:lnTo>
                    <a:pt x="762" y="244"/>
                  </a:lnTo>
                  <a:lnTo>
                    <a:pt x="762" y="244"/>
                  </a:lnTo>
                  <a:close/>
                  <a:moveTo>
                    <a:pt x="844" y="84"/>
                  </a:moveTo>
                  <a:lnTo>
                    <a:pt x="844" y="82"/>
                  </a:lnTo>
                  <a:lnTo>
                    <a:pt x="844" y="80"/>
                  </a:lnTo>
                  <a:lnTo>
                    <a:pt x="844" y="78"/>
                  </a:lnTo>
                  <a:lnTo>
                    <a:pt x="846" y="78"/>
                  </a:lnTo>
                  <a:lnTo>
                    <a:pt x="846" y="78"/>
                  </a:lnTo>
                  <a:lnTo>
                    <a:pt x="844" y="78"/>
                  </a:lnTo>
                  <a:lnTo>
                    <a:pt x="844" y="80"/>
                  </a:lnTo>
                  <a:lnTo>
                    <a:pt x="844" y="82"/>
                  </a:lnTo>
                  <a:lnTo>
                    <a:pt x="844" y="84"/>
                  </a:lnTo>
                  <a:lnTo>
                    <a:pt x="844" y="86"/>
                  </a:lnTo>
                  <a:lnTo>
                    <a:pt x="844" y="86"/>
                  </a:lnTo>
                  <a:lnTo>
                    <a:pt x="844" y="88"/>
                  </a:lnTo>
                  <a:lnTo>
                    <a:pt x="844" y="84"/>
                  </a:lnTo>
                  <a:lnTo>
                    <a:pt x="844" y="84"/>
                  </a:lnTo>
                  <a:close/>
                  <a:moveTo>
                    <a:pt x="846" y="646"/>
                  </a:moveTo>
                  <a:lnTo>
                    <a:pt x="846" y="648"/>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close/>
                  <a:moveTo>
                    <a:pt x="1235" y="64"/>
                  </a:moveTo>
                  <a:lnTo>
                    <a:pt x="1235" y="64"/>
                  </a:lnTo>
                  <a:lnTo>
                    <a:pt x="1235" y="64"/>
                  </a:lnTo>
                  <a:lnTo>
                    <a:pt x="1237" y="64"/>
                  </a:lnTo>
                  <a:lnTo>
                    <a:pt x="1239" y="64"/>
                  </a:lnTo>
                  <a:lnTo>
                    <a:pt x="1241" y="66"/>
                  </a:lnTo>
                  <a:lnTo>
                    <a:pt x="1241" y="68"/>
                  </a:lnTo>
                  <a:lnTo>
                    <a:pt x="1243" y="68"/>
                  </a:lnTo>
                  <a:lnTo>
                    <a:pt x="1243" y="68"/>
                  </a:lnTo>
                  <a:lnTo>
                    <a:pt x="1241" y="66"/>
                  </a:lnTo>
                  <a:lnTo>
                    <a:pt x="1241" y="66"/>
                  </a:lnTo>
                  <a:lnTo>
                    <a:pt x="1239" y="64"/>
                  </a:lnTo>
                  <a:lnTo>
                    <a:pt x="1233" y="61"/>
                  </a:lnTo>
                  <a:lnTo>
                    <a:pt x="1233" y="61"/>
                  </a:lnTo>
                  <a:lnTo>
                    <a:pt x="1233" y="64"/>
                  </a:lnTo>
                  <a:lnTo>
                    <a:pt x="1235" y="64"/>
                  </a:lnTo>
                  <a:close/>
                  <a:moveTo>
                    <a:pt x="873" y="47"/>
                  </a:moveTo>
                  <a:lnTo>
                    <a:pt x="879" y="49"/>
                  </a:lnTo>
                  <a:lnTo>
                    <a:pt x="873" y="47"/>
                  </a:lnTo>
                  <a:lnTo>
                    <a:pt x="870" y="47"/>
                  </a:lnTo>
                  <a:lnTo>
                    <a:pt x="870" y="49"/>
                  </a:lnTo>
                  <a:lnTo>
                    <a:pt x="870" y="49"/>
                  </a:lnTo>
                  <a:lnTo>
                    <a:pt x="870" y="47"/>
                  </a:lnTo>
                  <a:lnTo>
                    <a:pt x="873" y="47"/>
                  </a:lnTo>
                  <a:close/>
                  <a:moveTo>
                    <a:pt x="856" y="64"/>
                  </a:moveTo>
                  <a:lnTo>
                    <a:pt x="856" y="61"/>
                  </a:lnTo>
                  <a:lnTo>
                    <a:pt x="858" y="59"/>
                  </a:lnTo>
                  <a:lnTo>
                    <a:pt x="858" y="59"/>
                  </a:lnTo>
                  <a:lnTo>
                    <a:pt x="858" y="59"/>
                  </a:lnTo>
                  <a:lnTo>
                    <a:pt x="858" y="59"/>
                  </a:lnTo>
                  <a:lnTo>
                    <a:pt x="856" y="59"/>
                  </a:lnTo>
                  <a:lnTo>
                    <a:pt x="856" y="61"/>
                  </a:lnTo>
                  <a:lnTo>
                    <a:pt x="856" y="61"/>
                  </a:lnTo>
                  <a:lnTo>
                    <a:pt x="854" y="64"/>
                  </a:lnTo>
                  <a:lnTo>
                    <a:pt x="852" y="66"/>
                  </a:lnTo>
                  <a:lnTo>
                    <a:pt x="854" y="64"/>
                  </a:lnTo>
                  <a:lnTo>
                    <a:pt x="856" y="64"/>
                  </a:lnTo>
                  <a:close/>
                  <a:moveTo>
                    <a:pt x="860" y="57"/>
                  </a:moveTo>
                  <a:lnTo>
                    <a:pt x="860" y="55"/>
                  </a:lnTo>
                  <a:lnTo>
                    <a:pt x="862" y="53"/>
                  </a:lnTo>
                  <a:lnTo>
                    <a:pt x="866" y="51"/>
                  </a:lnTo>
                  <a:lnTo>
                    <a:pt x="864" y="51"/>
                  </a:lnTo>
                  <a:lnTo>
                    <a:pt x="860" y="55"/>
                  </a:lnTo>
                  <a:lnTo>
                    <a:pt x="860" y="55"/>
                  </a:lnTo>
                  <a:lnTo>
                    <a:pt x="858" y="57"/>
                  </a:lnTo>
                  <a:lnTo>
                    <a:pt x="858" y="57"/>
                  </a:lnTo>
                  <a:lnTo>
                    <a:pt x="860" y="57"/>
                  </a:lnTo>
                  <a:close/>
                  <a:moveTo>
                    <a:pt x="848" y="72"/>
                  </a:moveTo>
                  <a:lnTo>
                    <a:pt x="848" y="72"/>
                  </a:lnTo>
                  <a:lnTo>
                    <a:pt x="852" y="68"/>
                  </a:lnTo>
                  <a:lnTo>
                    <a:pt x="852" y="66"/>
                  </a:lnTo>
                  <a:lnTo>
                    <a:pt x="848" y="70"/>
                  </a:lnTo>
                  <a:lnTo>
                    <a:pt x="848" y="72"/>
                  </a:lnTo>
                  <a:lnTo>
                    <a:pt x="848" y="72"/>
                  </a:lnTo>
                  <a:lnTo>
                    <a:pt x="846" y="78"/>
                  </a:lnTo>
                  <a:lnTo>
                    <a:pt x="846" y="76"/>
                  </a:lnTo>
                  <a:lnTo>
                    <a:pt x="848" y="72"/>
                  </a:lnTo>
                  <a:close/>
                  <a:moveTo>
                    <a:pt x="746" y="250"/>
                  </a:moveTo>
                  <a:lnTo>
                    <a:pt x="748" y="250"/>
                  </a:lnTo>
                  <a:lnTo>
                    <a:pt x="750" y="248"/>
                  </a:lnTo>
                  <a:lnTo>
                    <a:pt x="750" y="248"/>
                  </a:lnTo>
                  <a:lnTo>
                    <a:pt x="750" y="248"/>
                  </a:lnTo>
                  <a:lnTo>
                    <a:pt x="750" y="248"/>
                  </a:lnTo>
                  <a:lnTo>
                    <a:pt x="752" y="248"/>
                  </a:lnTo>
                  <a:lnTo>
                    <a:pt x="754" y="246"/>
                  </a:lnTo>
                  <a:lnTo>
                    <a:pt x="756" y="246"/>
                  </a:lnTo>
                  <a:lnTo>
                    <a:pt x="756" y="246"/>
                  </a:lnTo>
                  <a:lnTo>
                    <a:pt x="756" y="246"/>
                  </a:lnTo>
                  <a:lnTo>
                    <a:pt x="758" y="246"/>
                  </a:lnTo>
                  <a:lnTo>
                    <a:pt x="756" y="246"/>
                  </a:lnTo>
                  <a:lnTo>
                    <a:pt x="754" y="246"/>
                  </a:lnTo>
                  <a:lnTo>
                    <a:pt x="743" y="250"/>
                  </a:lnTo>
                  <a:lnTo>
                    <a:pt x="743" y="250"/>
                  </a:lnTo>
                  <a:lnTo>
                    <a:pt x="743" y="252"/>
                  </a:lnTo>
                  <a:lnTo>
                    <a:pt x="743" y="250"/>
                  </a:lnTo>
                  <a:lnTo>
                    <a:pt x="746" y="250"/>
                  </a:lnTo>
                  <a:close/>
                  <a:moveTo>
                    <a:pt x="1098" y="43"/>
                  </a:moveTo>
                  <a:lnTo>
                    <a:pt x="1100" y="45"/>
                  </a:lnTo>
                  <a:lnTo>
                    <a:pt x="1102" y="45"/>
                  </a:lnTo>
                  <a:lnTo>
                    <a:pt x="1102" y="45"/>
                  </a:lnTo>
                  <a:lnTo>
                    <a:pt x="1102" y="45"/>
                  </a:lnTo>
                  <a:lnTo>
                    <a:pt x="1104" y="45"/>
                  </a:lnTo>
                  <a:lnTo>
                    <a:pt x="1104" y="45"/>
                  </a:lnTo>
                  <a:lnTo>
                    <a:pt x="1102" y="45"/>
                  </a:lnTo>
                  <a:lnTo>
                    <a:pt x="1102" y="45"/>
                  </a:lnTo>
                  <a:lnTo>
                    <a:pt x="1102" y="45"/>
                  </a:lnTo>
                  <a:lnTo>
                    <a:pt x="1102" y="45"/>
                  </a:lnTo>
                  <a:lnTo>
                    <a:pt x="1102" y="45"/>
                  </a:lnTo>
                  <a:lnTo>
                    <a:pt x="1096" y="43"/>
                  </a:lnTo>
                  <a:lnTo>
                    <a:pt x="1096" y="43"/>
                  </a:lnTo>
                  <a:lnTo>
                    <a:pt x="1096" y="43"/>
                  </a:lnTo>
                  <a:lnTo>
                    <a:pt x="1096" y="43"/>
                  </a:lnTo>
                  <a:lnTo>
                    <a:pt x="1096" y="43"/>
                  </a:lnTo>
                  <a:lnTo>
                    <a:pt x="1098" y="43"/>
                  </a:lnTo>
                  <a:close/>
                  <a:moveTo>
                    <a:pt x="723" y="459"/>
                  </a:moveTo>
                  <a:lnTo>
                    <a:pt x="723" y="459"/>
                  </a:lnTo>
                  <a:lnTo>
                    <a:pt x="723" y="459"/>
                  </a:lnTo>
                  <a:lnTo>
                    <a:pt x="723" y="459"/>
                  </a:lnTo>
                  <a:lnTo>
                    <a:pt x="721" y="461"/>
                  </a:lnTo>
                  <a:lnTo>
                    <a:pt x="721" y="461"/>
                  </a:lnTo>
                  <a:lnTo>
                    <a:pt x="721" y="461"/>
                  </a:lnTo>
                  <a:lnTo>
                    <a:pt x="721" y="461"/>
                  </a:lnTo>
                  <a:lnTo>
                    <a:pt x="723" y="461"/>
                  </a:lnTo>
                  <a:lnTo>
                    <a:pt x="723" y="461"/>
                  </a:lnTo>
                  <a:lnTo>
                    <a:pt x="723" y="461"/>
                  </a:lnTo>
                  <a:lnTo>
                    <a:pt x="723" y="461"/>
                  </a:lnTo>
                  <a:lnTo>
                    <a:pt x="723" y="461"/>
                  </a:lnTo>
                  <a:lnTo>
                    <a:pt x="723" y="461"/>
                  </a:lnTo>
                  <a:lnTo>
                    <a:pt x="723" y="461"/>
                  </a:lnTo>
                  <a:lnTo>
                    <a:pt x="723" y="461"/>
                  </a:lnTo>
                  <a:lnTo>
                    <a:pt x="723" y="461"/>
                  </a:lnTo>
                  <a:lnTo>
                    <a:pt x="723" y="461"/>
                  </a:lnTo>
                  <a:lnTo>
                    <a:pt x="723" y="461"/>
                  </a:lnTo>
                  <a:lnTo>
                    <a:pt x="723" y="459"/>
                  </a:lnTo>
                  <a:lnTo>
                    <a:pt x="723" y="459"/>
                  </a:lnTo>
                  <a:lnTo>
                    <a:pt x="723" y="459"/>
                  </a:lnTo>
                  <a:close/>
                  <a:moveTo>
                    <a:pt x="721" y="467"/>
                  </a:moveTo>
                  <a:lnTo>
                    <a:pt x="721" y="467"/>
                  </a:lnTo>
                  <a:lnTo>
                    <a:pt x="721" y="469"/>
                  </a:lnTo>
                  <a:lnTo>
                    <a:pt x="721" y="469"/>
                  </a:lnTo>
                  <a:lnTo>
                    <a:pt x="721" y="469"/>
                  </a:lnTo>
                  <a:lnTo>
                    <a:pt x="721" y="467"/>
                  </a:lnTo>
                  <a:lnTo>
                    <a:pt x="721" y="465"/>
                  </a:lnTo>
                  <a:lnTo>
                    <a:pt x="721" y="463"/>
                  </a:lnTo>
                  <a:lnTo>
                    <a:pt x="723" y="463"/>
                  </a:lnTo>
                  <a:lnTo>
                    <a:pt x="721" y="463"/>
                  </a:lnTo>
                  <a:lnTo>
                    <a:pt x="721" y="465"/>
                  </a:lnTo>
                  <a:lnTo>
                    <a:pt x="721" y="467"/>
                  </a:lnTo>
                  <a:close/>
                  <a:moveTo>
                    <a:pt x="750" y="434"/>
                  </a:moveTo>
                  <a:lnTo>
                    <a:pt x="750" y="434"/>
                  </a:lnTo>
                  <a:lnTo>
                    <a:pt x="750" y="434"/>
                  </a:lnTo>
                  <a:lnTo>
                    <a:pt x="752" y="434"/>
                  </a:lnTo>
                  <a:lnTo>
                    <a:pt x="750" y="434"/>
                  </a:lnTo>
                  <a:close/>
                  <a:moveTo>
                    <a:pt x="858" y="760"/>
                  </a:moveTo>
                  <a:lnTo>
                    <a:pt x="858" y="760"/>
                  </a:lnTo>
                  <a:lnTo>
                    <a:pt x="858" y="760"/>
                  </a:lnTo>
                  <a:lnTo>
                    <a:pt x="858" y="760"/>
                  </a:lnTo>
                  <a:lnTo>
                    <a:pt x="858" y="760"/>
                  </a:lnTo>
                  <a:lnTo>
                    <a:pt x="858" y="760"/>
                  </a:lnTo>
                  <a:lnTo>
                    <a:pt x="858" y="760"/>
                  </a:lnTo>
                  <a:close/>
                  <a:moveTo>
                    <a:pt x="852" y="660"/>
                  </a:moveTo>
                  <a:lnTo>
                    <a:pt x="852" y="660"/>
                  </a:lnTo>
                  <a:lnTo>
                    <a:pt x="852" y="658"/>
                  </a:lnTo>
                  <a:lnTo>
                    <a:pt x="850" y="658"/>
                  </a:lnTo>
                  <a:lnTo>
                    <a:pt x="850" y="658"/>
                  </a:lnTo>
                  <a:lnTo>
                    <a:pt x="850" y="658"/>
                  </a:lnTo>
                  <a:lnTo>
                    <a:pt x="850" y="658"/>
                  </a:lnTo>
                  <a:lnTo>
                    <a:pt x="850" y="658"/>
                  </a:lnTo>
                  <a:lnTo>
                    <a:pt x="850" y="660"/>
                  </a:lnTo>
                  <a:lnTo>
                    <a:pt x="852" y="660"/>
                  </a:lnTo>
                  <a:close/>
                  <a:moveTo>
                    <a:pt x="860" y="758"/>
                  </a:moveTo>
                  <a:lnTo>
                    <a:pt x="860" y="758"/>
                  </a:lnTo>
                  <a:lnTo>
                    <a:pt x="860" y="758"/>
                  </a:lnTo>
                  <a:lnTo>
                    <a:pt x="860" y="758"/>
                  </a:lnTo>
                  <a:lnTo>
                    <a:pt x="860" y="758"/>
                  </a:lnTo>
                  <a:lnTo>
                    <a:pt x="860" y="760"/>
                  </a:lnTo>
                  <a:lnTo>
                    <a:pt x="860" y="760"/>
                  </a:lnTo>
                  <a:lnTo>
                    <a:pt x="860" y="760"/>
                  </a:lnTo>
                  <a:lnTo>
                    <a:pt x="860" y="758"/>
                  </a:lnTo>
                  <a:close/>
                  <a:moveTo>
                    <a:pt x="754" y="434"/>
                  </a:moveTo>
                  <a:lnTo>
                    <a:pt x="754" y="434"/>
                  </a:lnTo>
                  <a:lnTo>
                    <a:pt x="752" y="434"/>
                  </a:lnTo>
                  <a:lnTo>
                    <a:pt x="752" y="434"/>
                  </a:lnTo>
                  <a:lnTo>
                    <a:pt x="752" y="434"/>
                  </a:lnTo>
                  <a:lnTo>
                    <a:pt x="752" y="434"/>
                  </a:lnTo>
                  <a:lnTo>
                    <a:pt x="752" y="434"/>
                  </a:lnTo>
                  <a:lnTo>
                    <a:pt x="752" y="434"/>
                  </a:lnTo>
                  <a:lnTo>
                    <a:pt x="754" y="437"/>
                  </a:lnTo>
                  <a:lnTo>
                    <a:pt x="754" y="437"/>
                  </a:lnTo>
                  <a:lnTo>
                    <a:pt x="754" y="434"/>
                  </a:lnTo>
                  <a:lnTo>
                    <a:pt x="754" y="434"/>
                  </a:lnTo>
                  <a:lnTo>
                    <a:pt x="754" y="434"/>
                  </a:lnTo>
                  <a:close/>
                  <a:moveTo>
                    <a:pt x="754" y="434"/>
                  </a:moveTo>
                  <a:lnTo>
                    <a:pt x="754" y="434"/>
                  </a:lnTo>
                  <a:lnTo>
                    <a:pt x="754" y="434"/>
                  </a:lnTo>
                  <a:lnTo>
                    <a:pt x="754" y="434"/>
                  </a:lnTo>
                  <a:lnTo>
                    <a:pt x="754" y="434"/>
                  </a:lnTo>
                  <a:lnTo>
                    <a:pt x="754" y="434"/>
                  </a:lnTo>
                  <a:lnTo>
                    <a:pt x="754" y="434"/>
                  </a:lnTo>
                  <a:close/>
                  <a:moveTo>
                    <a:pt x="754" y="439"/>
                  </a:moveTo>
                  <a:lnTo>
                    <a:pt x="752" y="439"/>
                  </a:lnTo>
                  <a:lnTo>
                    <a:pt x="752" y="439"/>
                  </a:lnTo>
                  <a:lnTo>
                    <a:pt x="752" y="439"/>
                  </a:lnTo>
                  <a:lnTo>
                    <a:pt x="752" y="439"/>
                  </a:lnTo>
                  <a:lnTo>
                    <a:pt x="754" y="439"/>
                  </a:lnTo>
                  <a:lnTo>
                    <a:pt x="754" y="439"/>
                  </a:lnTo>
                  <a:lnTo>
                    <a:pt x="754" y="439"/>
                  </a:lnTo>
                  <a:lnTo>
                    <a:pt x="754" y="439"/>
                  </a:lnTo>
                  <a:lnTo>
                    <a:pt x="754" y="439"/>
                  </a:lnTo>
                  <a:lnTo>
                    <a:pt x="754" y="439"/>
                  </a:lnTo>
                  <a:close/>
                  <a:moveTo>
                    <a:pt x="926" y="771"/>
                  </a:moveTo>
                  <a:lnTo>
                    <a:pt x="926" y="771"/>
                  </a:lnTo>
                  <a:lnTo>
                    <a:pt x="926" y="768"/>
                  </a:lnTo>
                  <a:lnTo>
                    <a:pt x="924" y="768"/>
                  </a:lnTo>
                  <a:lnTo>
                    <a:pt x="922" y="768"/>
                  </a:lnTo>
                  <a:lnTo>
                    <a:pt x="920" y="768"/>
                  </a:lnTo>
                  <a:lnTo>
                    <a:pt x="920" y="768"/>
                  </a:lnTo>
                  <a:lnTo>
                    <a:pt x="918" y="771"/>
                  </a:lnTo>
                  <a:lnTo>
                    <a:pt x="918" y="771"/>
                  </a:lnTo>
                  <a:lnTo>
                    <a:pt x="918" y="771"/>
                  </a:lnTo>
                  <a:lnTo>
                    <a:pt x="918" y="771"/>
                  </a:lnTo>
                  <a:lnTo>
                    <a:pt x="918" y="771"/>
                  </a:lnTo>
                  <a:lnTo>
                    <a:pt x="918" y="773"/>
                  </a:lnTo>
                  <a:lnTo>
                    <a:pt x="918" y="773"/>
                  </a:lnTo>
                  <a:lnTo>
                    <a:pt x="920" y="773"/>
                  </a:lnTo>
                  <a:lnTo>
                    <a:pt x="922" y="771"/>
                  </a:lnTo>
                  <a:lnTo>
                    <a:pt x="922" y="773"/>
                  </a:lnTo>
                  <a:lnTo>
                    <a:pt x="922" y="773"/>
                  </a:lnTo>
                  <a:lnTo>
                    <a:pt x="922" y="773"/>
                  </a:lnTo>
                  <a:lnTo>
                    <a:pt x="922" y="773"/>
                  </a:lnTo>
                  <a:lnTo>
                    <a:pt x="922" y="771"/>
                  </a:lnTo>
                  <a:lnTo>
                    <a:pt x="922" y="771"/>
                  </a:lnTo>
                  <a:lnTo>
                    <a:pt x="926" y="771"/>
                  </a:lnTo>
                  <a:lnTo>
                    <a:pt x="926" y="771"/>
                  </a:lnTo>
                  <a:lnTo>
                    <a:pt x="926" y="773"/>
                  </a:lnTo>
                  <a:lnTo>
                    <a:pt x="926" y="773"/>
                  </a:lnTo>
                  <a:lnTo>
                    <a:pt x="928" y="773"/>
                  </a:lnTo>
                  <a:lnTo>
                    <a:pt x="926" y="771"/>
                  </a:lnTo>
                  <a:lnTo>
                    <a:pt x="926" y="771"/>
                  </a:lnTo>
                  <a:close/>
                  <a:moveTo>
                    <a:pt x="764" y="414"/>
                  </a:moveTo>
                  <a:lnTo>
                    <a:pt x="764" y="414"/>
                  </a:lnTo>
                  <a:lnTo>
                    <a:pt x="764" y="414"/>
                  </a:lnTo>
                  <a:lnTo>
                    <a:pt x="764" y="414"/>
                  </a:lnTo>
                  <a:lnTo>
                    <a:pt x="764" y="414"/>
                  </a:lnTo>
                  <a:lnTo>
                    <a:pt x="764" y="414"/>
                  </a:lnTo>
                  <a:lnTo>
                    <a:pt x="764" y="414"/>
                  </a:lnTo>
                  <a:lnTo>
                    <a:pt x="764" y="414"/>
                  </a:lnTo>
                  <a:lnTo>
                    <a:pt x="764" y="414"/>
                  </a:lnTo>
                  <a:lnTo>
                    <a:pt x="764" y="414"/>
                  </a:lnTo>
                  <a:close/>
                  <a:moveTo>
                    <a:pt x="815" y="391"/>
                  </a:moveTo>
                  <a:lnTo>
                    <a:pt x="813" y="391"/>
                  </a:lnTo>
                  <a:lnTo>
                    <a:pt x="813" y="391"/>
                  </a:lnTo>
                  <a:lnTo>
                    <a:pt x="813" y="391"/>
                  </a:lnTo>
                  <a:lnTo>
                    <a:pt x="813" y="391"/>
                  </a:lnTo>
                  <a:lnTo>
                    <a:pt x="813" y="391"/>
                  </a:lnTo>
                  <a:lnTo>
                    <a:pt x="811" y="393"/>
                  </a:lnTo>
                  <a:lnTo>
                    <a:pt x="813" y="393"/>
                  </a:lnTo>
                  <a:lnTo>
                    <a:pt x="813" y="393"/>
                  </a:lnTo>
                  <a:lnTo>
                    <a:pt x="813" y="396"/>
                  </a:lnTo>
                  <a:lnTo>
                    <a:pt x="813" y="396"/>
                  </a:lnTo>
                  <a:lnTo>
                    <a:pt x="815" y="396"/>
                  </a:lnTo>
                  <a:lnTo>
                    <a:pt x="819" y="396"/>
                  </a:lnTo>
                  <a:lnTo>
                    <a:pt x="819" y="396"/>
                  </a:lnTo>
                  <a:lnTo>
                    <a:pt x="819" y="396"/>
                  </a:lnTo>
                  <a:lnTo>
                    <a:pt x="819" y="396"/>
                  </a:lnTo>
                  <a:lnTo>
                    <a:pt x="819" y="396"/>
                  </a:lnTo>
                  <a:lnTo>
                    <a:pt x="819" y="396"/>
                  </a:lnTo>
                  <a:lnTo>
                    <a:pt x="819" y="393"/>
                  </a:lnTo>
                  <a:lnTo>
                    <a:pt x="819" y="393"/>
                  </a:lnTo>
                  <a:lnTo>
                    <a:pt x="819" y="393"/>
                  </a:lnTo>
                  <a:lnTo>
                    <a:pt x="819" y="393"/>
                  </a:lnTo>
                  <a:lnTo>
                    <a:pt x="819" y="393"/>
                  </a:lnTo>
                  <a:lnTo>
                    <a:pt x="819" y="393"/>
                  </a:lnTo>
                  <a:lnTo>
                    <a:pt x="819" y="393"/>
                  </a:lnTo>
                  <a:lnTo>
                    <a:pt x="819" y="393"/>
                  </a:lnTo>
                  <a:lnTo>
                    <a:pt x="819" y="393"/>
                  </a:lnTo>
                  <a:lnTo>
                    <a:pt x="819" y="391"/>
                  </a:lnTo>
                  <a:lnTo>
                    <a:pt x="819" y="391"/>
                  </a:lnTo>
                  <a:lnTo>
                    <a:pt x="819" y="391"/>
                  </a:lnTo>
                  <a:lnTo>
                    <a:pt x="819" y="391"/>
                  </a:lnTo>
                  <a:lnTo>
                    <a:pt x="817" y="391"/>
                  </a:lnTo>
                  <a:lnTo>
                    <a:pt x="817" y="391"/>
                  </a:lnTo>
                  <a:lnTo>
                    <a:pt x="817" y="391"/>
                  </a:lnTo>
                  <a:lnTo>
                    <a:pt x="817" y="391"/>
                  </a:lnTo>
                  <a:lnTo>
                    <a:pt x="815" y="391"/>
                  </a:lnTo>
                  <a:lnTo>
                    <a:pt x="815" y="391"/>
                  </a:lnTo>
                  <a:lnTo>
                    <a:pt x="815" y="391"/>
                  </a:lnTo>
                  <a:lnTo>
                    <a:pt x="815" y="391"/>
                  </a:lnTo>
                  <a:lnTo>
                    <a:pt x="815" y="391"/>
                  </a:lnTo>
                  <a:close/>
                  <a:moveTo>
                    <a:pt x="764" y="410"/>
                  </a:moveTo>
                  <a:lnTo>
                    <a:pt x="764" y="412"/>
                  </a:lnTo>
                  <a:lnTo>
                    <a:pt x="764" y="412"/>
                  </a:lnTo>
                  <a:lnTo>
                    <a:pt x="764" y="412"/>
                  </a:lnTo>
                  <a:lnTo>
                    <a:pt x="764" y="412"/>
                  </a:lnTo>
                  <a:lnTo>
                    <a:pt x="764" y="412"/>
                  </a:lnTo>
                  <a:lnTo>
                    <a:pt x="764" y="412"/>
                  </a:lnTo>
                  <a:lnTo>
                    <a:pt x="764" y="412"/>
                  </a:lnTo>
                  <a:lnTo>
                    <a:pt x="764" y="412"/>
                  </a:lnTo>
                  <a:lnTo>
                    <a:pt x="764" y="412"/>
                  </a:lnTo>
                  <a:lnTo>
                    <a:pt x="764" y="410"/>
                  </a:lnTo>
                  <a:close/>
                  <a:moveTo>
                    <a:pt x="752" y="439"/>
                  </a:moveTo>
                  <a:lnTo>
                    <a:pt x="752" y="439"/>
                  </a:lnTo>
                  <a:lnTo>
                    <a:pt x="752" y="439"/>
                  </a:lnTo>
                  <a:lnTo>
                    <a:pt x="752" y="439"/>
                  </a:lnTo>
                  <a:lnTo>
                    <a:pt x="752" y="439"/>
                  </a:lnTo>
                  <a:lnTo>
                    <a:pt x="752" y="439"/>
                  </a:lnTo>
                  <a:lnTo>
                    <a:pt x="752" y="439"/>
                  </a:lnTo>
                  <a:lnTo>
                    <a:pt x="752" y="439"/>
                  </a:lnTo>
                  <a:lnTo>
                    <a:pt x="752" y="439"/>
                  </a:lnTo>
                  <a:close/>
                  <a:moveTo>
                    <a:pt x="733" y="256"/>
                  </a:moveTo>
                  <a:lnTo>
                    <a:pt x="733" y="256"/>
                  </a:lnTo>
                  <a:lnTo>
                    <a:pt x="735" y="256"/>
                  </a:lnTo>
                  <a:lnTo>
                    <a:pt x="735" y="256"/>
                  </a:lnTo>
                  <a:lnTo>
                    <a:pt x="735" y="256"/>
                  </a:lnTo>
                  <a:lnTo>
                    <a:pt x="735" y="256"/>
                  </a:lnTo>
                  <a:lnTo>
                    <a:pt x="737" y="254"/>
                  </a:lnTo>
                  <a:lnTo>
                    <a:pt x="737" y="254"/>
                  </a:lnTo>
                  <a:lnTo>
                    <a:pt x="741" y="252"/>
                  </a:lnTo>
                  <a:lnTo>
                    <a:pt x="741" y="252"/>
                  </a:lnTo>
                  <a:lnTo>
                    <a:pt x="741" y="252"/>
                  </a:lnTo>
                  <a:lnTo>
                    <a:pt x="741" y="252"/>
                  </a:lnTo>
                  <a:lnTo>
                    <a:pt x="741" y="252"/>
                  </a:lnTo>
                  <a:lnTo>
                    <a:pt x="733" y="256"/>
                  </a:lnTo>
                  <a:lnTo>
                    <a:pt x="731" y="256"/>
                  </a:lnTo>
                  <a:lnTo>
                    <a:pt x="733" y="256"/>
                  </a:lnTo>
                  <a:lnTo>
                    <a:pt x="733" y="256"/>
                  </a:lnTo>
                  <a:close/>
                  <a:moveTo>
                    <a:pt x="721" y="264"/>
                  </a:moveTo>
                  <a:lnTo>
                    <a:pt x="721" y="262"/>
                  </a:lnTo>
                  <a:lnTo>
                    <a:pt x="723" y="262"/>
                  </a:lnTo>
                  <a:lnTo>
                    <a:pt x="721" y="262"/>
                  </a:lnTo>
                  <a:lnTo>
                    <a:pt x="721" y="262"/>
                  </a:lnTo>
                  <a:lnTo>
                    <a:pt x="723" y="260"/>
                  </a:lnTo>
                  <a:lnTo>
                    <a:pt x="725" y="260"/>
                  </a:lnTo>
                  <a:lnTo>
                    <a:pt x="725" y="260"/>
                  </a:lnTo>
                  <a:lnTo>
                    <a:pt x="725" y="260"/>
                  </a:lnTo>
                  <a:lnTo>
                    <a:pt x="721" y="260"/>
                  </a:lnTo>
                  <a:lnTo>
                    <a:pt x="721" y="260"/>
                  </a:lnTo>
                  <a:lnTo>
                    <a:pt x="721" y="262"/>
                  </a:lnTo>
                  <a:lnTo>
                    <a:pt x="721" y="262"/>
                  </a:lnTo>
                  <a:lnTo>
                    <a:pt x="721" y="262"/>
                  </a:lnTo>
                  <a:lnTo>
                    <a:pt x="721" y="262"/>
                  </a:lnTo>
                  <a:lnTo>
                    <a:pt x="721" y="264"/>
                  </a:lnTo>
                  <a:close/>
                  <a:moveTo>
                    <a:pt x="1055" y="664"/>
                  </a:moveTo>
                  <a:lnTo>
                    <a:pt x="1055" y="664"/>
                  </a:lnTo>
                  <a:lnTo>
                    <a:pt x="1055" y="664"/>
                  </a:lnTo>
                  <a:lnTo>
                    <a:pt x="1053" y="664"/>
                  </a:lnTo>
                  <a:lnTo>
                    <a:pt x="1053" y="666"/>
                  </a:lnTo>
                  <a:lnTo>
                    <a:pt x="1053" y="666"/>
                  </a:lnTo>
                  <a:lnTo>
                    <a:pt x="1051" y="666"/>
                  </a:lnTo>
                  <a:lnTo>
                    <a:pt x="1051" y="666"/>
                  </a:lnTo>
                  <a:lnTo>
                    <a:pt x="1051" y="668"/>
                  </a:lnTo>
                  <a:lnTo>
                    <a:pt x="1051" y="668"/>
                  </a:lnTo>
                  <a:lnTo>
                    <a:pt x="1049" y="668"/>
                  </a:lnTo>
                  <a:lnTo>
                    <a:pt x="1049" y="668"/>
                  </a:lnTo>
                  <a:lnTo>
                    <a:pt x="1049" y="668"/>
                  </a:lnTo>
                  <a:lnTo>
                    <a:pt x="1049" y="670"/>
                  </a:lnTo>
                  <a:lnTo>
                    <a:pt x="1049" y="670"/>
                  </a:lnTo>
                  <a:lnTo>
                    <a:pt x="1049" y="670"/>
                  </a:lnTo>
                  <a:lnTo>
                    <a:pt x="1053" y="672"/>
                  </a:lnTo>
                  <a:lnTo>
                    <a:pt x="1053" y="672"/>
                  </a:lnTo>
                  <a:lnTo>
                    <a:pt x="1053" y="672"/>
                  </a:lnTo>
                  <a:lnTo>
                    <a:pt x="1055" y="670"/>
                  </a:lnTo>
                  <a:lnTo>
                    <a:pt x="1057" y="668"/>
                  </a:lnTo>
                  <a:lnTo>
                    <a:pt x="1057" y="668"/>
                  </a:lnTo>
                  <a:lnTo>
                    <a:pt x="1057" y="666"/>
                  </a:lnTo>
                  <a:lnTo>
                    <a:pt x="1057" y="666"/>
                  </a:lnTo>
                  <a:lnTo>
                    <a:pt x="1057" y="666"/>
                  </a:lnTo>
                  <a:lnTo>
                    <a:pt x="1057" y="664"/>
                  </a:lnTo>
                  <a:lnTo>
                    <a:pt x="1057" y="664"/>
                  </a:lnTo>
                  <a:lnTo>
                    <a:pt x="1057" y="664"/>
                  </a:lnTo>
                  <a:lnTo>
                    <a:pt x="1057" y="664"/>
                  </a:lnTo>
                  <a:lnTo>
                    <a:pt x="1057" y="664"/>
                  </a:lnTo>
                  <a:lnTo>
                    <a:pt x="1055" y="664"/>
                  </a:lnTo>
                  <a:close/>
                  <a:moveTo>
                    <a:pt x="1618" y="691"/>
                  </a:moveTo>
                  <a:lnTo>
                    <a:pt x="1618" y="693"/>
                  </a:lnTo>
                  <a:lnTo>
                    <a:pt x="1618" y="693"/>
                  </a:lnTo>
                  <a:lnTo>
                    <a:pt x="1618" y="693"/>
                  </a:lnTo>
                  <a:lnTo>
                    <a:pt x="1618" y="695"/>
                  </a:lnTo>
                  <a:lnTo>
                    <a:pt x="1618" y="695"/>
                  </a:lnTo>
                  <a:lnTo>
                    <a:pt x="1618" y="695"/>
                  </a:lnTo>
                  <a:lnTo>
                    <a:pt x="1618" y="697"/>
                  </a:lnTo>
                  <a:lnTo>
                    <a:pt x="1620" y="697"/>
                  </a:lnTo>
                  <a:lnTo>
                    <a:pt x="1620" y="699"/>
                  </a:lnTo>
                  <a:lnTo>
                    <a:pt x="1620" y="699"/>
                  </a:lnTo>
                  <a:lnTo>
                    <a:pt x="1622" y="699"/>
                  </a:lnTo>
                  <a:lnTo>
                    <a:pt x="1622" y="701"/>
                  </a:lnTo>
                  <a:lnTo>
                    <a:pt x="1622" y="699"/>
                  </a:lnTo>
                  <a:lnTo>
                    <a:pt x="1622" y="699"/>
                  </a:lnTo>
                  <a:lnTo>
                    <a:pt x="1622" y="699"/>
                  </a:lnTo>
                  <a:lnTo>
                    <a:pt x="1622" y="699"/>
                  </a:lnTo>
                  <a:lnTo>
                    <a:pt x="1622" y="699"/>
                  </a:lnTo>
                  <a:lnTo>
                    <a:pt x="1624" y="699"/>
                  </a:lnTo>
                  <a:lnTo>
                    <a:pt x="1624" y="699"/>
                  </a:lnTo>
                  <a:lnTo>
                    <a:pt x="1624" y="699"/>
                  </a:lnTo>
                  <a:lnTo>
                    <a:pt x="1628" y="697"/>
                  </a:lnTo>
                  <a:lnTo>
                    <a:pt x="1628" y="699"/>
                  </a:lnTo>
                  <a:lnTo>
                    <a:pt x="1628" y="699"/>
                  </a:lnTo>
                  <a:lnTo>
                    <a:pt x="1628" y="699"/>
                  </a:lnTo>
                  <a:lnTo>
                    <a:pt x="1630" y="699"/>
                  </a:lnTo>
                  <a:lnTo>
                    <a:pt x="1630" y="699"/>
                  </a:lnTo>
                  <a:lnTo>
                    <a:pt x="1630" y="699"/>
                  </a:lnTo>
                  <a:lnTo>
                    <a:pt x="1630" y="701"/>
                  </a:lnTo>
                  <a:lnTo>
                    <a:pt x="1630" y="701"/>
                  </a:lnTo>
                  <a:lnTo>
                    <a:pt x="1630" y="701"/>
                  </a:lnTo>
                  <a:lnTo>
                    <a:pt x="1630" y="703"/>
                  </a:lnTo>
                  <a:lnTo>
                    <a:pt x="1630" y="703"/>
                  </a:lnTo>
                  <a:lnTo>
                    <a:pt x="1630" y="703"/>
                  </a:lnTo>
                  <a:lnTo>
                    <a:pt x="1632" y="703"/>
                  </a:lnTo>
                  <a:lnTo>
                    <a:pt x="1632" y="703"/>
                  </a:lnTo>
                  <a:lnTo>
                    <a:pt x="1632" y="703"/>
                  </a:lnTo>
                  <a:lnTo>
                    <a:pt x="1632" y="703"/>
                  </a:lnTo>
                  <a:lnTo>
                    <a:pt x="1634" y="703"/>
                  </a:lnTo>
                  <a:lnTo>
                    <a:pt x="1634" y="703"/>
                  </a:lnTo>
                  <a:lnTo>
                    <a:pt x="1634" y="703"/>
                  </a:lnTo>
                  <a:lnTo>
                    <a:pt x="1634" y="703"/>
                  </a:lnTo>
                  <a:lnTo>
                    <a:pt x="1634" y="703"/>
                  </a:lnTo>
                  <a:lnTo>
                    <a:pt x="1634" y="703"/>
                  </a:lnTo>
                  <a:lnTo>
                    <a:pt x="1636" y="703"/>
                  </a:lnTo>
                  <a:lnTo>
                    <a:pt x="1636" y="701"/>
                  </a:lnTo>
                  <a:lnTo>
                    <a:pt x="1636" y="701"/>
                  </a:lnTo>
                  <a:lnTo>
                    <a:pt x="1636" y="701"/>
                  </a:lnTo>
                  <a:lnTo>
                    <a:pt x="1636" y="701"/>
                  </a:lnTo>
                  <a:lnTo>
                    <a:pt x="1636" y="701"/>
                  </a:lnTo>
                  <a:lnTo>
                    <a:pt x="1636" y="701"/>
                  </a:lnTo>
                  <a:lnTo>
                    <a:pt x="1638" y="701"/>
                  </a:lnTo>
                  <a:lnTo>
                    <a:pt x="1638" y="701"/>
                  </a:lnTo>
                  <a:lnTo>
                    <a:pt x="1638" y="699"/>
                  </a:lnTo>
                  <a:lnTo>
                    <a:pt x="1636" y="699"/>
                  </a:lnTo>
                  <a:lnTo>
                    <a:pt x="1636" y="699"/>
                  </a:lnTo>
                  <a:lnTo>
                    <a:pt x="1636" y="699"/>
                  </a:lnTo>
                  <a:lnTo>
                    <a:pt x="1636" y="699"/>
                  </a:lnTo>
                  <a:lnTo>
                    <a:pt x="1636" y="697"/>
                  </a:lnTo>
                  <a:lnTo>
                    <a:pt x="1636" y="697"/>
                  </a:lnTo>
                  <a:lnTo>
                    <a:pt x="1634" y="697"/>
                  </a:lnTo>
                  <a:lnTo>
                    <a:pt x="1634" y="697"/>
                  </a:lnTo>
                  <a:lnTo>
                    <a:pt x="1634" y="697"/>
                  </a:lnTo>
                  <a:lnTo>
                    <a:pt x="1634" y="695"/>
                  </a:lnTo>
                  <a:lnTo>
                    <a:pt x="1634" y="695"/>
                  </a:lnTo>
                  <a:lnTo>
                    <a:pt x="1634" y="695"/>
                  </a:lnTo>
                  <a:lnTo>
                    <a:pt x="1634" y="695"/>
                  </a:lnTo>
                  <a:lnTo>
                    <a:pt x="1634" y="695"/>
                  </a:lnTo>
                  <a:lnTo>
                    <a:pt x="1634" y="695"/>
                  </a:lnTo>
                  <a:lnTo>
                    <a:pt x="1634" y="695"/>
                  </a:lnTo>
                  <a:lnTo>
                    <a:pt x="1636" y="695"/>
                  </a:lnTo>
                  <a:lnTo>
                    <a:pt x="1634" y="693"/>
                  </a:lnTo>
                  <a:lnTo>
                    <a:pt x="1636" y="693"/>
                  </a:lnTo>
                  <a:lnTo>
                    <a:pt x="1636" y="693"/>
                  </a:lnTo>
                  <a:lnTo>
                    <a:pt x="1636" y="693"/>
                  </a:lnTo>
                  <a:lnTo>
                    <a:pt x="1636" y="693"/>
                  </a:lnTo>
                  <a:lnTo>
                    <a:pt x="1636" y="693"/>
                  </a:lnTo>
                  <a:lnTo>
                    <a:pt x="1636" y="693"/>
                  </a:lnTo>
                  <a:lnTo>
                    <a:pt x="1634" y="691"/>
                  </a:lnTo>
                  <a:lnTo>
                    <a:pt x="1634" y="691"/>
                  </a:lnTo>
                  <a:lnTo>
                    <a:pt x="1632" y="691"/>
                  </a:lnTo>
                  <a:lnTo>
                    <a:pt x="1632" y="691"/>
                  </a:lnTo>
                  <a:lnTo>
                    <a:pt x="1630" y="691"/>
                  </a:lnTo>
                  <a:lnTo>
                    <a:pt x="1628" y="691"/>
                  </a:lnTo>
                  <a:lnTo>
                    <a:pt x="1628" y="689"/>
                  </a:lnTo>
                  <a:lnTo>
                    <a:pt x="1626" y="689"/>
                  </a:lnTo>
                  <a:lnTo>
                    <a:pt x="1626" y="691"/>
                  </a:lnTo>
                  <a:lnTo>
                    <a:pt x="1626" y="691"/>
                  </a:lnTo>
                  <a:lnTo>
                    <a:pt x="1624" y="693"/>
                  </a:lnTo>
                  <a:lnTo>
                    <a:pt x="1624" y="691"/>
                  </a:lnTo>
                  <a:lnTo>
                    <a:pt x="1624" y="691"/>
                  </a:lnTo>
                  <a:lnTo>
                    <a:pt x="1626" y="691"/>
                  </a:lnTo>
                  <a:lnTo>
                    <a:pt x="1626" y="689"/>
                  </a:lnTo>
                  <a:lnTo>
                    <a:pt x="1626" y="689"/>
                  </a:lnTo>
                  <a:lnTo>
                    <a:pt x="1626" y="689"/>
                  </a:lnTo>
                  <a:lnTo>
                    <a:pt x="1626" y="689"/>
                  </a:lnTo>
                  <a:lnTo>
                    <a:pt x="1626" y="687"/>
                  </a:lnTo>
                  <a:lnTo>
                    <a:pt x="1626" y="687"/>
                  </a:lnTo>
                  <a:lnTo>
                    <a:pt x="1626" y="687"/>
                  </a:lnTo>
                  <a:lnTo>
                    <a:pt x="1624" y="687"/>
                  </a:lnTo>
                  <a:lnTo>
                    <a:pt x="1624" y="684"/>
                  </a:lnTo>
                  <a:lnTo>
                    <a:pt x="1624" y="684"/>
                  </a:lnTo>
                  <a:lnTo>
                    <a:pt x="1624" y="684"/>
                  </a:lnTo>
                  <a:lnTo>
                    <a:pt x="1624" y="684"/>
                  </a:lnTo>
                  <a:lnTo>
                    <a:pt x="1624" y="682"/>
                  </a:lnTo>
                  <a:lnTo>
                    <a:pt x="1622" y="682"/>
                  </a:lnTo>
                  <a:lnTo>
                    <a:pt x="1620" y="684"/>
                  </a:lnTo>
                  <a:lnTo>
                    <a:pt x="1620" y="684"/>
                  </a:lnTo>
                  <a:lnTo>
                    <a:pt x="1620" y="684"/>
                  </a:lnTo>
                  <a:lnTo>
                    <a:pt x="1620" y="687"/>
                  </a:lnTo>
                  <a:lnTo>
                    <a:pt x="1620" y="687"/>
                  </a:lnTo>
                  <a:lnTo>
                    <a:pt x="1620" y="687"/>
                  </a:lnTo>
                  <a:lnTo>
                    <a:pt x="1620" y="687"/>
                  </a:lnTo>
                  <a:lnTo>
                    <a:pt x="1620" y="691"/>
                  </a:lnTo>
                  <a:lnTo>
                    <a:pt x="1620" y="691"/>
                  </a:lnTo>
                  <a:lnTo>
                    <a:pt x="1618" y="691"/>
                  </a:lnTo>
                  <a:close/>
                  <a:moveTo>
                    <a:pt x="1045" y="682"/>
                  </a:moveTo>
                  <a:lnTo>
                    <a:pt x="1047" y="682"/>
                  </a:lnTo>
                  <a:lnTo>
                    <a:pt x="1045" y="682"/>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3" y="680"/>
                  </a:lnTo>
                  <a:lnTo>
                    <a:pt x="1043" y="680"/>
                  </a:lnTo>
                  <a:lnTo>
                    <a:pt x="1043" y="680"/>
                  </a:lnTo>
                  <a:lnTo>
                    <a:pt x="1043" y="680"/>
                  </a:lnTo>
                  <a:lnTo>
                    <a:pt x="1043" y="680"/>
                  </a:lnTo>
                  <a:lnTo>
                    <a:pt x="1043" y="680"/>
                  </a:lnTo>
                  <a:lnTo>
                    <a:pt x="1043" y="680"/>
                  </a:lnTo>
                  <a:lnTo>
                    <a:pt x="1043" y="680"/>
                  </a:lnTo>
                  <a:lnTo>
                    <a:pt x="1045" y="682"/>
                  </a:lnTo>
                  <a:lnTo>
                    <a:pt x="1045" y="682"/>
                  </a:lnTo>
                  <a:lnTo>
                    <a:pt x="1045" y="682"/>
                  </a:lnTo>
                  <a:lnTo>
                    <a:pt x="1045" y="682"/>
                  </a:lnTo>
                  <a:lnTo>
                    <a:pt x="1045" y="682"/>
                  </a:lnTo>
                  <a:close/>
                  <a:moveTo>
                    <a:pt x="1071" y="682"/>
                  </a:moveTo>
                  <a:lnTo>
                    <a:pt x="1071" y="682"/>
                  </a:lnTo>
                  <a:lnTo>
                    <a:pt x="1069" y="687"/>
                  </a:lnTo>
                  <a:lnTo>
                    <a:pt x="1069" y="687"/>
                  </a:lnTo>
                  <a:lnTo>
                    <a:pt x="1071" y="687"/>
                  </a:lnTo>
                  <a:lnTo>
                    <a:pt x="1071" y="687"/>
                  </a:lnTo>
                  <a:lnTo>
                    <a:pt x="1071" y="687"/>
                  </a:lnTo>
                  <a:lnTo>
                    <a:pt x="1071" y="687"/>
                  </a:lnTo>
                  <a:lnTo>
                    <a:pt x="1071" y="687"/>
                  </a:lnTo>
                  <a:lnTo>
                    <a:pt x="1073" y="684"/>
                  </a:lnTo>
                  <a:lnTo>
                    <a:pt x="1073" y="684"/>
                  </a:lnTo>
                  <a:lnTo>
                    <a:pt x="1073" y="682"/>
                  </a:lnTo>
                  <a:lnTo>
                    <a:pt x="1071" y="682"/>
                  </a:lnTo>
                  <a:close/>
                  <a:moveTo>
                    <a:pt x="1063" y="574"/>
                  </a:moveTo>
                  <a:lnTo>
                    <a:pt x="1061" y="574"/>
                  </a:lnTo>
                  <a:lnTo>
                    <a:pt x="1061" y="574"/>
                  </a:lnTo>
                  <a:lnTo>
                    <a:pt x="1061" y="574"/>
                  </a:lnTo>
                  <a:lnTo>
                    <a:pt x="1061" y="574"/>
                  </a:lnTo>
                  <a:lnTo>
                    <a:pt x="1063" y="574"/>
                  </a:lnTo>
                  <a:lnTo>
                    <a:pt x="1063" y="574"/>
                  </a:lnTo>
                  <a:lnTo>
                    <a:pt x="1065" y="572"/>
                  </a:lnTo>
                  <a:lnTo>
                    <a:pt x="1065" y="572"/>
                  </a:lnTo>
                  <a:lnTo>
                    <a:pt x="1065" y="572"/>
                  </a:lnTo>
                  <a:lnTo>
                    <a:pt x="1065" y="570"/>
                  </a:lnTo>
                  <a:lnTo>
                    <a:pt x="1065" y="570"/>
                  </a:lnTo>
                  <a:lnTo>
                    <a:pt x="1065" y="570"/>
                  </a:lnTo>
                  <a:lnTo>
                    <a:pt x="1065" y="570"/>
                  </a:lnTo>
                  <a:lnTo>
                    <a:pt x="1065" y="570"/>
                  </a:lnTo>
                  <a:lnTo>
                    <a:pt x="1067" y="568"/>
                  </a:lnTo>
                  <a:lnTo>
                    <a:pt x="1067" y="568"/>
                  </a:lnTo>
                  <a:lnTo>
                    <a:pt x="1067" y="568"/>
                  </a:lnTo>
                  <a:lnTo>
                    <a:pt x="1067" y="568"/>
                  </a:lnTo>
                  <a:lnTo>
                    <a:pt x="1067" y="568"/>
                  </a:lnTo>
                  <a:lnTo>
                    <a:pt x="1067" y="566"/>
                  </a:lnTo>
                  <a:lnTo>
                    <a:pt x="1067" y="566"/>
                  </a:lnTo>
                  <a:lnTo>
                    <a:pt x="1065" y="566"/>
                  </a:lnTo>
                  <a:lnTo>
                    <a:pt x="1065" y="566"/>
                  </a:lnTo>
                  <a:lnTo>
                    <a:pt x="1065" y="566"/>
                  </a:lnTo>
                  <a:lnTo>
                    <a:pt x="1065" y="566"/>
                  </a:lnTo>
                  <a:lnTo>
                    <a:pt x="1065" y="568"/>
                  </a:lnTo>
                  <a:lnTo>
                    <a:pt x="1065" y="568"/>
                  </a:lnTo>
                  <a:lnTo>
                    <a:pt x="1065" y="568"/>
                  </a:lnTo>
                  <a:lnTo>
                    <a:pt x="1065" y="570"/>
                  </a:lnTo>
                  <a:lnTo>
                    <a:pt x="1063" y="570"/>
                  </a:lnTo>
                  <a:lnTo>
                    <a:pt x="1063" y="570"/>
                  </a:lnTo>
                  <a:lnTo>
                    <a:pt x="1063" y="572"/>
                  </a:lnTo>
                  <a:lnTo>
                    <a:pt x="1063" y="572"/>
                  </a:lnTo>
                  <a:lnTo>
                    <a:pt x="1063" y="572"/>
                  </a:lnTo>
                  <a:lnTo>
                    <a:pt x="1063" y="572"/>
                  </a:lnTo>
                  <a:lnTo>
                    <a:pt x="1063" y="572"/>
                  </a:lnTo>
                  <a:lnTo>
                    <a:pt x="1063" y="574"/>
                  </a:lnTo>
                  <a:lnTo>
                    <a:pt x="1063" y="574"/>
                  </a:lnTo>
                  <a:close/>
                  <a:moveTo>
                    <a:pt x="1067" y="680"/>
                  </a:moveTo>
                  <a:lnTo>
                    <a:pt x="1067" y="678"/>
                  </a:lnTo>
                  <a:lnTo>
                    <a:pt x="1067" y="678"/>
                  </a:lnTo>
                  <a:lnTo>
                    <a:pt x="1067" y="678"/>
                  </a:lnTo>
                  <a:lnTo>
                    <a:pt x="1067" y="678"/>
                  </a:lnTo>
                  <a:lnTo>
                    <a:pt x="1067" y="678"/>
                  </a:lnTo>
                  <a:lnTo>
                    <a:pt x="1067" y="680"/>
                  </a:lnTo>
                  <a:lnTo>
                    <a:pt x="1067" y="680"/>
                  </a:lnTo>
                  <a:lnTo>
                    <a:pt x="1065" y="682"/>
                  </a:lnTo>
                  <a:lnTo>
                    <a:pt x="1065" y="682"/>
                  </a:lnTo>
                  <a:lnTo>
                    <a:pt x="1065" y="680"/>
                  </a:lnTo>
                  <a:lnTo>
                    <a:pt x="1065" y="680"/>
                  </a:lnTo>
                  <a:lnTo>
                    <a:pt x="1065" y="680"/>
                  </a:lnTo>
                  <a:lnTo>
                    <a:pt x="1063" y="680"/>
                  </a:lnTo>
                  <a:lnTo>
                    <a:pt x="1063" y="682"/>
                  </a:lnTo>
                  <a:lnTo>
                    <a:pt x="1063" y="682"/>
                  </a:lnTo>
                  <a:lnTo>
                    <a:pt x="1063" y="684"/>
                  </a:lnTo>
                  <a:lnTo>
                    <a:pt x="1063" y="684"/>
                  </a:lnTo>
                  <a:lnTo>
                    <a:pt x="1063" y="682"/>
                  </a:lnTo>
                  <a:lnTo>
                    <a:pt x="1063" y="680"/>
                  </a:lnTo>
                  <a:lnTo>
                    <a:pt x="1065" y="678"/>
                  </a:lnTo>
                  <a:lnTo>
                    <a:pt x="1065" y="676"/>
                  </a:lnTo>
                  <a:lnTo>
                    <a:pt x="1065" y="676"/>
                  </a:lnTo>
                  <a:lnTo>
                    <a:pt x="1063" y="676"/>
                  </a:lnTo>
                  <a:lnTo>
                    <a:pt x="1063" y="676"/>
                  </a:lnTo>
                  <a:lnTo>
                    <a:pt x="1063" y="676"/>
                  </a:lnTo>
                  <a:lnTo>
                    <a:pt x="1063" y="676"/>
                  </a:lnTo>
                  <a:lnTo>
                    <a:pt x="1061" y="678"/>
                  </a:lnTo>
                  <a:lnTo>
                    <a:pt x="1061" y="678"/>
                  </a:lnTo>
                  <a:lnTo>
                    <a:pt x="1061" y="678"/>
                  </a:lnTo>
                  <a:lnTo>
                    <a:pt x="1059" y="678"/>
                  </a:lnTo>
                  <a:lnTo>
                    <a:pt x="1059" y="676"/>
                  </a:lnTo>
                  <a:lnTo>
                    <a:pt x="1059" y="676"/>
                  </a:lnTo>
                  <a:lnTo>
                    <a:pt x="1061" y="676"/>
                  </a:lnTo>
                  <a:lnTo>
                    <a:pt x="1059" y="676"/>
                  </a:lnTo>
                  <a:lnTo>
                    <a:pt x="1059" y="676"/>
                  </a:lnTo>
                  <a:lnTo>
                    <a:pt x="1059" y="676"/>
                  </a:lnTo>
                  <a:lnTo>
                    <a:pt x="1059" y="676"/>
                  </a:lnTo>
                  <a:lnTo>
                    <a:pt x="1059" y="674"/>
                  </a:lnTo>
                  <a:lnTo>
                    <a:pt x="1059" y="674"/>
                  </a:lnTo>
                  <a:lnTo>
                    <a:pt x="1059" y="674"/>
                  </a:lnTo>
                  <a:lnTo>
                    <a:pt x="1059" y="674"/>
                  </a:lnTo>
                  <a:lnTo>
                    <a:pt x="1059" y="676"/>
                  </a:lnTo>
                  <a:lnTo>
                    <a:pt x="1057" y="674"/>
                  </a:lnTo>
                  <a:lnTo>
                    <a:pt x="1057" y="674"/>
                  </a:lnTo>
                  <a:lnTo>
                    <a:pt x="1057" y="676"/>
                  </a:lnTo>
                  <a:lnTo>
                    <a:pt x="1057" y="676"/>
                  </a:lnTo>
                  <a:lnTo>
                    <a:pt x="1057" y="678"/>
                  </a:lnTo>
                  <a:lnTo>
                    <a:pt x="1057" y="678"/>
                  </a:lnTo>
                  <a:lnTo>
                    <a:pt x="1057" y="678"/>
                  </a:lnTo>
                  <a:lnTo>
                    <a:pt x="1057" y="680"/>
                  </a:lnTo>
                  <a:lnTo>
                    <a:pt x="1055" y="680"/>
                  </a:lnTo>
                  <a:lnTo>
                    <a:pt x="1057" y="678"/>
                  </a:lnTo>
                  <a:lnTo>
                    <a:pt x="1055" y="678"/>
                  </a:lnTo>
                  <a:lnTo>
                    <a:pt x="1055" y="678"/>
                  </a:lnTo>
                  <a:lnTo>
                    <a:pt x="1055" y="678"/>
                  </a:lnTo>
                  <a:lnTo>
                    <a:pt x="1055" y="676"/>
                  </a:lnTo>
                  <a:lnTo>
                    <a:pt x="1055" y="678"/>
                  </a:lnTo>
                  <a:lnTo>
                    <a:pt x="1055" y="678"/>
                  </a:lnTo>
                  <a:lnTo>
                    <a:pt x="1055" y="678"/>
                  </a:lnTo>
                  <a:lnTo>
                    <a:pt x="1055" y="678"/>
                  </a:lnTo>
                  <a:lnTo>
                    <a:pt x="1053" y="678"/>
                  </a:lnTo>
                  <a:lnTo>
                    <a:pt x="1053" y="676"/>
                  </a:lnTo>
                  <a:lnTo>
                    <a:pt x="1055" y="676"/>
                  </a:lnTo>
                  <a:lnTo>
                    <a:pt x="1055" y="676"/>
                  </a:lnTo>
                  <a:lnTo>
                    <a:pt x="1053" y="676"/>
                  </a:lnTo>
                  <a:lnTo>
                    <a:pt x="1053" y="676"/>
                  </a:lnTo>
                  <a:lnTo>
                    <a:pt x="1053" y="674"/>
                  </a:lnTo>
                  <a:lnTo>
                    <a:pt x="1053" y="674"/>
                  </a:lnTo>
                  <a:lnTo>
                    <a:pt x="1053" y="672"/>
                  </a:lnTo>
                  <a:lnTo>
                    <a:pt x="1051" y="672"/>
                  </a:lnTo>
                  <a:lnTo>
                    <a:pt x="1051" y="672"/>
                  </a:lnTo>
                  <a:lnTo>
                    <a:pt x="1051" y="674"/>
                  </a:lnTo>
                  <a:lnTo>
                    <a:pt x="1051" y="672"/>
                  </a:lnTo>
                  <a:lnTo>
                    <a:pt x="1051" y="672"/>
                  </a:lnTo>
                  <a:lnTo>
                    <a:pt x="1049" y="672"/>
                  </a:lnTo>
                  <a:lnTo>
                    <a:pt x="1049" y="672"/>
                  </a:lnTo>
                  <a:lnTo>
                    <a:pt x="1049" y="672"/>
                  </a:lnTo>
                  <a:lnTo>
                    <a:pt x="1049" y="672"/>
                  </a:lnTo>
                  <a:lnTo>
                    <a:pt x="1049" y="674"/>
                  </a:lnTo>
                  <a:lnTo>
                    <a:pt x="1049" y="674"/>
                  </a:lnTo>
                  <a:lnTo>
                    <a:pt x="1049" y="674"/>
                  </a:lnTo>
                  <a:lnTo>
                    <a:pt x="1049" y="674"/>
                  </a:lnTo>
                  <a:lnTo>
                    <a:pt x="1049" y="674"/>
                  </a:lnTo>
                  <a:lnTo>
                    <a:pt x="1047" y="674"/>
                  </a:lnTo>
                  <a:lnTo>
                    <a:pt x="1047" y="674"/>
                  </a:lnTo>
                  <a:lnTo>
                    <a:pt x="1047" y="674"/>
                  </a:lnTo>
                  <a:lnTo>
                    <a:pt x="1047" y="674"/>
                  </a:lnTo>
                  <a:lnTo>
                    <a:pt x="1047" y="674"/>
                  </a:lnTo>
                  <a:lnTo>
                    <a:pt x="1047" y="676"/>
                  </a:lnTo>
                  <a:lnTo>
                    <a:pt x="1045" y="676"/>
                  </a:lnTo>
                  <a:lnTo>
                    <a:pt x="1043" y="676"/>
                  </a:lnTo>
                  <a:lnTo>
                    <a:pt x="1043" y="676"/>
                  </a:lnTo>
                  <a:lnTo>
                    <a:pt x="1043" y="676"/>
                  </a:lnTo>
                  <a:lnTo>
                    <a:pt x="1045" y="678"/>
                  </a:lnTo>
                  <a:lnTo>
                    <a:pt x="1047" y="678"/>
                  </a:lnTo>
                  <a:lnTo>
                    <a:pt x="1047" y="678"/>
                  </a:lnTo>
                  <a:lnTo>
                    <a:pt x="1047" y="678"/>
                  </a:lnTo>
                  <a:lnTo>
                    <a:pt x="1045" y="678"/>
                  </a:lnTo>
                  <a:lnTo>
                    <a:pt x="1045" y="678"/>
                  </a:lnTo>
                  <a:lnTo>
                    <a:pt x="1045" y="678"/>
                  </a:lnTo>
                  <a:lnTo>
                    <a:pt x="1047" y="680"/>
                  </a:lnTo>
                  <a:lnTo>
                    <a:pt x="1047" y="680"/>
                  </a:lnTo>
                  <a:lnTo>
                    <a:pt x="1047" y="680"/>
                  </a:lnTo>
                  <a:lnTo>
                    <a:pt x="1047" y="682"/>
                  </a:lnTo>
                  <a:lnTo>
                    <a:pt x="1047" y="682"/>
                  </a:lnTo>
                  <a:lnTo>
                    <a:pt x="1047" y="682"/>
                  </a:lnTo>
                  <a:lnTo>
                    <a:pt x="1047" y="684"/>
                  </a:lnTo>
                  <a:lnTo>
                    <a:pt x="1045" y="682"/>
                  </a:lnTo>
                  <a:lnTo>
                    <a:pt x="1045" y="682"/>
                  </a:lnTo>
                  <a:lnTo>
                    <a:pt x="1045" y="682"/>
                  </a:lnTo>
                  <a:lnTo>
                    <a:pt x="1045" y="682"/>
                  </a:lnTo>
                  <a:lnTo>
                    <a:pt x="1043" y="682"/>
                  </a:lnTo>
                  <a:lnTo>
                    <a:pt x="1040" y="682"/>
                  </a:lnTo>
                  <a:lnTo>
                    <a:pt x="1040" y="682"/>
                  </a:lnTo>
                  <a:lnTo>
                    <a:pt x="1040" y="680"/>
                  </a:lnTo>
                  <a:lnTo>
                    <a:pt x="1038" y="680"/>
                  </a:lnTo>
                  <a:lnTo>
                    <a:pt x="1038" y="680"/>
                  </a:lnTo>
                  <a:lnTo>
                    <a:pt x="1038" y="682"/>
                  </a:lnTo>
                  <a:lnTo>
                    <a:pt x="1036" y="682"/>
                  </a:lnTo>
                  <a:lnTo>
                    <a:pt x="1038" y="684"/>
                  </a:lnTo>
                  <a:lnTo>
                    <a:pt x="1038" y="684"/>
                  </a:lnTo>
                  <a:lnTo>
                    <a:pt x="1038" y="684"/>
                  </a:lnTo>
                  <a:lnTo>
                    <a:pt x="1038" y="684"/>
                  </a:lnTo>
                  <a:lnTo>
                    <a:pt x="1038" y="687"/>
                  </a:lnTo>
                  <a:lnTo>
                    <a:pt x="1040" y="687"/>
                  </a:lnTo>
                  <a:lnTo>
                    <a:pt x="1043" y="689"/>
                  </a:lnTo>
                  <a:lnTo>
                    <a:pt x="1043" y="689"/>
                  </a:lnTo>
                  <a:lnTo>
                    <a:pt x="1043" y="689"/>
                  </a:lnTo>
                  <a:lnTo>
                    <a:pt x="1040" y="689"/>
                  </a:lnTo>
                  <a:lnTo>
                    <a:pt x="1040" y="687"/>
                  </a:lnTo>
                  <a:lnTo>
                    <a:pt x="1040" y="687"/>
                  </a:lnTo>
                  <a:lnTo>
                    <a:pt x="1040" y="689"/>
                  </a:lnTo>
                  <a:lnTo>
                    <a:pt x="1040" y="689"/>
                  </a:lnTo>
                  <a:lnTo>
                    <a:pt x="1040" y="689"/>
                  </a:lnTo>
                  <a:lnTo>
                    <a:pt x="1038" y="689"/>
                  </a:lnTo>
                  <a:lnTo>
                    <a:pt x="1038" y="687"/>
                  </a:lnTo>
                  <a:lnTo>
                    <a:pt x="1038" y="687"/>
                  </a:lnTo>
                  <a:lnTo>
                    <a:pt x="1034" y="687"/>
                  </a:lnTo>
                  <a:lnTo>
                    <a:pt x="1034" y="687"/>
                  </a:lnTo>
                  <a:lnTo>
                    <a:pt x="1034" y="689"/>
                  </a:lnTo>
                  <a:lnTo>
                    <a:pt x="1034" y="689"/>
                  </a:lnTo>
                  <a:lnTo>
                    <a:pt x="1034" y="691"/>
                  </a:lnTo>
                  <a:lnTo>
                    <a:pt x="1034" y="691"/>
                  </a:lnTo>
                  <a:lnTo>
                    <a:pt x="1036" y="691"/>
                  </a:lnTo>
                  <a:lnTo>
                    <a:pt x="1038" y="691"/>
                  </a:lnTo>
                  <a:lnTo>
                    <a:pt x="1038" y="693"/>
                  </a:lnTo>
                  <a:lnTo>
                    <a:pt x="1038" y="693"/>
                  </a:lnTo>
                  <a:lnTo>
                    <a:pt x="1038" y="693"/>
                  </a:lnTo>
                  <a:lnTo>
                    <a:pt x="1038" y="695"/>
                  </a:lnTo>
                  <a:lnTo>
                    <a:pt x="1040" y="695"/>
                  </a:lnTo>
                  <a:lnTo>
                    <a:pt x="1043" y="697"/>
                  </a:lnTo>
                  <a:lnTo>
                    <a:pt x="1045" y="697"/>
                  </a:lnTo>
                  <a:lnTo>
                    <a:pt x="1047" y="697"/>
                  </a:lnTo>
                  <a:lnTo>
                    <a:pt x="1047" y="697"/>
                  </a:lnTo>
                  <a:lnTo>
                    <a:pt x="1047" y="695"/>
                  </a:lnTo>
                  <a:lnTo>
                    <a:pt x="1047" y="693"/>
                  </a:lnTo>
                  <a:lnTo>
                    <a:pt x="1047" y="695"/>
                  </a:lnTo>
                  <a:lnTo>
                    <a:pt x="1047" y="695"/>
                  </a:lnTo>
                  <a:lnTo>
                    <a:pt x="1049" y="695"/>
                  </a:lnTo>
                  <a:lnTo>
                    <a:pt x="1049" y="693"/>
                  </a:lnTo>
                  <a:lnTo>
                    <a:pt x="1049" y="693"/>
                  </a:lnTo>
                  <a:lnTo>
                    <a:pt x="1049" y="693"/>
                  </a:lnTo>
                  <a:lnTo>
                    <a:pt x="1051" y="693"/>
                  </a:lnTo>
                  <a:lnTo>
                    <a:pt x="1051" y="693"/>
                  </a:lnTo>
                  <a:lnTo>
                    <a:pt x="1051" y="693"/>
                  </a:lnTo>
                  <a:lnTo>
                    <a:pt x="1051" y="693"/>
                  </a:lnTo>
                  <a:lnTo>
                    <a:pt x="1051" y="691"/>
                  </a:lnTo>
                  <a:lnTo>
                    <a:pt x="1051" y="691"/>
                  </a:lnTo>
                  <a:lnTo>
                    <a:pt x="1051" y="689"/>
                  </a:lnTo>
                  <a:lnTo>
                    <a:pt x="1051" y="687"/>
                  </a:lnTo>
                  <a:lnTo>
                    <a:pt x="1051" y="687"/>
                  </a:lnTo>
                  <a:lnTo>
                    <a:pt x="1051" y="687"/>
                  </a:lnTo>
                  <a:lnTo>
                    <a:pt x="1053" y="687"/>
                  </a:lnTo>
                  <a:lnTo>
                    <a:pt x="1053" y="687"/>
                  </a:lnTo>
                  <a:lnTo>
                    <a:pt x="1053" y="689"/>
                  </a:lnTo>
                  <a:lnTo>
                    <a:pt x="1053" y="691"/>
                  </a:lnTo>
                  <a:lnTo>
                    <a:pt x="1053" y="693"/>
                  </a:lnTo>
                  <a:lnTo>
                    <a:pt x="1053" y="693"/>
                  </a:lnTo>
                  <a:lnTo>
                    <a:pt x="1053" y="691"/>
                  </a:lnTo>
                  <a:lnTo>
                    <a:pt x="1055" y="691"/>
                  </a:lnTo>
                  <a:lnTo>
                    <a:pt x="1055" y="691"/>
                  </a:lnTo>
                  <a:lnTo>
                    <a:pt x="1055" y="691"/>
                  </a:lnTo>
                  <a:lnTo>
                    <a:pt x="1057" y="691"/>
                  </a:lnTo>
                  <a:lnTo>
                    <a:pt x="1057" y="691"/>
                  </a:lnTo>
                  <a:lnTo>
                    <a:pt x="1057" y="691"/>
                  </a:lnTo>
                  <a:lnTo>
                    <a:pt x="1057" y="691"/>
                  </a:lnTo>
                  <a:lnTo>
                    <a:pt x="1057" y="691"/>
                  </a:lnTo>
                  <a:lnTo>
                    <a:pt x="1057" y="691"/>
                  </a:lnTo>
                  <a:lnTo>
                    <a:pt x="1059" y="691"/>
                  </a:lnTo>
                  <a:lnTo>
                    <a:pt x="1059" y="691"/>
                  </a:lnTo>
                  <a:lnTo>
                    <a:pt x="1059" y="691"/>
                  </a:lnTo>
                  <a:lnTo>
                    <a:pt x="1059" y="691"/>
                  </a:lnTo>
                  <a:lnTo>
                    <a:pt x="1059" y="691"/>
                  </a:lnTo>
                  <a:lnTo>
                    <a:pt x="1059" y="691"/>
                  </a:lnTo>
                  <a:lnTo>
                    <a:pt x="1059" y="689"/>
                  </a:lnTo>
                  <a:lnTo>
                    <a:pt x="1059" y="689"/>
                  </a:lnTo>
                  <a:lnTo>
                    <a:pt x="1059" y="689"/>
                  </a:lnTo>
                  <a:lnTo>
                    <a:pt x="1059" y="687"/>
                  </a:lnTo>
                  <a:lnTo>
                    <a:pt x="1057" y="687"/>
                  </a:lnTo>
                  <a:lnTo>
                    <a:pt x="1057" y="687"/>
                  </a:lnTo>
                  <a:lnTo>
                    <a:pt x="1057" y="687"/>
                  </a:lnTo>
                  <a:lnTo>
                    <a:pt x="1057" y="687"/>
                  </a:lnTo>
                  <a:lnTo>
                    <a:pt x="1057" y="687"/>
                  </a:lnTo>
                  <a:lnTo>
                    <a:pt x="1059" y="687"/>
                  </a:lnTo>
                  <a:lnTo>
                    <a:pt x="1059" y="687"/>
                  </a:lnTo>
                  <a:lnTo>
                    <a:pt x="1059" y="687"/>
                  </a:lnTo>
                  <a:lnTo>
                    <a:pt x="1059" y="687"/>
                  </a:lnTo>
                  <a:lnTo>
                    <a:pt x="1059" y="687"/>
                  </a:lnTo>
                  <a:lnTo>
                    <a:pt x="1059" y="687"/>
                  </a:lnTo>
                  <a:lnTo>
                    <a:pt x="1059" y="684"/>
                  </a:lnTo>
                  <a:lnTo>
                    <a:pt x="1059" y="684"/>
                  </a:lnTo>
                  <a:lnTo>
                    <a:pt x="1059" y="682"/>
                  </a:lnTo>
                  <a:lnTo>
                    <a:pt x="1059" y="684"/>
                  </a:lnTo>
                  <a:lnTo>
                    <a:pt x="1059" y="682"/>
                  </a:lnTo>
                  <a:lnTo>
                    <a:pt x="1059" y="682"/>
                  </a:lnTo>
                  <a:lnTo>
                    <a:pt x="1059" y="682"/>
                  </a:lnTo>
                  <a:lnTo>
                    <a:pt x="1061" y="682"/>
                  </a:lnTo>
                  <a:lnTo>
                    <a:pt x="1061" y="682"/>
                  </a:lnTo>
                  <a:lnTo>
                    <a:pt x="1061" y="684"/>
                  </a:lnTo>
                  <a:lnTo>
                    <a:pt x="1061" y="687"/>
                  </a:lnTo>
                  <a:lnTo>
                    <a:pt x="1061" y="687"/>
                  </a:lnTo>
                  <a:lnTo>
                    <a:pt x="1063" y="689"/>
                  </a:lnTo>
                  <a:lnTo>
                    <a:pt x="1063" y="689"/>
                  </a:lnTo>
                  <a:lnTo>
                    <a:pt x="1065" y="689"/>
                  </a:lnTo>
                  <a:lnTo>
                    <a:pt x="1065" y="687"/>
                  </a:lnTo>
                  <a:lnTo>
                    <a:pt x="1065" y="687"/>
                  </a:lnTo>
                  <a:lnTo>
                    <a:pt x="1065" y="687"/>
                  </a:lnTo>
                  <a:lnTo>
                    <a:pt x="1065" y="687"/>
                  </a:lnTo>
                  <a:lnTo>
                    <a:pt x="1065" y="687"/>
                  </a:lnTo>
                  <a:lnTo>
                    <a:pt x="1067" y="687"/>
                  </a:lnTo>
                  <a:lnTo>
                    <a:pt x="1067" y="684"/>
                  </a:lnTo>
                  <a:lnTo>
                    <a:pt x="1067" y="684"/>
                  </a:lnTo>
                  <a:lnTo>
                    <a:pt x="1067" y="682"/>
                  </a:lnTo>
                  <a:lnTo>
                    <a:pt x="1067" y="682"/>
                  </a:lnTo>
                  <a:lnTo>
                    <a:pt x="1067" y="680"/>
                  </a:lnTo>
                  <a:lnTo>
                    <a:pt x="1067" y="680"/>
                  </a:lnTo>
                  <a:lnTo>
                    <a:pt x="1067" y="680"/>
                  </a:lnTo>
                  <a:close/>
                  <a:moveTo>
                    <a:pt x="1057" y="650"/>
                  </a:moveTo>
                  <a:lnTo>
                    <a:pt x="1057" y="650"/>
                  </a:lnTo>
                  <a:lnTo>
                    <a:pt x="1057" y="650"/>
                  </a:lnTo>
                  <a:lnTo>
                    <a:pt x="1057" y="650"/>
                  </a:lnTo>
                  <a:lnTo>
                    <a:pt x="1059" y="650"/>
                  </a:lnTo>
                  <a:lnTo>
                    <a:pt x="1059" y="648"/>
                  </a:lnTo>
                  <a:lnTo>
                    <a:pt x="1061" y="648"/>
                  </a:lnTo>
                  <a:lnTo>
                    <a:pt x="1061" y="648"/>
                  </a:lnTo>
                  <a:lnTo>
                    <a:pt x="1061" y="648"/>
                  </a:lnTo>
                  <a:lnTo>
                    <a:pt x="1061" y="648"/>
                  </a:lnTo>
                  <a:lnTo>
                    <a:pt x="1061" y="648"/>
                  </a:lnTo>
                  <a:lnTo>
                    <a:pt x="1061" y="648"/>
                  </a:lnTo>
                  <a:lnTo>
                    <a:pt x="1061" y="648"/>
                  </a:lnTo>
                  <a:lnTo>
                    <a:pt x="1061" y="648"/>
                  </a:lnTo>
                  <a:lnTo>
                    <a:pt x="1059" y="648"/>
                  </a:lnTo>
                  <a:lnTo>
                    <a:pt x="1059" y="648"/>
                  </a:lnTo>
                  <a:lnTo>
                    <a:pt x="1057" y="646"/>
                  </a:lnTo>
                  <a:lnTo>
                    <a:pt x="1057" y="646"/>
                  </a:lnTo>
                  <a:lnTo>
                    <a:pt x="1057" y="648"/>
                  </a:lnTo>
                  <a:lnTo>
                    <a:pt x="1057" y="648"/>
                  </a:lnTo>
                  <a:lnTo>
                    <a:pt x="1057" y="650"/>
                  </a:lnTo>
                  <a:close/>
                  <a:moveTo>
                    <a:pt x="1065" y="648"/>
                  </a:moveTo>
                  <a:lnTo>
                    <a:pt x="1063" y="650"/>
                  </a:lnTo>
                  <a:lnTo>
                    <a:pt x="1065" y="650"/>
                  </a:lnTo>
                  <a:lnTo>
                    <a:pt x="1065" y="650"/>
                  </a:lnTo>
                  <a:lnTo>
                    <a:pt x="1065" y="650"/>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close/>
                  <a:moveTo>
                    <a:pt x="1110" y="619"/>
                  </a:moveTo>
                  <a:lnTo>
                    <a:pt x="1110" y="619"/>
                  </a:lnTo>
                  <a:lnTo>
                    <a:pt x="1108" y="619"/>
                  </a:lnTo>
                  <a:lnTo>
                    <a:pt x="1108" y="619"/>
                  </a:lnTo>
                  <a:lnTo>
                    <a:pt x="1106" y="621"/>
                  </a:lnTo>
                  <a:lnTo>
                    <a:pt x="1106" y="621"/>
                  </a:lnTo>
                  <a:lnTo>
                    <a:pt x="1106" y="621"/>
                  </a:lnTo>
                  <a:lnTo>
                    <a:pt x="1108" y="621"/>
                  </a:lnTo>
                  <a:lnTo>
                    <a:pt x="1108" y="621"/>
                  </a:lnTo>
                  <a:lnTo>
                    <a:pt x="1108" y="621"/>
                  </a:lnTo>
                  <a:lnTo>
                    <a:pt x="1108" y="621"/>
                  </a:lnTo>
                  <a:lnTo>
                    <a:pt x="1108" y="621"/>
                  </a:lnTo>
                  <a:lnTo>
                    <a:pt x="1108" y="621"/>
                  </a:lnTo>
                  <a:lnTo>
                    <a:pt x="1108" y="619"/>
                  </a:lnTo>
                  <a:lnTo>
                    <a:pt x="1110" y="619"/>
                  </a:lnTo>
                  <a:lnTo>
                    <a:pt x="1110" y="621"/>
                  </a:lnTo>
                  <a:lnTo>
                    <a:pt x="1110" y="621"/>
                  </a:lnTo>
                  <a:lnTo>
                    <a:pt x="1110" y="621"/>
                  </a:lnTo>
                  <a:lnTo>
                    <a:pt x="1110" y="621"/>
                  </a:lnTo>
                  <a:lnTo>
                    <a:pt x="1110" y="621"/>
                  </a:lnTo>
                  <a:lnTo>
                    <a:pt x="1110" y="619"/>
                  </a:lnTo>
                  <a:lnTo>
                    <a:pt x="1110" y="619"/>
                  </a:lnTo>
                  <a:lnTo>
                    <a:pt x="1110" y="619"/>
                  </a:lnTo>
                  <a:close/>
                  <a:moveTo>
                    <a:pt x="1165" y="551"/>
                  </a:moveTo>
                  <a:lnTo>
                    <a:pt x="1165" y="551"/>
                  </a:lnTo>
                  <a:lnTo>
                    <a:pt x="1167" y="551"/>
                  </a:lnTo>
                  <a:lnTo>
                    <a:pt x="1167" y="551"/>
                  </a:lnTo>
                  <a:lnTo>
                    <a:pt x="1167" y="551"/>
                  </a:lnTo>
                  <a:lnTo>
                    <a:pt x="1167" y="549"/>
                  </a:lnTo>
                  <a:lnTo>
                    <a:pt x="1167" y="549"/>
                  </a:lnTo>
                  <a:lnTo>
                    <a:pt x="1169" y="549"/>
                  </a:lnTo>
                  <a:lnTo>
                    <a:pt x="1167" y="549"/>
                  </a:lnTo>
                  <a:lnTo>
                    <a:pt x="1167" y="549"/>
                  </a:lnTo>
                  <a:lnTo>
                    <a:pt x="1167" y="547"/>
                  </a:lnTo>
                  <a:lnTo>
                    <a:pt x="1167" y="547"/>
                  </a:lnTo>
                  <a:lnTo>
                    <a:pt x="1167" y="547"/>
                  </a:lnTo>
                  <a:lnTo>
                    <a:pt x="1165" y="547"/>
                  </a:lnTo>
                  <a:lnTo>
                    <a:pt x="1165" y="549"/>
                  </a:lnTo>
                  <a:lnTo>
                    <a:pt x="1165" y="547"/>
                  </a:lnTo>
                  <a:lnTo>
                    <a:pt x="1165" y="547"/>
                  </a:lnTo>
                  <a:lnTo>
                    <a:pt x="1165" y="547"/>
                  </a:lnTo>
                  <a:lnTo>
                    <a:pt x="1165" y="547"/>
                  </a:lnTo>
                  <a:lnTo>
                    <a:pt x="1165" y="547"/>
                  </a:lnTo>
                  <a:lnTo>
                    <a:pt x="1165" y="547"/>
                  </a:lnTo>
                  <a:lnTo>
                    <a:pt x="1165" y="549"/>
                  </a:lnTo>
                  <a:lnTo>
                    <a:pt x="1165" y="549"/>
                  </a:lnTo>
                  <a:lnTo>
                    <a:pt x="1165" y="547"/>
                  </a:lnTo>
                  <a:lnTo>
                    <a:pt x="1165" y="547"/>
                  </a:lnTo>
                  <a:lnTo>
                    <a:pt x="1163" y="549"/>
                  </a:lnTo>
                  <a:lnTo>
                    <a:pt x="1165" y="551"/>
                  </a:lnTo>
                  <a:lnTo>
                    <a:pt x="1165" y="551"/>
                  </a:lnTo>
                  <a:close/>
                  <a:moveTo>
                    <a:pt x="1172" y="570"/>
                  </a:moveTo>
                  <a:lnTo>
                    <a:pt x="1169" y="570"/>
                  </a:lnTo>
                  <a:lnTo>
                    <a:pt x="1169" y="570"/>
                  </a:lnTo>
                  <a:lnTo>
                    <a:pt x="1169" y="572"/>
                  </a:lnTo>
                  <a:lnTo>
                    <a:pt x="1169" y="572"/>
                  </a:lnTo>
                  <a:lnTo>
                    <a:pt x="1169" y="572"/>
                  </a:lnTo>
                  <a:lnTo>
                    <a:pt x="1169" y="572"/>
                  </a:lnTo>
                  <a:lnTo>
                    <a:pt x="1169" y="572"/>
                  </a:lnTo>
                  <a:lnTo>
                    <a:pt x="1169" y="574"/>
                  </a:lnTo>
                  <a:lnTo>
                    <a:pt x="1169" y="574"/>
                  </a:lnTo>
                  <a:lnTo>
                    <a:pt x="1172" y="574"/>
                  </a:lnTo>
                  <a:lnTo>
                    <a:pt x="1172" y="574"/>
                  </a:lnTo>
                  <a:lnTo>
                    <a:pt x="1172" y="572"/>
                  </a:lnTo>
                  <a:lnTo>
                    <a:pt x="1172" y="574"/>
                  </a:lnTo>
                  <a:lnTo>
                    <a:pt x="1172" y="576"/>
                  </a:lnTo>
                  <a:lnTo>
                    <a:pt x="1172" y="576"/>
                  </a:lnTo>
                  <a:lnTo>
                    <a:pt x="1172" y="576"/>
                  </a:lnTo>
                  <a:lnTo>
                    <a:pt x="1172" y="576"/>
                  </a:lnTo>
                  <a:lnTo>
                    <a:pt x="1172" y="576"/>
                  </a:lnTo>
                  <a:lnTo>
                    <a:pt x="1174" y="576"/>
                  </a:lnTo>
                  <a:lnTo>
                    <a:pt x="1174" y="576"/>
                  </a:lnTo>
                  <a:lnTo>
                    <a:pt x="1174" y="574"/>
                  </a:lnTo>
                  <a:lnTo>
                    <a:pt x="1174" y="572"/>
                  </a:lnTo>
                  <a:lnTo>
                    <a:pt x="1174" y="572"/>
                  </a:lnTo>
                  <a:lnTo>
                    <a:pt x="1174" y="572"/>
                  </a:lnTo>
                  <a:lnTo>
                    <a:pt x="1174" y="570"/>
                  </a:lnTo>
                  <a:lnTo>
                    <a:pt x="1176" y="568"/>
                  </a:lnTo>
                  <a:lnTo>
                    <a:pt x="1176" y="566"/>
                  </a:lnTo>
                  <a:lnTo>
                    <a:pt x="1176" y="566"/>
                  </a:lnTo>
                  <a:lnTo>
                    <a:pt x="1176" y="564"/>
                  </a:lnTo>
                  <a:lnTo>
                    <a:pt x="1174" y="566"/>
                  </a:lnTo>
                  <a:lnTo>
                    <a:pt x="1174" y="566"/>
                  </a:lnTo>
                  <a:lnTo>
                    <a:pt x="1174" y="566"/>
                  </a:lnTo>
                  <a:lnTo>
                    <a:pt x="1174" y="566"/>
                  </a:lnTo>
                  <a:lnTo>
                    <a:pt x="1174" y="564"/>
                  </a:lnTo>
                  <a:lnTo>
                    <a:pt x="1174" y="564"/>
                  </a:lnTo>
                  <a:lnTo>
                    <a:pt x="1176" y="564"/>
                  </a:lnTo>
                  <a:lnTo>
                    <a:pt x="1176" y="564"/>
                  </a:lnTo>
                  <a:lnTo>
                    <a:pt x="1176" y="562"/>
                  </a:lnTo>
                  <a:lnTo>
                    <a:pt x="1176" y="562"/>
                  </a:lnTo>
                  <a:lnTo>
                    <a:pt x="1176" y="562"/>
                  </a:lnTo>
                  <a:lnTo>
                    <a:pt x="1176" y="562"/>
                  </a:lnTo>
                  <a:lnTo>
                    <a:pt x="1176" y="562"/>
                  </a:lnTo>
                  <a:lnTo>
                    <a:pt x="1176" y="562"/>
                  </a:lnTo>
                  <a:lnTo>
                    <a:pt x="1176" y="559"/>
                  </a:lnTo>
                  <a:lnTo>
                    <a:pt x="1176" y="559"/>
                  </a:lnTo>
                  <a:lnTo>
                    <a:pt x="1176" y="559"/>
                  </a:lnTo>
                  <a:lnTo>
                    <a:pt x="1174" y="559"/>
                  </a:lnTo>
                  <a:lnTo>
                    <a:pt x="1174" y="562"/>
                  </a:lnTo>
                  <a:lnTo>
                    <a:pt x="1174" y="559"/>
                  </a:lnTo>
                  <a:lnTo>
                    <a:pt x="1174" y="559"/>
                  </a:lnTo>
                  <a:lnTo>
                    <a:pt x="1174" y="559"/>
                  </a:lnTo>
                  <a:lnTo>
                    <a:pt x="1174" y="562"/>
                  </a:lnTo>
                  <a:lnTo>
                    <a:pt x="1174" y="562"/>
                  </a:lnTo>
                  <a:lnTo>
                    <a:pt x="1174" y="562"/>
                  </a:lnTo>
                  <a:lnTo>
                    <a:pt x="1172" y="564"/>
                  </a:lnTo>
                  <a:lnTo>
                    <a:pt x="1172" y="562"/>
                  </a:lnTo>
                  <a:lnTo>
                    <a:pt x="1172" y="562"/>
                  </a:lnTo>
                  <a:lnTo>
                    <a:pt x="1172" y="559"/>
                  </a:lnTo>
                  <a:lnTo>
                    <a:pt x="1172" y="562"/>
                  </a:lnTo>
                  <a:lnTo>
                    <a:pt x="1172" y="562"/>
                  </a:lnTo>
                  <a:lnTo>
                    <a:pt x="1169" y="566"/>
                  </a:lnTo>
                  <a:lnTo>
                    <a:pt x="1172" y="566"/>
                  </a:lnTo>
                  <a:lnTo>
                    <a:pt x="1172" y="564"/>
                  </a:lnTo>
                  <a:lnTo>
                    <a:pt x="1172" y="564"/>
                  </a:lnTo>
                  <a:lnTo>
                    <a:pt x="1172" y="566"/>
                  </a:lnTo>
                  <a:lnTo>
                    <a:pt x="1172" y="566"/>
                  </a:lnTo>
                  <a:lnTo>
                    <a:pt x="1172" y="566"/>
                  </a:lnTo>
                  <a:lnTo>
                    <a:pt x="1169" y="566"/>
                  </a:lnTo>
                  <a:lnTo>
                    <a:pt x="1169" y="566"/>
                  </a:lnTo>
                  <a:lnTo>
                    <a:pt x="1169" y="566"/>
                  </a:lnTo>
                  <a:lnTo>
                    <a:pt x="1172" y="568"/>
                  </a:lnTo>
                  <a:lnTo>
                    <a:pt x="1172" y="568"/>
                  </a:lnTo>
                  <a:lnTo>
                    <a:pt x="1169" y="568"/>
                  </a:lnTo>
                  <a:lnTo>
                    <a:pt x="1169" y="568"/>
                  </a:lnTo>
                  <a:lnTo>
                    <a:pt x="1169" y="568"/>
                  </a:lnTo>
                  <a:lnTo>
                    <a:pt x="1169" y="568"/>
                  </a:lnTo>
                  <a:lnTo>
                    <a:pt x="1169" y="568"/>
                  </a:lnTo>
                  <a:lnTo>
                    <a:pt x="1169" y="568"/>
                  </a:lnTo>
                  <a:lnTo>
                    <a:pt x="1172" y="568"/>
                  </a:lnTo>
                  <a:lnTo>
                    <a:pt x="1172" y="568"/>
                  </a:lnTo>
                  <a:lnTo>
                    <a:pt x="1172" y="568"/>
                  </a:lnTo>
                  <a:lnTo>
                    <a:pt x="1172" y="570"/>
                  </a:lnTo>
                  <a:lnTo>
                    <a:pt x="1172" y="570"/>
                  </a:lnTo>
                  <a:close/>
                  <a:moveTo>
                    <a:pt x="1167" y="580"/>
                  </a:moveTo>
                  <a:lnTo>
                    <a:pt x="1167" y="580"/>
                  </a:lnTo>
                  <a:lnTo>
                    <a:pt x="1165" y="582"/>
                  </a:lnTo>
                  <a:lnTo>
                    <a:pt x="1165" y="582"/>
                  </a:lnTo>
                  <a:lnTo>
                    <a:pt x="1165" y="584"/>
                  </a:lnTo>
                  <a:lnTo>
                    <a:pt x="1163" y="584"/>
                  </a:lnTo>
                  <a:lnTo>
                    <a:pt x="1163" y="586"/>
                  </a:lnTo>
                  <a:lnTo>
                    <a:pt x="1165" y="586"/>
                  </a:lnTo>
                  <a:lnTo>
                    <a:pt x="1165" y="586"/>
                  </a:lnTo>
                  <a:lnTo>
                    <a:pt x="1167" y="584"/>
                  </a:lnTo>
                  <a:lnTo>
                    <a:pt x="1165" y="584"/>
                  </a:lnTo>
                  <a:lnTo>
                    <a:pt x="1165" y="584"/>
                  </a:lnTo>
                  <a:lnTo>
                    <a:pt x="1165" y="582"/>
                  </a:lnTo>
                  <a:lnTo>
                    <a:pt x="1167" y="582"/>
                  </a:lnTo>
                  <a:lnTo>
                    <a:pt x="1167" y="582"/>
                  </a:lnTo>
                  <a:lnTo>
                    <a:pt x="1169" y="582"/>
                  </a:lnTo>
                  <a:lnTo>
                    <a:pt x="1169" y="580"/>
                  </a:lnTo>
                  <a:lnTo>
                    <a:pt x="1169" y="580"/>
                  </a:lnTo>
                  <a:lnTo>
                    <a:pt x="1169" y="580"/>
                  </a:lnTo>
                  <a:lnTo>
                    <a:pt x="1169" y="580"/>
                  </a:lnTo>
                  <a:lnTo>
                    <a:pt x="1169" y="580"/>
                  </a:lnTo>
                  <a:lnTo>
                    <a:pt x="1169" y="580"/>
                  </a:lnTo>
                  <a:lnTo>
                    <a:pt x="1167" y="578"/>
                  </a:lnTo>
                  <a:lnTo>
                    <a:pt x="1167" y="578"/>
                  </a:lnTo>
                  <a:lnTo>
                    <a:pt x="1167" y="578"/>
                  </a:lnTo>
                  <a:lnTo>
                    <a:pt x="1167" y="578"/>
                  </a:lnTo>
                  <a:lnTo>
                    <a:pt x="1167" y="580"/>
                  </a:lnTo>
                  <a:lnTo>
                    <a:pt x="1167" y="580"/>
                  </a:lnTo>
                  <a:close/>
                  <a:moveTo>
                    <a:pt x="1163" y="584"/>
                  </a:moveTo>
                  <a:lnTo>
                    <a:pt x="1163" y="582"/>
                  </a:lnTo>
                  <a:lnTo>
                    <a:pt x="1163" y="582"/>
                  </a:lnTo>
                  <a:lnTo>
                    <a:pt x="1165" y="582"/>
                  </a:lnTo>
                  <a:lnTo>
                    <a:pt x="1165" y="582"/>
                  </a:lnTo>
                  <a:lnTo>
                    <a:pt x="1165" y="582"/>
                  </a:lnTo>
                  <a:lnTo>
                    <a:pt x="1165" y="580"/>
                  </a:lnTo>
                  <a:lnTo>
                    <a:pt x="1165" y="580"/>
                  </a:lnTo>
                  <a:lnTo>
                    <a:pt x="1165" y="578"/>
                  </a:lnTo>
                  <a:lnTo>
                    <a:pt x="1165" y="576"/>
                  </a:lnTo>
                  <a:lnTo>
                    <a:pt x="1165" y="576"/>
                  </a:lnTo>
                  <a:lnTo>
                    <a:pt x="1165" y="576"/>
                  </a:lnTo>
                  <a:lnTo>
                    <a:pt x="1165" y="576"/>
                  </a:lnTo>
                  <a:lnTo>
                    <a:pt x="1165" y="578"/>
                  </a:lnTo>
                  <a:lnTo>
                    <a:pt x="1165" y="578"/>
                  </a:lnTo>
                  <a:lnTo>
                    <a:pt x="1165" y="580"/>
                  </a:lnTo>
                  <a:lnTo>
                    <a:pt x="1163" y="580"/>
                  </a:lnTo>
                  <a:lnTo>
                    <a:pt x="1163" y="578"/>
                  </a:lnTo>
                  <a:lnTo>
                    <a:pt x="1163" y="578"/>
                  </a:lnTo>
                  <a:lnTo>
                    <a:pt x="1161" y="582"/>
                  </a:lnTo>
                  <a:lnTo>
                    <a:pt x="1159" y="582"/>
                  </a:lnTo>
                  <a:lnTo>
                    <a:pt x="1161" y="582"/>
                  </a:lnTo>
                  <a:lnTo>
                    <a:pt x="1163" y="582"/>
                  </a:lnTo>
                  <a:lnTo>
                    <a:pt x="1161" y="582"/>
                  </a:lnTo>
                  <a:lnTo>
                    <a:pt x="1161" y="584"/>
                  </a:lnTo>
                  <a:lnTo>
                    <a:pt x="1159" y="584"/>
                  </a:lnTo>
                  <a:lnTo>
                    <a:pt x="1159" y="584"/>
                  </a:lnTo>
                  <a:lnTo>
                    <a:pt x="1161" y="584"/>
                  </a:lnTo>
                  <a:lnTo>
                    <a:pt x="1163" y="584"/>
                  </a:lnTo>
                  <a:lnTo>
                    <a:pt x="1161" y="584"/>
                  </a:lnTo>
                  <a:lnTo>
                    <a:pt x="1159" y="584"/>
                  </a:lnTo>
                  <a:lnTo>
                    <a:pt x="1159" y="584"/>
                  </a:lnTo>
                  <a:lnTo>
                    <a:pt x="1161" y="586"/>
                  </a:lnTo>
                  <a:lnTo>
                    <a:pt x="1161" y="586"/>
                  </a:lnTo>
                  <a:lnTo>
                    <a:pt x="1163" y="584"/>
                  </a:lnTo>
                  <a:lnTo>
                    <a:pt x="1163" y="584"/>
                  </a:lnTo>
                  <a:close/>
                  <a:moveTo>
                    <a:pt x="1163" y="545"/>
                  </a:moveTo>
                  <a:lnTo>
                    <a:pt x="1165" y="543"/>
                  </a:lnTo>
                  <a:lnTo>
                    <a:pt x="1165" y="543"/>
                  </a:lnTo>
                  <a:lnTo>
                    <a:pt x="1165" y="543"/>
                  </a:lnTo>
                  <a:lnTo>
                    <a:pt x="1165" y="543"/>
                  </a:lnTo>
                  <a:lnTo>
                    <a:pt x="1165" y="543"/>
                  </a:lnTo>
                  <a:lnTo>
                    <a:pt x="1165" y="543"/>
                  </a:lnTo>
                  <a:lnTo>
                    <a:pt x="1165" y="543"/>
                  </a:lnTo>
                  <a:lnTo>
                    <a:pt x="1165" y="541"/>
                  </a:lnTo>
                  <a:lnTo>
                    <a:pt x="1165" y="539"/>
                  </a:lnTo>
                  <a:lnTo>
                    <a:pt x="1165" y="539"/>
                  </a:lnTo>
                  <a:lnTo>
                    <a:pt x="1163" y="537"/>
                  </a:lnTo>
                  <a:lnTo>
                    <a:pt x="1161" y="539"/>
                  </a:lnTo>
                  <a:lnTo>
                    <a:pt x="1161" y="539"/>
                  </a:lnTo>
                  <a:lnTo>
                    <a:pt x="1161" y="539"/>
                  </a:lnTo>
                  <a:lnTo>
                    <a:pt x="1161" y="539"/>
                  </a:lnTo>
                  <a:lnTo>
                    <a:pt x="1161" y="539"/>
                  </a:lnTo>
                  <a:lnTo>
                    <a:pt x="1161" y="541"/>
                  </a:lnTo>
                  <a:lnTo>
                    <a:pt x="1161" y="541"/>
                  </a:lnTo>
                  <a:lnTo>
                    <a:pt x="1161" y="543"/>
                  </a:lnTo>
                  <a:lnTo>
                    <a:pt x="1161" y="543"/>
                  </a:lnTo>
                  <a:lnTo>
                    <a:pt x="1161" y="543"/>
                  </a:lnTo>
                  <a:lnTo>
                    <a:pt x="1161" y="543"/>
                  </a:lnTo>
                  <a:lnTo>
                    <a:pt x="1161" y="545"/>
                  </a:lnTo>
                  <a:lnTo>
                    <a:pt x="1161" y="545"/>
                  </a:lnTo>
                  <a:lnTo>
                    <a:pt x="1161" y="545"/>
                  </a:lnTo>
                  <a:lnTo>
                    <a:pt x="1163" y="545"/>
                  </a:lnTo>
                  <a:lnTo>
                    <a:pt x="1163" y="545"/>
                  </a:lnTo>
                  <a:close/>
                  <a:moveTo>
                    <a:pt x="1159" y="549"/>
                  </a:moveTo>
                  <a:lnTo>
                    <a:pt x="1159" y="551"/>
                  </a:lnTo>
                  <a:lnTo>
                    <a:pt x="1161" y="551"/>
                  </a:lnTo>
                  <a:lnTo>
                    <a:pt x="1161" y="553"/>
                  </a:lnTo>
                  <a:lnTo>
                    <a:pt x="1161" y="553"/>
                  </a:lnTo>
                  <a:lnTo>
                    <a:pt x="1161" y="553"/>
                  </a:lnTo>
                  <a:lnTo>
                    <a:pt x="1161" y="551"/>
                  </a:lnTo>
                  <a:lnTo>
                    <a:pt x="1161" y="551"/>
                  </a:lnTo>
                  <a:lnTo>
                    <a:pt x="1161" y="549"/>
                  </a:lnTo>
                  <a:lnTo>
                    <a:pt x="1161" y="549"/>
                  </a:lnTo>
                  <a:lnTo>
                    <a:pt x="1161" y="549"/>
                  </a:lnTo>
                  <a:lnTo>
                    <a:pt x="1161" y="549"/>
                  </a:lnTo>
                  <a:lnTo>
                    <a:pt x="1161" y="549"/>
                  </a:lnTo>
                  <a:lnTo>
                    <a:pt x="1161" y="547"/>
                  </a:lnTo>
                  <a:lnTo>
                    <a:pt x="1161" y="547"/>
                  </a:lnTo>
                  <a:lnTo>
                    <a:pt x="1161" y="547"/>
                  </a:lnTo>
                  <a:lnTo>
                    <a:pt x="1159" y="547"/>
                  </a:lnTo>
                  <a:lnTo>
                    <a:pt x="1159" y="547"/>
                  </a:lnTo>
                  <a:lnTo>
                    <a:pt x="1159" y="547"/>
                  </a:lnTo>
                  <a:lnTo>
                    <a:pt x="1159" y="547"/>
                  </a:lnTo>
                  <a:lnTo>
                    <a:pt x="1159" y="549"/>
                  </a:lnTo>
                  <a:lnTo>
                    <a:pt x="1159" y="549"/>
                  </a:lnTo>
                  <a:close/>
                  <a:moveTo>
                    <a:pt x="1012" y="773"/>
                  </a:moveTo>
                  <a:lnTo>
                    <a:pt x="1012" y="775"/>
                  </a:lnTo>
                  <a:lnTo>
                    <a:pt x="1010" y="773"/>
                  </a:lnTo>
                  <a:lnTo>
                    <a:pt x="1010" y="775"/>
                  </a:lnTo>
                  <a:lnTo>
                    <a:pt x="1010" y="775"/>
                  </a:lnTo>
                  <a:lnTo>
                    <a:pt x="1008" y="775"/>
                  </a:lnTo>
                  <a:lnTo>
                    <a:pt x="1010" y="775"/>
                  </a:lnTo>
                  <a:lnTo>
                    <a:pt x="1010" y="775"/>
                  </a:lnTo>
                  <a:lnTo>
                    <a:pt x="1010" y="775"/>
                  </a:lnTo>
                  <a:lnTo>
                    <a:pt x="1012" y="775"/>
                  </a:lnTo>
                  <a:lnTo>
                    <a:pt x="1012" y="775"/>
                  </a:lnTo>
                  <a:lnTo>
                    <a:pt x="1012" y="775"/>
                  </a:lnTo>
                  <a:lnTo>
                    <a:pt x="1014" y="775"/>
                  </a:lnTo>
                  <a:lnTo>
                    <a:pt x="1014" y="775"/>
                  </a:lnTo>
                  <a:lnTo>
                    <a:pt x="1016" y="775"/>
                  </a:lnTo>
                  <a:lnTo>
                    <a:pt x="1016" y="773"/>
                  </a:lnTo>
                  <a:lnTo>
                    <a:pt x="1016" y="773"/>
                  </a:lnTo>
                  <a:lnTo>
                    <a:pt x="1012" y="773"/>
                  </a:lnTo>
                  <a:lnTo>
                    <a:pt x="1012" y="773"/>
                  </a:lnTo>
                  <a:close/>
                  <a:moveTo>
                    <a:pt x="1053" y="701"/>
                  </a:moveTo>
                  <a:lnTo>
                    <a:pt x="1055" y="701"/>
                  </a:lnTo>
                  <a:lnTo>
                    <a:pt x="1057" y="703"/>
                  </a:lnTo>
                  <a:lnTo>
                    <a:pt x="1057" y="703"/>
                  </a:lnTo>
                  <a:lnTo>
                    <a:pt x="1057" y="703"/>
                  </a:lnTo>
                  <a:lnTo>
                    <a:pt x="1057" y="703"/>
                  </a:lnTo>
                  <a:lnTo>
                    <a:pt x="1057" y="703"/>
                  </a:lnTo>
                  <a:lnTo>
                    <a:pt x="1059" y="701"/>
                  </a:lnTo>
                  <a:lnTo>
                    <a:pt x="1059" y="701"/>
                  </a:lnTo>
                  <a:lnTo>
                    <a:pt x="1059" y="701"/>
                  </a:lnTo>
                  <a:lnTo>
                    <a:pt x="1059" y="701"/>
                  </a:lnTo>
                  <a:lnTo>
                    <a:pt x="1057" y="701"/>
                  </a:lnTo>
                  <a:lnTo>
                    <a:pt x="1057" y="701"/>
                  </a:lnTo>
                  <a:lnTo>
                    <a:pt x="1057" y="701"/>
                  </a:lnTo>
                  <a:lnTo>
                    <a:pt x="1057" y="701"/>
                  </a:lnTo>
                  <a:lnTo>
                    <a:pt x="1057" y="701"/>
                  </a:lnTo>
                  <a:lnTo>
                    <a:pt x="1057" y="701"/>
                  </a:lnTo>
                  <a:lnTo>
                    <a:pt x="1057" y="701"/>
                  </a:lnTo>
                  <a:lnTo>
                    <a:pt x="1055" y="699"/>
                  </a:lnTo>
                  <a:lnTo>
                    <a:pt x="1057" y="699"/>
                  </a:lnTo>
                  <a:lnTo>
                    <a:pt x="1055" y="699"/>
                  </a:lnTo>
                  <a:lnTo>
                    <a:pt x="1055" y="699"/>
                  </a:lnTo>
                  <a:lnTo>
                    <a:pt x="1055" y="699"/>
                  </a:lnTo>
                  <a:lnTo>
                    <a:pt x="1055" y="699"/>
                  </a:lnTo>
                  <a:lnTo>
                    <a:pt x="1055" y="699"/>
                  </a:lnTo>
                  <a:lnTo>
                    <a:pt x="1055" y="699"/>
                  </a:lnTo>
                  <a:lnTo>
                    <a:pt x="1055" y="699"/>
                  </a:lnTo>
                  <a:lnTo>
                    <a:pt x="1055" y="699"/>
                  </a:lnTo>
                  <a:lnTo>
                    <a:pt x="1055" y="699"/>
                  </a:lnTo>
                  <a:lnTo>
                    <a:pt x="1055" y="699"/>
                  </a:lnTo>
                  <a:lnTo>
                    <a:pt x="1055" y="699"/>
                  </a:lnTo>
                  <a:lnTo>
                    <a:pt x="1055" y="701"/>
                  </a:lnTo>
                  <a:lnTo>
                    <a:pt x="1053" y="701"/>
                  </a:lnTo>
                  <a:close/>
                  <a:moveTo>
                    <a:pt x="1002" y="771"/>
                  </a:moveTo>
                  <a:lnTo>
                    <a:pt x="999" y="771"/>
                  </a:lnTo>
                  <a:lnTo>
                    <a:pt x="999" y="771"/>
                  </a:lnTo>
                  <a:lnTo>
                    <a:pt x="999" y="771"/>
                  </a:lnTo>
                  <a:lnTo>
                    <a:pt x="997" y="771"/>
                  </a:lnTo>
                  <a:lnTo>
                    <a:pt x="997" y="771"/>
                  </a:lnTo>
                  <a:lnTo>
                    <a:pt x="991" y="775"/>
                  </a:lnTo>
                  <a:lnTo>
                    <a:pt x="991" y="775"/>
                  </a:lnTo>
                  <a:lnTo>
                    <a:pt x="989" y="777"/>
                  </a:lnTo>
                  <a:lnTo>
                    <a:pt x="989" y="779"/>
                  </a:lnTo>
                  <a:lnTo>
                    <a:pt x="991" y="781"/>
                  </a:lnTo>
                  <a:lnTo>
                    <a:pt x="991" y="781"/>
                  </a:lnTo>
                  <a:lnTo>
                    <a:pt x="991" y="781"/>
                  </a:lnTo>
                  <a:lnTo>
                    <a:pt x="991" y="779"/>
                  </a:lnTo>
                  <a:lnTo>
                    <a:pt x="993" y="779"/>
                  </a:lnTo>
                  <a:lnTo>
                    <a:pt x="995" y="777"/>
                  </a:lnTo>
                  <a:lnTo>
                    <a:pt x="995" y="775"/>
                  </a:lnTo>
                  <a:lnTo>
                    <a:pt x="997" y="775"/>
                  </a:lnTo>
                  <a:lnTo>
                    <a:pt x="997" y="775"/>
                  </a:lnTo>
                  <a:lnTo>
                    <a:pt x="997" y="775"/>
                  </a:lnTo>
                  <a:lnTo>
                    <a:pt x="997" y="775"/>
                  </a:lnTo>
                  <a:lnTo>
                    <a:pt x="997" y="773"/>
                  </a:lnTo>
                  <a:lnTo>
                    <a:pt x="997" y="771"/>
                  </a:lnTo>
                  <a:lnTo>
                    <a:pt x="999" y="771"/>
                  </a:lnTo>
                  <a:lnTo>
                    <a:pt x="999" y="771"/>
                  </a:lnTo>
                  <a:lnTo>
                    <a:pt x="999" y="773"/>
                  </a:lnTo>
                  <a:lnTo>
                    <a:pt x="999" y="773"/>
                  </a:lnTo>
                  <a:lnTo>
                    <a:pt x="999" y="773"/>
                  </a:lnTo>
                  <a:lnTo>
                    <a:pt x="999" y="773"/>
                  </a:lnTo>
                  <a:lnTo>
                    <a:pt x="999" y="773"/>
                  </a:lnTo>
                  <a:lnTo>
                    <a:pt x="999" y="773"/>
                  </a:lnTo>
                  <a:lnTo>
                    <a:pt x="999" y="773"/>
                  </a:lnTo>
                  <a:lnTo>
                    <a:pt x="999" y="773"/>
                  </a:lnTo>
                  <a:lnTo>
                    <a:pt x="999" y="773"/>
                  </a:lnTo>
                  <a:lnTo>
                    <a:pt x="999" y="773"/>
                  </a:lnTo>
                  <a:lnTo>
                    <a:pt x="1002" y="773"/>
                  </a:lnTo>
                  <a:lnTo>
                    <a:pt x="1002" y="773"/>
                  </a:lnTo>
                  <a:lnTo>
                    <a:pt x="1002" y="773"/>
                  </a:lnTo>
                  <a:lnTo>
                    <a:pt x="1002" y="771"/>
                  </a:lnTo>
                  <a:close/>
                  <a:moveTo>
                    <a:pt x="1010" y="773"/>
                  </a:moveTo>
                  <a:lnTo>
                    <a:pt x="1010" y="773"/>
                  </a:lnTo>
                  <a:lnTo>
                    <a:pt x="1010" y="773"/>
                  </a:lnTo>
                  <a:lnTo>
                    <a:pt x="1010" y="773"/>
                  </a:lnTo>
                  <a:lnTo>
                    <a:pt x="1010" y="771"/>
                  </a:lnTo>
                  <a:lnTo>
                    <a:pt x="1010" y="773"/>
                  </a:lnTo>
                  <a:lnTo>
                    <a:pt x="1012" y="773"/>
                  </a:lnTo>
                  <a:lnTo>
                    <a:pt x="1010" y="773"/>
                  </a:lnTo>
                  <a:lnTo>
                    <a:pt x="1010" y="771"/>
                  </a:lnTo>
                  <a:lnTo>
                    <a:pt x="1010" y="771"/>
                  </a:lnTo>
                  <a:lnTo>
                    <a:pt x="1010" y="771"/>
                  </a:lnTo>
                  <a:lnTo>
                    <a:pt x="1010" y="771"/>
                  </a:lnTo>
                  <a:lnTo>
                    <a:pt x="1010" y="771"/>
                  </a:lnTo>
                  <a:lnTo>
                    <a:pt x="1008" y="771"/>
                  </a:lnTo>
                  <a:lnTo>
                    <a:pt x="1006" y="771"/>
                  </a:lnTo>
                  <a:lnTo>
                    <a:pt x="1006" y="771"/>
                  </a:lnTo>
                  <a:lnTo>
                    <a:pt x="1004" y="771"/>
                  </a:lnTo>
                  <a:lnTo>
                    <a:pt x="1004" y="771"/>
                  </a:lnTo>
                  <a:lnTo>
                    <a:pt x="1004" y="773"/>
                  </a:lnTo>
                  <a:lnTo>
                    <a:pt x="1002" y="773"/>
                  </a:lnTo>
                  <a:lnTo>
                    <a:pt x="1004" y="775"/>
                  </a:lnTo>
                  <a:lnTo>
                    <a:pt x="1004" y="775"/>
                  </a:lnTo>
                  <a:lnTo>
                    <a:pt x="1004" y="775"/>
                  </a:lnTo>
                  <a:lnTo>
                    <a:pt x="1004" y="775"/>
                  </a:lnTo>
                  <a:lnTo>
                    <a:pt x="1006" y="775"/>
                  </a:lnTo>
                  <a:lnTo>
                    <a:pt x="1008" y="775"/>
                  </a:lnTo>
                  <a:lnTo>
                    <a:pt x="1008" y="775"/>
                  </a:lnTo>
                  <a:lnTo>
                    <a:pt x="1008" y="775"/>
                  </a:lnTo>
                  <a:lnTo>
                    <a:pt x="1008" y="775"/>
                  </a:lnTo>
                  <a:lnTo>
                    <a:pt x="1010" y="773"/>
                  </a:lnTo>
                  <a:lnTo>
                    <a:pt x="1010" y="773"/>
                  </a:lnTo>
                  <a:close/>
                  <a:moveTo>
                    <a:pt x="1010" y="764"/>
                  </a:moveTo>
                  <a:lnTo>
                    <a:pt x="1010" y="766"/>
                  </a:lnTo>
                  <a:lnTo>
                    <a:pt x="1012" y="766"/>
                  </a:lnTo>
                  <a:lnTo>
                    <a:pt x="1012" y="766"/>
                  </a:lnTo>
                  <a:lnTo>
                    <a:pt x="1012" y="764"/>
                  </a:lnTo>
                  <a:lnTo>
                    <a:pt x="1012" y="764"/>
                  </a:lnTo>
                  <a:lnTo>
                    <a:pt x="1012" y="764"/>
                  </a:lnTo>
                  <a:lnTo>
                    <a:pt x="1012" y="764"/>
                  </a:lnTo>
                  <a:lnTo>
                    <a:pt x="1012" y="764"/>
                  </a:lnTo>
                  <a:lnTo>
                    <a:pt x="1010" y="764"/>
                  </a:lnTo>
                  <a:lnTo>
                    <a:pt x="1010" y="764"/>
                  </a:lnTo>
                  <a:lnTo>
                    <a:pt x="1010" y="764"/>
                  </a:lnTo>
                  <a:lnTo>
                    <a:pt x="1010" y="764"/>
                  </a:lnTo>
                  <a:lnTo>
                    <a:pt x="1008" y="764"/>
                  </a:lnTo>
                  <a:lnTo>
                    <a:pt x="1010" y="764"/>
                  </a:lnTo>
                  <a:lnTo>
                    <a:pt x="1010" y="764"/>
                  </a:lnTo>
                  <a:lnTo>
                    <a:pt x="1010" y="764"/>
                  </a:lnTo>
                  <a:lnTo>
                    <a:pt x="1010" y="764"/>
                  </a:lnTo>
                  <a:lnTo>
                    <a:pt x="1010" y="764"/>
                  </a:lnTo>
                  <a:close/>
                  <a:moveTo>
                    <a:pt x="932" y="789"/>
                  </a:moveTo>
                  <a:lnTo>
                    <a:pt x="932" y="789"/>
                  </a:lnTo>
                  <a:lnTo>
                    <a:pt x="932" y="789"/>
                  </a:lnTo>
                  <a:lnTo>
                    <a:pt x="932" y="789"/>
                  </a:lnTo>
                  <a:lnTo>
                    <a:pt x="932" y="789"/>
                  </a:lnTo>
                  <a:lnTo>
                    <a:pt x="932" y="789"/>
                  </a:lnTo>
                  <a:lnTo>
                    <a:pt x="932" y="789"/>
                  </a:lnTo>
                  <a:lnTo>
                    <a:pt x="932" y="789"/>
                  </a:lnTo>
                  <a:lnTo>
                    <a:pt x="932" y="789"/>
                  </a:lnTo>
                  <a:lnTo>
                    <a:pt x="932" y="789"/>
                  </a:lnTo>
                  <a:lnTo>
                    <a:pt x="932" y="791"/>
                  </a:lnTo>
                  <a:lnTo>
                    <a:pt x="932" y="791"/>
                  </a:lnTo>
                  <a:lnTo>
                    <a:pt x="932" y="791"/>
                  </a:lnTo>
                  <a:lnTo>
                    <a:pt x="932" y="791"/>
                  </a:lnTo>
                  <a:lnTo>
                    <a:pt x="932" y="791"/>
                  </a:lnTo>
                  <a:lnTo>
                    <a:pt x="932" y="791"/>
                  </a:lnTo>
                  <a:lnTo>
                    <a:pt x="932" y="791"/>
                  </a:lnTo>
                  <a:lnTo>
                    <a:pt x="932" y="791"/>
                  </a:lnTo>
                  <a:lnTo>
                    <a:pt x="932" y="789"/>
                  </a:lnTo>
                  <a:close/>
                  <a:moveTo>
                    <a:pt x="934" y="797"/>
                  </a:moveTo>
                  <a:lnTo>
                    <a:pt x="934" y="797"/>
                  </a:lnTo>
                  <a:lnTo>
                    <a:pt x="934" y="797"/>
                  </a:lnTo>
                  <a:lnTo>
                    <a:pt x="934" y="797"/>
                  </a:lnTo>
                  <a:lnTo>
                    <a:pt x="934" y="797"/>
                  </a:lnTo>
                  <a:lnTo>
                    <a:pt x="934" y="797"/>
                  </a:lnTo>
                  <a:lnTo>
                    <a:pt x="934" y="797"/>
                  </a:lnTo>
                  <a:lnTo>
                    <a:pt x="934" y="797"/>
                  </a:lnTo>
                  <a:lnTo>
                    <a:pt x="934" y="797"/>
                  </a:lnTo>
                  <a:lnTo>
                    <a:pt x="932" y="797"/>
                  </a:lnTo>
                  <a:lnTo>
                    <a:pt x="932" y="799"/>
                  </a:lnTo>
                  <a:lnTo>
                    <a:pt x="934" y="799"/>
                  </a:lnTo>
                  <a:lnTo>
                    <a:pt x="934" y="799"/>
                  </a:lnTo>
                  <a:lnTo>
                    <a:pt x="934" y="799"/>
                  </a:lnTo>
                  <a:lnTo>
                    <a:pt x="934" y="799"/>
                  </a:lnTo>
                  <a:lnTo>
                    <a:pt x="934" y="799"/>
                  </a:lnTo>
                  <a:lnTo>
                    <a:pt x="934" y="799"/>
                  </a:lnTo>
                  <a:lnTo>
                    <a:pt x="934" y="799"/>
                  </a:lnTo>
                  <a:lnTo>
                    <a:pt x="934" y="799"/>
                  </a:lnTo>
                  <a:lnTo>
                    <a:pt x="934" y="799"/>
                  </a:lnTo>
                  <a:lnTo>
                    <a:pt x="934" y="799"/>
                  </a:lnTo>
                  <a:lnTo>
                    <a:pt x="934" y="799"/>
                  </a:lnTo>
                  <a:lnTo>
                    <a:pt x="934" y="797"/>
                  </a:lnTo>
                  <a:lnTo>
                    <a:pt x="934" y="797"/>
                  </a:lnTo>
                  <a:lnTo>
                    <a:pt x="934" y="797"/>
                  </a:lnTo>
                  <a:close/>
                  <a:moveTo>
                    <a:pt x="948" y="730"/>
                  </a:moveTo>
                  <a:lnTo>
                    <a:pt x="948" y="730"/>
                  </a:lnTo>
                  <a:lnTo>
                    <a:pt x="948" y="730"/>
                  </a:lnTo>
                  <a:lnTo>
                    <a:pt x="948" y="730"/>
                  </a:lnTo>
                  <a:lnTo>
                    <a:pt x="948" y="730"/>
                  </a:lnTo>
                  <a:lnTo>
                    <a:pt x="948" y="730"/>
                  </a:lnTo>
                  <a:lnTo>
                    <a:pt x="948" y="730"/>
                  </a:lnTo>
                  <a:lnTo>
                    <a:pt x="948" y="730"/>
                  </a:lnTo>
                  <a:lnTo>
                    <a:pt x="948" y="730"/>
                  </a:lnTo>
                  <a:lnTo>
                    <a:pt x="948" y="730"/>
                  </a:lnTo>
                  <a:close/>
                  <a:moveTo>
                    <a:pt x="965" y="805"/>
                  </a:moveTo>
                  <a:lnTo>
                    <a:pt x="965" y="805"/>
                  </a:lnTo>
                  <a:lnTo>
                    <a:pt x="965" y="807"/>
                  </a:lnTo>
                  <a:lnTo>
                    <a:pt x="963" y="807"/>
                  </a:lnTo>
                  <a:lnTo>
                    <a:pt x="963" y="809"/>
                  </a:lnTo>
                  <a:lnTo>
                    <a:pt x="961" y="809"/>
                  </a:lnTo>
                  <a:lnTo>
                    <a:pt x="963" y="809"/>
                  </a:lnTo>
                  <a:lnTo>
                    <a:pt x="963" y="809"/>
                  </a:lnTo>
                  <a:lnTo>
                    <a:pt x="963" y="812"/>
                  </a:lnTo>
                  <a:lnTo>
                    <a:pt x="963" y="812"/>
                  </a:lnTo>
                  <a:lnTo>
                    <a:pt x="963" y="812"/>
                  </a:lnTo>
                  <a:lnTo>
                    <a:pt x="963" y="812"/>
                  </a:lnTo>
                  <a:lnTo>
                    <a:pt x="965" y="812"/>
                  </a:lnTo>
                  <a:lnTo>
                    <a:pt x="965" y="814"/>
                  </a:lnTo>
                  <a:lnTo>
                    <a:pt x="967" y="814"/>
                  </a:lnTo>
                  <a:lnTo>
                    <a:pt x="967" y="812"/>
                  </a:lnTo>
                  <a:lnTo>
                    <a:pt x="967" y="812"/>
                  </a:lnTo>
                  <a:lnTo>
                    <a:pt x="967" y="812"/>
                  </a:lnTo>
                  <a:lnTo>
                    <a:pt x="967" y="809"/>
                  </a:lnTo>
                  <a:lnTo>
                    <a:pt x="967" y="807"/>
                  </a:lnTo>
                  <a:lnTo>
                    <a:pt x="967" y="807"/>
                  </a:lnTo>
                  <a:lnTo>
                    <a:pt x="967" y="805"/>
                  </a:lnTo>
                  <a:lnTo>
                    <a:pt x="967" y="805"/>
                  </a:lnTo>
                  <a:lnTo>
                    <a:pt x="965" y="805"/>
                  </a:lnTo>
                  <a:close/>
                  <a:moveTo>
                    <a:pt x="1030" y="695"/>
                  </a:moveTo>
                  <a:lnTo>
                    <a:pt x="1030" y="695"/>
                  </a:lnTo>
                  <a:lnTo>
                    <a:pt x="1032" y="695"/>
                  </a:lnTo>
                  <a:lnTo>
                    <a:pt x="1032" y="695"/>
                  </a:lnTo>
                  <a:lnTo>
                    <a:pt x="1032" y="693"/>
                  </a:lnTo>
                  <a:lnTo>
                    <a:pt x="1032" y="693"/>
                  </a:lnTo>
                  <a:lnTo>
                    <a:pt x="1032" y="693"/>
                  </a:lnTo>
                  <a:lnTo>
                    <a:pt x="1034" y="695"/>
                  </a:lnTo>
                  <a:lnTo>
                    <a:pt x="1034" y="697"/>
                  </a:lnTo>
                  <a:lnTo>
                    <a:pt x="1034" y="695"/>
                  </a:lnTo>
                  <a:lnTo>
                    <a:pt x="1036" y="697"/>
                  </a:lnTo>
                  <a:lnTo>
                    <a:pt x="1038" y="697"/>
                  </a:lnTo>
                  <a:lnTo>
                    <a:pt x="1038" y="699"/>
                  </a:lnTo>
                  <a:lnTo>
                    <a:pt x="1040" y="699"/>
                  </a:lnTo>
                  <a:lnTo>
                    <a:pt x="1040" y="699"/>
                  </a:lnTo>
                  <a:lnTo>
                    <a:pt x="1040" y="697"/>
                  </a:lnTo>
                  <a:lnTo>
                    <a:pt x="1043" y="697"/>
                  </a:lnTo>
                  <a:lnTo>
                    <a:pt x="1043" y="697"/>
                  </a:lnTo>
                  <a:lnTo>
                    <a:pt x="1043" y="697"/>
                  </a:lnTo>
                  <a:lnTo>
                    <a:pt x="1043" y="697"/>
                  </a:lnTo>
                  <a:lnTo>
                    <a:pt x="1040" y="695"/>
                  </a:lnTo>
                  <a:lnTo>
                    <a:pt x="1038" y="695"/>
                  </a:lnTo>
                  <a:lnTo>
                    <a:pt x="1038" y="695"/>
                  </a:lnTo>
                  <a:lnTo>
                    <a:pt x="1038" y="695"/>
                  </a:lnTo>
                  <a:lnTo>
                    <a:pt x="1038" y="693"/>
                  </a:lnTo>
                  <a:lnTo>
                    <a:pt x="1038" y="693"/>
                  </a:lnTo>
                  <a:lnTo>
                    <a:pt x="1036" y="693"/>
                  </a:lnTo>
                  <a:lnTo>
                    <a:pt x="1036" y="693"/>
                  </a:lnTo>
                  <a:lnTo>
                    <a:pt x="1036" y="693"/>
                  </a:lnTo>
                  <a:lnTo>
                    <a:pt x="1034" y="693"/>
                  </a:lnTo>
                  <a:lnTo>
                    <a:pt x="1034" y="693"/>
                  </a:lnTo>
                  <a:lnTo>
                    <a:pt x="1034" y="691"/>
                  </a:lnTo>
                  <a:lnTo>
                    <a:pt x="1032" y="691"/>
                  </a:lnTo>
                  <a:lnTo>
                    <a:pt x="1032" y="691"/>
                  </a:lnTo>
                  <a:lnTo>
                    <a:pt x="1032" y="691"/>
                  </a:lnTo>
                  <a:lnTo>
                    <a:pt x="1030" y="691"/>
                  </a:lnTo>
                  <a:lnTo>
                    <a:pt x="1030" y="691"/>
                  </a:lnTo>
                  <a:lnTo>
                    <a:pt x="1030" y="691"/>
                  </a:lnTo>
                  <a:lnTo>
                    <a:pt x="1028" y="695"/>
                  </a:lnTo>
                  <a:lnTo>
                    <a:pt x="1030" y="695"/>
                  </a:lnTo>
                  <a:close/>
                  <a:moveTo>
                    <a:pt x="1028" y="699"/>
                  </a:moveTo>
                  <a:lnTo>
                    <a:pt x="1026" y="699"/>
                  </a:lnTo>
                  <a:lnTo>
                    <a:pt x="1026" y="699"/>
                  </a:lnTo>
                  <a:lnTo>
                    <a:pt x="1026" y="699"/>
                  </a:lnTo>
                  <a:lnTo>
                    <a:pt x="1024" y="701"/>
                  </a:lnTo>
                  <a:lnTo>
                    <a:pt x="1026" y="701"/>
                  </a:lnTo>
                  <a:lnTo>
                    <a:pt x="1028" y="705"/>
                  </a:lnTo>
                  <a:lnTo>
                    <a:pt x="1030" y="705"/>
                  </a:lnTo>
                  <a:lnTo>
                    <a:pt x="1030" y="705"/>
                  </a:lnTo>
                  <a:lnTo>
                    <a:pt x="1030" y="705"/>
                  </a:lnTo>
                  <a:lnTo>
                    <a:pt x="1032" y="705"/>
                  </a:lnTo>
                  <a:lnTo>
                    <a:pt x="1030" y="705"/>
                  </a:lnTo>
                  <a:lnTo>
                    <a:pt x="1030" y="705"/>
                  </a:lnTo>
                  <a:lnTo>
                    <a:pt x="1030" y="705"/>
                  </a:lnTo>
                  <a:lnTo>
                    <a:pt x="1030" y="705"/>
                  </a:lnTo>
                  <a:lnTo>
                    <a:pt x="1030" y="705"/>
                  </a:lnTo>
                  <a:lnTo>
                    <a:pt x="1030" y="705"/>
                  </a:lnTo>
                  <a:lnTo>
                    <a:pt x="1032" y="707"/>
                  </a:lnTo>
                  <a:lnTo>
                    <a:pt x="1032" y="707"/>
                  </a:lnTo>
                  <a:lnTo>
                    <a:pt x="1032" y="707"/>
                  </a:lnTo>
                  <a:lnTo>
                    <a:pt x="1032" y="707"/>
                  </a:lnTo>
                  <a:lnTo>
                    <a:pt x="1032" y="707"/>
                  </a:lnTo>
                  <a:lnTo>
                    <a:pt x="1034" y="707"/>
                  </a:lnTo>
                  <a:lnTo>
                    <a:pt x="1034" y="707"/>
                  </a:lnTo>
                  <a:lnTo>
                    <a:pt x="1034" y="707"/>
                  </a:lnTo>
                  <a:lnTo>
                    <a:pt x="1034" y="705"/>
                  </a:lnTo>
                  <a:lnTo>
                    <a:pt x="1032" y="703"/>
                  </a:lnTo>
                  <a:lnTo>
                    <a:pt x="1032" y="703"/>
                  </a:lnTo>
                  <a:lnTo>
                    <a:pt x="1030" y="701"/>
                  </a:lnTo>
                  <a:lnTo>
                    <a:pt x="1028" y="699"/>
                  </a:lnTo>
                  <a:lnTo>
                    <a:pt x="1028" y="699"/>
                  </a:lnTo>
                  <a:close/>
                  <a:moveTo>
                    <a:pt x="1047" y="699"/>
                  </a:moveTo>
                  <a:lnTo>
                    <a:pt x="1047" y="699"/>
                  </a:lnTo>
                  <a:lnTo>
                    <a:pt x="1047" y="699"/>
                  </a:lnTo>
                  <a:lnTo>
                    <a:pt x="1047" y="699"/>
                  </a:lnTo>
                  <a:lnTo>
                    <a:pt x="1045" y="699"/>
                  </a:lnTo>
                  <a:lnTo>
                    <a:pt x="1045" y="699"/>
                  </a:lnTo>
                  <a:lnTo>
                    <a:pt x="1045" y="699"/>
                  </a:lnTo>
                  <a:lnTo>
                    <a:pt x="1045" y="701"/>
                  </a:lnTo>
                  <a:lnTo>
                    <a:pt x="1045" y="701"/>
                  </a:lnTo>
                  <a:lnTo>
                    <a:pt x="1045" y="701"/>
                  </a:lnTo>
                  <a:lnTo>
                    <a:pt x="1047" y="701"/>
                  </a:lnTo>
                  <a:lnTo>
                    <a:pt x="1047" y="701"/>
                  </a:lnTo>
                  <a:lnTo>
                    <a:pt x="1047" y="701"/>
                  </a:lnTo>
                  <a:lnTo>
                    <a:pt x="1047" y="699"/>
                  </a:lnTo>
                  <a:lnTo>
                    <a:pt x="1047" y="699"/>
                  </a:lnTo>
                  <a:lnTo>
                    <a:pt x="1047" y="699"/>
                  </a:lnTo>
                  <a:lnTo>
                    <a:pt x="1047" y="699"/>
                  </a:lnTo>
                  <a:close/>
                  <a:moveTo>
                    <a:pt x="1163" y="568"/>
                  </a:moveTo>
                  <a:lnTo>
                    <a:pt x="1163" y="570"/>
                  </a:lnTo>
                  <a:lnTo>
                    <a:pt x="1163" y="570"/>
                  </a:lnTo>
                  <a:lnTo>
                    <a:pt x="1163" y="570"/>
                  </a:lnTo>
                  <a:lnTo>
                    <a:pt x="1163" y="572"/>
                  </a:lnTo>
                  <a:lnTo>
                    <a:pt x="1165" y="572"/>
                  </a:lnTo>
                  <a:lnTo>
                    <a:pt x="1165" y="572"/>
                  </a:lnTo>
                  <a:lnTo>
                    <a:pt x="1165" y="570"/>
                  </a:lnTo>
                  <a:lnTo>
                    <a:pt x="1165" y="570"/>
                  </a:lnTo>
                  <a:lnTo>
                    <a:pt x="1165" y="568"/>
                  </a:lnTo>
                  <a:lnTo>
                    <a:pt x="1165" y="568"/>
                  </a:lnTo>
                  <a:lnTo>
                    <a:pt x="1167" y="568"/>
                  </a:lnTo>
                  <a:lnTo>
                    <a:pt x="1167" y="566"/>
                  </a:lnTo>
                  <a:lnTo>
                    <a:pt x="1165" y="566"/>
                  </a:lnTo>
                  <a:lnTo>
                    <a:pt x="1163" y="568"/>
                  </a:lnTo>
                  <a:close/>
                  <a:moveTo>
                    <a:pt x="1043" y="740"/>
                  </a:moveTo>
                  <a:lnTo>
                    <a:pt x="1043" y="740"/>
                  </a:lnTo>
                  <a:lnTo>
                    <a:pt x="1043" y="742"/>
                  </a:lnTo>
                  <a:lnTo>
                    <a:pt x="1043" y="742"/>
                  </a:lnTo>
                  <a:lnTo>
                    <a:pt x="1043" y="740"/>
                  </a:lnTo>
                  <a:lnTo>
                    <a:pt x="1040" y="740"/>
                  </a:lnTo>
                  <a:lnTo>
                    <a:pt x="1038" y="740"/>
                  </a:lnTo>
                  <a:lnTo>
                    <a:pt x="1038" y="740"/>
                  </a:lnTo>
                  <a:lnTo>
                    <a:pt x="1038" y="740"/>
                  </a:lnTo>
                  <a:lnTo>
                    <a:pt x="1038" y="740"/>
                  </a:lnTo>
                  <a:lnTo>
                    <a:pt x="1038" y="740"/>
                  </a:lnTo>
                  <a:lnTo>
                    <a:pt x="1036" y="740"/>
                  </a:lnTo>
                  <a:lnTo>
                    <a:pt x="1036" y="742"/>
                  </a:lnTo>
                  <a:lnTo>
                    <a:pt x="1034" y="742"/>
                  </a:lnTo>
                  <a:lnTo>
                    <a:pt x="1036" y="740"/>
                  </a:lnTo>
                  <a:lnTo>
                    <a:pt x="1034" y="740"/>
                  </a:lnTo>
                  <a:lnTo>
                    <a:pt x="1034" y="740"/>
                  </a:lnTo>
                  <a:lnTo>
                    <a:pt x="1034" y="740"/>
                  </a:lnTo>
                  <a:lnTo>
                    <a:pt x="1034" y="738"/>
                  </a:lnTo>
                  <a:lnTo>
                    <a:pt x="1034" y="738"/>
                  </a:lnTo>
                  <a:lnTo>
                    <a:pt x="1032" y="738"/>
                  </a:lnTo>
                  <a:lnTo>
                    <a:pt x="1032" y="740"/>
                  </a:lnTo>
                  <a:lnTo>
                    <a:pt x="1032" y="740"/>
                  </a:lnTo>
                  <a:lnTo>
                    <a:pt x="1032" y="740"/>
                  </a:lnTo>
                  <a:lnTo>
                    <a:pt x="1032" y="740"/>
                  </a:lnTo>
                  <a:lnTo>
                    <a:pt x="1030" y="742"/>
                  </a:lnTo>
                  <a:lnTo>
                    <a:pt x="1030" y="744"/>
                  </a:lnTo>
                  <a:lnTo>
                    <a:pt x="1030" y="744"/>
                  </a:lnTo>
                  <a:lnTo>
                    <a:pt x="1030" y="744"/>
                  </a:lnTo>
                  <a:lnTo>
                    <a:pt x="1030" y="744"/>
                  </a:lnTo>
                  <a:lnTo>
                    <a:pt x="1030" y="744"/>
                  </a:lnTo>
                  <a:lnTo>
                    <a:pt x="1030" y="744"/>
                  </a:lnTo>
                  <a:lnTo>
                    <a:pt x="1030" y="744"/>
                  </a:lnTo>
                  <a:lnTo>
                    <a:pt x="1030" y="744"/>
                  </a:lnTo>
                  <a:lnTo>
                    <a:pt x="1030" y="744"/>
                  </a:lnTo>
                  <a:lnTo>
                    <a:pt x="1030" y="746"/>
                  </a:lnTo>
                  <a:lnTo>
                    <a:pt x="1028" y="746"/>
                  </a:lnTo>
                  <a:lnTo>
                    <a:pt x="1030" y="746"/>
                  </a:lnTo>
                  <a:lnTo>
                    <a:pt x="1030" y="746"/>
                  </a:lnTo>
                  <a:lnTo>
                    <a:pt x="1032" y="746"/>
                  </a:lnTo>
                  <a:lnTo>
                    <a:pt x="1032" y="746"/>
                  </a:lnTo>
                  <a:lnTo>
                    <a:pt x="1032" y="746"/>
                  </a:lnTo>
                  <a:lnTo>
                    <a:pt x="1032" y="746"/>
                  </a:lnTo>
                  <a:lnTo>
                    <a:pt x="1030" y="746"/>
                  </a:lnTo>
                  <a:lnTo>
                    <a:pt x="1030" y="748"/>
                  </a:lnTo>
                  <a:lnTo>
                    <a:pt x="1032" y="748"/>
                  </a:lnTo>
                  <a:lnTo>
                    <a:pt x="1032" y="748"/>
                  </a:lnTo>
                  <a:lnTo>
                    <a:pt x="1032" y="748"/>
                  </a:lnTo>
                  <a:lnTo>
                    <a:pt x="1032" y="748"/>
                  </a:lnTo>
                  <a:lnTo>
                    <a:pt x="1030" y="750"/>
                  </a:lnTo>
                  <a:lnTo>
                    <a:pt x="1032" y="750"/>
                  </a:lnTo>
                  <a:lnTo>
                    <a:pt x="1032" y="750"/>
                  </a:lnTo>
                  <a:lnTo>
                    <a:pt x="1034" y="748"/>
                  </a:lnTo>
                  <a:lnTo>
                    <a:pt x="1034" y="748"/>
                  </a:lnTo>
                  <a:lnTo>
                    <a:pt x="1034" y="746"/>
                  </a:lnTo>
                  <a:lnTo>
                    <a:pt x="1034" y="746"/>
                  </a:lnTo>
                  <a:lnTo>
                    <a:pt x="1034" y="746"/>
                  </a:lnTo>
                  <a:lnTo>
                    <a:pt x="1034" y="746"/>
                  </a:lnTo>
                  <a:lnTo>
                    <a:pt x="1036" y="744"/>
                  </a:lnTo>
                  <a:lnTo>
                    <a:pt x="1036" y="744"/>
                  </a:lnTo>
                  <a:lnTo>
                    <a:pt x="1038" y="744"/>
                  </a:lnTo>
                  <a:lnTo>
                    <a:pt x="1038" y="744"/>
                  </a:lnTo>
                  <a:lnTo>
                    <a:pt x="1038" y="744"/>
                  </a:lnTo>
                  <a:lnTo>
                    <a:pt x="1040" y="742"/>
                  </a:lnTo>
                  <a:lnTo>
                    <a:pt x="1040" y="742"/>
                  </a:lnTo>
                  <a:lnTo>
                    <a:pt x="1040" y="744"/>
                  </a:lnTo>
                  <a:lnTo>
                    <a:pt x="1040" y="744"/>
                  </a:lnTo>
                  <a:lnTo>
                    <a:pt x="1040" y="744"/>
                  </a:lnTo>
                  <a:lnTo>
                    <a:pt x="1043" y="742"/>
                  </a:lnTo>
                  <a:lnTo>
                    <a:pt x="1043" y="742"/>
                  </a:lnTo>
                  <a:lnTo>
                    <a:pt x="1045" y="742"/>
                  </a:lnTo>
                  <a:lnTo>
                    <a:pt x="1045" y="742"/>
                  </a:lnTo>
                  <a:lnTo>
                    <a:pt x="1043" y="740"/>
                  </a:lnTo>
                  <a:close/>
                  <a:moveTo>
                    <a:pt x="1018" y="721"/>
                  </a:moveTo>
                  <a:lnTo>
                    <a:pt x="1016" y="721"/>
                  </a:lnTo>
                  <a:lnTo>
                    <a:pt x="1016" y="721"/>
                  </a:lnTo>
                  <a:lnTo>
                    <a:pt x="1016" y="721"/>
                  </a:lnTo>
                  <a:lnTo>
                    <a:pt x="1016" y="723"/>
                  </a:lnTo>
                  <a:lnTo>
                    <a:pt x="1016" y="723"/>
                  </a:lnTo>
                  <a:lnTo>
                    <a:pt x="1016" y="723"/>
                  </a:lnTo>
                  <a:lnTo>
                    <a:pt x="1016" y="723"/>
                  </a:lnTo>
                  <a:lnTo>
                    <a:pt x="1016" y="725"/>
                  </a:lnTo>
                  <a:lnTo>
                    <a:pt x="1016" y="725"/>
                  </a:lnTo>
                  <a:lnTo>
                    <a:pt x="1016" y="728"/>
                  </a:lnTo>
                  <a:lnTo>
                    <a:pt x="1018" y="725"/>
                  </a:lnTo>
                  <a:lnTo>
                    <a:pt x="1018" y="723"/>
                  </a:lnTo>
                  <a:lnTo>
                    <a:pt x="1018" y="723"/>
                  </a:lnTo>
                  <a:lnTo>
                    <a:pt x="1018" y="723"/>
                  </a:lnTo>
                  <a:lnTo>
                    <a:pt x="1018" y="721"/>
                  </a:lnTo>
                  <a:close/>
                  <a:moveTo>
                    <a:pt x="1059" y="715"/>
                  </a:moveTo>
                  <a:lnTo>
                    <a:pt x="1057" y="717"/>
                  </a:lnTo>
                  <a:lnTo>
                    <a:pt x="1057" y="717"/>
                  </a:lnTo>
                  <a:lnTo>
                    <a:pt x="1057" y="715"/>
                  </a:lnTo>
                  <a:lnTo>
                    <a:pt x="1057" y="715"/>
                  </a:lnTo>
                  <a:lnTo>
                    <a:pt x="1057" y="713"/>
                  </a:lnTo>
                  <a:lnTo>
                    <a:pt x="1057" y="713"/>
                  </a:lnTo>
                  <a:lnTo>
                    <a:pt x="1057" y="713"/>
                  </a:lnTo>
                  <a:lnTo>
                    <a:pt x="1055" y="715"/>
                  </a:lnTo>
                  <a:lnTo>
                    <a:pt x="1055" y="715"/>
                  </a:lnTo>
                  <a:lnTo>
                    <a:pt x="1055" y="715"/>
                  </a:lnTo>
                  <a:lnTo>
                    <a:pt x="1055" y="713"/>
                  </a:lnTo>
                  <a:lnTo>
                    <a:pt x="1055" y="713"/>
                  </a:lnTo>
                  <a:lnTo>
                    <a:pt x="1055" y="713"/>
                  </a:lnTo>
                  <a:lnTo>
                    <a:pt x="1055" y="711"/>
                  </a:lnTo>
                  <a:lnTo>
                    <a:pt x="1055" y="711"/>
                  </a:lnTo>
                  <a:lnTo>
                    <a:pt x="1055" y="711"/>
                  </a:lnTo>
                  <a:lnTo>
                    <a:pt x="1055" y="711"/>
                  </a:lnTo>
                  <a:lnTo>
                    <a:pt x="1053" y="713"/>
                  </a:lnTo>
                  <a:lnTo>
                    <a:pt x="1053" y="713"/>
                  </a:lnTo>
                  <a:lnTo>
                    <a:pt x="1053" y="713"/>
                  </a:lnTo>
                  <a:lnTo>
                    <a:pt x="1053" y="711"/>
                  </a:lnTo>
                  <a:lnTo>
                    <a:pt x="1055" y="711"/>
                  </a:lnTo>
                  <a:lnTo>
                    <a:pt x="1055" y="709"/>
                  </a:lnTo>
                  <a:lnTo>
                    <a:pt x="1057" y="707"/>
                  </a:lnTo>
                  <a:lnTo>
                    <a:pt x="1059" y="705"/>
                  </a:lnTo>
                  <a:lnTo>
                    <a:pt x="1059" y="705"/>
                  </a:lnTo>
                  <a:lnTo>
                    <a:pt x="1059" y="705"/>
                  </a:lnTo>
                  <a:lnTo>
                    <a:pt x="1057" y="705"/>
                  </a:lnTo>
                  <a:lnTo>
                    <a:pt x="1057" y="705"/>
                  </a:lnTo>
                  <a:lnTo>
                    <a:pt x="1057" y="705"/>
                  </a:lnTo>
                  <a:lnTo>
                    <a:pt x="1057" y="707"/>
                  </a:lnTo>
                  <a:lnTo>
                    <a:pt x="1057" y="707"/>
                  </a:lnTo>
                  <a:lnTo>
                    <a:pt x="1055" y="705"/>
                  </a:lnTo>
                  <a:lnTo>
                    <a:pt x="1057" y="705"/>
                  </a:lnTo>
                  <a:lnTo>
                    <a:pt x="1057" y="705"/>
                  </a:lnTo>
                  <a:lnTo>
                    <a:pt x="1055" y="703"/>
                  </a:lnTo>
                  <a:lnTo>
                    <a:pt x="1055" y="703"/>
                  </a:lnTo>
                  <a:lnTo>
                    <a:pt x="1055" y="703"/>
                  </a:lnTo>
                  <a:lnTo>
                    <a:pt x="1055" y="703"/>
                  </a:lnTo>
                  <a:lnTo>
                    <a:pt x="1055" y="701"/>
                  </a:lnTo>
                  <a:lnTo>
                    <a:pt x="1053" y="701"/>
                  </a:lnTo>
                  <a:lnTo>
                    <a:pt x="1053" y="701"/>
                  </a:lnTo>
                  <a:lnTo>
                    <a:pt x="1053" y="701"/>
                  </a:lnTo>
                  <a:lnTo>
                    <a:pt x="1053" y="703"/>
                  </a:lnTo>
                  <a:lnTo>
                    <a:pt x="1053" y="703"/>
                  </a:lnTo>
                  <a:lnTo>
                    <a:pt x="1053" y="701"/>
                  </a:lnTo>
                  <a:lnTo>
                    <a:pt x="1053" y="701"/>
                  </a:lnTo>
                  <a:lnTo>
                    <a:pt x="1051" y="701"/>
                  </a:lnTo>
                  <a:lnTo>
                    <a:pt x="1051" y="701"/>
                  </a:lnTo>
                  <a:lnTo>
                    <a:pt x="1051" y="701"/>
                  </a:lnTo>
                  <a:lnTo>
                    <a:pt x="1051" y="701"/>
                  </a:lnTo>
                  <a:lnTo>
                    <a:pt x="1051" y="701"/>
                  </a:lnTo>
                  <a:lnTo>
                    <a:pt x="1051" y="703"/>
                  </a:lnTo>
                  <a:lnTo>
                    <a:pt x="1051" y="703"/>
                  </a:lnTo>
                  <a:lnTo>
                    <a:pt x="1051" y="703"/>
                  </a:lnTo>
                  <a:lnTo>
                    <a:pt x="1051" y="705"/>
                  </a:lnTo>
                  <a:lnTo>
                    <a:pt x="1051" y="703"/>
                  </a:lnTo>
                  <a:lnTo>
                    <a:pt x="1049" y="703"/>
                  </a:lnTo>
                  <a:lnTo>
                    <a:pt x="1049" y="703"/>
                  </a:lnTo>
                  <a:lnTo>
                    <a:pt x="1049" y="703"/>
                  </a:lnTo>
                  <a:lnTo>
                    <a:pt x="1049" y="705"/>
                  </a:lnTo>
                  <a:lnTo>
                    <a:pt x="1047" y="705"/>
                  </a:lnTo>
                  <a:lnTo>
                    <a:pt x="1047" y="707"/>
                  </a:lnTo>
                  <a:lnTo>
                    <a:pt x="1047" y="705"/>
                  </a:lnTo>
                  <a:lnTo>
                    <a:pt x="1047" y="705"/>
                  </a:lnTo>
                  <a:lnTo>
                    <a:pt x="1047" y="705"/>
                  </a:lnTo>
                  <a:lnTo>
                    <a:pt x="1045" y="705"/>
                  </a:lnTo>
                  <a:lnTo>
                    <a:pt x="1045" y="705"/>
                  </a:lnTo>
                  <a:lnTo>
                    <a:pt x="1045" y="707"/>
                  </a:lnTo>
                  <a:lnTo>
                    <a:pt x="1045" y="709"/>
                  </a:lnTo>
                  <a:lnTo>
                    <a:pt x="1045" y="709"/>
                  </a:lnTo>
                  <a:lnTo>
                    <a:pt x="1045" y="711"/>
                  </a:lnTo>
                  <a:lnTo>
                    <a:pt x="1045" y="711"/>
                  </a:lnTo>
                  <a:lnTo>
                    <a:pt x="1045" y="711"/>
                  </a:lnTo>
                  <a:lnTo>
                    <a:pt x="1045" y="711"/>
                  </a:lnTo>
                  <a:lnTo>
                    <a:pt x="1043" y="711"/>
                  </a:lnTo>
                  <a:lnTo>
                    <a:pt x="1043" y="711"/>
                  </a:lnTo>
                  <a:lnTo>
                    <a:pt x="1043" y="711"/>
                  </a:lnTo>
                  <a:lnTo>
                    <a:pt x="1043" y="709"/>
                  </a:lnTo>
                  <a:lnTo>
                    <a:pt x="1043" y="709"/>
                  </a:lnTo>
                  <a:lnTo>
                    <a:pt x="1043" y="707"/>
                  </a:lnTo>
                  <a:lnTo>
                    <a:pt x="1043" y="705"/>
                  </a:lnTo>
                  <a:lnTo>
                    <a:pt x="1043" y="705"/>
                  </a:lnTo>
                  <a:lnTo>
                    <a:pt x="1045" y="703"/>
                  </a:lnTo>
                  <a:lnTo>
                    <a:pt x="1045" y="703"/>
                  </a:lnTo>
                  <a:lnTo>
                    <a:pt x="1045" y="703"/>
                  </a:lnTo>
                  <a:lnTo>
                    <a:pt x="1043" y="703"/>
                  </a:lnTo>
                  <a:lnTo>
                    <a:pt x="1043" y="703"/>
                  </a:lnTo>
                  <a:lnTo>
                    <a:pt x="1045" y="703"/>
                  </a:lnTo>
                  <a:lnTo>
                    <a:pt x="1045" y="703"/>
                  </a:lnTo>
                  <a:lnTo>
                    <a:pt x="1045" y="701"/>
                  </a:lnTo>
                  <a:lnTo>
                    <a:pt x="1045" y="701"/>
                  </a:lnTo>
                  <a:lnTo>
                    <a:pt x="1040" y="699"/>
                  </a:lnTo>
                  <a:lnTo>
                    <a:pt x="1040" y="701"/>
                  </a:lnTo>
                  <a:lnTo>
                    <a:pt x="1040" y="701"/>
                  </a:lnTo>
                  <a:lnTo>
                    <a:pt x="1040" y="701"/>
                  </a:lnTo>
                  <a:lnTo>
                    <a:pt x="1038" y="701"/>
                  </a:lnTo>
                  <a:lnTo>
                    <a:pt x="1038" y="701"/>
                  </a:lnTo>
                  <a:lnTo>
                    <a:pt x="1036" y="699"/>
                  </a:lnTo>
                  <a:lnTo>
                    <a:pt x="1036" y="699"/>
                  </a:lnTo>
                  <a:lnTo>
                    <a:pt x="1034" y="697"/>
                  </a:lnTo>
                  <a:lnTo>
                    <a:pt x="1032" y="697"/>
                  </a:lnTo>
                  <a:lnTo>
                    <a:pt x="1032" y="697"/>
                  </a:lnTo>
                  <a:lnTo>
                    <a:pt x="1032" y="697"/>
                  </a:lnTo>
                  <a:lnTo>
                    <a:pt x="1032" y="697"/>
                  </a:lnTo>
                  <a:lnTo>
                    <a:pt x="1032" y="697"/>
                  </a:lnTo>
                  <a:lnTo>
                    <a:pt x="1032" y="697"/>
                  </a:lnTo>
                  <a:lnTo>
                    <a:pt x="1032" y="699"/>
                  </a:lnTo>
                  <a:lnTo>
                    <a:pt x="1032" y="699"/>
                  </a:lnTo>
                  <a:lnTo>
                    <a:pt x="1034" y="699"/>
                  </a:lnTo>
                  <a:lnTo>
                    <a:pt x="1034" y="701"/>
                  </a:lnTo>
                  <a:lnTo>
                    <a:pt x="1036" y="703"/>
                  </a:lnTo>
                  <a:lnTo>
                    <a:pt x="1036" y="703"/>
                  </a:lnTo>
                  <a:lnTo>
                    <a:pt x="1036" y="703"/>
                  </a:lnTo>
                  <a:lnTo>
                    <a:pt x="1036" y="705"/>
                  </a:lnTo>
                  <a:lnTo>
                    <a:pt x="1036" y="705"/>
                  </a:lnTo>
                  <a:lnTo>
                    <a:pt x="1038" y="705"/>
                  </a:lnTo>
                  <a:lnTo>
                    <a:pt x="1038" y="705"/>
                  </a:lnTo>
                  <a:lnTo>
                    <a:pt x="1038" y="705"/>
                  </a:lnTo>
                  <a:lnTo>
                    <a:pt x="1038" y="707"/>
                  </a:lnTo>
                  <a:lnTo>
                    <a:pt x="1038" y="705"/>
                  </a:lnTo>
                  <a:lnTo>
                    <a:pt x="1036" y="705"/>
                  </a:lnTo>
                  <a:lnTo>
                    <a:pt x="1034" y="703"/>
                  </a:lnTo>
                  <a:lnTo>
                    <a:pt x="1034" y="703"/>
                  </a:lnTo>
                  <a:lnTo>
                    <a:pt x="1034" y="703"/>
                  </a:lnTo>
                  <a:lnTo>
                    <a:pt x="1034" y="703"/>
                  </a:lnTo>
                  <a:lnTo>
                    <a:pt x="1034" y="705"/>
                  </a:lnTo>
                  <a:lnTo>
                    <a:pt x="1034" y="705"/>
                  </a:lnTo>
                  <a:lnTo>
                    <a:pt x="1034" y="707"/>
                  </a:lnTo>
                  <a:lnTo>
                    <a:pt x="1034" y="711"/>
                  </a:lnTo>
                  <a:lnTo>
                    <a:pt x="1034" y="711"/>
                  </a:lnTo>
                  <a:lnTo>
                    <a:pt x="1034" y="713"/>
                  </a:lnTo>
                  <a:lnTo>
                    <a:pt x="1034" y="713"/>
                  </a:lnTo>
                  <a:lnTo>
                    <a:pt x="1034" y="713"/>
                  </a:lnTo>
                  <a:lnTo>
                    <a:pt x="1034" y="711"/>
                  </a:lnTo>
                  <a:lnTo>
                    <a:pt x="1034" y="711"/>
                  </a:lnTo>
                  <a:lnTo>
                    <a:pt x="1034" y="711"/>
                  </a:lnTo>
                  <a:lnTo>
                    <a:pt x="1034" y="709"/>
                  </a:lnTo>
                  <a:lnTo>
                    <a:pt x="1034" y="709"/>
                  </a:lnTo>
                  <a:lnTo>
                    <a:pt x="1034" y="709"/>
                  </a:lnTo>
                  <a:lnTo>
                    <a:pt x="1032" y="707"/>
                  </a:lnTo>
                  <a:lnTo>
                    <a:pt x="1030" y="707"/>
                  </a:lnTo>
                  <a:lnTo>
                    <a:pt x="1028" y="705"/>
                  </a:lnTo>
                  <a:lnTo>
                    <a:pt x="1028" y="705"/>
                  </a:lnTo>
                  <a:lnTo>
                    <a:pt x="1026" y="705"/>
                  </a:lnTo>
                  <a:lnTo>
                    <a:pt x="1026" y="707"/>
                  </a:lnTo>
                  <a:lnTo>
                    <a:pt x="1028" y="707"/>
                  </a:lnTo>
                  <a:lnTo>
                    <a:pt x="1028" y="709"/>
                  </a:lnTo>
                  <a:lnTo>
                    <a:pt x="1028" y="709"/>
                  </a:lnTo>
                  <a:lnTo>
                    <a:pt x="1028" y="709"/>
                  </a:lnTo>
                  <a:lnTo>
                    <a:pt x="1028" y="709"/>
                  </a:lnTo>
                  <a:lnTo>
                    <a:pt x="1030" y="709"/>
                  </a:lnTo>
                  <a:lnTo>
                    <a:pt x="1030" y="709"/>
                  </a:lnTo>
                  <a:lnTo>
                    <a:pt x="1030" y="709"/>
                  </a:lnTo>
                  <a:lnTo>
                    <a:pt x="1030" y="709"/>
                  </a:lnTo>
                  <a:lnTo>
                    <a:pt x="1030" y="711"/>
                  </a:lnTo>
                  <a:lnTo>
                    <a:pt x="1030" y="711"/>
                  </a:lnTo>
                  <a:lnTo>
                    <a:pt x="1030" y="713"/>
                  </a:lnTo>
                  <a:lnTo>
                    <a:pt x="1030" y="713"/>
                  </a:lnTo>
                  <a:lnTo>
                    <a:pt x="1030" y="711"/>
                  </a:lnTo>
                  <a:lnTo>
                    <a:pt x="1028" y="711"/>
                  </a:lnTo>
                  <a:lnTo>
                    <a:pt x="1028" y="711"/>
                  </a:lnTo>
                  <a:lnTo>
                    <a:pt x="1028" y="709"/>
                  </a:lnTo>
                  <a:lnTo>
                    <a:pt x="1028" y="709"/>
                  </a:lnTo>
                  <a:lnTo>
                    <a:pt x="1026" y="709"/>
                  </a:lnTo>
                  <a:lnTo>
                    <a:pt x="1026" y="709"/>
                  </a:lnTo>
                  <a:lnTo>
                    <a:pt x="1026" y="711"/>
                  </a:lnTo>
                  <a:lnTo>
                    <a:pt x="1026" y="711"/>
                  </a:lnTo>
                  <a:lnTo>
                    <a:pt x="1028" y="713"/>
                  </a:lnTo>
                  <a:lnTo>
                    <a:pt x="1028" y="713"/>
                  </a:lnTo>
                  <a:lnTo>
                    <a:pt x="1028" y="713"/>
                  </a:lnTo>
                  <a:lnTo>
                    <a:pt x="1026" y="713"/>
                  </a:lnTo>
                  <a:lnTo>
                    <a:pt x="1026" y="711"/>
                  </a:lnTo>
                  <a:lnTo>
                    <a:pt x="1026" y="713"/>
                  </a:lnTo>
                  <a:lnTo>
                    <a:pt x="1026" y="715"/>
                  </a:lnTo>
                  <a:lnTo>
                    <a:pt x="1026" y="717"/>
                  </a:lnTo>
                  <a:lnTo>
                    <a:pt x="1026" y="715"/>
                  </a:lnTo>
                  <a:lnTo>
                    <a:pt x="1024" y="713"/>
                  </a:lnTo>
                  <a:lnTo>
                    <a:pt x="1024" y="711"/>
                  </a:lnTo>
                  <a:lnTo>
                    <a:pt x="1024" y="709"/>
                  </a:lnTo>
                  <a:lnTo>
                    <a:pt x="1024" y="707"/>
                  </a:lnTo>
                  <a:lnTo>
                    <a:pt x="1024" y="707"/>
                  </a:lnTo>
                  <a:lnTo>
                    <a:pt x="1024" y="705"/>
                  </a:lnTo>
                  <a:lnTo>
                    <a:pt x="1024" y="705"/>
                  </a:lnTo>
                  <a:lnTo>
                    <a:pt x="1022" y="705"/>
                  </a:lnTo>
                  <a:lnTo>
                    <a:pt x="1022" y="705"/>
                  </a:lnTo>
                  <a:lnTo>
                    <a:pt x="1022" y="703"/>
                  </a:lnTo>
                  <a:lnTo>
                    <a:pt x="1022" y="703"/>
                  </a:lnTo>
                  <a:lnTo>
                    <a:pt x="1022" y="703"/>
                  </a:lnTo>
                  <a:lnTo>
                    <a:pt x="1022" y="703"/>
                  </a:lnTo>
                  <a:lnTo>
                    <a:pt x="1020" y="703"/>
                  </a:lnTo>
                  <a:lnTo>
                    <a:pt x="1020" y="703"/>
                  </a:lnTo>
                  <a:lnTo>
                    <a:pt x="1020" y="703"/>
                  </a:lnTo>
                  <a:lnTo>
                    <a:pt x="1020" y="703"/>
                  </a:lnTo>
                  <a:lnTo>
                    <a:pt x="1018" y="703"/>
                  </a:lnTo>
                  <a:lnTo>
                    <a:pt x="1018" y="703"/>
                  </a:lnTo>
                  <a:lnTo>
                    <a:pt x="1018" y="705"/>
                  </a:lnTo>
                  <a:lnTo>
                    <a:pt x="1018" y="705"/>
                  </a:lnTo>
                  <a:lnTo>
                    <a:pt x="1018" y="703"/>
                  </a:lnTo>
                  <a:lnTo>
                    <a:pt x="1018" y="705"/>
                  </a:lnTo>
                  <a:lnTo>
                    <a:pt x="1016" y="705"/>
                  </a:lnTo>
                  <a:lnTo>
                    <a:pt x="1016" y="705"/>
                  </a:lnTo>
                  <a:lnTo>
                    <a:pt x="1014" y="707"/>
                  </a:lnTo>
                  <a:lnTo>
                    <a:pt x="1014" y="709"/>
                  </a:lnTo>
                  <a:lnTo>
                    <a:pt x="1014" y="711"/>
                  </a:lnTo>
                  <a:lnTo>
                    <a:pt x="1016" y="713"/>
                  </a:lnTo>
                  <a:lnTo>
                    <a:pt x="1016" y="713"/>
                  </a:lnTo>
                  <a:lnTo>
                    <a:pt x="1020" y="713"/>
                  </a:lnTo>
                  <a:lnTo>
                    <a:pt x="1020" y="713"/>
                  </a:lnTo>
                  <a:lnTo>
                    <a:pt x="1022" y="715"/>
                  </a:lnTo>
                  <a:lnTo>
                    <a:pt x="1024" y="717"/>
                  </a:lnTo>
                  <a:lnTo>
                    <a:pt x="1024" y="717"/>
                  </a:lnTo>
                  <a:lnTo>
                    <a:pt x="1024" y="717"/>
                  </a:lnTo>
                  <a:lnTo>
                    <a:pt x="1024" y="717"/>
                  </a:lnTo>
                  <a:lnTo>
                    <a:pt x="1024" y="717"/>
                  </a:lnTo>
                  <a:lnTo>
                    <a:pt x="1024" y="717"/>
                  </a:lnTo>
                  <a:lnTo>
                    <a:pt x="1022" y="719"/>
                  </a:lnTo>
                  <a:lnTo>
                    <a:pt x="1022" y="717"/>
                  </a:lnTo>
                  <a:lnTo>
                    <a:pt x="1022" y="715"/>
                  </a:lnTo>
                  <a:lnTo>
                    <a:pt x="1018" y="715"/>
                  </a:lnTo>
                  <a:lnTo>
                    <a:pt x="1016" y="715"/>
                  </a:lnTo>
                  <a:lnTo>
                    <a:pt x="1016" y="715"/>
                  </a:lnTo>
                  <a:lnTo>
                    <a:pt x="1016" y="717"/>
                  </a:lnTo>
                  <a:lnTo>
                    <a:pt x="1020" y="719"/>
                  </a:lnTo>
                  <a:lnTo>
                    <a:pt x="1020" y="721"/>
                  </a:lnTo>
                  <a:lnTo>
                    <a:pt x="1020" y="721"/>
                  </a:lnTo>
                  <a:lnTo>
                    <a:pt x="1022" y="721"/>
                  </a:lnTo>
                  <a:lnTo>
                    <a:pt x="1022" y="721"/>
                  </a:lnTo>
                  <a:lnTo>
                    <a:pt x="1020" y="721"/>
                  </a:lnTo>
                  <a:lnTo>
                    <a:pt x="1020" y="721"/>
                  </a:lnTo>
                  <a:lnTo>
                    <a:pt x="1018" y="721"/>
                  </a:lnTo>
                  <a:lnTo>
                    <a:pt x="1018" y="719"/>
                  </a:lnTo>
                  <a:lnTo>
                    <a:pt x="1018" y="719"/>
                  </a:lnTo>
                  <a:lnTo>
                    <a:pt x="1016" y="719"/>
                  </a:lnTo>
                  <a:lnTo>
                    <a:pt x="1016" y="719"/>
                  </a:lnTo>
                  <a:lnTo>
                    <a:pt x="1016" y="721"/>
                  </a:lnTo>
                  <a:lnTo>
                    <a:pt x="1016" y="721"/>
                  </a:lnTo>
                  <a:lnTo>
                    <a:pt x="1018" y="723"/>
                  </a:lnTo>
                  <a:lnTo>
                    <a:pt x="1018" y="723"/>
                  </a:lnTo>
                  <a:lnTo>
                    <a:pt x="1018" y="723"/>
                  </a:lnTo>
                  <a:lnTo>
                    <a:pt x="1018" y="728"/>
                  </a:lnTo>
                  <a:lnTo>
                    <a:pt x="1018" y="730"/>
                  </a:lnTo>
                  <a:lnTo>
                    <a:pt x="1018" y="730"/>
                  </a:lnTo>
                  <a:lnTo>
                    <a:pt x="1018" y="730"/>
                  </a:lnTo>
                  <a:lnTo>
                    <a:pt x="1020" y="732"/>
                  </a:lnTo>
                  <a:lnTo>
                    <a:pt x="1020" y="732"/>
                  </a:lnTo>
                  <a:lnTo>
                    <a:pt x="1020" y="734"/>
                  </a:lnTo>
                  <a:lnTo>
                    <a:pt x="1020" y="734"/>
                  </a:lnTo>
                  <a:lnTo>
                    <a:pt x="1022" y="734"/>
                  </a:lnTo>
                  <a:lnTo>
                    <a:pt x="1022" y="736"/>
                  </a:lnTo>
                  <a:lnTo>
                    <a:pt x="1022" y="736"/>
                  </a:lnTo>
                  <a:lnTo>
                    <a:pt x="1020" y="734"/>
                  </a:lnTo>
                  <a:lnTo>
                    <a:pt x="1018" y="734"/>
                  </a:lnTo>
                  <a:lnTo>
                    <a:pt x="1018" y="730"/>
                  </a:lnTo>
                  <a:lnTo>
                    <a:pt x="1016" y="730"/>
                  </a:lnTo>
                  <a:lnTo>
                    <a:pt x="1016" y="730"/>
                  </a:lnTo>
                  <a:lnTo>
                    <a:pt x="1016" y="728"/>
                  </a:lnTo>
                  <a:lnTo>
                    <a:pt x="1016" y="728"/>
                  </a:lnTo>
                  <a:lnTo>
                    <a:pt x="1014" y="723"/>
                  </a:lnTo>
                  <a:lnTo>
                    <a:pt x="1014" y="721"/>
                  </a:lnTo>
                  <a:lnTo>
                    <a:pt x="1014" y="721"/>
                  </a:lnTo>
                  <a:lnTo>
                    <a:pt x="1010" y="721"/>
                  </a:lnTo>
                  <a:lnTo>
                    <a:pt x="1010" y="721"/>
                  </a:lnTo>
                  <a:lnTo>
                    <a:pt x="1012" y="721"/>
                  </a:lnTo>
                  <a:lnTo>
                    <a:pt x="1014" y="719"/>
                  </a:lnTo>
                  <a:lnTo>
                    <a:pt x="1012" y="717"/>
                  </a:lnTo>
                  <a:lnTo>
                    <a:pt x="1012" y="715"/>
                  </a:lnTo>
                  <a:lnTo>
                    <a:pt x="1012" y="715"/>
                  </a:lnTo>
                  <a:lnTo>
                    <a:pt x="1008" y="715"/>
                  </a:lnTo>
                  <a:lnTo>
                    <a:pt x="1008" y="715"/>
                  </a:lnTo>
                  <a:lnTo>
                    <a:pt x="1008" y="715"/>
                  </a:lnTo>
                  <a:lnTo>
                    <a:pt x="1006" y="715"/>
                  </a:lnTo>
                  <a:lnTo>
                    <a:pt x="1006" y="715"/>
                  </a:lnTo>
                  <a:lnTo>
                    <a:pt x="1006" y="715"/>
                  </a:lnTo>
                  <a:lnTo>
                    <a:pt x="1006" y="715"/>
                  </a:lnTo>
                  <a:lnTo>
                    <a:pt x="1004" y="715"/>
                  </a:lnTo>
                  <a:lnTo>
                    <a:pt x="1004" y="715"/>
                  </a:lnTo>
                  <a:lnTo>
                    <a:pt x="1004" y="715"/>
                  </a:lnTo>
                  <a:lnTo>
                    <a:pt x="1002" y="715"/>
                  </a:lnTo>
                  <a:lnTo>
                    <a:pt x="1002" y="715"/>
                  </a:lnTo>
                  <a:lnTo>
                    <a:pt x="1002" y="717"/>
                  </a:lnTo>
                  <a:lnTo>
                    <a:pt x="1002" y="717"/>
                  </a:lnTo>
                  <a:lnTo>
                    <a:pt x="1002" y="717"/>
                  </a:lnTo>
                  <a:lnTo>
                    <a:pt x="999" y="719"/>
                  </a:lnTo>
                  <a:lnTo>
                    <a:pt x="1002" y="719"/>
                  </a:lnTo>
                  <a:lnTo>
                    <a:pt x="1002" y="719"/>
                  </a:lnTo>
                  <a:lnTo>
                    <a:pt x="999" y="719"/>
                  </a:lnTo>
                  <a:lnTo>
                    <a:pt x="997" y="719"/>
                  </a:lnTo>
                  <a:lnTo>
                    <a:pt x="997" y="719"/>
                  </a:lnTo>
                  <a:lnTo>
                    <a:pt x="997" y="721"/>
                  </a:lnTo>
                  <a:lnTo>
                    <a:pt x="997" y="723"/>
                  </a:lnTo>
                  <a:lnTo>
                    <a:pt x="997" y="721"/>
                  </a:lnTo>
                  <a:lnTo>
                    <a:pt x="997" y="721"/>
                  </a:lnTo>
                  <a:lnTo>
                    <a:pt x="997" y="721"/>
                  </a:lnTo>
                  <a:lnTo>
                    <a:pt x="995" y="721"/>
                  </a:lnTo>
                  <a:lnTo>
                    <a:pt x="995" y="721"/>
                  </a:lnTo>
                  <a:lnTo>
                    <a:pt x="995" y="723"/>
                  </a:lnTo>
                  <a:lnTo>
                    <a:pt x="993" y="723"/>
                  </a:lnTo>
                  <a:lnTo>
                    <a:pt x="993" y="725"/>
                  </a:lnTo>
                  <a:lnTo>
                    <a:pt x="995" y="725"/>
                  </a:lnTo>
                  <a:lnTo>
                    <a:pt x="993" y="725"/>
                  </a:lnTo>
                  <a:lnTo>
                    <a:pt x="993" y="725"/>
                  </a:lnTo>
                  <a:lnTo>
                    <a:pt x="991" y="728"/>
                  </a:lnTo>
                  <a:lnTo>
                    <a:pt x="993" y="728"/>
                  </a:lnTo>
                  <a:lnTo>
                    <a:pt x="993" y="730"/>
                  </a:lnTo>
                  <a:lnTo>
                    <a:pt x="993" y="730"/>
                  </a:lnTo>
                  <a:lnTo>
                    <a:pt x="991" y="730"/>
                  </a:lnTo>
                  <a:lnTo>
                    <a:pt x="991" y="732"/>
                  </a:lnTo>
                  <a:lnTo>
                    <a:pt x="991" y="732"/>
                  </a:lnTo>
                  <a:lnTo>
                    <a:pt x="991" y="732"/>
                  </a:lnTo>
                  <a:lnTo>
                    <a:pt x="993" y="732"/>
                  </a:lnTo>
                  <a:lnTo>
                    <a:pt x="993" y="732"/>
                  </a:lnTo>
                  <a:lnTo>
                    <a:pt x="991" y="732"/>
                  </a:lnTo>
                  <a:lnTo>
                    <a:pt x="991" y="732"/>
                  </a:lnTo>
                  <a:lnTo>
                    <a:pt x="991" y="732"/>
                  </a:lnTo>
                  <a:lnTo>
                    <a:pt x="989" y="732"/>
                  </a:lnTo>
                  <a:lnTo>
                    <a:pt x="989" y="732"/>
                  </a:lnTo>
                  <a:lnTo>
                    <a:pt x="991" y="732"/>
                  </a:lnTo>
                  <a:lnTo>
                    <a:pt x="991" y="734"/>
                  </a:lnTo>
                  <a:lnTo>
                    <a:pt x="991" y="734"/>
                  </a:lnTo>
                  <a:lnTo>
                    <a:pt x="991" y="734"/>
                  </a:lnTo>
                  <a:lnTo>
                    <a:pt x="991" y="734"/>
                  </a:lnTo>
                  <a:lnTo>
                    <a:pt x="989" y="734"/>
                  </a:lnTo>
                  <a:lnTo>
                    <a:pt x="991" y="736"/>
                  </a:lnTo>
                  <a:lnTo>
                    <a:pt x="991" y="736"/>
                  </a:lnTo>
                  <a:lnTo>
                    <a:pt x="991" y="736"/>
                  </a:lnTo>
                  <a:lnTo>
                    <a:pt x="993" y="734"/>
                  </a:lnTo>
                  <a:lnTo>
                    <a:pt x="993" y="736"/>
                  </a:lnTo>
                  <a:lnTo>
                    <a:pt x="993" y="736"/>
                  </a:lnTo>
                  <a:lnTo>
                    <a:pt x="993" y="736"/>
                  </a:lnTo>
                  <a:lnTo>
                    <a:pt x="993" y="736"/>
                  </a:lnTo>
                  <a:lnTo>
                    <a:pt x="995" y="736"/>
                  </a:lnTo>
                  <a:lnTo>
                    <a:pt x="995" y="736"/>
                  </a:lnTo>
                  <a:lnTo>
                    <a:pt x="995" y="736"/>
                  </a:lnTo>
                  <a:lnTo>
                    <a:pt x="995" y="736"/>
                  </a:lnTo>
                  <a:lnTo>
                    <a:pt x="995" y="738"/>
                  </a:lnTo>
                  <a:lnTo>
                    <a:pt x="997" y="740"/>
                  </a:lnTo>
                  <a:lnTo>
                    <a:pt x="997" y="740"/>
                  </a:lnTo>
                  <a:lnTo>
                    <a:pt x="997" y="742"/>
                  </a:lnTo>
                  <a:lnTo>
                    <a:pt x="997" y="744"/>
                  </a:lnTo>
                  <a:lnTo>
                    <a:pt x="997" y="746"/>
                  </a:lnTo>
                  <a:lnTo>
                    <a:pt x="997" y="746"/>
                  </a:lnTo>
                  <a:lnTo>
                    <a:pt x="997" y="748"/>
                  </a:lnTo>
                  <a:lnTo>
                    <a:pt x="997" y="750"/>
                  </a:lnTo>
                  <a:lnTo>
                    <a:pt x="997" y="750"/>
                  </a:lnTo>
                  <a:lnTo>
                    <a:pt x="997" y="750"/>
                  </a:lnTo>
                  <a:lnTo>
                    <a:pt x="997" y="750"/>
                  </a:lnTo>
                  <a:lnTo>
                    <a:pt x="999" y="750"/>
                  </a:lnTo>
                  <a:lnTo>
                    <a:pt x="999" y="750"/>
                  </a:lnTo>
                  <a:lnTo>
                    <a:pt x="999" y="750"/>
                  </a:lnTo>
                  <a:lnTo>
                    <a:pt x="1002" y="750"/>
                  </a:lnTo>
                  <a:lnTo>
                    <a:pt x="1002" y="752"/>
                  </a:lnTo>
                  <a:lnTo>
                    <a:pt x="1004" y="754"/>
                  </a:lnTo>
                  <a:lnTo>
                    <a:pt x="1004" y="754"/>
                  </a:lnTo>
                  <a:lnTo>
                    <a:pt x="1004" y="754"/>
                  </a:lnTo>
                  <a:lnTo>
                    <a:pt x="1004" y="756"/>
                  </a:lnTo>
                  <a:lnTo>
                    <a:pt x="1004" y="756"/>
                  </a:lnTo>
                  <a:lnTo>
                    <a:pt x="1004" y="756"/>
                  </a:lnTo>
                  <a:lnTo>
                    <a:pt x="1004" y="756"/>
                  </a:lnTo>
                  <a:lnTo>
                    <a:pt x="1006" y="756"/>
                  </a:lnTo>
                  <a:lnTo>
                    <a:pt x="1006" y="756"/>
                  </a:lnTo>
                  <a:lnTo>
                    <a:pt x="1006" y="756"/>
                  </a:lnTo>
                  <a:lnTo>
                    <a:pt x="1006" y="756"/>
                  </a:lnTo>
                  <a:lnTo>
                    <a:pt x="1004" y="756"/>
                  </a:lnTo>
                  <a:lnTo>
                    <a:pt x="1004" y="756"/>
                  </a:lnTo>
                  <a:lnTo>
                    <a:pt x="1004" y="756"/>
                  </a:lnTo>
                  <a:lnTo>
                    <a:pt x="1004" y="754"/>
                  </a:lnTo>
                  <a:lnTo>
                    <a:pt x="1004" y="754"/>
                  </a:lnTo>
                  <a:lnTo>
                    <a:pt x="1004" y="754"/>
                  </a:lnTo>
                  <a:lnTo>
                    <a:pt x="1004" y="754"/>
                  </a:lnTo>
                  <a:lnTo>
                    <a:pt x="1004" y="756"/>
                  </a:lnTo>
                  <a:lnTo>
                    <a:pt x="1006" y="754"/>
                  </a:lnTo>
                  <a:lnTo>
                    <a:pt x="1006" y="754"/>
                  </a:lnTo>
                  <a:lnTo>
                    <a:pt x="1006" y="754"/>
                  </a:lnTo>
                  <a:lnTo>
                    <a:pt x="1006" y="754"/>
                  </a:lnTo>
                  <a:lnTo>
                    <a:pt x="1006" y="754"/>
                  </a:lnTo>
                  <a:lnTo>
                    <a:pt x="1006" y="754"/>
                  </a:lnTo>
                  <a:lnTo>
                    <a:pt x="1006" y="754"/>
                  </a:lnTo>
                  <a:lnTo>
                    <a:pt x="1006" y="752"/>
                  </a:lnTo>
                  <a:lnTo>
                    <a:pt x="1006" y="752"/>
                  </a:lnTo>
                  <a:lnTo>
                    <a:pt x="1008" y="752"/>
                  </a:lnTo>
                  <a:lnTo>
                    <a:pt x="1008" y="752"/>
                  </a:lnTo>
                  <a:lnTo>
                    <a:pt x="1008" y="752"/>
                  </a:lnTo>
                  <a:lnTo>
                    <a:pt x="1008" y="750"/>
                  </a:lnTo>
                  <a:lnTo>
                    <a:pt x="1008" y="750"/>
                  </a:lnTo>
                  <a:lnTo>
                    <a:pt x="1008" y="750"/>
                  </a:lnTo>
                  <a:lnTo>
                    <a:pt x="1008" y="748"/>
                  </a:lnTo>
                  <a:lnTo>
                    <a:pt x="1008" y="748"/>
                  </a:lnTo>
                  <a:lnTo>
                    <a:pt x="1010" y="746"/>
                  </a:lnTo>
                  <a:lnTo>
                    <a:pt x="1010" y="744"/>
                  </a:lnTo>
                  <a:lnTo>
                    <a:pt x="1010" y="744"/>
                  </a:lnTo>
                  <a:lnTo>
                    <a:pt x="1010" y="744"/>
                  </a:lnTo>
                  <a:lnTo>
                    <a:pt x="1006" y="744"/>
                  </a:lnTo>
                  <a:lnTo>
                    <a:pt x="1004" y="744"/>
                  </a:lnTo>
                  <a:lnTo>
                    <a:pt x="1004" y="744"/>
                  </a:lnTo>
                  <a:lnTo>
                    <a:pt x="1004" y="746"/>
                  </a:lnTo>
                  <a:lnTo>
                    <a:pt x="1002" y="746"/>
                  </a:lnTo>
                  <a:lnTo>
                    <a:pt x="1002" y="746"/>
                  </a:lnTo>
                  <a:lnTo>
                    <a:pt x="1002" y="746"/>
                  </a:lnTo>
                  <a:lnTo>
                    <a:pt x="999" y="746"/>
                  </a:lnTo>
                  <a:lnTo>
                    <a:pt x="999" y="746"/>
                  </a:lnTo>
                  <a:lnTo>
                    <a:pt x="999" y="744"/>
                  </a:lnTo>
                  <a:lnTo>
                    <a:pt x="997" y="744"/>
                  </a:lnTo>
                  <a:lnTo>
                    <a:pt x="999" y="744"/>
                  </a:lnTo>
                  <a:lnTo>
                    <a:pt x="1002" y="744"/>
                  </a:lnTo>
                  <a:lnTo>
                    <a:pt x="1002" y="742"/>
                  </a:lnTo>
                  <a:lnTo>
                    <a:pt x="1002" y="742"/>
                  </a:lnTo>
                  <a:lnTo>
                    <a:pt x="1002" y="742"/>
                  </a:lnTo>
                  <a:lnTo>
                    <a:pt x="1004" y="742"/>
                  </a:lnTo>
                  <a:lnTo>
                    <a:pt x="1006" y="742"/>
                  </a:lnTo>
                  <a:lnTo>
                    <a:pt x="1008" y="742"/>
                  </a:lnTo>
                  <a:lnTo>
                    <a:pt x="1010" y="742"/>
                  </a:lnTo>
                  <a:lnTo>
                    <a:pt x="1010" y="742"/>
                  </a:lnTo>
                  <a:lnTo>
                    <a:pt x="1010" y="742"/>
                  </a:lnTo>
                  <a:lnTo>
                    <a:pt x="1010" y="744"/>
                  </a:lnTo>
                  <a:lnTo>
                    <a:pt x="1014" y="744"/>
                  </a:lnTo>
                  <a:lnTo>
                    <a:pt x="1010" y="746"/>
                  </a:lnTo>
                  <a:lnTo>
                    <a:pt x="1010" y="748"/>
                  </a:lnTo>
                  <a:lnTo>
                    <a:pt x="1010" y="748"/>
                  </a:lnTo>
                  <a:lnTo>
                    <a:pt x="1010" y="748"/>
                  </a:lnTo>
                  <a:lnTo>
                    <a:pt x="1008" y="750"/>
                  </a:lnTo>
                  <a:lnTo>
                    <a:pt x="1008" y="750"/>
                  </a:lnTo>
                  <a:lnTo>
                    <a:pt x="1008" y="750"/>
                  </a:lnTo>
                  <a:lnTo>
                    <a:pt x="1010" y="750"/>
                  </a:lnTo>
                  <a:lnTo>
                    <a:pt x="1010" y="752"/>
                  </a:lnTo>
                  <a:lnTo>
                    <a:pt x="1010" y="750"/>
                  </a:lnTo>
                  <a:lnTo>
                    <a:pt x="1012" y="750"/>
                  </a:lnTo>
                  <a:lnTo>
                    <a:pt x="1012" y="748"/>
                  </a:lnTo>
                  <a:lnTo>
                    <a:pt x="1014" y="746"/>
                  </a:lnTo>
                  <a:lnTo>
                    <a:pt x="1016" y="744"/>
                  </a:lnTo>
                  <a:lnTo>
                    <a:pt x="1018" y="744"/>
                  </a:lnTo>
                  <a:lnTo>
                    <a:pt x="1018" y="742"/>
                  </a:lnTo>
                  <a:lnTo>
                    <a:pt x="1018" y="742"/>
                  </a:lnTo>
                  <a:lnTo>
                    <a:pt x="1018" y="742"/>
                  </a:lnTo>
                  <a:lnTo>
                    <a:pt x="1018" y="742"/>
                  </a:lnTo>
                  <a:lnTo>
                    <a:pt x="1020" y="742"/>
                  </a:lnTo>
                  <a:lnTo>
                    <a:pt x="1020" y="744"/>
                  </a:lnTo>
                  <a:lnTo>
                    <a:pt x="1020" y="744"/>
                  </a:lnTo>
                  <a:lnTo>
                    <a:pt x="1018" y="744"/>
                  </a:lnTo>
                  <a:lnTo>
                    <a:pt x="1018" y="744"/>
                  </a:lnTo>
                  <a:lnTo>
                    <a:pt x="1018" y="744"/>
                  </a:lnTo>
                  <a:lnTo>
                    <a:pt x="1018" y="744"/>
                  </a:lnTo>
                  <a:lnTo>
                    <a:pt x="1018" y="744"/>
                  </a:lnTo>
                  <a:lnTo>
                    <a:pt x="1018" y="744"/>
                  </a:lnTo>
                  <a:lnTo>
                    <a:pt x="1016" y="746"/>
                  </a:lnTo>
                  <a:lnTo>
                    <a:pt x="1016" y="746"/>
                  </a:lnTo>
                  <a:lnTo>
                    <a:pt x="1016" y="746"/>
                  </a:lnTo>
                  <a:lnTo>
                    <a:pt x="1014" y="748"/>
                  </a:lnTo>
                  <a:lnTo>
                    <a:pt x="1014" y="750"/>
                  </a:lnTo>
                  <a:lnTo>
                    <a:pt x="1014" y="750"/>
                  </a:lnTo>
                  <a:lnTo>
                    <a:pt x="1014" y="750"/>
                  </a:lnTo>
                  <a:lnTo>
                    <a:pt x="1014" y="752"/>
                  </a:lnTo>
                  <a:lnTo>
                    <a:pt x="1014" y="752"/>
                  </a:lnTo>
                  <a:lnTo>
                    <a:pt x="1016" y="752"/>
                  </a:lnTo>
                  <a:lnTo>
                    <a:pt x="1016" y="750"/>
                  </a:lnTo>
                  <a:lnTo>
                    <a:pt x="1016" y="750"/>
                  </a:lnTo>
                  <a:lnTo>
                    <a:pt x="1016" y="748"/>
                  </a:lnTo>
                  <a:lnTo>
                    <a:pt x="1016" y="748"/>
                  </a:lnTo>
                  <a:lnTo>
                    <a:pt x="1018" y="748"/>
                  </a:lnTo>
                  <a:lnTo>
                    <a:pt x="1018" y="750"/>
                  </a:lnTo>
                  <a:lnTo>
                    <a:pt x="1016" y="750"/>
                  </a:lnTo>
                  <a:lnTo>
                    <a:pt x="1016" y="752"/>
                  </a:lnTo>
                  <a:lnTo>
                    <a:pt x="1018" y="750"/>
                  </a:lnTo>
                  <a:lnTo>
                    <a:pt x="1018" y="750"/>
                  </a:lnTo>
                  <a:lnTo>
                    <a:pt x="1018" y="750"/>
                  </a:lnTo>
                  <a:lnTo>
                    <a:pt x="1018" y="752"/>
                  </a:lnTo>
                  <a:lnTo>
                    <a:pt x="1016" y="754"/>
                  </a:lnTo>
                  <a:lnTo>
                    <a:pt x="1014" y="754"/>
                  </a:lnTo>
                  <a:lnTo>
                    <a:pt x="1014" y="754"/>
                  </a:lnTo>
                  <a:lnTo>
                    <a:pt x="1014" y="754"/>
                  </a:lnTo>
                  <a:lnTo>
                    <a:pt x="1014" y="756"/>
                  </a:lnTo>
                  <a:lnTo>
                    <a:pt x="1012" y="756"/>
                  </a:lnTo>
                  <a:lnTo>
                    <a:pt x="1010" y="758"/>
                  </a:lnTo>
                  <a:lnTo>
                    <a:pt x="1008" y="760"/>
                  </a:lnTo>
                  <a:lnTo>
                    <a:pt x="1008" y="762"/>
                  </a:lnTo>
                  <a:lnTo>
                    <a:pt x="1008" y="762"/>
                  </a:lnTo>
                  <a:lnTo>
                    <a:pt x="1008" y="762"/>
                  </a:lnTo>
                  <a:lnTo>
                    <a:pt x="1008" y="762"/>
                  </a:lnTo>
                  <a:lnTo>
                    <a:pt x="1008" y="762"/>
                  </a:lnTo>
                  <a:lnTo>
                    <a:pt x="1010" y="762"/>
                  </a:lnTo>
                  <a:lnTo>
                    <a:pt x="1010" y="762"/>
                  </a:lnTo>
                  <a:lnTo>
                    <a:pt x="1010" y="762"/>
                  </a:lnTo>
                  <a:lnTo>
                    <a:pt x="1012" y="762"/>
                  </a:lnTo>
                  <a:lnTo>
                    <a:pt x="1012" y="762"/>
                  </a:lnTo>
                  <a:lnTo>
                    <a:pt x="1012" y="762"/>
                  </a:lnTo>
                  <a:lnTo>
                    <a:pt x="1012" y="762"/>
                  </a:lnTo>
                  <a:lnTo>
                    <a:pt x="1014" y="762"/>
                  </a:lnTo>
                  <a:lnTo>
                    <a:pt x="1014" y="762"/>
                  </a:lnTo>
                  <a:lnTo>
                    <a:pt x="1016" y="760"/>
                  </a:lnTo>
                  <a:lnTo>
                    <a:pt x="1016" y="760"/>
                  </a:lnTo>
                  <a:lnTo>
                    <a:pt x="1016" y="758"/>
                  </a:lnTo>
                  <a:lnTo>
                    <a:pt x="1016" y="758"/>
                  </a:lnTo>
                  <a:lnTo>
                    <a:pt x="1018" y="758"/>
                  </a:lnTo>
                  <a:lnTo>
                    <a:pt x="1018" y="758"/>
                  </a:lnTo>
                  <a:lnTo>
                    <a:pt x="1018" y="758"/>
                  </a:lnTo>
                  <a:lnTo>
                    <a:pt x="1018" y="758"/>
                  </a:lnTo>
                  <a:lnTo>
                    <a:pt x="1018" y="758"/>
                  </a:lnTo>
                  <a:lnTo>
                    <a:pt x="1018" y="758"/>
                  </a:lnTo>
                  <a:lnTo>
                    <a:pt x="1018" y="758"/>
                  </a:lnTo>
                  <a:lnTo>
                    <a:pt x="1020" y="758"/>
                  </a:lnTo>
                  <a:lnTo>
                    <a:pt x="1020" y="756"/>
                  </a:lnTo>
                  <a:lnTo>
                    <a:pt x="1020" y="756"/>
                  </a:lnTo>
                  <a:lnTo>
                    <a:pt x="1022" y="756"/>
                  </a:lnTo>
                  <a:lnTo>
                    <a:pt x="1022" y="756"/>
                  </a:lnTo>
                  <a:lnTo>
                    <a:pt x="1020" y="756"/>
                  </a:lnTo>
                  <a:lnTo>
                    <a:pt x="1020" y="756"/>
                  </a:lnTo>
                  <a:lnTo>
                    <a:pt x="1018" y="756"/>
                  </a:lnTo>
                  <a:lnTo>
                    <a:pt x="1020" y="754"/>
                  </a:lnTo>
                  <a:lnTo>
                    <a:pt x="1020" y="756"/>
                  </a:lnTo>
                  <a:lnTo>
                    <a:pt x="1020" y="754"/>
                  </a:lnTo>
                  <a:lnTo>
                    <a:pt x="1022" y="750"/>
                  </a:lnTo>
                  <a:lnTo>
                    <a:pt x="1022" y="752"/>
                  </a:lnTo>
                  <a:lnTo>
                    <a:pt x="1022" y="752"/>
                  </a:lnTo>
                  <a:lnTo>
                    <a:pt x="1022" y="752"/>
                  </a:lnTo>
                  <a:lnTo>
                    <a:pt x="1022" y="752"/>
                  </a:lnTo>
                  <a:lnTo>
                    <a:pt x="1022" y="752"/>
                  </a:lnTo>
                  <a:lnTo>
                    <a:pt x="1024" y="752"/>
                  </a:lnTo>
                  <a:lnTo>
                    <a:pt x="1024" y="752"/>
                  </a:lnTo>
                  <a:lnTo>
                    <a:pt x="1024" y="752"/>
                  </a:lnTo>
                  <a:lnTo>
                    <a:pt x="1024" y="752"/>
                  </a:lnTo>
                  <a:lnTo>
                    <a:pt x="1024" y="752"/>
                  </a:lnTo>
                  <a:lnTo>
                    <a:pt x="1024" y="752"/>
                  </a:lnTo>
                  <a:lnTo>
                    <a:pt x="1024" y="752"/>
                  </a:lnTo>
                  <a:lnTo>
                    <a:pt x="1024" y="752"/>
                  </a:lnTo>
                  <a:lnTo>
                    <a:pt x="1024" y="750"/>
                  </a:lnTo>
                  <a:lnTo>
                    <a:pt x="1024" y="750"/>
                  </a:lnTo>
                  <a:lnTo>
                    <a:pt x="1024" y="750"/>
                  </a:lnTo>
                  <a:lnTo>
                    <a:pt x="1022" y="750"/>
                  </a:lnTo>
                  <a:lnTo>
                    <a:pt x="1022" y="748"/>
                  </a:lnTo>
                  <a:lnTo>
                    <a:pt x="1022" y="748"/>
                  </a:lnTo>
                  <a:lnTo>
                    <a:pt x="1022" y="748"/>
                  </a:lnTo>
                  <a:lnTo>
                    <a:pt x="1024" y="748"/>
                  </a:lnTo>
                  <a:lnTo>
                    <a:pt x="1024" y="748"/>
                  </a:lnTo>
                  <a:lnTo>
                    <a:pt x="1024" y="748"/>
                  </a:lnTo>
                  <a:lnTo>
                    <a:pt x="1024" y="748"/>
                  </a:lnTo>
                  <a:lnTo>
                    <a:pt x="1024" y="746"/>
                  </a:lnTo>
                  <a:lnTo>
                    <a:pt x="1020" y="748"/>
                  </a:lnTo>
                  <a:lnTo>
                    <a:pt x="1020" y="746"/>
                  </a:lnTo>
                  <a:lnTo>
                    <a:pt x="1020" y="746"/>
                  </a:lnTo>
                  <a:lnTo>
                    <a:pt x="1024" y="746"/>
                  </a:lnTo>
                  <a:lnTo>
                    <a:pt x="1026" y="746"/>
                  </a:lnTo>
                  <a:lnTo>
                    <a:pt x="1026" y="746"/>
                  </a:lnTo>
                  <a:lnTo>
                    <a:pt x="1026" y="744"/>
                  </a:lnTo>
                  <a:lnTo>
                    <a:pt x="1026" y="744"/>
                  </a:lnTo>
                  <a:lnTo>
                    <a:pt x="1026" y="744"/>
                  </a:lnTo>
                  <a:lnTo>
                    <a:pt x="1026" y="744"/>
                  </a:lnTo>
                  <a:lnTo>
                    <a:pt x="1026" y="742"/>
                  </a:lnTo>
                  <a:lnTo>
                    <a:pt x="1026" y="740"/>
                  </a:lnTo>
                  <a:lnTo>
                    <a:pt x="1026" y="740"/>
                  </a:lnTo>
                  <a:lnTo>
                    <a:pt x="1026" y="742"/>
                  </a:lnTo>
                  <a:lnTo>
                    <a:pt x="1026" y="740"/>
                  </a:lnTo>
                  <a:lnTo>
                    <a:pt x="1026" y="740"/>
                  </a:lnTo>
                  <a:lnTo>
                    <a:pt x="1026" y="740"/>
                  </a:lnTo>
                  <a:lnTo>
                    <a:pt x="1026" y="740"/>
                  </a:lnTo>
                  <a:lnTo>
                    <a:pt x="1026" y="740"/>
                  </a:lnTo>
                  <a:lnTo>
                    <a:pt x="1026" y="742"/>
                  </a:lnTo>
                  <a:lnTo>
                    <a:pt x="1026" y="742"/>
                  </a:lnTo>
                  <a:lnTo>
                    <a:pt x="1028" y="744"/>
                  </a:lnTo>
                  <a:lnTo>
                    <a:pt x="1028" y="744"/>
                  </a:lnTo>
                  <a:lnTo>
                    <a:pt x="1028" y="744"/>
                  </a:lnTo>
                  <a:lnTo>
                    <a:pt x="1028" y="742"/>
                  </a:lnTo>
                  <a:lnTo>
                    <a:pt x="1028" y="742"/>
                  </a:lnTo>
                  <a:lnTo>
                    <a:pt x="1030" y="740"/>
                  </a:lnTo>
                  <a:lnTo>
                    <a:pt x="1030" y="740"/>
                  </a:lnTo>
                  <a:lnTo>
                    <a:pt x="1030" y="740"/>
                  </a:lnTo>
                  <a:lnTo>
                    <a:pt x="1030" y="738"/>
                  </a:lnTo>
                  <a:lnTo>
                    <a:pt x="1030" y="740"/>
                  </a:lnTo>
                  <a:lnTo>
                    <a:pt x="1030" y="740"/>
                  </a:lnTo>
                  <a:lnTo>
                    <a:pt x="1030" y="740"/>
                  </a:lnTo>
                  <a:lnTo>
                    <a:pt x="1032" y="740"/>
                  </a:lnTo>
                  <a:lnTo>
                    <a:pt x="1032" y="738"/>
                  </a:lnTo>
                  <a:lnTo>
                    <a:pt x="1032" y="738"/>
                  </a:lnTo>
                  <a:lnTo>
                    <a:pt x="1032" y="738"/>
                  </a:lnTo>
                  <a:lnTo>
                    <a:pt x="1032" y="738"/>
                  </a:lnTo>
                  <a:lnTo>
                    <a:pt x="1034" y="738"/>
                  </a:lnTo>
                  <a:lnTo>
                    <a:pt x="1034" y="738"/>
                  </a:lnTo>
                  <a:lnTo>
                    <a:pt x="1034" y="738"/>
                  </a:lnTo>
                  <a:lnTo>
                    <a:pt x="1034" y="738"/>
                  </a:lnTo>
                  <a:lnTo>
                    <a:pt x="1034" y="738"/>
                  </a:lnTo>
                  <a:lnTo>
                    <a:pt x="1034" y="738"/>
                  </a:lnTo>
                  <a:lnTo>
                    <a:pt x="1038" y="738"/>
                  </a:lnTo>
                  <a:lnTo>
                    <a:pt x="1038" y="738"/>
                  </a:lnTo>
                  <a:lnTo>
                    <a:pt x="1043" y="736"/>
                  </a:lnTo>
                  <a:lnTo>
                    <a:pt x="1040" y="736"/>
                  </a:lnTo>
                  <a:lnTo>
                    <a:pt x="1040" y="734"/>
                  </a:lnTo>
                  <a:lnTo>
                    <a:pt x="1040" y="734"/>
                  </a:lnTo>
                  <a:lnTo>
                    <a:pt x="1038" y="734"/>
                  </a:lnTo>
                  <a:lnTo>
                    <a:pt x="1038" y="734"/>
                  </a:lnTo>
                  <a:lnTo>
                    <a:pt x="1036" y="734"/>
                  </a:lnTo>
                  <a:lnTo>
                    <a:pt x="1034" y="734"/>
                  </a:lnTo>
                  <a:lnTo>
                    <a:pt x="1036" y="734"/>
                  </a:lnTo>
                  <a:lnTo>
                    <a:pt x="1036" y="732"/>
                  </a:lnTo>
                  <a:lnTo>
                    <a:pt x="1036" y="732"/>
                  </a:lnTo>
                  <a:lnTo>
                    <a:pt x="1036" y="732"/>
                  </a:lnTo>
                  <a:lnTo>
                    <a:pt x="1036" y="732"/>
                  </a:lnTo>
                  <a:lnTo>
                    <a:pt x="1036" y="732"/>
                  </a:lnTo>
                  <a:lnTo>
                    <a:pt x="1036" y="732"/>
                  </a:lnTo>
                  <a:lnTo>
                    <a:pt x="1036" y="734"/>
                  </a:lnTo>
                  <a:lnTo>
                    <a:pt x="1036" y="734"/>
                  </a:lnTo>
                  <a:lnTo>
                    <a:pt x="1038" y="734"/>
                  </a:lnTo>
                  <a:lnTo>
                    <a:pt x="1038" y="732"/>
                  </a:lnTo>
                  <a:lnTo>
                    <a:pt x="1040" y="732"/>
                  </a:lnTo>
                  <a:lnTo>
                    <a:pt x="1040" y="732"/>
                  </a:lnTo>
                  <a:lnTo>
                    <a:pt x="1040" y="732"/>
                  </a:lnTo>
                  <a:lnTo>
                    <a:pt x="1043" y="732"/>
                  </a:lnTo>
                  <a:lnTo>
                    <a:pt x="1043" y="732"/>
                  </a:lnTo>
                  <a:lnTo>
                    <a:pt x="1045" y="732"/>
                  </a:lnTo>
                  <a:lnTo>
                    <a:pt x="1045" y="732"/>
                  </a:lnTo>
                  <a:lnTo>
                    <a:pt x="1045" y="732"/>
                  </a:lnTo>
                  <a:lnTo>
                    <a:pt x="1043" y="734"/>
                  </a:lnTo>
                  <a:lnTo>
                    <a:pt x="1043" y="734"/>
                  </a:lnTo>
                  <a:lnTo>
                    <a:pt x="1045" y="734"/>
                  </a:lnTo>
                  <a:lnTo>
                    <a:pt x="1045" y="734"/>
                  </a:lnTo>
                  <a:lnTo>
                    <a:pt x="1045" y="736"/>
                  </a:lnTo>
                  <a:lnTo>
                    <a:pt x="1045" y="736"/>
                  </a:lnTo>
                  <a:lnTo>
                    <a:pt x="1047" y="736"/>
                  </a:lnTo>
                  <a:lnTo>
                    <a:pt x="1047" y="734"/>
                  </a:lnTo>
                  <a:lnTo>
                    <a:pt x="1049" y="734"/>
                  </a:lnTo>
                  <a:lnTo>
                    <a:pt x="1049" y="734"/>
                  </a:lnTo>
                  <a:lnTo>
                    <a:pt x="1049" y="736"/>
                  </a:lnTo>
                  <a:lnTo>
                    <a:pt x="1049" y="734"/>
                  </a:lnTo>
                  <a:lnTo>
                    <a:pt x="1051" y="734"/>
                  </a:lnTo>
                  <a:lnTo>
                    <a:pt x="1051" y="732"/>
                  </a:lnTo>
                  <a:lnTo>
                    <a:pt x="1051" y="732"/>
                  </a:lnTo>
                  <a:lnTo>
                    <a:pt x="1051" y="732"/>
                  </a:lnTo>
                  <a:lnTo>
                    <a:pt x="1051" y="730"/>
                  </a:lnTo>
                  <a:lnTo>
                    <a:pt x="1053" y="730"/>
                  </a:lnTo>
                  <a:lnTo>
                    <a:pt x="1051" y="730"/>
                  </a:lnTo>
                  <a:lnTo>
                    <a:pt x="1051" y="730"/>
                  </a:lnTo>
                  <a:lnTo>
                    <a:pt x="1051" y="730"/>
                  </a:lnTo>
                  <a:lnTo>
                    <a:pt x="1051" y="730"/>
                  </a:lnTo>
                  <a:lnTo>
                    <a:pt x="1051" y="728"/>
                  </a:lnTo>
                  <a:lnTo>
                    <a:pt x="1049" y="728"/>
                  </a:lnTo>
                  <a:lnTo>
                    <a:pt x="1047" y="725"/>
                  </a:lnTo>
                  <a:lnTo>
                    <a:pt x="1045" y="725"/>
                  </a:lnTo>
                  <a:lnTo>
                    <a:pt x="1040" y="725"/>
                  </a:lnTo>
                  <a:lnTo>
                    <a:pt x="1040" y="725"/>
                  </a:lnTo>
                  <a:lnTo>
                    <a:pt x="1040" y="728"/>
                  </a:lnTo>
                  <a:lnTo>
                    <a:pt x="1038" y="728"/>
                  </a:lnTo>
                  <a:lnTo>
                    <a:pt x="1038" y="728"/>
                  </a:lnTo>
                  <a:lnTo>
                    <a:pt x="1038" y="725"/>
                  </a:lnTo>
                  <a:lnTo>
                    <a:pt x="1040" y="725"/>
                  </a:lnTo>
                  <a:lnTo>
                    <a:pt x="1040" y="725"/>
                  </a:lnTo>
                  <a:lnTo>
                    <a:pt x="1040" y="725"/>
                  </a:lnTo>
                  <a:lnTo>
                    <a:pt x="1040" y="725"/>
                  </a:lnTo>
                  <a:lnTo>
                    <a:pt x="1040" y="725"/>
                  </a:lnTo>
                  <a:lnTo>
                    <a:pt x="1043" y="723"/>
                  </a:lnTo>
                  <a:lnTo>
                    <a:pt x="1043" y="723"/>
                  </a:lnTo>
                  <a:lnTo>
                    <a:pt x="1043" y="723"/>
                  </a:lnTo>
                  <a:lnTo>
                    <a:pt x="1040" y="723"/>
                  </a:lnTo>
                  <a:lnTo>
                    <a:pt x="1040" y="721"/>
                  </a:lnTo>
                  <a:lnTo>
                    <a:pt x="1043" y="721"/>
                  </a:lnTo>
                  <a:lnTo>
                    <a:pt x="1043" y="721"/>
                  </a:lnTo>
                  <a:lnTo>
                    <a:pt x="1043" y="723"/>
                  </a:lnTo>
                  <a:lnTo>
                    <a:pt x="1043" y="723"/>
                  </a:lnTo>
                  <a:lnTo>
                    <a:pt x="1045" y="721"/>
                  </a:lnTo>
                  <a:lnTo>
                    <a:pt x="1045" y="721"/>
                  </a:lnTo>
                  <a:lnTo>
                    <a:pt x="1045" y="723"/>
                  </a:lnTo>
                  <a:lnTo>
                    <a:pt x="1045" y="723"/>
                  </a:lnTo>
                  <a:lnTo>
                    <a:pt x="1047" y="723"/>
                  </a:lnTo>
                  <a:lnTo>
                    <a:pt x="1047" y="723"/>
                  </a:lnTo>
                  <a:lnTo>
                    <a:pt x="1047" y="723"/>
                  </a:lnTo>
                  <a:lnTo>
                    <a:pt x="1049" y="723"/>
                  </a:lnTo>
                  <a:lnTo>
                    <a:pt x="1049" y="723"/>
                  </a:lnTo>
                  <a:lnTo>
                    <a:pt x="1049" y="723"/>
                  </a:lnTo>
                  <a:lnTo>
                    <a:pt x="1049" y="723"/>
                  </a:lnTo>
                  <a:lnTo>
                    <a:pt x="1049" y="725"/>
                  </a:lnTo>
                  <a:lnTo>
                    <a:pt x="1049" y="725"/>
                  </a:lnTo>
                  <a:lnTo>
                    <a:pt x="1049" y="725"/>
                  </a:lnTo>
                  <a:lnTo>
                    <a:pt x="1051" y="725"/>
                  </a:lnTo>
                  <a:lnTo>
                    <a:pt x="1051" y="725"/>
                  </a:lnTo>
                  <a:lnTo>
                    <a:pt x="1051" y="723"/>
                  </a:lnTo>
                  <a:lnTo>
                    <a:pt x="1051" y="723"/>
                  </a:lnTo>
                  <a:lnTo>
                    <a:pt x="1051" y="723"/>
                  </a:lnTo>
                  <a:lnTo>
                    <a:pt x="1051" y="725"/>
                  </a:lnTo>
                  <a:lnTo>
                    <a:pt x="1051" y="725"/>
                  </a:lnTo>
                  <a:lnTo>
                    <a:pt x="1051" y="725"/>
                  </a:lnTo>
                  <a:lnTo>
                    <a:pt x="1051" y="725"/>
                  </a:lnTo>
                  <a:lnTo>
                    <a:pt x="1051" y="725"/>
                  </a:lnTo>
                  <a:lnTo>
                    <a:pt x="1053" y="725"/>
                  </a:lnTo>
                  <a:lnTo>
                    <a:pt x="1053" y="725"/>
                  </a:lnTo>
                  <a:lnTo>
                    <a:pt x="1053" y="725"/>
                  </a:lnTo>
                  <a:lnTo>
                    <a:pt x="1053" y="725"/>
                  </a:lnTo>
                  <a:lnTo>
                    <a:pt x="1053" y="725"/>
                  </a:lnTo>
                  <a:lnTo>
                    <a:pt x="1053" y="725"/>
                  </a:lnTo>
                  <a:lnTo>
                    <a:pt x="1053" y="725"/>
                  </a:lnTo>
                  <a:lnTo>
                    <a:pt x="1053" y="725"/>
                  </a:lnTo>
                  <a:lnTo>
                    <a:pt x="1053" y="725"/>
                  </a:lnTo>
                  <a:lnTo>
                    <a:pt x="1053" y="725"/>
                  </a:lnTo>
                  <a:lnTo>
                    <a:pt x="1055" y="725"/>
                  </a:lnTo>
                  <a:lnTo>
                    <a:pt x="1055" y="725"/>
                  </a:lnTo>
                  <a:lnTo>
                    <a:pt x="1055" y="725"/>
                  </a:lnTo>
                  <a:lnTo>
                    <a:pt x="1055" y="725"/>
                  </a:lnTo>
                  <a:lnTo>
                    <a:pt x="1055" y="725"/>
                  </a:lnTo>
                  <a:lnTo>
                    <a:pt x="1055" y="725"/>
                  </a:lnTo>
                  <a:lnTo>
                    <a:pt x="1055" y="725"/>
                  </a:lnTo>
                  <a:lnTo>
                    <a:pt x="1055" y="725"/>
                  </a:lnTo>
                  <a:lnTo>
                    <a:pt x="1055" y="725"/>
                  </a:lnTo>
                  <a:lnTo>
                    <a:pt x="1055" y="728"/>
                  </a:lnTo>
                  <a:lnTo>
                    <a:pt x="1055" y="728"/>
                  </a:lnTo>
                  <a:lnTo>
                    <a:pt x="1055" y="728"/>
                  </a:lnTo>
                  <a:lnTo>
                    <a:pt x="1055" y="728"/>
                  </a:lnTo>
                  <a:lnTo>
                    <a:pt x="1055" y="725"/>
                  </a:lnTo>
                  <a:lnTo>
                    <a:pt x="1055" y="725"/>
                  </a:lnTo>
                  <a:lnTo>
                    <a:pt x="1057" y="725"/>
                  </a:lnTo>
                  <a:lnTo>
                    <a:pt x="1057" y="725"/>
                  </a:lnTo>
                  <a:lnTo>
                    <a:pt x="1057" y="725"/>
                  </a:lnTo>
                  <a:lnTo>
                    <a:pt x="1057" y="725"/>
                  </a:lnTo>
                  <a:lnTo>
                    <a:pt x="1059" y="728"/>
                  </a:lnTo>
                  <a:lnTo>
                    <a:pt x="1059" y="725"/>
                  </a:lnTo>
                  <a:lnTo>
                    <a:pt x="1059" y="725"/>
                  </a:lnTo>
                  <a:lnTo>
                    <a:pt x="1059" y="725"/>
                  </a:lnTo>
                  <a:lnTo>
                    <a:pt x="1059" y="723"/>
                  </a:lnTo>
                  <a:lnTo>
                    <a:pt x="1059" y="723"/>
                  </a:lnTo>
                  <a:lnTo>
                    <a:pt x="1061" y="721"/>
                  </a:lnTo>
                  <a:lnTo>
                    <a:pt x="1061" y="721"/>
                  </a:lnTo>
                  <a:lnTo>
                    <a:pt x="1061" y="721"/>
                  </a:lnTo>
                  <a:lnTo>
                    <a:pt x="1063" y="717"/>
                  </a:lnTo>
                  <a:lnTo>
                    <a:pt x="1063" y="717"/>
                  </a:lnTo>
                  <a:lnTo>
                    <a:pt x="1063" y="717"/>
                  </a:lnTo>
                  <a:lnTo>
                    <a:pt x="1063" y="715"/>
                  </a:lnTo>
                  <a:lnTo>
                    <a:pt x="1059" y="715"/>
                  </a:lnTo>
                  <a:close/>
                  <a:moveTo>
                    <a:pt x="1100" y="621"/>
                  </a:moveTo>
                  <a:lnTo>
                    <a:pt x="1100" y="621"/>
                  </a:lnTo>
                  <a:lnTo>
                    <a:pt x="1100" y="623"/>
                  </a:lnTo>
                  <a:lnTo>
                    <a:pt x="1100" y="623"/>
                  </a:lnTo>
                  <a:lnTo>
                    <a:pt x="1100" y="623"/>
                  </a:lnTo>
                  <a:lnTo>
                    <a:pt x="1098" y="625"/>
                  </a:lnTo>
                  <a:lnTo>
                    <a:pt x="1098" y="625"/>
                  </a:lnTo>
                  <a:lnTo>
                    <a:pt x="1098" y="627"/>
                  </a:lnTo>
                  <a:lnTo>
                    <a:pt x="1100" y="627"/>
                  </a:lnTo>
                  <a:lnTo>
                    <a:pt x="1100" y="627"/>
                  </a:lnTo>
                  <a:lnTo>
                    <a:pt x="1100" y="627"/>
                  </a:lnTo>
                  <a:lnTo>
                    <a:pt x="1102" y="625"/>
                  </a:lnTo>
                  <a:lnTo>
                    <a:pt x="1102" y="623"/>
                  </a:lnTo>
                  <a:lnTo>
                    <a:pt x="1102" y="623"/>
                  </a:lnTo>
                  <a:lnTo>
                    <a:pt x="1100" y="621"/>
                  </a:lnTo>
                  <a:close/>
                  <a:moveTo>
                    <a:pt x="1491" y="635"/>
                  </a:moveTo>
                  <a:lnTo>
                    <a:pt x="1491" y="633"/>
                  </a:lnTo>
                  <a:lnTo>
                    <a:pt x="1491" y="633"/>
                  </a:lnTo>
                  <a:lnTo>
                    <a:pt x="1493" y="633"/>
                  </a:lnTo>
                  <a:lnTo>
                    <a:pt x="1493" y="633"/>
                  </a:lnTo>
                  <a:lnTo>
                    <a:pt x="1491" y="631"/>
                  </a:lnTo>
                  <a:lnTo>
                    <a:pt x="1489" y="631"/>
                  </a:lnTo>
                  <a:lnTo>
                    <a:pt x="1489" y="629"/>
                  </a:lnTo>
                  <a:lnTo>
                    <a:pt x="1487" y="629"/>
                  </a:lnTo>
                  <a:lnTo>
                    <a:pt x="1487" y="629"/>
                  </a:lnTo>
                  <a:lnTo>
                    <a:pt x="1487" y="629"/>
                  </a:lnTo>
                  <a:lnTo>
                    <a:pt x="1487" y="631"/>
                  </a:lnTo>
                  <a:lnTo>
                    <a:pt x="1487" y="631"/>
                  </a:lnTo>
                  <a:lnTo>
                    <a:pt x="1487" y="633"/>
                  </a:lnTo>
                  <a:lnTo>
                    <a:pt x="1487" y="633"/>
                  </a:lnTo>
                  <a:lnTo>
                    <a:pt x="1487" y="633"/>
                  </a:lnTo>
                  <a:lnTo>
                    <a:pt x="1487" y="633"/>
                  </a:lnTo>
                  <a:lnTo>
                    <a:pt x="1487" y="633"/>
                  </a:lnTo>
                  <a:lnTo>
                    <a:pt x="1487" y="633"/>
                  </a:lnTo>
                  <a:lnTo>
                    <a:pt x="1489" y="633"/>
                  </a:lnTo>
                  <a:lnTo>
                    <a:pt x="1487" y="635"/>
                  </a:lnTo>
                  <a:lnTo>
                    <a:pt x="1487" y="635"/>
                  </a:lnTo>
                  <a:lnTo>
                    <a:pt x="1487" y="637"/>
                  </a:lnTo>
                  <a:lnTo>
                    <a:pt x="1489" y="637"/>
                  </a:lnTo>
                  <a:lnTo>
                    <a:pt x="1489" y="637"/>
                  </a:lnTo>
                  <a:lnTo>
                    <a:pt x="1487" y="637"/>
                  </a:lnTo>
                  <a:lnTo>
                    <a:pt x="1489" y="639"/>
                  </a:lnTo>
                  <a:lnTo>
                    <a:pt x="1489" y="639"/>
                  </a:lnTo>
                  <a:lnTo>
                    <a:pt x="1489" y="637"/>
                  </a:lnTo>
                  <a:lnTo>
                    <a:pt x="1489" y="637"/>
                  </a:lnTo>
                  <a:lnTo>
                    <a:pt x="1489" y="637"/>
                  </a:lnTo>
                  <a:lnTo>
                    <a:pt x="1489" y="637"/>
                  </a:lnTo>
                  <a:lnTo>
                    <a:pt x="1489" y="637"/>
                  </a:lnTo>
                  <a:lnTo>
                    <a:pt x="1489" y="637"/>
                  </a:lnTo>
                  <a:lnTo>
                    <a:pt x="1489" y="639"/>
                  </a:lnTo>
                  <a:lnTo>
                    <a:pt x="1489" y="639"/>
                  </a:lnTo>
                  <a:lnTo>
                    <a:pt x="1489" y="639"/>
                  </a:lnTo>
                  <a:lnTo>
                    <a:pt x="1489" y="639"/>
                  </a:lnTo>
                  <a:lnTo>
                    <a:pt x="1491" y="639"/>
                  </a:lnTo>
                  <a:lnTo>
                    <a:pt x="1491" y="639"/>
                  </a:lnTo>
                  <a:lnTo>
                    <a:pt x="1491" y="639"/>
                  </a:lnTo>
                  <a:lnTo>
                    <a:pt x="1491" y="639"/>
                  </a:lnTo>
                  <a:lnTo>
                    <a:pt x="1491" y="641"/>
                  </a:lnTo>
                  <a:lnTo>
                    <a:pt x="1491" y="641"/>
                  </a:lnTo>
                  <a:lnTo>
                    <a:pt x="1491" y="641"/>
                  </a:lnTo>
                  <a:lnTo>
                    <a:pt x="1493" y="641"/>
                  </a:lnTo>
                  <a:lnTo>
                    <a:pt x="1493" y="639"/>
                  </a:lnTo>
                  <a:lnTo>
                    <a:pt x="1493" y="637"/>
                  </a:lnTo>
                  <a:lnTo>
                    <a:pt x="1491" y="635"/>
                  </a:lnTo>
                  <a:close/>
                  <a:moveTo>
                    <a:pt x="1262" y="576"/>
                  </a:moveTo>
                  <a:lnTo>
                    <a:pt x="1262" y="576"/>
                  </a:lnTo>
                  <a:lnTo>
                    <a:pt x="1262" y="576"/>
                  </a:lnTo>
                  <a:lnTo>
                    <a:pt x="1262" y="576"/>
                  </a:lnTo>
                  <a:lnTo>
                    <a:pt x="1262" y="576"/>
                  </a:lnTo>
                  <a:lnTo>
                    <a:pt x="1262" y="574"/>
                  </a:lnTo>
                  <a:lnTo>
                    <a:pt x="1262" y="574"/>
                  </a:lnTo>
                  <a:lnTo>
                    <a:pt x="1262" y="574"/>
                  </a:lnTo>
                  <a:lnTo>
                    <a:pt x="1262" y="572"/>
                  </a:lnTo>
                  <a:lnTo>
                    <a:pt x="1262" y="572"/>
                  </a:lnTo>
                  <a:lnTo>
                    <a:pt x="1260" y="572"/>
                  </a:lnTo>
                  <a:lnTo>
                    <a:pt x="1260" y="572"/>
                  </a:lnTo>
                  <a:lnTo>
                    <a:pt x="1260" y="572"/>
                  </a:lnTo>
                  <a:lnTo>
                    <a:pt x="1260" y="574"/>
                  </a:lnTo>
                  <a:lnTo>
                    <a:pt x="1262" y="574"/>
                  </a:lnTo>
                  <a:lnTo>
                    <a:pt x="1262" y="574"/>
                  </a:lnTo>
                  <a:lnTo>
                    <a:pt x="1262" y="574"/>
                  </a:lnTo>
                  <a:lnTo>
                    <a:pt x="1262" y="576"/>
                  </a:lnTo>
                  <a:lnTo>
                    <a:pt x="1262" y="576"/>
                  </a:lnTo>
                  <a:close/>
                  <a:moveTo>
                    <a:pt x="1520" y="660"/>
                  </a:moveTo>
                  <a:lnTo>
                    <a:pt x="1520" y="660"/>
                  </a:lnTo>
                  <a:lnTo>
                    <a:pt x="1520" y="660"/>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6"/>
                  </a:lnTo>
                  <a:lnTo>
                    <a:pt x="1520" y="656"/>
                  </a:lnTo>
                  <a:lnTo>
                    <a:pt x="1520" y="656"/>
                  </a:lnTo>
                  <a:lnTo>
                    <a:pt x="1522" y="656"/>
                  </a:lnTo>
                  <a:lnTo>
                    <a:pt x="1522" y="654"/>
                  </a:lnTo>
                  <a:lnTo>
                    <a:pt x="1522" y="654"/>
                  </a:lnTo>
                  <a:lnTo>
                    <a:pt x="1520" y="652"/>
                  </a:lnTo>
                  <a:lnTo>
                    <a:pt x="1520" y="652"/>
                  </a:lnTo>
                  <a:lnTo>
                    <a:pt x="1520" y="652"/>
                  </a:lnTo>
                  <a:lnTo>
                    <a:pt x="1520" y="652"/>
                  </a:lnTo>
                  <a:lnTo>
                    <a:pt x="1520" y="652"/>
                  </a:lnTo>
                  <a:lnTo>
                    <a:pt x="1520" y="652"/>
                  </a:lnTo>
                  <a:lnTo>
                    <a:pt x="1520" y="650"/>
                  </a:lnTo>
                  <a:lnTo>
                    <a:pt x="1520" y="650"/>
                  </a:lnTo>
                  <a:lnTo>
                    <a:pt x="1518" y="650"/>
                  </a:lnTo>
                  <a:lnTo>
                    <a:pt x="1518" y="650"/>
                  </a:lnTo>
                  <a:lnTo>
                    <a:pt x="1518" y="650"/>
                  </a:lnTo>
                  <a:lnTo>
                    <a:pt x="1518" y="650"/>
                  </a:lnTo>
                  <a:lnTo>
                    <a:pt x="1518" y="650"/>
                  </a:lnTo>
                  <a:lnTo>
                    <a:pt x="1520" y="650"/>
                  </a:lnTo>
                  <a:lnTo>
                    <a:pt x="1520" y="650"/>
                  </a:lnTo>
                  <a:lnTo>
                    <a:pt x="1518" y="648"/>
                  </a:lnTo>
                  <a:lnTo>
                    <a:pt x="1518" y="648"/>
                  </a:lnTo>
                  <a:lnTo>
                    <a:pt x="1518" y="648"/>
                  </a:lnTo>
                  <a:lnTo>
                    <a:pt x="1516" y="648"/>
                  </a:lnTo>
                  <a:lnTo>
                    <a:pt x="1514" y="646"/>
                  </a:lnTo>
                  <a:lnTo>
                    <a:pt x="1514" y="646"/>
                  </a:lnTo>
                  <a:lnTo>
                    <a:pt x="1512" y="648"/>
                  </a:lnTo>
                  <a:lnTo>
                    <a:pt x="1512" y="646"/>
                  </a:lnTo>
                  <a:lnTo>
                    <a:pt x="1514" y="646"/>
                  </a:lnTo>
                  <a:lnTo>
                    <a:pt x="1514" y="646"/>
                  </a:lnTo>
                  <a:lnTo>
                    <a:pt x="1514" y="643"/>
                  </a:lnTo>
                  <a:lnTo>
                    <a:pt x="1514" y="643"/>
                  </a:lnTo>
                  <a:lnTo>
                    <a:pt x="1514" y="643"/>
                  </a:lnTo>
                  <a:lnTo>
                    <a:pt x="1514" y="643"/>
                  </a:lnTo>
                  <a:lnTo>
                    <a:pt x="1514" y="641"/>
                  </a:lnTo>
                  <a:lnTo>
                    <a:pt x="1512" y="641"/>
                  </a:lnTo>
                  <a:lnTo>
                    <a:pt x="1512" y="643"/>
                  </a:lnTo>
                  <a:lnTo>
                    <a:pt x="1512" y="643"/>
                  </a:lnTo>
                  <a:lnTo>
                    <a:pt x="1512" y="641"/>
                  </a:lnTo>
                  <a:lnTo>
                    <a:pt x="1512" y="641"/>
                  </a:lnTo>
                  <a:lnTo>
                    <a:pt x="1509" y="641"/>
                  </a:lnTo>
                  <a:lnTo>
                    <a:pt x="1509" y="641"/>
                  </a:lnTo>
                  <a:lnTo>
                    <a:pt x="1512" y="641"/>
                  </a:lnTo>
                  <a:lnTo>
                    <a:pt x="1516" y="643"/>
                  </a:lnTo>
                  <a:lnTo>
                    <a:pt x="1518" y="643"/>
                  </a:lnTo>
                  <a:lnTo>
                    <a:pt x="1518" y="643"/>
                  </a:lnTo>
                  <a:lnTo>
                    <a:pt x="1518" y="643"/>
                  </a:lnTo>
                  <a:lnTo>
                    <a:pt x="1520" y="646"/>
                  </a:lnTo>
                  <a:lnTo>
                    <a:pt x="1522" y="646"/>
                  </a:lnTo>
                  <a:lnTo>
                    <a:pt x="1526" y="646"/>
                  </a:lnTo>
                  <a:lnTo>
                    <a:pt x="1530" y="650"/>
                  </a:lnTo>
                  <a:lnTo>
                    <a:pt x="1534" y="650"/>
                  </a:lnTo>
                  <a:lnTo>
                    <a:pt x="1536" y="650"/>
                  </a:lnTo>
                  <a:lnTo>
                    <a:pt x="1538" y="650"/>
                  </a:lnTo>
                  <a:lnTo>
                    <a:pt x="1540" y="650"/>
                  </a:lnTo>
                  <a:lnTo>
                    <a:pt x="1540" y="648"/>
                  </a:lnTo>
                  <a:lnTo>
                    <a:pt x="1538" y="648"/>
                  </a:lnTo>
                  <a:lnTo>
                    <a:pt x="1540" y="648"/>
                  </a:lnTo>
                  <a:lnTo>
                    <a:pt x="1540" y="648"/>
                  </a:lnTo>
                  <a:lnTo>
                    <a:pt x="1540" y="648"/>
                  </a:lnTo>
                  <a:lnTo>
                    <a:pt x="1540" y="646"/>
                  </a:lnTo>
                  <a:lnTo>
                    <a:pt x="1540" y="646"/>
                  </a:lnTo>
                  <a:lnTo>
                    <a:pt x="1540" y="646"/>
                  </a:lnTo>
                  <a:lnTo>
                    <a:pt x="1540" y="646"/>
                  </a:lnTo>
                  <a:lnTo>
                    <a:pt x="1538" y="643"/>
                  </a:lnTo>
                  <a:lnTo>
                    <a:pt x="1538" y="643"/>
                  </a:lnTo>
                  <a:lnTo>
                    <a:pt x="1538" y="643"/>
                  </a:lnTo>
                  <a:lnTo>
                    <a:pt x="1538" y="641"/>
                  </a:lnTo>
                  <a:lnTo>
                    <a:pt x="1536" y="639"/>
                  </a:lnTo>
                  <a:lnTo>
                    <a:pt x="1536" y="639"/>
                  </a:lnTo>
                  <a:lnTo>
                    <a:pt x="1536" y="637"/>
                  </a:lnTo>
                  <a:lnTo>
                    <a:pt x="1536" y="637"/>
                  </a:lnTo>
                  <a:lnTo>
                    <a:pt x="1534" y="635"/>
                  </a:lnTo>
                  <a:lnTo>
                    <a:pt x="1534" y="635"/>
                  </a:lnTo>
                  <a:lnTo>
                    <a:pt x="1534" y="635"/>
                  </a:lnTo>
                  <a:lnTo>
                    <a:pt x="1532" y="635"/>
                  </a:lnTo>
                  <a:lnTo>
                    <a:pt x="1532" y="635"/>
                  </a:lnTo>
                  <a:lnTo>
                    <a:pt x="1532" y="635"/>
                  </a:lnTo>
                  <a:lnTo>
                    <a:pt x="1532" y="635"/>
                  </a:lnTo>
                  <a:lnTo>
                    <a:pt x="1530" y="635"/>
                  </a:lnTo>
                  <a:lnTo>
                    <a:pt x="1530" y="635"/>
                  </a:lnTo>
                  <a:lnTo>
                    <a:pt x="1530" y="635"/>
                  </a:lnTo>
                  <a:lnTo>
                    <a:pt x="1530" y="635"/>
                  </a:lnTo>
                  <a:lnTo>
                    <a:pt x="1530" y="635"/>
                  </a:lnTo>
                  <a:lnTo>
                    <a:pt x="1530" y="637"/>
                  </a:lnTo>
                  <a:lnTo>
                    <a:pt x="1530" y="637"/>
                  </a:lnTo>
                  <a:lnTo>
                    <a:pt x="1528" y="637"/>
                  </a:lnTo>
                  <a:lnTo>
                    <a:pt x="1528" y="637"/>
                  </a:lnTo>
                  <a:lnTo>
                    <a:pt x="1528" y="639"/>
                  </a:lnTo>
                  <a:lnTo>
                    <a:pt x="1526" y="639"/>
                  </a:lnTo>
                  <a:lnTo>
                    <a:pt x="1526" y="639"/>
                  </a:lnTo>
                  <a:lnTo>
                    <a:pt x="1526" y="639"/>
                  </a:lnTo>
                  <a:lnTo>
                    <a:pt x="1526" y="639"/>
                  </a:lnTo>
                  <a:lnTo>
                    <a:pt x="1526" y="639"/>
                  </a:lnTo>
                  <a:lnTo>
                    <a:pt x="1524" y="639"/>
                  </a:lnTo>
                  <a:lnTo>
                    <a:pt x="1524" y="639"/>
                  </a:lnTo>
                  <a:lnTo>
                    <a:pt x="1522" y="639"/>
                  </a:lnTo>
                  <a:lnTo>
                    <a:pt x="1522" y="639"/>
                  </a:lnTo>
                  <a:lnTo>
                    <a:pt x="1522" y="639"/>
                  </a:lnTo>
                  <a:lnTo>
                    <a:pt x="1522" y="639"/>
                  </a:lnTo>
                  <a:lnTo>
                    <a:pt x="1524" y="637"/>
                  </a:lnTo>
                  <a:lnTo>
                    <a:pt x="1524" y="637"/>
                  </a:lnTo>
                  <a:lnTo>
                    <a:pt x="1522" y="637"/>
                  </a:lnTo>
                  <a:lnTo>
                    <a:pt x="1522" y="635"/>
                  </a:lnTo>
                  <a:lnTo>
                    <a:pt x="1520" y="635"/>
                  </a:lnTo>
                  <a:lnTo>
                    <a:pt x="1520" y="635"/>
                  </a:lnTo>
                  <a:lnTo>
                    <a:pt x="1518" y="635"/>
                  </a:lnTo>
                  <a:lnTo>
                    <a:pt x="1518" y="635"/>
                  </a:lnTo>
                  <a:lnTo>
                    <a:pt x="1518" y="635"/>
                  </a:lnTo>
                  <a:lnTo>
                    <a:pt x="1516" y="633"/>
                  </a:lnTo>
                  <a:lnTo>
                    <a:pt x="1516" y="633"/>
                  </a:lnTo>
                  <a:lnTo>
                    <a:pt x="1516" y="633"/>
                  </a:lnTo>
                  <a:lnTo>
                    <a:pt x="1516" y="633"/>
                  </a:lnTo>
                  <a:lnTo>
                    <a:pt x="1516" y="633"/>
                  </a:lnTo>
                  <a:lnTo>
                    <a:pt x="1514" y="633"/>
                  </a:lnTo>
                  <a:lnTo>
                    <a:pt x="1514" y="633"/>
                  </a:lnTo>
                  <a:lnTo>
                    <a:pt x="1507" y="633"/>
                  </a:lnTo>
                  <a:lnTo>
                    <a:pt x="1507" y="631"/>
                  </a:lnTo>
                  <a:lnTo>
                    <a:pt x="1507" y="631"/>
                  </a:lnTo>
                  <a:lnTo>
                    <a:pt x="1505" y="631"/>
                  </a:lnTo>
                  <a:lnTo>
                    <a:pt x="1505" y="631"/>
                  </a:lnTo>
                  <a:lnTo>
                    <a:pt x="1505" y="629"/>
                  </a:lnTo>
                  <a:lnTo>
                    <a:pt x="1505" y="629"/>
                  </a:lnTo>
                  <a:lnTo>
                    <a:pt x="1505" y="629"/>
                  </a:lnTo>
                  <a:lnTo>
                    <a:pt x="1512" y="631"/>
                  </a:lnTo>
                  <a:lnTo>
                    <a:pt x="1516" y="633"/>
                  </a:lnTo>
                  <a:lnTo>
                    <a:pt x="1518" y="633"/>
                  </a:lnTo>
                  <a:lnTo>
                    <a:pt x="1518" y="633"/>
                  </a:lnTo>
                  <a:lnTo>
                    <a:pt x="1518" y="633"/>
                  </a:lnTo>
                  <a:lnTo>
                    <a:pt x="1520" y="633"/>
                  </a:lnTo>
                  <a:lnTo>
                    <a:pt x="1524" y="635"/>
                  </a:lnTo>
                  <a:lnTo>
                    <a:pt x="1526" y="635"/>
                  </a:lnTo>
                  <a:lnTo>
                    <a:pt x="1530" y="633"/>
                  </a:lnTo>
                  <a:lnTo>
                    <a:pt x="1532" y="633"/>
                  </a:lnTo>
                  <a:lnTo>
                    <a:pt x="1532" y="633"/>
                  </a:lnTo>
                  <a:lnTo>
                    <a:pt x="1532" y="633"/>
                  </a:lnTo>
                  <a:lnTo>
                    <a:pt x="1532" y="633"/>
                  </a:lnTo>
                  <a:lnTo>
                    <a:pt x="1532" y="631"/>
                  </a:lnTo>
                  <a:lnTo>
                    <a:pt x="1532" y="631"/>
                  </a:lnTo>
                  <a:lnTo>
                    <a:pt x="1532" y="631"/>
                  </a:lnTo>
                  <a:lnTo>
                    <a:pt x="1530" y="631"/>
                  </a:lnTo>
                  <a:lnTo>
                    <a:pt x="1530" y="631"/>
                  </a:lnTo>
                  <a:lnTo>
                    <a:pt x="1530" y="631"/>
                  </a:lnTo>
                  <a:lnTo>
                    <a:pt x="1530" y="629"/>
                  </a:lnTo>
                  <a:lnTo>
                    <a:pt x="1528" y="629"/>
                  </a:lnTo>
                  <a:lnTo>
                    <a:pt x="1528" y="629"/>
                  </a:lnTo>
                  <a:lnTo>
                    <a:pt x="1526" y="629"/>
                  </a:lnTo>
                  <a:lnTo>
                    <a:pt x="1526" y="629"/>
                  </a:lnTo>
                  <a:lnTo>
                    <a:pt x="1524" y="629"/>
                  </a:lnTo>
                  <a:lnTo>
                    <a:pt x="1524" y="627"/>
                  </a:lnTo>
                  <a:lnTo>
                    <a:pt x="1524" y="627"/>
                  </a:lnTo>
                  <a:lnTo>
                    <a:pt x="1526" y="627"/>
                  </a:lnTo>
                  <a:lnTo>
                    <a:pt x="1526" y="627"/>
                  </a:lnTo>
                  <a:lnTo>
                    <a:pt x="1526" y="627"/>
                  </a:lnTo>
                  <a:lnTo>
                    <a:pt x="1528" y="629"/>
                  </a:lnTo>
                  <a:lnTo>
                    <a:pt x="1532" y="629"/>
                  </a:lnTo>
                  <a:lnTo>
                    <a:pt x="1532" y="629"/>
                  </a:lnTo>
                  <a:lnTo>
                    <a:pt x="1532" y="629"/>
                  </a:lnTo>
                  <a:lnTo>
                    <a:pt x="1532" y="629"/>
                  </a:lnTo>
                  <a:lnTo>
                    <a:pt x="1530" y="629"/>
                  </a:lnTo>
                  <a:lnTo>
                    <a:pt x="1530" y="627"/>
                  </a:lnTo>
                  <a:lnTo>
                    <a:pt x="1532" y="627"/>
                  </a:lnTo>
                  <a:lnTo>
                    <a:pt x="1532" y="627"/>
                  </a:lnTo>
                  <a:lnTo>
                    <a:pt x="1532" y="625"/>
                  </a:lnTo>
                  <a:lnTo>
                    <a:pt x="1532" y="625"/>
                  </a:lnTo>
                  <a:lnTo>
                    <a:pt x="1530" y="625"/>
                  </a:lnTo>
                  <a:lnTo>
                    <a:pt x="1530" y="625"/>
                  </a:lnTo>
                  <a:lnTo>
                    <a:pt x="1530" y="625"/>
                  </a:lnTo>
                  <a:lnTo>
                    <a:pt x="1530" y="623"/>
                  </a:lnTo>
                  <a:lnTo>
                    <a:pt x="1532" y="623"/>
                  </a:lnTo>
                  <a:lnTo>
                    <a:pt x="1532" y="623"/>
                  </a:lnTo>
                  <a:lnTo>
                    <a:pt x="1530" y="621"/>
                  </a:lnTo>
                  <a:lnTo>
                    <a:pt x="1528" y="621"/>
                  </a:lnTo>
                  <a:lnTo>
                    <a:pt x="1524" y="621"/>
                  </a:lnTo>
                  <a:lnTo>
                    <a:pt x="1524" y="621"/>
                  </a:lnTo>
                  <a:lnTo>
                    <a:pt x="1524" y="619"/>
                  </a:lnTo>
                  <a:lnTo>
                    <a:pt x="1524" y="619"/>
                  </a:lnTo>
                  <a:lnTo>
                    <a:pt x="1524" y="619"/>
                  </a:lnTo>
                  <a:lnTo>
                    <a:pt x="1524" y="619"/>
                  </a:lnTo>
                  <a:lnTo>
                    <a:pt x="1522" y="619"/>
                  </a:lnTo>
                  <a:lnTo>
                    <a:pt x="1522" y="621"/>
                  </a:lnTo>
                  <a:lnTo>
                    <a:pt x="1520" y="619"/>
                  </a:lnTo>
                  <a:lnTo>
                    <a:pt x="1520" y="619"/>
                  </a:lnTo>
                  <a:lnTo>
                    <a:pt x="1520" y="621"/>
                  </a:lnTo>
                  <a:lnTo>
                    <a:pt x="1518" y="621"/>
                  </a:lnTo>
                  <a:lnTo>
                    <a:pt x="1518" y="621"/>
                  </a:lnTo>
                  <a:lnTo>
                    <a:pt x="1518" y="619"/>
                  </a:lnTo>
                  <a:lnTo>
                    <a:pt x="1518" y="619"/>
                  </a:lnTo>
                  <a:lnTo>
                    <a:pt x="1518" y="619"/>
                  </a:lnTo>
                  <a:lnTo>
                    <a:pt x="1516" y="619"/>
                  </a:lnTo>
                  <a:lnTo>
                    <a:pt x="1516" y="619"/>
                  </a:lnTo>
                  <a:lnTo>
                    <a:pt x="1516" y="619"/>
                  </a:lnTo>
                  <a:lnTo>
                    <a:pt x="1516" y="621"/>
                  </a:lnTo>
                  <a:lnTo>
                    <a:pt x="1514" y="621"/>
                  </a:lnTo>
                  <a:lnTo>
                    <a:pt x="1516" y="621"/>
                  </a:lnTo>
                  <a:lnTo>
                    <a:pt x="1516" y="621"/>
                  </a:lnTo>
                  <a:lnTo>
                    <a:pt x="1516" y="621"/>
                  </a:lnTo>
                  <a:lnTo>
                    <a:pt x="1516" y="623"/>
                  </a:lnTo>
                  <a:lnTo>
                    <a:pt x="1514" y="625"/>
                  </a:lnTo>
                  <a:lnTo>
                    <a:pt x="1514" y="627"/>
                  </a:lnTo>
                  <a:lnTo>
                    <a:pt x="1514" y="627"/>
                  </a:lnTo>
                  <a:lnTo>
                    <a:pt x="1514" y="629"/>
                  </a:lnTo>
                  <a:lnTo>
                    <a:pt x="1512" y="629"/>
                  </a:lnTo>
                  <a:lnTo>
                    <a:pt x="1512" y="629"/>
                  </a:lnTo>
                  <a:lnTo>
                    <a:pt x="1512" y="629"/>
                  </a:lnTo>
                  <a:lnTo>
                    <a:pt x="1512" y="629"/>
                  </a:lnTo>
                  <a:lnTo>
                    <a:pt x="1512" y="629"/>
                  </a:lnTo>
                  <a:lnTo>
                    <a:pt x="1512" y="631"/>
                  </a:lnTo>
                  <a:lnTo>
                    <a:pt x="1512" y="631"/>
                  </a:lnTo>
                  <a:lnTo>
                    <a:pt x="1512" y="629"/>
                  </a:lnTo>
                  <a:lnTo>
                    <a:pt x="1509" y="629"/>
                  </a:lnTo>
                  <a:lnTo>
                    <a:pt x="1507" y="629"/>
                  </a:lnTo>
                  <a:lnTo>
                    <a:pt x="1507" y="629"/>
                  </a:lnTo>
                  <a:lnTo>
                    <a:pt x="1509" y="629"/>
                  </a:lnTo>
                  <a:lnTo>
                    <a:pt x="1512" y="629"/>
                  </a:lnTo>
                  <a:lnTo>
                    <a:pt x="1512" y="627"/>
                  </a:lnTo>
                  <a:lnTo>
                    <a:pt x="1512" y="627"/>
                  </a:lnTo>
                  <a:lnTo>
                    <a:pt x="1512" y="627"/>
                  </a:lnTo>
                  <a:lnTo>
                    <a:pt x="1512" y="627"/>
                  </a:lnTo>
                  <a:lnTo>
                    <a:pt x="1509" y="627"/>
                  </a:lnTo>
                  <a:lnTo>
                    <a:pt x="1509" y="627"/>
                  </a:lnTo>
                  <a:lnTo>
                    <a:pt x="1509" y="627"/>
                  </a:lnTo>
                  <a:lnTo>
                    <a:pt x="1509" y="627"/>
                  </a:lnTo>
                  <a:lnTo>
                    <a:pt x="1507" y="627"/>
                  </a:lnTo>
                  <a:lnTo>
                    <a:pt x="1507" y="627"/>
                  </a:lnTo>
                  <a:lnTo>
                    <a:pt x="1507" y="627"/>
                  </a:lnTo>
                  <a:lnTo>
                    <a:pt x="1509" y="625"/>
                  </a:lnTo>
                  <a:lnTo>
                    <a:pt x="1512" y="625"/>
                  </a:lnTo>
                  <a:lnTo>
                    <a:pt x="1512" y="625"/>
                  </a:lnTo>
                  <a:lnTo>
                    <a:pt x="1512" y="623"/>
                  </a:lnTo>
                  <a:lnTo>
                    <a:pt x="1512" y="623"/>
                  </a:lnTo>
                  <a:lnTo>
                    <a:pt x="1512" y="623"/>
                  </a:lnTo>
                  <a:lnTo>
                    <a:pt x="1514" y="623"/>
                  </a:lnTo>
                  <a:lnTo>
                    <a:pt x="1514" y="623"/>
                  </a:lnTo>
                  <a:lnTo>
                    <a:pt x="1514" y="621"/>
                  </a:lnTo>
                  <a:lnTo>
                    <a:pt x="1514" y="621"/>
                  </a:lnTo>
                  <a:lnTo>
                    <a:pt x="1514" y="621"/>
                  </a:lnTo>
                  <a:lnTo>
                    <a:pt x="1514" y="619"/>
                  </a:lnTo>
                  <a:lnTo>
                    <a:pt x="1514" y="619"/>
                  </a:lnTo>
                  <a:lnTo>
                    <a:pt x="1512" y="619"/>
                  </a:lnTo>
                  <a:lnTo>
                    <a:pt x="1512" y="619"/>
                  </a:lnTo>
                  <a:lnTo>
                    <a:pt x="1512" y="617"/>
                  </a:lnTo>
                  <a:lnTo>
                    <a:pt x="1512" y="617"/>
                  </a:lnTo>
                  <a:lnTo>
                    <a:pt x="1512" y="617"/>
                  </a:lnTo>
                  <a:lnTo>
                    <a:pt x="1509" y="617"/>
                  </a:lnTo>
                  <a:lnTo>
                    <a:pt x="1509" y="617"/>
                  </a:lnTo>
                  <a:lnTo>
                    <a:pt x="1507" y="617"/>
                  </a:lnTo>
                  <a:lnTo>
                    <a:pt x="1507" y="617"/>
                  </a:lnTo>
                  <a:lnTo>
                    <a:pt x="1507" y="617"/>
                  </a:lnTo>
                  <a:lnTo>
                    <a:pt x="1507" y="617"/>
                  </a:lnTo>
                  <a:lnTo>
                    <a:pt x="1505" y="617"/>
                  </a:lnTo>
                  <a:lnTo>
                    <a:pt x="1503" y="615"/>
                  </a:lnTo>
                  <a:lnTo>
                    <a:pt x="1503" y="615"/>
                  </a:lnTo>
                  <a:lnTo>
                    <a:pt x="1503" y="615"/>
                  </a:lnTo>
                  <a:lnTo>
                    <a:pt x="1501" y="619"/>
                  </a:lnTo>
                  <a:lnTo>
                    <a:pt x="1499" y="619"/>
                  </a:lnTo>
                  <a:lnTo>
                    <a:pt x="1499" y="621"/>
                  </a:lnTo>
                  <a:lnTo>
                    <a:pt x="1499" y="621"/>
                  </a:lnTo>
                  <a:lnTo>
                    <a:pt x="1501" y="621"/>
                  </a:lnTo>
                  <a:lnTo>
                    <a:pt x="1501" y="623"/>
                  </a:lnTo>
                  <a:lnTo>
                    <a:pt x="1499" y="623"/>
                  </a:lnTo>
                  <a:lnTo>
                    <a:pt x="1497" y="621"/>
                  </a:lnTo>
                  <a:lnTo>
                    <a:pt x="1495" y="621"/>
                  </a:lnTo>
                  <a:lnTo>
                    <a:pt x="1495" y="621"/>
                  </a:lnTo>
                  <a:lnTo>
                    <a:pt x="1495" y="621"/>
                  </a:lnTo>
                  <a:lnTo>
                    <a:pt x="1495" y="621"/>
                  </a:lnTo>
                  <a:lnTo>
                    <a:pt x="1495" y="621"/>
                  </a:lnTo>
                  <a:lnTo>
                    <a:pt x="1495" y="623"/>
                  </a:lnTo>
                  <a:lnTo>
                    <a:pt x="1495" y="623"/>
                  </a:lnTo>
                  <a:lnTo>
                    <a:pt x="1495" y="623"/>
                  </a:lnTo>
                  <a:lnTo>
                    <a:pt x="1495" y="623"/>
                  </a:lnTo>
                  <a:lnTo>
                    <a:pt x="1495" y="625"/>
                  </a:lnTo>
                  <a:lnTo>
                    <a:pt x="1495" y="625"/>
                  </a:lnTo>
                  <a:lnTo>
                    <a:pt x="1495" y="625"/>
                  </a:lnTo>
                  <a:lnTo>
                    <a:pt x="1495" y="625"/>
                  </a:lnTo>
                  <a:lnTo>
                    <a:pt x="1495" y="627"/>
                  </a:lnTo>
                  <a:lnTo>
                    <a:pt x="1497" y="627"/>
                  </a:lnTo>
                  <a:lnTo>
                    <a:pt x="1497" y="627"/>
                  </a:lnTo>
                  <a:lnTo>
                    <a:pt x="1497" y="629"/>
                  </a:lnTo>
                  <a:lnTo>
                    <a:pt x="1497" y="629"/>
                  </a:lnTo>
                  <a:lnTo>
                    <a:pt x="1495" y="627"/>
                  </a:lnTo>
                  <a:lnTo>
                    <a:pt x="1495" y="627"/>
                  </a:lnTo>
                  <a:lnTo>
                    <a:pt x="1495" y="627"/>
                  </a:lnTo>
                  <a:lnTo>
                    <a:pt x="1495" y="625"/>
                  </a:lnTo>
                  <a:lnTo>
                    <a:pt x="1495" y="625"/>
                  </a:lnTo>
                  <a:lnTo>
                    <a:pt x="1493" y="625"/>
                  </a:lnTo>
                  <a:lnTo>
                    <a:pt x="1493" y="625"/>
                  </a:lnTo>
                  <a:lnTo>
                    <a:pt x="1493" y="623"/>
                  </a:lnTo>
                  <a:lnTo>
                    <a:pt x="1493" y="623"/>
                  </a:lnTo>
                  <a:lnTo>
                    <a:pt x="1491" y="623"/>
                  </a:lnTo>
                  <a:lnTo>
                    <a:pt x="1491" y="621"/>
                  </a:lnTo>
                  <a:lnTo>
                    <a:pt x="1491" y="621"/>
                  </a:lnTo>
                  <a:lnTo>
                    <a:pt x="1491" y="621"/>
                  </a:lnTo>
                  <a:lnTo>
                    <a:pt x="1489" y="623"/>
                  </a:lnTo>
                  <a:lnTo>
                    <a:pt x="1489" y="623"/>
                  </a:lnTo>
                  <a:lnTo>
                    <a:pt x="1491" y="625"/>
                  </a:lnTo>
                  <a:lnTo>
                    <a:pt x="1491" y="625"/>
                  </a:lnTo>
                  <a:lnTo>
                    <a:pt x="1491" y="627"/>
                  </a:lnTo>
                  <a:lnTo>
                    <a:pt x="1493" y="627"/>
                  </a:lnTo>
                  <a:lnTo>
                    <a:pt x="1493" y="627"/>
                  </a:lnTo>
                  <a:lnTo>
                    <a:pt x="1493" y="627"/>
                  </a:lnTo>
                  <a:lnTo>
                    <a:pt x="1493" y="627"/>
                  </a:lnTo>
                  <a:lnTo>
                    <a:pt x="1491" y="627"/>
                  </a:lnTo>
                  <a:lnTo>
                    <a:pt x="1491" y="627"/>
                  </a:lnTo>
                  <a:lnTo>
                    <a:pt x="1489" y="627"/>
                  </a:lnTo>
                  <a:lnTo>
                    <a:pt x="1489" y="627"/>
                  </a:lnTo>
                  <a:lnTo>
                    <a:pt x="1489" y="627"/>
                  </a:lnTo>
                  <a:lnTo>
                    <a:pt x="1489" y="629"/>
                  </a:lnTo>
                  <a:lnTo>
                    <a:pt x="1489" y="629"/>
                  </a:lnTo>
                  <a:lnTo>
                    <a:pt x="1493" y="631"/>
                  </a:lnTo>
                  <a:lnTo>
                    <a:pt x="1493" y="633"/>
                  </a:lnTo>
                  <a:lnTo>
                    <a:pt x="1495" y="633"/>
                  </a:lnTo>
                  <a:lnTo>
                    <a:pt x="1495" y="633"/>
                  </a:lnTo>
                  <a:lnTo>
                    <a:pt x="1497" y="633"/>
                  </a:lnTo>
                  <a:lnTo>
                    <a:pt x="1499" y="637"/>
                  </a:lnTo>
                  <a:lnTo>
                    <a:pt x="1501" y="637"/>
                  </a:lnTo>
                  <a:lnTo>
                    <a:pt x="1503" y="639"/>
                  </a:lnTo>
                  <a:lnTo>
                    <a:pt x="1503" y="639"/>
                  </a:lnTo>
                  <a:lnTo>
                    <a:pt x="1501" y="639"/>
                  </a:lnTo>
                  <a:lnTo>
                    <a:pt x="1499" y="637"/>
                  </a:lnTo>
                  <a:lnTo>
                    <a:pt x="1495" y="633"/>
                  </a:lnTo>
                  <a:lnTo>
                    <a:pt x="1493" y="633"/>
                  </a:lnTo>
                  <a:lnTo>
                    <a:pt x="1493" y="633"/>
                  </a:lnTo>
                  <a:lnTo>
                    <a:pt x="1493" y="633"/>
                  </a:lnTo>
                  <a:lnTo>
                    <a:pt x="1493" y="633"/>
                  </a:lnTo>
                  <a:lnTo>
                    <a:pt x="1493" y="635"/>
                  </a:lnTo>
                  <a:lnTo>
                    <a:pt x="1493" y="635"/>
                  </a:lnTo>
                  <a:lnTo>
                    <a:pt x="1493" y="635"/>
                  </a:lnTo>
                  <a:lnTo>
                    <a:pt x="1493" y="637"/>
                  </a:lnTo>
                  <a:lnTo>
                    <a:pt x="1493" y="637"/>
                  </a:lnTo>
                  <a:lnTo>
                    <a:pt x="1493" y="637"/>
                  </a:lnTo>
                  <a:lnTo>
                    <a:pt x="1493" y="639"/>
                  </a:lnTo>
                  <a:lnTo>
                    <a:pt x="1493" y="641"/>
                  </a:lnTo>
                  <a:lnTo>
                    <a:pt x="1493" y="641"/>
                  </a:lnTo>
                  <a:lnTo>
                    <a:pt x="1493" y="643"/>
                  </a:lnTo>
                  <a:lnTo>
                    <a:pt x="1493" y="643"/>
                  </a:lnTo>
                  <a:lnTo>
                    <a:pt x="1493" y="643"/>
                  </a:lnTo>
                  <a:lnTo>
                    <a:pt x="1493" y="641"/>
                  </a:lnTo>
                  <a:lnTo>
                    <a:pt x="1493" y="641"/>
                  </a:lnTo>
                  <a:lnTo>
                    <a:pt x="1495" y="641"/>
                  </a:lnTo>
                  <a:lnTo>
                    <a:pt x="1495" y="641"/>
                  </a:lnTo>
                  <a:lnTo>
                    <a:pt x="1495" y="641"/>
                  </a:lnTo>
                  <a:lnTo>
                    <a:pt x="1495" y="643"/>
                  </a:lnTo>
                  <a:lnTo>
                    <a:pt x="1495" y="643"/>
                  </a:lnTo>
                  <a:lnTo>
                    <a:pt x="1497" y="643"/>
                  </a:lnTo>
                  <a:lnTo>
                    <a:pt x="1497" y="643"/>
                  </a:lnTo>
                  <a:lnTo>
                    <a:pt x="1497" y="643"/>
                  </a:lnTo>
                  <a:lnTo>
                    <a:pt x="1497" y="643"/>
                  </a:lnTo>
                  <a:lnTo>
                    <a:pt x="1499" y="643"/>
                  </a:lnTo>
                  <a:lnTo>
                    <a:pt x="1499" y="643"/>
                  </a:lnTo>
                  <a:lnTo>
                    <a:pt x="1499" y="643"/>
                  </a:lnTo>
                  <a:lnTo>
                    <a:pt x="1499" y="646"/>
                  </a:lnTo>
                  <a:lnTo>
                    <a:pt x="1503" y="648"/>
                  </a:lnTo>
                  <a:lnTo>
                    <a:pt x="1503" y="648"/>
                  </a:lnTo>
                  <a:lnTo>
                    <a:pt x="1503" y="648"/>
                  </a:lnTo>
                  <a:lnTo>
                    <a:pt x="1503" y="648"/>
                  </a:lnTo>
                  <a:lnTo>
                    <a:pt x="1503" y="650"/>
                  </a:lnTo>
                  <a:lnTo>
                    <a:pt x="1503" y="650"/>
                  </a:lnTo>
                  <a:lnTo>
                    <a:pt x="1503" y="650"/>
                  </a:lnTo>
                  <a:lnTo>
                    <a:pt x="1503" y="650"/>
                  </a:lnTo>
                  <a:lnTo>
                    <a:pt x="1505" y="650"/>
                  </a:lnTo>
                  <a:lnTo>
                    <a:pt x="1505" y="650"/>
                  </a:lnTo>
                  <a:lnTo>
                    <a:pt x="1503" y="650"/>
                  </a:lnTo>
                  <a:lnTo>
                    <a:pt x="1505" y="650"/>
                  </a:lnTo>
                  <a:lnTo>
                    <a:pt x="1505" y="650"/>
                  </a:lnTo>
                  <a:lnTo>
                    <a:pt x="1505" y="650"/>
                  </a:lnTo>
                  <a:lnTo>
                    <a:pt x="1505" y="650"/>
                  </a:lnTo>
                  <a:lnTo>
                    <a:pt x="1505" y="650"/>
                  </a:lnTo>
                  <a:lnTo>
                    <a:pt x="1507" y="650"/>
                  </a:lnTo>
                  <a:lnTo>
                    <a:pt x="1507" y="650"/>
                  </a:lnTo>
                  <a:lnTo>
                    <a:pt x="1507" y="650"/>
                  </a:lnTo>
                  <a:lnTo>
                    <a:pt x="1507" y="650"/>
                  </a:lnTo>
                  <a:lnTo>
                    <a:pt x="1507" y="650"/>
                  </a:lnTo>
                  <a:lnTo>
                    <a:pt x="1507" y="650"/>
                  </a:lnTo>
                  <a:lnTo>
                    <a:pt x="1507" y="652"/>
                  </a:lnTo>
                  <a:lnTo>
                    <a:pt x="1507" y="652"/>
                  </a:lnTo>
                  <a:lnTo>
                    <a:pt x="1507" y="652"/>
                  </a:lnTo>
                  <a:lnTo>
                    <a:pt x="1507" y="652"/>
                  </a:lnTo>
                  <a:lnTo>
                    <a:pt x="1507" y="650"/>
                  </a:lnTo>
                  <a:lnTo>
                    <a:pt x="1505" y="650"/>
                  </a:lnTo>
                  <a:lnTo>
                    <a:pt x="1505" y="652"/>
                  </a:lnTo>
                  <a:lnTo>
                    <a:pt x="1505" y="652"/>
                  </a:lnTo>
                  <a:lnTo>
                    <a:pt x="1507" y="652"/>
                  </a:lnTo>
                  <a:lnTo>
                    <a:pt x="1514" y="656"/>
                  </a:lnTo>
                  <a:lnTo>
                    <a:pt x="1514" y="656"/>
                  </a:lnTo>
                  <a:lnTo>
                    <a:pt x="1516" y="658"/>
                  </a:lnTo>
                  <a:lnTo>
                    <a:pt x="1516" y="658"/>
                  </a:lnTo>
                  <a:lnTo>
                    <a:pt x="1514" y="658"/>
                  </a:lnTo>
                  <a:lnTo>
                    <a:pt x="1512" y="656"/>
                  </a:lnTo>
                  <a:lnTo>
                    <a:pt x="1509" y="654"/>
                  </a:lnTo>
                  <a:lnTo>
                    <a:pt x="1509" y="654"/>
                  </a:lnTo>
                  <a:lnTo>
                    <a:pt x="1507" y="656"/>
                  </a:lnTo>
                  <a:lnTo>
                    <a:pt x="1509" y="656"/>
                  </a:lnTo>
                  <a:lnTo>
                    <a:pt x="1509" y="656"/>
                  </a:lnTo>
                  <a:lnTo>
                    <a:pt x="1509" y="658"/>
                  </a:lnTo>
                  <a:lnTo>
                    <a:pt x="1512" y="658"/>
                  </a:lnTo>
                  <a:lnTo>
                    <a:pt x="1512" y="658"/>
                  </a:lnTo>
                  <a:lnTo>
                    <a:pt x="1512" y="658"/>
                  </a:lnTo>
                  <a:lnTo>
                    <a:pt x="1514" y="658"/>
                  </a:lnTo>
                  <a:lnTo>
                    <a:pt x="1514" y="660"/>
                  </a:lnTo>
                  <a:lnTo>
                    <a:pt x="1514" y="660"/>
                  </a:lnTo>
                  <a:lnTo>
                    <a:pt x="1516" y="660"/>
                  </a:lnTo>
                  <a:lnTo>
                    <a:pt x="1518" y="660"/>
                  </a:lnTo>
                  <a:lnTo>
                    <a:pt x="1520" y="660"/>
                  </a:lnTo>
                  <a:close/>
                  <a:moveTo>
                    <a:pt x="1245" y="566"/>
                  </a:moveTo>
                  <a:lnTo>
                    <a:pt x="1245" y="566"/>
                  </a:lnTo>
                  <a:lnTo>
                    <a:pt x="1245" y="566"/>
                  </a:lnTo>
                  <a:lnTo>
                    <a:pt x="1245" y="566"/>
                  </a:lnTo>
                  <a:lnTo>
                    <a:pt x="1243" y="566"/>
                  </a:lnTo>
                  <a:lnTo>
                    <a:pt x="1243" y="566"/>
                  </a:lnTo>
                  <a:lnTo>
                    <a:pt x="1243" y="566"/>
                  </a:lnTo>
                  <a:lnTo>
                    <a:pt x="1243" y="566"/>
                  </a:lnTo>
                  <a:lnTo>
                    <a:pt x="1243" y="566"/>
                  </a:lnTo>
                  <a:lnTo>
                    <a:pt x="1245" y="566"/>
                  </a:lnTo>
                  <a:lnTo>
                    <a:pt x="1245" y="566"/>
                  </a:lnTo>
                  <a:lnTo>
                    <a:pt x="1245" y="566"/>
                  </a:lnTo>
                  <a:lnTo>
                    <a:pt x="1245" y="566"/>
                  </a:lnTo>
                  <a:lnTo>
                    <a:pt x="1245" y="566"/>
                  </a:lnTo>
                  <a:close/>
                  <a:moveTo>
                    <a:pt x="1167" y="584"/>
                  </a:moveTo>
                  <a:lnTo>
                    <a:pt x="1167" y="584"/>
                  </a:lnTo>
                  <a:lnTo>
                    <a:pt x="1167" y="584"/>
                  </a:lnTo>
                  <a:lnTo>
                    <a:pt x="1167" y="584"/>
                  </a:lnTo>
                  <a:lnTo>
                    <a:pt x="1167" y="584"/>
                  </a:lnTo>
                  <a:lnTo>
                    <a:pt x="1167" y="584"/>
                  </a:lnTo>
                  <a:lnTo>
                    <a:pt x="1167" y="584"/>
                  </a:lnTo>
                  <a:lnTo>
                    <a:pt x="1165" y="586"/>
                  </a:lnTo>
                  <a:lnTo>
                    <a:pt x="1165" y="586"/>
                  </a:lnTo>
                  <a:lnTo>
                    <a:pt x="1163" y="588"/>
                  </a:lnTo>
                  <a:lnTo>
                    <a:pt x="1163" y="588"/>
                  </a:lnTo>
                  <a:lnTo>
                    <a:pt x="1163" y="588"/>
                  </a:lnTo>
                  <a:lnTo>
                    <a:pt x="1163" y="586"/>
                  </a:lnTo>
                  <a:lnTo>
                    <a:pt x="1163" y="586"/>
                  </a:lnTo>
                  <a:lnTo>
                    <a:pt x="1161" y="586"/>
                  </a:lnTo>
                  <a:lnTo>
                    <a:pt x="1161"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1" y="588"/>
                  </a:lnTo>
                  <a:lnTo>
                    <a:pt x="1161" y="590"/>
                  </a:lnTo>
                  <a:lnTo>
                    <a:pt x="1163" y="590"/>
                  </a:lnTo>
                  <a:lnTo>
                    <a:pt x="1165" y="588"/>
                  </a:lnTo>
                  <a:lnTo>
                    <a:pt x="1165" y="588"/>
                  </a:lnTo>
                  <a:lnTo>
                    <a:pt x="1165" y="588"/>
                  </a:lnTo>
                  <a:lnTo>
                    <a:pt x="1167" y="584"/>
                  </a:lnTo>
                  <a:lnTo>
                    <a:pt x="1167" y="584"/>
                  </a:lnTo>
                  <a:close/>
                  <a:moveTo>
                    <a:pt x="1532" y="609"/>
                  </a:moveTo>
                  <a:lnTo>
                    <a:pt x="1530" y="607"/>
                  </a:lnTo>
                  <a:lnTo>
                    <a:pt x="1530" y="607"/>
                  </a:lnTo>
                  <a:lnTo>
                    <a:pt x="1530" y="607"/>
                  </a:lnTo>
                  <a:lnTo>
                    <a:pt x="1530" y="607"/>
                  </a:lnTo>
                  <a:lnTo>
                    <a:pt x="1528" y="607"/>
                  </a:lnTo>
                  <a:lnTo>
                    <a:pt x="1528" y="605"/>
                  </a:lnTo>
                  <a:lnTo>
                    <a:pt x="1528" y="605"/>
                  </a:lnTo>
                  <a:lnTo>
                    <a:pt x="1526" y="605"/>
                  </a:lnTo>
                  <a:lnTo>
                    <a:pt x="1526" y="605"/>
                  </a:lnTo>
                  <a:lnTo>
                    <a:pt x="1526" y="605"/>
                  </a:lnTo>
                  <a:lnTo>
                    <a:pt x="1526" y="605"/>
                  </a:lnTo>
                  <a:lnTo>
                    <a:pt x="1524" y="605"/>
                  </a:lnTo>
                  <a:lnTo>
                    <a:pt x="1524" y="603"/>
                  </a:lnTo>
                  <a:lnTo>
                    <a:pt x="1524" y="603"/>
                  </a:lnTo>
                  <a:lnTo>
                    <a:pt x="1524" y="603"/>
                  </a:lnTo>
                  <a:lnTo>
                    <a:pt x="1524" y="603"/>
                  </a:lnTo>
                  <a:lnTo>
                    <a:pt x="1524" y="603"/>
                  </a:lnTo>
                  <a:lnTo>
                    <a:pt x="1524" y="605"/>
                  </a:lnTo>
                  <a:lnTo>
                    <a:pt x="1524" y="605"/>
                  </a:lnTo>
                  <a:lnTo>
                    <a:pt x="1526" y="609"/>
                  </a:lnTo>
                  <a:lnTo>
                    <a:pt x="1526" y="609"/>
                  </a:lnTo>
                  <a:lnTo>
                    <a:pt x="1526" y="609"/>
                  </a:lnTo>
                  <a:lnTo>
                    <a:pt x="1526" y="609"/>
                  </a:lnTo>
                  <a:lnTo>
                    <a:pt x="1528" y="609"/>
                  </a:lnTo>
                  <a:lnTo>
                    <a:pt x="1528" y="611"/>
                  </a:lnTo>
                  <a:lnTo>
                    <a:pt x="1528" y="611"/>
                  </a:lnTo>
                  <a:lnTo>
                    <a:pt x="1528" y="613"/>
                  </a:lnTo>
                  <a:lnTo>
                    <a:pt x="1528" y="613"/>
                  </a:lnTo>
                  <a:lnTo>
                    <a:pt x="1528" y="613"/>
                  </a:lnTo>
                  <a:lnTo>
                    <a:pt x="1528" y="613"/>
                  </a:lnTo>
                  <a:lnTo>
                    <a:pt x="1530" y="613"/>
                  </a:lnTo>
                  <a:lnTo>
                    <a:pt x="1530" y="613"/>
                  </a:lnTo>
                  <a:lnTo>
                    <a:pt x="1530" y="615"/>
                  </a:lnTo>
                  <a:lnTo>
                    <a:pt x="1532" y="617"/>
                  </a:lnTo>
                  <a:lnTo>
                    <a:pt x="1532" y="617"/>
                  </a:lnTo>
                  <a:lnTo>
                    <a:pt x="1532" y="615"/>
                  </a:lnTo>
                  <a:lnTo>
                    <a:pt x="1532" y="615"/>
                  </a:lnTo>
                  <a:lnTo>
                    <a:pt x="1532" y="613"/>
                  </a:lnTo>
                  <a:lnTo>
                    <a:pt x="1532" y="613"/>
                  </a:lnTo>
                  <a:lnTo>
                    <a:pt x="1532" y="613"/>
                  </a:lnTo>
                  <a:lnTo>
                    <a:pt x="1532" y="613"/>
                  </a:lnTo>
                  <a:lnTo>
                    <a:pt x="1532" y="611"/>
                  </a:lnTo>
                  <a:lnTo>
                    <a:pt x="1532" y="613"/>
                  </a:lnTo>
                  <a:lnTo>
                    <a:pt x="1532" y="613"/>
                  </a:lnTo>
                  <a:lnTo>
                    <a:pt x="1532" y="613"/>
                  </a:lnTo>
                  <a:lnTo>
                    <a:pt x="1532" y="613"/>
                  </a:lnTo>
                  <a:lnTo>
                    <a:pt x="1532" y="615"/>
                  </a:lnTo>
                  <a:lnTo>
                    <a:pt x="1532" y="615"/>
                  </a:lnTo>
                  <a:lnTo>
                    <a:pt x="1532" y="615"/>
                  </a:lnTo>
                  <a:lnTo>
                    <a:pt x="1532" y="615"/>
                  </a:lnTo>
                  <a:lnTo>
                    <a:pt x="1534" y="615"/>
                  </a:lnTo>
                  <a:lnTo>
                    <a:pt x="1534" y="617"/>
                  </a:lnTo>
                  <a:lnTo>
                    <a:pt x="1532" y="619"/>
                  </a:lnTo>
                  <a:lnTo>
                    <a:pt x="1532" y="619"/>
                  </a:lnTo>
                  <a:lnTo>
                    <a:pt x="1532" y="619"/>
                  </a:lnTo>
                  <a:lnTo>
                    <a:pt x="1534" y="621"/>
                  </a:lnTo>
                  <a:lnTo>
                    <a:pt x="1534" y="621"/>
                  </a:lnTo>
                  <a:lnTo>
                    <a:pt x="1534" y="621"/>
                  </a:lnTo>
                  <a:lnTo>
                    <a:pt x="1534" y="623"/>
                  </a:lnTo>
                  <a:lnTo>
                    <a:pt x="1534" y="623"/>
                  </a:lnTo>
                  <a:lnTo>
                    <a:pt x="1536" y="623"/>
                  </a:lnTo>
                  <a:lnTo>
                    <a:pt x="1536" y="627"/>
                  </a:lnTo>
                  <a:lnTo>
                    <a:pt x="1538" y="627"/>
                  </a:lnTo>
                  <a:lnTo>
                    <a:pt x="1538" y="629"/>
                  </a:lnTo>
                  <a:lnTo>
                    <a:pt x="1540" y="631"/>
                  </a:lnTo>
                  <a:lnTo>
                    <a:pt x="1540" y="633"/>
                  </a:lnTo>
                  <a:lnTo>
                    <a:pt x="1540" y="633"/>
                  </a:lnTo>
                  <a:lnTo>
                    <a:pt x="1540" y="633"/>
                  </a:lnTo>
                  <a:lnTo>
                    <a:pt x="1540" y="633"/>
                  </a:lnTo>
                  <a:lnTo>
                    <a:pt x="1540" y="635"/>
                  </a:lnTo>
                  <a:lnTo>
                    <a:pt x="1540" y="635"/>
                  </a:lnTo>
                  <a:lnTo>
                    <a:pt x="1542" y="637"/>
                  </a:lnTo>
                  <a:lnTo>
                    <a:pt x="1542" y="637"/>
                  </a:lnTo>
                  <a:lnTo>
                    <a:pt x="1542" y="639"/>
                  </a:lnTo>
                  <a:lnTo>
                    <a:pt x="1542" y="639"/>
                  </a:lnTo>
                  <a:lnTo>
                    <a:pt x="1544" y="641"/>
                  </a:lnTo>
                  <a:lnTo>
                    <a:pt x="1544" y="641"/>
                  </a:lnTo>
                  <a:lnTo>
                    <a:pt x="1544" y="641"/>
                  </a:lnTo>
                  <a:lnTo>
                    <a:pt x="1544" y="641"/>
                  </a:lnTo>
                  <a:lnTo>
                    <a:pt x="1546" y="643"/>
                  </a:lnTo>
                  <a:lnTo>
                    <a:pt x="1546" y="643"/>
                  </a:lnTo>
                  <a:lnTo>
                    <a:pt x="1548" y="643"/>
                  </a:lnTo>
                  <a:lnTo>
                    <a:pt x="1548" y="641"/>
                  </a:lnTo>
                  <a:lnTo>
                    <a:pt x="1550" y="641"/>
                  </a:lnTo>
                  <a:lnTo>
                    <a:pt x="1552" y="641"/>
                  </a:lnTo>
                  <a:lnTo>
                    <a:pt x="1550" y="641"/>
                  </a:lnTo>
                  <a:lnTo>
                    <a:pt x="1550" y="643"/>
                  </a:lnTo>
                  <a:lnTo>
                    <a:pt x="1550" y="643"/>
                  </a:lnTo>
                  <a:lnTo>
                    <a:pt x="1548" y="643"/>
                  </a:lnTo>
                  <a:lnTo>
                    <a:pt x="1548" y="646"/>
                  </a:lnTo>
                  <a:lnTo>
                    <a:pt x="1548" y="646"/>
                  </a:lnTo>
                  <a:lnTo>
                    <a:pt x="1548" y="646"/>
                  </a:lnTo>
                  <a:lnTo>
                    <a:pt x="1548" y="646"/>
                  </a:lnTo>
                  <a:lnTo>
                    <a:pt x="1546" y="646"/>
                  </a:lnTo>
                  <a:lnTo>
                    <a:pt x="1546" y="646"/>
                  </a:lnTo>
                  <a:lnTo>
                    <a:pt x="1548" y="646"/>
                  </a:lnTo>
                  <a:lnTo>
                    <a:pt x="1548" y="646"/>
                  </a:lnTo>
                  <a:lnTo>
                    <a:pt x="1548" y="646"/>
                  </a:lnTo>
                  <a:lnTo>
                    <a:pt x="1548" y="646"/>
                  </a:lnTo>
                  <a:lnTo>
                    <a:pt x="1550" y="648"/>
                  </a:lnTo>
                  <a:lnTo>
                    <a:pt x="1550" y="650"/>
                  </a:lnTo>
                  <a:lnTo>
                    <a:pt x="1550" y="650"/>
                  </a:lnTo>
                  <a:lnTo>
                    <a:pt x="1552" y="650"/>
                  </a:lnTo>
                  <a:lnTo>
                    <a:pt x="1555" y="648"/>
                  </a:lnTo>
                  <a:lnTo>
                    <a:pt x="1557" y="648"/>
                  </a:lnTo>
                  <a:lnTo>
                    <a:pt x="1555" y="648"/>
                  </a:lnTo>
                  <a:lnTo>
                    <a:pt x="1555" y="650"/>
                  </a:lnTo>
                  <a:lnTo>
                    <a:pt x="1555" y="650"/>
                  </a:lnTo>
                  <a:lnTo>
                    <a:pt x="1555" y="650"/>
                  </a:lnTo>
                  <a:lnTo>
                    <a:pt x="1555" y="650"/>
                  </a:lnTo>
                  <a:lnTo>
                    <a:pt x="1555" y="650"/>
                  </a:lnTo>
                  <a:lnTo>
                    <a:pt x="1557" y="650"/>
                  </a:lnTo>
                  <a:lnTo>
                    <a:pt x="1557" y="652"/>
                  </a:lnTo>
                  <a:lnTo>
                    <a:pt x="1557" y="652"/>
                  </a:lnTo>
                  <a:lnTo>
                    <a:pt x="1555" y="650"/>
                  </a:lnTo>
                  <a:lnTo>
                    <a:pt x="1550" y="650"/>
                  </a:lnTo>
                  <a:lnTo>
                    <a:pt x="1550" y="650"/>
                  </a:lnTo>
                  <a:lnTo>
                    <a:pt x="1550" y="650"/>
                  </a:lnTo>
                  <a:lnTo>
                    <a:pt x="1548" y="650"/>
                  </a:lnTo>
                  <a:lnTo>
                    <a:pt x="1548" y="650"/>
                  </a:lnTo>
                  <a:lnTo>
                    <a:pt x="1548" y="650"/>
                  </a:lnTo>
                  <a:lnTo>
                    <a:pt x="1550" y="652"/>
                  </a:lnTo>
                  <a:lnTo>
                    <a:pt x="1550" y="652"/>
                  </a:lnTo>
                  <a:lnTo>
                    <a:pt x="1550" y="652"/>
                  </a:lnTo>
                  <a:lnTo>
                    <a:pt x="1550" y="652"/>
                  </a:lnTo>
                  <a:lnTo>
                    <a:pt x="1550" y="652"/>
                  </a:lnTo>
                  <a:lnTo>
                    <a:pt x="1552" y="652"/>
                  </a:lnTo>
                  <a:lnTo>
                    <a:pt x="1552" y="654"/>
                  </a:lnTo>
                  <a:lnTo>
                    <a:pt x="1552" y="654"/>
                  </a:lnTo>
                  <a:lnTo>
                    <a:pt x="1550" y="654"/>
                  </a:lnTo>
                  <a:lnTo>
                    <a:pt x="1550" y="654"/>
                  </a:lnTo>
                  <a:lnTo>
                    <a:pt x="1550" y="656"/>
                  </a:lnTo>
                  <a:lnTo>
                    <a:pt x="1550" y="656"/>
                  </a:lnTo>
                  <a:lnTo>
                    <a:pt x="1550" y="656"/>
                  </a:lnTo>
                  <a:lnTo>
                    <a:pt x="1550" y="658"/>
                  </a:lnTo>
                  <a:lnTo>
                    <a:pt x="1550" y="658"/>
                  </a:lnTo>
                  <a:lnTo>
                    <a:pt x="1552" y="658"/>
                  </a:lnTo>
                  <a:lnTo>
                    <a:pt x="1552" y="658"/>
                  </a:lnTo>
                  <a:lnTo>
                    <a:pt x="1552" y="658"/>
                  </a:lnTo>
                  <a:lnTo>
                    <a:pt x="1552" y="658"/>
                  </a:lnTo>
                  <a:lnTo>
                    <a:pt x="1550" y="658"/>
                  </a:lnTo>
                  <a:lnTo>
                    <a:pt x="1550" y="660"/>
                  </a:lnTo>
                  <a:lnTo>
                    <a:pt x="1550" y="660"/>
                  </a:lnTo>
                  <a:lnTo>
                    <a:pt x="1550" y="660"/>
                  </a:lnTo>
                  <a:lnTo>
                    <a:pt x="1550" y="660"/>
                  </a:lnTo>
                  <a:lnTo>
                    <a:pt x="1550" y="662"/>
                  </a:lnTo>
                  <a:lnTo>
                    <a:pt x="1552" y="662"/>
                  </a:lnTo>
                  <a:lnTo>
                    <a:pt x="1552" y="662"/>
                  </a:lnTo>
                  <a:lnTo>
                    <a:pt x="1550" y="664"/>
                  </a:lnTo>
                  <a:lnTo>
                    <a:pt x="1550" y="664"/>
                  </a:lnTo>
                  <a:lnTo>
                    <a:pt x="1552" y="666"/>
                  </a:lnTo>
                  <a:lnTo>
                    <a:pt x="1552" y="668"/>
                  </a:lnTo>
                  <a:lnTo>
                    <a:pt x="1552" y="670"/>
                  </a:lnTo>
                  <a:lnTo>
                    <a:pt x="1555" y="668"/>
                  </a:lnTo>
                  <a:lnTo>
                    <a:pt x="1555" y="668"/>
                  </a:lnTo>
                  <a:lnTo>
                    <a:pt x="1557" y="668"/>
                  </a:lnTo>
                  <a:lnTo>
                    <a:pt x="1557" y="668"/>
                  </a:lnTo>
                  <a:lnTo>
                    <a:pt x="1557" y="666"/>
                  </a:lnTo>
                  <a:lnTo>
                    <a:pt x="1557" y="666"/>
                  </a:lnTo>
                  <a:lnTo>
                    <a:pt x="1559" y="664"/>
                  </a:lnTo>
                  <a:lnTo>
                    <a:pt x="1559" y="664"/>
                  </a:lnTo>
                  <a:lnTo>
                    <a:pt x="1559" y="664"/>
                  </a:lnTo>
                  <a:lnTo>
                    <a:pt x="1559" y="664"/>
                  </a:lnTo>
                  <a:lnTo>
                    <a:pt x="1559" y="664"/>
                  </a:lnTo>
                  <a:lnTo>
                    <a:pt x="1559" y="664"/>
                  </a:lnTo>
                  <a:lnTo>
                    <a:pt x="1559" y="662"/>
                  </a:lnTo>
                  <a:lnTo>
                    <a:pt x="1559" y="662"/>
                  </a:lnTo>
                  <a:lnTo>
                    <a:pt x="1559" y="662"/>
                  </a:lnTo>
                  <a:lnTo>
                    <a:pt x="1559" y="662"/>
                  </a:lnTo>
                  <a:lnTo>
                    <a:pt x="1559" y="662"/>
                  </a:lnTo>
                  <a:lnTo>
                    <a:pt x="1559" y="662"/>
                  </a:lnTo>
                  <a:lnTo>
                    <a:pt x="1559" y="662"/>
                  </a:lnTo>
                  <a:lnTo>
                    <a:pt x="1559" y="662"/>
                  </a:lnTo>
                  <a:lnTo>
                    <a:pt x="1559" y="662"/>
                  </a:lnTo>
                  <a:lnTo>
                    <a:pt x="1559" y="662"/>
                  </a:lnTo>
                  <a:lnTo>
                    <a:pt x="1559" y="660"/>
                  </a:lnTo>
                  <a:lnTo>
                    <a:pt x="1561" y="660"/>
                  </a:lnTo>
                  <a:lnTo>
                    <a:pt x="1561" y="660"/>
                  </a:lnTo>
                  <a:lnTo>
                    <a:pt x="1561" y="660"/>
                  </a:lnTo>
                  <a:lnTo>
                    <a:pt x="1561" y="658"/>
                  </a:lnTo>
                  <a:lnTo>
                    <a:pt x="1561" y="658"/>
                  </a:lnTo>
                  <a:lnTo>
                    <a:pt x="1561" y="658"/>
                  </a:lnTo>
                  <a:lnTo>
                    <a:pt x="1561" y="658"/>
                  </a:lnTo>
                  <a:lnTo>
                    <a:pt x="1561" y="658"/>
                  </a:lnTo>
                  <a:lnTo>
                    <a:pt x="1561" y="658"/>
                  </a:lnTo>
                  <a:lnTo>
                    <a:pt x="1563" y="658"/>
                  </a:lnTo>
                  <a:lnTo>
                    <a:pt x="1563" y="658"/>
                  </a:lnTo>
                  <a:lnTo>
                    <a:pt x="1563" y="658"/>
                  </a:lnTo>
                  <a:lnTo>
                    <a:pt x="1563" y="656"/>
                  </a:lnTo>
                  <a:lnTo>
                    <a:pt x="1563" y="656"/>
                  </a:lnTo>
                  <a:lnTo>
                    <a:pt x="1563" y="654"/>
                  </a:lnTo>
                  <a:lnTo>
                    <a:pt x="1563" y="654"/>
                  </a:lnTo>
                  <a:lnTo>
                    <a:pt x="1563" y="654"/>
                  </a:lnTo>
                  <a:lnTo>
                    <a:pt x="1563" y="654"/>
                  </a:lnTo>
                  <a:lnTo>
                    <a:pt x="1563" y="654"/>
                  </a:lnTo>
                  <a:lnTo>
                    <a:pt x="1563" y="652"/>
                  </a:lnTo>
                  <a:lnTo>
                    <a:pt x="1563" y="652"/>
                  </a:lnTo>
                  <a:lnTo>
                    <a:pt x="1563" y="652"/>
                  </a:lnTo>
                  <a:lnTo>
                    <a:pt x="1563" y="652"/>
                  </a:lnTo>
                  <a:lnTo>
                    <a:pt x="1561" y="652"/>
                  </a:lnTo>
                  <a:lnTo>
                    <a:pt x="1561" y="652"/>
                  </a:lnTo>
                  <a:lnTo>
                    <a:pt x="1561" y="650"/>
                  </a:lnTo>
                  <a:lnTo>
                    <a:pt x="1561" y="650"/>
                  </a:lnTo>
                  <a:lnTo>
                    <a:pt x="1559" y="648"/>
                  </a:lnTo>
                  <a:lnTo>
                    <a:pt x="1561" y="648"/>
                  </a:lnTo>
                  <a:lnTo>
                    <a:pt x="1561" y="648"/>
                  </a:lnTo>
                  <a:lnTo>
                    <a:pt x="1561" y="648"/>
                  </a:lnTo>
                  <a:lnTo>
                    <a:pt x="1561" y="648"/>
                  </a:lnTo>
                  <a:lnTo>
                    <a:pt x="1563" y="650"/>
                  </a:lnTo>
                  <a:lnTo>
                    <a:pt x="1563" y="650"/>
                  </a:lnTo>
                  <a:lnTo>
                    <a:pt x="1563" y="650"/>
                  </a:lnTo>
                  <a:lnTo>
                    <a:pt x="1563" y="650"/>
                  </a:lnTo>
                  <a:lnTo>
                    <a:pt x="1563" y="650"/>
                  </a:lnTo>
                  <a:lnTo>
                    <a:pt x="1563" y="648"/>
                  </a:lnTo>
                  <a:lnTo>
                    <a:pt x="1563" y="648"/>
                  </a:lnTo>
                  <a:lnTo>
                    <a:pt x="1563" y="648"/>
                  </a:lnTo>
                  <a:lnTo>
                    <a:pt x="1563" y="648"/>
                  </a:lnTo>
                  <a:lnTo>
                    <a:pt x="1563" y="648"/>
                  </a:lnTo>
                  <a:lnTo>
                    <a:pt x="1563" y="648"/>
                  </a:lnTo>
                  <a:lnTo>
                    <a:pt x="1565" y="650"/>
                  </a:lnTo>
                  <a:lnTo>
                    <a:pt x="1567" y="650"/>
                  </a:lnTo>
                  <a:lnTo>
                    <a:pt x="1567" y="650"/>
                  </a:lnTo>
                  <a:lnTo>
                    <a:pt x="1567" y="648"/>
                  </a:lnTo>
                  <a:lnTo>
                    <a:pt x="1567" y="648"/>
                  </a:lnTo>
                  <a:lnTo>
                    <a:pt x="1569" y="648"/>
                  </a:lnTo>
                  <a:lnTo>
                    <a:pt x="1569" y="646"/>
                  </a:lnTo>
                  <a:lnTo>
                    <a:pt x="1567" y="646"/>
                  </a:lnTo>
                  <a:lnTo>
                    <a:pt x="1567" y="643"/>
                  </a:lnTo>
                  <a:lnTo>
                    <a:pt x="1567" y="643"/>
                  </a:lnTo>
                  <a:lnTo>
                    <a:pt x="1567" y="643"/>
                  </a:lnTo>
                  <a:lnTo>
                    <a:pt x="1567" y="643"/>
                  </a:lnTo>
                  <a:lnTo>
                    <a:pt x="1567" y="643"/>
                  </a:lnTo>
                  <a:lnTo>
                    <a:pt x="1567" y="641"/>
                  </a:lnTo>
                  <a:lnTo>
                    <a:pt x="1565" y="643"/>
                  </a:lnTo>
                  <a:lnTo>
                    <a:pt x="1565" y="643"/>
                  </a:lnTo>
                  <a:lnTo>
                    <a:pt x="1565" y="643"/>
                  </a:lnTo>
                  <a:lnTo>
                    <a:pt x="1565" y="643"/>
                  </a:lnTo>
                  <a:lnTo>
                    <a:pt x="1565" y="643"/>
                  </a:lnTo>
                  <a:lnTo>
                    <a:pt x="1563" y="643"/>
                  </a:lnTo>
                  <a:lnTo>
                    <a:pt x="1563" y="641"/>
                  </a:lnTo>
                  <a:lnTo>
                    <a:pt x="1563" y="641"/>
                  </a:lnTo>
                  <a:lnTo>
                    <a:pt x="1561" y="643"/>
                  </a:lnTo>
                  <a:lnTo>
                    <a:pt x="1561" y="641"/>
                  </a:lnTo>
                  <a:lnTo>
                    <a:pt x="1561" y="641"/>
                  </a:lnTo>
                  <a:lnTo>
                    <a:pt x="1561" y="641"/>
                  </a:lnTo>
                  <a:lnTo>
                    <a:pt x="1561" y="641"/>
                  </a:lnTo>
                  <a:lnTo>
                    <a:pt x="1561" y="641"/>
                  </a:lnTo>
                  <a:lnTo>
                    <a:pt x="1561" y="641"/>
                  </a:lnTo>
                  <a:lnTo>
                    <a:pt x="1561" y="639"/>
                  </a:lnTo>
                  <a:lnTo>
                    <a:pt x="1561" y="639"/>
                  </a:lnTo>
                  <a:lnTo>
                    <a:pt x="1561" y="641"/>
                  </a:lnTo>
                  <a:lnTo>
                    <a:pt x="1561" y="641"/>
                  </a:lnTo>
                  <a:lnTo>
                    <a:pt x="1563" y="641"/>
                  </a:lnTo>
                  <a:lnTo>
                    <a:pt x="1565" y="641"/>
                  </a:lnTo>
                  <a:lnTo>
                    <a:pt x="1565" y="641"/>
                  </a:lnTo>
                  <a:lnTo>
                    <a:pt x="1565" y="641"/>
                  </a:lnTo>
                  <a:lnTo>
                    <a:pt x="1565" y="639"/>
                  </a:lnTo>
                  <a:lnTo>
                    <a:pt x="1565" y="639"/>
                  </a:lnTo>
                  <a:lnTo>
                    <a:pt x="1565" y="639"/>
                  </a:lnTo>
                  <a:lnTo>
                    <a:pt x="1565" y="639"/>
                  </a:lnTo>
                  <a:lnTo>
                    <a:pt x="1565" y="639"/>
                  </a:lnTo>
                  <a:lnTo>
                    <a:pt x="1565" y="639"/>
                  </a:lnTo>
                  <a:lnTo>
                    <a:pt x="1565" y="639"/>
                  </a:lnTo>
                  <a:lnTo>
                    <a:pt x="1567" y="641"/>
                  </a:lnTo>
                  <a:lnTo>
                    <a:pt x="1567" y="641"/>
                  </a:lnTo>
                  <a:lnTo>
                    <a:pt x="1567" y="641"/>
                  </a:lnTo>
                  <a:lnTo>
                    <a:pt x="1567" y="639"/>
                  </a:lnTo>
                  <a:lnTo>
                    <a:pt x="1565" y="639"/>
                  </a:lnTo>
                  <a:lnTo>
                    <a:pt x="1563" y="637"/>
                  </a:lnTo>
                  <a:lnTo>
                    <a:pt x="1563" y="637"/>
                  </a:lnTo>
                  <a:lnTo>
                    <a:pt x="1563" y="635"/>
                  </a:lnTo>
                  <a:lnTo>
                    <a:pt x="1563" y="633"/>
                  </a:lnTo>
                  <a:lnTo>
                    <a:pt x="1561" y="633"/>
                  </a:lnTo>
                  <a:lnTo>
                    <a:pt x="1561" y="633"/>
                  </a:lnTo>
                  <a:lnTo>
                    <a:pt x="1561" y="633"/>
                  </a:lnTo>
                  <a:lnTo>
                    <a:pt x="1559" y="633"/>
                  </a:lnTo>
                  <a:lnTo>
                    <a:pt x="1559" y="633"/>
                  </a:lnTo>
                  <a:lnTo>
                    <a:pt x="1557" y="633"/>
                  </a:lnTo>
                  <a:lnTo>
                    <a:pt x="1559" y="631"/>
                  </a:lnTo>
                  <a:lnTo>
                    <a:pt x="1559" y="631"/>
                  </a:lnTo>
                  <a:lnTo>
                    <a:pt x="1559" y="631"/>
                  </a:lnTo>
                  <a:lnTo>
                    <a:pt x="1550" y="625"/>
                  </a:lnTo>
                  <a:lnTo>
                    <a:pt x="1550" y="625"/>
                  </a:lnTo>
                  <a:lnTo>
                    <a:pt x="1550" y="627"/>
                  </a:lnTo>
                  <a:lnTo>
                    <a:pt x="1548" y="625"/>
                  </a:lnTo>
                  <a:lnTo>
                    <a:pt x="1548" y="625"/>
                  </a:lnTo>
                  <a:lnTo>
                    <a:pt x="1548" y="623"/>
                  </a:lnTo>
                  <a:lnTo>
                    <a:pt x="1548" y="623"/>
                  </a:lnTo>
                  <a:lnTo>
                    <a:pt x="1548" y="623"/>
                  </a:lnTo>
                  <a:lnTo>
                    <a:pt x="1548" y="621"/>
                  </a:lnTo>
                  <a:lnTo>
                    <a:pt x="1548" y="621"/>
                  </a:lnTo>
                  <a:lnTo>
                    <a:pt x="1546" y="619"/>
                  </a:lnTo>
                  <a:lnTo>
                    <a:pt x="1546" y="619"/>
                  </a:lnTo>
                  <a:lnTo>
                    <a:pt x="1546" y="619"/>
                  </a:lnTo>
                  <a:lnTo>
                    <a:pt x="1548" y="619"/>
                  </a:lnTo>
                  <a:lnTo>
                    <a:pt x="1548" y="619"/>
                  </a:lnTo>
                  <a:lnTo>
                    <a:pt x="1548" y="619"/>
                  </a:lnTo>
                  <a:lnTo>
                    <a:pt x="1548" y="617"/>
                  </a:lnTo>
                  <a:lnTo>
                    <a:pt x="1548" y="617"/>
                  </a:lnTo>
                  <a:lnTo>
                    <a:pt x="1546" y="617"/>
                  </a:lnTo>
                  <a:lnTo>
                    <a:pt x="1546" y="615"/>
                  </a:lnTo>
                  <a:lnTo>
                    <a:pt x="1546" y="615"/>
                  </a:lnTo>
                  <a:lnTo>
                    <a:pt x="1546" y="615"/>
                  </a:lnTo>
                  <a:lnTo>
                    <a:pt x="1546" y="617"/>
                  </a:lnTo>
                  <a:lnTo>
                    <a:pt x="1546" y="615"/>
                  </a:lnTo>
                  <a:lnTo>
                    <a:pt x="1546" y="615"/>
                  </a:lnTo>
                  <a:lnTo>
                    <a:pt x="1546" y="615"/>
                  </a:lnTo>
                  <a:lnTo>
                    <a:pt x="1546" y="613"/>
                  </a:lnTo>
                  <a:lnTo>
                    <a:pt x="1544" y="613"/>
                  </a:lnTo>
                  <a:lnTo>
                    <a:pt x="1544" y="613"/>
                  </a:lnTo>
                  <a:lnTo>
                    <a:pt x="1544" y="613"/>
                  </a:lnTo>
                  <a:lnTo>
                    <a:pt x="1546" y="613"/>
                  </a:lnTo>
                  <a:lnTo>
                    <a:pt x="1546" y="613"/>
                  </a:lnTo>
                  <a:lnTo>
                    <a:pt x="1546" y="613"/>
                  </a:lnTo>
                  <a:lnTo>
                    <a:pt x="1546" y="613"/>
                  </a:lnTo>
                  <a:lnTo>
                    <a:pt x="1546" y="613"/>
                  </a:lnTo>
                  <a:lnTo>
                    <a:pt x="1548" y="615"/>
                  </a:lnTo>
                  <a:lnTo>
                    <a:pt x="1548" y="615"/>
                  </a:lnTo>
                  <a:lnTo>
                    <a:pt x="1550" y="617"/>
                  </a:lnTo>
                  <a:lnTo>
                    <a:pt x="1550" y="617"/>
                  </a:lnTo>
                  <a:lnTo>
                    <a:pt x="1548" y="617"/>
                  </a:lnTo>
                  <a:lnTo>
                    <a:pt x="1548" y="615"/>
                  </a:lnTo>
                  <a:lnTo>
                    <a:pt x="1548" y="615"/>
                  </a:lnTo>
                  <a:lnTo>
                    <a:pt x="1548" y="615"/>
                  </a:lnTo>
                  <a:lnTo>
                    <a:pt x="1550" y="617"/>
                  </a:lnTo>
                  <a:lnTo>
                    <a:pt x="1550" y="617"/>
                  </a:lnTo>
                  <a:lnTo>
                    <a:pt x="1550" y="619"/>
                  </a:lnTo>
                  <a:lnTo>
                    <a:pt x="1552" y="619"/>
                  </a:lnTo>
                  <a:lnTo>
                    <a:pt x="1552" y="623"/>
                  </a:lnTo>
                  <a:lnTo>
                    <a:pt x="1555" y="623"/>
                  </a:lnTo>
                  <a:lnTo>
                    <a:pt x="1555" y="623"/>
                  </a:lnTo>
                  <a:lnTo>
                    <a:pt x="1555" y="625"/>
                  </a:lnTo>
                  <a:lnTo>
                    <a:pt x="1557" y="625"/>
                  </a:lnTo>
                  <a:lnTo>
                    <a:pt x="1557" y="625"/>
                  </a:lnTo>
                  <a:lnTo>
                    <a:pt x="1559" y="627"/>
                  </a:lnTo>
                  <a:lnTo>
                    <a:pt x="1559" y="627"/>
                  </a:lnTo>
                  <a:lnTo>
                    <a:pt x="1559" y="627"/>
                  </a:lnTo>
                  <a:lnTo>
                    <a:pt x="1559" y="627"/>
                  </a:lnTo>
                  <a:lnTo>
                    <a:pt x="1559" y="629"/>
                  </a:lnTo>
                  <a:lnTo>
                    <a:pt x="1559" y="629"/>
                  </a:lnTo>
                  <a:lnTo>
                    <a:pt x="1561" y="629"/>
                  </a:lnTo>
                  <a:lnTo>
                    <a:pt x="1561" y="631"/>
                  </a:lnTo>
                  <a:lnTo>
                    <a:pt x="1563" y="631"/>
                  </a:lnTo>
                  <a:lnTo>
                    <a:pt x="1565" y="633"/>
                  </a:lnTo>
                  <a:lnTo>
                    <a:pt x="1565" y="633"/>
                  </a:lnTo>
                  <a:lnTo>
                    <a:pt x="1565" y="635"/>
                  </a:lnTo>
                  <a:lnTo>
                    <a:pt x="1567" y="635"/>
                  </a:lnTo>
                  <a:lnTo>
                    <a:pt x="1567" y="633"/>
                  </a:lnTo>
                  <a:lnTo>
                    <a:pt x="1565" y="633"/>
                  </a:lnTo>
                  <a:lnTo>
                    <a:pt x="1563" y="631"/>
                  </a:lnTo>
                  <a:lnTo>
                    <a:pt x="1563" y="631"/>
                  </a:lnTo>
                  <a:lnTo>
                    <a:pt x="1563" y="629"/>
                  </a:lnTo>
                  <a:lnTo>
                    <a:pt x="1563" y="629"/>
                  </a:lnTo>
                  <a:lnTo>
                    <a:pt x="1563" y="627"/>
                  </a:lnTo>
                  <a:lnTo>
                    <a:pt x="1561" y="627"/>
                  </a:lnTo>
                  <a:lnTo>
                    <a:pt x="1561" y="627"/>
                  </a:lnTo>
                  <a:lnTo>
                    <a:pt x="1561" y="625"/>
                  </a:lnTo>
                  <a:lnTo>
                    <a:pt x="1561" y="625"/>
                  </a:lnTo>
                  <a:lnTo>
                    <a:pt x="1561" y="625"/>
                  </a:lnTo>
                  <a:lnTo>
                    <a:pt x="1561" y="625"/>
                  </a:lnTo>
                  <a:lnTo>
                    <a:pt x="1559" y="623"/>
                  </a:lnTo>
                  <a:lnTo>
                    <a:pt x="1559" y="623"/>
                  </a:lnTo>
                  <a:lnTo>
                    <a:pt x="1557" y="621"/>
                  </a:lnTo>
                  <a:lnTo>
                    <a:pt x="1555" y="619"/>
                  </a:lnTo>
                  <a:lnTo>
                    <a:pt x="1555" y="617"/>
                  </a:lnTo>
                  <a:lnTo>
                    <a:pt x="1552" y="617"/>
                  </a:lnTo>
                  <a:lnTo>
                    <a:pt x="1552" y="615"/>
                  </a:lnTo>
                  <a:lnTo>
                    <a:pt x="1548" y="613"/>
                  </a:lnTo>
                  <a:lnTo>
                    <a:pt x="1548" y="611"/>
                  </a:lnTo>
                  <a:lnTo>
                    <a:pt x="1548" y="611"/>
                  </a:lnTo>
                  <a:lnTo>
                    <a:pt x="1546" y="611"/>
                  </a:lnTo>
                  <a:lnTo>
                    <a:pt x="1548" y="611"/>
                  </a:lnTo>
                  <a:lnTo>
                    <a:pt x="1548" y="611"/>
                  </a:lnTo>
                  <a:lnTo>
                    <a:pt x="1548" y="611"/>
                  </a:lnTo>
                  <a:lnTo>
                    <a:pt x="1548" y="609"/>
                  </a:lnTo>
                  <a:lnTo>
                    <a:pt x="1548" y="609"/>
                  </a:lnTo>
                  <a:lnTo>
                    <a:pt x="1546" y="609"/>
                  </a:lnTo>
                  <a:lnTo>
                    <a:pt x="1546" y="609"/>
                  </a:lnTo>
                  <a:lnTo>
                    <a:pt x="1544" y="611"/>
                  </a:lnTo>
                  <a:lnTo>
                    <a:pt x="1542" y="611"/>
                  </a:lnTo>
                  <a:lnTo>
                    <a:pt x="1542" y="611"/>
                  </a:lnTo>
                  <a:lnTo>
                    <a:pt x="1540" y="611"/>
                  </a:lnTo>
                  <a:lnTo>
                    <a:pt x="1540" y="611"/>
                  </a:lnTo>
                  <a:lnTo>
                    <a:pt x="1538" y="611"/>
                  </a:lnTo>
                  <a:lnTo>
                    <a:pt x="1536" y="611"/>
                  </a:lnTo>
                  <a:lnTo>
                    <a:pt x="1536" y="611"/>
                  </a:lnTo>
                  <a:lnTo>
                    <a:pt x="1536" y="611"/>
                  </a:lnTo>
                  <a:lnTo>
                    <a:pt x="1534" y="613"/>
                  </a:lnTo>
                  <a:lnTo>
                    <a:pt x="1534" y="613"/>
                  </a:lnTo>
                  <a:lnTo>
                    <a:pt x="1532" y="611"/>
                  </a:lnTo>
                  <a:lnTo>
                    <a:pt x="1532" y="611"/>
                  </a:lnTo>
                  <a:lnTo>
                    <a:pt x="1532" y="609"/>
                  </a:lnTo>
                  <a:lnTo>
                    <a:pt x="1532" y="609"/>
                  </a:lnTo>
                  <a:lnTo>
                    <a:pt x="1532" y="609"/>
                  </a:lnTo>
                  <a:close/>
                  <a:moveTo>
                    <a:pt x="1249" y="566"/>
                  </a:moveTo>
                  <a:lnTo>
                    <a:pt x="1247" y="566"/>
                  </a:lnTo>
                  <a:lnTo>
                    <a:pt x="1247" y="566"/>
                  </a:lnTo>
                  <a:lnTo>
                    <a:pt x="1247" y="566"/>
                  </a:lnTo>
                  <a:lnTo>
                    <a:pt x="1247" y="566"/>
                  </a:lnTo>
                  <a:lnTo>
                    <a:pt x="1247" y="566"/>
                  </a:lnTo>
                  <a:lnTo>
                    <a:pt x="1247" y="566"/>
                  </a:lnTo>
                  <a:lnTo>
                    <a:pt x="1249" y="566"/>
                  </a:lnTo>
                  <a:lnTo>
                    <a:pt x="1249" y="566"/>
                  </a:lnTo>
                  <a:lnTo>
                    <a:pt x="1249" y="566"/>
                  </a:lnTo>
                  <a:lnTo>
                    <a:pt x="1249" y="566"/>
                  </a:lnTo>
                  <a:lnTo>
                    <a:pt x="1249" y="566"/>
                  </a:lnTo>
                  <a:lnTo>
                    <a:pt x="1249" y="566"/>
                  </a:lnTo>
                  <a:close/>
                  <a:moveTo>
                    <a:pt x="1581" y="721"/>
                  </a:moveTo>
                  <a:lnTo>
                    <a:pt x="1581" y="721"/>
                  </a:lnTo>
                  <a:lnTo>
                    <a:pt x="1579" y="721"/>
                  </a:lnTo>
                  <a:lnTo>
                    <a:pt x="1579" y="721"/>
                  </a:lnTo>
                  <a:lnTo>
                    <a:pt x="1579" y="721"/>
                  </a:lnTo>
                  <a:lnTo>
                    <a:pt x="1579" y="721"/>
                  </a:lnTo>
                  <a:lnTo>
                    <a:pt x="1577" y="721"/>
                  </a:lnTo>
                  <a:lnTo>
                    <a:pt x="1577" y="721"/>
                  </a:lnTo>
                  <a:lnTo>
                    <a:pt x="1577" y="723"/>
                  </a:lnTo>
                  <a:lnTo>
                    <a:pt x="1579" y="723"/>
                  </a:lnTo>
                  <a:lnTo>
                    <a:pt x="1579" y="723"/>
                  </a:lnTo>
                  <a:lnTo>
                    <a:pt x="1579" y="725"/>
                  </a:lnTo>
                  <a:lnTo>
                    <a:pt x="1579" y="725"/>
                  </a:lnTo>
                  <a:lnTo>
                    <a:pt x="1579" y="725"/>
                  </a:lnTo>
                  <a:lnTo>
                    <a:pt x="1581" y="725"/>
                  </a:lnTo>
                  <a:lnTo>
                    <a:pt x="1581" y="725"/>
                  </a:lnTo>
                  <a:lnTo>
                    <a:pt x="1581" y="723"/>
                  </a:lnTo>
                  <a:lnTo>
                    <a:pt x="1581" y="723"/>
                  </a:lnTo>
                  <a:lnTo>
                    <a:pt x="1583" y="721"/>
                  </a:lnTo>
                  <a:lnTo>
                    <a:pt x="1583" y="721"/>
                  </a:lnTo>
                  <a:lnTo>
                    <a:pt x="1583" y="719"/>
                  </a:lnTo>
                  <a:lnTo>
                    <a:pt x="1583" y="719"/>
                  </a:lnTo>
                  <a:lnTo>
                    <a:pt x="1581" y="721"/>
                  </a:lnTo>
                  <a:close/>
                  <a:moveTo>
                    <a:pt x="1591" y="689"/>
                  </a:moveTo>
                  <a:lnTo>
                    <a:pt x="1593" y="687"/>
                  </a:lnTo>
                  <a:lnTo>
                    <a:pt x="1593" y="687"/>
                  </a:lnTo>
                  <a:lnTo>
                    <a:pt x="1593" y="687"/>
                  </a:lnTo>
                  <a:lnTo>
                    <a:pt x="1593" y="687"/>
                  </a:lnTo>
                  <a:lnTo>
                    <a:pt x="1593" y="684"/>
                  </a:lnTo>
                  <a:lnTo>
                    <a:pt x="1593" y="684"/>
                  </a:lnTo>
                  <a:lnTo>
                    <a:pt x="1593" y="684"/>
                  </a:lnTo>
                  <a:lnTo>
                    <a:pt x="1593" y="684"/>
                  </a:lnTo>
                  <a:lnTo>
                    <a:pt x="1593" y="684"/>
                  </a:lnTo>
                  <a:lnTo>
                    <a:pt x="1595" y="684"/>
                  </a:lnTo>
                  <a:lnTo>
                    <a:pt x="1595" y="684"/>
                  </a:lnTo>
                  <a:lnTo>
                    <a:pt x="1595" y="684"/>
                  </a:lnTo>
                  <a:lnTo>
                    <a:pt x="1595" y="684"/>
                  </a:lnTo>
                  <a:lnTo>
                    <a:pt x="1598" y="684"/>
                  </a:lnTo>
                  <a:lnTo>
                    <a:pt x="1598" y="684"/>
                  </a:lnTo>
                  <a:lnTo>
                    <a:pt x="1600" y="684"/>
                  </a:lnTo>
                  <a:lnTo>
                    <a:pt x="1600" y="684"/>
                  </a:lnTo>
                  <a:lnTo>
                    <a:pt x="1600" y="684"/>
                  </a:lnTo>
                  <a:lnTo>
                    <a:pt x="1600" y="684"/>
                  </a:lnTo>
                  <a:lnTo>
                    <a:pt x="1600" y="684"/>
                  </a:lnTo>
                  <a:lnTo>
                    <a:pt x="1602" y="684"/>
                  </a:lnTo>
                  <a:lnTo>
                    <a:pt x="1602" y="684"/>
                  </a:lnTo>
                  <a:lnTo>
                    <a:pt x="1602" y="684"/>
                  </a:lnTo>
                  <a:lnTo>
                    <a:pt x="1602" y="684"/>
                  </a:lnTo>
                  <a:lnTo>
                    <a:pt x="1602" y="682"/>
                  </a:lnTo>
                  <a:lnTo>
                    <a:pt x="1602" y="682"/>
                  </a:lnTo>
                  <a:lnTo>
                    <a:pt x="1602" y="680"/>
                  </a:lnTo>
                  <a:lnTo>
                    <a:pt x="1602" y="680"/>
                  </a:lnTo>
                  <a:lnTo>
                    <a:pt x="1602" y="680"/>
                  </a:lnTo>
                  <a:lnTo>
                    <a:pt x="1602" y="678"/>
                  </a:lnTo>
                  <a:lnTo>
                    <a:pt x="1602" y="678"/>
                  </a:lnTo>
                  <a:lnTo>
                    <a:pt x="1600" y="678"/>
                  </a:lnTo>
                  <a:lnTo>
                    <a:pt x="1600" y="678"/>
                  </a:lnTo>
                  <a:lnTo>
                    <a:pt x="1600" y="676"/>
                  </a:lnTo>
                  <a:lnTo>
                    <a:pt x="1600" y="676"/>
                  </a:lnTo>
                  <a:lnTo>
                    <a:pt x="1600" y="676"/>
                  </a:lnTo>
                  <a:lnTo>
                    <a:pt x="1600" y="676"/>
                  </a:lnTo>
                  <a:lnTo>
                    <a:pt x="1600" y="676"/>
                  </a:lnTo>
                  <a:lnTo>
                    <a:pt x="1602" y="676"/>
                  </a:lnTo>
                  <a:lnTo>
                    <a:pt x="1600" y="676"/>
                  </a:lnTo>
                  <a:lnTo>
                    <a:pt x="1600" y="676"/>
                  </a:lnTo>
                  <a:lnTo>
                    <a:pt x="1598" y="676"/>
                  </a:lnTo>
                  <a:lnTo>
                    <a:pt x="1598" y="676"/>
                  </a:lnTo>
                  <a:lnTo>
                    <a:pt x="1598" y="676"/>
                  </a:lnTo>
                  <a:lnTo>
                    <a:pt x="1598" y="676"/>
                  </a:lnTo>
                  <a:lnTo>
                    <a:pt x="1598" y="676"/>
                  </a:lnTo>
                  <a:lnTo>
                    <a:pt x="1595" y="676"/>
                  </a:lnTo>
                  <a:lnTo>
                    <a:pt x="1595" y="676"/>
                  </a:lnTo>
                  <a:lnTo>
                    <a:pt x="1595" y="676"/>
                  </a:lnTo>
                  <a:lnTo>
                    <a:pt x="1595" y="676"/>
                  </a:lnTo>
                  <a:lnTo>
                    <a:pt x="1595" y="674"/>
                  </a:lnTo>
                  <a:lnTo>
                    <a:pt x="1595" y="674"/>
                  </a:lnTo>
                  <a:lnTo>
                    <a:pt x="1595" y="672"/>
                  </a:lnTo>
                  <a:lnTo>
                    <a:pt x="1595" y="672"/>
                  </a:lnTo>
                  <a:lnTo>
                    <a:pt x="1595" y="672"/>
                  </a:lnTo>
                  <a:lnTo>
                    <a:pt x="1593" y="672"/>
                  </a:lnTo>
                  <a:lnTo>
                    <a:pt x="1593" y="672"/>
                  </a:lnTo>
                  <a:lnTo>
                    <a:pt x="1593" y="672"/>
                  </a:lnTo>
                  <a:lnTo>
                    <a:pt x="1593" y="672"/>
                  </a:lnTo>
                  <a:lnTo>
                    <a:pt x="1591" y="672"/>
                  </a:lnTo>
                  <a:lnTo>
                    <a:pt x="1591" y="670"/>
                  </a:lnTo>
                  <a:lnTo>
                    <a:pt x="1591" y="670"/>
                  </a:lnTo>
                  <a:lnTo>
                    <a:pt x="1591" y="670"/>
                  </a:lnTo>
                  <a:lnTo>
                    <a:pt x="1591" y="670"/>
                  </a:lnTo>
                  <a:lnTo>
                    <a:pt x="1589" y="668"/>
                  </a:lnTo>
                  <a:lnTo>
                    <a:pt x="1589" y="668"/>
                  </a:lnTo>
                  <a:lnTo>
                    <a:pt x="1591" y="668"/>
                  </a:lnTo>
                  <a:lnTo>
                    <a:pt x="1593" y="668"/>
                  </a:lnTo>
                  <a:lnTo>
                    <a:pt x="1593" y="668"/>
                  </a:lnTo>
                  <a:lnTo>
                    <a:pt x="1593" y="668"/>
                  </a:lnTo>
                  <a:lnTo>
                    <a:pt x="1593" y="668"/>
                  </a:lnTo>
                  <a:lnTo>
                    <a:pt x="1593" y="668"/>
                  </a:lnTo>
                  <a:lnTo>
                    <a:pt x="1595" y="670"/>
                  </a:lnTo>
                  <a:lnTo>
                    <a:pt x="1595" y="670"/>
                  </a:lnTo>
                  <a:lnTo>
                    <a:pt x="1595" y="672"/>
                  </a:lnTo>
                  <a:lnTo>
                    <a:pt x="1600" y="674"/>
                  </a:lnTo>
                  <a:lnTo>
                    <a:pt x="1600" y="674"/>
                  </a:lnTo>
                  <a:lnTo>
                    <a:pt x="1602" y="674"/>
                  </a:lnTo>
                  <a:lnTo>
                    <a:pt x="1602" y="674"/>
                  </a:lnTo>
                  <a:lnTo>
                    <a:pt x="1602" y="676"/>
                  </a:lnTo>
                  <a:lnTo>
                    <a:pt x="1604" y="676"/>
                  </a:lnTo>
                  <a:lnTo>
                    <a:pt x="1604" y="676"/>
                  </a:lnTo>
                  <a:lnTo>
                    <a:pt x="1604" y="676"/>
                  </a:lnTo>
                  <a:lnTo>
                    <a:pt x="1604" y="674"/>
                  </a:lnTo>
                  <a:lnTo>
                    <a:pt x="1604" y="674"/>
                  </a:lnTo>
                  <a:lnTo>
                    <a:pt x="1604" y="674"/>
                  </a:lnTo>
                  <a:lnTo>
                    <a:pt x="1604" y="672"/>
                  </a:lnTo>
                  <a:lnTo>
                    <a:pt x="1604" y="672"/>
                  </a:lnTo>
                  <a:lnTo>
                    <a:pt x="1604" y="672"/>
                  </a:lnTo>
                  <a:lnTo>
                    <a:pt x="1604" y="672"/>
                  </a:lnTo>
                  <a:lnTo>
                    <a:pt x="1604" y="670"/>
                  </a:lnTo>
                  <a:lnTo>
                    <a:pt x="1604" y="670"/>
                  </a:lnTo>
                  <a:lnTo>
                    <a:pt x="1604" y="670"/>
                  </a:lnTo>
                  <a:lnTo>
                    <a:pt x="1602" y="668"/>
                  </a:lnTo>
                  <a:lnTo>
                    <a:pt x="1602" y="668"/>
                  </a:lnTo>
                  <a:lnTo>
                    <a:pt x="1602" y="666"/>
                  </a:lnTo>
                  <a:lnTo>
                    <a:pt x="1600" y="666"/>
                  </a:lnTo>
                  <a:lnTo>
                    <a:pt x="1600" y="666"/>
                  </a:lnTo>
                  <a:lnTo>
                    <a:pt x="1602" y="664"/>
                  </a:lnTo>
                  <a:lnTo>
                    <a:pt x="1602" y="664"/>
                  </a:lnTo>
                  <a:lnTo>
                    <a:pt x="1602" y="664"/>
                  </a:lnTo>
                  <a:lnTo>
                    <a:pt x="1602" y="662"/>
                  </a:lnTo>
                  <a:lnTo>
                    <a:pt x="1600" y="660"/>
                  </a:lnTo>
                  <a:lnTo>
                    <a:pt x="1600" y="660"/>
                  </a:lnTo>
                  <a:lnTo>
                    <a:pt x="1598" y="660"/>
                  </a:lnTo>
                  <a:lnTo>
                    <a:pt x="1598" y="660"/>
                  </a:lnTo>
                  <a:lnTo>
                    <a:pt x="1598" y="660"/>
                  </a:lnTo>
                  <a:lnTo>
                    <a:pt x="1595" y="658"/>
                  </a:lnTo>
                  <a:lnTo>
                    <a:pt x="1595" y="658"/>
                  </a:lnTo>
                  <a:lnTo>
                    <a:pt x="1593" y="658"/>
                  </a:lnTo>
                  <a:lnTo>
                    <a:pt x="1591" y="658"/>
                  </a:lnTo>
                  <a:lnTo>
                    <a:pt x="1589" y="658"/>
                  </a:lnTo>
                  <a:lnTo>
                    <a:pt x="1589" y="660"/>
                  </a:lnTo>
                  <a:lnTo>
                    <a:pt x="1589" y="660"/>
                  </a:lnTo>
                  <a:lnTo>
                    <a:pt x="1591" y="662"/>
                  </a:lnTo>
                  <a:lnTo>
                    <a:pt x="1591" y="662"/>
                  </a:lnTo>
                  <a:lnTo>
                    <a:pt x="1591" y="662"/>
                  </a:lnTo>
                  <a:lnTo>
                    <a:pt x="1589" y="662"/>
                  </a:lnTo>
                  <a:lnTo>
                    <a:pt x="1589" y="660"/>
                  </a:lnTo>
                  <a:lnTo>
                    <a:pt x="1589" y="660"/>
                  </a:lnTo>
                  <a:lnTo>
                    <a:pt x="1587" y="660"/>
                  </a:lnTo>
                  <a:lnTo>
                    <a:pt x="1587" y="660"/>
                  </a:lnTo>
                  <a:lnTo>
                    <a:pt x="1585" y="660"/>
                  </a:lnTo>
                  <a:lnTo>
                    <a:pt x="1583" y="660"/>
                  </a:lnTo>
                  <a:lnTo>
                    <a:pt x="1583" y="660"/>
                  </a:lnTo>
                  <a:lnTo>
                    <a:pt x="1581" y="660"/>
                  </a:lnTo>
                  <a:lnTo>
                    <a:pt x="1581" y="660"/>
                  </a:lnTo>
                  <a:lnTo>
                    <a:pt x="1577" y="660"/>
                  </a:lnTo>
                  <a:lnTo>
                    <a:pt x="1575" y="660"/>
                  </a:lnTo>
                  <a:lnTo>
                    <a:pt x="1571" y="660"/>
                  </a:lnTo>
                  <a:lnTo>
                    <a:pt x="1571" y="660"/>
                  </a:lnTo>
                  <a:lnTo>
                    <a:pt x="1571" y="660"/>
                  </a:lnTo>
                  <a:lnTo>
                    <a:pt x="1571" y="660"/>
                  </a:lnTo>
                  <a:lnTo>
                    <a:pt x="1571" y="660"/>
                  </a:lnTo>
                  <a:lnTo>
                    <a:pt x="1571" y="662"/>
                  </a:lnTo>
                  <a:lnTo>
                    <a:pt x="1571" y="662"/>
                  </a:lnTo>
                  <a:lnTo>
                    <a:pt x="1569" y="662"/>
                  </a:lnTo>
                  <a:lnTo>
                    <a:pt x="1569" y="662"/>
                  </a:lnTo>
                  <a:lnTo>
                    <a:pt x="1569" y="662"/>
                  </a:lnTo>
                  <a:lnTo>
                    <a:pt x="1569" y="664"/>
                  </a:lnTo>
                  <a:lnTo>
                    <a:pt x="1569" y="664"/>
                  </a:lnTo>
                  <a:lnTo>
                    <a:pt x="1569" y="664"/>
                  </a:lnTo>
                  <a:lnTo>
                    <a:pt x="1569" y="664"/>
                  </a:lnTo>
                  <a:lnTo>
                    <a:pt x="1573" y="666"/>
                  </a:lnTo>
                  <a:lnTo>
                    <a:pt x="1575" y="668"/>
                  </a:lnTo>
                  <a:lnTo>
                    <a:pt x="1579" y="668"/>
                  </a:lnTo>
                  <a:lnTo>
                    <a:pt x="1579" y="668"/>
                  </a:lnTo>
                  <a:lnTo>
                    <a:pt x="1579" y="668"/>
                  </a:lnTo>
                  <a:lnTo>
                    <a:pt x="1577" y="670"/>
                  </a:lnTo>
                  <a:lnTo>
                    <a:pt x="1575" y="668"/>
                  </a:lnTo>
                  <a:lnTo>
                    <a:pt x="1575" y="668"/>
                  </a:lnTo>
                  <a:lnTo>
                    <a:pt x="1575" y="668"/>
                  </a:lnTo>
                  <a:lnTo>
                    <a:pt x="1575" y="670"/>
                  </a:lnTo>
                  <a:lnTo>
                    <a:pt x="1575" y="670"/>
                  </a:lnTo>
                  <a:lnTo>
                    <a:pt x="1575" y="670"/>
                  </a:lnTo>
                  <a:lnTo>
                    <a:pt x="1577" y="670"/>
                  </a:lnTo>
                  <a:lnTo>
                    <a:pt x="1577" y="670"/>
                  </a:lnTo>
                  <a:lnTo>
                    <a:pt x="1577" y="670"/>
                  </a:lnTo>
                  <a:lnTo>
                    <a:pt x="1577" y="670"/>
                  </a:lnTo>
                  <a:lnTo>
                    <a:pt x="1577" y="670"/>
                  </a:lnTo>
                  <a:lnTo>
                    <a:pt x="1577" y="670"/>
                  </a:lnTo>
                  <a:lnTo>
                    <a:pt x="1577" y="670"/>
                  </a:lnTo>
                  <a:lnTo>
                    <a:pt x="1577" y="670"/>
                  </a:lnTo>
                  <a:lnTo>
                    <a:pt x="1577" y="672"/>
                  </a:lnTo>
                  <a:lnTo>
                    <a:pt x="1579" y="672"/>
                  </a:lnTo>
                  <a:lnTo>
                    <a:pt x="1579" y="672"/>
                  </a:lnTo>
                  <a:lnTo>
                    <a:pt x="1579" y="672"/>
                  </a:lnTo>
                  <a:lnTo>
                    <a:pt x="1579" y="672"/>
                  </a:lnTo>
                  <a:lnTo>
                    <a:pt x="1579" y="672"/>
                  </a:lnTo>
                  <a:lnTo>
                    <a:pt x="1579" y="672"/>
                  </a:lnTo>
                  <a:lnTo>
                    <a:pt x="1579" y="672"/>
                  </a:lnTo>
                  <a:lnTo>
                    <a:pt x="1579" y="672"/>
                  </a:lnTo>
                  <a:lnTo>
                    <a:pt x="1581" y="672"/>
                  </a:lnTo>
                  <a:lnTo>
                    <a:pt x="1581" y="672"/>
                  </a:lnTo>
                  <a:lnTo>
                    <a:pt x="1581" y="672"/>
                  </a:lnTo>
                  <a:lnTo>
                    <a:pt x="1581" y="670"/>
                  </a:lnTo>
                  <a:lnTo>
                    <a:pt x="1581" y="670"/>
                  </a:lnTo>
                  <a:lnTo>
                    <a:pt x="1581" y="670"/>
                  </a:lnTo>
                  <a:lnTo>
                    <a:pt x="1581" y="670"/>
                  </a:lnTo>
                  <a:lnTo>
                    <a:pt x="1581" y="670"/>
                  </a:lnTo>
                  <a:lnTo>
                    <a:pt x="1581" y="670"/>
                  </a:lnTo>
                  <a:lnTo>
                    <a:pt x="1581" y="670"/>
                  </a:lnTo>
                  <a:lnTo>
                    <a:pt x="1581" y="672"/>
                  </a:lnTo>
                  <a:lnTo>
                    <a:pt x="1583" y="672"/>
                  </a:lnTo>
                  <a:lnTo>
                    <a:pt x="1581" y="672"/>
                  </a:lnTo>
                  <a:lnTo>
                    <a:pt x="1581" y="672"/>
                  </a:lnTo>
                  <a:lnTo>
                    <a:pt x="1581" y="672"/>
                  </a:lnTo>
                  <a:lnTo>
                    <a:pt x="1581" y="672"/>
                  </a:lnTo>
                  <a:lnTo>
                    <a:pt x="1581" y="674"/>
                  </a:lnTo>
                  <a:lnTo>
                    <a:pt x="1583" y="674"/>
                  </a:lnTo>
                  <a:lnTo>
                    <a:pt x="1583" y="674"/>
                  </a:lnTo>
                  <a:lnTo>
                    <a:pt x="1581" y="674"/>
                  </a:lnTo>
                  <a:lnTo>
                    <a:pt x="1583" y="676"/>
                  </a:lnTo>
                  <a:lnTo>
                    <a:pt x="1583" y="676"/>
                  </a:lnTo>
                  <a:lnTo>
                    <a:pt x="1583" y="678"/>
                  </a:lnTo>
                  <a:lnTo>
                    <a:pt x="1583" y="678"/>
                  </a:lnTo>
                  <a:lnTo>
                    <a:pt x="1583" y="678"/>
                  </a:lnTo>
                  <a:lnTo>
                    <a:pt x="1583" y="680"/>
                  </a:lnTo>
                  <a:lnTo>
                    <a:pt x="1585" y="680"/>
                  </a:lnTo>
                  <a:lnTo>
                    <a:pt x="1585" y="680"/>
                  </a:lnTo>
                  <a:lnTo>
                    <a:pt x="1585" y="680"/>
                  </a:lnTo>
                  <a:lnTo>
                    <a:pt x="1585" y="680"/>
                  </a:lnTo>
                  <a:lnTo>
                    <a:pt x="1585" y="682"/>
                  </a:lnTo>
                  <a:lnTo>
                    <a:pt x="1585" y="682"/>
                  </a:lnTo>
                  <a:lnTo>
                    <a:pt x="1585" y="682"/>
                  </a:lnTo>
                  <a:lnTo>
                    <a:pt x="1585" y="682"/>
                  </a:lnTo>
                  <a:lnTo>
                    <a:pt x="1585" y="684"/>
                  </a:lnTo>
                  <a:lnTo>
                    <a:pt x="1585" y="684"/>
                  </a:lnTo>
                  <a:lnTo>
                    <a:pt x="1587" y="689"/>
                  </a:lnTo>
                  <a:lnTo>
                    <a:pt x="1589" y="689"/>
                  </a:lnTo>
                  <a:lnTo>
                    <a:pt x="1591" y="689"/>
                  </a:lnTo>
                  <a:close/>
                  <a:moveTo>
                    <a:pt x="1585" y="707"/>
                  </a:moveTo>
                  <a:lnTo>
                    <a:pt x="1585" y="707"/>
                  </a:lnTo>
                  <a:lnTo>
                    <a:pt x="1585" y="707"/>
                  </a:lnTo>
                  <a:lnTo>
                    <a:pt x="1585" y="707"/>
                  </a:lnTo>
                  <a:lnTo>
                    <a:pt x="1585" y="705"/>
                  </a:lnTo>
                  <a:lnTo>
                    <a:pt x="1585" y="705"/>
                  </a:lnTo>
                  <a:lnTo>
                    <a:pt x="1583" y="705"/>
                  </a:lnTo>
                  <a:lnTo>
                    <a:pt x="1583" y="703"/>
                  </a:lnTo>
                  <a:lnTo>
                    <a:pt x="1585" y="703"/>
                  </a:lnTo>
                  <a:lnTo>
                    <a:pt x="1585" y="703"/>
                  </a:lnTo>
                  <a:lnTo>
                    <a:pt x="1583" y="701"/>
                  </a:lnTo>
                  <a:lnTo>
                    <a:pt x="1583" y="701"/>
                  </a:lnTo>
                  <a:lnTo>
                    <a:pt x="1583" y="701"/>
                  </a:lnTo>
                  <a:lnTo>
                    <a:pt x="1581" y="701"/>
                  </a:lnTo>
                  <a:lnTo>
                    <a:pt x="1581" y="701"/>
                  </a:lnTo>
                  <a:lnTo>
                    <a:pt x="1581" y="699"/>
                  </a:lnTo>
                  <a:lnTo>
                    <a:pt x="1581" y="699"/>
                  </a:lnTo>
                  <a:lnTo>
                    <a:pt x="1581" y="697"/>
                  </a:lnTo>
                  <a:lnTo>
                    <a:pt x="1581" y="697"/>
                  </a:lnTo>
                  <a:lnTo>
                    <a:pt x="1581" y="697"/>
                  </a:lnTo>
                  <a:lnTo>
                    <a:pt x="1581" y="697"/>
                  </a:lnTo>
                  <a:lnTo>
                    <a:pt x="1581" y="697"/>
                  </a:lnTo>
                  <a:lnTo>
                    <a:pt x="1583" y="699"/>
                  </a:lnTo>
                  <a:lnTo>
                    <a:pt x="1585" y="699"/>
                  </a:lnTo>
                  <a:lnTo>
                    <a:pt x="1585" y="699"/>
                  </a:lnTo>
                  <a:lnTo>
                    <a:pt x="1585" y="699"/>
                  </a:lnTo>
                  <a:lnTo>
                    <a:pt x="1585" y="697"/>
                  </a:lnTo>
                  <a:lnTo>
                    <a:pt x="1585" y="697"/>
                  </a:lnTo>
                  <a:lnTo>
                    <a:pt x="1583" y="695"/>
                  </a:lnTo>
                  <a:lnTo>
                    <a:pt x="1581" y="695"/>
                  </a:lnTo>
                  <a:lnTo>
                    <a:pt x="1581" y="695"/>
                  </a:lnTo>
                  <a:lnTo>
                    <a:pt x="1581" y="695"/>
                  </a:lnTo>
                  <a:lnTo>
                    <a:pt x="1583" y="695"/>
                  </a:lnTo>
                  <a:lnTo>
                    <a:pt x="1583" y="695"/>
                  </a:lnTo>
                  <a:lnTo>
                    <a:pt x="1583" y="693"/>
                  </a:lnTo>
                  <a:lnTo>
                    <a:pt x="1581" y="693"/>
                  </a:lnTo>
                  <a:lnTo>
                    <a:pt x="1581" y="693"/>
                  </a:lnTo>
                  <a:lnTo>
                    <a:pt x="1581" y="693"/>
                  </a:lnTo>
                  <a:lnTo>
                    <a:pt x="1581" y="693"/>
                  </a:lnTo>
                  <a:lnTo>
                    <a:pt x="1583" y="693"/>
                  </a:lnTo>
                  <a:lnTo>
                    <a:pt x="1583" y="691"/>
                  </a:lnTo>
                  <a:lnTo>
                    <a:pt x="1583" y="691"/>
                  </a:lnTo>
                  <a:lnTo>
                    <a:pt x="1583" y="691"/>
                  </a:lnTo>
                  <a:lnTo>
                    <a:pt x="1581" y="691"/>
                  </a:lnTo>
                  <a:lnTo>
                    <a:pt x="1581" y="691"/>
                  </a:lnTo>
                  <a:lnTo>
                    <a:pt x="1581" y="689"/>
                  </a:lnTo>
                  <a:lnTo>
                    <a:pt x="1581" y="689"/>
                  </a:lnTo>
                  <a:lnTo>
                    <a:pt x="1581" y="689"/>
                  </a:lnTo>
                  <a:lnTo>
                    <a:pt x="1581" y="689"/>
                  </a:lnTo>
                  <a:lnTo>
                    <a:pt x="1579" y="689"/>
                  </a:lnTo>
                  <a:lnTo>
                    <a:pt x="1579" y="689"/>
                  </a:lnTo>
                  <a:lnTo>
                    <a:pt x="1579" y="689"/>
                  </a:lnTo>
                  <a:lnTo>
                    <a:pt x="1581" y="689"/>
                  </a:lnTo>
                  <a:lnTo>
                    <a:pt x="1581" y="687"/>
                  </a:lnTo>
                  <a:lnTo>
                    <a:pt x="1581" y="687"/>
                  </a:lnTo>
                  <a:lnTo>
                    <a:pt x="1581" y="684"/>
                  </a:lnTo>
                  <a:lnTo>
                    <a:pt x="1581" y="684"/>
                  </a:lnTo>
                  <a:lnTo>
                    <a:pt x="1581" y="684"/>
                  </a:lnTo>
                  <a:lnTo>
                    <a:pt x="1579" y="684"/>
                  </a:lnTo>
                  <a:lnTo>
                    <a:pt x="1577" y="682"/>
                  </a:lnTo>
                  <a:lnTo>
                    <a:pt x="1579" y="682"/>
                  </a:lnTo>
                  <a:lnTo>
                    <a:pt x="1581" y="682"/>
                  </a:lnTo>
                  <a:lnTo>
                    <a:pt x="1581" y="682"/>
                  </a:lnTo>
                  <a:lnTo>
                    <a:pt x="1581" y="684"/>
                  </a:lnTo>
                  <a:lnTo>
                    <a:pt x="1583" y="684"/>
                  </a:lnTo>
                  <a:lnTo>
                    <a:pt x="1583" y="684"/>
                  </a:lnTo>
                  <a:lnTo>
                    <a:pt x="1583" y="684"/>
                  </a:lnTo>
                  <a:lnTo>
                    <a:pt x="1583" y="684"/>
                  </a:lnTo>
                  <a:lnTo>
                    <a:pt x="1583" y="684"/>
                  </a:lnTo>
                  <a:lnTo>
                    <a:pt x="1583" y="682"/>
                  </a:lnTo>
                  <a:lnTo>
                    <a:pt x="1583" y="682"/>
                  </a:lnTo>
                  <a:lnTo>
                    <a:pt x="1583" y="680"/>
                  </a:lnTo>
                  <a:lnTo>
                    <a:pt x="1583" y="680"/>
                  </a:lnTo>
                  <a:lnTo>
                    <a:pt x="1583" y="680"/>
                  </a:lnTo>
                  <a:lnTo>
                    <a:pt x="1583" y="680"/>
                  </a:lnTo>
                  <a:lnTo>
                    <a:pt x="1581" y="678"/>
                  </a:lnTo>
                  <a:lnTo>
                    <a:pt x="1581" y="678"/>
                  </a:lnTo>
                  <a:lnTo>
                    <a:pt x="1581" y="678"/>
                  </a:lnTo>
                  <a:lnTo>
                    <a:pt x="1581" y="678"/>
                  </a:lnTo>
                  <a:lnTo>
                    <a:pt x="1581" y="674"/>
                  </a:lnTo>
                  <a:lnTo>
                    <a:pt x="1581" y="674"/>
                  </a:lnTo>
                  <a:lnTo>
                    <a:pt x="1579" y="674"/>
                  </a:lnTo>
                  <a:lnTo>
                    <a:pt x="1579" y="674"/>
                  </a:lnTo>
                  <a:lnTo>
                    <a:pt x="1579" y="674"/>
                  </a:lnTo>
                  <a:lnTo>
                    <a:pt x="1579" y="674"/>
                  </a:lnTo>
                  <a:lnTo>
                    <a:pt x="1577" y="674"/>
                  </a:lnTo>
                  <a:lnTo>
                    <a:pt x="1577" y="674"/>
                  </a:lnTo>
                  <a:lnTo>
                    <a:pt x="1577" y="674"/>
                  </a:lnTo>
                  <a:lnTo>
                    <a:pt x="1577" y="674"/>
                  </a:lnTo>
                  <a:lnTo>
                    <a:pt x="1577" y="676"/>
                  </a:lnTo>
                  <a:lnTo>
                    <a:pt x="1577" y="676"/>
                  </a:lnTo>
                  <a:lnTo>
                    <a:pt x="1577" y="676"/>
                  </a:lnTo>
                  <a:lnTo>
                    <a:pt x="1577" y="678"/>
                  </a:lnTo>
                  <a:lnTo>
                    <a:pt x="1577" y="678"/>
                  </a:lnTo>
                  <a:lnTo>
                    <a:pt x="1577" y="678"/>
                  </a:lnTo>
                  <a:lnTo>
                    <a:pt x="1577" y="678"/>
                  </a:lnTo>
                  <a:lnTo>
                    <a:pt x="1577" y="678"/>
                  </a:lnTo>
                  <a:lnTo>
                    <a:pt x="1577" y="678"/>
                  </a:lnTo>
                  <a:lnTo>
                    <a:pt x="1577" y="680"/>
                  </a:lnTo>
                  <a:lnTo>
                    <a:pt x="1577" y="680"/>
                  </a:lnTo>
                  <a:lnTo>
                    <a:pt x="1577" y="680"/>
                  </a:lnTo>
                  <a:lnTo>
                    <a:pt x="1577" y="680"/>
                  </a:lnTo>
                  <a:lnTo>
                    <a:pt x="1577" y="682"/>
                  </a:lnTo>
                  <a:lnTo>
                    <a:pt x="1575" y="682"/>
                  </a:lnTo>
                  <a:lnTo>
                    <a:pt x="1575" y="682"/>
                  </a:lnTo>
                  <a:lnTo>
                    <a:pt x="1575" y="682"/>
                  </a:lnTo>
                  <a:lnTo>
                    <a:pt x="1575" y="682"/>
                  </a:lnTo>
                  <a:lnTo>
                    <a:pt x="1577" y="680"/>
                  </a:lnTo>
                  <a:lnTo>
                    <a:pt x="1577" y="680"/>
                  </a:lnTo>
                  <a:lnTo>
                    <a:pt x="1577" y="678"/>
                  </a:lnTo>
                  <a:lnTo>
                    <a:pt x="1577" y="678"/>
                  </a:lnTo>
                  <a:lnTo>
                    <a:pt x="1577" y="678"/>
                  </a:lnTo>
                  <a:lnTo>
                    <a:pt x="1577" y="678"/>
                  </a:lnTo>
                  <a:lnTo>
                    <a:pt x="1577" y="678"/>
                  </a:lnTo>
                  <a:lnTo>
                    <a:pt x="1577" y="678"/>
                  </a:lnTo>
                  <a:lnTo>
                    <a:pt x="1577" y="676"/>
                  </a:lnTo>
                  <a:lnTo>
                    <a:pt x="1577" y="676"/>
                  </a:lnTo>
                  <a:lnTo>
                    <a:pt x="1577" y="676"/>
                  </a:lnTo>
                  <a:lnTo>
                    <a:pt x="1577" y="676"/>
                  </a:lnTo>
                  <a:lnTo>
                    <a:pt x="1575" y="676"/>
                  </a:lnTo>
                  <a:lnTo>
                    <a:pt x="1575" y="676"/>
                  </a:lnTo>
                  <a:lnTo>
                    <a:pt x="1575" y="674"/>
                  </a:lnTo>
                  <a:lnTo>
                    <a:pt x="1575" y="674"/>
                  </a:lnTo>
                  <a:lnTo>
                    <a:pt x="1575" y="674"/>
                  </a:lnTo>
                  <a:lnTo>
                    <a:pt x="1575" y="674"/>
                  </a:lnTo>
                  <a:lnTo>
                    <a:pt x="1575" y="674"/>
                  </a:lnTo>
                  <a:lnTo>
                    <a:pt x="1573" y="672"/>
                  </a:lnTo>
                  <a:lnTo>
                    <a:pt x="1573" y="672"/>
                  </a:lnTo>
                  <a:lnTo>
                    <a:pt x="1573" y="674"/>
                  </a:lnTo>
                  <a:lnTo>
                    <a:pt x="1573" y="672"/>
                  </a:lnTo>
                  <a:lnTo>
                    <a:pt x="1571" y="670"/>
                  </a:lnTo>
                  <a:lnTo>
                    <a:pt x="1571" y="670"/>
                  </a:lnTo>
                  <a:lnTo>
                    <a:pt x="1569" y="670"/>
                  </a:lnTo>
                  <a:lnTo>
                    <a:pt x="1569" y="670"/>
                  </a:lnTo>
                  <a:lnTo>
                    <a:pt x="1567" y="670"/>
                  </a:lnTo>
                  <a:lnTo>
                    <a:pt x="1567" y="670"/>
                  </a:lnTo>
                  <a:lnTo>
                    <a:pt x="1565" y="670"/>
                  </a:lnTo>
                  <a:lnTo>
                    <a:pt x="1563" y="670"/>
                  </a:lnTo>
                  <a:lnTo>
                    <a:pt x="1565" y="670"/>
                  </a:lnTo>
                  <a:lnTo>
                    <a:pt x="1565" y="670"/>
                  </a:lnTo>
                  <a:lnTo>
                    <a:pt x="1565" y="672"/>
                  </a:lnTo>
                  <a:lnTo>
                    <a:pt x="1567" y="672"/>
                  </a:lnTo>
                  <a:lnTo>
                    <a:pt x="1567" y="672"/>
                  </a:lnTo>
                  <a:lnTo>
                    <a:pt x="1569" y="672"/>
                  </a:lnTo>
                  <a:lnTo>
                    <a:pt x="1569" y="672"/>
                  </a:lnTo>
                  <a:lnTo>
                    <a:pt x="1569" y="672"/>
                  </a:lnTo>
                  <a:lnTo>
                    <a:pt x="1569" y="674"/>
                  </a:lnTo>
                  <a:lnTo>
                    <a:pt x="1569" y="674"/>
                  </a:lnTo>
                  <a:lnTo>
                    <a:pt x="1569" y="674"/>
                  </a:lnTo>
                  <a:lnTo>
                    <a:pt x="1567" y="674"/>
                  </a:lnTo>
                  <a:lnTo>
                    <a:pt x="1567" y="674"/>
                  </a:lnTo>
                  <a:lnTo>
                    <a:pt x="1565" y="672"/>
                  </a:lnTo>
                  <a:lnTo>
                    <a:pt x="1565" y="672"/>
                  </a:lnTo>
                  <a:lnTo>
                    <a:pt x="1563" y="672"/>
                  </a:lnTo>
                  <a:lnTo>
                    <a:pt x="1563" y="674"/>
                  </a:lnTo>
                  <a:lnTo>
                    <a:pt x="1563" y="674"/>
                  </a:lnTo>
                  <a:lnTo>
                    <a:pt x="1565" y="674"/>
                  </a:lnTo>
                  <a:lnTo>
                    <a:pt x="1565" y="676"/>
                  </a:lnTo>
                  <a:lnTo>
                    <a:pt x="1565" y="676"/>
                  </a:lnTo>
                  <a:lnTo>
                    <a:pt x="1565" y="676"/>
                  </a:lnTo>
                  <a:lnTo>
                    <a:pt x="1565" y="678"/>
                  </a:lnTo>
                  <a:lnTo>
                    <a:pt x="1565" y="676"/>
                  </a:lnTo>
                  <a:lnTo>
                    <a:pt x="1563" y="676"/>
                  </a:lnTo>
                  <a:lnTo>
                    <a:pt x="1563" y="674"/>
                  </a:lnTo>
                  <a:lnTo>
                    <a:pt x="1563" y="674"/>
                  </a:lnTo>
                  <a:lnTo>
                    <a:pt x="1563" y="674"/>
                  </a:lnTo>
                  <a:lnTo>
                    <a:pt x="1561" y="674"/>
                  </a:lnTo>
                  <a:lnTo>
                    <a:pt x="1561" y="674"/>
                  </a:lnTo>
                  <a:lnTo>
                    <a:pt x="1561" y="676"/>
                  </a:lnTo>
                  <a:lnTo>
                    <a:pt x="1561" y="676"/>
                  </a:lnTo>
                  <a:lnTo>
                    <a:pt x="1563" y="678"/>
                  </a:lnTo>
                  <a:lnTo>
                    <a:pt x="1563" y="678"/>
                  </a:lnTo>
                  <a:lnTo>
                    <a:pt x="1563" y="680"/>
                  </a:lnTo>
                  <a:lnTo>
                    <a:pt x="1563" y="680"/>
                  </a:lnTo>
                  <a:lnTo>
                    <a:pt x="1563" y="682"/>
                  </a:lnTo>
                  <a:lnTo>
                    <a:pt x="1563" y="682"/>
                  </a:lnTo>
                  <a:lnTo>
                    <a:pt x="1565" y="682"/>
                  </a:lnTo>
                  <a:lnTo>
                    <a:pt x="1565" y="684"/>
                  </a:lnTo>
                  <a:lnTo>
                    <a:pt x="1567" y="684"/>
                  </a:lnTo>
                  <a:lnTo>
                    <a:pt x="1567" y="684"/>
                  </a:lnTo>
                  <a:lnTo>
                    <a:pt x="1569" y="684"/>
                  </a:lnTo>
                  <a:lnTo>
                    <a:pt x="1569" y="682"/>
                  </a:lnTo>
                  <a:lnTo>
                    <a:pt x="1567" y="682"/>
                  </a:lnTo>
                  <a:lnTo>
                    <a:pt x="1569" y="682"/>
                  </a:lnTo>
                  <a:lnTo>
                    <a:pt x="1569" y="682"/>
                  </a:lnTo>
                  <a:lnTo>
                    <a:pt x="1569" y="682"/>
                  </a:lnTo>
                  <a:lnTo>
                    <a:pt x="1569" y="682"/>
                  </a:lnTo>
                  <a:lnTo>
                    <a:pt x="1569" y="684"/>
                  </a:lnTo>
                  <a:lnTo>
                    <a:pt x="1569" y="684"/>
                  </a:lnTo>
                  <a:lnTo>
                    <a:pt x="1569" y="684"/>
                  </a:lnTo>
                  <a:lnTo>
                    <a:pt x="1567" y="684"/>
                  </a:lnTo>
                  <a:lnTo>
                    <a:pt x="1569" y="687"/>
                  </a:lnTo>
                  <a:lnTo>
                    <a:pt x="1569" y="687"/>
                  </a:lnTo>
                  <a:lnTo>
                    <a:pt x="1569" y="687"/>
                  </a:lnTo>
                  <a:lnTo>
                    <a:pt x="1571" y="684"/>
                  </a:lnTo>
                  <a:lnTo>
                    <a:pt x="1573" y="682"/>
                  </a:lnTo>
                  <a:lnTo>
                    <a:pt x="1573" y="682"/>
                  </a:lnTo>
                  <a:lnTo>
                    <a:pt x="1573" y="684"/>
                  </a:lnTo>
                  <a:lnTo>
                    <a:pt x="1573" y="684"/>
                  </a:lnTo>
                  <a:lnTo>
                    <a:pt x="1571" y="684"/>
                  </a:lnTo>
                  <a:lnTo>
                    <a:pt x="1571" y="684"/>
                  </a:lnTo>
                  <a:lnTo>
                    <a:pt x="1571" y="687"/>
                  </a:lnTo>
                  <a:lnTo>
                    <a:pt x="1569" y="687"/>
                  </a:lnTo>
                  <a:lnTo>
                    <a:pt x="1569" y="689"/>
                  </a:lnTo>
                  <a:lnTo>
                    <a:pt x="1569" y="689"/>
                  </a:lnTo>
                  <a:lnTo>
                    <a:pt x="1569" y="689"/>
                  </a:lnTo>
                  <a:lnTo>
                    <a:pt x="1571" y="689"/>
                  </a:lnTo>
                  <a:lnTo>
                    <a:pt x="1571" y="689"/>
                  </a:lnTo>
                  <a:lnTo>
                    <a:pt x="1571" y="689"/>
                  </a:lnTo>
                  <a:lnTo>
                    <a:pt x="1573" y="691"/>
                  </a:lnTo>
                  <a:lnTo>
                    <a:pt x="1573" y="691"/>
                  </a:lnTo>
                  <a:lnTo>
                    <a:pt x="1573" y="691"/>
                  </a:lnTo>
                  <a:lnTo>
                    <a:pt x="1575" y="691"/>
                  </a:lnTo>
                  <a:lnTo>
                    <a:pt x="1575" y="691"/>
                  </a:lnTo>
                  <a:lnTo>
                    <a:pt x="1575" y="689"/>
                  </a:lnTo>
                  <a:lnTo>
                    <a:pt x="1575" y="689"/>
                  </a:lnTo>
                  <a:lnTo>
                    <a:pt x="1575" y="689"/>
                  </a:lnTo>
                  <a:lnTo>
                    <a:pt x="1575" y="689"/>
                  </a:lnTo>
                  <a:lnTo>
                    <a:pt x="1575" y="689"/>
                  </a:lnTo>
                  <a:lnTo>
                    <a:pt x="1575" y="691"/>
                  </a:lnTo>
                  <a:lnTo>
                    <a:pt x="1577" y="691"/>
                  </a:lnTo>
                  <a:lnTo>
                    <a:pt x="1577" y="691"/>
                  </a:lnTo>
                  <a:lnTo>
                    <a:pt x="1577" y="691"/>
                  </a:lnTo>
                  <a:lnTo>
                    <a:pt x="1577" y="691"/>
                  </a:lnTo>
                  <a:lnTo>
                    <a:pt x="1577" y="691"/>
                  </a:lnTo>
                  <a:lnTo>
                    <a:pt x="1577" y="691"/>
                  </a:lnTo>
                  <a:lnTo>
                    <a:pt x="1577" y="691"/>
                  </a:lnTo>
                  <a:lnTo>
                    <a:pt x="1577" y="693"/>
                  </a:lnTo>
                  <a:lnTo>
                    <a:pt x="1577" y="693"/>
                  </a:lnTo>
                  <a:lnTo>
                    <a:pt x="1577" y="693"/>
                  </a:lnTo>
                  <a:lnTo>
                    <a:pt x="1577" y="695"/>
                  </a:lnTo>
                  <a:lnTo>
                    <a:pt x="1577" y="695"/>
                  </a:lnTo>
                  <a:lnTo>
                    <a:pt x="1579" y="697"/>
                  </a:lnTo>
                  <a:lnTo>
                    <a:pt x="1579" y="697"/>
                  </a:lnTo>
                  <a:lnTo>
                    <a:pt x="1579" y="697"/>
                  </a:lnTo>
                  <a:lnTo>
                    <a:pt x="1577" y="697"/>
                  </a:lnTo>
                  <a:lnTo>
                    <a:pt x="1577" y="697"/>
                  </a:lnTo>
                  <a:lnTo>
                    <a:pt x="1577" y="695"/>
                  </a:lnTo>
                  <a:lnTo>
                    <a:pt x="1577" y="695"/>
                  </a:lnTo>
                  <a:lnTo>
                    <a:pt x="1575" y="695"/>
                  </a:lnTo>
                  <a:lnTo>
                    <a:pt x="1575" y="697"/>
                  </a:lnTo>
                  <a:lnTo>
                    <a:pt x="1577" y="697"/>
                  </a:lnTo>
                  <a:lnTo>
                    <a:pt x="1577" y="697"/>
                  </a:lnTo>
                  <a:lnTo>
                    <a:pt x="1575" y="697"/>
                  </a:lnTo>
                  <a:lnTo>
                    <a:pt x="1575" y="699"/>
                  </a:lnTo>
                  <a:lnTo>
                    <a:pt x="1575" y="695"/>
                  </a:lnTo>
                  <a:lnTo>
                    <a:pt x="1575" y="695"/>
                  </a:lnTo>
                  <a:lnTo>
                    <a:pt x="1575" y="695"/>
                  </a:lnTo>
                  <a:lnTo>
                    <a:pt x="1573" y="695"/>
                  </a:lnTo>
                  <a:lnTo>
                    <a:pt x="1573" y="695"/>
                  </a:lnTo>
                  <a:lnTo>
                    <a:pt x="1573" y="695"/>
                  </a:lnTo>
                  <a:lnTo>
                    <a:pt x="1575" y="695"/>
                  </a:lnTo>
                  <a:lnTo>
                    <a:pt x="1575" y="695"/>
                  </a:lnTo>
                  <a:lnTo>
                    <a:pt x="1573" y="697"/>
                  </a:lnTo>
                  <a:lnTo>
                    <a:pt x="1573" y="697"/>
                  </a:lnTo>
                  <a:lnTo>
                    <a:pt x="1573" y="697"/>
                  </a:lnTo>
                  <a:lnTo>
                    <a:pt x="1573" y="695"/>
                  </a:lnTo>
                  <a:lnTo>
                    <a:pt x="1573" y="697"/>
                  </a:lnTo>
                  <a:lnTo>
                    <a:pt x="1573" y="697"/>
                  </a:lnTo>
                  <a:lnTo>
                    <a:pt x="1573" y="699"/>
                  </a:lnTo>
                  <a:lnTo>
                    <a:pt x="1573" y="699"/>
                  </a:lnTo>
                  <a:lnTo>
                    <a:pt x="1573" y="699"/>
                  </a:lnTo>
                  <a:lnTo>
                    <a:pt x="1573" y="699"/>
                  </a:lnTo>
                  <a:lnTo>
                    <a:pt x="1573" y="701"/>
                  </a:lnTo>
                  <a:lnTo>
                    <a:pt x="1573" y="701"/>
                  </a:lnTo>
                  <a:lnTo>
                    <a:pt x="1573" y="701"/>
                  </a:lnTo>
                  <a:lnTo>
                    <a:pt x="1573" y="703"/>
                  </a:lnTo>
                  <a:lnTo>
                    <a:pt x="1573" y="703"/>
                  </a:lnTo>
                  <a:lnTo>
                    <a:pt x="1573" y="703"/>
                  </a:lnTo>
                  <a:lnTo>
                    <a:pt x="1573" y="703"/>
                  </a:lnTo>
                  <a:lnTo>
                    <a:pt x="1573" y="703"/>
                  </a:lnTo>
                  <a:lnTo>
                    <a:pt x="1573" y="703"/>
                  </a:lnTo>
                  <a:lnTo>
                    <a:pt x="1575" y="701"/>
                  </a:lnTo>
                  <a:lnTo>
                    <a:pt x="1575" y="701"/>
                  </a:lnTo>
                  <a:lnTo>
                    <a:pt x="1575" y="701"/>
                  </a:lnTo>
                  <a:lnTo>
                    <a:pt x="1575" y="699"/>
                  </a:lnTo>
                  <a:lnTo>
                    <a:pt x="1577" y="701"/>
                  </a:lnTo>
                  <a:lnTo>
                    <a:pt x="1577" y="701"/>
                  </a:lnTo>
                  <a:lnTo>
                    <a:pt x="1575" y="701"/>
                  </a:lnTo>
                  <a:lnTo>
                    <a:pt x="1575" y="701"/>
                  </a:lnTo>
                  <a:lnTo>
                    <a:pt x="1575" y="703"/>
                  </a:lnTo>
                  <a:lnTo>
                    <a:pt x="1575" y="703"/>
                  </a:lnTo>
                  <a:lnTo>
                    <a:pt x="1575" y="703"/>
                  </a:lnTo>
                  <a:lnTo>
                    <a:pt x="1575" y="703"/>
                  </a:lnTo>
                  <a:lnTo>
                    <a:pt x="1575" y="703"/>
                  </a:lnTo>
                  <a:lnTo>
                    <a:pt x="1575" y="705"/>
                  </a:lnTo>
                  <a:lnTo>
                    <a:pt x="1575" y="705"/>
                  </a:lnTo>
                  <a:lnTo>
                    <a:pt x="1575" y="705"/>
                  </a:lnTo>
                  <a:lnTo>
                    <a:pt x="1575" y="707"/>
                  </a:lnTo>
                  <a:lnTo>
                    <a:pt x="1575" y="707"/>
                  </a:lnTo>
                  <a:lnTo>
                    <a:pt x="1575" y="707"/>
                  </a:lnTo>
                  <a:lnTo>
                    <a:pt x="1577" y="709"/>
                  </a:lnTo>
                  <a:lnTo>
                    <a:pt x="1577" y="709"/>
                  </a:lnTo>
                  <a:lnTo>
                    <a:pt x="1577" y="709"/>
                  </a:lnTo>
                  <a:lnTo>
                    <a:pt x="1577" y="709"/>
                  </a:lnTo>
                  <a:lnTo>
                    <a:pt x="1577" y="709"/>
                  </a:lnTo>
                  <a:lnTo>
                    <a:pt x="1577" y="711"/>
                  </a:lnTo>
                  <a:lnTo>
                    <a:pt x="1577" y="711"/>
                  </a:lnTo>
                  <a:lnTo>
                    <a:pt x="1577" y="711"/>
                  </a:lnTo>
                  <a:lnTo>
                    <a:pt x="1577" y="711"/>
                  </a:lnTo>
                  <a:lnTo>
                    <a:pt x="1579" y="711"/>
                  </a:lnTo>
                  <a:lnTo>
                    <a:pt x="1579" y="713"/>
                  </a:lnTo>
                  <a:lnTo>
                    <a:pt x="1577" y="713"/>
                  </a:lnTo>
                  <a:lnTo>
                    <a:pt x="1579" y="713"/>
                  </a:lnTo>
                  <a:lnTo>
                    <a:pt x="1579" y="713"/>
                  </a:lnTo>
                  <a:lnTo>
                    <a:pt x="1581" y="713"/>
                  </a:lnTo>
                  <a:lnTo>
                    <a:pt x="1581" y="715"/>
                  </a:lnTo>
                  <a:lnTo>
                    <a:pt x="1581" y="715"/>
                  </a:lnTo>
                  <a:lnTo>
                    <a:pt x="1581" y="715"/>
                  </a:lnTo>
                  <a:lnTo>
                    <a:pt x="1583" y="715"/>
                  </a:lnTo>
                  <a:lnTo>
                    <a:pt x="1583" y="715"/>
                  </a:lnTo>
                  <a:lnTo>
                    <a:pt x="1581" y="713"/>
                  </a:lnTo>
                  <a:lnTo>
                    <a:pt x="1581" y="713"/>
                  </a:lnTo>
                  <a:lnTo>
                    <a:pt x="1581" y="713"/>
                  </a:lnTo>
                  <a:lnTo>
                    <a:pt x="1581" y="711"/>
                  </a:lnTo>
                  <a:lnTo>
                    <a:pt x="1581" y="711"/>
                  </a:lnTo>
                  <a:lnTo>
                    <a:pt x="1581" y="711"/>
                  </a:lnTo>
                  <a:lnTo>
                    <a:pt x="1581" y="711"/>
                  </a:lnTo>
                  <a:lnTo>
                    <a:pt x="1581" y="709"/>
                  </a:lnTo>
                  <a:lnTo>
                    <a:pt x="1581" y="709"/>
                  </a:lnTo>
                  <a:lnTo>
                    <a:pt x="1579" y="709"/>
                  </a:lnTo>
                  <a:lnTo>
                    <a:pt x="1579" y="709"/>
                  </a:lnTo>
                  <a:lnTo>
                    <a:pt x="1579" y="709"/>
                  </a:lnTo>
                  <a:lnTo>
                    <a:pt x="1579" y="709"/>
                  </a:lnTo>
                  <a:lnTo>
                    <a:pt x="1579" y="709"/>
                  </a:lnTo>
                  <a:lnTo>
                    <a:pt x="1577" y="707"/>
                  </a:lnTo>
                  <a:lnTo>
                    <a:pt x="1577" y="707"/>
                  </a:lnTo>
                  <a:lnTo>
                    <a:pt x="1579" y="707"/>
                  </a:lnTo>
                  <a:lnTo>
                    <a:pt x="1579" y="705"/>
                  </a:lnTo>
                  <a:lnTo>
                    <a:pt x="1579" y="703"/>
                  </a:lnTo>
                  <a:lnTo>
                    <a:pt x="1579" y="703"/>
                  </a:lnTo>
                  <a:lnTo>
                    <a:pt x="1579" y="701"/>
                  </a:lnTo>
                  <a:lnTo>
                    <a:pt x="1579" y="701"/>
                  </a:lnTo>
                  <a:lnTo>
                    <a:pt x="1579" y="699"/>
                  </a:lnTo>
                  <a:lnTo>
                    <a:pt x="1579" y="699"/>
                  </a:lnTo>
                  <a:lnTo>
                    <a:pt x="1581" y="701"/>
                  </a:lnTo>
                  <a:lnTo>
                    <a:pt x="1581" y="703"/>
                  </a:lnTo>
                  <a:lnTo>
                    <a:pt x="1581" y="705"/>
                  </a:lnTo>
                  <a:lnTo>
                    <a:pt x="1581" y="705"/>
                  </a:lnTo>
                  <a:lnTo>
                    <a:pt x="1581" y="705"/>
                  </a:lnTo>
                  <a:lnTo>
                    <a:pt x="1583" y="705"/>
                  </a:lnTo>
                  <a:lnTo>
                    <a:pt x="1583" y="709"/>
                  </a:lnTo>
                  <a:lnTo>
                    <a:pt x="1583" y="709"/>
                  </a:lnTo>
                  <a:lnTo>
                    <a:pt x="1583" y="709"/>
                  </a:lnTo>
                  <a:lnTo>
                    <a:pt x="1583" y="711"/>
                  </a:lnTo>
                  <a:lnTo>
                    <a:pt x="1585" y="711"/>
                  </a:lnTo>
                  <a:lnTo>
                    <a:pt x="1585" y="709"/>
                  </a:lnTo>
                  <a:lnTo>
                    <a:pt x="1585" y="709"/>
                  </a:lnTo>
                  <a:lnTo>
                    <a:pt x="1585" y="709"/>
                  </a:lnTo>
                  <a:lnTo>
                    <a:pt x="1585" y="709"/>
                  </a:lnTo>
                  <a:lnTo>
                    <a:pt x="1585" y="707"/>
                  </a:lnTo>
                  <a:close/>
                  <a:moveTo>
                    <a:pt x="1618" y="682"/>
                  </a:moveTo>
                  <a:lnTo>
                    <a:pt x="1616" y="682"/>
                  </a:lnTo>
                  <a:lnTo>
                    <a:pt x="1616" y="680"/>
                  </a:lnTo>
                  <a:lnTo>
                    <a:pt x="1616" y="680"/>
                  </a:lnTo>
                  <a:lnTo>
                    <a:pt x="1616" y="680"/>
                  </a:lnTo>
                  <a:lnTo>
                    <a:pt x="1614" y="680"/>
                  </a:lnTo>
                  <a:lnTo>
                    <a:pt x="1612" y="680"/>
                  </a:lnTo>
                  <a:lnTo>
                    <a:pt x="1612" y="682"/>
                  </a:lnTo>
                  <a:lnTo>
                    <a:pt x="1612" y="682"/>
                  </a:lnTo>
                  <a:lnTo>
                    <a:pt x="1610" y="682"/>
                  </a:lnTo>
                  <a:lnTo>
                    <a:pt x="1610" y="682"/>
                  </a:lnTo>
                  <a:lnTo>
                    <a:pt x="1610" y="682"/>
                  </a:lnTo>
                  <a:lnTo>
                    <a:pt x="1608" y="682"/>
                  </a:lnTo>
                  <a:lnTo>
                    <a:pt x="1608" y="682"/>
                  </a:lnTo>
                  <a:lnTo>
                    <a:pt x="1608" y="684"/>
                  </a:lnTo>
                  <a:lnTo>
                    <a:pt x="1606" y="684"/>
                  </a:lnTo>
                  <a:lnTo>
                    <a:pt x="1606" y="689"/>
                  </a:lnTo>
                  <a:lnTo>
                    <a:pt x="1606" y="689"/>
                  </a:lnTo>
                  <a:lnTo>
                    <a:pt x="1606" y="691"/>
                  </a:lnTo>
                  <a:lnTo>
                    <a:pt x="1608" y="691"/>
                  </a:lnTo>
                  <a:lnTo>
                    <a:pt x="1612" y="693"/>
                  </a:lnTo>
                  <a:lnTo>
                    <a:pt x="1614" y="693"/>
                  </a:lnTo>
                  <a:lnTo>
                    <a:pt x="1616" y="691"/>
                  </a:lnTo>
                  <a:lnTo>
                    <a:pt x="1618" y="691"/>
                  </a:lnTo>
                  <a:lnTo>
                    <a:pt x="1618" y="689"/>
                  </a:lnTo>
                  <a:lnTo>
                    <a:pt x="1618" y="689"/>
                  </a:lnTo>
                  <a:lnTo>
                    <a:pt x="1618" y="687"/>
                  </a:lnTo>
                  <a:lnTo>
                    <a:pt x="1616" y="687"/>
                  </a:lnTo>
                  <a:lnTo>
                    <a:pt x="1616" y="684"/>
                  </a:lnTo>
                  <a:lnTo>
                    <a:pt x="1616" y="684"/>
                  </a:lnTo>
                  <a:lnTo>
                    <a:pt x="1618" y="682"/>
                  </a:lnTo>
                  <a:lnTo>
                    <a:pt x="1618" y="682"/>
                  </a:lnTo>
                  <a:close/>
                  <a:moveTo>
                    <a:pt x="1526" y="670"/>
                  </a:moveTo>
                  <a:lnTo>
                    <a:pt x="1526" y="670"/>
                  </a:lnTo>
                  <a:lnTo>
                    <a:pt x="1524" y="670"/>
                  </a:lnTo>
                  <a:lnTo>
                    <a:pt x="1524" y="670"/>
                  </a:lnTo>
                  <a:lnTo>
                    <a:pt x="1524" y="668"/>
                  </a:lnTo>
                  <a:lnTo>
                    <a:pt x="1524" y="668"/>
                  </a:lnTo>
                  <a:lnTo>
                    <a:pt x="1524" y="666"/>
                  </a:lnTo>
                  <a:lnTo>
                    <a:pt x="1522" y="666"/>
                  </a:lnTo>
                  <a:lnTo>
                    <a:pt x="1524" y="666"/>
                  </a:lnTo>
                  <a:lnTo>
                    <a:pt x="1524" y="666"/>
                  </a:lnTo>
                  <a:lnTo>
                    <a:pt x="1524" y="666"/>
                  </a:lnTo>
                  <a:lnTo>
                    <a:pt x="1524" y="666"/>
                  </a:lnTo>
                  <a:lnTo>
                    <a:pt x="1522" y="664"/>
                  </a:lnTo>
                  <a:lnTo>
                    <a:pt x="1522" y="664"/>
                  </a:lnTo>
                  <a:lnTo>
                    <a:pt x="1518" y="662"/>
                  </a:lnTo>
                  <a:lnTo>
                    <a:pt x="1516" y="662"/>
                  </a:lnTo>
                  <a:lnTo>
                    <a:pt x="1516" y="664"/>
                  </a:lnTo>
                  <a:lnTo>
                    <a:pt x="1516" y="664"/>
                  </a:lnTo>
                  <a:lnTo>
                    <a:pt x="1516" y="666"/>
                  </a:lnTo>
                  <a:lnTo>
                    <a:pt x="1516" y="666"/>
                  </a:lnTo>
                  <a:lnTo>
                    <a:pt x="1516" y="666"/>
                  </a:lnTo>
                  <a:lnTo>
                    <a:pt x="1516" y="668"/>
                  </a:lnTo>
                  <a:lnTo>
                    <a:pt x="1516" y="668"/>
                  </a:lnTo>
                  <a:lnTo>
                    <a:pt x="1518" y="668"/>
                  </a:lnTo>
                  <a:lnTo>
                    <a:pt x="1518" y="668"/>
                  </a:lnTo>
                  <a:lnTo>
                    <a:pt x="1518" y="668"/>
                  </a:lnTo>
                  <a:lnTo>
                    <a:pt x="1518" y="668"/>
                  </a:lnTo>
                  <a:lnTo>
                    <a:pt x="1518" y="670"/>
                  </a:lnTo>
                  <a:lnTo>
                    <a:pt x="1518" y="670"/>
                  </a:lnTo>
                  <a:lnTo>
                    <a:pt x="1518" y="670"/>
                  </a:lnTo>
                  <a:lnTo>
                    <a:pt x="1520" y="670"/>
                  </a:lnTo>
                  <a:lnTo>
                    <a:pt x="1522" y="670"/>
                  </a:lnTo>
                  <a:lnTo>
                    <a:pt x="1522" y="670"/>
                  </a:lnTo>
                  <a:lnTo>
                    <a:pt x="1522" y="672"/>
                  </a:lnTo>
                  <a:lnTo>
                    <a:pt x="1520" y="674"/>
                  </a:lnTo>
                  <a:lnTo>
                    <a:pt x="1520" y="674"/>
                  </a:lnTo>
                  <a:lnTo>
                    <a:pt x="1520" y="674"/>
                  </a:lnTo>
                  <a:lnTo>
                    <a:pt x="1520" y="676"/>
                  </a:lnTo>
                  <a:lnTo>
                    <a:pt x="1520" y="676"/>
                  </a:lnTo>
                  <a:lnTo>
                    <a:pt x="1520" y="680"/>
                  </a:lnTo>
                  <a:lnTo>
                    <a:pt x="1524" y="678"/>
                  </a:lnTo>
                  <a:lnTo>
                    <a:pt x="1524" y="678"/>
                  </a:lnTo>
                  <a:lnTo>
                    <a:pt x="1524" y="678"/>
                  </a:lnTo>
                  <a:lnTo>
                    <a:pt x="1524" y="678"/>
                  </a:lnTo>
                  <a:lnTo>
                    <a:pt x="1526" y="678"/>
                  </a:lnTo>
                  <a:lnTo>
                    <a:pt x="1526" y="678"/>
                  </a:lnTo>
                  <a:lnTo>
                    <a:pt x="1526" y="676"/>
                  </a:lnTo>
                  <a:lnTo>
                    <a:pt x="1526" y="672"/>
                  </a:lnTo>
                  <a:lnTo>
                    <a:pt x="1526" y="670"/>
                  </a:lnTo>
                  <a:lnTo>
                    <a:pt x="1526" y="670"/>
                  </a:lnTo>
                  <a:close/>
                  <a:moveTo>
                    <a:pt x="1239" y="566"/>
                  </a:moveTo>
                  <a:lnTo>
                    <a:pt x="1239" y="566"/>
                  </a:lnTo>
                  <a:lnTo>
                    <a:pt x="1239" y="566"/>
                  </a:lnTo>
                  <a:lnTo>
                    <a:pt x="1239" y="566"/>
                  </a:lnTo>
                  <a:lnTo>
                    <a:pt x="1239" y="566"/>
                  </a:lnTo>
                  <a:lnTo>
                    <a:pt x="1237" y="566"/>
                  </a:lnTo>
                  <a:lnTo>
                    <a:pt x="1239" y="566"/>
                  </a:lnTo>
                  <a:lnTo>
                    <a:pt x="1239" y="566"/>
                  </a:lnTo>
                  <a:lnTo>
                    <a:pt x="1239" y="566"/>
                  </a:lnTo>
                  <a:lnTo>
                    <a:pt x="1239" y="566"/>
                  </a:lnTo>
                  <a:lnTo>
                    <a:pt x="1239" y="566"/>
                  </a:lnTo>
                  <a:lnTo>
                    <a:pt x="1239" y="566"/>
                  </a:lnTo>
                  <a:lnTo>
                    <a:pt x="1239" y="566"/>
                  </a:lnTo>
                  <a:lnTo>
                    <a:pt x="1239" y="566"/>
                  </a:lnTo>
                  <a:close/>
                  <a:moveTo>
                    <a:pt x="1534" y="607"/>
                  </a:moveTo>
                  <a:lnTo>
                    <a:pt x="1534" y="609"/>
                  </a:lnTo>
                  <a:lnTo>
                    <a:pt x="1536" y="609"/>
                  </a:lnTo>
                  <a:lnTo>
                    <a:pt x="1536" y="609"/>
                  </a:lnTo>
                  <a:lnTo>
                    <a:pt x="1536" y="609"/>
                  </a:lnTo>
                  <a:lnTo>
                    <a:pt x="1538" y="609"/>
                  </a:lnTo>
                  <a:lnTo>
                    <a:pt x="1538" y="609"/>
                  </a:lnTo>
                  <a:lnTo>
                    <a:pt x="1544" y="607"/>
                  </a:lnTo>
                  <a:lnTo>
                    <a:pt x="1544" y="607"/>
                  </a:lnTo>
                  <a:lnTo>
                    <a:pt x="1540" y="605"/>
                  </a:lnTo>
                  <a:lnTo>
                    <a:pt x="1538" y="603"/>
                  </a:lnTo>
                  <a:lnTo>
                    <a:pt x="1536" y="603"/>
                  </a:lnTo>
                  <a:lnTo>
                    <a:pt x="1534" y="603"/>
                  </a:lnTo>
                  <a:lnTo>
                    <a:pt x="1534" y="603"/>
                  </a:lnTo>
                  <a:lnTo>
                    <a:pt x="1534" y="605"/>
                  </a:lnTo>
                  <a:lnTo>
                    <a:pt x="1534" y="605"/>
                  </a:lnTo>
                  <a:lnTo>
                    <a:pt x="1532" y="605"/>
                  </a:lnTo>
                  <a:lnTo>
                    <a:pt x="1532" y="605"/>
                  </a:lnTo>
                  <a:lnTo>
                    <a:pt x="1532" y="607"/>
                  </a:lnTo>
                  <a:lnTo>
                    <a:pt x="1534" y="607"/>
                  </a:lnTo>
                  <a:close/>
                  <a:moveTo>
                    <a:pt x="1565" y="709"/>
                  </a:moveTo>
                  <a:lnTo>
                    <a:pt x="1565" y="709"/>
                  </a:lnTo>
                  <a:lnTo>
                    <a:pt x="1565" y="707"/>
                  </a:lnTo>
                  <a:lnTo>
                    <a:pt x="1563" y="707"/>
                  </a:lnTo>
                  <a:lnTo>
                    <a:pt x="1563" y="707"/>
                  </a:lnTo>
                  <a:lnTo>
                    <a:pt x="1563" y="705"/>
                  </a:lnTo>
                  <a:lnTo>
                    <a:pt x="1563" y="703"/>
                  </a:lnTo>
                  <a:lnTo>
                    <a:pt x="1563" y="703"/>
                  </a:lnTo>
                  <a:lnTo>
                    <a:pt x="1563" y="703"/>
                  </a:lnTo>
                  <a:lnTo>
                    <a:pt x="1563" y="701"/>
                  </a:lnTo>
                  <a:lnTo>
                    <a:pt x="1563" y="701"/>
                  </a:lnTo>
                  <a:lnTo>
                    <a:pt x="1563" y="699"/>
                  </a:lnTo>
                  <a:lnTo>
                    <a:pt x="1561" y="699"/>
                  </a:lnTo>
                  <a:lnTo>
                    <a:pt x="1561" y="699"/>
                  </a:lnTo>
                  <a:lnTo>
                    <a:pt x="1561" y="697"/>
                  </a:lnTo>
                  <a:lnTo>
                    <a:pt x="1561" y="697"/>
                  </a:lnTo>
                  <a:lnTo>
                    <a:pt x="1561" y="697"/>
                  </a:lnTo>
                  <a:lnTo>
                    <a:pt x="1559" y="693"/>
                  </a:lnTo>
                  <a:lnTo>
                    <a:pt x="1559" y="691"/>
                  </a:lnTo>
                  <a:lnTo>
                    <a:pt x="1559" y="691"/>
                  </a:lnTo>
                  <a:lnTo>
                    <a:pt x="1559" y="691"/>
                  </a:lnTo>
                  <a:lnTo>
                    <a:pt x="1559" y="693"/>
                  </a:lnTo>
                  <a:lnTo>
                    <a:pt x="1559" y="693"/>
                  </a:lnTo>
                  <a:lnTo>
                    <a:pt x="1559" y="693"/>
                  </a:lnTo>
                  <a:lnTo>
                    <a:pt x="1561" y="693"/>
                  </a:lnTo>
                  <a:lnTo>
                    <a:pt x="1561" y="693"/>
                  </a:lnTo>
                  <a:lnTo>
                    <a:pt x="1561" y="693"/>
                  </a:lnTo>
                  <a:lnTo>
                    <a:pt x="1561" y="693"/>
                  </a:lnTo>
                  <a:lnTo>
                    <a:pt x="1559" y="691"/>
                  </a:lnTo>
                  <a:lnTo>
                    <a:pt x="1557" y="684"/>
                  </a:lnTo>
                  <a:lnTo>
                    <a:pt x="1557" y="682"/>
                  </a:lnTo>
                  <a:lnTo>
                    <a:pt x="1557" y="682"/>
                  </a:lnTo>
                  <a:lnTo>
                    <a:pt x="1557" y="682"/>
                  </a:lnTo>
                  <a:lnTo>
                    <a:pt x="1557" y="682"/>
                  </a:lnTo>
                  <a:lnTo>
                    <a:pt x="1557" y="680"/>
                  </a:lnTo>
                  <a:lnTo>
                    <a:pt x="1555" y="678"/>
                  </a:lnTo>
                  <a:lnTo>
                    <a:pt x="1555" y="678"/>
                  </a:lnTo>
                  <a:lnTo>
                    <a:pt x="1552" y="676"/>
                  </a:lnTo>
                  <a:lnTo>
                    <a:pt x="1552" y="676"/>
                  </a:lnTo>
                  <a:lnTo>
                    <a:pt x="1552" y="674"/>
                  </a:lnTo>
                  <a:lnTo>
                    <a:pt x="1552" y="674"/>
                  </a:lnTo>
                  <a:lnTo>
                    <a:pt x="1550" y="674"/>
                  </a:lnTo>
                  <a:lnTo>
                    <a:pt x="1550" y="674"/>
                  </a:lnTo>
                  <a:lnTo>
                    <a:pt x="1550" y="672"/>
                  </a:lnTo>
                  <a:lnTo>
                    <a:pt x="1550" y="672"/>
                  </a:lnTo>
                  <a:lnTo>
                    <a:pt x="1550" y="670"/>
                  </a:lnTo>
                  <a:lnTo>
                    <a:pt x="1550" y="670"/>
                  </a:lnTo>
                  <a:lnTo>
                    <a:pt x="1550" y="670"/>
                  </a:lnTo>
                  <a:lnTo>
                    <a:pt x="1550" y="670"/>
                  </a:lnTo>
                  <a:lnTo>
                    <a:pt x="1550" y="670"/>
                  </a:lnTo>
                  <a:lnTo>
                    <a:pt x="1550" y="670"/>
                  </a:lnTo>
                  <a:lnTo>
                    <a:pt x="1548" y="670"/>
                  </a:lnTo>
                  <a:lnTo>
                    <a:pt x="1548" y="668"/>
                  </a:lnTo>
                  <a:lnTo>
                    <a:pt x="1548" y="668"/>
                  </a:lnTo>
                  <a:lnTo>
                    <a:pt x="1548" y="668"/>
                  </a:lnTo>
                  <a:lnTo>
                    <a:pt x="1548" y="668"/>
                  </a:lnTo>
                  <a:lnTo>
                    <a:pt x="1548" y="668"/>
                  </a:lnTo>
                  <a:lnTo>
                    <a:pt x="1546" y="668"/>
                  </a:lnTo>
                  <a:lnTo>
                    <a:pt x="1548" y="666"/>
                  </a:lnTo>
                  <a:lnTo>
                    <a:pt x="1546" y="666"/>
                  </a:lnTo>
                  <a:lnTo>
                    <a:pt x="1546" y="664"/>
                  </a:lnTo>
                  <a:lnTo>
                    <a:pt x="1544" y="664"/>
                  </a:lnTo>
                  <a:lnTo>
                    <a:pt x="1546" y="664"/>
                  </a:lnTo>
                  <a:lnTo>
                    <a:pt x="1546" y="662"/>
                  </a:lnTo>
                  <a:lnTo>
                    <a:pt x="1544" y="662"/>
                  </a:lnTo>
                  <a:lnTo>
                    <a:pt x="1544" y="662"/>
                  </a:lnTo>
                  <a:lnTo>
                    <a:pt x="1544" y="662"/>
                  </a:lnTo>
                  <a:lnTo>
                    <a:pt x="1544" y="660"/>
                  </a:lnTo>
                  <a:lnTo>
                    <a:pt x="1544" y="660"/>
                  </a:lnTo>
                  <a:lnTo>
                    <a:pt x="1544" y="660"/>
                  </a:lnTo>
                  <a:lnTo>
                    <a:pt x="1544" y="660"/>
                  </a:lnTo>
                  <a:lnTo>
                    <a:pt x="1542" y="660"/>
                  </a:lnTo>
                  <a:lnTo>
                    <a:pt x="1542" y="660"/>
                  </a:lnTo>
                  <a:lnTo>
                    <a:pt x="1540" y="660"/>
                  </a:lnTo>
                  <a:lnTo>
                    <a:pt x="1540" y="660"/>
                  </a:lnTo>
                  <a:lnTo>
                    <a:pt x="1540" y="658"/>
                  </a:lnTo>
                  <a:lnTo>
                    <a:pt x="1540" y="658"/>
                  </a:lnTo>
                  <a:lnTo>
                    <a:pt x="1540" y="658"/>
                  </a:lnTo>
                  <a:lnTo>
                    <a:pt x="1540" y="658"/>
                  </a:lnTo>
                  <a:lnTo>
                    <a:pt x="1540" y="658"/>
                  </a:lnTo>
                  <a:lnTo>
                    <a:pt x="1540" y="658"/>
                  </a:lnTo>
                  <a:lnTo>
                    <a:pt x="1538" y="658"/>
                  </a:lnTo>
                  <a:lnTo>
                    <a:pt x="1538" y="658"/>
                  </a:lnTo>
                  <a:lnTo>
                    <a:pt x="1538" y="658"/>
                  </a:lnTo>
                  <a:lnTo>
                    <a:pt x="1540" y="656"/>
                  </a:lnTo>
                  <a:lnTo>
                    <a:pt x="1540" y="656"/>
                  </a:lnTo>
                  <a:lnTo>
                    <a:pt x="1538" y="656"/>
                  </a:lnTo>
                  <a:lnTo>
                    <a:pt x="1538" y="656"/>
                  </a:lnTo>
                  <a:lnTo>
                    <a:pt x="1538" y="656"/>
                  </a:lnTo>
                  <a:lnTo>
                    <a:pt x="1540" y="656"/>
                  </a:lnTo>
                  <a:lnTo>
                    <a:pt x="1540" y="656"/>
                  </a:lnTo>
                  <a:lnTo>
                    <a:pt x="1538" y="654"/>
                  </a:lnTo>
                  <a:lnTo>
                    <a:pt x="1536" y="654"/>
                  </a:lnTo>
                  <a:lnTo>
                    <a:pt x="1536" y="654"/>
                  </a:lnTo>
                  <a:lnTo>
                    <a:pt x="1536" y="652"/>
                  </a:lnTo>
                  <a:lnTo>
                    <a:pt x="1534" y="652"/>
                  </a:lnTo>
                  <a:lnTo>
                    <a:pt x="1532" y="652"/>
                  </a:lnTo>
                  <a:lnTo>
                    <a:pt x="1532" y="652"/>
                  </a:lnTo>
                  <a:lnTo>
                    <a:pt x="1532" y="654"/>
                  </a:lnTo>
                  <a:lnTo>
                    <a:pt x="1532" y="654"/>
                  </a:lnTo>
                  <a:lnTo>
                    <a:pt x="1532" y="652"/>
                  </a:lnTo>
                  <a:lnTo>
                    <a:pt x="1532" y="652"/>
                  </a:lnTo>
                  <a:lnTo>
                    <a:pt x="1532" y="652"/>
                  </a:lnTo>
                  <a:lnTo>
                    <a:pt x="1530" y="650"/>
                  </a:lnTo>
                  <a:lnTo>
                    <a:pt x="1530" y="652"/>
                  </a:lnTo>
                  <a:lnTo>
                    <a:pt x="1530" y="652"/>
                  </a:lnTo>
                  <a:lnTo>
                    <a:pt x="1530" y="652"/>
                  </a:lnTo>
                  <a:lnTo>
                    <a:pt x="1528" y="652"/>
                  </a:lnTo>
                  <a:lnTo>
                    <a:pt x="1528" y="652"/>
                  </a:lnTo>
                  <a:lnTo>
                    <a:pt x="1528" y="652"/>
                  </a:lnTo>
                  <a:lnTo>
                    <a:pt x="1528" y="652"/>
                  </a:lnTo>
                  <a:lnTo>
                    <a:pt x="1526" y="654"/>
                  </a:lnTo>
                  <a:lnTo>
                    <a:pt x="1526" y="654"/>
                  </a:lnTo>
                  <a:lnTo>
                    <a:pt x="1526" y="654"/>
                  </a:lnTo>
                  <a:lnTo>
                    <a:pt x="1526" y="654"/>
                  </a:lnTo>
                  <a:lnTo>
                    <a:pt x="1526" y="652"/>
                  </a:lnTo>
                  <a:lnTo>
                    <a:pt x="1528" y="652"/>
                  </a:lnTo>
                  <a:lnTo>
                    <a:pt x="1528" y="650"/>
                  </a:lnTo>
                  <a:lnTo>
                    <a:pt x="1526" y="650"/>
                  </a:lnTo>
                  <a:lnTo>
                    <a:pt x="1524" y="648"/>
                  </a:lnTo>
                  <a:lnTo>
                    <a:pt x="1524" y="650"/>
                  </a:lnTo>
                  <a:lnTo>
                    <a:pt x="1522" y="652"/>
                  </a:lnTo>
                  <a:lnTo>
                    <a:pt x="1522" y="652"/>
                  </a:lnTo>
                  <a:lnTo>
                    <a:pt x="1522" y="652"/>
                  </a:lnTo>
                  <a:lnTo>
                    <a:pt x="1522" y="652"/>
                  </a:lnTo>
                  <a:lnTo>
                    <a:pt x="1522" y="652"/>
                  </a:lnTo>
                  <a:lnTo>
                    <a:pt x="1522" y="652"/>
                  </a:lnTo>
                  <a:lnTo>
                    <a:pt x="1522" y="652"/>
                  </a:lnTo>
                  <a:lnTo>
                    <a:pt x="1522" y="654"/>
                  </a:lnTo>
                  <a:lnTo>
                    <a:pt x="1522" y="654"/>
                  </a:lnTo>
                  <a:lnTo>
                    <a:pt x="1522" y="654"/>
                  </a:lnTo>
                  <a:lnTo>
                    <a:pt x="1522" y="654"/>
                  </a:lnTo>
                  <a:lnTo>
                    <a:pt x="1522" y="654"/>
                  </a:lnTo>
                  <a:lnTo>
                    <a:pt x="1522" y="654"/>
                  </a:lnTo>
                  <a:lnTo>
                    <a:pt x="1522" y="656"/>
                  </a:lnTo>
                  <a:lnTo>
                    <a:pt x="1522" y="656"/>
                  </a:lnTo>
                  <a:lnTo>
                    <a:pt x="1522" y="656"/>
                  </a:lnTo>
                  <a:lnTo>
                    <a:pt x="1522" y="656"/>
                  </a:lnTo>
                  <a:lnTo>
                    <a:pt x="1522" y="656"/>
                  </a:lnTo>
                  <a:lnTo>
                    <a:pt x="1522" y="658"/>
                  </a:lnTo>
                  <a:lnTo>
                    <a:pt x="1522" y="658"/>
                  </a:lnTo>
                  <a:lnTo>
                    <a:pt x="1522" y="658"/>
                  </a:lnTo>
                  <a:lnTo>
                    <a:pt x="1522" y="658"/>
                  </a:lnTo>
                  <a:lnTo>
                    <a:pt x="1522" y="658"/>
                  </a:lnTo>
                  <a:lnTo>
                    <a:pt x="1524" y="658"/>
                  </a:lnTo>
                  <a:lnTo>
                    <a:pt x="1524" y="658"/>
                  </a:lnTo>
                  <a:lnTo>
                    <a:pt x="1524" y="658"/>
                  </a:lnTo>
                  <a:lnTo>
                    <a:pt x="1526" y="660"/>
                  </a:lnTo>
                  <a:lnTo>
                    <a:pt x="1524" y="660"/>
                  </a:lnTo>
                  <a:lnTo>
                    <a:pt x="1522" y="660"/>
                  </a:lnTo>
                  <a:lnTo>
                    <a:pt x="1520" y="660"/>
                  </a:lnTo>
                  <a:lnTo>
                    <a:pt x="1520" y="660"/>
                  </a:lnTo>
                  <a:lnTo>
                    <a:pt x="1520" y="660"/>
                  </a:lnTo>
                  <a:lnTo>
                    <a:pt x="1520" y="660"/>
                  </a:lnTo>
                  <a:lnTo>
                    <a:pt x="1520" y="662"/>
                  </a:lnTo>
                  <a:lnTo>
                    <a:pt x="1522" y="662"/>
                  </a:lnTo>
                  <a:lnTo>
                    <a:pt x="1524" y="664"/>
                  </a:lnTo>
                  <a:lnTo>
                    <a:pt x="1524" y="666"/>
                  </a:lnTo>
                  <a:lnTo>
                    <a:pt x="1526" y="666"/>
                  </a:lnTo>
                  <a:lnTo>
                    <a:pt x="1526" y="666"/>
                  </a:lnTo>
                  <a:lnTo>
                    <a:pt x="1526" y="664"/>
                  </a:lnTo>
                  <a:lnTo>
                    <a:pt x="1526" y="664"/>
                  </a:lnTo>
                  <a:lnTo>
                    <a:pt x="1528" y="664"/>
                  </a:lnTo>
                  <a:lnTo>
                    <a:pt x="1528" y="664"/>
                  </a:lnTo>
                  <a:lnTo>
                    <a:pt x="1530" y="664"/>
                  </a:lnTo>
                  <a:lnTo>
                    <a:pt x="1530" y="666"/>
                  </a:lnTo>
                  <a:lnTo>
                    <a:pt x="1530" y="666"/>
                  </a:lnTo>
                  <a:lnTo>
                    <a:pt x="1530" y="666"/>
                  </a:lnTo>
                  <a:lnTo>
                    <a:pt x="1530" y="668"/>
                  </a:lnTo>
                  <a:lnTo>
                    <a:pt x="1530" y="668"/>
                  </a:lnTo>
                  <a:lnTo>
                    <a:pt x="1530" y="668"/>
                  </a:lnTo>
                  <a:lnTo>
                    <a:pt x="1530" y="668"/>
                  </a:lnTo>
                  <a:lnTo>
                    <a:pt x="1530" y="668"/>
                  </a:lnTo>
                  <a:lnTo>
                    <a:pt x="1530" y="668"/>
                  </a:lnTo>
                  <a:lnTo>
                    <a:pt x="1532" y="666"/>
                  </a:lnTo>
                  <a:lnTo>
                    <a:pt x="1532" y="666"/>
                  </a:lnTo>
                  <a:lnTo>
                    <a:pt x="1532" y="666"/>
                  </a:lnTo>
                  <a:lnTo>
                    <a:pt x="1534" y="666"/>
                  </a:lnTo>
                  <a:lnTo>
                    <a:pt x="1534" y="668"/>
                  </a:lnTo>
                  <a:lnTo>
                    <a:pt x="1532" y="668"/>
                  </a:lnTo>
                  <a:lnTo>
                    <a:pt x="1532" y="668"/>
                  </a:lnTo>
                  <a:lnTo>
                    <a:pt x="1530" y="670"/>
                  </a:lnTo>
                  <a:lnTo>
                    <a:pt x="1532" y="672"/>
                  </a:lnTo>
                  <a:lnTo>
                    <a:pt x="1532" y="672"/>
                  </a:lnTo>
                  <a:lnTo>
                    <a:pt x="1534" y="674"/>
                  </a:lnTo>
                  <a:lnTo>
                    <a:pt x="1534" y="674"/>
                  </a:lnTo>
                  <a:lnTo>
                    <a:pt x="1536" y="672"/>
                  </a:lnTo>
                  <a:lnTo>
                    <a:pt x="1538" y="672"/>
                  </a:lnTo>
                  <a:lnTo>
                    <a:pt x="1538" y="672"/>
                  </a:lnTo>
                  <a:lnTo>
                    <a:pt x="1538" y="674"/>
                  </a:lnTo>
                  <a:lnTo>
                    <a:pt x="1538" y="674"/>
                  </a:lnTo>
                  <a:lnTo>
                    <a:pt x="1538" y="674"/>
                  </a:lnTo>
                  <a:lnTo>
                    <a:pt x="1536" y="674"/>
                  </a:lnTo>
                  <a:lnTo>
                    <a:pt x="1536" y="674"/>
                  </a:lnTo>
                  <a:lnTo>
                    <a:pt x="1536" y="674"/>
                  </a:lnTo>
                  <a:lnTo>
                    <a:pt x="1536" y="676"/>
                  </a:lnTo>
                  <a:lnTo>
                    <a:pt x="1536" y="676"/>
                  </a:lnTo>
                  <a:lnTo>
                    <a:pt x="1536" y="676"/>
                  </a:lnTo>
                  <a:lnTo>
                    <a:pt x="1534" y="676"/>
                  </a:lnTo>
                  <a:lnTo>
                    <a:pt x="1534" y="676"/>
                  </a:lnTo>
                  <a:lnTo>
                    <a:pt x="1534" y="678"/>
                  </a:lnTo>
                  <a:lnTo>
                    <a:pt x="1534" y="678"/>
                  </a:lnTo>
                  <a:lnTo>
                    <a:pt x="1534" y="678"/>
                  </a:lnTo>
                  <a:lnTo>
                    <a:pt x="1534" y="678"/>
                  </a:lnTo>
                  <a:lnTo>
                    <a:pt x="1534" y="678"/>
                  </a:lnTo>
                  <a:lnTo>
                    <a:pt x="1534" y="678"/>
                  </a:lnTo>
                  <a:lnTo>
                    <a:pt x="1534" y="678"/>
                  </a:lnTo>
                  <a:lnTo>
                    <a:pt x="1536" y="680"/>
                  </a:lnTo>
                  <a:lnTo>
                    <a:pt x="1536" y="680"/>
                  </a:lnTo>
                  <a:lnTo>
                    <a:pt x="1536" y="680"/>
                  </a:lnTo>
                  <a:lnTo>
                    <a:pt x="1536" y="680"/>
                  </a:lnTo>
                  <a:lnTo>
                    <a:pt x="1536" y="680"/>
                  </a:lnTo>
                  <a:lnTo>
                    <a:pt x="1536" y="682"/>
                  </a:lnTo>
                  <a:lnTo>
                    <a:pt x="1534" y="682"/>
                  </a:lnTo>
                  <a:lnTo>
                    <a:pt x="1534" y="682"/>
                  </a:lnTo>
                  <a:lnTo>
                    <a:pt x="1536" y="684"/>
                  </a:lnTo>
                  <a:lnTo>
                    <a:pt x="1536" y="684"/>
                  </a:lnTo>
                  <a:lnTo>
                    <a:pt x="1536" y="684"/>
                  </a:lnTo>
                  <a:lnTo>
                    <a:pt x="1536" y="684"/>
                  </a:lnTo>
                  <a:lnTo>
                    <a:pt x="1536" y="687"/>
                  </a:lnTo>
                  <a:lnTo>
                    <a:pt x="1538" y="687"/>
                  </a:lnTo>
                  <a:lnTo>
                    <a:pt x="1540" y="682"/>
                  </a:lnTo>
                  <a:lnTo>
                    <a:pt x="1542" y="682"/>
                  </a:lnTo>
                  <a:lnTo>
                    <a:pt x="1542" y="682"/>
                  </a:lnTo>
                  <a:lnTo>
                    <a:pt x="1542" y="682"/>
                  </a:lnTo>
                  <a:lnTo>
                    <a:pt x="1542" y="684"/>
                  </a:lnTo>
                  <a:lnTo>
                    <a:pt x="1542" y="684"/>
                  </a:lnTo>
                  <a:lnTo>
                    <a:pt x="1542" y="684"/>
                  </a:lnTo>
                  <a:lnTo>
                    <a:pt x="1542" y="684"/>
                  </a:lnTo>
                  <a:lnTo>
                    <a:pt x="1542" y="687"/>
                  </a:lnTo>
                  <a:lnTo>
                    <a:pt x="1542" y="687"/>
                  </a:lnTo>
                  <a:lnTo>
                    <a:pt x="1542" y="687"/>
                  </a:lnTo>
                  <a:lnTo>
                    <a:pt x="1542" y="689"/>
                  </a:lnTo>
                  <a:lnTo>
                    <a:pt x="1542" y="689"/>
                  </a:lnTo>
                  <a:lnTo>
                    <a:pt x="1542" y="689"/>
                  </a:lnTo>
                  <a:lnTo>
                    <a:pt x="1542" y="689"/>
                  </a:lnTo>
                  <a:lnTo>
                    <a:pt x="1542" y="689"/>
                  </a:lnTo>
                  <a:lnTo>
                    <a:pt x="1542" y="689"/>
                  </a:lnTo>
                  <a:lnTo>
                    <a:pt x="1542" y="691"/>
                  </a:lnTo>
                  <a:lnTo>
                    <a:pt x="1542" y="691"/>
                  </a:lnTo>
                  <a:lnTo>
                    <a:pt x="1542" y="691"/>
                  </a:lnTo>
                  <a:lnTo>
                    <a:pt x="1542" y="691"/>
                  </a:lnTo>
                  <a:lnTo>
                    <a:pt x="1542" y="691"/>
                  </a:lnTo>
                  <a:lnTo>
                    <a:pt x="1544" y="689"/>
                  </a:lnTo>
                  <a:lnTo>
                    <a:pt x="1544" y="687"/>
                  </a:lnTo>
                  <a:lnTo>
                    <a:pt x="1544" y="684"/>
                  </a:lnTo>
                  <a:lnTo>
                    <a:pt x="1544" y="684"/>
                  </a:lnTo>
                  <a:lnTo>
                    <a:pt x="1546" y="684"/>
                  </a:lnTo>
                  <a:lnTo>
                    <a:pt x="1546" y="684"/>
                  </a:lnTo>
                  <a:lnTo>
                    <a:pt x="1546" y="684"/>
                  </a:lnTo>
                  <a:lnTo>
                    <a:pt x="1546" y="687"/>
                  </a:lnTo>
                  <a:lnTo>
                    <a:pt x="1544" y="689"/>
                  </a:lnTo>
                  <a:lnTo>
                    <a:pt x="1544" y="689"/>
                  </a:lnTo>
                  <a:lnTo>
                    <a:pt x="1544" y="691"/>
                  </a:lnTo>
                  <a:lnTo>
                    <a:pt x="1544" y="691"/>
                  </a:lnTo>
                  <a:lnTo>
                    <a:pt x="1544" y="693"/>
                  </a:lnTo>
                  <a:lnTo>
                    <a:pt x="1544" y="693"/>
                  </a:lnTo>
                  <a:lnTo>
                    <a:pt x="1546" y="695"/>
                  </a:lnTo>
                  <a:lnTo>
                    <a:pt x="1546" y="695"/>
                  </a:lnTo>
                  <a:lnTo>
                    <a:pt x="1546" y="693"/>
                  </a:lnTo>
                  <a:lnTo>
                    <a:pt x="1546" y="693"/>
                  </a:lnTo>
                  <a:lnTo>
                    <a:pt x="1548" y="693"/>
                  </a:lnTo>
                  <a:lnTo>
                    <a:pt x="1548" y="691"/>
                  </a:lnTo>
                  <a:lnTo>
                    <a:pt x="1546" y="689"/>
                  </a:lnTo>
                  <a:lnTo>
                    <a:pt x="1548" y="687"/>
                  </a:lnTo>
                  <a:lnTo>
                    <a:pt x="1548" y="687"/>
                  </a:lnTo>
                  <a:lnTo>
                    <a:pt x="1548" y="687"/>
                  </a:lnTo>
                  <a:lnTo>
                    <a:pt x="1548" y="687"/>
                  </a:lnTo>
                  <a:lnTo>
                    <a:pt x="1548" y="689"/>
                  </a:lnTo>
                  <a:lnTo>
                    <a:pt x="1548" y="689"/>
                  </a:lnTo>
                  <a:lnTo>
                    <a:pt x="1548" y="691"/>
                  </a:lnTo>
                  <a:lnTo>
                    <a:pt x="1548" y="691"/>
                  </a:lnTo>
                  <a:lnTo>
                    <a:pt x="1548" y="691"/>
                  </a:lnTo>
                  <a:lnTo>
                    <a:pt x="1550" y="691"/>
                  </a:lnTo>
                  <a:lnTo>
                    <a:pt x="1550" y="691"/>
                  </a:lnTo>
                  <a:lnTo>
                    <a:pt x="1550" y="691"/>
                  </a:lnTo>
                  <a:lnTo>
                    <a:pt x="1550" y="689"/>
                  </a:lnTo>
                  <a:lnTo>
                    <a:pt x="1550" y="689"/>
                  </a:lnTo>
                  <a:lnTo>
                    <a:pt x="1550" y="689"/>
                  </a:lnTo>
                  <a:lnTo>
                    <a:pt x="1550" y="689"/>
                  </a:lnTo>
                  <a:lnTo>
                    <a:pt x="1552" y="687"/>
                  </a:lnTo>
                  <a:lnTo>
                    <a:pt x="1550" y="691"/>
                  </a:lnTo>
                  <a:lnTo>
                    <a:pt x="1550" y="691"/>
                  </a:lnTo>
                  <a:lnTo>
                    <a:pt x="1550" y="693"/>
                  </a:lnTo>
                  <a:lnTo>
                    <a:pt x="1550" y="693"/>
                  </a:lnTo>
                  <a:lnTo>
                    <a:pt x="1548" y="695"/>
                  </a:lnTo>
                  <a:lnTo>
                    <a:pt x="1548" y="695"/>
                  </a:lnTo>
                  <a:lnTo>
                    <a:pt x="1548" y="695"/>
                  </a:lnTo>
                  <a:lnTo>
                    <a:pt x="1548" y="695"/>
                  </a:lnTo>
                  <a:lnTo>
                    <a:pt x="1548" y="695"/>
                  </a:lnTo>
                  <a:lnTo>
                    <a:pt x="1548" y="695"/>
                  </a:lnTo>
                  <a:lnTo>
                    <a:pt x="1548" y="697"/>
                  </a:lnTo>
                  <a:lnTo>
                    <a:pt x="1548" y="697"/>
                  </a:lnTo>
                  <a:lnTo>
                    <a:pt x="1548" y="697"/>
                  </a:lnTo>
                  <a:lnTo>
                    <a:pt x="1548" y="697"/>
                  </a:lnTo>
                  <a:lnTo>
                    <a:pt x="1548" y="697"/>
                  </a:lnTo>
                  <a:lnTo>
                    <a:pt x="1550" y="699"/>
                  </a:lnTo>
                  <a:lnTo>
                    <a:pt x="1550" y="699"/>
                  </a:lnTo>
                  <a:lnTo>
                    <a:pt x="1550" y="699"/>
                  </a:lnTo>
                  <a:lnTo>
                    <a:pt x="1552" y="701"/>
                  </a:lnTo>
                  <a:lnTo>
                    <a:pt x="1552" y="703"/>
                  </a:lnTo>
                  <a:lnTo>
                    <a:pt x="1555" y="703"/>
                  </a:lnTo>
                  <a:lnTo>
                    <a:pt x="1555" y="703"/>
                  </a:lnTo>
                  <a:lnTo>
                    <a:pt x="1555" y="703"/>
                  </a:lnTo>
                  <a:lnTo>
                    <a:pt x="1555" y="703"/>
                  </a:lnTo>
                  <a:lnTo>
                    <a:pt x="1555" y="705"/>
                  </a:lnTo>
                  <a:lnTo>
                    <a:pt x="1555" y="705"/>
                  </a:lnTo>
                  <a:lnTo>
                    <a:pt x="1557" y="705"/>
                  </a:lnTo>
                  <a:lnTo>
                    <a:pt x="1557" y="705"/>
                  </a:lnTo>
                  <a:lnTo>
                    <a:pt x="1557" y="705"/>
                  </a:lnTo>
                  <a:lnTo>
                    <a:pt x="1557" y="705"/>
                  </a:lnTo>
                  <a:lnTo>
                    <a:pt x="1559" y="707"/>
                  </a:lnTo>
                  <a:lnTo>
                    <a:pt x="1559" y="707"/>
                  </a:lnTo>
                  <a:lnTo>
                    <a:pt x="1559" y="707"/>
                  </a:lnTo>
                  <a:lnTo>
                    <a:pt x="1559" y="707"/>
                  </a:lnTo>
                  <a:lnTo>
                    <a:pt x="1559" y="707"/>
                  </a:lnTo>
                  <a:lnTo>
                    <a:pt x="1559" y="707"/>
                  </a:lnTo>
                  <a:lnTo>
                    <a:pt x="1559" y="707"/>
                  </a:lnTo>
                  <a:lnTo>
                    <a:pt x="1559" y="709"/>
                  </a:lnTo>
                  <a:lnTo>
                    <a:pt x="1561" y="709"/>
                  </a:lnTo>
                  <a:lnTo>
                    <a:pt x="1561" y="709"/>
                  </a:lnTo>
                  <a:lnTo>
                    <a:pt x="1561" y="709"/>
                  </a:lnTo>
                  <a:lnTo>
                    <a:pt x="1561" y="709"/>
                  </a:lnTo>
                  <a:lnTo>
                    <a:pt x="1561" y="711"/>
                  </a:lnTo>
                  <a:lnTo>
                    <a:pt x="1561" y="709"/>
                  </a:lnTo>
                  <a:lnTo>
                    <a:pt x="1563" y="709"/>
                  </a:lnTo>
                  <a:lnTo>
                    <a:pt x="1563" y="709"/>
                  </a:lnTo>
                  <a:lnTo>
                    <a:pt x="1563" y="709"/>
                  </a:lnTo>
                  <a:lnTo>
                    <a:pt x="1563" y="709"/>
                  </a:lnTo>
                  <a:lnTo>
                    <a:pt x="1563" y="709"/>
                  </a:lnTo>
                  <a:lnTo>
                    <a:pt x="1563" y="709"/>
                  </a:lnTo>
                  <a:lnTo>
                    <a:pt x="1563" y="709"/>
                  </a:lnTo>
                  <a:lnTo>
                    <a:pt x="1563" y="711"/>
                  </a:lnTo>
                  <a:lnTo>
                    <a:pt x="1563" y="711"/>
                  </a:lnTo>
                  <a:lnTo>
                    <a:pt x="1565" y="711"/>
                  </a:lnTo>
                  <a:lnTo>
                    <a:pt x="1565" y="711"/>
                  </a:lnTo>
                  <a:lnTo>
                    <a:pt x="1565" y="709"/>
                  </a:lnTo>
                  <a:lnTo>
                    <a:pt x="1565" y="709"/>
                  </a:lnTo>
                  <a:close/>
                  <a:moveTo>
                    <a:pt x="1264" y="576"/>
                  </a:moveTo>
                  <a:lnTo>
                    <a:pt x="1262" y="576"/>
                  </a:lnTo>
                  <a:lnTo>
                    <a:pt x="1262" y="578"/>
                  </a:lnTo>
                  <a:lnTo>
                    <a:pt x="1260" y="578"/>
                  </a:lnTo>
                  <a:lnTo>
                    <a:pt x="1260" y="582"/>
                  </a:lnTo>
                  <a:lnTo>
                    <a:pt x="1258" y="582"/>
                  </a:lnTo>
                  <a:lnTo>
                    <a:pt x="1258" y="582"/>
                  </a:lnTo>
                  <a:lnTo>
                    <a:pt x="1258" y="586"/>
                  </a:lnTo>
                  <a:lnTo>
                    <a:pt x="1258" y="586"/>
                  </a:lnTo>
                  <a:lnTo>
                    <a:pt x="1258" y="584"/>
                  </a:lnTo>
                  <a:lnTo>
                    <a:pt x="1262" y="580"/>
                  </a:lnTo>
                  <a:lnTo>
                    <a:pt x="1262" y="580"/>
                  </a:lnTo>
                  <a:lnTo>
                    <a:pt x="1262" y="580"/>
                  </a:lnTo>
                  <a:lnTo>
                    <a:pt x="1262" y="578"/>
                  </a:lnTo>
                  <a:lnTo>
                    <a:pt x="1262" y="578"/>
                  </a:lnTo>
                  <a:lnTo>
                    <a:pt x="1266" y="576"/>
                  </a:lnTo>
                  <a:lnTo>
                    <a:pt x="1266" y="574"/>
                  </a:lnTo>
                  <a:lnTo>
                    <a:pt x="1266" y="574"/>
                  </a:lnTo>
                  <a:lnTo>
                    <a:pt x="1266" y="574"/>
                  </a:lnTo>
                  <a:lnTo>
                    <a:pt x="1266" y="574"/>
                  </a:lnTo>
                  <a:lnTo>
                    <a:pt x="1264" y="574"/>
                  </a:lnTo>
                  <a:lnTo>
                    <a:pt x="1264" y="576"/>
                  </a:lnTo>
                  <a:close/>
                  <a:moveTo>
                    <a:pt x="1239" y="562"/>
                  </a:moveTo>
                  <a:lnTo>
                    <a:pt x="1239" y="562"/>
                  </a:lnTo>
                  <a:lnTo>
                    <a:pt x="1239" y="562"/>
                  </a:lnTo>
                  <a:lnTo>
                    <a:pt x="1239" y="562"/>
                  </a:lnTo>
                  <a:lnTo>
                    <a:pt x="1239" y="562"/>
                  </a:lnTo>
                  <a:lnTo>
                    <a:pt x="1239" y="559"/>
                  </a:lnTo>
                  <a:lnTo>
                    <a:pt x="1239" y="559"/>
                  </a:lnTo>
                  <a:lnTo>
                    <a:pt x="1239" y="557"/>
                  </a:lnTo>
                  <a:lnTo>
                    <a:pt x="1239" y="557"/>
                  </a:lnTo>
                  <a:lnTo>
                    <a:pt x="1239" y="555"/>
                  </a:lnTo>
                  <a:lnTo>
                    <a:pt x="1239" y="557"/>
                  </a:lnTo>
                  <a:lnTo>
                    <a:pt x="1237" y="557"/>
                  </a:lnTo>
                  <a:lnTo>
                    <a:pt x="1235" y="562"/>
                  </a:lnTo>
                  <a:lnTo>
                    <a:pt x="1235" y="562"/>
                  </a:lnTo>
                  <a:lnTo>
                    <a:pt x="1237" y="562"/>
                  </a:lnTo>
                  <a:lnTo>
                    <a:pt x="1237" y="562"/>
                  </a:lnTo>
                  <a:lnTo>
                    <a:pt x="1237" y="562"/>
                  </a:lnTo>
                  <a:lnTo>
                    <a:pt x="1237" y="562"/>
                  </a:lnTo>
                  <a:lnTo>
                    <a:pt x="1239" y="562"/>
                  </a:lnTo>
                  <a:lnTo>
                    <a:pt x="1239" y="562"/>
                  </a:lnTo>
                  <a:close/>
                  <a:moveTo>
                    <a:pt x="1184" y="570"/>
                  </a:moveTo>
                  <a:lnTo>
                    <a:pt x="1182" y="570"/>
                  </a:lnTo>
                  <a:lnTo>
                    <a:pt x="1182" y="570"/>
                  </a:lnTo>
                  <a:lnTo>
                    <a:pt x="1180" y="570"/>
                  </a:lnTo>
                  <a:lnTo>
                    <a:pt x="1180" y="572"/>
                  </a:lnTo>
                  <a:lnTo>
                    <a:pt x="1180" y="572"/>
                  </a:lnTo>
                  <a:lnTo>
                    <a:pt x="1180" y="572"/>
                  </a:lnTo>
                  <a:lnTo>
                    <a:pt x="1180" y="572"/>
                  </a:lnTo>
                  <a:lnTo>
                    <a:pt x="1180" y="572"/>
                  </a:lnTo>
                  <a:lnTo>
                    <a:pt x="1180" y="574"/>
                  </a:lnTo>
                  <a:lnTo>
                    <a:pt x="1180" y="572"/>
                  </a:lnTo>
                  <a:lnTo>
                    <a:pt x="1182" y="572"/>
                  </a:lnTo>
                  <a:lnTo>
                    <a:pt x="1184" y="570"/>
                  </a:lnTo>
                  <a:lnTo>
                    <a:pt x="1184" y="570"/>
                  </a:lnTo>
                  <a:lnTo>
                    <a:pt x="1184" y="570"/>
                  </a:lnTo>
                  <a:lnTo>
                    <a:pt x="1184" y="570"/>
                  </a:lnTo>
                  <a:lnTo>
                    <a:pt x="1184" y="570"/>
                  </a:lnTo>
                  <a:close/>
                  <a:moveTo>
                    <a:pt x="1194" y="537"/>
                  </a:move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close/>
                  <a:moveTo>
                    <a:pt x="1172" y="584"/>
                  </a:moveTo>
                  <a:lnTo>
                    <a:pt x="1172" y="582"/>
                  </a:lnTo>
                  <a:lnTo>
                    <a:pt x="1172" y="582"/>
                  </a:lnTo>
                  <a:lnTo>
                    <a:pt x="1172" y="582"/>
                  </a:lnTo>
                  <a:lnTo>
                    <a:pt x="1172" y="582"/>
                  </a:lnTo>
                  <a:lnTo>
                    <a:pt x="1172" y="582"/>
                  </a:lnTo>
                  <a:lnTo>
                    <a:pt x="1172" y="582"/>
                  </a:lnTo>
                  <a:lnTo>
                    <a:pt x="1169" y="582"/>
                  </a:lnTo>
                  <a:lnTo>
                    <a:pt x="1169" y="584"/>
                  </a:lnTo>
                  <a:lnTo>
                    <a:pt x="1167" y="586"/>
                  </a:lnTo>
                  <a:lnTo>
                    <a:pt x="1167" y="588"/>
                  </a:lnTo>
                  <a:lnTo>
                    <a:pt x="1167" y="588"/>
                  </a:lnTo>
                  <a:lnTo>
                    <a:pt x="1167" y="588"/>
                  </a:lnTo>
                  <a:lnTo>
                    <a:pt x="1169" y="588"/>
                  </a:lnTo>
                  <a:lnTo>
                    <a:pt x="1169" y="588"/>
                  </a:lnTo>
                  <a:lnTo>
                    <a:pt x="1172" y="586"/>
                  </a:lnTo>
                  <a:lnTo>
                    <a:pt x="1172" y="586"/>
                  </a:lnTo>
                  <a:lnTo>
                    <a:pt x="1172" y="584"/>
                  </a:lnTo>
                  <a:close/>
                  <a:moveTo>
                    <a:pt x="1178" y="551"/>
                  </a:moveTo>
                  <a:lnTo>
                    <a:pt x="1178" y="551"/>
                  </a:lnTo>
                  <a:lnTo>
                    <a:pt x="1178" y="549"/>
                  </a:lnTo>
                  <a:lnTo>
                    <a:pt x="1178" y="551"/>
                  </a:lnTo>
                  <a:lnTo>
                    <a:pt x="1178" y="551"/>
                  </a:lnTo>
                  <a:lnTo>
                    <a:pt x="1178" y="551"/>
                  </a:lnTo>
                  <a:lnTo>
                    <a:pt x="1180" y="551"/>
                  </a:lnTo>
                  <a:lnTo>
                    <a:pt x="1180" y="551"/>
                  </a:lnTo>
                  <a:lnTo>
                    <a:pt x="1180" y="551"/>
                  </a:lnTo>
                  <a:lnTo>
                    <a:pt x="1182" y="551"/>
                  </a:lnTo>
                  <a:lnTo>
                    <a:pt x="1182" y="551"/>
                  </a:lnTo>
                  <a:lnTo>
                    <a:pt x="1182" y="549"/>
                  </a:lnTo>
                  <a:lnTo>
                    <a:pt x="1182" y="549"/>
                  </a:lnTo>
                  <a:lnTo>
                    <a:pt x="1182" y="549"/>
                  </a:lnTo>
                  <a:lnTo>
                    <a:pt x="1182" y="549"/>
                  </a:lnTo>
                  <a:lnTo>
                    <a:pt x="1182" y="549"/>
                  </a:lnTo>
                  <a:lnTo>
                    <a:pt x="1182" y="549"/>
                  </a:lnTo>
                  <a:lnTo>
                    <a:pt x="1180" y="549"/>
                  </a:lnTo>
                  <a:lnTo>
                    <a:pt x="1180" y="549"/>
                  </a:lnTo>
                  <a:lnTo>
                    <a:pt x="1180" y="549"/>
                  </a:lnTo>
                  <a:lnTo>
                    <a:pt x="1180" y="547"/>
                  </a:lnTo>
                  <a:lnTo>
                    <a:pt x="1180" y="547"/>
                  </a:lnTo>
                  <a:lnTo>
                    <a:pt x="1180" y="547"/>
                  </a:lnTo>
                  <a:lnTo>
                    <a:pt x="1178" y="549"/>
                  </a:lnTo>
                  <a:lnTo>
                    <a:pt x="1178" y="549"/>
                  </a:lnTo>
                  <a:lnTo>
                    <a:pt x="1178" y="549"/>
                  </a:lnTo>
                  <a:lnTo>
                    <a:pt x="1178" y="549"/>
                  </a:lnTo>
                  <a:lnTo>
                    <a:pt x="1178" y="549"/>
                  </a:lnTo>
                  <a:lnTo>
                    <a:pt x="1178" y="549"/>
                  </a:lnTo>
                  <a:lnTo>
                    <a:pt x="1178" y="551"/>
                  </a:lnTo>
                  <a:lnTo>
                    <a:pt x="1178" y="551"/>
                  </a:lnTo>
                  <a:close/>
                  <a:moveTo>
                    <a:pt x="1215" y="611"/>
                  </a:moveTo>
                  <a:lnTo>
                    <a:pt x="1215" y="611"/>
                  </a:lnTo>
                  <a:lnTo>
                    <a:pt x="1215" y="613"/>
                  </a:lnTo>
                  <a:lnTo>
                    <a:pt x="1215" y="613"/>
                  </a:lnTo>
                  <a:lnTo>
                    <a:pt x="1215" y="611"/>
                  </a:lnTo>
                  <a:lnTo>
                    <a:pt x="1215" y="611"/>
                  </a:lnTo>
                  <a:lnTo>
                    <a:pt x="1215" y="611"/>
                  </a:lnTo>
                  <a:lnTo>
                    <a:pt x="1215" y="611"/>
                  </a:lnTo>
                  <a:close/>
                  <a:moveTo>
                    <a:pt x="1190" y="570"/>
                  </a:moveTo>
                  <a:lnTo>
                    <a:pt x="1190" y="570"/>
                  </a:lnTo>
                  <a:lnTo>
                    <a:pt x="1192" y="566"/>
                  </a:lnTo>
                  <a:lnTo>
                    <a:pt x="1192" y="566"/>
                  </a:lnTo>
                  <a:lnTo>
                    <a:pt x="1188" y="566"/>
                  </a:lnTo>
                  <a:lnTo>
                    <a:pt x="1188" y="566"/>
                  </a:lnTo>
                  <a:lnTo>
                    <a:pt x="1190" y="566"/>
                  </a:lnTo>
                  <a:lnTo>
                    <a:pt x="1190" y="564"/>
                  </a:lnTo>
                  <a:lnTo>
                    <a:pt x="1188" y="564"/>
                  </a:lnTo>
                  <a:lnTo>
                    <a:pt x="1188" y="564"/>
                  </a:lnTo>
                  <a:lnTo>
                    <a:pt x="1186" y="566"/>
                  </a:lnTo>
                  <a:lnTo>
                    <a:pt x="1186" y="566"/>
                  </a:lnTo>
                  <a:lnTo>
                    <a:pt x="1186" y="566"/>
                  </a:lnTo>
                  <a:lnTo>
                    <a:pt x="1188" y="568"/>
                  </a:lnTo>
                  <a:lnTo>
                    <a:pt x="1188" y="568"/>
                  </a:lnTo>
                  <a:lnTo>
                    <a:pt x="1188" y="568"/>
                  </a:lnTo>
                  <a:lnTo>
                    <a:pt x="1188" y="568"/>
                  </a:lnTo>
                  <a:lnTo>
                    <a:pt x="1188" y="568"/>
                  </a:lnTo>
                  <a:lnTo>
                    <a:pt x="1188" y="568"/>
                  </a:lnTo>
                  <a:lnTo>
                    <a:pt x="1188" y="568"/>
                  </a:lnTo>
                  <a:lnTo>
                    <a:pt x="1186" y="568"/>
                  </a:lnTo>
                  <a:lnTo>
                    <a:pt x="1186" y="570"/>
                  </a:lnTo>
                  <a:lnTo>
                    <a:pt x="1186" y="570"/>
                  </a:lnTo>
                  <a:lnTo>
                    <a:pt x="1186" y="570"/>
                  </a:lnTo>
                  <a:lnTo>
                    <a:pt x="1186" y="570"/>
                  </a:lnTo>
                  <a:lnTo>
                    <a:pt x="1188" y="570"/>
                  </a:lnTo>
                  <a:lnTo>
                    <a:pt x="1188" y="570"/>
                  </a:lnTo>
                  <a:lnTo>
                    <a:pt x="1188" y="572"/>
                  </a:lnTo>
                  <a:lnTo>
                    <a:pt x="1188" y="572"/>
                  </a:lnTo>
                  <a:lnTo>
                    <a:pt x="1186" y="572"/>
                  </a:lnTo>
                  <a:lnTo>
                    <a:pt x="1186" y="572"/>
                  </a:lnTo>
                  <a:lnTo>
                    <a:pt x="1186" y="572"/>
                  </a:lnTo>
                  <a:lnTo>
                    <a:pt x="1186" y="572"/>
                  </a:lnTo>
                  <a:lnTo>
                    <a:pt x="1186" y="572"/>
                  </a:lnTo>
                  <a:lnTo>
                    <a:pt x="1184" y="572"/>
                  </a:lnTo>
                  <a:lnTo>
                    <a:pt x="1184" y="572"/>
                  </a:lnTo>
                  <a:lnTo>
                    <a:pt x="1184" y="574"/>
                  </a:lnTo>
                  <a:lnTo>
                    <a:pt x="1184" y="576"/>
                  </a:lnTo>
                  <a:lnTo>
                    <a:pt x="1184" y="576"/>
                  </a:lnTo>
                  <a:lnTo>
                    <a:pt x="1184" y="576"/>
                  </a:lnTo>
                  <a:lnTo>
                    <a:pt x="1184" y="578"/>
                  </a:lnTo>
                  <a:lnTo>
                    <a:pt x="1182" y="578"/>
                  </a:lnTo>
                  <a:lnTo>
                    <a:pt x="1180" y="582"/>
                  </a:lnTo>
                  <a:lnTo>
                    <a:pt x="1180" y="582"/>
                  </a:lnTo>
                  <a:lnTo>
                    <a:pt x="1176" y="584"/>
                  </a:lnTo>
                  <a:lnTo>
                    <a:pt x="1176" y="586"/>
                  </a:lnTo>
                  <a:lnTo>
                    <a:pt x="1176" y="586"/>
                  </a:lnTo>
                  <a:lnTo>
                    <a:pt x="1176" y="586"/>
                  </a:lnTo>
                  <a:lnTo>
                    <a:pt x="1176" y="586"/>
                  </a:lnTo>
                  <a:lnTo>
                    <a:pt x="1176" y="588"/>
                  </a:lnTo>
                  <a:lnTo>
                    <a:pt x="1174" y="588"/>
                  </a:lnTo>
                  <a:lnTo>
                    <a:pt x="1174" y="588"/>
                  </a:lnTo>
                  <a:lnTo>
                    <a:pt x="1174" y="590"/>
                  </a:lnTo>
                  <a:lnTo>
                    <a:pt x="1174" y="590"/>
                  </a:lnTo>
                  <a:lnTo>
                    <a:pt x="1174" y="590"/>
                  </a:lnTo>
                  <a:lnTo>
                    <a:pt x="1176" y="590"/>
                  </a:lnTo>
                  <a:lnTo>
                    <a:pt x="1174" y="592"/>
                  </a:lnTo>
                  <a:lnTo>
                    <a:pt x="1174" y="592"/>
                  </a:lnTo>
                  <a:lnTo>
                    <a:pt x="1174" y="592"/>
                  </a:lnTo>
                  <a:lnTo>
                    <a:pt x="1172" y="592"/>
                  </a:lnTo>
                  <a:lnTo>
                    <a:pt x="1172" y="592"/>
                  </a:lnTo>
                  <a:lnTo>
                    <a:pt x="1172" y="594"/>
                  </a:lnTo>
                  <a:lnTo>
                    <a:pt x="1172" y="596"/>
                  </a:lnTo>
                  <a:lnTo>
                    <a:pt x="1172" y="596"/>
                  </a:lnTo>
                  <a:lnTo>
                    <a:pt x="1172" y="596"/>
                  </a:lnTo>
                  <a:lnTo>
                    <a:pt x="1172" y="596"/>
                  </a:lnTo>
                  <a:lnTo>
                    <a:pt x="1172" y="596"/>
                  </a:lnTo>
                  <a:lnTo>
                    <a:pt x="1174" y="596"/>
                  </a:lnTo>
                  <a:lnTo>
                    <a:pt x="1174" y="596"/>
                  </a:lnTo>
                  <a:lnTo>
                    <a:pt x="1176" y="594"/>
                  </a:lnTo>
                  <a:lnTo>
                    <a:pt x="1178" y="594"/>
                  </a:lnTo>
                  <a:lnTo>
                    <a:pt x="1178" y="594"/>
                  </a:lnTo>
                  <a:lnTo>
                    <a:pt x="1178" y="592"/>
                  </a:lnTo>
                  <a:lnTo>
                    <a:pt x="1180" y="592"/>
                  </a:lnTo>
                  <a:lnTo>
                    <a:pt x="1182" y="592"/>
                  </a:lnTo>
                  <a:lnTo>
                    <a:pt x="1182" y="592"/>
                  </a:lnTo>
                  <a:lnTo>
                    <a:pt x="1182" y="590"/>
                  </a:lnTo>
                  <a:lnTo>
                    <a:pt x="1182" y="590"/>
                  </a:lnTo>
                  <a:lnTo>
                    <a:pt x="1182" y="588"/>
                  </a:lnTo>
                  <a:lnTo>
                    <a:pt x="1182" y="588"/>
                  </a:lnTo>
                  <a:lnTo>
                    <a:pt x="1182" y="588"/>
                  </a:lnTo>
                  <a:lnTo>
                    <a:pt x="1182" y="588"/>
                  </a:lnTo>
                  <a:lnTo>
                    <a:pt x="1182" y="588"/>
                  </a:lnTo>
                  <a:lnTo>
                    <a:pt x="1182" y="586"/>
                  </a:lnTo>
                  <a:lnTo>
                    <a:pt x="1182" y="586"/>
                  </a:lnTo>
                  <a:lnTo>
                    <a:pt x="1184" y="586"/>
                  </a:lnTo>
                  <a:lnTo>
                    <a:pt x="1184" y="584"/>
                  </a:lnTo>
                  <a:lnTo>
                    <a:pt x="1184" y="584"/>
                  </a:lnTo>
                  <a:lnTo>
                    <a:pt x="1184" y="584"/>
                  </a:lnTo>
                  <a:lnTo>
                    <a:pt x="1184" y="584"/>
                  </a:lnTo>
                  <a:lnTo>
                    <a:pt x="1184" y="582"/>
                  </a:lnTo>
                  <a:lnTo>
                    <a:pt x="1186" y="580"/>
                  </a:lnTo>
                  <a:lnTo>
                    <a:pt x="1188" y="578"/>
                  </a:lnTo>
                  <a:lnTo>
                    <a:pt x="1192" y="572"/>
                  </a:lnTo>
                  <a:lnTo>
                    <a:pt x="1192" y="570"/>
                  </a:lnTo>
                  <a:lnTo>
                    <a:pt x="1194" y="568"/>
                  </a:lnTo>
                  <a:lnTo>
                    <a:pt x="1194" y="568"/>
                  </a:lnTo>
                  <a:lnTo>
                    <a:pt x="1194" y="568"/>
                  </a:lnTo>
                  <a:lnTo>
                    <a:pt x="1194" y="568"/>
                  </a:lnTo>
                  <a:lnTo>
                    <a:pt x="1194" y="568"/>
                  </a:lnTo>
                  <a:lnTo>
                    <a:pt x="1194" y="568"/>
                  </a:lnTo>
                  <a:lnTo>
                    <a:pt x="1190" y="570"/>
                  </a:lnTo>
                  <a:close/>
                  <a:moveTo>
                    <a:pt x="1184" y="537"/>
                  </a:moveTo>
                  <a:lnTo>
                    <a:pt x="1184" y="537"/>
                  </a:lnTo>
                  <a:lnTo>
                    <a:pt x="1184" y="537"/>
                  </a:lnTo>
                  <a:lnTo>
                    <a:pt x="1182" y="537"/>
                  </a:lnTo>
                  <a:lnTo>
                    <a:pt x="1182" y="537"/>
                  </a:lnTo>
                  <a:lnTo>
                    <a:pt x="1182" y="539"/>
                  </a:lnTo>
                  <a:lnTo>
                    <a:pt x="1182" y="539"/>
                  </a:lnTo>
                  <a:lnTo>
                    <a:pt x="1182" y="539"/>
                  </a:lnTo>
                  <a:lnTo>
                    <a:pt x="1182" y="539"/>
                  </a:lnTo>
                  <a:lnTo>
                    <a:pt x="1182" y="539"/>
                  </a:lnTo>
                  <a:lnTo>
                    <a:pt x="1182" y="539"/>
                  </a:lnTo>
                  <a:lnTo>
                    <a:pt x="1182" y="539"/>
                  </a:lnTo>
                  <a:lnTo>
                    <a:pt x="1182" y="539"/>
                  </a:lnTo>
                  <a:lnTo>
                    <a:pt x="1182" y="539"/>
                  </a:lnTo>
                  <a:lnTo>
                    <a:pt x="1182" y="539"/>
                  </a:lnTo>
                  <a:lnTo>
                    <a:pt x="1184" y="539"/>
                  </a:lnTo>
                  <a:lnTo>
                    <a:pt x="1184" y="539"/>
                  </a:lnTo>
                  <a:lnTo>
                    <a:pt x="1184" y="539"/>
                  </a:lnTo>
                  <a:lnTo>
                    <a:pt x="1184" y="539"/>
                  </a:lnTo>
                  <a:lnTo>
                    <a:pt x="1184" y="539"/>
                  </a:lnTo>
                  <a:lnTo>
                    <a:pt x="1184" y="539"/>
                  </a:lnTo>
                  <a:lnTo>
                    <a:pt x="1184" y="539"/>
                  </a:lnTo>
                  <a:lnTo>
                    <a:pt x="1184" y="539"/>
                  </a:lnTo>
                  <a:lnTo>
                    <a:pt x="1184" y="539"/>
                  </a:lnTo>
                  <a:lnTo>
                    <a:pt x="1184" y="539"/>
                  </a:lnTo>
                  <a:lnTo>
                    <a:pt x="1184" y="539"/>
                  </a:lnTo>
                  <a:lnTo>
                    <a:pt x="1186" y="539"/>
                  </a:lnTo>
                  <a:lnTo>
                    <a:pt x="1186" y="539"/>
                  </a:lnTo>
                  <a:lnTo>
                    <a:pt x="1186" y="539"/>
                  </a:lnTo>
                  <a:lnTo>
                    <a:pt x="1188" y="537"/>
                  </a:lnTo>
                  <a:lnTo>
                    <a:pt x="1186" y="537"/>
                  </a:lnTo>
                  <a:lnTo>
                    <a:pt x="1186" y="537"/>
                  </a:lnTo>
                  <a:lnTo>
                    <a:pt x="1186" y="537"/>
                  </a:lnTo>
                  <a:lnTo>
                    <a:pt x="1186" y="537"/>
                  </a:lnTo>
                  <a:lnTo>
                    <a:pt x="1186" y="537"/>
                  </a:lnTo>
                  <a:lnTo>
                    <a:pt x="1186" y="537"/>
                  </a:lnTo>
                  <a:lnTo>
                    <a:pt x="1186" y="539"/>
                  </a:lnTo>
                  <a:lnTo>
                    <a:pt x="1186" y="539"/>
                  </a:lnTo>
                  <a:lnTo>
                    <a:pt x="1186" y="539"/>
                  </a:lnTo>
                  <a:lnTo>
                    <a:pt x="1186" y="539"/>
                  </a:lnTo>
                  <a:lnTo>
                    <a:pt x="1186" y="537"/>
                  </a:lnTo>
                  <a:lnTo>
                    <a:pt x="1186" y="537"/>
                  </a:lnTo>
                  <a:lnTo>
                    <a:pt x="1186" y="537"/>
                  </a:lnTo>
                  <a:lnTo>
                    <a:pt x="1186" y="537"/>
                  </a:lnTo>
                  <a:lnTo>
                    <a:pt x="1186" y="537"/>
                  </a:lnTo>
                  <a:lnTo>
                    <a:pt x="1186" y="537"/>
                  </a:lnTo>
                  <a:lnTo>
                    <a:pt x="1186" y="537"/>
                  </a:lnTo>
                  <a:lnTo>
                    <a:pt x="1184" y="537"/>
                  </a:lnTo>
                  <a:lnTo>
                    <a:pt x="1184" y="537"/>
                  </a:lnTo>
                  <a:lnTo>
                    <a:pt x="1184" y="537"/>
                  </a:lnTo>
                  <a:lnTo>
                    <a:pt x="1184" y="537"/>
                  </a:lnTo>
                  <a:lnTo>
                    <a:pt x="1184" y="537"/>
                  </a:lnTo>
                  <a:lnTo>
                    <a:pt x="1184" y="537"/>
                  </a:lnTo>
                  <a:lnTo>
                    <a:pt x="1184" y="537"/>
                  </a:lnTo>
                  <a:lnTo>
                    <a:pt x="1184" y="537"/>
                  </a:lnTo>
                  <a:lnTo>
                    <a:pt x="1184" y="537"/>
                  </a:lnTo>
                  <a:lnTo>
                    <a:pt x="1184" y="537"/>
                  </a:lnTo>
                  <a:lnTo>
                    <a:pt x="1184" y="537"/>
                  </a:lnTo>
                  <a:close/>
                  <a:moveTo>
                    <a:pt x="1231" y="564"/>
                  </a:moveTo>
                  <a:lnTo>
                    <a:pt x="1229" y="564"/>
                  </a:lnTo>
                  <a:lnTo>
                    <a:pt x="1229" y="564"/>
                  </a:lnTo>
                  <a:lnTo>
                    <a:pt x="1229" y="564"/>
                  </a:lnTo>
                  <a:lnTo>
                    <a:pt x="1229" y="564"/>
                  </a:lnTo>
                  <a:lnTo>
                    <a:pt x="1229" y="564"/>
                  </a:lnTo>
                  <a:lnTo>
                    <a:pt x="1229" y="564"/>
                  </a:lnTo>
                  <a:lnTo>
                    <a:pt x="1229" y="564"/>
                  </a:lnTo>
                  <a:lnTo>
                    <a:pt x="1229" y="562"/>
                  </a:lnTo>
                  <a:lnTo>
                    <a:pt x="1229" y="562"/>
                  </a:lnTo>
                  <a:lnTo>
                    <a:pt x="1227" y="562"/>
                  </a:lnTo>
                  <a:lnTo>
                    <a:pt x="1227" y="562"/>
                  </a:lnTo>
                  <a:lnTo>
                    <a:pt x="1227" y="562"/>
                  </a:lnTo>
                  <a:lnTo>
                    <a:pt x="1227" y="562"/>
                  </a:lnTo>
                  <a:lnTo>
                    <a:pt x="1227" y="562"/>
                  </a:lnTo>
                  <a:lnTo>
                    <a:pt x="1229" y="564"/>
                  </a:lnTo>
                  <a:lnTo>
                    <a:pt x="1229" y="564"/>
                  </a:lnTo>
                  <a:lnTo>
                    <a:pt x="1229" y="564"/>
                  </a:lnTo>
                  <a:lnTo>
                    <a:pt x="1229" y="564"/>
                  </a:lnTo>
                  <a:lnTo>
                    <a:pt x="1229" y="564"/>
                  </a:lnTo>
                  <a:lnTo>
                    <a:pt x="1229" y="564"/>
                  </a:lnTo>
                  <a:lnTo>
                    <a:pt x="1229" y="564"/>
                  </a:lnTo>
                  <a:lnTo>
                    <a:pt x="1231" y="564"/>
                  </a:lnTo>
                  <a:lnTo>
                    <a:pt x="1231" y="564"/>
                  </a:lnTo>
                  <a:lnTo>
                    <a:pt x="1231" y="564"/>
                  </a:lnTo>
                  <a:lnTo>
                    <a:pt x="1231" y="564"/>
                  </a:lnTo>
                  <a:close/>
                  <a:moveTo>
                    <a:pt x="1237" y="566"/>
                  </a:moveTo>
                  <a:lnTo>
                    <a:pt x="1235" y="566"/>
                  </a:lnTo>
                  <a:lnTo>
                    <a:pt x="1235" y="564"/>
                  </a:lnTo>
                  <a:lnTo>
                    <a:pt x="1233" y="564"/>
                  </a:lnTo>
                  <a:lnTo>
                    <a:pt x="1233" y="564"/>
                  </a:lnTo>
                  <a:lnTo>
                    <a:pt x="1233" y="564"/>
                  </a:lnTo>
                  <a:lnTo>
                    <a:pt x="1233" y="564"/>
                  </a:lnTo>
                  <a:lnTo>
                    <a:pt x="1235" y="566"/>
                  </a:lnTo>
                  <a:lnTo>
                    <a:pt x="1235" y="566"/>
                  </a:lnTo>
                  <a:lnTo>
                    <a:pt x="1235" y="566"/>
                  </a:lnTo>
                  <a:lnTo>
                    <a:pt x="1237" y="566"/>
                  </a:lnTo>
                  <a:lnTo>
                    <a:pt x="1237" y="566"/>
                  </a:lnTo>
                  <a:lnTo>
                    <a:pt x="1237" y="566"/>
                  </a:lnTo>
                  <a:lnTo>
                    <a:pt x="1237" y="566"/>
                  </a:lnTo>
                  <a:lnTo>
                    <a:pt x="1237" y="566"/>
                  </a:lnTo>
                  <a:close/>
                  <a:moveTo>
                    <a:pt x="1223" y="562"/>
                  </a:moveTo>
                  <a:lnTo>
                    <a:pt x="1225" y="562"/>
                  </a:lnTo>
                  <a:lnTo>
                    <a:pt x="1225" y="562"/>
                  </a:lnTo>
                  <a:lnTo>
                    <a:pt x="1225" y="562"/>
                  </a:lnTo>
                  <a:lnTo>
                    <a:pt x="1225" y="562"/>
                  </a:lnTo>
                  <a:lnTo>
                    <a:pt x="1223" y="562"/>
                  </a:lnTo>
                  <a:close/>
                  <a:moveTo>
                    <a:pt x="1223" y="562"/>
                  </a:moveTo>
                  <a:lnTo>
                    <a:pt x="1223" y="562"/>
                  </a:lnTo>
                  <a:lnTo>
                    <a:pt x="1223" y="562"/>
                  </a:lnTo>
                  <a:lnTo>
                    <a:pt x="1223" y="562"/>
                  </a:lnTo>
                  <a:lnTo>
                    <a:pt x="1223" y="562"/>
                  </a:lnTo>
                  <a:close/>
                  <a:moveTo>
                    <a:pt x="1219" y="551"/>
                  </a:moveTo>
                  <a:lnTo>
                    <a:pt x="1221" y="549"/>
                  </a:lnTo>
                  <a:lnTo>
                    <a:pt x="1221" y="549"/>
                  </a:lnTo>
                  <a:lnTo>
                    <a:pt x="1223" y="549"/>
                  </a:lnTo>
                  <a:lnTo>
                    <a:pt x="1223" y="549"/>
                  </a:lnTo>
                  <a:lnTo>
                    <a:pt x="1223" y="549"/>
                  </a:lnTo>
                  <a:lnTo>
                    <a:pt x="1223" y="549"/>
                  </a:lnTo>
                  <a:lnTo>
                    <a:pt x="1221" y="549"/>
                  </a:lnTo>
                  <a:lnTo>
                    <a:pt x="1221" y="547"/>
                  </a:lnTo>
                  <a:lnTo>
                    <a:pt x="1223" y="547"/>
                  </a:lnTo>
                  <a:lnTo>
                    <a:pt x="1221" y="547"/>
                  </a:lnTo>
                  <a:lnTo>
                    <a:pt x="1221" y="549"/>
                  </a:lnTo>
                  <a:lnTo>
                    <a:pt x="1219" y="549"/>
                  </a:lnTo>
                  <a:lnTo>
                    <a:pt x="1217" y="549"/>
                  </a:lnTo>
                  <a:lnTo>
                    <a:pt x="1217" y="551"/>
                  </a:lnTo>
                  <a:lnTo>
                    <a:pt x="1217" y="551"/>
                  </a:lnTo>
                  <a:lnTo>
                    <a:pt x="1217" y="551"/>
                  </a:lnTo>
                  <a:lnTo>
                    <a:pt x="1217" y="551"/>
                  </a:lnTo>
                  <a:lnTo>
                    <a:pt x="1215" y="551"/>
                  </a:lnTo>
                  <a:lnTo>
                    <a:pt x="1212" y="553"/>
                  </a:lnTo>
                  <a:lnTo>
                    <a:pt x="1215" y="553"/>
                  </a:lnTo>
                  <a:lnTo>
                    <a:pt x="1215" y="553"/>
                  </a:lnTo>
                  <a:lnTo>
                    <a:pt x="1212" y="553"/>
                  </a:lnTo>
                  <a:lnTo>
                    <a:pt x="1208" y="555"/>
                  </a:lnTo>
                  <a:lnTo>
                    <a:pt x="1208" y="555"/>
                  </a:lnTo>
                  <a:lnTo>
                    <a:pt x="1208" y="555"/>
                  </a:lnTo>
                  <a:lnTo>
                    <a:pt x="1208" y="557"/>
                  </a:lnTo>
                  <a:lnTo>
                    <a:pt x="1208" y="557"/>
                  </a:lnTo>
                  <a:lnTo>
                    <a:pt x="1215" y="555"/>
                  </a:lnTo>
                  <a:lnTo>
                    <a:pt x="1215" y="555"/>
                  </a:lnTo>
                  <a:lnTo>
                    <a:pt x="1217" y="553"/>
                  </a:lnTo>
                  <a:lnTo>
                    <a:pt x="1217" y="553"/>
                  </a:lnTo>
                  <a:lnTo>
                    <a:pt x="1219" y="553"/>
                  </a:lnTo>
                  <a:lnTo>
                    <a:pt x="1219" y="551"/>
                  </a:lnTo>
                  <a:close/>
                  <a:moveTo>
                    <a:pt x="1221" y="559"/>
                  </a:moveTo>
                  <a:lnTo>
                    <a:pt x="1221" y="559"/>
                  </a:lnTo>
                  <a:lnTo>
                    <a:pt x="1221" y="559"/>
                  </a:lnTo>
                  <a:lnTo>
                    <a:pt x="1221" y="559"/>
                  </a:lnTo>
                  <a:lnTo>
                    <a:pt x="1221" y="559"/>
                  </a:lnTo>
                  <a:lnTo>
                    <a:pt x="1221" y="559"/>
                  </a:lnTo>
                  <a:lnTo>
                    <a:pt x="1221" y="559"/>
                  </a:lnTo>
                  <a:close/>
                  <a:moveTo>
                    <a:pt x="1212" y="559"/>
                  </a:moveTo>
                  <a:lnTo>
                    <a:pt x="1212" y="559"/>
                  </a:lnTo>
                  <a:lnTo>
                    <a:pt x="1215" y="559"/>
                  </a:lnTo>
                  <a:lnTo>
                    <a:pt x="1215" y="559"/>
                  </a:lnTo>
                  <a:lnTo>
                    <a:pt x="1212" y="557"/>
                  </a:lnTo>
                  <a:lnTo>
                    <a:pt x="1212" y="557"/>
                  </a:lnTo>
                  <a:lnTo>
                    <a:pt x="1210" y="559"/>
                  </a:lnTo>
                  <a:lnTo>
                    <a:pt x="1208" y="559"/>
                  </a:lnTo>
                  <a:lnTo>
                    <a:pt x="1208" y="559"/>
                  </a:lnTo>
                  <a:lnTo>
                    <a:pt x="1208" y="559"/>
                  </a:lnTo>
                  <a:lnTo>
                    <a:pt x="1208" y="557"/>
                  </a:lnTo>
                  <a:lnTo>
                    <a:pt x="1208" y="557"/>
                  </a:lnTo>
                  <a:lnTo>
                    <a:pt x="1206" y="557"/>
                  </a:lnTo>
                  <a:lnTo>
                    <a:pt x="1206" y="557"/>
                  </a:lnTo>
                  <a:lnTo>
                    <a:pt x="1206" y="557"/>
                  </a:lnTo>
                  <a:lnTo>
                    <a:pt x="1204" y="557"/>
                  </a:lnTo>
                  <a:lnTo>
                    <a:pt x="1202" y="557"/>
                  </a:lnTo>
                  <a:lnTo>
                    <a:pt x="1202" y="557"/>
                  </a:lnTo>
                  <a:lnTo>
                    <a:pt x="1202" y="557"/>
                  </a:lnTo>
                  <a:lnTo>
                    <a:pt x="1202" y="557"/>
                  </a:lnTo>
                  <a:lnTo>
                    <a:pt x="1202" y="557"/>
                  </a:lnTo>
                  <a:lnTo>
                    <a:pt x="1202" y="557"/>
                  </a:lnTo>
                  <a:lnTo>
                    <a:pt x="1202" y="557"/>
                  </a:lnTo>
                  <a:lnTo>
                    <a:pt x="1200" y="557"/>
                  </a:lnTo>
                  <a:lnTo>
                    <a:pt x="1200" y="557"/>
                  </a:lnTo>
                  <a:lnTo>
                    <a:pt x="1200" y="559"/>
                  </a:lnTo>
                  <a:lnTo>
                    <a:pt x="1200" y="559"/>
                  </a:lnTo>
                  <a:lnTo>
                    <a:pt x="1200" y="559"/>
                  </a:lnTo>
                  <a:lnTo>
                    <a:pt x="1200" y="559"/>
                  </a:lnTo>
                  <a:lnTo>
                    <a:pt x="1198" y="562"/>
                  </a:lnTo>
                  <a:lnTo>
                    <a:pt x="1198" y="564"/>
                  </a:lnTo>
                  <a:lnTo>
                    <a:pt x="1200" y="564"/>
                  </a:lnTo>
                  <a:lnTo>
                    <a:pt x="1200" y="566"/>
                  </a:lnTo>
                  <a:lnTo>
                    <a:pt x="1202" y="564"/>
                  </a:lnTo>
                  <a:lnTo>
                    <a:pt x="1200" y="564"/>
                  </a:lnTo>
                  <a:lnTo>
                    <a:pt x="1202" y="564"/>
                  </a:lnTo>
                  <a:lnTo>
                    <a:pt x="1202" y="564"/>
                  </a:lnTo>
                  <a:lnTo>
                    <a:pt x="1202" y="564"/>
                  </a:lnTo>
                  <a:lnTo>
                    <a:pt x="1202" y="564"/>
                  </a:lnTo>
                  <a:lnTo>
                    <a:pt x="1202" y="564"/>
                  </a:lnTo>
                  <a:lnTo>
                    <a:pt x="1204" y="564"/>
                  </a:lnTo>
                  <a:lnTo>
                    <a:pt x="1204" y="564"/>
                  </a:lnTo>
                  <a:lnTo>
                    <a:pt x="1200" y="566"/>
                  </a:lnTo>
                  <a:lnTo>
                    <a:pt x="1200" y="568"/>
                  </a:lnTo>
                  <a:lnTo>
                    <a:pt x="1200" y="568"/>
                  </a:lnTo>
                  <a:lnTo>
                    <a:pt x="1202" y="570"/>
                  </a:lnTo>
                  <a:lnTo>
                    <a:pt x="1202" y="570"/>
                  </a:lnTo>
                  <a:lnTo>
                    <a:pt x="1202" y="570"/>
                  </a:lnTo>
                  <a:lnTo>
                    <a:pt x="1202" y="570"/>
                  </a:lnTo>
                  <a:lnTo>
                    <a:pt x="1204" y="568"/>
                  </a:lnTo>
                  <a:lnTo>
                    <a:pt x="1204" y="566"/>
                  </a:lnTo>
                  <a:lnTo>
                    <a:pt x="1208" y="564"/>
                  </a:lnTo>
                  <a:lnTo>
                    <a:pt x="1210" y="564"/>
                  </a:lnTo>
                  <a:lnTo>
                    <a:pt x="1210" y="564"/>
                  </a:lnTo>
                  <a:lnTo>
                    <a:pt x="1212" y="564"/>
                  </a:lnTo>
                  <a:lnTo>
                    <a:pt x="1212" y="562"/>
                  </a:lnTo>
                  <a:lnTo>
                    <a:pt x="1212" y="562"/>
                  </a:lnTo>
                  <a:lnTo>
                    <a:pt x="1212" y="562"/>
                  </a:lnTo>
                  <a:lnTo>
                    <a:pt x="1212" y="562"/>
                  </a:lnTo>
                  <a:lnTo>
                    <a:pt x="1212" y="562"/>
                  </a:lnTo>
                  <a:lnTo>
                    <a:pt x="1212" y="562"/>
                  </a:lnTo>
                  <a:lnTo>
                    <a:pt x="1215" y="559"/>
                  </a:lnTo>
                  <a:lnTo>
                    <a:pt x="1215" y="559"/>
                  </a:lnTo>
                  <a:lnTo>
                    <a:pt x="1215" y="559"/>
                  </a:lnTo>
                  <a:lnTo>
                    <a:pt x="1215" y="559"/>
                  </a:lnTo>
                  <a:lnTo>
                    <a:pt x="1215" y="559"/>
                  </a:lnTo>
                  <a:lnTo>
                    <a:pt x="1215" y="559"/>
                  </a:lnTo>
                  <a:lnTo>
                    <a:pt x="1212" y="559"/>
                  </a:lnTo>
                  <a:close/>
                </a:path>
              </a:pathLst>
            </a:custGeom>
            <a:solidFill>
              <a:schemeClr val="accent1"/>
            </a:solidFill>
            <a:ln w="3175" cap="flat">
              <a:solidFill>
                <a:schemeClr val="bg1"/>
              </a:solidFill>
              <a:prstDash val="solid"/>
              <a:miter lim="800000"/>
              <a:headEnd/>
              <a:tailEnd/>
            </a:ln>
          </p:spPr>
          <p:txBody>
            <a:bodyPr vert="horz" wrap="square" lIns="816000" tIns="0" rIns="0" bIns="480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AK</a:t>
              </a:r>
            </a:p>
          </p:txBody>
        </p:sp>
        <p:sp>
          <p:nvSpPr>
            <p:cNvPr id="136" name="Freeform 25">
              <a:extLst>
                <a:ext uri="{FF2B5EF4-FFF2-40B4-BE49-F238E27FC236}">
                  <a16:creationId xmlns:a16="http://schemas.microsoft.com/office/drawing/2014/main" id="{75DF7355-C199-E66A-D0B7-550A8D72A0A4}"/>
                </a:ext>
              </a:extLst>
            </p:cNvPr>
            <p:cNvSpPr>
              <a:spLocks/>
            </p:cNvSpPr>
            <p:nvPr/>
          </p:nvSpPr>
          <p:spPr bwMode="auto">
            <a:xfrm>
              <a:off x="4928" y="264"/>
              <a:ext cx="145" cy="291"/>
            </a:xfrm>
            <a:custGeom>
              <a:avLst/>
              <a:gdLst>
                <a:gd name="T0" fmla="*/ 145 w 145"/>
                <a:gd name="T1" fmla="*/ 222 h 291"/>
                <a:gd name="T2" fmla="*/ 141 w 145"/>
                <a:gd name="T3" fmla="*/ 234 h 291"/>
                <a:gd name="T4" fmla="*/ 137 w 145"/>
                <a:gd name="T5" fmla="*/ 244 h 291"/>
                <a:gd name="T6" fmla="*/ 125 w 145"/>
                <a:gd name="T7" fmla="*/ 250 h 291"/>
                <a:gd name="T8" fmla="*/ 121 w 145"/>
                <a:gd name="T9" fmla="*/ 255 h 291"/>
                <a:gd name="T10" fmla="*/ 117 w 145"/>
                <a:gd name="T11" fmla="*/ 255 h 291"/>
                <a:gd name="T12" fmla="*/ 115 w 145"/>
                <a:gd name="T13" fmla="*/ 259 h 291"/>
                <a:gd name="T14" fmla="*/ 113 w 145"/>
                <a:gd name="T15" fmla="*/ 265 h 291"/>
                <a:gd name="T16" fmla="*/ 109 w 145"/>
                <a:gd name="T17" fmla="*/ 269 h 291"/>
                <a:gd name="T18" fmla="*/ 94 w 145"/>
                <a:gd name="T19" fmla="*/ 273 h 291"/>
                <a:gd name="T20" fmla="*/ 66 w 145"/>
                <a:gd name="T21" fmla="*/ 279 h 291"/>
                <a:gd name="T22" fmla="*/ 39 w 145"/>
                <a:gd name="T23" fmla="*/ 285 h 291"/>
                <a:gd name="T24" fmla="*/ 16 w 145"/>
                <a:gd name="T25" fmla="*/ 291 h 291"/>
                <a:gd name="T26" fmla="*/ 16 w 145"/>
                <a:gd name="T27" fmla="*/ 291 h 291"/>
                <a:gd name="T28" fmla="*/ 16 w 145"/>
                <a:gd name="T29" fmla="*/ 291 h 291"/>
                <a:gd name="T30" fmla="*/ 16 w 145"/>
                <a:gd name="T31" fmla="*/ 291 h 291"/>
                <a:gd name="T32" fmla="*/ 6 w 145"/>
                <a:gd name="T33" fmla="*/ 283 h 291"/>
                <a:gd name="T34" fmla="*/ 4 w 145"/>
                <a:gd name="T35" fmla="*/ 277 h 291"/>
                <a:gd name="T36" fmla="*/ 6 w 145"/>
                <a:gd name="T37" fmla="*/ 267 h 291"/>
                <a:gd name="T38" fmla="*/ 6 w 145"/>
                <a:gd name="T39" fmla="*/ 250 h 291"/>
                <a:gd name="T40" fmla="*/ 4 w 145"/>
                <a:gd name="T41" fmla="*/ 240 h 291"/>
                <a:gd name="T42" fmla="*/ 4 w 145"/>
                <a:gd name="T43" fmla="*/ 238 h 291"/>
                <a:gd name="T44" fmla="*/ 6 w 145"/>
                <a:gd name="T45" fmla="*/ 232 h 291"/>
                <a:gd name="T46" fmla="*/ 0 w 145"/>
                <a:gd name="T47" fmla="*/ 203 h 291"/>
                <a:gd name="T48" fmla="*/ 2 w 145"/>
                <a:gd name="T49" fmla="*/ 187 h 291"/>
                <a:gd name="T50" fmla="*/ 8 w 145"/>
                <a:gd name="T51" fmla="*/ 177 h 291"/>
                <a:gd name="T52" fmla="*/ 8 w 145"/>
                <a:gd name="T53" fmla="*/ 164 h 291"/>
                <a:gd name="T54" fmla="*/ 10 w 145"/>
                <a:gd name="T55" fmla="*/ 154 h 291"/>
                <a:gd name="T56" fmla="*/ 8 w 145"/>
                <a:gd name="T57" fmla="*/ 130 h 291"/>
                <a:gd name="T58" fmla="*/ 18 w 145"/>
                <a:gd name="T59" fmla="*/ 115 h 291"/>
                <a:gd name="T60" fmla="*/ 31 w 145"/>
                <a:gd name="T61" fmla="*/ 101 h 291"/>
                <a:gd name="T62" fmla="*/ 37 w 145"/>
                <a:gd name="T63" fmla="*/ 91 h 291"/>
                <a:gd name="T64" fmla="*/ 37 w 145"/>
                <a:gd name="T65" fmla="*/ 84 h 291"/>
                <a:gd name="T66" fmla="*/ 35 w 145"/>
                <a:gd name="T67" fmla="*/ 80 h 291"/>
                <a:gd name="T68" fmla="*/ 27 w 145"/>
                <a:gd name="T69" fmla="*/ 70 h 291"/>
                <a:gd name="T70" fmla="*/ 33 w 145"/>
                <a:gd name="T71" fmla="*/ 50 h 291"/>
                <a:gd name="T72" fmla="*/ 29 w 145"/>
                <a:gd name="T73" fmla="*/ 39 h 291"/>
                <a:gd name="T74" fmla="*/ 29 w 145"/>
                <a:gd name="T75" fmla="*/ 33 h 291"/>
                <a:gd name="T76" fmla="*/ 33 w 145"/>
                <a:gd name="T77" fmla="*/ 19 h 291"/>
                <a:gd name="T78" fmla="*/ 33 w 145"/>
                <a:gd name="T79" fmla="*/ 15 h 291"/>
                <a:gd name="T80" fmla="*/ 39 w 145"/>
                <a:gd name="T81" fmla="*/ 7 h 291"/>
                <a:gd name="T82" fmla="*/ 53 w 145"/>
                <a:gd name="T83" fmla="*/ 2 h 291"/>
                <a:gd name="T84" fmla="*/ 57 w 145"/>
                <a:gd name="T85" fmla="*/ 13 h 291"/>
                <a:gd name="T86" fmla="*/ 66 w 145"/>
                <a:gd name="T87" fmla="*/ 39 h 291"/>
                <a:gd name="T88" fmla="*/ 76 w 145"/>
                <a:gd name="T89" fmla="*/ 66 h 291"/>
                <a:gd name="T90" fmla="*/ 84 w 145"/>
                <a:gd name="T91" fmla="*/ 93 h 291"/>
                <a:gd name="T92" fmla="*/ 92 w 145"/>
                <a:gd name="T93" fmla="*/ 119 h 291"/>
                <a:gd name="T94" fmla="*/ 100 w 145"/>
                <a:gd name="T95" fmla="*/ 146 h 291"/>
                <a:gd name="T96" fmla="*/ 111 w 145"/>
                <a:gd name="T97" fmla="*/ 173 h 291"/>
                <a:gd name="T98" fmla="*/ 113 w 145"/>
                <a:gd name="T99" fmla="*/ 183 h 291"/>
                <a:gd name="T100" fmla="*/ 115 w 145"/>
                <a:gd name="T101" fmla="*/ 187 h 291"/>
                <a:gd name="T102" fmla="*/ 115 w 145"/>
                <a:gd name="T103" fmla="*/ 193 h 291"/>
                <a:gd name="T104" fmla="*/ 127 w 145"/>
                <a:gd name="T105" fmla="*/ 203 h 291"/>
                <a:gd name="T106" fmla="*/ 131 w 145"/>
                <a:gd name="T107" fmla="*/ 207 h 291"/>
                <a:gd name="T108" fmla="*/ 135 w 145"/>
                <a:gd name="T10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91">
                  <a:moveTo>
                    <a:pt x="141" y="220"/>
                  </a:moveTo>
                  <a:lnTo>
                    <a:pt x="141" y="222"/>
                  </a:lnTo>
                  <a:lnTo>
                    <a:pt x="143" y="222"/>
                  </a:lnTo>
                  <a:lnTo>
                    <a:pt x="143" y="220"/>
                  </a:lnTo>
                  <a:lnTo>
                    <a:pt x="145" y="222"/>
                  </a:lnTo>
                  <a:lnTo>
                    <a:pt x="145" y="222"/>
                  </a:lnTo>
                  <a:lnTo>
                    <a:pt x="145" y="224"/>
                  </a:lnTo>
                  <a:lnTo>
                    <a:pt x="145" y="224"/>
                  </a:lnTo>
                  <a:lnTo>
                    <a:pt x="143" y="226"/>
                  </a:lnTo>
                  <a:lnTo>
                    <a:pt x="141" y="234"/>
                  </a:lnTo>
                  <a:lnTo>
                    <a:pt x="141" y="238"/>
                  </a:lnTo>
                  <a:lnTo>
                    <a:pt x="141" y="240"/>
                  </a:lnTo>
                  <a:lnTo>
                    <a:pt x="141" y="242"/>
                  </a:lnTo>
                  <a:lnTo>
                    <a:pt x="139" y="244"/>
                  </a:lnTo>
                  <a:lnTo>
                    <a:pt x="137" y="244"/>
                  </a:lnTo>
                  <a:lnTo>
                    <a:pt x="133" y="242"/>
                  </a:lnTo>
                  <a:lnTo>
                    <a:pt x="133" y="242"/>
                  </a:lnTo>
                  <a:lnTo>
                    <a:pt x="133" y="244"/>
                  </a:lnTo>
                  <a:lnTo>
                    <a:pt x="125" y="248"/>
                  </a:lnTo>
                  <a:lnTo>
                    <a:pt x="125" y="250"/>
                  </a:lnTo>
                  <a:lnTo>
                    <a:pt x="125" y="250"/>
                  </a:lnTo>
                  <a:lnTo>
                    <a:pt x="123" y="253"/>
                  </a:lnTo>
                  <a:lnTo>
                    <a:pt x="123" y="253"/>
                  </a:lnTo>
                  <a:lnTo>
                    <a:pt x="123" y="253"/>
                  </a:lnTo>
                  <a:lnTo>
                    <a:pt x="121" y="255"/>
                  </a:lnTo>
                  <a:lnTo>
                    <a:pt x="121" y="255"/>
                  </a:lnTo>
                  <a:lnTo>
                    <a:pt x="121" y="255"/>
                  </a:lnTo>
                  <a:lnTo>
                    <a:pt x="119" y="255"/>
                  </a:lnTo>
                  <a:lnTo>
                    <a:pt x="119" y="255"/>
                  </a:lnTo>
                  <a:lnTo>
                    <a:pt x="117" y="255"/>
                  </a:lnTo>
                  <a:lnTo>
                    <a:pt x="117" y="255"/>
                  </a:lnTo>
                  <a:lnTo>
                    <a:pt x="117" y="257"/>
                  </a:lnTo>
                  <a:lnTo>
                    <a:pt x="117" y="257"/>
                  </a:lnTo>
                  <a:lnTo>
                    <a:pt x="117" y="257"/>
                  </a:lnTo>
                  <a:lnTo>
                    <a:pt x="115" y="259"/>
                  </a:lnTo>
                  <a:lnTo>
                    <a:pt x="115" y="261"/>
                  </a:lnTo>
                  <a:lnTo>
                    <a:pt x="115" y="261"/>
                  </a:lnTo>
                  <a:lnTo>
                    <a:pt x="115" y="263"/>
                  </a:lnTo>
                  <a:lnTo>
                    <a:pt x="115" y="263"/>
                  </a:lnTo>
                  <a:lnTo>
                    <a:pt x="113" y="265"/>
                  </a:lnTo>
                  <a:lnTo>
                    <a:pt x="113" y="265"/>
                  </a:lnTo>
                  <a:lnTo>
                    <a:pt x="111" y="265"/>
                  </a:lnTo>
                  <a:lnTo>
                    <a:pt x="111" y="267"/>
                  </a:lnTo>
                  <a:lnTo>
                    <a:pt x="111" y="269"/>
                  </a:lnTo>
                  <a:lnTo>
                    <a:pt x="109" y="269"/>
                  </a:lnTo>
                  <a:lnTo>
                    <a:pt x="109" y="271"/>
                  </a:lnTo>
                  <a:lnTo>
                    <a:pt x="107" y="271"/>
                  </a:lnTo>
                  <a:lnTo>
                    <a:pt x="107" y="271"/>
                  </a:lnTo>
                  <a:lnTo>
                    <a:pt x="100" y="273"/>
                  </a:lnTo>
                  <a:lnTo>
                    <a:pt x="94" y="273"/>
                  </a:lnTo>
                  <a:lnTo>
                    <a:pt x="88" y="275"/>
                  </a:lnTo>
                  <a:lnTo>
                    <a:pt x="84" y="275"/>
                  </a:lnTo>
                  <a:lnTo>
                    <a:pt x="78" y="277"/>
                  </a:lnTo>
                  <a:lnTo>
                    <a:pt x="72" y="279"/>
                  </a:lnTo>
                  <a:lnTo>
                    <a:pt x="66" y="279"/>
                  </a:lnTo>
                  <a:lnTo>
                    <a:pt x="61" y="281"/>
                  </a:lnTo>
                  <a:lnTo>
                    <a:pt x="55" y="283"/>
                  </a:lnTo>
                  <a:lnTo>
                    <a:pt x="49" y="283"/>
                  </a:lnTo>
                  <a:lnTo>
                    <a:pt x="43" y="285"/>
                  </a:lnTo>
                  <a:lnTo>
                    <a:pt x="39" y="285"/>
                  </a:lnTo>
                  <a:lnTo>
                    <a:pt x="33" y="287"/>
                  </a:lnTo>
                  <a:lnTo>
                    <a:pt x="27" y="289"/>
                  </a:lnTo>
                  <a:lnTo>
                    <a:pt x="20" y="289"/>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4" y="287"/>
                  </a:lnTo>
                  <a:lnTo>
                    <a:pt x="12" y="287"/>
                  </a:lnTo>
                  <a:lnTo>
                    <a:pt x="8" y="283"/>
                  </a:lnTo>
                  <a:lnTo>
                    <a:pt x="6" y="283"/>
                  </a:lnTo>
                  <a:lnTo>
                    <a:pt x="6" y="281"/>
                  </a:lnTo>
                  <a:lnTo>
                    <a:pt x="6" y="281"/>
                  </a:lnTo>
                  <a:lnTo>
                    <a:pt x="4" y="279"/>
                  </a:lnTo>
                  <a:lnTo>
                    <a:pt x="4" y="277"/>
                  </a:lnTo>
                  <a:lnTo>
                    <a:pt x="4" y="277"/>
                  </a:lnTo>
                  <a:lnTo>
                    <a:pt x="4" y="275"/>
                  </a:lnTo>
                  <a:lnTo>
                    <a:pt x="6" y="273"/>
                  </a:lnTo>
                  <a:lnTo>
                    <a:pt x="4" y="269"/>
                  </a:lnTo>
                  <a:lnTo>
                    <a:pt x="4" y="267"/>
                  </a:lnTo>
                  <a:lnTo>
                    <a:pt x="6" y="267"/>
                  </a:lnTo>
                  <a:lnTo>
                    <a:pt x="8" y="265"/>
                  </a:lnTo>
                  <a:lnTo>
                    <a:pt x="8" y="263"/>
                  </a:lnTo>
                  <a:lnTo>
                    <a:pt x="6" y="259"/>
                  </a:lnTo>
                  <a:lnTo>
                    <a:pt x="6" y="253"/>
                  </a:lnTo>
                  <a:lnTo>
                    <a:pt x="6" y="250"/>
                  </a:lnTo>
                  <a:lnTo>
                    <a:pt x="6" y="246"/>
                  </a:lnTo>
                  <a:lnTo>
                    <a:pt x="4" y="246"/>
                  </a:lnTo>
                  <a:lnTo>
                    <a:pt x="4" y="242"/>
                  </a:lnTo>
                  <a:lnTo>
                    <a:pt x="4" y="240"/>
                  </a:lnTo>
                  <a:lnTo>
                    <a:pt x="4" y="240"/>
                  </a:lnTo>
                  <a:lnTo>
                    <a:pt x="4" y="240"/>
                  </a:lnTo>
                  <a:lnTo>
                    <a:pt x="4" y="238"/>
                  </a:lnTo>
                  <a:lnTo>
                    <a:pt x="4" y="238"/>
                  </a:lnTo>
                  <a:lnTo>
                    <a:pt x="4" y="238"/>
                  </a:lnTo>
                  <a:lnTo>
                    <a:pt x="4" y="238"/>
                  </a:lnTo>
                  <a:lnTo>
                    <a:pt x="4" y="236"/>
                  </a:lnTo>
                  <a:lnTo>
                    <a:pt x="4" y="236"/>
                  </a:lnTo>
                  <a:lnTo>
                    <a:pt x="4" y="234"/>
                  </a:lnTo>
                  <a:lnTo>
                    <a:pt x="4" y="234"/>
                  </a:lnTo>
                  <a:lnTo>
                    <a:pt x="6" y="232"/>
                  </a:lnTo>
                  <a:lnTo>
                    <a:pt x="4" y="230"/>
                  </a:lnTo>
                  <a:lnTo>
                    <a:pt x="4" y="226"/>
                  </a:lnTo>
                  <a:lnTo>
                    <a:pt x="0" y="207"/>
                  </a:lnTo>
                  <a:lnTo>
                    <a:pt x="0" y="205"/>
                  </a:lnTo>
                  <a:lnTo>
                    <a:pt x="0" y="203"/>
                  </a:lnTo>
                  <a:lnTo>
                    <a:pt x="2" y="199"/>
                  </a:lnTo>
                  <a:lnTo>
                    <a:pt x="2" y="197"/>
                  </a:lnTo>
                  <a:lnTo>
                    <a:pt x="2" y="195"/>
                  </a:lnTo>
                  <a:lnTo>
                    <a:pt x="2" y="191"/>
                  </a:lnTo>
                  <a:lnTo>
                    <a:pt x="2" y="187"/>
                  </a:lnTo>
                  <a:lnTo>
                    <a:pt x="2" y="187"/>
                  </a:lnTo>
                  <a:lnTo>
                    <a:pt x="4" y="185"/>
                  </a:lnTo>
                  <a:lnTo>
                    <a:pt x="4" y="183"/>
                  </a:lnTo>
                  <a:lnTo>
                    <a:pt x="8" y="179"/>
                  </a:lnTo>
                  <a:lnTo>
                    <a:pt x="8" y="177"/>
                  </a:lnTo>
                  <a:lnTo>
                    <a:pt x="8" y="175"/>
                  </a:lnTo>
                  <a:lnTo>
                    <a:pt x="8" y="173"/>
                  </a:lnTo>
                  <a:lnTo>
                    <a:pt x="8" y="171"/>
                  </a:lnTo>
                  <a:lnTo>
                    <a:pt x="8" y="166"/>
                  </a:lnTo>
                  <a:lnTo>
                    <a:pt x="8" y="164"/>
                  </a:lnTo>
                  <a:lnTo>
                    <a:pt x="12" y="156"/>
                  </a:lnTo>
                  <a:lnTo>
                    <a:pt x="12" y="156"/>
                  </a:lnTo>
                  <a:lnTo>
                    <a:pt x="10" y="156"/>
                  </a:lnTo>
                  <a:lnTo>
                    <a:pt x="10" y="154"/>
                  </a:lnTo>
                  <a:lnTo>
                    <a:pt x="10" y="154"/>
                  </a:lnTo>
                  <a:lnTo>
                    <a:pt x="10" y="152"/>
                  </a:lnTo>
                  <a:lnTo>
                    <a:pt x="12" y="146"/>
                  </a:lnTo>
                  <a:lnTo>
                    <a:pt x="12" y="142"/>
                  </a:lnTo>
                  <a:lnTo>
                    <a:pt x="10" y="138"/>
                  </a:lnTo>
                  <a:lnTo>
                    <a:pt x="8" y="130"/>
                  </a:lnTo>
                  <a:lnTo>
                    <a:pt x="8" y="123"/>
                  </a:lnTo>
                  <a:lnTo>
                    <a:pt x="8" y="119"/>
                  </a:lnTo>
                  <a:lnTo>
                    <a:pt x="10" y="117"/>
                  </a:lnTo>
                  <a:lnTo>
                    <a:pt x="14" y="115"/>
                  </a:lnTo>
                  <a:lnTo>
                    <a:pt x="18" y="115"/>
                  </a:lnTo>
                  <a:lnTo>
                    <a:pt x="20" y="113"/>
                  </a:lnTo>
                  <a:lnTo>
                    <a:pt x="23" y="113"/>
                  </a:lnTo>
                  <a:lnTo>
                    <a:pt x="23" y="109"/>
                  </a:lnTo>
                  <a:lnTo>
                    <a:pt x="25" y="107"/>
                  </a:lnTo>
                  <a:lnTo>
                    <a:pt x="31" y="101"/>
                  </a:lnTo>
                  <a:lnTo>
                    <a:pt x="31" y="101"/>
                  </a:lnTo>
                  <a:lnTo>
                    <a:pt x="33" y="99"/>
                  </a:lnTo>
                  <a:lnTo>
                    <a:pt x="33" y="97"/>
                  </a:lnTo>
                  <a:lnTo>
                    <a:pt x="35" y="95"/>
                  </a:lnTo>
                  <a:lnTo>
                    <a:pt x="37" y="91"/>
                  </a:lnTo>
                  <a:lnTo>
                    <a:pt x="35" y="91"/>
                  </a:lnTo>
                  <a:lnTo>
                    <a:pt x="35" y="89"/>
                  </a:lnTo>
                  <a:lnTo>
                    <a:pt x="35" y="87"/>
                  </a:lnTo>
                  <a:lnTo>
                    <a:pt x="35" y="84"/>
                  </a:lnTo>
                  <a:lnTo>
                    <a:pt x="37" y="84"/>
                  </a:lnTo>
                  <a:lnTo>
                    <a:pt x="37" y="84"/>
                  </a:lnTo>
                  <a:lnTo>
                    <a:pt x="37" y="82"/>
                  </a:lnTo>
                  <a:lnTo>
                    <a:pt x="37" y="82"/>
                  </a:lnTo>
                  <a:lnTo>
                    <a:pt x="37" y="80"/>
                  </a:lnTo>
                  <a:lnTo>
                    <a:pt x="35" y="80"/>
                  </a:lnTo>
                  <a:lnTo>
                    <a:pt x="31" y="74"/>
                  </a:lnTo>
                  <a:lnTo>
                    <a:pt x="31" y="74"/>
                  </a:lnTo>
                  <a:lnTo>
                    <a:pt x="31" y="72"/>
                  </a:lnTo>
                  <a:lnTo>
                    <a:pt x="29" y="70"/>
                  </a:lnTo>
                  <a:lnTo>
                    <a:pt x="27" y="70"/>
                  </a:lnTo>
                  <a:lnTo>
                    <a:pt x="27" y="66"/>
                  </a:lnTo>
                  <a:lnTo>
                    <a:pt x="29" y="62"/>
                  </a:lnTo>
                  <a:lnTo>
                    <a:pt x="31" y="58"/>
                  </a:lnTo>
                  <a:lnTo>
                    <a:pt x="33" y="52"/>
                  </a:lnTo>
                  <a:lnTo>
                    <a:pt x="33" y="50"/>
                  </a:lnTo>
                  <a:lnTo>
                    <a:pt x="31" y="48"/>
                  </a:lnTo>
                  <a:lnTo>
                    <a:pt x="31" y="46"/>
                  </a:lnTo>
                  <a:lnTo>
                    <a:pt x="29" y="43"/>
                  </a:lnTo>
                  <a:lnTo>
                    <a:pt x="29" y="41"/>
                  </a:lnTo>
                  <a:lnTo>
                    <a:pt x="29" y="39"/>
                  </a:lnTo>
                  <a:lnTo>
                    <a:pt x="31" y="39"/>
                  </a:lnTo>
                  <a:lnTo>
                    <a:pt x="31" y="39"/>
                  </a:lnTo>
                  <a:lnTo>
                    <a:pt x="29" y="37"/>
                  </a:lnTo>
                  <a:lnTo>
                    <a:pt x="29" y="35"/>
                  </a:lnTo>
                  <a:lnTo>
                    <a:pt x="29" y="33"/>
                  </a:lnTo>
                  <a:lnTo>
                    <a:pt x="31" y="29"/>
                  </a:lnTo>
                  <a:lnTo>
                    <a:pt x="31" y="27"/>
                  </a:lnTo>
                  <a:lnTo>
                    <a:pt x="31" y="25"/>
                  </a:lnTo>
                  <a:lnTo>
                    <a:pt x="31" y="23"/>
                  </a:lnTo>
                  <a:lnTo>
                    <a:pt x="33" y="19"/>
                  </a:lnTo>
                  <a:lnTo>
                    <a:pt x="33" y="17"/>
                  </a:lnTo>
                  <a:lnTo>
                    <a:pt x="31" y="17"/>
                  </a:lnTo>
                  <a:lnTo>
                    <a:pt x="29" y="17"/>
                  </a:lnTo>
                  <a:lnTo>
                    <a:pt x="29" y="15"/>
                  </a:lnTo>
                  <a:lnTo>
                    <a:pt x="33" y="15"/>
                  </a:lnTo>
                  <a:lnTo>
                    <a:pt x="33" y="13"/>
                  </a:lnTo>
                  <a:lnTo>
                    <a:pt x="35" y="9"/>
                  </a:lnTo>
                  <a:lnTo>
                    <a:pt x="35" y="9"/>
                  </a:lnTo>
                  <a:lnTo>
                    <a:pt x="37" y="7"/>
                  </a:lnTo>
                  <a:lnTo>
                    <a:pt x="39" y="7"/>
                  </a:lnTo>
                  <a:lnTo>
                    <a:pt x="45" y="9"/>
                  </a:lnTo>
                  <a:lnTo>
                    <a:pt x="47" y="9"/>
                  </a:lnTo>
                  <a:lnTo>
                    <a:pt x="49" y="9"/>
                  </a:lnTo>
                  <a:lnTo>
                    <a:pt x="51" y="7"/>
                  </a:lnTo>
                  <a:lnTo>
                    <a:pt x="53" y="2"/>
                  </a:lnTo>
                  <a:lnTo>
                    <a:pt x="53" y="2"/>
                  </a:lnTo>
                  <a:lnTo>
                    <a:pt x="53" y="0"/>
                  </a:lnTo>
                  <a:lnTo>
                    <a:pt x="53" y="0"/>
                  </a:lnTo>
                  <a:lnTo>
                    <a:pt x="55" y="7"/>
                  </a:lnTo>
                  <a:lnTo>
                    <a:pt x="57" y="13"/>
                  </a:lnTo>
                  <a:lnTo>
                    <a:pt x="59" y="17"/>
                  </a:lnTo>
                  <a:lnTo>
                    <a:pt x="61" y="23"/>
                  </a:lnTo>
                  <a:lnTo>
                    <a:pt x="63" y="27"/>
                  </a:lnTo>
                  <a:lnTo>
                    <a:pt x="66" y="33"/>
                  </a:lnTo>
                  <a:lnTo>
                    <a:pt x="66" y="39"/>
                  </a:lnTo>
                  <a:lnTo>
                    <a:pt x="68" y="43"/>
                  </a:lnTo>
                  <a:lnTo>
                    <a:pt x="70" y="50"/>
                  </a:lnTo>
                  <a:lnTo>
                    <a:pt x="72" y="54"/>
                  </a:lnTo>
                  <a:lnTo>
                    <a:pt x="74" y="60"/>
                  </a:lnTo>
                  <a:lnTo>
                    <a:pt x="76" y="66"/>
                  </a:lnTo>
                  <a:lnTo>
                    <a:pt x="76" y="70"/>
                  </a:lnTo>
                  <a:lnTo>
                    <a:pt x="78" y="76"/>
                  </a:lnTo>
                  <a:lnTo>
                    <a:pt x="80" y="80"/>
                  </a:lnTo>
                  <a:lnTo>
                    <a:pt x="82" y="87"/>
                  </a:lnTo>
                  <a:lnTo>
                    <a:pt x="84" y="93"/>
                  </a:lnTo>
                  <a:lnTo>
                    <a:pt x="86" y="97"/>
                  </a:lnTo>
                  <a:lnTo>
                    <a:pt x="88" y="103"/>
                  </a:lnTo>
                  <a:lnTo>
                    <a:pt x="88" y="107"/>
                  </a:lnTo>
                  <a:lnTo>
                    <a:pt x="90" y="113"/>
                  </a:lnTo>
                  <a:lnTo>
                    <a:pt x="92" y="119"/>
                  </a:lnTo>
                  <a:lnTo>
                    <a:pt x="94" y="123"/>
                  </a:lnTo>
                  <a:lnTo>
                    <a:pt x="96" y="130"/>
                  </a:lnTo>
                  <a:lnTo>
                    <a:pt x="98" y="136"/>
                  </a:lnTo>
                  <a:lnTo>
                    <a:pt x="100" y="140"/>
                  </a:lnTo>
                  <a:lnTo>
                    <a:pt x="100" y="146"/>
                  </a:lnTo>
                  <a:lnTo>
                    <a:pt x="102" y="150"/>
                  </a:lnTo>
                  <a:lnTo>
                    <a:pt x="104" y="156"/>
                  </a:lnTo>
                  <a:lnTo>
                    <a:pt x="107" y="162"/>
                  </a:lnTo>
                  <a:lnTo>
                    <a:pt x="109" y="166"/>
                  </a:lnTo>
                  <a:lnTo>
                    <a:pt x="111" y="173"/>
                  </a:lnTo>
                  <a:lnTo>
                    <a:pt x="111" y="175"/>
                  </a:lnTo>
                  <a:lnTo>
                    <a:pt x="113" y="179"/>
                  </a:lnTo>
                  <a:lnTo>
                    <a:pt x="113" y="181"/>
                  </a:lnTo>
                  <a:lnTo>
                    <a:pt x="113" y="181"/>
                  </a:lnTo>
                  <a:lnTo>
                    <a:pt x="113" y="183"/>
                  </a:lnTo>
                  <a:lnTo>
                    <a:pt x="113" y="183"/>
                  </a:lnTo>
                  <a:lnTo>
                    <a:pt x="113" y="183"/>
                  </a:lnTo>
                  <a:lnTo>
                    <a:pt x="113" y="185"/>
                  </a:lnTo>
                  <a:lnTo>
                    <a:pt x="115" y="187"/>
                  </a:lnTo>
                  <a:lnTo>
                    <a:pt x="115" y="187"/>
                  </a:lnTo>
                  <a:lnTo>
                    <a:pt x="115" y="191"/>
                  </a:lnTo>
                  <a:lnTo>
                    <a:pt x="115" y="191"/>
                  </a:lnTo>
                  <a:lnTo>
                    <a:pt x="115" y="191"/>
                  </a:lnTo>
                  <a:lnTo>
                    <a:pt x="115" y="193"/>
                  </a:lnTo>
                  <a:lnTo>
                    <a:pt x="115" y="193"/>
                  </a:lnTo>
                  <a:lnTo>
                    <a:pt x="115" y="195"/>
                  </a:lnTo>
                  <a:lnTo>
                    <a:pt x="117" y="195"/>
                  </a:lnTo>
                  <a:lnTo>
                    <a:pt x="119" y="197"/>
                  </a:lnTo>
                  <a:lnTo>
                    <a:pt x="123" y="199"/>
                  </a:lnTo>
                  <a:lnTo>
                    <a:pt x="127" y="203"/>
                  </a:lnTo>
                  <a:lnTo>
                    <a:pt x="129" y="203"/>
                  </a:lnTo>
                  <a:lnTo>
                    <a:pt x="131" y="205"/>
                  </a:lnTo>
                  <a:lnTo>
                    <a:pt x="131" y="205"/>
                  </a:lnTo>
                  <a:lnTo>
                    <a:pt x="131" y="207"/>
                  </a:lnTo>
                  <a:lnTo>
                    <a:pt x="131" y="207"/>
                  </a:lnTo>
                  <a:lnTo>
                    <a:pt x="131" y="207"/>
                  </a:lnTo>
                  <a:lnTo>
                    <a:pt x="131" y="212"/>
                  </a:lnTo>
                  <a:lnTo>
                    <a:pt x="133" y="214"/>
                  </a:lnTo>
                  <a:lnTo>
                    <a:pt x="133" y="214"/>
                  </a:lnTo>
                  <a:lnTo>
                    <a:pt x="135" y="216"/>
                  </a:lnTo>
                  <a:lnTo>
                    <a:pt x="137" y="218"/>
                  </a:lnTo>
                  <a:lnTo>
                    <a:pt x="141" y="220"/>
                  </a:lnTo>
                  <a:lnTo>
                    <a:pt x="141" y="220"/>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96000" numCol="1" anchor="b"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H</a:t>
              </a:r>
            </a:p>
          </p:txBody>
        </p:sp>
      </p:grpSp>
      <p:grpSp>
        <p:nvGrpSpPr>
          <p:cNvPr id="137" name="Group 136">
            <a:extLst>
              <a:ext uri="{FF2B5EF4-FFF2-40B4-BE49-F238E27FC236}">
                <a16:creationId xmlns:a16="http://schemas.microsoft.com/office/drawing/2014/main" id="{6D80A9A9-C37E-39BF-A38A-DA521C794087}"/>
              </a:ext>
            </a:extLst>
          </p:cNvPr>
          <p:cNvGrpSpPr>
            <a:grpSpLocks noChangeAspect="1"/>
          </p:cNvGrpSpPr>
          <p:nvPr/>
        </p:nvGrpSpPr>
        <p:grpSpPr bwMode="auto">
          <a:xfrm>
            <a:off x="-448511" y="2313430"/>
            <a:ext cx="6638614" cy="3239494"/>
            <a:chOff x="-261" y="0"/>
            <a:chExt cx="5570" cy="2922"/>
          </a:xfrm>
        </p:grpSpPr>
        <p:sp>
          <p:nvSpPr>
            <p:cNvPr id="138" name="Freeform 5">
              <a:extLst>
                <a:ext uri="{FF2B5EF4-FFF2-40B4-BE49-F238E27FC236}">
                  <a16:creationId xmlns:a16="http://schemas.microsoft.com/office/drawing/2014/main" id="{B4D2A787-D9FC-972F-C33B-09793CF62C9A}"/>
                </a:ext>
              </a:extLst>
            </p:cNvPr>
            <p:cNvSpPr>
              <a:spLocks/>
            </p:cNvSpPr>
            <p:nvPr/>
          </p:nvSpPr>
          <p:spPr bwMode="auto">
            <a:xfrm>
              <a:off x="1812" y="549"/>
              <a:ext cx="594" cy="461"/>
            </a:xfrm>
            <a:custGeom>
              <a:avLst/>
              <a:gdLst>
                <a:gd name="T0" fmla="*/ 586 w 594"/>
                <a:gd name="T1" fmla="*/ 287 h 461"/>
                <a:gd name="T2" fmla="*/ 584 w 594"/>
                <a:gd name="T3" fmla="*/ 340 h 461"/>
                <a:gd name="T4" fmla="*/ 584 w 594"/>
                <a:gd name="T5" fmla="*/ 394 h 461"/>
                <a:gd name="T6" fmla="*/ 582 w 594"/>
                <a:gd name="T7" fmla="*/ 447 h 461"/>
                <a:gd name="T8" fmla="*/ 543 w 594"/>
                <a:gd name="T9" fmla="*/ 459 h 461"/>
                <a:gd name="T10" fmla="*/ 489 w 594"/>
                <a:gd name="T11" fmla="*/ 457 h 461"/>
                <a:gd name="T12" fmla="*/ 438 w 594"/>
                <a:gd name="T13" fmla="*/ 453 h 461"/>
                <a:gd name="T14" fmla="*/ 385 w 594"/>
                <a:gd name="T15" fmla="*/ 451 h 461"/>
                <a:gd name="T16" fmla="*/ 334 w 594"/>
                <a:gd name="T17" fmla="*/ 449 h 461"/>
                <a:gd name="T18" fmla="*/ 283 w 594"/>
                <a:gd name="T19" fmla="*/ 445 h 461"/>
                <a:gd name="T20" fmla="*/ 229 w 594"/>
                <a:gd name="T21" fmla="*/ 441 h 461"/>
                <a:gd name="T22" fmla="*/ 178 w 594"/>
                <a:gd name="T23" fmla="*/ 437 h 461"/>
                <a:gd name="T24" fmla="*/ 135 w 594"/>
                <a:gd name="T25" fmla="*/ 433 h 461"/>
                <a:gd name="T26" fmla="*/ 92 w 594"/>
                <a:gd name="T27" fmla="*/ 429 h 461"/>
                <a:gd name="T28" fmla="*/ 51 w 594"/>
                <a:gd name="T29" fmla="*/ 427 h 461"/>
                <a:gd name="T30" fmla="*/ 10 w 594"/>
                <a:gd name="T31" fmla="*/ 422 h 461"/>
                <a:gd name="T32" fmla="*/ 0 w 594"/>
                <a:gd name="T33" fmla="*/ 420 h 461"/>
                <a:gd name="T34" fmla="*/ 0 w 594"/>
                <a:gd name="T35" fmla="*/ 420 h 461"/>
                <a:gd name="T36" fmla="*/ 2 w 594"/>
                <a:gd name="T37" fmla="*/ 394 h 461"/>
                <a:gd name="T38" fmla="*/ 6 w 594"/>
                <a:gd name="T39" fmla="*/ 367 h 461"/>
                <a:gd name="T40" fmla="*/ 8 w 594"/>
                <a:gd name="T41" fmla="*/ 340 h 461"/>
                <a:gd name="T42" fmla="*/ 10 w 594"/>
                <a:gd name="T43" fmla="*/ 316 h 461"/>
                <a:gd name="T44" fmla="*/ 16 w 594"/>
                <a:gd name="T45" fmla="*/ 248 h 461"/>
                <a:gd name="T46" fmla="*/ 23 w 594"/>
                <a:gd name="T47" fmla="*/ 183 h 461"/>
                <a:gd name="T48" fmla="*/ 31 w 594"/>
                <a:gd name="T49" fmla="*/ 117 h 461"/>
                <a:gd name="T50" fmla="*/ 37 w 594"/>
                <a:gd name="T51" fmla="*/ 54 h 461"/>
                <a:gd name="T52" fmla="*/ 37 w 594"/>
                <a:gd name="T53" fmla="*/ 39 h 461"/>
                <a:gd name="T54" fmla="*/ 39 w 594"/>
                <a:gd name="T55" fmla="*/ 27 h 461"/>
                <a:gd name="T56" fmla="*/ 41 w 594"/>
                <a:gd name="T57" fmla="*/ 15 h 461"/>
                <a:gd name="T58" fmla="*/ 41 w 594"/>
                <a:gd name="T59" fmla="*/ 2 h 461"/>
                <a:gd name="T60" fmla="*/ 63 w 594"/>
                <a:gd name="T61" fmla="*/ 2 h 461"/>
                <a:gd name="T62" fmla="*/ 96 w 594"/>
                <a:gd name="T63" fmla="*/ 6 h 461"/>
                <a:gd name="T64" fmla="*/ 131 w 594"/>
                <a:gd name="T65" fmla="*/ 8 h 461"/>
                <a:gd name="T66" fmla="*/ 166 w 594"/>
                <a:gd name="T67" fmla="*/ 13 h 461"/>
                <a:gd name="T68" fmla="*/ 201 w 594"/>
                <a:gd name="T69" fmla="*/ 15 h 461"/>
                <a:gd name="T70" fmla="*/ 233 w 594"/>
                <a:gd name="T71" fmla="*/ 17 h 461"/>
                <a:gd name="T72" fmla="*/ 268 w 594"/>
                <a:gd name="T73" fmla="*/ 21 h 461"/>
                <a:gd name="T74" fmla="*/ 303 w 594"/>
                <a:gd name="T75" fmla="*/ 23 h 461"/>
                <a:gd name="T76" fmla="*/ 338 w 594"/>
                <a:gd name="T77" fmla="*/ 25 h 461"/>
                <a:gd name="T78" fmla="*/ 371 w 594"/>
                <a:gd name="T79" fmla="*/ 27 h 461"/>
                <a:gd name="T80" fmla="*/ 406 w 594"/>
                <a:gd name="T81" fmla="*/ 29 h 461"/>
                <a:gd name="T82" fmla="*/ 440 w 594"/>
                <a:gd name="T83" fmla="*/ 31 h 461"/>
                <a:gd name="T84" fmla="*/ 475 w 594"/>
                <a:gd name="T85" fmla="*/ 33 h 461"/>
                <a:gd name="T86" fmla="*/ 510 w 594"/>
                <a:gd name="T87" fmla="*/ 35 h 461"/>
                <a:gd name="T88" fmla="*/ 543 w 594"/>
                <a:gd name="T89" fmla="*/ 35 h 461"/>
                <a:gd name="T90" fmla="*/ 578 w 594"/>
                <a:gd name="T91" fmla="*/ 37 h 461"/>
                <a:gd name="T92" fmla="*/ 594 w 594"/>
                <a:gd name="T93" fmla="*/ 64 h 461"/>
                <a:gd name="T94" fmla="*/ 592 w 594"/>
                <a:gd name="T95" fmla="*/ 117 h 461"/>
                <a:gd name="T96" fmla="*/ 590 w 594"/>
                <a:gd name="T97" fmla="*/ 168 h 461"/>
                <a:gd name="T98" fmla="*/ 588 w 594"/>
                <a:gd name="T99" fmla="*/ 222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4" h="461">
                  <a:moveTo>
                    <a:pt x="588" y="248"/>
                  </a:moveTo>
                  <a:lnTo>
                    <a:pt x="588" y="261"/>
                  </a:lnTo>
                  <a:lnTo>
                    <a:pt x="588" y="275"/>
                  </a:lnTo>
                  <a:lnTo>
                    <a:pt x="586" y="287"/>
                  </a:lnTo>
                  <a:lnTo>
                    <a:pt x="586" y="302"/>
                  </a:lnTo>
                  <a:lnTo>
                    <a:pt x="586" y="314"/>
                  </a:lnTo>
                  <a:lnTo>
                    <a:pt x="586" y="328"/>
                  </a:lnTo>
                  <a:lnTo>
                    <a:pt x="584" y="340"/>
                  </a:lnTo>
                  <a:lnTo>
                    <a:pt x="584" y="355"/>
                  </a:lnTo>
                  <a:lnTo>
                    <a:pt x="584" y="367"/>
                  </a:lnTo>
                  <a:lnTo>
                    <a:pt x="584" y="381"/>
                  </a:lnTo>
                  <a:lnTo>
                    <a:pt x="584" y="394"/>
                  </a:lnTo>
                  <a:lnTo>
                    <a:pt x="582" y="408"/>
                  </a:lnTo>
                  <a:lnTo>
                    <a:pt x="582" y="420"/>
                  </a:lnTo>
                  <a:lnTo>
                    <a:pt x="582" y="435"/>
                  </a:lnTo>
                  <a:lnTo>
                    <a:pt x="582" y="447"/>
                  </a:lnTo>
                  <a:lnTo>
                    <a:pt x="582" y="461"/>
                  </a:lnTo>
                  <a:lnTo>
                    <a:pt x="567" y="459"/>
                  </a:lnTo>
                  <a:lnTo>
                    <a:pt x="555" y="459"/>
                  </a:lnTo>
                  <a:lnTo>
                    <a:pt x="543" y="459"/>
                  </a:lnTo>
                  <a:lnTo>
                    <a:pt x="528" y="459"/>
                  </a:lnTo>
                  <a:lnTo>
                    <a:pt x="516" y="457"/>
                  </a:lnTo>
                  <a:lnTo>
                    <a:pt x="502" y="457"/>
                  </a:lnTo>
                  <a:lnTo>
                    <a:pt x="489" y="457"/>
                  </a:lnTo>
                  <a:lnTo>
                    <a:pt x="477" y="455"/>
                  </a:lnTo>
                  <a:lnTo>
                    <a:pt x="463" y="455"/>
                  </a:lnTo>
                  <a:lnTo>
                    <a:pt x="451" y="455"/>
                  </a:lnTo>
                  <a:lnTo>
                    <a:pt x="438" y="453"/>
                  </a:lnTo>
                  <a:lnTo>
                    <a:pt x="424" y="453"/>
                  </a:lnTo>
                  <a:lnTo>
                    <a:pt x="412" y="453"/>
                  </a:lnTo>
                  <a:lnTo>
                    <a:pt x="399" y="451"/>
                  </a:lnTo>
                  <a:lnTo>
                    <a:pt x="385" y="451"/>
                  </a:lnTo>
                  <a:lnTo>
                    <a:pt x="373" y="451"/>
                  </a:lnTo>
                  <a:lnTo>
                    <a:pt x="360" y="449"/>
                  </a:lnTo>
                  <a:lnTo>
                    <a:pt x="346" y="449"/>
                  </a:lnTo>
                  <a:lnTo>
                    <a:pt x="334" y="449"/>
                  </a:lnTo>
                  <a:lnTo>
                    <a:pt x="322" y="447"/>
                  </a:lnTo>
                  <a:lnTo>
                    <a:pt x="307" y="447"/>
                  </a:lnTo>
                  <a:lnTo>
                    <a:pt x="295" y="445"/>
                  </a:lnTo>
                  <a:lnTo>
                    <a:pt x="283" y="445"/>
                  </a:lnTo>
                  <a:lnTo>
                    <a:pt x="268" y="443"/>
                  </a:lnTo>
                  <a:lnTo>
                    <a:pt x="256" y="443"/>
                  </a:lnTo>
                  <a:lnTo>
                    <a:pt x="244" y="441"/>
                  </a:lnTo>
                  <a:lnTo>
                    <a:pt x="229" y="441"/>
                  </a:lnTo>
                  <a:lnTo>
                    <a:pt x="217" y="441"/>
                  </a:lnTo>
                  <a:lnTo>
                    <a:pt x="205" y="439"/>
                  </a:lnTo>
                  <a:lnTo>
                    <a:pt x="190" y="439"/>
                  </a:lnTo>
                  <a:lnTo>
                    <a:pt x="178" y="437"/>
                  </a:lnTo>
                  <a:lnTo>
                    <a:pt x="166" y="437"/>
                  </a:lnTo>
                  <a:lnTo>
                    <a:pt x="156" y="435"/>
                  </a:lnTo>
                  <a:lnTo>
                    <a:pt x="145" y="435"/>
                  </a:lnTo>
                  <a:lnTo>
                    <a:pt x="135" y="433"/>
                  </a:lnTo>
                  <a:lnTo>
                    <a:pt x="123" y="433"/>
                  </a:lnTo>
                  <a:lnTo>
                    <a:pt x="113" y="431"/>
                  </a:lnTo>
                  <a:lnTo>
                    <a:pt x="102" y="431"/>
                  </a:lnTo>
                  <a:lnTo>
                    <a:pt x="92" y="429"/>
                  </a:lnTo>
                  <a:lnTo>
                    <a:pt x="82" y="429"/>
                  </a:lnTo>
                  <a:lnTo>
                    <a:pt x="72" y="429"/>
                  </a:lnTo>
                  <a:lnTo>
                    <a:pt x="61" y="427"/>
                  </a:lnTo>
                  <a:lnTo>
                    <a:pt x="51" y="427"/>
                  </a:lnTo>
                  <a:lnTo>
                    <a:pt x="41" y="424"/>
                  </a:lnTo>
                  <a:lnTo>
                    <a:pt x="31" y="424"/>
                  </a:lnTo>
                  <a:lnTo>
                    <a:pt x="20" y="422"/>
                  </a:lnTo>
                  <a:lnTo>
                    <a:pt x="10" y="422"/>
                  </a:lnTo>
                  <a:lnTo>
                    <a:pt x="0" y="420"/>
                  </a:lnTo>
                  <a:lnTo>
                    <a:pt x="0" y="420"/>
                  </a:lnTo>
                  <a:lnTo>
                    <a:pt x="0" y="420"/>
                  </a:lnTo>
                  <a:lnTo>
                    <a:pt x="0" y="420"/>
                  </a:lnTo>
                  <a:lnTo>
                    <a:pt x="0" y="420"/>
                  </a:lnTo>
                  <a:lnTo>
                    <a:pt x="0" y="420"/>
                  </a:lnTo>
                  <a:lnTo>
                    <a:pt x="0" y="420"/>
                  </a:lnTo>
                  <a:lnTo>
                    <a:pt x="0" y="420"/>
                  </a:lnTo>
                  <a:lnTo>
                    <a:pt x="0" y="414"/>
                  </a:lnTo>
                  <a:lnTo>
                    <a:pt x="2" y="408"/>
                  </a:lnTo>
                  <a:lnTo>
                    <a:pt x="2" y="400"/>
                  </a:lnTo>
                  <a:lnTo>
                    <a:pt x="2" y="394"/>
                  </a:lnTo>
                  <a:lnTo>
                    <a:pt x="4" y="388"/>
                  </a:lnTo>
                  <a:lnTo>
                    <a:pt x="4" y="381"/>
                  </a:lnTo>
                  <a:lnTo>
                    <a:pt x="4" y="375"/>
                  </a:lnTo>
                  <a:lnTo>
                    <a:pt x="6" y="367"/>
                  </a:lnTo>
                  <a:lnTo>
                    <a:pt x="6" y="361"/>
                  </a:lnTo>
                  <a:lnTo>
                    <a:pt x="6" y="355"/>
                  </a:lnTo>
                  <a:lnTo>
                    <a:pt x="6" y="349"/>
                  </a:lnTo>
                  <a:lnTo>
                    <a:pt x="8" y="340"/>
                  </a:lnTo>
                  <a:lnTo>
                    <a:pt x="8" y="334"/>
                  </a:lnTo>
                  <a:lnTo>
                    <a:pt x="8" y="328"/>
                  </a:lnTo>
                  <a:lnTo>
                    <a:pt x="10" y="322"/>
                  </a:lnTo>
                  <a:lnTo>
                    <a:pt x="10" y="316"/>
                  </a:lnTo>
                  <a:lnTo>
                    <a:pt x="12" y="299"/>
                  </a:lnTo>
                  <a:lnTo>
                    <a:pt x="14" y="283"/>
                  </a:lnTo>
                  <a:lnTo>
                    <a:pt x="16" y="265"/>
                  </a:lnTo>
                  <a:lnTo>
                    <a:pt x="16" y="248"/>
                  </a:lnTo>
                  <a:lnTo>
                    <a:pt x="18" y="232"/>
                  </a:lnTo>
                  <a:lnTo>
                    <a:pt x="20" y="215"/>
                  </a:lnTo>
                  <a:lnTo>
                    <a:pt x="23" y="199"/>
                  </a:lnTo>
                  <a:lnTo>
                    <a:pt x="23" y="183"/>
                  </a:lnTo>
                  <a:lnTo>
                    <a:pt x="25" y="166"/>
                  </a:lnTo>
                  <a:lnTo>
                    <a:pt x="27" y="150"/>
                  </a:lnTo>
                  <a:lnTo>
                    <a:pt x="29" y="133"/>
                  </a:lnTo>
                  <a:lnTo>
                    <a:pt x="31" y="117"/>
                  </a:lnTo>
                  <a:lnTo>
                    <a:pt x="31" y="101"/>
                  </a:lnTo>
                  <a:lnTo>
                    <a:pt x="33" y="86"/>
                  </a:lnTo>
                  <a:lnTo>
                    <a:pt x="35" y="70"/>
                  </a:lnTo>
                  <a:lnTo>
                    <a:pt x="37" y="54"/>
                  </a:lnTo>
                  <a:lnTo>
                    <a:pt x="37" y="49"/>
                  </a:lnTo>
                  <a:lnTo>
                    <a:pt x="37" y="47"/>
                  </a:lnTo>
                  <a:lnTo>
                    <a:pt x="37" y="43"/>
                  </a:lnTo>
                  <a:lnTo>
                    <a:pt x="37" y="39"/>
                  </a:lnTo>
                  <a:lnTo>
                    <a:pt x="39" y="37"/>
                  </a:lnTo>
                  <a:lnTo>
                    <a:pt x="39" y="33"/>
                  </a:lnTo>
                  <a:lnTo>
                    <a:pt x="39" y="31"/>
                  </a:lnTo>
                  <a:lnTo>
                    <a:pt x="39" y="27"/>
                  </a:lnTo>
                  <a:lnTo>
                    <a:pt x="39" y="25"/>
                  </a:lnTo>
                  <a:lnTo>
                    <a:pt x="39" y="21"/>
                  </a:lnTo>
                  <a:lnTo>
                    <a:pt x="41" y="19"/>
                  </a:lnTo>
                  <a:lnTo>
                    <a:pt x="41" y="15"/>
                  </a:lnTo>
                  <a:lnTo>
                    <a:pt x="41" y="13"/>
                  </a:lnTo>
                  <a:lnTo>
                    <a:pt x="41" y="8"/>
                  </a:lnTo>
                  <a:lnTo>
                    <a:pt x="41" y="4"/>
                  </a:lnTo>
                  <a:lnTo>
                    <a:pt x="41" y="2"/>
                  </a:lnTo>
                  <a:lnTo>
                    <a:pt x="41" y="0"/>
                  </a:lnTo>
                  <a:lnTo>
                    <a:pt x="45" y="0"/>
                  </a:lnTo>
                  <a:lnTo>
                    <a:pt x="55" y="2"/>
                  </a:lnTo>
                  <a:lnTo>
                    <a:pt x="63" y="2"/>
                  </a:lnTo>
                  <a:lnTo>
                    <a:pt x="72" y="2"/>
                  </a:lnTo>
                  <a:lnTo>
                    <a:pt x="80" y="4"/>
                  </a:lnTo>
                  <a:lnTo>
                    <a:pt x="88" y="4"/>
                  </a:lnTo>
                  <a:lnTo>
                    <a:pt x="96" y="6"/>
                  </a:lnTo>
                  <a:lnTo>
                    <a:pt x="106" y="6"/>
                  </a:lnTo>
                  <a:lnTo>
                    <a:pt x="115" y="6"/>
                  </a:lnTo>
                  <a:lnTo>
                    <a:pt x="123" y="8"/>
                  </a:lnTo>
                  <a:lnTo>
                    <a:pt x="131" y="8"/>
                  </a:lnTo>
                  <a:lnTo>
                    <a:pt x="139" y="11"/>
                  </a:lnTo>
                  <a:lnTo>
                    <a:pt x="150" y="11"/>
                  </a:lnTo>
                  <a:lnTo>
                    <a:pt x="158" y="11"/>
                  </a:lnTo>
                  <a:lnTo>
                    <a:pt x="166" y="13"/>
                  </a:lnTo>
                  <a:lnTo>
                    <a:pt x="174" y="13"/>
                  </a:lnTo>
                  <a:lnTo>
                    <a:pt x="182" y="13"/>
                  </a:lnTo>
                  <a:lnTo>
                    <a:pt x="190" y="15"/>
                  </a:lnTo>
                  <a:lnTo>
                    <a:pt x="201" y="15"/>
                  </a:lnTo>
                  <a:lnTo>
                    <a:pt x="209" y="15"/>
                  </a:lnTo>
                  <a:lnTo>
                    <a:pt x="217" y="17"/>
                  </a:lnTo>
                  <a:lnTo>
                    <a:pt x="225" y="17"/>
                  </a:lnTo>
                  <a:lnTo>
                    <a:pt x="233" y="17"/>
                  </a:lnTo>
                  <a:lnTo>
                    <a:pt x="244" y="19"/>
                  </a:lnTo>
                  <a:lnTo>
                    <a:pt x="252" y="19"/>
                  </a:lnTo>
                  <a:lnTo>
                    <a:pt x="260" y="19"/>
                  </a:lnTo>
                  <a:lnTo>
                    <a:pt x="268" y="21"/>
                  </a:lnTo>
                  <a:lnTo>
                    <a:pt x="276" y="21"/>
                  </a:lnTo>
                  <a:lnTo>
                    <a:pt x="287" y="21"/>
                  </a:lnTo>
                  <a:lnTo>
                    <a:pt x="295" y="23"/>
                  </a:lnTo>
                  <a:lnTo>
                    <a:pt x="303" y="23"/>
                  </a:lnTo>
                  <a:lnTo>
                    <a:pt x="311" y="23"/>
                  </a:lnTo>
                  <a:lnTo>
                    <a:pt x="319" y="23"/>
                  </a:lnTo>
                  <a:lnTo>
                    <a:pt x="328" y="25"/>
                  </a:lnTo>
                  <a:lnTo>
                    <a:pt x="338" y="25"/>
                  </a:lnTo>
                  <a:lnTo>
                    <a:pt x="346" y="25"/>
                  </a:lnTo>
                  <a:lnTo>
                    <a:pt x="354" y="27"/>
                  </a:lnTo>
                  <a:lnTo>
                    <a:pt x="363" y="27"/>
                  </a:lnTo>
                  <a:lnTo>
                    <a:pt x="371" y="27"/>
                  </a:lnTo>
                  <a:lnTo>
                    <a:pt x="381" y="27"/>
                  </a:lnTo>
                  <a:lnTo>
                    <a:pt x="389" y="29"/>
                  </a:lnTo>
                  <a:lnTo>
                    <a:pt x="397" y="29"/>
                  </a:lnTo>
                  <a:lnTo>
                    <a:pt x="406" y="29"/>
                  </a:lnTo>
                  <a:lnTo>
                    <a:pt x="414" y="29"/>
                  </a:lnTo>
                  <a:lnTo>
                    <a:pt x="424" y="31"/>
                  </a:lnTo>
                  <a:lnTo>
                    <a:pt x="432" y="31"/>
                  </a:lnTo>
                  <a:lnTo>
                    <a:pt x="440" y="31"/>
                  </a:lnTo>
                  <a:lnTo>
                    <a:pt x="449" y="31"/>
                  </a:lnTo>
                  <a:lnTo>
                    <a:pt x="457" y="33"/>
                  </a:lnTo>
                  <a:lnTo>
                    <a:pt x="467" y="33"/>
                  </a:lnTo>
                  <a:lnTo>
                    <a:pt x="475" y="33"/>
                  </a:lnTo>
                  <a:lnTo>
                    <a:pt x="483" y="33"/>
                  </a:lnTo>
                  <a:lnTo>
                    <a:pt x="492" y="33"/>
                  </a:lnTo>
                  <a:lnTo>
                    <a:pt x="500" y="35"/>
                  </a:lnTo>
                  <a:lnTo>
                    <a:pt x="510" y="35"/>
                  </a:lnTo>
                  <a:lnTo>
                    <a:pt x="518" y="35"/>
                  </a:lnTo>
                  <a:lnTo>
                    <a:pt x="526" y="35"/>
                  </a:lnTo>
                  <a:lnTo>
                    <a:pt x="535" y="35"/>
                  </a:lnTo>
                  <a:lnTo>
                    <a:pt x="543" y="35"/>
                  </a:lnTo>
                  <a:lnTo>
                    <a:pt x="551" y="37"/>
                  </a:lnTo>
                  <a:lnTo>
                    <a:pt x="561" y="37"/>
                  </a:lnTo>
                  <a:lnTo>
                    <a:pt x="569" y="37"/>
                  </a:lnTo>
                  <a:lnTo>
                    <a:pt x="578" y="37"/>
                  </a:lnTo>
                  <a:lnTo>
                    <a:pt x="586" y="37"/>
                  </a:lnTo>
                  <a:lnTo>
                    <a:pt x="594" y="37"/>
                  </a:lnTo>
                  <a:lnTo>
                    <a:pt x="594" y="52"/>
                  </a:lnTo>
                  <a:lnTo>
                    <a:pt x="594" y="64"/>
                  </a:lnTo>
                  <a:lnTo>
                    <a:pt x="594" y="78"/>
                  </a:lnTo>
                  <a:lnTo>
                    <a:pt x="594" y="90"/>
                  </a:lnTo>
                  <a:lnTo>
                    <a:pt x="592" y="103"/>
                  </a:lnTo>
                  <a:lnTo>
                    <a:pt x="592" y="117"/>
                  </a:lnTo>
                  <a:lnTo>
                    <a:pt x="592" y="129"/>
                  </a:lnTo>
                  <a:lnTo>
                    <a:pt x="592" y="144"/>
                  </a:lnTo>
                  <a:lnTo>
                    <a:pt x="592" y="156"/>
                  </a:lnTo>
                  <a:lnTo>
                    <a:pt x="590" y="168"/>
                  </a:lnTo>
                  <a:lnTo>
                    <a:pt x="590" y="183"/>
                  </a:lnTo>
                  <a:lnTo>
                    <a:pt x="590" y="195"/>
                  </a:lnTo>
                  <a:lnTo>
                    <a:pt x="590" y="209"/>
                  </a:lnTo>
                  <a:lnTo>
                    <a:pt x="588" y="222"/>
                  </a:lnTo>
                  <a:lnTo>
                    <a:pt x="588" y="236"/>
                  </a:lnTo>
                  <a:lnTo>
                    <a:pt x="588" y="248"/>
                  </a:lnTo>
                  <a:lnTo>
                    <a:pt x="588" y="248"/>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Y</a:t>
              </a:r>
            </a:p>
          </p:txBody>
        </p:sp>
        <p:sp>
          <p:nvSpPr>
            <p:cNvPr id="139" name="Freeform 6">
              <a:extLst>
                <a:ext uri="{FF2B5EF4-FFF2-40B4-BE49-F238E27FC236}">
                  <a16:creationId xmlns:a16="http://schemas.microsoft.com/office/drawing/2014/main" id="{96A13C38-B54C-E497-DEFA-83C07E3AA2AF}"/>
                </a:ext>
              </a:extLst>
            </p:cNvPr>
            <p:cNvSpPr>
              <a:spLocks/>
            </p:cNvSpPr>
            <p:nvPr/>
          </p:nvSpPr>
          <p:spPr bwMode="auto">
            <a:xfrm>
              <a:off x="4212" y="910"/>
              <a:ext cx="387" cy="379"/>
            </a:xfrm>
            <a:custGeom>
              <a:avLst/>
              <a:gdLst>
                <a:gd name="T0" fmla="*/ 262 w 387"/>
                <a:gd name="T1" fmla="*/ 117 h 379"/>
                <a:gd name="T2" fmla="*/ 273 w 387"/>
                <a:gd name="T3" fmla="*/ 102 h 379"/>
                <a:gd name="T4" fmla="*/ 289 w 387"/>
                <a:gd name="T5" fmla="*/ 94 h 379"/>
                <a:gd name="T6" fmla="*/ 293 w 387"/>
                <a:gd name="T7" fmla="*/ 86 h 379"/>
                <a:gd name="T8" fmla="*/ 299 w 387"/>
                <a:gd name="T9" fmla="*/ 82 h 379"/>
                <a:gd name="T10" fmla="*/ 303 w 387"/>
                <a:gd name="T11" fmla="*/ 86 h 379"/>
                <a:gd name="T12" fmla="*/ 324 w 387"/>
                <a:gd name="T13" fmla="*/ 80 h 379"/>
                <a:gd name="T14" fmla="*/ 338 w 387"/>
                <a:gd name="T15" fmla="*/ 68 h 379"/>
                <a:gd name="T16" fmla="*/ 369 w 387"/>
                <a:gd name="T17" fmla="*/ 68 h 379"/>
                <a:gd name="T18" fmla="*/ 375 w 387"/>
                <a:gd name="T19" fmla="*/ 74 h 379"/>
                <a:gd name="T20" fmla="*/ 381 w 387"/>
                <a:gd name="T21" fmla="*/ 82 h 379"/>
                <a:gd name="T22" fmla="*/ 385 w 387"/>
                <a:gd name="T23" fmla="*/ 111 h 379"/>
                <a:gd name="T24" fmla="*/ 336 w 387"/>
                <a:gd name="T25" fmla="*/ 92 h 379"/>
                <a:gd name="T26" fmla="*/ 334 w 387"/>
                <a:gd name="T27" fmla="*/ 113 h 379"/>
                <a:gd name="T28" fmla="*/ 334 w 387"/>
                <a:gd name="T29" fmla="*/ 123 h 379"/>
                <a:gd name="T30" fmla="*/ 324 w 387"/>
                <a:gd name="T31" fmla="*/ 145 h 379"/>
                <a:gd name="T32" fmla="*/ 316 w 387"/>
                <a:gd name="T33" fmla="*/ 156 h 379"/>
                <a:gd name="T34" fmla="*/ 305 w 387"/>
                <a:gd name="T35" fmla="*/ 170 h 379"/>
                <a:gd name="T36" fmla="*/ 289 w 387"/>
                <a:gd name="T37" fmla="*/ 180 h 379"/>
                <a:gd name="T38" fmla="*/ 283 w 387"/>
                <a:gd name="T39" fmla="*/ 199 h 379"/>
                <a:gd name="T40" fmla="*/ 262 w 387"/>
                <a:gd name="T41" fmla="*/ 213 h 379"/>
                <a:gd name="T42" fmla="*/ 244 w 387"/>
                <a:gd name="T43" fmla="*/ 203 h 379"/>
                <a:gd name="T44" fmla="*/ 242 w 387"/>
                <a:gd name="T45" fmla="*/ 219 h 379"/>
                <a:gd name="T46" fmla="*/ 236 w 387"/>
                <a:gd name="T47" fmla="*/ 236 h 379"/>
                <a:gd name="T48" fmla="*/ 230 w 387"/>
                <a:gd name="T49" fmla="*/ 252 h 379"/>
                <a:gd name="T50" fmla="*/ 211 w 387"/>
                <a:gd name="T51" fmla="*/ 297 h 379"/>
                <a:gd name="T52" fmla="*/ 213 w 387"/>
                <a:gd name="T53" fmla="*/ 316 h 379"/>
                <a:gd name="T54" fmla="*/ 211 w 387"/>
                <a:gd name="T55" fmla="*/ 326 h 379"/>
                <a:gd name="T56" fmla="*/ 195 w 387"/>
                <a:gd name="T57" fmla="*/ 338 h 379"/>
                <a:gd name="T58" fmla="*/ 174 w 387"/>
                <a:gd name="T59" fmla="*/ 348 h 379"/>
                <a:gd name="T60" fmla="*/ 168 w 387"/>
                <a:gd name="T61" fmla="*/ 344 h 379"/>
                <a:gd name="T62" fmla="*/ 164 w 387"/>
                <a:gd name="T63" fmla="*/ 352 h 379"/>
                <a:gd name="T64" fmla="*/ 137 w 387"/>
                <a:gd name="T65" fmla="*/ 369 h 379"/>
                <a:gd name="T66" fmla="*/ 125 w 387"/>
                <a:gd name="T67" fmla="*/ 363 h 379"/>
                <a:gd name="T68" fmla="*/ 113 w 387"/>
                <a:gd name="T69" fmla="*/ 371 h 379"/>
                <a:gd name="T70" fmla="*/ 90 w 387"/>
                <a:gd name="T71" fmla="*/ 375 h 379"/>
                <a:gd name="T72" fmla="*/ 80 w 387"/>
                <a:gd name="T73" fmla="*/ 369 h 379"/>
                <a:gd name="T74" fmla="*/ 72 w 387"/>
                <a:gd name="T75" fmla="*/ 359 h 379"/>
                <a:gd name="T76" fmla="*/ 70 w 387"/>
                <a:gd name="T77" fmla="*/ 350 h 379"/>
                <a:gd name="T78" fmla="*/ 51 w 387"/>
                <a:gd name="T79" fmla="*/ 346 h 379"/>
                <a:gd name="T80" fmla="*/ 37 w 387"/>
                <a:gd name="T81" fmla="*/ 338 h 379"/>
                <a:gd name="T82" fmla="*/ 23 w 387"/>
                <a:gd name="T83" fmla="*/ 318 h 379"/>
                <a:gd name="T84" fmla="*/ 10 w 387"/>
                <a:gd name="T85" fmla="*/ 305 h 379"/>
                <a:gd name="T86" fmla="*/ 2 w 387"/>
                <a:gd name="T87" fmla="*/ 287 h 379"/>
                <a:gd name="T88" fmla="*/ 4 w 387"/>
                <a:gd name="T89" fmla="*/ 279 h 379"/>
                <a:gd name="T90" fmla="*/ 6 w 387"/>
                <a:gd name="T91" fmla="*/ 264 h 379"/>
                <a:gd name="T92" fmla="*/ 31 w 387"/>
                <a:gd name="T93" fmla="*/ 236 h 379"/>
                <a:gd name="T94" fmla="*/ 29 w 387"/>
                <a:gd name="T95" fmla="*/ 207 h 379"/>
                <a:gd name="T96" fmla="*/ 49 w 387"/>
                <a:gd name="T97" fmla="*/ 201 h 379"/>
                <a:gd name="T98" fmla="*/ 53 w 387"/>
                <a:gd name="T99" fmla="*/ 199 h 379"/>
                <a:gd name="T100" fmla="*/ 53 w 387"/>
                <a:gd name="T101" fmla="*/ 186 h 379"/>
                <a:gd name="T102" fmla="*/ 64 w 387"/>
                <a:gd name="T103" fmla="*/ 162 h 379"/>
                <a:gd name="T104" fmla="*/ 82 w 387"/>
                <a:gd name="T105" fmla="*/ 148 h 379"/>
                <a:gd name="T106" fmla="*/ 107 w 387"/>
                <a:gd name="T107" fmla="*/ 129 h 379"/>
                <a:gd name="T108" fmla="*/ 121 w 387"/>
                <a:gd name="T109" fmla="*/ 98 h 379"/>
                <a:gd name="T110" fmla="*/ 123 w 387"/>
                <a:gd name="T111" fmla="*/ 80 h 379"/>
                <a:gd name="T112" fmla="*/ 125 w 387"/>
                <a:gd name="T113" fmla="*/ 61 h 379"/>
                <a:gd name="T114" fmla="*/ 129 w 387"/>
                <a:gd name="T115" fmla="*/ 31 h 379"/>
                <a:gd name="T116" fmla="*/ 121 w 387"/>
                <a:gd name="T117" fmla="*/ 6 h 379"/>
                <a:gd name="T118" fmla="*/ 131 w 387"/>
                <a:gd name="T119" fmla="*/ 2 h 379"/>
                <a:gd name="T120" fmla="*/ 170 w 387"/>
                <a:gd name="T121" fmla="*/ 9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7" h="379">
                  <a:moveTo>
                    <a:pt x="236" y="82"/>
                  </a:moveTo>
                  <a:lnTo>
                    <a:pt x="244" y="135"/>
                  </a:lnTo>
                  <a:lnTo>
                    <a:pt x="246" y="137"/>
                  </a:lnTo>
                  <a:lnTo>
                    <a:pt x="246" y="137"/>
                  </a:lnTo>
                  <a:lnTo>
                    <a:pt x="246" y="135"/>
                  </a:lnTo>
                  <a:lnTo>
                    <a:pt x="248" y="135"/>
                  </a:lnTo>
                  <a:lnTo>
                    <a:pt x="254" y="125"/>
                  </a:lnTo>
                  <a:lnTo>
                    <a:pt x="256" y="125"/>
                  </a:lnTo>
                  <a:lnTo>
                    <a:pt x="258" y="123"/>
                  </a:lnTo>
                  <a:lnTo>
                    <a:pt x="260" y="123"/>
                  </a:lnTo>
                  <a:lnTo>
                    <a:pt x="260" y="123"/>
                  </a:lnTo>
                  <a:lnTo>
                    <a:pt x="260" y="121"/>
                  </a:lnTo>
                  <a:lnTo>
                    <a:pt x="260" y="119"/>
                  </a:lnTo>
                  <a:lnTo>
                    <a:pt x="262" y="117"/>
                  </a:lnTo>
                  <a:lnTo>
                    <a:pt x="264" y="115"/>
                  </a:lnTo>
                  <a:lnTo>
                    <a:pt x="266" y="113"/>
                  </a:lnTo>
                  <a:lnTo>
                    <a:pt x="266" y="113"/>
                  </a:lnTo>
                  <a:lnTo>
                    <a:pt x="268" y="113"/>
                  </a:lnTo>
                  <a:lnTo>
                    <a:pt x="268" y="111"/>
                  </a:lnTo>
                  <a:lnTo>
                    <a:pt x="271" y="109"/>
                  </a:lnTo>
                  <a:lnTo>
                    <a:pt x="271" y="109"/>
                  </a:lnTo>
                  <a:lnTo>
                    <a:pt x="271" y="109"/>
                  </a:lnTo>
                  <a:lnTo>
                    <a:pt x="271" y="109"/>
                  </a:lnTo>
                  <a:lnTo>
                    <a:pt x="271" y="107"/>
                  </a:lnTo>
                  <a:lnTo>
                    <a:pt x="271" y="104"/>
                  </a:lnTo>
                  <a:lnTo>
                    <a:pt x="271" y="104"/>
                  </a:lnTo>
                  <a:lnTo>
                    <a:pt x="271" y="102"/>
                  </a:lnTo>
                  <a:lnTo>
                    <a:pt x="273" y="102"/>
                  </a:lnTo>
                  <a:lnTo>
                    <a:pt x="275" y="100"/>
                  </a:lnTo>
                  <a:lnTo>
                    <a:pt x="275" y="100"/>
                  </a:lnTo>
                  <a:lnTo>
                    <a:pt x="277" y="100"/>
                  </a:lnTo>
                  <a:lnTo>
                    <a:pt x="277" y="100"/>
                  </a:lnTo>
                  <a:lnTo>
                    <a:pt x="279" y="100"/>
                  </a:lnTo>
                  <a:lnTo>
                    <a:pt x="281" y="102"/>
                  </a:lnTo>
                  <a:lnTo>
                    <a:pt x="281" y="102"/>
                  </a:lnTo>
                  <a:lnTo>
                    <a:pt x="283" y="102"/>
                  </a:lnTo>
                  <a:lnTo>
                    <a:pt x="283" y="102"/>
                  </a:lnTo>
                  <a:lnTo>
                    <a:pt x="285" y="102"/>
                  </a:lnTo>
                  <a:lnTo>
                    <a:pt x="285" y="102"/>
                  </a:lnTo>
                  <a:lnTo>
                    <a:pt x="285" y="100"/>
                  </a:lnTo>
                  <a:lnTo>
                    <a:pt x="285" y="100"/>
                  </a:lnTo>
                  <a:lnTo>
                    <a:pt x="289" y="94"/>
                  </a:lnTo>
                  <a:lnTo>
                    <a:pt x="289" y="92"/>
                  </a:lnTo>
                  <a:lnTo>
                    <a:pt x="291" y="90"/>
                  </a:lnTo>
                  <a:lnTo>
                    <a:pt x="291" y="90"/>
                  </a:lnTo>
                  <a:lnTo>
                    <a:pt x="291" y="90"/>
                  </a:lnTo>
                  <a:lnTo>
                    <a:pt x="291" y="90"/>
                  </a:lnTo>
                  <a:lnTo>
                    <a:pt x="291" y="88"/>
                  </a:lnTo>
                  <a:lnTo>
                    <a:pt x="291" y="88"/>
                  </a:lnTo>
                  <a:lnTo>
                    <a:pt x="293" y="88"/>
                  </a:lnTo>
                  <a:lnTo>
                    <a:pt x="293" y="88"/>
                  </a:lnTo>
                  <a:lnTo>
                    <a:pt x="293" y="88"/>
                  </a:lnTo>
                  <a:lnTo>
                    <a:pt x="293" y="88"/>
                  </a:lnTo>
                  <a:lnTo>
                    <a:pt x="293" y="86"/>
                  </a:lnTo>
                  <a:lnTo>
                    <a:pt x="293" y="86"/>
                  </a:lnTo>
                  <a:lnTo>
                    <a:pt x="293" y="86"/>
                  </a:lnTo>
                  <a:lnTo>
                    <a:pt x="293" y="86"/>
                  </a:lnTo>
                  <a:lnTo>
                    <a:pt x="293" y="84"/>
                  </a:lnTo>
                  <a:lnTo>
                    <a:pt x="295" y="82"/>
                  </a:lnTo>
                  <a:lnTo>
                    <a:pt x="295" y="82"/>
                  </a:lnTo>
                  <a:lnTo>
                    <a:pt x="295" y="80"/>
                  </a:lnTo>
                  <a:lnTo>
                    <a:pt x="295" y="80"/>
                  </a:lnTo>
                  <a:lnTo>
                    <a:pt x="295" y="80"/>
                  </a:lnTo>
                  <a:lnTo>
                    <a:pt x="295" y="80"/>
                  </a:lnTo>
                  <a:lnTo>
                    <a:pt x="295" y="80"/>
                  </a:lnTo>
                  <a:lnTo>
                    <a:pt x="297" y="80"/>
                  </a:lnTo>
                  <a:lnTo>
                    <a:pt x="297" y="80"/>
                  </a:lnTo>
                  <a:lnTo>
                    <a:pt x="297" y="82"/>
                  </a:lnTo>
                  <a:lnTo>
                    <a:pt x="299" y="82"/>
                  </a:lnTo>
                  <a:lnTo>
                    <a:pt x="299" y="82"/>
                  </a:lnTo>
                  <a:lnTo>
                    <a:pt x="299" y="82"/>
                  </a:lnTo>
                  <a:lnTo>
                    <a:pt x="299" y="82"/>
                  </a:lnTo>
                  <a:lnTo>
                    <a:pt x="297" y="84"/>
                  </a:lnTo>
                  <a:lnTo>
                    <a:pt x="297" y="84"/>
                  </a:lnTo>
                  <a:lnTo>
                    <a:pt x="297" y="84"/>
                  </a:lnTo>
                  <a:lnTo>
                    <a:pt x="297" y="84"/>
                  </a:lnTo>
                  <a:lnTo>
                    <a:pt x="297" y="84"/>
                  </a:lnTo>
                  <a:lnTo>
                    <a:pt x="297" y="84"/>
                  </a:lnTo>
                  <a:lnTo>
                    <a:pt x="297" y="86"/>
                  </a:lnTo>
                  <a:lnTo>
                    <a:pt x="297" y="86"/>
                  </a:lnTo>
                  <a:lnTo>
                    <a:pt x="299" y="86"/>
                  </a:lnTo>
                  <a:lnTo>
                    <a:pt x="299" y="86"/>
                  </a:lnTo>
                  <a:lnTo>
                    <a:pt x="299" y="86"/>
                  </a:lnTo>
                  <a:lnTo>
                    <a:pt x="303" y="86"/>
                  </a:lnTo>
                  <a:lnTo>
                    <a:pt x="303" y="88"/>
                  </a:lnTo>
                  <a:lnTo>
                    <a:pt x="303" y="88"/>
                  </a:lnTo>
                  <a:lnTo>
                    <a:pt x="305" y="88"/>
                  </a:lnTo>
                  <a:lnTo>
                    <a:pt x="307" y="88"/>
                  </a:lnTo>
                  <a:lnTo>
                    <a:pt x="314" y="88"/>
                  </a:lnTo>
                  <a:lnTo>
                    <a:pt x="314" y="88"/>
                  </a:lnTo>
                  <a:lnTo>
                    <a:pt x="318" y="86"/>
                  </a:lnTo>
                  <a:lnTo>
                    <a:pt x="322" y="86"/>
                  </a:lnTo>
                  <a:lnTo>
                    <a:pt x="326" y="84"/>
                  </a:lnTo>
                  <a:lnTo>
                    <a:pt x="326" y="82"/>
                  </a:lnTo>
                  <a:lnTo>
                    <a:pt x="324" y="82"/>
                  </a:lnTo>
                  <a:lnTo>
                    <a:pt x="324" y="82"/>
                  </a:lnTo>
                  <a:lnTo>
                    <a:pt x="324" y="80"/>
                  </a:lnTo>
                  <a:lnTo>
                    <a:pt x="324" y="80"/>
                  </a:lnTo>
                  <a:lnTo>
                    <a:pt x="326" y="80"/>
                  </a:lnTo>
                  <a:lnTo>
                    <a:pt x="326" y="78"/>
                  </a:lnTo>
                  <a:lnTo>
                    <a:pt x="324" y="76"/>
                  </a:lnTo>
                  <a:lnTo>
                    <a:pt x="324" y="76"/>
                  </a:lnTo>
                  <a:lnTo>
                    <a:pt x="326" y="76"/>
                  </a:lnTo>
                  <a:lnTo>
                    <a:pt x="328" y="76"/>
                  </a:lnTo>
                  <a:lnTo>
                    <a:pt x="328" y="74"/>
                  </a:lnTo>
                  <a:lnTo>
                    <a:pt x="330" y="74"/>
                  </a:lnTo>
                  <a:lnTo>
                    <a:pt x="332" y="72"/>
                  </a:lnTo>
                  <a:lnTo>
                    <a:pt x="334" y="72"/>
                  </a:lnTo>
                  <a:lnTo>
                    <a:pt x="336" y="72"/>
                  </a:lnTo>
                  <a:lnTo>
                    <a:pt x="336" y="72"/>
                  </a:lnTo>
                  <a:lnTo>
                    <a:pt x="338" y="70"/>
                  </a:lnTo>
                  <a:lnTo>
                    <a:pt x="338" y="68"/>
                  </a:lnTo>
                  <a:lnTo>
                    <a:pt x="340" y="66"/>
                  </a:lnTo>
                  <a:lnTo>
                    <a:pt x="340" y="63"/>
                  </a:lnTo>
                  <a:lnTo>
                    <a:pt x="342" y="63"/>
                  </a:lnTo>
                  <a:lnTo>
                    <a:pt x="342" y="63"/>
                  </a:lnTo>
                  <a:lnTo>
                    <a:pt x="346" y="63"/>
                  </a:lnTo>
                  <a:lnTo>
                    <a:pt x="350" y="63"/>
                  </a:lnTo>
                  <a:lnTo>
                    <a:pt x="359" y="70"/>
                  </a:lnTo>
                  <a:lnTo>
                    <a:pt x="361" y="70"/>
                  </a:lnTo>
                  <a:lnTo>
                    <a:pt x="363" y="70"/>
                  </a:lnTo>
                  <a:lnTo>
                    <a:pt x="365" y="70"/>
                  </a:lnTo>
                  <a:lnTo>
                    <a:pt x="365" y="70"/>
                  </a:lnTo>
                  <a:lnTo>
                    <a:pt x="367" y="70"/>
                  </a:lnTo>
                  <a:lnTo>
                    <a:pt x="369" y="70"/>
                  </a:lnTo>
                  <a:lnTo>
                    <a:pt x="369" y="68"/>
                  </a:lnTo>
                  <a:lnTo>
                    <a:pt x="369" y="68"/>
                  </a:lnTo>
                  <a:lnTo>
                    <a:pt x="371" y="68"/>
                  </a:lnTo>
                  <a:lnTo>
                    <a:pt x="371" y="68"/>
                  </a:lnTo>
                  <a:lnTo>
                    <a:pt x="373" y="68"/>
                  </a:lnTo>
                  <a:lnTo>
                    <a:pt x="375" y="70"/>
                  </a:lnTo>
                  <a:lnTo>
                    <a:pt x="375" y="70"/>
                  </a:lnTo>
                  <a:lnTo>
                    <a:pt x="373" y="72"/>
                  </a:lnTo>
                  <a:lnTo>
                    <a:pt x="371" y="74"/>
                  </a:lnTo>
                  <a:lnTo>
                    <a:pt x="371" y="74"/>
                  </a:lnTo>
                  <a:lnTo>
                    <a:pt x="373" y="78"/>
                  </a:lnTo>
                  <a:lnTo>
                    <a:pt x="375" y="78"/>
                  </a:lnTo>
                  <a:lnTo>
                    <a:pt x="375" y="76"/>
                  </a:lnTo>
                  <a:lnTo>
                    <a:pt x="375" y="76"/>
                  </a:lnTo>
                  <a:lnTo>
                    <a:pt x="375" y="74"/>
                  </a:lnTo>
                  <a:lnTo>
                    <a:pt x="375" y="74"/>
                  </a:lnTo>
                  <a:lnTo>
                    <a:pt x="377" y="76"/>
                  </a:lnTo>
                  <a:lnTo>
                    <a:pt x="377" y="76"/>
                  </a:lnTo>
                  <a:lnTo>
                    <a:pt x="375" y="78"/>
                  </a:lnTo>
                  <a:lnTo>
                    <a:pt x="375" y="78"/>
                  </a:lnTo>
                  <a:lnTo>
                    <a:pt x="377" y="80"/>
                  </a:lnTo>
                  <a:lnTo>
                    <a:pt x="379" y="78"/>
                  </a:lnTo>
                  <a:lnTo>
                    <a:pt x="379" y="78"/>
                  </a:lnTo>
                  <a:lnTo>
                    <a:pt x="381" y="78"/>
                  </a:lnTo>
                  <a:lnTo>
                    <a:pt x="381" y="78"/>
                  </a:lnTo>
                  <a:lnTo>
                    <a:pt x="381" y="78"/>
                  </a:lnTo>
                  <a:lnTo>
                    <a:pt x="379" y="80"/>
                  </a:lnTo>
                  <a:lnTo>
                    <a:pt x="379" y="82"/>
                  </a:lnTo>
                  <a:lnTo>
                    <a:pt x="381" y="82"/>
                  </a:lnTo>
                  <a:lnTo>
                    <a:pt x="379" y="84"/>
                  </a:lnTo>
                  <a:lnTo>
                    <a:pt x="381" y="84"/>
                  </a:lnTo>
                  <a:lnTo>
                    <a:pt x="385" y="86"/>
                  </a:lnTo>
                  <a:lnTo>
                    <a:pt x="385" y="88"/>
                  </a:lnTo>
                  <a:lnTo>
                    <a:pt x="385" y="88"/>
                  </a:lnTo>
                  <a:lnTo>
                    <a:pt x="385" y="92"/>
                  </a:lnTo>
                  <a:lnTo>
                    <a:pt x="385" y="92"/>
                  </a:lnTo>
                  <a:lnTo>
                    <a:pt x="387" y="94"/>
                  </a:lnTo>
                  <a:lnTo>
                    <a:pt x="387" y="94"/>
                  </a:lnTo>
                  <a:lnTo>
                    <a:pt x="387" y="96"/>
                  </a:lnTo>
                  <a:lnTo>
                    <a:pt x="387" y="96"/>
                  </a:lnTo>
                  <a:lnTo>
                    <a:pt x="387" y="100"/>
                  </a:lnTo>
                  <a:lnTo>
                    <a:pt x="385" y="104"/>
                  </a:lnTo>
                  <a:lnTo>
                    <a:pt x="385" y="111"/>
                  </a:lnTo>
                  <a:lnTo>
                    <a:pt x="383" y="113"/>
                  </a:lnTo>
                  <a:lnTo>
                    <a:pt x="383" y="115"/>
                  </a:lnTo>
                  <a:lnTo>
                    <a:pt x="383" y="117"/>
                  </a:lnTo>
                  <a:lnTo>
                    <a:pt x="383" y="115"/>
                  </a:lnTo>
                  <a:lnTo>
                    <a:pt x="381" y="115"/>
                  </a:lnTo>
                  <a:lnTo>
                    <a:pt x="377" y="113"/>
                  </a:lnTo>
                  <a:lnTo>
                    <a:pt x="371" y="111"/>
                  </a:lnTo>
                  <a:lnTo>
                    <a:pt x="365" y="107"/>
                  </a:lnTo>
                  <a:lnTo>
                    <a:pt x="361" y="104"/>
                  </a:lnTo>
                  <a:lnTo>
                    <a:pt x="354" y="100"/>
                  </a:lnTo>
                  <a:lnTo>
                    <a:pt x="348" y="98"/>
                  </a:lnTo>
                  <a:lnTo>
                    <a:pt x="344" y="96"/>
                  </a:lnTo>
                  <a:lnTo>
                    <a:pt x="338" y="92"/>
                  </a:lnTo>
                  <a:lnTo>
                    <a:pt x="336" y="92"/>
                  </a:lnTo>
                  <a:lnTo>
                    <a:pt x="336" y="92"/>
                  </a:lnTo>
                  <a:lnTo>
                    <a:pt x="334" y="94"/>
                  </a:lnTo>
                  <a:lnTo>
                    <a:pt x="334" y="96"/>
                  </a:lnTo>
                  <a:lnTo>
                    <a:pt x="334" y="96"/>
                  </a:lnTo>
                  <a:lnTo>
                    <a:pt x="334" y="98"/>
                  </a:lnTo>
                  <a:lnTo>
                    <a:pt x="336" y="100"/>
                  </a:lnTo>
                  <a:lnTo>
                    <a:pt x="336" y="102"/>
                  </a:lnTo>
                  <a:lnTo>
                    <a:pt x="336" y="104"/>
                  </a:lnTo>
                  <a:lnTo>
                    <a:pt x="336" y="104"/>
                  </a:lnTo>
                  <a:lnTo>
                    <a:pt x="336" y="104"/>
                  </a:lnTo>
                  <a:lnTo>
                    <a:pt x="336" y="109"/>
                  </a:lnTo>
                  <a:lnTo>
                    <a:pt x="334" y="111"/>
                  </a:lnTo>
                  <a:lnTo>
                    <a:pt x="334" y="113"/>
                  </a:lnTo>
                  <a:lnTo>
                    <a:pt x="334" y="113"/>
                  </a:lnTo>
                  <a:lnTo>
                    <a:pt x="334" y="113"/>
                  </a:lnTo>
                  <a:lnTo>
                    <a:pt x="334" y="113"/>
                  </a:lnTo>
                  <a:lnTo>
                    <a:pt x="334" y="115"/>
                  </a:lnTo>
                  <a:lnTo>
                    <a:pt x="334" y="115"/>
                  </a:lnTo>
                  <a:lnTo>
                    <a:pt x="334" y="115"/>
                  </a:lnTo>
                  <a:lnTo>
                    <a:pt x="334" y="117"/>
                  </a:lnTo>
                  <a:lnTo>
                    <a:pt x="334" y="117"/>
                  </a:lnTo>
                  <a:lnTo>
                    <a:pt x="334" y="119"/>
                  </a:lnTo>
                  <a:lnTo>
                    <a:pt x="334" y="119"/>
                  </a:lnTo>
                  <a:lnTo>
                    <a:pt x="334" y="121"/>
                  </a:lnTo>
                  <a:lnTo>
                    <a:pt x="334" y="121"/>
                  </a:lnTo>
                  <a:lnTo>
                    <a:pt x="334" y="121"/>
                  </a:lnTo>
                  <a:lnTo>
                    <a:pt x="334" y="123"/>
                  </a:lnTo>
                  <a:lnTo>
                    <a:pt x="334" y="123"/>
                  </a:lnTo>
                  <a:lnTo>
                    <a:pt x="334" y="123"/>
                  </a:lnTo>
                  <a:lnTo>
                    <a:pt x="334" y="123"/>
                  </a:lnTo>
                  <a:lnTo>
                    <a:pt x="334" y="125"/>
                  </a:lnTo>
                  <a:lnTo>
                    <a:pt x="332" y="129"/>
                  </a:lnTo>
                  <a:lnTo>
                    <a:pt x="330" y="131"/>
                  </a:lnTo>
                  <a:lnTo>
                    <a:pt x="328" y="135"/>
                  </a:lnTo>
                  <a:lnTo>
                    <a:pt x="326" y="139"/>
                  </a:lnTo>
                  <a:lnTo>
                    <a:pt x="326" y="139"/>
                  </a:lnTo>
                  <a:lnTo>
                    <a:pt x="326" y="139"/>
                  </a:lnTo>
                  <a:lnTo>
                    <a:pt x="326" y="139"/>
                  </a:lnTo>
                  <a:lnTo>
                    <a:pt x="326" y="139"/>
                  </a:lnTo>
                  <a:lnTo>
                    <a:pt x="326" y="141"/>
                  </a:lnTo>
                  <a:lnTo>
                    <a:pt x="326" y="141"/>
                  </a:lnTo>
                  <a:lnTo>
                    <a:pt x="324" y="145"/>
                  </a:lnTo>
                  <a:lnTo>
                    <a:pt x="324" y="145"/>
                  </a:lnTo>
                  <a:lnTo>
                    <a:pt x="324" y="145"/>
                  </a:lnTo>
                  <a:lnTo>
                    <a:pt x="322" y="148"/>
                  </a:lnTo>
                  <a:lnTo>
                    <a:pt x="322" y="148"/>
                  </a:lnTo>
                  <a:lnTo>
                    <a:pt x="322" y="148"/>
                  </a:lnTo>
                  <a:lnTo>
                    <a:pt x="320" y="148"/>
                  </a:lnTo>
                  <a:lnTo>
                    <a:pt x="320" y="150"/>
                  </a:lnTo>
                  <a:lnTo>
                    <a:pt x="320" y="152"/>
                  </a:lnTo>
                  <a:lnTo>
                    <a:pt x="320" y="152"/>
                  </a:lnTo>
                  <a:lnTo>
                    <a:pt x="320" y="152"/>
                  </a:lnTo>
                  <a:lnTo>
                    <a:pt x="318" y="154"/>
                  </a:lnTo>
                  <a:lnTo>
                    <a:pt x="316" y="154"/>
                  </a:lnTo>
                  <a:lnTo>
                    <a:pt x="316" y="154"/>
                  </a:lnTo>
                  <a:lnTo>
                    <a:pt x="316" y="156"/>
                  </a:lnTo>
                  <a:lnTo>
                    <a:pt x="316" y="154"/>
                  </a:lnTo>
                  <a:lnTo>
                    <a:pt x="314" y="154"/>
                  </a:lnTo>
                  <a:lnTo>
                    <a:pt x="314" y="154"/>
                  </a:lnTo>
                  <a:lnTo>
                    <a:pt x="314" y="154"/>
                  </a:lnTo>
                  <a:lnTo>
                    <a:pt x="314" y="154"/>
                  </a:lnTo>
                  <a:lnTo>
                    <a:pt x="314" y="154"/>
                  </a:lnTo>
                  <a:lnTo>
                    <a:pt x="314" y="154"/>
                  </a:lnTo>
                  <a:lnTo>
                    <a:pt x="311" y="154"/>
                  </a:lnTo>
                  <a:lnTo>
                    <a:pt x="311" y="158"/>
                  </a:lnTo>
                  <a:lnTo>
                    <a:pt x="309" y="162"/>
                  </a:lnTo>
                  <a:lnTo>
                    <a:pt x="307" y="166"/>
                  </a:lnTo>
                  <a:lnTo>
                    <a:pt x="305" y="170"/>
                  </a:lnTo>
                  <a:lnTo>
                    <a:pt x="305" y="170"/>
                  </a:lnTo>
                  <a:lnTo>
                    <a:pt x="305" y="170"/>
                  </a:lnTo>
                  <a:lnTo>
                    <a:pt x="303" y="170"/>
                  </a:lnTo>
                  <a:lnTo>
                    <a:pt x="301" y="170"/>
                  </a:lnTo>
                  <a:lnTo>
                    <a:pt x="297" y="168"/>
                  </a:lnTo>
                  <a:lnTo>
                    <a:pt x="293" y="166"/>
                  </a:lnTo>
                  <a:lnTo>
                    <a:pt x="293" y="166"/>
                  </a:lnTo>
                  <a:lnTo>
                    <a:pt x="293" y="168"/>
                  </a:lnTo>
                  <a:lnTo>
                    <a:pt x="291" y="172"/>
                  </a:lnTo>
                  <a:lnTo>
                    <a:pt x="289" y="174"/>
                  </a:lnTo>
                  <a:lnTo>
                    <a:pt x="289" y="174"/>
                  </a:lnTo>
                  <a:lnTo>
                    <a:pt x="289" y="174"/>
                  </a:lnTo>
                  <a:lnTo>
                    <a:pt x="289" y="176"/>
                  </a:lnTo>
                  <a:lnTo>
                    <a:pt x="289" y="176"/>
                  </a:lnTo>
                  <a:lnTo>
                    <a:pt x="289" y="178"/>
                  </a:lnTo>
                  <a:lnTo>
                    <a:pt x="289" y="180"/>
                  </a:lnTo>
                  <a:lnTo>
                    <a:pt x="287" y="180"/>
                  </a:lnTo>
                  <a:lnTo>
                    <a:pt x="289" y="186"/>
                  </a:lnTo>
                  <a:lnTo>
                    <a:pt x="289" y="186"/>
                  </a:lnTo>
                  <a:lnTo>
                    <a:pt x="287" y="186"/>
                  </a:lnTo>
                  <a:lnTo>
                    <a:pt x="287" y="189"/>
                  </a:lnTo>
                  <a:lnTo>
                    <a:pt x="287" y="189"/>
                  </a:lnTo>
                  <a:lnTo>
                    <a:pt x="285" y="191"/>
                  </a:lnTo>
                  <a:lnTo>
                    <a:pt x="285" y="191"/>
                  </a:lnTo>
                  <a:lnTo>
                    <a:pt x="285" y="193"/>
                  </a:lnTo>
                  <a:lnTo>
                    <a:pt x="285" y="193"/>
                  </a:lnTo>
                  <a:lnTo>
                    <a:pt x="285" y="195"/>
                  </a:lnTo>
                  <a:lnTo>
                    <a:pt x="283" y="197"/>
                  </a:lnTo>
                  <a:lnTo>
                    <a:pt x="283" y="199"/>
                  </a:lnTo>
                  <a:lnTo>
                    <a:pt x="283" y="199"/>
                  </a:lnTo>
                  <a:lnTo>
                    <a:pt x="283" y="199"/>
                  </a:lnTo>
                  <a:lnTo>
                    <a:pt x="283" y="199"/>
                  </a:lnTo>
                  <a:lnTo>
                    <a:pt x="283" y="203"/>
                  </a:lnTo>
                  <a:lnTo>
                    <a:pt x="283" y="203"/>
                  </a:lnTo>
                  <a:lnTo>
                    <a:pt x="283" y="205"/>
                  </a:lnTo>
                  <a:lnTo>
                    <a:pt x="281" y="207"/>
                  </a:lnTo>
                  <a:lnTo>
                    <a:pt x="281" y="211"/>
                  </a:lnTo>
                  <a:lnTo>
                    <a:pt x="277" y="215"/>
                  </a:lnTo>
                  <a:lnTo>
                    <a:pt x="277" y="215"/>
                  </a:lnTo>
                  <a:lnTo>
                    <a:pt x="277" y="215"/>
                  </a:lnTo>
                  <a:lnTo>
                    <a:pt x="277" y="215"/>
                  </a:lnTo>
                  <a:lnTo>
                    <a:pt x="271" y="215"/>
                  </a:lnTo>
                  <a:lnTo>
                    <a:pt x="266" y="215"/>
                  </a:lnTo>
                  <a:lnTo>
                    <a:pt x="262" y="213"/>
                  </a:lnTo>
                  <a:lnTo>
                    <a:pt x="258" y="213"/>
                  </a:lnTo>
                  <a:lnTo>
                    <a:pt x="258" y="213"/>
                  </a:lnTo>
                  <a:lnTo>
                    <a:pt x="258" y="213"/>
                  </a:lnTo>
                  <a:lnTo>
                    <a:pt x="258" y="213"/>
                  </a:lnTo>
                  <a:lnTo>
                    <a:pt x="258" y="211"/>
                  </a:lnTo>
                  <a:lnTo>
                    <a:pt x="258" y="211"/>
                  </a:lnTo>
                  <a:lnTo>
                    <a:pt x="258" y="211"/>
                  </a:lnTo>
                  <a:lnTo>
                    <a:pt x="258" y="211"/>
                  </a:lnTo>
                  <a:lnTo>
                    <a:pt x="258" y="211"/>
                  </a:lnTo>
                  <a:lnTo>
                    <a:pt x="252" y="205"/>
                  </a:lnTo>
                  <a:lnTo>
                    <a:pt x="252" y="205"/>
                  </a:lnTo>
                  <a:lnTo>
                    <a:pt x="252" y="205"/>
                  </a:lnTo>
                  <a:lnTo>
                    <a:pt x="252" y="205"/>
                  </a:lnTo>
                  <a:lnTo>
                    <a:pt x="244" y="203"/>
                  </a:lnTo>
                  <a:lnTo>
                    <a:pt x="244" y="203"/>
                  </a:lnTo>
                  <a:lnTo>
                    <a:pt x="244" y="205"/>
                  </a:lnTo>
                  <a:lnTo>
                    <a:pt x="244" y="205"/>
                  </a:lnTo>
                  <a:lnTo>
                    <a:pt x="244" y="207"/>
                  </a:lnTo>
                  <a:lnTo>
                    <a:pt x="244" y="207"/>
                  </a:lnTo>
                  <a:lnTo>
                    <a:pt x="244" y="209"/>
                  </a:lnTo>
                  <a:lnTo>
                    <a:pt x="244" y="209"/>
                  </a:lnTo>
                  <a:lnTo>
                    <a:pt x="244" y="209"/>
                  </a:lnTo>
                  <a:lnTo>
                    <a:pt x="244" y="211"/>
                  </a:lnTo>
                  <a:lnTo>
                    <a:pt x="244" y="211"/>
                  </a:lnTo>
                  <a:lnTo>
                    <a:pt x="242" y="213"/>
                  </a:lnTo>
                  <a:lnTo>
                    <a:pt x="242" y="215"/>
                  </a:lnTo>
                  <a:lnTo>
                    <a:pt x="242" y="215"/>
                  </a:lnTo>
                  <a:lnTo>
                    <a:pt x="242" y="219"/>
                  </a:lnTo>
                  <a:lnTo>
                    <a:pt x="242" y="221"/>
                  </a:lnTo>
                  <a:lnTo>
                    <a:pt x="242" y="221"/>
                  </a:lnTo>
                  <a:lnTo>
                    <a:pt x="242" y="223"/>
                  </a:lnTo>
                  <a:lnTo>
                    <a:pt x="242" y="225"/>
                  </a:lnTo>
                  <a:lnTo>
                    <a:pt x="242" y="227"/>
                  </a:lnTo>
                  <a:lnTo>
                    <a:pt x="240" y="229"/>
                  </a:lnTo>
                  <a:lnTo>
                    <a:pt x="240" y="229"/>
                  </a:lnTo>
                  <a:lnTo>
                    <a:pt x="238" y="229"/>
                  </a:lnTo>
                  <a:lnTo>
                    <a:pt x="238" y="229"/>
                  </a:lnTo>
                  <a:lnTo>
                    <a:pt x="238" y="232"/>
                  </a:lnTo>
                  <a:lnTo>
                    <a:pt x="238" y="232"/>
                  </a:lnTo>
                  <a:lnTo>
                    <a:pt x="238" y="234"/>
                  </a:lnTo>
                  <a:lnTo>
                    <a:pt x="238" y="234"/>
                  </a:lnTo>
                  <a:lnTo>
                    <a:pt x="236" y="236"/>
                  </a:lnTo>
                  <a:lnTo>
                    <a:pt x="236" y="236"/>
                  </a:lnTo>
                  <a:lnTo>
                    <a:pt x="238" y="238"/>
                  </a:lnTo>
                  <a:lnTo>
                    <a:pt x="238" y="238"/>
                  </a:lnTo>
                  <a:lnTo>
                    <a:pt x="238" y="238"/>
                  </a:lnTo>
                  <a:lnTo>
                    <a:pt x="238" y="240"/>
                  </a:lnTo>
                  <a:lnTo>
                    <a:pt x="238" y="240"/>
                  </a:lnTo>
                  <a:lnTo>
                    <a:pt x="238" y="240"/>
                  </a:lnTo>
                  <a:lnTo>
                    <a:pt x="236" y="242"/>
                  </a:lnTo>
                  <a:lnTo>
                    <a:pt x="234" y="244"/>
                  </a:lnTo>
                  <a:lnTo>
                    <a:pt x="234" y="244"/>
                  </a:lnTo>
                  <a:lnTo>
                    <a:pt x="232" y="248"/>
                  </a:lnTo>
                  <a:lnTo>
                    <a:pt x="230" y="252"/>
                  </a:lnTo>
                  <a:lnTo>
                    <a:pt x="230" y="252"/>
                  </a:lnTo>
                  <a:lnTo>
                    <a:pt x="230" y="252"/>
                  </a:lnTo>
                  <a:lnTo>
                    <a:pt x="230" y="254"/>
                  </a:lnTo>
                  <a:lnTo>
                    <a:pt x="230" y="254"/>
                  </a:lnTo>
                  <a:lnTo>
                    <a:pt x="230" y="254"/>
                  </a:lnTo>
                  <a:lnTo>
                    <a:pt x="230" y="262"/>
                  </a:lnTo>
                  <a:lnTo>
                    <a:pt x="228" y="266"/>
                  </a:lnTo>
                  <a:lnTo>
                    <a:pt x="225" y="270"/>
                  </a:lnTo>
                  <a:lnTo>
                    <a:pt x="223" y="275"/>
                  </a:lnTo>
                  <a:lnTo>
                    <a:pt x="219" y="281"/>
                  </a:lnTo>
                  <a:lnTo>
                    <a:pt x="217" y="285"/>
                  </a:lnTo>
                  <a:lnTo>
                    <a:pt x="215" y="289"/>
                  </a:lnTo>
                  <a:lnTo>
                    <a:pt x="211" y="295"/>
                  </a:lnTo>
                  <a:lnTo>
                    <a:pt x="211" y="295"/>
                  </a:lnTo>
                  <a:lnTo>
                    <a:pt x="211" y="297"/>
                  </a:lnTo>
                  <a:lnTo>
                    <a:pt x="211" y="297"/>
                  </a:lnTo>
                  <a:lnTo>
                    <a:pt x="209" y="303"/>
                  </a:lnTo>
                  <a:lnTo>
                    <a:pt x="207" y="309"/>
                  </a:lnTo>
                  <a:lnTo>
                    <a:pt x="207" y="309"/>
                  </a:lnTo>
                  <a:lnTo>
                    <a:pt x="207" y="311"/>
                  </a:lnTo>
                  <a:lnTo>
                    <a:pt x="207" y="311"/>
                  </a:lnTo>
                  <a:lnTo>
                    <a:pt x="207" y="311"/>
                  </a:lnTo>
                  <a:lnTo>
                    <a:pt x="209" y="311"/>
                  </a:lnTo>
                  <a:lnTo>
                    <a:pt x="209" y="311"/>
                  </a:lnTo>
                  <a:lnTo>
                    <a:pt x="213" y="314"/>
                  </a:lnTo>
                  <a:lnTo>
                    <a:pt x="213" y="314"/>
                  </a:lnTo>
                  <a:lnTo>
                    <a:pt x="213" y="314"/>
                  </a:lnTo>
                  <a:lnTo>
                    <a:pt x="213" y="316"/>
                  </a:lnTo>
                  <a:lnTo>
                    <a:pt x="213" y="316"/>
                  </a:lnTo>
                  <a:lnTo>
                    <a:pt x="213" y="316"/>
                  </a:lnTo>
                  <a:lnTo>
                    <a:pt x="213" y="318"/>
                  </a:lnTo>
                  <a:lnTo>
                    <a:pt x="211" y="318"/>
                  </a:lnTo>
                  <a:lnTo>
                    <a:pt x="209" y="320"/>
                  </a:lnTo>
                  <a:lnTo>
                    <a:pt x="209" y="320"/>
                  </a:lnTo>
                  <a:lnTo>
                    <a:pt x="209" y="320"/>
                  </a:lnTo>
                  <a:lnTo>
                    <a:pt x="209" y="322"/>
                  </a:lnTo>
                  <a:lnTo>
                    <a:pt x="207" y="322"/>
                  </a:lnTo>
                  <a:lnTo>
                    <a:pt x="207" y="324"/>
                  </a:lnTo>
                  <a:lnTo>
                    <a:pt x="207" y="324"/>
                  </a:lnTo>
                  <a:lnTo>
                    <a:pt x="209" y="324"/>
                  </a:lnTo>
                  <a:lnTo>
                    <a:pt x="209" y="324"/>
                  </a:lnTo>
                  <a:lnTo>
                    <a:pt x="209" y="324"/>
                  </a:lnTo>
                  <a:lnTo>
                    <a:pt x="209" y="326"/>
                  </a:lnTo>
                  <a:lnTo>
                    <a:pt x="211" y="326"/>
                  </a:lnTo>
                  <a:lnTo>
                    <a:pt x="211" y="326"/>
                  </a:lnTo>
                  <a:lnTo>
                    <a:pt x="211" y="328"/>
                  </a:lnTo>
                  <a:lnTo>
                    <a:pt x="209" y="328"/>
                  </a:lnTo>
                  <a:lnTo>
                    <a:pt x="201" y="336"/>
                  </a:lnTo>
                  <a:lnTo>
                    <a:pt x="199" y="338"/>
                  </a:lnTo>
                  <a:lnTo>
                    <a:pt x="199" y="338"/>
                  </a:lnTo>
                  <a:lnTo>
                    <a:pt x="197" y="338"/>
                  </a:lnTo>
                  <a:lnTo>
                    <a:pt x="197" y="338"/>
                  </a:lnTo>
                  <a:lnTo>
                    <a:pt x="197" y="338"/>
                  </a:lnTo>
                  <a:lnTo>
                    <a:pt x="197" y="338"/>
                  </a:lnTo>
                  <a:lnTo>
                    <a:pt x="197" y="338"/>
                  </a:lnTo>
                  <a:lnTo>
                    <a:pt x="195" y="338"/>
                  </a:lnTo>
                  <a:lnTo>
                    <a:pt x="195" y="338"/>
                  </a:lnTo>
                  <a:lnTo>
                    <a:pt x="195" y="338"/>
                  </a:lnTo>
                  <a:lnTo>
                    <a:pt x="195" y="336"/>
                  </a:lnTo>
                  <a:lnTo>
                    <a:pt x="195" y="336"/>
                  </a:lnTo>
                  <a:lnTo>
                    <a:pt x="195" y="336"/>
                  </a:lnTo>
                  <a:lnTo>
                    <a:pt x="195" y="336"/>
                  </a:lnTo>
                  <a:lnTo>
                    <a:pt x="193" y="336"/>
                  </a:lnTo>
                  <a:lnTo>
                    <a:pt x="193" y="336"/>
                  </a:lnTo>
                  <a:lnTo>
                    <a:pt x="191" y="336"/>
                  </a:lnTo>
                  <a:lnTo>
                    <a:pt x="189" y="336"/>
                  </a:lnTo>
                  <a:lnTo>
                    <a:pt x="187" y="338"/>
                  </a:lnTo>
                  <a:lnTo>
                    <a:pt x="182" y="342"/>
                  </a:lnTo>
                  <a:lnTo>
                    <a:pt x="178" y="344"/>
                  </a:lnTo>
                  <a:lnTo>
                    <a:pt x="174" y="348"/>
                  </a:lnTo>
                  <a:lnTo>
                    <a:pt x="174" y="348"/>
                  </a:lnTo>
                  <a:lnTo>
                    <a:pt x="174" y="348"/>
                  </a:lnTo>
                  <a:lnTo>
                    <a:pt x="174" y="348"/>
                  </a:lnTo>
                  <a:lnTo>
                    <a:pt x="174" y="348"/>
                  </a:lnTo>
                  <a:lnTo>
                    <a:pt x="174" y="348"/>
                  </a:lnTo>
                  <a:lnTo>
                    <a:pt x="172" y="348"/>
                  </a:lnTo>
                  <a:lnTo>
                    <a:pt x="172" y="346"/>
                  </a:lnTo>
                  <a:lnTo>
                    <a:pt x="172" y="346"/>
                  </a:lnTo>
                  <a:lnTo>
                    <a:pt x="172" y="346"/>
                  </a:lnTo>
                  <a:lnTo>
                    <a:pt x="170" y="346"/>
                  </a:lnTo>
                  <a:lnTo>
                    <a:pt x="170" y="346"/>
                  </a:lnTo>
                  <a:lnTo>
                    <a:pt x="170" y="346"/>
                  </a:lnTo>
                  <a:lnTo>
                    <a:pt x="170" y="346"/>
                  </a:lnTo>
                  <a:lnTo>
                    <a:pt x="170" y="344"/>
                  </a:lnTo>
                  <a:lnTo>
                    <a:pt x="168" y="344"/>
                  </a:lnTo>
                  <a:lnTo>
                    <a:pt x="168" y="344"/>
                  </a:lnTo>
                  <a:lnTo>
                    <a:pt x="166" y="344"/>
                  </a:lnTo>
                  <a:lnTo>
                    <a:pt x="166" y="344"/>
                  </a:lnTo>
                  <a:lnTo>
                    <a:pt x="164" y="344"/>
                  </a:lnTo>
                  <a:lnTo>
                    <a:pt x="164" y="346"/>
                  </a:lnTo>
                  <a:lnTo>
                    <a:pt x="164" y="346"/>
                  </a:lnTo>
                  <a:lnTo>
                    <a:pt x="162" y="346"/>
                  </a:lnTo>
                  <a:lnTo>
                    <a:pt x="162" y="348"/>
                  </a:lnTo>
                  <a:lnTo>
                    <a:pt x="162" y="348"/>
                  </a:lnTo>
                  <a:lnTo>
                    <a:pt x="162" y="348"/>
                  </a:lnTo>
                  <a:lnTo>
                    <a:pt x="162" y="348"/>
                  </a:lnTo>
                  <a:lnTo>
                    <a:pt x="162" y="350"/>
                  </a:lnTo>
                  <a:lnTo>
                    <a:pt x="162" y="350"/>
                  </a:lnTo>
                  <a:lnTo>
                    <a:pt x="164" y="352"/>
                  </a:lnTo>
                  <a:lnTo>
                    <a:pt x="164" y="352"/>
                  </a:lnTo>
                  <a:lnTo>
                    <a:pt x="164" y="354"/>
                  </a:lnTo>
                  <a:lnTo>
                    <a:pt x="164" y="354"/>
                  </a:lnTo>
                  <a:lnTo>
                    <a:pt x="164" y="357"/>
                  </a:lnTo>
                  <a:lnTo>
                    <a:pt x="164" y="357"/>
                  </a:lnTo>
                  <a:lnTo>
                    <a:pt x="158" y="361"/>
                  </a:lnTo>
                  <a:lnTo>
                    <a:pt x="158" y="361"/>
                  </a:lnTo>
                  <a:lnTo>
                    <a:pt x="158" y="361"/>
                  </a:lnTo>
                  <a:lnTo>
                    <a:pt x="156" y="361"/>
                  </a:lnTo>
                  <a:lnTo>
                    <a:pt x="156" y="361"/>
                  </a:lnTo>
                  <a:lnTo>
                    <a:pt x="154" y="361"/>
                  </a:lnTo>
                  <a:lnTo>
                    <a:pt x="152" y="363"/>
                  </a:lnTo>
                  <a:lnTo>
                    <a:pt x="152" y="363"/>
                  </a:lnTo>
                  <a:lnTo>
                    <a:pt x="144" y="365"/>
                  </a:lnTo>
                  <a:lnTo>
                    <a:pt x="137" y="369"/>
                  </a:lnTo>
                  <a:lnTo>
                    <a:pt x="135" y="371"/>
                  </a:lnTo>
                  <a:lnTo>
                    <a:pt x="135" y="369"/>
                  </a:lnTo>
                  <a:lnTo>
                    <a:pt x="135" y="369"/>
                  </a:lnTo>
                  <a:lnTo>
                    <a:pt x="135" y="369"/>
                  </a:lnTo>
                  <a:lnTo>
                    <a:pt x="135" y="369"/>
                  </a:lnTo>
                  <a:lnTo>
                    <a:pt x="135" y="369"/>
                  </a:lnTo>
                  <a:lnTo>
                    <a:pt x="133" y="369"/>
                  </a:lnTo>
                  <a:lnTo>
                    <a:pt x="133" y="367"/>
                  </a:lnTo>
                  <a:lnTo>
                    <a:pt x="129" y="365"/>
                  </a:lnTo>
                  <a:lnTo>
                    <a:pt x="127" y="365"/>
                  </a:lnTo>
                  <a:lnTo>
                    <a:pt x="127" y="365"/>
                  </a:lnTo>
                  <a:lnTo>
                    <a:pt x="125" y="363"/>
                  </a:lnTo>
                  <a:lnTo>
                    <a:pt x="125" y="363"/>
                  </a:lnTo>
                  <a:lnTo>
                    <a:pt x="125" y="363"/>
                  </a:lnTo>
                  <a:lnTo>
                    <a:pt x="123" y="363"/>
                  </a:lnTo>
                  <a:lnTo>
                    <a:pt x="123" y="363"/>
                  </a:lnTo>
                  <a:lnTo>
                    <a:pt x="121" y="363"/>
                  </a:lnTo>
                  <a:lnTo>
                    <a:pt x="121" y="363"/>
                  </a:lnTo>
                  <a:lnTo>
                    <a:pt x="121" y="365"/>
                  </a:lnTo>
                  <a:lnTo>
                    <a:pt x="121" y="365"/>
                  </a:lnTo>
                  <a:lnTo>
                    <a:pt x="121" y="367"/>
                  </a:lnTo>
                  <a:lnTo>
                    <a:pt x="121" y="367"/>
                  </a:lnTo>
                  <a:lnTo>
                    <a:pt x="119" y="369"/>
                  </a:lnTo>
                  <a:lnTo>
                    <a:pt x="119" y="369"/>
                  </a:lnTo>
                  <a:lnTo>
                    <a:pt x="119" y="371"/>
                  </a:lnTo>
                  <a:lnTo>
                    <a:pt x="115" y="371"/>
                  </a:lnTo>
                  <a:lnTo>
                    <a:pt x="113" y="371"/>
                  </a:lnTo>
                  <a:lnTo>
                    <a:pt x="113" y="371"/>
                  </a:lnTo>
                  <a:lnTo>
                    <a:pt x="113" y="373"/>
                  </a:lnTo>
                  <a:lnTo>
                    <a:pt x="109" y="377"/>
                  </a:lnTo>
                  <a:lnTo>
                    <a:pt x="109" y="379"/>
                  </a:lnTo>
                  <a:lnTo>
                    <a:pt x="109" y="379"/>
                  </a:lnTo>
                  <a:lnTo>
                    <a:pt x="107" y="379"/>
                  </a:lnTo>
                  <a:lnTo>
                    <a:pt x="101" y="379"/>
                  </a:lnTo>
                  <a:lnTo>
                    <a:pt x="101" y="379"/>
                  </a:lnTo>
                  <a:lnTo>
                    <a:pt x="96" y="379"/>
                  </a:lnTo>
                  <a:lnTo>
                    <a:pt x="94" y="377"/>
                  </a:lnTo>
                  <a:lnTo>
                    <a:pt x="94" y="377"/>
                  </a:lnTo>
                  <a:lnTo>
                    <a:pt x="92" y="377"/>
                  </a:lnTo>
                  <a:lnTo>
                    <a:pt x="90" y="375"/>
                  </a:lnTo>
                  <a:lnTo>
                    <a:pt x="90" y="375"/>
                  </a:lnTo>
                  <a:lnTo>
                    <a:pt x="90" y="375"/>
                  </a:lnTo>
                  <a:lnTo>
                    <a:pt x="90" y="373"/>
                  </a:lnTo>
                  <a:lnTo>
                    <a:pt x="90" y="373"/>
                  </a:lnTo>
                  <a:lnTo>
                    <a:pt x="88" y="373"/>
                  </a:lnTo>
                  <a:lnTo>
                    <a:pt x="86" y="373"/>
                  </a:lnTo>
                  <a:lnTo>
                    <a:pt x="86" y="373"/>
                  </a:lnTo>
                  <a:lnTo>
                    <a:pt x="84" y="375"/>
                  </a:lnTo>
                  <a:lnTo>
                    <a:pt x="84" y="373"/>
                  </a:lnTo>
                  <a:lnTo>
                    <a:pt x="82" y="373"/>
                  </a:lnTo>
                  <a:lnTo>
                    <a:pt x="82" y="373"/>
                  </a:lnTo>
                  <a:lnTo>
                    <a:pt x="82" y="373"/>
                  </a:lnTo>
                  <a:lnTo>
                    <a:pt x="82" y="373"/>
                  </a:lnTo>
                  <a:lnTo>
                    <a:pt x="80" y="371"/>
                  </a:lnTo>
                  <a:lnTo>
                    <a:pt x="80" y="371"/>
                  </a:lnTo>
                  <a:lnTo>
                    <a:pt x="80" y="369"/>
                  </a:lnTo>
                  <a:lnTo>
                    <a:pt x="78" y="369"/>
                  </a:lnTo>
                  <a:lnTo>
                    <a:pt x="74" y="367"/>
                  </a:lnTo>
                  <a:lnTo>
                    <a:pt x="74" y="367"/>
                  </a:lnTo>
                  <a:lnTo>
                    <a:pt x="74" y="367"/>
                  </a:lnTo>
                  <a:lnTo>
                    <a:pt x="74" y="365"/>
                  </a:lnTo>
                  <a:lnTo>
                    <a:pt x="74" y="365"/>
                  </a:lnTo>
                  <a:lnTo>
                    <a:pt x="72" y="365"/>
                  </a:lnTo>
                  <a:lnTo>
                    <a:pt x="72" y="363"/>
                  </a:lnTo>
                  <a:lnTo>
                    <a:pt x="72" y="361"/>
                  </a:lnTo>
                  <a:lnTo>
                    <a:pt x="72" y="361"/>
                  </a:lnTo>
                  <a:lnTo>
                    <a:pt x="72" y="361"/>
                  </a:lnTo>
                  <a:lnTo>
                    <a:pt x="72" y="361"/>
                  </a:lnTo>
                  <a:lnTo>
                    <a:pt x="72" y="359"/>
                  </a:lnTo>
                  <a:lnTo>
                    <a:pt x="72" y="359"/>
                  </a:lnTo>
                  <a:lnTo>
                    <a:pt x="72" y="359"/>
                  </a:lnTo>
                  <a:lnTo>
                    <a:pt x="68" y="357"/>
                  </a:lnTo>
                  <a:lnTo>
                    <a:pt x="68" y="357"/>
                  </a:lnTo>
                  <a:lnTo>
                    <a:pt x="68" y="357"/>
                  </a:lnTo>
                  <a:lnTo>
                    <a:pt x="68" y="357"/>
                  </a:lnTo>
                  <a:lnTo>
                    <a:pt x="68" y="354"/>
                  </a:lnTo>
                  <a:lnTo>
                    <a:pt x="68" y="354"/>
                  </a:lnTo>
                  <a:lnTo>
                    <a:pt x="70" y="352"/>
                  </a:lnTo>
                  <a:lnTo>
                    <a:pt x="70" y="352"/>
                  </a:lnTo>
                  <a:lnTo>
                    <a:pt x="70" y="352"/>
                  </a:lnTo>
                  <a:lnTo>
                    <a:pt x="70" y="352"/>
                  </a:lnTo>
                  <a:lnTo>
                    <a:pt x="70" y="352"/>
                  </a:lnTo>
                  <a:lnTo>
                    <a:pt x="70" y="350"/>
                  </a:lnTo>
                  <a:lnTo>
                    <a:pt x="70" y="350"/>
                  </a:lnTo>
                  <a:lnTo>
                    <a:pt x="68" y="350"/>
                  </a:lnTo>
                  <a:lnTo>
                    <a:pt x="68" y="350"/>
                  </a:lnTo>
                  <a:lnTo>
                    <a:pt x="68" y="348"/>
                  </a:lnTo>
                  <a:lnTo>
                    <a:pt x="66" y="348"/>
                  </a:lnTo>
                  <a:lnTo>
                    <a:pt x="66" y="348"/>
                  </a:lnTo>
                  <a:lnTo>
                    <a:pt x="62" y="350"/>
                  </a:lnTo>
                  <a:lnTo>
                    <a:pt x="62" y="350"/>
                  </a:lnTo>
                  <a:lnTo>
                    <a:pt x="53" y="348"/>
                  </a:lnTo>
                  <a:lnTo>
                    <a:pt x="53" y="348"/>
                  </a:lnTo>
                  <a:lnTo>
                    <a:pt x="51" y="348"/>
                  </a:lnTo>
                  <a:lnTo>
                    <a:pt x="51" y="346"/>
                  </a:lnTo>
                  <a:lnTo>
                    <a:pt x="51" y="346"/>
                  </a:lnTo>
                  <a:lnTo>
                    <a:pt x="51" y="346"/>
                  </a:lnTo>
                  <a:lnTo>
                    <a:pt x="51" y="346"/>
                  </a:lnTo>
                  <a:lnTo>
                    <a:pt x="51" y="344"/>
                  </a:lnTo>
                  <a:lnTo>
                    <a:pt x="51" y="344"/>
                  </a:lnTo>
                  <a:lnTo>
                    <a:pt x="47" y="342"/>
                  </a:lnTo>
                  <a:lnTo>
                    <a:pt x="47" y="342"/>
                  </a:lnTo>
                  <a:lnTo>
                    <a:pt x="47" y="342"/>
                  </a:lnTo>
                  <a:lnTo>
                    <a:pt x="45" y="342"/>
                  </a:lnTo>
                  <a:lnTo>
                    <a:pt x="45" y="342"/>
                  </a:lnTo>
                  <a:lnTo>
                    <a:pt x="43" y="340"/>
                  </a:lnTo>
                  <a:lnTo>
                    <a:pt x="43" y="340"/>
                  </a:lnTo>
                  <a:lnTo>
                    <a:pt x="43" y="340"/>
                  </a:lnTo>
                  <a:lnTo>
                    <a:pt x="41" y="340"/>
                  </a:lnTo>
                  <a:lnTo>
                    <a:pt x="37" y="338"/>
                  </a:lnTo>
                  <a:lnTo>
                    <a:pt x="37" y="338"/>
                  </a:lnTo>
                  <a:lnTo>
                    <a:pt x="37" y="338"/>
                  </a:lnTo>
                  <a:lnTo>
                    <a:pt x="37" y="336"/>
                  </a:lnTo>
                  <a:lnTo>
                    <a:pt x="35" y="334"/>
                  </a:lnTo>
                  <a:lnTo>
                    <a:pt x="35" y="332"/>
                  </a:lnTo>
                  <a:lnTo>
                    <a:pt x="35" y="332"/>
                  </a:lnTo>
                  <a:lnTo>
                    <a:pt x="33" y="332"/>
                  </a:lnTo>
                  <a:lnTo>
                    <a:pt x="33" y="330"/>
                  </a:lnTo>
                  <a:lnTo>
                    <a:pt x="25" y="326"/>
                  </a:lnTo>
                  <a:lnTo>
                    <a:pt x="25" y="324"/>
                  </a:lnTo>
                  <a:lnTo>
                    <a:pt x="25" y="324"/>
                  </a:lnTo>
                  <a:lnTo>
                    <a:pt x="25" y="324"/>
                  </a:lnTo>
                  <a:lnTo>
                    <a:pt x="25" y="320"/>
                  </a:lnTo>
                  <a:lnTo>
                    <a:pt x="23" y="320"/>
                  </a:lnTo>
                  <a:lnTo>
                    <a:pt x="23" y="318"/>
                  </a:lnTo>
                  <a:lnTo>
                    <a:pt x="23" y="318"/>
                  </a:lnTo>
                  <a:lnTo>
                    <a:pt x="23" y="318"/>
                  </a:lnTo>
                  <a:lnTo>
                    <a:pt x="21" y="318"/>
                  </a:lnTo>
                  <a:lnTo>
                    <a:pt x="17" y="316"/>
                  </a:lnTo>
                  <a:lnTo>
                    <a:pt x="17" y="314"/>
                  </a:lnTo>
                  <a:lnTo>
                    <a:pt x="17" y="314"/>
                  </a:lnTo>
                  <a:lnTo>
                    <a:pt x="17" y="314"/>
                  </a:lnTo>
                  <a:lnTo>
                    <a:pt x="17" y="311"/>
                  </a:lnTo>
                  <a:lnTo>
                    <a:pt x="19" y="311"/>
                  </a:lnTo>
                  <a:lnTo>
                    <a:pt x="19" y="311"/>
                  </a:lnTo>
                  <a:lnTo>
                    <a:pt x="17" y="309"/>
                  </a:lnTo>
                  <a:lnTo>
                    <a:pt x="17" y="309"/>
                  </a:lnTo>
                  <a:lnTo>
                    <a:pt x="17" y="309"/>
                  </a:lnTo>
                  <a:lnTo>
                    <a:pt x="17" y="309"/>
                  </a:lnTo>
                  <a:lnTo>
                    <a:pt x="10" y="305"/>
                  </a:lnTo>
                  <a:lnTo>
                    <a:pt x="10" y="305"/>
                  </a:lnTo>
                  <a:lnTo>
                    <a:pt x="10" y="303"/>
                  </a:lnTo>
                  <a:lnTo>
                    <a:pt x="8" y="301"/>
                  </a:lnTo>
                  <a:lnTo>
                    <a:pt x="8" y="301"/>
                  </a:lnTo>
                  <a:lnTo>
                    <a:pt x="0" y="293"/>
                  </a:lnTo>
                  <a:lnTo>
                    <a:pt x="0" y="293"/>
                  </a:lnTo>
                  <a:lnTo>
                    <a:pt x="0" y="291"/>
                  </a:lnTo>
                  <a:lnTo>
                    <a:pt x="0" y="291"/>
                  </a:lnTo>
                  <a:lnTo>
                    <a:pt x="0" y="291"/>
                  </a:lnTo>
                  <a:lnTo>
                    <a:pt x="0" y="291"/>
                  </a:lnTo>
                  <a:lnTo>
                    <a:pt x="0" y="291"/>
                  </a:lnTo>
                  <a:lnTo>
                    <a:pt x="2" y="289"/>
                  </a:lnTo>
                  <a:lnTo>
                    <a:pt x="2" y="289"/>
                  </a:lnTo>
                  <a:lnTo>
                    <a:pt x="2" y="287"/>
                  </a:lnTo>
                  <a:lnTo>
                    <a:pt x="2" y="287"/>
                  </a:lnTo>
                  <a:lnTo>
                    <a:pt x="2" y="287"/>
                  </a:lnTo>
                  <a:lnTo>
                    <a:pt x="2" y="285"/>
                  </a:lnTo>
                  <a:lnTo>
                    <a:pt x="2" y="285"/>
                  </a:lnTo>
                  <a:lnTo>
                    <a:pt x="2" y="285"/>
                  </a:lnTo>
                  <a:lnTo>
                    <a:pt x="2" y="283"/>
                  </a:lnTo>
                  <a:lnTo>
                    <a:pt x="2" y="283"/>
                  </a:lnTo>
                  <a:lnTo>
                    <a:pt x="4" y="283"/>
                  </a:lnTo>
                  <a:lnTo>
                    <a:pt x="4" y="283"/>
                  </a:lnTo>
                  <a:lnTo>
                    <a:pt x="4" y="283"/>
                  </a:lnTo>
                  <a:lnTo>
                    <a:pt x="4" y="283"/>
                  </a:lnTo>
                  <a:lnTo>
                    <a:pt x="4" y="281"/>
                  </a:lnTo>
                  <a:lnTo>
                    <a:pt x="4" y="281"/>
                  </a:lnTo>
                  <a:lnTo>
                    <a:pt x="4" y="279"/>
                  </a:lnTo>
                  <a:lnTo>
                    <a:pt x="4" y="277"/>
                  </a:lnTo>
                  <a:lnTo>
                    <a:pt x="4" y="277"/>
                  </a:lnTo>
                  <a:lnTo>
                    <a:pt x="2" y="275"/>
                  </a:lnTo>
                  <a:lnTo>
                    <a:pt x="2" y="275"/>
                  </a:lnTo>
                  <a:lnTo>
                    <a:pt x="0" y="270"/>
                  </a:lnTo>
                  <a:lnTo>
                    <a:pt x="0" y="270"/>
                  </a:lnTo>
                  <a:lnTo>
                    <a:pt x="0" y="270"/>
                  </a:lnTo>
                  <a:lnTo>
                    <a:pt x="0" y="268"/>
                  </a:lnTo>
                  <a:lnTo>
                    <a:pt x="0" y="266"/>
                  </a:lnTo>
                  <a:lnTo>
                    <a:pt x="0" y="264"/>
                  </a:lnTo>
                  <a:lnTo>
                    <a:pt x="0" y="264"/>
                  </a:lnTo>
                  <a:lnTo>
                    <a:pt x="0" y="264"/>
                  </a:lnTo>
                  <a:lnTo>
                    <a:pt x="2" y="266"/>
                  </a:lnTo>
                  <a:lnTo>
                    <a:pt x="6" y="264"/>
                  </a:lnTo>
                  <a:lnTo>
                    <a:pt x="12" y="260"/>
                  </a:lnTo>
                  <a:lnTo>
                    <a:pt x="19" y="260"/>
                  </a:lnTo>
                  <a:lnTo>
                    <a:pt x="21" y="258"/>
                  </a:lnTo>
                  <a:lnTo>
                    <a:pt x="23" y="256"/>
                  </a:lnTo>
                  <a:lnTo>
                    <a:pt x="23" y="254"/>
                  </a:lnTo>
                  <a:lnTo>
                    <a:pt x="23" y="244"/>
                  </a:lnTo>
                  <a:lnTo>
                    <a:pt x="23" y="242"/>
                  </a:lnTo>
                  <a:lnTo>
                    <a:pt x="25" y="242"/>
                  </a:lnTo>
                  <a:lnTo>
                    <a:pt x="29" y="242"/>
                  </a:lnTo>
                  <a:lnTo>
                    <a:pt x="31" y="240"/>
                  </a:lnTo>
                  <a:lnTo>
                    <a:pt x="31" y="238"/>
                  </a:lnTo>
                  <a:lnTo>
                    <a:pt x="31" y="238"/>
                  </a:lnTo>
                  <a:lnTo>
                    <a:pt x="31" y="236"/>
                  </a:lnTo>
                  <a:lnTo>
                    <a:pt x="31" y="236"/>
                  </a:lnTo>
                  <a:lnTo>
                    <a:pt x="29" y="234"/>
                  </a:lnTo>
                  <a:lnTo>
                    <a:pt x="29" y="232"/>
                  </a:lnTo>
                  <a:lnTo>
                    <a:pt x="29" y="229"/>
                  </a:lnTo>
                  <a:lnTo>
                    <a:pt x="29" y="227"/>
                  </a:lnTo>
                  <a:lnTo>
                    <a:pt x="27" y="225"/>
                  </a:lnTo>
                  <a:lnTo>
                    <a:pt x="27" y="225"/>
                  </a:lnTo>
                  <a:lnTo>
                    <a:pt x="25" y="223"/>
                  </a:lnTo>
                  <a:lnTo>
                    <a:pt x="25" y="221"/>
                  </a:lnTo>
                  <a:lnTo>
                    <a:pt x="27" y="219"/>
                  </a:lnTo>
                  <a:lnTo>
                    <a:pt x="29" y="217"/>
                  </a:lnTo>
                  <a:lnTo>
                    <a:pt x="29" y="215"/>
                  </a:lnTo>
                  <a:lnTo>
                    <a:pt x="29" y="213"/>
                  </a:lnTo>
                  <a:lnTo>
                    <a:pt x="29" y="211"/>
                  </a:lnTo>
                  <a:lnTo>
                    <a:pt x="29" y="207"/>
                  </a:lnTo>
                  <a:lnTo>
                    <a:pt x="31" y="205"/>
                  </a:lnTo>
                  <a:lnTo>
                    <a:pt x="33" y="199"/>
                  </a:lnTo>
                  <a:lnTo>
                    <a:pt x="35" y="195"/>
                  </a:lnTo>
                  <a:lnTo>
                    <a:pt x="37" y="193"/>
                  </a:lnTo>
                  <a:lnTo>
                    <a:pt x="39" y="193"/>
                  </a:lnTo>
                  <a:lnTo>
                    <a:pt x="41" y="193"/>
                  </a:lnTo>
                  <a:lnTo>
                    <a:pt x="41" y="195"/>
                  </a:lnTo>
                  <a:lnTo>
                    <a:pt x="45" y="195"/>
                  </a:lnTo>
                  <a:lnTo>
                    <a:pt x="45" y="197"/>
                  </a:lnTo>
                  <a:lnTo>
                    <a:pt x="47" y="199"/>
                  </a:lnTo>
                  <a:lnTo>
                    <a:pt x="47" y="199"/>
                  </a:lnTo>
                  <a:lnTo>
                    <a:pt x="47" y="201"/>
                  </a:lnTo>
                  <a:lnTo>
                    <a:pt x="49" y="201"/>
                  </a:lnTo>
                  <a:lnTo>
                    <a:pt x="49" y="201"/>
                  </a:lnTo>
                  <a:lnTo>
                    <a:pt x="49" y="201"/>
                  </a:lnTo>
                  <a:lnTo>
                    <a:pt x="47" y="203"/>
                  </a:lnTo>
                  <a:lnTo>
                    <a:pt x="47" y="203"/>
                  </a:lnTo>
                  <a:lnTo>
                    <a:pt x="47" y="203"/>
                  </a:lnTo>
                  <a:lnTo>
                    <a:pt x="47" y="205"/>
                  </a:lnTo>
                  <a:lnTo>
                    <a:pt x="47" y="205"/>
                  </a:lnTo>
                  <a:lnTo>
                    <a:pt x="47" y="205"/>
                  </a:lnTo>
                  <a:lnTo>
                    <a:pt x="47" y="207"/>
                  </a:lnTo>
                  <a:lnTo>
                    <a:pt x="49" y="207"/>
                  </a:lnTo>
                  <a:lnTo>
                    <a:pt x="51" y="205"/>
                  </a:lnTo>
                  <a:lnTo>
                    <a:pt x="53" y="203"/>
                  </a:lnTo>
                  <a:lnTo>
                    <a:pt x="53" y="203"/>
                  </a:lnTo>
                  <a:lnTo>
                    <a:pt x="53" y="199"/>
                  </a:lnTo>
                  <a:lnTo>
                    <a:pt x="53" y="199"/>
                  </a:lnTo>
                  <a:lnTo>
                    <a:pt x="55" y="197"/>
                  </a:lnTo>
                  <a:lnTo>
                    <a:pt x="55" y="197"/>
                  </a:lnTo>
                  <a:lnTo>
                    <a:pt x="58" y="199"/>
                  </a:lnTo>
                  <a:lnTo>
                    <a:pt x="58" y="199"/>
                  </a:lnTo>
                  <a:lnTo>
                    <a:pt x="60" y="199"/>
                  </a:lnTo>
                  <a:lnTo>
                    <a:pt x="60" y="197"/>
                  </a:lnTo>
                  <a:lnTo>
                    <a:pt x="60" y="197"/>
                  </a:lnTo>
                  <a:lnTo>
                    <a:pt x="58" y="195"/>
                  </a:lnTo>
                  <a:lnTo>
                    <a:pt x="58" y="191"/>
                  </a:lnTo>
                  <a:lnTo>
                    <a:pt x="58" y="189"/>
                  </a:lnTo>
                  <a:lnTo>
                    <a:pt x="55" y="189"/>
                  </a:lnTo>
                  <a:lnTo>
                    <a:pt x="55" y="189"/>
                  </a:lnTo>
                  <a:lnTo>
                    <a:pt x="55" y="186"/>
                  </a:lnTo>
                  <a:lnTo>
                    <a:pt x="53" y="186"/>
                  </a:lnTo>
                  <a:lnTo>
                    <a:pt x="53" y="186"/>
                  </a:lnTo>
                  <a:lnTo>
                    <a:pt x="53" y="184"/>
                  </a:lnTo>
                  <a:lnTo>
                    <a:pt x="53" y="184"/>
                  </a:lnTo>
                  <a:lnTo>
                    <a:pt x="53" y="184"/>
                  </a:lnTo>
                  <a:lnTo>
                    <a:pt x="58" y="182"/>
                  </a:lnTo>
                  <a:lnTo>
                    <a:pt x="58" y="180"/>
                  </a:lnTo>
                  <a:lnTo>
                    <a:pt x="58" y="178"/>
                  </a:lnTo>
                  <a:lnTo>
                    <a:pt x="58" y="174"/>
                  </a:lnTo>
                  <a:lnTo>
                    <a:pt x="58" y="172"/>
                  </a:lnTo>
                  <a:lnTo>
                    <a:pt x="58" y="172"/>
                  </a:lnTo>
                  <a:lnTo>
                    <a:pt x="60" y="166"/>
                  </a:lnTo>
                  <a:lnTo>
                    <a:pt x="62" y="162"/>
                  </a:lnTo>
                  <a:lnTo>
                    <a:pt x="62" y="162"/>
                  </a:lnTo>
                  <a:lnTo>
                    <a:pt x="64" y="162"/>
                  </a:lnTo>
                  <a:lnTo>
                    <a:pt x="66" y="160"/>
                  </a:lnTo>
                  <a:lnTo>
                    <a:pt x="68" y="160"/>
                  </a:lnTo>
                  <a:lnTo>
                    <a:pt x="68" y="160"/>
                  </a:lnTo>
                  <a:lnTo>
                    <a:pt x="68" y="160"/>
                  </a:lnTo>
                  <a:lnTo>
                    <a:pt x="68" y="160"/>
                  </a:lnTo>
                  <a:lnTo>
                    <a:pt x="70" y="160"/>
                  </a:lnTo>
                  <a:lnTo>
                    <a:pt x="70" y="158"/>
                  </a:lnTo>
                  <a:lnTo>
                    <a:pt x="70" y="154"/>
                  </a:lnTo>
                  <a:lnTo>
                    <a:pt x="70" y="152"/>
                  </a:lnTo>
                  <a:lnTo>
                    <a:pt x="76" y="145"/>
                  </a:lnTo>
                  <a:lnTo>
                    <a:pt x="76" y="145"/>
                  </a:lnTo>
                  <a:lnTo>
                    <a:pt x="80" y="143"/>
                  </a:lnTo>
                  <a:lnTo>
                    <a:pt x="82" y="145"/>
                  </a:lnTo>
                  <a:lnTo>
                    <a:pt x="82" y="148"/>
                  </a:lnTo>
                  <a:lnTo>
                    <a:pt x="84" y="148"/>
                  </a:lnTo>
                  <a:lnTo>
                    <a:pt x="86" y="150"/>
                  </a:lnTo>
                  <a:lnTo>
                    <a:pt x="88" y="150"/>
                  </a:lnTo>
                  <a:lnTo>
                    <a:pt x="90" y="145"/>
                  </a:lnTo>
                  <a:lnTo>
                    <a:pt x="92" y="145"/>
                  </a:lnTo>
                  <a:lnTo>
                    <a:pt x="94" y="143"/>
                  </a:lnTo>
                  <a:lnTo>
                    <a:pt x="94" y="143"/>
                  </a:lnTo>
                  <a:lnTo>
                    <a:pt x="96" y="141"/>
                  </a:lnTo>
                  <a:lnTo>
                    <a:pt x="98" y="141"/>
                  </a:lnTo>
                  <a:lnTo>
                    <a:pt x="101" y="137"/>
                  </a:lnTo>
                  <a:lnTo>
                    <a:pt x="101" y="137"/>
                  </a:lnTo>
                  <a:lnTo>
                    <a:pt x="105" y="135"/>
                  </a:lnTo>
                  <a:lnTo>
                    <a:pt x="105" y="133"/>
                  </a:lnTo>
                  <a:lnTo>
                    <a:pt x="107" y="129"/>
                  </a:lnTo>
                  <a:lnTo>
                    <a:pt x="109" y="125"/>
                  </a:lnTo>
                  <a:lnTo>
                    <a:pt x="117" y="117"/>
                  </a:lnTo>
                  <a:lnTo>
                    <a:pt x="121" y="113"/>
                  </a:lnTo>
                  <a:lnTo>
                    <a:pt x="121" y="113"/>
                  </a:lnTo>
                  <a:lnTo>
                    <a:pt x="123" y="109"/>
                  </a:lnTo>
                  <a:lnTo>
                    <a:pt x="123" y="109"/>
                  </a:lnTo>
                  <a:lnTo>
                    <a:pt x="121" y="107"/>
                  </a:lnTo>
                  <a:lnTo>
                    <a:pt x="121" y="107"/>
                  </a:lnTo>
                  <a:lnTo>
                    <a:pt x="121" y="107"/>
                  </a:lnTo>
                  <a:lnTo>
                    <a:pt x="123" y="104"/>
                  </a:lnTo>
                  <a:lnTo>
                    <a:pt x="123" y="102"/>
                  </a:lnTo>
                  <a:lnTo>
                    <a:pt x="123" y="100"/>
                  </a:lnTo>
                  <a:lnTo>
                    <a:pt x="121" y="100"/>
                  </a:lnTo>
                  <a:lnTo>
                    <a:pt x="121" y="98"/>
                  </a:lnTo>
                  <a:lnTo>
                    <a:pt x="119" y="98"/>
                  </a:lnTo>
                  <a:lnTo>
                    <a:pt x="119" y="96"/>
                  </a:lnTo>
                  <a:lnTo>
                    <a:pt x="121" y="96"/>
                  </a:lnTo>
                  <a:lnTo>
                    <a:pt x="121" y="94"/>
                  </a:lnTo>
                  <a:lnTo>
                    <a:pt x="121" y="92"/>
                  </a:lnTo>
                  <a:lnTo>
                    <a:pt x="121" y="90"/>
                  </a:lnTo>
                  <a:lnTo>
                    <a:pt x="123" y="90"/>
                  </a:lnTo>
                  <a:lnTo>
                    <a:pt x="123" y="88"/>
                  </a:lnTo>
                  <a:lnTo>
                    <a:pt x="123" y="86"/>
                  </a:lnTo>
                  <a:lnTo>
                    <a:pt x="123" y="86"/>
                  </a:lnTo>
                  <a:lnTo>
                    <a:pt x="123" y="84"/>
                  </a:lnTo>
                  <a:lnTo>
                    <a:pt x="123" y="84"/>
                  </a:lnTo>
                  <a:lnTo>
                    <a:pt x="123" y="82"/>
                  </a:lnTo>
                  <a:lnTo>
                    <a:pt x="123" y="80"/>
                  </a:lnTo>
                  <a:lnTo>
                    <a:pt x="123" y="80"/>
                  </a:lnTo>
                  <a:lnTo>
                    <a:pt x="125" y="82"/>
                  </a:lnTo>
                  <a:lnTo>
                    <a:pt x="125" y="80"/>
                  </a:lnTo>
                  <a:lnTo>
                    <a:pt x="125" y="80"/>
                  </a:lnTo>
                  <a:lnTo>
                    <a:pt x="125" y="78"/>
                  </a:lnTo>
                  <a:lnTo>
                    <a:pt x="125" y="78"/>
                  </a:lnTo>
                  <a:lnTo>
                    <a:pt x="125" y="78"/>
                  </a:lnTo>
                  <a:lnTo>
                    <a:pt x="125" y="76"/>
                  </a:lnTo>
                  <a:lnTo>
                    <a:pt x="125" y="74"/>
                  </a:lnTo>
                  <a:lnTo>
                    <a:pt x="125" y="72"/>
                  </a:lnTo>
                  <a:lnTo>
                    <a:pt x="125" y="70"/>
                  </a:lnTo>
                  <a:lnTo>
                    <a:pt x="125" y="66"/>
                  </a:lnTo>
                  <a:lnTo>
                    <a:pt x="125" y="63"/>
                  </a:lnTo>
                  <a:lnTo>
                    <a:pt x="125" y="61"/>
                  </a:lnTo>
                  <a:lnTo>
                    <a:pt x="127" y="57"/>
                  </a:lnTo>
                  <a:lnTo>
                    <a:pt x="127" y="55"/>
                  </a:lnTo>
                  <a:lnTo>
                    <a:pt x="127" y="51"/>
                  </a:lnTo>
                  <a:lnTo>
                    <a:pt x="127" y="49"/>
                  </a:lnTo>
                  <a:lnTo>
                    <a:pt x="127" y="43"/>
                  </a:lnTo>
                  <a:lnTo>
                    <a:pt x="129" y="43"/>
                  </a:lnTo>
                  <a:lnTo>
                    <a:pt x="131" y="41"/>
                  </a:lnTo>
                  <a:lnTo>
                    <a:pt x="131" y="41"/>
                  </a:lnTo>
                  <a:lnTo>
                    <a:pt x="131" y="37"/>
                  </a:lnTo>
                  <a:lnTo>
                    <a:pt x="131" y="37"/>
                  </a:lnTo>
                  <a:lnTo>
                    <a:pt x="131" y="35"/>
                  </a:lnTo>
                  <a:lnTo>
                    <a:pt x="129" y="33"/>
                  </a:lnTo>
                  <a:lnTo>
                    <a:pt x="129" y="31"/>
                  </a:lnTo>
                  <a:lnTo>
                    <a:pt x="129" y="31"/>
                  </a:lnTo>
                  <a:lnTo>
                    <a:pt x="129" y="31"/>
                  </a:lnTo>
                  <a:lnTo>
                    <a:pt x="129" y="31"/>
                  </a:lnTo>
                  <a:lnTo>
                    <a:pt x="129" y="29"/>
                  </a:lnTo>
                  <a:lnTo>
                    <a:pt x="129" y="29"/>
                  </a:lnTo>
                  <a:lnTo>
                    <a:pt x="127" y="29"/>
                  </a:lnTo>
                  <a:lnTo>
                    <a:pt x="127" y="27"/>
                  </a:lnTo>
                  <a:lnTo>
                    <a:pt x="129" y="23"/>
                  </a:lnTo>
                  <a:lnTo>
                    <a:pt x="129" y="20"/>
                  </a:lnTo>
                  <a:lnTo>
                    <a:pt x="127" y="18"/>
                  </a:lnTo>
                  <a:lnTo>
                    <a:pt x="127" y="16"/>
                  </a:lnTo>
                  <a:lnTo>
                    <a:pt x="125" y="14"/>
                  </a:lnTo>
                  <a:lnTo>
                    <a:pt x="121" y="10"/>
                  </a:lnTo>
                  <a:lnTo>
                    <a:pt x="121" y="8"/>
                  </a:lnTo>
                  <a:lnTo>
                    <a:pt x="121" y="6"/>
                  </a:lnTo>
                  <a:lnTo>
                    <a:pt x="123" y="6"/>
                  </a:lnTo>
                  <a:lnTo>
                    <a:pt x="123" y="4"/>
                  </a:lnTo>
                  <a:lnTo>
                    <a:pt x="127" y="4"/>
                  </a:lnTo>
                  <a:lnTo>
                    <a:pt x="127" y="4"/>
                  </a:lnTo>
                  <a:lnTo>
                    <a:pt x="131" y="2"/>
                  </a:lnTo>
                  <a:lnTo>
                    <a:pt x="131" y="0"/>
                  </a:lnTo>
                  <a:lnTo>
                    <a:pt x="131" y="0"/>
                  </a:lnTo>
                  <a:lnTo>
                    <a:pt x="131" y="0"/>
                  </a:lnTo>
                  <a:lnTo>
                    <a:pt x="131" y="0"/>
                  </a:lnTo>
                  <a:lnTo>
                    <a:pt x="131" y="0"/>
                  </a:lnTo>
                  <a:lnTo>
                    <a:pt x="131" y="2"/>
                  </a:lnTo>
                  <a:lnTo>
                    <a:pt x="131" y="2"/>
                  </a:lnTo>
                  <a:lnTo>
                    <a:pt x="131" y="2"/>
                  </a:lnTo>
                  <a:lnTo>
                    <a:pt x="131" y="2"/>
                  </a:lnTo>
                  <a:lnTo>
                    <a:pt x="133" y="10"/>
                  </a:lnTo>
                  <a:lnTo>
                    <a:pt x="135" y="18"/>
                  </a:lnTo>
                  <a:lnTo>
                    <a:pt x="137" y="27"/>
                  </a:lnTo>
                  <a:lnTo>
                    <a:pt x="137" y="35"/>
                  </a:lnTo>
                  <a:lnTo>
                    <a:pt x="139" y="43"/>
                  </a:lnTo>
                  <a:lnTo>
                    <a:pt x="141" y="51"/>
                  </a:lnTo>
                  <a:lnTo>
                    <a:pt x="144" y="59"/>
                  </a:lnTo>
                  <a:lnTo>
                    <a:pt x="144" y="70"/>
                  </a:lnTo>
                  <a:lnTo>
                    <a:pt x="146" y="76"/>
                  </a:lnTo>
                  <a:lnTo>
                    <a:pt x="148" y="84"/>
                  </a:lnTo>
                  <a:lnTo>
                    <a:pt x="148" y="90"/>
                  </a:lnTo>
                  <a:lnTo>
                    <a:pt x="150" y="98"/>
                  </a:lnTo>
                  <a:lnTo>
                    <a:pt x="160" y="96"/>
                  </a:lnTo>
                  <a:lnTo>
                    <a:pt x="170" y="94"/>
                  </a:lnTo>
                  <a:lnTo>
                    <a:pt x="182" y="92"/>
                  </a:lnTo>
                  <a:lnTo>
                    <a:pt x="193" y="90"/>
                  </a:lnTo>
                  <a:lnTo>
                    <a:pt x="203" y="88"/>
                  </a:lnTo>
                  <a:lnTo>
                    <a:pt x="213" y="86"/>
                  </a:lnTo>
                  <a:lnTo>
                    <a:pt x="225" y="84"/>
                  </a:lnTo>
                  <a:lnTo>
                    <a:pt x="236" y="82"/>
                  </a:lnTo>
                  <a:lnTo>
                    <a:pt x="236" y="82"/>
                  </a:lnTo>
                  <a:close/>
                </a:path>
              </a:pathLst>
            </a:custGeom>
            <a:solidFill>
              <a:schemeClr val="accent1"/>
            </a:solidFill>
            <a:ln w="3175" cap="rnd">
              <a:solidFill>
                <a:schemeClr val="bg1"/>
              </a:solidFill>
              <a:prstDash val="solid"/>
              <a:round/>
              <a:headEnd/>
              <a:tailEnd/>
            </a:ln>
          </p:spPr>
          <p:txBody>
            <a:bodyPr vert="horz" wrap="square" lIns="0" tIns="144000" rIns="144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WV</a:t>
              </a:r>
            </a:p>
          </p:txBody>
        </p:sp>
        <p:sp>
          <p:nvSpPr>
            <p:cNvPr id="140" name="Freeform 7">
              <a:extLst>
                <a:ext uri="{FF2B5EF4-FFF2-40B4-BE49-F238E27FC236}">
                  <a16:creationId xmlns:a16="http://schemas.microsoft.com/office/drawing/2014/main" id="{0B8E953A-F139-79E3-1204-CE477A494BDF}"/>
                </a:ext>
              </a:extLst>
            </p:cNvPr>
            <p:cNvSpPr>
              <a:spLocks noEditPoints="1"/>
            </p:cNvSpPr>
            <p:nvPr/>
          </p:nvSpPr>
          <p:spPr bwMode="auto">
            <a:xfrm>
              <a:off x="3283" y="345"/>
              <a:ext cx="475" cy="478"/>
            </a:xfrm>
            <a:custGeom>
              <a:avLst/>
              <a:gdLst>
                <a:gd name="T0" fmla="*/ 167 w 475"/>
                <a:gd name="T1" fmla="*/ 23 h 478"/>
                <a:gd name="T2" fmla="*/ 172 w 475"/>
                <a:gd name="T3" fmla="*/ 13 h 478"/>
                <a:gd name="T4" fmla="*/ 139 w 475"/>
                <a:gd name="T5" fmla="*/ 17 h 478"/>
                <a:gd name="T6" fmla="*/ 417 w 475"/>
                <a:gd name="T7" fmla="*/ 213 h 478"/>
                <a:gd name="T8" fmla="*/ 395 w 475"/>
                <a:gd name="T9" fmla="*/ 244 h 478"/>
                <a:gd name="T10" fmla="*/ 395 w 475"/>
                <a:gd name="T11" fmla="*/ 226 h 478"/>
                <a:gd name="T12" fmla="*/ 415 w 475"/>
                <a:gd name="T13" fmla="*/ 197 h 478"/>
                <a:gd name="T14" fmla="*/ 409 w 475"/>
                <a:gd name="T15" fmla="*/ 177 h 478"/>
                <a:gd name="T16" fmla="*/ 409 w 475"/>
                <a:gd name="T17" fmla="*/ 154 h 478"/>
                <a:gd name="T18" fmla="*/ 395 w 475"/>
                <a:gd name="T19" fmla="*/ 158 h 478"/>
                <a:gd name="T20" fmla="*/ 399 w 475"/>
                <a:gd name="T21" fmla="*/ 144 h 478"/>
                <a:gd name="T22" fmla="*/ 397 w 475"/>
                <a:gd name="T23" fmla="*/ 127 h 478"/>
                <a:gd name="T24" fmla="*/ 389 w 475"/>
                <a:gd name="T25" fmla="*/ 119 h 478"/>
                <a:gd name="T26" fmla="*/ 376 w 475"/>
                <a:gd name="T27" fmla="*/ 117 h 478"/>
                <a:gd name="T28" fmla="*/ 370 w 475"/>
                <a:gd name="T29" fmla="*/ 103 h 478"/>
                <a:gd name="T30" fmla="*/ 354 w 475"/>
                <a:gd name="T31" fmla="*/ 99 h 478"/>
                <a:gd name="T32" fmla="*/ 339 w 475"/>
                <a:gd name="T33" fmla="*/ 97 h 478"/>
                <a:gd name="T34" fmla="*/ 325 w 475"/>
                <a:gd name="T35" fmla="*/ 97 h 478"/>
                <a:gd name="T36" fmla="*/ 311 w 475"/>
                <a:gd name="T37" fmla="*/ 97 h 478"/>
                <a:gd name="T38" fmla="*/ 243 w 475"/>
                <a:gd name="T39" fmla="*/ 80 h 478"/>
                <a:gd name="T40" fmla="*/ 202 w 475"/>
                <a:gd name="T41" fmla="*/ 60 h 478"/>
                <a:gd name="T42" fmla="*/ 190 w 475"/>
                <a:gd name="T43" fmla="*/ 56 h 478"/>
                <a:gd name="T44" fmla="*/ 157 w 475"/>
                <a:gd name="T45" fmla="*/ 41 h 478"/>
                <a:gd name="T46" fmla="*/ 145 w 475"/>
                <a:gd name="T47" fmla="*/ 50 h 478"/>
                <a:gd name="T48" fmla="*/ 155 w 475"/>
                <a:gd name="T49" fmla="*/ 21 h 478"/>
                <a:gd name="T50" fmla="*/ 145 w 475"/>
                <a:gd name="T51" fmla="*/ 17 h 478"/>
                <a:gd name="T52" fmla="*/ 133 w 475"/>
                <a:gd name="T53" fmla="*/ 23 h 478"/>
                <a:gd name="T54" fmla="*/ 122 w 475"/>
                <a:gd name="T55" fmla="*/ 29 h 478"/>
                <a:gd name="T56" fmla="*/ 57 w 475"/>
                <a:gd name="T57" fmla="*/ 47 h 478"/>
                <a:gd name="T58" fmla="*/ 47 w 475"/>
                <a:gd name="T59" fmla="*/ 52 h 478"/>
                <a:gd name="T60" fmla="*/ 40 w 475"/>
                <a:gd name="T61" fmla="*/ 78 h 478"/>
                <a:gd name="T62" fmla="*/ 34 w 475"/>
                <a:gd name="T63" fmla="*/ 121 h 478"/>
                <a:gd name="T64" fmla="*/ 16 w 475"/>
                <a:gd name="T65" fmla="*/ 134 h 478"/>
                <a:gd name="T66" fmla="*/ 12 w 475"/>
                <a:gd name="T67" fmla="*/ 173 h 478"/>
                <a:gd name="T68" fmla="*/ 12 w 475"/>
                <a:gd name="T69" fmla="*/ 203 h 478"/>
                <a:gd name="T70" fmla="*/ 16 w 475"/>
                <a:gd name="T71" fmla="*/ 238 h 478"/>
                <a:gd name="T72" fmla="*/ 45 w 475"/>
                <a:gd name="T73" fmla="*/ 271 h 478"/>
                <a:gd name="T74" fmla="*/ 108 w 475"/>
                <a:gd name="T75" fmla="*/ 322 h 478"/>
                <a:gd name="T76" fmla="*/ 133 w 475"/>
                <a:gd name="T77" fmla="*/ 332 h 478"/>
                <a:gd name="T78" fmla="*/ 145 w 475"/>
                <a:gd name="T79" fmla="*/ 351 h 478"/>
                <a:gd name="T80" fmla="*/ 147 w 475"/>
                <a:gd name="T81" fmla="*/ 379 h 478"/>
                <a:gd name="T82" fmla="*/ 155 w 475"/>
                <a:gd name="T83" fmla="*/ 414 h 478"/>
                <a:gd name="T84" fmla="*/ 169 w 475"/>
                <a:gd name="T85" fmla="*/ 459 h 478"/>
                <a:gd name="T86" fmla="*/ 204 w 475"/>
                <a:gd name="T87" fmla="*/ 478 h 478"/>
                <a:gd name="T88" fmla="*/ 247 w 475"/>
                <a:gd name="T89" fmla="*/ 476 h 478"/>
                <a:gd name="T90" fmla="*/ 432 w 475"/>
                <a:gd name="T91" fmla="*/ 449 h 478"/>
                <a:gd name="T92" fmla="*/ 426 w 475"/>
                <a:gd name="T93" fmla="*/ 410 h 478"/>
                <a:gd name="T94" fmla="*/ 419 w 475"/>
                <a:gd name="T95" fmla="*/ 384 h 478"/>
                <a:gd name="T96" fmla="*/ 428 w 475"/>
                <a:gd name="T97" fmla="*/ 328 h 478"/>
                <a:gd name="T98" fmla="*/ 426 w 475"/>
                <a:gd name="T99" fmla="*/ 298 h 478"/>
                <a:gd name="T100" fmla="*/ 434 w 475"/>
                <a:gd name="T101" fmla="*/ 259 h 478"/>
                <a:gd name="T102" fmla="*/ 157 w 475"/>
                <a:gd name="T103" fmla="*/ 19 h 478"/>
                <a:gd name="T104" fmla="*/ 182 w 475"/>
                <a:gd name="T105" fmla="*/ 2 h 478"/>
                <a:gd name="T106" fmla="*/ 473 w 475"/>
                <a:gd name="T107" fmla="*/ 144 h 478"/>
                <a:gd name="T108" fmla="*/ 475 w 475"/>
                <a:gd name="T109" fmla="*/ 152 h 478"/>
                <a:gd name="T110" fmla="*/ 458 w 475"/>
                <a:gd name="T111" fmla="*/ 160 h 478"/>
                <a:gd name="T112" fmla="*/ 446 w 475"/>
                <a:gd name="T113" fmla="*/ 175 h 478"/>
                <a:gd name="T114" fmla="*/ 440 w 475"/>
                <a:gd name="T115" fmla="*/ 207 h 478"/>
                <a:gd name="T116" fmla="*/ 458 w 475"/>
                <a:gd name="T117" fmla="*/ 183 h 478"/>
                <a:gd name="T118" fmla="*/ 460 w 475"/>
                <a:gd name="T119" fmla="*/ 173 h 478"/>
                <a:gd name="T120" fmla="*/ 466 w 475"/>
                <a:gd name="T121" fmla="*/ 16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5" h="478">
                  <a:moveTo>
                    <a:pt x="153" y="33"/>
                  </a:moveTo>
                  <a:lnTo>
                    <a:pt x="155" y="35"/>
                  </a:lnTo>
                  <a:lnTo>
                    <a:pt x="155" y="37"/>
                  </a:lnTo>
                  <a:lnTo>
                    <a:pt x="159" y="33"/>
                  </a:lnTo>
                  <a:lnTo>
                    <a:pt x="163" y="33"/>
                  </a:lnTo>
                  <a:lnTo>
                    <a:pt x="163" y="31"/>
                  </a:lnTo>
                  <a:lnTo>
                    <a:pt x="163" y="31"/>
                  </a:lnTo>
                  <a:lnTo>
                    <a:pt x="163" y="29"/>
                  </a:lnTo>
                  <a:lnTo>
                    <a:pt x="165" y="27"/>
                  </a:lnTo>
                  <a:lnTo>
                    <a:pt x="167" y="27"/>
                  </a:lnTo>
                  <a:lnTo>
                    <a:pt x="169" y="27"/>
                  </a:lnTo>
                  <a:lnTo>
                    <a:pt x="169" y="25"/>
                  </a:lnTo>
                  <a:lnTo>
                    <a:pt x="169" y="25"/>
                  </a:lnTo>
                  <a:lnTo>
                    <a:pt x="167" y="23"/>
                  </a:lnTo>
                  <a:lnTo>
                    <a:pt x="167" y="23"/>
                  </a:lnTo>
                  <a:lnTo>
                    <a:pt x="163" y="25"/>
                  </a:lnTo>
                  <a:lnTo>
                    <a:pt x="161" y="27"/>
                  </a:lnTo>
                  <a:lnTo>
                    <a:pt x="161" y="29"/>
                  </a:lnTo>
                  <a:lnTo>
                    <a:pt x="155" y="31"/>
                  </a:lnTo>
                  <a:lnTo>
                    <a:pt x="153" y="33"/>
                  </a:lnTo>
                  <a:close/>
                  <a:moveTo>
                    <a:pt x="167" y="19"/>
                  </a:moveTo>
                  <a:lnTo>
                    <a:pt x="169" y="19"/>
                  </a:lnTo>
                  <a:lnTo>
                    <a:pt x="172" y="19"/>
                  </a:lnTo>
                  <a:lnTo>
                    <a:pt x="172" y="19"/>
                  </a:lnTo>
                  <a:lnTo>
                    <a:pt x="172" y="17"/>
                  </a:lnTo>
                  <a:lnTo>
                    <a:pt x="172" y="17"/>
                  </a:lnTo>
                  <a:lnTo>
                    <a:pt x="172" y="15"/>
                  </a:lnTo>
                  <a:lnTo>
                    <a:pt x="174" y="15"/>
                  </a:lnTo>
                  <a:lnTo>
                    <a:pt x="174" y="13"/>
                  </a:lnTo>
                  <a:lnTo>
                    <a:pt x="172" y="13"/>
                  </a:lnTo>
                  <a:lnTo>
                    <a:pt x="169" y="15"/>
                  </a:lnTo>
                  <a:lnTo>
                    <a:pt x="165" y="15"/>
                  </a:lnTo>
                  <a:lnTo>
                    <a:pt x="163" y="17"/>
                  </a:lnTo>
                  <a:lnTo>
                    <a:pt x="163" y="19"/>
                  </a:lnTo>
                  <a:lnTo>
                    <a:pt x="163" y="19"/>
                  </a:lnTo>
                  <a:lnTo>
                    <a:pt x="167" y="19"/>
                  </a:lnTo>
                  <a:close/>
                  <a:moveTo>
                    <a:pt x="139" y="17"/>
                  </a:moveTo>
                  <a:lnTo>
                    <a:pt x="141" y="15"/>
                  </a:lnTo>
                  <a:lnTo>
                    <a:pt x="141" y="15"/>
                  </a:lnTo>
                  <a:lnTo>
                    <a:pt x="143" y="13"/>
                  </a:lnTo>
                  <a:lnTo>
                    <a:pt x="141" y="11"/>
                  </a:lnTo>
                  <a:lnTo>
                    <a:pt x="141" y="13"/>
                  </a:lnTo>
                  <a:lnTo>
                    <a:pt x="139" y="15"/>
                  </a:lnTo>
                  <a:lnTo>
                    <a:pt x="139" y="15"/>
                  </a:lnTo>
                  <a:lnTo>
                    <a:pt x="139" y="17"/>
                  </a:lnTo>
                  <a:close/>
                  <a:moveTo>
                    <a:pt x="444" y="211"/>
                  </a:moveTo>
                  <a:lnTo>
                    <a:pt x="442" y="211"/>
                  </a:lnTo>
                  <a:lnTo>
                    <a:pt x="440" y="209"/>
                  </a:lnTo>
                  <a:lnTo>
                    <a:pt x="436" y="205"/>
                  </a:lnTo>
                  <a:lnTo>
                    <a:pt x="434" y="205"/>
                  </a:lnTo>
                  <a:lnTo>
                    <a:pt x="432" y="205"/>
                  </a:lnTo>
                  <a:lnTo>
                    <a:pt x="432" y="207"/>
                  </a:lnTo>
                  <a:lnTo>
                    <a:pt x="430" y="207"/>
                  </a:lnTo>
                  <a:lnTo>
                    <a:pt x="426" y="209"/>
                  </a:lnTo>
                  <a:lnTo>
                    <a:pt x="426" y="211"/>
                  </a:lnTo>
                  <a:lnTo>
                    <a:pt x="426" y="209"/>
                  </a:lnTo>
                  <a:lnTo>
                    <a:pt x="423" y="209"/>
                  </a:lnTo>
                  <a:lnTo>
                    <a:pt x="421" y="211"/>
                  </a:lnTo>
                  <a:lnTo>
                    <a:pt x="419" y="211"/>
                  </a:lnTo>
                  <a:lnTo>
                    <a:pt x="417" y="213"/>
                  </a:lnTo>
                  <a:lnTo>
                    <a:pt x="415" y="220"/>
                  </a:lnTo>
                  <a:lnTo>
                    <a:pt x="413" y="224"/>
                  </a:lnTo>
                  <a:lnTo>
                    <a:pt x="415" y="226"/>
                  </a:lnTo>
                  <a:lnTo>
                    <a:pt x="413" y="228"/>
                  </a:lnTo>
                  <a:lnTo>
                    <a:pt x="413" y="230"/>
                  </a:lnTo>
                  <a:lnTo>
                    <a:pt x="413" y="230"/>
                  </a:lnTo>
                  <a:lnTo>
                    <a:pt x="411" y="232"/>
                  </a:lnTo>
                  <a:lnTo>
                    <a:pt x="407" y="234"/>
                  </a:lnTo>
                  <a:lnTo>
                    <a:pt x="403" y="238"/>
                  </a:lnTo>
                  <a:lnTo>
                    <a:pt x="401" y="238"/>
                  </a:lnTo>
                  <a:lnTo>
                    <a:pt x="401" y="240"/>
                  </a:lnTo>
                  <a:lnTo>
                    <a:pt x="401" y="244"/>
                  </a:lnTo>
                  <a:lnTo>
                    <a:pt x="399" y="244"/>
                  </a:lnTo>
                  <a:lnTo>
                    <a:pt x="397" y="244"/>
                  </a:lnTo>
                  <a:lnTo>
                    <a:pt x="395" y="244"/>
                  </a:lnTo>
                  <a:lnTo>
                    <a:pt x="393" y="244"/>
                  </a:lnTo>
                  <a:lnTo>
                    <a:pt x="393" y="242"/>
                  </a:lnTo>
                  <a:lnTo>
                    <a:pt x="391" y="242"/>
                  </a:lnTo>
                  <a:lnTo>
                    <a:pt x="391" y="240"/>
                  </a:lnTo>
                  <a:lnTo>
                    <a:pt x="393" y="238"/>
                  </a:lnTo>
                  <a:lnTo>
                    <a:pt x="393" y="236"/>
                  </a:lnTo>
                  <a:lnTo>
                    <a:pt x="393" y="234"/>
                  </a:lnTo>
                  <a:lnTo>
                    <a:pt x="393" y="234"/>
                  </a:lnTo>
                  <a:lnTo>
                    <a:pt x="393" y="232"/>
                  </a:lnTo>
                  <a:lnTo>
                    <a:pt x="395" y="232"/>
                  </a:lnTo>
                  <a:lnTo>
                    <a:pt x="395" y="232"/>
                  </a:lnTo>
                  <a:lnTo>
                    <a:pt x="393" y="230"/>
                  </a:lnTo>
                  <a:lnTo>
                    <a:pt x="393" y="230"/>
                  </a:lnTo>
                  <a:lnTo>
                    <a:pt x="393" y="226"/>
                  </a:lnTo>
                  <a:lnTo>
                    <a:pt x="395" y="226"/>
                  </a:lnTo>
                  <a:lnTo>
                    <a:pt x="395" y="224"/>
                  </a:lnTo>
                  <a:lnTo>
                    <a:pt x="397" y="222"/>
                  </a:lnTo>
                  <a:lnTo>
                    <a:pt x="397" y="222"/>
                  </a:lnTo>
                  <a:lnTo>
                    <a:pt x="397" y="220"/>
                  </a:lnTo>
                  <a:lnTo>
                    <a:pt x="397" y="220"/>
                  </a:lnTo>
                  <a:lnTo>
                    <a:pt x="397" y="218"/>
                  </a:lnTo>
                  <a:lnTo>
                    <a:pt x="399" y="218"/>
                  </a:lnTo>
                  <a:lnTo>
                    <a:pt x="399" y="216"/>
                  </a:lnTo>
                  <a:lnTo>
                    <a:pt x="403" y="209"/>
                  </a:lnTo>
                  <a:lnTo>
                    <a:pt x="403" y="207"/>
                  </a:lnTo>
                  <a:lnTo>
                    <a:pt x="403" y="205"/>
                  </a:lnTo>
                  <a:lnTo>
                    <a:pt x="403" y="201"/>
                  </a:lnTo>
                  <a:lnTo>
                    <a:pt x="407" y="199"/>
                  </a:lnTo>
                  <a:lnTo>
                    <a:pt x="413" y="197"/>
                  </a:lnTo>
                  <a:lnTo>
                    <a:pt x="415" y="197"/>
                  </a:lnTo>
                  <a:lnTo>
                    <a:pt x="417" y="195"/>
                  </a:lnTo>
                  <a:lnTo>
                    <a:pt x="417" y="193"/>
                  </a:lnTo>
                  <a:lnTo>
                    <a:pt x="417" y="191"/>
                  </a:lnTo>
                  <a:lnTo>
                    <a:pt x="417" y="189"/>
                  </a:lnTo>
                  <a:lnTo>
                    <a:pt x="417" y="189"/>
                  </a:lnTo>
                  <a:lnTo>
                    <a:pt x="417" y="187"/>
                  </a:lnTo>
                  <a:lnTo>
                    <a:pt x="419" y="185"/>
                  </a:lnTo>
                  <a:lnTo>
                    <a:pt x="419" y="183"/>
                  </a:lnTo>
                  <a:lnTo>
                    <a:pt x="415" y="183"/>
                  </a:lnTo>
                  <a:lnTo>
                    <a:pt x="413" y="181"/>
                  </a:lnTo>
                  <a:lnTo>
                    <a:pt x="413" y="181"/>
                  </a:lnTo>
                  <a:lnTo>
                    <a:pt x="413" y="181"/>
                  </a:lnTo>
                  <a:lnTo>
                    <a:pt x="411" y="179"/>
                  </a:lnTo>
                  <a:lnTo>
                    <a:pt x="411" y="177"/>
                  </a:lnTo>
                  <a:lnTo>
                    <a:pt x="409" y="177"/>
                  </a:lnTo>
                  <a:lnTo>
                    <a:pt x="409" y="175"/>
                  </a:lnTo>
                  <a:lnTo>
                    <a:pt x="407" y="175"/>
                  </a:lnTo>
                  <a:lnTo>
                    <a:pt x="407" y="170"/>
                  </a:lnTo>
                  <a:lnTo>
                    <a:pt x="409" y="170"/>
                  </a:lnTo>
                  <a:lnTo>
                    <a:pt x="409" y="166"/>
                  </a:lnTo>
                  <a:lnTo>
                    <a:pt x="411" y="160"/>
                  </a:lnTo>
                  <a:lnTo>
                    <a:pt x="411" y="160"/>
                  </a:lnTo>
                  <a:lnTo>
                    <a:pt x="413" y="158"/>
                  </a:lnTo>
                  <a:lnTo>
                    <a:pt x="413" y="158"/>
                  </a:lnTo>
                  <a:lnTo>
                    <a:pt x="413" y="158"/>
                  </a:lnTo>
                  <a:lnTo>
                    <a:pt x="413" y="156"/>
                  </a:lnTo>
                  <a:lnTo>
                    <a:pt x="411" y="156"/>
                  </a:lnTo>
                  <a:lnTo>
                    <a:pt x="411" y="156"/>
                  </a:lnTo>
                  <a:lnTo>
                    <a:pt x="411" y="154"/>
                  </a:lnTo>
                  <a:lnTo>
                    <a:pt x="409" y="154"/>
                  </a:lnTo>
                  <a:lnTo>
                    <a:pt x="409" y="154"/>
                  </a:lnTo>
                  <a:lnTo>
                    <a:pt x="409" y="154"/>
                  </a:lnTo>
                  <a:lnTo>
                    <a:pt x="403" y="158"/>
                  </a:lnTo>
                  <a:lnTo>
                    <a:pt x="403" y="158"/>
                  </a:lnTo>
                  <a:lnTo>
                    <a:pt x="403" y="158"/>
                  </a:lnTo>
                  <a:lnTo>
                    <a:pt x="401" y="158"/>
                  </a:lnTo>
                  <a:lnTo>
                    <a:pt x="399" y="158"/>
                  </a:lnTo>
                  <a:lnTo>
                    <a:pt x="399" y="158"/>
                  </a:lnTo>
                  <a:lnTo>
                    <a:pt x="399" y="158"/>
                  </a:lnTo>
                  <a:lnTo>
                    <a:pt x="399" y="158"/>
                  </a:lnTo>
                  <a:lnTo>
                    <a:pt x="397" y="160"/>
                  </a:lnTo>
                  <a:lnTo>
                    <a:pt x="397" y="160"/>
                  </a:lnTo>
                  <a:lnTo>
                    <a:pt x="395" y="158"/>
                  </a:lnTo>
                  <a:lnTo>
                    <a:pt x="395" y="158"/>
                  </a:lnTo>
                  <a:lnTo>
                    <a:pt x="395" y="158"/>
                  </a:lnTo>
                  <a:lnTo>
                    <a:pt x="395" y="156"/>
                  </a:lnTo>
                  <a:lnTo>
                    <a:pt x="395" y="154"/>
                  </a:lnTo>
                  <a:lnTo>
                    <a:pt x="395" y="154"/>
                  </a:lnTo>
                  <a:lnTo>
                    <a:pt x="395" y="152"/>
                  </a:lnTo>
                  <a:lnTo>
                    <a:pt x="395" y="152"/>
                  </a:lnTo>
                  <a:lnTo>
                    <a:pt x="395" y="150"/>
                  </a:lnTo>
                  <a:lnTo>
                    <a:pt x="395" y="150"/>
                  </a:lnTo>
                  <a:lnTo>
                    <a:pt x="395" y="150"/>
                  </a:lnTo>
                  <a:lnTo>
                    <a:pt x="397" y="148"/>
                  </a:lnTo>
                  <a:lnTo>
                    <a:pt x="399" y="148"/>
                  </a:lnTo>
                  <a:lnTo>
                    <a:pt x="399" y="146"/>
                  </a:lnTo>
                  <a:lnTo>
                    <a:pt x="399" y="146"/>
                  </a:lnTo>
                  <a:lnTo>
                    <a:pt x="399" y="144"/>
                  </a:lnTo>
                  <a:lnTo>
                    <a:pt x="399" y="144"/>
                  </a:lnTo>
                  <a:lnTo>
                    <a:pt x="399" y="144"/>
                  </a:lnTo>
                  <a:lnTo>
                    <a:pt x="399" y="144"/>
                  </a:lnTo>
                  <a:lnTo>
                    <a:pt x="399" y="140"/>
                  </a:lnTo>
                  <a:lnTo>
                    <a:pt x="397" y="138"/>
                  </a:lnTo>
                  <a:lnTo>
                    <a:pt x="397" y="138"/>
                  </a:lnTo>
                  <a:lnTo>
                    <a:pt x="397" y="136"/>
                  </a:lnTo>
                  <a:lnTo>
                    <a:pt x="399" y="136"/>
                  </a:lnTo>
                  <a:lnTo>
                    <a:pt x="399" y="136"/>
                  </a:lnTo>
                  <a:lnTo>
                    <a:pt x="399" y="136"/>
                  </a:lnTo>
                  <a:lnTo>
                    <a:pt x="399" y="136"/>
                  </a:lnTo>
                  <a:lnTo>
                    <a:pt x="399" y="134"/>
                  </a:lnTo>
                  <a:lnTo>
                    <a:pt x="399" y="134"/>
                  </a:lnTo>
                  <a:lnTo>
                    <a:pt x="399" y="132"/>
                  </a:lnTo>
                  <a:lnTo>
                    <a:pt x="399" y="132"/>
                  </a:lnTo>
                  <a:lnTo>
                    <a:pt x="397" y="129"/>
                  </a:lnTo>
                  <a:lnTo>
                    <a:pt x="397" y="127"/>
                  </a:lnTo>
                  <a:lnTo>
                    <a:pt x="397" y="127"/>
                  </a:lnTo>
                  <a:lnTo>
                    <a:pt x="397" y="127"/>
                  </a:lnTo>
                  <a:lnTo>
                    <a:pt x="397" y="125"/>
                  </a:lnTo>
                  <a:lnTo>
                    <a:pt x="397" y="125"/>
                  </a:lnTo>
                  <a:lnTo>
                    <a:pt x="397" y="125"/>
                  </a:lnTo>
                  <a:lnTo>
                    <a:pt x="397" y="125"/>
                  </a:lnTo>
                  <a:lnTo>
                    <a:pt x="397" y="125"/>
                  </a:lnTo>
                  <a:lnTo>
                    <a:pt x="397" y="123"/>
                  </a:lnTo>
                  <a:lnTo>
                    <a:pt x="395" y="123"/>
                  </a:lnTo>
                  <a:lnTo>
                    <a:pt x="395" y="121"/>
                  </a:lnTo>
                  <a:lnTo>
                    <a:pt x="393" y="121"/>
                  </a:lnTo>
                  <a:lnTo>
                    <a:pt x="391" y="121"/>
                  </a:lnTo>
                  <a:lnTo>
                    <a:pt x="391" y="119"/>
                  </a:lnTo>
                  <a:lnTo>
                    <a:pt x="391" y="119"/>
                  </a:lnTo>
                  <a:lnTo>
                    <a:pt x="389" y="119"/>
                  </a:lnTo>
                  <a:lnTo>
                    <a:pt x="389" y="119"/>
                  </a:lnTo>
                  <a:lnTo>
                    <a:pt x="389" y="117"/>
                  </a:lnTo>
                  <a:lnTo>
                    <a:pt x="389" y="117"/>
                  </a:lnTo>
                  <a:lnTo>
                    <a:pt x="385" y="117"/>
                  </a:lnTo>
                  <a:lnTo>
                    <a:pt x="382" y="117"/>
                  </a:lnTo>
                  <a:lnTo>
                    <a:pt x="382" y="117"/>
                  </a:lnTo>
                  <a:lnTo>
                    <a:pt x="382" y="117"/>
                  </a:lnTo>
                  <a:lnTo>
                    <a:pt x="382" y="117"/>
                  </a:lnTo>
                  <a:lnTo>
                    <a:pt x="380" y="115"/>
                  </a:lnTo>
                  <a:lnTo>
                    <a:pt x="380" y="115"/>
                  </a:lnTo>
                  <a:lnTo>
                    <a:pt x="380" y="115"/>
                  </a:lnTo>
                  <a:lnTo>
                    <a:pt x="380" y="115"/>
                  </a:lnTo>
                  <a:lnTo>
                    <a:pt x="378" y="117"/>
                  </a:lnTo>
                  <a:lnTo>
                    <a:pt x="376" y="117"/>
                  </a:lnTo>
                  <a:lnTo>
                    <a:pt x="376" y="117"/>
                  </a:lnTo>
                  <a:lnTo>
                    <a:pt x="374" y="117"/>
                  </a:lnTo>
                  <a:lnTo>
                    <a:pt x="374" y="115"/>
                  </a:lnTo>
                  <a:lnTo>
                    <a:pt x="372" y="115"/>
                  </a:lnTo>
                  <a:lnTo>
                    <a:pt x="372" y="115"/>
                  </a:lnTo>
                  <a:lnTo>
                    <a:pt x="370" y="115"/>
                  </a:lnTo>
                  <a:lnTo>
                    <a:pt x="370" y="113"/>
                  </a:lnTo>
                  <a:lnTo>
                    <a:pt x="370" y="113"/>
                  </a:lnTo>
                  <a:lnTo>
                    <a:pt x="370" y="113"/>
                  </a:lnTo>
                  <a:lnTo>
                    <a:pt x="370" y="111"/>
                  </a:lnTo>
                  <a:lnTo>
                    <a:pt x="372" y="109"/>
                  </a:lnTo>
                  <a:lnTo>
                    <a:pt x="372" y="109"/>
                  </a:lnTo>
                  <a:lnTo>
                    <a:pt x="372" y="109"/>
                  </a:lnTo>
                  <a:lnTo>
                    <a:pt x="372" y="107"/>
                  </a:lnTo>
                  <a:lnTo>
                    <a:pt x="372" y="107"/>
                  </a:lnTo>
                  <a:lnTo>
                    <a:pt x="370" y="103"/>
                  </a:lnTo>
                  <a:lnTo>
                    <a:pt x="370" y="103"/>
                  </a:lnTo>
                  <a:lnTo>
                    <a:pt x="368" y="101"/>
                  </a:lnTo>
                  <a:lnTo>
                    <a:pt x="368" y="101"/>
                  </a:lnTo>
                  <a:lnTo>
                    <a:pt x="366" y="101"/>
                  </a:lnTo>
                  <a:lnTo>
                    <a:pt x="364" y="101"/>
                  </a:lnTo>
                  <a:lnTo>
                    <a:pt x="364" y="99"/>
                  </a:lnTo>
                  <a:lnTo>
                    <a:pt x="364" y="99"/>
                  </a:lnTo>
                  <a:lnTo>
                    <a:pt x="362" y="101"/>
                  </a:lnTo>
                  <a:lnTo>
                    <a:pt x="362" y="101"/>
                  </a:lnTo>
                  <a:lnTo>
                    <a:pt x="362" y="101"/>
                  </a:lnTo>
                  <a:lnTo>
                    <a:pt x="360" y="101"/>
                  </a:lnTo>
                  <a:lnTo>
                    <a:pt x="358" y="99"/>
                  </a:lnTo>
                  <a:lnTo>
                    <a:pt x="358" y="99"/>
                  </a:lnTo>
                  <a:lnTo>
                    <a:pt x="356" y="99"/>
                  </a:lnTo>
                  <a:lnTo>
                    <a:pt x="354" y="99"/>
                  </a:lnTo>
                  <a:lnTo>
                    <a:pt x="354" y="99"/>
                  </a:lnTo>
                  <a:lnTo>
                    <a:pt x="352" y="99"/>
                  </a:lnTo>
                  <a:lnTo>
                    <a:pt x="350" y="97"/>
                  </a:lnTo>
                  <a:lnTo>
                    <a:pt x="350" y="97"/>
                  </a:lnTo>
                  <a:lnTo>
                    <a:pt x="350" y="97"/>
                  </a:lnTo>
                  <a:lnTo>
                    <a:pt x="348" y="99"/>
                  </a:lnTo>
                  <a:lnTo>
                    <a:pt x="346" y="99"/>
                  </a:lnTo>
                  <a:lnTo>
                    <a:pt x="346" y="99"/>
                  </a:lnTo>
                  <a:lnTo>
                    <a:pt x="344" y="97"/>
                  </a:lnTo>
                  <a:lnTo>
                    <a:pt x="342" y="97"/>
                  </a:lnTo>
                  <a:lnTo>
                    <a:pt x="342" y="97"/>
                  </a:lnTo>
                  <a:lnTo>
                    <a:pt x="342" y="97"/>
                  </a:lnTo>
                  <a:lnTo>
                    <a:pt x="342" y="97"/>
                  </a:lnTo>
                  <a:lnTo>
                    <a:pt x="339" y="97"/>
                  </a:lnTo>
                  <a:lnTo>
                    <a:pt x="339" y="97"/>
                  </a:lnTo>
                  <a:lnTo>
                    <a:pt x="337" y="97"/>
                  </a:lnTo>
                  <a:lnTo>
                    <a:pt x="337" y="95"/>
                  </a:lnTo>
                  <a:lnTo>
                    <a:pt x="335" y="95"/>
                  </a:lnTo>
                  <a:lnTo>
                    <a:pt x="335" y="97"/>
                  </a:lnTo>
                  <a:lnTo>
                    <a:pt x="335" y="97"/>
                  </a:lnTo>
                  <a:lnTo>
                    <a:pt x="333" y="97"/>
                  </a:lnTo>
                  <a:lnTo>
                    <a:pt x="333" y="97"/>
                  </a:lnTo>
                  <a:lnTo>
                    <a:pt x="333" y="97"/>
                  </a:lnTo>
                  <a:lnTo>
                    <a:pt x="333" y="97"/>
                  </a:lnTo>
                  <a:lnTo>
                    <a:pt x="331" y="97"/>
                  </a:lnTo>
                  <a:lnTo>
                    <a:pt x="331" y="97"/>
                  </a:lnTo>
                  <a:lnTo>
                    <a:pt x="329" y="99"/>
                  </a:lnTo>
                  <a:lnTo>
                    <a:pt x="329" y="99"/>
                  </a:lnTo>
                  <a:lnTo>
                    <a:pt x="329" y="99"/>
                  </a:lnTo>
                  <a:lnTo>
                    <a:pt x="325" y="97"/>
                  </a:lnTo>
                  <a:lnTo>
                    <a:pt x="323" y="97"/>
                  </a:lnTo>
                  <a:lnTo>
                    <a:pt x="323" y="97"/>
                  </a:lnTo>
                  <a:lnTo>
                    <a:pt x="321" y="97"/>
                  </a:lnTo>
                  <a:lnTo>
                    <a:pt x="321" y="97"/>
                  </a:lnTo>
                  <a:lnTo>
                    <a:pt x="321" y="97"/>
                  </a:lnTo>
                  <a:lnTo>
                    <a:pt x="319" y="97"/>
                  </a:lnTo>
                  <a:lnTo>
                    <a:pt x="319" y="97"/>
                  </a:lnTo>
                  <a:lnTo>
                    <a:pt x="317" y="97"/>
                  </a:lnTo>
                  <a:lnTo>
                    <a:pt x="317" y="97"/>
                  </a:lnTo>
                  <a:lnTo>
                    <a:pt x="317" y="97"/>
                  </a:lnTo>
                  <a:lnTo>
                    <a:pt x="315" y="97"/>
                  </a:lnTo>
                  <a:lnTo>
                    <a:pt x="315" y="97"/>
                  </a:lnTo>
                  <a:lnTo>
                    <a:pt x="313" y="97"/>
                  </a:lnTo>
                  <a:lnTo>
                    <a:pt x="313" y="97"/>
                  </a:lnTo>
                  <a:lnTo>
                    <a:pt x="311" y="97"/>
                  </a:lnTo>
                  <a:lnTo>
                    <a:pt x="307" y="95"/>
                  </a:lnTo>
                  <a:lnTo>
                    <a:pt x="301" y="93"/>
                  </a:lnTo>
                  <a:lnTo>
                    <a:pt x="296" y="91"/>
                  </a:lnTo>
                  <a:lnTo>
                    <a:pt x="292" y="88"/>
                  </a:lnTo>
                  <a:lnTo>
                    <a:pt x="290" y="88"/>
                  </a:lnTo>
                  <a:lnTo>
                    <a:pt x="286" y="86"/>
                  </a:lnTo>
                  <a:lnTo>
                    <a:pt x="286" y="86"/>
                  </a:lnTo>
                  <a:lnTo>
                    <a:pt x="284" y="86"/>
                  </a:lnTo>
                  <a:lnTo>
                    <a:pt x="280" y="86"/>
                  </a:lnTo>
                  <a:lnTo>
                    <a:pt x="276" y="84"/>
                  </a:lnTo>
                  <a:lnTo>
                    <a:pt x="270" y="84"/>
                  </a:lnTo>
                  <a:lnTo>
                    <a:pt x="264" y="84"/>
                  </a:lnTo>
                  <a:lnTo>
                    <a:pt x="258" y="82"/>
                  </a:lnTo>
                  <a:lnTo>
                    <a:pt x="249" y="82"/>
                  </a:lnTo>
                  <a:lnTo>
                    <a:pt x="243" y="80"/>
                  </a:lnTo>
                  <a:lnTo>
                    <a:pt x="237" y="78"/>
                  </a:lnTo>
                  <a:lnTo>
                    <a:pt x="229" y="78"/>
                  </a:lnTo>
                  <a:lnTo>
                    <a:pt x="225" y="76"/>
                  </a:lnTo>
                  <a:lnTo>
                    <a:pt x="219" y="76"/>
                  </a:lnTo>
                  <a:lnTo>
                    <a:pt x="217" y="76"/>
                  </a:lnTo>
                  <a:lnTo>
                    <a:pt x="213" y="76"/>
                  </a:lnTo>
                  <a:lnTo>
                    <a:pt x="213" y="76"/>
                  </a:lnTo>
                  <a:lnTo>
                    <a:pt x="210" y="74"/>
                  </a:lnTo>
                  <a:lnTo>
                    <a:pt x="210" y="74"/>
                  </a:lnTo>
                  <a:lnTo>
                    <a:pt x="210" y="74"/>
                  </a:lnTo>
                  <a:lnTo>
                    <a:pt x="208" y="72"/>
                  </a:lnTo>
                  <a:lnTo>
                    <a:pt x="206" y="70"/>
                  </a:lnTo>
                  <a:lnTo>
                    <a:pt x="204" y="66"/>
                  </a:lnTo>
                  <a:lnTo>
                    <a:pt x="204" y="62"/>
                  </a:lnTo>
                  <a:lnTo>
                    <a:pt x="202" y="60"/>
                  </a:lnTo>
                  <a:lnTo>
                    <a:pt x="202" y="60"/>
                  </a:lnTo>
                  <a:lnTo>
                    <a:pt x="200" y="58"/>
                  </a:lnTo>
                  <a:lnTo>
                    <a:pt x="200" y="58"/>
                  </a:lnTo>
                  <a:lnTo>
                    <a:pt x="198" y="58"/>
                  </a:lnTo>
                  <a:lnTo>
                    <a:pt x="198" y="58"/>
                  </a:lnTo>
                  <a:lnTo>
                    <a:pt x="196" y="58"/>
                  </a:lnTo>
                  <a:lnTo>
                    <a:pt x="196" y="58"/>
                  </a:lnTo>
                  <a:lnTo>
                    <a:pt x="196" y="56"/>
                  </a:lnTo>
                  <a:lnTo>
                    <a:pt x="194" y="56"/>
                  </a:lnTo>
                  <a:lnTo>
                    <a:pt x="194" y="56"/>
                  </a:lnTo>
                  <a:lnTo>
                    <a:pt x="192" y="56"/>
                  </a:lnTo>
                  <a:lnTo>
                    <a:pt x="192" y="54"/>
                  </a:lnTo>
                  <a:lnTo>
                    <a:pt x="192" y="54"/>
                  </a:lnTo>
                  <a:lnTo>
                    <a:pt x="190" y="54"/>
                  </a:lnTo>
                  <a:lnTo>
                    <a:pt x="190" y="56"/>
                  </a:lnTo>
                  <a:lnTo>
                    <a:pt x="188" y="56"/>
                  </a:lnTo>
                  <a:lnTo>
                    <a:pt x="188" y="56"/>
                  </a:lnTo>
                  <a:lnTo>
                    <a:pt x="188" y="56"/>
                  </a:lnTo>
                  <a:lnTo>
                    <a:pt x="186" y="56"/>
                  </a:lnTo>
                  <a:lnTo>
                    <a:pt x="186" y="56"/>
                  </a:lnTo>
                  <a:lnTo>
                    <a:pt x="186" y="54"/>
                  </a:lnTo>
                  <a:lnTo>
                    <a:pt x="186" y="52"/>
                  </a:lnTo>
                  <a:lnTo>
                    <a:pt x="186" y="52"/>
                  </a:lnTo>
                  <a:lnTo>
                    <a:pt x="184" y="54"/>
                  </a:lnTo>
                  <a:lnTo>
                    <a:pt x="182" y="54"/>
                  </a:lnTo>
                  <a:lnTo>
                    <a:pt x="180" y="52"/>
                  </a:lnTo>
                  <a:lnTo>
                    <a:pt x="174" y="50"/>
                  </a:lnTo>
                  <a:lnTo>
                    <a:pt x="165" y="47"/>
                  </a:lnTo>
                  <a:lnTo>
                    <a:pt x="159" y="43"/>
                  </a:lnTo>
                  <a:lnTo>
                    <a:pt x="157" y="41"/>
                  </a:lnTo>
                  <a:lnTo>
                    <a:pt x="159" y="41"/>
                  </a:lnTo>
                  <a:lnTo>
                    <a:pt x="159" y="43"/>
                  </a:lnTo>
                  <a:lnTo>
                    <a:pt x="159" y="43"/>
                  </a:lnTo>
                  <a:lnTo>
                    <a:pt x="159" y="43"/>
                  </a:lnTo>
                  <a:lnTo>
                    <a:pt x="157" y="43"/>
                  </a:lnTo>
                  <a:lnTo>
                    <a:pt x="157" y="45"/>
                  </a:lnTo>
                  <a:lnTo>
                    <a:pt x="157" y="45"/>
                  </a:lnTo>
                  <a:lnTo>
                    <a:pt x="159" y="45"/>
                  </a:lnTo>
                  <a:lnTo>
                    <a:pt x="159" y="47"/>
                  </a:lnTo>
                  <a:lnTo>
                    <a:pt x="157" y="50"/>
                  </a:lnTo>
                  <a:lnTo>
                    <a:pt x="147" y="54"/>
                  </a:lnTo>
                  <a:lnTo>
                    <a:pt x="145" y="54"/>
                  </a:lnTo>
                  <a:lnTo>
                    <a:pt x="143" y="54"/>
                  </a:lnTo>
                  <a:lnTo>
                    <a:pt x="145" y="52"/>
                  </a:lnTo>
                  <a:lnTo>
                    <a:pt x="145" y="50"/>
                  </a:lnTo>
                  <a:lnTo>
                    <a:pt x="149" y="43"/>
                  </a:lnTo>
                  <a:lnTo>
                    <a:pt x="149" y="41"/>
                  </a:lnTo>
                  <a:lnTo>
                    <a:pt x="149" y="41"/>
                  </a:lnTo>
                  <a:lnTo>
                    <a:pt x="149" y="39"/>
                  </a:lnTo>
                  <a:lnTo>
                    <a:pt x="149" y="39"/>
                  </a:lnTo>
                  <a:lnTo>
                    <a:pt x="149" y="37"/>
                  </a:lnTo>
                  <a:lnTo>
                    <a:pt x="149" y="35"/>
                  </a:lnTo>
                  <a:lnTo>
                    <a:pt x="149" y="33"/>
                  </a:lnTo>
                  <a:lnTo>
                    <a:pt x="151" y="31"/>
                  </a:lnTo>
                  <a:lnTo>
                    <a:pt x="151" y="31"/>
                  </a:lnTo>
                  <a:lnTo>
                    <a:pt x="153" y="25"/>
                  </a:lnTo>
                  <a:lnTo>
                    <a:pt x="155" y="25"/>
                  </a:lnTo>
                  <a:lnTo>
                    <a:pt x="155" y="23"/>
                  </a:lnTo>
                  <a:lnTo>
                    <a:pt x="153" y="23"/>
                  </a:lnTo>
                  <a:lnTo>
                    <a:pt x="155" y="21"/>
                  </a:lnTo>
                  <a:lnTo>
                    <a:pt x="155" y="21"/>
                  </a:lnTo>
                  <a:lnTo>
                    <a:pt x="155" y="21"/>
                  </a:lnTo>
                  <a:lnTo>
                    <a:pt x="153" y="19"/>
                  </a:lnTo>
                  <a:lnTo>
                    <a:pt x="153" y="17"/>
                  </a:lnTo>
                  <a:lnTo>
                    <a:pt x="153" y="17"/>
                  </a:lnTo>
                  <a:lnTo>
                    <a:pt x="151" y="17"/>
                  </a:lnTo>
                  <a:lnTo>
                    <a:pt x="149" y="17"/>
                  </a:lnTo>
                  <a:lnTo>
                    <a:pt x="149" y="17"/>
                  </a:lnTo>
                  <a:lnTo>
                    <a:pt x="149" y="15"/>
                  </a:lnTo>
                  <a:lnTo>
                    <a:pt x="149" y="15"/>
                  </a:lnTo>
                  <a:lnTo>
                    <a:pt x="149" y="15"/>
                  </a:lnTo>
                  <a:lnTo>
                    <a:pt x="147" y="15"/>
                  </a:lnTo>
                  <a:lnTo>
                    <a:pt x="147" y="15"/>
                  </a:lnTo>
                  <a:lnTo>
                    <a:pt x="145" y="15"/>
                  </a:lnTo>
                  <a:lnTo>
                    <a:pt x="145" y="17"/>
                  </a:lnTo>
                  <a:lnTo>
                    <a:pt x="145" y="17"/>
                  </a:lnTo>
                  <a:lnTo>
                    <a:pt x="145" y="17"/>
                  </a:lnTo>
                  <a:lnTo>
                    <a:pt x="145" y="17"/>
                  </a:lnTo>
                  <a:lnTo>
                    <a:pt x="143" y="19"/>
                  </a:lnTo>
                  <a:lnTo>
                    <a:pt x="143" y="19"/>
                  </a:lnTo>
                  <a:lnTo>
                    <a:pt x="141" y="19"/>
                  </a:lnTo>
                  <a:lnTo>
                    <a:pt x="141" y="17"/>
                  </a:lnTo>
                  <a:lnTo>
                    <a:pt x="139" y="17"/>
                  </a:lnTo>
                  <a:lnTo>
                    <a:pt x="139" y="19"/>
                  </a:lnTo>
                  <a:lnTo>
                    <a:pt x="139" y="19"/>
                  </a:lnTo>
                  <a:lnTo>
                    <a:pt x="139" y="19"/>
                  </a:lnTo>
                  <a:lnTo>
                    <a:pt x="139" y="19"/>
                  </a:lnTo>
                  <a:lnTo>
                    <a:pt x="135" y="21"/>
                  </a:lnTo>
                  <a:lnTo>
                    <a:pt x="135" y="21"/>
                  </a:lnTo>
                  <a:lnTo>
                    <a:pt x="133" y="23"/>
                  </a:lnTo>
                  <a:lnTo>
                    <a:pt x="133" y="23"/>
                  </a:lnTo>
                  <a:lnTo>
                    <a:pt x="133" y="23"/>
                  </a:lnTo>
                  <a:lnTo>
                    <a:pt x="133" y="23"/>
                  </a:lnTo>
                  <a:lnTo>
                    <a:pt x="131" y="25"/>
                  </a:lnTo>
                  <a:lnTo>
                    <a:pt x="131" y="25"/>
                  </a:lnTo>
                  <a:lnTo>
                    <a:pt x="131" y="25"/>
                  </a:lnTo>
                  <a:lnTo>
                    <a:pt x="129" y="27"/>
                  </a:lnTo>
                  <a:lnTo>
                    <a:pt x="129" y="27"/>
                  </a:lnTo>
                  <a:lnTo>
                    <a:pt x="126" y="27"/>
                  </a:lnTo>
                  <a:lnTo>
                    <a:pt x="126" y="27"/>
                  </a:lnTo>
                  <a:lnTo>
                    <a:pt x="126" y="27"/>
                  </a:lnTo>
                  <a:lnTo>
                    <a:pt x="126" y="27"/>
                  </a:lnTo>
                  <a:lnTo>
                    <a:pt x="126" y="25"/>
                  </a:lnTo>
                  <a:lnTo>
                    <a:pt x="124" y="27"/>
                  </a:lnTo>
                  <a:lnTo>
                    <a:pt x="122" y="29"/>
                  </a:lnTo>
                  <a:lnTo>
                    <a:pt x="122" y="27"/>
                  </a:lnTo>
                  <a:lnTo>
                    <a:pt x="122" y="25"/>
                  </a:lnTo>
                  <a:lnTo>
                    <a:pt x="120" y="27"/>
                  </a:lnTo>
                  <a:lnTo>
                    <a:pt x="116" y="29"/>
                  </a:lnTo>
                  <a:lnTo>
                    <a:pt x="110" y="33"/>
                  </a:lnTo>
                  <a:lnTo>
                    <a:pt x="108" y="37"/>
                  </a:lnTo>
                  <a:lnTo>
                    <a:pt x="106" y="37"/>
                  </a:lnTo>
                  <a:lnTo>
                    <a:pt x="100" y="39"/>
                  </a:lnTo>
                  <a:lnTo>
                    <a:pt x="94" y="41"/>
                  </a:lnTo>
                  <a:lnTo>
                    <a:pt x="77" y="47"/>
                  </a:lnTo>
                  <a:lnTo>
                    <a:pt x="67" y="50"/>
                  </a:lnTo>
                  <a:lnTo>
                    <a:pt x="65" y="50"/>
                  </a:lnTo>
                  <a:lnTo>
                    <a:pt x="59" y="47"/>
                  </a:lnTo>
                  <a:lnTo>
                    <a:pt x="59" y="47"/>
                  </a:lnTo>
                  <a:lnTo>
                    <a:pt x="57" y="47"/>
                  </a:lnTo>
                  <a:lnTo>
                    <a:pt x="55" y="45"/>
                  </a:lnTo>
                  <a:lnTo>
                    <a:pt x="53" y="43"/>
                  </a:lnTo>
                  <a:lnTo>
                    <a:pt x="53" y="43"/>
                  </a:lnTo>
                  <a:lnTo>
                    <a:pt x="53" y="43"/>
                  </a:lnTo>
                  <a:lnTo>
                    <a:pt x="51" y="45"/>
                  </a:lnTo>
                  <a:lnTo>
                    <a:pt x="51" y="45"/>
                  </a:lnTo>
                  <a:lnTo>
                    <a:pt x="49" y="47"/>
                  </a:lnTo>
                  <a:lnTo>
                    <a:pt x="49" y="47"/>
                  </a:lnTo>
                  <a:lnTo>
                    <a:pt x="49" y="47"/>
                  </a:lnTo>
                  <a:lnTo>
                    <a:pt x="49" y="47"/>
                  </a:lnTo>
                  <a:lnTo>
                    <a:pt x="47" y="50"/>
                  </a:lnTo>
                  <a:lnTo>
                    <a:pt x="47" y="50"/>
                  </a:lnTo>
                  <a:lnTo>
                    <a:pt x="47" y="50"/>
                  </a:lnTo>
                  <a:lnTo>
                    <a:pt x="47" y="50"/>
                  </a:lnTo>
                  <a:lnTo>
                    <a:pt x="47" y="52"/>
                  </a:lnTo>
                  <a:lnTo>
                    <a:pt x="47" y="54"/>
                  </a:lnTo>
                  <a:lnTo>
                    <a:pt x="47" y="54"/>
                  </a:lnTo>
                  <a:lnTo>
                    <a:pt x="47" y="54"/>
                  </a:lnTo>
                  <a:lnTo>
                    <a:pt x="45" y="54"/>
                  </a:lnTo>
                  <a:lnTo>
                    <a:pt x="45" y="56"/>
                  </a:lnTo>
                  <a:lnTo>
                    <a:pt x="45" y="56"/>
                  </a:lnTo>
                  <a:lnTo>
                    <a:pt x="43" y="56"/>
                  </a:lnTo>
                  <a:lnTo>
                    <a:pt x="40" y="56"/>
                  </a:lnTo>
                  <a:lnTo>
                    <a:pt x="40" y="56"/>
                  </a:lnTo>
                  <a:lnTo>
                    <a:pt x="40" y="56"/>
                  </a:lnTo>
                  <a:lnTo>
                    <a:pt x="40" y="56"/>
                  </a:lnTo>
                  <a:lnTo>
                    <a:pt x="40" y="58"/>
                  </a:lnTo>
                  <a:lnTo>
                    <a:pt x="40" y="64"/>
                  </a:lnTo>
                  <a:lnTo>
                    <a:pt x="40" y="70"/>
                  </a:lnTo>
                  <a:lnTo>
                    <a:pt x="40" y="78"/>
                  </a:lnTo>
                  <a:lnTo>
                    <a:pt x="43" y="84"/>
                  </a:lnTo>
                  <a:lnTo>
                    <a:pt x="43" y="91"/>
                  </a:lnTo>
                  <a:lnTo>
                    <a:pt x="43" y="97"/>
                  </a:lnTo>
                  <a:lnTo>
                    <a:pt x="43" y="103"/>
                  </a:lnTo>
                  <a:lnTo>
                    <a:pt x="43" y="111"/>
                  </a:lnTo>
                  <a:lnTo>
                    <a:pt x="43" y="111"/>
                  </a:lnTo>
                  <a:lnTo>
                    <a:pt x="45" y="115"/>
                  </a:lnTo>
                  <a:lnTo>
                    <a:pt x="43" y="115"/>
                  </a:lnTo>
                  <a:lnTo>
                    <a:pt x="40" y="117"/>
                  </a:lnTo>
                  <a:lnTo>
                    <a:pt x="40" y="117"/>
                  </a:lnTo>
                  <a:lnTo>
                    <a:pt x="40" y="119"/>
                  </a:lnTo>
                  <a:lnTo>
                    <a:pt x="38" y="121"/>
                  </a:lnTo>
                  <a:lnTo>
                    <a:pt x="38" y="121"/>
                  </a:lnTo>
                  <a:lnTo>
                    <a:pt x="36" y="121"/>
                  </a:lnTo>
                  <a:lnTo>
                    <a:pt x="34" y="121"/>
                  </a:lnTo>
                  <a:lnTo>
                    <a:pt x="34" y="121"/>
                  </a:lnTo>
                  <a:lnTo>
                    <a:pt x="32" y="121"/>
                  </a:lnTo>
                  <a:lnTo>
                    <a:pt x="30" y="125"/>
                  </a:lnTo>
                  <a:lnTo>
                    <a:pt x="30" y="125"/>
                  </a:lnTo>
                  <a:lnTo>
                    <a:pt x="26" y="125"/>
                  </a:lnTo>
                  <a:lnTo>
                    <a:pt x="26" y="125"/>
                  </a:lnTo>
                  <a:lnTo>
                    <a:pt x="26" y="127"/>
                  </a:lnTo>
                  <a:lnTo>
                    <a:pt x="24" y="127"/>
                  </a:lnTo>
                  <a:lnTo>
                    <a:pt x="24" y="127"/>
                  </a:lnTo>
                  <a:lnTo>
                    <a:pt x="24" y="127"/>
                  </a:lnTo>
                  <a:lnTo>
                    <a:pt x="24" y="129"/>
                  </a:lnTo>
                  <a:lnTo>
                    <a:pt x="24" y="129"/>
                  </a:lnTo>
                  <a:lnTo>
                    <a:pt x="22" y="129"/>
                  </a:lnTo>
                  <a:lnTo>
                    <a:pt x="20" y="129"/>
                  </a:lnTo>
                  <a:lnTo>
                    <a:pt x="16" y="134"/>
                  </a:lnTo>
                  <a:lnTo>
                    <a:pt x="16" y="134"/>
                  </a:lnTo>
                  <a:lnTo>
                    <a:pt x="14" y="136"/>
                  </a:lnTo>
                  <a:lnTo>
                    <a:pt x="12" y="138"/>
                  </a:lnTo>
                  <a:lnTo>
                    <a:pt x="8" y="144"/>
                  </a:lnTo>
                  <a:lnTo>
                    <a:pt x="8" y="146"/>
                  </a:lnTo>
                  <a:lnTo>
                    <a:pt x="6" y="150"/>
                  </a:lnTo>
                  <a:lnTo>
                    <a:pt x="0" y="156"/>
                  </a:lnTo>
                  <a:lnTo>
                    <a:pt x="0" y="158"/>
                  </a:lnTo>
                  <a:lnTo>
                    <a:pt x="0" y="160"/>
                  </a:lnTo>
                  <a:lnTo>
                    <a:pt x="0" y="166"/>
                  </a:lnTo>
                  <a:lnTo>
                    <a:pt x="2" y="170"/>
                  </a:lnTo>
                  <a:lnTo>
                    <a:pt x="4" y="170"/>
                  </a:lnTo>
                  <a:lnTo>
                    <a:pt x="8" y="170"/>
                  </a:lnTo>
                  <a:lnTo>
                    <a:pt x="12" y="173"/>
                  </a:lnTo>
                  <a:lnTo>
                    <a:pt x="12" y="173"/>
                  </a:lnTo>
                  <a:lnTo>
                    <a:pt x="14" y="177"/>
                  </a:lnTo>
                  <a:lnTo>
                    <a:pt x="14" y="179"/>
                  </a:lnTo>
                  <a:lnTo>
                    <a:pt x="16" y="181"/>
                  </a:lnTo>
                  <a:lnTo>
                    <a:pt x="18" y="183"/>
                  </a:lnTo>
                  <a:lnTo>
                    <a:pt x="18" y="183"/>
                  </a:lnTo>
                  <a:lnTo>
                    <a:pt x="20" y="185"/>
                  </a:lnTo>
                  <a:lnTo>
                    <a:pt x="20" y="187"/>
                  </a:lnTo>
                  <a:lnTo>
                    <a:pt x="18" y="191"/>
                  </a:lnTo>
                  <a:lnTo>
                    <a:pt x="16" y="193"/>
                  </a:lnTo>
                  <a:lnTo>
                    <a:pt x="16" y="195"/>
                  </a:lnTo>
                  <a:lnTo>
                    <a:pt x="16" y="197"/>
                  </a:lnTo>
                  <a:lnTo>
                    <a:pt x="14" y="197"/>
                  </a:lnTo>
                  <a:lnTo>
                    <a:pt x="14" y="199"/>
                  </a:lnTo>
                  <a:lnTo>
                    <a:pt x="12" y="201"/>
                  </a:lnTo>
                  <a:lnTo>
                    <a:pt x="12" y="203"/>
                  </a:lnTo>
                  <a:lnTo>
                    <a:pt x="14" y="207"/>
                  </a:lnTo>
                  <a:lnTo>
                    <a:pt x="12" y="209"/>
                  </a:lnTo>
                  <a:lnTo>
                    <a:pt x="12" y="211"/>
                  </a:lnTo>
                  <a:lnTo>
                    <a:pt x="12" y="211"/>
                  </a:lnTo>
                  <a:lnTo>
                    <a:pt x="14" y="216"/>
                  </a:lnTo>
                  <a:lnTo>
                    <a:pt x="14" y="218"/>
                  </a:lnTo>
                  <a:lnTo>
                    <a:pt x="14" y="220"/>
                  </a:lnTo>
                  <a:lnTo>
                    <a:pt x="14" y="220"/>
                  </a:lnTo>
                  <a:lnTo>
                    <a:pt x="12" y="222"/>
                  </a:lnTo>
                  <a:lnTo>
                    <a:pt x="12" y="222"/>
                  </a:lnTo>
                  <a:lnTo>
                    <a:pt x="12" y="224"/>
                  </a:lnTo>
                  <a:lnTo>
                    <a:pt x="14" y="230"/>
                  </a:lnTo>
                  <a:lnTo>
                    <a:pt x="14" y="234"/>
                  </a:lnTo>
                  <a:lnTo>
                    <a:pt x="16" y="238"/>
                  </a:lnTo>
                  <a:lnTo>
                    <a:pt x="16" y="238"/>
                  </a:lnTo>
                  <a:lnTo>
                    <a:pt x="14" y="240"/>
                  </a:lnTo>
                  <a:lnTo>
                    <a:pt x="14" y="242"/>
                  </a:lnTo>
                  <a:lnTo>
                    <a:pt x="14" y="244"/>
                  </a:lnTo>
                  <a:lnTo>
                    <a:pt x="14" y="246"/>
                  </a:lnTo>
                  <a:lnTo>
                    <a:pt x="14" y="248"/>
                  </a:lnTo>
                  <a:lnTo>
                    <a:pt x="12" y="257"/>
                  </a:lnTo>
                  <a:lnTo>
                    <a:pt x="14" y="259"/>
                  </a:lnTo>
                  <a:lnTo>
                    <a:pt x="18" y="261"/>
                  </a:lnTo>
                  <a:lnTo>
                    <a:pt x="24" y="265"/>
                  </a:lnTo>
                  <a:lnTo>
                    <a:pt x="26" y="267"/>
                  </a:lnTo>
                  <a:lnTo>
                    <a:pt x="26" y="267"/>
                  </a:lnTo>
                  <a:lnTo>
                    <a:pt x="28" y="269"/>
                  </a:lnTo>
                  <a:lnTo>
                    <a:pt x="28" y="269"/>
                  </a:lnTo>
                  <a:lnTo>
                    <a:pt x="32" y="271"/>
                  </a:lnTo>
                  <a:lnTo>
                    <a:pt x="45" y="271"/>
                  </a:lnTo>
                  <a:lnTo>
                    <a:pt x="47" y="273"/>
                  </a:lnTo>
                  <a:lnTo>
                    <a:pt x="49" y="275"/>
                  </a:lnTo>
                  <a:lnTo>
                    <a:pt x="53" y="277"/>
                  </a:lnTo>
                  <a:lnTo>
                    <a:pt x="55" y="281"/>
                  </a:lnTo>
                  <a:lnTo>
                    <a:pt x="55" y="283"/>
                  </a:lnTo>
                  <a:lnTo>
                    <a:pt x="57" y="283"/>
                  </a:lnTo>
                  <a:lnTo>
                    <a:pt x="57" y="283"/>
                  </a:lnTo>
                  <a:lnTo>
                    <a:pt x="67" y="285"/>
                  </a:lnTo>
                  <a:lnTo>
                    <a:pt x="71" y="285"/>
                  </a:lnTo>
                  <a:lnTo>
                    <a:pt x="83" y="295"/>
                  </a:lnTo>
                  <a:lnTo>
                    <a:pt x="88" y="300"/>
                  </a:lnTo>
                  <a:lnTo>
                    <a:pt x="94" y="310"/>
                  </a:lnTo>
                  <a:lnTo>
                    <a:pt x="96" y="312"/>
                  </a:lnTo>
                  <a:lnTo>
                    <a:pt x="98" y="314"/>
                  </a:lnTo>
                  <a:lnTo>
                    <a:pt x="108" y="322"/>
                  </a:lnTo>
                  <a:lnTo>
                    <a:pt x="110" y="322"/>
                  </a:lnTo>
                  <a:lnTo>
                    <a:pt x="110" y="322"/>
                  </a:lnTo>
                  <a:lnTo>
                    <a:pt x="118" y="322"/>
                  </a:lnTo>
                  <a:lnTo>
                    <a:pt x="118" y="322"/>
                  </a:lnTo>
                  <a:lnTo>
                    <a:pt x="124" y="324"/>
                  </a:lnTo>
                  <a:lnTo>
                    <a:pt x="124" y="324"/>
                  </a:lnTo>
                  <a:lnTo>
                    <a:pt x="124" y="324"/>
                  </a:lnTo>
                  <a:lnTo>
                    <a:pt x="129" y="324"/>
                  </a:lnTo>
                  <a:lnTo>
                    <a:pt x="129" y="326"/>
                  </a:lnTo>
                  <a:lnTo>
                    <a:pt x="129" y="326"/>
                  </a:lnTo>
                  <a:lnTo>
                    <a:pt x="131" y="326"/>
                  </a:lnTo>
                  <a:lnTo>
                    <a:pt x="131" y="326"/>
                  </a:lnTo>
                  <a:lnTo>
                    <a:pt x="131" y="328"/>
                  </a:lnTo>
                  <a:lnTo>
                    <a:pt x="131" y="330"/>
                  </a:lnTo>
                  <a:lnTo>
                    <a:pt x="133" y="332"/>
                  </a:lnTo>
                  <a:lnTo>
                    <a:pt x="133" y="332"/>
                  </a:lnTo>
                  <a:lnTo>
                    <a:pt x="137" y="334"/>
                  </a:lnTo>
                  <a:lnTo>
                    <a:pt x="139" y="334"/>
                  </a:lnTo>
                  <a:lnTo>
                    <a:pt x="139" y="334"/>
                  </a:lnTo>
                  <a:lnTo>
                    <a:pt x="139" y="336"/>
                  </a:lnTo>
                  <a:lnTo>
                    <a:pt x="141" y="336"/>
                  </a:lnTo>
                  <a:lnTo>
                    <a:pt x="141" y="341"/>
                  </a:lnTo>
                  <a:lnTo>
                    <a:pt x="141" y="343"/>
                  </a:lnTo>
                  <a:lnTo>
                    <a:pt x="141" y="345"/>
                  </a:lnTo>
                  <a:lnTo>
                    <a:pt x="141" y="347"/>
                  </a:lnTo>
                  <a:lnTo>
                    <a:pt x="141" y="347"/>
                  </a:lnTo>
                  <a:lnTo>
                    <a:pt x="141" y="349"/>
                  </a:lnTo>
                  <a:lnTo>
                    <a:pt x="143" y="349"/>
                  </a:lnTo>
                  <a:lnTo>
                    <a:pt x="143" y="349"/>
                  </a:lnTo>
                  <a:lnTo>
                    <a:pt x="145" y="351"/>
                  </a:lnTo>
                  <a:lnTo>
                    <a:pt x="145" y="351"/>
                  </a:lnTo>
                  <a:lnTo>
                    <a:pt x="145" y="353"/>
                  </a:lnTo>
                  <a:lnTo>
                    <a:pt x="145" y="355"/>
                  </a:lnTo>
                  <a:lnTo>
                    <a:pt x="145" y="361"/>
                  </a:lnTo>
                  <a:lnTo>
                    <a:pt x="145" y="363"/>
                  </a:lnTo>
                  <a:lnTo>
                    <a:pt x="145" y="365"/>
                  </a:lnTo>
                  <a:lnTo>
                    <a:pt x="145" y="365"/>
                  </a:lnTo>
                  <a:lnTo>
                    <a:pt x="145" y="369"/>
                  </a:lnTo>
                  <a:lnTo>
                    <a:pt x="145" y="371"/>
                  </a:lnTo>
                  <a:lnTo>
                    <a:pt x="147" y="373"/>
                  </a:lnTo>
                  <a:lnTo>
                    <a:pt x="147" y="375"/>
                  </a:lnTo>
                  <a:lnTo>
                    <a:pt x="147" y="375"/>
                  </a:lnTo>
                  <a:lnTo>
                    <a:pt x="147" y="379"/>
                  </a:lnTo>
                  <a:lnTo>
                    <a:pt x="147" y="379"/>
                  </a:lnTo>
                  <a:lnTo>
                    <a:pt x="147" y="379"/>
                  </a:lnTo>
                  <a:lnTo>
                    <a:pt x="147" y="382"/>
                  </a:lnTo>
                  <a:lnTo>
                    <a:pt x="147" y="384"/>
                  </a:lnTo>
                  <a:lnTo>
                    <a:pt x="147" y="384"/>
                  </a:lnTo>
                  <a:lnTo>
                    <a:pt x="149" y="386"/>
                  </a:lnTo>
                  <a:lnTo>
                    <a:pt x="149" y="388"/>
                  </a:lnTo>
                  <a:lnTo>
                    <a:pt x="149" y="388"/>
                  </a:lnTo>
                  <a:lnTo>
                    <a:pt x="149" y="392"/>
                  </a:lnTo>
                  <a:lnTo>
                    <a:pt x="151" y="392"/>
                  </a:lnTo>
                  <a:lnTo>
                    <a:pt x="151" y="392"/>
                  </a:lnTo>
                  <a:lnTo>
                    <a:pt x="159" y="394"/>
                  </a:lnTo>
                  <a:lnTo>
                    <a:pt x="161" y="396"/>
                  </a:lnTo>
                  <a:lnTo>
                    <a:pt x="161" y="400"/>
                  </a:lnTo>
                  <a:lnTo>
                    <a:pt x="159" y="404"/>
                  </a:lnTo>
                  <a:lnTo>
                    <a:pt x="157" y="410"/>
                  </a:lnTo>
                  <a:lnTo>
                    <a:pt x="155" y="414"/>
                  </a:lnTo>
                  <a:lnTo>
                    <a:pt x="157" y="420"/>
                  </a:lnTo>
                  <a:lnTo>
                    <a:pt x="157" y="425"/>
                  </a:lnTo>
                  <a:lnTo>
                    <a:pt x="157" y="429"/>
                  </a:lnTo>
                  <a:lnTo>
                    <a:pt x="157" y="431"/>
                  </a:lnTo>
                  <a:lnTo>
                    <a:pt x="159" y="431"/>
                  </a:lnTo>
                  <a:lnTo>
                    <a:pt x="159" y="437"/>
                  </a:lnTo>
                  <a:lnTo>
                    <a:pt x="159" y="439"/>
                  </a:lnTo>
                  <a:lnTo>
                    <a:pt x="161" y="439"/>
                  </a:lnTo>
                  <a:lnTo>
                    <a:pt x="163" y="443"/>
                  </a:lnTo>
                  <a:lnTo>
                    <a:pt x="163" y="443"/>
                  </a:lnTo>
                  <a:lnTo>
                    <a:pt x="165" y="445"/>
                  </a:lnTo>
                  <a:lnTo>
                    <a:pt x="165" y="451"/>
                  </a:lnTo>
                  <a:lnTo>
                    <a:pt x="165" y="451"/>
                  </a:lnTo>
                  <a:lnTo>
                    <a:pt x="169" y="457"/>
                  </a:lnTo>
                  <a:lnTo>
                    <a:pt x="169" y="459"/>
                  </a:lnTo>
                  <a:lnTo>
                    <a:pt x="172" y="459"/>
                  </a:lnTo>
                  <a:lnTo>
                    <a:pt x="176" y="461"/>
                  </a:lnTo>
                  <a:lnTo>
                    <a:pt x="190" y="461"/>
                  </a:lnTo>
                  <a:lnTo>
                    <a:pt x="194" y="464"/>
                  </a:lnTo>
                  <a:lnTo>
                    <a:pt x="196" y="464"/>
                  </a:lnTo>
                  <a:lnTo>
                    <a:pt x="198" y="464"/>
                  </a:lnTo>
                  <a:lnTo>
                    <a:pt x="198" y="466"/>
                  </a:lnTo>
                  <a:lnTo>
                    <a:pt x="200" y="470"/>
                  </a:lnTo>
                  <a:lnTo>
                    <a:pt x="202" y="472"/>
                  </a:lnTo>
                  <a:lnTo>
                    <a:pt x="204" y="474"/>
                  </a:lnTo>
                  <a:lnTo>
                    <a:pt x="204" y="476"/>
                  </a:lnTo>
                  <a:lnTo>
                    <a:pt x="204" y="476"/>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19" y="478"/>
                  </a:lnTo>
                  <a:lnTo>
                    <a:pt x="233" y="476"/>
                  </a:lnTo>
                  <a:lnTo>
                    <a:pt x="247" y="476"/>
                  </a:lnTo>
                  <a:lnTo>
                    <a:pt x="262" y="474"/>
                  </a:lnTo>
                  <a:lnTo>
                    <a:pt x="276" y="474"/>
                  </a:lnTo>
                  <a:lnTo>
                    <a:pt x="290" y="472"/>
                  </a:lnTo>
                  <a:lnTo>
                    <a:pt x="305" y="470"/>
                  </a:lnTo>
                  <a:lnTo>
                    <a:pt x="319" y="470"/>
                  </a:lnTo>
                  <a:lnTo>
                    <a:pt x="333" y="468"/>
                  </a:lnTo>
                  <a:lnTo>
                    <a:pt x="348" y="468"/>
                  </a:lnTo>
                  <a:lnTo>
                    <a:pt x="362" y="466"/>
                  </a:lnTo>
                  <a:lnTo>
                    <a:pt x="376" y="464"/>
                  </a:lnTo>
                  <a:lnTo>
                    <a:pt x="391" y="464"/>
                  </a:lnTo>
                  <a:lnTo>
                    <a:pt x="405" y="461"/>
                  </a:lnTo>
                  <a:lnTo>
                    <a:pt x="419" y="459"/>
                  </a:lnTo>
                  <a:lnTo>
                    <a:pt x="434" y="459"/>
                  </a:lnTo>
                  <a:lnTo>
                    <a:pt x="432" y="451"/>
                  </a:lnTo>
                  <a:lnTo>
                    <a:pt x="432" y="449"/>
                  </a:lnTo>
                  <a:lnTo>
                    <a:pt x="434" y="447"/>
                  </a:lnTo>
                  <a:lnTo>
                    <a:pt x="434" y="447"/>
                  </a:lnTo>
                  <a:lnTo>
                    <a:pt x="432" y="445"/>
                  </a:lnTo>
                  <a:lnTo>
                    <a:pt x="432" y="443"/>
                  </a:lnTo>
                  <a:lnTo>
                    <a:pt x="432" y="443"/>
                  </a:lnTo>
                  <a:lnTo>
                    <a:pt x="432" y="441"/>
                  </a:lnTo>
                  <a:lnTo>
                    <a:pt x="432" y="439"/>
                  </a:lnTo>
                  <a:lnTo>
                    <a:pt x="434" y="437"/>
                  </a:lnTo>
                  <a:lnTo>
                    <a:pt x="434" y="429"/>
                  </a:lnTo>
                  <a:lnTo>
                    <a:pt x="434" y="427"/>
                  </a:lnTo>
                  <a:lnTo>
                    <a:pt x="432" y="425"/>
                  </a:lnTo>
                  <a:lnTo>
                    <a:pt x="428" y="420"/>
                  </a:lnTo>
                  <a:lnTo>
                    <a:pt x="428" y="418"/>
                  </a:lnTo>
                  <a:lnTo>
                    <a:pt x="428" y="418"/>
                  </a:lnTo>
                  <a:lnTo>
                    <a:pt x="426" y="410"/>
                  </a:lnTo>
                  <a:lnTo>
                    <a:pt x="426" y="408"/>
                  </a:lnTo>
                  <a:lnTo>
                    <a:pt x="423" y="406"/>
                  </a:lnTo>
                  <a:lnTo>
                    <a:pt x="421" y="404"/>
                  </a:lnTo>
                  <a:lnTo>
                    <a:pt x="419" y="404"/>
                  </a:lnTo>
                  <a:lnTo>
                    <a:pt x="419" y="402"/>
                  </a:lnTo>
                  <a:lnTo>
                    <a:pt x="421" y="398"/>
                  </a:lnTo>
                  <a:lnTo>
                    <a:pt x="421" y="396"/>
                  </a:lnTo>
                  <a:lnTo>
                    <a:pt x="421" y="396"/>
                  </a:lnTo>
                  <a:lnTo>
                    <a:pt x="421" y="396"/>
                  </a:lnTo>
                  <a:lnTo>
                    <a:pt x="419" y="394"/>
                  </a:lnTo>
                  <a:lnTo>
                    <a:pt x="419" y="392"/>
                  </a:lnTo>
                  <a:lnTo>
                    <a:pt x="419" y="390"/>
                  </a:lnTo>
                  <a:lnTo>
                    <a:pt x="419" y="390"/>
                  </a:lnTo>
                  <a:lnTo>
                    <a:pt x="419" y="388"/>
                  </a:lnTo>
                  <a:lnTo>
                    <a:pt x="419" y="384"/>
                  </a:lnTo>
                  <a:lnTo>
                    <a:pt x="417" y="384"/>
                  </a:lnTo>
                  <a:lnTo>
                    <a:pt x="417" y="382"/>
                  </a:lnTo>
                  <a:lnTo>
                    <a:pt x="417" y="377"/>
                  </a:lnTo>
                  <a:lnTo>
                    <a:pt x="417" y="369"/>
                  </a:lnTo>
                  <a:lnTo>
                    <a:pt x="417" y="367"/>
                  </a:lnTo>
                  <a:lnTo>
                    <a:pt x="421" y="357"/>
                  </a:lnTo>
                  <a:lnTo>
                    <a:pt x="423" y="351"/>
                  </a:lnTo>
                  <a:lnTo>
                    <a:pt x="421" y="349"/>
                  </a:lnTo>
                  <a:lnTo>
                    <a:pt x="421" y="347"/>
                  </a:lnTo>
                  <a:lnTo>
                    <a:pt x="423" y="345"/>
                  </a:lnTo>
                  <a:lnTo>
                    <a:pt x="426" y="334"/>
                  </a:lnTo>
                  <a:lnTo>
                    <a:pt x="428" y="330"/>
                  </a:lnTo>
                  <a:lnTo>
                    <a:pt x="428" y="328"/>
                  </a:lnTo>
                  <a:lnTo>
                    <a:pt x="428" y="328"/>
                  </a:lnTo>
                  <a:lnTo>
                    <a:pt x="428" y="328"/>
                  </a:lnTo>
                  <a:lnTo>
                    <a:pt x="428" y="326"/>
                  </a:lnTo>
                  <a:lnTo>
                    <a:pt x="428" y="326"/>
                  </a:lnTo>
                  <a:lnTo>
                    <a:pt x="428" y="324"/>
                  </a:lnTo>
                  <a:lnTo>
                    <a:pt x="428" y="324"/>
                  </a:lnTo>
                  <a:lnTo>
                    <a:pt x="428" y="322"/>
                  </a:lnTo>
                  <a:lnTo>
                    <a:pt x="426" y="320"/>
                  </a:lnTo>
                  <a:lnTo>
                    <a:pt x="426" y="320"/>
                  </a:lnTo>
                  <a:lnTo>
                    <a:pt x="423" y="318"/>
                  </a:lnTo>
                  <a:lnTo>
                    <a:pt x="423" y="316"/>
                  </a:lnTo>
                  <a:lnTo>
                    <a:pt x="423" y="308"/>
                  </a:lnTo>
                  <a:lnTo>
                    <a:pt x="423" y="306"/>
                  </a:lnTo>
                  <a:lnTo>
                    <a:pt x="426" y="304"/>
                  </a:lnTo>
                  <a:lnTo>
                    <a:pt x="426" y="304"/>
                  </a:lnTo>
                  <a:lnTo>
                    <a:pt x="426" y="300"/>
                  </a:lnTo>
                  <a:lnTo>
                    <a:pt x="426" y="298"/>
                  </a:lnTo>
                  <a:lnTo>
                    <a:pt x="428" y="287"/>
                  </a:lnTo>
                  <a:lnTo>
                    <a:pt x="430" y="287"/>
                  </a:lnTo>
                  <a:lnTo>
                    <a:pt x="430" y="285"/>
                  </a:lnTo>
                  <a:lnTo>
                    <a:pt x="436" y="283"/>
                  </a:lnTo>
                  <a:lnTo>
                    <a:pt x="436" y="281"/>
                  </a:lnTo>
                  <a:lnTo>
                    <a:pt x="438" y="279"/>
                  </a:lnTo>
                  <a:lnTo>
                    <a:pt x="438" y="277"/>
                  </a:lnTo>
                  <a:lnTo>
                    <a:pt x="438" y="275"/>
                  </a:lnTo>
                  <a:lnTo>
                    <a:pt x="438" y="273"/>
                  </a:lnTo>
                  <a:lnTo>
                    <a:pt x="434" y="269"/>
                  </a:lnTo>
                  <a:lnTo>
                    <a:pt x="434" y="265"/>
                  </a:lnTo>
                  <a:lnTo>
                    <a:pt x="434" y="265"/>
                  </a:lnTo>
                  <a:lnTo>
                    <a:pt x="434" y="263"/>
                  </a:lnTo>
                  <a:lnTo>
                    <a:pt x="434" y="261"/>
                  </a:lnTo>
                  <a:lnTo>
                    <a:pt x="434" y="259"/>
                  </a:lnTo>
                  <a:lnTo>
                    <a:pt x="434" y="257"/>
                  </a:lnTo>
                  <a:lnTo>
                    <a:pt x="434" y="254"/>
                  </a:lnTo>
                  <a:lnTo>
                    <a:pt x="436" y="242"/>
                  </a:lnTo>
                  <a:lnTo>
                    <a:pt x="436" y="238"/>
                  </a:lnTo>
                  <a:lnTo>
                    <a:pt x="438" y="234"/>
                  </a:lnTo>
                  <a:lnTo>
                    <a:pt x="442" y="228"/>
                  </a:lnTo>
                  <a:lnTo>
                    <a:pt x="442" y="226"/>
                  </a:lnTo>
                  <a:lnTo>
                    <a:pt x="442" y="224"/>
                  </a:lnTo>
                  <a:lnTo>
                    <a:pt x="444" y="224"/>
                  </a:lnTo>
                  <a:lnTo>
                    <a:pt x="444" y="224"/>
                  </a:lnTo>
                  <a:lnTo>
                    <a:pt x="444" y="222"/>
                  </a:lnTo>
                  <a:lnTo>
                    <a:pt x="444" y="213"/>
                  </a:lnTo>
                  <a:lnTo>
                    <a:pt x="444" y="211"/>
                  </a:lnTo>
                  <a:lnTo>
                    <a:pt x="444" y="211"/>
                  </a:lnTo>
                  <a:close/>
                  <a:moveTo>
                    <a:pt x="157" y="19"/>
                  </a:moveTo>
                  <a:lnTo>
                    <a:pt x="159" y="19"/>
                  </a:lnTo>
                  <a:lnTo>
                    <a:pt x="159" y="19"/>
                  </a:lnTo>
                  <a:lnTo>
                    <a:pt x="159" y="17"/>
                  </a:lnTo>
                  <a:lnTo>
                    <a:pt x="159" y="15"/>
                  </a:lnTo>
                  <a:lnTo>
                    <a:pt x="157" y="15"/>
                  </a:lnTo>
                  <a:lnTo>
                    <a:pt x="157" y="15"/>
                  </a:lnTo>
                  <a:lnTo>
                    <a:pt x="155" y="15"/>
                  </a:lnTo>
                  <a:lnTo>
                    <a:pt x="155" y="15"/>
                  </a:lnTo>
                  <a:lnTo>
                    <a:pt x="155" y="15"/>
                  </a:lnTo>
                  <a:lnTo>
                    <a:pt x="155" y="17"/>
                  </a:lnTo>
                  <a:lnTo>
                    <a:pt x="155" y="17"/>
                  </a:lnTo>
                  <a:lnTo>
                    <a:pt x="157" y="19"/>
                  </a:lnTo>
                  <a:lnTo>
                    <a:pt x="157" y="19"/>
                  </a:lnTo>
                  <a:close/>
                  <a:moveTo>
                    <a:pt x="182" y="4"/>
                  </a:moveTo>
                  <a:lnTo>
                    <a:pt x="182" y="2"/>
                  </a:lnTo>
                  <a:lnTo>
                    <a:pt x="182" y="2"/>
                  </a:lnTo>
                  <a:lnTo>
                    <a:pt x="182" y="0"/>
                  </a:lnTo>
                  <a:lnTo>
                    <a:pt x="182" y="0"/>
                  </a:lnTo>
                  <a:lnTo>
                    <a:pt x="182" y="0"/>
                  </a:lnTo>
                  <a:lnTo>
                    <a:pt x="180" y="0"/>
                  </a:lnTo>
                  <a:lnTo>
                    <a:pt x="178" y="2"/>
                  </a:lnTo>
                  <a:lnTo>
                    <a:pt x="178" y="7"/>
                  </a:lnTo>
                  <a:lnTo>
                    <a:pt x="178" y="9"/>
                  </a:lnTo>
                  <a:lnTo>
                    <a:pt x="180" y="7"/>
                  </a:lnTo>
                  <a:lnTo>
                    <a:pt x="182" y="4"/>
                  </a:lnTo>
                  <a:close/>
                  <a:moveTo>
                    <a:pt x="475" y="150"/>
                  </a:moveTo>
                  <a:lnTo>
                    <a:pt x="475" y="150"/>
                  </a:lnTo>
                  <a:lnTo>
                    <a:pt x="475" y="148"/>
                  </a:lnTo>
                  <a:lnTo>
                    <a:pt x="475" y="146"/>
                  </a:lnTo>
                  <a:lnTo>
                    <a:pt x="473" y="144"/>
                  </a:lnTo>
                  <a:lnTo>
                    <a:pt x="473" y="144"/>
                  </a:lnTo>
                  <a:lnTo>
                    <a:pt x="471" y="146"/>
                  </a:lnTo>
                  <a:lnTo>
                    <a:pt x="469" y="146"/>
                  </a:lnTo>
                  <a:lnTo>
                    <a:pt x="469" y="144"/>
                  </a:lnTo>
                  <a:lnTo>
                    <a:pt x="466" y="144"/>
                  </a:lnTo>
                  <a:lnTo>
                    <a:pt x="466" y="144"/>
                  </a:lnTo>
                  <a:lnTo>
                    <a:pt x="466" y="146"/>
                  </a:lnTo>
                  <a:lnTo>
                    <a:pt x="466" y="148"/>
                  </a:lnTo>
                  <a:lnTo>
                    <a:pt x="466" y="150"/>
                  </a:lnTo>
                  <a:lnTo>
                    <a:pt x="466" y="152"/>
                  </a:lnTo>
                  <a:lnTo>
                    <a:pt x="466" y="152"/>
                  </a:lnTo>
                  <a:lnTo>
                    <a:pt x="466" y="152"/>
                  </a:lnTo>
                  <a:lnTo>
                    <a:pt x="469" y="152"/>
                  </a:lnTo>
                  <a:lnTo>
                    <a:pt x="469" y="152"/>
                  </a:lnTo>
                  <a:lnTo>
                    <a:pt x="475" y="152"/>
                  </a:lnTo>
                  <a:lnTo>
                    <a:pt x="475" y="152"/>
                  </a:lnTo>
                  <a:lnTo>
                    <a:pt x="475" y="150"/>
                  </a:lnTo>
                  <a:close/>
                  <a:moveTo>
                    <a:pt x="466" y="162"/>
                  </a:moveTo>
                  <a:lnTo>
                    <a:pt x="464" y="160"/>
                  </a:lnTo>
                  <a:lnTo>
                    <a:pt x="466" y="160"/>
                  </a:lnTo>
                  <a:lnTo>
                    <a:pt x="466" y="158"/>
                  </a:lnTo>
                  <a:lnTo>
                    <a:pt x="464" y="158"/>
                  </a:lnTo>
                  <a:lnTo>
                    <a:pt x="462" y="158"/>
                  </a:lnTo>
                  <a:lnTo>
                    <a:pt x="460" y="158"/>
                  </a:lnTo>
                  <a:lnTo>
                    <a:pt x="460" y="158"/>
                  </a:lnTo>
                  <a:lnTo>
                    <a:pt x="458" y="158"/>
                  </a:lnTo>
                  <a:lnTo>
                    <a:pt x="458" y="158"/>
                  </a:lnTo>
                  <a:lnTo>
                    <a:pt x="458" y="158"/>
                  </a:lnTo>
                  <a:lnTo>
                    <a:pt x="458" y="160"/>
                  </a:lnTo>
                  <a:lnTo>
                    <a:pt x="458" y="160"/>
                  </a:lnTo>
                  <a:lnTo>
                    <a:pt x="458" y="162"/>
                  </a:lnTo>
                  <a:lnTo>
                    <a:pt x="456" y="162"/>
                  </a:lnTo>
                  <a:lnTo>
                    <a:pt x="456" y="162"/>
                  </a:lnTo>
                  <a:lnTo>
                    <a:pt x="456" y="162"/>
                  </a:lnTo>
                  <a:lnTo>
                    <a:pt x="456" y="166"/>
                  </a:lnTo>
                  <a:lnTo>
                    <a:pt x="454" y="168"/>
                  </a:lnTo>
                  <a:lnTo>
                    <a:pt x="454" y="170"/>
                  </a:lnTo>
                  <a:lnTo>
                    <a:pt x="452" y="170"/>
                  </a:lnTo>
                  <a:lnTo>
                    <a:pt x="452" y="173"/>
                  </a:lnTo>
                  <a:lnTo>
                    <a:pt x="452" y="173"/>
                  </a:lnTo>
                  <a:lnTo>
                    <a:pt x="450" y="173"/>
                  </a:lnTo>
                  <a:lnTo>
                    <a:pt x="448" y="173"/>
                  </a:lnTo>
                  <a:lnTo>
                    <a:pt x="448" y="173"/>
                  </a:lnTo>
                  <a:lnTo>
                    <a:pt x="446" y="175"/>
                  </a:lnTo>
                  <a:lnTo>
                    <a:pt x="446" y="175"/>
                  </a:lnTo>
                  <a:lnTo>
                    <a:pt x="446" y="177"/>
                  </a:lnTo>
                  <a:lnTo>
                    <a:pt x="446" y="181"/>
                  </a:lnTo>
                  <a:lnTo>
                    <a:pt x="446" y="183"/>
                  </a:lnTo>
                  <a:lnTo>
                    <a:pt x="444" y="183"/>
                  </a:lnTo>
                  <a:lnTo>
                    <a:pt x="444" y="185"/>
                  </a:lnTo>
                  <a:lnTo>
                    <a:pt x="444" y="185"/>
                  </a:lnTo>
                  <a:lnTo>
                    <a:pt x="444" y="185"/>
                  </a:lnTo>
                  <a:lnTo>
                    <a:pt x="444" y="187"/>
                  </a:lnTo>
                  <a:lnTo>
                    <a:pt x="444" y="187"/>
                  </a:lnTo>
                  <a:lnTo>
                    <a:pt x="444" y="187"/>
                  </a:lnTo>
                  <a:lnTo>
                    <a:pt x="440" y="193"/>
                  </a:lnTo>
                  <a:lnTo>
                    <a:pt x="438" y="195"/>
                  </a:lnTo>
                  <a:lnTo>
                    <a:pt x="438" y="201"/>
                  </a:lnTo>
                  <a:lnTo>
                    <a:pt x="438" y="205"/>
                  </a:lnTo>
                  <a:lnTo>
                    <a:pt x="440" y="207"/>
                  </a:lnTo>
                  <a:lnTo>
                    <a:pt x="444" y="211"/>
                  </a:lnTo>
                  <a:lnTo>
                    <a:pt x="446" y="209"/>
                  </a:lnTo>
                  <a:lnTo>
                    <a:pt x="448" y="209"/>
                  </a:lnTo>
                  <a:lnTo>
                    <a:pt x="452" y="203"/>
                  </a:lnTo>
                  <a:lnTo>
                    <a:pt x="452" y="203"/>
                  </a:lnTo>
                  <a:lnTo>
                    <a:pt x="452" y="201"/>
                  </a:lnTo>
                  <a:lnTo>
                    <a:pt x="452" y="199"/>
                  </a:lnTo>
                  <a:lnTo>
                    <a:pt x="452" y="199"/>
                  </a:lnTo>
                  <a:lnTo>
                    <a:pt x="454" y="197"/>
                  </a:lnTo>
                  <a:lnTo>
                    <a:pt x="454" y="197"/>
                  </a:lnTo>
                  <a:lnTo>
                    <a:pt x="452" y="195"/>
                  </a:lnTo>
                  <a:lnTo>
                    <a:pt x="454" y="191"/>
                  </a:lnTo>
                  <a:lnTo>
                    <a:pt x="456" y="187"/>
                  </a:lnTo>
                  <a:lnTo>
                    <a:pt x="456" y="183"/>
                  </a:lnTo>
                  <a:lnTo>
                    <a:pt x="458" y="183"/>
                  </a:lnTo>
                  <a:lnTo>
                    <a:pt x="458" y="183"/>
                  </a:lnTo>
                  <a:lnTo>
                    <a:pt x="458" y="183"/>
                  </a:lnTo>
                  <a:lnTo>
                    <a:pt x="460" y="183"/>
                  </a:lnTo>
                  <a:lnTo>
                    <a:pt x="460" y="183"/>
                  </a:lnTo>
                  <a:lnTo>
                    <a:pt x="460" y="183"/>
                  </a:lnTo>
                  <a:lnTo>
                    <a:pt x="460" y="181"/>
                  </a:lnTo>
                  <a:lnTo>
                    <a:pt x="460" y="181"/>
                  </a:lnTo>
                  <a:lnTo>
                    <a:pt x="460" y="179"/>
                  </a:lnTo>
                  <a:lnTo>
                    <a:pt x="460" y="179"/>
                  </a:lnTo>
                  <a:lnTo>
                    <a:pt x="462" y="179"/>
                  </a:lnTo>
                  <a:lnTo>
                    <a:pt x="462" y="179"/>
                  </a:lnTo>
                  <a:lnTo>
                    <a:pt x="462" y="177"/>
                  </a:lnTo>
                  <a:lnTo>
                    <a:pt x="460" y="175"/>
                  </a:lnTo>
                  <a:lnTo>
                    <a:pt x="458" y="173"/>
                  </a:lnTo>
                  <a:lnTo>
                    <a:pt x="460" y="173"/>
                  </a:lnTo>
                  <a:lnTo>
                    <a:pt x="460" y="173"/>
                  </a:lnTo>
                  <a:lnTo>
                    <a:pt x="462" y="175"/>
                  </a:lnTo>
                  <a:lnTo>
                    <a:pt x="462" y="173"/>
                  </a:lnTo>
                  <a:lnTo>
                    <a:pt x="462" y="170"/>
                  </a:lnTo>
                  <a:lnTo>
                    <a:pt x="460" y="170"/>
                  </a:lnTo>
                  <a:lnTo>
                    <a:pt x="460" y="168"/>
                  </a:lnTo>
                  <a:lnTo>
                    <a:pt x="462" y="166"/>
                  </a:lnTo>
                  <a:lnTo>
                    <a:pt x="462" y="164"/>
                  </a:lnTo>
                  <a:lnTo>
                    <a:pt x="460" y="164"/>
                  </a:lnTo>
                  <a:lnTo>
                    <a:pt x="460" y="164"/>
                  </a:lnTo>
                  <a:lnTo>
                    <a:pt x="462" y="164"/>
                  </a:lnTo>
                  <a:lnTo>
                    <a:pt x="462" y="164"/>
                  </a:lnTo>
                  <a:lnTo>
                    <a:pt x="466" y="166"/>
                  </a:lnTo>
                  <a:lnTo>
                    <a:pt x="466" y="162"/>
                  </a:lnTo>
                  <a:lnTo>
                    <a:pt x="466" y="162"/>
                  </a:lnTo>
                  <a:lnTo>
                    <a:pt x="466" y="16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I</a:t>
              </a:r>
            </a:p>
          </p:txBody>
        </p:sp>
        <p:sp>
          <p:nvSpPr>
            <p:cNvPr id="141" name="Freeform 8">
              <a:extLst>
                <a:ext uri="{FF2B5EF4-FFF2-40B4-BE49-F238E27FC236}">
                  <a16:creationId xmlns:a16="http://schemas.microsoft.com/office/drawing/2014/main" id="{1D6A19BD-2E2E-921E-DB70-6C14C8CB339F}"/>
                </a:ext>
              </a:extLst>
            </p:cNvPr>
            <p:cNvSpPr>
              <a:spLocks noEditPoints="1"/>
            </p:cNvSpPr>
            <p:nvPr/>
          </p:nvSpPr>
          <p:spPr bwMode="auto">
            <a:xfrm>
              <a:off x="860" y="0"/>
              <a:ext cx="587" cy="387"/>
            </a:xfrm>
            <a:custGeom>
              <a:avLst/>
              <a:gdLst>
                <a:gd name="T0" fmla="*/ 147 w 587"/>
                <a:gd name="T1" fmla="*/ 57 h 387"/>
                <a:gd name="T2" fmla="*/ 137 w 587"/>
                <a:gd name="T3" fmla="*/ 37 h 387"/>
                <a:gd name="T4" fmla="*/ 149 w 587"/>
                <a:gd name="T5" fmla="*/ 35 h 387"/>
                <a:gd name="T6" fmla="*/ 149 w 587"/>
                <a:gd name="T7" fmla="*/ 94 h 387"/>
                <a:gd name="T8" fmla="*/ 149 w 587"/>
                <a:gd name="T9" fmla="*/ 27 h 387"/>
                <a:gd name="T10" fmla="*/ 143 w 587"/>
                <a:gd name="T11" fmla="*/ 43 h 387"/>
                <a:gd name="T12" fmla="*/ 149 w 587"/>
                <a:gd name="T13" fmla="*/ 78 h 387"/>
                <a:gd name="T14" fmla="*/ 166 w 587"/>
                <a:gd name="T15" fmla="*/ 111 h 387"/>
                <a:gd name="T16" fmla="*/ 161 w 587"/>
                <a:gd name="T17" fmla="*/ 103 h 387"/>
                <a:gd name="T18" fmla="*/ 163 w 587"/>
                <a:gd name="T19" fmla="*/ 76 h 387"/>
                <a:gd name="T20" fmla="*/ 163 w 587"/>
                <a:gd name="T21" fmla="*/ 35 h 387"/>
                <a:gd name="T22" fmla="*/ 161 w 587"/>
                <a:gd name="T23" fmla="*/ 43 h 387"/>
                <a:gd name="T24" fmla="*/ 159 w 587"/>
                <a:gd name="T25" fmla="*/ 172 h 387"/>
                <a:gd name="T26" fmla="*/ 149 w 587"/>
                <a:gd name="T27" fmla="*/ 174 h 387"/>
                <a:gd name="T28" fmla="*/ 155 w 587"/>
                <a:gd name="T29" fmla="*/ 146 h 387"/>
                <a:gd name="T30" fmla="*/ 127 w 587"/>
                <a:gd name="T31" fmla="*/ 191 h 387"/>
                <a:gd name="T32" fmla="*/ 114 w 587"/>
                <a:gd name="T33" fmla="*/ 180 h 387"/>
                <a:gd name="T34" fmla="*/ 20 w 587"/>
                <a:gd name="T35" fmla="*/ 234 h 387"/>
                <a:gd name="T36" fmla="*/ 139 w 587"/>
                <a:gd name="T37" fmla="*/ 27 h 387"/>
                <a:gd name="T38" fmla="*/ 133 w 587"/>
                <a:gd name="T39" fmla="*/ 55 h 387"/>
                <a:gd name="T40" fmla="*/ 546 w 587"/>
                <a:gd name="T41" fmla="*/ 76 h 387"/>
                <a:gd name="T42" fmla="*/ 166 w 587"/>
                <a:gd name="T43" fmla="*/ 6 h 387"/>
                <a:gd name="T44" fmla="*/ 166 w 587"/>
                <a:gd name="T45" fmla="*/ 33 h 387"/>
                <a:gd name="T46" fmla="*/ 172 w 587"/>
                <a:gd name="T47" fmla="*/ 47 h 387"/>
                <a:gd name="T48" fmla="*/ 157 w 587"/>
                <a:gd name="T49" fmla="*/ 55 h 387"/>
                <a:gd name="T50" fmla="*/ 172 w 587"/>
                <a:gd name="T51" fmla="*/ 72 h 387"/>
                <a:gd name="T52" fmla="*/ 174 w 587"/>
                <a:gd name="T53" fmla="*/ 105 h 387"/>
                <a:gd name="T54" fmla="*/ 182 w 587"/>
                <a:gd name="T55" fmla="*/ 109 h 387"/>
                <a:gd name="T56" fmla="*/ 166 w 587"/>
                <a:gd name="T57" fmla="*/ 129 h 387"/>
                <a:gd name="T58" fmla="*/ 161 w 587"/>
                <a:gd name="T59" fmla="*/ 152 h 387"/>
                <a:gd name="T60" fmla="*/ 147 w 587"/>
                <a:gd name="T61" fmla="*/ 178 h 387"/>
                <a:gd name="T62" fmla="*/ 114 w 587"/>
                <a:gd name="T63" fmla="*/ 189 h 387"/>
                <a:gd name="T64" fmla="*/ 110 w 587"/>
                <a:gd name="T65" fmla="*/ 187 h 387"/>
                <a:gd name="T66" fmla="*/ 127 w 587"/>
                <a:gd name="T67" fmla="*/ 164 h 387"/>
                <a:gd name="T68" fmla="*/ 129 w 587"/>
                <a:gd name="T69" fmla="*/ 178 h 387"/>
                <a:gd name="T70" fmla="*/ 143 w 587"/>
                <a:gd name="T71" fmla="*/ 178 h 387"/>
                <a:gd name="T72" fmla="*/ 143 w 587"/>
                <a:gd name="T73" fmla="*/ 148 h 387"/>
                <a:gd name="T74" fmla="*/ 157 w 587"/>
                <a:gd name="T75" fmla="*/ 135 h 387"/>
                <a:gd name="T76" fmla="*/ 151 w 587"/>
                <a:gd name="T77" fmla="*/ 123 h 387"/>
                <a:gd name="T78" fmla="*/ 125 w 587"/>
                <a:gd name="T79" fmla="*/ 160 h 387"/>
                <a:gd name="T80" fmla="*/ 133 w 587"/>
                <a:gd name="T81" fmla="*/ 119 h 387"/>
                <a:gd name="T82" fmla="*/ 147 w 587"/>
                <a:gd name="T83" fmla="*/ 119 h 387"/>
                <a:gd name="T84" fmla="*/ 137 w 587"/>
                <a:gd name="T85" fmla="*/ 92 h 387"/>
                <a:gd name="T86" fmla="*/ 123 w 587"/>
                <a:gd name="T87" fmla="*/ 88 h 387"/>
                <a:gd name="T88" fmla="*/ 69 w 587"/>
                <a:gd name="T89" fmla="*/ 72 h 387"/>
                <a:gd name="T90" fmla="*/ 6 w 587"/>
                <a:gd name="T91" fmla="*/ 49 h 387"/>
                <a:gd name="T92" fmla="*/ 14 w 587"/>
                <a:gd name="T93" fmla="*/ 103 h 387"/>
                <a:gd name="T94" fmla="*/ 14 w 587"/>
                <a:gd name="T95" fmla="*/ 189 h 387"/>
                <a:gd name="T96" fmla="*/ 32 w 587"/>
                <a:gd name="T97" fmla="*/ 189 h 387"/>
                <a:gd name="T98" fmla="*/ 16 w 587"/>
                <a:gd name="T99" fmla="*/ 195 h 387"/>
                <a:gd name="T100" fmla="*/ 37 w 587"/>
                <a:gd name="T101" fmla="*/ 223 h 387"/>
                <a:gd name="T102" fmla="*/ 22 w 587"/>
                <a:gd name="T103" fmla="*/ 240 h 387"/>
                <a:gd name="T104" fmla="*/ 16 w 587"/>
                <a:gd name="T105" fmla="*/ 221 h 387"/>
                <a:gd name="T106" fmla="*/ 14 w 587"/>
                <a:gd name="T107" fmla="*/ 256 h 387"/>
                <a:gd name="T108" fmla="*/ 63 w 587"/>
                <a:gd name="T109" fmla="*/ 281 h 387"/>
                <a:gd name="T110" fmla="*/ 96 w 587"/>
                <a:gd name="T111" fmla="*/ 322 h 387"/>
                <a:gd name="T112" fmla="*/ 163 w 587"/>
                <a:gd name="T113" fmla="*/ 351 h 387"/>
                <a:gd name="T114" fmla="*/ 245 w 587"/>
                <a:gd name="T115" fmla="*/ 369 h 387"/>
                <a:gd name="T116" fmla="*/ 340 w 587"/>
                <a:gd name="T117" fmla="*/ 363 h 387"/>
                <a:gd name="T118" fmla="*/ 553 w 587"/>
                <a:gd name="T119" fmla="*/ 387 h 387"/>
                <a:gd name="T120" fmla="*/ 573 w 587"/>
                <a:gd name="T121" fmla="*/ 178 h 387"/>
                <a:gd name="T122" fmla="*/ 127 w 587"/>
                <a:gd name="T123" fmla="*/ 2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7" h="387">
                  <a:moveTo>
                    <a:pt x="151" y="51"/>
                  </a:moveTo>
                  <a:lnTo>
                    <a:pt x="149" y="51"/>
                  </a:lnTo>
                  <a:lnTo>
                    <a:pt x="149" y="51"/>
                  </a:lnTo>
                  <a:lnTo>
                    <a:pt x="147" y="51"/>
                  </a:lnTo>
                  <a:lnTo>
                    <a:pt x="147" y="51"/>
                  </a:lnTo>
                  <a:lnTo>
                    <a:pt x="149" y="51"/>
                  </a:lnTo>
                  <a:lnTo>
                    <a:pt x="149" y="53"/>
                  </a:lnTo>
                  <a:lnTo>
                    <a:pt x="149" y="53"/>
                  </a:lnTo>
                  <a:lnTo>
                    <a:pt x="149" y="53"/>
                  </a:lnTo>
                  <a:lnTo>
                    <a:pt x="149" y="55"/>
                  </a:lnTo>
                  <a:lnTo>
                    <a:pt x="149" y="55"/>
                  </a:lnTo>
                  <a:lnTo>
                    <a:pt x="149" y="55"/>
                  </a:lnTo>
                  <a:lnTo>
                    <a:pt x="149" y="53"/>
                  </a:lnTo>
                  <a:lnTo>
                    <a:pt x="151" y="53"/>
                  </a:lnTo>
                  <a:lnTo>
                    <a:pt x="151" y="53"/>
                  </a:lnTo>
                  <a:lnTo>
                    <a:pt x="151" y="51"/>
                  </a:lnTo>
                  <a:lnTo>
                    <a:pt x="151" y="51"/>
                  </a:lnTo>
                  <a:lnTo>
                    <a:pt x="151" y="51"/>
                  </a:lnTo>
                  <a:lnTo>
                    <a:pt x="151" y="51"/>
                  </a:lnTo>
                  <a:lnTo>
                    <a:pt x="151" y="51"/>
                  </a:lnTo>
                  <a:close/>
                  <a:moveTo>
                    <a:pt x="147" y="62"/>
                  </a:moveTo>
                  <a:lnTo>
                    <a:pt x="147" y="60"/>
                  </a:lnTo>
                  <a:lnTo>
                    <a:pt x="149" y="60"/>
                  </a:lnTo>
                  <a:lnTo>
                    <a:pt x="149" y="57"/>
                  </a:lnTo>
                  <a:lnTo>
                    <a:pt x="149" y="55"/>
                  </a:lnTo>
                  <a:lnTo>
                    <a:pt x="147" y="57"/>
                  </a:lnTo>
                  <a:lnTo>
                    <a:pt x="147" y="55"/>
                  </a:lnTo>
                  <a:lnTo>
                    <a:pt x="145" y="55"/>
                  </a:lnTo>
                  <a:lnTo>
                    <a:pt x="145" y="53"/>
                  </a:lnTo>
                  <a:lnTo>
                    <a:pt x="147" y="49"/>
                  </a:lnTo>
                  <a:lnTo>
                    <a:pt x="147" y="47"/>
                  </a:lnTo>
                  <a:lnTo>
                    <a:pt x="147" y="45"/>
                  </a:lnTo>
                  <a:lnTo>
                    <a:pt x="145" y="45"/>
                  </a:lnTo>
                  <a:lnTo>
                    <a:pt x="143" y="47"/>
                  </a:lnTo>
                  <a:lnTo>
                    <a:pt x="143" y="47"/>
                  </a:lnTo>
                  <a:lnTo>
                    <a:pt x="143" y="47"/>
                  </a:lnTo>
                  <a:lnTo>
                    <a:pt x="143" y="49"/>
                  </a:lnTo>
                  <a:lnTo>
                    <a:pt x="143" y="49"/>
                  </a:lnTo>
                  <a:lnTo>
                    <a:pt x="141" y="51"/>
                  </a:lnTo>
                  <a:lnTo>
                    <a:pt x="141" y="51"/>
                  </a:lnTo>
                  <a:lnTo>
                    <a:pt x="139" y="53"/>
                  </a:lnTo>
                  <a:lnTo>
                    <a:pt x="139" y="55"/>
                  </a:lnTo>
                  <a:lnTo>
                    <a:pt x="141" y="55"/>
                  </a:lnTo>
                  <a:lnTo>
                    <a:pt x="143" y="57"/>
                  </a:lnTo>
                  <a:lnTo>
                    <a:pt x="143" y="57"/>
                  </a:lnTo>
                  <a:lnTo>
                    <a:pt x="143" y="60"/>
                  </a:lnTo>
                  <a:lnTo>
                    <a:pt x="147" y="62"/>
                  </a:lnTo>
                  <a:close/>
                  <a:moveTo>
                    <a:pt x="141" y="33"/>
                  </a:moveTo>
                  <a:lnTo>
                    <a:pt x="139" y="35"/>
                  </a:lnTo>
                  <a:lnTo>
                    <a:pt x="137" y="35"/>
                  </a:lnTo>
                  <a:lnTo>
                    <a:pt x="137" y="35"/>
                  </a:lnTo>
                  <a:lnTo>
                    <a:pt x="137" y="37"/>
                  </a:lnTo>
                  <a:lnTo>
                    <a:pt x="137" y="37"/>
                  </a:lnTo>
                  <a:lnTo>
                    <a:pt x="137" y="39"/>
                  </a:lnTo>
                  <a:lnTo>
                    <a:pt x="139" y="41"/>
                  </a:lnTo>
                  <a:lnTo>
                    <a:pt x="139" y="39"/>
                  </a:lnTo>
                  <a:lnTo>
                    <a:pt x="139" y="39"/>
                  </a:lnTo>
                  <a:lnTo>
                    <a:pt x="139" y="37"/>
                  </a:lnTo>
                  <a:lnTo>
                    <a:pt x="141" y="37"/>
                  </a:lnTo>
                  <a:lnTo>
                    <a:pt x="141" y="37"/>
                  </a:lnTo>
                  <a:lnTo>
                    <a:pt x="143" y="39"/>
                  </a:lnTo>
                  <a:lnTo>
                    <a:pt x="143" y="39"/>
                  </a:lnTo>
                  <a:lnTo>
                    <a:pt x="143" y="41"/>
                  </a:lnTo>
                  <a:lnTo>
                    <a:pt x="143" y="41"/>
                  </a:lnTo>
                  <a:lnTo>
                    <a:pt x="143" y="43"/>
                  </a:lnTo>
                  <a:lnTo>
                    <a:pt x="145" y="43"/>
                  </a:lnTo>
                  <a:lnTo>
                    <a:pt x="147" y="43"/>
                  </a:lnTo>
                  <a:lnTo>
                    <a:pt x="149" y="41"/>
                  </a:lnTo>
                  <a:lnTo>
                    <a:pt x="145" y="35"/>
                  </a:lnTo>
                  <a:lnTo>
                    <a:pt x="147" y="35"/>
                  </a:lnTo>
                  <a:lnTo>
                    <a:pt x="147" y="35"/>
                  </a:lnTo>
                  <a:lnTo>
                    <a:pt x="147" y="33"/>
                  </a:lnTo>
                  <a:lnTo>
                    <a:pt x="147" y="33"/>
                  </a:lnTo>
                  <a:lnTo>
                    <a:pt x="147" y="31"/>
                  </a:lnTo>
                  <a:lnTo>
                    <a:pt x="147" y="31"/>
                  </a:lnTo>
                  <a:lnTo>
                    <a:pt x="149" y="33"/>
                  </a:lnTo>
                  <a:lnTo>
                    <a:pt x="149" y="33"/>
                  </a:lnTo>
                  <a:lnTo>
                    <a:pt x="149" y="35"/>
                  </a:lnTo>
                  <a:lnTo>
                    <a:pt x="149" y="37"/>
                  </a:lnTo>
                  <a:lnTo>
                    <a:pt x="149" y="41"/>
                  </a:lnTo>
                  <a:lnTo>
                    <a:pt x="151" y="41"/>
                  </a:lnTo>
                  <a:lnTo>
                    <a:pt x="151" y="41"/>
                  </a:lnTo>
                  <a:lnTo>
                    <a:pt x="153" y="41"/>
                  </a:lnTo>
                  <a:lnTo>
                    <a:pt x="153" y="41"/>
                  </a:lnTo>
                  <a:lnTo>
                    <a:pt x="153" y="41"/>
                  </a:lnTo>
                  <a:lnTo>
                    <a:pt x="153" y="41"/>
                  </a:lnTo>
                  <a:lnTo>
                    <a:pt x="157" y="39"/>
                  </a:lnTo>
                  <a:lnTo>
                    <a:pt x="157" y="39"/>
                  </a:lnTo>
                  <a:lnTo>
                    <a:pt x="157" y="37"/>
                  </a:lnTo>
                  <a:lnTo>
                    <a:pt x="151" y="31"/>
                  </a:lnTo>
                  <a:lnTo>
                    <a:pt x="147" y="31"/>
                  </a:lnTo>
                  <a:lnTo>
                    <a:pt x="147" y="31"/>
                  </a:lnTo>
                  <a:lnTo>
                    <a:pt x="145" y="31"/>
                  </a:lnTo>
                  <a:lnTo>
                    <a:pt x="141" y="33"/>
                  </a:lnTo>
                  <a:lnTo>
                    <a:pt x="141" y="33"/>
                  </a:lnTo>
                  <a:close/>
                  <a:moveTo>
                    <a:pt x="145" y="98"/>
                  </a:moveTo>
                  <a:lnTo>
                    <a:pt x="147" y="100"/>
                  </a:lnTo>
                  <a:lnTo>
                    <a:pt x="147" y="103"/>
                  </a:lnTo>
                  <a:lnTo>
                    <a:pt x="147" y="105"/>
                  </a:lnTo>
                  <a:lnTo>
                    <a:pt x="149" y="105"/>
                  </a:lnTo>
                  <a:lnTo>
                    <a:pt x="149" y="103"/>
                  </a:lnTo>
                  <a:lnTo>
                    <a:pt x="151" y="100"/>
                  </a:lnTo>
                  <a:lnTo>
                    <a:pt x="149" y="98"/>
                  </a:lnTo>
                  <a:lnTo>
                    <a:pt x="149" y="94"/>
                  </a:lnTo>
                  <a:lnTo>
                    <a:pt x="149" y="94"/>
                  </a:lnTo>
                  <a:lnTo>
                    <a:pt x="149" y="94"/>
                  </a:lnTo>
                  <a:lnTo>
                    <a:pt x="147" y="94"/>
                  </a:lnTo>
                  <a:lnTo>
                    <a:pt x="149" y="96"/>
                  </a:lnTo>
                  <a:lnTo>
                    <a:pt x="149" y="98"/>
                  </a:lnTo>
                  <a:lnTo>
                    <a:pt x="149" y="100"/>
                  </a:lnTo>
                  <a:lnTo>
                    <a:pt x="147" y="100"/>
                  </a:lnTo>
                  <a:lnTo>
                    <a:pt x="147" y="98"/>
                  </a:lnTo>
                  <a:lnTo>
                    <a:pt x="147" y="96"/>
                  </a:lnTo>
                  <a:lnTo>
                    <a:pt x="147" y="96"/>
                  </a:lnTo>
                  <a:lnTo>
                    <a:pt x="147" y="96"/>
                  </a:lnTo>
                  <a:lnTo>
                    <a:pt x="147" y="96"/>
                  </a:lnTo>
                  <a:lnTo>
                    <a:pt x="145" y="98"/>
                  </a:lnTo>
                  <a:close/>
                  <a:moveTo>
                    <a:pt x="147" y="25"/>
                  </a:moveTo>
                  <a:lnTo>
                    <a:pt x="147" y="25"/>
                  </a:lnTo>
                  <a:lnTo>
                    <a:pt x="147" y="27"/>
                  </a:lnTo>
                  <a:lnTo>
                    <a:pt x="147" y="27"/>
                  </a:lnTo>
                  <a:lnTo>
                    <a:pt x="147" y="27"/>
                  </a:lnTo>
                  <a:lnTo>
                    <a:pt x="147" y="27"/>
                  </a:lnTo>
                  <a:lnTo>
                    <a:pt x="147" y="27"/>
                  </a:lnTo>
                  <a:lnTo>
                    <a:pt x="149" y="27"/>
                  </a:lnTo>
                  <a:lnTo>
                    <a:pt x="147" y="27"/>
                  </a:lnTo>
                  <a:lnTo>
                    <a:pt x="149" y="27"/>
                  </a:lnTo>
                  <a:lnTo>
                    <a:pt x="149" y="27"/>
                  </a:lnTo>
                  <a:lnTo>
                    <a:pt x="149" y="27"/>
                  </a:lnTo>
                  <a:lnTo>
                    <a:pt x="149" y="27"/>
                  </a:lnTo>
                  <a:lnTo>
                    <a:pt x="149" y="27"/>
                  </a:lnTo>
                  <a:lnTo>
                    <a:pt x="147" y="25"/>
                  </a:lnTo>
                  <a:lnTo>
                    <a:pt x="149" y="25"/>
                  </a:lnTo>
                  <a:lnTo>
                    <a:pt x="149" y="25"/>
                  </a:lnTo>
                  <a:lnTo>
                    <a:pt x="149" y="25"/>
                  </a:lnTo>
                  <a:lnTo>
                    <a:pt x="149" y="25"/>
                  </a:lnTo>
                  <a:lnTo>
                    <a:pt x="149" y="25"/>
                  </a:lnTo>
                  <a:lnTo>
                    <a:pt x="147" y="25"/>
                  </a:lnTo>
                  <a:lnTo>
                    <a:pt x="147" y="25"/>
                  </a:lnTo>
                  <a:lnTo>
                    <a:pt x="147" y="25"/>
                  </a:lnTo>
                  <a:lnTo>
                    <a:pt x="147" y="25"/>
                  </a:lnTo>
                  <a:lnTo>
                    <a:pt x="147" y="25"/>
                  </a:lnTo>
                  <a:close/>
                  <a:moveTo>
                    <a:pt x="139" y="45"/>
                  </a:moveTo>
                  <a:lnTo>
                    <a:pt x="139" y="45"/>
                  </a:lnTo>
                  <a:lnTo>
                    <a:pt x="141" y="45"/>
                  </a:lnTo>
                  <a:lnTo>
                    <a:pt x="141" y="45"/>
                  </a:lnTo>
                  <a:lnTo>
                    <a:pt x="141" y="45"/>
                  </a:lnTo>
                  <a:lnTo>
                    <a:pt x="141" y="45"/>
                  </a:lnTo>
                  <a:lnTo>
                    <a:pt x="141" y="45"/>
                  </a:lnTo>
                  <a:lnTo>
                    <a:pt x="143" y="45"/>
                  </a:lnTo>
                  <a:lnTo>
                    <a:pt x="143" y="45"/>
                  </a:lnTo>
                  <a:lnTo>
                    <a:pt x="143" y="45"/>
                  </a:lnTo>
                  <a:lnTo>
                    <a:pt x="143" y="45"/>
                  </a:lnTo>
                  <a:lnTo>
                    <a:pt x="143" y="45"/>
                  </a:lnTo>
                  <a:lnTo>
                    <a:pt x="143" y="43"/>
                  </a:lnTo>
                  <a:lnTo>
                    <a:pt x="143" y="43"/>
                  </a:lnTo>
                  <a:lnTo>
                    <a:pt x="143" y="43"/>
                  </a:lnTo>
                  <a:lnTo>
                    <a:pt x="143" y="43"/>
                  </a:lnTo>
                  <a:lnTo>
                    <a:pt x="143" y="43"/>
                  </a:lnTo>
                  <a:lnTo>
                    <a:pt x="143" y="43"/>
                  </a:lnTo>
                  <a:lnTo>
                    <a:pt x="143" y="43"/>
                  </a:lnTo>
                  <a:lnTo>
                    <a:pt x="141" y="43"/>
                  </a:lnTo>
                  <a:lnTo>
                    <a:pt x="143" y="43"/>
                  </a:lnTo>
                  <a:lnTo>
                    <a:pt x="143" y="43"/>
                  </a:lnTo>
                  <a:lnTo>
                    <a:pt x="141" y="41"/>
                  </a:lnTo>
                  <a:lnTo>
                    <a:pt x="141" y="41"/>
                  </a:lnTo>
                  <a:lnTo>
                    <a:pt x="137" y="41"/>
                  </a:lnTo>
                  <a:lnTo>
                    <a:pt x="137" y="41"/>
                  </a:lnTo>
                  <a:lnTo>
                    <a:pt x="137" y="41"/>
                  </a:lnTo>
                  <a:lnTo>
                    <a:pt x="137" y="41"/>
                  </a:lnTo>
                  <a:lnTo>
                    <a:pt x="137" y="43"/>
                  </a:lnTo>
                  <a:lnTo>
                    <a:pt x="137" y="43"/>
                  </a:lnTo>
                  <a:lnTo>
                    <a:pt x="139" y="43"/>
                  </a:lnTo>
                  <a:lnTo>
                    <a:pt x="139" y="43"/>
                  </a:lnTo>
                  <a:lnTo>
                    <a:pt x="139" y="45"/>
                  </a:lnTo>
                  <a:close/>
                  <a:moveTo>
                    <a:pt x="163" y="66"/>
                  </a:moveTo>
                  <a:lnTo>
                    <a:pt x="163" y="66"/>
                  </a:lnTo>
                  <a:lnTo>
                    <a:pt x="161" y="68"/>
                  </a:lnTo>
                  <a:lnTo>
                    <a:pt x="161" y="68"/>
                  </a:lnTo>
                  <a:lnTo>
                    <a:pt x="159" y="68"/>
                  </a:lnTo>
                  <a:lnTo>
                    <a:pt x="157" y="70"/>
                  </a:lnTo>
                  <a:lnTo>
                    <a:pt x="149" y="78"/>
                  </a:lnTo>
                  <a:lnTo>
                    <a:pt x="149" y="80"/>
                  </a:lnTo>
                  <a:lnTo>
                    <a:pt x="149" y="84"/>
                  </a:lnTo>
                  <a:lnTo>
                    <a:pt x="149" y="84"/>
                  </a:lnTo>
                  <a:lnTo>
                    <a:pt x="149" y="86"/>
                  </a:lnTo>
                  <a:lnTo>
                    <a:pt x="151" y="86"/>
                  </a:lnTo>
                  <a:lnTo>
                    <a:pt x="151" y="86"/>
                  </a:lnTo>
                  <a:lnTo>
                    <a:pt x="151" y="86"/>
                  </a:lnTo>
                  <a:lnTo>
                    <a:pt x="153" y="90"/>
                  </a:lnTo>
                  <a:lnTo>
                    <a:pt x="155" y="90"/>
                  </a:lnTo>
                  <a:lnTo>
                    <a:pt x="157" y="90"/>
                  </a:lnTo>
                  <a:lnTo>
                    <a:pt x="157" y="90"/>
                  </a:lnTo>
                  <a:lnTo>
                    <a:pt x="157" y="92"/>
                  </a:lnTo>
                  <a:lnTo>
                    <a:pt x="155" y="98"/>
                  </a:lnTo>
                  <a:lnTo>
                    <a:pt x="155" y="100"/>
                  </a:lnTo>
                  <a:lnTo>
                    <a:pt x="157" y="103"/>
                  </a:lnTo>
                  <a:lnTo>
                    <a:pt x="155" y="105"/>
                  </a:lnTo>
                  <a:lnTo>
                    <a:pt x="157" y="107"/>
                  </a:lnTo>
                  <a:lnTo>
                    <a:pt x="157" y="109"/>
                  </a:lnTo>
                  <a:lnTo>
                    <a:pt x="159" y="109"/>
                  </a:lnTo>
                  <a:lnTo>
                    <a:pt x="159" y="111"/>
                  </a:lnTo>
                  <a:lnTo>
                    <a:pt x="159" y="111"/>
                  </a:lnTo>
                  <a:lnTo>
                    <a:pt x="161" y="111"/>
                  </a:lnTo>
                  <a:lnTo>
                    <a:pt x="161" y="111"/>
                  </a:lnTo>
                  <a:lnTo>
                    <a:pt x="163" y="109"/>
                  </a:lnTo>
                  <a:lnTo>
                    <a:pt x="163" y="109"/>
                  </a:lnTo>
                  <a:lnTo>
                    <a:pt x="166" y="111"/>
                  </a:lnTo>
                  <a:lnTo>
                    <a:pt x="166" y="113"/>
                  </a:lnTo>
                  <a:lnTo>
                    <a:pt x="166" y="115"/>
                  </a:lnTo>
                  <a:lnTo>
                    <a:pt x="166" y="117"/>
                  </a:lnTo>
                  <a:lnTo>
                    <a:pt x="166" y="119"/>
                  </a:lnTo>
                  <a:lnTo>
                    <a:pt x="166" y="119"/>
                  </a:lnTo>
                  <a:lnTo>
                    <a:pt x="168" y="117"/>
                  </a:lnTo>
                  <a:lnTo>
                    <a:pt x="170" y="119"/>
                  </a:lnTo>
                  <a:lnTo>
                    <a:pt x="168" y="119"/>
                  </a:lnTo>
                  <a:lnTo>
                    <a:pt x="168" y="119"/>
                  </a:lnTo>
                  <a:lnTo>
                    <a:pt x="170" y="119"/>
                  </a:lnTo>
                  <a:lnTo>
                    <a:pt x="170" y="119"/>
                  </a:lnTo>
                  <a:lnTo>
                    <a:pt x="170" y="119"/>
                  </a:lnTo>
                  <a:lnTo>
                    <a:pt x="170" y="119"/>
                  </a:lnTo>
                  <a:lnTo>
                    <a:pt x="172" y="117"/>
                  </a:lnTo>
                  <a:lnTo>
                    <a:pt x="172" y="115"/>
                  </a:lnTo>
                  <a:lnTo>
                    <a:pt x="174" y="115"/>
                  </a:lnTo>
                  <a:lnTo>
                    <a:pt x="174" y="115"/>
                  </a:lnTo>
                  <a:lnTo>
                    <a:pt x="172" y="113"/>
                  </a:lnTo>
                  <a:lnTo>
                    <a:pt x="172" y="111"/>
                  </a:lnTo>
                  <a:lnTo>
                    <a:pt x="172" y="109"/>
                  </a:lnTo>
                  <a:lnTo>
                    <a:pt x="168" y="103"/>
                  </a:lnTo>
                  <a:lnTo>
                    <a:pt x="166" y="103"/>
                  </a:lnTo>
                  <a:lnTo>
                    <a:pt x="166" y="100"/>
                  </a:lnTo>
                  <a:lnTo>
                    <a:pt x="163" y="98"/>
                  </a:lnTo>
                  <a:lnTo>
                    <a:pt x="161" y="100"/>
                  </a:lnTo>
                  <a:lnTo>
                    <a:pt x="161" y="103"/>
                  </a:lnTo>
                  <a:lnTo>
                    <a:pt x="163" y="105"/>
                  </a:lnTo>
                  <a:lnTo>
                    <a:pt x="161" y="107"/>
                  </a:lnTo>
                  <a:lnTo>
                    <a:pt x="159" y="107"/>
                  </a:lnTo>
                  <a:lnTo>
                    <a:pt x="159" y="105"/>
                  </a:lnTo>
                  <a:lnTo>
                    <a:pt x="159" y="100"/>
                  </a:lnTo>
                  <a:lnTo>
                    <a:pt x="161" y="94"/>
                  </a:lnTo>
                  <a:lnTo>
                    <a:pt x="161" y="90"/>
                  </a:lnTo>
                  <a:lnTo>
                    <a:pt x="161" y="88"/>
                  </a:lnTo>
                  <a:lnTo>
                    <a:pt x="159" y="86"/>
                  </a:lnTo>
                  <a:lnTo>
                    <a:pt x="157" y="84"/>
                  </a:lnTo>
                  <a:lnTo>
                    <a:pt x="157" y="84"/>
                  </a:lnTo>
                  <a:lnTo>
                    <a:pt x="155" y="82"/>
                  </a:lnTo>
                  <a:lnTo>
                    <a:pt x="155" y="82"/>
                  </a:lnTo>
                  <a:lnTo>
                    <a:pt x="153" y="82"/>
                  </a:lnTo>
                  <a:lnTo>
                    <a:pt x="151" y="82"/>
                  </a:lnTo>
                  <a:lnTo>
                    <a:pt x="151" y="80"/>
                  </a:lnTo>
                  <a:lnTo>
                    <a:pt x="155" y="82"/>
                  </a:lnTo>
                  <a:lnTo>
                    <a:pt x="157" y="80"/>
                  </a:lnTo>
                  <a:lnTo>
                    <a:pt x="157" y="80"/>
                  </a:lnTo>
                  <a:lnTo>
                    <a:pt x="157" y="78"/>
                  </a:lnTo>
                  <a:lnTo>
                    <a:pt x="157" y="76"/>
                  </a:lnTo>
                  <a:lnTo>
                    <a:pt x="159" y="80"/>
                  </a:lnTo>
                  <a:lnTo>
                    <a:pt x="159" y="78"/>
                  </a:lnTo>
                  <a:lnTo>
                    <a:pt x="161" y="76"/>
                  </a:lnTo>
                  <a:lnTo>
                    <a:pt x="161" y="76"/>
                  </a:lnTo>
                  <a:lnTo>
                    <a:pt x="163" y="76"/>
                  </a:lnTo>
                  <a:lnTo>
                    <a:pt x="163" y="78"/>
                  </a:lnTo>
                  <a:lnTo>
                    <a:pt x="166" y="78"/>
                  </a:lnTo>
                  <a:lnTo>
                    <a:pt x="166" y="78"/>
                  </a:lnTo>
                  <a:lnTo>
                    <a:pt x="168" y="78"/>
                  </a:lnTo>
                  <a:lnTo>
                    <a:pt x="168" y="76"/>
                  </a:lnTo>
                  <a:lnTo>
                    <a:pt x="163" y="72"/>
                  </a:lnTo>
                  <a:lnTo>
                    <a:pt x="163" y="70"/>
                  </a:lnTo>
                  <a:lnTo>
                    <a:pt x="163" y="68"/>
                  </a:lnTo>
                  <a:lnTo>
                    <a:pt x="163" y="68"/>
                  </a:lnTo>
                  <a:lnTo>
                    <a:pt x="163" y="68"/>
                  </a:lnTo>
                  <a:lnTo>
                    <a:pt x="163" y="66"/>
                  </a:lnTo>
                  <a:close/>
                  <a:moveTo>
                    <a:pt x="168" y="35"/>
                  </a:moveTo>
                  <a:lnTo>
                    <a:pt x="168" y="35"/>
                  </a:lnTo>
                  <a:lnTo>
                    <a:pt x="166" y="35"/>
                  </a:lnTo>
                  <a:lnTo>
                    <a:pt x="166" y="35"/>
                  </a:lnTo>
                  <a:lnTo>
                    <a:pt x="166" y="35"/>
                  </a:lnTo>
                  <a:lnTo>
                    <a:pt x="168" y="37"/>
                  </a:lnTo>
                  <a:lnTo>
                    <a:pt x="170" y="37"/>
                  </a:lnTo>
                  <a:lnTo>
                    <a:pt x="170" y="35"/>
                  </a:lnTo>
                  <a:lnTo>
                    <a:pt x="170" y="35"/>
                  </a:lnTo>
                  <a:lnTo>
                    <a:pt x="168" y="33"/>
                  </a:lnTo>
                  <a:lnTo>
                    <a:pt x="168" y="35"/>
                  </a:lnTo>
                  <a:lnTo>
                    <a:pt x="168" y="35"/>
                  </a:lnTo>
                  <a:lnTo>
                    <a:pt x="168" y="35"/>
                  </a:lnTo>
                  <a:lnTo>
                    <a:pt x="168" y="35"/>
                  </a:lnTo>
                  <a:close/>
                  <a:moveTo>
                    <a:pt x="163" y="35"/>
                  </a:moveTo>
                  <a:lnTo>
                    <a:pt x="163" y="31"/>
                  </a:lnTo>
                  <a:lnTo>
                    <a:pt x="161" y="31"/>
                  </a:lnTo>
                  <a:lnTo>
                    <a:pt x="161" y="31"/>
                  </a:lnTo>
                  <a:lnTo>
                    <a:pt x="161" y="33"/>
                  </a:lnTo>
                  <a:lnTo>
                    <a:pt x="161" y="33"/>
                  </a:lnTo>
                  <a:lnTo>
                    <a:pt x="163" y="37"/>
                  </a:lnTo>
                  <a:lnTo>
                    <a:pt x="163" y="39"/>
                  </a:lnTo>
                  <a:lnTo>
                    <a:pt x="166" y="39"/>
                  </a:lnTo>
                  <a:lnTo>
                    <a:pt x="166" y="41"/>
                  </a:lnTo>
                  <a:lnTo>
                    <a:pt x="168" y="41"/>
                  </a:lnTo>
                  <a:lnTo>
                    <a:pt x="168" y="41"/>
                  </a:lnTo>
                  <a:lnTo>
                    <a:pt x="168" y="41"/>
                  </a:lnTo>
                  <a:lnTo>
                    <a:pt x="168" y="39"/>
                  </a:lnTo>
                  <a:lnTo>
                    <a:pt x="168" y="37"/>
                  </a:lnTo>
                  <a:lnTo>
                    <a:pt x="168" y="37"/>
                  </a:lnTo>
                  <a:lnTo>
                    <a:pt x="166" y="37"/>
                  </a:lnTo>
                  <a:lnTo>
                    <a:pt x="166" y="35"/>
                  </a:lnTo>
                  <a:lnTo>
                    <a:pt x="163" y="35"/>
                  </a:lnTo>
                  <a:close/>
                  <a:moveTo>
                    <a:pt x="161" y="43"/>
                  </a:moveTo>
                  <a:lnTo>
                    <a:pt x="161" y="43"/>
                  </a:lnTo>
                  <a:lnTo>
                    <a:pt x="163" y="45"/>
                  </a:lnTo>
                  <a:lnTo>
                    <a:pt x="163" y="43"/>
                  </a:lnTo>
                  <a:lnTo>
                    <a:pt x="163" y="43"/>
                  </a:lnTo>
                  <a:lnTo>
                    <a:pt x="163" y="43"/>
                  </a:lnTo>
                  <a:lnTo>
                    <a:pt x="161" y="43"/>
                  </a:lnTo>
                  <a:lnTo>
                    <a:pt x="161" y="43"/>
                  </a:lnTo>
                  <a:close/>
                  <a:moveTo>
                    <a:pt x="159" y="45"/>
                  </a:moveTo>
                  <a:lnTo>
                    <a:pt x="159" y="45"/>
                  </a:lnTo>
                  <a:lnTo>
                    <a:pt x="159" y="43"/>
                  </a:lnTo>
                  <a:lnTo>
                    <a:pt x="157" y="43"/>
                  </a:lnTo>
                  <a:lnTo>
                    <a:pt x="157" y="45"/>
                  </a:lnTo>
                  <a:lnTo>
                    <a:pt x="157" y="47"/>
                  </a:lnTo>
                  <a:lnTo>
                    <a:pt x="157" y="49"/>
                  </a:lnTo>
                  <a:lnTo>
                    <a:pt x="157" y="49"/>
                  </a:lnTo>
                  <a:lnTo>
                    <a:pt x="159" y="51"/>
                  </a:lnTo>
                  <a:lnTo>
                    <a:pt x="159" y="51"/>
                  </a:lnTo>
                  <a:lnTo>
                    <a:pt x="159" y="49"/>
                  </a:lnTo>
                  <a:lnTo>
                    <a:pt x="159" y="49"/>
                  </a:lnTo>
                  <a:lnTo>
                    <a:pt x="161" y="49"/>
                  </a:lnTo>
                  <a:lnTo>
                    <a:pt x="161" y="47"/>
                  </a:lnTo>
                  <a:lnTo>
                    <a:pt x="161" y="47"/>
                  </a:lnTo>
                  <a:lnTo>
                    <a:pt x="159" y="45"/>
                  </a:lnTo>
                  <a:lnTo>
                    <a:pt x="159" y="45"/>
                  </a:lnTo>
                  <a:close/>
                  <a:moveTo>
                    <a:pt x="153" y="172"/>
                  </a:moveTo>
                  <a:lnTo>
                    <a:pt x="151" y="172"/>
                  </a:lnTo>
                  <a:lnTo>
                    <a:pt x="151" y="172"/>
                  </a:lnTo>
                  <a:lnTo>
                    <a:pt x="151" y="174"/>
                  </a:lnTo>
                  <a:lnTo>
                    <a:pt x="151" y="176"/>
                  </a:lnTo>
                  <a:lnTo>
                    <a:pt x="153" y="174"/>
                  </a:lnTo>
                  <a:lnTo>
                    <a:pt x="155" y="172"/>
                  </a:lnTo>
                  <a:lnTo>
                    <a:pt x="159" y="172"/>
                  </a:lnTo>
                  <a:lnTo>
                    <a:pt x="159" y="172"/>
                  </a:lnTo>
                  <a:lnTo>
                    <a:pt x="159" y="170"/>
                  </a:lnTo>
                  <a:lnTo>
                    <a:pt x="157" y="170"/>
                  </a:lnTo>
                  <a:lnTo>
                    <a:pt x="155" y="168"/>
                  </a:lnTo>
                  <a:lnTo>
                    <a:pt x="155" y="166"/>
                  </a:lnTo>
                  <a:lnTo>
                    <a:pt x="155" y="166"/>
                  </a:lnTo>
                  <a:lnTo>
                    <a:pt x="155" y="164"/>
                  </a:lnTo>
                  <a:lnTo>
                    <a:pt x="155" y="162"/>
                  </a:lnTo>
                  <a:lnTo>
                    <a:pt x="155" y="162"/>
                  </a:lnTo>
                  <a:lnTo>
                    <a:pt x="155" y="162"/>
                  </a:lnTo>
                  <a:lnTo>
                    <a:pt x="155" y="160"/>
                  </a:lnTo>
                  <a:lnTo>
                    <a:pt x="155" y="160"/>
                  </a:lnTo>
                  <a:lnTo>
                    <a:pt x="155" y="160"/>
                  </a:lnTo>
                  <a:lnTo>
                    <a:pt x="153" y="160"/>
                  </a:lnTo>
                  <a:lnTo>
                    <a:pt x="151" y="162"/>
                  </a:lnTo>
                  <a:lnTo>
                    <a:pt x="151" y="162"/>
                  </a:lnTo>
                  <a:lnTo>
                    <a:pt x="149" y="170"/>
                  </a:lnTo>
                  <a:lnTo>
                    <a:pt x="147" y="170"/>
                  </a:lnTo>
                  <a:lnTo>
                    <a:pt x="147" y="172"/>
                  </a:lnTo>
                  <a:lnTo>
                    <a:pt x="147" y="172"/>
                  </a:lnTo>
                  <a:lnTo>
                    <a:pt x="147" y="174"/>
                  </a:lnTo>
                  <a:lnTo>
                    <a:pt x="147" y="174"/>
                  </a:lnTo>
                  <a:lnTo>
                    <a:pt x="147" y="174"/>
                  </a:lnTo>
                  <a:lnTo>
                    <a:pt x="149" y="176"/>
                  </a:lnTo>
                  <a:lnTo>
                    <a:pt x="149" y="174"/>
                  </a:lnTo>
                  <a:lnTo>
                    <a:pt x="149" y="174"/>
                  </a:lnTo>
                  <a:lnTo>
                    <a:pt x="149" y="174"/>
                  </a:lnTo>
                  <a:lnTo>
                    <a:pt x="151" y="172"/>
                  </a:lnTo>
                  <a:lnTo>
                    <a:pt x="151" y="170"/>
                  </a:lnTo>
                  <a:lnTo>
                    <a:pt x="151" y="170"/>
                  </a:lnTo>
                  <a:lnTo>
                    <a:pt x="153" y="170"/>
                  </a:lnTo>
                  <a:lnTo>
                    <a:pt x="153" y="170"/>
                  </a:lnTo>
                  <a:lnTo>
                    <a:pt x="153" y="170"/>
                  </a:lnTo>
                  <a:lnTo>
                    <a:pt x="155" y="170"/>
                  </a:lnTo>
                  <a:lnTo>
                    <a:pt x="153" y="170"/>
                  </a:lnTo>
                  <a:lnTo>
                    <a:pt x="153" y="172"/>
                  </a:lnTo>
                  <a:close/>
                  <a:moveTo>
                    <a:pt x="149" y="148"/>
                  </a:moveTo>
                  <a:lnTo>
                    <a:pt x="149" y="148"/>
                  </a:lnTo>
                  <a:lnTo>
                    <a:pt x="149" y="148"/>
                  </a:lnTo>
                  <a:lnTo>
                    <a:pt x="151" y="148"/>
                  </a:lnTo>
                  <a:lnTo>
                    <a:pt x="151" y="150"/>
                  </a:lnTo>
                  <a:lnTo>
                    <a:pt x="153" y="152"/>
                  </a:lnTo>
                  <a:lnTo>
                    <a:pt x="155" y="150"/>
                  </a:lnTo>
                  <a:lnTo>
                    <a:pt x="155" y="150"/>
                  </a:lnTo>
                  <a:lnTo>
                    <a:pt x="155" y="150"/>
                  </a:lnTo>
                  <a:lnTo>
                    <a:pt x="155" y="150"/>
                  </a:lnTo>
                  <a:lnTo>
                    <a:pt x="155" y="148"/>
                  </a:lnTo>
                  <a:lnTo>
                    <a:pt x="155" y="148"/>
                  </a:lnTo>
                  <a:lnTo>
                    <a:pt x="155" y="148"/>
                  </a:lnTo>
                  <a:lnTo>
                    <a:pt x="155" y="146"/>
                  </a:lnTo>
                  <a:lnTo>
                    <a:pt x="153" y="146"/>
                  </a:lnTo>
                  <a:lnTo>
                    <a:pt x="155" y="146"/>
                  </a:lnTo>
                  <a:lnTo>
                    <a:pt x="155" y="146"/>
                  </a:lnTo>
                  <a:lnTo>
                    <a:pt x="155" y="144"/>
                  </a:lnTo>
                  <a:lnTo>
                    <a:pt x="155" y="144"/>
                  </a:lnTo>
                  <a:lnTo>
                    <a:pt x="155" y="141"/>
                  </a:lnTo>
                  <a:lnTo>
                    <a:pt x="155" y="137"/>
                  </a:lnTo>
                  <a:lnTo>
                    <a:pt x="155" y="137"/>
                  </a:lnTo>
                  <a:lnTo>
                    <a:pt x="155" y="137"/>
                  </a:lnTo>
                  <a:lnTo>
                    <a:pt x="153" y="135"/>
                  </a:lnTo>
                  <a:lnTo>
                    <a:pt x="153" y="135"/>
                  </a:lnTo>
                  <a:lnTo>
                    <a:pt x="153" y="135"/>
                  </a:lnTo>
                  <a:lnTo>
                    <a:pt x="151" y="137"/>
                  </a:lnTo>
                  <a:lnTo>
                    <a:pt x="151" y="137"/>
                  </a:lnTo>
                  <a:lnTo>
                    <a:pt x="151" y="139"/>
                  </a:lnTo>
                  <a:lnTo>
                    <a:pt x="149" y="139"/>
                  </a:lnTo>
                  <a:lnTo>
                    <a:pt x="149" y="141"/>
                  </a:lnTo>
                  <a:lnTo>
                    <a:pt x="149" y="141"/>
                  </a:lnTo>
                  <a:lnTo>
                    <a:pt x="149" y="144"/>
                  </a:lnTo>
                  <a:lnTo>
                    <a:pt x="149" y="144"/>
                  </a:lnTo>
                  <a:lnTo>
                    <a:pt x="149" y="146"/>
                  </a:lnTo>
                  <a:lnTo>
                    <a:pt x="149" y="148"/>
                  </a:lnTo>
                  <a:close/>
                  <a:moveTo>
                    <a:pt x="131" y="187"/>
                  </a:moveTo>
                  <a:lnTo>
                    <a:pt x="129" y="187"/>
                  </a:lnTo>
                  <a:lnTo>
                    <a:pt x="129" y="189"/>
                  </a:lnTo>
                  <a:lnTo>
                    <a:pt x="129" y="189"/>
                  </a:lnTo>
                  <a:lnTo>
                    <a:pt x="127" y="189"/>
                  </a:lnTo>
                  <a:lnTo>
                    <a:pt x="127" y="189"/>
                  </a:lnTo>
                  <a:lnTo>
                    <a:pt x="127" y="191"/>
                  </a:lnTo>
                  <a:lnTo>
                    <a:pt x="127" y="191"/>
                  </a:lnTo>
                  <a:lnTo>
                    <a:pt x="127" y="193"/>
                  </a:lnTo>
                  <a:lnTo>
                    <a:pt x="129" y="193"/>
                  </a:lnTo>
                  <a:lnTo>
                    <a:pt x="129" y="193"/>
                  </a:lnTo>
                  <a:lnTo>
                    <a:pt x="129" y="193"/>
                  </a:lnTo>
                  <a:lnTo>
                    <a:pt x="131" y="193"/>
                  </a:lnTo>
                  <a:lnTo>
                    <a:pt x="131" y="193"/>
                  </a:lnTo>
                  <a:lnTo>
                    <a:pt x="133" y="191"/>
                  </a:lnTo>
                  <a:lnTo>
                    <a:pt x="133" y="189"/>
                  </a:lnTo>
                  <a:lnTo>
                    <a:pt x="133" y="189"/>
                  </a:lnTo>
                  <a:lnTo>
                    <a:pt x="131" y="189"/>
                  </a:lnTo>
                  <a:lnTo>
                    <a:pt x="131" y="187"/>
                  </a:lnTo>
                  <a:close/>
                  <a:moveTo>
                    <a:pt x="120" y="176"/>
                  </a:moveTo>
                  <a:lnTo>
                    <a:pt x="120" y="174"/>
                  </a:lnTo>
                  <a:lnTo>
                    <a:pt x="120" y="174"/>
                  </a:lnTo>
                  <a:lnTo>
                    <a:pt x="123" y="174"/>
                  </a:lnTo>
                  <a:lnTo>
                    <a:pt x="120" y="174"/>
                  </a:lnTo>
                  <a:lnTo>
                    <a:pt x="120" y="174"/>
                  </a:lnTo>
                  <a:lnTo>
                    <a:pt x="118" y="174"/>
                  </a:lnTo>
                  <a:lnTo>
                    <a:pt x="118" y="174"/>
                  </a:lnTo>
                  <a:lnTo>
                    <a:pt x="116" y="174"/>
                  </a:lnTo>
                  <a:lnTo>
                    <a:pt x="116" y="174"/>
                  </a:lnTo>
                  <a:lnTo>
                    <a:pt x="116" y="176"/>
                  </a:lnTo>
                  <a:lnTo>
                    <a:pt x="114" y="178"/>
                  </a:lnTo>
                  <a:lnTo>
                    <a:pt x="114" y="178"/>
                  </a:lnTo>
                  <a:lnTo>
                    <a:pt x="114" y="180"/>
                  </a:lnTo>
                  <a:lnTo>
                    <a:pt x="116" y="182"/>
                  </a:lnTo>
                  <a:lnTo>
                    <a:pt x="116" y="182"/>
                  </a:lnTo>
                  <a:lnTo>
                    <a:pt x="116" y="182"/>
                  </a:lnTo>
                  <a:lnTo>
                    <a:pt x="116" y="185"/>
                  </a:lnTo>
                  <a:lnTo>
                    <a:pt x="116" y="185"/>
                  </a:lnTo>
                  <a:lnTo>
                    <a:pt x="116" y="187"/>
                  </a:lnTo>
                  <a:lnTo>
                    <a:pt x="118" y="185"/>
                  </a:lnTo>
                  <a:lnTo>
                    <a:pt x="120" y="185"/>
                  </a:lnTo>
                  <a:lnTo>
                    <a:pt x="120" y="182"/>
                  </a:lnTo>
                  <a:lnTo>
                    <a:pt x="120" y="180"/>
                  </a:lnTo>
                  <a:lnTo>
                    <a:pt x="120" y="180"/>
                  </a:lnTo>
                  <a:lnTo>
                    <a:pt x="118" y="178"/>
                  </a:lnTo>
                  <a:lnTo>
                    <a:pt x="118" y="176"/>
                  </a:lnTo>
                  <a:lnTo>
                    <a:pt x="120" y="176"/>
                  </a:lnTo>
                  <a:close/>
                  <a:moveTo>
                    <a:pt x="18" y="238"/>
                  </a:moveTo>
                  <a:lnTo>
                    <a:pt x="18" y="238"/>
                  </a:lnTo>
                  <a:lnTo>
                    <a:pt x="18" y="240"/>
                  </a:lnTo>
                  <a:lnTo>
                    <a:pt x="20" y="244"/>
                  </a:lnTo>
                  <a:lnTo>
                    <a:pt x="20" y="242"/>
                  </a:lnTo>
                  <a:lnTo>
                    <a:pt x="20" y="242"/>
                  </a:lnTo>
                  <a:lnTo>
                    <a:pt x="22" y="240"/>
                  </a:lnTo>
                  <a:lnTo>
                    <a:pt x="22" y="238"/>
                  </a:lnTo>
                  <a:lnTo>
                    <a:pt x="20" y="236"/>
                  </a:lnTo>
                  <a:lnTo>
                    <a:pt x="20" y="236"/>
                  </a:lnTo>
                  <a:lnTo>
                    <a:pt x="20" y="236"/>
                  </a:lnTo>
                  <a:lnTo>
                    <a:pt x="20" y="234"/>
                  </a:lnTo>
                  <a:lnTo>
                    <a:pt x="20" y="234"/>
                  </a:lnTo>
                  <a:lnTo>
                    <a:pt x="18" y="236"/>
                  </a:lnTo>
                  <a:lnTo>
                    <a:pt x="18" y="236"/>
                  </a:lnTo>
                  <a:lnTo>
                    <a:pt x="18" y="238"/>
                  </a:lnTo>
                  <a:lnTo>
                    <a:pt x="18" y="238"/>
                  </a:lnTo>
                  <a:close/>
                  <a:moveTo>
                    <a:pt x="127" y="33"/>
                  </a:moveTo>
                  <a:lnTo>
                    <a:pt x="129" y="33"/>
                  </a:lnTo>
                  <a:lnTo>
                    <a:pt x="129" y="35"/>
                  </a:lnTo>
                  <a:lnTo>
                    <a:pt x="131" y="35"/>
                  </a:lnTo>
                  <a:lnTo>
                    <a:pt x="131" y="35"/>
                  </a:lnTo>
                  <a:lnTo>
                    <a:pt x="131" y="35"/>
                  </a:lnTo>
                  <a:lnTo>
                    <a:pt x="131" y="35"/>
                  </a:lnTo>
                  <a:lnTo>
                    <a:pt x="131" y="35"/>
                  </a:lnTo>
                  <a:lnTo>
                    <a:pt x="129" y="33"/>
                  </a:lnTo>
                  <a:lnTo>
                    <a:pt x="129" y="33"/>
                  </a:lnTo>
                  <a:lnTo>
                    <a:pt x="129" y="33"/>
                  </a:lnTo>
                  <a:lnTo>
                    <a:pt x="127" y="33"/>
                  </a:lnTo>
                  <a:lnTo>
                    <a:pt x="127" y="33"/>
                  </a:lnTo>
                  <a:close/>
                  <a:moveTo>
                    <a:pt x="137" y="31"/>
                  </a:moveTo>
                  <a:lnTo>
                    <a:pt x="137" y="31"/>
                  </a:lnTo>
                  <a:lnTo>
                    <a:pt x="137" y="31"/>
                  </a:lnTo>
                  <a:lnTo>
                    <a:pt x="139" y="31"/>
                  </a:lnTo>
                  <a:lnTo>
                    <a:pt x="139" y="31"/>
                  </a:lnTo>
                  <a:lnTo>
                    <a:pt x="139" y="31"/>
                  </a:lnTo>
                  <a:lnTo>
                    <a:pt x="139" y="29"/>
                  </a:lnTo>
                  <a:lnTo>
                    <a:pt x="139" y="27"/>
                  </a:lnTo>
                  <a:lnTo>
                    <a:pt x="137" y="27"/>
                  </a:lnTo>
                  <a:lnTo>
                    <a:pt x="137" y="29"/>
                  </a:lnTo>
                  <a:lnTo>
                    <a:pt x="135" y="29"/>
                  </a:lnTo>
                  <a:lnTo>
                    <a:pt x="135" y="29"/>
                  </a:lnTo>
                  <a:lnTo>
                    <a:pt x="137" y="31"/>
                  </a:lnTo>
                  <a:lnTo>
                    <a:pt x="137" y="31"/>
                  </a:lnTo>
                  <a:close/>
                  <a:moveTo>
                    <a:pt x="129" y="37"/>
                  </a:moveTo>
                  <a:lnTo>
                    <a:pt x="127" y="37"/>
                  </a:lnTo>
                  <a:lnTo>
                    <a:pt x="125" y="37"/>
                  </a:lnTo>
                  <a:lnTo>
                    <a:pt x="125" y="39"/>
                  </a:lnTo>
                  <a:lnTo>
                    <a:pt x="125" y="39"/>
                  </a:lnTo>
                  <a:lnTo>
                    <a:pt x="125" y="43"/>
                  </a:lnTo>
                  <a:lnTo>
                    <a:pt x="125" y="47"/>
                  </a:lnTo>
                  <a:lnTo>
                    <a:pt x="125" y="47"/>
                  </a:lnTo>
                  <a:lnTo>
                    <a:pt x="125" y="49"/>
                  </a:lnTo>
                  <a:lnTo>
                    <a:pt x="127" y="49"/>
                  </a:lnTo>
                  <a:lnTo>
                    <a:pt x="127" y="49"/>
                  </a:lnTo>
                  <a:lnTo>
                    <a:pt x="129" y="51"/>
                  </a:lnTo>
                  <a:lnTo>
                    <a:pt x="129" y="51"/>
                  </a:lnTo>
                  <a:lnTo>
                    <a:pt x="131" y="51"/>
                  </a:lnTo>
                  <a:lnTo>
                    <a:pt x="131" y="51"/>
                  </a:lnTo>
                  <a:lnTo>
                    <a:pt x="131" y="51"/>
                  </a:lnTo>
                  <a:lnTo>
                    <a:pt x="133" y="53"/>
                  </a:lnTo>
                  <a:lnTo>
                    <a:pt x="133" y="53"/>
                  </a:lnTo>
                  <a:lnTo>
                    <a:pt x="133" y="53"/>
                  </a:lnTo>
                  <a:lnTo>
                    <a:pt x="133" y="55"/>
                  </a:lnTo>
                  <a:lnTo>
                    <a:pt x="135" y="55"/>
                  </a:lnTo>
                  <a:lnTo>
                    <a:pt x="135" y="55"/>
                  </a:lnTo>
                  <a:lnTo>
                    <a:pt x="137" y="55"/>
                  </a:lnTo>
                  <a:lnTo>
                    <a:pt x="137" y="55"/>
                  </a:lnTo>
                  <a:lnTo>
                    <a:pt x="137" y="55"/>
                  </a:lnTo>
                  <a:lnTo>
                    <a:pt x="137" y="53"/>
                  </a:lnTo>
                  <a:lnTo>
                    <a:pt x="135" y="53"/>
                  </a:lnTo>
                  <a:lnTo>
                    <a:pt x="135" y="53"/>
                  </a:lnTo>
                  <a:lnTo>
                    <a:pt x="135" y="49"/>
                  </a:lnTo>
                  <a:lnTo>
                    <a:pt x="135" y="49"/>
                  </a:lnTo>
                  <a:lnTo>
                    <a:pt x="135" y="49"/>
                  </a:lnTo>
                  <a:lnTo>
                    <a:pt x="135" y="49"/>
                  </a:lnTo>
                  <a:lnTo>
                    <a:pt x="137" y="49"/>
                  </a:lnTo>
                  <a:lnTo>
                    <a:pt x="137" y="49"/>
                  </a:lnTo>
                  <a:lnTo>
                    <a:pt x="137" y="47"/>
                  </a:lnTo>
                  <a:lnTo>
                    <a:pt x="139" y="47"/>
                  </a:lnTo>
                  <a:lnTo>
                    <a:pt x="137" y="45"/>
                  </a:lnTo>
                  <a:lnTo>
                    <a:pt x="135" y="43"/>
                  </a:lnTo>
                  <a:lnTo>
                    <a:pt x="133" y="41"/>
                  </a:lnTo>
                  <a:lnTo>
                    <a:pt x="133" y="41"/>
                  </a:lnTo>
                  <a:lnTo>
                    <a:pt x="131" y="39"/>
                  </a:lnTo>
                  <a:lnTo>
                    <a:pt x="131" y="37"/>
                  </a:lnTo>
                  <a:lnTo>
                    <a:pt x="129" y="37"/>
                  </a:lnTo>
                  <a:close/>
                  <a:moveTo>
                    <a:pt x="579" y="80"/>
                  </a:moveTo>
                  <a:lnTo>
                    <a:pt x="563" y="78"/>
                  </a:lnTo>
                  <a:lnTo>
                    <a:pt x="546" y="76"/>
                  </a:lnTo>
                  <a:lnTo>
                    <a:pt x="530" y="72"/>
                  </a:lnTo>
                  <a:lnTo>
                    <a:pt x="514" y="70"/>
                  </a:lnTo>
                  <a:lnTo>
                    <a:pt x="497" y="68"/>
                  </a:lnTo>
                  <a:lnTo>
                    <a:pt x="481" y="64"/>
                  </a:lnTo>
                  <a:lnTo>
                    <a:pt x="465" y="62"/>
                  </a:lnTo>
                  <a:lnTo>
                    <a:pt x="448" y="60"/>
                  </a:lnTo>
                  <a:lnTo>
                    <a:pt x="432" y="55"/>
                  </a:lnTo>
                  <a:lnTo>
                    <a:pt x="415" y="53"/>
                  </a:lnTo>
                  <a:lnTo>
                    <a:pt x="399" y="49"/>
                  </a:lnTo>
                  <a:lnTo>
                    <a:pt x="383" y="47"/>
                  </a:lnTo>
                  <a:lnTo>
                    <a:pt x="366" y="45"/>
                  </a:lnTo>
                  <a:lnTo>
                    <a:pt x="350" y="41"/>
                  </a:lnTo>
                  <a:lnTo>
                    <a:pt x="333" y="39"/>
                  </a:lnTo>
                  <a:lnTo>
                    <a:pt x="317" y="35"/>
                  </a:lnTo>
                  <a:lnTo>
                    <a:pt x="301" y="33"/>
                  </a:lnTo>
                  <a:lnTo>
                    <a:pt x="284" y="29"/>
                  </a:lnTo>
                  <a:lnTo>
                    <a:pt x="270" y="25"/>
                  </a:lnTo>
                  <a:lnTo>
                    <a:pt x="254" y="23"/>
                  </a:lnTo>
                  <a:lnTo>
                    <a:pt x="237" y="19"/>
                  </a:lnTo>
                  <a:lnTo>
                    <a:pt x="221" y="16"/>
                  </a:lnTo>
                  <a:lnTo>
                    <a:pt x="204" y="12"/>
                  </a:lnTo>
                  <a:lnTo>
                    <a:pt x="188" y="10"/>
                  </a:lnTo>
                  <a:lnTo>
                    <a:pt x="172" y="6"/>
                  </a:lnTo>
                  <a:lnTo>
                    <a:pt x="163" y="4"/>
                  </a:lnTo>
                  <a:lnTo>
                    <a:pt x="163" y="4"/>
                  </a:lnTo>
                  <a:lnTo>
                    <a:pt x="166" y="6"/>
                  </a:lnTo>
                  <a:lnTo>
                    <a:pt x="166" y="8"/>
                  </a:lnTo>
                  <a:lnTo>
                    <a:pt x="161" y="6"/>
                  </a:lnTo>
                  <a:lnTo>
                    <a:pt x="159" y="6"/>
                  </a:lnTo>
                  <a:lnTo>
                    <a:pt x="159" y="8"/>
                  </a:lnTo>
                  <a:lnTo>
                    <a:pt x="159" y="10"/>
                  </a:lnTo>
                  <a:lnTo>
                    <a:pt x="163" y="10"/>
                  </a:lnTo>
                  <a:lnTo>
                    <a:pt x="163" y="12"/>
                  </a:lnTo>
                  <a:lnTo>
                    <a:pt x="163" y="12"/>
                  </a:lnTo>
                  <a:lnTo>
                    <a:pt x="161" y="12"/>
                  </a:lnTo>
                  <a:lnTo>
                    <a:pt x="161" y="14"/>
                  </a:lnTo>
                  <a:lnTo>
                    <a:pt x="161" y="14"/>
                  </a:lnTo>
                  <a:lnTo>
                    <a:pt x="161" y="16"/>
                  </a:lnTo>
                  <a:lnTo>
                    <a:pt x="161" y="16"/>
                  </a:lnTo>
                  <a:lnTo>
                    <a:pt x="163" y="21"/>
                  </a:lnTo>
                  <a:lnTo>
                    <a:pt x="166" y="23"/>
                  </a:lnTo>
                  <a:lnTo>
                    <a:pt x="166" y="23"/>
                  </a:lnTo>
                  <a:lnTo>
                    <a:pt x="163" y="27"/>
                  </a:lnTo>
                  <a:lnTo>
                    <a:pt x="166" y="25"/>
                  </a:lnTo>
                  <a:lnTo>
                    <a:pt x="166" y="25"/>
                  </a:lnTo>
                  <a:lnTo>
                    <a:pt x="168" y="27"/>
                  </a:lnTo>
                  <a:lnTo>
                    <a:pt x="168" y="29"/>
                  </a:lnTo>
                  <a:lnTo>
                    <a:pt x="168" y="29"/>
                  </a:lnTo>
                  <a:lnTo>
                    <a:pt x="166" y="31"/>
                  </a:lnTo>
                  <a:lnTo>
                    <a:pt x="166" y="31"/>
                  </a:lnTo>
                  <a:lnTo>
                    <a:pt x="166" y="33"/>
                  </a:lnTo>
                  <a:lnTo>
                    <a:pt x="166" y="33"/>
                  </a:lnTo>
                  <a:lnTo>
                    <a:pt x="166" y="33"/>
                  </a:lnTo>
                  <a:lnTo>
                    <a:pt x="168" y="33"/>
                  </a:lnTo>
                  <a:lnTo>
                    <a:pt x="170" y="31"/>
                  </a:lnTo>
                  <a:lnTo>
                    <a:pt x="172" y="29"/>
                  </a:lnTo>
                  <a:lnTo>
                    <a:pt x="174" y="29"/>
                  </a:lnTo>
                  <a:lnTo>
                    <a:pt x="174" y="29"/>
                  </a:lnTo>
                  <a:lnTo>
                    <a:pt x="176" y="31"/>
                  </a:lnTo>
                  <a:lnTo>
                    <a:pt x="178" y="33"/>
                  </a:lnTo>
                  <a:lnTo>
                    <a:pt x="178" y="33"/>
                  </a:lnTo>
                  <a:lnTo>
                    <a:pt x="176" y="37"/>
                  </a:lnTo>
                  <a:lnTo>
                    <a:pt x="176" y="39"/>
                  </a:lnTo>
                  <a:lnTo>
                    <a:pt x="176" y="39"/>
                  </a:lnTo>
                  <a:lnTo>
                    <a:pt x="176" y="39"/>
                  </a:lnTo>
                  <a:lnTo>
                    <a:pt x="176" y="43"/>
                  </a:lnTo>
                  <a:lnTo>
                    <a:pt x="176" y="43"/>
                  </a:lnTo>
                  <a:lnTo>
                    <a:pt x="178" y="45"/>
                  </a:lnTo>
                  <a:lnTo>
                    <a:pt x="178" y="45"/>
                  </a:lnTo>
                  <a:lnTo>
                    <a:pt x="178" y="45"/>
                  </a:lnTo>
                  <a:lnTo>
                    <a:pt x="178" y="45"/>
                  </a:lnTo>
                  <a:lnTo>
                    <a:pt x="180" y="49"/>
                  </a:lnTo>
                  <a:lnTo>
                    <a:pt x="180" y="51"/>
                  </a:lnTo>
                  <a:lnTo>
                    <a:pt x="178" y="51"/>
                  </a:lnTo>
                  <a:lnTo>
                    <a:pt x="176" y="53"/>
                  </a:lnTo>
                  <a:lnTo>
                    <a:pt x="176" y="51"/>
                  </a:lnTo>
                  <a:lnTo>
                    <a:pt x="174" y="49"/>
                  </a:lnTo>
                  <a:lnTo>
                    <a:pt x="172" y="47"/>
                  </a:lnTo>
                  <a:lnTo>
                    <a:pt x="170" y="47"/>
                  </a:lnTo>
                  <a:lnTo>
                    <a:pt x="170" y="49"/>
                  </a:lnTo>
                  <a:lnTo>
                    <a:pt x="174" y="51"/>
                  </a:lnTo>
                  <a:lnTo>
                    <a:pt x="174" y="53"/>
                  </a:lnTo>
                  <a:lnTo>
                    <a:pt x="174" y="55"/>
                  </a:lnTo>
                  <a:lnTo>
                    <a:pt x="174" y="57"/>
                  </a:lnTo>
                  <a:lnTo>
                    <a:pt x="174" y="60"/>
                  </a:lnTo>
                  <a:lnTo>
                    <a:pt x="174" y="60"/>
                  </a:lnTo>
                  <a:lnTo>
                    <a:pt x="174" y="62"/>
                  </a:lnTo>
                  <a:lnTo>
                    <a:pt x="174" y="62"/>
                  </a:lnTo>
                  <a:lnTo>
                    <a:pt x="174" y="62"/>
                  </a:lnTo>
                  <a:lnTo>
                    <a:pt x="172" y="64"/>
                  </a:lnTo>
                  <a:lnTo>
                    <a:pt x="172" y="62"/>
                  </a:lnTo>
                  <a:lnTo>
                    <a:pt x="170" y="62"/>
                  </a:lnTo>
                  <a:lnTo>
                    <a:pt x="170" y="60"/>
                  </a:lnTo>
                  <a:lnTo>
                    <a:pt x="168" y="57"/>
                  </a:lnTo>
                  <a:lnTo>
                    <a:pt x="166" y="57"/>
                  </a:lnTo>
                  <a:lnTo>
                    <a:pt x="166" y="62"/>
                  </a:lnTo>
                  <a:lnTo>
                    <a:pt x="166" y="60"/>
                  </a:lnTo>
                  <a:lnTo>
                    <a:pt x="163" y="55"/>
                  </a:lnTo>
                  <a:lnTo>
                    <a:pt x="163" y="53"/>
                  </a:lnTo>
                  <a:lnTo>
                    <a:pt x="161" y="55"/>
                  </a:lnTo>
                  <a:lnTo>
                    <a:pt x="159" y="55"/>
                  </a:lnTo>
                  <a:lnTo>
                    <a:pt x="159" y="55"/>
                  </a:lnTo>
                  <a:lnTo>
                    <a:pt x="157" y="55"/>
                  </a:lnTo>
                  <a:lnTo>
                    <a:pt x="157" y="55"/>
                  </a:lnTo>
                  <a:lnTo>
                    <a:pt x="157" y="57"/>
                  </a:lnTo>
                  <a:lnTo>
                    <a:pt x="159" y="57"/>
                  </a:lnTo>
                  <a:lnTo>
                    <a:pt x="159" y="57"/>
                  </a:lnTo>
                  <a:lnTo>
                    <a:pt x="159" y="60"/>
                  </a:lnTo>
                  <a:lnTo>
                    <a:pt x="159" y="62"/>
                  </a:lnTo>
                  <a:lnTo>
                    <a:pt x="157" y="62"/>
                  </a:lnTo>
                  <a:lnTo>
                    <a:pt x="157" y="62"/>
                  </a:lnTo>
                  <a:lnTo>
                    <a:pt x="157" y="64"/>
                  </a:lnTo>
                  <a:lnTo>
                    <a:pt x="159" y="64"/>
                  </a:lnTo>
                  <a:lnTo>
                    <a:pt x="159" y="66"/>
                  </a:lnTo>
                  <a:lnTo>
                    <a:pt x="161" y="66"/>
                  </a:lnTo>
                  <a:lnTo>
                    <a:pt x="161" y="66"/>
                  </a:lnTo>
                  <a:lnTo>
                    <a:pt x="163" y="64"/>
                  </a:lnTo>
                  <a:lnTo>
                    <a:pt x="166" y="64"/>
                  </a:lnTo>
                  <a:lnTo>
                    <a:pt x="166" y="64"/>
                  </a:lnTo>
                  <a:lnTo>
                    <a:pt x="166" y="64"/>
                  </a:lnTo>
                  <a:lnTo>
                    <a:pt x="168" y="64"/>
                  </a:lnTo>
                  <a:lnTo>
                    <a:pt x="168" y="64"/>
                  </a:lnTo>
                  <a:lnTo>
                    <a:pt x="166" y="66"/>
                  </a:lnTo>
                  <a:lnTo>
                    <a:pt x="166" y="66"/>
                  </a:lnTo>
                  <a:lnTo>
                    <a:pt x="168" y="68"/>
                  </a:lnTo>
                  <a:lnTo>
                    <a:pt x="168" y="70"/>
                  </a:lnTo>
                  <a:lnTo>
                    <a:pt x="168" y="70"/>
                  </a:lnTo>
                  <a:lnTo>
                    <a:pt x="170" y="72"/>
                  </a:lnTo>
                  <a:lnTo>
                    <a:pt x="172" y="72"/>
                  </a:lnTo>
                  <a:lnTo>
                    <a:pt x="172" y="72"/>
                  </a:lnTo>
                  <a:lnTo>
                    <a:pt x="174" y="74"/>
                  </a:lnTo>
                  <a:lnTo>
                    <a:pt x="176" y="76"/>
                  </a:lnTo>
                  <a:lnTo>
                    <a:pt x="178" y="78"/>
                  </a:lnTo>
                  <a:lnTo>
                    <a:pt x="178" y="80"/>
                  </a:lnTo>
                  <a:lnTo>
                    <a:pt x="178" y="80"/>
                  </a:lnTo>
                  <a:lnTo>
                    <a:pt x="178" y="82"/>
                  </a:lnTo>
                  <a:lnTo>
                    <a:pt x="178" y="82"/>
                  </a:lnTo>
                  <a:lnTo>
                    <a:pt x="176" y="84"/>
                  </a:lnTo>
                  <a:lnTo>
                    <a:pt x="176" y="84"/>
                  </a:lnTo>
                  <a:lnTo>
                    <a:pt x="176" y="86"/>
                  </a:lnTo>
                  <a:lnTo>
                    <a:pt x="176" y="86"/>
                  </a:lnTo>
                  <a:lnTo>
                    <a:pt x="174" y="84"/>
                  </a:lnTo>
                  <a:lnTo>
                    <a:pt x="174" y="84"/>
                  </a:lnTo>
                  <a:lnTo>
                    <a:pt x="174" y="82"/>
                  </a:lnTo>
                  <a:lnTo>
                    <a:pt x="172" y="82"/>
                  </a:lnTo>
                  <a:lnTo>
                    <a:pt x="170" y="82"/>
                  </a:lnTo>
                  <a:lnTo>
                    <a:pt x="168" y="82"/>
                  </a:lnTo>
                  <a:lnTo>
                    <a:pt x="166" y="84"/>
                  </a:lnTo>
                  <a:lnTo>
                    <a:pt x="166" y="86"/>
                  </a:lnTo>
                  <a:lnTo>
                    <a:pt x="163" y="88"/>
                  </a:lnTo>
                  <a:lnTo>
                    <a:pt x="163" y="90"/>
                  </a:lnTo>
                  <a:lnTo>
                    <a:pt x="166" y="92"/>
                  </a:lnTo>
                  <a:lnTo>
                    <a:pt x="166" y="94"/>
                  </a:lnTo>
                  <a:lnTo>
                    <a:pt x="172" y="100"/>
                  </a:lnTo>
                  <a:lnTo>
                    <a:pt x="172" y="100"/>
                  </a:lnTo>
                  <a:lnTo>
                    <a:pt x="174" y="105"/>
                  </a:lnTo>
                  <a:lnTo>
                    <a:pt x="174" y="105"/>
                  </a:lnTo>
                  <a:lnTo>
                    <a:pt x="176" y="105"/>
                  </a:lnTo>
                  <a:lnTo>
                    <a:pt x="174" y="100"/>
                  </a:lnTo>
                  <a:lnTo>
                    <a:pt x="174" y="100"/>
                  </a:lnTo>
                  <a:lnTo>
                    <a:pt x="172" y="98"/>
                  </a:lnTo>
                  <a:lnTo>
                    <a:pt x="172" y="98"/>
                  </a:lnTo>
                  <a:lnTo>
                    <a:pt x="170" y="96"/>
                  </a:lnTo>
                  <a:lnTo>
                    <a:pt x="170" y="94"/>
                  </a:lnTo>
                  <a:lnTo>
                    <a:pt x="170" y="94"/>
                  </a:lnTo>
                  <a:lnTo>
                    <a:pt x="168" y="92"/>
                  </a:lnTo>
                  <a:lnTo>
                    <a:pt x="168" y="90"/>
                  </a:lnTo>
                  <a:lnTo>
                    <a:pt x="170" y="88"/>
                  </a:lnTo>
                  <a:lnTo>
                    <a:pt x="172" y="88"/>
                  </a:lnTo>
                  <a:lnTo>
                    <a:pt x="172" y="86"/>
                  </a:lnTo>
                  <a:lnTo>
                    <a:pt x="172" y="86"/>
                  </a:lnTo>
                  <a:lnTo>
                    <a:pt x="172" y="86"/>
                  </a:lnTo>
                  <a:lnTo>
                    <a:pt x="174" y="86"/>
                  </a:lnTo>
                  <a:lnTo>
                    <a:pt x="174" y="86"/>
                  </a:lnTo>
                  <a:lnTo>
                    <a:pt x="174" y="86"/>
                  </a:lnTo>
                  <a:lnTo>
                    <a:pt x="176" y="88"/>
                  </a:lnTo>
                  <a:lnTo>
                    <a:pt x="176" y="90"/>
                  </a:lnTo>
                  <a:lnTo>
                    <a:pt x="176" y="94"/>
                  </a:lnTo>
                  <a:lnTo>
                    <a:pt x="176" y="98"/>
                  </a:lnTo>
                  <a:lnTo>
                    <a:pt x="176" y="100"/>
                  </a:lnTo>
                  <a:lnTo>
                    <a:pt x="178" y="105"/>
                  </a:lnTo>
                  <a:lnTo>
                    <a:pt x="182" y="109"/>
                  </a:lnTo>
                  <a:lnTo>
                    <a:pt x="184" y="109"/>
                  </a:lnTo>
                  <a:lnTo>
                    <a:pt x="186" y="109"/>
                  </a:lnTo>
                  <a:lnTo>
                    <a:pt x="186" y="109"/>
                  </a:lnTo>
                  <a:lnTo>
                    <a:pt x="186" y="109"/>
                  </a:lnTo>
                  <a:lnTo>
                    <a:pt x="186" y="111"/>
                  </a:lnTo>
                  <a:lnTo>
                    <a:pt x="186" y="111"/>
                  </a:lnTo>
                  <a:lnTo>
                    <a:pt x="186" y="111"/>
                  </a:lnTo>
                  <a:lnTo>
                    <a:pt x="184" y="111"/>
                  </a:lnTo>
                  <a:lnTo>
                    <a:pt x="184" y="113"/>
                  </a:lnTo>
                  <a:lnTo>
                    <a:pt x="184" y="113"/>
                  </a:lnTo>
                  <a:lnTo>
                    <a:pt x="182" y="115"/>
                  </a:lnTo>
                  <a:lnTo>
                    <a:pt x="182" y="115"/>
                  </a:lnTo>
                  <a:lnTo>
                    <a:pt x="178" y="115"/>
                  </a:lnTo>
                  <a:lnTo>
                    <a:pt x="178" y="115"/>
                  </a:lnTo>
                  <a:lnTo>
                    <a:pt x="178" y="115"/>
                  </a:lnTo>
                  <a:lnTo>
                    <a:pt x="176" y="117"/>
                  </a:lnTo>
                  <a:lnTo>
                    <a:pt x="176" y="117"/>
                  </a:lnTo>
                  <a:lnTo>
                    <a:pt x="174" y="117"/>
                  </a:lnTo>
                  <a:lnTo>
                    <a:pt x="174" y="119"/>
                  </a:lnTo>
                  <a:lnTo>
                    <a:pt x="174" y="119"/>
                  </a:lnTo>
                  <a:lnTo>
                    <a:pt x="172" y="121"/>
                  </a:lnTo>
                  <a:lnTo>
                    <a:pt x="172" y="123"/>
                  </a:lnTo>
                  <a:lnTo>
                    <a:pt x="170" y="125"/>
                  </a:lnTo>
                  <a:lnTo>
                    <a:pt x="168" y="125"/>
                  </a:lnTo>
                  <a:lnTo>
                    <a:pt x="168" y="127"/>
                  </a:lnTo>
                  <a:lnTo>
                    <a:pt x="166" y="129"/>
                  </a:lnTo>
                  <a:lnTo>
                    <a:pt x="166" y="129"/>
                  </a:lnTo>
                  <a:lnTo>
                    <a:pt x="166" y="131"/>
                  </a:lnTo>
                  <a:lnTo>
                    <a:pt x="166" y="133"/>
                  </a:lnTo>
                  <a:lnTo>
                    <a:pt x="166" y="135"/>
                  </a:lnTo>
                  <a:lnTo>
                    <a:pt x="166" y="135"/>
                  </a:lnTo>
                  <a:lnTo>
                    <a:pt x="166" y="137"/>
                  </a:lnTo>
                  <a:lnTo>
                    <a:pt x="166" y="139"/>
                  </a:lnTo>
                  <a:lnTo>
                    <a:pt x="163" y="141"/>
                  </a:lnTo>
                  <a:lnTo>
                    <a:pt x="163" y="141"/>
                  </a:lnTo>
                  <a:lnTo>
                    <a:pt x="163" y="141"/>
                  </a:lnTo>
                  <a:lnTo>
                    <a:pt x="161" y="144"/>
                  </a:lnTo>
                  <a:lnTo>
                    <a:pt x="161" y="144"/>
                  </a:lnTo>
                  <a:lnTo>
                    <a:pt x="161" y="144"/>
                  </a:lnTo>
                  <a:lnTo>
                    <a:pt x="161" y="144"/>
                  </a:lnTo>
                  <a:lnTo>
                    <a:pt x="161" y="146"/>
                  </a:lnTo>
                  <a:lnTo>
                    <a:pt x="161" y="146"/>
                  </a:lnTo>
                  <a:lnTo>
                    <a:pt x="166" y="148"/>
                  </a:lnTo>
                  <a:lnTo>
                    <a:pt x="166" y="150"/>
                  </a:lnTo>
                  <a:lnTo>
                    <a:pt x="166" y="152"/>
                  </a:lnTo>
                  <a:lnTo>
                    <a:pt x="166" y="152"/>
                  </a:lnTo>
                  <a:lnTo>
                    <a:pt x="166" y="154"/>
                  </a:lnTo>
                  <a:lnTo>
                    <a:pt x="163" y="154"/>
                  </a:lnTo>
                  <a:lnTo>
                    <a:pt x="163" y="152"/>
                  </a:lnTo>
                  <a:lnTo>
                    <a:pt x="163" y="150"/>
                  </a:lnTo>
                  <a:lnTo>
                    <a:pt x="161" y="150"/>
                  </a:lnTo>
                  <a:lnTo>
                    <a:pt x="161" y="152"/>
                  </a:lnTo>
                  <a:lnTo>
                    <a:pt x="161" y="152"/>
                  </a:lnTo>
                  <a:lnTo>
                    <a:pt x="161" y="154"/>
                  </a:lnTo>
                  <a:lnTo>
                    <a:pt x="161" y="158"/>
                  </a:lnTo>
                  <a:lnTo>
                    <a:pt x="161" y="160"/>
                  </a:lnTo>
                  <a:lnTo>
                    <a:pt x="161" y="160"/>
                  </a:lnTo>
                  <a:lnTo>
                    <a:pt x="161" y="162"/>
                  </a:lnTo>
                  <a:lnTo>
                    <a:pt x="161" y="166"/>
                  </a:lnTo>
                  <a:lnTo>
                    <a:pt x="161" y="168"/>
                  </a:lnTo>
                  <a:lnTo>
                    <a:pt x="163" y="170"/>
                  </a:lnTo>
                  <a:lnTo>
                    <a:pt x="163" y="172"/>
                  </a:lnTo>
                  <a:lnTo>
                    <a:pt x="163" y="174"/>
                  </a:lnTo>
                  <a:lnTo>
                    <a:pt x="161" y="176"/>
                  </a:lnTo>
                  <a:lnTo>
                    <a:pt x="161" y="176"/>
                  </a:lnTo>
                  <a:lnTo>
                    <a:pt x="159" y="176"/>
                  </a:lnTo>
                  <a:lnTo>
                    <a:pt x="157" y="176"/>
                  </a:lnTo>
                  <a:lnTo>
                    <a:pt x="155" y="178"/>
                  </a:lnTo>
                  <a:lnTo>
                    <a:pt x="153" y="178"/>
                  </a:lnTo>
                  <a:lnTo>
                    <a:pt x="153" y="178"/>
                  </a:lnTo>
                  <a:lnTo>
                    <a:pt x="153" y="180"/>
                  </a:lnTo>
                  <a:lnTo>
                    <a:pt x="153" y="180"/>
                  </a:lnTo>
                  <a:lnTo>
                    <a:pt x="155" y="182"/>
                  </a:lnTo>
                  <a:lnTo>
                    <a:pt x="153" y="182"/>
                  </a:lnTo>
                  <a:lnTo>
                    <a:pt x="153" y="182"/>
                  </a:lnTo>
                  <a:lnTo>
                    <a:pt x="151" y="182"/>
                  </a:lnTo>
                  <a:lnTo>
                    <a:pt x="149" y="180"/>
                  </a:lnTo>
                  <a:lnTo>
                    <a:pt x="147" y="178"/>
                  </a:lnTo>
                  <a:lnTo>
                    <a:pt x="145" y="176"/>
                  </a:lnTo>
                  <a:lnTo>
                    <a:pt x="145" y="180"/>
                  </a:lnTo>
                  <a:lnTo>
                    <a:pt x="143" y="185"/>
                  </a:lnTo>
                  <a:lnTo>
                    <a:pt x="141" y="187"/>
                  </a:lnTo>
                  <a:lnTo>
                    <a:pt x="133" y="193"/>
                  </a:lnTo>
                  <a:lnTo>
                    <a:pt x="131" y="195"/>
                  </a:lnTo>
                  <a:lnTo>
                    <a:pt x="127" y="197"/>
                  </a:lnTo>
                  <a:lnTo>
                    <a:pt x="127" y="195"/>
                  </a:lnTo>
                  <a:lnTo>
                    <a:pt x="127" y="195"/>
                  </a:lnTo>
                  <a:lnTo>
                    <a:pt x="125" y="193"/>
                  </a:lnTo>
                  <a:lnTo>
                    <a:pt x="125" y="193"/>
                  </a:lnTo>
                  <a:lnTo>
                    <a:pt x="123" y="191"/>
                  </a:lnTo>
                  <a:lnTo>
                    <a:pt x="123" y="189"/>
                  </a:lnTo>
                  <a:lnTo>
                    <a:pt x="123" y="189"/>
                  </a:lnTo>
                  <a:lnTo>
                    <a:pt x="120" y="187"/>
                  </a:lnTo>
                  <a:lnTo>
                    <a:pt x="120" y="189"/>
                  </a:lnTo>
                  <a:lnTo>
                    <a:pt x="120" y="189"/>
                  </a:lnTo>
                  <a:lnTo>
                    <a:pt x="120" y="189"/>
                  </a:lnTo>
                  <a:lnTo>
                    <a:pt x="120" y="191"/>
                  </a:lnTo>
                  <a:lnTo>
                    <a:pt x="118" y="191"/>
                  </a:lnTo>
                  <a:lnTo>
                    <a:pt x="116" y="191"/>
                  </a:lnTo>
                  <a:lnTo>
                    <a:pt x="118" y="189"/>
                  </a:lnTo>
                  <a:lnTo>
                    <a:pt x="118" y="189"/>
                  </a:lnTo>
                  <a:lnTo>
                    <a:pt x="118" y="189"/>
                  </a:lnTo>
                  <a:lnTo>
                    <a:pt x="118" y="187"/>
                  </a:lnTo>
                  <a:lnTo>
                    <a:pt x="114" y="189"/>
                  </a:lnTo>
                  <a:lnTo>
                    <a:pt x="114" y="189"/>
                  </a:lnTo>
                  <a:lnTo>
                    <a:pt x="114" y="191"/>
                  </a:lnTo>
                  <a:lnTo>
                    <a:pt x="114" y="193"/>
                  </a:lnTo>
                  <a:lnTo>
                    <a:pt x="114" y="193"/>
                  </a:lnTo>
                  <a:lnTo>
                    <a:pt x="112" y="195"/>
                  </a:lnTo>
                  <a:lnTo>
                    <a:pt x="112" y="195"/>
                  </a:lnTo>
                  <a:lnTo>
                    <a:pt x="112" y="197"/>
                  </a:lnTo>
                  <a:lnTo>
                    <a:pt x="112" y="199"/>
                  </a:lnTo>
                  <a:lnTo>
                    <a:pt x="112" y="197"/>
                  </a:lnTo>
                  <a:lnTo>
                    <a:pt x="112" y="197"/>
                  </a:lnTo>
                  <a:lnTo>
                    <a:pt x="110" y="195"/>
                  </a:lnTo>
                  <a:lnTo>
                    <a:pt x="110" y="193"/>
                  </a:lnTo>
                  <a:lnTo>
                    <a:pt x="112" y="193"/>
                  </a:lnTo>
                  <a:lnTo>
                    <a:pt x="112" y="191"/>
                  </a:lnTo>
                  <a:lnTo>
                    <a:pt x="112" y="191"/>
                  </a:lnTo>
                  <a:lnTo>
                    <a:pt x="112" y="189"/>
                  </a:lnTo>
                  <a:lnTo>
                    <a:pt x="110" y="191"/>
                  </a:lnTo>
                  <a:lnTo>
                    <a:pt x="108" y="193"/>
                  </a:lnTo>
                  <a:lnTo>
                    <a:pt x="106" y="193"/>
                  </a:lnTo>
                  <a:lnTo>
                    <a:pt x="104" y="193"/>
                  </a:lnTo>
                  <a:lnTo>
                    <a:pt x="106" y="193"/>
                  </a:lnTo>
                  <a:lnTo>
                    <a:pt x="108" y="191"/>
                  </a:lnTo>
                  <a:lnTo>
                    <a:pt x="112" y="187"/>
                  </a:lnTo>
                  <a:lnTo>
                    <a:pt x="112" y="185"/>
                  </a:lnTo>
                  <a:lnTo>
                    <a:pt x="112" y="185"/>
                  </a:lnTo>
                  <a:lnTo>
                    <a:pt x="110" y="187"/>
                  </a:lnTo>
                  <a:lnTo>
                    <a:pt x="110" y="187"/>
                  </a:lnTo>
                  <a:lnTo>
                    <a:pt x="108" y="187"/>
                  </a:lnTo>
                  <a:lnTo>
                    <a:pt x="102" y="191"/>
                  </a:lnTo>
                  <a:lnTo>
                    <a:pt x="100" y="191"/>
                  </a:lnTo>
                  <a:lnTo>
                    <a:pt x="102" y="189"/>
                  </a:lnTo>
                  <a:lnTo>
                    <a:pt x="102" y="189"/>
                  </a:lnTo>
                  <a:lnTo>
                    <a:pt x="104" y="189"/>
                  </a:lnTo>
                  <a:lnTo>
                    <a:pt x="106" y="189"/>
                  </a:lnTo>
                  <a:lnTo>
                    <a:pt x="106" y="187"/>
                  </a:lnTo>
                  <a:lnTo>
                    <a:pt x="104" y="187"/>
                  </a:lnTo>
                  <a:lnTo>
                    <a:pt x="102" y="187"/>
                  </a:lnTo>
                  <a:lnTo>
                    <a:pt x="100" y="187"/>
                  </a:lnTo>
                  <a:lnTo>
                    <a:pt x="102" y="185"/>
                  </a:lnTo>
                  <a:lnTo>
                    <a:pt x="104" y="185"/>
                  </a:lnTo>
                  <a:lnTo>
                    <a:pt x="108" y="185"/>
                  </a:lnTo>
                  <a:lnTo>
                    <a:pt x="110" y="182"/>
                  </a:lnTo>
                  <a:lnTo>
                    <a:pt x="112" y="180"/>
                  </a:lnTo>
                  <a:lnTo>
                    <a:pt x="116" y="174"/>
                  </a:lnTo>
                  <a:lnTo>
                    <a:pt x="116" y="174"/>
                  </a:lnTo>
                  <a:lnTo>
                    <a:pt x="118" y="174"/>
                  </a:lnTo>
                  <a:lnTo>
                    <a:pt x="118" y="174"/>
                  </a:lnTo>
                  <a:lnTo>
                    <a:pt x="120" y="172"/>
                  </a:lnTo>
                  <a:lnTo>
                    <a:pt x="123" y="172"/>
                  </a:lnTo>
                  <a:lnTo>
                    <a:pt x="123" y="170"/>
                  </a:lnTo>
                  <a:lnTo>
                    <a:pt x="127" y="166"/>
                  </a:lnTo>
                  <a:lnTo>
                    <a:pt x="127" y="164"/>
                  </a:lnTo>
                  <a:lnTo>
                    <a:pt x="127" y="166"/>
                  </a:lnTo>
                  <a:lnTo>
                    <a:pt x="127" y="166"/>
                  </a:lnTo>
                  <a:lnTo>
                    <a:pt x="127" y="166"/>
                  </a:lnTo>
                  <a:lnTo>
                    <a:pt x="127" y="168"/>
                  </a:lnTo>
                  <a:lnTo>
                    <a:pt x="127" y="168"/>
                  </a:lnTo>
                  <a:lnTo>
                    <a:pt x="127" y="170"/>
                  </a:lnTo>
                  <a:lnTo>
                    <a:pt x="127" y="172"/>
                  </a:lnTo>
                  <a:lnTo>
                    <a:pt x="127" y="174"/>
                  </a:lnTo>
                  <a:lnTo>
                    <a:pt x="125" y="176"/>
                  </a:lnTo>
                  <a:lnTo>
                    <a:pt x="125" y="176"/>
                  </a:lnTo>
                  <a:lnTo>
                    <a:pt x="123" y="178"/>
                  </a:lnTo>
                  <a:lnTo>
                    <a:pt x="123" y="185"/>
                  </a:lnTo>
                  <a:lnTo>
                    <a:pt x="125" y="187"/>
                  </a:lnTo>
                  <a:lnTo>
                    <a:pt x="127" y="187"/>
                  </a:lnTo>
                  <a:lnTo>
                    <a:pt x="127" y="185"/>
                  </a:lnTo>
                  <a:lnTo>
                    <a:pt x="127" y="185"/>
                  </a:lnTo>
                  <a:lnTo>
                    <a:pt x="127" y="185"/>
                  </a:lnTo>
                  <a:lnTo>
                    <a:pt x="127" y="182"/>
                  </a:lnTo>
                  <a:lnTo>
                    <a:pt x="129" y="182"/>
                  </a:lnTo>
                  <a:lnTo>
                    <a:pt x="129" y="182"/>
                  </a:lnTo>
                  <a:lnTo>
                    <a:pt x="129" y="182"/>
                  </a:lnTo>
                  <a:lnTo>
                    <a:pt x="129" y="182"/>
                  </a:lnTo>
                  <a:lnTo>
                    <a:pt x="129" y="182"/>
                  </a:lnTo>
                  <a:lnTo>
                    <a:pt x="129" y="182"/>
                  </a:lnTo>
                  <a:lnTo>
                    <a:pt x="131" y="180"/>
                  </a:lnTo>
                  <a:lnTo>
                    <a:pt x="129" y="178"/>
                  </a:lnTo>
                  <a:lnTo>
                    <a:pt x="129" y="176"/>
                  </a:lnTo>
                  <a:lnTo>
                    <a:pt x="129" y="174"/>
                  </a:lnTo>
                  <a:lnTo>
                    <a:pt x="131" y="174"/>
                  </a:lnTo>
                  <a:lnTo>
                    <a:pt x="131" y="172"/>
                  </a:lnTo>
                  <a:lnTo>
                    <a:pt x="131" y="172"/>
                  </a:lnTo>
                  <a:lnTo>
                    <a:pt x="133" y="170"/>
                  </a:lnTo>
                  <a:lnTo>
                    <a:pt x="133" y="170"/>
                  </a:lnTo>
                  <a:lnTo>
                    <a:pt x="133" y="170"/>
                  </a:lnTo>
                  <a:lnTo>
                    <a:pt x="133" y="170"/>
                  </a:lnTo>
                  <a:lnTo>
                    <a:pt x="135" y="170"/>
                  </a:lnTo>
                  <a:lnTo>
                    <a:pt x="135" y="168"/>
                  </a:lnTo>
                  <a:lnTo>
                    <a:pt x="139" y="168"/>
                  </a:lnTo>
                  <a:lnTo>
                    <a:pt x="139" y="168"/>
                  </a:lnTo>
                  <a:lnTo>
                    <a:pt x="141" y="166"/>
                  </a:lnTo>
                  <a:lnTo>
                    <a:pt x="141" y="168"/>
                  </a:lnTo>
                  <a:lnTo>
                    <a:pt x="139" y="170"/>
                  </a:lnTo>
                  <a:lnTo>
                    <a:pt x="137" y="170"/>
                  </a:lnTo>
                  <a:lnTo>
                    <a:pt x="137" y="172"/>
                  </a:lnTo>
                  <a:lnTo>
                    <a:pt x="135" y="174"/>
                  </a:lnTo>
                  <a:lnTo>
                    <a:pt x="135" y="174"/>
                  </a:lnTo>
                  <a:lnTo>
                    <a:pt x="135" y="176"/>
                  </a:lnTo>
                  <a:lnTo>
                    <a:pt x="135" y="176"/>
                  </a:lnTo>
                  <a:lnTo>
                    <a:pt x="141" y="180"/>
                  </a:lnTo>
                  <a:lnTo>
                    <a:pt x="143" y="180"/>
                  </a:lnTo>
                  <a:lnTo>
                    <a:pt x="143" y="178"/>
                  </a:lnTo>
                  <a:lnTo>
                    <a:pt x="143" y="178"/>
                  </a:lnTo>
                  <a:lnTo>
                    <a:pt x="143" y="174"/>
                  </a:lnTo>
                  <a:lnTo>
                    <a:pt x="143" y="174"/>
                  </a:lnTo>
                  <a:lnTo>
                    <a:pt x="145" y="172"/>
                  </a:lnTo>
                  <a:lnTo>
                    <a:pt x="145" y="172"/>
                  </a:lnTo>
                  <a:lnTo>
                    <a:pt x="147" y="170"/>
                  </a:lnTo>
                  <a:lnTo>
                    <a:pt x="145" y="168"/>
                  </a:lnTo>
                  <a:lnTo>
                    <a:pt x="147" y="166"/>
                  </a:lnTo>
                  <a:lnTo>
                    <a:pt x="147" y="164"/>
                  </a:lnTo>
                  <a:lnTo>
                    <a:pt x="149" y="162"/>
                  </a:lnTo>
                  <a:lnTo>
                    <a:pt x="149" y="160"/>
                  </a:lnTo>
                  <a:lnTo>
                    <a:pt x="151" y="158"/>
                  </a:lnTo>
                  <a:lnTo>
                    <a:pt x="151" y="156"/>
                  </a:lnTo>
                  <a:lnTo>
                    <a:pt x="151" y="156"/>
                  </a:lnTo>
                  <a:lnTo>
                    <a:pt x="149" y="154"/>
                  </a:lnTo>
                  <a:lnTo>
                    <a:pt x="151" y="152"/>
                  </a:lnTo>
                  <a:lnTo>
                    <a:pt x="149" y="150"/>
                  </a:lnTo>
                  <a:lnTo>
                    <a:pt x="147" y="150"/>
                  </a:lnTo>
                  <a:lnTo>
                    <a:pt x="145" y="152"/>
                  </a:lnTo>
                  <a:lnTo>
                    <a:pt x="143" y="152"/>
                  </a:lnTo>
                  <a:lnTo>
                    <a:pt x="139" y="152"/>
                  </a:lnTo>
                  <a:lnTo>
                    <a:pt x="139" y="152"/>
                  </a:lnTo>
                  <a:lnTo>
                    <a:pt x="141" y="152"/>
                  </a:lnTo>
                  <a:lnTo>
                    <a:pt x="143" y="150"/>
                  </a:lnTo>
                  <a:lnTo>
                    <a:pt x="143" y="148"/>
                  </a:lnTo>
                  <a:lnTo>
                    <a:pt x="143" y="148"/>
                  </a:lnTo>
                  <a:lnTo>
                    <a:pt x="143" y="148"/>
                  </a:lnTo>
                  <a:lnTo>
                    <a:pt x="141" y="146"/>
                  </a:lnTo>
                  <a:lnTo>
                    <a:pt x="139" y="146"/>
                  </a:lnTo>
                  <a:lnTo>
                    <a:pt x="139" y="144"/>
                  </a:lnTo>
                  <a:lnTo>
                    <a:pt x="139" y="144"/>
                  </a:lnTo>
                  <a:lnTo>
                    <a:pt x="141" y="141"/>
                  </a:lnTo>
                  <a:lnTo>
                    <a:pt x="141" y="141"/>
                  </a:lnTo>
                  <a:lnTo>
                    <a:pt x="141" y="139"/>
                  </a:lnTo>
                  <a:lnTo>
                    <a:pt x="143" y="146"/>
                  </a:lnTo>
                  <a:lnTo>
                    <a:pt x="145" y="150"/>
                  </a:lnTo>
                  <a:lnTo>
                    <a:pt x="147" y="148"/>
                  </a:lnTo>
                  <a:lnTo>
                    <a:pt x="147" y="148"/>
                  </a:lnTo>
                  <a:lnTo>
                    <a:pt x="147" y="148"/>
                  </a:lnTo>
                  <a:lnTo>
                    <a:pt x="147" y="137"/>
                  </a:lnTo>
                  <a:lnTo>
                    <a:pt x="147" y="135"/>
                  </a:lnTo>
                  <a:lnTo>
                    <a:pt x="145" y="135"/>
                  </a:lnTo>
                  <a:lnTo>
                    <a:pt x="145" y="135"/>
                  </a:lnTo>
                  <a:lnTo>
                    <a:pt x="145" y="133"/>
                  </a:lnTo>
                  <a:lnTo>
                    <a:pt x="145" y="133"/>
                  </a:lnTo>
                  <a:lnTo>
                    <a:pt x="145" y="133"/>
                  </a:lnTo>
                  <a:lnTo>
                    <a:pt x="149" y="137"/>
                  </a:lnTo>
                  <a:lnTo>
                    <a:pt x="151" y="137"/>
                  </a:lnTo>
                  <a:lnTo>
                    <a:pt x="151" y="135"/>
                  </a:lnTo>
                  <a:lnTo>
                    <a:pt x="153" y="135"/>
                  </a:lnTo>
                  <a:lnTo>
                    <a:pt x="153" y="133"/>
                  </a:lnTo>
                  <a:lnTo>
                    <a:pt x="153" y="133"/>
                  </a:lnTo>
                  <a:lnTo>
                    <a:pt x="157" y="135"/>
                  </a:lnTo>
                  <a:lnTo>
                    <a:pt x="157" y="135"/>
                  </a:lnTo>
                  <a:lnTo>
                    <a:pt x="159" y="133"/>
                  </a:lnTo>
                  <a:lnTo>
                    <a:pt x="159" y="133"/>
                  </a:lnTo>
                  <a:lnTo>
                    <a:pt x="159" y="133"/>
                  </a:lnTo>
                  <a:lnTo>
                    <a:pt x="159" y="131"/>
                  </a:lnTo>
                  <a:lnTo>
                    <a:pt x="159" y="131"/>
                  </a:lnTo>
                  <a:lnTo>
                    <a:pt x="159" y="129"/>
                  </a:lnTo>
                  <a:lnTo>
                    <a:pt x="159" y="129"/>
                  </a:lnTo>
                  <a:lnTo>
                    <a:pt x="157" y="129"/>
                  </a:lnTo>
                  <a:lnTo>
                    <a:pt x="159" y="127"/>
                  </a:lnTo>
                  <a:lnTo>
                    <a:pt x="159" y="127"/>
                  </a:lnTo>
                  <a:lnTo>
                    <a:pt x="159" y="125"/>
                  </a:lnTo>
                  <a:lnTo>
                    <a:pt x="157" y="125"/>
                  </a:lnTo>
                  <a:lnTo>
                    <a:pt x="159" y="121"/>
                  </a:lnTo>
                  <a:lnTo>
                    <a:pt x="159" y="119"/>
                  </a:lnTo>
                  <a:lnTo>
                    <a:pt x="159" y="117"/>
                  </a:lnTo>
                  <a:lnTo>
                    <a:pt x="157" y="115"/>
                  </a:lnTo>
                  <a:lnTo>
                    <a:pt x="153" y="111"/>
                  </a:lnTo>
                  <a:lnTo>
                    <a:pt x="153" y="113"/>
                  </a:lnTo>
                  <a:lnTo>
                    <a:pt x="153" y="115"/>
                  </a:lnTo>
                  <a:lnTo>
                    <a:pt x="153" y="117"/>
                  </a:lnTo>
                  <a:lnTo>
                    <a:pt x="153" y="121"/>
                  </a:lnTo>
                  <a:lnTo>
                    <a:pt x="153" y="123"/>
                  </a:lnTo>
                  <a:lnTo>
                    <a:pt x="153" y="125"/>
                  </a:lnTo>
                  <a:lnTo>
                    <a:pt x="151" y="125"/>
                  </a:lnTo>
                  <a:lnTo>
                    <a:pt x="151" y="123"/>
                  </a:lnTo>
                  <a:lnTo>
                    <a:pt x="151" y="123"/>
                  </a:lnTo>
                  <a:lnTo>
                    <a:pt x="151" y="121"/>
                  </a:lnTo>
                  <a:lnTo>
                    <a:pt x="151" y="121"/>
                  </a:lnTo>
                  <a:lnTo>
                    <a:pt x="149" y="121"/>
                  </a:lnTo>
                  <a:lnTo>
                    <a:pt x="149" y="123"/>
                  </a:lnTo>
                  <a:lnTo>
                    <a:pt x="139" y="131"/>
                  </a:lnTo>
                  <a:lnTo>
                    <a:pt x="139" y="131"/>
                  </a:lnTo>
                  <a:lnTo>
                    <a:pt x="137" y="135"/>
                  </a:lnTo>
                  <a:lnTo>
                    <a:pt x="137" y="137"/>
                  </a:lnTo>
                  <a:lnTo>
                    <a:pt x="135" y="137"/>
                  </a:lnTo>
                  <a:lnTo>
                    <a:pt x="133" y="137"/>
                  </a:lnTo>
                  <a:lnTo>
                    <a:pt x="127" y="139"/>
                  </a:lnTo>
                  <a:lnTo>
                    <a:pt x="123" y="141"/>
                  </a:lnTo>
                  <a:lnTo>
                    <a:pt x="120" y="141"/>
                  </a:lnTo>
                  <a:lnTo>
                    <a:pt x="114" y="148"/>
                  </a:lnTo>
                  <a:lnTo>
                    <a:pt x="108" y="154"/>
                  </a:lnTo>
                  <a:lnTo>
                    <a:pt x="108" y="156"/>
                  </a:lnTo>
                  <a:lnTo>
                    <a:pt x="106" y="158"/>
                  </a:lnTo>
                  <a:lnTo>
                    <a:pt x="104" y="158"/>
                  </a:lnTo>
                  <a:lnTo>
                    <a:pt x="104" y="160"/>
                  </a:lnTo>
                  <a:lnTo>
                    <a:pt x="104" y="162"/>
                  </a:lnTo>
                  <a:lnTo>
                    <a:pt x="108" y="164"/>
                  </a:lnTo>
                  <a:lnTo>
                    <a:pt x="114" y="162"/>
                  </a:lnTo>
                  <a:lnTo>
                    <a:pt x="120" y="160"/>
                  </a:lnTo>
                  <a:lnTo>
                    <a:pt x="123" y="160"/>
                  </a:lnTo>
                  <a:lnTo>
                    <a:pt x="125" y="160"/>
                  </a:lnTo>
                  <a:lnTo>
                    <a:pt x="123" y="162"/>
                  </a:lnTo>
                  <a:lnTo>
                    <a:pt x="120" y="162"/>
                  </a:lnTo>
                  <a:lnTo>
                    <a:pt x="106" y="164"/>
                  </a:lnTo>
                  <a:lnTo>
                    <a:pt x="102" y="164"/>
                  </a:lnTo>
                  <a:lnTo>
                    <a:pt x="100" y="162"/>
                  </a:lnTo>
                  <a:lnTo>
                    <a:pt x="100" y="160"/>
                  </a:lnTo>
                  <a:lnTo>
                    <a:pt x="102" y="158"/>
                  </a:lnTo>
                  <a:lnTo>
                    <a:pt x="104" y="154"/>
                  </a:lnTo>
                  <a:lnTo>
                    <a:pt x="106" y="152"/>
                  </a:lnTo>
                  <a:lnTo>
                    <a:pt x="108" y="152"/>
                  </a:lnTo>
                  <a:lnTo>
                    <a:pt x="110" y="150"/>
                  </a:lnTo>
                  <a:lnTo>
                    <a:pt x="112" y="146"/>
                  </a:lnTo>
                  <a:lnTo>
                    <a:pt x="114" y="144"/>
                  </a:lnTo>
                  <a:lnTo>
                    <a:pt x="123" y="137"/>
                  </a:lnTo>
                  <a:lnTo>
                    <a:pt x="123" y="137"/>
                  </a:lnTo>
                  <a:lnTo>
                    <a:pt x="125" y="137"/>
                  </a:lnTo>
                  <a:lnTo>
                    <a:pt x="125" y="137"/>
                  </a:lnTo>
                  <a:lnTo>
                    <a:pt x="125" y="135"/>
                  </a:lnTo>
                  <a:lnTo>
                    <a:pt x="127" y="133"/>
                  </a:lnTo>
                  <a:lnTo>
                    <a:pt x="129" y="131"/>
                  </a:lnTo>
                  <a:lnTo>
                    <a:pt x="131" y="129"/>
                  </a:lnTo>
                  <a:lnTo>
                    <a:pt x="133" y="129"/>
                  </a:lnTo>
                  <a:lnTo>
                    <a:pt x="131" y="125"/>
                  </a:lnTo>
                  <a:lnTo>
                    <a:pt x="131" y="123"/>
                  </a:lnTo>
                  <a:lnTo>
                    <a:pt x="131" y="121"/>
                  </a:lnTo>
                  <a:lnTo>
                    <a:pt x="133" y="119"/>
                  </a:lnTo>
                  <a:lnTo>
                    <a:pt x="133" y="121"/>
                  </a:lnTo>
                  <a:lnTo>
                    <a:pt x="133" y="123"/>
                  </a:lnTo>
                  <a:lnTo>
                    <a:pt x="133" y="125"/>
                  </a:lnTo>
                  <a:lnTo>
                    <a:pt x="135" y="123"/>
                  </a:lnTo>
                  <a:lnTo>
                    <a:pt x="135" y="123"/>
                  </a:lnTo>
                  <a:lnTo>
                    <a:pt x="135" y="121"/>
                  </a:lnTo>
                  <a:lnTo>
                    <a:pt x="137" y="119"/>
                  </a:lnTo>
                  <a:lnTo>
                    <a:pt x="137" y="123"/>
                  </a:lnTo>
                  <a:lnTo>
                    <a:pt x="135" y="125"/>
                  </a:lnTo>
                  <a:lnTo>
                    <a:pt x="133" y="131"/>
                  </a:lnTo>
                  <a:lnTo>
                    <a:pt x="131" y="133"/>
                  </a:lnTo>
                  <a:lnTo>
                    <a:pt x="131" y="135"/>
                  </a:lnTo>
                  <a:lnTo>
                    <a:pt x="133" y="135"/>
                  </a:lnTo>
                  <a:lnTo>
                    <a:pt x="133" y="135"/>
                  </a:lnTo>
                  <a:lnTo>
                    <a:pt x="135" y="135"/>
                  </a:lnTo>
                  <a:lnTo>
                    <a:pt x="135" y="135"/>
                  </a:lnTo>
                  <a:lnTo>
                    <a:pt x="135" y="133"/>
                  </a:lnTo>
                  <a:lnTo>
                    <a:pt x="137" y="131"/>
                  </a:lnTo>
                  <a:lnTo>
                    <a:pt x="137" y="129"/>
                  </a:lnTo>
                  <a:lnTo>
                    <a:pt x="139" y="127"/>
                  </a:lnTo>
                  <a:lnTo>
                    <a:pt x="141" y="125"/>
                  </a:lnTo>
                  <a:lnTo>
                    <a:pt x="145" y="121"/>
                  </a:lnTo>
                  <a:lnTo>
                    <a:pt x="145" y="121"/>
                  </a:lnTo>
                  <a:lnTo>
                    <a:pt x="147" y="119"/>
                  </a:lnTo>
                  <a:lnTo>
                    <a:pt x="147" y="119"/>
                  </a:lnTo>
                  <a:lnTo>
                    <a:pt x="147" y="119"/>
                  </a:lnTo>
                  <a:lnTo>
                    <a:pt x="151" y="119"/>
                  </a:lnTo>
                  <a:lnTo>
                    <a:pt x="151" y="119"/>
                  </a:lnTo>
                  <a:lnTo>
                    <a:pt x="151" y="117"/>
                  </a:lnTo>
                  <a:lnTo>
                    <a:pt x="147" y="111"/>
                  </a:lnTo>
                  <a:lnTo>
                    <a:pt x="147" y="111"/>
                  </a:lnTo>
                  <a:lnTo>
                    <a:pt x="147" y="109"/>
                  </a:lnTo>
                  <a:lnTo>
                    <a:pt x="147" y="109"/>
                  </a:lnTo>
                  <a:lnTo>
                    <a:pt x="147" y="107"/>
                  </a:lnTo>
                  <a:lnTo>
                    <a:pt x="147" y="107"/>
                  </a:lnTo>
                  <a:lnTo>
                    <a:pt x="145" y="105"/>
                  </a:lnTo>
                  <a:lnTo>
                    <a:pt x="143" y="98"/>
                  </a:lnTo>
                  <a:lnTo>
                    <a:pt x="143" y="98"/>
                  </a:lnTo>
                  <a:lnTo>
                    <a:pt x="143" y="96"/>
                  </a:lnTo>
                  <a:lnTo>
                    <a:pt x="143" y="96"/>
                  </a:lnTo>
                  <a:lnTo>
                    <a:pt x="143" y="94"/>
                  </a:lnTo>
                  <a:lnTo>
                    <a:pt x="143" y="94"/>
                  </a:lnTo>
                  <a:lnTo>
                    <a:pt x="143" y="92"/>
                  </a:lnTo>
                  <a:lnTo>
                    <a:pt x="145" y="92"/>
                  </a:lnTo>
                  <a:lnTo>
                    <a:pt x="147" y="92"/>
                  </a:lnTo>
                  <a:lnTo>
                    <a:pt x="145" y="90"/>
                  </a:lnTo>
                  <a:lnTo>
                    <a:pt x="143" y="88"/>
                  </a:lnTo>
                  <a:lnTo>
                    <a:pt x="141" y="90"/>
                  </a:lnTo>
                  <a:lnTo>
                    <a:pt x="139" y="90"/>
                  </a:lnTo>
                  <a:lnTo>
                    <a:pt x="137" y="90"/>
                  </a:lnTo>
                  <a:lnTo>
                    <a:pt x="137" y="92"/>
                  </a:lnTo>
                  <a:lnTo>
                    <a:pt x="137" y="92"/>
                  </a:lnTo>
                  <a:lnTo>
                    <a:pt x="137" y="94"/>
                  </a:lnTo>
                  <a:lnTo>
                    <a:pt x="139" y="98"/>
                  </a:lnTo>
                  <a:lnTo>
                    <a:pt x="139" y="98"/>
                  </a:lnTo>
                  <a:lnTo>
                    <a:pt x="137" y="103"/>
                  </a:lnTo>
                  <a:lnTo>
                    <a:pt x="137" y="103"/>
                  </a:lnTo>
                  <a:lnTo>
                    <a:pt x="135" y="103"/>
                  </a:lnTo>
                  <a:lnTo>
                    <a:pt x="135" y="103"/>
                  </a:lnTo>
                  <a:lnTo>
                    <a:pt x="137" y="100"/>
                  </a:lnTo>
                  <a:lnTo>
                    <a:pt x="137" y="98"/>
                  </a:lnTo>
                  <a:lnTo>
                    <a:pt x="135" y="96"/>
                  </a:lnTo>
                  <a:lnTo>
                    <a:pt x="135" y="96"/>
                  </a:lnTo>
                  <a:lnTo>
                    <a:pt x="135" y="94"/>
                  </a:lnTo>
                  <a:lnTo>
                    <a:pt x="133" y="94"/>
                  </a:lnTo>
                  <a:lnTo>
                    <a:pt x="133" y="94"/>
                  </a:lnTo>
                  <a:lnTo>
                    <a:pt x="133" y="92"/>
                  </a:lnTo>
                  <a:lnTo>
                    <a:pt x="133" y="92"/>
                  </a:lnTo>
                  <a:lnTo>
                    <a:pt x="131" y="90"/>
                  </a:lnTo>
                  <a:lnTo>
                    <a:pt x="131" y="90"/>
                  </a:lnTo>
                  <a:lnTo>
                    <a:pt x="127" y="90"/>
                  </a:lnTo>
                  <a:lnTo>
                    <a:pt x="127" y="92"/>
                  </a:lnTo>
                  <a:lnTo>
                    <a:pt x="127" y="96"/>
                  </a:lnTo>
                  <a:lnTo>
                    <a:pt x="125" y="96"/>
                  </a:lnTo>
                  <a:lnTo>
                    <a:pt x="125" y="94"/>
                  </a:lnTo>
                  <a:lnTo>
                    <a:pt x="123" y="94"/>
                  </a:lnTo>
                  <a:lnTo>
                    <a:pt x="125" y="90"/>
                  </a:lnTo>
                  <a:lnTo>
                    <a:pt x="123" y="88"/>
                  </a:lnTo>
                  <a:lnTo>
                    <a:pt x="120" y="86"/>
                  </a:lnTo>
                  <a:lnTo>
                    <a:pt x="118" y="84"/>
                  </a:lnTo>
                  <a:lnTo>
                    <a:pt x="116" y="84"/>
                  </a:lnTo>
                  <a:lnTo>
                    <a:pt x="116" y="82"/>
                  </a:lnTo>
                  <a:lnTo>
                    <a:pt x="118" y="82"/>
                  </a:lnTo>
                  <a:lnTo>
                    <a:pt x="118" y="82"/>
                  </a:lnTo>
                  <a:lnTo>
                    <a:pt x="120" y="82"/>
                  </a:lnTo>
                  <a:lnTo>
                    <a:pt x="120" y="80"/>
                  </a:lnTo>
                  <a:lnTo>
                    <a:pt x="116" y="82"/>
                  </a:lnTo>
                  <a:lnTo>
                    <a:pt x="110" y="84"/>
                  </a:lnTo>
                  <a:lnTo>
                    <a:pt x="108" y="84"/>
                  </a:lnTo>
                  <a:lnTo>
                    <a:pt x="96" y="82"/>
                  </a:lnTo>
                  <a:lnTo>
                    <a:pt x="96" y="80"/>
                  </a:lnTo>
                  <a:lnTo>
                    <a:pt x="96" y="80"/>
                  </a:lnTo>
                  <a:lnTo>
                    <a:pt x="96" y="80"/>
                  </a:lnTo>
                  <a:lnTo>
                    <a:pt x="96" y="80"/>
                  </a:lnTo>
                  <a:lnTo>
                    <a:pt x="98" y="80"/>
                  </a:lnTo>
                  <a:lnTo>
                    <a:pt x="92" y="80"/>
                  </a:lnTo>
                  <a:lnTo>
                    <a:pt x="90" y="78"/>
                  </a:lnTo>
                  <a:lnTo>
                    <a:pt x="88" y="76"/>
                  </a:lnTo>
                  <a:lnTo>
                    <a:pt x="84" y="76"/>
                  </a:lnTo>
                  <a:lnTo>
                    <a:pt x="82" y="78"/>
                  </a:lnTo>
                  <a:lnTo>
                    <a:pt x="80" y="76"/>
                  </a:lnTo>
                  <a:lnTo>
                    <a:pt x="77" y="74"/>
                  </a:lnTo>
                  <a:lnTo>
                    <a:pt x="75" y="74"/>
                  </a:lnTo>
                  <a:lnTo>
                    <a:pt x="69" y="72"/>
                  </a:lnTo>
                  <a:lnTo>
                    <a:pt x="59" y="70"/>
                  </a:lnTo>
                  <a:lnTo>
                    <a:pt x="49" y="64"/>
                  </a:lnTo>
                  <a:lnTo>
                    <a:pt x="49" y="64"/>
                  </a:lnTo>
                  <a:lnTo>
                    <a:pt x="47" y="60"/>
                  </a:lnTo>
                  <a:lnTo>
                    <a:pt x="45" y="57"/>
                  </a:lnTo>
                  <a:lnTo>
                    <a:pt x="39" y="55"/>
                  </a:lnTo>
                  <a:lnTo>
                    <a:pt x="39" y="53"/>
                  </a:lnTo>
                  <a:lnTo>
                    <a:pt x="34" y="53"/>
                  </a:lnTo>
                  <a:lnTo>
                    <a:pt x="32" y="53"/>
                  </a:lnTo>
                  <a:lnTo>
                    <a:pt x="32" y="51"/>
                  </a:lnTo>
                  <a:lnTo>
                    <a:pt x="30" y="49"/>
                  </a:lnTo>
                  <a:lnTo>
                    <a:pt x="26" y="47"/>
                  </a:lnTo>
                  <a:lnTo>
                    <a:pt x="24" y="45"/>
                  </a:lnTo>
                  <a:lnTo>
                    <a:pt x="14" y="37"/>
                  </a:lnTo>
                  <a:lnTo>
                    <a:pt x="10" y="35"/>
                  </a:lnTo>
                  <a:lnTo>
                    <a:pt x="6" y="33"/>
                  </a:lnTo>
                  <a:lnTo>
                    <a:pt x="6" y="35"/>
                  </a:lnTo>
                  <a:lnTo>
                    <a:pt x="6" y="37"/>
                  </a:lnTo>
                  <a:lnTo>
                    <a:pt x="8" y="39"/>
                  </a:lnTo>
                  <a:lnTo>
                    <a:pt x="8" y="41"/>
                  </a:lnTo>
                  <a:lnTo>
                    <a:pt x="8" y="41"/>
                  </a:lnTo>
                  <a:lnTo>
                    <a:pt x="8" y="41"/>
                  </a:lnTo>
                  <a:lnTo>
                    <a:pt x="8" y="43"/>
                  </a:lnTo>
                  <a:lnTo>
                    <a:pt x="6" y="45"/>
                  </a:lnTo>
                  <a:lnTo>
                    <a:pt x="6" y="47"/>
                  </a:lnTo>
                  <a:lnTo>
                    <a:pt x="6" y="49"/>
                  </a:lnTo>
                  <a:lnTo>
                    <a:pt x="4" y="49"/>
                  </a:lnTo>
                  <a:lnTo>
                    <a:pt x="4" y="49"/>
                  </a:lnTo>
                  <a:lnTo>
                    <a:pt x="4" y="49"/>
                  </a:lnTo>
                  <a:lnTo>
                    <a:pt x="4" y="51"/>
                  </a:lnTo>
                  <a:lnTo>
                    <a:pt x="4" y="51"/>
                  </a:lnTo>
                  <a:lnTo>
                    <a:pt x="4" y="55"/>
                  </a:lnTo>
                  <a:lnTo>
                    <a:pt x="2" y="55"/>
                  </a:lnTo>
                  <a:lnTo>
                    <a:pt x="2" y="55"/>
                  </a:lnTo>
                  <a:lnTo>
                    <a:pt x="0" y="57"/>
                  </a:lnTo>
                  <a:lnTo>
                    <a:pt x="2" y="64"/>
                  </a:lnTo>
                  <a:lnTo>
                    <a:pt x="2" y="66"/>
                  </a:lnTo>
                  <a:lnTo>
                    <a:pt x="0" y="70"/>
                  </a:lnTo>
                  <a:lnTo>
                    <a:pt x="0" y="74"/>
                  </a:lnTo>
                  <a:lnTo>
                    <a:pt x="2" y="78"/>
                  </a:lnTo>
                  <a:lnTo>
                    <a:pt x="2" y="82"/>
                  </a:lnTo>
                  <a:lnTo>
                    <a:pt x="4" y="86"/>
                  </a:lnTo>
                  <a:lnTo>
                    <a:pt x="4" y="86"/>
                  </a:lnTo>
                  <a:lnTo>
                    <a:pt x="6" y="88"/>
                  </a:lnTo>
                  <a:lnTo>
                    <a:pt x="6" y="88"/>
                  </a:lnTo>
                  <a:lnTo>
                    <a:pt x="8" y="88"/>
                  </a:lnTo>
                  <a:lnTo>
                    <a:pt x="10" y="94"/>
                  </a:lnTo>
                  <a:lnTo>
                    <a:pt x="12" y="96"/>
                  </a:lnTo>
                  <a:lnTo>
                    <a:pt x="12" y="100"/>
                  </a:lnTo>
                  <a:lnTo>
                    <a:pt x="12" y="103"/>
                  </a:lnTo>
                  <a:lnTo>
                    <a:pt x="12" y="103"/>
                  </a:lnTo>
                  <a:lnTo>
                    <a:pt x="14" y="103"/>
                  </a:lnTo>
                  <a:lnTo>
                    <a:pt x="14" y="105"/>
                  </a:lnTo>
                  <a:lnTo>
                    <a:pt x="14" y="107"/>
                  </a:lnTo>
                  <a:lnTo>
                    <a:pt x="16" y="113"/>
                  </a:lnTo>
                  <a:lnTo>
                    <a:pt x="16" y="115"/>
                  </a:lnTo>
                  <a:lnTo>
                    <a:pt x="14" y="123"/>
                  </a:lnTo>
                  <a:lnTo>
                    <a:pt x="14" y="127"/>
                  </a:lnTo>
                  <a:lnTo>
                    <a:pt x="14" y="144"/>
                  </a:lnTo>
                  <a:lnTo>
                    <a:pt x="14" y="144"/>
                  </a:lnTo>
                  <a:lnTo>
                    <a:pt x="16" y="146"/>
                  </a:lnTo>
                  <a:lnTo>
                    <a:pt x="16" y="146"/>
                  </a:lnTo>
                  <a:lnTo>
                    <a:pt x="16" y="146"/>
                  </a:lnTo>
                  <a:lnTo>
                    <a:pt x="14" y="148"/>
                  </a:lnTo>
                  <a:lnTo>
                    <a:pt x="14" y="148"/>
                  </a:lnTo>
                  <a:lnTo>
                    <a:pt x="16" y="150"/>
                  </a:lnTo>
                  <a:lnTo>
                    <a:pt x="16" y="150"/>
                  </a:lnTo>
                  <a:lnTo>
                    <a:pt x="16" y="150"/>
                  </a:lnTo>
                  <a:lnTo>
                    <a:pt x="18" y="154"/>
                  </a:lnTo>
                  <a:lnTo>
                    <a:pt x="18" y="158"/>
                  </a:lnTo>
                  <a:lnTo>
                    <a:pt x="18" y="162"/>
                  </a:lnTo>
                  <a:lnTo>
                    <a:pt x="18" y="170"/>
                  </a:lnTo>
                  <a:lnTo>
                    <a:pt x="18" y="176"/>
                  </a:lnTo>
                  <a:lnTo>
                    <a:pt x="18" y="178"/>
                  </a:lnTo>
                  <a:lnTo>
                    <a:pt x="16" y="185"/>
                  </a:lnTo>
                  <a:lnTo>
                    <a:pt x="14" y="187"/>
                  </a:lnTo>
                  <a:lnTo>
                    <a:pt x="14" y="187"/>
                  </a:lnTo>
                  <a:lnTo>
                    <a:pt x="14" y="189"/>
                  </a:lnTo>
                  <a:lnTo>
                    <a:pt x="14" y="189"/>
                  </a:lnTo>
                  <a:lnTo>
                    <a:pt x="14" y="189"/>
                  </a:lnTo>
                  <a:lnTo>
                    <a:pt x="14" y="189"/>
                  </a:lnTo>
                  <a:lnTo>
                    <a:pt x="18" y="187"/>
                  </a:lnTo>
                  <a:lnTo>
                    <a:pt x="18" y="187"/>
                  </a:lnTo>
                  <a:lnTo>
                    <a:pt x="18" y="187"/>
                  </a:lnTo>
                  <a:lnTo>
                    <a:pt x="18" y="187"/>
                  </a:lnTo>
                  <a:lnTo>
                    <a:pt x="18" y="185"/>
                  </a:lnTo>
                  <a:lnTo>
                    <a:pt x="18" y="185"/>
                  </a:lnTo>
                  <a:lnTo>
                    <a:pt x="18" y="182"/>
                  </a:lnTo>
                  <a:lnTo>
                    <a:pt x="18" y="180"/>
                  </a:lnTo>
                  <a:lnTo>
                    <a:pt x="18" y="180"/>
                  </a:lnTo>
                  <a:lnTo>
                    <a:pt x="18" y="178"/>
                  </a:lnTo>
                  <a:lnTo>
                    <a:pt x="20" y="178"/>
                  </a:lnTo>
                  <a:lnTo>
                    <a:pt x="22" y="178"/>
                  </a:lnTo>
                  <a:lnTo>
                    <a:pt x="24" y="178"/>
                  </a:lnTo>
                  <a:lnTo>
                    <a:pt x="26" y="180"/>
                  </a:lnTo>
                  <a:lnTo>
                    <a:pt x="26" y="182"/>
                  </a:lnTo>
                  <a:lnTo>
                    <a:pt x="28" y="182"/>
                  </a:lnTo>
                  <a:lnTo>
                    <a:pt x="28" y="187"/>
                  </a:lnTo>
                  <a:lnTo>
                    <a:pt x="28" y="187"/>
                  </a:lnTo>
                  <a:lnTo>
                    <a:pt x="30" y="189"/>
                  </a:lnTo>
                  <a:lnTo>
                    <a:pt x="34" y="189"/>
                  </a:lnTo>
                  <a:lnTo>
                    <a:pt x="34" y="189"/>
                  </a:lnTo>
                  <a:lnTo>
                    <a:pt x="34" y="189"/>
                  </a:lnTo>
                  <a:lnTo>
                    <a:pt x="32" y="189"/>
                  </a:lnTo>
                  <a:lnTo>
                    <a:pt x="39" y="191"/>
                  </a:lnTo>
                  <a:lnTo>
                    <a:pt x="41" y="191"/>
                  </a:lnTo>
                  <a:lnTo>
                    <a:pt x="43" y="193"/>
                  </a:lnTo>
                  <a:lnTo>
                    <a:pt x="37" y="193"/>
                  </a:lnTo>
                  <a:lnTo>
                    <a:pt x="30" y="193"/>
                  </a:lnTo>
                  <a:lnTo>
                    <a:pt x="26" y="195"/>
                  </a:lnTo>
                  <a:lnTo>
                    <a:pt x="26" y="195"/>
                  </a:lnTo>
                  <a:lnTo>
                    <a:pt x="24" y="195"/>
                  </a:lnTo>
                  <a:lnTo>
                    <a:pt x="22" y="195"/>
                  </a:lnTo>
                  <a:lnTo>
                    <a:pt x="22" y="197"/>
                  </a:lnTo>
                  <a:lnTo>
                    <a:pt x="22" y="197"/>
                  </a:lnTo>
                  <a:lnTo>
                    <a:pt x="24" y="197"/>
                  </a:lnTo>
                  <a:lnTo>
                    <a:pt x="24" y="199"/>
                  </a:lnTo>
                  <a:lnTo>
                    <a:pt x="24" y="199"/>
                  </a:lnTo>
                  <a:lnTo>
                    <a:pt x="24" y="201"/>
                  </a:lnTo>
                  <a:lnTo>
                    <a:pt x="22" y="201"/>
                  </a:lnTo>
                  <a:lnTo>
                    <a:pt x="22" y="201"/>
                  </a:lnTo>
                  <a:lnTo>
                    <a:pt x="22" y="201"/>
                  </a:lnTo>
                  <a:lnTo>
                    <a:pt x="20" y="199"/>
                  </a:lnTo>
                  <a:lnTo>
                    <a:pt x="20" y="199"/>
                  </a:lnTo>
                  <a:lnTo>
                    <a:pt x="20" y="197"/>
                  </a:lnTo>
                  <a:lnTo>
                    <a:pt x="18" y="195"/>
                  </a:lnTo>
                  <a:lnTo>
                    <a:pt x="18" y="195"/>
                  </a:lnTo>
                  <a:lnTo>
                    <a:pt x="18" y="193"/>
                  </a:lnTo>
                  <a:lnTo>
                    <a:pt x="16" y="193"/>
                  </a:lnTo>
                  <a:lnTo>
                    <a:pt x="16" y="195"/>
                  </a:lnTo>
                  <a:lnTo>
                    <a:pt x="16" y="199"/>
                  </a:lnTo>
                  <a:lnTo>
                    <a:pt x="16" y="203"/>
                  </a:lnTo>
                  <a:lnTo>
                    <a:pt x="16" y="209"/>
                  </a:lnTo>
                  <a:lnTo>
                    <a:pt x="16" y="211"/>
                  </a:lnTo>
                  <a:lnTo>
                    <a:pt x="18" y="211"/>
                  </a:lnTo>
                  <a:lnTo>
                    <a:pt x="20" y="213"/>
                  </a:lnTo>
                  <a:lnTo>
                    <a:pt x="22" y="213"/>
                  </a:lnTo>
                  <a:lnTo>
                    <a:pt x="22" y="213"/>
                  </a:lnTo>
                  <a:lnTo>
                    <a:pt x="22" y="213"/>
                  </a:lnTo>
                  <a:lnTo>
                    <a:pt x="24" y="215"/>
                  </a:lnTo>
                  <a:lnTo>
                    <a:pt x="24" y="215"/>
                  </a:lnTo>
                  <a:lnTo>
                    <a:pt x="24" y="215"/>
                  </a:lnTo>
                  <a:lnTo>
                    <a:pt x="24" y="213"/>
                  </a:lnTo>
                  <a:lnTo>
                    <a:pt x="24" y="213"/>
                  </a:lnTo>
                  <a:lnTo>
                    <a:pt x="28" y="215"/>
                  </a:lnTo>
                  <a:lnTo>
                    <a:pt x="28" y="215"/>
                  </a:lnTo>
                  <a:lnTo>
                    <a:pt x="30" y="213"/>
                  </a:lnTo>
                  <a:lnTo>
                    <a:pt x="30" y="213"/>
                  </a:lnTo>
                  <a:lnTo>
                    <a:pt x="32" y="213"/>
                  </a:lnTo>
                  <a:lnTo>
                    <a:pt x="32" y="213"/>
                  </a:lnTo>
                  <a:lnTo>
                    <a:pt x="34" y="215"/>
                  </a:lnTo>
                  <a:lnTo>
                    <a:pt x="37" y="219"/>
                  </a:lnTo>
                  <a:lnTo>
                    <a:pt x="37" y="219"/>
                  </a:lnTo>
                  <a:lnTo>
                    <a:pt x="39" y="221"/>
                  </a:lnTo>
                  <a:lnTo>
                    <a:pt x="39" y="221"/>
                  </a:lnTo>
                  <a:lnTo>
                    <a:pt x="37" y="223"/>
                  </a:lnTo>
                  <a:lnTo>
                    <a:pt x="34" y="221"/>
                  </a:lnTo>
                  <a:lnTo>
                    <a:pt x="34" y="221"/>
                  </a:lnTo>
                  <a:lnTo>
                    <a:pt x="34" y="219"/>
                  </a:lnTo>
                  <a:lnTo>
                    <a:pt x="34" y="217"/>
                  </a:lnTo>
                  <a:lnTo>
                    <a:pt x="30" y="217"/>
                  </a:lnTo>
                  <a:lnTo>
                    <a:pt x="28" y="219"/>
                  </a:lnTo>
                  <a:lnTo>
                    <a:pt x="26" y="221"/>
                  </a:lnTo>
                  <a:lnTo>
                    <a:pt x="26" y="223"/>
                  </a:lnTo>
                  <a:lnTo>
                    <a:pt x="28" y="228"/>
                  </a:lnTo>
                  <a:lnTo>
                    <a:pt x="26" y="225"/>
                  </a:lnTo>
                  <a:lnTo>
                    <a:pt x="24" y="223"/>
                  </a:lnTo>
                  <a:lnTo>
                    <a:pt x="24" y="223"/>
                  </a:lnTo>
                  <a:lnTo>
                    <a:pt x="24" y="225"/>
                  </a:lnTo>
                  <a:lnTo>
                    <a:pt x="26" y="228"/>
                  </a:lnTo>
                  <a:lnTo>
                    <a:pt x="26" y="232"/>
                  </a:lnTo>
                  <a:lnTo>
                    <a:pt x="26" y="232"/>
                  </a:lnTo>
                  <a:lnTo>
                    <a:pt x="26" y="232"/>
                  </a:lnTo>
                  <a:lnTo>
                    <a:pt x="26" y="234"/>
                  </a:lnTo>
                  <a:lnTo>
                    <a:pt x="26" y="236"/>
                  </a:lnTo>
                  <a:lnTo>
                    <a:pt x="26" y="236"/>
                  </a:lnTo>
                  <a:lnTo>
                    <a:pt x="24" y="236"/>
                  </a:lnTo>
                  <a:lnTo>
                    <a:pt x="22" y="236"/>
                  </a:lnTo>
                  <a:lnTo>
                    <a:pt x="22" y="238"/>
                  </a:lnTo>
                  <a:lnTo>
                    <a:pt x="22" y="238"/>
                  </a:lnTo>
                  <a:lnTo>
                    <a:pt x="22" y="240"/>
                  </a:lnTo>
                  <a:lnTo>
                    <a:pt x="22" y="240"/>
                  </a:lnTo>
                  <a:lnTo>
                    <a:pt x="22" y="240"/>
                  </a:lnTo>
                  <a:lnTo>
                    <a:pt x="24" y="242"/>
                  </a:lnTo>
                  <a:lnTo>
                    <a:pt x="24" y="242"/>
                  </a:lnTo>
                  <a:lnTo>
                    <a:pt x="24" y="242"/>
                  </a:lnTo>
                  <a:lnTo>
                    <a:pt x="24" y="242"/>
                  </a:lnTo>
                  <a:lnTo>
                    <a:pt x="24" y="244"/>
                  </a:lnTo>
                  <a:lnTo>
                    <a:pt x="24" y="244"/>
                  </a:lnTo>
                  <a:lnTo>
                    <a:pt x="26" y="246"/>
                  </a:lnTo>
                  <a:lnTo>
                    <a:pt x="28" y="246"/>
                  </a:lnTo>
                  <a:lnTo>
                    <a:pt x="26" y="248"/>
                  </a:lnTo>
                  <a:lnTo>
                    <a:pt x="26" y="246"/>
                  </a:lnTo>
                  <a:lnTo>
                    <a:pt x="22" y="244"/>
                  </a:lnTo>
                  <a:lnTo>
                    <a:pt x="22" y="244"/>
                  </a:lnTo>
                  <a:lnTo>
                    <a:pt x="22" y="244"/>
                  </a:lnTo>
                  <a:lnTo>
                    <a:pt x="22" y="246"/>
                  </a:lnTo>
                  <a:lnTo>
                    <a:pt x="20" y="248"/>
                  </a:lnTo>
                  <a:lnTo>
                    <a:pt x="18" y="248"/>
                  </a:lnTo>
                  <a:lnTo>
                    <a:pt x="16" y="248"/>
                  </a:lnTo>
                  <a:lnTo>
                    <a:pt x="16" y="246"/>
                  </a:lnTo>
                  <a:lnTo>
                    <a:pt x="14" y="244"/>
                  </a:lnTo>
                  <a:lnTo>
                    <a:pt x="14" y="238"/>
                  </a:lnTo>
                  <a:lnTo>
                    <a:pt x="16" y="236"/>
                  </a:lnTo>
                  <a:lnTo>
                    <a:pt x="18" y="228"/>
                  </a:lnTo>
                  <a:lnTo>
                    <a:pt x="18" y="225"/>
                  </a:lnTo>
                  <a:lnTo>
                    <a:pt x="16" y="223"/>
                  </a:lnTo>
                  <a:lnTo>
                    <a:pt x="16" y="221"/>
                  </a:lnTo>
                  <a:lnTo>
                    <a:pt x="18" y="219"/>
                  </a:lnTo>
                  <a:lnTo>
                    <a:pt x="16" y="221"/>
                  </a:lnTo>
                  <a:lnTo>
                    <a:pt x="14" y="225"/>
                  </a:lnTo>
                  <a:lnTo>
                    <a:pt x="12" y="242"/>
                  </a:lnTo>
                  <a:lnTo>
                    <a:pt x="12" y="246"/>
                  </a:lnTo>
                  <a:lnTo>
                    <a:pt x="10" y="248"/>
                  </a:lnTo>
                  <a:lnTo>
                    <a:pt x="10" y="250"/>
                  </a:lnTo>
                  <a:lnTo>
                    <a:pt x="10" y="252"/>
                  </a:lnTo>
                  <a:lnTo>
                    <a:pt x="8" y="252"/>
                  </a:lnTo>
                  <a:lnTo>
                    <a:pt x="8" y="254"/>
                  </a:lnTo>
                  <a:lnTo>
                    <a:pt x="6" y="256"/>
                  </a:lnTo>
                  <a:lnTo>
                    <a:pt x="6" y="256"/>
                  </a:lnTo>
                  <a:lnTo>
                    <a:pt x="6" y="258"/>
                  </a:lnTo>
                  <a:lnTo>
                    <a:pt x="8" y="258"/>
                  </a:lnTo>
                  <a:lnTo>
                    <a:pt x="10" y="258"/>
                  </a:lnTo>
                  <a:lnTo>
                    <a:pt x="10" y="258"/>
                  </a:lnTo>
                  <a:lnTo>
                    <a:pt x="10" y="258"/>
                  </a:lnTo>
                  <a:lnTo>
                    <a:pt x="10" y="258"/>
                  </a:lnTo>
                  <a:lnTo>
                    <a:pt x="10" y="258"/>
                  </a:lnTo>
                  <a:lnTo>
                    <a:pt x="10" y="258"/>
                  </a:lnTo>
                  <a:lnTo>
                    <a:pt x="10" y="256"/>
                  </a:lnTo>
                  <a:lnTo>
                    <a:pt x="10" y="256"/>
                  </a:lnTo>
                  <a:lnTo>
                    <a:pt x="10" y="256"/>
                  </a:lnTo>
                  <a:lnTo>
                    <a:pt x="12" y="254"/>
                  </a:lnTo>
                  <a:lnTo>
                    <a:pt x="14" y="254"/>
                  </a:lnTo>
                  <a:lnTo>
                    <a:pt x="14" y="256"/>
                  </a:lnTo>
                  <a:lnTo>
                    <a:pt x="16" y="256"/>
                  </a:lnTo>
                  <a:lnTo>
                    <a:pt x="18" y="262"/>
                  </a:lnTo>
                  <a:lnTo>
                    <a:pt x="20" y="262"/>
                  </a:lnTo>
                  <a:lnTo>
                    <a:pt x="22" y="262"/>
                  </a:lnTo>
                  <a:lnTo>
                    <a:pt x="24" y="262"/>
                  </a:lnTo>
                  <a:lnTo>
                    <a:pt x="26" y="262"/>
                  </a:lnTo>
                  <a:lnTo>
                    <a:pt x="28" y="260"/>
                  </a:lnTo>
                  <a:lnTo>
                    <a:pt x="28" y="260"/>
                  </a:lnTo>
                  <a:lnTo>
                    <a:pt x="30" y="262"/>
                  </a:lnTo>
                  <a:lnTo>
                    <a:pt x="30" y="262"/>
                  </a:lnTo>
                  <a:lnTo>
                    <a:pt x="32" y="262"/>
                  </a:lnTo>
                  <a:lnTo>
                    <a:pt x="34" y="260"/>
                  </a:lnTo>
                  <a:lnTo>
                    <a:pt x="37" y="260"/>
                  </a:lnTo>
                  <a:lnTo>
                    <a:pt x="37" y="260"/>
                  </a:lnTo>
                  <a:lnTo>
                    <a:pt x="37" y="262"/>
                  </a:lnTo>
                  <a:lnTo>
                    <a:pt x="39" y="262"/>
                  </a:lnTo>
                  <a:lnTo>
                    <a:pt x="39" y="264"/>
                  </a:lnTo>
                  <a:lnTo>
                    <a:pt x="39" y="264"/>
                  </a:lnTo>
                  <a:lnTo>
                    <a:pt x="43" y="266"/>
                  </a:lnTo>
                  <a:lnTo>
                    <a:pt x="53" y="266"/>
                  </a:lnTo>
                  <a:lnTo>
                    <a:pt x="55" y="266"/>
                  </a:lnTo>
                  <a:lnTo>
                    <a:pt x="55" y="269"/>
                  </a:lnTo>
                  <a:lnTo>
                    <a:pt x="57" y="271"/>
                  </a:lnTo>
                  <a:lnTo>
                    <a:pt x="57" y="273"/>
                  </a:lnTo>
                  <a:lnTo>
                    <a:pt x="57" y="275"/>
                  </a:lnTo>
                  <a:lnTo>
                    <a:pt x="63" y="281"/>
                  </a:lnTo>
                  <a:lnTo>
                    <a:pt x="63" y="281"/>
                  </a:lnTo>
                  <a:lnTo>
                    <a:pt x="65" y="283"/>
                  </a:lnTo>
                  <a:lnTo>
                    <a:pt x="67" y="283"/>
                  </a:lnTo>
                  <a:lnTo>
                    <a:pt x="71" y="281"/>
                  </a:lnTo>
                  <a:lnTo>
                    <a:pt x="73" y="281"/>
                  </a:lnTo>
                  <a:lnTo>
                    <a:pt x="77" y="281"/>
                  </a:lnTo>
                  <a:lnTo>
                    <a:pt x="80" y="283"/>
                  </a:lnTo>
                  <a:lnTo>
                    <a:pt x="80" y="283"/>
                  </a:lnTo>
                  <a:lnTo>
                    <a:pt x="82" y="287"/>
                  </a:lnTo>
                  <a:lnTo>
                    <a:pt x="84" y="287"/>
                  </a:lnTo>
                  <a:lnTo>
                    <a:pt x="86" y="287"/>
                  </a:lnTo>
                  <a:lnTo>
                    <a:pt x="88" y="289"/>
                  </a:lnTo>
                  <a:lnTo>
                    <a:pt x="90" y="291"/>
                  </a:lnTo>
                  <a:lnTo>
                    <a:pt x="92" y="293"/>
                  </a:lnTo>
                  <a:lnTo>
                    <a:pt x="92" y="295"/>
                  </a:lnTo>
                  <a:lnTo>
                    <a:pt x="94" y="297"/>
                  </a:lnTo>
                  <a:lnTo>
                    <a:pt x="94" y="299"/>
                  </a:lnTo>
                  <a:lnTo>
                    <a:pt x="94" y="303"/>
                  </a:lnTo>
                  <a:lnTo>
                    <a:pt x="96" y="305"/>
                  </a:lnTo>
                  <a:lnTo>
                    <a:pt x="96" y="305"/>
                  </a:lnTo>
                  <a:lnTo>
                    <a:pt x="96" y="307"/>
                  </a:lnTo>
                  <a:lnTo>
                    <a:pt x="98" y="310"/>
                  </a:lnTo>
                  <a:lnTo>
                    <a:pt x="96" y="314"/>
                  </a:lnTo>
                  <a:lnTo>
                    <a:pt x="98" y="318"/>
                  </a:lnTo>
                  <a:lnTo>
                    <a:pt x="96" y="320"/>
                  </a:lnTo>
                  <a:lnTo>
                    <a:pt x="96" y="322"/>
                  </a:lnTo>
                  <a:lnTo>
                    <a:pt x="96" y="324"/>
                  </a:lnTo>
                  <a:lnTo>
                    <a:pt x="96" y="328"/>
                  </a:lnTo>
                  <a:lnTo>
                    <a:pt x="96" y="328"/>
                  </a:lnTo>
                  <a:lnTo>
                    <a:pt x="96" y="330"/>
                  </a:lnTo>
                  <a:lnTo>
                    <a:pt x="96" y="332"/>
                  </a:lnTo>
                  <a:lnTo>
                    <a:pt x="96" y="332"/>
                  </a:lnTo>
                  <a:lnTo>
                    <a:pt x="96" y="336"/>
                  </a:lnTo>
                  <a:lnTo>
                    <a:pt x="96" y="340"/>
                  </a:lnTo>
                  <a:lnTo>
                    <a:pt x="96" y="340"/>
                  </a:lnTo>
                  <a:lnTo>
                    <a:pt x="96" y="342"/>
                  </a:lnTo>
                  <a:lnTo>
                    <a:pt x="98" y="344"/>
                  </a:lnTo>
                  <a:lnTo>
                    <a:pt x="100" y="346"/>
                  </a:lnTo>
                  <a:lnTo>
                    <a:pt x="106" y="348"/>
                  </a:lnTo>
                  <a:lnTo>
                    <a:pt x="108" y="348"/>
                  </a:lnTo>
                  <a:lnTo>
                    <a:pt x="110" y="348"/>
                  </a:lnTo>
                  <a:lnTo>
                    <a:pt x="112" y="351"/>
                  </a:lnTo>
                  <a:lnTo>
                    <a:pt x="116" y="353"/>
                  </a:lnTo>
                  <a:lnTo>
                    <a:pt x="118" y="355"/>
                  </a:lnTo>
                  <a:lnTo>
                    <a:pt x="125" y="355"/>
                  </a:lnTo>
                  <a:lnTo>
                    <a:pt x="131" y="359"/>
                  </a:lnTo>
                  <a:lnTo>
                    <a:pt x="131" y="359"/>
                  </a:lnTo>
                  <a:lnTo>
                    <a:pt x="133" y="359"/>
                  </a:lnTo>
                  <a:lnTo>
                    <a:pt x="139" y="357"/>
                  </a:lnTo>
                  <a:lnTo>
                    <a:pt x="153" y="355"/>
                  </a:lnTo>
                  <a:lnTo>
                    <a:pt x="157" y="355"/>
                  </a:lnTo>
                  <a:lnTo>
                    <a:pt x="163" y="351"/>
                  </a:lnTo>
                  <a:lnTo>
                    <a:pt x="168" y="351"/>
                  </a:lnTo>
                  <a:lnTo>
                    <a:pt x="170" y="351"/>
                  </a:lnTo>
                  <a:lnTo>
                    <a:pt x="176" y="353"/>
                  </a:lnTo>
                  <a:lnTo>
                    <a:pt x="186" y="353"/>
                  </a:lnTo>
                  <a:lnTo>
                    <a:pt x="209" y="359"/>
                  </a:lnTo>
                  <a:lnTo>
                    <a:pt x="213" y="361"/>
                  </a:lnTo>
                  <a:lnTo>
                    <a:pt x="215" y="363"/>
                  </a:lnTo>
                  <a:lnTo>
                    <a:pt x="215" y="365"/>
                  </a:lnTo>
                  <a:lnTo>
                    <a:pt x="215" y="367"/>
                  </a:lnTo>
                  <a:lnTo>
                    <a:pt x="215" y="369"/>
                  </a:lnTo>
                  <a:lnTo>
                    <a:pt x="217" y="369"/>
                  </a:lnTo>
                  <a:lnTo>
                    <a:pt x="219" y="369"/>
                  </a:lnTo>
                  <a:lnTo>
                    <a:pt x="225" y="369"/>
                  </a:lnTo>
                  <a:lnTo>
                    <a:pt x="225" y="369"/>
                  </a:lnTo>
                  <a:lnTo>
                    <a:pt x="227" y="369"/>
                  </a:lnTo>
                  <a:lnTo>
                    <a:pt x="229" y="369"/>
                  </a:lnTo>
                  <a:lnTo>
                    <a:pt x="229" y="369"/>
                  </a:lnTo>
                  <a:lnTo>
                    <a:pt x="231" y="369"/>
                  </a:lnTo>
                  <a:lnTo>
                    <a:pt x="233" y="369"/>
                  </a:lnTo>
                  <a:lnTo>
                    <a:pt x="233" y="371"/>
                  </a:lnTo>
                  <a:lnTo>
                    <a:pt x="237" y="371"/>
                  </a:lnTo>
                  <a:lnTo>
                    <a:pt x="239" y="371"/>
                  </a:lnTo>
                  <a:lnTo>
                    <a:pt x="241" y="371"/>
                  </a:lnTo>
                  <a:lnTo>
                    <a:pt x="241" y="371"/>
                  </a:lnTo>
                  <a:lnTo>
                    <a:pt x="245" y="369"/>
                  </a:lnTo>
                  <a:lnTo>
                    <a:pt x="245" y="369"/>
                  </a:lnTo>
                  <a:lnTo>
                    <a:pt x="252" y="369"/>
                  </a:lnTo>
                  <a:lnTo>
                    <a:pt x="256" y="369"/>
                  </a:lnTo>
                  <a:lnTo>
                    <a:pt x="256" y="367"/>
                  </a:lnTo>
                  <a:lnTo>
                    <a:pt x="256" y="367"/>
                  </a:lnTo>
                  <a:lnTo>
                    <a:pt x="258" y="367"/>
                  </a:lnTo>
                  <a:lnTo>
                    <a:pt x="260" y="367"/>
                  </a:lnTo>
                  <a:lnTo>
                    <a:pt x="270" y="371"/>
                  </a:lnTo>
                  <a:lnTo>
                    <a:pt x="272" y="371"/>
                  </a:lnTo>
                  <a:lnTo>
                    <a:pt x="274" y="371"/>
                  </a:lnTo>
                  <a:lnTo>
                    <a:pt x="274" y="371"/>
                  </a:lnTo>
                  <a:lnTo>
                    <a:pt x="278" y="371"/>
                  </a:lnTo>
                  <a:lnTo>
                    <a:pt x="278" y="371"/>
                  </a:lnTo>
                  <a:lnTo>
                    <a:pt x="280" y="371"/>
                  </a:lnTo>
                  <a:lnTo>
                    <a:pt x="284" y="371"/>
                  </a:lnTo>
                  <a:lnTo>
                    <a:pt x="284" y="371"/>
                  </a:lnTo>
                  <a:lnTo>
                    <a:pt x="286" y="371"/>
                  </a:lnTo>
                  <a:lnTo>
                    <a:pt x="288" y="371"/>
                  </a:lnTo>
                  <a:lnTo>
                    <a:pt x="290" y="371"/>
                  </a:lnTo>
                  <a:lnTo>
                    <a:pt x="293" y="371"/>
                  </a:lnTo>
                  <a:lnTo>
                    <a:pt x="295" y="371"/>
                  </a:lnTo>
                  <a:lnTo>
                    <a:pt x="297" y="369"/>
                  </a:lnTo>
                  <a:lnTo>
                    <a:pt x="299" y="367"/>
                  </a:lnTo>
                  <a:lnTo>
                    <a:pt x="303" y="367"/>
                  </a:lnTo>
                  <a:lnTo>
                    <a:pt x="315" y="365"/>
                  </a:lnTo>
                  <a:lnTo>
                    <a:pt x="336" y="365"/>
                  </a:lnTo>
                  <a:lnTo>
                    <a:pt x="340" y="363"/>
                  </a:lnTo>
                  <a:lnTo>
                    <a:pt x="342" y="361"/>
                  </a:lnTo>
                  <a:lnTo>
                    <a:pt x="344" y="361"/>
                  </a:lnTo>
                  <a:lnTo>
                    <a:pt x="346" y="361"/>
                  </a:lnTo>
                  <a:lnTo>
                    <a:pt x="352" y="363"/>
                  </a:lnTo>
                  <a:lnTo>
                    <a:pt x="356" y="363"/>
                  </a:lnTo>
                  <a:lnTo>
                    <a:pt x="362" y="363"/>
                  </a:lnTo>
                  <a:lnTo>
                    <a:pt x="381" y="365"/>
                  </a:lnTo>
                  <a:lnTo>
                    <a:pt x="385" y="365"/>
                  </a:lnTo>
                  <a:lnTo>
                    <a:pt x="389" y="361"/>
                  </a:lnTo>
                  <a:lnTo>
                    <a:pt x="391" y="361"/>
                  </a:lnTo>
                  <a:lnTo>
                    <a:pt x="393" y="363"/>
                  </a:lnTo>
                  <a:lnTo>
                    <a:pt x="403" y="365"/>
                  </a:lnTo>
                  <a:lnTo>
                    <a:pt x="413" y="365"/>
                  </a:lnTo>
                  <a:lnTo>
                    <a:pt x="424" y="367"/>
                  </a:lnTo>
                  <a:lnTo>
                    <a:pt x="434" y="369"/>
                  </a:lnTo>
                  <a:lnTo>
                    <a:pt x="442" y="371"/>
                  </a:lnTo>
                  <a:lnTo>
                    <a:pt x="463" y="373"/>
                  </a:lnTo>
                  <a:lnTo>
                    <a:pt x="473" y="375"/>
                  </a:lnTo>
                  <a:lnTo>
                    <a:pt x="483" y="377"/>
                  </a:lnTo>
                  <a:lnTo>
                    <a:pt x="493" y="379"/>
                  </a:lnTo>
                  <a:lnTo>
                    <a:pt x="503" y="381"/>
                  </a:lnTo>
                  <a:lnTo>
                    <a:pt x="512" y="381"/>
                  </a:lnTo>
                  <a:lnTo>
                    <a:pt x="522" y="383"/>
                  </a:lnTo>
                  <a:lnTo>
                    <a:pt x="532" y="385"/>
                  </a:lnTo>
                  <a:lnTo>
                    <a:pt x="542" y="387"/>
                  </a:lnTo>
                  <a:lnTo>
                    <a:pt x="553" y="387"/>
                  </a:lnTo>
                  <a:lnTo>
                    <a:pt x="553" y="383"/>
                  </a:lnTo>
                  <a:lnTo>
                    <a:pt x="549" y="377"/>
                  </a:lnTo>
                  <a:lnTo>
                    <a:pt x="549" y="377"/>
                  </a:lnTo>
                  <a:lnTo>
                    <a:pt x="551" y="375"/>
                  </a:lnTo>
                  <a:lnTo>
                    <a:pt x="553" y="373"/>
                  </a:lnTo>
                  <a:lnTo>
                    <a:pt x="553" y="371"/>
                  </a:lnTo>
                  <a:lnTo>
                    <a:pt x="553" y="369"/>
                  </a:lnTo>
                  <a:lnTo>
                    <a:pt x="553" y="367"/>
                  </a:lnTo>
                  <a:lnTo>
                    <a:pt x="553" y="361"/>
                  </a:lnTo>
                  <a:lnTo>
                    <a:pt x="551" y="359"/>
                  </a:lnTo>
                  <a:lnTo>
                    <a:pt x="549" y="355"/>
                  </a:lnTo>
                  <a:lnTo>
                    <a:pt x="546" y="348"/>
                  </a:lnTo>
                  <a:lnTo>
                    <a:pt x="546" y="348"/>
                  </a:lnTo>
                  <a:lnTo>
                    <a:pt x="546" y="346"/>
                  </a:lnTo>
                  <a:lnTo>
                    <a:pt x="549" y="342"/>
                  </a:lnTo>
                  <a:lnTo>
                    <a:pt x="549" y="340"/>
                  </a:lnTo>
                  <a:lnTo>
                    <a:pt x="551" y="324"/>
                  </a:lnTo>
                  <a:lnTo>
                    <a:pt x="555" y="307"/>
                  </a:lnTo>
                  <a:lnTo>
                    <a:pt x="557" y="291"/>
                  </a:lnTo>
                  <a:lnTo>
                    <a:pt x="559" y="275"/>
                  </a:lnTo>
                  <a:lnTo>
                    <a:pt x="561" y="258"/>
                  </a:lnTo>
                  <a:lnTo>
                    <a:pt x="563" y="242"/>
                  </a:lnTo>
                  <a:lnTo>
                    <a:pt x="565" y="225"/>
                  </a:lnTo>
                  <a:lnTo>
                    <a:pt x="569" y="209"/>
                  </a:lnTo>
                  <a:lnTo>
                    <a:pt x="571" y="195"/>
                  </a:lnTo>
                  <a:lnTo>
                    <a:pt x="573" y="178"/>
                  </a:lnTo>
                  <a:lnTo>
                    <a:pt x="575" y="162"/>
                  </a:lnTo>
                  <a:lnTo>
                    <a:pt x="577" y="146"/>
                  </a:lnTo>
                  <a:lnTo>
                    <a:pt x="581" y="129"/>
                  </a:lnTo>
                  <a:lnTo>
                    <a:pt x="583" y="113"/>
                  </a:lnTo>
                  <a:lnTo>
                    <a:pt x="585" y="98"/>
                  </a:lnTo>
                  <a:lnTo>
                    <a:pt x="587" y="82"/>
                  </a:lnTo>
                  <a:lnTo>
                    <a:pt x="579" y="80"/>
                  </a:lnTo>
                  <a:close/>
                  <a:moveTo>
                    <a:pt x="143" y="0"/>
                  </a:moveTo>
                  <a:lnTo>
                    <a:pt x="139" y="0"/>
                  </a:lnTo>
                  <a:lnTo>
                    <a:pt x="139" y="0"/>
                  </a:lnTo>
                  <a:lnTo>
                    <a:pt x="139" y="2"/>
                  </a:lnTo>
                  <a:lnTo>
                    <a:pt x="143" y="0"/>
                  </a:lnTo>
                  <a:lnTo>
                    <a:pt x="143" y="0"/>
                  </a:lnTo>
                  <a:close/>
                  <a:moveTo>
                    <a:pt x="125" y="31"/>
                  </a:moveTo>
                  <a:lnTo>
                    <a:pt x="127" y="31"/>
                  </a:lnTo>
                  <a:lnTo>
                    <a:pt x="125" y="31"/>
                  </a:lnTo>
                  <a:lnTo>
                    <a:pt x="125" y="31"/>
                  </a:lnTo>
                  <a:lnTo>
                    <a:pt x="125" y="29"/>
                  </a:lnTo>
                  <a:lnTo>
                    <a:pt x="125" y="31"/>
                  </a:lnTo>
                  <a:lnTo>
                    <a:pt x="127" y="31"/>
                  </a:lnTo>
                  <a:lnTo>
                    <a:pt x="127" y="31"/>
                  </a:lnTo>
                  <a:lnTo>
                    <a:pt x="127" y="31"/>
                  </a:lnTo>
                  <a:lnTo>
                    <a:pt x="127" y="29"/>
                  </a:lnTo>
                  <a:lnTo>
                    <a:pt x="127" y="29"/>
                  </a:lnTo>
                  <a:lnTo>
                    <a:pt x="127" y="29"/>
                  </a:lnTo>
                  <a:lnTo>
                    <a:pt x="127" y="29"/>
                  </a:lnTo>
                  <a:lnTo>
                    <a:pt x="125" y="29"/>
                  </a:lnTo>
                  <a:lnTo>
                    <a:pt x="125" y="29"/>
                  </a:lnTo>
                  <a:lnTo>
                    <a:pt x="125" y="29"/>
                  </a:lnTo>
                  <a:lnTo>
                    <a:pt x="125" y="29"/>
                  </a:lnTo>
                  <a:lnTo>
                    <a:pt x="123" y="27"/>
                  </a:lnTo>
                  <a:lnTo>
                    <a:pt x="123" y="27"/>
                  </a:lnTo>
                  <a:lnTo>
                    <a:pt x="123" y="29"/>
                  </a:lnTo>
                  <a:lnTo>
                    <a:pt x="125" y="31"/>
                  </a:lnTo>
                  <a:close/>
                  <a:moveTo>
                    <a:pt x="163" y="53"/>
                  </a:moveTo>
                  <a:lnTo>
                    <a:pt x="163" y="53"/>
                  </a:lnTo>
                  <a:lnTo>
                    <a:pt x="166" y="53"/>
                  </a:lnTo>
                  <a:lnTo>
                    <a:pt x="168" y="53"/>
                  </a:lnTo>
                  <a:lnTo>
                    <a:pt x="168" y="53"/>
                  </a:lnTo>
                  <a:lnTo>
                    <a:pt x="168" y="53"/>
                  </a:lnTo>
                  <a:lnTo>
                    <a:pt x="168" y="53"/>
                  </a:lnTo>
                  <a:lnTo>
                    <a:pt x="168" y="51"/>
                  </a:lnTo>
                  <a:lnTo>
                    <a:pt x="166" y="49"/>
                  </a:lnTo>
                  <a:lnTo>
                    <a:pt x="163" y="47"/>
                  </a:lnTo>
                  <a:lnTo>
                    <a:pt x="163" y="47"/>
                  </a:lnTo>
                  <a:lnTo>
                    <a:pt x="163" y="47"/>
                  </a:lnTo>
                  <a:lnTo>
                    <a:pt x="163" y="49"/>
                  </a:lnTo>
                  <a:lnTo>
                    <a:pt x="163" y="49"/>
                  </a:lnTo>
                  <a:lnTo>
                    <a:pt x="161" y="51"/>
                  </a:lnTo>
                  <a:lnTo>
                    <a:pt x="163" y="53"/>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A</a:t>
              </a:r>
            </a:p>
          </p:txBody>
        </p:sp>
        <p:sp>
          <p:nvSpPr>
            <p:cNvPr id="142" name="Freeform 9">
              <a:extLst>
                <a:ext uri="{FF2B5EF4-FFF2-40B4-BE49-F238E27FC236}">
                  <a16:creationId xmlns:a16="http://schemas.microsoft.com/office/drawing/2014/main" id="{9FB0C92E-479B-95DA-897C-D341635096FE}"/>
                </a:ext>
              </a:extLst>
            </p:cNvPr>
            <p:cNvSpPr>
              <a:spLocks/>
            </p:cNvSpPr>
            <p:nvPr/>
          </p:nvSpPr>
          <p:spPr bwMode="auto">
            <a:xfrm>
              <a:off x="4810" y="303"/>
              <a:ext cx="150" cy="265"/>
            </a:xfrm>
            <a:custGeom>
              <a:avLst/>
              <a:gdLst>
                <a:gd name="T0" fmla="*/ 2 w 150"/>
                <a:gd name="T1" fmla="*/ 37 h 265"/>
                <a:gd name="T2" fmla="*/ 2 w 150"/>
                <a:gd name="T3" fmla="*/ 41 h 265"/>
                <a:gd name="T4" fmla="*/ 0 w 150"/>
                <a:gd name="T5" fmla="*/ 45 h 265"/>
                <a:gd name="T6" fmla="*/ 2 w 150"/>
                <a:gd name="T7" fmla="*/ 56 h 265"/>
                <a:gd name="T8" fmla="*/ 4 w 150"/>
                <a:gd name="T9" fmla="*/ 62 h 265"/>
                <a:gd name="T10" fmla="*/ 2 w 150"/>
                <a:gd name="T11" fmla="*/ 64 h 265"/>
                <a:gd name="T12" fmla="*/ 7 w 150"/>
                <a:gd name="T13" fmla="*/ 68 h 265"/>
                <a:gd name="T14" fmla="*/ 2 w 150"/>
                <a:gd name="T15" fmla="*/ 68 h 265"/>
                <a:gd name="T16" fmla="*/ 2 w 150"/>
                <a:gd name="T17" fmla="*/ 76 h 265"/>
                <a:gd name="T18" fmla="*/ 4 w 150"/>
                <a:gd name="T19" fmla="*/ 78 h 265"/>
                <a:gd name="T20" fmla="*/ 9 w 150"/>
                <a:gd name="T21" fmla="*/ 84 h 265"/>
                <a:gd name="T22" fmla="*/ 13 w 150"/>
                <a:gd name="T23" fmla="*/ 93 h 265"/>
                <a:gd name="T24" fmla="*/ 13 w 150"/>
                <a:gd name="T25" fmla="*/ 101 h 265"/>
                <a:gd name="T26" fmla="*/ 15 w 150"/>
                <a:gd name="T27" fmla="*/ 95 h 265"/>
                <a:gd name="T28" fmla="*/ 19 w 150"/>
                <a:gd name="T29" fmla="*/ 105 h 265"/>
                <a:gd name="T30" fmla="*/ 17 w 150"/>
                <a:gd name="T31" fmla="*/ 119 h 265"/>
                <a:gd name="T32" fmla="*/ 19 w 150"/>
                <a:gd name="T33" fmla="*/ 138 h 265"/>
                <a:gd name="T34" fmla="*/ 21 w 150"/>
                <a:gd name="T35" fmla="*/ 140 h 265"/>
                <a:gd name="T36" fmla="*/ 25 w 150"/>
                <a:gd name="T37" fmla="*/ 152 h 265"/>
                <a:gd name="T38" fmla="*/ 27 w 150"/>
                <a:gd name="T39" fmla="*/ 158 h 265"/>
                <a:gd name="T40" fmla="*/ 31 w 150"/>
                <a:gd name="T41" fmla="*/ 164 h 265"/>
                <a:gd name="T42" fmla="*/ 31 w 150"/>
                <a:gd name="T43" fmla="*/ 179 h 265"/>
                <a:gd name="T44" fmla="*/ 33 w 150"/>
                <a:gd name="T45" fmla="*/ 185 h 265"/>
                <a:gd name="T46" fmla="*/ 35 w 150"/>
                <a:gd name="T47" fmla="*/ 183 h 265"/>
                <a:gd name="T48" fmla="*/ 35 w 150"/>
                <a:gd name="T49" fmla="*/ 179 h 265"/>
                <a:gd name="T50" fmla="*/ 37 w 150"/>
                <a:gd name="T51" fmla="*/ 177 h 265"/>
                <a:gd name="T52" fmla="*/ 43 w 150"/>
                <a:gd name="T53" fmla="*/ 181 h 265"/>
                <a:gd name="T54" fmla="*/ 47 w 150"/>
                <a:gd name="T55" fmla="*/ 185 h 265"/>
                <a:gd name="T56" fmla="*/ 50 w 150"/>
                <a:gd name="T57" fmla="*/ 201 h 265"/>
                <a:gd name="T58" fmla="*/ 58 w 150"/>
                <a:gd name="T59" fmla="*/ 238 h 265"/>
                <a:gd name="T60" fmla="*/ 62 w 150"/>
                <a:gd name="T61" fmla="*/ 252 h 265"/>
                <a:gd name="T62" fmla="*/ 66 w 150"/>
                <a:gd name="T63" fmla="*/ 265 h 265"/>
                <a:gd name="T64" fmla="*/ 93 w 150"/>
                <a:gd name="T65" fmla="*/ 259 h 265"/>
                <a:gd name="T66" fmla="*/ 113 w 150"/>
                <a:gd name="T67" fmla="*/ 257 h 265"/>
                <a:gd name="T68" fmla="*/ 129 w 150"/>
                <a:gd name="T69" fmla="*/ 252 h 265"/>
                <a:gd name="T70" fmla="*/ 119 w 150"/>
                <a:gd name="T71" fmla="*/ 242 h 265"/>
                <a:gd name="T72" fmla="*/ 117 w 150"/>
                <a:gd name="T73" fmla="*/ 236 h 265"/>
                <a:gd name="T74" fmla="*/ 121 w 150"/>
                <a:gd name="T75" fmla="*/ 226 h 265"/>
                <a:gd name="T76" fmla="*/ 119 w 150"/>
                <a:gd name="T77" fmla="*/ 207 h 265"/>
                <a:gd name="T78" fmla="*/ 117 w 150"/>
                <a:gd name="T79" fmla="*/ 201 h 265"/>
                <a:gd name="T80" fmla="*/ 117 w 150"/>
                <a:gd name="T81" fmla="*/ 197 h 265"/>
                <a:gd name="T82" fmla="*/ 117 w 150"/>
                <a:gd name="T83" fmla="*/ 191 h 265"/>
                <a:gd name="T84" fmla="*/ 115 w 150"/>
                <a:gd name="T85" fmla="*/ 160 h 265"/>
                <a:gd name="T86" fmla="*/ 115 w 150"/>
                <a:gd name="T87" fmla="*/ 148 h 265"/>
                <a:gd name="T88" fmla="*/ 121 w 150"/>
                <a:gd name="T89" fmla="*/ 136 h 265"/>
                <a:gd name="T90" fmla="*/ 125 w 150"/>
                <a:gd name="T91" fmla="*/ 117 h 265"/>
                <a:gd name="T92" fmla="*/ 123 w 150"/>
                <a:gd name="T93" fmla="*/ 113 h 265"/>
                <a:gd name="T94" fmla="*/ 121 w 150"/>
                <a:gd name="T95" fmla="*/ 84 h 265"/>
                <a:gd name="T96" fmla="*/ 133 w 150"/>
                <a:gd name="T97" fmla="*/ 74 h 265"/>
                <a:gd name="T98" fmla="*/ 144 w 150"/>
                <a:gd name="T99" fmla="*/ 62 h 265"/>
                <a:gd name="T100" fmla="*/ 148 w 150"/>
                <a:gd name="T101" fmla="*/ 52 h 265"/>
                <a:gd name="T102" fmla="*/ 150 w 150"/>
                <a:gd name="T103" fmla="*/ 45 h 265"/>
                <a:gd name="T104" fmla="*/ 144 w 150"/>
                <a:gd name="T105" fmla="*/ 35 h 265"/>
                <a:gd name="T106" fmla="*/ 140 w 150"/>
                <a:gd name="T107" fmla="*/ 27 h 265"/>
                <a:gd name="T108" fmla="*/ 144 w 150"/>
                <a:gd name="T109" fmla="*/ 9 h 265"/>
                <a:gd name="T110" fmla="*/ 144 w 150"/>
                <a:gd name="T111" fmla="*/ 0 h 265"/>
                <a:gd name="T112" fmla="*/ 105 w 150"/>
                <a:gd name="T113" fmla="*/ 11 h 265"/>
                <a:gd name="T114" fmla="*/ 66 w 150"/>
                <a:gd name="T115" fmla="*/ 21 h 265"/>
                <a:gd name="T116" fmla="*/ 21 w 150"/>
                <a:gd name="T117" fmla="*/ 31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265">
                  <a:moveTo>
                    <a:pt x="17" y="33"/>
                  </a:moveTo>
                  <a:lnTo>
                    <a:pt x="13" y="33"/>
                  </a:lnTo>
                  <a:lnTo>
                    <a:pt x="13" y="35"/>
                  </a:lnTo>
                  <a:lnTo>
                    <a:pt x="7" y="35"/>
                  </a:lnTo>
                  <a:lnTo>
                    <a:pt x="2" y="37"/>
                  </a:lnTo>
                  <a:lnTo>
                    <a:pt x="2" y="37"/>
                  </a:lnTo>
                  <a:lnTo>
                    <a:pt x="0" y="37"/>
                  </a:lnTo>
                  <a:lnTo>
                    <a:pt x="2" y="39"/>
                  </a:lnTo>
                  <a:lnTo>
                    <a:pt x="2" y="41"/>
                  </a:lnTo>
                  <a:lnTo>
                    <a:pt x="2" y="41"/>
                  </a:lnTo>
                  <a:lnTo>
                    <a:pt x="2" y="43"/>
                  </a:lnTo>
                  <a:lnTo>
                    <a:pt x="2" y="43"/>
                  </a:lnTo>
                  <a:lnTo>
                    <a:pt x="0" y="43"/>
                  </a:lnTo>
                  <a:lnTo>
                    <a:pt x="0" y="43"/>
                  </a:lnTo>
                  <a:lnTo>
                    <a:pt x="0" y="45"/>
                  </a:lnTo>
                  <a:lnTo>
                    <a:pt x="2" y="48"/>
                  </a:lnTo>
                  <a:lnTo>
                    <a:pt x="2" y="52"/>
                  </a:lnTo>
                  <a:lnTo>
                    <a:pt x="2" y="54"/>
                  </a:lnTo>
                  <a:lnTo>
                    <a:pt x="2" y="56"/>
                  </a:lnTo>
                  <a:lnTo>
                    <a:pt x="2" y="56"/>
                  </a:lnTo>
                  <a:lnTo>
                    <a:pt x="4" y="58"/>
                  </a:lnTo>
                  <a:lnTo>
                    <a:pt x="4" y="58"/>
                  </a:lnTo>
                  <a:lnTo>
                    <a:pt x="4" y="60"/>
                  </a:lnTo>
                  <a:lnTo>
                    <a:pt x="4" y="62"/>
                  </a:lnTo>
                  <a:lnTo>
                    <a:pt x="4" y="62"/>
                  </a:lnTo>
                  <a:lnTo>
                    <a:pt x="4" y="62"/>
                  </a:lnTo>
                  <a:lnTo>
                    <a:pt x="2" y="62"/>
                  </a:lnTo>
                  <a:lnTo>
                    <a:pt x="2" y="64"/>
                  </a:lnTo>
                  <a:lnTo>
                    <a:pt x="2" y="64"/>
                  </a:lnTo>
                  <a:lnTo>
                    <a:pt x="2" y="64"/>
                  </a:lnTo>
                  <a:lnTo>
                    <a:pt x="4" y="66"/>
                  </a:lnTo>
                  <a:lnTo>
                    <a:pt x="4" y="66"/>
                  </a:lnTo>
                  <a:lnTo>
                    <a:pt x="7" y="66"/>
                  </a:lnTo>
                  <a:lnTo>
                    <a:pt x="7" y="68"/>
                  </a:lnTo>
                  <a:lnTo>
                    <a:pt x="7" y="68"/>
                  </a:lnTo>
                  <a:lnTo>
                    <a:pt x="7" y="70"/>
                  </a:lnTo>
                  <a:lnTo>
                    <a:pt x="7" y="70"/>
                  </a:lnTo>
                  <a:lnTo>
                    <a:pt x="4" y="68"/>
                  </a:lnTo>
                  <a:lnTo>
                    <a:pt x="4" y="68"/>
                  </a:lnTo>
                  <a:lnTo>
                    <a:pt x="2" y="68"/>
                  </a:lnTo>
                  <a:lnTo>
                    <a:pt x="2" y="68"/>
                  </a:lnTo>
                  <a:lnTo>
                    <a:pt x="2" y="70"/>
                  </a:lnTo>
                  <a:lnTo>
                    <a:pt x="4" y="72"/>
                  </a:lnTo>
                  <a:lnTo>
                    <a:pt x="4" y="74"/>
                  </a:lnTo>
                  <a:lnTo>
                    <a:pt x="2" y="76"/>
                  </a:lnTo>
                  <a:lnTo>
                    <a:pt x="4" y="76"/>
                  </a:lnTo>
                  <a:lnTo>
                    <a:pt x="4" y="78"/>
                  </a:lnTo>
                  <a:lnTo>
                    <a:pt x="4" y="78"/>
                  </a:lnTo>
                  <a:lnTo>
                    <a:pt x="4" y="78"/>
                  </a:lnTo>
                  <a:lnTo>
                    <a:pt x="4" y="78"/>
                  </a:lnTo>
                  <a:lnTo>
                    <a:pt x="4" y="80"/>
                  </a:lnTo>
                  <a:lnTo>
                    <a:pt x="7" y="82"/>
                  </a:lnTo>
                  <a:lnTo>
                    <a:pt x="7" y="84"/>
                  </a:lnTo>
                  <a:lnTo>
                    <a:pt x="9" y="84"/>
                  </a:lnTo>
                  <a:lnTo>
                    <a:pt x="9" y="84"/>
                  </a:lnTo>
                  <a:lnTo>
                    <a:pt x="11" y="86"/>
                  </a:lnTo>
                  <a:lnTo>
                    <a:pt x="11" y="88"/>
                  </a:lnTo>
                  <a:lnTo>
                    <a:pt x="9" y="91"/>
                  </a:lnTo>
                  <a:lnTo>
                    <a:pt x="11" y="93"/>
                  </a:lnTo>
                  <a:lnTo>
                    <a:pt x="13" y="93"/>
                  </a:lnTo>
                  <a:lnTo>
                    <a:pt x="13" y="95"/>
                  </a:lnTo>
                  <a:lnTo>
                    <a:pt x="11" y="97"/>
                  </a:lnTo>
                  <a:lnTo>
                    <a:pt x="11" y="97"/>
                  </a:lnTo>
                  <a:lnTo>
                    <a:pt x="13" y="99"/>
                  </a:lnTo>
                  <a:lnTo>
                    <a:pt x="13" y="101"/>
                  </a:lnTo>
                  <a:lnTo>
                    <a:pt x="13" y="99"/>
                  </a:lnTo>
                  <a:lnTo>
                    <a:pt x="13" y="97"/>
                  </a:lnTo>
                  <a:lnTo>
                    <a:pt x="13" y="95"/>
                  </a:lnTo>
                  <a:lnTo>
                    <a:pt x="13" y="95"/>
                  </a:lnTo>
                  <a:lnTo>
                    <a:pt x="15" y="95"/>
                  </a:lnTo>
                  <a:lnTo>
                    <a:pt x="15" y="101"/>
                  </a:lnTo>
                  <a:lnTo>
                    <a:pt x="15" y="101"/>
                  </a:lnTo>
                  <a:lnTo>
                    <a:pt x="17" y="101"/>
                  </a:lnTo>
                  <a:lnTo>
                    <a:pt x="17" y="103"/>
                  </a:lnTo>
                  <a:lnTo>
                    <a:pt x="19" y="105"/>
                  </a:lnTo>
                  <a:lnTo>
                    <a:pt x="19" y="109"/>
                  </a:lnTo>
                  <a:lnTo>
                    <a:pt x="19" y="109"/>
                  </a:lnTo>
                  <a:lnTo>
                    <a:pt x="21" y="111"/>
                  </a:lnTo>
                  <a:lnTo>
                    <a:pt x="21" y="113"/>
                  </a:lnTo>
                  <a:lnTo>
                    <a:pt x="17" y="119"/>
                  </a:lnTo>
                  <a:lnTo>
                    <a:pt x="15" y="121"/>
                  </a:lnTo>
                  <a:lnTo>
                    <a:pt x="17" y="123"/>
                  </a:lnTo>
                  <a:lnTo>
                    <a:pt x="17" y="136"/>
                  </a:lnTo>
                  <a:lnTo>
                    <a:pt x="19" y="140"/>
                  </a:lnTo>
                  <a:lnTo>
                    <a:pt x="19" y="138"/>
                  </a:lnTo>
                  <a:lnTo>
                    <a:pt x="19" y="138"/>
                  </a:lnTo>
                  <a:lnTo>
                    <a:pt x="21" y="138"/>
                  </a:lnTo>
                  <a:lnTo>
                    <a:pt x="21" y="138"/>
                  </a:lnTo>
                  <a:lnTo>
                    <a:pt x="21" y="138"/>
                  </a:lnTo>
                  <a:lnTo>
                    <a:pt x="21" y="140"/>
                  </a:lnTo>
                  <a:lnTo>
                    <a:pt x="21" y="142"/>
                  </a:lnTo>
                  <a:lnTo>
                    <a:pt x="23" y="146"/>
                  </a:lnTo>
                  <a:lnTo>
                    <a:pt x="23" y="148"/>
                  </a:lnTo>
                  <a:lnTo>
                    <a:pt x="25" y="150"/>
                  </a:lnTo>
                  <a:lnTo>
                    <a:pt x="25" y="152"/>
                  </a:lnTo>
                  <a:lnTo>
                    <a:pt x="27" y="152"/>
                  </a:lnTo>
                  <a:lnTo>
                    <a:pt x="27" y="154"/>
                  </a:lnTo>
                  <a:lnTo>
                    <a:pt x="27" y="154"/>
                  </a:lnTo>
                  <a:lnTo>
                    <a:pt x="27" y="156"/>
                  </a:lnTo>
                  <a:lnTo>
                    <a:pt x="27" y="158"/>
                  </a:lnTo>
                  <a:lnTo>
                    <a:pt x="27" y="158"/>
                  </a:lnTo>
                  <a:lnTo>
                    <a:pt x="29" y="160"/>
                  </a:lnTo>
                  <a:lnTo>
                    <a:pt x="31" y="160"/>
                  </a:lnTo>
                  <a:lnTo>
                    <a:pt x="31" y="162"/>
                  </a:lnTo>
                  <a:lnTo>
                    <a:pt x="31" y="164"/>
                  </a:lnTo>
                  <a:lnTo>
                    <a:pt x="31" y="164"/>
                  </a:lnTo>
                  <a:lnTo>
                    <a:pt x="31" y="166"/>
                  </a:lnTo>
                  <a:lnTo>
                    <a:pt x="31" y="177"/>
                  </a:lnTo>
                  <a:lnTo>
                    <a:pt x="31" y="177"/>
                  </a:lnTo>
                  <a:lnTo>
                    <a:pt x="31" y="179"/>
                  </a:lnTo>
                  <a:lnTo>
                    <a:pt x="31" y="181"/>
                  </a:lnTo>
                  <a:lnTo>
                    <a:pt x="31" y="183"/>
                  </a:lnTo>
                  <a:lnTo>
                    <a:pt x="31" y="183"/>
                  </a:lnTo>
                  <a:lnTo>
                    <a:pt x="33" y="185"/>
                  </a:lnTo>
                  <a:lnTo>
                    <a:pt x="33" y="185"/>
                  </a:lnTo>
                  <a:lnTo>
                    <a:pt x="33" y="185"/>
                  </a:lnTo>
                  <a:lnTo>
                    <a:pt x="33" y="185"/>
                  </a:lnTo>
                  <a:lnTo>
                    <a:pt x="35" y="183"/>
                  </a:lnTo>
                  <a:lnTo>
                    <a:pt x="35" y="183"/>
                  </a:lnTo>
                  <a:lnTo>
                    <a:pt x="35" y="183"/>
                  </a:lnTo>
                  <a:lnTo>
                    <a:pt x="35" y="183"/>
                  </a:lnTo>
                  <a:lnTo>
                    <a:pt x="35" y="181"/>
                  </a:lnTo>
                  <a:lnTo>
                    <a:pt x="35" y="179"/>
                  </a:lnTo>
                  <a:lnTo>
                    <a:pt x="35" y="179"/>
                  </a:lnTo>
                  <a:lnTo>
                    <a:pt x="35" y="179"/>
                  </a:lnTo>
                  <a:lnTo>
                    <a:pt x="35" y="179"/>
                  </a:lnTo>
                  <a:lnTo>
                    <a:pt x="37" y="177"/>
                  </a:lnTo>
                  <a:lnTo>
                    <a:pt x="37" y="177"/>
                  </a:lnTo>
                  <a:lnTo>
                    <a:pt x="37" y="177"/>
                  </a:lnTo>
                  <a:lnTo>
                    <a:pt x="37" y="177"/>
                  </a:lnTo>
                  <a:lnTo>
                    <a:pt x="39" y="177"/>
                  </a:lnTo>
                  <a:lnTo>
                    <a:pt x="39" y="177"/>
                  </a:lnTo>
                  <a:lnTo>
                    <a:pt x="41" y="177"/>
                  </a:lnTo>
                  <a:lnTo>
                    <a:pt x="41" y="179"/>
                  </a:lnTo>
                  <a:lnTo>
                    <a:pt x="43" y="181"/>
                  </a:lnTo>
                  <a:lnTo>
                    <a:pt x="43" y="183"/>
                  </a:lnTo>
                  <a:lnTo>
                    <a:pt x="45" y="183"/>
                  </a:lnTo>
                  <a:lnTo>
                    <a:pt x="45" y="183"/>
                  </a:lnTo>
                  <a:lnTo>
                    <a:pt x="45" y="183"/>
                  </a:lnTo>
                  <a:lnTo>
                    <a:pt x="47" y="185"/>
                  </a:lnTo>
                  <a:lnTo>
                    <a:pt x="47" y="187"/>
                  </a:lnTo>
                  <a:lnTo>
                    <a:pt x="47" y="189"/>
                  </a:lnTo>
                  <a:lnTo>
                    <a:pt x="47" y="191"/>
                  </a:lnTo>
                  <a:lnTo>
                    <a:pt x="50" y="195"/>
                  </a:lnTo>
                  <a:lnTo>
                    <a:pt x="50" y="201"/>
                  </a:lnTo>
                  <a:lnTo>
                    <a:pt x="52" y="207"/>
                  </a:lnTo>
                  <a:lnTo>
                    <a:pt x="54" y="214"/>
                  </a:lnTo>
                  <a:lnTo>
                    <a:pt x="56" y="226"/>
                  </a:lnTo>
                  <a:lnTo>
                    <a:pt x="58" y="232"/>
                  </a:lnTo>
                  <a:lnTo>
                    <a:pt x="58" y="238"/>
                  </a:lnTo>
                  <a:lnTo>
                    <a:pt x="60" y="242"/>
                  </a:lnTo>
                  <a:lnTo>
                    <a:pt x="60" y="246"/>
                  </a:lnTo>
                  <a:lnTo>
                    <a:pt x="62" y="250"/>
                  </a:lnTo>
                  <a:lnTo>
                    <a:pt x="62" y="252"/>
                  </a:lnTo>
                  <a:lnTo>
                    <a:pt x="62" y="252"/>
                  </a:lnTo>
                  <a:lnTo>
                    <a:pt x="62" y="254"/>
                  </a:lnTo>
                  <a:lnTo>
                    <a:pt x="62" y="257"/>
                  </a:lnTo>
                  <a:lnTo>
                    <a:pt x="62" y="261"/>
                  </a:lnTo>
                  <a:lnTo>
                    <a:pt x="64" y="263"/>
                  </a:lnTo>
                  <a:lnTo>
                    <a:pt x="66" y="265"/>
                  </a:lnTo>
                  <a:lnTo>
                    <a:pt x="78" y="263"/>
                  </a:lnTo>
                  <a:lnTo>
                    <a:pt x="82" y="263"/>
                  </a:lnTo>
                  <a:lnTo>
                    <a:pt x="86" y="261"/>
                  </a:lnTo>
                  <a:lnTo>
                    <a:pt x="88" y="261"/>
                  </a:lnTo>
                  <a:lnTo>
                    <a:pt x="93" y="259"/>
                  </a:lnTo>
                  <a:lnTo>
                    <a:pt x="97" y="259"/>
                  </a:lnTo>
                  <a:lnTo>
                    <a:pt x="101" y="259"/>
                  </a:lnTo>
                  <a:lnTo>
                    <a:pt x="105" y="257"/>
                  </a:lnTo>
                  <a:lnTo>
                    <a:pt x="109" y="257"/>
                  </a:lnTo>
                  <a:lnTo>
                    <a:pt x="113" y="257"/>
                  </a:lnTo>
                  <a:lnTo>
                    <a:pt x="117" y="254"/>
                  </a:lnTo>
                  <a:lnTo>
                    <a:pt x="121" y="254"/>
                  </a:lnTo>
                  <a:lnTo>
                    <a:pt x="125" y="252"/>
                  </a:lnTo>
                  <a:lnTo>
                    <a:pt x="129" y="252"/>
                  </a:lnTo>
                  <a:lnTo>
                    <a:pt x="129" y="252"/>
                  </a:lnTo>
                  <a:lnTo>
                    <a:pt x="127" y="248"/>
                  </a:lnTo>
                  <a:lnTo>
                    <a:pt x="125" y="248"/>
                  </a:lnTo>
                  <a:lnTo>
                    <a:pt x="121" y="244"/>
                  </a:lnTo>
                  <a:lnTo>
                    <a:pt x="119" y="244"/>
                  </a:lnTo>
                  <a:lnTo>
                    <a:pt x="119" y="242"/>
                  </a:lnTo>
                  <a:lnTo>
                    <a:pt x="119" y="242"/>
                  </a:lnTo>
                  <a:lnTo>
                    <a:pt x="117" y="240"/>
                  </a:lnTo>
                  <a:lnTo>
                    <a:pt x="117" y="238"/>
                  </a:lnTo>
                  <a:lnTo>
                    <a:pt x="117" y="238"/>
                  </a:lnTo>
                  <a:lnTo>
                    <a:pt x="117" y="236"/>
                  </a:lnTo>
                  <a:lnTo>
                    <a:pt x="119" y="234"/>
                  </a:lnTo>
                  <a:lnTo>
                    <a:pt x="117" y="230"/>
                  </a:lnTo>
                  <a:lnTo>
                    <a:pt x="117" y="228"/>
                  </a:lnTo>
                  <a:lnTo>
                    <a:pt x="119" y="228"/>
                  </a:lnTo>
                  <a:lnTo>
                    <a:pt x="121" y="226"/>
                  </a:lnTo>
                  <a:lnTo>
                    <a:pt x="121" y="224"/>
                  </a:lnTo>
                  <a:lnTo>
                    <a:pt x="119" y="220"/>
                  </a:lnTo>
                  <a:lnTo>
                    <a:pt x="119" y="214"/>
                  </a:lnTo>
                  <a:lnTo>
                    <a:pt x="119" y="211"/>
                  </a:lnTo>
                  <a:lnTo>
                    <a:pt x="119" y="207"/>
                  </a:lnTo>
                  <a:lnTo>
                    <a:pt x="117" y="207"/>
                  </a:lnTo>
                  <a:lnTo>
                    <a:pt x="117" y="203"/>
                  </a:lnTo>
                  <a:lnTo>
                    <a:pt x="117" y="201"/>
                  </a:lnTo>
                  <a:lnTo>
                    <a:pt x="117" y="201"/>
                  </a:lnTo>
                  <a:lnTo>
                    <a:pt x="117" y="201"/>
                  </a:lnTo>
                  <a:lnTo>
                    <a:pt x="117" y="199"/>
                  </a:lnTo>
                  <a:lnTo>
                    <a:pt x="117" y="199"/>
                  </a:lnTo>
                  <a:lnTo>
                    <a:pt x="117" y="199"/>
                  </a:lnTo>
                  <a:lnTo>
                    <a:pt x="117" y="199"/>
                  </a:lnTo>
                  <a:lnTo>
                    <a:pt x="117" y="197"/>
                  </a:lnTo>
                  <a:lnTo>
                    <a:pt x="117" y="197"/>
                  </a:lnTo>
                  <a:lnTo>
                    <a:pt x="117" y="195"/>
                  </a:lnTo>
                  <a:lnTo>
                    <a:pt x="117" y="195"/>
                  </a:lnTo>
                  <a:lnTo>
                    <a:pt x="119" y="193"/>
                  </a:lnTo>
                  <a:lnTo>
                    <a:pt x="117" y="191"/>
                  </a:lnTo>
                  <a:lnTo>
                    <a:pt x="117" y="187"/>
                  </a:lnTo>
                  <a:lnTo>
                    <a:pt x="113" y="168"/>
                  </a:lnTo>
                  <a:lnTo>
                    <a:pt x="113" y="166"/>
                  </a:lnTo>
                  <a:lnTo>
                    <a:pt x="113" y="164"/>
                  </a:lnTo>
                  <a:lnTo>
                    <a:pt x="115" y="160"/>
                  </a:lnTo>
                  <a:lnTo>
                    <a:pt x="115" y="158"/>
                  </a:lnTo>
                  <a:lnTo>
                    <a:pt x="115" y="156"/>
                  </a:lnTo>
                  <a:lnTo>
                    <a:pt x="115" y="152"/>
                  </a:lnTo>
                  <a:lnTo>
                    <a:pt x="115" y="148"/>
                  </a:lnTo>
                  <a:lnTo>
                    <a:pt x="115" y="148"/>
                  </a:lnTo>
                  <a:lnTo>
                    <a:pt x="117" y="146"/>
                  </a:lnTo>
                  <a:lnTo>
                    <a:pt x="117" y="144"/>
                  </a:lnTo>
                  <a:lnTo>
                    <a:pt x="121" y="140"/>
                  </a:lnTo>
                  <a:lnTo>
                    <a:pt x="121" y="138"/>
                  </a:lnTo>
                  <a:lnTo>
                    <a:pt x="121" y="136"/>
                  </a:lnTo>
                  <a:lnTo>
                    <a:pt x="121" y="134"/>
                  </a:lnTo>
                  <a:lnTo>
                    <a:pt x="121" y="132"/>
                  </a:lnTo>
                  <a:lnTo>
                    <a:pt x="121" y="127"/>
                  </a:lnTo>
                  <a:lnTo>
                    <a:pt x="121" y="125"/>
                  </a:lnTo>
                  <a:lnTo>
                    <a:pt x="125" y="117"/>
                  </a:lnTo>
                  <a:lnTo>
                    <a:pt x="125" y="117"/>
                  </a:lnTo>
                  <a:lnTo>
                    <a:pt x="123" y="117"/>
                  </a:lnTo>
                  <a:lnTo>
                    <a:pt x="123" y="115"/>
                  </a:lnTo>
                  <a:lnTo>
                    <a:pt x="123" y="115"/>
                  </a:lnTo>
                  <a:lnTo>
                    <a:pt x="123" y="113"/>
                  </a:lnTo>
                  <a:lnTo>
                    <a:pt x="125" y="107"/>
                  </a:lnTo>
                  <a:lnTo>
                    <a:pt x="125" y="103"/>
                  </a:lnTo>
                  <a:lnTo>
                    <a:pt x="123" y="99"/>
                  </a:lnTo>
                  <a:lnTo>
                    <a:pt x="121" y="91"/>
                  </a:lnTo>
                  <a:lnTo>
                    <a:pt x="121" y="84"/>
                  </a:lnTo>
                  <a:lnTo>
                    <a:pt x="121" y="80"/>
                  </a:lnTo>
                  <a:lnTo>
                    <a:pt x="123" y="78"/>
                  </a:lnTo>
                  <a:lnTo>
                    <a:pt x="127" y="76"/>
                  </a:lnTo>
                  <a:lnTo>
                    <a:pt x="131" y="76"/>
                  </a:lnTo>
                  <a:lnTo>
                    <a:pt x="133" y="74"/>
                  </a:lnTo>
                  <a:lnTo>
                    <a:pt x="136" y="74"/>
                  </a:lnTo>
                  <a:lnTo>
                    <a:pt x="136" y="70"/>
                  </a:lnTo>
                  <a:lnTo>
                    <a:pt x="138" y="68"/>
                  </a:lnTo>
                  <a:lnTo>
                    <a:pt x="144" y="62"/>
                  </a:lnTo>
                  <a:lnTo>
                    <a:pt x="144" y="62"/>
                  </a:lnTo>
                  <a:lnTo>
                    <a:pt x="146" y="60"/>
                  </a:lnTo>
                  <a:lnTo>
                    <a:pt x="146" y="58"/>
                  </a:lnTo>
                  <a:lnTo>
                    <a:pt x="148" y="56"/>
                  </a:lnTo>
                  <a:lnTo>
                    <a:pt x="150" y="52"/>
                  </a:lnTo>
                  <a:lnTo>
                    <a:pt x="148" y="52"/>
                  </a:lnTo>
                  <a:lnTo>
                    <a:pt x="148" y="50"/>
                  </a:lnTo>
                  <a:lnTo>
                    <a:pt x="148" y="48"/>
                  </a:lnTo>
                  <a:lnTo>
                    <a:pt x="148" y="45"/>
                  </a:lnTo>
                  <a:lnTo>
                    <a:pt x="150" y="45"/>
                  </a:lnTo>
                  <a:lnTo>
                    <a:pt x="150" y="45"/>
                  </a:lnTo>
                  <a:lnTo>
                    <a:pt x="150" y="43"/>
                  </a:lnTo>
                  <a:lnTo>
                    <a:pt x="150" y="43"/>
                  </a:lnTo>
                  <a:lnTo>
                    <a:pt x="150" y="41"/>
                  </a:lnTo>
                  <a:lnTo>
                    <a:pt x="148" y="41"/>
                  </a:lnTo>
                  <a:lnTo>
                    <a:pt x="144" y="35"/>
                  </a:lnTo>
                  <a:lnTo>
                    <a:pt x="144" y="35"/>
                  </a:lnTo>
                  <a:lnTo>
                    <a:pt x="144" y="33"/>
                  </a:lnTo>
                  <a:lnTo>
                    <a:pt x="142" y="31"/>
                  </a:lnTo>
                  <a:lnTo>
                    <a:pt x="140" y="31"/>
                  </a:lnTo>
                  <a:lnTo>
                    <a:pt x="140" y="27"/>
                  </a:lnTo>
                  <a:lnTo>
                    <a:pt x="142" y="23"/>
                  </a:lnTo>
                  <a:lnTo>
                    <a:pt x="144" y="19"/>
                  </a:lnTo>
                  <a:lnTo>
                    <a:pt x="146" y="13"/>
                  </a:lnTo>
                  <a:lnTo>
                    <a:pt x="146" y="11"/>
                  </a:lnTo>
                  <a:lnTo>
                    <a:pt x="144" y="9"/>
                  </a:lnTo>
                  <a:lnTo>
                    <a:pt x="144" y="7"/>
                  </a:lnTo>
                  <a:lnTo>
                    <a:pt x="142" y="4"/>
                  </a:lnTo>
                  <a:lnTo>
                    <a:pt x="142" y="2"/>
                  </a:lnTo>
                  <a:lnTo>
                    <a:pt x="142" y="0"/>
                  </a:lnTo>
                  <a:lnTo>
                    <a:pt x="144" y="0"/>
                  </a:lnTo>
                  <a:lnTo>
                    <a:pt x="136" y="2"/>
                  </a:lnTo>
                  <a:lnTo>
                    <a:pt x="127" y="4"/>
                  </a:lnTo>
                  <a:lnTo>
                    <a:pt x="119" y="7"/>
                  </a:lnTo>
                  <a:lnTo>
                    <a:pt x="113" y="9"/>
                  </a:lnTo>
                  <a:lnTo>
                    <a:pt x="105" y="11"/>
                  </a:lnTo>
                  <a:lnTo>
                    <a:pt x="97" y="13"/>
                  </a:lnTo>
                  <a:lnTo>
                    <a:pt x="90" y="15"/>
                  </a:lnTo>
                  <a:lnTo>
                    <a:pt x="82" y="17"/>
                  </a:lnTo>
                  <a:lnTo>
                    <a:pt x="74" y="19"/>
                  </a:lnTo>
                  <a:lnTo>
                    <a:pt x="66" y="21"/>
                  </a:lnTo>
                  <a:lnTo>
                    <a:pt x="60" y="23"/>
                  </a:lnTo>
                  <a:lnTo>
                    <a:pt x="52" y="25"/>
                  </a:lnTo>
                  <a:lnTo>
                    <a:pt x="35" y="29"/>
                  </a:lnTo>
                  <a:lnTo>
                    <a:pt x="29" y="31"/>
                  </a:lnTo>
                  <a:lnTo>
                    <a:pt x="21" y="31"/>
                  </a:lnTo>
                  <a:lnTo>
                    <a:pt x="21" y="31"/>
                  </a:lnTo>
                  <a:lnTo>
                    <a:pt x="19" y="33"/>
                  </a:lnTo>
                  <a:lnTo>
                    <a:pt x="17" y="33"/>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VT</a:t>
              </a:r>
            </a:p>
          </p:txBody>
        </p:sp>
        <p:sp>
          <p:nvSpPr>
            <p:cNvPr id="143" name="Freeform 10">
              <a:extLst>
                <a:ext uri="{FF2B5EF4-FFF2-40B4-BE49-F238E27FC236}">
                  <a16:creationId xmlns:a16="http://schemas.microsoft.com/office/drawing/2014/main" id="{5B5B643E-3868-B6BF-366D-FE23F7E2C4DD}"/>
                </a:ext>
              </a:extLst>
            </p:cNvPr>
            <p:cNvSpPr>
              <a:spLocks noEditPoints="1"/>
            </p:cNvSpPr>
            <p:nvPr/>
          </p:nvSpPr>
          <p:spPr bwMode="auto">
            <a:xfrm>
              <a:off x="4143" y="1002"/>
              <a:ext cx="688" cy="379"/>
            </a:xfrm>
            <a:custGeom>
              <a:avLst/>
              <a:gdLst>
                <a:gd name="T0" fmla="*/ 665 w 688"/>
                <a:gd name="T1" fmla="*/ 166 h 379"/>
                <a:gd name="T2" fmla="*/ 655 w 688"/>
                <a:gd name="T3" fmla="*/ 111 h 379"/>
                <a:gd name="T4" fmla="*/ 651 w 688"/>
                <a:gd name="T5" fmla="*/ 129 h 379"/>
                <a:gd name="T6" fmla="*/ 641 w 688"/>
                <a:gd name="T7" fmla="*/ 150 h 379"/>
                <a:gd name="T8" fmla="*/ 641 w 688"/>
                <a:gd name="T9" fmla="*/ 170 h 379"/>
                <a:gd name="T10" fmla="*/ 649 w 688"/>
                <a:gd name="T11" fmla="*/ 201 h 379"/>
                <a:gd name="T12" fmla="*/ 655 w 688"/>
                <a:gd name="T13" fmla="*/ 170 h 379"/>
                <a:gd name="T14" fmla="*/ 665 w 688"/>
                <a:gd name="T15" fmla="*/ 156 h 379"/>
                <a:gd name="T16" fmla="*/ 676 w 688"/>
                <a:gd name="T17" fmla="*/ 101 h 379"/>
                <a:gd name="T18" fmla="*/ 680 w 688"/>
                <a:gd name="T19" fmla="*/ 113 h 379"/>
                <a:gd name="T20" fmla="*/ 624 w 688"/>
                <a:gd name="T21" fmla="*/ 232 h 379"/>
                <a:gd name="T22" fmla="*/ 608 w 688"/>
                <a:gd name="T23" fmla="*/ 234 h 379"/>
                <a:gd name="T24" fmla="*/ 585 w 688"/>
                <a:gd name="T25" fmla="*/ 209 h 379"/>
                <a:gd name="T26" fmla="*/ 536 w 688"/>
                <a:gd name="T27" fmla="*/ 207 h 379"/>
                <a:gd name="T28" fmla="*/ 553 w 688"/>
                <a:gd name="T29" fmla="*/ 205 h 379"/>
                <a:gd name="T30" fmla="*/ 571 w 688"/>
                <a:gd name="T31" fmla="*/ 205 h 379"/>
                <a:gd name="T32" fmla="*/ 598 w 688"/>
                <a:gd name="T33" fmla="*/ 217 h 379"/>
                <a:gd name="T34" fmla="*/ 620 w 688"/>
                <a:gd name="T35" fmla="*/ 209 h 379"/>
                <a:gd name="T36" fmla="*/ 579 w 688"/>
                <a:gd name="T37" fmla="*/ 187 h 379"/>
                <a:gd name="T38" fmla="*/ 598 w 688"/>
                <a:gd name="T39" fmla="*/ 195 h 379"/>
                <a:gd name="T40" fmla="*/ 604 w 688"/>
                <a:gd name="T41" fmla="*/ 183 h 379"/>
                <a:gd name="T42" fmla="*/ 614 w 688"/>
                <a:gd name="T43" fmla="*/ 174 h 379"/>
                <a:gd name="T44" fmla="*/ 604 w 688"/>
                <a:gd name="T45" fmla="*/ 162 h 379"/>
                <a:gd name="T46" fmla="*/ 573 w 688"/>
                <a:gd name="T47" fmla="*/ 146 h 379"/>
                <a:gd name="T48" fmla="*/ 549 w 688"/>
                <a:gd name="T49" fmla="*/ 129 h 379"/>
                <a:gd name="T50" fmla="*/ 534 w 688"/>
                <a:gd name="T51" fmla="*/ 115 h 379"/>
                <a:gd name="T52" fmla="*/ 575 w 688"/>
                <a:gd name="T53" fmla="*/ 144 h 379"/>
                <a:gd name="T54" fmla="*/ 596 w 688"/>
                <a:gd name="T55" fmla="*/ 156 h 379"/>
                <a:gd name="T56" fmla="*/ 604 w 688"/>
                <a:gd name="T57" fmla="*/ 146 h 379"/>
                <a:gd name="T58" fmla="*/ 602 w 688"/>
                <a:gd name="T59" fmla="*/ 123 h 379"/>
                <a:gd name="T60" fmla="*/ 573 w 688"/>
                <a:gd name="T61" fmla="*/ 111 h 379"/>
                <a:gd name="T62" fmla="*/ 540 w 688"/>
                <a:gd name="T63" fmla="*/ 107 h 379"/>
                <a:gd name="T64" fmla="*/ 530 w 688"/>
                <a:gd name="T65" fmla="*/ 88 h 379"/>
                <a:gd name="T66" fmla="*/ 506 w 688"/>
                <a:gd name="T67" fmla="*/ 88 h 379"/>
                <a:gd name="T68" fmla="*/ 514 w 688"/>
                <a:gd name="T69" fmla="*/ 66 h 379"/>
                <a:gd name="T70" fmla="*/ 518 w 688"/>
                <a:gd name="T71" fmla="*/ 39 h 379"/>
                <a:gd name="T72" fmla="*/ 483 w 688"/>
                <a:gd name="T73" fmla="*/ 25 h 379"/>
                <a:gd name="T74" fmla="*/ 450 w 688"/>
                <a:gd name="T75" fmla="*/ 4 h 379"/>
                <a:gd name="T76" fmla="*/ 397 w 688"/>
                <a:gd name="T77" fmla="*/ 4 h 379"/>
                <a:gd name="T78" fmla="*/ 397 w 688"/>
                <a:gd name="T79" fmla="*/ 29 h 379"/>
                <a:gd name="T80" fmla="*/ 385 w 688"/>
                <a:gd name="T81" fmla="*/ 56 h 379"/>
                <a:gd name="T82" fmla="*/ 372 w 688"/>
                <a:gd name="T83" fmla="*/ 70 h 379"/>
                <a:gd name="T84" fmla="*/ 352 w 688"/>
                <a:gd name="T85" fmla="*/ 94 h 379"/>
                <a:gd name="T86" fmla="*/ 340 w 688"/>
                <a:gd name="T87" fmla="*/ 123 h 379"/>
                <a:gd name="T88" fmla="*/ 307 w 688"/>
                <a:gd name="T89" fmla="*/ 113 h 379"/>
                <a:gd name="T90" fmla="*/ 301 w 688"/>
                <a:gd name="T91" fmla="*/ 140 h 379"/>
                <a:gd name="T92" fmla="*/ 293 w 688"/>
                <a:gd name="T93" fmla="*/ 162 h 379"/>
                <a:gd name="T94" fmla="*/ 276 w 688"/>
                <a:gd name="T95" fmla="*/ 222 h 379"/>
                <a:gd name="T96" fmla="*/ 272 w 688"/>
                <a:gd name="T97" fmla="*/ 236 h 379"/>
                <a:gd name="T98" fmla="*/ 245 w 688"/>
                <a:gd name="T99" fmla="*/ 250 h 379"/>
                <a:gd name="T100" fmla="*/ 227 w 688"/>
                <a:gd name="T101" fmla="*/ 252 h 379"/>
                <a:gd name="T102" fmla="*/ 217 w 688"/>
                <a:gd name="T103" fmla="*/ 269 h 379"/>
                <a:gd name="T104" fmla="*/ 184 w 688"/>
                <a:gd name="T105" fmla="*/ 271 h 379"/>
                <a:gd name="T106" fmla="*/ 157 w 688"/>
                <a:gd name="T107" fmla="*/ 285 h 379"/>
                <a:gd name="T108" fmla="*/ 137 w 688"/>
                <a:gd name="T109" fmla="*/ 275 h 379"/>
                <a:gd name="T110" fmla="*/ 133 w 688"/>
                <a:gd name="T111" fmla="*/ 260 h 379"/>
                <a:gd name="T112" fmla="*/ 75 w 688"/>
                <a:gd name="T113" fmla="*/ 316 h 379"/>
                <a:gd name="T114" fmla="*/ 63 w 688"/>
                <a:gd name="T115" fmla="*/ 338 h 379"/>
                <a:gd name="T116" fmla="*/ 22 w 688"/>
                <a:gd name="T117" fmla="*/ 367 h 379"/>
                <a:gd name="T118" fmla="*/ 143 w 688"/>
                <a:gd name="T119" fmla="*/ 357 h 379"/>
                <a:gd name="T120" fmla="*/ 311 w 688"/>
                <a:gd name="T121" fmla="*/ 330 h 379"/>
                <a:gd name="T122" fmla="*/ 626 w 688"/>
                <a:gd name="T123" fmla="*/ 271 h 379"/>
                <a:gd name="T124" fmla="*/ 667 w 688"/>
                <a:gd name="T125" fmla="*/ 25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8" h="379">
                  <a:moveTo>
                    <a:pt x="663" y="260"/>
                  </a:moveTo>
                  <a:lnTo>
                    <a:pt x="663" y="262"/>
                  </a:lnTo>
                  <a:lnTo>
                    <a:pt x="663" y="262"/>
                  </a:lnTo>
                  <a:lnTo>
                    <a:pt x="663" y="262"/>
                  </a:lnTo>
                  <a:lnTo>
                    <a:pt x="665" y="262"/>
                  </a:lnTo>
                  <a:lnTo>
                    <a:pt x="665" y="262"/>
                  </a:lnTo>
                  <a:lnTo>
                    <a:pt x="665" y="260"/>
                  </a:lnTo>
                  <a:lnTo>
                    <a:pt x="663" y="260"/>
                  </a:lnTo>
                  <a:close/>
                  <a:moveTo>
                    <a:pt x="657" y="189"/>
                  </a:moveTo>
                  <a:lnTo>
                    <a:pt x="655" y="189"/>
                  </a:lnTo>
                  <a:lnTo>
                    <a:pt x="657" y="191"/>
                  </a:lnTo>
                  <a:lnTo>
                    <a:pt x="659" y="189"/>
                  </a:lnTo>
                  <a:lnTo>
                    <a:pt x="659" y="187"/>
                  </a:lnTo>
                  <a:lnTo>
                    <a:pt x="659" y="185"/>
                  </a:lnTo>
                  <a:lnTo>
                    <a:pt x="659" y="181"/>
                  </a:lnTo>
                  <a:lnTo>
                    <a:pt x="659" y="181"/>
                  </a:lnTo>
                  <a:lnTo>
                    <a:pt x="659" y="183"/>
                  </a:lnTo>
                  <a:lnTo>
                    <a:pt x="659" y="185"/>
                  </a:lnTo>
                  <a:lnTo>
                    <a:pt x="657" y="187"/>
                  </a:lnTo>
                  <a:lnTo>
                    <a:pt x="657" y="189"/>
                  </a:lnTo>
                  <a:close/>
                  <a:moveTo>
                    <a:pt x="665" y="166"/>
                  </a:moveTo>
                  <a:lnTo>
                    <a:pt x="665" y="164"/>
                  </a:lnTo>
                  <a:lnTo>
                    <a:pt x="665" y="162"/>
                  </a:lnTo>
                  <a:lnTo>
                    <a:pt x="665" y="162"/>
                  </a:lnTo>
                  <a:lnTo>
                    <a:pt x="663" y="162"/>
                  </a:lnTo>
                  <a:lnTo>
                    <a:pt x="663" y="168"/>
                  </a:lnTo>
                  <a:lnTo>
                    <a:pt x="663" y="170"/>
                  </a:lnTo>
                  <a:lnTo>
                    <a:pt x="663" y="170"/>
                  </a:lnTo>
                  <a:lnTo>
                    <a:pt x="663" y="170"/>
                  </a:lnTo>
                  <a:lnTo>
                    <a:pt x="665" y="166"/>
                  </a:lnTo>
                  <a:close/>
                  <a:moveTo>
                    <a:pt x="676" y="99"/>
                  </a:moveTo>
                  <a:lnTo>
                    <a:pt x="674" y="99"/>
                  </a:lnTo>
                  <a:lnTo>
                    <a:pt x="669" y="101"/>
                  </a:lnTo>
                  <a:lnTo>
                    <a:pt x="665" y="103"/>
                  </a:lnTo>
                  <a:lnTo>
                    <a:pt x="661" y="103"/>
                  </a:lnTo>
                  <a:lnTo>
                    <a:pt x="659" y="105"/>
                  </a:lnTo>
                  <a:lnTo>
                    <a:pt x="657" y="105"/>
                  </a:lnTo>
                  <a:lnTo>
                    <a:pt x="657" y="105"/>
                  </a:lnTo>
                  <a:lnTo>
                    <a:pt x="655" y="107"/>
                  </a:lnTo>
                  <a:lnTo>
                    <a:pt x="655" y="109"/>
                  </a:lnTo>
                  <a:lnTo>
                    <a:pt x="657" y="109"/>
                  </a:lnTo>
                  <a:lnTo>
                    <a:pt x="655" y="111"/>
                  </a:lnTo>
                  <a:lnTo>
                    <a:pt x="655" y="111"/>
                  </a:lnTo>
                  <a:lnTo>
                    <a:pt x="651" y="113"/>
                  </a:lnTo>
                  <a:lnTo>
                    <a:pt x="651" y="115"/>
                  </a:lnTo>
                  <a:lnTo>
                    <a:pt x="649" y="117"/>
                  </a:lnTo>
                  <a:lnTo>
                    <a:pt x="649" y="117"/>
                  </a:lnTo>
                  <a:lnTo>
                    <a:pt x="651" y="117"/>
                  </a:lnTo>
                  <a:lnTo>
                    <a:pt x="653" y="117"/>
                  </a:lnTo>
                  <a:lnTo>
                    <a:pt x="655" y="117"/>
                  </a:lnTo>
                  <a:lnTo>
                    <a:pt x="655" y="119"/>
                  </a:lnTo>
                  <a:lnTo>
                    <a:pt x="655" y="119"/>
                  </a:lnTo>
                  <a:lnTo>
                    <a:pt x="655" y="121"/>
                  </a:lnTo>
                  <a:lnTo>
                    <a:pt x="655" y="121"/>
                  </a:lnTo>
                  <a:lnTo>
                    <a:pt x="657" y="121"/>
                  </a:lnTo>
                  <a:lnTo>
                    <a:pt x="655" y="123"/>
                  </a:lnTo>
                  <a:lnTo>
                    <a:pt x="653" y="123"/>
                  </a:lnTo>
                  <a:lnTo>
                    <a:pt x="653" y="123"/>
                  </a:lnTo>
                  <a:lnTo>
                    <a:pt x="653" y="123"/>
                  </a:lnTo>
                  <a:lnTo>
                    <a:pt x="653" y="125"/>
                  </a:lnTo>
                  <a:lnTo>
                    <a:pt x="653" y="125"/>
                  </a:lnTo>
                  <a:lnTo>
                    <a:pt x="655" y="127"/>
                  </a:lnTo>
                  <a:lnTo>
                    <a:pt x="651" y="129"/>
                  </a:lnTo>
                  <a:lnTo>
                    <a:pt x="649" y="129"/>
                  </a:lnTo>
                  <a:lnTo>
                    <a:pt x="649" y="127"/>
                  </a:lnTo>
                  <a:lnTo>
                    <a:pt x="647" y="127"/>
                  </a:lnTo>
                  <a:lnTo>
                    <a:pt x="647" y="129"/>
                  </a:lnTo>
                  <a:lnTo>
                    <a:pt x="649" y="131"/>
                  </a:lnTo>
                  <a:lnTo>
                    <a:pt x="649" y="131"/>
                  </a:lnTo>
                  <a:lnTo>
                    <a:pt x="649" y="133"/>
                  </a:lnTo>
                  <a:lnTo>
                    <a:pt x="647" y="135"/>
                  </a:lnTo>
                  <a:lnTo>
                    <a:pt x="647" y="135"/>
                  </a:lnTo>
                  <a:lnTo>
                    <a:pt x="649" y="135"/>
                  </a:lnTo>
                  <a:lnTo>
                    <a:pt x="649" y="135"/>
                  </a:lnTo>
                  <a:lnTo>
                    <a:pt x="647" y="140"/>
                  </a:lnTo>
                  <a:lnTo>
                    <a:pt x="647" y="142"/>
                  </a:lnTo>
                  <a:lnTo>
                    <a:pt x="647" y="144"/>
                  </a:lnTo>
                  <a:lnTo>
                    <a:pt x="645" y="144"/>
                  </a:lnTo>
                  <a:lnTo>
                    <a:pt x="645" y="144"/>
                  </a:lnTo>
                  <a:lnTo>
                    <a:pt x="643" y="146"/>
                  </a:lnTo>
                  <a:lnTo>
                    <a:pt x="643" y="148"/>
                  </a:lnTo>
                  <a:lnTo>
                    <a:pt x="645" y="148"/>
                  </a:lnTo>
                  <a:lnTo>
                    <a:pt x="643" y="150"/>
                  </a:lnTo>
                  <a:lnTo>
                    <a:pt x="641" y="150"/>
                  </a:lnTo>
                  <a:lnTo>
                    <a:pt x="641" y="152"/>
                  </a:lnTo>
                  <a:lnTo>
                    <a:pt x="641" y="152"/>
                  </a:lnTo>
                  <a:lnTo>
                    <a:pt x="641" y="152"/>
                  </a:lnTo>
                  <a:lnTo>
                    <a:pt x="641" y="154"/>
                  </a:lnTo>
                  <a:lnTo>
                    <a:pt x="641" y="156"/>
                  </a:lnTo>
                  <a:lnTo>
                    <a:pt x="643" y="156"/>
                  </a:lnTo>
                  <a:lnTo>
                    <a:pt x="643" y="158"/>
                  </a:lnTo>
                  <a:lnTo>
                    <a:pt x="641" y="160"/>
                  </a:lnTo>
                  <a:lnTo>
                    <a:pt x="641" y="162"/>
                  </a:lnTo>
                  <a:lnTo>
                    <a:pt x="641" y="164"/>
                  </a:lnTo>
                  <a:lnTo>
                    <a:pt x="643" y="164"/>
                  </a:lnTo>
                  <a:lnTo>
                    <a:pt x="643" y="164"/>
                  </a:lnTo>
                  <a:lnTo>
                    <a:pt x="643" y="164"/>
                  </a:lnTo>
                  <a:lnTo>
                    <a:pt x="641" y="166"/>
                  </a:lnTo>
                  <a:lnTo>
                    <a:pt x="641" y="168"/>
                  </a:lnTo>
                  <a:lnTo>
                    <a:pt x="641" y="170"/>
                  </a:lnTo>
                  <a:lnTo>
                    <a:pt x="641" y="172"/>
                  </a:lnTo>
                  <a:lnTo>
                    <a:pt x="641" y="172"/>
                  </a:lnTo>
                  <a:lnTo>
                    <a:pt x="641" y="172"/>
                  </a:lnTo>
                  <a:lnTo>
                    <a:pt x="641" y="170"/>
                  </a:lnTo>
                  <a:lnTo>
                    <a:pt x="641" y="170"/>
                  </a:lnTo>
                  <a:lnTo>
                    <a:pt x="643" y="170"/>
                  </a:lnTo>
                  <a:lnTo>
                    <a:pt x="643" y="172"/>
                  </a:lnTo>
                  <a:lnTo>
                    <a:pt x="641" y="174"/>
                  </a:lnTo>
                  <a:lnTo>
                    <a:pt x="641" y="174"/>
                  </a:lnTo>
                  <a:lnTo>
                    <a:pt x="641" y="176"/>
                  </a:lnTo>
                  <a:lnTo>
                    <a:pt x="641" y="176"/>
                  </a:lnTo>
                  <a:lnTo>
                    <a:pt x="641" y="178"/>
                  </a:lnTo>
                  <a:lnTo>
                    <a:pt x="639" y="185"/>
                  </a:lnTo>
                  <a:lnTo>
                    <a:pt x="641" y="183"/>
                  </a:lnTo>
                  <a:lnTo>
                    <a:pt x="641" y="183"/>
                  </a:lnTo>
                  <a:lnTo>
                    <a:pt x="643" y="183"/>
                  </a:lnTo>
                  <a:lnTo>
                    <a:pt x="641" y="185"/>
                  </a:lnTo>
                  <a:lnTo>
                    <a:pt x="641" y="187"/>
                  </a:lnTo>
                  <a:lnTo>
                    <a:pt x="641" y="191"/>
                  </a:lnTo>
                  <a:lnTo>
                    <a:pt x="643" y="191"/>
                  </a:lnTo>
                  <a:lnTo>
                    <a:pt x="643" y="193"/>
                  </a:lnTo>
                  <a:lnTo>
                    <a:pt x="643" y="193"/>
                  </a:lnTo>
                  <a:lnTo>
                    <a:pt x="645" y="197"/>
                  </a:lnTo>
                  <a:lnTo>
                    <a:pt x="647" y="199"/>
                  </a:lnTo>
                  <a:lnTo>
                    <a:pt x="647" y="201"/>
                  </a:lnTo>
                  <a:lnTo>
                    <a:pt x="649" y="201"/>
                  </a:lnTo>
                  <a:lnTo>
                    <a:pt x="651" y="201"/>
                  </a:lnTo>
                  <a:lnTo>
                    <a:pt x="651" y="199"/>
                  </a:lnTo>
                  <a:lnTo>
                    <a:pt x="651" y="197"/>
                  </a:lnTo>
                  <a:lnTo>
                    <a:pt x="651" y="193"/>
                  </a:lnTo>
                  <a:lnTo>
                    <a:pt x="651" y="193"/>
                  </a:lnTo>
                  <a:lnTo>
                    <a:pt x="651" y="191"/>
                  </a:lnTo>
                  <a:lnTo>
                    <a:pt x="651" y="191"/>
                  </a:lnTo>
                  <a:lnTo>
                    <a:pt x="653" y="191"/>
                  </a:lnTo>
                  <a:lnTo>
                    <a:pt x="653" y="195"/>
                  </a:lnTo>
                  <a:lnTo>
                    <a:pt x="653" y="197"/>
                  </a:lnTo>
                  <a:lnTo>
                    <a:pt x="655" y="195"/>
                  </a:lnTo>
                  <a:lnTo>
                    <a:pt x="655" y="195"/>
                  </a:lnTo>
                  <a:lnTo>
                    <a:pt x="653" y="193"/>
                  </a:lnTo>
                  <a:lnTo>
                    <a:pt x="653" y="191"/>
                  </a:lnTo>
                  <a:lnTo>
                    <a:pt x="653" y="189"/>
                  </a:lnTo>
                  <a:lnTo>
                    <a:pt x="653" y="187"/>
                  </a:lnTo>
                  <a:lnTo>
                    <a:pt x="653" y="176"/>
                  </a:lnTo>
                  <a:lnTo>
                    <a:pt x="653" y="176"/>
                  </a:lnTo>
                  <a:lnTo>
                    <a:pt x="653" y="174"/>
                  </a:lnTo>
                  <a:lnTo>
                    <a:pt x="653" y="172"/>
                  </a:lnTo>
                  <a:lnTo>
                    <a:pt x="655" y="170"/>
                  </a:lnTo>
                  <a:lnTo>
                    <a:pt x="655" y="168"/>
                  </a:lnTo>
                  <a:lnTo>
                    <a:pt x="653" y="168"/>
                  </a:lnTo>
                  <a:lnTo>
                    <a:pt x="653" y="166"/>
                  </a:lnTo>
                  <a:lnTo>
                    <a:pt x="653" y="166"/>
                  </a:lnTo>
                  <a:lnTo>
                    <a:pt x="655" y="162"/>
                  </a:lnTo>
                  <a:lnTo>
                    <a:pt x="655" y="162"/>
                  </a:lnTo>
                  <a:lnTo>
                    <a:pt x="655" y="160"/>
                  </a:lnTo>
                  <a:lnTo>
                    <a:pt x="661" y="158"/>
                  </a:lnTo>
                  <a:lnTo>
                    <a:pt x="661" y="158"/>
                  </a:lnTo>
                  <a:lnTo>
                    <a:pt x="659" y="158"/>
                  </a:lnTo>
                  <a:lnTo>
                    <a:pt x="659" y="158"/>
                  </a:lnTo>
                  <a:lnTo>
                    <a:pt x="657" y="158"/>
                  </a:lnTo>
                  <a:lnTo>
                    <a:pt x="657" y="156"/>
                  </a:lnTo>
                  <a:lnTo>
                    <a:pt x="659" y="154"/>
                  </a:lnTo>
                  <a:lnTo>
                    <a:pt x="659" y="152"/>
                  </a:lnTo>
                  <a:lnTo>
                    <a:pt x="661" y="154"/>
                  </a:lnTo>
                  <a:lnTo>
                    <a:pt x="661" y="156"/>
                  </a:lnTo>
                  <a:lnTo>
                    <a:pt x="663" y="156"/>
                  </a:lnTo>
                  <a:lnTo>
                    <a:pt x="663" y="158"/>
                  </a:lnTo>
                  <a:lnTo>
                    <a:pt x="665" y="158"/>
                  </a:lnTo>
                  <a:lnTo>
                    <a:pt x="665" y="156"/>
                  </a:lnTo>
                  <a:lnTo>
                    <a:pt x="667" y="154"/>
                  </a:lnTo>
                  <a:lnTo>
                    <a:pt x="669" y="152"/>
                  </a:lnTo>
                  <a:lnTo>
                    <a:pt x="669" y="148"/>
                  </a:lnTo>
                  <a:lnTo>
                    <a:pt x="667" y="148"/>
                  </a:lnTo>
                  <a:lnTo>
                    <a:pt x="667" y="146"/>
                  </a:lnTo>
                  <a:lnTo>
                    <a:pt x="667" y="142"/>
                  </a:lnTo>
                  <a:lnTo>
                    <a:pt x="669" y="137"/>
                  </a:lnTo>
                  <a:lnTo>
                    <a:pt x="669" y="133"/>
                  </a:lnTo>
                  <a:lnTo>
                    <a:pt x="671" y="119"/>
                  </a:lnTo>
                  <a:lnTo>
                    <a:pt x="676" y="115"/>
                  </a:lnTo>
                  <a:lnTo>
                    <a:pt x="676" y="113"/>
                  </a:lnTo>
                  <a:lnTo>
                    <a:pt x="674" y="111"/>
                  </a:lnTo>
                  <a:lnTo>
                    <a:pt x="676" y="111"/>
                  </a:lnTo>
                  <a:lnTo>
                    <a:pt x="676" y="109"/>
                  </a:lnTo>
                  <a:lnTo>
                    <a:pt x="676" y="109"/>
                  </a:lnTo>
                  <a:lnTo>
                    <a:pt x="674" y="109"/>
                  </a:lnTo>
                  <a:lnTo>
                    <a:pt x="674" y="105"/>
                  </a:lnTo>
                  <a:lnTo>
                    <a:pt x="674" y="103"/>
                  </a:lnTo>
                  <a:lnTo>
                    <a:pt x="674" y="103"/>
                  </a:lnTo>
                  <a:lnTo>
                    <a:pt x="674" y="101"/>
                  </a:lnTo>
                  <a:lnTo>
                    <a:pt x="676" y="101"/>
                  </a:lnTo>
                  <a:lnTo>
                    <a:pt x="676" y="99"/>
                  </a:lnTo>
                  <a:lnTo>
                    <a:pt x="676" y="99"/>
                  </a:lnTo>
                  <a:lnTo>
                    <a:pt x="676" y="99"/>
                  </a:lnTo>
                  <a:close/>
                  <a:moveTo>
                    <a:pt x="688" y="94"/>
                  </a:moveTo>
                  <a:lnTo>
                    <a:pt x="686" y="94"/>
                  </a:lnTo>
                  <a:lnTo>
                    <a:pt x="686" y="94"/>
                  </a:lnTo>
                  <a:lnTo>
                    <a:pt x="686" y="97"/>
                  </a:lnTo>
                  <a:lnTo>
                    <a:pt x="684" y="101"/>
                  </a:lnTo>
                  <a:lnTo>
                    <a:pt x="684" y="101"/>
                  </a:lnTo>
                  <a:lnTo>
                    <a:pt x="684" y="105"/>
                  </a:lnTo>
                  <a:lnTo>
                    <a:pt x="684" y="107"/>
                  </a:lnTo>
                  <a:lnTo>
                    <a:pt x="682" y="107"/>
                  </a:lnTo>
                  <a:lnTo>
                    <a:pt x="682" y="109"/>
                  </a:lnTo>
                  <a:lnTo>
                    <a:pt x="682" y="109"/>
                  </a:lnTo>
                  <a:lnTo>
                    <a:pt x="680" y="109"/>
                  </a:lnTo>
                  <a:lnTo>
                    <a:pt x="680" y="109"/>
                  </a:lnTo>
                  <a:lnTo>
                    <a:pt x="682" y="111"/>
                  </a:lnTo>
                  <a:lnTo>
                    <a:pt x="682" y="111"/>
                  </a:lnTo>
                  <a:lnTo>
                    <a:pt x="682" y="113"/>
                  </a:lnTo>
                  <a:lnTo>
                    <a:pt x="682" y="113"/>
                  </a:lnTo>
                  <a:lnTo>
                    <a:pt x="680" y="113"/>
                  </a:lnTo>
                  <a:lnTo>
                    <a:pt x="680" y="113"/>
                  </a:lnTo>
                  <a:lnTo>
                    <a:pt x="680" y="113"/>
                  </a:lnTo>
                  <a:lnTo>
                    <a:pt x="682" y="113"/>
                  </a:lnTo>
                  <a:lnTo>
                    <a:pt x="684" y="111"/>
                  </a:lnTo>
                  <a:lnTo>
                    <a:pt x="686" y="107"/>
                  </a:lnTo>
                  <a:lnTo>
                    <a:pt x="688" y="92"/>
                  </a:lnTo>
                  <a:lnTo>
                    <a:pt x="688" y="94"/>
                  </a:lnTo>
                  <a:close/>
                  <a:moveTo>
                    <a:pt x="655" y="236"/>
                  </a:moveTo>
                  <a:lnTo>
                    <a:pt x="653" y="228"/>
                  </a:lnTo>
                  <a:lnTo>
                    <a:pt x="651" y="226"/>
                  </a:lnTo>
                  <a:lnTo>
                    <a:pt x="649" y="226"/>
                  </a:lnTo>
                  <a:lnTo>
                    <a:pt x="647" y="228"/>
                  </a:lnTo>
                  <a:lnTo>
                    <a:pt x="643" y="228"/>
                  </a:lnTo>
                  <a:lnTo>
                    <a:pt x="639" y="228"/>
                  </a:lnTo>
                  <a:lnTo>
                    <a:pt x="635" y="228"/>
                  </a:lnTo>
                  <a:lnTo>
                    <a:pt x="626" y="226"/>
                  </a:lnTo>
                  <a:lnTo>
                    <a:pt x="624" y="226"/>
                  </a:lnTo>
                  <a:lnTo>
                    <a:pt x="622" y="230"/>
                  </a:lnTo>
                  <a:lnTo>
                    <a:pt x="622" y="230"/>
                  </a:lnTo>
                  <a:lnTo>
                    <a:pt x="624" y="232"/>
                  </a:lnTo>
                  <a:lnTo>
                    <a:pt x="624" y="232"/>
                  </a:lnTo>
                  <a:lnTo>
                    <a:pt x="624" y="234"/>
                  </a:lnTo>
                  <a:lnTo>
                    <a:pt x="624" y="234"/>
                  </a:lnTo>
                  <a:lnTo>
                    <a:pt x="624" y="236"/>
                  </a:lnTo>
                  <a:lnTo>
                    <a:pt x="626" y="238"/>
                  </a:lnTo>
                  <a:lnTo>
                    <a:pt x="624" y="238"/>
                  </a:lnTo>
                  <a:lnTo>
                    <a:pt x="624" y="238"/>
                  </a:lnTo>
                  <a:lnTo>
                    <a:pt x="622" y="236"/>
                  </a:lnTo>
                  <a:lnTo>
                    <a:pt x="622" y="236"/>
                  </a:lnTo>
                  <a:lnTo>
                    <a:pt x="620" y="234"/>
                  </a:lnTo>
                  <a:lnTo>
                    <a:pt x="618" y="234"/>
                  </a:lnTo>
                  <a:lnTo>
                    <a:pt x="616" y="234"/>
                  </a:lnTo>
                  <a:lnTo>
                    <a:pt x="614" y="236"/>
                  </a:lnTo>
                  <a:lnTo>
                    <a:pt x="612" y="238"/>
                  </a:lnTo>
                  <a:lnTo>
                    <a:pt x="610" y="238"/>
                  </a:lnTo>
                  <a:lnTo>
                    <a:pt x="608" y="240"/>
                  </a:lnTo>
                  <a:lnTo>
                    <a:pt x="606" y="240"/>
                  </a:lnTo>
                  <a:lnTo>
                    <a:pt x="606" y="240"/>
                  </a:lnTo>
                  <a:lnTo>
                    <a:pt x="608" y="238"/>
                  </a:lnTo>
                  <a:lnTo>
                    <a:pt x="610" y="236"/>
                  </a:lnTo>
                  <a:lnTo>
                    <a:pt x="610" y="236"/>
                  </a:lnTo>
                  <a:lnTo>
                    <a:pt x="608" y="234"/>
                  </a:lnTo>
                  <a:lnTo>
                    <a:pt x="608" y="234"/>
                  </a:lnTo>
                  <a:lnTo>
                    <a:pt x="608" y="232"/>
                  </a:lnTo>
                  <a:lnTo>
                    <a:pt x="608" y="230"/>
                  </a:lnTo>
                  <a:lnTo>
                    <a:pt x="608" y="230"/>
                  </a:lnTo>
                  <a:lnTo>
                    <a:pt x="602" y="228"/>
                  </a:lnTo>
                  <a:lnTo>
                    <a:pt x="602" y="228"/>
                  </a:lnTo>
                  <a:lnTo>
                    <a:pt x="600" y="228"/>
                  </a:lnTo>
                  <a:lnTo>
                    <a:pt x="600" y="228"/>
                  </a:lnTo>
                  <a:lnTo>
                    <a:pt x="598" y="228"/>
                  </a:lnTo>
                  <a:lnTo>
                    <a:pt x="598" y="226"/>
                  </a:lnTo>
                  <a:lnTo>
                    <a:pt x="598" y="226"/>
                  </a:lnTo>
                  <a:lnTo>
                    <a:pt x="598" y="226"/>
                  </a:lnTo>
                  <a:lnTo>
                    <a:pt x="600" y="226"/>
                  </a:lnTo>
                  <a:lnTo>
                    <a:pt x="600" y="224"/>
                  </a:lnTo>
                  <a:lnTo>
                    <a:pt x="594" y="224"/>
                  </a:lnTo>
                  <a:lnTo>
                    <a:pt x="592" y="224"/>
                  </a:lnTo>
                  <a:lnTo>
                    <a:pt x="592" y="222"/>
                  </a:lnTo>
                  <a:lnTo>
                    <a:pt x="590" y="215"/>
                  </a:lnTo>
                  <a:lnTo>
                    <a:pt x="587" y="209"/>
                  </a:lnTo>
                  <a:lnTo>
                    <a:pt x="585" y="209"/>
                  </a:lnTo>
                  <a:lnTo>
                    <a:pt x="585" y="209"/>
                  </a:lnTo>
                  <a:lnTo>
                    <a:pt x="583" y="213"/>
                  </a:lnTo>
                  <a:lnTo>
                    <a:pt x="581" y="213"/>
                  </a:lnTo>
                  <a:lnTo>
                    <a:pt x="579" y="213"/>
                  </a:lnTo>
                  <a:lnTo>
                    <a:pt x="577" y="209"/>
                  </a:lnTo>
                  <a:lnTo>
                    <a:pt x="575" y="209"/>
                  </a:lnTo>
                  <a:lnTo>
                    <a:pt x="567" y="211"/>
                  </a:lnTo>
                  <a:lnTo>
                    <a:pt x="565" y="211"/>
                  </a:lnTo>
                  <a:lnTo>
                    <a:pt x="563" y="209"/>
                  </a:lnTo>
                  <a:lnTo>
                    <a:pt x="561" y="209"/>
                  </a:lnTo>
                  <a:lnTo>
                    <a:pt x="559" y="209"/>
                  </a:lnTo>
                  <a:lnTo>
                    <a:pt x="559" y="207"/>
                  </a:lnTo>
                  <a:lnTo>
                    <a:pt x="557" y="205"/>
                  </a:lnTo>
                  <a:lnTo>
                    <a:pt x="555" y="205"/>
                  </a:lnTo>
                  <a:lnTo>
                    <a:pt x="555" y="205"/>
                  </a:lnTo>
                  <a:lnTo>
                    <a:pt x="553" y="207"/>
                  </a:lnTo>
                  <a:lnTo>
                    <a:pt x="551" y="207"/>
                  </a:lnTo>
                  <a:lnTo>
                    <a:pt x="551" y="207"/>
                  </a:lnTo>
                  <a:lnTo>
                    <a:pt x="551" y="207"/>
                  </a:lnTo>
                  <a:lnTo>
                    <a:pt x="549" y="207"/>
                  </a:lnTo>
                  <a:lnTo>
                    <a:pt x="542" y="207"/>
                  </a:lnTo>
                  <a:lnTo>
                    <a:pt x="536" y="207"/>
                  </a:lnTo>
                  <a:lnTo>
                    <a:pt x="534" y="207"/>
                  </a:lnTo>
                  <a:lnTo>
                    <a:pt x="534" y="207"/>
                  </a:lnTo>
                  <a:lnTo>
                    <a:pt x="534" y="207"/>
                  </a:lnTo>
                  <a:lnTo>
                    <a:pt x="532" y="207"/>
                  </a:lnTo>
                  <a:lnTo>
                    <a:pt x="532" y="205"/>
                  </a:lnTo>
                  <a:lnTo>
                    <a:pt x="534" y="203"/>
                  </a:lnTo>
                  <a:lnTo>
                    <a:pt x="536" y="203"/>
                  </a:lnTo>
                  <a:lnTo>
                    <a:pt x="536" y="205"/>
                  </a:lnTo>
                  <a:lnTo>
                    <a:pt x="540" y="203"/>
                  </a:lnTo>
                  <a:lnTo>
                    <a:pt x="540" y="203"/>
                  </a:lnTo>
                  <a:lnTo>
                    <a:pt x="542" y="205"/>
                  </a:lnTo>
                  <a:lnTo>
                    <a:pt x="544" y="205"/>
                  </a:lnTo>
                  <a:lnTo>
                    <a:pt x="544" y="203"/>
                  </a:lnTo>
                  <a:lnTo>
                    <a:pt x="547" y="203"/>
                  </a:lnTo>
                  <a:lnTo>
                    <a:pt x="547" y="203"/>
                  </a:lnTo>
                  <a:lnTo>
                    <a:pt x="549" y="203"/>
                  </a:lnTo>
                  <a:lnTo>
                    <a:pt x="549" y="203"/>
                  </a:lnTo>
                  <a:lnTo>
                    <a:pt x="551" y="203"/>
                  </a:lnTo>
                  <a:lnTo>
                    <a:pt x="551" y="203"/>
                  </a:lnTo>
                  <a:lnTo>
                    <a:pt x="551" y="205"/>
                  </a:lnTo>
                  <a:lnTo>
                    <a:pt x="553" y="205"/>
                  </a:lnTo>
                  <a:lnTo>
                    <a:pt x="553" y="205"/>
                  </a:lnTo>
                  <a:lnTo>
                    <a:pt x="553" y="205"/>
                  </a:lnTo>
                  <a:lnTo>
                    <a:pt x="555" y="201"/>
                  </a:lnTo>
                  <a:lnTo>
                    <a:pt x="555" y="201"/>
                  </a:lnTo>
                  <a:lnTo>
                    <a:pt x="557" y="201"/>
                  </a:lnTo>
                  <a:lnTo>
                    <a:pt x="557" y="201"/>
                  </a:lnTo>
                  <a:lnTo>
                    <a:pt x="561" y="205"/>
                  </a:lnTo>
                  <a:lnTo>
                    <a:pt x="563" y="207"/>
                  </a:lnTo>
                  <a:lnTo>
                    <a:pt x="563" y="207"/>
                  </a:lnTo>
                  <a:lnTo>
                    <a:pt x="565" y="207"/>
                  </a:lnTo>
                  <a:lnTo>
                    <a:pt x="567" y="205"/>
                  </a:lnTo>
                  <a:lnTo>
                    <a:pt x="567" y="205"/>
                  </a:lnTo>
                  <a:lnTo>
                    <a:pt x="567" y="203"/>
                  </a:lnTo>
                  <a:lnTo>
                    <a:pt x="567" y="201"/>
                  </a:lnTo>
                  <a:lnTo>
                    <a:pt x="567" y="199"/>
                  </a:lnTo>
                  <a:lnTo>
                    <a:pt x="567" y="199"/>
                  </a:lnTo>
                  <a:lnTo>
                    <a:pt x="569" y="201"/>
                  </a:lnTo>
                  <a:lnTo>
                    <a:pt x="569" y="203"/>
                  </a:lnTo>
                  <a:lnTo>
                    <a:pt x="569" y="205"/>
                  </a:lnTo>
                  <a:lnTo>
                    <a:pt x="571" y="205"/>
                  </a:lnTo>
                  <a:lnTo>
                    <a:pt x="571" y="205"/>
                  </a:lnTo>
                  <a:lnTo>
                    <a:pt x="575" y="207"/>
                  </a:lnTo>
                  <a:lnTo>
                    <a:pt x="577" y="207"/>
                  </a:lnTo>
                  <a:lnTo>
                    <a:pt x="577" y="207"/>
                  </a:lnTo>
                  <a:lnTo>
                    <a:pt x="579" y="207"/>
                  </a:lnTo>
                  <a:lnTo>
                    <a:pt x="579" y="209"/>
                  </a:lnTo>
                  <a:lnTo>
                    <a:pt x="579" y="209"/>
                  </a:lnTo>
                  <a:lnTo>
                    <a:pt x="581" y="209"/>
                  </a:lnTo>
                  <a:lnTo>
                    <a:pt x="581" y="209"/>
                  </a:lnTo>
                  <a:lnTo>
                    <a:pt x="581" y="207"/>
                  </a:lnTo>
                  <a:lnTo>
                    <a:pt x="581" y="207"/>
                  </a:lnTo>
                  <a:lnTo>
                    <a:pt x="583" y="207"/>
                  </a:lnTo>
                  <a:lnTo>
                    <a:pt x="585" y="205"/>
                  </a:lnTo>
                  <a:lnTo>
                    <a:pt x="587" y="205"/>
                  </a:lnTo>
                  <a:lnTo>
                    <a:pt x="590" y="205"/>
                  </a:lnTo>
                  <a:lnTo>
                    <a:pt x="592" y="207"/>
                  </a:lnTo>
                  <a:lnTo>
                    <a:pt x="592" y="209"/>
                  </a:lnTo>
                  <a:lnTo>
                    <a:pt x="592" y="213"/>
                  </a:lnTo>
                  <a:lnTo>
                    <a:pt x="594" y="213"/>
                  </a:lnTo>
                  <a:lnTo>
                    <a:pt x="594" y="215"/>
                  </a:lnTo>
                  <a:lnTo>
                    <a:pt x="596" y="215"/>
                  </a:lnTo>
                  <a:lnTo>
                    <a:pt x="598" y="217"/>
                  </a:lnTo>
                  <a:lnTo>
                    <a:pt x="600" y="217"/>
                  </a:lnTo>
                  <a:lnTo>
                    <a:pt x="608" y="222"/>
                  </a:lnTo>
                  <a:lnTo>
                    <a:pt x="610" y="224"/>
                  </a:lnTo>
                  <a:lnTo>
                    <a:pt x="612" y="228"/>
                  </a:lnTo>
                  <a:lnTo>
                    <a:pt x="614" y="228"/>
                  </a:lnTo>
                  <a:lnTo>
                    <a:pt x="614" y="226"/>
                  </a:lnTo>
                  <a:lnTo>
                    <a:pt x="616" y="224"/>
                  </a:lnTo>
                  <a:lnTo>
                    <a:pt x="618" y="224"/>
                  </a:lnTo>
                  <a:lnTo>
                    <a:pt x="618" y="222"/>
                  </a:lnTo>
                  <a:lnTo>
                    <a:pt x="620" y="222"/>
                  </a:lnTo>
                  <a:lnTo>
                    <a:pt x="622" y="222"/>
                  </a:lnTo>
                  <a:lnTo>
                    <a:pt x="622" y="219"/>
                  </a:lnTo>
                  <a:lnTo>
                    <a:pt x="624" y="217"/>
                  </a:lnTo>
                  <a:lnTo>
                    <a:pt x="624" y="215"/>
                  </a:lnTo>
                  <a:lnTo>
                    <a:pt x="622" y="211"/>
                  </a:lnTo>
                  <a:lnTo>
                    <a:pt x="622" y="211"/>
                  </a:lnTo>
                  <a:lnTo>
                    <a:pt x="618" y="213"/>
                  </a:lnTo>
                  <a:lnTo>
                    <a:pt x="616" y="211"/>
                  </a:lnTo>
                  <a:lnTo>
                    <a:pt x="618" y="211"/>
                  </a:lnTo>
                  <a:lnTo>
                    <a:pt x="620" y="209"/>
                  </a:lnTo>
                  <a:lnTo>
                    <a:pt x="620" y="209"/>
                  </a:lnTo>
                  <a:lnTo>
                    <a:pt x="620" y="207"/>
                  </a:lnTo>
                  <a:lnTo>
                    <a:pt x="618" y="205"/>
                  </a:lnTo>
                  <a:lnTo>
                    <a:pt x="614" y="205"/>
                  </a:lnTo>
                  <a:lnTo>
                    <a:pt x="614" y="205"/>
                  </a:lnTo>
                  <a:lnTo>
                    <a:pt x="614" y="205"/>
                  </a:lnTo>
                  <a:lnTo>
                    <a:pt x="612" y="205"/>
                  </a:lnTo>
                  <a:lnTo>
                    <a:pt x="612" y="205"/>
                  </a:lnTo>
                  <a:lnTo>
                    <a:pt x="612" y="203"/>
                  </a:lnTo>
                  <a:lnTo>
                    <a:pt x="610" y="201"/>
                  </a:lnTo>
                  <a:lnTo>
                    <a:pt x="610" y="201"/>
                  </a:lnTo>
                  <a:lnTo>
                    <a:pt x="612" y="201"/>
                  </a:lnTo>
                  <a:lnTo>
                    <a:pt x="610" y="199"/>
                  </a:lnTo>
                  <a:lnTo>
                    <a:pt x="608" y="199"/>
                  </a:lnTo>
                  <a:lnTo>
                    <a:pt x="606" y="201"/>
                  </a:lnTo>
                  <a:lnTo>
                    <a:pt x="604" y="201"/>
                  </a:lnTo>
                  <a:lnTo>
                    <a:pt x="602" y="201"/>
                  </a:lnTo>
                  <a:lnTo>
                    <a:pt x="598" y="199"/>
                  </a:lnTo>
                  <a:lnTo>
                    <a:pt x="590" y="195"/>
                  </a:lnTo>
                  <a:lnTo>
                    <a:pt x="583" y="191"/>
                  </a:lnTo>
                  <a:lnTo>
                    <a:pt x="581" y="187"/>
                  </a:lnTo>
                  <a:lnTo>
                    <a:pt x="579" y="187"/>
                  </a:lnTo>
                  <a:lnTo>
                    <a:pt x="577" y="185"/>
                  </a:lnTo>
                  <a:lnTo>
                    <a:pt x="573" y="181"/>
                  </a:lnTo>
                  <a:lnTo>
                    <a:pt x="571" y="178"/>
                  </a:lnTo>
                  <a:lnTo>
                    <a:pt x="571" y="178"/>
                  </a:lnTo>
                  <a:lnTo>
                    <a:pt x="569" y="178"/>
                  </a:lnTo>
                  <a:lnTo>
                    <a:pt x="569" y="178"/>
                  </a:lnTo>
                  <a:lnTo>
                    <a:pt x="569" y="176"/>
                  </a:lnTo>
                  <a:lnTo>
                    <a:pt x="569" y="176"/>
                  </a:lnTo>
                  <a:lnTo>
                    <a:pt x="569" y="174"/>
                  </a:lnTo>
                  <a:lnTo>
                    <a:pt x="569" y="174"/>
                  </a:lnTo>
                  <a:lnTo>
                    <a:pt x="575" y="178"/>
                  </a:lnTo>
                  <a:lnTo>
                    <a:pt x="579" y="183"/>
                  </a:lnTo>
                  <a:lnTo>
                    <a:pt x="581" y="185"/>
                  </a:lnTo>
                  <a:lnTo>
                    <a:pt x="583" y="185"/>
                  </a:lnTo>
                  <a:lnTo>
                    <a:pt x="583" y="185"/>
                  </a:lnTo>
                  <a:lnTo>
                    <a:pt x="592" y="193"/>
                  </a:lnTo>
                  <a:lnTo>
                    <a:pt x="592" y="193"/>
                  </a:lnTo>
                  <a:lnTo>
                    <a:pt x="594" y="193"/>
                  </a:lnTo>
                  <a:lnTo>
                    <a:pt x="594" y="193"/>
                  </a:lnTo>
                  <a:lnTo>
                    <a:pt x="596" y="195"/>
                  </a:lnTo>
                  <a:lnTo>
                    <a:pt x="598" y="195"/>
                  </a:lnTo>
                  <a:lnTo>
                    <a:pt x="602" y="197"/>
                  </a:lnTo>
                  <a:lnTo>
                    <a:pt x="604" y="197"/>
                  </a:lnTo>
                  <a:lnTo>
                    <a:pt x="610" y="195"/>
                  </a:lnTo>
                  <a:lnTo>
                    <a:pt x="610" y="193"/>
                  </a:lnTo>
                  <a:lnTo>
                    <a:pt x="610" y="193"/>
                  </a:lnTo>
                  <a:lnTo>
                    <a:pt x="608" y="191"/>
                  </a:lnTo>
                  <a:lnTo>
                    <a:pt x="608" y="191"/>
                  </a:lnTo>
                  <a:lnTo>
                    <a:pt x="606" y="191"/>
                  </a:lnTo>
                  <a:lnTo>
                    <a:pt x="604" y="191"/>
                  </a:lnTo>
                  <a:lnTo>
                    <a:pt x="604" y="191"/>
                  </a:lnTo>
                  <a:lnTo>
                    <a:pt x="606" y="189"/>
                  </a:lnTo>
                  <a:lnTo>
                    <a:pt x="606" y="189"/>
                  </a:lnTo>
                  <a:lnTo>
                    <a:pt x="606" y="187"/>
                  </a:lnTo>
                  <a:lnTo>
                    <a:pt x="606" y="187"/>
                  </a:lnTo>
                  <a:lnTo>
                    <a:pt x="604" y="187"/>
                  </a:lnTo>
                  <a:lnTo>
                    <a:pt x="602" y="187"/>
                  </a:lnTo>
                  <a:lnTo>
                    <a:pt x="602" y="185"/>
                  </a:lnTo>
                  <a:lnTo>
                    <a:pt x="602" y="185"/>
                  </a:lnTo>
                  <a:lnTo>
                    <a:pt x="602" y="183"/>
                  </a:lnTo>
                  <a:lnTo>
                    <a:pt x="604" y="183"/>
                  </a:lnTo>
                  <a:lnTo>
                    <a:pt x="604" y="183"/>
                  </a:lnTo>
                  <a:lnTo>
                    <a:pt x="606" y="183"/>
                  </a:lnTo>
                  <a:lnTo>
                    <a:pt x="604" y="183"/>
                  </a:lnTo>
                  <a:lnTo>
                    <a:pt x="604" y="181"/>
                  </a:lnTo>
                  <a:lnTo>
                    <a:pt x="604" y="181"/>
                  </a:lnTo>
                  <a:lnTo>
                    <a:pt x="602" y="181"/>
                  </a:lnTo>
                  <a:lnTo>
                    <a:pt x="602" y="178"/>
                  </a:lnTo>
                  <a:lnTo>
                    <a:pt x="604" y="178"/>
                  </a:lnTo>
                  <a:lnTo>
                    <a:pt x="608" y="183"/>
                  </a:lnTo>
                  <a:lnTo>
                    <a:pt x="610" y="183"/>
                  </a:lnTo>
                  <a:lnTo>
                    <a:pt x="610" y="183"/>
                  </a:lnTo>
                  <a:lnTo>
                    <a:pt x="612" y="183"/>
                  </a:lnTo>
                  <a:lnTo>
                    <a:pt x="612" y="185"/>
                  </a:lnTo>
                  <a:lnTo>
                    <a:pt x="616" y="187"/>
                  </a:lnTo>
                  <a:lnTo>
                    <a:pt x="618" y="189"/>
                  </a:lnTo>
                  <a:lnTo>
                    <a:pt x="618" y="189"/>
                  </a:lnTo>
                  <a:lnTo>
                    <a:pt x="618" y="185"/>
                  </a:lnTo>
                  <a:lnTo>
                    <a:pt x="618" y="178"/>
                  </a:lnTo>
                  <a:lnTo>
                    <a:pt x="618" y="176"/>
                  </a:lnTo>
                  <a:lnTo>
                    <a:pt x="616" y="174"/>
                  </a:lnTo>
                  <a:lnTo>
                    <a:pt x="616" y="174"/>
                  </a:lnTo>
                  <a:lnTo>
                    <a:pt x="614" y="174"/>
                  </a:lnTo>
                  <a:lnTo>
                    <a:pt x="614" y="174"/>
                  </a:lnTo>
                  <a:lnTo>
                    <a:pt x="614" y="172"/>
                  </a:lnTo>
                  <a:lnTo>
                    <a:pt x="614" y="170"/>
                  </a:lnTo>
                  <a:lnTo>
                    <a:pt x="614" y="170"/>
                  </a:lnTo>
                  <a:lnTo>
                    <a:pt x="616" y="170"/>
                  </a:lnTo>
                  <a:lnTo>
                    <a:pt x="616" y="168"/>
                  </a:lnTo>
                  <a:lnTo>
                    <a:pt x="612" y="166"/>
                  </a:lnTo>
                  <a:lnTo>
                    <a:pt x="612" y="166"/>
                  </a:lnTo>
                  <a:lnTo>
                    <a:pt x="612" y="168"/>
                  </a:lnTo>
                  <a:lnTo>
                    <a:pt x="610" y="170"/>
                  </a:lnTo>
                  <a:lnTo>
                    <a:pt x="610" y="170"/>
                  </a:lnTo>
                  <a:lnTo>
                    <a:pt x="606" y="168"/>
                  </a:lnTo>
                  <a:lnTo>
                    <a:pt x="604" y="168"/>
                  </a:lnTo>
                  <a:lnTo>
                    <a:pt x="602" y="168"/>
                  </a:lnTo>
                  <a:lnTo>
                    <a:pt x="602" y="166"/>
                  </a:lnTo>
                  <a:lnTo>
                    <a:pt x="604" y="166"/>
                  </a:lnTo>
                  <a:lnTo>
                    <a:pt x="608" y="164"/>
                  </a:lnTo>
                  <a:lnTo>
                    <a:pt x="610" y="164"/>
                  </a:lnTo>
                  <a:lnTo>
                    <a:pt x="610" y="162"/>
                  </a:lnTo>
                  <a:lnTo>
                    <a:pt x="608" y="162"/>
                  </a:lnTo>
                  <a:lnTo>
                    <a:pt x="604" y="162"/>
                  </a:lnTo>
                  <a:lnTo>
                    <a:pt x="600" y="162"/>
                  </a:lnTo>
                  <a:lnTo>
                    <a:pt x="598" y="160"/>
                  </a:lnTo>
                  <a:lnTo>
                    <a:pt x="596" y="160"/>
                  </a:lnTo>
                  <a:lnTo>
                    <a:pt x="594" y="160"/>
                  </a:lnTo>
                  <a:lnTo>
                    <a:pt x="590" y="160"/>
                  </a:lnTo>
                  <a:lnTo>
                    <a:pt x="587" y="160"/>
                  </a:lnTo>
                  <a:lnTo>
                    <a:pt x="585" y="158"/>
                  </a:lnTo>
                  <a:lnTo>
                    <a:pt x="585" y="156"/>
                  </a:lnTo>
                  <a:lnTo>
                    <a:pt x="583" y="156"/>
                  </a:lnTo>
                  <a:lnTo>
                    <a:pt x="583" y="154"/>
                  </a:lnTo>
                  <a:lnTo>
                    <a:pt x="583" y="154"/>
                  </a:lnTo>
                  <a:lnTo>
                    <a:pt x="581" y="152"/>
                  </a:lnTo>
                  <a:lnTo>
                    <a:pt x="581" y="150"/>
                  </a:lnTo>
                  <a:lnTo>
                    <a:pt x="577" y="148"/>
                  </a:lnTo>
                  <a:lnTo>
                    <a:pt x="577" y="148"/>
                  </a:lnTo>
                  <a:lnTo>
                    <a:pt x="573" y="148"/>
                  </a:lnTo>
                  <a:lnTo>
                    <a:pt x="573" y="148"/>
                  </a:lnTo>
                  <a:lnTo>
                    <a:pt x="573" y="146"/>
                  </a:lnTo>
                  <a:lnTo>
                    <a:pt x="573" y="146"/>
                  </a:lnTo>
                  <a:lnTo>
                    <a:pt x="573" y="146"/>
                  </a:lnTo>
                  <a:lnTo>
                    <a:pt x="573" y="146"/>
                  </a:lnTo>
                  <a:lnTo>
                    <a:pt x="571" y="146"/>
                  </a:lnTo>
                  <a:lnTo>
                    <a:pt x="571" y="146"/>
                  </a:lnTo>
                  <a:lnTo>
                    <a:pt x="569" y="146"/>
                  </a:lnTo>
                  <a:lnTo>
                    <a:pt x="569" y="146"/>
                  </a:lnTo>
                  <a:lnTo>
                    <a:pt x="567" y="144"/>
                  </a:lnTo>
                  <a:lnTo>
                    <a:pt x="567" y="144"/>
                  </a:lnTo>
                  <a:lnTo>
                    <a:pt x="565" y="144"/>
                  </a:lnTo>
                  <a:lnTo>
                    <a:pt x="563" y="140"/>
                  </a:lnTo>
                  <a:lnTo>
                    <a:pt x="563" y="140"/>
                  </a:lnTo>
                  <a:lnTo>
                    <a:pt x="561" y="137"/>
                  </a:lnTo>
                  <a:lnTo>
                    <a:pt x="561" y="135"/>
                  </a:lnTo>
                  <a:lnTo>
                    <a:pt x="559" y="135"/>
                  </a:lnTo>
                  <a:lnTo>
                    <a:pt x="557" y="135"/>
                  </a:lnTo>
                  <a:lnTo>
                    <a:pt x="555" y="135"/>
                  </a:lnTo>
                  <a:lnTo>
                    <a:pt x="555" y="133"/>
                  </a:lnTo>
                  <a:lnTo>
                    <a:pt x="553" y="131"/>
                  </a:lnTo>
                  <a:lnTo>
                    <a:pt x="553" y="131"/>
                  </a:lnTo>
                  <a:lnTo>
                    <a:pt x="551" y="131"/>
                  </a:lnTo>
                  <a:lnTo>
                    <a:pt x="551" y="129"/>
                  </a:lnTo>
                  <a:lnTo>
                    <a:pt x="549" y="129"/>
                  </a:lnTo>
                  <a:lnTo>
                    <a:pt x="549" y="129"/>
                  </a:lnTo>
                  <a:lnTo>
                    <a:pt x="547" y="123"/>
                  </a:lnTo>
                  <a:lnTo>
                    <a:pt x="547" y="123"/>
                  </a:lnTo>
                  <a:lnTo>
                    <a:pt x="544" y="121"/>
                  </a:lnTo>
                  <a:lnTo>
                    <a:pt x="542" y="121"/>
                  </a:lnTo>
                  <a:lnTo>
                    <a:pt x="542" y="119"/>
                  </a:lnTo>
                  <a:lnTo>
                    <a:pt x="536" y="119"/>
                  </a:lnTo>
                  <a:lnTo>
                    <a:pt x="534" y="119"/>
                  </a:lnTo>
                  <a:lnTo>
                    <a:pt x="534" y="119"/>
                  </a:lnTo>
                  <a:lnTo>
                    <a:pt x="534" y="117"/>
                  </a:lnTo>
                  <a:lnTo>
                    <a:pt x="534" y="115"/>
                  </a:lnTo>
                  <a:lnTo>
                    <a:pt x="532" y="115"/>
                  </a:lnTo>
                  <a:lnTo>
                    <a:pt x="532" y="115"/>
                  </a:lnTo>
                  <a:lnTo>
                    <a:pt x="532" y="115"/>
                  </a:lnTo>
                  <a:lnTo>
                    <a:pt x="528" y="117"/>
                  </a:lnTo>
                  <a:lnTo>
                    <a:pt x="526" y="115"/>
                  </a:lnTo>
                  <a:lnTo>
                    <a:pt x="526" y="115"/>
                  </a:lnTo>
                  <a:lnTo>
                    <a:pt x="526" y="113"/>
                  </a:lnTo>
                  <a:lnTo>
                    <a:pt x="528" y="113"/>
                  </a:lnTo>
                  <a:lnTo>
                    <a:pt x="532" y="113"/>
                  </a:lnTo>
                  <a:lnTo>
                    <a:pt x="534" y="115"/>
                  </a:lnTo>
                  <a:lnTo>
                    <a:pt x="534" y="115"/>
                  </a:lnTo>
                  <a:lnTo>
                    <a:pt x="536" y="117"/>
                  </a:lnTo>
                  <a:lnTo>
                    <a:pt x="536" y="117"/>
                  </a:lnTo>
                  <a:lnTo>
                    <a:pt x="538" y="117"/>
                  </a:lnTo>
                  <a:lnTo>
                    <a:pt x="542" y="117"/>
                  </a:lnTo>
                  <a:lnTo>
                    <a:pt x="542" y="119"/>
                  </a:lnTo>
                  <a:lnTo>
                    <a:pt x="544" y="119"/>
                  </a:lnTo>
                  <a:lnTo>
                    <a:pt x="547" y="121"/>
                  </a:lnTo>
                  <a:lnTo>
                    <a:pt x="551" y="127"/>
                  </a:lnTo>
                  <a:lnTo>
                    <a:pt x="551" y="127"/>
                  </a:lnTo>
                  <a:lnTo>
                    <a:pt x="555" y="129"/>
                  </a:lnTo>
                  <a:lnTo>
                    <a:pt x="557" y="131"/>
                  </a:lnTo>
                  <a:lnTo>
                    <a:pt x="563" y="133"/>
                  </a:lnTo>
                  <a:lnTo>
                    <a:pt x="565" y="135"/>
                  </a:lnTo>
                  <a:lnTo>
                    <a:pt x="569" y="142"/>
                  </a:lnTo>
                  <a:lnTo>
                    <a:pt x="569" y="142"/>
                  </a:lnTo>
                  <a:lnTo>
                    <a:pt x="571" y="142"/>
                  </a:lnTo>
                  <a:lnTo>
                    <a:pt x="571" y="142"/>
                  </a:lnTo>
                  <a:lnTo>
                    <a:pt x="573" y="140"/>
                  </a:lnTo>
                  <a:lnTo>
                    <a:pt x="573" y="142"/>
                  </a:lnTo>
                  <a:lnTo>
                    <a:pt x="573" y="144"/>
                  </a:lnTo>
                  <a:lnTo>
                    <a:pt x="575" y="144"/>
                  </a:lnTo>
                  <a:lnTo>
                    <a:pt x="575" y="144"/>
                  </a:lnTo>
                  <a:lnTo>
                    <a:pt x="575" y="142"/>
                  </a:lnTo>
                  <a:lnTo>
                    <a:pt x="577" y="144"/>
                  </a:lnTo>
                  <a:lnTo>
                    <a:pt x="577" y="144"/>
                  </a:lnTo>
                  <a:lnTo>
                    <a:pt x="577" y="144"/>
                  </a:lnTo>
                  <a:lnTo>
                    <a:pt x="581" y="146"/>
                  </a:lnTo>
                  <a:lnTo>
                    <a:pt x="581" y="146"/>
                  </a:lnTo>
                  <a:lnTo>
                    <a:pt x="583" y="148"/>
                  </a:lnTo>
                  <a:lnTo>
                    <a:pt x="585" y="152"/>
                  </a:lnTo>
                  <a:lnTo>
                    <a:pt x="587" y="154"/>
                  </a:lnTo>
                  <a:lnTo>
                    <a:pt x="587" y="154"/>
                  </a:lnTo>
                  <a:lnTo>
                    <a:pt x="590" y="156"/>
                  </a:lnTo>
                  <a:lnTo>
                    <a:pt x="590" y="158"/>
                  </a:lnTo>
                  <a:lnTo>
                    <a:pt x="592" y="156"/>
                  </a:lnTo>
                  <a:lnTo>
                    <a:pt x="592" y="152"/>
                  </a:lnTo>
                  <a:lnTo>
                    <a:pt x="592" y="152"/>
                  </a:lnTo>
                  <a:lnTo>
                    <a:pt x="594" y="152"/>
                  </a:lnTo>
                  <a:lnTo>
                    <a:pt x="594" y="154"/>
                  </a:lnTo>
                  <a:lnTo>
                    <a:pt x="596" y="154"/>
                  </a:lnTo>
                  <a:lnTo>
                    <a:pt x="596" y="156"/>
                  </a:lnTo>
                  <a:lnTo>
                    <a:pt x="596" y="156"/>
                  </a:lnTo>
                  <a:lnTo>
                    <a:pt x="596" y="154"/>
                  </a:lnTo>
                  <a:lnTo>
                    <a:pt x="598" y="156"/>
                  </a:lnTo>
                  <a:lnTo>
                    <a:pt x="598" y="156"/>
                  </a:lnTo>
                  <a:lnTo>
                    <a:pt x="600" y="156"/>
                  </a:lnTo>
                  <a:lnTo>
                    <a:pt x="604" y="158"/>
                  </a:lnTo>
                  <a:lnTo>
                    <a:pt x="606" y="158"/>
                  </a:lnTo>
                  <a:lnTo>
                    <a:pt x="608" y="156"/>
                  </a:lnTo>
                  <a:lnTo>
                    <a:pt x="606" y="156"/>
                  </a:lnTo>
                  <a:lnTo>
                    <a:pt x="606" y="156"/>
                  </a:lnTo>
                  <a:lnTo>
                    <a:pt x="604" y="154"/>
                  </a:lnTo>
                  <a:lnTo>
                    <a:pt x="604" y="152"/>
                  </a:lnTo>
                  <a:lnTo>
                    <a:pt x="604" y="152"/>
                  </a:lnTo>
                  <a:lnTo>
                    <a:pt x="604" y="152"/>
                  </a:lnTo>
                  <a:lnTo>
                    <a:pt x="606" y="150"/>
                  </a:lnTo>
                  <a:lnTo>
                    <a:pt x="604" y="150"/>
                  </a:lnTo>
                  <a:lnTo>
                    <a:pt x="606" y="150"/>
                  </a:lnTo>
                  <a:lnTo>
                    <a:pt x="606" y="150"/>
                  </a:lnTo>
                  <a:lnTo>
                    <a:pt x="608" y="150"/>
                  </a:lnTo>
                  <a:lnTo>
                    <a:pt x="608" y="148"/>
                  </a:lnTo>
                  <a:lnTo>
                    <a:pt x="608" y="148"/>
                  </a:lnTo>
                  <a:lnTo>
                    <a:pt x="604" y="146"/>
                  </a:lnTo>
                  <a:lnTo>
                    <a:pt x="604" y="144"/>
                  </a:lnTo>
                  <a:lnTo>
                    <a:pt x="604" y="144"/>
                  </a:lnTo>
                  <a:lnTo>
                    <a:pt x="604" y="144"/>
                  </a:lnTo>
                  <a:lnTo>
                    <a:pt x="604" y="144"/>
                  </a:lnTo>
                  <a:lnTo>
                    <a:pt x="606" y="144"/>
                  </a:lnTo>
                  <a:lnTo>
                    <a:pt x="606" y="142"/>
                  </a:lnTo>
                  <a:lnTo>
                    <a:pt x="606" y="142"/>
                  </a:lnTo>
                  <a:lnTo>
                    <a:pt x="606" y="140"/>
                  </a:lnTo>
                  <a:lnTo>
                    <a:pt x="604" y="140"/>
                  </a:lnTo>
                  <a:lnTo>
                    <a:pt x="602" y="135"/>
                  </a:lnTo>
                  <a:lnTo>
                    <a:pt x="602" y="133"/>
                  </a:lnTo>
                  <a:lnTo>
                    <a:pt x="602" y="133"/>
                  </a:lnTo>
                  <a:lnTo>
                    <a:pt x="604" y="133"/>
                  </a:lnTo>
                  <a:lnTo>
                    <a:pt x="606" y="135"/>
                  </a:lnTo>
                  <a:lnTo>
                    <a:pt x="608" y="135"/>
                  </a:lnTo>
                  <a:lnTo>
                    <a:pt x="608" y="133"/>
                  </a:lnTo>
                  <a:lnTo>
                    <a:pt x="608" y="131"/>
                  </a:lnTo>
                  <a:lnTo>
                    <a:pt x="608" y="127"/>
                  </a:lnTo>
                  <a:lnTo>
                    <a:pt x="606" y="125"/>
                  </a:lnTo>
                  <a:lnTo>
                    <a:pt x="604" y="125"/>
                  </a:lnTo>
                  <a:lnTo>
                    <a:pt x="602" y="123"/>
                  </a:lnTo>
                  <a:lnTo>
                    <a:pt x="594" y="123"/>
                  </a:lnTo>
                  <a:lnTo>
                    <a:pt x="592" y="121"/>
                  </a:lnTo>
                  <a:lnTo>
                    <a:pt x="585" y="121"/>
                  </a:lnTo>
                  <a:lnTo>
                    <a:pt x="585" y="121"/>
                  </a:lnTo>
                  <a:lnTo>
                    <a:pt x="585" y="119"/>
                  </a:lnTo>
                  <a:lnTo>
                    <a:pt x="587" y="119"/>
                  </a:lnTo>
                  <a:lnTo>
                    <a:pt x="587" y="119"/>
                  </a:lnTo>
                  <a:lnTo>
                    <a:pt x="585" y="119"/>
                  </a:lnTo>
                  <a:lnTo>
                    <a:pt x="585" y="119"/>
                  </a:lnTo>
                  <a:lnTo>
                    <a:pt x="583" y="117"/>
                  </a:lnTo>
                  <a:lnTo>
                    <a:pt x="583" y="117"/>
                  </a:lnTo>
                  <a:lnTo>
                    <a:pt x="579" y="119"/>
                  </a:lnTo>
                  <a:lnTo>
                    <a:pt x="579" y="119"/>
                  </a:lnTo>
                  <a:lnTo>
                    <a:pt x="579" y="117"/>
                  </a:lnTo>
                  <a:lnTo>
                    <a:pt x="579" y="117"/>
                  </a:lnTo>
                  <a:lnTo>
                    <a:pt x="579" y="115"/>
                  </a:lnTo>
                  <a:lnTo>
                    <a:pt x="579" y="115"/>
                  </a:lnTo>
                  <a:lnTo>
                    <a:pt x="579" y="113"/>
                  </a:lnTo>
                  <a:lnTo>
                    <a:pt x="575" y="111"/>
                  </a:lnTo>
                  <a:lnTo>
                    <a:pt x="573" y="111"/>
                  </a:lnTo>
                  <a:lnTo>
                    <a:pt x="573" y="111"/>
                  </a:lnTo>
                  <a:lnTo>
                    <a:pt x="571" y="107"/>
                  </a:lnTo>
                  <a:lnTo>
                    <a:pt x="571" y="107"/>
                  </a:lnTo>
                  <a:lnTo>
                    <a:pt x="571" y="107"/>
                  </a:lnTo>
                  <a:lnTo>
                    <a:pt x="569" y="107"/>
                  </a:lnTo>
                  <a:lnTo>
                    <a:pt x="569" y="109"/>
                  </a:lnTo>
                  <a:lnTo>
                    <a:pt x="567" y="109"/>
                  </a:lnTo>
                  <a:lnTo>
                    <a:pt x="567" y="109"/>
                  </a:lnTo>
                  <a:lnTo>
                    <a:pt x="565" y="109"/>
                  </a:lnTo>
                  <a:lnTo>
                    <a:pt x="565" y="107"/>
                  </a:lnTo>
                  <a:lnTo>
                    <a:pt x="565" y="107"/>
                  </a:lnTo>
                  <a:lnTo>
                    <a:pt x="563" y="109"/>
                  </a:lnTo>
                  <a:lnTo>
                    <a:pt x="561" y="111"/>
                  </a:lnTo>
                  <a:lnTo>
                    <a:pt x="559" y="111"/>
                  </a:lnTo>
                  <a:lnTo>
                    <a:pt x="559" y="111"/>
                  </a:lnTo>
                  <a:lnTo>
                    <a:pt x="557" y="109"/>
                  </a:lnTo>
                  <a:lnTo>
                    <a:pt x="557" y="109"/>
                  </a:lnTo>
                  <a:lnTo>
                    <a:pt x="555" y="109"/>
                  </a:lnTo>
                  <a:lnTo>
                    <a:pt x="553" y="109"/>
                  </a:lnTo>
                  <a:lnTo>
                    <a:pt x="549" y="109"/>
                  </a:lnTo>
                  <a:lnTo>
                    <a:pt x="544" y="109"/>
                  </a:lnTo>
                  <a:lnTo>
                    <a:pt x="540" y="107"/>
                  </a:lnTo>
                  <a:lnTo>
                    <a:pt x="540" y="105"/>
                  </a:lnTo>
                  <a:lnTo>
                    <a:pt x="540" y="105"/>
                  </a:lnTo>
                  <a:lnTo>
                    <a:pt x="540" y="103"/>
                  </a:lnTo>
                  <a:lnTo>
                    <a:pt x="540" y="103"/>
                  </a:lnTo>
                  <a:lnTo>
                    <a:pt x="538" y="101"/>
                  </a:lnTo>
                  <a:lnTo>
                    <a:pt x="538" y="101"/>
                  </a:lnTo>
                  <a:lnTo>
                    <a:pt x="536" y="101"/>
                  </a:lnTo>
                  <a:lnTo>
                    <a:pt x="536" y="101"/>
                  </a:lnTo>
                  <a:lnTo>
                    <a:pt x="532" y="97"/>
                  </a:lnTo>
                  <a:lnTo>
                    <a:pt x="532" y="97"/>
                  </a:lnTo>
                  <a:lnTo>
                    <a:pt x="530" y="97"/>
                  </a:lnTo>
                  <a:lnTo>
                    <a:pt x="530" y="97"/>
                  </a:lnTo>
                  <a:lnTo>
                    <a:pt x="530" y="97"/>
                  </a:lnTo>
                  <a:lnTo>
                    <a:pt x="532" y="97"/>
                  </a:lnTo>
                  <a:lnTo>
                    <a:pt x="532" y="94"/>
                  </a:lnTo>
                  <a:lnTo>
                    <a:pt x="532" y="94"/>
                  </a:lnTo>
                  <a:lnTo>
                    <a:pt x="534" y="92"/>
                  </a:lnTo>
                  <a:lnTo>
                    <a:pt x="532" y="92"/>
                  </a:lnTo>
                  <a:lnTo>
                    <a:pt x="532" y="90"/>
                  </a:lnTo>
                  <a:lnTo>
                    <a:pt x="532" y="88"/>
                  </a:lnTo>
                  <a:lnTo>
                    <a:pt x="530" y="88"/>
                  </a:lnTo>
                  <a:lnTo>
                    <a:pt x="528" y="90"/>
                  </a:lnTo>
                  <a:lnTo>
                    <a:pt x="526" y="92"/>
                  </a:lnTo>
                  <a:lnTo>
                    <a:pt x="522" y="94"/>
                  </a:lnTo>
                  <a:lnTo>
                    <a:pt x="520" y="97"/>
                  </a:lnTo>
                  <a:lnTo>
                    <a:pt x="518" y="97"/>
                  </a:lnTo>
                  <a:lnTo>
                    <a:pt x="512" y="99"/>
                  </a:lnTo>
                  <a:lnTo>
                    <a:pt x="510" y="99"/>
                  </a:lnTo>
                  <a:lnTo>
                    <a:pt x="506" y="99"/>
                  </a:lnTo>
                  <a:lnTo>
                    <a:pt x="506" y="99"/>
                  </a:lnTo>
                  <a:lnTo>
                    <a:pt x="506" y="99"/>
                  </a:lnTo>
                  <a:lnTo>
                    <a:pt x="508" y="97"/>
                  </a:lnTo>
                  <a:lnTo>
                    <a:pt x="510" y="97"/>
                  </a:lnTo>
                  <a:lnTo>
                    <a:pt x="510" y="97"/>
                  </a:lnTo>
                  <a:lnTo>
                    <a:pt x="508" y="94"/>
                  </a:lnTo>
                  <a:lnTo>
                    <a:pt x="508" y="94"/>
                  </a:lnTo>
                  <a:lnTo>
                    <a:pt x="504" y="92"/>
                  </a:lnTo>
                  <a:lnTo>
                    <a:pt x="501" y="90"/>
                  </a:lnTo>
                  <a:lnTo>
                    <a:pt x="504" y="90"/>
                  </a:lnTo>
                  <a:lnTo>
                    <a:pt x="504" y="90"/>
                  </a:lnTo>
                  <a:lnTo>
                    <a:pt x="506" y="92"/>
                  </a:lnTo>
                  <a:lnTo>
                    <a:pt x="506" y="88"/>
                  </a:lnTo>
                  <a:lnTo>
                    <a:pt x="506" y="84"/>
                  </a:lnTo>
                  <a:lnTo>
                    <a:pt x="506" y="80"/>
                  </a:lnTo>
                  <a:lnTo>
                    <a:pt x="506" y="78"/>
                  </a:lnTo>
                  <a:lnTo>
                    <a:pt x="506" y="76"/>
                  </a:lnTo>
                  <a:lnTo>
                    <a:pt x="506" y="76"/>
                  </a:lnTo>
                  <a:lnTo>
                    <a:pt x="508" y="74"/>
                  </a:lnTo>
                  <a:lnTo>
                    <a:pt x="506" y="74"/>
                  </a:lnTo>
                  <a:lnTo>
                    <a:pt x="506" y="74"/>
                  </a:lnTo>
                  <a:lnTo>
                    <a:pt x="506" y="74"/>
                  </a:lnTo>
                  <a:lnTo>
                    <a:pt x="506" y="72"/>
                  </a:lnTo>
                  <a:lnTo>
                    <a:pt x="508" y="70"/>
                  </a:lnTo>
                  <a:lnTo>
                    <a:pt x="508" y="68"/>
                  </a:lnTo>
                  <a:lnTo>
                    <a:pt x="508" y="66"/>
                  </a:lnTo>
                  <a:lnTo>
                    <a:pt x="508" y="66"/>
                  </a:lnTo>
                  <a:lnTo>
                    <a:pt x="508" y="64"/>
                  </a:lnTo>
                  <a:lnTo>
                    <a:pt x="510" y="64"/>
                  </a:lnTo>
                  <a:lnTo>
                    <a:pt x="510" y="64"/>
                  </a:lnTo>
                  <a:lnTo>
                    <a:pt x="510" y="66"/>
                  </a:lnTo>
                  <a:lnTo>
                    <a:pt x="512" y="68"/>
                  </a:lnTo>
                  <a:lnTo>
                    <a:pt x="512" y="66"/>
                  </a:lnTo>
                  <a:lnTo>
                    <a:pt x="514" y="66"/>
                  </a:lnTo>
                  <a:lnTo>
                    <a:pt x="514" y="64"/>
                  </a:lnTo>
                  <a:lnTo>
                    <a:pt x="516" y="64"/>
                  </a:lnTo>
                  <a:lnTo>
                    <a:pt x="514" y="62"/>
                  </a:lnTo>
                  <a:lnTo>
                    <a:pt x="514" y="62"/>
                  </a:lnTo>
                  <a:lnTo>
                    <a:pt x="512" y="62"/>
                  </a:lnTo>
                  <a:lnTo>
                    <a:pt x="512" y="60"/>
                  </a:lnTo>
                  <a:lnTo>
                    <a:pt x="514" y="58"/>
                  </a:lnTo>
                  <a:lnTo>
                    <a:pt x="514" y="58"/>
                  </a:lnTo>
                  <a:lnTo>
                    <a:pt x="514" y="60"/>
                  </a:lnTo>
                  <a:lnTo>
                    <a:pt x="514" y="60"/>
                  </a:lnTo>
                  <a:lnTo>
                    <a:pt x="516" y="60"/>
                  </a:lnTo>
                  <a:lnTo>
                    <a:pt x="516" y="58"/>
                  </a:lnTo>
                  <a:lnTo>
                    <a:pt x="516" y="58"/>
                  </a:lnTo>
                  <a:lnTo>
                    <a:pt x="518" y="58"/>
                  </a:lnTo>
                  <a:lnTo>
                    <a:pt x="518" y="58"/>
                  </a:lnTo>
                  <a:lnTo>
                    <a:pt x="520" y="56"/>
                  </a:lnTo>
                  <a:lnTo>
                    <a:pt x="520" y="56"/>
                  </a:lnTo>
                  <a:lnTo>
                    <a:pt x="522" y="53"/>
                  </a:lnTo>
                  <a:lnTo>
                    <a:pt x="522" y="51"/>
                  </a:lnTo>
                  <a:lnTo>
                    <a:pt x="518" y="39"/>
                  </a:lnTo>
                  <a:lnTo>
                    <a:pt x="518" y="39"/>
                  </a:lnTo>
                  <a:lnTo>
                    <a:pt x="518" y="39"/>
                  </a:lnTo>
                  <a:lnTo>
                    <a:pt x="518" y="37"/>
                  </a:lnTo>
                  <a:lnTo>
                    <a:pt x="516" y="35"/>
                  </a:lnTo>
                  <a:lnTo>
                    <a:pt x="516" y="35"/>
                  </a:lnTo>
                  <a:lnTo>
                    <a:pt x="516" y="35"/>
                  </a:lnTo>
                  <a:lnTo>
                    <a:pt x="514" y="35"/>
                  </a:lnTo>
                  <a:lnTo>
                    <a:pt x="512" y="33"/>
                  </a:lnTo>
                  <a:lnTo>
                    <a:pt x="510" y="33"/>
                  </a:lnTo>
                  <a:lnTo>
                    <a:pt x="510" y="31"/>
                  </a:lnTo>
                  <a:lnTo>
                    <a:pt x="508" y="31"/>
                  </a:lnTo>
                  <a:lnTo>
                    <a:pt x="506" y="31"/>
                  </a:lnTo>
                  <a:lnTo>
                    <a:pt x="501" y="31"/>
                  </a:lnTo>
                  <a:lnTo>
                    <a:pt x="501" y="31"/>
                  </a:lnTo>
                  <a:lnTo>
                    <a:pt x="499" y="31"/>
                  </a:lnTo>
                  <a:lnTo>
                    <a:pt x="499" y="29"/>
                  </a:lnTo>
                  <a:lnTo>
                    <a:pt x="497" y="27"/>
                  </a:lnTo>
                  <a:lnTo>
                    <a:pt x="497" y="27"/>
                  </a:lnTo>
                  <a:lnTo>
                    <a:pt x="495" y="25"/>
                  </a:lnTo>
                  <a:lnTo>
                    <a:pt x="493" y="25"/>
                  </a:lnTo>
                  <a:lnTo>
                    <a:pt x="489" y="23"/>
                  </a:lnTo>
                  <a:lnTo>
                    <a:pt x="483" y="25"/>
                  </a:lnTo>
                  <a:lnTo>
                    <a:pt x="481" y="25"/>
                  </a:lnTo>
                  <a:lnTo>
                    <a:pt x="477" y="21"/>
                  </a:lnTo>
                  <a:lnTo>
                    <a:pt x="475" y="21"/>
                  </a:lnTo>
                  <a:lnTo>
                    <a:pt x="473" y="19"/>
                  </a:lnTo>
                  <a:lnTo>
                    <a:pt x="473" y="19"/>
                  </a:lnTo>
                  <a:lnTo>
                    <a:pt x="473" y="17"/>
                  </a:lnTo>
                  <a:lnTo>
                    <a:pt x="475" y="12"/>
                  </a:lnTo>
                  <a:lnTo>
                    <a:pt x="477" y="10"/>
                  </a:lnTo>
                  <a:lnTo>
                    <a:pt x="477" y="8"/>
                  </a:lnTo>
                  <a:lnTo>
                    <a:pt x="475" y="8"/>
                  </a:lnTo>
                  <a:lnTo>
                    <a:pt x="473" y="6"/>
                  </a:lnTo>
                  <a:lnTo>
                    <a:pt x="471" y="6"/>
                  </a:lnTo>
                  <a:lnTo>
                    <a:pt x="469" y="6"/>
                  </a:lnTo>
                  <a:lnTo>
                    <a:pt x="467" y="4"/>
                  </a:lnTo>
                  <a:lnTo>
                    <a:pt x="467" y="4"/>
                  </a:lnTo>
                  <a:lnTo>
                    <a:pt x="463" y="2"/>
                  </a:lnTo>
                  <a:lnTo>
                    <a:pt x="458" y="2"/>
                  </a:lnTo>
                  <a:lnTo>
                    <a:pt x="456" y="2"/>
                  </a:lnTo>
                  <a:lnTo>
                    <a:pt x="452" y="4"/>
                  </a:lnTo>
                  <a:lnTo>
                    <a:pt x="450" y="2"/>
                  </a:lnTo>
                  <a:lnTo>
                    <a:pt x="450" y="4"/>
                  </a:lnTo>
                  <a:lnTo>
                    <a:pt x="450" y="4"/>
                  </a:lnTo>
                  <a:lnTo>
                    <a:pt x="450" y="8"/>
                  </a:lnTo>
                  <a:lnTo>
                    <a:pt x="448" y="12"/>
                  </a:lnTo>
                  <a:lnTo>
                    <a:pt x="448" y="19"/>
                  </a:lnTo>
                  <a:lnTo>
                    <a:pt x="446" y="21"/>
                  </a:lnTo>
                  <a:lnTo>
                    <a:pt x="446" y="23"/>
                  </a:lnTo>
                  <a:lnTo>
                    <a:pt x="446" y="25"/>
                  </a:lnTo>
                  <a:lnTo>
                    <a:pt x="446" y="23"/>
                  </a:lnTo>
                  <a:lnTo>
                    <a:pt x="444" y="23"/>
                  </a:lnTo>
                  <a:lnTo>
                    <a:pt x="440" y="21"/>
                  </a:lnTo>
                  <a:lnTo>
                    <a:pt x="434" y="19"/>
                  </a:lnTo>
                  <a:lnTo>
                    <a:pt x="428" y="15"/>
                  </a:lnTo>
                  <a:lnTo>
                    <a:pt x="424" y="12"/>
                  </a:lnTo>
                  <a:lnTo>
                    <a:pt x="417" y="8"/>
                  </a:lnTo>
                  <a:lnTo>
                    <a:pt x="411" y="6"/>
                  </a:lnTo>
                  <a:lnTo>
                    <a:pt x="407" y="4"/>
                  </a:lnTo>
                  <a:lnTo>
                    <a:pt x="401" y="0"/>
                  </a:lnTo>
                  <a:lnTo>
                    <a:pt x="399" y="0"/>
                  </a:lnTo>
                  <a:lnTo>
                    <a:pt x="399" y="0"/>
                  </a:lnTo>
                  <a:lnTo>
                    <a:pt x="397" y="2"/>
                  </a:lnTo>
                  <a:lnTo>
                    <a:pt x="397" y="4"/>
                  </a:lnTo>
                  <a:lnTo>
                    <a:pt x="397" y="4"/>
                  </a:lnTo>
                  <a:lnTo>
                    <a:pt x="397" y="6"/>
                  </a:lnTo>
                  <a:lnTo>
                    <a:pt x="399" y="8"/>
                  </a:lnTo>
                  <a:lnTo>
                    <a:pt x="399" y="10"/>
                  </a:lnTo>
                  <a:lnTo>
                    <a:pt x="399" y="12"/>
                  </a:lnTo>
                  <a:lnTo>
                    <a:pt x="399" y="12"/>
                  </a:lnTo>
                  <a:lnTo>
                    <a:pt x="399" y="12"/>
                  </a:lnTo>
                  <a:lnTo>
                    <a:pt x="399" y="17"/>
                  </a:lnTo>
                  <a:lnTo>
                    <a:pt x="397" y="19"/>
                  </a:lnTo>
                  <a:lnTo>
                    <a:pt x="397" y="21"/>
                  </a:lnTo>
                  <a:lnTo>
                    <a:pt x="397" y="21"/>
                  </a:lnTo>
                  <a:lnTo>
                    <a:pt x="397" y="21"/>
                  </a:lnTo>
                  <a:lnTo>
                    <a:pt x="397" y="21"/>
                  </a:lnTo>
                  <a:lnTo>
                    <a:pt x="397" y="23"/>
                  </a:lnTo>
                  <a:lnTo>
                    <a:pt x="397" y="23"/>
                  </a:lnTo>
                  <a:lnTo>
                    <a:pt x="397" y="23"/>
                  </a:lnTo>
                  <a:lnTo>
                    <a:pt x="397" y="25"/>
                  </a:lnTo>
                  <a:lnTo>
                    <a:pt x="397" y="25"/>
                  </a:lnTo>
                  <a:lnTo>
                    <a:pt x="397" y="27"/>
                  </a:lnTo>
                  <a:lnTo>
                    <a:pt x="397" y="27"/>
                  </a:lnTo>
                  <a:lnTo>
                    <a:pt x="397" y="29"/>
                  </a:lnTo>
                  <a:lnTo>
                    <a:pt x="397" y="29"/>
                  </a:lnTo>
                  <a:lnTo>
                    <a:pt x="397" y="29"/>
                  </a:lnTo>
                  <a:lnTo>
                    <a:pt x="397" y="31"/>
                  </a:lnTo>
                  <a:lnTo>
                    <a:pt x="397" y="31"/>
                  </a:lnTo>
                  <a:lnTo>
                    <a:pt x="397" y="31"/>
                  </a:lnTo>
                  <a:lnTo>
                    <a:pt x="397" y="31"/>
                  </a:lnTo>
                  <a:lnTo>
                    <a:pt x="397" y="33"/>
                  </a:lnTo>
                  <a:lnTo>
                    <a:pt x="395" y="37"/>
                  </a:lnTo>
                  <a:lnTo>
                    <a:pt x="393" y="39"/>
                  </a:lnTo>
                  <a:lnTo>
                    <a:pt x="391" y="43"/>
                  </a:lnTo>
                  <a:lnTo>
                    <a:pt x="389" y="47"/>
                  </a:lnTo>
                  <a:lnTo>
                    <a:pt x="389" y="47"/>
                  </a:lnTo>
                  <a:lnTo>
                    <a:pt x="389" y="47"/>
                  </a:lnTo>
                  <a:lnTo>
                    <a:pt x="389" y="47"/>
                  </a:lnTo>
                  <a:lnTo>
                    <a:pt x="389" y="47"/>
                  </a:lnTo>
                  <a:lnTo>
                    <a:pt x="389" y="49"/>
                  </a:lnTo>
                  <a:lnTo>
                    <a:pt x="389" y="49"/>
                  </a:lnTo>
                  <a:lnTo>
                    <a:pt x="387" y="53"/>
                  </a:lnTo>
                  <a:lnTo>
                    <a:pt x="387" y="53"/>
                  </a:lnTo>
                  <a:lnTo>
                    <a:pt x="387" y="53"/>
                  </a:lnTo>
                  <a:lnTo>
                    <a:pt x="385" y="56"/>
                  </a:lnTo>
                  <a:lnTo>
                    <a:pt x="385" y="56"/>
                  </a:lnTo>
                  <a:lnTo>
                    <a:pt x="385" y="56"/>
                  </a:lnTo>
                  <a:lnTo>
                    <a:pt x="383" y="56"/>
                  </a:lnTo>
                  <a:lnTo>
                    <a:pt x="383" y="58"/>
                  </a:lnTo>
                  <a:lnTo>
                    <a:pt x="383" y="60"/>
                  </a:lnTo>
                  <a:lnTo>
                    <a:pt x="383" y="60"/>
                  </a:lnTo>
                  <a:lnTo>
                    <a:pt x="383" y="60"/>
                  </a:lnTo>
                  <a:lnTo>
                    <a:pt x="381" y="62"/>
                  </a:lnTo>
                  <a:lnTo>
                    <a:pt x="379" y="62"/>
                  </a:lnTo>
                  <a:lnTo>
                    <a:pt x="379" y="62"/>
                  </a:lnTo>
                  <a:lnTo>
                    <a:pt x="379" y="64"/>
                  </a:lnTo>
                  <a:lnTo>
                    <a:pt x="379" y="62"/>
                  </a:lnTo>
                  <a:lnTo>
                    <a:pt x="377" y="62"/>
                  </a:lnTo>
                  <a:lnTo>
                    <a:pt x="377" y="62"/>
                  </a:lnTo>
                  <a:lnTo>
                    <a:pt x="377" y="62"/>
                  </a:lnTo>
                  <a:lnTo>
                    <a:pt x="377" y="62"/>
                  </a:lnTo>
                  <a:lnTo>
                    <a:pt x="377" y="62"/>
                  </a:lnTo>
                  <a:lnTo>
                    <a:pt x="377" y="62"/>
                  </a:lnTo>
                  <a:lnTo>
                    <a:pt x="374" y="62"/>
                  </a:lnTo>
                  <a:lnTo>
                    <a:pt x="374" y="66"/>
                  </a:lnTo>
                  <a:lnTo>
                    <a:pt x="372" y="70"/>
                  </a:lnTo>
                  <a:lnTo>
                    <a:pt x="370" y="74"/>
                  </a:lnTo>
                  <a:lnTo>
                    <a:pt x="368" y="78"/>
                  </a:lnTo>
                  <a:lnTo>
                    <a:pt x="368" y="78"/>
                  </a:lnTo>
                  <a:lnTo>
                    <a:pt x="368" y="78"/>
                  </a:lnTo>
                  <a:lnTo>
                    <a:pt x="366" y="78"/>
                  </a:lnTo>
                  <a:lnTo>
                    <a:pt x="364" y="78"/>
                  </a:lnTo>
                  <a:lnTo>
                    <a:pt x="360" y="76"/>
                  </a:lnTo>
                  <a:lnTo>
                    <a:pt x="356" y="74"/>
                  </a:lnTo>
                  <a:lnTo>
                    <a:pt x="356" y="74"/>
                  </a:lnTo>
                  <a:lnTo>
                    <a:pt x="356" y="76"/>
                  </a:lnTo>
                  <a:lnTo>
                    <a:pt x="354" y="80"/>
                  </a:lnTo>
                  <a:lnTo>
                    <a:pt x="352" y="82"/>
                  </a:lnTo>
                  <a:lnTo>
                    <a:pt x="352" y="82"/>
                  </a:lnTo>
                  <a:lnTo>
                    <a:pt x="352" y="82"/>
                  </a:lnTo>
                  <a:lnTo>
                    <a:pt x="352" y="84"/>
                  </a:lnTo>
                  <a:lnTo>
                    <a:pt x="352" y="84"/>
                  </a:lnTo>
                  <a:lnTo>
                    <a:pt x="352" y="86"/>
                  </a:lnTo>
                  <a:lnTo>
                    <a:pt x="352" y="88"/>
                  </a:lnTo>
                  <a:lnTo>
                    <a:pt x="350" y="88"/>
                  </a:lnTo>
                  <a:lnTo>
                    <a:pt x="352" y="94"/>
                  </a:lnTo>
                  <a:lnTo>
                    <a:pt x="352" y="94"/>
                  </a:lnTo>
                  <a:lnTo>
                    <a:pt x="350" y="94"/>
                  </a:lnTo>
                  <a:lnTo>
                    <a:pt x="350" y="97"/>
                  </a:lnTo>
                  <a:lnTo>
                    <a:pt x="350" y="97"/>
                  </a:lnTo>
                  <a:lnTo>
                    <a:pt x="348" y="99"/>
                  </a:lnTo>
                  <a:lnTo>
                    <a:pt x="348" y="99"/>
                  </a:lnTo>
                  <a:lnTo>
                    <a:pt x="348" y="101"/>
                  </a:lnTo>
                  <a:lnTo>
                    <a:pt x="348" y="101"/>
                  </a:lnTo>
                  <a:lnTo>
                    <a:pt x="348" y="103"/>
                  </a:lnTo>
                  <a:lnTo>
                    <a:pt x="346" y="105"/>
                  </a:lnTo>
                  <a:lnTo>
                    <a:pt x="346" y="107"/>
                  </a:lnTo>
                  <a:lnTo>
                    <a:pt x="346" y="107"/>
                  </a:lnTo>
                  <a:lnTo>
                    <a:pt x="346" y="107"/>
                  </a:lnTo>
                  <a:lnTo>
                    <a:pt x="346" y="107"/>
                  </a:lnTo>
                  <a:lnTo>
                    <a:pt x="346" y="111"/>
                  </a:lnTo>
                  <a:lnTo>
                    <a:pt x="346" y="111"/>
                  </a:lnTo>
                  <a:lnTo>
                    <a:pt x="346" y="113"/>
                  </a:lnTo>
                  <a:lnTo>
                    <a:pt x="344" y="115"/>
                  </a:lnTo>
                  <a:lnTo>
                    <a:pt x="344" y="119"/>
                  </a:lnTo>
                  <a:lnTo>
                    <a:pt x="340" y="123"/>
                  </a:lnTo>
                  <a:lnTo>
                    <a:pt x="340" y="123"/>
                  </a:lnTo>
                  <a:lnTo>
                    <a:pt x="340" y="123"/>
                  </a:lnTo>
                  <a:lnTo>
                    <a:pt x="340" y="123"/>
                  </a:lnTo>
                  <a:lnTo>
                    <a:pt x="334" y="123"/>
                  </a:lnTo>
                  <a:lnTo>
                    <a:pt x="329" y="123"/>
                  </a:lnTo>
                  <a:lnTo>
                    <a:pt x="325" y="121"/>
                  </a:lnTo>
                  <a:lnTo>
                    <a:pt x="321" y="121"/>
                  </a:lnTo>
                  <a:lnTo>
                    <a:pt x="321" y="121"/>
                  </a:lnTo>
                  <a:lnTo>
                    <a:pt x="321" y="121"/>
                  </a:lnTo>
                  <a:lnTo>
                    <a:pt x="321" y="121"/>
                  </a:lnTo>
                  <a:lnTo>
                    <a:pt x="321" y="119"/>
                  </a:lnTo>
                  <a:lnTo>
                    <a:pt x="321" y="119"/>
                  </a:lnTo>
                  <a:lnTo>
                    <a:pt x="321" y="119"/>
                  </a:lnTo>
                  <a:lnTo>
                    <a:pt x="321" y="119"/>
                  </a:lnTo>
                  <a:lnTo>
                    <a:pt x="321" y="119"/>
                  </a:lnTo>
                  <a:lnTo>
                    <a:pt x="315" y="113"/>
                  </a:lnTo>
                  <a:lnTo>
                    <a:pt x="315" y="113"/>
                  </a:lnTo>
                  <a:lnTo>
                    <a:pt x="315" y="113"/>
                  </a:lnTo>
                  <a:lnTo>
                    <a:pt x="315" y="113"/>
                  </a:lnTo>
                  <a:lnTo>
                    <a:pt x="307" y="111"/>
                  </a:lnTo>
                  <a:lnTo>
                    <a:pt x="307" y="111"/>
                  </a:lnTo>
                  <a:lnTo>
                    <a:pt x="307" y="113"/>
                  </a:lnTo>
                  <a:lnTo>
                    <a:pt x="307" y="113"/>
                  </a:lnTo>
                  <a:lnTo>
                    <a:pt x="307" y="115"/>
                  </a:lnTo>
                  <a:lnTo>
                    <a:pt x="307" y="115"/>
                  </a:lnTo>
                  <a:lnTo>
                    <a:pt x="307" y="117"/>
                  </a:lnTo>
                  <a:lnTo>
                    <a:pt x="307" y="117"/>
                  </a:lnTo>
                  <a:lnTo>
                    <a:pt x="307" y="117"/>
                  </a:lnTo>
                  <a:lnTo>
                    <a:pt x="307" y="119"/>
                  </a:lnTo>
                  <a:lnTo>
                    <a:pt x="307" y="119"/>
                  </a:lnTo>
                  <a:lnTo>
                    <a:pt x="305" y="121"/>
                  </a:lnTo>
                  <a:lnTo>
                    <a:pt x="305" y="123"/>
                  </a:lnTo>
                  <a:lnTo>
                    <a:pt x="305" y="123"/>
                  </a:lnTo>
                  <a:lnTo>
                    <a:pt x="305" y="127"/>
                  </a:lnTo>
                  <a:lnTo>
                    <a:pt x="305" y="129"/>
                  </a:lnTo>
                  <a:lnTo>
                    <a:pt x="305" y="129"/>
                  </a:lnTo>
                  <a:lnTo>
                    <a:pt x="305" y="131"/>
                  </a:lnTo>
                  <a:lnTo>
                    <a:pt x="305" y="133"/>
                  </a:lnTo>
                  <a:lnTo>
                    <a:pt x="305" y="135"/>
                  </a:lnTo>
                  <a:lnTo>
                    <a:pt x="303" y="137"/>
                  </a:lnTo>
                  <a:lnTo>
                    <a:pt x="303" y="137"/>
                  </a:lnTo>
                  <a:lnTo>
                    <a:pt x="301" y="137"/>
                  </a:lnTo>
                  <a:lnTo>
                    <a:pt x="301" y="137"/>
                  </a:lnTo>
                  <a:lnTo>
                    <a:pt x="301" y="140"/>
                  </a:lnTo>
                  <a:lnTo>
                    <a:pt x="301" y="140"/>
                  </a:lnTo>
                  <a:lnTo>
                    <a:pt x="301" y="142"/>
                  </a:lnTo>
                  <a:lnTo>
                    <a:pt x="301" y="142"/>
                  </a:lnTo>
                  <a:lnTo>
                    <a:pt x="299" y="144"/>
                  </a:lnTo>
                  <a:lnTo>
                    <a:pt x="299" y="144"/>
                  </a:lnTo>
                  <a:lnTo>
                    <a:pt x="301" y="146"/>
                  </a:lnTo>
                  <a:lnTo>
                    <a:pt x="301" y="146"/>
                  </a:lnTo>
                  <a:lnTo>
                    <a:pt x="301" y="146"/>
                  </a:lnTo>
                  <a:lnTo>
                    <a:pt x="301" y="148"/>
                  </a:lnTo>
                  <a:lnTo>
                    <a:pt x="301" y="148"/>
                  </a:lnTo>
                  <a:lnTo>
                    <a:pt x="301" y="148"/>
                  </a:lnTo>
                  <a:lnTo>
                    <a:pt x="299" y="150"/>
                  </a:lnTo>
                  <a:lnTo>
                    <a:pt x="297" y="152"/>
                  </a:lnTo>
                  <a:lnTo>
                    <a:pt x="297" y="152"/>
                  </a:lnTo>
                  <a:lnTo>
                    <a:pt x="295" y="156"/>
                  </a:lnTo>
                  <a:lnTo>
                    <a:pt x="293" y="160"/>
                  </a:lnTo>
                  <a:lnTo>
                    <a:pt x="293" y="160"/>
                  </a:lnTo>
                  <a:lnTo>
                    <a:pt x="293" y="160"/>
                  </a:lnTo>
                  <a:lnTo>
                    <a:pt x="293" y="162"/>
                  </a:lnTo>
                  <a:lnTo>
                    <a:pt x="293" y="162"/>
                  </a:lnTo>
                  <a:lnTo>
                    <a:pt x="293" y="162"/>
                  </a:lnTo>
                  <a:lnTo>
                    <a:pt x="293" y="170"/>
                  </a:lnTo>
                  <a:lnTo>
                    <a:pt x="291" y="174"/>
                  </a:lnTo>
                  <a:lnTo>
                    <a:pt x="288" y="178"/>
                  </a:lnTo>
                  <a:lnTo>
                    <a:pt x="286" y="183"/>
                  </a:lnTo>
                  <a:lnTo>
                    <a:pt x="282" y="189"/>
                  </a:lnTo>
                  <a:lnTo>
                    <a:pt x="280" y="193"/>
                  </a:lnTo>
                  <a:lnTo>
                    <a:pt x="278" y="197"/>
                  </a:lnTo>
                  <a:lnTo>
                    <a:pt x="274" y="203"/>
                  </a:lnTo>
                  <a:lnTo>
                    <a:pt x="274" y="203"/>
                  </a:lnTo>
                  <a:lnTo>
                    <a:pt x="274" y="205"/>
                  </a:lnTo>
                  <a:lnTo>
                    <a:pt x="274" y="205"/>
                  </a:lnTo>
                  <a:lnTo>
                    <a:pt x="272" y="211"/>
                  </a:lnTo>
                  <a:lnTo>
                    <a:pt x="270" y="217"/>
                  </a:lnTo>
                  <a:lnTo>
                    <a:pt x="270" y="217"/>
                  </a:lnTo>
                  <a:lnTo>
                    <a:pt x="270" y="219"/>
                  </a:lnTo>
                  <a:lnTo>
                    <a:pt x="270" y="219"/>
                  </a:lnTo>
                  <a:lnTo>
                    <a:pt x="270" y="219"/>
                  </a:lnTo>
                  <a:lnTo>
                    <a:pt x="272" y="219"/>
                  </a:lnTo>
                  <a:lnTo>
                    <a:pt x="272" y="219"/>
                  </a:lnTo>
                  <a:lnTo>
                    <a:pt x="276" y="222"/>
                  </a:lnTo>
                  <a:lnTo>
                    <a:pt x="276" y="222"/>
                  </a:lnTo>
                  <a:lnTo>
                    <a:pt x="276" y="222"/>
                  </a:lnTo>
                  <a:lnTo>
                    <a:pt x="276" y="224"/>
                  </a:lnTo>
                  <a:lnTo>
                    <a:pt x="276" y="224"/>
                  </a:lnTo>
                  <a:lnTo>
                    <a:pt x="276" y="224"/>
                  </a:lnTo>
                  <a:lnTo>
                    <a:pt x="276" y="226"/>
                  </a:lnTo>
                  <a:lnTo>
                    <a:pt x="274" y="226"/>
                  </a:lnTo>
                  <a:lnTo>
                    <a:pt x="272" y="228"/>
                  </a:lnTo>
                  <a:lnTo>
                    <a:pt x="272" y="228"/>
                  </a:lnTo>
                  <a:lnTo>
                    <a:pt x="272" y="228"/>
                  </a:lnTo>
                  <a:lnTo>
                    <a:pt x="272" y="230"/>
                  </a:lnTo>
                  <a:lnTo>
                    <a:pt x="270" y="230"/>
                  </a:lnTo>
                  <a:lnTo>
                    <a:pt x="270" y="232"/>
                  </a:lnTo>
                  <a:lnTo>
                    <a:pt x="270" y="232"/>
                  </a:lnTo>
                  <a:lnTo>
                    <a:pt x="272" y="232"/>
                  </a:lnTo>
                  <a:lnTo>
                    <a:pt x="272" y="232"/>
                  </a:lnTo>
                  <a:lnTo>
                    <a:pt x="272" y="232"/>
                  </a:lnTo>
                  <a:lnTo>
                    <a:pt x="272" y="234"/>
                  </a:lnTo>
                  <a:lnTo>
                    <a:pt x="274" y="234"/>
                  </a:lnTo>
                  <a:lnTo>
                    <a:pt x="274" y="234"/>
                  </a:lnTo>
                  <a:lnTo>
                    <a:pt x="274" y="236"/>
                  </a:lnTo>
                  <a:lnTo>
                    <a:pt x="272" y="236"/>
                  </a:lnTo>
                  <a:lnTo>
                    <a:pt x="264" y="244"/>
                  </a:lnTo>
                  <a:lnTo>
                    <a:pt x="262" y="246"/>
                  </a:lnTo>
                  <a:lnTo>
                    <a:pt x="262" y="246"/>
                  </a:lnTo>
                  <a:lnTo>
                    <a:pt x="260" y="246"/>
                  </a:lnTo>
                  <a:lnTo>
                    <a:pt x="260" y="246"/>
                  </a:lnTo>
                  <a:lnTo>
                    <a:pt x="260" y="246"/>
                  </a:lnTo>
                  <a:lnTo>
                    <a:pt x="260" y="246"/>
                  </a:lnTo>
                  <a:lnTo>
                    <a:pt x="260" y="246"/>
                  </a:lnTo>
                  <a:lnTo>
                    <a:pt x="258" y="246"/>
                  </a:lnTo>
                  <a:lnTo>
                    <a:pt x="258" y="246"/>
                  </a:lnTo>
                  <a:lnTo>
                    <a:pt x="258" y="246"/>
                  </a:lnTo>
                  <a:lnTo>
                    <a:pt x="258" y="244"/>
                  </a:lnTo>
                  <a:lnTo>
                    <a:pt x="258" y="244"/>
                  </a:lnTo>
                  <a:lnTo>
                    <a:pt x="258" y="244"/>
                  </a:lnTo>
                  <a:lnTo>
                    <a:pt x="258" y="244"/>
                  </a:lnTo>
                  <a:lnTo>
                    <a:pt x="256" y="244"/>
                  </a:lnTo>
                  <a:lnTo>
                    <a:pt x="256" y="244"/>
                  </a:lnTo>
                  <a:lnTo>
                    <a:pt x="254" y="244"/>
                  </a:lnTo>
                  <a:lnTo>
                    <a:pt x="252" y="244"/>
                  </a:lnTo>
                  <a:lnTo>
                    <a:pt x="250" y="246"/>
                  </a:lnTo>
                  <a:lnTo>
                    <a:pt x="245" y="250"/>
                  </a:lnTo>
                  <a:lnTo>
                    <a:pt x="241" y="252"/>
                  </a:lnTo>
                  <a:lnTo>
                    <a:pt x="237" y="256"/>
                  </a:lnTo>
                  <a:lnTo>
                    <a:pt x="237" y="256"/>
                  </a:lnTo>
                  <a:lnTo>
                    <a:pt x="237" y="256"/>
                  </a:lnTo>
                  <a:lnTo>
                    <a:pt x="237" y="256"/>
                  </a:lnTo>
                  <a:lnTo>
                    <a:pt x="237" y="256"/>
                  </a:lnTo>
                  <a:lnTo>
                    <a:pt x="237" y="256"/>
                  </a:lnTo>
                  <a:lnTo>
                    <a:pt x="235" y="256"/>
                  </a:lnTo>
                  <a:lnTo>
                    <a:pt x="235" y="254"/>
                  </a:lnTo>
                  <a:lnTo>
                    <a:pt x="235" y="254"/>
                  </a:lnTo>
                  <a:lnTo>
                    <a:pt x="235" y="254"/>
                  </a:lnTo>
                  <a:lnTo>
                    <a:pt x="233" y="254"/>
                  </a:lnTo>
                  <a:lnTo>
                    <a:pt x="233" y="254"/>
                  </a:lnTo>
                  <a:lnTo>
                    <a:pt x="233" y="254"/>
                  </a:lnTo>
                  <a:lnTo>
                    <a:pt x="233" y="254"/>
                  </a:lnTo>
                  <a:lnTo>
                    <a:pt x="233" y="252"/>
                  </a:lnTo>
                  <a:lnTo>
                    <a:pt x="231" y="252"/>
                  </a:lnTo>
                  <a:lnTo>
                    <a:pt x="231" y="252"/>
                  </a:lnTo>
                  <a:lnTo>
                    <a:pt x="229" y="252"/>
                  </a:lnTo>
                  <a:lnTo>
                    <a:pt x="229" y="252"/>
                  </a:lnTo>
                  <a:lnTo>
                    <a:pt x="227" y="252"/>
                  </a:lnTo>
                  <a:lnTo>
                    <a:pt x="227" y="254"/>
                  </a:lnTo>
                  <a:lnTo>
                    <a:pt x="227" y="254"/>
                  </a:lnTo>
                  <a:lnTo>
                    <a:pt x="225" y="254"/>
                  </a:lnTo>
                  <a:lnTo>
                    <a:pt x="225" y="256"/>
                  </a:lnTo>
                  <a:lnTo>
                    <a:pt x="225" y="256"/>
                  </a:lnTo>
                  <a:lnTo>
                    <a:pt x="225" y="256"/>
                  </a:lnTo>
                  <a:lnTo>
                    <a:pt x="225" y="256"/>
                  </a:lnTo>
                  <a:lnTo>
                    <a:pt x="225" y="258"/>
                  </a:lnTo>
                  <a:lnTo>
                    <a:pt x="225" y="258"/>
                  </a:lnTo>
                  <a:lnTo>
                    <a:pt x="227" y="260"/>
                  </a:lnTo>
                  <a:lnTo>
                    <a:pt x="227" y="260"/>
                  </a:lnTo>
                  <a:lnTo>
                    <a:pt x="227" y="262"/>
                  </a:lnTo>
                  <a:lnTo>
                    <a:pt x="227" y="262"/>
                  </a:lnTo>
                  <a:lnTo>
                    <a:pt x="227" y="265"/>
                  </a:lnTo>
                  <a:lnTo>
                    <a:pt x="227" y="265"/>
                  </a:lnTo>
                  <a:lnTo>
                    <a:pt x="221" y="269"/>
                  </a:lnTo>
                  <a:lnTo>
                    <a:pt x="221" y="269"/>
                  </a:lnTo>
                  <a:lnTo>
                    <a:pt x="221" y="269"/>
                  </a:lnTo>
                  <a:lnTo>
                    <a:pt x="219" y="269"/>
                  </a:lnTo>
                  <a:lnTo>
                    <a:pt x="219" y="269"/>
                  </a:lnTo>
                  <a:lnTo>
                    <a:pt x="217" y="269"/>
                  </a:lnTo>
                  <a:lnTo>
                    <a:pt x="215" y="271"/>
                  </a:lnTo>
                  <a:lnTo>
                    <a:pt x="215" y="271"/>
                  </a:lnTo>
                  <a:lnTo>
                    <a:pt x="207" y="273"/>
                  </a:lnTo>
                  <a:lnTo>
                    <a:pt x="200" y="277"/>
                  </a:lnTo>
                  <a:lnTo>
                    <a:pt x="198" y="279"/>
                  </a:lnTo>
                  <a:lnTo>
                    <a:pt x="198" y="277"/>
                  </a:lnTo>
                  <a:lnTo>
                    <a:pt x="198" y="277"/>
                  </a:lnTo>
                  <a:lnTo>
                    <a:pt x="198" y="277"/>
                  </a:lnTo>
                  <a:lnTo>
                    <a:pt x="198" y="277"/>
                  </a:lnTo>
                  <a:lnTo>
                    <a:pt x="198" y="277"/>
                  </a:lnTo>
                  <a:lnTo>
                    <a:pt x="196" y="277"/>
                  </a:lnTo>
                  <a:lnTo>
                    <a:pt x="196" y="275"/>
                  </a:lnTo>
                  <a:lnTo>
                    <a:pt x="192" y="273"/>
                  </a:lnTo>
                  <a:lnTo>
                    <a:pt x="190" y="273"/>
                  </a:lnTo>
                  <a:lnTo>
                    <a:pt x="190" y="273"/>
                  </a:lnTo>
                  <a:lnTo>
                    <a:pt x="188" y="271"/>
                  </a:lnTo>
                  <a:lnTo>
                    <a:pt x="188" y="271"/>
                  </a:lnTo>
                  <a:lnTo>
                    <a:pt x="188" y="271"/>
                  </a:lnTo>
                  <a:lnTo>
                    <a:pt x="186" y="271"/>
                  </a:lnTo>
                  <a:lnTo>
                    <a:pt x="186" y="271"/>
                  </a:lnTo>
                  <a:lnTo>
                    <a:pt x="184" y="271"/>
                  </a:lnTo>
                  <a:lnTo>
                    <a:pt x="184" y="271"/>
                  </a:lnTo>
                  <a:lnTo>
                    <a:pt x="184" y="273"/>
                  </a:lnTo>
                  <a:lnTo>
                    <a:pt x="184" y="273"/>
                  </a:lnTo>
                  <a:lnTo>
                    <a:pt x="184" y="275"/>
                  </a:lnTo>
                  <a:lnTo>
                    <a:pt x="184" y="275"/>
                  </a:lnTo>
                  <a:lnTo>
                    <a:pt x="182" y="277"/>
                  </a:lnTo>
                  <a:lnTo>
                    <a:pt x="182" y="277"/>
                  </a:lnTo>
                  <a:lnTo>
                    <a:pt x="182" y="279"/>
                  </a:lnTo>
                  <a:lnTo>
                    <a:pt x="178" y="279"/>
                  </a:lnTo>
                  <a:lnTo>
                    <a:pt x="176" y="279"/>
                  </a:lnTo>
                  <a:lnTo>
                    <a:pt x="176" y="279"/>
                  </a:lnTo>
                  <a:lnTo>
                    <a:pt x="176" y="281"/>
                  </a:lnTo>
                  <a:lnTo>
                    <a:pt x="172" y="285"/>
                  </a:lnTo>
                  <a:lnTo>
                    <a:pt x="172" y="287"/>
                  </a:lnTo>
                  <a:lnTo>
                    <a:pt x="172" y="287"/>
                  </a:lnTo>
                  <a:lnTo>
                    <a:pt x="170" y="287"/>
                  </a:lnTo>
                  <a:lnTo>
                    <a:pt x="164" y="287"/>
                  </a:lnTo>
                  <a:lnTo>
                    <a:pt x="164" y="287"/>
                  </a:lnTo>
                  <a:lnTo>
                    <a:pt x="159" y="287"/>
                  </a:lnTo>
                  <a:lnTo>
                    <a:pt x="157" y="285"/>
                  </a:lnTo>
                  <a:lnTo>
                    <a:pt x="157" y="285"/>
                  </a:lnTo>
                  <a:lnTo>
                    <a:pt x="155" y="285"/>
                  </a:lnTo>
                  <a:lnTo>
                    <a:pt x="153" y="283"/>
                  </a:lnTo>
                  <a:lnTo>
                    <a:pt x="153" y="283"/>
                  </a:lnTo>
                  <a:lnTo>
                    <a:pt x="153" y="283"/>
                  </a:lnTo>
                  <a:lnTo>
                    <a:pt x="153" y="281"/>
                  </a:lnTo>
                  <a:lnTo>
                    <a:pt x="153" y="281"/>
                  </a:lnTo>
                  <a:lnTo>
                    <a:pt x="151" y="281"/>
                  </a:lnTo>
                  <a:lnTo>
                    <a:pt x="149" y="281"/>
                  </a:lnTo>
                  <a:lnTo>
                    <a:pt x="149" y="281"/>
                  </a:lnTo>
                  <a:lnTo>
                    <a:pt x="147" y="283"/>
                  </a:lnTo>
                  <a:lnTo>
                    <a:pt x="147" y="281"/>
                  </a:lnTo>
                  <a:lnTo>
                    <a:pt x="145" y="281"/>
                  </a:lnTo>
                  <a:lnTo>
                    <a:pt x="145" y="281"/>
                  </a:lnTo>
                  <a:lnTo>
                    <a:pt x="145" y="281"/>
                  </a:lnTo>
                  <a:lnTo>
                    <a:pt x="145" y="281"/>
                  </a:lnTo>
                  <a:lnTo>
                    <a:pt x="143" y="279"/>
                  </a:lnTo>
                  <a:lnTo>
                    <a:pt x="143" y="279"/>
                  </a:lnTo>
                  <a:lnTo>
                    <a:pt x="143" y="277"/>
                  </a:lnTo>
                  <a:lnTo>
                    <a:pt x="141" y="277"/>
                  </a:lnTo>
                  <a:lnTo>
                    <a:pt x="137" y="275"/>
                  </a:lnTo>
                  <a:lnTo>
                    <a:pt x="137" y="275"/>
                  </a:lnTo>
                  <a:lnTo>
                    <a:pt x="137" y="275"/>
                  </a:lnTo>
                  <a:lnTo>
                    <a:pt x="137" y="273"/>
                  </a:lnTo>
                  <a:lnTo>
                    <a:pt x="137" y="273"/>
                  </a:lnTo>
                  <a:lnTo>
                    <a:pt x="135" y="273"/>
                  </a:lnTo>
                  <a:lnTo>
                    <a:pt x="135" y="271"/>
                  </a:lnTo>
                  <a:lnTo>
                    <a:pt x="135" y="269"/>
                  </a:lnTo>
                  <a:lnTo>
                    <a:pt x="135" y="269"/>
                  </a:lnTo>
                  <a:lnTo>
                    <a:pt x="135" y="269"/>
                  </a:lnTo>
                  <a:lnTo>
                    <a:pt x="135" y="269"/>
                  </a:lnTo>
                  <a:lnTo>
                    <a:pt x="135" y="267"/>
                  </a:lnTo>
                  <a:lnTo>
                    <a:pt x="135" y="267"/>
                  </a:lnTo>
                  <a:lnTo>
                    <a:pt x="135" y="267"/>
                  </a:lnTo>
                  <a:lnTo>
                    <a:pt x="131" y="265"/>
                  </a:lnTo>
                  <a:lnTo>
                    <a:pt x="131" y="265"/>
                  </a:lnTo>
                  <a:lnTo>
                    <a:pt x="131" y="265"/>
                  </a:lnTo>
                  <a:lnTo>
                    <a:pt x="131" y="265"/>
                  </a:lnTo>
                  <a:lnTo>
                    <a:pt x="131" y="262"/>
                  </a:lnTo>
                  <a:lnTo>
                    <a:pt x="131" y="262"/>
                  </a:lnTo>
                  <a:lnTo>
                    <a:pt x="133" y="260"/>
                  </a:lnTo>
                  <a:lnTo>
                    <a:pt x="133" y="260"/>
                  </a:lnTo>
                  <a:lnTo>
                    <a:pt x="133" y="260"/>
                  </a:lnTo>
                  <a:lnTo>
                    <a:pt x="133" y="260"/>
                  </a:lnTo>
                  <a:lnTo>
                    <a:pt x="133" y="260"/>
                  </a:lnTo>
                  <a:lnTo>
                    <a:pt x="133" y="258"/>
                  </a:lnTo>
                  <a:lnTo>
                    <a:pt x="133" y="258"/>
                  </a:lnTo>
                  <a:lnTo>
                    <a:pt x="131" y="258"/>
                  </a:lnTo>
                  <a:lnTo>
                    <a:pt x="131" y="258"/>
                  </a:lnTo>
                  <a:lnTo>
                    <a:pt x="131" y="256"/>
                  </a:lnTo>
                  <a:lnTo>
                    <a:pt x="127" y="262"/>
                  </a:lnTo>
                  <a:lnTo>
                    <a:pt x="121" y="269"/>
                  </a:lnTo>
                  <a:lnTo>
                    <a:pt x="116" y="275"/>
                  </a:lnTo>
                  <a:lnTo>
                    <a:pt x="108" y="283"/>
                  </a:lnTo>
                  <a:lnTo>
                    <a:pt x="102" y="291"/>
                  </a:lnTo>
                  <a:lnTo>
                    <a:pt x="100" y="291"/>
                  </a:lnTo>
                  <a:lnTo>
                    <a:pt x="94" y="295"/>
                  </a:lnTo>
                  <a:lnTo>
                    <a:pt x="88" y="299"/>
                  </a:lnTo>
                  <a:lnTo>
                    <a:pt x="80" y="306"/>
                  </a:lnTo>
                  <a:lnTo>
                    <a:pt x="75" y="310"/>
                  </a:lnTo>
                  <a:lnTo>
                    <a:pt x="75" y="312"/>
                  </a:lnTo>
                  <a:lnTo>
                    <a:pt x="73" y="312"/>
                  </a:lnTo>
                  <a:lnTo>
                    <a:pt x="75" y="314"/>
                  </a:lnTo>
                  <a:lnTo>
                    <a:pt x="75" y="316"/>
                  </a:lnTo>
                  <a:lnTo>
                    <a:pt x="75" y="318"/>
                  </a:lnTo>
                  <a:lnTo>
                    <a:pt x="75" y="318"/>
                  </a:lnTo>
                  <a:lnTo>
                    <a:pt x="75" y="318"/>
                  </a:lnTo>
                  <a:lnTo>
                    <a:pt x="75" y="320"/>
                  </a:lnTo>
                  <a:lnTo>
                    <a:pt x="75" y="320"/>
                  </a:lnTo>
                  <a:lnTo>
                    <a:pt x="75" y="320"/>
                  </a:lnTo>
                  <a:lnTo>
                    <a:pt x="73" y="320"/>
                  </a:lnTo>
                  <a:lnTo>
                    <a:pt x="67" y="326"/>
                  </a:lnTo>
                  <a:lnTo>
                    <a:pt x="65" y="328"/>
                  </a:lnTo>
                  <a:lnTo>
                    <a:pt x="65" y="328"/>
                  </a:lnTo>
                  <a:lnTo>
                    <a:pt x="63" y="330"/>
                  </a:lnTo>
                  <a:lnTo>
                    <a:pt x="65" y="332"/>
                  </a:lnTo>
                  <a:lnTo>
                    <a:pt x="65" y="332"/>
                  </a:lnTo>
                  <a:lnTo>
                    <a:pt x="65" y="332"/>
                  </a:lnTo>
                  <a:lnTo>
                    <a:pt x="65" y="334"/>
                  </a:lnTo>
                  <a:lnTo>
                    <a:pt x="65" y="334"/>
                  </a:lnTo>
                  <a:lnTo>
                    <a:pt x="65" y="336"/>
                  </a:lnTo>
                  <a:lnTo>
                    <a:pt x="65" y="336"/>
                  </a:lnTo>
                  <a:lnTo>
                    <a:pt x="65" y="336"/>
                  </a:lnTo>
                  <a:lnTo>
                    <a:pt x="63" y="338"/>
                  </a:lnTo>
                  <a:lnTo>
                    <a:pt x="63" y="338"/>
                  </a:lnTo>
                  <a:lnTo>
                    <a:pt x="57" y="340"/>
                  </a:lnTo>
                  <a:lnTo>
                    <a:pt x="53" y="344"/>
                  </a:lnTo>
                  <a:lnTo>
                    <a:pt x="49" y="344"/>
                  </a:lnTo>
                  <a:lnTo>
                    <a:pt x="49" y="344"/>
                  </a:lnTo>
                  <a:lnTo>
                    <a:pt x="49" y="344"/>
                  </a:lnTo>
                  <a:lnTo>
                    <a:pt x="47" y="347"/>
                  </a:lnTo>
                  <a:lnTo>
                    <a:pt x="47" y="351"/>
                  </a:lnTo>
                  <a:lnTo>
                    <a:pt x="45" y="353"/>
                  </a:lnTo>
                  <a:lnTo>
                    <a:pt x="45" y="353"/>
                  </a:lnTo>
                  <a:lnTo>
                    <a:pt x="45" y="353"/>
                  </a:lnTo>
                  <a:lnTo>
                    <a:pt x="45" y="355"/>
                  </a:lnTo>
                  <a:lnTo>
                    <a:pt x="45" y="355"/>
                  </a:lnTo>
                  <a:lnTo>
                    <a:pt x="45" y="355"/>
                  </a:lnTo>
                  <a:lnTo>
                    <a:pt x="45" y="357"/>
                  </a:lnTo>
                  <a:lnTo>
                    <a:pt x="45" y="357"/>
                  </a:lnTo>
                  <a:lnTo>
                    <a:pt x="43" y="357"/>
                  </a:lnTo>
                  <a:lnTo>
                    <a:pt x="35" y="359"/>
                  </a:lnTo>
                  <a:lnTo>
                    <a:pt x="26" y="363"/>
                  </a:lnTo>
                  <a:lnTo>
                    <a:pt x="24" y="367"/>
                  </a:lnTo>
                  <a:lnTo>
                    <a:pt x="22" y="367"/>
                  </a:lnTo>
                  <a:lnTo>
                    <a:pt x="22" y="367"/>
                  </a:lnTo>
                  <a:lnTo>
                    <a:pt x="20" y="369"/>
                  </a:lnTo>
                  <a:lnTo>
                    <a:pt x="12" y="371"/>
                  </a:lnTo>
                  <a:lnTo>
                    <a:pt x="6" y="375"/>
                  </a:lnTo>
                  <a:lnTo>
                    <a:pt x="6" y="375"/>
                  </a:lnTo>
                  <a:lnTo>
                    <a:pt x="4" y="375"/>
                  </a:lnTo>
                  <a:lnTo>
                    <a:pt x="0" y="379"/>
                  </a:lnTo>
                  <a:lnTo>
                    <a:pt x="10" y="377"/>
                  </a:lnTo>
                  <a:lnTo>
                    <a:pt x="18" y="377"/>
                  </a:lnTo>
                  <a:lnTo>
                    <a:pt x="37" y="373"/>
                  </a:lnTo>
                  <a:lnTo>
                    <a:pt x="45" y="373"/>
                  </a:lnTo>
                  <a:lnTo>
                    <a:pt x="55" y="371"/>
                  </a:lnTo>
                  <a:lnTo>
                    <a:pt x="63" y="371"/>
                  </a:lnTo>
                  <a:lnTo>
                    <a:pt x="71" y="369"/>
                  </a:lnTo>
                  <a:lnTo>
                    <a:pt x="82" y="367"/>
                  </a:lnTo>
                  <a:lnTo>
                    <a:pt x="90" y="367"/>
                  </a:lnTo>
                  <a:lnTo>
                    <a:pt x="100" y="365"/>
                  </a:lnTo>
                  <a:lnTo>
                    <a:pt x="108" y="363"/>
                  </a:lnTo>
                  <a:lnTo>
                    <a:pt x="116" y="361"/>
                  </a:lnTo>
                  <a:lnTo>
                    <a:pt x="127" y="361"/>
                  </a:lnTo>
                  <a:lnTo>
                    <a:pt x="135" y="359"/>
                  </a:lnTo>
                  <a:lnTo>
                    <a:pt x="143" y="357"/>
                  </a:lnTo>
                  <a:lnTo>
                    <a:pt x="147" y="357"/>
                  </a:lnTo>
                  <a:lnTo>
                    <a:pt x="149" y="357"/>
                  </a:lnTo>
                  <a:lnTo>
                    <a:pt x="151" y="355"/>
                  </a:lnTo>
                  <a:lnTo>
                    <a:pt x="151" y="355"/>
                  </a:lnTo>
                  <a:lnTo>
                    <a:pt x="151" y="355"/>
                  </a:lnTo>
                  <a:lnTo>
                    <a:pt x="157" y="353"/>
                  </a:lnTo>
                  <a:lnTo>
                    <a:pt x="166" y="353"/>
                  </a:lnTo>
                  <a:lnTo>
                    <a:pt x="174" y="351"/>
                  </a:lnTo>
                  <a:lnTo>
                    <a:pt x="174" y="353"/>
                  </a:lnTo>
                  <a:lnTo>
                    <a:pt x="174" y="353"/>
                  </a:lnTo>
                  <a:lnTo>
                    <a:pt x="176" y="353"/>
                  </a:lnTo>
                  <a:lnTo>
                    <a:pt x="176" y="353"/>
                  </a:lnTo>
                  <a:lnTo>
                    <a:pt x="192" y="351"/>
                  </a:lnTo>
                  <a:lnTo>
                    <a:pt x="207" y="349"/>
                  </a:lnTo>
                  <a:lnTo>
                    <a:pt x="221" y="344"/>
                  </a:lnTo>
                  <a:lnTo>
                    <a:pt x="237" y="342"/>
                  </a:lnTo>
                  <a:lnTo>
                    <a:pt x="252" y="340"/>
                  </a:lnTo>
                  <a:lnTo>
                    <a:pt x="266" y="338"/>
                  </a:lnTo>
                  <a:lnTo>
                    <a:pt x="282" y="336"/>
                  </a:lnTo>
                  <a:lnTo>
                    <a:pt x="297" y="332"/>
                  </a:lnTo>
                  <a:lnTo>
                    <a:pt x="311" y="330"/>
                  </a:lnTo>
                  <a:lnTo>
                    <a:pt x="327" y="328"/>
                  </a:lnTo>
                  <a:lnTo>
                    <a:pt x="342" y="326"/>
                  </a:lnTo>
                  <a:lnTo>
                    <a:pt x="356" y="322"/>
                  </a:lnTo>
                  <a:lnTo>
                    <a:pt x="372" y="320"/>
                  </a:lnTo>
                  <a:lnTo>
                    <a:pt x="387" y="318"/>
                  </a:lnTo>
                  <a:lnTo>
                    <a:pt x="401" y="314"/>
                  </a:lnTo>
                  <a:lnTo>
                    <a:pt x="417" y="312"/>
                  </a:lnTo>
                  <a:lnTo>
                    <a:pt x="432" y="310"/>
                  </a:lnTo>
                  <a:lnTo>
                    <a:pt x="446" y="306"/>
                  </a:lnTo>
                  <a:lnTo>
                    <a:pt x="461" y="303"/>
                  </a:lnTo>
                  <a:lnTo>
                    <a:pt x="477" y="301"/>
                  </a:lnTo>
                  <a:lnTo>
                    <a:pt x="491" y="297"/>
                  </a:lnTo>
                  <a:lnTo>
                    <a:pt x="506" y="295"/>
                  </a:lnTo>
                  <a:lnTo>
                    <a:pt x="522" y="291"/>
                  </a:lnTo>
                  <a:lnTo>
                    <a:pt x="536" y="289"/>
                  </a:lnTo>
                  <a:lnTo>
                    <a:pt x="551" y="285"/>
                  </a:lnTo>
                  <a:lnTo>
                    <a:pt x="567" y="283"/>
                  </a:lnTo>
                  <a:lnTo>
                    <a:pt x="581" y="279"/>
                  </a:lnTo>
                  <a:lnTo>
                    <a:pt x="596" y="277"/>
                  </a:lnTo>
                  <a:lnTo>
                    <a:pt x="610" y="275"/>
                  </a:lnTo>
                  <a:lnTo>
                    <a:pt x="626" y="271"/>
                  </a:lnTo>
                  <a:lnTo>
                    <a:pt x="641" y="269"/>
                  </a:lnTo>
                  <a:lnTo>
                    <a:pt x="653" y="265"/>
                  </a:lnTo>
                  <a:lnTo>
                    <a:pt x="655" y="265"/>
                  </a:lnTo>
                  <a:lnTo>
                    <a:pt x="655" y="265"/>
                  </a:lnTo>
                  <a:lnTo>
                    <a:pt x="655" y="262"/>
                  </a:lnTo>
                  <a:lnTo>
                    <a:pt x="653" y="262"/>
                  </a:lnTo>
                  <a:lnTo>
                    <a:pt x="653" y="260"/>
                  </a:lnTo>
                  <a:lnTo>
                    <a:pt x="657" y="265"/>
                  </a:lnTo>
                  <a:lnTo>
                    <a:pt x="661" y="262"/>
                  </a:lnTo>
                  <a:lnTo>
                    <a:pt x="661" y="262"/>
                  </a:lnTo>
                  <a:lnTo>
                    <a:pt x="659" y="258"/>
                  </a:lnTo>
                  <a:lnTo>
                    <a:pt x="657" y="246"/>
                  </a:lnTo>
                  <a:lnTo>
                    <a:pt x="657" y="246"/>
                  </a:lnTo>
                  <a:lnTo>
                    <a:pt x="659" y="246"/>
                  </a:lnTo>
                  <a:lnTo>
                    <a:pt x="659" y="246"/>
                  </a:lnTo>
                  <a:lnTo>
                    <a:pt x="661" y="246"/>
                  </a:lnTo>
                  <a:lnTo>
                    <a:pt x="661" y="248"/>
                  </a:lnTo>
                  <a:lnTo>
                    <a:pt x="665" y="254"/>
                  </a:lnTo>
                  <a:lnTo>
                    <a:pt x="665" y="254"/>
                  </a:lnTo>
                  <a:lnTo>
                    <a:pt x="667" y="256"/>
                  </a:lnTo>
                  <a:lnTo>
                    <a:pt x="667" y="256"/>
                  </a:lnTo>
                  <a:lnTo>
                    <a:pt x="667" y="258"/>
                  </a:lnTo>
                  <a:lnTo>
                    <a:pt x="667" y="258"/>
                  </a:lnTo>
                  <a:lnTo>
                    <a:pt x="667" y="260"/>
                  </a:lnTo>
                  <a:lnTo>
                    <a:pt x="669" y="262"/>
                  </a:lnTo>
                  <a:lnTo>
                    <a:pt x="669" y="262"/>
                  </a:lnTo>
                  <a:lnTo>
                    <a:pt x="671" y="260"/>
                  </a:lnTo>
                  <a:lnTo>
                    <a:pt x="669" y="256"/>
                  </a:lnTo>
                  <a:lnTo>
                    <a:pt x="655" y="236"/>
                  </a:lnTo>
                  <a:close/>
                </a:path>
              </a:pathLst>
            </a:custGeom>
            <a:solidFill>
              <a:schemeClr val="accent1">
                <a:lumMod val="60000"/>
                <a:lumOff val="40000"/>
              </a:schemeClr>
            </a:solidFill>
            <a:ln w="3175" cap="rnd">
              <a:solidFill>
                <a:schemeClr val="bg1"/>
              </a:solidFill>
              <a:prstDash val="solid"/>
              <a:round/>
              <a:headEnd/>
              <a:tailEnd/>
            </a:ln>
          </p:spPr>
          <p:txBody>
            <a:bodyPr vert="horz" wrap="square" lIns="19200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VA</a:t>
              </a:r>
            </a:p>
          </p:txBody>
        </p:sp>
        <p:sp>
          <p:nvSpPr>
            <p:cNvPr id="144" name="Freeform 11">
              <a:extLst>
                <a:ext uri="{FF2B5EF4-FFF2-40B4-BE49-F238E27FC236}">
                  <a16:creationId xmlns:a16="http://schemas.microsoft.com/office/drawing/2014/main" id="{1F03672E-74C1-FD8E-1961-C08C032AD546}"/>
                </a:ext>
              </a:extLst>
            </p:cNvPr>
            <p:cNvSpPr>
              <a:spLocks/>
            </p:cNvSpPr>
            <p:nvPr/>
          </p:nvSpPr>
          <p:spPr bwMode="auto">
            <a:xfrm>
              <a:off x="1511" y="836"/>
              <a:ext cx="467" cy="576"/>
            </a:xfrm>
            <a:custGeom>
              <a:avLst/>
              <a:gdLst>
                <a:gd name="T0" fmla="*/ 309 w 467"/>
                <a:gd name="T1" fmla="*/ 41 h 576"/>
                <a:gd name="T2" fmla="*/ 307 w 467"/>
                <a:gd name="T3" fmla="*/ 62 h 576"/>
                <a:gd name="T4" fmla="*/ 307 w 467"/>
                <a:gd name="T5" fmla="*/ 80 h 576"/>
                <a:gd name="T6" fmla="*/ 305 w 467"/>
                <a:gd name="T7" fmla="*/ 101 h 576"/>
                <a:gd name="T8" fmla="*/ 303 w 467"/>
                <a:gd name="T9" fmla="*/ 121 h 576"/>
                <a:gd name="T10" fmla="*/ 301 w 467"/>
                <a:gd name="T11" fmla="*/ 133 h 576"/>
                <a:gd name="T12" fmla="*/ 301 w 467"/>
                <a:gd name="T13" fmla="*/ 133 h 576"/>
                <a:gd name="T14" fmla="*/ 301 w 467"/>
                <a:gd name="T15" fmla="*/ 133 h 576"/>
                <a:gd name="T16" fmla="*/ 332 w 467"/>
                <a:gd name="T17" fmla="*/ 137 h 576"/>
                <a:gd name="T18" fmla="*/ 362 w 467"/>
                <a:gd name="T19" fmla="*/ 140 h 576"/>
                <a:gd name="T20" fmla="*/ 393 w 467"/>
                <a:gd name="T21" fmla="*/ 142 h 576"/>
                <a:gd name="T22" fmla="*/ 424 w 467"/>
                <a:gd name="T23" fmla="*/ 146 h 576"/>
                <a:gd name="T24" fmla="*/ 457 w 467"/>
                <a:gd name="T25" fmla="*/ 148 h 576"/>
                <a:gd name="T26" fmla="*/ 465 w 467"/>
                <a:gd name="T27" fmla="*/ 174 h 576"/>
                <a:gd name="T28" fmla="*/ 461 w 467"/>
                <a:gd name="T29" fmla="*/ 215 h 576"/>
                <a:gd name="T30" fmla="*/ 457 w 467"/>
                <a:gd name="T31" fmla="*/ 254 h 576"/>
                <a:gd name="T32" fmla="*/ 455 w 467"/>
                <a:gd name="T33" fmla="*/ 295 h 576"/>
                <a:gd name="T34" fmla="*/ 451 w 467"/>
                <a:gd name="T35" fmla="*/ 334 h 576"/>
                <a:gd name="T36" fmla="*/ 448 w 467"/>
                <a:gd name="T37" fmla="*/ 375 h 576"/>
                <a:gd name="T38" fmla="*/ 444 w 467"/>
                <a:gd name="T39" fmla="*/ 414 h 576"/>
                <a:gd name="T40" fmla="*/ 440 w 467"/>
                <a:gd name="T41" fmla="*/ 455 h 576"/>
                <a:gd name="T42" fmla="*/ 438 w 467"/>
                <a:gd name="T43" fmla="*/ 496 h 576"/>
                <a:gd name="T44" fmla="*/ 434 w 467"/>
                <a:gd name="T45" fmla="*/ 535 h 576"/>
                <a:gd name="T46" fmla="*/ 432 w 467"/>
                <a:gd name="T47" fmla="*/ 576 h 576"/>
                <a:gd name="T48" fmla="*/ 391 w 467"/>
                <a:gd name="T49" fmla="*/ 572 h 576"/>
                <a:gd name="T50" fmla="*/ 350 w 467"/>
                <a:gd name="T51" fmla="*/ 568 h 576"/>
                <a:gd name="T52" fmla="*/ 309 w 467"/>
                <a:gd name="T53" fmla="*/ 564 h 576"/>
                <a:gd name="T54" fmla="*/ 270 w 467"/>
                <a:gd name="T55" fmla="*/ 562 h 576"/>
                <a:gd name="T56" fmla="*/ 229 w 467"/>
                <a:gd name="T57" fmla="*/ 558 h 576"/>
                <a:gd name="T58" fmla="*/ 188 w 467"/>
                <a:gd name="T59" fmla="*/ 551 h 576"/>
                <a:gd name="T60" fmla="*/ 149 w 467"/>
                <a:gd name="T61" fmla="*/ 547 h 576"/>
                <a:gd name="T62" fmla="*/ 108 w 467"/>
                <a:gd name="T63" fmla="*/ 543 h 576"/>
                <a:gd name="T64" fmla="*/ 68 w 467"/>
                <a:gd name="T65" fmla="*/ 539 h 576"/>
                <a:gd name="T66" fmla="*/ 27 w 467"/>
                <a:gd name="T67" fmla="*/ 533 h 576"/>
                <a:gd name="T68" fmla="*/ 2 w 467"/>
                <a:gd name="T69" fmla="*/ 513 h 576"/>
                <a:gd name="T70" fmla="*/ 8 w 467"/>
                <a:gd name="T71" fmla="*/ 463 h 576"/>
                <a:gd name="T72" fmla="*/ 16 w 467"/>
                <a:gd name="T73" fmla="*/ 414 h 576"/>
                <a:gd name="T74" fmla="*/ 22 w 467"/>
                <a:gd name="T75" fmla="*/ 363 h 576"/>
                <a:gd name="T76" fmla="*/ 29 w 467"/>
                <a:gd name="T77" fmla="*/ 314 h 576"/>
                <a:gd name="T78" fmla="*/ 35 w 467"/>
                <a:gd name="T79" fmla="*/ 265 h 576"/>
                <a:gd name="T80" fmla="*/ 41 w 467"/>
                <a:gd name="T81" fmla="*/ 215 h 576"/>
                <a:gd name="T82" fmla="*/ 47 w 467"/>
                <a:gd name="T83" fmla="*/ 164 h 576"/>
                <a:gd name="T84" fmla="*/ 53 w 467"/>
                <a:gd name="T85" fmla="*/ 115 h 576"/>
                <a:gd name="T86" fmla="*/ 59 w 467"/>
                <a:gd name="T87" fmla="*/ 66 h 576"/>
                <a:gd name="T88" fmla="*/ 65 w 467"/>
                <a:gd name="T89" fmla="*/ 17 h 576"/>
                <a:gd name="T90" fmla="*/ 98 w 467"/>
                <a:gd name="T91" fmla="*/ 4 h 576"/>
                <a:gd name="T92" fmla="*/ 143 w 467"/>
                <a:gd name="T93" fmla="*/ 10 h 576"/>
                <a:gd name="T94" fmla="*/ 190 w 467"/>
                <a:gd name="T95" fmla="*/ 15 h 576"/>
                <a:gd name="T96" fmla="*/ 235 w 467"/>
                <a:gd name="T97" fmla="*/ 21 h 576"/>
                <a:gd name="T98" fmla="*/ 281 w 467"/>
                <a:gd name="T99" fmla="*/ 25 h 576"/>
                <a:gd name="T100" fmla="*/ 311 w 467"/>
                <a:gd name="T101" fmla="*/ 29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7" h="576">
                  <a:moveTo>
                    <a:pt x="311" y="29"/>
                  </a:moveTo>
                  <a:lnTo>
                    <a:pt x="311" y="35"/>
                  </a:lnTo>
                  <a:lnTo>
                    <a:pt x="309" y="41"/>
                  </a:lnTo>
                  <a:lnTo>
                    <a:pt x="309" y="47"/>
                  </a:lnTo>
                  <a:lnTo>
                    <a:pt x="309" y="53"/>
                  </a:lnTo>
                  <a:lnTo>
                    <a:pt x="307" y="62"/>
                  </a:lnTo>
                  <a:lnTo>
                    <a:pt x="307" y="68"/>
                  </a:lnTo>
                  <a:lnTo>
                    <a:pt x="307" y="74"/>
                  </a:lnTo>
                  <a:lnTo>
                    <a:pt x="307" y="80"/>
                  </a:lnTo>
                  <a:lnTo>
                    <a:pt x="305" y="88"/>
                  </a:lnTo>
                  <a:lnTo>
                    <a:pt x="305" y="94"/>
                  </a:lnTo>
                  <a:lnTo>
                    <a:pt x="305" y="101"/>
                  </a:lnTo>
                  <a:lnTo>
                    <a:pt x="303" y="107"/>
                  </a:lnTo>
                  <a:lnTo>
                    <a:pt x="303" y="113"/>
                  </a:lnTo>
                  <a:lnTo>
                    <a:pt x="303" y="121"/>
                  </a:lnTo>
                  <a:lnTo>
                    <a:pt x="301" y="127"/>
                  </a:lnTo>
                  <a:lnTo>
                    <a:pt x="301" y="133"/>
                  </a:lnTo>
                  <a:lnTo>
                    <a:pt x="301" y="133"/>
                  </a:lnTo>
                  <a:lnTo>
                    <a:pt x="301" y="133"/>
                  </a:lnTo>
                  <a:lnTo>
                    <a:pt x="301" y="133"/>
                  </a:lnTo>
                  <a:lnTo>
                    <a:pt x="301" y="133"/>
                  </a:lnTo>
                  <a:lnTo>
                    <a:pt x="301" y="133"/>
                  </a:lnTo>
                  <a:lnTo>
                    <a:pt x="301" y="133"/>
                  </a:lnTo>
                  <a:lnTo>
                    <a:pt x="301" y="133"/>
                  </a:lnTo>
                  <a:lnTo>
                    <a:pt x="311" y="135"/>
                  </a:lnTo>
                  <a:lnTo>
                    <a:pt x="321" y="135"/>
                  </a:lnTo>
                  <a:lnTo>
                    <a:pt x="332" y="137"/>
                  </a:lnTo>
                  <a:lnTo>
                    <a:pt x="342" y="137"/>
                  </a:lnTo>
                  <a:lnTo>
                    <a:pt x="352" y="140"/>
                  </a:lnTo>
                  <a:lnTo>
                    <a:pt x="362" y="140"/>
                  </a:lnTo>
                  <a:lnTo>
                    <a:pt x="373" y="142"/>
                  </a:lnTo>
                  <a:lnTo>
                    <a:pt x="383" y="142"/>
                  </a:lnTo>
                  <a:lnTo>
                    <a:pt x="393" y="142"/>
                  </a:lnTo>
                  <a:lnTo>
                    <a:pt x="403" y="144"/>
                  </a:lnTo>
                  <a:lnTo>
                    <a:pt x="414" y="144"/>
                  </a:lnTo>
                  <a:lnTo>
                    <a:pt x="424" y="146"/>
                  </a:lnTo>
                  <a:lnTo>
                    <a:pt x="436" y="146"/>
                  </a:lnTo>
                  <a:lnTo>
                    <a:pt x="446" y="148"/>
                  </a:lnTo>
                  <a:lnTo>
                    <a:pt x="457" y="148"/>
                  </a:lnTo>
                  <a:lnTo>
                    <a:pt x="467" y="150"/>
                  </a:lnTo>
                  <a:lnTo>
                    <a:pt x="465" y="162"/>
                  </a:lnTo>
                  <a:lnTo>
                    <a:pt x="465" y="174"/>
                  </a:lnTo>
                  <a:lnTo>
                    <a:pt x="463" y="189"/>
                  </a:lnTo>
                  <a:lnTo>
                    <a:pt x="463" y="201"/>
                  </a:lnTo>
                  <a:lnTo>
                    <a:pt x="461" y="215"/>
                  </a:lnTo>
                  <a:lnTo>
                    <a:pt x="459" y="228"/>
                  </a:lnTo>
                  <a:lnTo>
                    <a:pt x="459" y="242"/>
                  </a:lnTo>
                  <a:lnTo>
                    <a:pt x="457" y="254"/>
                  </a:lnTo>
                  <a:lnTo>
                    <a:pt x="457" y="269"/>
                  </a:lnTo>
                  <a:lnTo>
                    <a:pt x="455" y="281"/>
                  </a:lnTo>
                  <a:lnTo>
                    <a:pt x="455" y="295"/>
                  </a:lnTo>
                  <a:lnTo>
                    <a:pt x="453" y="308"/>
                  </a:lnTo>
                  <a:lnTo>
                    <a:pt x="453" y="322"/>
                  </a:lnTo>
                  <a:lnTo>
                    <a:pt x="451" y="334"/>
                  </a:lnTo>
                  <a:lnTo>
                    <a:pt x="451" y="349"/>
                  </a:lnTo>
                  <a:lnTo>
                    <a:pt x="448" y="361"/>
                  </a:lnTo>
                  <a:lnTo>
                    <a:pt x="448" y="375"/>
                  </a:lnTo>
                  <a:lnTo>
                    <a:pt x="446" y="388"/>
                  </a:lnTo>
                  <a:lnTo>
                    <a:pt x="446" y="402"/>
                  </a:lnTo>
                  <a:lnTo>
                    <a:pt x="444" y="414"/>
                  </a:lnTo>
                  <a:lnTo>
                    <a:pt x="442" y="428"/>
                  </a:lnTo>
                  <a:lnTo>
                    <a:pt x="442" y="441"/>
                  </a:lnTo>
                  <a:lnTo>
                    <a:pt x="440" y="455"/>
                  </a:lnTo>
                  <a:lnTo>
                    <a:pt x="440" y="469"/>
                  </a:lnTo>
                  <a:lnTo>
                    <a:pt x="438" y="482"/>
                  </a:lnTo>
                  <a:lnTo>
                    <a:pt x="438" y="496"/>
                  </a:lnTo>
                  <a:lnTo>
                    <a:pt x="436" y="508"/>
                  </a:lnTo>
                  <a:lnTo>
                    <a:pt x="436" y="523"/>
                  </a:lnTo>
                  <a:lnTo>
                    <a:pt x="434" y="535"/>
                  </a:lnTo>
                  <a:lnTo>
                    <a:pt x="434" y="549"/>
                  </a:lnTo>
                  <a:lnTo>
                    <a:pt x="432" y="562"/>
                  </a:lnTo>
                  <a:lnTo>
                    <a:pt x="432" y="576"/>
                  </a:lnTo>
                  <a:lnTo>
                    <a:pt x="418" y="574"/>
                  </a:lnTo>
                  <a:lnTo>
                    <a:pt x="403" y="574"/>
                  </a:lnTo>
                  <a:lnTo>
                    <a:pt x="391" y="572"/>
                  </a:lnTo>
                  <a:lnTo>
                    <a:pt x="377" y="570"/>
                  </a:lnTo>
                  <a:lnTo>
                    <a:pt x="364" y="570"/>
                  </a:lnTo>
                  <a:lnTo>
                    <a:pt x="350" y="568"/>
                  </a:lnTo>
                  <a:lnTo>
                    <a:pt x="338" y="568"/>
                  </a:lnTo>
                  <a:lnTo>
                    <a:pt x="324" y="566"/>
                  </a:lnTo>
                  <a:lnTo>
                    <a:pt x="309" y="564"/>
                  </a:lnTo>
                  <a:lnTo>
                    <a:pt x="297" y="564"/>
                  </a:lnTo>
                  <a:lnTo>
                    <a:pt x="283" y="562"/>
                  </a:lnTo>
                  <a:lnTo>
                    <a:pt x="270" y="562"/>
                  </a:lnTo>
                  <a:lnTo>
                    <a:pt x="256" y="560"/>
                  </a:lnTo>
                  <a:lnTo>
                    <a:pt x="242" y="558"/>
                  </a:lnTo>
                  <a:lnTo>
                    <a:pt x="229" y="558"/>
                  </a:lnTo>
                  <a:lnTo>
                    <a:pt x="215" y="556"/>
                  </a:lnTo>
                  <a:lnTo>
                    <a:pt x="203" y="554"/>
                  </a:lnTo>
                  <a:lnTo>
                    <a:pt x="188" y="551"/>
                  </a:lnTo>
                  <a:lnTo>
                    <a:pt x="176" y="551"/>
                  </a:lnTo>
                  <a:lnTo>
                    <a:pt x="162" y="549"/>
                  </a:lnTo>
                  <a:lnTo>
                    <a:pt x="149" y="547"/>
                  </a:lnTo>
                  <a:lnTo>
                    <a:pt x="135" y="547"/>
                  </a:lnTo>
                  <a:lnTo>
                    <a:pt x="121" y="545"/>
                  </a:lnTo>
                  <a:lnTo>
                    <a:pt x="108" y="543"/>
                  </a:lnTo>
                  <a:lnTo>
                    <a:pt x="94" y="541"/>
                  </a:lnTo>
                  <a:lnTo>
                    <a:pt x="82" y="539"/>
                  </a:lnTo>
                  <a:lnTo>
                    <a:pt x="68" y="539"/>
                  </a:lnTo>
                  <a:lnTo>
                    <a:pt x="55" y="537"/>
                  </a:lnTo>
                  <a:lnTo>
                    <a:pt x="41" y="535"/>
                  </a:lnTo>
                  <a:lnTo>
                    <a:pt x="27" y="533"/>
                  </a:lnTo>
                  <a:lnTo>
                    <a:pt x="14" y="531"/>
                  </a:lnTo>
                  <a:lnTo>
                    <a:pt x="0" y="531"/>
                  </a:lnTo>
                  <a:lnTo>
                    <a:pt x="2" y="513"/>
                  </a:lnTo>
                  <a:lnTo>
                    <a:pt x="4" y="496"/>
                  </a:lnTo>
                  <a:lnTo>
                    <a:pt x="6" y="480"/>
                  </a:lnTo>
                  <a:lnTo>
                    <a:pt x="8" y="463"/>
                  </a:lnTo>
                  <a:lnTo>
                    <a:pt x="12" y="447"/>
                  </a:lnTo>
                  <a:lnTo>
                    <a:pt x="14" y="431"/>
                  </a:lnTo>
                  <a:lnTo>
                    <a:pt x="16" y="414"/>
                  </a:lnTo>
                  <a:lnTo>
                    <a:pt x="18" y="398"/>
                  </a:lnTo>
                  <a:lnTo>
                    <a:pt x="20" y="381"/>
                  </a:lnTo>
                  <a:lnTo>
                    <a:pt x="22" y="363"/>
                  </a:lnTo>
                  <a:lnTo>
                    <a:pt x="25" y="347"/>
                  </a:lnTo>
                  <a:lnTo>
                    <a:pt x="27" y="330"/>
                  </a:lnTo>
                  <a:lnTo>
                    <a:pt x="29" y="314"/>
                  </a:lnTo>
                  <a:lnTo>
                    <a:pt x="31" y="297"/>
                  </a:lnTo>
                  <a:lnTo>
                    <a:pt x="33" y="281"/>
                  </a:lnTo>
                  <a:lnTo>
                    <a:pt x="35" y="265"/>
                  </a:lnTo>
                  <a:lnTo>
                    <a:pt x="37" y="248"/>
                  </a:lnTo>
                  <a:lnTo>
                    <a:pt x="39" y="232"/>
                  </a:lnTo>
                  <a:lnTo>
                    <a:pt x="41" y="215"/>
                  </a:lnTo>
                  <a:lnTo>
                    <a:pt x="43" y="199"/>
                  </a:lnTo>
                  <a:lnTo>
                    <a:pt x="45" y="183"/>
                  </a:lnTo>
                  <a:lnTo>
                    <a:pt x="47" y="164"/>
                  </a:lnTo>
                  <a:lnTo>
                    <a:pt x="49" y="148"/>
                  </a:lnTo>
                  <a:lnTo>
                    <a:pt x="51" y="131"/>
                  </a:lnTo>
                  <a:lnTo>
                    <a:pt x="53" y="115"/>
                  </a:lnTo>
                  <a:lnTo>
                    <a:pt x="55" y="99"/>
                  </a:lnTo>
                  <a:lnTo>
                    <a:pt x="57" y="82"/>
                  </a:lnTo>
                  <a:lnTo>
                    <a:pt x="59" y="66"/>
                  </a:lnTo>
                  <a:lnTo>
                    <a:pt x="61" y="49"/>
                  </a:lnTo>
                  <a:lnTo>
                    <a:pt x="63" y="33"/>
                  </a:lnTo>
                  <a:lnTo>
                    <a:pt x="65" y="17"/>
                  </a:lnTo>
                  <a:lnTo>
                    <a:pt x="68" y="0"/>
                  </a:lnTo>
                  <a:lnTo>
                    <a:pt x="84" y="2"/>
                  </a:lnTo>
                  <a:lnTo>
                    <a:pt x="98" y="4"/>
                  </a:lnTo>
                  <a:lnTo>
                    <a:pt x="113" y="6"/>
                  </a:lnTo>
                  <a:lnTo>
                    <a:pt x="129" y="8"/>
                  </a:lnTo>
                  <a:lnTo>
                    <a:pt x="143" y="10"/>
                  </a:lnTo>
                  <a:lnTo>
                    <a:pt x="160" y="12"/>
                  </a:lnTo>
                  <a:lnTo>
                    <a:pt x="174" y="12"/>
                  </a:lnTo>
                  <a:lnTo>
                    <a:pt x="190" y="15"/>
                  </a:lnTo>
                  <a:lnTo>
                    <a:pt x="205" y="17"/>
                  </a:lnTo>
                  <a:lnTo>
                    <a:pt x="219" y="19"/>
                  </a:lnTo>
                  <a:lnTo>
                    <a:pt x="235" y="21"/>
                  </a:lnTo>
                  <a:lnTo>
                    <a:pt x="250" y="23"/>
                  </a:lnTo>
                  <a:lnTo>
                    <a:pt x="266" y="23"/>
                  </a:lnTo>
                  <a:lnTo>
                    <a:pt x="281" y="25"/>
                  </a:lnTo>
                  <a:lnTo>
                    <a:pt x="297" y="27"/>
                  </a:lnTo>
                  <a:lnTo>
                    <a:pt x="311" y="29"/>
                  </a:lnTo>
                  <a:lnTo>
                    <a:pt x="311" y="29"/>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UT</a:t>
              </a:r>
            </a:p>
          </p:txBody>
        </p:sp>
        <p:sp>
          <p:nvSpPr>
            <p:cNvPr id="145" name="Freeform 12">
              <a:extLst>
                <a:ext uri="{FF2B5EF4-FFF2-40B4-BE49-F238E27FC236}">
                  <a16:creationId xmlns:a16="http://schemas.microsoft.com/office/drawing/2014/main" id="{7FC9D5DE-F92F-4AC7-0494-BB9988EFBF63}"/>
                </a:ext>
              </a:extLst>
            </p:cNvPr>
            <p:cNvSpPr>
              <a:spLocks noEditPoints="1"/>
            </p:cNvSpPr>
            <p:nvPr/>
          </p:nvSpPr>
          <p:spPr bwMode="auto">
            <a:xfrm>
              <a:off x="2121" y="1494"/>
              <a:ext cx="1211" cy="1150"/>
            </a:xfrm>
            <a:custGeom>
              <a:avLst/>
              <a:gdLst>
                <a:gd name="T0" fmla="*/ 862 w 1211"/>
                <a:gd name="T1" fmla="*/ 1016 h 1150"/>
                <a:gd name="T2" fmla="*/ 871 w 1211"/>
                <a:gd name="T3" fmla="*/ 967 h 1150"/>
                <a:gd name="T4" fmla="*/ 895 w 1211"/>
                <a:gd name="T5" fmla="*/ 930 h 1150"/>
                <a:gd name="T6" fmla="*/ 916 w 1211"/>
                <a:gd name="T7" fmla="*/ 902 h 1150"/>
                <a:gd name="T8" fmla="*/ 969 w 1211"/>
                <a:gd name="T9" fmla="*/ 863 h 1150"/>
                <a:gd name="T10" fmla="*/ 1104 w 1211"/>
                <a:gd name="T11" fmla="*/ 764 h 1150"/>
                <a:gd name="T12" fmla="*/ 1194 w 1211"/>
                <a:gd name="T13" fmla="*/ 541 h 1150"/>
                <a:gd name="T14" fmla="*/ 1178 w 1211"/>
                <a:gd name="T15" fmla="*/ 516 h 1150"/>
                <a:gd name="T16" fmla="*/ 1157 w 1211"/>
                <a:gd name="T17" fmla="*/ 475 h 1150"/>
                <a:gd name="T18" fmla="*/ 1116 w 1211"/>
                <a:gd name="T19" fmla="*/ 305 h 1150"/>
                <a:gd name="T20" fmla="*/ 1065 w 1211"/>
                <a:gd name="T21" fmla="*/ 281 h 1150"/>
                <a:gd name="T22" fmla="*/ 1020 w 1211"/>
                <a:gd name="T23" fmla="*/ 279 h 1150"/>
                <a:gd name="T24" fmla="*/ 987 w 1211"/>
                <a:gd name="T25" fmla="*/ 281 h 1150"/>
                <a:gd name="T26" fmla="*/ 926 w 1211"/>
                <a:gd name="T27" fmla="*/ 291 h 1150"/>
                <a:gd name="T28" fmla="*/ 895 w 1211"/>
                <a:gd name="T29" fmla="*/ 283 h 1150"/>
                <a:gd name="T30" fmla="*/ 862 w 1211"/>
                <a:gd name="T31" fmla="*/ 293 h 1150"/>
                <a:gd name="T32" fmla="*/ 828 w 1211"/>
                <a:gd name="T33" fmla="*/ 275 h 1150"/>
                <a:gd name="T34" fmla="*/ 752 w 1211"/>
                <a:gd name="T35" fmla="*/ 262 h 1150"/>
                <a:gd name="T36" fmla="*/ 674 w 1211"/>
                <a:gd name="T37" fmla="*/ 227 h 1150"/>
                <a:gd name="T38" fmla="*/ 610 w 1211"/>
                <a:gd name="T39" fmla="*/ 156 h 1150"/>
                <a:gd name="T40" fmla="*/ 342 w 1211"/>
                <a:gd name="T41" fmla="*/ 80 h 1150"/>
                <a:gd name="T42" fmla="*/ 127 w 1211"/>
                <a:gd name="T43" fmla="*/ 478 h 1150"/>
                <a:gd name="T44" fmla="*/ 43 w 1211"/>
                <a:gd name="T45" fmla="*/ 533 h 1150"/>
                <a:gd name="T46" fmla="*/ 123 w 1211"/>
                <a:gd name="T47" fmla="*/ 605 h 1150"/>
                <a:gd name="T48" fmla="*/ 156 w 1211"/>
                <a:gd name="T49" fmla="*/ 635 h 1150"/>
                <a:gd name="T50" fmla="*/ 172 w 1211"/>
                <a:gd name="T51" fmla="*/ 693 h 1150"/>
                <a:gd name="T52" fmla="*/ 215 w 1211"/>
                <a:gd name="T53" fmla="*/ 752 h 1150"/>
                <a:gd name="T54" fmla="*/ 299 w 1211"/>
                <a:gd name="T55" fmla="*/ 805 h 1150"/>
                <a:gd name="T56" fmla="*/ 340 w 1211"/>
                <a:gd name="T57" fmla="*/ 771 h 1150"/>
                <a:gd name="T58" fmla="*/ 359 w 1211"/>
                <a:gd name="T59" fmla="*/ 730 h 1150"/>
                <a:gd name="T60" fmla="*/ 410 w 1211"/>
                <a:gd name="T61" fmla="*/ 723 h 1150"/>
                <a:gd name="T62" fmla="*/ 473 w 1211"/>
                <a:gd name="T63" fmla="*/ 725 h 1150"/>
                <a:gd name="T64" fmla="*/ 514 w 1211"/>
                <a:gd name="T65" fmla="*/ 762 h 1150"/>
                <a:gd name="T66" fmla="*/ 555 w 1211"/>
                <a:gd name="T67" fmla="*/ 826 h 1150"/>
                <a:gd name="T68" fmla="*/ 584 w 1211"/>
                <a:gd name="T69" fmla="*/ 887 h 1150"/>
                <a:gd name="T70" fmla="*/ 621 w 1211"/>
                <a:gd name="T71" fmla="*/ 935 h 1150"/>
                <a:gd name="T72" fmla="*/ 658 w 1211"/>
                <a:gd name="T73" fmla="*/ 965 h 1150"/>
                <a:gd name="T74" fmla="*/ 664 w 1211"/>
                <a:gd name="T75" fmla="*/ 1016 h 1150"/>
                <a:gd name="T76" fmla="*/ 701 w 1211"/>
                <a:gd name="T77" fmla="*/ 1092 h 1150"/>
                <a:gd name="T78" fmla="*/ 742 w 1211"/>
                <a:gd name="T79" fmla="*/ 1109 h 1150"/>
                <a:gd name="T80" fmla="*/ 840 w 1211"/>
                <a:gd name="T81" fmla="*/ 1131 h 1150"/>
                <a:gd name="T82" fmla="*/ 877 w 1211"/>
                <a:gd name="T83" fmla="*/ 1137 h 1150"/>
                <a:gd name="T84" fmla="*/ 875 w 1211"/>
                <a:gd name="T85" fmla="*/ 1121 h 1150"/>
                <a:gd name="T86" fmla="*/ 860 w 1211"/>
                <a:gd name="T87" fmla="*/ 1088 h 1150"/>
                <a:gd name="T88" fmla="*/ 846 w 1211"/>
                <a:gd name="T89" fmla="*/ 1031 h 1150"/>
                <a:gd name="T90" fmla="*/ 828 w 1211"/>
                <a:gd name="T91" fmla="*/ 996 h 1150"/>
                <a:gd name="T92" fmla="*/ 848 w 1211"/>
                <a:gd name="T93" fmla="*/ 988 h 1150"/>
                <a:gd name="T94" fmla="*/ 871 w 1211"/>
                <a:gd name="T95" fmla="*/ 957 h 1150"/>
                <a:gd name="T96" fmla="*/ 864 w 1211"/>
                <a:gd name="T97" fmla="*/ 930 h 1150"/>
                <a:gd name="T98" fmla="*/ 887 w 1211"/>
                <a:gd name="T99" fmla="*/ 910 h 1150"/>
                <a:gd name="T100" fmla="*/ 899 w 1211"/>
                <a:gd name="T101" fmla="*/ 902 h 1150"/>
                <a:gd name="T102" fmla="*/ 916 w 1211"/>
                <a:gd name="T103" fmla="*/ 867 h 1150"/>
                <a:gd name="T104" fmla="*/ 944 w 1211"/>
                <a:gd name="T105" fmla="*/ 861 h 1150"/>
                <a:gd name="T106" fmla="*/ 940 w 1211"/>
                <a:gd name="T107" fmla="*/ 846 h 1150"/>
                <a:gd name="T108" fmla="*/ 950 w 1211"/>
                <a:gd name="T109" fmla="*/ 836 h 1150"/>
                <a:gd name="T110" fmla="*/ 971 w 1211"/>
                <a:gd name="T111" fmla="*/ 850 h 1150"/>
                <a:gd name="T112" fmla="*/ 1010 w 1211"/>
                <a:gd name="T113" fmla="*/ 834 h 1150"/>
                <a:gd name="T114" fmla="*/ 1086 w 1211"/>
                <a:gd name="T115" fmla="*/ 766 h 1150"/>
                <a:gd name="T116" fmla="*/ 1079 w 1211"/>
                <a:gd name="T117" fmla="*/ 740 h 1150"/>
                <a:gd name="T118" fmla="*/ 1104 w 1211"/>
                <a:gd name="T119" fmla="*/ 736 h 1150"/>
                <a:gd name="T120" fmla="*/ 1114 w 1211"/>
                <a:gd name="T121" fmla="*/ 752 h 1150"/>
                <a:gd name="T122" fmla="*/ 1196 w 1211"/>
                <a:gd name="T123" fmla="*/ 658 h 1150"/>
                <a:gd name="T124" fmla="*/ 1208 w 1211"/>
                <a:gd name="T125" fmla="*/ 586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1" h="1150">
                  <a:moveTo>
                    <a:pt x="866" y="1057"/>
                  </a:moveTo>
                  <a:lnTo>
                    <a:pt x="868" y="1062"/>
                  </a:lnTo>
                  <a:lnTo>
                    <a:pt x="868" y="1064"/>
                  </a:lnTo>
                  <a:lnTo>
                    <a:pt x="871" y="1066"/>
                  </a:lnTo>
                  <a:lnTo>
                    <a:pt x="871" y="1068"/>
                  </a:lnTo>
                  <a:lnTo>
                    <a:pt x="873" y="1074"/>
                  </a:lnTo>
                  <a:lnTo>
                    <a:pt x="873" y="1076"/>
                  </a:lnTo>
                  <a:lnTo>
                    <a:pt x="877" y="1080"/>
                  </a:lnTo>
                  <a:lnTo>
                    <a:pt x="877" y="1082"/>
                  </a:lnTo>
                  <a:lnTo>
                    <a:pt x="879" y="1090"/>
                  </a:lnTo>
                  <a:lnTo>
                    <a:pt x="879" y="1092"/>
                  </a:lnTo>
                  <a:lnTo>
                    <a:pt x="881" y="1096"/>
                  </a:lnTo>
                  <a:lnTo>
                    <a:pt x="881" y="1098"/>
                  </a:lnTo>
                  <a:lnTo>
                    <a:pt x="883" y="1119"/>
                  </a:lnTo>
                  <a:lnTo>
                    <a:pt x="885" y="1121"/>
                  </a:lnTo>
                  <a:lnTo>
                    <a:pt x="885" y="1121"/>
                  </a:lnTo>
                  <a:lnTo>
                    <a:pt x="887" y="1121"/>
                  </a:lnTo>
                  <a:lnTo>
                    <a:pt x="887" y="1119"/>
                  </a:lnTo>
                  <a:lnTo>
                    <a:pt x="885" y="1113"/>
                  </a:lnTo>
                  <a:lnTo>
                    <a:pt x="883" y="1109"/>
                  </a:lnTo>
                  <a:lnTo>
                    <a:pt x="883" y="1107"/>
                  </a:lnTo>
                  <a:lnTo>
                    <a:pt x="883" y="1103"/>
                  </a:lnTo>
                  <a:lnTo>
                    <a:pt x="883" y="1100"/>
                  </a:lnTo>
                  <a:lnTo>
                    <a:pt x="881" y="1096"/>
                  </a:lnTo>
                  <a:lnTo>
                    <a:pt x="881" y="1090"/>
                  </a:lnTo>
                  <a:lnTo>
                    <a:pt x="879" y="1086"/>
                  </a:lnTo>
                  <a:lnTo>
                    <a:pt x="879" y="1086"/>
                  </a:lnTo>
                  <a:lnTo>
                    <a:pt x="879" y="1084"/>
                  </a:lnTo>
                  <a:lnTo>
                    <a:pt x="868" y="1051"/>
                  </a:lnTo>
                  <a:lnTo>
                    <a:pt x="864" y="1033"/>
                  </a:lnTo>
                  <a:lnTo>
                    <a:pt x="862" y="1004"/>
                  </a:lnTo>
                  <a:lnTo>
                    <a:pt x="862" y="1002"/>
                  </a:lnTo>
                  <a:lnTo>
                    <a:pt x="862" y="1004"/>
                  </a:lnTo>
                  <a:lnTo>
                    <a:pt x="862" y="1010"/>
                  </a:lnTo>
                  <a:lnTo>
                    <a:pt x="860" y="1012"/>
                  </a:lnTo>
                  <a:lnTo>
                    <a:pt x="862" y="1014"/>
                  </a:lnTo>
                  <a:lnTo>
                    <a:pt x="862" y="1016"/>
                  </a:lnTo>
                  <a:lnTo>
                    <a:pt x="860" y="1021"/>
                  </a:lnTo>
                  <a:lnTo>
                    <a:pt x="860" y="1023"/>
                  </a:lnTo>
                  <a:lnTo>
                    <a:pt x="862" y="1025"/>
                  </a:lnTo>
                  <a:lnTo>
                    <a:pt x="862" y="1035"/>
                  </a:lnTo>
                  <a:lnTo>
                    <a:pt x="862" y="1039"/>
                  </a:lnTo>
                  <a:lnTo>
                    <a:pt x="862" y="1043"/>
                  </a:lnTo>
                  <a:lnTo>
                    <a:pt x="864" y="1047"/>
                  </a:lnTo>
                  <a:lnTo>
                    <a:pt x="866" y="1049"/>
                  </a:lnTo>
                  <a:lnTo>
                    <a:pt x="866" y="1049"/>
                  </a:lnTo>
                  <a:lnTo>
                    <a:pt x="866" y="1049"/>
                  </a:lnTo>
                  <a:lnTo>
                    <a:pt x="866" y="1049"/>
                  </a:lnTo>
                  <a:lnTo>
                    <a:pt x="866" y="1051"/>
                  </a:lnTo>
                  <a:lnTo>
                    <a:pt x="864" y="1051"/>
                  </a:lnTo>
                  <a:lnTo>
                    <a:pt x="864" y="1051"/>
                  </a:lnTo>
                  <a:lnTo>
                    <a:pt x="864" y="1051"/>
                  </a:lnTo>
                  <a:lnTo>
                    <a:pt x="866" y="1053"/>
                  </a:lnTo>
                  <a:lnTo>
                    <a:pt x="866" y="1053"/>
                  </a:lnTo>
                  <a:lnTo>
                    <a:pt x="866" y="1053"/>
                  </a:lnTo>
                  <a:lnTo>
                    <a:pt x="866" y="1055"/>
                  </a:lnTo>
                  <a:lnTo>
                    <a:pt x="866" y="1057"/>
                  </a:lnTo>
                  <a:close/>
                  <a:moveTo>
                    <a:pt x="891" y="935"/>
                  </a:moveTo>
                  <a:lnTo>
                    <a:pt x="891" y="937"/>
                  </a:lnTo>
                  <a:lnTo>
                    <a:pt x="891" y="939"/>
                  </a:lnTo>
                  <a:lnTo>
                    <a:pt x="887" y="941"/>
                  </a:lnTo>
                  <a:lnTo>
                    <a:pt x="883" y="945"/>
                  </a:lnTo>
                  <a:lnTo>
                    <a:pt x="879" y="957"/>
                  </a:lnTo>
                  <a:lnTo>
                    <a:pt x="879" y="957"/>
                  </a:lnTo>
                  <a:lnTo>
                    <a:pt x="877" y="955"/>
                  </a:lnTo>
                  <a:lnTo>
                    <a:pt x="877" y="955"/>
                  </a:lnTo>
                  <a:lnTo>
                    <a:pt x="875" y="953"/>
                  </a:lnTo>
                  <a:lnTo>
                    <a:pt x="875" y="955"/>
                  </a:lnTo>
                  <a:lnTo>
                    <a:pt x="875" y="957"/>
                  </a:lnTo>
                  <a:lnTo>
                    <a:pt x="875" y="957"/>
                  </a:lnTo>
                  <a:lnTo>
                    <a:pt x="873" y="959"/>
                  </a:lnTo>
                  <a:lnTo>
                    <a:pt x="875" y="961"/>
                  </a:lnTo>
                  <a:lnTo>
                    <a:pt x="873" y="963"/>
                  </a:lnTo>
                  <a:lnTo>
                    <a:pt x="871" y="967"/>
                  </a:lnTo>
                  <a:lnTo>
                    <a:pt x="868" y="969"/>
                  </a:lnTo>
                  <a:lnTo>
                    <a:pt x="868" y="969"/>
                  </a:lnTo>
                  <a:lnTo>
                    <a:pt x="866" y="973"/>
                  </a:lnTo>
                  <a:lnTo>
                    <a:pt x="866" y="975"/>
                  </a:lnTo>
                  <a:lnTo>
                    <a:pt x="866" y="980"/>
                  </a:lnTo>
                  <a:lnTo>
                    <a:pt x="862" y="988"/>
                  </a:lnTo>
                  <a:lnTo>
                    <a:pt x="862" y="998"/>
                  </a:lnTo>
                  <a:lnTo>
                    <a:pt x="862" y="1000"/>
                  </a:lnTo>
                  <a:lnTo>
                    <a:pt x="862" y="1000"/>
                  </a:lnTo>
                  <a:lnTo>
                    <a:pt x="862" y="1000"/>
                  </a:lnTo>
                  <a:lnTo>
                    <a:pt x="864" y="998"/>
                  </a:lnTo>
                  <a:lnTo>
                    <a:pt x="864" y="996"/>
                  </a:lnTo>
                  <a:lnTo>
                    <a:pt x="866" y="986"/>
                  </a:lnTo>
                  <a:lnTo>
                    <a:pt x="873" y="971"/>
                  </a:lnTo>
                  <a:lnTo>
                    <a:pt x="881" y="953"/>
                  </a:lnTo>
                  <a:lnTo>
                    <a:pt x="893" y="935"/>
                  </a:lnTo>
                  <a:lnTo>
                    <a:pt x="893" y="935"/>
                  </a:lnTo>
                  <a:lnTo>
                    <a:pt x="893" y="932"/>
                  </a:lnTo>
                  <a:lnTo>
                    <a:pt x="891" y="935"/>
                  </a:lnTo>
                  <a:close/>
                  <a:moveTo>
                    <a:pt x="911" y="902"/>
                  </a:moveTo>
                  <a:lnTo>
                    <a:pt x="909" y="902"/>
                  </a:lnTo>
                  <a:lnTo>
                    <a:pt x="907" y="902"/>
                  </a:lnTo>
                  <a:lnTo>
                    <a:pt x="907" y="904"/>
                  </a:lnTo>
                  <a:lnTo>
                    <a:pt x="907" y="904"/>
                  </a:lnTo>
                  <a:lnTo>
                    <a:pt x="907" y="906"/>
                  </a:lnTo>
                  <a:lnTo>
                    <a:pt x="905" y="906"/>
                  </a:lnTo>
                  <a:lnTo>
                    <a:pt x="899" y="916"/>
                  </a:lnTo>
                  <a:lnTo>
                    <a:pt x="899" y="916"/>
                  </a:lnTo>
                  <a:lnTo>
                    <a:pt x="901" y="916"/>
                  </a:lnTo>
                  <a:lnTo>
                    <a:pt x="901" y="916"/>
                  </a:lnTo>
                  <a:lnTo>
                    <a:pt x="901" y="918"/>
                  </a:lnTo>
                  <a:lnTo>
                    <a:pt x="901" y="918"/>
                  </a:lnTo>
                  <a:lnTo>
                    <a:pt x="897" y="922"/>
                  </a:lnTo>
                  <a:lnTo>
                    <a:pt x="895" y="926"/>
                  </a:lnTo>
                  <a:lnTo>
                    <a:pt x="893" y="930"/>
                  </a:lnTo>
                  <a:lnTo>
                    <a:pt x="895" y="932"/>
                  </a:lnTo>
                  <a:lnTo>
                    <a:pt x="895" y="930"/>
                  </a:lnTo>
                  <a:lnTo>
                    <a:pt x="897" y="928"/>
                  </a:lnTo>
                  <a:lnTo>
                    <a:pt x="899" y="924"/>
                  </a:lnTo>
                  <a:lnTo>
                    <a:pt x="903" y="918"/>
                  </a:lnTo>
                  <a:lnTo>
                    <a:pt x="911" y="908"/>
                  </a:lnTo>
                  <a:lnTo>
                    <a:pt x="911" y="908"/>
                  </a:lnTo>
                  <a:lnTo>
                    <a:pt x="911" y="906"/>
                  </a:lnTo>
                  <a:lnTo>
                    <a:pt x="911" y="904"/>
                  </a:lnTo>
                  <a:lnTo>
                    <a:pt x="911" y="904"/>
                  </a:lnTo>
                  <a:lnTo>
                    <a:pt x="911" y="902"/>
                  </a:lnTo>
                  <a:close/>
                  <a:moveTo>
                    <a:pt x="952" y="873"/>
                  </a:moveTo>
                  <a:lnTo>
                    <a:pt x="952" y="873"/>
                  </a:lnTo>
                  <a:lnTo>
                    <a:pt x="950" y="873"/>
                  </a:lnTo>
                  <a:lnTo>
                    <a:pt x="950" y="873"/>
                  </a:lnTo>
                  <a:lnTo>
                    <a:pt x="950" y="873"/>
                  </a:lnTo>
                  <a:lnTo>
                    <a:pt x="950" y="875"/>
                  </a:lnTo>
                  <a:lnTo>
                    <a:pt x="950" y="877"/>
                  </a:lnTo>
                  <a:lnTo>
                    <a:pt x="948" y="877"/>
                  </a:lnTo>
                  <a:lnTo>
                    <a:pt x="948" y="879"/>
                  </a:lnTo>
                  <a:lnTo>
                    <a:pt x="944" y="879"/>
                  </a:lnTo>
                  <a:lnTo>
                    <a:pt x="942" y="879"/>
                  </a:lnTo>
                  <a:lnTo>
                    <a:pt x="942" y="879"/>
                  </a:lnTo>
                  <a:lnTo>
                    <a:pt x="940" y="881"/>
                  </a:lnTo>
                  <a:lnTo>
                    <a:pt x="934" y="883"/>
                  </a:lnTo>
                  <a:lnTo>
                    <a:pt x="934" y="885"/>
                  </a:lnTo>
                  <a:lnTo>
                    <a:pt x="934" y="885"/>
                  </a:lnTo>
                  <a:lnTo>
                    <a:pt x="930" y="887"/>
                  </a:lnTo>
                  <a:lnTo>
                    <a:pt x="928" y="889"/>
                  </a:lnTo>
                  <a:lnTo>
                    <a:pt x="928" y="889"/>
                  </a:lnTo>
                  <a:lnTo>
                    <a:pt x="924" y="894"/>
                  </a:lnTo>
                  <a:lnTo>
                    <a:pt x="924" y="894"/>
                  </a:lnTo>
                  <a:lnTo>
                    <a:pt x="922" y="894"/>
                  </a:lnTo>
                  <a:lnTo>
                    <a:pt x="918" y="896"/>
                  </a:lnTo>
                  <a:lnTo>
                    <a:pt x="918" y="896"/>
                  </a:lnTo>
                  <a:lnTo>
                    <a:pt x="916" y="896"/>
                  </a:lnTo>
                  <a:lnTo>
                    <a:pt x="916" y="898"/>
                  </a:lnTo>
                  <a:lnTo>
                    <a:pt x="916" y="900"/>
                  </a:lnTo>
                  <a:lnTo>
                    <a:pt x="916" y="902"/>
                  </a:lnTo>
                  <a:lnTo>
                    <a:pt x="916" y="902"/>
                  </a:lnTo>
                  <a:lnTo>
                    <a:pt x="916" y="902"/>
                  </a:lnTo>
                  <a:lnTo>
                    <a:pt x="914" y="904"/>
                  </a:lnTo>
                  <a:lnTo>
                    <a:pt x="914" y="906"/>
                  </a:lnTo>
                  <a:lnTo>
                    <a:pt x="914" y="908"/>
                  </a:lnTo>
                  <a:lnTo>
                    <a:pt x="914" y="908"/>
                  </a:lnTo>
                  <a:lnTo>
                    <a:pt x="914" y="906"/>
                  </a:lnTo>
                  <a:lnTo>
                    <a:pt x="916" y="906"/>
                  </a:lnTo>
                  <a:lnTo>
                    <a:pt x="918" y="902"/>
                  </a:lnTo>
                  <a:lnTo>
                    <a:pt x="924" y="898"/>
                  </a:lnTo>
                  <a:lnTo>
                    <a:pt x="926" y="896"/>
                  </a:lnTo>
                  <a:lnTo>
                    <a:pt x="934" y="891"/>
                  </a:lnTo>
                  <a:lnTo>
                    <a:pt x="938" y="885"/>
                  </a:lnTo>
                  <a:lnTo>
                    <a:pt x="942" y="883"/>
                  </a:lnTo>
                  <a:lnTo>
                    <a:pt x="944" y="883"/>
                  </a:lnTo>
                  <a:lnTo>
                    <a:pt x="952" y="879"/>
                  </a:lnTo>
                  <a:lnTo>
                    <a:pt x="952" y="879"/>
                  </a:lnTo>
                  <a:lnTo>
                    <a:pt x="952" y="877"/>
                  </a:lnTo>
                  <a:lnTo>
                    <a:pt x="952" y="877"/>
                  </a:lnTo>
                  <a:lnTo>
                    <a:pt x="952" y="875"/>
                  </a:lnTo>
                  <a:lnTo>
                    <a:pt x="952" y="873"/>
                  </a:lnTo>
                  <a:lnTo>
                    <a:pt x="952" y="873"/>
                  </a:lnTo>
                  <a:close/>
                  <a:moveTo>
                    <a:pt x="965" y="863"/>
                  </a:moveTo>
                  <a:lnTo>
                    <a:pt x="961" y="865"/>
                  </a:lnTo>
                  <a:lnTo>
                    <a:pt x="957" y="871"/>
                  </a:lnTo>
                  <a:lnTo>
                    <a:pt x="957" y="871"/>
                  </a:lnTo>
                  <a:lnTo>
                    <a:pt x="959" y="871"/>
                  </a:lnTo>
                  <a:lnTo>
                    <a:pt x="959" y="869"/>
                  </a:lnTo>
                  <a:lnTo>
                    <a:pt x="963" y="867"/>
                  </a:lnTo>
                  <a:lnTo>
                    <a:pt x="965" y="867"/>
                  </a:lnTo>
                  <a:lnTo>
                    <a:pt x="965" y="865"/>
                  </a:lnTo>
                  <a:lnTo>
                    <a:pt x="967" y="863"/>
                  </a:lnTo>
                  <a:lnTo>
                    <a:pt x="967" y="863"/>
                  </a:lnTo>
                  <a:lnTo>
                    <a:pt x="967" y="863"/>
                  </a:lnTo>
                  <a:lnTo>
                    <a:pt x="967" y="863"/>
                  </a:lnTo>
                  <a:lnTo>
                    <a:pt x="969" y="863"/>
                  </a:lnTo>
                  <a:lnTo>
                    <a:pt x="969" y="863"/>
                  </a:lnTo>
                  <a:lnTo>
                    <a:pt x="969" y="861"/>
                  </a:lnTo>
                  <a:lnTo>
                    <a:pt x="965" y="863"/>
                  </a:lnTo>
                  <a:close/>
                  <a:moveTo>
                    <a:pt x="1098" y="762"/>
                  </a:moveTo>
                  <a:lnTo>
                    <a:pt x="1098" y="762"/>
                  </a:lnTo>
                  <a:lnTo>
                    <a:pt x="1098" y="762"/>
                  </a:lnTo>
                  <a:lnTo>
                    <a:pt x="1098" y="762"/>
                  </a:lnTo>
                  <a:lnTo>
                    <a:pt x="1098" y="762"/>
                  </a:lnTo>
                  <a:lnTo>
                    <a:pt x="1098" y="762"/>
                  </a:lnTo>
                  <a:lnTo>
                    <a:pt x="1098" y="762"/>
                  </a:lnTo>
                  <a:lnTo>
                    <a:pt x="1098" y="762"/>
                  </a:lnTo>
                  <a:lnTo>
                    <a:pt x="1098" y="762"/>
                  </a:lnTo>
                  <a:lnTo>
                    <a:pt x="1096" y="762"/>
                  </a:lnTo>
                  <a:lnTo>
                    <a:pt x="1096" y="764"/>
                  </a:lnTo>
                  <a:lnTo>
                    <a:pt x="1098" y="764"/>
                  </a:lnTo>
                  <a:lnTo>
                    <a:pt x="1098" y="766"/>
                  </a:lnTo>
                  <a:lnTo>
                    <a:pt x="1098" y="766"/>
                  </a:lnTo>
                  <a:lnTo>
                    <a:pt x="1098" y="769"/>
                  </a:lnTo>
                  <a:lnTo>
                    <a:pt x="1096" y="769"/>
                  </a:lnTo>
                  <a:lnTo>
                    <a:pt x="1094" y="769"/>
                  </a:lnTo>
                  <a:lnTo>
                    <a:pt x="1094" y="769"/>
                  </a:lnTo>
                  <a:lnTo>
                    <a:pt x="1094" y="771"/>
                  </a:lnTo>
                  <a:lnTo>
                    <a:pt x="1090" y="775"/>
                  </a:lnTo>
                  <a:lnTo>
                    <a:pt x="1090" y="775"/>
                  </a:lnTo>
                  <a:lnTo>
                    <a:pt x="1088" y="775"/>
                  </a:lnTo>
                  <a:lnTo>
                    <a:pt x="1088" y="775"/>
                  </a:lnTo>
                  <a:lnTo>
                    <a:pt x="1086" y="777"/>
                  </a:lnTo>
                  <a:lnTo>
                    <a:pt x="1086" y="777"/>
                  </a:lnTo>
                  <a:lnTo>
                    <a:pt x="1086" y="779"/>
                  </a:lnTo>
                  <a:lnTo>
                    <a:pt x="1077" y="783"/>
                  </a:lnTo>
                  <a:lnTo>
                    <a:pt x="1075" y="787"/>
                  </a:lnTo>
                  <a:lnTo>
                    <a:pt x="1073" y="789"/>
                  </a:lnTo>
                  <a:lnTo>
                    <a:pt x="1071" y="791"/>
                  </a:lnTo>
                  <a:lnTo>
                    <a:pt x="1073" y="791"/>
                  </a:lnTo>
                  <a:lnTo>
                    <a:pt x="1073" y="789"/>
                  </a:lnTo>
                  <a:lnTo>
                    <a:pt x="1088" y="779"/>
                  </a:lnTo>
                  <a:lnTo>
                    <a:pt x="1092" y="777"/>
                  </a:lnTo>
                  <a:lnTo>
                    <a:pt x="1104" y="764"/>
                  </a:lnTo>
                  <a:lnTo>
                    <a:pt x="1100" y="762"/>
                  </a:lnTo>
                  <a:lnTo>
                    <a:pt x="1098" y="762"/>
                  </a:lnTo>
                  <a:close/>
                  <a:moveTo>
                    <a:pt x="1211" y="574"/>
                  </a:moveTo>
                  <a:lnTo>
                    <a:pt x="1208" y="572"/>
                  </a:lnTo>
                  <a:lnTo>
                    <a:pt x="1206" y="570"/>
                  </a:lnTo>
                  <a:lnTo>
                    <a:pt x="1206" y="568"/>
                  </a:lnTo>
                  <a:lnTo>
                    <a:pt x="1206" y="566"/>
                  </a:lnTo>
                  <a:lnTo>
                    <a:pt x="1206" y="566"/>
                  </a:lnTo>
                  <a:lnTo>
                    <a:pt x="1206" y="559"/>
                  </a:lnTo>
                  <a:lnTo>
                    <a:pt x="1206" y="559"/>
                  </a:lnTo>
                  <a:lnTo>
                    <a:pt x="1204" y="557"/>
                  </a:lnTo>
                  <a:lnTo>
                    <a:pt x="1202" y="559"/>
                  </a:lnTo>
                  <a:lnTo>
                    <a:pt x="1202" y="559"/>
                  </a:lnTo>
                  <a:lnTo>
                    <a:pt x="1202" y="559"/>
                  </a:lnTo>
                  <a:lnTo>
                    <a:pt x="1202" y="559"/>
                  </a:lnTo>
                  <a:lnTo>
                    <a:pt x="1202" y="559"/>
                  </a:lnTo>
                  <a:lnTo>
                    <a:pt x="1202" y="557"/>
                  </a:lnTo>
                  <a:lnTo>
                    <a:pt x="1202" y="557"/>
                  </a:lnTo>
                  <a:lnTo>
                    <a:pt x="1200" y="557"/>
                  </a:lnTo>
                  <a:lnTo>
                    <a:pt x="1200" y="555"/>
                  </a:lnTo>
                  <a:lnTo>
                    <a:pt x="1200" y="553"/>
                  </a:lnTo>
                  <a:lnTo>
                    <a:pt x="1200" y="553"/>
                  </a:lnTo>
                  <a:lnTo>
                    <a:pt x="1200" y="553"/>
                  </a:lnTo>
                  <a:lnTo>
                    <a:pt x="1200" y="551"/>
                  </a:lnTo>
                  <a:lnTo>
                    <a:pt x="1198" y="551"/>
                  </a:lnTo>
                  <a:lnTo>
                    <a:pt x="1198" y="551"/>
                  </a:lnTo>
                  <a:lnTo>
                    <a:pt x="1198" y="549"/>
                  </a:lnTo>
                  <a:lnTo>
                    <a:pt x="1198" y="549"/>
                  </a:lnTo>
                  <a:lnTo>
                    <a:pt x="1198" y="549"/>
                  </a:lnTo>
                  <a:lnTo>
                    <a:pt x="1194" y="547"/>
                  </a:lnTo>
                  <a:lnTo>
                    <a:pt x="1194" y="545"/>
                  </a:lnTo>
                  <a:lnTo>
                    <a:pt x="1194" y="545"/>
                  </a:lnTo>
                  <a:lnTo>
                    <a:pt x="1194" y="545"/>
                  </a:lnTo>
                  <a:lnTo>
                    <a:pt x="1194" y="543"/>
                  </a:lnTo>
                  <a:lnTo>
                    <a:pt x="1194" y="543"/>
                  </a:lnTo>
                  <a:lnTo>
                    <a:pt x="1194" y="541"/>
                  </a:lnTo>
                  <a:lnTo>
                    <a:pt x="1194" y="541"/>
                  </a:lnTo>
                  <a:lnTo>
                    <a:pt x="1196" y="539"/>
                  </a:lnTo>
                  <a:lnTo>
                    <a:pt x="1196" y="539"/>
                  </a:lnTo>
                  <a:lnTo>
                    <a:pt x="1196" y="539"/>
                  </a:lnTo>
                  <a:lnTo>
                    <a:pt x="1194" y="539"/>
                  </a:lnTo>
                  <a:lnTo>
                    <a:pt x="1192" y="537"/>
                  </a:lnTo>
                  <a:lnTo>
                    <a:pt x="1192" y="535"/>
                  </a:lnTo>
                  <a:lnTo>
                    <a:pt x="1192" y="535"/>
                  </a:lnTo>
                  <a:lnTo>
                    <a:pt x="1190" y="535"/>
                  </a:lnTo>
                  <a:lnTo>
                    <a:pt x="1190" y="533"/>
                  </a:lnTo>
                  <a:lnTo>
                    <a:pt x="1190" y="531"/>
                  </a:lnTo>
                  <a:lnTo>
                    <a:pt x="1190" y="531"/>
                  </a:lnTo>
                  <a:lnTo>
                    <a:pt x="1190" y="531"/>
                  </a:lnTo>
                  <a:lnTo>
                    <a:pt x="1190" y="531"/>
                  </a:lnTo>
                  <a:lnTo>
                    <a:pt x="1188" y="531"/>
                  </a:lnTo>
                  <a:lnTo>
                    <a:pt x="1188" y="531"/>
                  </a:lnTo>
                  <a:lnTo>
                    <a:pt x="1188" y="531"/>
                  </a:lnTo>
                  <a:lnTo>
                    <a:pt x="1186" y="529"/>
                  </a:lnTo>
                  <a:lnTo>
                    <a:pt x="1186" y="529"/>
                  </a:lnTo>
                  <a:lnTo>
                    <a:pt x="1186" y="529"/>
                  </a:lnTo>
                  <a:lnTo>
                    <a:pt x="1186" y="527"/>
                  </a:lnTo>
                  <a:lnTo>
                    <a:pt x="1186" y="527"/>
                  </a:lnTo>
                  <a:lnTo>
                    <a:pt x="1188" y="527"/>
                  </a:lnTo>
                  <a:lnTo>
                    <a:pt x="1188" y="527"/>
                  </a:lnTo>
                  <a:lnTo>
                    <a:pt x="1188" y="527"/>
                  </a:lnTo>
                  <a:lnTo>
                    <a:pt x="1188" y="527"/>
                  </a:lnTo>
                  <a:lnTo>
                    <a:pt x="1188" y="525"/>
                  </a:lnTo>
                  <a:lnTo>
                    <a:pt x="1188" y="525"/>
                  </a:lnTo>
                  <a:lnTo>
                    <a:pt x="1188" y="525"/>
                  </a:lnTo>
                  <a:lnTo>
                    <a:pt x="1188" y="525"/>
                  </a:lnTo>
                  <a:lnTo>
                    <a:pt x="1186" y="525"/>
                  </a:lnTo>
                  <a:lnTo>
                    <a:pt x="1184" y="523"/>
                  </a:lnTo>
                  <a:lnTo>
                    <a:pt x="1184" y="523"/>
                  </a:lnTo>
                  <a:lnTo>
                    <a:pt x="1184" y="523"/>
                  </a:lnTo>
                  <a:lnTo>
                    <a:pt x="1182" y="523"/>
                  </a:lnTo>
                  <a:lnTo>
                    <a:pt x="1180" y="521"/>
                  </a:lnTo>
                  <a:lnTo>
                    <a:pt x="1180" y="518"/>
                  </a:lnTo>
                  <a:lnTo>
                    <a:pt x="1178" y="516"/>
                  </a:lnTo>
                  <a:lnTo>
                    <a:pt x="1178" y="516"/>
                  </a:lnTo>
                  <a:lnTo>
                    <a:pt x="1178" y="516"/>
                  </a:lnTo>
                  <a:lnTo>
                    <a:pt x="1178" y="514"/>
                  </a:lnTo>
                  <a:lnTo>
                    <a:pt x="1178" y="514"/>
                  </a:lnTo>
                  <a:lnTo>
                    <a:pt x="1178" y="512"/>
                  </a:lnTo>
                  <a:lnTo>
                    <a:pt x="1178" y="512"/>
                  </a:lnTo>
                  <a:lnTo>
                    <a:pt x="1178" y="512"/>
                  </a:lnTo>
                  <a:lnTo>
                    <a:pt x="1178" y="510"/>
                  </a:lnTo>
                  <a:lnTo>
                    <a:pt x="1178" y="508"/>
                  </a:lnTo>
                  <a:lnTo>
                    <a:pt x="1178" y="506"/>
                  </a:lnTo>
                  <a:lnTo>
                    <a:pt x="1180" y="504"/>
                  </a:lnTo>
                  <a:lnTo>
                    <a:pt x="1180" y="504"/>
                  </a:lnTo>
                  <a:lnTo>
                    <a:pt x="1180" y="504"/>
                  </a:lnTo>
                  <a:lnTo>
                    <a:pt x="1178" y="504"/>
                  </a:lnTo>
                  <a:lnTo>
                    <a:pt x="1178" y="502"/>
                  </a:lnTo>
                  <a:lnTo>
                    <a:pt x="1178" y="502"/>
                  </a:lnTo>
                  <a:lnTo>
                    <a:pt x="1178" y="502"/>
                  </a:lnTo>
                  <a:lnTo>
                    <a:pt x="1178" y="500"/>
                  </a:lnTo>
                  <a:lnTo>
                    <a:pt x="1176" y="496"/>
                  </a:lnTo>
                  <a:lnTo>
                    <a:pt x="1176" y="496"/>
                  </a:lnTo>
                  <a:lnTo>
                    <a:pt x="1174" y="492"/>
                  </a:lnTo>
                  <a:lnTo>
                    <a:pt x="1174" y="492"/>
                  </a:lnTo>
                  <a:lnTo>
                    <a:pt x="1172" y="490"/>
                  </a:lnTo>
                  <a:lnTo>
                    <a:pt x="1172" y="490"/>
                  </a:lnTo>
                  <a:lnTo>
                    <a:pt x="1172" y="488"/>
                  </a:lnTo>
                  <a:lnTo>
                    <a:pt x="1170" y="486"/>
                  </a:lnTo>
                  <a:lnTo>
                    <a:pt x="1168" y="484"/>
                  </a:lnTo>
                  <a:lnTo>
                    <a:pt x="1168" y="484"/>
                  </a:lnTo>
                  <a:lnTo>
                    <a:pt x="1163" y="482"/>
                  </a:lnTo>
                  <a:lnTo>
                    <a:pt x="1163" y="482"/>
                  </a:lnTo>
                  <a:lnTo>
                    <a:pt x="1163" y="482"/>
                  </a:lnTo>
                  <a:lnTo>
                    <a:pt x="1163" y="482"/>
                  </a:lnTo>
                  <a:lnTo>
                    <a:pt x="1161" y="478"/>
                  </a:lnTo>
                  <a:lnTo>
                    <a:pt x="1159" y="478"/>
                  </a:lnTo>
                  <a:lnTo>
                    <a:pt x="1159" y="478"/>
                  </a:lnTo>
                  <a:lnTo>
                    <a:pt x="1157" y="475"/>
                  </a:lnTo>
                  <a:lnTo>
                    <a:pt x="1157" y="475"/>
                  </a:lnTo>
                  <a:lnTo>
                    <a:pt x="1157" y="475"/>
                  </a:lnTo>
                  <a:lnTo>
                    <a:pt x="1157" y="475"/>
                  </a:lnTo>
                  <a:lnTo>
                    <a:pt x="1155" y="473"/>
                  </a:lnTo>
                  <a:lnTo>
                    <a:pt x="1155" y="467"/>
                  </a:lnTo>
                  <a:lnTo>
                    <a:pt x="1155" y="453"/>
                  </a:lnTo>
                  <a:lnTo>
                    <a:pt x="1155" y="441"/>
                  </a:lnTo>
                  <a:lnTo>
                    <a:pt x="1153" y="428"/>
                  </a:lnTo>
                  <a:lnTo>
                    <a:pt x="1153" y="416"/>
                  </a:lnTo>
                  <a:lnTo>
                    <a:pt x="1153" y="404"/>
                  </a:lnTo>
                  <a:lnTo>
                    <a:pt x="1151" y="377"/>
                  </a:lnTo>
                  <a:lnTo>
                    <a:pt x="1151" y="365"/>
                  </a:lnTo>
                  <a:lnTo>
                    <a:pt x="1149" y="353"/>
                  </a:lnTo>
                  <a:lnTo>
                    <a:pt x="1149" y="340"/>
                  </a:lnTo>
                  <a:lnTo>
                    <a:pt x="1147" y="326"/>
                  </a:lnTo>
                  <a:lnTo>
                    <a:pt x="1147" y="314"/>
                  </a:lnTo>
                  <a:lnTo>
                    <a:pt x="1147" y="307"/>
                  </a:lnTo>
                  <a:lnTo>
                    <a:pt x="1147" y="307"/>
                  </a:lnTo>
                  <a:lnTo>
                    <a:pt x="1145" y="305"/>
                  </a:lnTo>
                  <a:lnTo>
                    <a:pt x="1145" y="305"/>
                  </a:lnTo>
                  <a:lnTo>
                    <a:pt x="1141" y="303"/>
                  </a:lnTo>
                  <a:lnTo>
                    <a:pt x="1141" y="305"/>
                  </a:lnTo>
                  <a:lnTo>
                    <a:pt x="1139" y="305"/>
                  </a:lnTo>
                  <a:lnTo>
                    <a:pt x="1137" y="305"/>
                  </a:lnTo>
                  <a:lnTo>
                    <a:pt x="1133" y="303"/>
                  </a:lnTo>
                  <a:lnTo>
                    <a:pt x="1133" y="303"/>
                  </a:lnTo>
                  <a:lnTo>
                    <a:pt x="1131" y="305"/>
                  </a:lnTo>
                  <a:lnTo>
                    <a:pt x="1131" y="305"/>
                  </a:lnTo>
                  <a:lnTo>
                    <a:pt x="1124" y="303"/>
                  </a:lnTo>
                  <a:lnTo>
                    <a:pt x="1124" y="303"/>
                  </a:lnTo>
                  <a:lnTo>
                    <a:pt x="1122" y="305"/>
                  </a:lnTo>
                  <a:lnTo>
                    <a:pt x="1122" y="307"/>
                  </a:lnTo>
                  <a:lnTo>
                    <a:pt x="1122" y="307"/>
                  </a:lnTo>
                  <a:lnTo>
                    <a:pt x="1120" y="307"/>
                  </a:lnTo>
                  <a:lnTo>
                    <a:pt x="1118" y="307"/>
                  </a:lnTo>
                  <a:lnTo>
                    <a:pt x="1116" y="307"/>
                  </a:lnTo>
                  <a:lnTo>
                    <a:pt x="1116" y="305"/>
                  </a:lnTo>
                  <a:lnTo>
                    <a:pt x="1116" y="305"/>
                  </a:lnTo>
                  <a:lnTo>
                    <a:pt x="1116" y="305"/>
                  </a:lnTo>
                  <a:lnTo>
                    <a:pt x="1114" y="305"/>
                  </a:lnTo>
                  <a:lnTo>
                    <a:pt x="1112" y="303"/>
                  </a:lnTo>
                  <a:lnTo>
                    <a:pt x="1110" y="303"/>
                  </a:lnTo>
                  <a:lnTo>
                    <a:pt x="1110" y="301"/>
                  </a:lnTo>
                  <a:lnTo>
                    <a:pt x="1108" y="299"/>
                  </a:lnTo>
                  <a:lnTo>
                    <a:pt x="1106" y="299"/>
                  </a:lnTo>
                  <a:lnTo>
                    <a:pt x="1106" y="299"/>
                  </a:lnTo>
                  <a:lnTo>
                    <a:pt x="1104" y="299"/>
                  </a:lnTo>
                  <a:lnTo>
                    <a:pt x="1102" y="297"/>
                  </a:lnTo>
                  <a:lnTo>
                    <a:pt x="1102" y="299"/>
                  </a:lnTo>
                  <a:lnTo>
                    <a:pt x="1098" y="297"/>
                  </a:lnTo>
                  <a:lnTo>
                    <a:pt x="1098" y="297"/>
                  </a:lnTo>
                  <a:lnTo>
                    <a:pt x="1098" y="295"/>
                  </a:lnTo>
                  <a:lnTo>
                    <a:pt x="1098" y="295"/>
                  </a:lnTo>
                  <a:lnTo>
                    <a:pt x="1096" y="295"/>
                  </a:lnTo>
                  <a:lnTo>
                    <a:pt x="1094" y="295"/>
                  </a:lnTo>
                  <a:lnTo>
                    <a:pt x="1092" y="295"/>
                  </a:lnTo>
                  <a:lnTo>
                    <a:pt x="1092" y="295"/>
                  </a:lnTo>
                  <a:lnTo>
                    <a:pt x="1090" y="295"/>
                  </a:lnTo>
                  <a:lnTo>
                    <a:pt x="1090" y="293"/>
                  </a:lnTo>
                  <a:lnTo>
                    <a:pt x="1088" y="293"/>
                  </a:lnTo>
                  <a:lnTo>
                    <a:pt x="1088" y="295"/>
                  </a:lnTo>
                  <a:lnTo>
                    <a:pt x="1088" y="295"/>
                  </a:lnTo>
                  <a:lnTo>
                    <a:pt x="1086" y="295"/>
                  </a:lnTo>
                  <a:lnTo>
                    <a:pt x="1086" y="293"/>
                  </a:lnTo>
                  <a:lnTo>
                    <a:pt x="1084" y="293"/>
                  </a:lnTo>
                  <a:lnTo>
                    <a:pt x="1081" y="291"/>
                  </a:lnTo>
                  <a:lnTo>
                    <a:pt x="1081" y="289"/>
                  </a:lnTo>
                  <a:lnTo>
                    <a:pt x="1079" y="289"/>
                  </a:lnTo>
                  <a:lnTo>
                    <a:pt x="1077" y="289"/>
                  </a:lnTo>
                  <a:lnTo>
                    <a:pt x="1071" y="289"/>
                  </a:lnTo>
                  <a:lnTo>
                    <a:pt x="1067" y="285"/>
                  </a:lnTo>
                  <a:lnTo>
                    <a:pt x="1067" y="283"/>
                  </a:lnTo>
                  <a:lnTo>
                    <a:pt x="1065" y="283"/>
                  </a:lnTo>
                  <a:lnTo>
                    <a:pt x="1065" y="281"/>
                  </a:lnTo>
                  <a:lnTo>
                    <a:pt x="1065" y="281"/>
                  </a:lnTo>
                  <a:lnTo>
                    <a:pt x="1063" y="281"/>
                  </a:lnTo>
                  <a:lnTo>
                    <a:pt x="1063" y="279"/>
                  </a:lnTo>
                  <a:lnTo>
                    <a:pt x="1063" y="279"/>
                  </a:lnTo>
                  <a:lnTo>
                    <a:pt x="1063" y="279"/>
                  </a:lnTo>
                  <a:lnTo>
                    <a:pt x="1061" y="279"/>
                  </a:lnTo>
                  <a:lnTo>
                    <a:pt x="1061" y="277"/>
                  </a:lnTo>
                  <a:lnTo>
                    <a:pt x="1059" y="277"/>
                  </a:lnTo>
                  <a:lnTo>
                    <a:pt x="1057" y="277"/>
                  </a:lnTo>
                  <a:lnTo>
                    <a:pt x="1055" y="277"/>
                  </a:lnTo>
                  <a:lnTo>
                    <a:pt x="1053" y="273"/>
                  </a:lnTo>
                  <a:lnTo>
                    <a:pt x="1051" y="273"/>
                  </a:lnTo>
                  <a:lnTo>
                    <a:pt x="1049" y="273"/>
                  </a:lnTo>
                  <a:lnTo>
                    <a:pt x="1047" y="271"/>
                  </a:lnTo>
                  <a:lnTo>
                    <a:pt x="1047" y="271"/>
                  </a:lnTo>
                  <a:lnTo>
                    <a:pt x="1047" y="271"/>
                  </a:lnTo>
                  <a:lnTo>
                    <a:pt x="1045" y="268"/>
                  </a:lnTo>
                  <a:lnTo>
                    <a:pt x="1038" y="268"/>
                  </a:lnTo>
                  <a:lnTo>
                    <a:pt x="1038" y="268"/>
                  </a:lnTo>
                  <a:lnTo>
                    <a:pt x="1036" y="268"/>
                  </a:lnTo>
                  <a:lnTo>
                    <a:pt x="1036" y="271"/>
                  </a:lnTo>
                  <a:lnTo>
                    <a:pt x="1036" y="273"/>
                  </a:lnTo>
                  <a:lnTo>
                    <a:pt x="1034" y="275"/>
                  </a:lnTo>
                  <a:lnTo>
                    <a:pt x="1034" y="273"/>
                  </a:lnTo>
                  <a:lnTo>
                    <a:pt x="1034" y="275"/>
                  </a:lnTo>
                  <a:lnTo>
                    <a:pt x="1032" y="275"/>
                  </a:lnTo>
                  <a:lnTo>
                    <a:pt x="1032" y="275"/>
                  </a:lnTo>
                  <a:lnTo>
                    <a:pt x="1032" y="277"/>
                  </a:lnTo>
                  <a:lnTo>
                    <a:pt x="1030" y="275"/>
                  </a:lnTo>
                  <a:lnTo>
                    <a:pt x="1030" y="275"/>
                  </a:lnTo>
                  <a:lnTo>
                    <a:pt x="1030" y="277"/>
                  </a:lnTo>
                  <a:lnTo>
                    <a:pt x="1030" y="277"/>
                  </a:lnTo>
                  <a:lnTo>
                    <a:pt x="1028" y="277"/>
                  </a:lnTo>
                  <a:lnTo>
                    <a:pt x="1028" y="279"/>
                  </a:lnTo>
                  <a:lnTo>
                    <a:pt x="1028" y="279"/>
                  </a:lnTo>
                  <a:lnTo>
                    <a:pt x="1028" y="279"/>
                  </a:lnTo>
                  <a:lnTo>
                    <a:pt x="1020" y="279"/>
                  </a:lnTo>
                  <a:lnTo>
                    <a:pt x="1020" y="279"/>
                  </a:lnTo>
                  <a:lnTo>
                    <a:pt x="1018" y="279"/>
                  </a:lnTo>
                  <a:lnTo>
                    <a:pt x="1018" y="277"/>
                  </a:lnTo>
                  <a:lnTo>
                    <a:pt x="1018" y="277"/>
                  </a:lnTo>
                  <a:lnTo>
                    <a:pt x="1016" y="277"/>
                  </a:lnTo>
                  <a:lnTo>
                    <a:pt x="1016" y="277"/>
                  </a:lnTo>
                  <a:lnTo>
                    <a:pt x="1016" y="279"/>
                  </a:lnTo>
                  <a:lnTo>
                    <a:pt x="1016" y="279"/>
                  </a:lnTo>
                  <a:lnTo>
                    <a:pt x="1014" y="277"/>
                  </a:lnTo>
                  <a:lnTo>
                    <a:pt x="1014" y="277"/>
                  </a:lnTo>
                  <a:lnTo>
                    <a:pt x="1014" y="277"/>
                  </a:lnTo>
                  <a:lnTo>
                    <a:pt x="1014" y="277"/>
                  </a:lnTo>
                  <a:lnTo>
                    <a:pt x="1012" y="277"/>
                  </a:lnTo>
                  <a:lnTo>
                    <a:pt x="1010" y="277"/>
                  </a:lnTo>
                  <a:lnTo>
                    <a:pt x="1012" y="275"/>
                  </a:lnTo>
                  <a:lnTo>
                    <a:pt x="1010" y="273"/>
                  </a:lnTo>
                  <a:lnTo>
                    <a:pt x="1010" y="273"/>
                  </a:lnTo>
                  <a:lnTo>
                    <a:pt x="1008" y="271"/>
                  </a:lnTo>
                  <a:lnTo>
                    <a:pt x="1006" y="271"/>
                  </a:lnTo>
                  <a:lnTo>
                    <a:pt x="1006" y="271"/>
                  </a:lnTo>
                  <a:lnTo>
                    <a:pt x="1004" y="271"/>
                  </a:lnTo>
                  <a:lnTo>
                    <a:pt x="1004" y="273"/>
                  </a:lnTo>
                  <a:lnTo>
                    <a:pt x="1004" y="273"/>
                  </a:lnTo>
                  <a:lnTo>
                    <a:pt x="1002" y="273"/>
                  </a:lnTo>
                  <a:lnTo>
                    <a:pt x="1002" y="273"/>
                  </a:lnTo>
                  <a:lnTo>
                    <a:pt x="1000" y="275"/>
                  </a:lnTo>
                  <a:lnTo>
                    <a:pt x="998" y="275"/>
                  </a:lnTo>
                  <a:lnTo>
                    <a:pt x="998" y="275"/>
                  </a:lnTo>
                  <a:lnTo>
                    <a:pt x="995" y="277"/>
                  </a:lnTo>
                  <a:lnTo>
                    <a:pt x="995" y="277"/>
                  </a:lnTo>
                  <a:lnTo>
                    <a:pt x="995" y="277"/>
                  </a:lnTo>
                  <a:lnTo>
                    <a:pt x="993" y="277"/>
                  </a:lnTo>
                  <a:lnTo>
                    <a:pt x="991" y="277"/>
                  </a:lnTo>
                  <a:lnTo>
                    <a:pt x="989" y="277"/>
                  </a:lnTo>
                  <a:lnTo>
                    <a:pt x="989" y="281"/>
                  </a:lnTo>
                  <a:lnTo>
                    <a:pt x="989" y="281"/>
                  </a:lnTo>
                  <a:lnTo>
                    <a:pt x="989" y="281"/>
                  </a:lnTo>
                  <a:lnTo>
                    <a:pt x="987" y="281"/>
                  </a:lnTo>
                  <a:lnTo>
                    <a:pt x="987" y="281"/>
                  </a:lnTo>
                  <a:lnTo>
                    <a:pt x="987" y="281"/>
                  </a:lnTo>
                  <a:lnTo>
                    <a:pt x="987" y="281"/>
                  </a:lnTo>
                  <a:lnTo>
                    <a:pt x="985" y="281"/>
                  </a:lnTo>
                  <a:lnTo>
                    <a:pt x="983" y="283"/>
                  </a:lnTo>
                  <a:lnTo>
                    <a:pt x="983" y="281"/>
                  </a:lnTo>
                  <a:lnTo>
                    <a:pt x="977" y="279"/>
                  </a:lnTo>
                  <a:lnTo>
                    <a:pt x="977" y="277"/>
                  </a:lnTo>
                  <a:lnTo>
                    <a:pt x="975" y="277"/>
                  </a:lnTo>
                  <a:lnTo>
                    <a:pt x="975" y="279"/>
                  </a:lnTo>
                  <a:lnTo>
                    <a:pt x="973" y="279"/>
                  </a:lnTo>
                  <a:lnTo>
                    <a:pt x="973" y="281"/>
                  </a:lnTo>
                  <a:lnTo>
                    <a:pt x="973" y="281"/>
                  </a:lnTo>
                  <a:lnTo>
                    <a:pt x="971" y="281"/>
                  </a:lnTo>
                  <a:lnTo>
                    <a:pt x="969" y="283"/>
                  </a:lnTo>
                  <a:lnTo>
                    <a:pt x="967" y="283"/>
                  </a:lnTo>
                  <a:lnTo>
                    <a:pt x="965" y="283"/>
                  </a:lnTo>
                  <a:lnTo>
                    <a:pt x="961" y="283"/>
                  </a:lnTo>
                  <a:lnTo>
                    <a:pt x="959" y="285"/>
                  </a:lnTo>
                  <a:lnTo>
                    <a:pt x="959" y="285"/>
                  </a:lnTo>
                  <a:lnTo>
                    <a:pt x="957" y="285"/>
                  </a:lnTo>
                  <a:lnTo>
                    <a:pt x="957" y="287"/>
                  </a:lnTo>
                  <a:lnTo>
                    <a:pt x="955" y="289"/>
                  </a:lnTo>
                  <a:lnTo>
                    <a:pt x="955" y="291"/>
                  </a:lnTo>
                  <a:lnTo>
                    <a:pt x="952" y="293"/>
                  </a:lnTo>
                  <a:lnTo>
                    <a:pt x="950" y="293"/>
                  </a:lnTo>
                  <a:lnTo>
                    <a:pt x="946" y="293"/>
                  </a:lnTo>
                  <a:lnTo>
                    <a:pt x="944" y="293"/>
                  </a:lnTo>
                  <a:lnTo>
                    <a:pt x="944" y="293"/>
                  </a:lnTo>
                  <a:lnTo>
                    <a:pt x="944" y="295"/>
                  </a:lnTo>
                  <a:lnTo>
                    <a:pt x="944" y="297"/>
                  </a:lnTo>
                  <a:lnTo>
                    <a:pt x="940" y="299"/>
                  </a:lnTo>
                  <a:lnTo>
                    <a:pt x="938" y="297"/>
                  </a:lnTo>
                  <a:lnTo>
                    <a:pt x="936" y="293"/>
                  </a:lnTo>
                  <a:lnTo>
                    <a:pt x="934" y="291"/>
                  </a:lnTo>
                  <a:lnTo>
                    <a:pt x="932" y="291"/>
                  </a:lnTo>
                  <a:lnTo>
                    <a:pt x="926" y="291"/>
                  </a:lnTo>
                  <a:lnTo>
                    <a:pt x="926" y="291"/>
                  </a:lnTo>
                  <a:lnTo>
                    <a:pt x="924" y="289"/>
                  </a:lnTo>
                  <a:lnTo>
                    <a:pt x="924" y="289"/>
                  </a:lnTo>
                  <a:lnTo>
                    <a:pt x="924" y="287"/>
                  </a:lnTo>
                  <a:lnTo>
                    <a:pt x="924" y="287"/>
                  </a:lnTo>
                  <a:lnTo>
                    <a:pt x="922" y="287"/>
                  </a:lnTo>
                  <a:lnTo>
                    <a:pt x="918" y="285"/>
                  </a:lnTo>
                  <a:lnTo>
                    <a:pt x="918" y="285"/>
                  </a:lnTo>
                  <a:lnTo>
                    <a:pt x="916" y="285"/>
                  </a:lnTo>
                  <a:lnTo>
                    <a:pt x="916" y="283"/>
                  </a:lnTo>
                  <a:lnTo>
                    <a:pt x="916" y="283"/>
                  </a:lnTo>
                  <a:lnTo>
                    <a:pt x="916" y="283"/>
                  </a:lnTo>
                  <a:lnTo>
                    <a:pt x="916" y="281"/>
                  </a:lnTo>
                  <a:lnTo>
                    <a:pt x="918" y="281"/>
                  </a:lnTo>
                  <a:lnTo>
                    <a:pt x="918" y="279"/>
                  </a:lnTo>
                  <a:lnTo>
                    <a:pt x="916" y="279"/>
                  </a:lnTo>
                  <a:lnTo>
                    <a:pt x="914" y="277"/>
                  </a:lnTo>
                  <a:lnTo>
                    <a:pt x="911" y="277"/>
                  </a:lnTo>
                  <a:lnTo>
                    <a:pt x="911" y="277"/>
                  </a:lnTo>
                  <a:lnTo>
                    <a:pt x="911" y="277"/>
                  </a:lnTo>
                  <a:lnTo>
                    <a:pt x="911" y="279"/>
                  </a:lnTo>
                  <a:lnTo>
                    <a:pt x="909" y="279"/>
                  </a:lnTo>
                  <a:lnTo>
                    <a:pt x="909" y="283"/>
                  </a:lnTo>
                  <a:lnTo>
                    <a:pt x="909" y="283"/>
                  </a:lnTo>
                  <a:lnTo>
                    <a:pt x="909" y="283"/>
                  </a:lnTo>
                  <a:lnTo>
                    <a:pt x="907" y="283"/>
                  </a:lnTo>
                  <a:lnTo>
                    <a:pt x="907" y="285"/>
                  </a:lnTo>
                  <a:lnTo>
                    <a:pt x="907" y="285"/>
                  </a:lnTo>
                  <a:lnTo>
                    <a:pt x="905" y="285"/>
                  </a:lnTo>
                  <a:lnTo>
                    <a:pt x="905" y="285"/>
                  </a:lnTo>
                  <a:lnTo>
                    <a:pt x="903" y="285"/>
                  </a:lnTo>
                  <a:lnTo>
                    <a:pt x="903" y="285"/>
                  </a:lnTo>
                  <a:lnTo>
                    <a:pt x="903" y="285"/>
                  </a:lnTo>
                  <a:lnTo>
                    <a:pt x="899" y="283"/>
                  </a:lnTo>
                  <a:lnTo>
                    <a:pt x="899" y="283"/>
                  </a:lnTo>
                  <a:lnTo>
                    <a:pt x="899" y="283"/>
                  </a:lnTo>
                  <a:lnTo>
                    <a:pt x="895" y="283"/>
                  </a:lnTo>
                  <a:lnTo>
                    <a:pt x="895" y="283"/>
                  </a:lnTo>
                  <a:lnTo>
                    <a:pt x="893" y="283"/>
                  </a:lnTo>
                  <a:lnTo>
                    <a:pt x="893" y="283"/>
                  </a:lnTo>
                  <a:lnTo>
                    <a:pt x="891" y="281"/>
                  </a:lnTo>
                  <a:lnTo>
                    <a:pt x="891" y="281"/>
                  </a:lnTo>
                  <a:lnTo>
                    <a:pt x="891" y="279"/>
                  </a:lnTo>
                  <a:lnTo>
                    <a:pt x="891" y="277"/>
                  </a:lnTo>
                  <a:lnTo>
                    <a:pt x="889" y="275"/>
                  </a:lnTo>
                  <a:lnTo>
                    <a:pt x="889" y="275"/>
                  </a:lnTo>
                  <a:lnTo>
                    <a:pt x="889" y="275"/>
                  </a:lnTo>
                  <a:lnTo>
                    <a:pt x="887" y="275"/>
                  </a:lnTo>
                  <a:lnTo>
                    <a:pt x="887" y="275"/>
                  </a:lnTo>
                  <a:lnTo>
                    <a:pt x="887" y="275"/>
                  </a:lnTo>
                  <a:lnTo>
                    <a:pt x="883" y="275"/>
                  </a:lnTo>
                  <a:lnTo>
                    <a:pt x="883" y="275"/>
                  </a:lnTo>
                  <a:lnTo>
                    <a:pt x="883" y="275"/>
                  </a:lnTo>
                  <a:lnTo>
                    <a:pt x="881" y="275"/>
                  </a:lnTo>
                  <a:lnTo>
                    <a:pt x="881" y="277"/>
                  </a:lnTo>
                  <a:lnTo>
                    <a:pt x="881" y="279"/>
                  </a:lnTo>
                  <a:lnTo>
                    <a:pt x="881" y="283"/>
                  </a:lnTo>
                  <a:lnTo>
                    <a:pt x="879" y="285"/>
                  </a:lnTo>
                  <a:lnTo>
                    <a:pt x="877" y="285"/>
                  </a:lnTo>
                  <a:lnTo>
                    <a:pt x="873" y="285"/>
                  </a:lnTo>
                  <a:lnTo>
                    <a:pt x="873" y="287"/>
                  </a:lnTo>
                  <a:lnTo>
                    <a:pt x="875" y="287"/>
                  </a:lnTo>
                  <a:lnTo>
                    <a:pt x="875" y="287"/>
                  </a:lnTo>
                  <a:lnTo>
                    <a:pt x="875" y="289"/>
                  </a:lnTo>
                  <a:lnTo>
                    <a:pt x="875" y="289"/>
                  </a:lnTo>
                  <a:lnTo>
                    <a:pt x="873" y="291"/>
                  </a:lnTo>
                  <a:lnTo>
                    <a:pt x="873" y="291"/>
                  </a:lnTo>
                  <a:lnTo>
                    <a:pt x="873" y="295"/>
                  </a:lnTo>
                  <a:lnTo>
                    <a:pt x="873" y="297"/>
                  </a:lnTo>
                  <a:lnTo>
                    <a:pt x="871" y="299"/>
                  </a:lnTo>
                  <a:lnTo>
                    <a:pt x="868" y="299"/>
                  </a:lnTo>
                  <a:lnTo>
                    <a:pt x="864" y="297"/>
                  </a:lnTo>
                  <a:lnTo>
                    <a:pt x="864" y="295"/>
                  </a:lnTo>
                  <a:lnTo>
                    <a:pt x="862" y="293"/>
                  </a:lnTo>
                  <a:lnTo>
                    <a:pt x="862" y="291"/>
                  </a:lnTo>
                  <a:lnTo>
                    <a:pt x="862" y="289"/>
                  </a:lnTo>
                  <a:lnTo>
                    <a:pt x="864" y="285"/>
                  </a:lnTo>
                  <a:lnTo>
                    <a:pt x="864" y="283"/>
                  </a:lnTo>
                  <a:lnTo>
                    <a:pt x="864" y="283"/>
                  </a:lnTo>
                  <a:lnTo>
                    <a:pt x="862" y="281"/>
                  </a:lnTo>
                  <a:lnTo>
                    <a:pt x="862" y="281"/>
                  </a:lnTo>
                  <a:lnTo>
                    <a:pt x="860" y="279"/>
                  </a:lnTo>
                  <a:lnTo>
                    <a:pt x="860" y="279"/>
                  </a:lnTo>
                  <a:lnTo>
                    <a:pt x="860" y="281"/>
                  </a:lnTo>
                  <a:lnTo>
                    <a:pt x="858" y="281"/>
                  </a:lnTo>
                  <a:lnTo>
                    <a:pt x="858" y="281"/>
                  </a:lnTo>
                  <a:lnTo>
                    <a:pt x="858" y="283"/>
                  </a:lnTo>
                  <a:lnTo>
                    <a:pt x="856" y="285"/>
                  </a:lnTo>
                  <a:lnTo>
                    <a:pt x="856" y="285"/>
                  </a:lnTo>
                  <a:lnTo>
                    <a:pt x="854" y="283"/>
                  </a:lnTo>
                  <a:lnTo>
                    <a:pt x="852" y="283"/>
                  </a:lnTo>
                  <a:lnTo>
                    <a:pt x="852" y="285"/>
                  </a:lnTo>
                  <a:lnTo>
                    <a:pt x="850" y="285"/>
                  </a:lnTo>
                  <a:lnTo>
                    <a:pt x="850" y="285"/>
                  </a:lnTo>
                  <a:lnTo>
                    <a:pt x="850" y="285"/>
                  </a:lnTo>
                  <a:lnTo>
                    <a:pt x="850" y="287"/>
                  </a:lnTo>
                  <a:lnTo>
                    <a:pt x="848" y="287"/>
                  </a:lnTo>
                  <a:lnTo>
                    <a:pt x="848" y="287"/>
                  </a:lnTo>
                  <a:lnTo>
                    <a:pt x="848" y="289"/>
                  </a:lnTo>
                  <a:lnTo>
                    <a:pt x="846" y="289"/>
                  </a:lnTo>
                  <a:lnTo>
                    <a:pt x="842" y="289"/>
                  </a:lnTo>
                  <a:lnTo>
                    <a:pt x="840" y="289"/>
                  </a:lnTo>
                  <a:lnTo>
                    <a:pt x="840" y="285"/>
                  </a:lnTo>
                  <a:lnTo>
                    <a:pt x="838" y="283"/>
                  </a:lnTo>
                  <a:lnTo>
                    <a:pt x="838" y="283"/>
                  </a:lnTo>
                  <a:lnTo>
                    <a:pt x="836" y="281"/>
                  </a:lnTo>
                  <a:lnTo>
                    <a:pt x="834" y="281"/>
                  </a:lnTo>
                  <a:lnTo>
                    <a:pt x="830" y="281"/>
                  </a:lnTo>
                  <a:lnTo>
                    <a:pt x="828" y="281"/>
                  </a:lnTo>
                  <a:lnTo>
                    <a:pt x="828" y="279"/>
                  </a:lnTo>
                  <a:lnTo>
                    <a:pt x="828" y="275"/>
                  </a:lnTo>
                  <a:lnTo>
                    <a:pt x="825" y="273"/>
                  </a:lnTo>
                  <a:lnTo>
                    <a:pt x="821" y="271"/>
                  </a:lnTo>
                  <a:lnTo>
                    <a:pt x="819" y="273"/>
                  </a:lnTo>
                  <a:lnTo>
                    <a:pt x="815" y="275"/>
                  </a:lnTo>
                  <a:lnTo>
                    <a:pt x="809" y="283"/>
                  </a:lnTo>
                  <a:lnTo>
                    <a:pt x="805" y="285"/>
                  </a:lnTo>
                  <a:lnTo>
                    <a:pt x="801" y="285"/>
                  </a:lnTo>
                  <a:lnTo>
                    <a:pt x="797" y="285"/>
                  </a:lnTo>
                  <a:lnTo>
                    <a:pt x="795" y="283"/>
                  </a:lnTo>
                  <a:lnTo>
                    <a:pt x="795" y="283"/>
                  </a:lnTo>
                  <a:lnTo>
                    <a:pt x="795" y="281"/>
                  </a:lnTo>
                  <a:lnTo>
                    <a:pt x="795" y="281"/>
                  </a:lnTo>
                  <a:lnTo>
                    <a:pt x="795" y="279"/>
                  </a:lnTo>
                  <a:lnTo>
                    <a:pt x="795" y="277"/>
                  </a:lnTo>
                  <a:lnTo>
                    <a:pt x="795" y="277"/>
                  </a:lnTo>
                  <a:lnTo>
                    <a:pt x="795" y="275"/>
                  </a:lnTo>
                  <a:lnTo>
                    <a:pt x="795" y="275"/>
                  </a:lnTo>
                  <a:lnTo>
                    <a:pt x="795" y="273"/>
                  </a:lnTo>
                  <a:lnTo>
                    <a:pt x="795" y="273"/>
                  </a:lnTo>
                  <a:lnTo>
                    <a:pt x="793" y="273"/>
                  </a:lnTo>
                  <a:lnTo>
                    <a:pt x="791" y="271"/>
                  </a:lnTo>
                  <a:lnTo>
                    <a:pt x="787" y="271"/>
                  </a:lnTo>
                  <a:lnTo>
                    <a:pt x="782" y="268"/>
                  </a:lnTo>
                  <a:lnTo>
                    <a:pt x="782" y="264"/>
                  </a:lnTo>
                  <a:lnTo>
                    <a:pt x="780" y="262"/>
                  </a:lnTo>
                  <a:lnTo>
                    <a:pt x="782" y="260"/>
                  </a:lnTo>
                  <a:lnTo>
                    <a:pt x="782" y="256"/>
                  </a:lnTo>
                  <a:lnTo>
                    <a:pt x="780" y="256"/>
                  </a:lnTo>
                  <a:lnTo>
                    <a:pt x="778" y="256"/>
                  </a:lnTo>
                  <a:lnTo>
                    <a:pt x="774" y="256"/>
                  </a:lnTo>
                  <a:lnTo>
                    <a:pt x="770" y="258"/>
                  </a:lnTo>
                  <a:lnTo>
                    <a:pt x="760" y="256"/>
                  </a:lnTo>
                  <a:lnTo>
                    <a:pt x="758" y="256"/>
                  </a:lnTo>
                  <a:lnTo>
                    <a:pt x="756" y="258"/>
                  </a:lnTo>
                  <a:lnTo>
                    <a:pt x="754" y="260"/>
                  </a:lnTo>
                  <a:lnTo>
                    <a:pt x="754" y="262"/>
                  </a:lnTo>
                  <a:lnTo>
                    <a:pt x="752" y="262"/>
                  </a:lnTo>
                  <a:lnTo>
                    <a:pt x="750" y="264"/>
                  </a:lnTo>
                  <a:lnTo>
                    <a:pt x="746" y="264"/>
                  </a:lnTo>
                  <a:lnTo>
                    <a:pt x="746" y="262"/>
                  </a:lnTo>
                  <a:lnTo>
                    <a:pt x="742" y="260"/>
                  </a:lnTo>
                  <a:lnTo>
                    <a:pt x="739" y="258"/>
                  </a:lnTo>
                  <a:lnTo>
                    <a:pt x="739" y="258"/>
                  </a:lnTo>
                  <a:lnTo>
                    <a:pt x="737" y="256"/>
                  </a:lnTo>
                  <a:lnTo>
                    <a:pt x="737" y="254"/>
                  </a:lnTo>
                  <a:lnTo>
                    <a:pt x="735" y="254"/>
                  </a:lnTo>
                  <a:lnTo>
                    <a:pt x="733" y="254"/>
                  </a:lnTo>
                  <a:lnTo>
                    <a:pt x="731" y="254"/>
                  </a:lnTo>
                  <a:lnTo>
                    <a:pt x="725" y="258"/>
                  </a:lnTo>
                  <a:lnTo>
                    <a:pt x="725" y="256"/>
                  </a:lnTo>
                  <a:lnTo>
                    <a:pt x="713" y="254"/>
                  </a:lnTo>
                  <a:lnTo>
                    <a:pt x="711" y="254"/>
                  </a:lnTo>
                  <a:lnTo>
                    <a:pt x="705" y="250"/>
                  </a:lnTo>
                  <a:lnTo>
                    <a:pt x="703" y="250"/>
                  </a:lnTo>
                  <a:lnTo>
                    <a:pt x="701" y="250"/>
                  </a:lnTo>
                  <a:lnTo>
                    <a:pt x="701" y="250"/>
                  </a:lnTo>
                  <a:lnTo>
                    <a:pt x="699" y="250"/>
                  </a:lnTo>
                  <a:lnTo>
                    <a:pt x="696" y="250"/>
                  </a:lnTo>
                  <a:lnTo>
                    <a:pt x="692" y="250"/>
                  </a:lnTo>
                  <a:lnTo>
                    <a:pt x="690" y="248"/>
                  </a:lnTo>
                  <a:lnTo>
                    <a:pt x="686" y="250"/>
                  </a:lnTo>
                  <a:lnTo>
                    <a:pt x="684" y="248"/>
                  </a:lnTo>
                  <a:lnTo>
                    <a:pt x="682" y="248"/>
                  </a:lnTo>
                  <a:lnTo>
                    <a:pt x="682" y="246"/>
                  </a:lnTo>
                  <a:lnTo>
                    <a:pt x="682" y="240"/>
                  </a:lnTo>
                  <a:lnTo>
                    <a:pt x="682" y="238"/>
                  </a:lnTo>
                  <a:lnTo>
                    <a:pt x="682" y="238"/>
                  </a:lnTo>
                  <a:lnTo>
                    <a:pt x="682" y="236"/>
                  </a:lnTo>
                  <a:lnTo>
                    <a:pt x="678" y="234"/>
                  </a:lnTo>
                  <a:lnTo>
                    <a:pt x="678" y="232"/>
                  </a:lnTo>
                  <a:lnTo>
                    <a:pt x="678" y="230"/>
                  </a:lnTo>
                  <a:lnTo>
                    <a:pt x="676" y="227"/>
                  </a:lnTo>
                  <a:lnTo>
                    <a:pt x="674" y="227"/>
                  </a:lnTo>
                  <a:lnTo>
                    <a:pt x="674" y="227"/>
                  </a:lnTo>
                  <a:lnTo>
                    <a:pt x="672" y="227"/>
                  </a:lnTo>
                  <a:lnTo>
                    <a:pt x="672" y="227"/>
                  </a:lnTo>
                  <a:lnTo>
                    <a:pt x="670" y="225"/>
                  </a:lnTo>
                  <a:lnTo>
                    <a:pt x="670" y="225"/>
                  </a:lnTo>
                  <a:lnTo>
                    <a:pt x="670" y="225"/>
                  </a:lnTo>
                  <a:lnTo>
                    <a:pt x="670" y="223"/>
                  </a:lnTo>
                  <a:lnTo>
                    <a:pt x="668" y="223"/>
                  </a:lnTo>
                  <a:lnTo>
                    <a:pt x="666" y="223"/>
                  </a:lnTo>
                  <a:lnTo>
                    <a:pt x="666" y="223"/>
                  </a:lnTo>
                  <a:lnTo>
                    <a:pt x="666" y="230"/>
                  </a:lnTo>
                  <a:lnTo>
                    <a:pt x="664" y="232"/>
                  </a:lnTo>
                  <a:lnTo>
                    <a:pt x="664" y="232"/>
                  </a:lnTo>
                  <a:lnTo>
                    <a:pt x="662" y="232"/>
                  </a:lnTo>
                  <a:lnTo>
                    <a:pt x="660" y="232"/>
                  </a:lnTo>
                  <a:lnTo>
                    <a:pt x="655" y="230"/>
                  </a:lnTo>
                  <a:lnTo>
                    <a:pt x="651" y="227"/>
                  </a:lnTo>
                  <a:lnTo>
                    <a:pt x="651" y="227"/>
                  </a:lnTo>
                  <a:lnTo>
                    <a:pt x="649" y="230"/>
                  </a:lnTo>
                  <a:lnTo>
                    <a:pt x="649" y="230"/>
                  </a:lnTo>
                  <a:lnTo>
                    <a:pt x="647" y="232"/>
                  </a:lnTo>
                  <a:lnTo>
                    <a:pt x="647" y="232"/>
                  </a:lnTo>
                  <a:lnTo>
                    <a:pt x="641" y="232"/>
                  </a:lnTo>
                  <a:lnTo>
                    <a:pt x="639" y="230"/>
                  </a:lnTo>
                  <a:lnTo>
                    <a:pt x="639" y="230"/>
                  </a:lnTo>
                  <a:lnTo>
                    <a:pt x="637" y="225"/>
                  </a:lnTo>
                  <a:lnTo>
                    <a:pt x="621" y="211"/>
                  </a:lnTo>
                  <a:lnTo>
                    <a:pt x="621" y="211"/>
                  </a:lnTo>
                  <a:lnTo>
                    <a:pt x="619" y="211"/>
                  </a:lnTo>
                  <a:lnTo>
                    <a:pt x="619" y="211"/>
                  </a:lnTo>
                  <a:lnTo>
                    <a:pt x="617" y="209"/>
                  </a:lnTo>
                  <a:lnTo>
                    <a:pt x="612" y="211"/>
                  </a:lnTo>
                  <a:lnTo>
                    <a:pt x="610" y="211"/>
                  </a:lnTo>
                  <a:lnTo>
                    <a:pt x="610" y="205"/>
                  </a:lnTo>
                  <a:lnTo>
                    <a:pt x="610" y="193"/>
                  </a:lnTo>
                  <a:lnTo>
                    <a:pt x="610" y="180"/>
                  </a:lnTo>
                  <a:lnTo>
                    <a:pt x="610" y="168"/>
                  </a:lnTo>
                  <a:lnTo>
                    <a:pt x="610" y="156"/>
                  </a:lnTo>
                  <a:lnTo>
                    <a:pt x="610" y="143"/>
                  </a:lnTo>
                  <a:lnTo>
                    <a:pt x="610" y="131"/>
                  </a:lnTo>
                  <a:lnTo>
                    <a:pt x="610" y="119"/>
                  </a:lnTo>
                  <a:lnTo>
                    <a:pt x="610" y="107"/>
                  </a:lnTo>
                  <a:lnTo>
                    <a:pt x="610" y="94"/>
                  </a:lnTo>
                  <a:lnTo>
                    <a:pt x="610" y="82"/>
                  </a:lnTo>
                  <a:lnTo>
                    <a:pt x="610" y="70"/>
                  </a:lnTo>
                  <a:lnTo>
                    <a:pt x="610" y="57"/>
                  </a:lnTo>
                  <a:lnTo>
                    <a:pt x="610" y="45"/>
                  </a:lnTo>
                  <a:lnTo>
                    <a:pt x="610" y="33"/>
                  </a:lnTo>
                  <a:lnTo>
                    <a:pt x="610" y="21"/>
                  </a:lnTo>
                  <a:lnTo>
                    <a:pt x="610" y="8"/>
                  </a:lnTo>
                  <a:lnTo>
                    <a:pt x="610" y="4"/>
                  </a:lnTo>
                  <a:lnTo>
                    <a:pt x="610" y="4"/>
                  </a:lnTo>
                  <a:lnTo>
                    <a:pt x="594" y="4"/>
                  </a:lnTo>
                  <a:lnTo>
                    <a:pt x="582" y="4"/>
                  </a:lnTo>
                  <a:lnTo>
                    <a:pt x="565" y="4"/>
                  </a:lnTo>
                  <a:lnTo>
                    <a:pt x="545" y="4"/>
                  </a:lnTo>
                  <a:lnTo>
                    <a:pt x="524" y="2"/>
                  </a:lnTo>
                  <a:lnTo>
                    <a:pt x="502" y="2"/>
                  </a:lnTo>
                  <a:lnTo>
                    <a:pt x="477" y="2"/>
                  </a:lnTo>
                  <a:lnTo>
                    <a:pt x="453" y="2"/>
                  </a:lnTo>
                  <a:lnTo>
                    <a:pt x="430" y="2"/>
                  </a:lnTo>
                  <a:lnTo>
                    <a:pt x="408" y="2"/>
                  </a:lnTo>
                  <a:lnTo>
                    <a:pt x="389" y="0"/>
                  </a:lnTo>
                  <a:lnTo>
                    <a:pt x="373" y="0"/>
                  </a:lnTo>
                  <a:lnTo>
                    <a:pt x="361" y="0"/>
                  </a:lnTo>
                  <a:lnTo>
                    <a:pt x="352" y="0"/>
                  </a:lnTo>
                  <a:lnTo>
                    <a:pt x="348" y="0"/>
                  </a:lnTo>
                  <a:lnTo>
                    <a:pt x="346" y="0"/>
                  </a:lnTo>
                  <a:lnTo>
                    <a:pt x="346" y="2"/>
                  </a:lnTo>
                  <a:lnTo>
                    <a:pt x="346" y="4"/>
                  </a:lnTo>
                  <a:lnTo>
                    <a:pt x="344" y="21"/>
                  </a:lnTo>
                  <a:lnTo>
                    <a:pt x="344" y="35"/>
                  </a:lnTo>
                  <a:lnTo>
                    <a:pt x="344" y="49"/>
                  </a:lnTo>
                  <a:lnTo>
                    <a:pt x="344" y="66"/>
                  </a:lnTo>
                  <a:lnTo>
                    <a:pt x="342" y="80"/>
                  </a:lnTo>
                  <a:lnTo>
                    <a:pt x="342" y="94"/>
                  </a:lnTo>
                  <a:lnTo>
                    <a:pt x="342" y="111"/>
                  </a:lnTo>
                  <a:lnTo>
                    <a:pt x="342" y="125"/>
                  </a:lnTo>
                  <a:lnTo>
                    <a:pt x="342" y="139"/>
                  </a:lnTo>
                  <a:lnTo>
                    <a:pt x="340" y="156"/>
                  </a:lnTo>
                  <a:lnTo>
                    <a:pt x="340" y="170"/>
                  </a:lnTo>
                  <a:lnTo>
                    <a:pt x="340" y="184"/>
                  </a:lnTo>
                  <a:lnTo>
                    <a:pt x="340" y="199"/>
                  </a:lnTo>
                  <a:lnTo>
                    <a:pt x="338" y="215"/>
                  </a:lnTo>
                  <a:lnTo>
                    <a:pt x="338" y="230"/>
                  </a:lnTo>
                  <a:lnTo>
                    <a:pt x="338" y="244"/>
                  </a:lnTo>
                  <a:lnTo>
                    <a:pt x="338" y="260"/>
                  </a:lnTo>
                  <a:lnTo>
                    <a:pt x="336" y="275"/>
                  </a:lnTo>
                  <a:lnTo>
                    <a:pt x="336" y="289"/>
                  </a:lnTo>
                  <a:lnTo>
                    <a:pt x="336" y="305"/>
                  </a:lnTo>
                  <a:lnTo>
                    <a:pt x="336" y="320"/>
                  </a:lnTo>
                  <a:lnTo>
                    <a:pt x="334" y="334"/>
                  </a:lnTo>
                  <a:lnTo>
                    <a:pt x="334" y="350"/>
                  </a:lnTo>
                  <a:lnTo>
                    <a:pt x="334" y="365"/>
                  </a:lnTo>
                  <a:lnTo>
                    <a:pt x="334" y="379"/>
                  </a:lnTo>
                  <a:lnTo>
                    <a:pt x="334" y="396"/>
                  </a:lnTo>
                  <a:lnTo>
                    <a:pt x="332" y="410"/>
                  </a:lnTo>
                  <a:lnTo>
                    <a:pt x="332" y="424"/>
                  </a:lnTo>
                  <a:lnTo>
                    <a:pt x="332" y="441"/>
                  </a:lnTo>
                  <a:lnTo>
                    <a:pt x="332" y="455"/>
                  </a:lnTo>
                  <a:lnTo>
                    <a:pt x="330" y="469"/>
                  </a:lnTo>
                  <a:lnTo>
                    <a:pt x="330" y="486"/>
                  </a:lnTo>
                  <a:lnTo>
                    <a:pt x="309" y="484"/>
                  </a:lnTo>
                  <a:lnTo>
                    <a:pt x="289" y="484"/>
                  </a:lnTo>
                  <a:lnTo>
                    <a:pt x="268" y="484"/>
                  </a:lnTo>
                  <a:lnTo>
                    <a:pt x="248" y="482"/>
                  </a:lnTo>
                  <a:lnTo>
                    <a:pt x="229" y="482"/>
                  </a:lnTo>
                  <a:lnTo>
                    <a:pt x="209" y="482"/>
                  </a:lnTo>
                  <a:lnTo>
                    <a:pt x="189" y="480"/>
                  </a:lnTo>
                  <a:lnTo>
                    <a:pt x="168" y="480"/>
                  </a:lnTo>
                  <a:lnTo>
                    <a:pt x="148" y="478"/>
                  </a:lnTo>
                  <a:lnTo>
                    <a:pt x="127" y="478"/>
                  </a:lnTo>
                  <a:lnTo>
                    <a:pt x="107" y="475"/>
                  </a:lnTo>
                  <a:lnTo>
                    <a:pt x="86" y="475"/>
                  </a:lnTo>
                  <a:lnTo>
                    <a:pt x="66" y="473"/>
                  </a:lnTo>
                  <a:lnTo>
                    <a:pt x="45" y="473"/>
                  </a:lnTo>
                  <a:lnTo>
                    <a:pt x="25" y="471"/>
                  </a:lnTo>
                  <a:lnTo>
                    <a:pt x="4" y="471"/>
                  </a:lnTo>
                  <a:lnTo>
                    <a:pt x="2" y="471"/>
                  </a:lnTo>
                  <a:lnTo>
                    <a:pt x="0" y="471"/>
                  </a:lnTo>
                  <a:lnTo>
                    <a:pt x="0" y="471"/>
                  </a:lnTo>
                  <a:lnTo>
                    <a:pt x="2" y="475"/>
                  </a:lnTo>
                  <a:lnTo>
                    <a:pt x="2" y="478"/>
                  </a:lnTo>
                  <a:lnTo>
                    <a:pt x="4" y="482"/>
                  </a:lnTo>
                  <a:lnTo>
                    <a:pt x="4" y="484"/>
                  </a:lnTo>
                  <a:lnTo>
                    <a:pt x="6" y="486"/>
                  </a:lnTo>
                  <a:lnTo>
                    <a:pt x="4" y="488"/>
                  </a:lnTo>
                  <a:lnTo>
                    <a:pt x="6" y="488"/>
                  </a:lnTo>
                  <a:lnTo>
                    <a:pt x="6" y="490"/>
                  </a:lnTo>
                  <a:lnTo>
                    <a:pt x="8" y="490"/>
                  </a:lnTo>
                  <a:lnTo>
                    <a:pt x="8" y="490"/>
                  </a:lnTo>
                  <a:lnTo>
                    <a:pt x="10" y="492"/>
                  </a:lnTo>
                  <a:lnTo>
                    <a:pt x="14" y="498"/>
                  </a:lnTo>
                  <a:lnTo>
                    <a:pt x="16" y="498"/>
                  </a:lnTo>
                  <a:lnTo>
                    <a:pt x="21" y="498"/>
                  </a:lnTo>
                  <a:lnTo>
                    <a:pt x="25" y="500"/>
                  </a:lnTo>
                  <a:lnTo>
                    <a:pt x="27" y="502"/>
                  </a:lnTo>
                  <a:lnTo>
                    <a:pt x="29" y="506"/>
                  </a:lnTo>
                  <a:lnTo>
                    <a:pt x="31" y="510"/>
                  </a:lnTo>
                  <a:lnTo>
                    <a:pt x="33" y="518"/>
                  </a:lnTo>
                  <a:lnTo>
                    <a:pt x="33" y="521"/>
                  </a:lnTo>
                  <a:lnTo>
                    <a:pt x="37" y="525"/>
                  </a:lnTo>
                  <a:lnTo>
                    <a:pt x="39" y="527"/>
                  </a:lnTo>
                  <a:lnTo>
                    <a:pt x="39" y="527"/>
                  </a:lnTo>
                  <a:lnTo>
                    <a:pt x="39" y="529"/>
                  </a:lnTo>
                  <a:lnTo>
                    <a:pt x="39" y="529"/>
                  </a:lnTo>
                  <a:lnTo>
                    <a:pt x="39" y="529"/>
                  </a:lnTo>
                  <a:lnTo>
                    <a:pt x="43" y="531"/>
                  </a:lnTo>
                  <a:lnTo>
                    <a:pt x="43" y="533"/>
                  </a:lnTo>
                  <a:lnTo>
                    <a:pt x="45" y="533"/>
                  </a:lnTo>
                  <a:lnTo>
                    <a:pt x="49" y="535"/>
                  </a:lnTo>
                  <a:lnTo>
                    <a:pt x="51" y="537"/>
                  </a:lnTo>
                  <a:lnTo>
                    <a:pt x="53" y="537"/>
                  </a:lnTo>
                  <a:lnTo>
                    <a:pt x="55" y="539"/>
                  </a:lnTo>
                  <a:lnTo>
                    <a:pt x="57" y="539"/>
                  </a:lnTo>
                  <a:lnTo>
                    <a:pt x="62" y="541"/>
                  </a:lnTo>
                  <a:lnTo>
                    <a:pt x="62" y="543"/>
                  </a:lnTo>
                  <a:lnTo>
                    <a:pt x="64" y="543"/>
                  </a:lnTo>
                  <a:lnTo>
                    <a:pt x="64" y="545"/>
                  </a:lnTo>
                  <a:lnTo>
                    <a:pt x="64" y="547"/>
                  </a:lnTo>
                  <a:lnTo>
                    <a:pt x="66" y="547"/>
                  </a:lnTo>
                  <a:lnTo>
                    <a:pt x="68" y="549"/>
                  </a:lnTo>
                  <a:lnTo>
                    <a:pt x="68" y="549"/>
                  </a:lnTo>
                  <a:lnTo>
                    <a:pt x="68" y="549"/>
                  </a:lnTo>
                  <a:lnTo>
                    <a:pt x="70" y="551"/>
                  </a:lnTo>
                  <a:lnTo>
                    <a:pt x="76" y="559"/>
                  </a:lnTo>
                  <a:lnTo>
                    <a:pt x="78" y="562"/>
                  </a:lnTo>
                  <a:lnTo>
                    <a:pt x="78" y="564"/>
                  </a:lnTo>
                  <a:lnTo>
                    <a:pt x="84" y="568"/>
                  </a:lnTo>
                  <a:lnTo>
                    <a:pt x="86" y="570"/>
                  </a:lnTo>
                  <a:lnTo>
                    <a:pt x="86" y="570"/>
                  </a:lnTo>
                  <a:lnTo>
                    <a:pt x="90" y="572"/>
                  </a:lnTo>
                  <a:lnTo>
                    <a:pt x="90" y="574"/>
                  </a:lnTo>
                  <a:lnTo>
                    <a:pt x="92" y="574"/>
                  </a:lnTo>
                  <a:lnTo>
                    <a:pt x="94" y="576"/>
                  </a:lnTo>
                  <a:lnTo>
                    <a:pt x="94" y="578"/>
                  </a:lnTo>
                  <a:lnTo>
                    <a:pt x="96" y="582"/>
                  </a:lnTo>
                  <a:lnTo>
                    <a:pt x="96" y="584"/>
                  </a:lnTo>
                  <a:lnTo>
                    <a:pt x="98" y="584"/>
                  </a:lnTo>
                  <a:lnTo>
                    <a:pt x="103" y="588"/>
                  </a:lnTo>
                  <a:lnTo>
                    <a:pt x="109" y="594"/>
                  </a:lnTo>
                  <a:lnTo>
                    <a:pt x="113" y="600"/>
                  </a:lnTo>
                  <a:lnTo>
                    <a:pt x="113" y="600"/>
                  </a:lnTo>
                  <a:lnTo>
                    <a:pt x="117" y="603"/>
                  </a:lnTo>
                  <a:lnTo>
                    <a:pt x="121" y="605"/>
                  </a:lnTo>
                  <a:lnTo>
                    <a:pt x="123" y="605"/>
                  </a:lnTo>
                  <a:lnTo>
                    <a:pt x="123" y="607"/>
                  </a:lnTo>
                  <a:lnTo>
                    <a:pt x="123" y="607"/>
                  </a:lnTo>
                  <a:lnTo>
                    <a:pt x="125" y="607"/>
                  </a:lnTo>
                  <a:lnTo>
                    <a:pt x="125" y="607"/>
                  </a:lnTo>
                  <a:lnTo>
                    <a:pt x="125" y="607"/>
                  </a:lnTo>
                  <a:lnTo>
                    <a:pt x="125" y="607"/>
                  </a:lnTo>
                  <a:lnTo>
                    <a:pt x="125" y="607"/>
                  </a:lnTo>
                  <a:lnTo>
                    <a:pt x="127" y="607"/>
                  </a:lnTo>
                  <a:lnTo>
                    <a:pt x="127" y="607"/>
                  </a:lnTo>
                  <a:lnTo>
                    <a:pt x="129" y="607"/>
                  </a:lnTo>
                  <a:lnTo>
                    <a:pt x="129" y="609"/>
                  </a:lnTo>
                  <a:lnTo>
                    <a:pt x="129" y="609"/>
                  </a:lnTo>
                  <a:lnTo>
                    <a:pt x="131" y="609"/>
                  </a:lnTo>
                  <a:lnTo>
                    <a:pt x="131" y="609"/>
                  </a:lnTo>
                  <a:lnTo>
                    <a:pt x="131" y="611"/>
                  </a:lnTo>
                  <a:lnTo>
                    <a:pt x="131" y="611"/>
                  </a:lnTo>
                  <a:lnTo>
                    <a:pt x="133" y="611"/>
                  </a:lnTo>
                  <a:lnTo>
                    <a:pt x="133" y="611"/>
                  </a:lnTo>
                  <a:lnTo>
                    <a:pt x="133" y="613"/>
                  </a:lnTo>
                  <a:lnTo>
                    <a:pt x="135" y="613"/>
                  </a:lnTo>
                  <a:lnTo>
                    <a:pt x="135" y="613"/>
                  </a:lnTo>
                  <a:lnTo>
                    <a:pt x="139" y="617"/>
                  </a:lnTo>
                  <a:lnTo>
                    <a:pt x="141" y="619"/>
                  </a:lnTo>
                  <a:lnTo>
                    <a:pt x="141" y="619"/>
                  </a:lnTo>
                  <a:lnTo>
                    <a:pt x="143" y="619"/>
                  </a:lnTo>
                  <a:lnTo>
                    <a:pt x="146" y="621"/>
                  </a:lnTo>
                  <a:lnTo>
                    <a:pt x="148" y="623"/>
                  </a:lnTo>
                  <a:lnTo>
                    <a:pt x="148" y="623"/>
                  </a:lnTo>
                  <a:lnTo>
                    <a:pt x="148" y="625"/>
                  </a:lnTo>
                  <a:lnTo>
                    <a:pt x="148" y="627"/>
                  </a:lnTo>
                  <a:lnTo>
                    <a:pt x="148" y="627"/>
                  </a:lnTo>
                  <a:lnTo>
                    <a:pt x="150" y="627"/>
                  </a:lnTo>
                  <a:lnTo>
                    <a:pt x="152" y="627"/>
                  </a:lnTo>
                  <a:lnTo>
                    <a:pt x="152" y="629"/>
                  </a:lnTo>
                  <a:lnTo>
                    <a:pt x="154" y="629"/>
                  </a:lnTo>
                  <a:lnTo>
                    <a:pt x="156" y="633"/>
                  </a:lnTo>
                  <a:lnTo>
                    <a:pt x="156" y="635"/>
                  </a:lnTo>
                  <a:lnTo>
                    <a:pt x="156" y="635"/>
                  </a:lnTo>
                  <a:lnTo>
                    <a:pt x="156" y="639"/>
                  </a:lnTo>
                  <a:lnTo>
                    <a:pt x="158" y="639"/>
                  </a:lnTo>
                  <a:lnTo>
                    <a:pt x="158" y="641"/>
                  </a:lnTo>
                  <a:lnTo>
                    <a:pt x="158" y="641"/>
                  </a:lnTo>
                  <a:lnTo>
                    <a:pt x="158" y="641"/>
                  </a:lnTo>
                  <a:lnTo>
                    <a:pt x="158" y="644"/>
                  </a:lnTo>
                  <a:lnTo>
                    <a:pt x="158" y="644"/>
                  </a:lnTo>
                  <a:lnTo>
                    <a:pt x="158" y="646"/>
                  </a:lnTo>
                  <a:lnTo>
                    <a:pt x="160" y="646"/>
                  </a:lnTo>
                  <a:lnTo>
                    <a:pt x="160" y="648"/>
                  </a:lnTo>
                  <a:lnTo>
                    <a:pt x="160" y="650"/>
                  </a:lnTo>
                  <a:lnTo>
                    <a:pt x="158" y="650"/>
                  </a:lnTo>
                  <a:lnTo>
                    <a:pt x="160" y="650"/>
                  </a:lnTo>
                  <a:lnTo>
                    <a:pt x="160" y="652"/>
                  </a:lnTo>
                  <a:lnTo>
                    <a:pt x="160" y="652"/>
                  </a:lnTo>
                  <a:lnTo>
                    <a:pt x="162" y="654"/>
                  </a:lnTo>
                  <a:lnTo>
                    <a:pt x="162" y="654"/>
                  </a:lnTo>
                  <a:lnTo>
                    <a:pt x="162" y="654"/>
                  </a:lnTo>
                  <a:lnTo>
                    <a:pt x="162" y="656"/>
                  </a:lnTo>
                  <a:lnTo>
                    <a:pt x="162" y="658"/>
                  </a:lnTo>
                  <a:lnTo>
                    <a:pt x="162" y="658"/>
                  </a:lnTo>
                  <a:lnTo>
                    <a:pt x="164" y="658"/>
                  </a:lnTo>
                  <a:lnTo>
                    <a:pt x="166" y="662"/>
                  </a:lnTo>
                  <a:lnTo>
                    <a:pt x="166" y="664"/>
                  </a:lnTo>
                  <a:lnTo>
                    <a:pt x="168" y="666"/>
                  </a:lnTo>
                  <a:lnTo>
                    <a:pt x="168" y="668"/>
                  </a:lnTo>
                  <a:lnTo>
                    <a:pt x="170" y="668"/>
                  </a:lnTo>
                  <a:lnTo>
                    <a:pt x="170" y="668"/>
                  </a:lnTo>
                  <a:lnTo>
                    <a:pt x="172" y="672"/>
                  </a:lnTo>
                  <a:lnTo>
                    <a:pt x="174" y="674"/>
                  </a:lnTo>
                  <a:lnTo>
                    <a:pt x="174" y="676"/>
                  </a:lnTo>
                  <a:lnTo>
                    <a:pt x="174" y="680"/>
                  </a:lnTo>
                  <a:lnTo>
                    <a:pt x="174" y="682"/>
                  </a:lnTo>
                  <a:lnTo>
                    <a:pt x="172" y="687"/>
                  </a:lnTo>
                  <a:lnTo>
                    <a:pt x="172" y="689"/>
                  </a:lnTo>
                  <a:lnTo>
                    <a:pt x="172" y="693"/>
                  </a:lnTo>
                  <a:lnTo>
                    <a:pt x="172" y="699"/>
                  </a:lnTo>
                  <a:lnTo>
                    <a:pt x="172" y="699"/>
                  </a:lnTo>
                  <a:lnTo>
                    <a:pt x="172" y="701"/>
                  </a:lnTo>
                  <a:lnTo>
                    <a:pt x="172" y="701"/>
                  </a:lnTo>
                  <a:lnTo>
                    <a:pt x="174" y="703"/>
                  </a:lnTo>
                  <a:lnTo>
                    <a:pt x="174" y="703"/>
                  </a:lnTo>
                  <a:lnTo>
                    <a:pt x="174" y="705"/>
                  </a:lnTo>
                  <a:lnTo>
                    <a:pt x="174" y="705"/>
                  </a:lnTo>
                  <a:lnTo>
                    <a:pt x="176" y="707"/>
                  </a:lnTo>
                  <a:lnTo>
                    <a:pt x="178" y="713"/>
                  </a:lnTo>
                  <a:lnTo>
                    <a:pt x="178" y="713"/>
                  </a:lnTo>
                  <a:lnTo>
                    <a:pt x="180" y="715"/>
                  </a:lnTo>
                  <a:lnTo>
                    <a:pt x="180" y="717"/>
                  </a:lnTo>
                  <a:lnTo>
                    <a:pt x="182" y="719"/>
                  </a:lnTo>
                  <a:lnTo>
                    <a:pt x="182" y="723"/>
                  </a:lnTo>
                  <a:lnTo>
                    <a:pt x="184" y="725"/>
                  </a:lnTo>
                  <a:lnTo>
                    <a:pt x="184" y="728"/>
                  </a:lnTo>
                  <a:lnTo>
                    <a:pt x="184" y="730"/>
                  </a:lnTo>
                  <a:lnTo>
                    <a:pt x="184" y="732"/>
                  </a:lnTo>
                  <a:lnTo>
                    <a:pt x="186" y="732"/>
                  </a:lnTo>
                  <a:lnTo>
                    <a:pt x="186" y="734"/>
                  </a:lnTo>
                  <a:lnTo>
                    <a:pt x="191" y="736"/>
                  </a:lnTo>
                  <a:lnTo>
                    <a:pt x="193" y="738"/>
                  </a:lnTo>
                  <a:lnTo>
                    <a:pt x="193" y="738"/>
                  </a:lnTo>
                  <a:lnTo>
                    <a:pt x="193" y="740"/>
                  </a:lnTo>
                  <a:lnTo>
                    <a:pt x="193" y="740"/>
                  </a:lnTo>
                  <a:lnTo>
                    <a:pt x="195" y="742"/>
                  </a:lnTo>
                  <a:lnTo>
                    <a:pt x="195" y="742"/>
                  </a:lnTo>
                  <a:lnTo>
                    <a:pt x="203" y="746"/>
                  </a:lnTo>
                  <a:lnTo>
                    <a:pt x="203" y="748"/>
                  </a:lnTo>
                  <a:lnTo>
                    <a:pt x="205" y="748"/>
                  </a:lnTo>
                  <a:lnTo>
                    <a:pt x="207" y="748"/>
                  </a:lnTo>
                  <a:lnTo>
                    <a:pt x="209" y="748"/>
                  </a:lnTo>
                  <a:lnTo>
                    <a:pt x="211" y="750"/>
                  </a:lnTo>
                  <a:lnTo>
                    <a:pt x="213" y="752"/>
                  </a:lnTo>
                  <a:lnTo>
                    <a:pt x="215" y="752"/>
                  </a:lnTo>
                  <a:lnTo>
                    <a:pt x="215" y="752"/>
                  </a:lnTo>
                  <a:lnTo>
                    <a:pt x="217" y="756"/>
                  </a:lnTo>
                  <a:lnTo>
                    <a:pt x="219" y="760"/>
                  </a:lnTo>
                  <a:lnTo>
                    <a:pt x="221" y="762"/>
                  </a:lnTo>
                  <a:lnTo>
                    <a:pt x="225" y="764"/>
                  </a:lnTo>
                  <a:lnTo>
                    <a:pt x="229" y="769"/>
                  </a:lnTo>
                  <a:lnTo>
                    <a:pt x="232" y="771"/>
                  </a:lnTo>
                  <a:lnTo>
                    <a:pt x="242" y="775"/>
                  </a:lnTo>
                  <a:lnTo>
                    <a:pt x="246" y="777"/>
                  </a:lnTo>
                  <a:lnTo>
                    <a:pt x="254" y="777"/>
                  </a:lnTo>
                  <a:lnTo>
                    <a:pt x="254" y="777"/>
                  </a:lnTo>
                  <a:lnTo>
                    <a:pt x="256" y="777"/>
                  </a:lnTo>
                  <a:lnTo>
                    <a:pt x="256" y="779"/>
                  </a:lnTo>
                  <a:lnTo>
                    <a:pt x="254" y="781"/>
                  </a:lnTo>
                  <a:lnTo>
                    <a:pt x="256" y="781"/>
                  </a:lnTo>
                  <a:lnTo>
                    <a:pt x="256" y="783"/>
                  </a:lnTo>
                  <a:lnTo>
                    <a:pt x="258" y="783"/>
                  </a:lnTo>
                  <a:lnTo>
                    <a:pt x="262" y="787"/>
                  </a:lnTo>
                  <a:lnTo>
                    <a:pt x="264" y="789"/>
                  </a:lnTo>
                  <a:lnTo>
                    <a:pt x="273" y="791"/>
                  </a:lnTo>
                  <a:lnTo>
                    <a:pt x="275" y="791"/>
                  </a:lnTo>
                  <a:lnTo>
                    <a:pt x="277" y="791"/>
                  </a:lnTo>
                  <a:lnTo>
                    <a:pt x="277" y="791"/>
                  </a:lnTo>
                  <a:lnTo>
                    <a:pt x="277" y="791"/>
                  </a:lnTo>
                  <a:lnTo>
                    <a:pt x="277" y="793"/>
                  </a:lnTo>
                  <a:lnTo>
                    <a:pt x="279" y="793"/>
                  </a:lnTo>
                  <a:lnTo>
                    <a:pt x="283" y="799"/>
                  </a:lnTo>
                  <a:lnTo>
                    <a:pt x="287" y="801"/>
                  </a:lnTo>
                  <a:lnTo>
                    <a:pt x="287" y="801"/>
                  </a:lnTo>
                  <a:lnTo>
                    <a:pt x="289" y="801"/>
                  </a:lnTo>
                  <a:lnTo>
                    <a:pt x="291" y="805"/>
                  </a:lnTo>
                  <a:lnTo>
                    <a:pt x="293" y="805"/>
                  </a:lnTo>
                  <a:lnTo>
                    <a:pt x="293" y="805"/>
                  </a:lnTo>
                  <a:lnTo>
                    <a:pt x="295" y="803"/>
                  </a:lnTo>
                  <a:lnTo>
                    <a:pt x="295" y="803"/>
                  </a:lnTo>
                  <a:lnTo>
                    <a:pt x="297" y="805"/>
                  </a:lnTo>
                  <a:lnTo>
                    <a:pt x="297" y="805"/>
                  </a:lnTo>
                  <a:lnTo>
                    <a:pt x="299" y="805"/>
                  </a:lnTo>
                  <a:lnTo>
                    <a:pt x="297" y="807"/>
                  </a:lnTo>
                  <a:lnTo>
                    <a:pt x="299" y="807"/>
                  </a:lnTo>
                  <a:lnTo>
                    <a:pt x="305" y="807"/>
                  </a:lnTo>
                  <a:lnTo>
                    <a:pt x="309" y="809"/>
                  </a:lnTo>
                  <a:lnTo>
                    <a:pt x="313" y="809"/>
                  </a:lnTo>
                  <a:lnTo>
                    <a:pt x="316" y="809"/>
                  </a:lnTo>
                  <a:lnTo>
                    <a:pt x="318" y="805"/>
                  </a:lnTo>
                  <a:lnTo>
                    <a:pt x="318" y="801"/>
                  </a:lnTo>
                  <a:lnTo>
                    <a:pt x="318" y="801"/>
                  </a:lnTo>
                  <a:lnTo>
                    <a:pt x="318" y="801"/>
                  </a:lnTo>
                  <a:lnTo>
                    <a:pt x="320" y="801"/>
                  </a:lnTo>
                  <a:lnTo>
                    <a:pt x="320" y="801"/>
                  </a:lnTo>
                  <a:lnTo>
                    <a:pt x="320" y="799"/>
                  </a:lnTo>
                  <a:lnTo>
                    <a:pt x="322" y="799"/>
                  </a:lnTo>
                  <a:lnTo>
                    <a:pt x="324" y="797"/>
                  </a:lnTo>
                  <a:lnTo>
                    <a:pt x="326" y="795"/>
                  </a:lnTo>
                  <a:lnTo>
                    <a:pt x="326" y="795"/>
                  </a:lnTo>
                  <a:lnTo>
                    <a:pt x="326" y="795"/>
                  </a:lnTo>
                  <a:lnTo>
                    <a:pt x="330" y="789"/>
                  </a:lnTo>
                  <a:lnTo>
                    <a:pt x="330" y="789"/>
                  </a:lnTo>
                  <a:lnTo>
                    <a:pt x="330" y="789"/>
                  </a:lnTo>
                  <a:lnTo>
                    <a:pt x="330" y="789"/>
                  </a:lnTo>
                  <a:lnTo>
                    <a:pt x="332" y="789"/>
                  </a:lnTo>
                  <a:lnTo>
                    <a:pt x="334" y="789"/>
                  </a:lnTo>
                  <a:lnTo>
                    <a:pt x="338" y="785"/>
                  </a:lnTo>
                  <a:lnTo>
                    <a:pt x="340" y="785"/>
                  </a:lnTo>
                  <a:lnTo>
                    <a:pt x="342" y="785"/>
                  </a:lnTo>
                  <a:lnTo>
                    <a:pt x="342" y="785"/>
                  </a:lnTo>
                  <a:lnTo>
                    <a:pt x="340" y="783"/>
                  </a:lnTo>
                  <a:lnTo>
                    <a:pt x="338" y="781"/>
                  </a:lnTo>
                  <a:lnTo>
                    <a:pt x="338" y="781"/>
                  </a:lnTo>
                  <a:lnTo>
                    <a:pt x="338" y="779"/>
                  </a:lnTo>
                  <a:lnTo>
                    <a:pt x="338" y="775"/>
                  </a:lnTo>
                  <a:lnTo>
                    <a:pt x="340" y="773"/>
                  </a:lnTo>
                  <a:lnTo>
                    <a:pt x="340" y="773"/>
                  </a:lnTo>
                  <a:lnTo>
                    <a:pt x="340" y="771"/>
                  </a:lnTo>
                  <a:lnTo>
                    <a:pt x="340" y="771"/>
                  </a:lnTo>
                  <a:lnTo>
                    <a:pt x="342" y="771"/>
                  </a:lnTo>
                  <a:lnTo>
                    <a:pt x="342" y="771"/>
                  </a:lnTo>
                  <a:lnTo>
                    <a:pt x="342" y="771"/>
                  </a:lnTo>
                  <a:lnTo>
                    <a:pt x="344" y="771"/>
                  </a:lnTo>
                  <a:lnTo>
                    <a:pt x="344" y="771"/>
                  </a:lnTo>
                  <a:lnTo>
                    <a:pt x="344" y="769"/>
                  </a:lnTo>
                  <a:lnTo>
                    <a:pt x="342" y="769"/>
                  </a:lnTo>
                  <a:lnTo>
                    <a:pt x="342" y="766"/>
                  </a:lnTo>
                  <a:lnTo>
                    <a:pt x="344" y="766"/>
                  </a:lnTo>
                  <a:lnTo>
                    <a:pt x="344" y="764"/>
                  </a:lnTo>
                  <a:lnTo>
                    <a:pt x="344" y="762"/>
                  </a:lnTo>
                  <a:lnTo>
                    <a:pt x="344" y="762"/>
                  </a:lnTo>
                  <a:lnTo>
                    <a:pt x="344" y="760"/>
                  </a:lnTo>
                  <a:lnTo>
                    <a:pt x="344" y="760"/>
                  </a:lnTo>
                  <a:lnTo>
                    <a:pt x="344" y="758"/>
                  </a:lnTo>
                  <a:lnTo>
                    <a:pt x="348" y="750"/>
                  </a:lnTo>
                  <a:lnTo>
                    <a:pt x="348" y="750"/>
                  </a:lnTo>
                  <a:lnTo>
                    <a:pt x="348" y="750"/>
                  </a:lnTo>
                  <a:lnTo>
                    <a:pt x="348" y="750"/>
                  </a:lnTo>
                  <a:lnTo>
                    <a:pt x="350" y="748"/>
                  </a:lnTo>
                  <a:lnTo>
                    <a:pt x="348" y="748"/>
                  </a:lnTo>
                  <a:lnTo>
                    <a:pt x="350" y="748"/>
                  </a:lnTo>
                  <a:lnTo>
                    <a:pt x="350" y="746"/>
                  </a:lnTo>
                  <a:lnTo>
                    <a:pt x="350" y="746"/>
                  </a:lnTo>
                  <a:lnTo>
                    <a:pt x="350" y="744"/>
                  </a:lnTo>
                  <a:lnTo>
                    <a:pt x="352" y="744"/>
                  </a:lnTo>
                  <a:lnTo>
                    <a:pt x="352" y="744"/>
                  </a:lnTo>
                  <a:lnTo>
                    <a:pt x="352" y="742"/>
                  </a:lnTo>
                  <a:lnTo>
                    <a:pt x="352" y="742"/>
                  </a:lnTo>
                  <a:lnTo>
                    <a:pt x="354" y="740"/>
                  </a:lnTo>
                  <a:lnTo>
                    <a:pt x="354" y="740"/>
                  </a:lnTo>
                  <a:lnTo>
                    <a:pt x="354" y="738"/>
                  </a:lnTo>
                  <a:lnTo>
                    <a:pt x="359" y="734"/>
                  </a:lnTo>
                  <a:lnTo>
                    <a:pt x="359" y="732"/>
                  </a:lnTo>
                  <a:lnTo>
                    <a:pt x="359" y="732"/>
                  </a:lnTo>
                  <a:lnTo>
                    <a:pt x="359" y="730"/>
                  </a:lnTo>
                  <a:lnTo>
                    <a:pt x="359" y="730"/>
                  </a:lnTo>
                  <a:lnTo>
                    <a:pt x="361" y="730"/>
                  </a:lnTo>
                  <a:lnTo>
                    <a:pt x="363" y="730"/>
                  </a:lnTo>
                  <a:lnTo>
                    <a:pt x="365" y="730"/>
                  </a:lnTo>
                  <a:lnTo>
                    <a:pt x="369" y="728"/>
                  </a:lnTo>
                  <a:lnTo>
                    <a:pt x="371" y="728"/>
                  </a:lnTo>
                  <a:lnTo>
                    <a:pt x="371" y="728"/>
                  </a:lnTo>
                  <a:lnTo>
                    <a:pt x="371" y="728"/>
                  </a:lnTo>
                  <a:lnTo>
                    <a:pt x="371" y="728"/>
                  </a:lnTo>
                  <a:lnTo>
                    <a:pt x="373" y="728"/>
                  </a:lnTo>
                  <a:lnTo>
                    <a:pt x="373" y="728"/>
                  </a:lnTo>
                  <a:lnTo>
                    <a:pt x="373" y="728"/>
                  </a:lnTo>
                  <a:lnTo>
                    <a:pt x="373" y="728"/>
                  </a:lnTo>
                  <a:lnTo>
                    <a:pt x="373" y="728"/>
                  </a:lnTo>
                  <a:lnTo>
                    <a:pt x="373" y="728"/>
                  </a:lnTo>
                  <a:lnTo>
                    <a:pt x="375" y="725"/>
                  </a:lnTo>
                  <a:lnTo>
                    <a:pt x="375" y="725"/>
                  </a:lnTo>
                  <a:lnTo>
                    <a:pt x="385" y="725"/>
                  </a:lnTo>
                  <a:lnTo>
                    <a:pt x="385" y="725"/>
                  </a:lnTo>
                  <a:lnTo>
                    <a:pt x="385" y="725"/>
                  </a:lnTo>
                  <a:lnTo>
                    <a:pt x="387" y="723"/>
                  </a:lnTo>
                  <a:lnTo>
                    <a:pt x="387" y="721"/>
                  </a:lnTo>
                  <a:lnTo>
                    <a:pt x="389" y="719"/>
                  </a:lnTo>
                  <a:lnTo>
                    <a:pt x="389" y="717"/>
                  </a:lnTo>
                  <a:lnTo>
                    <a:pt x="389" y="717"/>
                  </a:lnTo>
                  <a:lnTo>
                    <a:pt x="391" y="717"/>
                  </a:lnTo>
                  <a:lnTo>
                    <a:pt x="391" y="717"/>
                  </a:lnTo>
                  <a:lnTo>
                    <a:pt x="393" y="715"/>
                  </a:lnTo>
                  <a:lnTo>
                    <a:pt x="393" y="713"/>
                  </a:lnTo>
                  <a:lnTo>
                    <a:pt x="395" y="715"/>
                  </a:lnTo>
                  <a:lnTo>
                    <a:pt x="395" y="715"/>
                  </a:lnTo>
                  <a:lnTo>
                    <a:pt x="397" y="717"/>
                  </a:lnTo>
                  <a:lnTo>
                    <a:pt x="399" y="715"/>
                  </a:lnTo>
                  <a:lnTo>
                    <a:pt x="399" y="717"/>
                  </a:lnTo>
                  <a:lnTo>
                    <a:pt x="402" y="719"/>
                  </a:lnTo>
                  <a:lnTo>
                    <a:pt x="404" y="719"/>
                  </a:lnTo>
                  <a:lnTo>
                    <a:pt x="408" y="721"/>
                  </a:lnTo>
                  <a:lnTo>
                    <a:pt x="410" y="723"/>
                  </a:lnTo>
                  <a:lnTo>
                    <a:pt x="414" y="723"/>
                  </a:lnTo>
                  <a:lnTo>
                    <a:pt x="422" y="723"/>
                  </a:lnTo>
                  <a:lnTo>
                    <a:pt x="424" y="723"/>
                  </a:lnTo>
                  <a:lnTo>
                    <a:pt x="426" y="723"/>
                  </a:lnTo>
                  <a:lnTo>
                    <a:pt x="428" y="723"/>
                  </a:lnTo>
                  <a:lnTo>
                    <a:pt x="428" y="723"/>
                  </a:lnTo>
                  <a:lnTo>
                    <a:pt x="430" y="725"/>
                  </a:lnTo>
                  <a:lnTo>
                    <a:pt x="430" y="725"/>
                  </a:lnTo>
                  <a:lnTo>
                    <a:pt x="432" y="725"/>
                  </a:lnTo>
                  <a:lnTo>
                    <a:pt x="432" y="723"/>
                  </a:lnTo>
                  <a:lnTo>
                    <a:pt x="432" y="723"/>
                  </a:lnTo>
                  <a:lnTo>
                    <a:pt x="434" y="723"/>
                  </a:lnTo>
                  <a:lnTo>
                    <a:pt x="434" y="723"/>
                  </a:lnTo>
                  <a:lnTo>
                    <a:pt x="436" y="723"/>
                  </a:lnTo>
                  <a:lnTo>
                    <a:pt x="440" y="723"/>
                  </a:lnTo>
                  <a:lnTo>
                    <a:pt x="440" y="723"/>
                  </a:lnTo>
                  <a:lnTo>
                    <a:pt x="442" y="723"/>
                  </a:lnTo>
                  <a:lnTo>
                    <a:pt x="442" y="725"/>
                  </a:lnTo>
                  <a:lnTo>
                    <a:pt x="442" y="725"/>
                  </a:lnTo>
                  <a:lnTo>
                    <a:pt x="457" y="728"/>
                  </a:lnTo>
                  <a:lnTo>
                    <a:pt x="463" y="728"/>
                  </a:lnTo>
                  <a:lnTo>
                    <a:pt x="465" y="728"/>
                  </a:lnTo>
                  <a:lnTo>
                    <a:pt x="465" y="725"/>
                  </a:lnTo>
                  <a:lnTo>
                    <a:pt x="465" y="725"/>
                  </a:lnTo>
                  <a:lnTo>
                    <a:pt x="465" y="723"/>
                  </a:lnTo>
                  <a:lnTo>
                    <a:pt x="465" y="723"/>
                  </a:lnTo>
                  <a:lnTo>
                    <a:pt x="465" y="723"/>
                  </a:lnTo>
                  <a:lnTo>
                    <a:pt x="467" y="723"/>
                  </a:lnTo>
                  <a:lnTo>
                    <a:pt x="467" y="723"/>
                  </a:lnTo>
                  <a:lnTo>
                    <a:pt x="467" y="725"/>
                  </a:lnTo>
                  <a:lnTo>
                    <a:pt x="467" y="725"/>
                  </a:lnTo>
                  <a:lnTo>
                    <a:pt x="467" y="728"/>
                  </a:lnTo>
                  <a:lnTo>
                    <a:pt x="467" y="728"/>
                  </a:lnTo>
                  <a:lnTo>
                    <a:pt x="469" y="730"/>
                  </a:lnTo>
                  <a:lnTo>
                    <a:pt x="469" y="728"/>
                  </a:lnTo>
                  <a:lnTo>
                    <a:pt x="471" y="728"/>
                  </a:lnTo>
                  <a:lnTo>
                    <a:pt x="473" y="725"/>
                  </a:lnTo>
                  <a:lnTo>
                    <a:pt x="473" y="728"/>
                  </a:lnTo>
                  <a:lnTo>
                    <a:pt x="475" y="728"/>
                  </a:lnTo>
                  <a:lnTo>
                    <a:pt x="475" y="728"/>
                  </a:lnTo>
                  <a:lnTo>
                    <a:pt x="475" y="730"/>
                  </a:lnTo>
                  <a:lnTo>
                    <a:pt x="477" y="728"/>
                  </a:lnTo>
                  <a:lnTo>
                    <a:pt x="477" y="728"/>
                  </a:lnTo>
                  <a:lnTo>
                    <a:pt x="479" y="728"/>
                  </a:lnTo>
                  <a:lnTo>
                    <a:pt x="479" y="730"/>
                  </a:lnTo>
                  <a:lnTo>
                    <a:pt x="479" y="730"/>
                  </a:lnTo>
                  <a:lnTo>
                    <a:pt x="479" y="732"/>
                  </a:lnTo>
                  <a:lnTo>
                    <a:pt x="481" y="734"/>
                  </a:lnTo>
                  <a:lnTo>
                    <a:pt x="481" y="736"/>
                  </a:lnTo>
                  <a:lnTo>
                    <a:pt x="483" y="738"/>
                  </a:lnTo>
                  <a:lnTo>
                    <a:pt x="483" y="740"/>
                  </a:lnTo>
                  <a:lnTo>
                    <a:pt x="483" y="740"/>
                  </a:lnTo>
                  <a:lnTo>
                    <a:pt x="486" y="742"/>
                  </a:lnTo>
                  <a:lnTo>
                    <a:pt x="488" y="742"/>
                  </a:lnTo>
                  <a:lnTo>
                    <a:pt x="490" y="742"/>
                  </a:lnTo>
                  <a:lnTo>
                    <a:pt x="488" y="744"/>
                  </a:lnTo>
                  <a:lnTo>
                    <a:pt x="488" y="746"/>
                  </a:lnTo>
                  <a:lnTo>
                    <a:pt x="488" y="748"/>
                  </a:lnTo>
                  <a:lnTo>
                    <a:pt x="488" y="748"/>
                  </a:lnTo>
                  <a:lnTo>
                    <a:pt x="490" y="746"/>
                  </a:lnTo>
                  <a:lnTo>
                    <a:pt x="492" y="744"/>
                  </a:lnTo>
                  <a:lnTo>
                    <a:pt x="496" y="744"/>
                  </a:lnTo>
                  <a:lnTo>
                    <a:pt x="496" y="746"/>
                  </a:lnTo>
                  <a:lnTo>
                    <a:pt x="496" y="748"/>
                  </a:lnTo>
                  <a:lnTo>
                    <a:pt x="496" y="752"/>
                  </a:lnTo>
                  <a:lnTo>
                    <a:pt x="496" y="754"/>
                  </a:lnTo>
                  <a:lnTo>
                    <a:pt x="498" y="754"/>
                  </a:lnTo>
                  <a:lnTo>
                    <a:pt x="498" y="754"/>
                  </a:lnTo>
                  <a:lnTo>
                    <a:pt x="500" y="754"/>
                  </a:lnTo>
                  <a:lnTo>
                    <a:pt x="500" y="756"/>
                  </a:lnTo>
                  <a:lnTo>
                    <a:pt x="502" y="758"/>
                  </a:lnTo>
                  <a:lnTo>
                    <a:pt x="504" y="760"/>
                  </a:lnTo>
                  <a:lnTo>
                    <a:pt x="510" y="762"/>
                  </a:lnTo>
                  <a:lnTo>
                    <a:pt x="514" y="762"/>
                  </a:lnTo>
                  <a:lnTo>
                    <a:pt x="514" y="764"/>
                  </a:lnTo>
                  <a:lnTo>
                    <a:pt x="514" y="766"/>
                  </a:lnTo>
                  <a:lnTo>
                    <a:pt x="514" y="769"/>
                  </a:lnTo>
                  <a:lnTo>
                    <a:pt x="514" y="771"/>
                  </a:lnTo>
                  <a:lnTo>
                    <a:pt x="516" y="771"/>
                  </a:lnTo>
                  <a:lnTo>
                    <a:pt x="516" y="773"/>
                  </a:lnTo>
                  <a:lnTo>
                    <a:pt x="518" y="773"/>
                  </a:lnTo>
                  <a:lnTo>
                    <a:pt x="524" y="777"/>
                  </a:lnTo>
                  <a:lnTo>
                    <a:pt x="526" y="779"/>
                  </a:lnTo>
                  <a:lnTo>
                    <a:pt x="529" y="781"/>
                  </a:lnTo>
                  <a:lnTo>
                    <a:pt x="529" y="781"/>
                  </a:lnTo>
                  <a:lnTo>
                    <a:pt x="535" y="783"/>
                  </a:lnTo>
                  <a:lnTo>
                    <a:pt x="537" y="785"/>
                  </a:lnTo>
                  <a:lnTo>
                    <a:pt x="537" y="787"/>
                  </a:lnTo>
                  <a:lnTo>
                    <a:pt x="539" y="789"/>
                  </a:lnTo>
                  <a:lnTo>
                    <a:pt x="539" y="793"/>
                  </a:lnTo>
                  <a:lnTo>
                    <a:pt x="539" y="793"/>
                  </a:lnTo>
                  <a:lnTo>
                    <a:pt x="543" y="797"/>
                  </a:lnTo>
                  <a:lnTo>
                    <a:pt x="545" y="799"/>
                  </a:lnTo>
                  <a:lnTo>
                    <a:pt x="545" y="799"/>
                  </a:lnTo>
                  <a:lnTo>
                    <a:pt x="545" y="799"/>
                  </a:lnTo>
                  <a:lnTo>
                    <a:pt x="547" y="799"/>
                  </a:lnTo>
                  <a:lnTo>
                    <a:pt x="547" y="799"/>
                  </a:lnTo>
                  <a:lnTo>
                    <a:pt x="549" y="801"/>
                  </a:lnTo>
                  <a:lnTo>
                    <a:pt x="549" y="807"/>
                  </a:lnTo>
                  <a:lnTo>
                    <a:pt x="551" y="812"/>
                  </a:lnTo>
                  <a:lnTo>
                    <a:pt x="551" y="814"/>
                  </a:lnTo>
                  <a:lnTo>
                    <a:pt x="551" y="816"/>
                  </a:lnTo>
                  <a:lnTo>
                    <a:pt x="551" y="818"/>
                  </a:lnTo>
                  <a:lnTo>
                    <a:pt x="551" y="818"/>
                  </a:lnTo>
                  <a:lnTo>
                    <a:pt x="551" y="820"/>
                  </a:lnTo>
                  <a:lnTo>
                    <a:pt x="551" y="820"/>
                  </a:lnTo>
                  <a:lnTo>
                    <a:pt x="553" y="822"/>
                  </a:lnTo>
                  <a:lnTo>
                    <a:pt x="553" y="822"/>
                  </a:lnTo>
                  <a:lnTo>
                    <a:pt x="555" y="824"/>
                  </a:lnTo>
                  <a:lnTo>
                    <a:pt x="555" y="826"/>
                  </a:lnTo>
                  <a:lnTo>
                    <a:pt x="555" y="826"/>
                  </a:lnTo>
                  <a:lnTo>
                    <a:pt x="557" y="826"/>
                  </a:lnTo>
                  <a:lnTo>
                    <a:pt x="557" y="826"/>
                  </a:lnTo>
                  <a:lnTo>
                    <a:pt x="557" y="828"/>
                  </a:lnTo>
                  <a:lnTo>
                    <a:pt x="557" y="828"/>
                  </a:lnTo>
                  <a:lnTo>
                    <a:pt x="557" y="830"/>
                  </a:lnTo>
                  <a:lnTo>
                    <a:pt x="557" y="830"/>
                  </a:lnTo>
                  <a:lnTo>
                    <a:pt x="559" y="830"/>
                  </a:lnTo>
                  <a:lnTo>
                    <a:pt x="559" y="830"/>
                  </a:lnTo>
                  <a:lnTo>
                    <a:pt x="559" y="830"/>
                  </a:lnTo>
                  <a:lnTo>
                    <a:pt x="561" y="832"/>
                  </a:lnTo>
                  <a:lnTo>
                    <a:pt x="561" y="832"/>
                  </a:lnTo>
                  <a:lnTo>
                    <a:pt x="561" y="834"/>
                  </a:lnTo>
                  <a:lnTo>
                    <a:pt x="563" y="844"/>
                  </a:lnTo>
                  <a:lnTo>
                    <a:pt x="565" y="846"/>
                  </a:lnTo>
                  <a:lnTo>
                    <a:pt x="569" y="850"/>
                  </a:lnTo>
                  <a:lnTo>
                    <a:pt x="569" y="853"/>
                  </a:lnTo>
                  <a:lnTo>
                    <a:pt x="569" y="853"/>
                  </a:lnTo>
                  <a:lnTo>
                    <a:pt x="572" y="855"/>
                  </a:lnTo>
                  <a:lnTo>
                    <a:pt x="574" y="855"/>
                  </a:lnTo>
                  <a:lnTo>
                    <a:pt x="574" y="857"/>
                  </a:lnTo>
                  <a:lnTo>
                    <a:pt x="574" y="859"/>
                  </a:lnTo>
                  <a:lnTo>
                    <a:pt x="574" y="861"/>
                  </a:lnTo>
                  <a:lnTo>
                    <a:pt x="574" y="863"/>
                  </a:lnTo>
                  <a:lnTo>
                    <a:pt x="576" y="863"/>
                  </a:lnTo>
                  <a:lnTo>
                    <a:pt x="580" y="865"/>
                  </a:lnTo>
                  <a:lnTo>
                    <a:pt x="580" y="865"/>
                  </a:lnTo>
                  <a:lnTo>
                    <a:pt x="578" y="867"/>
                  </a:lnTo>
                  <a:lnTo>
                    <a:pt x="578" y="867"/>
                  </a:lnTo>
                  <a:lnTo>
                    <a:pt x="578" y="869"/>
                  </a:lnTo>
                  <a:lnTo>
                    <a:pt x="578" y="869"/>
                  </a:lnTo>
                  <a:lnTo>
                    <a:pt x="578" y="871"/>
                  </a:lnTo>
                  <a:lnTo>
                    <a:pt x="580" y="871"/>
                  </a:lnTo>
                  <a:lnTo>
                    <a:pt x="580" y="875"/>
                  </a:lnTo>
                  <a:lnTo>
                    <a:pt x="580" y="879"/>
                  </a:lnTo>
                  <a:lnTo>
                    <a:pt x="584" y="881"/>
                  </a:lnTo>
                  <a:lnTo>
                    <a:pt x="584" y="885"/>
                  </a:lnTo>
                  <a:lnTo>
                    <a:pt x="584" y="887"/>
                  </a:lnTo>
                  <a:lnTo>
                    <a:pt x="584" y="889"/>
                  </a:lnTo>
                  <a:lnTo>
                    <a:pt x="584" y="891"/>
                  </a:lnTo>
                  <a:lnTo>
                    <a:pt x="586" y="891"/>
                  </a:lnTo>
                  <a:lnTo>
                    <a:pt x="588" y="894"/>
                  </a:lnTo>
                  <a:lnTo>
                    <a:pt x="590" y="894"/>
                  </a:lnTo>
                  <a:lnTo>
                    <a:pt x="592" y="894"/>
                  </a:lnTo>
                  <a:lnTo>
                    <a:pt x="592" y="896"/>
                  </a:lnTo>
                  <a:lnTo>
                    <a:pt x="592" y="896"/>
                  </a:lnTo>
                  <a:lnTo>
                    <a:pt x="592" y="898"/>
                  </a:lnTo>
                  <a:lnTo>
                    <a:pt x="592" y="900"/>
                  </a:lnTo>
                  <a:lnTo>
                    <a:pt x="594" y="900"/>
                  </a:lnTo>
                  <a:lnTo>
                    <a:pt x="604" y="904"/>
                  </a:lnTo>
                  <a:lnTo>
                    <a:pt x="606" y="906"/>
                  </a:lnTo>
                  <a:lnTo>
                    <a:pt x="606" y="908"/>
                  </a:lnTo>
                  <a:lnTo>
                    <a:pt x="606" y="910"/>
                  </a:lnTo>
                  <a:lnTo>
                    <a:pt x="606" y="910"/>
                  </a:lnTo>
                  <a:lnTo>
                    <a:pt x="608" y="912"/>
                  </a:lnTo>
                  <a:lnTo>
                    <a:pt x="608" y="912"/>
                  </a:lnTo>
                  <a:lnTo>
                    <a:pt x="610" y="912"/>
                  </a:lnTo>
                  <a:lnTo>
                    <a:pt x="610" y="914"/>
                  </a:lnTo>
                  <a:lnTo>
                    <a:pt x="610" y="914"/>
                  </a:lnTo>
                  <a:lnTo>
                    <a:pt x="610" y="914"/>
                  </a:lnTo>
                  <a:lnTo>
                    <a:pt x="610" y="916"/>
                  </a:lnTo>
                  <a:lnTo>
                    <a:pt x="610" y="918"/>
                  </a:lnTo>
                  <a:lnTo>
                    <a:pt x="612" y="920"/>
                  </a:lnTo>
                  <a:lnTo>
                    <a:pt x="612" y="922"/>
                  </a:lnTo>
                  <a:lnTo>
                    <a:pt x="615" y="922"/>
                  </a:lnTo>
                  <a:lnTo>
                    <a:pt x="617" y="922"/>
                  </a:lnTo>
                  <a:lnTo>
                    <a:pt x="619" y="922"/>
                  </a:lnTo>
                  <a:lnTo>
                    <a:pt x="617" y="924"/>
                  </a:lnTo>
                  <a:lnTo>
                    <a:pt x="617" y="926"/>
                  </a:lnTo>
                  <a:lnTo>
                    <a:pt x="619" y="928"/>
                  </a:lnTo>
                  <a:lnTo>
                    <a:pt x="621" y="930"/>
                  </a:lnTo>
                  <a:lnTo>
                    <a:pt x="623" y="930"/>
                  </a:lnTo>
                  <a:lnTo>
                    <a:pt x="623" y="930"/>
                  </a:lnTo>
                  <a:lnTo>
                    <a:pt x="623" y="932"/>
                  </a:lnTo>
                  <a:lnTo>
                    <a:pt x="621" y="935"/>
                  </a:lnTo>
                  <a:lnTo>
                    <a:pt x="621" y="935"/>
                  </a:lnTo>
                  <a:lnTo>
                    <a:pt x="623" y="937"/>
                  </a:lnTo>
                  <a:lnTo>
                    <a:pt x="623" y="937"/>
                  </a:lnTo>
                  <a:lnTo>
                    <a:pt x="625" y="937"/>
                  </a:lnTo>
                  <a:lnTo>
                    <a:pt x="625" y="939"/>
                  </a:lnTo>
                  <a:lnTo>
                    <a:pt x="625" y="941"/>
                  </a:lnTo>
                  <a:lnTo>
                    <a:pt x="625" y="941"/>
                  </a:lnTo>
                  <a:lnTo>
                    <a:pt x="625" y="941"/>
                  </a:lnTo>
                  <a:lnTo>
                    <a:pt x="625" y="943"/>
                  </a:lnTo>
                  <a:lnTo>
                    <a:pt x="627" y="945"/>
                  </a:lnTo>
                  <a:lnTo>
                    <a:pt x="627" y="945"/>
                  </a:lnTo>
                  <a:lnTo>
                    <a:pt x="629" y="945"/>
                  </a:lnTo>
                  <a:lnTo>
                    <a:pt x="631" y="947"/>
                  </a:lnTo>
                  <a:lnTo>
                    <a:pt x="631" y="947"/>
                  </a:lnTo>
                  <a:lnTo>
                    <a:pt x="633" y="949"/>
                  </a:lnTo>
                  <a:lnTo>
                    <a:pt x="633" y="949"/>
                  </a:lnTo>
                  <a:lnTo>
                    <a:pt x="635" y="949"/>
                  </a:lnTo>
                  <a:lnTo>
                    <a:pt x="635" y="951"/>
                  </a:lnTo>
                  <a:lnTo>
                    <a:pt x="637" y="951"/>
                  </a:lnTo>
                  <a:lnTo>
                    <a:pt x="637" y="953"/>
                  </a:lnTo>
                  <a:lnTo>
                    <a:pt x="637" y="953"/>
                  </a:lnTo>
                  <a:lnTo>
                    <a:pt x="637" y="955"/>
                  </a:lnTo>
                  <a:lnTo>
                    <a:pt x="639" y="957"/>
                  </a:lnTo>
                  <a:lnTo>
                    <a:pt x="639" y="957"/>
                  </a:lnTo>
                  <a:lnTo>
                    <a:pt x="643" y="957"/>
                  </a:lnTo>
                  <a:lnTo>
                    <a:pt x="643" y="957"/>
                  </a:lnTo>
                  <a:lnTo>
                    <a:pt x="645" y="959"/>
                  </a:lnTo>
                  <a:lnTo>
                    <a:pt x="645" y="959"/>
                  </a:lnTo>
                  <a:lnTo>
                    <a:pt x="645" y="959"/>
                  </a:lnTo>
                  <a:lnTo>
                    <a:pt x="647" y="959"/>
                  </a:lnTo>
                  <a:lnTo>
                    <a:pt x="649" y="959"/>
                  </a:lnTo>
                  <a:lnTo>
                    <a:pt x="649" y="959"/>
                  </a:lnTo>
                  <a:lnTo>
                    <a:pt x="651" y="961"/>
                  </a:lnTo>
                  <a:lnTo>
                    <a:pt x="651" y="961"/>
                  </a:lnTo>
                  <a:lnTo>
                    <a:pt x="653" y="961"/>
                  </a:lnTo>
                  <a:lnTo>
                    <a:pt x="655" y="963"/>
                  </a:lnTo>
                  <a:lnTo>
                    <a:pt x="658" y="965"/>
                  </a:lnTo>
                  <a:lnTo>
                    <a:pt x="658" y="965"/>
                  </a:lnTo>
                  <a:lnTo>
                    <a:pt x="658" y="971"/>
                  </a:lnTo>
                  <a:lnTo>
                    <a:pt x="658" y="973"/>
                  </a:lnTo>
                  <a:lnTo>
                    <a:pt x="658" y="973"/>
                  </a:lnTo>
                  <a:lnTo>
                    <a:pt x="658" y="975"/>
                  </a:lnTo>
                  <a:lnTo>
                    <a:pt x="660" y="975"/>
                  </a:lnTo>
                  <a:lnTo>
                    <a:pt x="662" y="975"/>
                  </a:lnTo>
                  <a:lnTo>
                    <a:pt x="662" y="975"/>
                  </a:lnTo>
                  <a:lnTo>
                    <a:pt x="662" y="978"/>
                  </a:lnTo>
                  <a:lnTo>
                    <a:pt x="662" y="978"/>
                  </a:lnTo>
                  <a:lnTo>
                    <a:pt x="662" y="982"/>
                  </a:lnTo>
                  <a:lnTo>
                    <a:pt x="662" y="984"/>
                  </a:lnTo>
                  <a:lnTo>
                    <a:pt x="660" y="986"/>
                  </a:lnTo>
                  <a:lnTo>
                    <a:pt x="660" y="988"/>
                  </a:lnTo>
                  <a:lnTo>
                    <a:pt x="660" y="990"/>
                  </a:lnTo>
                  <a:lnTo>
                    <a:pt x="660" y="990"/>
                  </a:lnTo>
                  <a:lnTo>
                    <a:pt x="660" y="992"/>
                  </a:lnTo>
                  <a:lnTo>
                    <a:pt x="658" y="994"/>
                  </a:lnTo>
                  <a:lnTo>
                    <a:pt x="658" y="994"/>
                  </a:lnTo>
                  <a:lnTo>
                    <a:pt x="658" y="994"/>
                  </a:lnTo>
                  <a:lnTo>
                    <a:pt x="660" y="996"/>
                  </a:lnTo>
                  <a:lnTo>
                    <a:pt x="660" y="996"/>
                  </a:lnTo>
                  <a:lnTo>
                    <a:pt x="660" y="996"/>
                  </a:lnTo>
                  <a:lnTo>
                    <a:pt x="660" y="998"/>
                  </a:lnTo>
                  <a:lnTo>
                    <a:pt x="662" y="998"/>
                  </a:lnTo>
                  <a:lnTo>
                    <a:pt x="662" y="998"/>
                  </a:lnTo>
                  <a:lnTo>
                    <a:pt x="662" y="998"/>
                  </a:lnTo>
                  <a:lnTo>
                    <a:pt x="664" y="1000"/>
                  </a:lnTo>
                  <a:lnTo>
                    <a:pt x="664" y="1002"/>
                  </a:lnTo>
                  <a:lnTo>
                    <a:pt x="666" y="1004"/>
                  </a:lnTo>
                  <a:lnTo>
                    <a:pt x="666" y="1006"/>
                  </a:lnTo>
                  <a:lnTo>
                    <a:pt x="666" y="1008"/>
                  </a:lnTo>
                  <a:lnTo>
                    <a:pt x="664" y="1012"/>
                  </a:lnTo>
                  <a:lnTo>
                    <a:pt x="664" y="1014"/>
                  </a:lnTo>
                  <a:lnTo>
                    <a:pt x="664" y="1014"/>
                  </a:lnTo>
                  <a:lnTo>
                    <a:pt x="664" y="1016"/>
                  </a:lnTo>
                  <a:lnTo>
                    <a:pt x="664" y="1016"/>
                  </a:lnTo>
                  <a:lnTo>
                    <a:pt x="666" y="1016"/>
                  </a:lnTo>
                  <a:lnTo>
                    <a:pt x="664" y="1019"/>
                  </a:lnTo>
                  <a:lnTo>
                    <a:pt x="662" y="1023"/>
                  </a:lnTo>
                  <a:lnTo>
                    <a:pt x="664" y="1025"/>
                  </a:lnTo>
                  <a:lnTo>
                    <a:pt x="666" y="1025"/>
                  </a:lnTo>
                  <a:lnTo>
                    <a:pt x="666" y="1027"/>
                  </a:lnTo>
                  <a:lnTo>
                    <a:pt x="668" y="1027"/>
                  </a:lnTo>
                  <a:lnTo>
                    <a:pt x="668" y="1027"/>
                  </a:lnTo>
                  <a:lnTo>
                    <a:pt x="668" y="1027"/>
                  </a:lnTo>
                  <a:lnTo>
                    <a:pt x="670" y="1027"/>
                  </a:lnTo>
                  <a:lnTo>
                    <a:pt x="670" y="1029"/>
                  </a:lnTo>
                  <a:lnTo>
                    <a:pt x="670" y="1031"/>
                  </a:lnTo>
                  <a:lnTo>
                    <a:pt x="670" y="1033"/>
                  </a:lnTo>
                  <a:lnTo>
                    <a:pt x="672" y="1033"/>
                  </a:lnTo>
                  <a:lnTo>
                    <a:pt x="674" y="1037"/>
                  </a:lnTo>
                  <a:lnTo>
                    <a:pt x="676" y="1037"/>
                  </a:lnTo>
                  <a:lnTo>
                    <a:pt x="678" y="1041"/>
                  </a:lnTo>
                  <a:lnTo>
                    <a:pt x="680" y="1043"/>
                  </a:lnTo>
                  <a:lnTo>
                    <a:pt x="682" y="1045"/>
                  </a:lnTo>
                  <a:lnTo>
                    <a:pt x="684" y="1047"/>
                  </a:lnTo>
                  <a:lnTo>
                    <a:pt x="684" y="1051"/>
                  </a:lnTo>
                  <a:lnTo>
                    <a:pt x="686" y="1055"/>
                  </a:lnTo>
                  <a:lnTo>
                    <a:pt x="690" y="1068"/>
                  </a:lnTo>
                  <a:lnTo>
                    <a:pt x="690" y="1070"/>
                  </a:lnTo>
                  <a:lnTo>
                    <a:pt x="690" y="1074"/>
                  </a:lnTo>
                  <a:lnTo>
                    <a:pt x="692" y="1078"/>
                  </a:lnTo>
                  <a:lnTo>
                    <a:pt x="694" y="1078"/>
                  </a:lnTo>
                  <a:lnTo>
                    <a:pt x="696" y="1078"/>
                  </a:lnTo>
                  <a:lnTo>
                    <a:pt x="699" y="1080"/>
                  </a:lnTo>
                  <a:lnTo>
                    <a:pt x="699" y="1084"/>
                  </a:lnTo>
                  <a:lnTo>
                    <a:pt x="699" y="1084"/>
                  </a:lnTo>
                  <a:lnTo>
                    <a:pt x="699" y="1086"/>
                  </a:lnTo>
                  <a:lnTo>
                    <a:pt x="699" y="1088"/>
                  </a:lnTo>
                  <a:lnTo>
                    <a:pt x="696" y="1088"/>
                  </a:lnTo>
                  <a:lnTo>
                    <a:pt x="699" y="1090"/>
                  </a:lnTo>
                  <a:lnTo>
                    <a:pt x="699" y="1092"/>
                  </a:lnTo>
                  <a:lnTo>
                    <a:pt x="701" y="1092"/>
                  </a:lnTo>
                  <a:lnTo>
                    <a:pt x="703" y="1092"/>
                  </a:lnTo>
                  <a:lnTo>
                    <a:pt x="705" y="1092"/>
                  </a:lnTo>
                  <a:lnTo>
                    <a:pt x="705" y="1092"/>
                  </a:lnTo>
                  <a:lnTo>
                    <a:pt x="707" y="1092"/>
                  </a:lnTo>
                  <a:lnTo>
                    <a:pt x="707" y="1092"/>
                  </a:lnTo>
                  <a:lnTo>
                    <a:pt x="707" y="1092"/>
                  </a:lnTo>
                  <a:lnTo>
                    <a:pt x="709" y="1092"/>
                  </a:lnTo>
                  <a:lnTo>
                    <a:pt x="711" y="1092"/>
                  </a:lnTo>
                  <a:lnTo>
                    <a:pt x="713" y="1092"/>
                  </a:lnTo>
                  <a:lnTo>
                    <a:pt x="713" y="1094"/>
                  </a:lnTo>
                  <a:lnTo>
                    <a:pt x="715" y="1092"/>
                  </a:lnTo>
                  <a:lnTo>
                    <a:pt x="719" y="1096"/>
                  </a:lnTo>
                  <a:lnTo>
                    <a:pt x="721" y="1094"/>
                  </a:lnTo>
                  <a:lnTo>
                    <a:pt x="721" y="1096"/>
                  </a:lnTo>
                  <a:lnTo>
                    <a:pt x="723" y="1096"/>
                  </a:lnTo>
                  <a:lnTo>
                    <a:pt x="723" y="1096"/>
                  </a:lnTo>
                  <a:lnTo>
                    <a:pt x="723" y="1094"/>
                  </a:lnTo>
                  <a:lnTo>
                    <a:pt x="723" y="1094"/>
                  </a:lnTo>
                  <a:lnTo>
                    <a:pt x="725" y="1096"/>
                  </a:lnTo>
                  <a:lnTo>
                    <a:pt x="725" y="1096"/>
                  </a:lnTo>
                  <a:lnTo>
                    <a:pt x="727" y="1094"/>
                  </a:lnTo>
                  <a:lnTo>
                    <a:pt x="727" y="1094"/>
                  </a:lnTo>
                  <a:lnTo>
                    <a:pt x="727" y="1096"/>
                  </a:lnTo>
                  <a:lnTo>
                    <a:pt x="729" y="1096"/>
                  </a:lnTo>
                  <a:lnTo>
                    <a:pt x="733" y="1098"/>
                  </a:lnTo>
                  <a:lnTo>
                    <a:pt x="733" y="1100"/>
                  </a:lnTo>
                  <a:lnTo>
                    <a:pt x="733" y="1103"/>
                  </a:lnTo>
                  <a:lnTo>
                    <a:pt x="735" y="1103"/>
                  </a:lnTo>
                  <a:lnTo>
                    <a:pt x="735" y="1103"/>
                  </a:lnTo>
                  <a:lnTo>
                    <a:pt x="737" y="1103"/>
                  </a:lnTo>
                  <a:lnTo>
                    <a:pt x="737" y="1105"/>
                  </a:lnTo>
                  <a:lnTo>
                    <a:pt x="737" y="1105"/>
                  </a:lnTo>
                  <a:lnTo>
                    <a:pt x="737" y="1107"/>
                  </a:lnTo>
                  <a:lnTo>
                    <a:pt x="737" y="1107"/>
                  </a:lnTo>
                  <a:lnTo>
                    <a:pt x="739" y="1107"/>
                  </a:lnTo>
                  <a:lnTo>
                    <a:pt x="742" y="1109"/>
                  </a:lnTo>
                  <a:lnTo>
                    <a:pt x="742" y="1109"/>
                  </a:lnTo>
                  <a:lnTo>
                    <a:pt x="744" y="1109"/>
                  </a:lnTo>
                  <a:lnTo>
                    <a:pt x="748" y="1107"/>
                  </a:lnTo>
                  <a:lnTo>
                    <a:pt x="752" y="1109"/>
                  </a:lnTo>
                  <a:lnTo>
                    <a:pt x="754" y="1109"/>
                  </a:lnTo>
                  <a:lnTo>
                    <a:pt x="758" y="1111"/>
                  </a:lnTo>
                  <a:lnTo>
                    <a:pt x="760" y="1113"/>
                  </a:lnTo>
                  <a:lnTo>
                    <a:pt x="760" y="1111"/>
                  </a:lnTo>
                  <a:lnTo>
                    <a:pt x="760" y="1111"/>
                  </a:lnTo>
                  <a:lnTo>
                    <a:pt x="764" y="1111"/>
                  </a:lnTo>
                  <a:lnTo>
                    <a:pt x="766" y="1113"/>
                  </a:lnTo>
                  <a:lnTo>
                    <a:pt x="770" y="1113"/>
                  </a:lnTo>
                  <a:lnTo>
                    <a:pt x="768" y="1115"/>
                  </a:lnTo>
                  <a:lnTo>
                    <a:pt x="768" y="1117"/>
                  </a:lnTo>
                  <a:lnTo>
                    <a:pt x="770" y="1117"/>
                  </a:lnTo>
                  <a:lnTo>
                    <a:pt x="772" y="1117"/>
                  </a:lnTo>
                  <a:lnTo>
                    <a:pt x="772" y="1119"/>
                  </a:lnTo>
                  <a:lnTo>
                    <a:pt x="774" y="1121"/>
                  </a:lnTo>
                  <a:lnTo>
                    <a:pt x="776" y="1123"/>
                  </a:lnTo>
                  <a:lnTo>
                    <a:pt x="785" y="1125"/>
                  </a:lnTo>
                  <a:lnTo>
                    <a:pt x="787" y="1127"/>
                  </a:lnTo>
                  <a:lnTo>
                    <a:pt x="791" y="1127"/>
                  </a:lnTo>
                  <a:lnTo>
                    <a:pt x="795" y="1125"/>
                  </a:lnTo>
                  <a:lnTo>
                    <a:pt x="797" y="1127"/>
                  </a:lnTo>
                  <a:lnTo>
                    <a:pt x="799" y="1129"/>
                  </a:lnTo>
                  <a:lnTo>
                    <a:pt x="799" y="1129"/>
                  </a:lnTo>
                  <a:lnTo>
                    <a:pt x="801" y="1129"/>
                  </a:lnTo>
                  <a:lnTo>
                    <a:pt x="805" y="1127"/>
                  </a:lnTo>
                  <a:lnTo>
                    <a:pt x="805" y="1127"/>
                  </a:lnTo>
                  <a:lnTo>
                    <a:pt x="811" y="1127"/>
                  </a:lnTo>
                  <a:lnTo>
                    <a:pt x="817" y="1127"/>
                  </a:lnTo>
                  <a:lnTo>
                    <a:pt x="825" y="1127"/>
                  </a:lnTo>
                  <a:lnTo>
                    <a:pt x="828" y="1127"/>
                  </a:lnTo>
                  <a:lnTo>
                    <a:pt x="828" y="1129"/>
                  </a:lnTo>
                  <a:lnTo>
                    <a:pt x="828" y="1129"/>
                  </a:lnTo>
                  <a:lnTo>
                    <a:pt x="838" y="1129"/>
                  </a:lnTo>
                  <a:lnTo>
                    <a:pt x="838" y="1129"/>
                  </a:lnTo>
                  <a:lnTo>
                    <a:pt x="840" y="1131"/>
                  </a:lnTo>
                  <a:lnTo>
                    <a:pt x="842" y="1131"/>
                  </a:lnTo>
                  <a:lnTo>
                    <a:pt x="844" y="1133"/>
                  </a:lnTo>
                  <a:lnTo>
                    <a:pt x="844" y="1135"/>
                  </a:lnTo>
                  <a:lnTo>
                    <a:pt x="846" y="1137"/>
                  </a:lnTo>
                  <a:lnTo>
                    <a:pt x="848" y="1137"/>
                  </a:lnTo>
                  <a:lnTo>
                    <a:pt x="852" y="1141"/>
                  </a:lnTo>
                  <a:lnTo>
                    <a:pt x="854" y="1144"/>
                  </a:lnTo>
                  <a:lnTo>
                    <a:pt x="856" y="1144"/>
                  </a:lnTo>
                  <a:lnTo>
                    <a:pt x="858" y="1144"/>
                  </a:lnTo>
                  <a:lnTo>
                    <a:pt x="860" y="1144"/>
                  </a:lnTo>
                  <a:lnTo>
                    <a:pt x="860" y="1146"/>
                  </a:lnTo>
                  <a:lnTo>
                    <a:pt x="860" y="1148"/>
                  </a:lnTo>
                  <a:lnTo>
                    <a:pt x="862" y="1148"/>
                  </a:lnTo>
                  <a:lnTo>
                    <a:pt x="864" y="1148"/>
                  </a:lnTo>
                  <a:lnTo>
                    <a:pt x="864" y="1148"/>
                  </a:lnTo>
                  <a:lnTo>
                    <a:pt x="864" y="1148"/>
                  </a:lnTo>
                  <a:lnTo>
                    <a:pt x="864" y="1148"/>
                  </a:lnTo>
                  <a:lnTo>
                    <a:pt x="864" y="1148"/>
                  </a:lnTo>
                  <a:lnTo>
                    <a:pt x="864" y="1148"/>
                  </a:lnTo>
                  <a:lnTo>
                    <a:pt x="864" y="1148"/>
                  </a:lnTo>
                  <a:lnTo>
                    <a:pt x="866" y="1148"/>
                  </a:lnTo>
                  <a:lnTo>
                    <a:pt x="866" y="1148"/>
                  </a:lnTo>
                  <a:lnTo>
                    <a:pt x="866" y="1150"/>
                  </a:lnTo>
                  <a:lnTo>
                    <a:pt x="868" y="1150"/>
                  </a:lnTo>
                  <a:lnTo>
                    <a:pt x="871" y="1148"/>
                  </a:lnTo>
                  <a:lnTo>
                    <a:pt x="871" y="1146"/>
                  </a:lnTo>
                  <a:lnTo>
                    <a:pt x="868" y="1144"/>
                  </a:lnTo>
                  <a:lnTo>
                    <a:pt x="868" y="1141"/>
                  </a:lnTo>
                  <a:lnTo>
                    <a:pt x="868" y="1141"/>
                  </a:lnTo>
                  <a:lnTo>
                    <a:pt x="868" y="1141"/>
                  </a:lnTo>
                  <a:lnTo>
                    <a:pt x="871" y="1139"/>
                  </a:lnTo>
                  <a:lnTo>
                    <a:pt x="873" y="1141"/>
                  </a:lnTo>
                  <a:lnTo>
                    <a:pt x="875" y="1139"/>
                  </a:lnTo>
                  <a:lnTo>
                    <a:pt x="877" y="1139"/>
                  </a:lnTo>
                  <a:lnTo>
                    <a:pt x="877" y="1137"/>
                  </a:lnTo>
                  <a:lnTo>
                    <a:pt x="877" y="1137"/>
                  </a:lnTo>
                  <a:lnTo>
                    <a:pt x="877" y="1137"/>
                  </a:lnTo>
                  <a:lnTo>
                    <a:pt x="877" y="1137"/>
                  </a:lnTo>
                  <a:lnTo>
                    <a:pt x="879" y="1135"/>
                  </a:lnTo>
                  <a:lnTo>
                    <a:pt x="883" y="1137"/>
                  </a:lnTo>
                  <a:lnTo>
                    <a:pt x="889" y="1135"/>
                  </a:lnTo>
                  <a:lnTo>
                    <a:pt x="889" y="1135"/>
                  </a:lnTo>
                  <a:lnTo>
                    <a:pt x="889" y="1129"/>
                  </a:lnTo>
                  <a:lnTo>
                    <a:pt x="889" y="1127"/>
                  </a:lnTo>
                  <a:lnTo>
                    <a:pt x="889" y="1123"/>
                  </a:lnTo>
                  <a:lnTo>
                    <a:pt x="887" y="1123"/>
                  </a:lnTo>
                  <a:lnTo>
                    <a:pt x="885" y="1125"/>
                  </a:lnTo>
                  <a:lnTo>
                    <a:pt x="885" y="1125"/>
                  </a:lnTo>
                  <a:lnTo>
                    <a:pt x="885" y="1127"/>
                  </a:lnTo>
                  <a:lnTo>
                    <a:pt x="885" y="1129"/>
                  </a:lnTo>
                  <a:lnTo>
                    <a:pt x="885" y="1131"/>
                  </a:lnTo>
                  <a:lnTo>
                    <a:pt x="883" y="1131"/>
                  </a:lnTo>
                  <a:lnTo>
                    <a:pt x="881" y="1133"/>
                  </a:lnTo>
                  <a:lnTo>
                    <a:pt x="881" y="1133"/>
                  </a:lnTo>
                  <a:lnTo>
                    <a:pt x="881" y="1133"/>
                  </a:lnTo>
                  <a:lnTo>
                    <a:pt x="881" y="1133"/>
                  </a:lnTo>
                  <a:lnTo>
                    <a:pt x="879" y="1133"/>
                  </a:lnTo>
                  <a:lnTo>
                    <a:pt x="879" y="1133"/>
                  </a:lnTo>
                  <a:lnTo>
                    <a:pt x="879" y="1133"/>
                  </a:lnTo>
                  <a:lnTo>
                    <a:pt x="879" y="1131"/>
                  </a:lnTo>
                  <a:lnTo>
                    <a:pt x="879" y="1129"/>
                  </a:lnTo>
                  <a:lnTo>
                    <a:pt x="879" y="1127"/>
                  </a:lnTo>
                  <a:lnTo>
                    <a:pt x="879" y="1125"/>
                  </a:lnTo>
                  <a:lnTo>
                    <a:pt x="881" y="1125"/>
                  </a:lnTo>
                  <a:lnTo>
                    <a:pt x="881" y="1125"/>
                  </a:lnTo>
                  <a:lnTo>
                    <a:pt x="883" y="1123"/>
                  </a:lnTo>
                  <a:lnTo>
                    <a:pt x="883" y="1123"/>
                  </a:lnTo>
                  <a:lnTo>
                    <a:pt x="881" y="1121"/>
                  </a:lnTo>
                  <a:lnTo>
                    <a:pt x="881" y="1121"/>
                  </a:lnTo>
                  <a:lnTo>
                    <a:pt x="877" y="1121"/>
                  </a:lnTo>
                  <a:lnTo>
                    <a:pt x="877" y="1121"/>
                  </a:lnTo>
                  <a:lnTo>
                    <a:pt x="875" y="1121"/>
                  </a:lnTo>
                  <a:lnTo>
                    <a:pt x="875" y="1121"/>
                  </a:lnTo>
                  <a:lnTo>
                    <a:pt x="875" y="1121"/>
                  </a:lnTo>
                  <a:lnTo>
                    <a:pt x="873" y="1119"/>
                  </a:lnTo>
                  <a:lnTo>
                    <a:pt x="873" y="1117"/>
                  </a:lnTo>
                  <a:lnTo>
                    <a:pt x="873" y="1113"/>
                  </a:lnTo>
                  <a:lnTo>
                    <a:pt x="873" y="1111"/>
                  </a:lnTo>
                  <a:lnTo>
                    <a:pt x="871" y="1109"/>
                  </a:lnTo>
                  <a:lnTo>
                    <a:pt x="871" y="1109"/>
                  </a:lnTo>
                  <a:lnTo>
                    <a:pt x="871" y="1107"/>
                  </a:lnTo>
                  <a:lnTo>
                    <a:pt x="871" y="1105"/>
                  </a:lnTo>
                  <a:lnTo>
                    <a:pt x="871" y="1105"/>
                  </a:lnTo>
                  <a:lnTo>
                    <a:pt x="873" y="1105"/>
                  </a:lnTo>
                  <a:lnTo>
                    <a:pt x="871" y="1103"/>
                  </a:lnTo>
                  <a:lnTo>
                    <a:pt x="871" y="1103"/>
                  </a:lnTo>
                  <a:lnTo>
                    <a:pt x="871" y="1103"/>
                  </a:lnTo>
                  <a:lnTo>
                    <a:pt x="868" y="1103"/>
                  </a:lnTo>
                  <a:lnTo>
                    <a:pt x="868" y="1103"/>
                  </a:lnTo>
                  <a:lnTo>
                    <a:pt x="866" y="1103"/>
                  </a:lnTo>
                  <a:lnTo>
                    <a:pt x="866" y="1100"/>
                  </a:lnTo>
                  <a:lnTo>
                    <a:pt x="868" y="1096"/>
                  </a:lnTo>
                  <a:lnTo>
                    <a:pt x="868" y="1096"/>
                  </a:lnTo>
                  <a:lnTo>
                    <a:pt x="868" y="1096"/>
                  </a:lnTo>
                  <a:lnTo>
                    <a:pt x="868" y="1094"/>
                  </a:lnTo>
                  <a:lnTo>
                    <a:pt x="868" y="1094"/>
                  </a:lnTo>
                  <a:lnTo>
                    <a:pt x="868" y="1094"/>
                  </a:lnTo>
                  <a:lnTo>
                    <a:pt x="866" y="1096"/>
                  </a:lnTo>
                  <a:lnTo>
                    <a:pt x="866" y="1096"/>
                  </a:lnTo>
                  <a:lnTo>
                    <a:pt x="866" y="1096"/>
                  </a:lnTo>
                  <a:lnTo>
                    <a:pt x="866" y="1096"/>
                  </a:lnTo>
                  <a:lnTo>
                    <a:pt x="864" y="1096"/>
                  </a:lnTo>
                  <a:lnTo>
                    <a:pt x="866" y="1094"/>
                  </a:lnTo>
                  <a:lnTo>
                    <a:pt x="866" y="1092"/>
                  </a:lnTo>
                  <a:lnTo>
                    <a:pt x="866" y="1092"/>
                  </a:lnTo>
                  <a:lnTo>
                    <a:pt x="864" y="1092"/>
                  </a:lnTo>
                  <a:lnTo>
                    <a:pt x="862" y="1092"/>
                  </a:lnTo>
                  <a:lnTo>
                    <a:pt x="862" y="1090"/>
                  </a:lnTo>
                  <a:lnTo>
                    <a:pt x="862" y="1088"/>
                  </a:lnTo>
                  <a:lnTo>
                    <a:pt x="862" y="1088"/>
                  </a:lnTo>
                  <a:lnTo>
                    <a:pt x="860" y="1088"/>
                  </a:lnTo>
                  <a:lnTo>
                    <a:pt x="858" y="1088"/>
                  </a:lnTo>
                  <a:lnTo>
                    <a:pt x="858" y="1088"/>
                  </a:lnTo>
                  <a:lnTo>
                    <a:pt x="858" y="1086"/>
                  </a:lnTo>
                  <a:lnTo>
                    <a:pt x="858" y="1084"/>
                  </a:lnTo>
                  <a:lnTo>
                    <a:pt x="858" y="1082"/>
                  </a:lnTo>
                  <a:lnTo>
                    <a:pt x="858" y="1080"/>
                  </a:lnTo>
                  <a:lnTo>
                    <a:pt x="856" y="1080"/>
                  </a:lnTo>
                  <a:lnTo>
                    <a:pt x="858" y="1078"/>
                  </a:lnTo>
                  <a:lnTo>
                    <a:pt x="860" y="1078"/>
                  </a:lnTo>
                  <a:lnTo>
                    <a:pt x="860" y="1076"/>
                  </a:lnTo>
                  <a:lnTo>
                    <a:pt x="860" y="1078"/>
                  </a:lnTo>
                  <a:lnTo>
                    <a:pt x="860" y="1078"/>
                  </a:lnTo>
                  <a:lnTo>
                    <a:pt x="860" y="1078"/>
                  </a:lnTo>
                  <a:lnTo>
                    <a:pt x="860" y="1076"/>
                  </a:lnTo>
                  <a:lnTo>
                    <a:pt x="858" y="1068"/>
                  </a:lnTo>
                  <a:lnTo>
                    <a:pt x="856" y="1062"/>
                  </a:lnTo>
                  <a:lnTo>
                    <a:pt x="854" y="1053"/>
                  </a:lnTo>
                  <a:lnTo>
                    <a:pt x="854" y="1049"/>
                  </a:lnTo>
                  <a:lnTo>
                    <a:pt x="854" y="1047"/>
                  </a:lnTo>
                  <a:lnTo>
                    <a:pt x="852" y="1045"/>
                  </a:lnTo>
                  <a:lnTo>
                    <a:pt x="852" y="1045"/>
                  </a:lnTo>
                  <a:lnTo>
                    <a:pt x="850" y="1045"/>
                  </a:lnTo>
                  <a:lnTo>
                    <a:pt x="848" y="1045"/>
                  </a:lnTo>
                  <a:lnTo>
                    <a:pt x="848" y="1045"/>
                  </a:lnTo>
                  <a:lnTo>
                    <a:pt x="846" y="1043"/>
                  </a:lnTo>
                  <a:lnTo>
                    <a:pt x="846" y="1041"/>
                  </a:lnTo>
                  <a:lnTo>
                    <a:pt x="846" y="1039"/>
                  </a:lnTo>
                  <a:lnTo>
                    <a:pt x="846" y="1037"/>
                  </a:lnTo>
                  <a:lnTo>
                    <a:pt x="848" y="1037"/>
                  </a:lnTo>
                  <a:lnTo>
                    <a:pt x="848" y="1037"/>
                  </a:lnTo>
                  <a:lnTo>
                    <a:pt x="852" y="1041"/>
                  </a:lnTo>
                  <a:lnTo>
                    <a:pt x="854" y="1039"/>
                  </a:lnTo>
                  <a:lnTo>
                    <a:pt x="852" y="1037"/>
                  </a:lnTo>
                  <a:lnTo>
                    <a:pt x="848" y="1035"/>
                  </a:lnTo>
                  <a:lnTo>
                    <a:pt x="848" y="1035"/>
                  </a:lnTo>
                  <a:lnTo>
                    <a:pt x="846" y="1033"/>
                  </a:lnTo>
                  <a:lnTo>
                    <a:pt x="846" y="1031"/>
                  </a:lnTo>
                  <a:lnTo>
                    <a:pt x="846" y="1027"/>
                  </a:lnTo>
                  <a:lnTo>
                    <a:pt x="846" y="1025"/>
                  </a:lnTo>
                  <a:lnTo>
                    <a:pt x="848" y="1025"/>
                  </a:lnTo>
                  <a:lnTo>
                    <a:pt x="852" y="1025"/>
                  </a:lnTo>
                  <a:lnTo>
                    <a:pt x="854" y="1023"/>
                  </a:lnTo>
                  <a:lnTo>
                    <a:pt x="854" y="1021"/>
                  </a:lnTo>
                  <a:lnTo>
                    <a:pt x="852" y="1019"/>
                  </a:lnTo>
                  <a:lnTo>
                    <a:pt x="854" y="1016"/>
                  </a:lnTo>
                  <a:lnTo>
                    <a:pt x="852" y="1016"/>
                  </a:lnTo>
                  <a:lnTo>
                    <a:pt x="852" y="1014"/>
                  </a:lnTo>
                  <a:lnTo>
                    <a:pt x="852" y="1014"/>
                  </a:lnTo>
                  <a:lnTo>
                    <a:pt x="854" y="1014"/>
                  </a:lnTo>
                  <a:lnTo>
                    <a:pt x="854" y="1012"/>
                  </a:lnTo>
                  <a:lnTo>
                    <a:pt x="856" y="1012"/>
                  </a:lnTo>
                  <a:lnTo>
                    <a:pt x="856" y="1010"/>
                  </a:lnTo>
                  <a:lnTo>
                    <a:pt x="856" y="1010"/>
                  </a:lnTo>
                  <a:lnTo>
                    <a:pt x="856" y="1008"/>
                  </a:lnTo>
                  <a:lnTo>
                    <a:pt x="856" y="1006"/>
                  </a:lnTo>
                  <a:lnTo>
                    <a:pt x="856" y="1006"/>
                  </a:lnTo>
                  <a:lnTo>
                    <a:pt x="856" y="1004"/>
                  </a:lnTo>
                  <a:lnTo>
                    <a:pt x="856" y="1002"/>
                  </a:lnTo>
                  <a:lnTo>
                    <a:pt x="856" y="1000"/>
                  </a:lnTo>
                  <a:lnTo>
                    <a:pt x="856" y="1000"/>
                  </a:lnTo>
                  <a:lnTo>
                    <a:pt x="858" y="1000"/>
                  </a:lnTo>
                  <a:lnTo>
                    <a:pt x="858" y="998"/>
                  </a:lnTo>
                  <a:lnTo>
                    <a:pt x="858" y="996"/>
                  </a:lnTo>
                  <a:lnTo>
                    <a:pt x="858" y="996"/>
                  </a:lnTo>
                  <a:lnTo>
                    <a:pt x="852" y="998"/>
                  </a:lnTo>
                  <a:lnTo>
                    <a:pt x="850" y="998"/>
                  </a:lnTo>
                  <a:lnTo>
                    <a:pt x="848" y="1000"/>
                  </a:lnTo>
                  <a:lnTo>
                    <a:pt x="846" y="1000"/>
                  </a:lnTo>
                  <a:lnTo>
                    <a:pt x="840" y="998"/>
                  </a:lnTo>
                  <a:lnTo>
                    <a:pt x="838" y="998"/>
                  </a:lnTo>
                  <a:lnTo>
                    <a:pt x="838" y="996"/>
                  </a:lnTo>
                  <a:lnTo>
                    <a:pt x="836" y="996"/>
                  </a:lnTo>
                  <a:lnTo>
                    <a:pt x="834" y="996"/>
                  </a:lnTo>
                  <a:lnTo>
                    <a:pt x="828" y="996"/>
                  </a:lnTo>
                  <a:lnTo>
                    <a:pt x="825" y="996"/>
                  </a:lnTo>
                  <a:lnTo>
                    <a:pt x="825" y="994"/>
                  </a:lnTo>
                  <a:lnTo>
                    <a:pt x="828" y="994"/>
                  </a:lnTo>
                  <a:lnTo>
                    <a:pt x="830" y="994"/>
                  </a:lnTo>
                  <a:lnTo>
                    <a:pt x="832" y="994"/>
                  </a:lnTo>
                  <a:lnTo>
                    <a:pt x="834" y="994"/>
                  </a:lnTo>
                  <a:lnTo>
                    <a:pt x="836" y="992"/>
                  </a:lnTo>
                  <a:lnTo>
                    <a:pt x="834" y="992"/>
                  </a:lnTo>
                  <a:lnTo>
                    <a:pt x="834" y="990"/>
                  </a:lnTo>
                  <a:lnTo>
                    <a:pt x="832" y="992"/>
                  </a:lnTo>
                  <a:lnTo>
                    <a:pt x="832" y="992"/>
                  </a:lnTo>
                  <a:lnTo>
                    <a:pt x="832" y="992"/>
                  </a:lnTo>
                  <a:lnTo>
                    <a:pt x="832" y="990"/>
                  </a:lnTo>
                  <a:lnTo>
                    <a:pt x="834" y="990"/>
                  </a:lnTo>
                  <a:lnTo>
                    <a:pt x="832" y="988"/>
                  </a:lnTo>
                  <a:lnTo>
                    <a:pt x="828" y="984"/>
                  </a:lnTo>
                  <a:lnTo>
                    <a:pt x="830" y="984"/>
                  </a:lnTo>
                  <a:lnTo>
                    <a:pt x="828" y="982"/>
                  </a:lnTo>
                  <a:lnTo>
                    <a:pt x="825" y="978"/>
                  </a:lnTo>
                  <a:lnTo>
                    <a:pt x="825" y="975"/>
                  </a:lnTo>
                  <a:lnTo>
                    <a:pt x="828" y="978"/>
                  </a:lnTo>
                  <a:lnTo>
                    <a:pt x="830" y="980"/>
                  </a:lnTo>
                  <a:lnTo>
                    <a:pt x="838" y="990"/>
                  </a:lnTo>
                  <a:lnTo>
                    <a:pt x="838" y="992"/>
                  </a:lnTo>
                  <a:lnTo>
                    <a:pt x="838" y="992"/>
                  </a:lnTo>
                  <a:lnTo>
                    <a:pt x="838" y="994"/>
                  </a:lnTo>
                  <a:lnTo>
                    <a:pt x="840" y="994"/>
                  </a:lnTo>
                  <a:lnTo>
                    <a:pt x="842" y="994"/>
                  </a:lnTo>
                  <a:lnTo>
                    <a:pt x="842" y="992"/>
                  </a:lnTo>
                  <a:lnTo>
                    <a:pt x="842" y="992"/>
                  </a:lnTo>
                  <a:lnTo>
                    <a:pt x="842" y="992"/>
                  </a:lnTo>
                  <a:lnTo>
                    <a:pt x="844" y="988"/>
                  </a:lnTo>
                  <a:lnTo>
                    <a:pt x="844" y="988"/>
                  </a:lnTo>
                  <a:lnTo>
                    <a:pt x="844" y="990"/>
                  </a:lnTo>
                  <a:lnTo>
                    <a:pt x="846" y="988"/>
                  </a:lnTo>
                  <a:lnTo>
                    <a:pt x="846" y="988"/>
                  </a:lnTo>
                  <a:lnTo>
                    <a:pt x="848" y="988"/>
                  </a:lnTo>
                  <a:lnTo>
                    <a:pt x="848" y="986"/>
                  </a:lnTo>
                  <a:lnTo>
                    <a:pt x="848" y="986"/>
                  </a:lnTo>
                  <a:lnTo>
                    <a:pt x="850" y="984"/>
                  </a:lnTo>
                  <a:lnTo>
                    <a:pt x="852" y="982"/>
                  </a:lnTo>
                  <a:lnTo>
                    <a:pt x="852" y="984"/>
                  </a:lnTo>
                  <a:lnTo>
                    <a:pt x="852" y="986"/>
                  </a:lnTo>
                  <a:lnTo>
                    <a:pt x="852" y="988"/>
                  </a:lnTo>
                  <a:lnTo>
                    <a:pt x="852" y="988"/>
                  </a:lnTo>
                  <a:lnTo>
                    <a:pt x="854" y="988"/>
                  </a:lnTo>
                  <a:lnTo>
                    <a:pt x="854" y="988"/>
                  </a:lnTo>
                  <a:lnTo>
                    <a:pt x="854" y="988"/>
                  </a:lnTo>
                  <a:lnTo>
                    <a:pt x="854" y="988"/>
                  </a:lnTo>
                  <a:lnTo>
                    <a:pt x="854" y="988"/>
                  </a:lnTo>
                  <a:lnTo>
                    <a:pt x="854" y="990"/>
                  </a:lnTo>
                  <a:lnTo>
                    <a:pt x="854" y="990"/>
                  </a:lnTo>
                  <a:lnTo>
                    <a:pt x="852" y="990"/>
                  </a:lnTo>
                  <a:lnTo>
                    <a:pt x="850" y="990"/>
                  </a:lnTo>
                  <a:lnTo>
                    <a:pt x="850" y="990"/>
                  </a:lnTo>
                  <a:lnTo>
                    <a:pt x="850" y="990"/>
                  </a:lnTo>
                  <a:lnTo>
                    <a:pt x="852" y="990"/>
                  </a:lnTo>
                  <a:lnTo>
                    <a:pt x="852" y="992"/>
                  </a:lnTo>
                  <a:lnTo>
                    <a:pt x="850" y="992"/>
                  </a:lnTo>
                  <a:lnTo>
                    <a:pt x="848" y="994"/>
                  </a:lnTo>
                  <a:lnTo>
                    <a:pt x="850" y="996"/>
                  </a:lnTo>
                  <a:lnTo>
                    <a:pt x="850" y="996"/>
                  </a:lnTo>
                  <a:lnTo>
                    <a:pt x="852" y="992"/>
                  </a:lnTo>
                  <a:lnTo>
                    <a:pt x="858" y="990"/>
                  </a:lnTo>
                  <a:lnTo>
                    <a:pt x="860" y="990"/>
                  </a:lnTo>
                  <a:lnTo>
                    <a:pt x="860" y="986"/>
                  </a:lnTo>
                  <a:lnTo>
                    <a:pt x="864" y="975"/>
                  </a:lnTo>
                  <a:lnTo>
                    <a:pt x="864" y="973"/>
                  </a:lnTo>
                  <a:lnTo>
                    <a:pt x="864" y="973"/>
                  </a:lnTo>
                  <a:lnTo>
                    <a:pt x="866" y="971"/>
                  </a:lnTo>
                  <a:lnTo>
                    <a:pt x="866" y="965"/>
                  </a:lnTo>
                  <a:lnTo>
                    <a:pt x="871" y="961"/>
                  </a:lnTo>
                  <a:lnTo>
                    <a:pt x="871" y="959"/>
                  </a:lnTo>
                  <a:lnTo>
                    <a:pt x="871" y="957"/>
                  </a:lnTo>
                  <a:lnTo>
                    <a:pt x="871" y="955"/>
                  </a:lnTo>
                  <a:lnTo>
                    <a:pt x="871" y="955"/>
                  </a:lnTo>
                  <a:lnTo>
                    <a:pt x="873" y="953"/>
                  </a:lnTo>
                  <a:lnTo>
                    <a:pt x="873" y="951"/>
                  </a:lnTo>
                  <a:lnTo>
                    <a:pt x="873" y="951"/>
                  </a:lnTo>
                  <a:lnTo>
                    <a:pt x="873" y="949"/>
                  </a:lnTo>
                  <a:lnTo>
                    <a:pt x="864" y="945"/>
                  </a:lnTo>
                  <a:lnTo>
                    <a:pt x="862" y="945"/>
                  </a:lnTo>
                  <a:lnTo>
                    <a:pt x="860" y="941"/>
                  </a:lnTo>
                  <a:lnTo>
                    <a:pt x="860" y="941"/>
                  </a:lnTo>
                  <a:lnTo>
                    <a:pt x="860" y="939"/>
                  </a:lnTo>
                  <a:lnTo>
                    <a:pt x="860" y="937"/>
                  </a:lnTo>
                  <a:lnTo>
                    <a:pt x="860" y="935"/>
                  </a:lnTo>
                  <a:lnTo>
                    <a:pt x="860" y="935"/>
                  </a:lnTo>
                  <a:lnTo>
                    <a:pt x="858" y="937"/>
                  </a:lnTo>
                  <a:lnTo>
                    <a:pt x="858" y="937"/>
                  </a:lnTo>
                  <a:lnTo>
                    <a:pt x="856" y="935"/>
                  </a:lnTo>
                  <a:lnTo>
                    <a:pt x="854" y="937"/>
                  </a:lnTo>
                  <a:lnTo>
                    <a:pt x="852" y="935"/>
                  </a:lnTo>
                  <a:lnTo>
                    <a:pt x="850" y="935"/>
                  </a:lnTo>
                  <a:lnTo>
                    <a:pt x="848" y="930"/>
                  </a:lnTo>
                  <a:lnTo>
                    <a:pt x="850" y="930"/>
                  </a:lnTo>
                  <a:lnTo>
                    <a:pt x="850" y="930"/>
                  </a:lnTo>
                  <a:lnTo>
                    <a:pt x="850" y="930"/>
                  </a:lnTo>
                  <a:lnTo>
                    <a:pt x="850" y="930"/>
                  </a:lnTo>
                  <a:lnTo>
                    <a:pt x="850" y="932"/>
                  </a:lnTo>
                  <a:lnTo>
                    <a:pt x="852" y="932"/>
                  </a:lnTo>
                  <a:lnTo>
                    <a:pt x="852" y="932"/>
                  </a:lnTo>
                  <a:lnTo>
                    <a:pt x="852" y="932"/>
                  </a:lnTo>
                  <a:lnTo>
                    <a:pt x="854" y="932"/>
                  </a:lnTo>
                  <a:lnTo>
                    <a:pt x="854" y="932"/>
                  </a:lnTo>
                  <a:lnTo>
                    <a:pt x="854" y="932"/>
                  </a:lnTo>
                  <a:lnTo>
                    <a:pt x="854" y="930"/>
                  </a:lnTo>
                  <a:lnTo>
                    <a:pt x="856" y="930"/>
                  </a:lnTo>
                  <a:lnTo>
                    <a:pt x="862" y="930"/>
                  </a:lnTo>
                  <a:lnTo>
                    <a:pt x="864" y="930"/>
                  </a:lnTo>
                  <a:lnTo>
                    <a:pt x="864" y="930"/>
                  </a:lnTo>
                  <a:lnTo>
                    <a:pt x="864" y="932"/>
                  </a:lnTo>
                  <a:lnTo>
                    <a:pt x="864" y="932"/>
                  </a:lnTo>
                  <a:lnTo>
                    <a:pt x="864" y="932"/>
                  </a:lnTo>
                  <a:lnTo>
                    <a:pt x="866" y="932"/>
                  </a:lnTo>
                  <a:lnTo>
                    <a:pt x="871" y="930"/>
                  </a:lnTo>
                  <a:lnTo>
                    <a:pt x="873" y="930"/>
                  </a:lnTo>
                  <a:lnTo>
                    <a:pt x="875" y="930"/>
                  </a:lnTo>
                  <a:lnTo>
                    <a:pt x="875" y="932"/>
                  </a:lnTo>
                  <a:lnTo>
                    <a:pt x="877" y="932"/>
                  </a:lnTo>
                  <a:lnTo>
                    <a:pt x="877" y="935"/>
                  </a:lnTo>
                  <a:lnTo>
                    <a:pt x="875" y="935"/>
                  </a:lnTo>
                  <a:lnTo>
                    <a:pt x="875" y="937"/>
                  </a:lnTo>
                  <a:lnTo>
                    <a:pt x="879" y="937"/>
                  </a:lnTo>
                  <a:lnTo>
                    <a:pt x="881" y="935"/>
                  </a:lnTo>
                  <a:lnTo>
                    <a:pt x="887" y="924"/>
                  </a:lnTo>
                  <a:lnTo>
                    <a:pt x="891" y="918"/>
                  </a:lnTo>
                  <a:lnTo>
                    <a:pt x="891" y="918"/>
                  </a:lnTo>
                  <a:lnTo>
                    <a:pt x="891" y="918"/>
                  </a:lnTo>
                  <a:lnTo>
                    <a:pt x="891" y="918"/>
                  </a:lnTo>
                  <a:lnTo>
                    <a:pt x="891" y="918"/>
                  </a:lnTo>
                  <a:lnTo>
                    <a:pt x="893" y="914"/>
                  </a:lnTo>
                  <a:lnTo>
                    <a:pt x="893" y="914"/>
                  </a:lnTo>
                  <a:lnTo>
                    <a:pt x="895" y="912"/>
                  </a:lnTo>
                  <a:lnTo>
                    <a:pt x="895" y="912"/>
                  </a:lnTo>
                  <a:lnTo>
                    <a:pt x="895" y="912"/>
                  </a:lnTo>
                  <a:lnTo>
                    <a:pt x="895" y="910"/>
                  </a:lnTo>
                  <a:lnTo>
                    <a:pt x="895" y="906"/>
                  </a:lnTo>
                  <a:lnTo>
                    <a:pt x="895" y="904"/>
                  </a:lnTo>
                  <a:lnTo>
                    <a:pt x="893" y="904"/>
                  </a:lnTo>
                  <a:lnTo>
                    <a:pt x="893" y="904"/>
                  </a:lnTo>
                  <a:lnTo>
                    <a:pt x="893" y="904"/>
                  </a:lnTo>
                  <a:lnTo>
                    <a:pt x="893" y="904"/>
                  </a:lnTo>
                  <a:lnTo>
                    <a:pt x="893" y="904"/>
                  </a:lnTo>
                  <a:lnTo>
                    <a:pt x="893" y="906"/>
                  </a:lnTo>
                  <a:lnTo>
                    <a:pt x="891" y="908"/>
                  </a:lnTo>
                  <a:lnTo>
                    <a:pt x="887" y="910"/>
                  </a:lnTo>
                  <a:lnTo>
                    <a:pt x="887" y="910"/>
                  </a:lnTo>
                  <a:lnTo>
                    <a:pt x="887" y="912"/>
                  </a:lnTo>
                  <a:lnTo>
                    <a:pt x="885" y="914"/>
                  </a:lnTo>
                  <a:lnTo>
                    <a:pt x="885" y="914"/>
                  </a:lnTo>
                  <a:lnTo>
                    <a:pt x="885" y="916"/>
                  </a:lnTo>
                  <a:lnTo>
                    <a:pt x="883" y="916"/>
                  </a:lnTo>
                  <a:lnTo>
                    <a:pt x="883" y="916"/>
                  </a:lnTo>
                  <a:lnTo>
                    <a:pt x="883" y="914"/>
                  </a:lnTo>
                  <a:lnTo>
                    <a:pt x="883" y="914"/>
                  </a:lnTo>
                  <a:lnTo>
                    <a:pt x="883" y="912"/>
                  </a:lnTo>
                  <a:lnTo>
                    <a:pt x="881" y="910"/>
                  </a:lnTo>
                  <a:lnTo>
                    <a:pt x="879" y="910"/>
                  </a:lnTo>
                  <a:lnTo>
                    <a:pt x="877" y="910"/>
                  </a:lnTo>
                  <a:lnTo>
                    <a:pt x="877" y="910"/>
                  </a:lnTo>
                  <a:lnTo>
                    <a:pt x="879" y="906"/>
                  </a:lnTo>
                  <a:lnTo>
                    <a:pt x="883" y="902"/>
                  </a:lnTo>
                  <a:lnTo>
                    <a:pt x="881" y="902"/>
                  </a:lnTo>
                  <a:lnTo>
                    <a:pt x="881" y="902"/>
                  </a:lnTo>
                  <a:lnTo>
                    <a:pt x="881" y="900"/>
                  </a:lnTo>
                  <a:lnTo>
                    <a:pt x="881" y="900"/>
                  </a:lnTo>
                  <a:lnTo>
                    <a:pt x="883" y="900"/>
                  </a:lnTo>
                  <a:lnTo>
                    <a:pt x="883" y="900"/>
                  </a:lnTo>
                  <a:lnTo>
                    <a:pt x="885" y="900"/>
                  </a:lnTo>
                  <a:lnTo>
                    <a:pt x="883" y="902"/>
                  </a:lnTo>
                  <a:lnTo>
                    <a:pt x="887" y="900"/>
                  </a:lnTo>
                  <a:lnTo>
                    <a:pt x="891" y="898"/>
                  </a:lnTo>
                  <a:lnTo>
                    <a:pt x="893" y="896"/>
                  </a:lnTo>
                  <a:lnTo>
                    <a:pt x="895" y="894"/>
                  </a:lnTo>
                  <a:lnTo>
                    <a:pt x="895" y="894"/>
                  </a:lnTo>
                  <a:lnTo>
                    <a:pt x="895" y="896"/>
                  </a:lnTo>
                  <a:lnTo>
                    <a:pt x="895" y="900"/>
                  </a:lnTo>
                  <a:lnTo>
                    <a:pt x="897" y="900"/>
                  </a:lnTo>
                  <a:lnTo>
                    <a:pt x="895" y="900"/>
                  </a:lnTo>
                  <a:lnTo>
                    <a:pt x="895" y="902"/>
                  </a:lnTo>
                  <a:lnTo>
                    <a:pt x="895" y="902"/>
                  </a:lnTo>
                  <a:lnTo>
                    <a:pt x="895" y="902"/>
                  </a:lnTo>
                  <a:lnTo>
                    <a:pt x="899" y="902"/>
                  </a:lnTo>
                  <a:lnTo>
                    <a:pt x="899" y="902"/>
                  </a:lnTo>
                  <a:lnTo>
                    <a:pt x="901" y="900"/>
                  </a:lnTo>
                  <a:lnTo>
                    <a:pt x="901" y="898"/>
                  </a:lnTo>
                  <a:lnTo>
                    <a:pt x="901" y="896"/>
                  </a:lnTo>
                  <a:lnTo>
                    <a:pt x="901" y="894"/>
                  </a:lnTo>
                  <a:lnTo>
                    <a:pt x="901" y="894"/>
                  </a:lnTo>
                  <a:lnTo>
                    <a:pt x="903" y="889"/>
                  </a:lnTo>
                  <a:lnTo>
                    <a:pt x="903" y="887"/>
                  </a:lnTo>
                  <a:lnTo>
                    <a:pt x="905" y="887"/>
                  </a:lnTo>
                  <a:lnTo>
                    <a:pt x="905" y="889"/>
                  </a:lnTo>
                  <a:lnTo>
                    <a:pt x="905" y="891"/>
                  </a:lnTo>
                  <a:lnTo>
                    <a:pt x="903" y="894"/>
                  </a:lnTo>
                  <a:lnTo>
                    <a:pt x="905" y="896"/>
                  </a:lnTo>
                  <a:lnTo>
                    <a:pt x="903" y="898"/>
                  </a:lnTo>
                  <a:lnTo>
                    <a:pt x="903" y="900"/>
                  </a:lnTo>
                  <a:lnTo>
                    <a:pt x="901" y="904"/>
                  </a:lnTo>
                  <a:lnTo>
                    <a:pt x="903" y="902"/>
                  </a:lnTo>
                  <a:lnTo>
                    <a:pt x="907" y="902"/>
                  </a:lnTo>
                  <a:lnTo>
                    <a:pt x="907" y="900"/>
                  </a:lnTo>
                  <a:lnTo>
                    <a:pt x="911" y="896"/>
                  </a:lnTo>
                  <a:lnTo>
                    <a:pt x="914" y="894"/>
                  </a:lnTo>
                  <a:lnTo>
                    <a:pt x="916" y="891"/>
                  </a:lnTo>
                  <a:lnTo>
                    <a:pt x="918" y="889"/>
                  </a:lnTo>
                  <a:lnTo>
                    <a:pt x="916" y="885"/>
                  </a:lnTo>
                  <a:lnTo>
                    <a:pt x="916" y="883"/>
                  </a:lnTo>
                  <a:lnTo>
                    <a:pt x="918" y="881"/>
                  </a:lnTo>
                  <a:lnTo>
                    <a:pt x="918" y="879"/>
                  </a:lnTo>
                  <a:lnTo>
                    <a:pt x="916" y="877"/>
                  </a:lnTo>
                  <a:lnTo>
                    <a:pt x="914" y="875"/>
                  </a:lnTo>
                  <a:lnTo>
                    <a:pt x="911" y="871"/>
                  </a:lnTo>
                  <a:lnTo>
                    <a:pt x="911" y="869"/>
                  </a:lnTo>
                  <a:lnTo>
                    <a:pt x="914" y="871"/>
                  </a:lnTo>
                  <a:lnTo>
                    <a:pt x="916" y="871"/>
                  </a:lnTo>
                  <a:lnTo>
                    <a:pt x="918" y="873"/>
                  </a:lnTo>
                  <a:lnTo>
                    <a:pt x="918" y="871"/>
                  </a:lnTo>
                  <a:lnTo>
                    <a:pt x="918" y="871"/>
                  </a:lnTo>
                  <a:lnTo>
                    <a:pt x="918" y="869"/>
                  </a:lnTo>
                  <a:lnTo>
                    <a:pt x="916" y="867"/>
                  </a:lnTo>
                  <a:lnTo>
                    <a:pt x="914" y="867"/>
                  </a:lnTo>
                  <a:lnTo>
                    <a:pt x="914" y="867"/>
                  </a:lnTo>
                  <a:lnTo>
                    <a:pt x="914" y="865"/>
                  </a:lnTo>
                  <a:lnTo>
                    <a:pt x="916" y="865"/>
                  </a:lnTo>
                  <a:lnTo>
                    <a:pt x="916" y="865"/>
                  </a:lnTo>
                  <a:lnTo>
                    <a:pt x="916" y="865"/>
                  </a:lnTo>
                  <a:lnTo>
                    <a:pt x="918" y="867"/>
                  </a:lnTo>
                  <a:lnTo>
                    <a:pt x="918" y="869"/>
                  </a:lnTo>
                  <a:lnTo>
                    <a:pt x="920" y="869"/>
                  </a:lnTo>
                  <a:lnTo>
                    <a:pt x="920" y="869"/>
                  </a:lnTo>
                  <a:lnTo>
                    <a:pt x="920" y="869"/>
                  </a:lnTo>
                  <a:lnTo>
                    <a:pt x="920" y="871"/>
                  </a:lnTo>
                  <a:lnTo>
                    <a:pt x="920" y="871"/>
                  </a:lnTo>
                  <a:lnTo>
                    <a:pt x="922" y="871"/>
                  </a:lnTo>
                  <a:lnTo>
                    <a:pt x="924" y="873"/>
                  </a:lnTo>
                  <a:lnTo>
                    <a:pt x="924" y="873"/>
                  </a:lnTo>
                  <a:lnTo>
                    <a:pt x="924" y="873"/>
                  </a:lnTo>
                  <a:lnTo>
                    <a:pt x="924" y="877"/>
                  </a:lnTo>
                  <a:lnTo>
                    <a:pt x="926" y="879"/>
                  </a:lnTo>
                  <a:lnTo>
                    <a:pt x="926" y="881"/>
                  </a:lnTo>
                  <a:lnTo>
                    <a:pt x="928" y="879"/>
                  </a:lnTo>
                  <a:lnTo>
                    <a:pt x="930" y="881"/>
                  </a:lnTo>
                  <a:lnTo>
                    <a:pt x="940" y="875"/>
                  </a:lnTo>
                  <a:lnTo>
                    <a:pt x="940" y="875"/>
                  </a:lnTo>
                  <a:lnTo>
                    <a:pt x="944" y="873"/>
                  </a:lnTo>
                  <a:lnTo>
                    <a:pt x="946" y="871"/>
                  </a:lnTo>
                  <a:lnTo>
                    <a:pt x="952" y="869"/>
                  </a:lnTo>
                  <a:lnTo>
                    <a:pt x="952" y="865"/>
                  </a:lnTo>
                  <a:lnTo>
                    <a:pt x="950" y="863"/>
                  </a:lnTo>
                  <a:lnTo>
                    <a:pt x="946" y="863"/>
                  </a:lnTo>
                  <a:lnTo>
                    <a:pt x="942" y="863"/>
                  </a:lnTo>
                  <a:lnTo>
                    <a:pt x="942" y="863"/>
                  </a:lnTo>
                  <a:lnTo>
                    <a:pt x="940" y="865"/>
                  </a:lnTo>
                  <a:lnTo>
                    <a:pt x="938" y="865"/>
                  </a:lnTo>
                  <a:lnTo>
                    <a:pt x="938" y="863"/>
                  </a:lnTo>
                  <a:lnTo>
                    <a:pt x="938" y="863"/>
                  </a:lnTo>
                  <a:lnTo>
                    <a:pt x="944" y="861"/>
                  </a:lnTo>
                  <a:lnTo>
                    <a:pt x="942" y="859"/>
                  </a:lnTo>
                  <a:lnTo>
                    <a:pt x="942" y="857"/>
                  </a:lnTo>
                  <a:lnTo>
                    <a:pt x="942" y="857"/>
                  </a:lnTo>
                  <a:lnTo>
                    <a:pt x="942" y="857"/>
                  </a:lnTo>
                  <a:lnTo>
                    <a:pt x="940" y="855"/>
                  </a:lnTo>
                  <a:lnTo>
                    <a:pt x="936" y="853"/>
                  </a:lnTo>
                  <a:lnTo>
                    <a:pt x="936" y="853"/>
                  </a:lnTo>
                  <a:lnTo>
                    <a:pt x="934" y="855"/>
                  </a:lnTo>
                  <a:lnTo>
                    <a:pt x="934" y="855"/>
                  </a:lnTo>
                  <a:lnTo>
                    <a:pt x="932" y="853"/>
                  </a:lnTo>
                  <a:lnTo>
                    <a:pt x="932" y="853"/>
                  </a:lnTo>
                  <a:lnTo>
                    <a:pt x="934" y="850"/>
                  </a:lnTo>
                  <a:lnTo>
                    <a:pt x="934" y="848"/>
                  </a:lnTo>
                  <a:lnTo>
                    <a:pt x="932" y="848"/>
                  </a:lnTo>
                  <a:lnTo>
                    <a:pt x="932" y="846"/>
                  </a:lnTo>
                  <a:lnTo>
                    <a:pt x="930" y="842"/>
                  </a:lnTo>
                  <a:lnTo>
                    <a:pt x="928" y="842"/>
                  </a:lnTo>
                  <a:lnTo>
                    <a:pt x="928" y="840"/>
                  </a:lnTo>
                  <a:lnTo>
                    <a:pt x="928" y="836"/>
                  </a:lnTo>
                  <a:lnTo>
                    <a:pt x="930" y="838"/>
                  </a:lnTo>
                  <a:lnTo>
                    <a:pt x="930" y="838"/>
                  </a:lnTo>
                  <a:lnTo>
                    <a:pt x="930" y="838"/>
                  </a:lnTo>
                  <a:lnTo>
                    <a:pt x="932" y="838"/>
                  </a:lnTo>
                  <a:lnTo>
                    <a:pt x="932" y="838"/>
                  </a:lnTo>
                  <a:lnTo>
                    <a:pt x="934" y="838"/>
                  </a:lnTo>
                  <a:lnTo>
                    <a:pt x="936" y="838"/>
                  </a:lnTo>
                  <a:lnTo>
                    <a:pt x="936" y="840"/>
                  </a:lnTo>
                  <a:lnTo>
                    <a:pt x="936" y="840"/>
                  </a:lnTo>
                  <a:lnTo>
                    <a:pt x="936" y="840"/>
                  </a:lnTo>
                  <a:lnTo>
                    <a:pt x="936" y="842"/>
                  </a:lnTo>
                  <a:lnTo>
                    <a:pt x="936" y="844"/>
                  </a:lnTo>
                  <a:lnTo>
                    <a:pt x="936" y="844"/>
                  </a:lnTo>
                  <a:lnTo>
                    <a:pt x="938" y="844"/>
                  </a:lnTo>
                  <a:lnTo>
                    <a:pt x="938" y="846"/>
                  </a:lnTo>
                  <a:lnTo>
                    <a:pt x="938" y="846"/>
                  </a:lnTo>
                  <a:lnTo>
                    <a:pt x="940" y="846"/>
                  </a:lnTo>
                  <a:lnTo>
                    <a:pt x="940" y="846"/>
                  </a:lnTo>
                  <a:lnTo>
                    <a:pt x="940" y="846"/>
                  </a:lnTo>
                  <a:lnTo>
                    <a:pt x="942" y="846"/>
                  </a:lnTo>
                  <a:lnTo>
                    <a:pt x="942" y="846"/>
                  </a:lnTo>
                  <a:lnTo>
                    <a:pt x="944" y="846"/>
                  </a:lnTo>
                  <a:lnTo>
                    <a:pt x="944" y="848"/>
                  </a:lnTo>
                  <a:lnTo>
                    <a:pt x="948" y="846"/>
                  </a:lnTo>
                  <a:lnTo>
                    <a:pt x="948" y="848"/>
                  </a:lnTo>
                  <a:lnTo>
                    <a:pt x="948" y="850"/>
                  </a:lnTo>
                  <a:lnTo>
                    <a:pt x="946" y="850"/>
                  </a:lnTo>
                  <a:lnTo>
                    <a:pt x="944" y="850"/>
                  </a:lnTo>
                  <a:lnTo>
                    <a:pt x="944" y="853"/>
                  </a:lnTo>
                  <a:lnTo>
                    <a:pt x="946" y="853"/>
                  </a:lnTo>
                  <a:lnTo>
                    <a:pt x="950" y="850"/>
                  </a:lnTo>
                  <a:lnTo>
                    <a:pt x="955" y="846"/>
                  </a:lnTo>
                  <a:lnTo>
                    <a:pt x="952" y="846"/>
                  </a:lnTo>
                  <a:lnTo>
                    <a:pt x="950" y="846"/>
                  </a:lnTo>
                  <a:lnTo>
                    <a:pt x="950" y="844"/>
                  </a:lnTo>
                  <a:lnTo>
                    <a:pt x="950" y="842"/>
                  </a:lnTo>
                  <a:lnTo>
                    <a:pt x="950" y="842"/>
                  </a:lnTo>
                  <a:lnTo>
                    <a:pt x="950" y="842"/>
                  </a:lnTo>
                  <a:lnTo>
                    <a:pt x="950" y="840"/>
                  </a:lnTo>
                  <a:lnTo>
                    <a:pt x="950" y="840"/>
                  </a:lnTo>
                  <a:lnTo>
                    <a:pt x="952" y="840"/>
                  </a:lnTo>
                  <a:lnTo>
                    <a:pt x="952" y="838"/>
                  </a:lnTo>
                  <a:lnTo>
                    <a:pt x="952" y="838"/>
                  </a:lnTo>
                  <a:lnTo>
                    <a:pt x="952" y="838"/>
                  </a:lnTo>
                  <a:lnTo>
                    <a:pt x="950" y="838"/>
                  </a:lnTo>
                  <a:lnTo>
                    <a:pt x="950" y="838"/>
                  </a:lnTo>
                  <a:lnTo>
                    <a:pt x="950" y="838"/>
                  </a:lnTo>
                  <a:lnTo>
                    <a:pt x="948" y="838"/>
                  </a:lnTo>
                  <a:lnTo>
                    <a:pt x="948" y="836"/>
                  </a:lnTo>
                  <a:lnTo>
                    <a:pt x="948" y="834"/>
                  </a:lnTo>
                  <a:lnTo>
                    <a:pt x="948" y="832"/>
                  </a:lnTo>
                  <a:lnTo>
                    <a:pt x="948" y="832"/>
                  </a:lnTo>
                  <a:lnTo>
                    <a:pt x="948" y="834"/>
                  </a:lnTo>
                  <a:lnTo>
                    <a:pt x="950" y="836"/>
                  </a:lnTo>
                  <a:lnTo>
                    <a:pt x="950" y="836"/>
                  </a:lnTo>
                  <a:lnTo>
                    <a:pt x="952" y="836"/>
                  </a:lnTo>
                  <a:lnTo>
                    <a:pt x="952" y="834"/>
                  </a:lnTo>
                  <a:lnTo>
                    <a:pt x="955" y="836"/>
                  </a:lnTo>
                  <a:lnTo>
                    <a:pt x="955" y="838"/>
                  </a:lnTo>
                  <a:lnTo>
                    <a:pt x="955" y="840"/>
                  </a:lnTo>
                  <a:lnTo>
                    <a:pt x="952" y="840"/>
                  </a:lnTo>
                  <a:lnTo>
                    <a:pt x="955" y="842"/>
                  </a:lnTo>
                  <a:lnTo>
                    <a:pt x="957" y="844"/>
                  </a:lnTo>
                  <a:lnTo>
                    <a:pt x="957" y="844"/>
                  </a:lnTo>
                  <a:lnTo>
                    <a:pt x="957" y="846"/>
                  </a:lnTo>
                  <a:lnTo>
                    <a:pt x="957" y="846"/>
                  </a:lnTo>
                  <a:lnTo>
                    <a:pt x="959" y="846"/>
                  </a:lnTo>
                  <a:lnTo>
                    <a:pt x="961" y="844"/>
                  </a:lnTo>
                  <a:lnTo>
                    <a:pt x="963" y="840"/>
                  </a:lnTo>
                  <a:lnTo>
                    <a:pt x="965" y="840"/>
                  </a:lnTo>
                  <a:lnTo>
                    <a:pt x="965" y="842"/>
                  </a:lnTo>
                  <a:lnTo>
                    <a:pt x="967" y="840"/>
                  </a:lnTo>
                  <a:lnTo>
                    <a:pt x="969" y="840"/>
                  </a:lnTo>
                  <a:lnTo>
                    <a:pt x="969" y="840"/>
                  </a:lnTo>
                  <a:lnTo>
                    <a:pt x="971" y="840"/>
                  </a:lnTo>
                  <a:lnTo>
                    <a:pt x="973" y="840"/>
                  </a:lnTo>
                  <a:lnTo>
                    <a:pt x="971" y="840"/>
                  </a:lnTo>
                  <a:lnTo>
                    <a:pt x="969" y="844"/>
                  </a:lnTo>
                  <a:lnTo>
                    <a:pt x="969" y="846"/>
                  </a:lnTo>
                  <a:lnTo>
                    <a:pt x="969" y="846"/>
                  </a:lnTo>
                  <a:lnTo>
                    <a:pt x="971" y="846"/>
                  </a:lnTo>
                  <a:lnTo>
                    <a:pt x="973" y="846"/>
                  </a:lnTo>
                  <a:lnTo>
                    <a:pt x="975" y="846"/>
                  </a:lnTo>
                  <a:lnTo>
                    <a:pt x="975" y="846"/>
                  </a:lnTo>
                  <a:lnTo>
                    <a:pt x="977" y="846"/>
                  </a:lnTo>
                  <a:lnTo>
                    <a:pt x="977" y="846"/>
                  </a:lnTo>
                  <a:lnTo>
                    <a:pt x="977" y="846"/>
                  </a:lnTo>
                  <a:lnTo>
                    <a:pt x="975" y="848"/>
                  </a:lnTo>
                  <a:lnTo>
                    <a:pt x="971" y="848"/>
                  </a:lnTo>
                  <a:lnTo>
                    <a:pt x="969" y="848"/>
                  </a:lnTo>
                  <a:lnTo>
                    <a:pt x="969" y="850"/>
                  </a:lnTo>
                  <a:lnTo>
                    <a:pt x="971" y="850"/>
                  </a:lnTo>
                  <a:lnTo>
                    <a:pt x="975" y="850"/>
                  </a:lnTo>
                  <a:lnTo>
                    <a:pt x="981" y="846"/>
                  </a:lnTo>
                  <a:lnTo>
                    <a:pt x="983" y="846"/>
                  </a:lnTo>
                  <a:lnTo>
                    <a:pt x="983" y="846"/>
                  </a:lnTo>
                  <a:lnTo>
                    <a:pt x="987" y="844"/>
                  </a:lnTo>
                  <a:lnTo>
                    <a:pt x="989" y="842"/>
                  </a:lnTo>
                  <a:lnTo>
                    <a:pt x="991" y="844"/>
                  </a:lnTo>
                  <a:lnTo>
                    <a:pt x="991" y="846"/>
                  </a:lnTo>
                  <a:lnTo>
                    <a:pt x="991" y="846"/>
                  </a:lnTo>
                  <a:lnTo>
                    <a:pt x="991" y="848"/>
                  </a:lnTo>
                  <a:lnTo>
                    <a:pt x="989" y="848"/>
                  </a:lnTo>
                  <a:lnTo>
                    <a:pt x="975" y="857"/>
                  </a:lnTo>
                  <a:lnTo>
                    <a:pt x="973" y="859"/>
                  </a:lnTo>
                  <a:lnTo>
                    <a:pt x="971" y="861"/>
                  </a:lnTo>
                  <a:lnTo>
                    <a:pt x="973" y="861"/>
                  </a:lnTo>
                  <a:lnTo>
                    <a:pt x="979" y="857"/>
                  </a:lnTo>
                  <a:lnTo>
                    <a:pt x="985" y="855"/>
                  </a:lnTo>
                  <a:lnTo>
                    <a:pt x="989" y="848"/>
                  </a:lnTo>
                  <a:lnTo>
                    <a:pt x="1000" y="846"/>
                  </a:lnTo>
                  <a:lnTo>
                    <a:pt x="1006" y="842"/>
                  </a:lnTo>
                  <a:lnTo>
                    <a:pt x="1016" y="836"/>
                  </a:lnTo>
                  <a:lnTo>
                    <a:pt x="1014" y="836"/>
                  </a:lnTo>
                  <a:lnTo>
                    <a:pt x="1010" y="838"/>
                  </a:lnTo>
                  <a:lnTo>
                    <a:pt x="998" y="844"/>
                  </a:lnTo>
                  <a:lnTo>
                    <a:pt x="998" y="846"/>
                  </a:lnTo>
                  <a:lnTo>
                    <a:pt x="995" y="846"/>
                  </a:lnTo>
                  <a:lnTo>
                    <a:pt x="995" y="846"/>
                  </a:lnTo>
                  <a:lnTo>
                    <a:pt x="995" y="846"/>
                  </a:lnTo>
                  <a:lnTo>
                    <a:pt x="995" y="844"/>
                  </a:lnTo>
                  <a:lnTo>
                    <a:pt x="995" y="844"/>
                  </a:lnTo>
                  <a:lnTo>
                    <a:pt x="995" y="844"/>
                  </a:lnTo>
                  <a:lnTo>
                    <a:pt x="995" y="842"/>
                  </a:lnTo>
                  <a:lnTo>
                    <a:pt x="995" y="842"/>
                  </a:lnTo>
                  <a:lnTo>
                    <a:pt x="995" y="840"/>
                  </a:lnTo>
                  <a:lnTo>
                    <a:pt x="995" y="838"/>
                  </a:lnTo>
                  <a:lnTo>
                    <a:pt x="1008" y="834"/>
                  </a:lnTo>
                  <a:lnTo>
                    <a:pt x="1010" y="834"/>
                  </a:lnTo>
                  <a:lnTo>
                    <a:pt x="1016" y="834"/>
                  </a:lnTo>
                  <a:lnTo>
                    <a:pt x="1020" y="834"/>
                  </a:lnTo>
                  <a:lnTo>
                    <a:pt x="1024" y="832"/>
                  </a:lnTo>
                  <a:lnTo>
                    <a:pt x="1028" y="830"/>
                  </a:lnTo>
                  <a:lnTo>
                    <a:pt x="1038" y="822"/>
                  </a:lnTo>
                  <a:lnTo>
                    <a:pt x="1045" y="818"/>
                  </a:lnTo>
                  <a:lnTo>
                    <a:pt x="1047" y="816"/>
                  </a:lnTo>
                  <a:lnTo>
                    <a:pt x="1049" y="816"/>
                  </a:lnTo>
                  <a:lnTo>
                    <a:pt x="1049" y="816"/>
                  </a:lnTo>
                  <a:lnTo>
                    <a:pt x="1055" y="812"/>
                  </a:lnTo>
                  <a:lnTo>
                    <a:pt x="1059" y="805"/>
                  </a:lnTo>
                  <a:lnTo>
                    <a:pt x="1061" y="803"/>
                  </a:lnTo>
                  <a:lnTo>
                    <a:pt x="1067" y="797"/>
                  </a:lnTo>
                  <a:lnTo>
                    <a:pt x="1069" y="797"/>
                  </a:lnTo>
                  <a:lnTo>
                    <a:pt x="1069" y="795"/>
                  </a:lnTo>
                  <a:lnTo>
                    <a:pt x="1069" y="793"/>
                  </a:lnTo>
                  <a:lnTo>
                    <a:pt x="1067" y="789"/>
                  </a:lnTo>
                  <a:lnTo>
                    <a:pt x="1067" y="787"/>
                  </a:lnTo>
                  <a:lnTo>
                    <a:pt x="1069" y="783"/>
                  </a:lnTo>
                  <a:lnTo>
                    <a:pt x="1067" y="781"/>
                  </a:lnTo>
                  <a:lnTo>
                    <a:pt x="1067" y="781"/>
                  </a:lnTo>
                  <a:lnTo>
                    <a:pt x="1067" y="781"/>
                  </a:lnTo>
                  <a:lnTo>
                    <a:pt x="1069" y="781"/>
                  </a:lnTo>
                  <a:lnTo>
                    <a:pt x="1071" y="781"/>
                  </a:lnTo>
                  <a:lnTo>
                    <a:pt x="1071" y="783"/>
                  </a:lnTo>
                  <a:lnTo>
                    <a:pt x="1073" y="783"/>
                  </a:lnTo>
                  <a:lnTo>
                    <a:pt x="1075" y="781"/>
                  </a:lnTo>
                  <a:lnTo>
                    <a:pt x="1081" y="773"/>
                  </a:lnTo>
                  <a:lnTo>
                    <a:pt x="1081" y="773"/>
                  </a:lnTo>
                  <a:lnTo>
                    <a:pt x="1081" y="771"/>
                  </a:lnTo>
                  <a:lnTo>
                    <a:pt x="1081" y="771"/>
                  </a:lnTo>
                  <a:lnTo>
                    <a:pt x="1081" y="771"/>
                  </a:lnTo>
                  <a:lnTo>
                    <a:pt x="1084" y="771"/>
                  </a:lnTo>
                  <a:lnTo>
                    <a:pt x="1084" y="771"/>
                  </a:lnTo>
                  <a:lnTo>
                    <a:pt x="1086" y="771"/>
                  </a:lnTo>
                  <a:lnTo>
                    <a:pt x="1086" y="769"/>
                  </a:lnTo>
                  <a:lnTo>
                    <a:pt x="1086" y="766"/>
                  </a:lnTo>
                  <a:lnTo>
                    <a:pt x="1088" y="766"/>
                  </a:lnTo>
                  <a:lnTo>
                    <a:pt x="1088" y="769"/>
                  </a:lnTo>
                  <a:lnTo>
                    <a:pt x="1090" y="769"/>
                  </a:lnTo>
                  <a:lnTo>
                    <a:pt x="1092" y="764"/>
                  </a:lnTo>
                  <a:lnTo>
                    <a:pt x="1092" y="762"/>
                  </a:lnTo>
                  <a:lnTo>
                    <a:pt x="1092" y="760"/>
                  </a:lnTo>
                  <a:lnTo>
                    <a:pt x="1094" y="760"/>
                  </a:lnTo>
                  <a:lnTo>
                    <a:pt x="1096" y="760"/>
                  </a:lnTo>
                  <a:lnTo>
                    <a:pt x="1098" y="762"/>
                  </a:lnTo>
                  <a:lnTo>
                    <a:pt x="1098" y="760"/>
                  </a:lnTo>
                  <a:lnTo>
                    <a:pt x="1098" y="760"/>
                  </a:lnTo>
                  <a:lnTo>
                    <a:pt x="1098" y="760"/>
                  </a:lnTo>
                  <a:lnTo>
                    <a:pt x="1098" y="760"/>
                  </a:lnTo>
                  <a:lnTo>
                    <a:pt x="1094" y="758"/>
                  </a:lnTo>
                  <a:lnTo>
                    <a:pt x="1092" y="758"/>
                  </a:lnTo>
                  <a:lnTo>
                    <a:pt x="1092" y="758"/>
                  </a:lnTo>
                  <a:lnTo>
                    <a:pt x="1090" y="754"/>
                  </a:lnTo>
                  <a:lnTo>
                    <a:pt x="1090" y="754"/>
                  </a:lnTo>
                  <a:lnTo>
                    <a:pt x="1090" y="754"/>
                  </a:lnTo>
                  <a:lnTo>
                    <a:pt x="1090" y="754"/>
                  </a:lnTo>
                  <a:lnTo>
                    <a:pt x="1088" y="754"/>
                  </a:lnTo>
                  <a:lnTo>
                    <a:pt x="1088" y="754"/>
                  </a:lnTo>
                  <a:lnTo>
                    <a:pt x="1088" y="754"/>
                  </a:lnTo>
                  <a:lnTo>
                    <a:pt x="1090" y="756"/>
                  </a:lnTo>
                  <a:lnTo>
                    <a:pt x="1090" y="756"/>
                  </a:lnTo>
                  <a:lnTo>
                    <a:pt x="1088" y="756"/>
                  </a:lnTo>
                  <a:lnTo>
                    <a:pt x="1086" y="754"/>
                  </a:lnTo>
                  <a:lnTo>
                    <a:pt x="1086" y="752"/>
                  </a:lnTo>
                  <a:lnTo>
                    <a:pt x="1084" y="752"/>
                  </a:lnTo>
                  <a:lnTo>
                    <a:pt x="1084" y="752"/>
                  </a:lnTo>
                  <a:lnTo>
                    <a:pt x="1086" y="750"/>
                  </a:lnTo>
                  <a:lnTo>
                    <a:pt x="1088" y="750"/>
                  </a:lnTo>
                  <a:lnTo>
                    <a:pt x="1088" y="748"/>
                  </a:lnTo>
                  <a:lnTo>
                    <a:pt x="1088" y="748"/>
                  </a:lnTo>
                  <a:lnTo>
                    <a:pt x="1081" y="746"/>
                  </a:lnTo>
                  <a:lnTo>
                    <a:pt x="1077" y="744"/>
                  </a:lnTo>
                  <a:lnTo>
                    <a:pt x="1079" y="740"/>
                  </a:lnTo>
                  <a:lnTo>
                    <a:pt x="1079" y="740"/>
                  </a:lnTo>
                  <a:lnTo>
                    <a:pt x="1081" y="738"/>
                  </a:lnTo>
                  <a:lnTo>
                    <a:pt x="1081" y="736"/>
                  </a:lnTo>
                  <a:lnTo>
                    <a:pt x="1079" y="734"/>
                  </a:lnTo>
                  <a:lnTo>
                    <a:pt x="1077" y="732"/>
                  </a:lnTo>
                  <a:lnTo>
                    <a:pt x="1077" y="730"/>
                  </a:lnTo>
                  <a:lnTo>
                    <a:pt x="1079" y="730"/>
                  </a:lnTo>
                  <a:lnTo>
                    <a:pt x="1079" y="728"/>
                  </a:lnTo>
                  <a:lnTo>
                    <a:pt x="1079" y="728"/>
                  </a:lnTo>
                  <a:lnTo>
                    <a:pt x="1077" y="728"/>
                  </a:lnTo>
                  <a:lnTo>
                    <a:pt x="1077" y="728"/>
                  </a:lnTo>
                  <a:lnTo>
                    <a:pt x="1075" y="728"/>
                  </a:lnTo>
                  <a:lnTo>
                    <a:pt x="1075" y="728"/>
                  </a:lnTo>
                  <a:lnTo>
                    <a:pt x="1073" y="725"/>
                  </a:lnTo>
                  <a:lnTo>
                    <a:pt x="1073" y="725"/>
                  </a:lnTo>
                  <a:lnTo>
                    <a:pt x="1079" y="725"/>
                  </a:lnTo>
                  <a:lnTo>
                    <a:pt x="1084" y="725"/>
                  </a:lnTo>
                  <a:lnTo>
                    <a:pt x="1086" y="730"/>
                  </a:lnTo>
                  <a:lnTo>
                    <a:pt x="1090" y="730"/>
                  </a:lnTo>
                  <a:lnTo>
                    <a:pt x="1092" y="728"/>
                  </a:lnTo>
                  <a:lnTo>
                    <a:pt x="1094" y="723"/>
                  </a:lnTo>
                  <a:lnTo>
                    <a:pt x="1094" y="721"/>
                  </a:lnTo>
                  <a:lnTo>
                    <a:pt x="1094" y="719"/>
                  </a:lnTo>
                  <a:lnTo>
                    <a:pt x="1096" y="719"/>
                  </a:lnTo>
                  <a:lnTo>
                    <a:pt x="1100" y="717"/>
                  </a:lnTo>
                  <a:lnTo>
                    <a:pt x="1102" y="715"/>
                  </a:lnTo>
                  <a:lnTo>
                    <a:pt x="1102" y="715"/>
                  </a:lnTo>
                  <a:lnTo>
                    <a:pt x="1104" y="715"/>
                  </a:lnTo>
                  <a:lnTo>
                    <a:pt x="1104" y="717"/>
                  </a:lnTo>
                  <a:lnTo>
                    <a:pt x="1104" y="719"/>
                  </a:lnTo>
                  <a:lnTo>
                    <a:pt x="1106" y="719"/>
                  </a:lnTo>
                  <a:lnTo>
                    <a:pt x="1106" y="719"/>
                  </a:lnTo>
                  <a:lnTo>
                    <a:pt x="1106" y="721"/>
                  </a:lnTo>
                  <a:lnTo>
                    <a:pt x="1108" y="723"/>
                  </a:lnTo>
                  <a:lnTo>
                    <a:pt x="1106" y="725"/>
                  </a:lnTo>
                  <a:lnTo>
                    <a:pt x="1106" y="732"/>
                  </a:lnTo>
                  <a:lnTo>
                    <a:pt x="1104" y="736"/>
                  </a:lnTo>
                  <a:lnTo>
                    <a:pt x="1104" y="738"/>
                  </a:lnTo>
                  <a:lnTo>
                    <a:pt x="1102" y="740"/>
                  </a:lnTo>
                  <a:lnTo>
                    <a:pt x="1102" y="740"/>
                  </a:lnTo>
                  <a:lnTo>
                    <a:pt x="1100" y="742"/>
                  </a:lnTo>
                  <a:lnTo>
                    <a:pt x="1098" y="742"/>
                  </a:lnTo>
                  <a:lnTo>
                    <a:pt x="1098" y="742"/>
                  </a:lnTo>
                  <a:lnTo>
                    <a:pt x="1100" y="744"/>
                  </a:lnTo>
                  <a:lnTo>
                    <a:pt x="1100" y="744"/>
                  </a:lnTo>
                  <a:lnTo>
                    <a:pt x="1102" y="744"/>
                  </a:lnTo>
                  <a:lnTo>
                    <a:pt x="1106" y="742"/>
                  </a:lnTo>
                  <a:lnTo>
                    <a:pt x="1120" y="738"/>
                  </a:lnTo>
                  <a:lnTo>
                    <a:pt x="1122" y="738"/>
                  </a:lnTo>
                  <a:lnTo>
                    <a:pt x="1122" y="738"/>
                  </a:lnTo>
                  <a:lnTo>
                    <a:pt x="1124" y="740"/>
                  </a:lnTo>
                  <a:lnTo>
                    <a:pt x="1127" y="740"/>
                  </a:lnTo>
                  <a:lnTo>
                    <a:pt x="1129" y="740"/>
                  </a:lnTo>
                  <a:lnTo>
                    <a:pt x="1129" y="738"/>
                  </a:lnTo>
                  <a:lnTo>
                    <a:pt x="1129" y="740"/>
                  </a:lnTo>
                  <a:lnTo>
                    <a:pt x="1129" y="742"/>
                  </a:lnTo>
                  <a:lnTo>
                    <a:pt x="1127" y="744"/>
                  </a:lnTo>
                  <a:lnTo>
                    <a:pt x="1127" y="744"/>
                  </a:lnTo>
                  <a:lnTo>
                    <a:pt x="1120" y="744"/>
                  </a:lnTo>
                  <a:lnTo>
                    <a:pt x="1120" y="744"/>
                  </a:lnTo>
                  <a:lnTo>
                    <a:pt x="1118" y="744"/>
                  </a:lnTo>
                  <a:lnTo>
                    <a:pt x="1116" y="748"/>
                  </a:lnTo>
                  <a:lnTo>
                    <a:pt x="1116" y="748"/>
                  </a:lnTo>
                  <a:lnTo>
                    <a:pt x="1114" y="748"/>
                  </a:lnTo>
                  <a:lnTo>
                    <a:pt x="1114" y="748"/>
                  </a:lnTo>
                  <a:lnTo>
                    <a:pt x="1112" y="750"/>
                  </a:lnTo>
                  <a:lnTo>
                    <a:pt x="1110" y="750"/>
                  </a:lnTo>
                  <a:lnTo>
                    <a:pt x="1102" y="758"/>
                  </a:lnTo>
                  <a:lnTo>
                    <a:pt x="1102" y="760"/>
                  </a:lnTo>
                  <a:lnTo>
                    <a:pt x="1102" y="760"/>
                  </a:lnTo>
                  <a:lnTo>
                    <a:pt x="1104" y="762"/>
                  </a:lnTo>
                  <a:lnTo>
                    <a:pt x="1106" y="760"/>
                  </a:lnTo>
                  <a:lnTo>
                    <a:pt x="1110" y="754"/>
                  </a:lnTo>
                  <a:lnTo>
                    <a:pt x="1114" y="752"/>
                  </a:lnTo>
                  <a:lnTo>
                    <a:pt x="1143" y="736"/>
                  </a:lnTo>
                  <a:lnTo>
                    <a:pt x="1153" y="732"/>
                  </a:lnTo>
                  <a:lnTo>
                    <a:pt x="1161" y="728"/>
                  </a:lnTo>
                  <a:lnTo>
                    <a:pt x="1163" y="725"/>
                  </a:lnTo>
                  <a:lnTo>
                    <a:pt x="1168" y="723"/>
                  </a:lnTo>
                  <a:lnTo>
                    <a:pt x="1170" y="723"/>
                  </a:lnTo>
                  <a:lnTo>
                    <a:pt x="1182" y="723"/>
                  </a:lnTo>
                  <a:lnTo>
                    <a:pt x="1184" y="723"/>
                  </a:lnTo>
                  <a:lnTo>
                    <a:pt x="1186" y="723"/>
                  </a:lnTo>
                  <a:lnTo>
                    <a:pt x="1186" y="721"/>
                  </a:lnTo>
                  <a:lnTo>
                    <a:pt x="1186" y="719"/>
                  </a:lnTo>
                  <a:lnTo>
                    <a:pt x="1180" y="713"/>
                  </a:lnTo>
                  <a:lnTo>
                    <a:pt x="1178" y="709"/>
                  </a:lnTo>
                  <a:lnTo>
                    <a:pt x="1178" y="705"/>
                  </a:lnTo>
                  <a:lnTo>
                    <a:pt x="1184" y="695"/>
                  </a:lnTo>
                  <a:lnTo>
                    <a:pt x="1186" y="693"/>
                  </a:lnTo>
                  <a:lnTo>
                    <a:pt x="1186" y="691"/>
                  </a:lnTo>
                  <a:lnTo>
                    <a:pt x="1186" y="689"/>
                  </a:lnTo>
                  <a:lnTo>
                    <a:pt x="1190" y="689"/>
                  </a:lnTo>
                  <a:lnTo>
                    <a:pt x="1190" y="689"/>
                  </a:lnTo>
                  <a:lnTo>
                    <a:pt x="1190" y="689"/>
                  </a:lnTo>
                  <a:lnTo>
                    <a:pt x="1192" y="687"/>
                  </a:lnTo>
                  <a:lnTo>
                    <a:pt x="1198" y="680"/>
                  </a:lnTo>
                  <a:lnTo>
                    <a:pt x="1196" y="678"/>
                  </a:lnTo>
                  <a:lnTo>
                    <a:pt x="1196" y="676"/>
                  </a:lnTo>
                  <a:lnTo>
                    <a:pt x="1198" y="674"/>
                  </a:lnTo>
                  <a:lnTo>
                    <a:pt x="1198" y="672"/>
                  </a:lnTo>
                  <a:lnTo>
                    <a:pt x="1198" y="670"/>
                  </a:lnTo>
                  <a:lnTo>
                    <a:pt x="1198" y="670"/>
                  </a:lnTo>
                  <a:lnTo>
                    <a:pt x="1198" y="668"/>
                  </a:lnTo>
                  <a:lnTo>
                    <a:pt x="1198" y="666"/>
                  </a:lnTo>
                  <a:lnTo>
                    <a:pt x="1196" y="664"/>
                  </a:lnTo>
                  <a:lnTo>
                    <a:pt x="1196" y="664"/>
                  </a:lnTo>
                  <a:lnTo>
                    <a:pt x="1196" y="662"/>
                  </a:lnTo>
                  <a:lnTo>
                    <a:pt x="1196" y="660"/>
                  </a:lnTo>
                  <a:lnTo>
                    <a:pt x="1198" y="660"/>
                  </a:lnTo>
                  <a:lnTo>
                    <a:pt x="1196" y="658"/>
                  </a:lnTo>
                  <a:lnTo>
                    <a:pt x="1196" y="656"/>
                  </a:lnTo>
                  <a:lnTo>
                    <a:pt x="1194" y="654"/>
                  </a:lnTo>
                  <a:lnTo>
                    <a:pt x="1192" y="652"/>
                  </a:lnTo>
                  <a:lnTo>
                    <a:pt x="1192" y="648"/>
                  </a:lnTo>
                  <a:lnTo>
                    <a:pt x="1192" y="646"/>
                  </a:lnTo>
                  <a:lnTo>
                    <a:pt x="1194" y="644"/>
                  </a:lnTo>
                  <a:lnTo>
                    <a:pt x="1196" y="641"/>
                  </a:lnTo>
                  <a:lnTo>
                    <a:pt x="1196" y="639"/>
                  </a:lnTo>
                  <a:lnTo>
                    <a:pt x="1196" y="637"/>
                  </a:lnTo>
                  <a:lnTo>
                    <a:pt x="1196" y="635"/>
                  </a:lnTo>
                  <a:lnTo>
                    <a:pt x="1194" y="633"/>
                  </a:lnTo>
                  <a:lnTo>
                    <a:pt x="1194" y="633"/>
                  </a:lnTo>
                  <a:lnTo>
                    <a:pt x="1194" y="631"/>
                  </a:lnTo>
                  <a:lnTo>
                    <a:pt x="1194" y="629"/>
                  </a:lnTo>
                  <a:lnTo>
                    <a:pt x="1194" y="629"/>
                  </a:lnTo>
                  <a:lnTo>
                    <a:pt x="1194" y="629"/>
                  </a:lnTo>
                  <a:lnTo>
                    <a:pt x="1194" y="627"/>
                  </a:lnTo>
                  <a:lnTo>
                    <a:pt x="1194" y="625"/>
                  </a:lnTo>
                  <a:lnTo>
                    <a:pt x="1196" y="623"/>
                  </a:lnTo>
                  <a:lnTo>
                    <a:pt x="1198" y="623"/>
                  </a:lnTo>
                  <a:lnTo>
                    <a:pt x="1198" y="621"/>
                  </a:lnTo>
                  <a:lnTo>
                    <a:pt x="1198" y="617"/>
                  </a:lnTo>
                  <a:lnTo>
                    <a:pt x="1198" y="615"/>
                  </a:lnTo>
                  <a:lnTo>
                    <a:pt x="1202" y="613"/>
                  </a:lnTo>
                  <a:lnTo>
                    <a:pt x="1202" y="611"/>
                  </a:lnTo>
                  <a:lnTo>
                    <a:pt x="1204" y="605"/>
                  </a:lnTo>
                  <a:lnTo>
                    <a:pt x="1206" y="598"/>
                  </a:lnTo>
                  <a:lnTo>
                    <a:pt x="1206" y="596"/>
                  </a:lnTo>
                  <a:lnTo>
                    <a:pt x="1206" y="596"/>
                  </a:lnTo>
                  <a:lnTo>
                    <a:pt x="1206" y="594"/>
                  </a:lnTo>
                  <a:lnTo>
                    <a:pt x="1206" y="594"/>
                  </a:lnTo>
                  <a:lnTo>
                    <a:pt x="1206" y="592"/>
                  </a:lnTo>
                  <a:lnTo>
                    <a:pt x="1206" y="590"/>
                  </a:lnTo>
                  <a:lnTo>
                    <a:pt x="1206" y="590"/>
                  </a:lnTo>
                  <a:lnTo>
                    <a:pt x="1206" y="588"/>
                  </a:lnTo>
                  <a:lnTo>
                    <a:pt x="1208" y="586"/>
                  </a:lnTo>
                  <a:lnTo>
                    <a:pt x="1208" y="586"/>
                  </a:lnTo>
                  <a:lnTo>
                    <a:pt x="1208" y="586"/>
                  </a:lnTo>
                  <a:lnTo>
                    <a:pt x="1208" y="584"/>
                  </a:lnTo>
                  <a:lnTo>
                    <a:pt x="1208" y="584"/>
                  </a:lnTo>
                  <a:lnTo>
                    <a:pt x="1206" y="582"/>
                  </a:lnTo>
                  <a:lnTo>
                    <a:pt x="1204" y="578"/>
                  </a:lnTo>
                  <a:lnTo>
                    <a:pt x="1206" y="578"/>
                  </a:lnTo>
                  <a:lnTo>
                    <a:pt x="1206" y="578"/>
                  </a:lnTo>
                  <a:lnTo>
                    <a:pt x="1211" y="576"/>
                  </a:lnTo>
                  <a:lnTo>
                    <a:pt x="1211" y="576"/>
                  </a:lnTo>
                  <a:lnTo>
                    <a:pt x="1211" y="574"/>
                  </a:lnTo>
                  <a:lnTo>
                    <a:pt x="1211" y="574"/>
                  </a:lnTo>
                  <a:close/>
                </a:path>
              </a:pathLst>
            </a:custGeom>
            <a:solidFill>
              <a:schemeClr val="accent1"/>
            </a:solidFill>
            <a:ln w="3175" cap="rnd">
              <a:no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TX</a:t>
              </a:r>
            </a:p>
          </p:txBody>
        </p:sp>
        <p:sp>
          <p:nvSpPr>
            <p:cNvPr id="146" name="Freeform 13">
              <a:extLst>
                <a:ext uri="{FF2B5EF4-FFF2-40B4-BE49-F238E27FC236}">
                  <a16:creationId xmlns:a16="http://schemas.microsoft.com/office/drawing/2014/main" id="{A23F865B-5464-00CB-157A-A7F0E559B4D6}"/>
                </a:ext>
              </a:extLst>
            </p:cNvPr>
            <p:cNvSpPr>
              <a:spLocks/>
            </p:cNvSpPr>
            <p:nvPr/>
          </p:nvSpPr>
          <p:spPr bwMode="auto">
            <a:xfrm>
              <a:off x="3590" y="1353"/>
              <a:ext cx="733" cy="268"/>
            </a:xfrm>
            <a:custGeom>
              <a:avLst/>
              <a:gdLst>
                <a:gd name="T0" fmla="*/ 622 w 733"/>
                <a:gd name="T1" fmla="*/ 20 h 268"/>
                <a:gd name="T2" fmla="*/ 694 w 733"/>
                <a:gd name="T3" fmla="*/ 8 h 268"/>
                <a:gd name="T4" fmla="*/ 725 w 733"/>
                <a:gd name="T5" fmla="*/ 2 h 268"/>
                <a:gd name="T6" fmla="*/ 729 w 733"/>
                <a:gd name="T7" fmla="*/ 22 h 268"/>
                <a:gd name="T8" fmla="*/ 733 w 733"/>
                <a:gd name="T9" fmla="*/ 30 h 268"/>
                <a:gd name="T10" fmla="*/ 714 w 733"/>
                <a:gd name="T11" fmla="*/ 39 h 268"/>
                <a:gd name="T12" fmla="*/ 704 w 733"/>
                <a:gd name="T13" fmla="*/ 61 h 268"/>
                <a:gd name="T14" fmla="*/ 700 w 733"/>
                <a:gd name="T15" fmla="*/ 59 h 268"/>
                <a:gd name="T16" fmla="*/ 696 w 733"/>
                <a:gd name="T17" fmla="*/ 57 h 268"/>
                <a:gd name="T18" fmla="*/ 690 w 733"/>
                <a:gd name="T19" fmla="*/ 59 h 268"/>
                <a:gd name="T20" fmla="*/ 677 w 733"/>
                <a:gd name="T21" fmla="*/ 65 h 268"/>
                <a:gd name="T22" fmla="*/ 671 w 733"/>
                <a:gd name="T23" fmla="*/ 77 h 268"/>
                <a:gd name="T24" fmla="*/ 663 w 733"/>
                <a:gd name="T25" fmla="*/ 82 h 268"/>
                <a:gd name="T26" fmla="*/ 661 w 733"/>
                <a:gd name="T27" fmla="*/ 75 h 268"/>
                <a:gd name="T28" fmla="*/ 655 w 733"/>
                <a:gd name="T29" fmla="*/ 75 h 268"/>
                <a:gd name="T30" fmla="*/ 647 w 733"/>
                <a:gd name="T31" fmla="*/ 84 h 268"/>
                <a:gd name="T32" fmla="*/ 643 w 733"/>
                <a:gd name="T33" fmla="*/ 88 h 268"/>
                <a:gd name="T34" fmla="*/ 634 w 733"/>
                <a:gd name="T35" fmla="*/ 90 h 268"/>
                <a:gd name="T36" fmla="*/ 637 w 733"/>
                <a:gd name="T37" fmla="*/ 94 h 268"/>
                <a:gd name="T38" fmla="*/ 632 w 733"/>
                <a:gd name="T39" fmla="*/ 106 h 268"/>
                <a:gd name="T40" fmla="*/ 620 w 733"/>
                <a:gd name="T41" fmla="*/ 110 h 268"/>
                <a:gd name="T42" fmla="*/ 610 w 733"/>
                <a:gd name="T43" fmla="*/ 118 h 268"/>
                <a:gd name="T44" fmla="*/ 604 w 733"/>
                <a:gd name="T45" fmla="*/ 125 h 268"/>
                <a:gd name="T46" fmla="*/ 594 w 733"/>
                <a:gd name="T47" fmla="*/ 133 h 268"/>
                <a:gd name="T48" fmla="*/ 583 w 733"/>
                <a:gd name="T49" fmla="*/ 137 h 268"/>
                <a:gd name="T50" fmla="*/ 577 w 733"/>
                <a:gd name="T51" fmla="*/ 139 h 268"/>
                <a:gd name="T52" fmla="*/ 569 w 733"/>
                <a:gd name="T53" fmla="*/ 141 h 268"/>
                <a:gd name="T54" fmla="*/ 557 w 733"/>
                <a:gd name="T55" fmla="*/ 147 h 268"/>
                <a:gd name="T56" fmla="*/ 551 w 733"/>
                <a:gd name="T57" fmla="*/ 155 h 268"/>
                <a:gd name="T58" fmla="*/ 548 w 733"/>
                <a:gd name="T59" fmla="*/ 164 h 268"/>
                <a:gd name="T60" fmla="*/ 546 w 733"/>
                <a:gd name="T61" fmla="*/ 174 h 268"/>
                <a:gd name="T62" fmla="*/ 534 w 733"/>
                <a:gd name="T63" fmla="*/ 180 h 268"/>
                <a:gd name="T64" fmla="*/ 530 w 733"/>
                <a:gd name="T65" fmla="*/ 180 h 268"/>
                <a:gd name="T66" fmla="*/ 526 w 733"/>
                <a:gd name="T67" fmla="*/ 192 h 268"/>
                <a:gd name="T68" fmla="*/ 501 w 733"/>
                <a:gd name="T69" fmla="*/ 211 h 268"/>
                <a:gd name="T70" fmla="*/ 413 w 733"/>
                <a:gd name="T71" fmla="*/ 223 h 268"/>
                <a:gd name="T72" fmla="*/ 303 w 733"/>
                <a:gd name="T73" fmla="*/ 235 h 268"/>
                <a:gd name="T74" fmla="*/ 190 w 733"/>
                <a:gd name="T75" fmla="*/ 248 h 268"/>
                <a:gd name="T76" fmla="*/ 149 w 733"/>
                <a:gd name="T77" fmla="*/ 254 h 268"/>
                <a:gd name="T78" fmla="*/ 57 w 733"/>
                <a:gd name="T79" fmla="*/ 264 h 268"/>
                <a:gd name="T80" fmla="*/ 2 w 733"/>
                <a:gd name="T81" fmla="*/ 266 h 268"/>
                <a:gd name="T82" fmla="*/ 12 w 733"/>
                <a:gd name="T83" fmla="*/ 254 h 268"/>
                <a:gd name="T84" fmla="*/ 14 w 733"/>
                <a:gd name="T85" fmla="*/ 229 h 268"/>
                <a:gd name="T86" fmla="*/ 22 w 733"/>
                <a:gd name="T87" fmla="*/ 211 h 268"/>
                <a:gd name="T88" fmla="*/ 26 w 733"/>
                <a:gd name="T89" fmla="*/ 200 h 268"/>
                <a:gd name="T90" fmla="*/ 26 w 733"/>
                <a:gd name="T91" fmla="*/ 186 h 268"/>
                <a:gd name="T92" fmla="*/ 41 w 733"/>
                <a:gd name="T93" fmla="*/ 166 h 268"/>
                <a:gd name="T94" fmla="*/ 43 w 733"/>
                <a:gd name="T95" fmla="*/ 155 h 268"/>
                <a:gd name="T96" fmla="*/ 51 w 733"/>
                <a:gd name="T97" fmla="*/ 141 h 268"/>
                <a:gd name="T98" fmla="*/ 53 w 733"/>
                <a:gd name="T99" fmla="*/ 125 h 268"/>
                <a:gd name="T100" fmla="*/ 55 w 733"/>
                <a:gd name="T101" fmla="*/ 116 h 268"/>
                <a:gd name="T102" fmla="*/ 57 w 733"/>
                <a:gd name="T103" fmla="*/ 100 h 268"/>
                <a:gd name="T104" fmla="*/ 63 w 733"/>
                <a:gd name="T105" fmla="*/ 100 h 268"/>
                <a:gd name="T106" fmla="*/ 182 w 733"/>
                <a:gd name="T107" fmla="*/ 88 h 268"/>
                <a:gd name="T108" fmla="*/ 178 w 733"/>
                <a:gd name="T109" fmla="*/ 67 h 268"/>
                <a:gd name="T110" fmla="*/ 198 w 733"/>
                <a:gd name="T111" fmla="*/ 71 h 268"/>
                <a:gd name="T112" fmla="*/ 227 w 733"/>
                <a:gd name="T113" fmla="*/ 67 h 268"/>
                <a:gd name="T114" fmla="*/ 297 w 733"/>
                <a:gd name="T115" fmla="*/ 59 h 268"/>
                <a:gd name="T116" fmla="*/ 319 w 733"/>
                <a:gd name="T117" fmla="*/ 55 h 268"/>
                <a:gd name="T118" fmla="*/ 456 w 733"/>
                <a:gd name="T119" fmla="*/ 43 h 268"/>
                <a:gd name="T120" fmla="*/ 555 w 733"/>
                <a:gd name="T121" fmla="*/ 3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3" h="268">
                  <a:moveTo>
                    <a:pt x="559" y="28"/>
                  </a:moveTo>
                  <a:lnTo>
                    <a:pt x="569" y="26"/>
                  </a:lnTo>
                  <a:lnTo>
                    <a:pt x="577" y="26"/>
                  </a:lnTo>
                  <a:lnTo>
                    <a:pt x="585" y="24"/>
                  </a:lnTo>
                  <a:lnTo>
                    <a:pt x="596" y="22"/>
                  </a:lnTo>
                  <a:lnTo>
                    <a:pt x="604" y="22"/>
                  </a:lnTo>
                  <a:lnTo>
                    <a:pt x="614" y="20"/>
                  </a:lnTo>
                  <a:lnTo>
                    <a:pt x="622" y="20"/>
                  </a:lnTo>
                  <a:lnTo>
                    <a:pt x="630" y="18"/>
                  </a:lnTo>
                  <a:lnTo>
                    <a:pt x="641" y="16"/>
                  </a:lnTo>
                  <a:lnTo>
                    <a:pt x="649" y="16"/>
                  </a:lnTo>
                  <a:lnTo>
                    <a:pt x="659" y="14"/>
                  </a:lnTo>
                  <a:lnTo>
                    <a:pt x="667" y="12"/>
                  </a:lnTo>
                  <a:lnTo>
                    <a:pt x="675" y="10"/>
                  </a:lnTo>
                  <a:lnTo>
                    <a:pt x="686" y="10"/>
                  </a:lnTo>
                  <a:lnTo>
                    <a:pt x="694" y="8"/>
                  </a:lnTo>
                  <a:lnTo>
                    <a:pt x="702" y="6"/>
                  </a:lnTo>
                  <a:lnTo>
                    <a:pt x="706" y="6"/>
                  </a:lnTo>
                  <a:lnTo>
                    <a:pt x="708" y="6"/>
                  </a:lnTo>
                  <a:lnTo>
                    <a:pt x="710" y="4"/>
                  </a:lnTo>
                  <a:lnTo>
                    <a:pt x="710" y="4"/>
                  </a:lnTo>
                  <a:lnTo>
                    <a:pt x="710" y="4"/>
                  </a:lnTo>
                  <a:lnTo>
                    <a:pt x="716" y="2"/>
                  </a:lnTo>
                  <a:lnTo>
                    <a:pt x="725" y="2"/>
                  </a:lnTo>
                  <a:lnTo>
                    <a:pt x="733" y="0"/>
                  </a:lnTo>
                  <a:lnTo>
                    <a:pt x="729" y="8"/>
                  </a:lnTo>
                  <a:lnTo>
                    <a:pt x="729" y="10"/>
                  </a:lnTo>
                  <a:lnTo>
                    <a:pt x="729" y="10"/>
                  </a:lnTo>
                  <a:lnTo>
                    <a:pt x="731" y="12"/>
                  </a:lnTo>
                  <a:lnTo>
                    <a:pt x="731" y="14"/>
                  </a:lnTo>
                  <a:lnTo>
                    <a:pt x="731" y="18"/>
                  </a:lnTo>
                  <a:lnTo>
                    <a:pt x="729" y="22"/>
                  </a:lnTo>
                  <a:lnTo>
                    <a:pt x="729" y="24"/>
                  </a:lnTo>
                  <a:lnTo>
                    <a:pt x="729" y="24"/>
                  </a:lnTo>
                  <a:lnTo>
                    <a:pt x="729" y="24"/>
                  </a:lnTo>
                  <a:lnTo>
                    <a:pt x="731" y="26"/>
                  </a:lnTo>
                  <a:lnTo>
                    <a:pt x="731" y="28"/>
                  </a:lnTo>
                  <a:lnTo>
                    <a:pt x="731" y="28"/>
                  </a:lnTo>
                  <a:lnTo>
                    <a:pt x="733" y="28"/>
                  </a:lnTo>
                  <a:lnTo>
                    <a:pt x="733" y="30"/>
                  </a:lnTo>
                  <a:lnTo>
                    <a:pt x="731" y="30"/>
                  </a:lnTo>
                  <a:lnTo>
                    <a:pt x="729" y="30"/>
                  </a:lnTo>
                  <a:lnTo>
                    <a:pt x="725" y="28"/>
                  </a:lnTo>
                  <a:lnTo>
                    <a:pt x="723" y="28"/>
                  </a:lnTo>
                  <a:lnTo>
                    <a:pt x="723" y="28"/>
                  </a:lnTo>
                  <a:lnTo>
                    <a:pt x="716" y="34"/>
                  </a:lnTo>
                  <a:lnTo>
                    <a:pt x="714" y="37"/>
                  </a:lnTo>
                  <a:lnTo>
                    <a:pt x="714" y="39"/>
                  </a:lnTo>
                  <a:lnTo>
                    <a:pt x="708" y="55"/>
                  </a:lnTo>
                  <a:lnTo>
                    <a:pt x="708" y="57"/>
                  </a:lnTo>
                  <a:lnTo>
                    <a:pt x="708" y="57"/>
                  </a:lnTo>
                  <a:lnTo>
                    <a:pt x="706" y="57"/>
                  </a:lnTo>
                  <a:lnTo>
                    <a:pt x="706" y="59"/>
                  </a:lnTo>
                  <a:lnTo>
                    <a:pt x="704" y="61"/>
                  </a:lnTo>
                  <a:lnTo>
                    <a:pt x="704" y="61"/>
                  </a:lnTo>
                  <a:lnTo>
                    <a:pt x="704" y="61"/>
                  </a:lnTo>
                  <a:lnTo>
                    <a:pt x="702" y="61"/>
                  </a:lnTo>
                  <a:lnTo>
                    <a:pt x="702" y="61"/>
                  </a:lnTo>
                  <a:lnTo>
                    <a:pt x="700" y="61"/>
                  </a:lnTo>
                  <a:lnTo>
                    <a:pt x="700" y="61"/>
                  </a:lnTo>
                  <a:lnTo>
                    <a:pt x="700" y="59"/>
                  </a:lnTo>
                  <a:lnTo>
                    <a:pt x="700" y="59"/>
                  </a:lnTo>
                  <a:lnTo>
                    <a:pt x="700" y="59"/>
                  </a:lnTo>
                  <a:lnTo>
                    <a:pt x="700" y="59"/>
                  </a:lnTo>
                  <a:lnTo>
                    <a:pt x="698" y="59"/>
                  </a:lnTo>
                  <a:lnTo>
                    <a:pt x="698" y="57"/>
                  </a:lnTo>
                  <a:lnTo>
                    <a:pt x="698" y="57"/>
                  </a:lnTo>
                  <a:lnTo>
                    <a:pt x="698" y="57"/>
                  </a:lnTo>
                  <a:lnTo>
                    <a:pt x="698" y="57"/>
                  </a:lnTo>
                  <a:lnTo>
                    <a:pt x="698" y="57"/>
                  </a:lnTo>
                  <a:lnTo>
                    <a:pt x="696" y="57"/>
                  </a:lnTo>
                  <a:lnTo>
                    <a:pt x="696" y="57"/>
                  </a:lnTo>
                  <a:lnTo>
                    <a:pt x="694" y="57"/>
                  </a:lnTo>
                  <a:lnTo>
                    <a:pt x="694" y="57"/>
                  </a:lnTo>
                  <a:lnTo>
                    <a:pt x="694" y="57"/>
                  </a:lnTo>
                  <a:lnTo>
                    <a:pt x="694" y="55"/>
                  </a:lnTo>
                  <a:lnTo>
                    <a:pt x="692" y="57"/>
                  </a:lnTo>
                  <a:lnTo>
                    <a:pt x="692" y="57"/>
                  </a:lnTo>
                  <a:lnTo>
                    <a:pt x="692" y="57"/>
                  </a:lnTo>
                  <a:lnTo>
                    <a:pt x="690" y="59"/>
                  </a:lnTo>
                  <a:lnTo>
                    <a:pt x="688" y="59"/>
                  </a:lnTo>
                  <a:lnTo>
                    <a:pt x="686" y="59"/>
                  </a:lnTo>
                  <a:lnTo>
                    <a:pt x="686" y="59"/>
                  </a:lnTo>
                  <a:lnTo>
                    <a:pt x="684" y="61"/>
                  </a:lnTo>
                  <a:lnTo>
                    <a:pt x="682" y="63"/>
                  </a:lnTo>
                  <a:lnTo>
                    <a:pt x="680" y="63"/>
                  </a:lnTo>
                  <a:lnTo>
                    <a:pt x="680" y="63"/>
                  </a:lnTo>
                  <a:lnTo>
                    <a:pt x="677" y="65"/>
                  </a:lnTo>
                  <a:lnTo>
                    <a:pt x="675" y="69"/>
                  </a:lnTo>
                  <a:lnTo>
                    <a:pt x="673" y="71"/>
                  </a:lnTo>
                  <a:lnTo>
                    <a:pt x="673" y="73"/>
                  </a:lnTo>
                  <a:lnTo>
                    <a:pt x="673" y="73"/>
                  </a:lnTo>
                  <a:lnTo>
                    <a:pt x="671" y="75"/>
                  </a:lnTo>
                  <a:lnTo>
                    <a:pt x="671" y="77"/>
                  </a:lnTo>
                  <a:lnTo>
                    <a:pt x="671" y="77"/>
                  </a:lnTo>
                  <a:lnTo>
                    <a:pt x="671" y="77"/>
                  </a:lnTo>
                  <a:lnTo>
                    <a:pt x="671" y="77"/>
                  </a:lnTo>
                  <a:lnTo>
                    <a:pt x="667" y="82"/>
                  </a:lnTo>
                  <a:lnTo>
                    <a:pt x="665" y="82"/>
                  </a:lnTo>
                  <a:lnTo>
                    <a:pt x="665" y="82"/>
                  </a:lnTo>
                  <a:lnTo>
                    <a:pt x="665" y="82"/>
                  </a:lnTo>
                  <a:lnTo>
                    <a:pt x="665" y="82"/>
                  </a:lnTo>
                  <a:lnTo>
                    <a:pt x="663" y="82"/>
                  </a:lnTo>
                  <a:lnTo>
                    <a:pt x="663" y="82"/>
                  </a:lnTo>
                  <a:lnTo>
                    <a:pt x="663" y="82"/>
                  </a:lnTo>
                  <a:lnTo>
                    <a:pt x="663" y="82"/>
                  </a:lnTo>
                  <a:lnTo>
                    <a:pt x="663" y="80"/>
                  </a:lnTo>
                  <a:lnTo>
                    <a:pt x="661" y="80"/>
                  </a:lnTo>
                  <a:lnTo>
                    <a:pt x="661" y="80"/>
                  </a:lnTo>
                  <a:lnTo>
                    <a:pt x="661" y="77"/>
                  </a:lnTo>
                  <a:lnTo>
                    <a:pt x="661" y="77"/>
                  </a:lnTo>
                  <a:lnTo>
                    <a:pt x="661" y="75"/>
                  </a:lnTo>
                  <a:lnTo>
                    <a:pt x="661" y="75"/>
                  </a:lnTo>
                  <a:lnTo>
                    <a:pt x="661" y="75"/>
                  </a:lnTo>
                  <a:lnTo>
                    <a:pt x="661" y="75"/>
                  </a:lnTo>
                  <a:lnTo>
                    <a:pt x="659" y="73"/>
                  </a:lnTo>
                  <a:lnTo>
                    <a:pt x="659" y="73"/>
                  </a:lnTo>
                  <a:lnTo>
                    <a:pt x="659" y="73"/>
                  </a:lnTo>
                  <a:lnTo>
                    <a:pt x="657" y="73"/>
                  </a:lnTo>
                  <a:lnTo>
                    <a:pt x="655" y="75"/>
                  </a:lnTo>
                  <a:lnTo>
                    <a:pt x="653" y="77"/>
                  </a:lnTo>
                  <a:lnTo>
                    <a:pt x="647" y="82"/>
                  </a:lnTo>
                  <a:lnTo>
                    <a:pt x="647" y="82"/>
                  </a:lnTo>
                  <a:lnTo>
                    <a:pt x="647" y="82"/>
                  </a:lnTo>
                  <a:lnTo>
                    <a:pt x="647" y="82"/>
                  </a:lnTo>
                  <a:lnTo>
                    <a:pt x="647" y="84"/>
                  </a:lnTo>
                  <a:lnTo>
                    <a:pt x="647" y="84"/>
                  </a:lnTo>
                  <a:lnTo>
                    <a:pt x="647" y="84"/>
                  </a:lnTo>
                  <a:lnTo>
                    <a:pt x="645" y="86"/>
                  </a:lnTo>
                  <a:lnTo>
                    <a:pt x="645" y="86"/>
                  </a:lnTo>
                  <a:lnTo>
                    <a:pt x="645" y="88"/>
                  </a:lnTo>
                  <a:lnTo>
                    <a:pt x="645" y="88"/>
                  </a:lnTo>
                  <a:lnTo>
                    <a:pt x="645" y="88"/>
                  </a:lnTo>
                  <a:lnTo>
                    <a:pt x="645" y="88"/>
                  </a:lnTo>
                  <a:lnTo>
                    <a:pt x="643" y="88"/>
                  </a:lnTo>
                  <a:lnTo>
                    <a:pt x="643" y="88"/>
                  </a:lnTo>
                  <a:lnTo>
                    <a:pt x="641" y="88"/>
                  </a:lnTo>
                  <a:lnTo>
                    <a:pt x="641" y="88"/>
                  </a:lnTo>
                  <a:lnTo>
                    <a:pt x="639" y="88"/>
                  </a:lnTo>
                  <a:lnTo>
                    <a:pt x="639" y="88"/>
                  </a:lnTo>
                  <a:lnTo>
                    <a:pt x="637" y="88"/>
                  </a:lnTo>
                  <a:lnTo>
                    <a:pt x="637" y="88"/>
                  </a:lnTo>
                  <a:lnTo>
                    <a:pt x="637" y="88"/>
                  </a:lnTo>
                  <a:lnTo>
                    <a:pt x="634" y="90"/>
                  </a:lnTo>
                  <a:lnTo>
                    <a:pt x="634" y="90"/>
                  </a:lnTo>
                  <a:lnTo>
                    <a:pt x="634" y="90"/>
                  </a:lnTo>
                  <a:lnTo>
                    <a:pt x="634" y="90"/>
                  </a:lnTo>
                  <a:lnTo>
                    <a:pt x="634" y="92"/>
                  </a:lnTo>
                  <a:lnTo>
                    <a:pt x="634" y="92"/>
                  </a:lnTo>
                  <a:lnTo>
                    <a:pt x="637" y="92"/>
                  </a:lnTo>
                  <a:lnTo>
                    <a:pt x="637" y="94"/>
                  </a:lnTo>
                  <a:lnTo>
                    <a:pt x="637" y="94"/>
                  </a:lnTo>
                  <a:lnTo>
                    <a:pt x="637" y="96"/>
                  </a:lnTo>
                  <a:lnTo>
                    <a:pt x="637" y="96"/>
                  </a:lnTo>
                  <a:lnTo>
                    <a:pt x="637" y="98"/>
                  </a:lnTo>
                  <a:lnTo>
                    <a:pt x="637" y="98"/>
                  </a:lnTo>
                  <a:lnTo>
                    <a:pt x="637" y="98"/>
                  </a:lnTo>
                  <a:lnTo>
                    <a:pt x="634" y="100"/>
                  </a:lnTo>
                  <a:lnTo>
                    <a:pt x="634" y="104"/>
                  </a:lnTo>
                  <a:lnTo>
                    <a:pt x="632" y="106"/>
                  </a:lnTo>
                  <a:lnTo>
                    <a:pt x="630" y="106"/>
                  </a:lnTo>
                  <a:lnTo>
                    <a:pt x="630" y="106"/>
                  </a:lnTo>
                  <a:lnTo>
                    <a:pt x="628" y="106"/>
                  </a:lnTo>
                  <a:lnTo>
                    <a:pt x="626" y="106"/>
                  </a:lnTo>
                  <a:lnTo>
                    <a:pt x="624" y="106"/>
                  </a:lnTo>
                  <a:lnTo>
                    <a:pt x="624" y="106"/>
                  </a:lnTo>
                  <a:lnTo>
                    <a:pt x="624" y="108"/>
                  </a:lnTo>
                  <a:lnTo>
                    <a:pt x="620" y="110"/>
                  </a:lnTo>
                  <a:lnTo>
                    <a:pt x="616" y="112"/>
                  </a:lnTo>
                  <a:lnTo>
                    <a:pt x="616" y="112"/>
                  </a:lnTo>
                  <a:lnTo>
                    <a:pt x="616" y="112"/>
                  </a:lnTo>
                  <a:lnTo>
                    <a:pt x="614" y="114"/>
                  </a:lnTo>
                  <a:lnTo>
                    <a:pt x="612" y="116"/>
                  </a:lnTo>
                  <a:lnTo>
                    <a:pt x="610" y="116"/>
                  </a:lnTo>
                  <a:lnTo>
                    <a:pt x="610" y="116"/>
                  </a:lnTo>
                  <a:lnTo>
                    <a:pt x="610" y="118"/>
                  </a:lnTo>
                  <a:lnTo>
                    <a:pt x="610" y="118"/>
                  </a:lnTo>
                  <a:lnTo>
                    <a:pt x="608" y="121"/>
                  </a:lnTo>
                  <a:lnTo>
                    <a:pt x="606" y="123"/>
                  </a:lnTo>
                  <a:lnTo>
                    <a:pt x="606" y="123"/>
                  </a:lnTo>
                  <a:lnTo>
                    <a:pt x="606" y="123"/>
                  </a:lnTo>
                  <a:lnTo>
                    <a:pt x="604" y="123"/>
                  </a:lnTo>
                  <a:lnTo>
                    <a:pt x="604" y="123"/>
                  </a:lnTo>
                  <a:lnTo>
                    <a:pt x="604" y="125"/>
                  </a:lnTo>
                  <a:lnTo>
                    <a:pt x="602" y="125"/>
                  </a:lnTo>
                  <a:lnTo>
                    <a:pt x="602" y="127"/>
                  </a:lnTo>
                  <a:lnTo>
                    <a:pt x="600" y="127"/>
                  </a:lnTo>
                  <a:lnTo>
                    <a:pt x="600" y="129"/>
                  </a:lnTo>
                  <a:lnTo>
                    <a:pt x="596" y="131"/>
                  </a:lnTo>
                  <a:lnTo>
                    <a:pt x="594" y="131"/>
                  </a:lnTo>
                  <a:lnTo>
                    <a:pt x="594" y="133"/>
                  </a:lnTo>
                  <a:lnTo>
                    <a:pt x="594" y="133"/>
                  </a:lnTo>
                  <a:lnTo>
                    <a:pt x="591" y="135"/>
                  </a:lnTo>
                  <a:lnTo>
                    <a:pt x="591" y="137"/>
                  </a:lnTo>
                  <a:lnTo>
                    <a:pt x="589" y="137"/>
                  </a:lnTo>
                  <a:lnTo>
                    <a:pt x="585" y="139"/>
                  </a:lnTo>
                  <a:lnTo>
                    <a:pt x="583" y="139"/>
                  </a:lnTo>
                  <a:lnTo>
                    <a:pt x="583" y="139"/>
                  </a:lnTo>
                  <a:lnTo>
                    <a:pt x="583" y="139"/>
                  </a:lnTo>
                  <a:lnTo>
                    <a:pt x="583" y="137"/>
                  </a:lnTo>
                  <a:lnTo>
                    <a:pt x="581" y="137"/>
                  </a:lnTo>
                  <a:lnTo>
                    <a:pt x="581" y="137"/>
                  </a:lnTo>
                  <a:lnTo>
                    <a:pt x="581" y="137"/>
                  </a:lnTo>
                  <a:lnTo>
                    <a:pt x="579" y="139"/>
                  </a:lnTo>
                  <a:lnTo>
                    <a:pt x="577" y="139"/>
                  </a:lnTo>
                  <a:lnTo>
                    <a:pt x="577" y="139"/>
                  </a:lnTo>
                  <a:lnTo>
                    <a:pt x="577" y="139"/>
                  </a:lnTo>
                  <a:lnTo>
                    <a:pt x="577" y="139"/>
                  </a:lnTo>
                  <a:lnTo>
                    <a:pt x="575" y="139"/>
                  </a:lnTo>
                  <a:lnTo>
                    <a:pt x="575" y="139"/>
                  </a:lnTo>
                  <a:lnTo>
                    <a:pt x="575" y="139"/>
                  </a:lnTo>
                  <a:lnTo>
                    <a:pt x="573" y="139"/>
                  </a:lnTo>
                  <a:lnTo>
                    <a:pt x="573" y="139"/>
                  </a:lnTo>
                  <a:lnTo>
                    <a:pt x="571" y="139"/>
                  </a:lnTo>
                  <a:lnTo>
                    <a:pt x="569" y="139"/>
                  </a:lnTo>
                  <a:lnTo>
                    <a:pt x="569" y="141"/>
                  </a:lnTo>
                  <a:lnTo>
                    <a:pt x="567" y="141"/>
                  </a:lnTo>
                  <a:lnTo>
                    <a:pt x="565" y="143"/>
                  </a:lnTo>
                  <a:lnTo>
                    <a:pt x="563" y="145"/>
                  </a:lnTo>
                  <a:lnTo>
                    <a:pt x="563" y="145"/>
                  </a:lnTo>
                  <a:lnTo>
                    <a:pt x="563" y="145"/>
                  </a:lnTo>
                  <a:lnTo>
                    <a:pt x="559" y="147"/>
                  </a:lnTo>
                  <a:lnTo>
                    <a:pt x="559" y="147"/>
                  </a:lnTo>
                  <a:lnTo>
                    <a:pt x="557" y="147"/>
                  </a:lnTo>
                  <a:lnTo>
                    <a:pt x="557" y="147"/>
                  </a:lnTo>
                  <a:lnTo>
                    <a:pt x="557" y="151"/>
                  </a:lnTo>
                  <a:lnTo>
                    <a:pt x="555" y="151"/>
                  </a:lnTo>
                  <a:lnTo>
                    <a:pt x="555" y="153"/>
                  </a:lnTo>
                  <a:lnTo>
                    <a:pt x="555" y="153"/>
                  </a:lnTo>
                  <a:lnTo>
                    <a:pt x="551" y="155"/>
                  </a:lnTo>
                  <a:lnTo>
                    <a:pt x="551" y="155"/>
                  </a:lnTo>
                  <a:lnTo>
                    <a:pt x="551" y="155"/>
                  </a:lnTo>
                  <a:lnTo>
                    <a:pt x="548" y="157"/>
                  </a:lnTo>
                  <a:lnTo>
                    <a:pt x="548" y="159"/>
                  </a:lnTo>
                  <a:lnTo>
                    <a:pt x="548" y="159"/>
                  </a:lnTo>
                  <a:lnTo>
                    <a:pt x="548" y="159"/>
                  </a:lnTo>
                  <a:lnTo>
                    <a:pt x="548" y="159"/>
                  </a:lnTo>
                  <a:lnTo>
                    <a:pt x="548" y="162"/>
                  </a:lnTo>
                  <a:lnTo>
                    <a:pt x="548" y="162"/>
                  </a:lnTo>
                  <a:lnTo>
                    <a:pt x="548" y="164"/>
                  </a:lnTo>
                  <a:lnTo>
                    <a:pt x="548" y="164"/>
                  </a:lnTo>
                  <a:lnTo>
                    <a:pt x="548" y="164"/>
                  </a:lnTo>
                  <a:lnTo>
                    <a:pt x="546" y="166"/>
                  </a:lnTo>
                  <a:lnTo>
                    <a:pt x="546" y="168"/>
                  </a:lnTo>
                  <a:lnTo>
                    <a:pt x="546" y="168"/>
                  </a:lnTo>
                  <a:lnTo>
                    <a:pt x="546" y="168"/>
                  </a:lnTo>
                  <a:lnTo>
                    <a:pt x="546" y="172"/>
                  </a:lnTo>
                  <a:lnTo>
                    <a:pt x="546" y="174"/>
                  </a:lnTo>
                  <a:lnTo>
                    <a:pt x="546" y="174"/>
                  </a:lnTo>
                  <a:lnTo>
                    <a:pt x="544" y="176"/>
                  </a:lnTo>
                  <a:lnTo>
                    <a:pt x="544" y="176"/>
                  </a:lnTo>
                  <a:lnTo>
                    <a:pt x="542" y="178"/>
                  </a:lnTo>
                  <a:lnTo>
                    <a:pt x="542" y="178"/>
                  </a:lnTo>
                  <a:lnTo>
                    <a:pt x="540" y="178"/>
                  </a:lnTo>
                  <a:lnTo>
                    <a:pt x="536" y="178"/>
                  </a:lnTo>
                  <a:lnTo>
                    <a:pt x="534" y="180"/>
                  </a:lnTo>
                  <a:lnTo>
                    <a:pt x="534" y="180"/>
                  </a:lnTo>
                  <a:lnTo>
                    <a:pt x="534" y="178"/>
                  </a:lnTo>
                  <a:lnTo>
                    <a:pt x="534" y="178"/>
                  </a:lnTo>
                  <a:lnTo>
                    <a:pt x="532" y="178"/>
                  </a:lnTo>
                  <a:lnTo>
                    <a:pt x="532" y="178"/>
                  </a:lnTo>
                  <a:lnTo>
                    <a:pt x="532" y="178"/>
                  </a:lnTo>
                  <a:lnTo>
                    <a:pt x="530" y="178"/>
                  </a:lnTo>
                  <a:lnTo>
                    <a:pt x="530" y="180"/>
                  </a:lnTo>
                  <a:lnTo>
                    <a:pt x="528" y="180"/>
                  </a:lnTo>
                  <a:lnTo>
                    <a:pt x="528" y="182"/>
                  </a:lnTo>
                  <a:lnTo>
                    <a:pt x="526" y="182"/>
                  </a:lnTo>
                  <a:lnTo>
                    <a:pt x="526" y="184"/>
                  </a:lnTo>
                  <a:lnTo>
                    <a:pt x="526" y="184"/>
                  </a:lnTo>
                  <a:lnTo>
                    <a:pt x="526" y="186"/>
                  </a:lnTo>
                  <a:lnTo>
                    <a:pt x="526" y="188"/>
                  </a:lnTo>
                  <a:lnTo>
                    <a:pt x="526" y="192"/>
                  </a:lnTo>
                  <a:lnTo>
                    <a:pt x="526" y="198"/>
                  </a:lnTo>
                  <a:lnTo>
                    <a:pt x="526" y="205"/>
                  </a:lnTo>
                  <a:lnTo>
                    <a:pt x="528" y="209"/>
                  </a:lnTo>
                  <a:lnTo>
                    <a:pt x="520" y="211"/>
                  </a:lnTo>
                  <a:lnTo>
                    <a:pt x="512" y="211"/>
                  </a:lnTo>
                  <a:lnTo>
                    <a:pt x="505" y="211"/>
                  </a:lnTo>
                  <a:lnTo>
                    <a:pt x="503" y="211"/>
                  </a:lnTo>
                  <a:lnTo>
                    <a:pt x="501" y="211"/>
                  </a:lnTo>
                  <a:lnTo>
                    <a:pt x="491" y="213"/>
                  </a:lnTo>
                  <a:lnTo>
                    <a:pt x="479" y="215"/>
                  </a:lnTo>
                  <a:lnTo>
                    <a:pt x="469" y="217"/>
                  </a:lnTo>
                  <a:lnTo>
                    <a:pt x="456" y="217"/>
                  </a:lnTo>
                  <a:lnTo>
                    <a:pt x="446" y="219"/>
                  </a:lnTo>
                  <a:lnTo>
                    <a:pt x="436" y="221"/>
                  </a:lnTo>
                  <a:lnTo>
                    <a:pt x="424" y="221"/>
                  </a:lnTo>
                  <a:lnTo>
                    <a:pt x="413" y="223"/>
                  </a:lnTo>
                  <a:lnTo>
                    <a:pt x="399" y="225"/>
                  </a:lnTo>
                  <a:lnTo>
                    <a:pt x="385" y="227"/>
                  </a:lnTo>
                  <a:lnTo>
                    <a:pt x="372" y="227"/>
                  </a:lnTo>
                  <a:lnTo>
                    <a:pt x="358" y="229"/>
                  </a:lnTo>
                  <a:lnTo>
                    <a:pt x="344" y="231"/>
                  </a:lnTo>
                  <a:lnTo>
                    <a:pt x="329" y="233"/>
                  </a:lnTo>
                  <a:lnTo>
                    <a:pt x="315" y="235"/>
                  </a:lnTo>
                  <a:lnTo>
                    <a:pt x="303" y="235"/>
                  </a:lnTo>
                  <a:lnTo>
                    <a:pt x="288" y="237"/>
                  </a:lnTo>
                  <a:lnTo>
                    <a:pt x="274" y="239"/>
                  </a:lnTo>
                  <a:lnTo>
                    <a:pt x="260" y="239"/>
                  </a:lnTo>
                  <a:lnTo>
                    <a:pt x="245" y="241"/>
                  </a:lnTo>
                  <a:lnTo>
                    <a:pt x="233" y="243"/>
                  </a:lnTo>
                  <a:lnTo>
                    <a:pt x="219" y="243"/>
                  </a:lnTo>
                  <a:lnTo>
                    <a:pt x="204" y="246"/>
                  </a:lnTo>
                  <a:lnTo>
                    <a:pt x="190" y="248"/>
                  </a:lnTo>
                  <a:lnTo>
                    <a:pt x="188" y="248"/>
                  </a:lnTo>
                  <a:lnTo>
                    <a:pt x="186" y="248"/>
                  </a:lnTo>
                  <a:lnTo>
                    <a:pt x="188" y="250"/>
                  </a:lnTo>
                  <a:lnTo>
                    <a:pt x="188" y="250"/>
                  </a:lnTo>
                  <a:lnTo>
                    <a:pt x="184" y="250"/>
                  </a:lnTo>
                  <a:lnTo>
                    <a:pt x="172" y="252"/>
                  </a:lnTo>
                  <a:lnTo>
                    <a:pt x="161" y="254"/>
                  </a:lnTo>
                  <a:lnTo>
                    <a:pt x="149" y="254"/>
                  </a:lnTo>
                  <a:lnTo>
                    <a:pt x="139" y="256"/>
                  </a:lnTo>
                  <a:lnTo>
                    <a:pt x="127" y="256"/>
                  </a:lnTo>
                  <a:lnTo>
                    <a:pt x="114" y="258"/>
                  </a:lnTo>
                  <a:lnTo>
                    <a:pt x="104" y="258"/>
                  </a:lnTo>
                  <a:lnTo>
                    <a:pt x="92" y="260"/>
                  </a:lnTo>
                  <a:lnTo>
                    <a:pt x="81" y="262"/>
                  </a:lnTo>
                  <a:lnTo>
                    <a:pt x="69" y="262"/>
                  </a:lnTo>
                  <a:lnTo>
                    <a:pt x="57" y="264"/>
                  </a:lnTo>
                  <a:lnTo>
                    <a:pt x="47" y="264"/>
                  </a:lnTo>
                  <a:lnTo>
                    <a:pt x="34" y="266"/>
                  </a:lnTo>
                  <a:lnTo>
                    <a:pt x="24" y="266"/>
                  </a:lnTo>
                  <a:lnTo>
                    <a:pt x="12" y="268"/>
                  </a:lnTo>
                  <a:lnTo>
                    <a:pt x="0" y="268"/>
                  </a:lnTo>
                  <a:lnTo>
                    <a:pt x="0" y="268"/>
                  </a:lnTo>
                  <a:lnTo>
                    <a:pt x="0" y="266"/>
                  </a:lnTo>
                  <a:lnTo>
                    <a:pt x="2" y="266"/>
                  </a:lnTo>
                  <a:lnTo>
                    <a:pt x="4" y="264"/>
                  </a:lnTo>
                  <a:lnTo>
                    <a:pt x="8" y="262"/>
                  </a:lnTo>
                  <a:lnTo>
                    <a:pt x="8" y="262"/>
                  </a:lnTo>
                  <a:lnTo>
                    <a:pt x="10" y="260"/>
                  </a:lnTo>
                  <a:lnTo>
                    <a:pt x="10" y="258"/>
                  </a:lnTo>
                  <a:lnTo>
                    <a:pt x="10" y="256"/>
                  </a:lnTo>
                  <a:lnTo>
                    <a:pt x="10" y="254"/>
                  </a:lnTo>
                  <a:lnTo>
                    <a:pt x="12" y="254"/>
                  </a:lnTo>
                  <a:lnTo>
                    <a:pt x="14" y="254"/>
                  </a:lnTo>
                  <a:lnTo>
                    <a:pt x="16" y="254"/>
                  </a:lnTo>
                  <a:lnTo>
                    <a:pt x="18" y="250"/>
                  </a:lnTo>
                  <a:lnTo>
                    <a:pt x="18" y="246"/>
                  </a:lnTo>
                  <a:lnTo>
                    <a:pt x="16" y="241"/>
                  </a:lnTo>
                  <a:lnTo>
                    <a:pt x="14" y="237"/>
                  </a:lnTo>
                  <a:lnTo>
                    <a:pt x="14" y="235"/>
                  </a:lnTo>
                  <a:lnTo>
                    <a:pt x="14" y="229"/>
                  </a:lnTo>
                  <a:lnTo>
                    <a:pt x="14" y="227"/>
                  </a:lnTo>
                  <a:lnTo>
                    <a:pt x="14" y="225"/>
                  </a:lnTo>
                  <a:lnTo>
                    <a:pt x="18" y="221"/>
                  </a:lnTo>
                  <a:lnTo>
                    <a:pt x="20" y="219"/>
                  </a:lnTo>
                  <a:lnTo>
                    <a:pt x="20" y="217"/>
                  </a:lnTo>
                  <a:lnTo>
                    <a:pt x="22" y="215"/>
                  </a:lnTo>
                  <a:lnTo>
                    <a:pt x="20" y="213"/>
                  </a:lnTo>
                  <a:lnTo>
                    <a:pt x="22" y="211"/>
                  </a:lnTo>
                  <a:lnTo>
                    <a:pt x="22" y="211"/>
                  </a:lnTo>
                  <a:lnTo>
                    <a:pt x="24" y="209"/>
                  </a:lnTo>
                  <a:lnTo>
                    <a:pt x="26" y="209"/>
                  </a:lnTo>
                  <a:lnTo>
                    <a:pt x="28" y="209"/>
                  </a:lnTo>
                  <a:lnTo>
                    <a:pt x="28" y="207"/>
                  </a:lnTo>
                  <a:lnTo>
                    <a:pt x="28" y="205"/>
                  </a:lnTo>
                  <a:lnTo>
                    <a:pt x="26" y="202"/>
                  </a:lnTo>
                  <a:lnTo>
                    <a:pt x="26" y="200"/>
                  </a:lnTo>
                  <a:lnTo>
                    <a:pt x="26" y="200"/>
                  </a:lnTo>
                  <a:lnTo>
                    <a:pt x="28" y="198"/>
                  </a:lnTo>
                  <a:lnTo>
                    <a:pt x="28" y="196"/>
                  </a:lnTo>
                  <a:lnTo>
                    <a:pt x="28" y="194"/>
                  </a:lnTo>
                  <a:lnTo>
                    <a:pt x="26" y="192"/>
                  </a:lnTo>
                  <a:lnTo>
                    <a:pt x="24" y="190"/>
                  </a:lnTo>
                  <a:lnTo>
                    <a:pt x="24" y="188"/>
                  </a:lnTo>
                  <a:lnTo>
                    <a:pt x="26" y="186"/>
                  </a:lnTo>
                  <a:lnTo>
                    <a:pt x="38" y="180"/>
                  </a:lnTo>
                  <a:lnTo>
                    <a:pt x="43" y="174"/>
                  </a:lnTo>
                  <a:lnTo>
                    <a:pt x="43" y="172"/>
                  </a:lnTo>
                  <a:lnTo>
                    <a:pt x="41" y="172"/>
                  </a:lnTo>
                  <a:lnTo>
                    <a:pt x="38" y="170"/>
                  </a:lnTo>
                  <a:lnTo>
                    <a:pt x="38" y="168"/>
                  </a:lnTo>
                  <a:lnTo>
                    <a:pt x="38" y="166"/>
                  </a:lnTo>
                  <a:lnTo>
                    <a:pt x="41" y="166"/>
                  </a:lnTo>
                  <a:lnTo>
                    <a:pt x="43" y="166"/>
                  </a:lnTo>
                  <a:lnTo>
                    <a:pt x="47" y="168"/>
                  </a:lnTo>
                  <a:lnTo>
                    <a:pt x="47" y="168"/>
                  </a:lnTo>
                  <a:lnTo>
                    <a:pt x="47" y="166"/>
                  </a:lnTo>
                  <a:lnTo>
                    <a:pt x="47" y="162"/>
                  </a:lnTo>
                  <a:lnTo>
                    <a:pt x="43" y="159"/>
                  </a:lnTo>
                  <a:lnTo>
                    <a:pt x="43" y="157"/>
                  </a:lnTo>
                  <a:lnTo>
                    <a:pt x="43" y="155"/>
                  </a:lnTo>
                  <a:lnTo>
                    <a:pt x="43" y="153"/>
                  </a:lnTo>
                  <a:lnTo>
                    <a:pt x="45" y="147"/>
                  </a:lnTo>
                  <a:lnTo>
                    <a:pt x="45" y="145"/>
                  </a:lnTo>
                  <a:lnTo>
                    <a:pt x="45" y="145"/>
                  </a:lnTo>
                  <a:lnTo>
                    <a:pt x="47" y="143"/>
                  </a:lnTo>
                  <a:lnTo>
                    <a:pt x="49" y="143"/>
                  </a:lnTo>
                  <a:lnTo>
                    <a:pt x="49" y="143"/>
                  </a:lnTo>
                  <a:lnTo>
                    <a:pt x="51" y="141"/>
                  </a:lnTo>
                  <a:lnTo>
                    <a:pt x="47" y="137"/>
                  </a:lnTo>
                  <a:lnTo>
                    <a:pt x="43" y="129"/>
                  </a:lnTo>
                  <a:lnTo>
                    <a:pt x="43" y="129"/>
                  </a:lnTo>
                  <a:lnTo>
                    <a:pt x="51" y="129"/>
                  </a:lnTo>
                  <a:lnTo>
                    <a:pt x="53" y="127"/>
                  </a:lnTo>
                  <a:lnTo>
                    <a:pt x="53" y="127"/>
                  </a:lnTo>
                  <a:lnTo>
                    <a:pt x="53" y="125"/>
                  </a:lnTo>
                  <a:lnTo>
                    <a:pt x="53" y="125"/>
                  </a:lnTo>
                  <a:lnTo>
                    <a:pt x="51" y="125"/>
                  </a:lnTo>
                  <a:lnTo>
                    <a:pt x="49" y="123"/>
                  </a:lnTo>
                  <a:lnTo>
                    <a:pt x="47" y="121"/>
                  </a:lnTo>
                  <a:lnTo>
                    <a:pt x="47" y="118"/>
                  </a:lnTo>
                  <a:lnTo>
                    <a:pt x="49" y="118"/>
                  </a:lnTo>
                  <a:lnTo>
                    <a:pt x="51" y="118"/>
                  </a:lnTo>
                  <a:lnTo>
                    <a:pt x="53" y="116"/>
                  </a:lnTo>
                  <a:lnTo>
                    <a:pt x="55" y="116"/>
                  </a:lnTo>
                  <a:lnTo>
                    <a:pt x="55" y="114"/>
                  </a:lnTo>
                  <a:lnTo>
                    <a:pt x="55" y="112"/>
                  </a:lnTo>
                  <a:lnTo>
                    <a:pt x="53" y="106"/>
                  </a:lnTo>
                  <a:lnTo>
                    <a:pt x="51" y="106"/>
                  </a:lnTo>
                  <a:lnTo>
                    <a:pt x="53" y="104"/>
                  </a:lnTo>
                  <a:lnTo>
                    <a:pt x="51" y="102"/>
                  </a:lnTo>
                  <a:lnTo>
                    <a:pt x="51" y="102"/>
                  </a:lnTo>
                  <a:lnTo>
                    <a:pt x="57" y="100"/>
                  </a:lnTo>
                  <a:lnTo>
                    <a:pt x="57" y="102"/>
                  </a:lnTo>
                  <a:lnTo>
                    <a:pt x="55" y="104"/>
                  </a:lnTo>
                  <a:lnTo>
                    <a:pt x="57" y="106"/>
                  </a:lnTo>
                  <a:lnTo>
                    <a:pt x="59" y="106"/>
                  </a:lnTo>
                  <a:lnTo>
                    <a:pt x="59" y="104"/>
                  </a:lnTo>
                  <a:lnTo>
                    <a:pt x="61" y="104"/>
                  </a:lnTo>
                  <a:lnTo>
                    <a:pt x="63" y="102"/>
                  </a:lnTo>
                  <a:lnTo>
                    <a:pt x="63" y="100"/>
                  </a:lnTo>
                  <a:lnTo>
                    <a:pt x="77" y="98"/>
                  </a:lnTo>
                  <a:lnTo>
                    <a:pt x="92" y="98"/>
                  </a:lnTo>
                  <a:lnTo>
                    <a:pt x="108" y="96"/>
                  </a:lnTo>
                  <a:lnTo>
                    <a:pt x="122" y="94"/>
                  </a:lnTo>
                  <a:lnTo>
                    <a:pt x="137" y="94"/>
                  </a:lnTo>
                  <a:lnTo>
                    <a:pt x="153" y="92"/>
                  </a:lnTo>
                  <a:lnTo>
                    <a:pt x="168" y="90"/>
                  </a:lnTo>
                  <a:lnTo>
                    <a:pt x="182" y="88"/>
                  </a:lnTo>
                  <a:lnTo>
                    <a:pt x="182" y="86"/>
                  </a:lnTo>
                  <a:lnTo>
                    <a:pt x="182" y="82"/>
                  </a:lnTo>
                  <a:lnTo>
                    <a:pt x="182" y="80"/>
                  </a:lnTo>
                  <a:lnTo>
                    <a:pt x="180" y="75"/>
                  </a:lnTo>
                  <a:lnTo>
                    <a:pt x="178" y="69"/>
                  </a:lnTo>
                  <a:lnTo>
                    <a:pt x="178" y="69"/>
                  </a:lnTo>
                  <a:lnTo>
                    <a:pt x="178" y="67"/>
                  </a:lnTo>
                  <a:lnTo>
                    <a:pt x="178" y="67"/>
                  </a:lnTo>
                  <a:lnTo>
                    <a:pt x="178" y="67"/>
                  </a:lnTo>
                  <a:lnTo>
                    <a:pt x="184" y="67"/>
                  </a:lnTo>
                  <a:lnTo>
                    <a:pt x="190" y="67"/>
                  </a:lnTo>
                  <a:lnTo>
                    <a:pt x="196" y="67"/>
                  </a:lnTo>
                  <a:lnTo>
                    <a:pt x="196" y="67"/>
                  </a:lnTo>
                  <a:lnTo>
                    <a:pt x="196" y="69"/>
                  </a:lnTo>
                  <a:lnTo>
                    <a:pt x="198" y="69"/>
                  </a:lnTo>
                  <a:lnTo>
                    <a:pt x="198" y="71"/>
                  </a:lnTo>
                  <a:lnTo>
                    <a:pt x="198" y="71"/>
                  </a:lnTo>
                  <a:lnTo>
                    <a:pt x="198" y="71"/>
                  </a:lnTo>
                  <a:lnTo>
                    <a:pt x="202" y="69"/>
                  </a:lnTo>
                  <a:lnTo>
                    <a:pt x="204" y="69"/>
                  </a:lnTo>
                  <a:lnTo>
                    <a:pt x="206" y="69"/>
                  </a:lnTo>
                  <a:lnTo>
                    <a:pt x="213" y="69"/>
                  </a:lnTo>
                  <a:lnTo>
                    <a:pt x="219" y="67"/>
                  </a:lnTo>
                  <a:lnTo>
                    <a:pt x="227" y="67"/>
                  </a:lnTo>
                  <a:lnTo>
                    <a:pt x="235" y="65"/>
                  </a:lnTo>
                  <a:lnTo>
                    <a:pt x="245" y="65"/>
                  </a:lnTo>
                  <a:lnTo>
                    <a:pt x="254" y="63"/>
                  </a:lnTo>
                  <a:lnTo>
                    <a:pt x="264" y="63"/>
                  </a:lnTo>
                  <a:lnTo>
                    <a:pt x="274" y="61"/>
                  </a:lnTo>
                  <a:lnTo>
                    <a:pt x="282" y="61"/>
                  </a:lnTo>
                  <a:lnTo>
                    <a:pt x="290" y="59"/>
                  </a:lnTo>
                  <a:lnTo>
                    <a:pt x="297" y="59"/>
                  </a:lnTo>
                  <a:lnTo>
                    <a:pt x="301" y="57"/>
                  </a:lnTo>
                  <a:lnTo>
                    <a:pt x="305" y="57"/>
                  </a:lnTo>
                  <a:lnTo>
                    <a:pt x="307" y="57"/>
                  </a:lnTo>
                  <a:lnTo>
                    <a:pt x="309" y="57"/>
                  </a:lnTo>
                  <a:lnTo>
                    <a:pt x="313" y="55"/>
                  </a:lnTo>
                  <a:lnTo>
                    <a:pt x="313" y="55"/>
                  </a:lnTo>
                  <a:lnTo>
                    <a:pt x="317" y="55"/>
                  </a:lnTo>
                  <a:lnTo>
                    <a:pt x="319" y="55"/>
                  </a:lnTo>
                  <a:lnTo>
                    <a:pt x="327" y="55"/>
                  </a:lnTo>
                  <a:lnTo>
                    <a:pt x="340" y="53"/>
                  </a:lnTo>
                  <a:lnTo>
                    <a:pt x="354" y="51"/>
                  </a:lnTo>
                  <a:lnTo>
                    <a:pt x="370" y="51"/>
                  </a:lnTo>
                  <a:lnTo>
                    <a:pt x="391" y="49"/>
                  </a:lnTo>
                  <a:lnTo>
                    <a:pt x="411" y="47"/>
                  </a:lnTo>
                  <a:lnTo>
                    <a:pt x="434" y="45"/>
                  </a:lnTo>
                  <a:lnTo>
                    <a:pt x="456" y="43"/>
                  </a:lnTo>
                  <a:lnTo>
                    <a:pt x="477" y="39"/>
                  </a:lnTo>
                  <a:lnTo>
                    <a:pt x="495" y="37"/>
                  </a:lnTo>
                  <a:lnTo>
                    <a:pt x="514" y="37"/>
                  </a:lnTo>
                  <a:lnTo>
                    <a:pt x="528" y="34"/>
                  </a:lnTo>
                  <a:lnTo>
                    <a:pt x="540" y="32"/>
                  </a:lnTo>
                  <a:lnTo>
                    <a:pt x="546" y="32"/>
                  </a:lnTo>
                  <a:lnTo>
                    <a:pt x="551" y="32"/>
                  </a:lnTo>
                  <a:lnTo>
                    <a:pt x="555" y="30"/>
                  </a:lnTo>
                  <a:lnTo>
                    <a:pt x="557" y="30"/>
                  </a:lnTo>
                  <a:lnTo>
                    <a:pt x="559" y="28"/>
                  </a:lnTo>
                  <a:lnTo>
                    <a:pt x="559" y="28"/>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TN</a:t>
              </a:r>
            </a:p>
          </p:txBody>
        </p:sp>
        <p:sp>
          <p:nvSpPr>
            <p:cNvPr id="147" name="Freeform 14">
              <a:extLst>
                <a:ext uri="{FF2B5EF4-FFF2-40B4-BE49-F238E27FC236}">
                  <a16:creationId xmlns:a16="http://schemas.microsoft.com/office/drawing/2014/main" id="{48956AF8-CB93-5E79-1BDB-B43C8559B805}"/>
                </a:ext>
              </a:extLst>
            </p:cNvPr>
            <p:cNvSpPr>
              <a:spLocks/>
            </p:cNvSpPr>
            <p:nvPr/>
          </p:nvSpPr>
          <p:spPr bwMode="auto">
            <a:xfrm>
              <a:off x="2403" y="490"/>
              <a:ext cx="612" cy="361"/>
            </a:xfrm>
            <a:custGeom>
              <a:avLst/>
              <a:gdLst>
                <a:gd name="T0" fmla="*/ 594 w 612"/>
                <a:gd name="T1" fmla="*/ 10 h 361"/>
                <a:gd name="T2" fmla="*/ 588 w 612"/>
                <a:gd name="T3" fmla="*/ 20 h 361"/>
                <a:gd name="T4" fmla="*/ 573 w 612"/>
                <a:gd name="T5" fmla="*/ 33 h 361"/>
                <a:gd name="T6" fmla="*/ 579 w 612"/>
                <a:gd name="T7" fmla="*/ 45 h 361"/>
                <a:gd name="T8" fmla="*/ 598 w 612"/>
                <a:gd name="T9" fmla="*/ 59 h 361"/>
                <a:gd name="T10" fmla="*/ 606 w 612"/>
                <a:gd name="T11" fmla="*/ 67 h 361"/>
                <a:gd name="T12" fmla="*/ 608 w 612"/>
                <a:gd name="T13" fmla="*/ 164 h 361"/>
                <a:gd name="T14" fmla="*/ 600 w 612"/>
                <a:gd name="T15" fmla="*/ 256 h 361"/>
                <a:gd name="T16" fmla="*/ 600 w 612"/>
                <a:gd name="T17" fmla="*/ 262 h 361"/>
                <a:gd name="T18" fmla="*/ 604 w 612"/>
                <a:gd name="T19" fmla="*/ 268 h 361"/>
                <a:gd name="T20" fmla="*/ 604 w 612"/>
                <a:gd name="T21" fmla="*/ 279 h 361"/>
                <a:gd name="T22" fmla="*/ 602 w 612"/>
                <a:gd name="T23" fmla="*/ 281 h 361"/>
                <a:gd name="T24" fmla="*/ 602 w 612"/>
                <a:gd name="T25" fmla="*/ 283 h 361"/>
                <a:gd name="T26" fmla="*/ 604 w 612"/>
                <a:gd name="T27" fmla="*/ 285 h 361"/>
                <a:gd name="T28" fmla="*/ 610 w 612"/>
                <a:gd name="T29" fmla="*/ 287 h 361"/>
                <a:gd name="T30" fmla="*/ 612 w 612"/>
                <a:gd name="T31" fmla="*/ 295 h 361"/>
                <a:gd name="T32" fmla="*/ 608 w 612"/>
                <a:gd name="T33" fmla="*/ 303 h 361"/>
                <a:gd name="T34" fmla="*/ 610 w 612"/>
                <a:gd name="T35" fmla="*/ 307 h 361"/>
                <a:gd name="T36" fmla="*/ 608 w 612"/>
                <a:gd name="T37" fmla="*/ 311 h 361"/>
                <a:gd name="T38" fmla="*/ 606 w 612"/>
                <a:gd name="T39" fmla="*/ 318 h 361"/>
                <a:gd name="T40" fmla="*/ 604 w 612"/>
                <a:gd name="T41" fmla="*/ 322 h 361"/>
                <a:gd name="T42" fmla="*/ 602 w 612"/>
                <a:gd name="T43" fmla="*/ 326 h 361"/>
                <a:gd name="T44" fmla="*/ 602 w 612"/>
                <a:gd name="T45" fmla="*/ 328 h 361"/>
                <a:gd name="T46" fmla="*/ 598 w 612"/>
                <a:gd name="T47" fmla="*/ 336 h 361"/>
                <a:gd name="T48" fmla="*/ 606 w 612"/>
                <a:gd name="T49" fmla="*/ 344 h 361"/>
                <a:gd name="T50" fmla="*/ 608 w 612"/>
                <a:gd name="T51" fmla="*/ 346 h 361"/>
                <a:gd name="T52" fmla="*/ 608 w 612"/>
                <a:gd name="T53" fmla="*/ 350 h 361"/>
                <a:gd name="T54" fmla="*/ 610 w 612"/>
                <a:gd name="T55" fmla="*/ 352 h 361"/>
                <a:gd name="T56" fmla="*/ 602 w 612"/>
                <a:gd name="T57" fmla="*/ 358 h 361"/>
                <a:gd name="T58" fmla="*/ 594 w 612"/>
                <a:gd name="T59" fmla="*/ 348 h 361"/>
                <a:gd name="T60" fmla="*/ 594 w 612"/>
                <a:gd name="T61" fmla="*/ 344 h 361"/>
                <a:gd name="T62" fmla="*/ 586 w 612"/>
                <a:gd name="T63" fmla="*/ 342 h 361"/>
                <a:gd name="T64" fmla="*/ 573 w 612"/>
                <a:gd name="T65" fmla="*/ 336 h 361"/>
                <a:gd name="T66" fmla="*/ 565 w 612"/>
                <a:gd name="T67" fmla="*/ 334 h 361"/>
                <a:gd name="T68" fmla="*/ 553 w 612"/>
                <a:gd name="T69" fmla="*/ 328 h 361"/>
                <a:gd name="T70" fmla="*/ 526 w 612"/>
                <a:gd name="T71" fmla="*/ 326 h 361"/>
                <a:gd name="T72" fmla="*/ 512 w 612"/>
                <a:gd name="T73" fmla="*/ 326 h 361"/>
                <a:gd name="T74" fmla="*/ 497 w 612"/>
                <a:gd name="T75" fmla="*/ 328 h 361"/>
                <a:gd name="T76" fmla="*/ 493 w 612"/>
                <a:gd name="T77" fmla="*/ 334 h 361"/>
                <a:gd name="T78" fmla="*/ 481 w 612"/>
                <a:gd name="T79" fmla="*/ 332 h 361"/>
                <a:gd name="T80" fmla="*/ 461 w 612"/>
                <a:gd name="T81" fmla="*/ 320 h 361"/>
                <a:gd name="T82" fmla="*/ 448 w 612"/>
                <a:gd name="T83" fmla="*/ 313 h 361"/>
                <a:gd name="T84" fmla="*/ 373 w 612"/>
                <a:gd name="T85" fmla="*/ 313 h 361"/>
                <a:gd name="T86" fmla="*/ 289 w 612"/>
                <a:gd name="T87" fmla="*/ 313 h 361"/>
                <a:gd name="T88" fmla="*/ 207 w 612"/>
                <a:gd name="T89" fmla="*/ 313 h 361"/>
                <a:gd name="T90" fmla="*/ 125 w 612"/>
                <a:gd name="T91" fmla="*/ 311 h 361"/>
                <a:gd name="T92" fmla="*/ 41 w 612"/>
                <a:gd name="T93" fmla="*/ 309 h 361"/>
                <a:gd name="T94" fmla="*/ 2 w 612"/>
                <a:gd name="T95" fmla="*/ 268 h 361"/>
                <a:gd name="T96" fmla="*/ 4 w 612"/>
                <a:gd name="T97" fmla="*/ 188 h 361"/>
                <a:gd name="T98" fmla="*/ 6 w 612"/>
                <a:gd name="T99" fmla="*/ 111 h 361"/>
                <a:gd name="T100" fmla="*/ 10 w 612"/>
                <a:gd name="T101" fmla="*/ 67 h 361"/>
                <a:gd name="T102" fmla="*/ 12 w 612"/>
                <a:gd name="T103" fmla="*/ 0 h 361"/>
                <a:gd name="T104" fmla="*/ 123 w 612"/>
                <a:gd name="T105" fmla="*/ 2 h 361"/>
                <a:gd name="T106" fmla="*/ 231 w 612"/>
                <a:gd name="T107" fmla="*/ 4 h 361"/>
                <a:gd name="T108" fmla="*/ 340 w 612"/>
                <a:gd name="T109" fmla="*/ 4 h 361"/>
                <a:gd name="T110" fmla="*/ 448 w 612"/>
                <a:gd name="T111" fmla="*/ 4 h 361"/>
                <a:gd name="T112" fmla="*/ 559 w 612"/>
                <a:gd name="T113" fmla="*/ 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2" h="361">
                  <a:moveTo>
                    <a:pt x="596" y="0"/>
                  </a:moveTo>
                  <a:lnTo>
                    <a:pt x="594" y="2"/>
                  </a:lnTo>
                  <a:lnTo>
                    <a:pt x="594" y="2"/>
                  </a:lnTo>
                  <a:lnTo>
                    <a:pt x="594" y="2"/>
                  </a:lnTo>
                  <a:lnTo>
                    <a:pt x="594" y="4"/>
                  </a:lnTo>
                  <a:lnTo>
                    <a:pt x="594" y="10"/>
                  </a:lnTo>
                  <a:lnTo>
                    <a:pt x="594" y="12"/>
                  </a:lnTo>
                  <a:lnTo>
                    <a:pt x="592" y="14"/>
                  </a:lnTo>
                  <a:lnTo>
                    <a:pt x="590" y="18"/>
                  </a:lnTo>
                  <a:lnTo>
                    <a:pt x="590" y="20"/>
                  </a:lnTo>
                  <a:lnTo>
                    <a:pt x="588" y="20"/>
                  </a:lnTo>
                  <a:lnTo>
                    <a:pt x="588" y="20"/>
                  </a:lnTo>
                  <a:lnTo>
                    <a:pt x="586" y="22"/>
                  </a:lnTo>
                  <a:lnTo>
                    <a:pt x="579" y="27"/>
                  </a:lnTo>
                  <a:lnTo>
                    <a:pt x="579" y="27"/>
                  </a:lnTo>
                  <a:lnTo>
                    <a:pt x="577" y="29"/>
                  </a:lnTo>
                  <a:lnTo>
                    <a:pt x="575" y="31"/>
                  </a:lnTo>
                  <a:lnTo>
                    <a:pt x="573" y="33"/>
                  </a:lnTo>
                  <a:lnTo>
                    <a:pt x="573" y="33"/>
                  </a:lnTo>
                  <a:lnTo>
                    <a:pt x="573" y="35"/>
                  </a:lnTo>
                  <a:lnTo>
                    <a:pt x="571" y="37"/>
                  </a:lnTo>
                  <a:lnTo>
                    <a:pt x="573" y="39"/>
                  </a:lnTo>
                  <a:lnTo>
                    <a:pt x="577" y="43"/>
                  </a:lnTo>
                  <a:lnTo>
                    <a:pt x="579" y="45"/>
                  </a:lnTo>
                  <a:lnTo>
                    <a:pt x="583" y="51"/>
                  </a:lnTo>
                  <a:lnTo>
                    <a:pt x="586" y="55"/>
                  </a:lnTo>
                  <a:lnTo>
                    <a:pt x="586" y="57"/>
                  </a:lnTo>
                  <a:lnTo>
                    <a:pt x="592" y="57"/>
                  </a:lnTo>
                  <a:lnTo>
                    <a:pt x="596" y="57"/>
                  </a:lnTo>
                  <a:lnTo>
                    <a:pt x="598" y="59"/>
                  </a:lnTo>
                  <a:lnTo>
                    <a:pt x="600" y="59"/>
                  </a:lnTo>
                  <a:lnTo>
                    <a:pt x="602" y="61"/>
                  </a:lnTo>
                  <a:lnTo>
                    <a:pt x="602" y="61"/>
                  </a:lnTo>
                  <a:lnTo>
                    <a:pt x="604" y="65"/>
                  </a:lnTo>
                  <a:lnTo>
                    <a:pt x="604" y="67"/>
                  </a:lnTo>
                  <a:lnTo>
                    <a:pt x="606" y="67"/>
                  </a:lnTo>
                  <a:lnTo>
                    <a:pt x="606" y="67"/>
                  </a:lnTo>
                  <a:lnTo>
                    <a:pt x="606" y="72"/>
                  </a:lnTo>
                  <a:lnTo>
                    <a:pt x="606" y="94"/>
                  </a:lnTo>
                  <a:lnTo>
                    <a:pt x="606" y="117"/>
                  </a:lnTo>
                  <a:lnTo>
                    <a:pt x="608" y="141"/>
                  </a:lnTo>
                  <a:lnTo>
                    <a:pt x="608" y="164"/>
                  </a:lnTo>
                  <a:lnTo>
                    <a:pt x="608" y="186"/>
                  </a:lnTo>
                  <a:lnTo>
                    <a:pt x="610" y="209"/>
                  </a:lnTo>
                  <a:lnTo>
                    <a:pt x="610" y="233"/>
                  </a:lnTo>
                  <a:lnTo>
                    <a:pt x="612" y="256"/>
                  </a:lnTo>
                  <a:lnTo>
                    <a:pt x="600" y="256"/>
                  </a:lnTo>
                  <a:lnTo>
                    <a:pt x="600" y="256"/>
                  </a:lnTo>
                  <a:lnTo>
                    <a:pt x="600" y="258"/>
                  </a:lnTo>
                  <a:lnTo>
                    <a:pt x="600" y="258"/>
                  </a:lnTo>
                  <a:lnTo>
                    <a:pt x="600" y="258"/>
                  </a:lnTo>
                  <a:lnTo>
                    <a:pt x="600" y="260"/>
                  </a:lnTo>
                  <a:lnTo>
                    <a:pt x="600" y="260"/>
                  </a:lnTo>
                  <a:lnTo>
                    <a:pt x="600" y="262"/>
                  </a:lnTo>
                  <a:lnTo>
                    <a:pt x="600" y="262"/>
                  </a:lnTo>
                  <a:lnTo>
                    <a:pt x="600" y="264"/>
                  </a:lnTo>
                  <a:lnTo>
                    <a:pt x="602" y="264"/>
                  </a:lnTo>
                  <a:lnTo>
                    <a:pt x="602" y="266"/>
                  </a:lnTo>
                  <a:lnTo>
                    <a:pt x="604" y="266"/>
                  </a:lnTo>
                  <a:lnTo>
                    <a:pt x="604" y="268"/>
                  </a:lnTo>
                  <a:lnTo>
                    <a:pt x="604" y="268"/>
                  </a:lnTo>
                  <a:lnTo>
                    <a:pt x="606" y="268"/>
                  </a:lnTo>
                  <a:lnTo>
                    <a:pt x="606" y="274"/>
                  </a:lnTo>
                  <a:lnTo>
                    <a:pt x="606" y="277"/>
                  </a:lnTo>
                  <a:lnTo>
                    <a:pt x="604" y="279"/>
                  </a:lnTo>
                  <a:lnTo>
                    <a:pt x="604" y="279"/>
                  </a:lnTo>
                  <a:lnTo>
                    <a:pt x="604" y="279"/>
                  </a:lnTo>
                  <a:lnTo>
                    <a:pt x="604" y="279"/>
                  </a:lnTo>
                  <a:lnTo>
                    <a:pt x="602" y="279"/>
                  </a:lnTo>
                  <a:lnTo>
                    <a:pt x="602" y="279"/>
                  </a:lnTo>
                  <a:lnTo>
                    <a:pt x="602" y="279"/>
                  </a:lnTo>
                  <a:lnTo>
                    <a:pt x="602" y="281"/>
                  </a:lnTo>
                  <a:lnTo>
                    <a:pt x="602" y="281"/>
                  </a:lnTo>
                  <a:lnTo>
                    <a:pt x="604" y="281"/>
                  </a:lnTo>
                  <a:lnTo>
                    <a:pt x="604" y="283"/>
                  </a:lnTo>
                  <a:lnTo>
                    <a:pt x="604" y="283"/>
                  </a:lnTo>
                  <a:lnTo>
                    <a:pt x="604" y="283"/>
                  </a:lnTo>
                  <a:lnTo>
                    <a:pt x="602" y="283"/>
                  </a:lnTo>
                  <a:lnTo>
                    <a:pt x="602" y="285"/>
                  </a:lnTo>
                  <a:lnTo>
                    <a:pt x="602" y="285"/>
                  </a:lnTo>
                  <a:lnTo>
                    <a:pt x="602" y="285"/>
                  </a:lnTo>
                  <a:lnTo>
                    <a:pt x="604" y="285"/>
                  </a:lnTo>
                  <a:lnTo>
                    <a:pt x="604" y="285"/>
                  </a:lnTo>
                  <a:lnTo>
                    <a:pt x="604" y="285"/>
                  </a:lnTo>
                  <a:lnTo>
                    <a:pt x="606" y="285"/>
                  </a:lnTo>
                  <a:lnTo>
                    <a:pt x="608" y="287"/>
                  </a:lnTo>
                  <a:lnTo>
                    <a:pt x="608" y="287"/>
                  </a:lnTo>
                  <a:lnTo>
                    <a:pt x="608" y="285"/>
                  </a:lnTo>
                  <a:lnTo>
                    <a:pt x="610" y="285"/>
                  </a:lnTo>
                  <a:lnTo>
                    <a:pt x="610" y="287"/>
                  </a:lnTo>
                  <a:lnTo>
                    <a:pt x="610" y="287"/>
                  </a:lnTo>
                  <a:lnTo>
                    <a:pt x="610" y="287"/>
                  </a:lnTo>
                  <a:lnTo>
                    <a:pt x="610" y="289"/>
                  </a:lnTo>
                  <a:lnTo>
                    <a:pt x="612" y="293"/>
                  </a:lnTo>
                  <a:lnTo>
                    <a:pt x="612" y="293"/>
                  </a:lnTo>
                  <a:lnTo>
                    <a:pt x="612" y="295"/>
                  </a:lnTo>
                  <a:lnTo>
                    <a:pt x="612" y="295"/>
                  </a:lnTo>
                  <a:lnTo>
                    <a:pt x="612" y="295"/>
                  </a:lnTo>
                  <a:lnTo>
                    <a:pt x="612" y="301"/>
                  </a:lnTo>
                  <a:lnTo>
                    <a:pt x="612" y="301"/>
                  </a:lnTo>
                  <a:lnTo>
                    <a:pt x="610" y="301"/>
                  </a:lnTo>
                  <a:lnTo>
                    <a:pt x="608" y="303"/>
                  </a:lnTo>
                  <a:lnTo>
                    <a:pt x="608" y="305"/>
                  </a:lnTo>
                  <a:lnTo>
                    <a:pt x="608" y="305"/>
                  </a:lnTo>
                  <a:lnTo>
                    <a:pt x="608" y="305"/>
                  </a:lnTo>
                  <a:lnTo>
                    <a:pt x="608" y="305"/>
                  </a:lnTo>
                  <a:lnTo>
                    <a:pt x="608" y="307"/>
                  </a:lnTo>
                  <a:lnTo>
                    <a:pt x="610" y="307"/>
                  </a:lnTo>
                  <a:lnTo>
                    <a:pt x="608" y="307"/>
                  </a:lnTo>
                  <a:lnTo>
                    <a:pt x="608" y="309"/>
                  </a:lnTo>
                  <a:lnTo>
                    <a:pt x="608" y="309"/>
                  </a:lnTo>
                  <a:lnTo>
                    <a:pt x="608" y="309"/>
                  </a:lnTo>
                  <a:lnTo>
                    <a:pt x="608" y="309"/>
                  </a:lnTo>
                  <a:lnTo>
                    <a:pt x="608" y="311"/>
                  </a:lnTo>
                  <a:lnTo>
                    <a:pt x="608" y="313"/>
                  </a:lnTo>
                  <a:lnTo>
                    <a:pt x="608" y="313"/>
                  </a:lnTo>
                  <a:lnTo>
                    <a:pt x="608" y="313"/>
                  </a:lnTo>
                  <a:lnTo>
                    <a:pt x="606" y="315"/>
                  </a:lnTo>
                  <a:lnTo>
                    <a:pt x="606" y="315"/>
                  </a:lnTo>
                  <a:lnTo>
                    <a:pt x="606" y="318"/>
                  </a:lnTo>
                  <a:lnTo>
                    <a:pt x="606" y="320"/>
                  </a:lnTo>
                  <a:lnTo>
                    <a:pt x="606" y="322"/>
                  </a:lnTo>
                  <a:lnTo>
                    <a:pt x="606" y="322"/>
                  </a:lnTo>
                  <a:lnTo>
                    <a:pt x="606" y="322"/>
                  </a:lnTo>
                  <a:lnTo>
                    <a:pt x="606" y="322"/>
                  </a:lnTo>
                  <a:lnTo>
                    <a:pt x="604" y="322"/>
                  </a:lnTo>
                  <a:lnTo>
                    <a:pt x="604" y="324"/>
                  </a:lnTo>
                  <a:lnTo>
                    <a:pt x="604" y="324"/>
                  </a:lnTo>
                  <a:lnTo>
                    <a:pt x="604" y="326"/>
                  </a:lnTo>
                  <a:lnTo>
                    <a:pt x="604" y="326"/>
                  </a:lnTo>
                  <a:lnTo>
                    <a:pt x="604" y="326"/>
                  </a:lnTo>
                  <a:lnTo>
                    <a:pt x="602" y="326"/>
                  </a:lnTo>
                  <a:lnTo>
                    <a:pt x="602" y="326"/>
                  </a:lnTo>
                  <a:lnTo>
                    <a:pt x="602" y="326"/>
                  </a:lnTo>
                  <a:lnTo>
                    <a:pt x="602" y="328"/>
                  </a:lnTo>
                  <a:lnTo>
                    <a:pt x="602" y="328"/>
                  </a:lnTo>
                  <a:lnTo>
                    <a:pt x="602" y="328"/>
                  </a:lnTo>
                  <a:lnTo>
                    <a:pt x="602" y="328"/>
                  </a:lnTo>
                  <a:lnTo>
                    <a:pt x="602" y="330"/>
                  </a:lnTo>
                  <a:lnTo>
                    <a:pt x="602" y="330"/>
                  </a:lnTo>
                  <a:lnTo>
                    <a:pt x="600" y="332"/>
                  </a:lnTo>
                  <a:lnTo>
                    <a:pt x="600" y="334"/>
                  </a:lnTo>
                  <a:lnTo>
                    <a:pt x="600" y="334"/>
                  </a:lnTo>
                  <a:lnTo>
                    <a:pt x="598" y="336"/>
                  </a:lnTo>
                  <a:lnTo>
                    <a:pt x="600" y="336"/>
                  </a:lnTo>
                  <a:lnTo>
                    <a:pt x="600" y="338"/>
                  </a:lnTo>
                  <a:lnTo>
                    <a:pt x="600" y="340"/>
                  </a:lnTo>
                  <a:lnTo>
                    <a:pt x="602" y="340"/>
                  </a:lnTo>
                  <a:lnTo>
                    <a:pt x="602" y="340"/>
                  </a:lnTo>
                  <a:lnTo>
                    <a:pt x="606" y="344"/>
                  </a:lnTo>
                  <a:lnTo>
                    <a:pt x="608" y="344"/>
                  </a:lnTo>
                  <a:lnTo>
                    <a:pt x="608" y="344"/>
                  </a:lnTo>
                  <a:lnTo>
                    <a:pt x="608" y="346"/>
                  </a:lnTo>
                  <a:lnTo>
                    <a:pt x="608" y="346"/>
                  </a:lnTo>
                  <a:lnTo>
                    <a:pt x="608" y="346"/>
                  </a:lnTo>
                  <a:lnTo>
                    <a:pt x="608" y="346"/>
                  </a:lnTo>
                  <a:lnTo>
                    <a:pt x="608" y="348"/>
                  </a:lnTo>
                  <a:lnTo>
                    <a:pt x="606" y="348"/>
                  </a:lnTo>
                  <a:lnTo>
                    <a:pt x="606" y="348"/>
                  </a:lnTo>
                  <a:lnTo>
                    <a:pt x="608" y="348"/>
                  </a:lnTo>
                  <a:lnTo>
                    <a:pt x="608" y="348"/>
                  </a:lnTo>
                  <a:lnTo>
                    <a:pt x="608" y="350"/>
                  </a:lnTo>
                  <a:lnTo>
                    <a:pt x="610" y="350"/>
                  </a:lnTo>
                  <a:lnTo>
                    <a:pt x="610" y="350"/>
                  </a:lnTo>
                  <a:lnTo>
                    <a:pt x="610" y="350"/>
                  </a:lnTo>
                  <a:lnTo>
                    <a:pt x="610" y="352"/>
                  </a:lnTo>
                  <a:lnTo>
                    <a:pt x="610" y="352"/>
                  </a:lnTo>
                  <a:lnTo>
                    <a:pt x="610" y="352"/>
                  </a:lnTo>
                  <a:lnTo>
                    <a:pt x="610" y="354"/>
                  </a:lnTo>
                  <a:lnTo>
                    <a:pt x="610" y="354"/>
                  </a:lnTo>
                  <a:lnTo>
                    <a:pt x="612" y="354"/>
                  </a:lnTo>
                  <a:lnTo>
                    <a:pt x="612" y="356"/>
                  </a:lnTo>
                  <a:lnTo>
                    <a:pt x="612" y="361"/>
                  </a:lnTo>
                  <a:lnTo>
                    <a:pt x="602" y="358"/>
                  </a:lnTo>
                  <a:lnTo>
                    <a:pt x="600" y="358"/>
                  </a:lnTo>
                  <a:lnTo>
                    <a:pt x="600" y="356"/>
                  </a:lnTo>
                  <a:lnTo>
                    <a:pt x="600" y="354"/>
                  </a:lnTo>
                  <a:lnTo>
                    <a:pt x="598" y="352"/>
                  </a:lnTo>
                  <a:lnTo>
                    <a:pt x="594" y="350"/>
                  </a:lnTo>
                  <a:lnTo>
                    <a:pt x="594" y="348"/>
                  </a:lnTo>
                  <a:lnTo>
                    <a:pt x="594" y="348"/>
                  </a:lnTo>
                  <a:lnTo>
                    <a:pt x="594" y="346"/>
                  </a:lnTo>
                  <a:lnTo>
                    <a:pt x="594" y="346"/>
                  </a:lnTo>
                  <a:lnTo>
                    <a:pt x="594" y="344"/>
                  </a:lnTo>
                  <a:lnTo>
                    <a:pt x="594" y="344"/>
                  </a:lnTo>
                  <a:lnTo>
                    <a:pt x="594" y="344"/>
                  </a:lnTo>
                  <a:lnTo>
                    <a:pt x="592" y="342"/>
                  </a:lnTo>
                  <a:lnTo>
                    <a:pt x="592" y="342"/>
                  </a:lnTo>
                  <a:lnTo>
                    <a:pt x="588" y="344"/>
                  </a:lnTo>
                  <a:lnTo>
                    <a:pt x="588" y="344"/>
                  </a:lnTo>
                  <a:lnTo>
                    <a:pt x="586" y="342"/>
                  </a:lnTo>
                  <a:lnTo>
                    <a:pt x="586" y="342"/>
                  </a:lnTo>
                  <a:lnTo>
                    <a:pt x="586" y="342"/>
                  </a:lnTo>
                  <a:lnTo>
                    <a:pt x="583" y="340"/>
                  </a:lnTo>
                  <a:lnTo>
                    <a:pt x="583" y="340"/>
                  </a:lnTo>
                  <a:lnTo>
                    <a:pt x="583" y="338"/>
                  </a:lnTo>
                  <a:lnTo>
                    <a:pt x="581" y="338"/>
                  </a:lnTo>
                  <a:lnTo>
                    <a:pt x="573" y="336"/>
                  </a:lnTo>
                  <a:lnTo>
                    <a:pt x="571" y="336"/>
                  </a:lnTo>
                  <a:lnTo>
                    <a:pt x="571" y="336"/>
                  </a:lnTo>
                  <a:lnTo>
                    <a:pt x="571" y="336"/>
                  </a:lnTo>
                  <a:lnTo>
                    <a:pt x="569" y="334"/>
                  </a:lnTo>
                  <a:lnTo>
                    <a:pt x="567" y="334"/>
                  </a:lnTo>
                  <a:lnTo>
                    <a:pt x="565" y="334"/>
                  </a:lnTo>
                  <a:lnTo>
                    <a:pt x="565" y="334"/>
                  </a:lnTo>
                  <a:lnTo>
                    <a:pt x="561" y="334"/>
                  </a:lnTo>
                  <a:lnTo>
                    <a:pt x="559" y="332"/>
                  </a:lnTo>
                  <a:lnTo>
                    <a:pt x="557" y="332"/>
                  </a:lnTo>
                  <a:lnTo>
                    <a:pt x="555" y="330"/>
                  </a:lnTo>
                  <a:lnTo>
                    <a:pt x="553" y="328"/>
                  </a:lnTo>
                  <a:lnTo>
                    <a:pt x="551" y="326"/>
                  </a:lnTo>
                  <a:lnTo>
                    <a:pt x="549" y="324"/>
                  </a:lnTo>
                  <a:lnTo>
                    <a:pt x="547" y="324"/>
                  </a:lnTo>
                  <a:lnTo>
                    <a:pt x="545" y="322"/>
                  </a:lnTo>
                  <a:lnTo>
                    <a:pt x="528" y="326"/>
                  </a:lnTo>
                  <a:lnTo>
                    <a:pt x="526" y="326"/>
                  </a:lnTo>
                  <a:lnTo>
                    <a:pt x="520" y="324"/>
                  </a:lnTo>
                  <a:lnTo>
                    <a:pt x="518" y="326"/>
                  </a:lnTo>
                  <a:lnTo>
                    <a:pt x="516" y="328"/>
                  </a:lnTo>
                  <a:lnTo>
                    <a:pt x="514" y="328"/>
                  </a:lnTo>
                  <a:lnTo>
                    <a:pt x="512" y="326"/>
                  </a:lnTo>
                  <a:lnTo>
                    <a:pt x="512" y="326"/>
                  </a:lnTo>
                  <a:lnTo>
                    <a:pt x="510" y="326"/>
                  </a:lnTo>
                  <a:lnTo>
                    <a:pt x="506" y="326"/>
                  </a:lnTo>
                  <a:lnTo>
                    <a:pt x="502" y="326"/>
                  </a:lnTo>
                  <a:lnTo>
                    <a:pt x="500" y="326"/>
                  </a:lnTo>
                  <a:lnTo>
                    <a:pt x="497" y="326"/>
                  </a:lnTo>
                  <a:lnTo>
                    <a:pt x="497" y="328"/>
                  </a:lnTo>
                  <a:lnTo>
                    <a:pt x="497" y="328"/>
                  </a:lnTo>
                  <a:lnTo>
                    <a:pt x="495" y="330"/>
                  </a:lnTo>
                  <a:lnTo>
                    <a:pt x="495" y="332"/>
                  </a:lnTo>
                  <a:lnTo>
                    <a:pt x="495" y="332"/>
                  </a:lnTo>
                  <a:lnTo>
                    <a:pt x="495" y="332"/>
                  </a:lnTo>
                  <a:lnTo>
                    <a:pt x="493" y="334"/>
                  </a:lnTo>
                  <a:lnTo>
                    <a:pt x="491" y="334"/>
                  </a:lnTo>
                  <a:lnTo>
                    <a:pt x="489" y="334"/>
                  </a:lnTo>
                  <a:lnTo>
                    <a:pt x="487" y="334"/>
                  </a:lnTo>
                  <a:lnTo>
                    <a:pt x="481" y="332"/>
                  </a:lnTo>
                  <a:lnTo>
                    <a:pt x="481" y="332"/>
                  </a:lnTo>
                  <a:lnTo>
                    <a:pt x="481" y="332"/>
                  </a:lnTo>
                  <a:lnTo>
                    <a:pt x="479" y="330"/>
                  </a:lnTo>
                  <a:lnTo>
                    <a:pt x="469" y="326"/>
                  </a:lnTo>
                  <a:lnTo>
                    <a:pt x="465" y="324"/>
                  </a:lnTo>
                  <a:lnTo>
                    <a:pt x="461" y="322"/>
                  </a:lnTo>
                  <a:lnTo>
                    <a:pt x="461" y="320"/>
                  </a:lnTo>
                  <a:lnTo>
                    <a:pt x="461" y="320"/>
                  </a:lnTo>
                  <a:lnTo>
                    <a:pt x="459" y="320"/>
                  </a:lnTo>
                  <a:lnTo>
                    <a:pt x="450" y="315"/>
                  </a:lnTo>
                  <a:lnTo>
                    <a:pt x="450" y="315"/>
                  </a:lnTo>
                  <a:lnTo>
                    <a:pt x="448" y="313"/>
                  </a:lnTo>
                  <a:lnTo>
                    <a:pt x="448" y="313"/>
                  </a:lnTo>
                  <a:lnTo>
                    <a:pt x="448" y="313"/>
                  </a:lnTo>
                  <a:lnTo>
                    <a:pt x="440" y="313"/>
                  </a:lnTo>
                  <a:lnTo>
                    <a:pt x="428" y="313"/>
                  </a:lnTo>
                  <a:lnTo>
                    <a:pt x="414" y="313"/>
                  </a:lnTo>
                  <a:lnTo>
                    <a:pt x="399" y="313"/>
                  </a:lnTo>
                  <a:lnTo>
                    <a:pt x="387" y="313"/>
                  </a:lnTo>
                  <a:lnTo>
                    <a:pt x="373" y="313"/>
                  </a:lnTo>
                  <a:lnTo>
                    <a:pt x="358" y="313"/>
                  </a:lnTo>
                  <a:lnTo>
                    <a:pt x="344" y="313"/>
                  </a:lnTo>
                  <a:lnTo>
                    <a:pt x="332" y="313"/>
                  </a:lnTo>
                  <a:lnTo>
                    <a:pt x="317" y="313"/>
                  </a:lnTo>
                  <a:lnTo>
                    <a:pt x="303" y="313"/>
                  </a:lnTo>
                  <a:lnTo>
                    <a:pt x="289" y="313"/>
                  </a:lnTo>
                  <a:lnTo>
                    <a:pt x="276" y="313"/>
                  </a:lnTo>
                  <a:lnTo>
                    <a:pt x="262" y="313"/>
                  </a:lnTo>
                  <a:lnTo>
                    <a:pt x="248" y="313"/>
                  </a:lnTo>
                  <a:lnTo>
                    <a:pt x="233" y="313"/>
                  </a:lnTo>
                  <a:lnTo>
                    <a:pt x="221" y="313"/>
                  </a:lnTo>
                  <a:lnTo>
                    <a:pt x="207" y="313"/>
                  </a:lnTo>
                  <a:lnTo>
                    <a:pt x="192" y="311"/>
                  </a:lnTo>
                  <a:lnTo>
                    <a:pt x="180" y="311"/>
                  </a:lnTo>
                  <a:lnTo>
                    <a:pt x="166" y="311"/>
                  </a:lnTo>
                  <a:lnTo>
                    <a:pt x="151" y="311"/>
                  </a:lnTo>
                  <a:lnTo>
                    <a:pt x="137" y="311"/>
                  </a:lnTo>
                  <a:lnTo>
                    <a:pt x="125" y="311"/>
                  </a:lnTo>
                  <a:lnTo>
                    <a:pt x="110" y="311"/>
                  </a:lnTo>
                  <a:lnTo>
                    <a:pt x="96" y="309"/>
                  </a:lnTo>
                  <a:lnTo>
                    <a:pt x="82" y="309"/>
                  </a:lnTo>
                  <a:lnTo>
                    <a:pt x="69" y="309"/>
                  </a:lnTo>
                  <a:lnTo>
                    <a:pt x="55" y="309"/>
                  </a:lnTo>
                  <a:lnTo>
                    <a:pt x="41" y="309"/>
                  </a:lnTo>
                  <a:lnTo>
                    <a:pt x="26" y="309"/>
                  </a:lnTo>
                  <a:lnTo>
                    <a:pt x="14" y="307"/>
                  </a:lnTo>
                  <a:lnTo>
                    <a:pt x="0" y="307"/>
                  </a:lnTo>
                  <a:lnTo>
                    <a:pt x="0" y="295"/>
                  </a:lnTo>
                  <a:lnTo>
                    <a:pt x="0" y="281"/>
                  </a:lnTo>
                  <a:lnTo>
                    <a:pt x="2" y="268"/>
                  </a:lnTo>
                  <a:lnTo>
                    <a:pt x="2" y="254"/>
                  </a:lnTo>
                  <a:lnTo>
                    <a:pt x="2" y="242"/>
                  </a:lnTo>
                  <a:lnTo>
                    <a:pt x="2" y="227"/>
                  </a:lnTo>
                  <a:lnTo>
                    <a:pt x="4" y="215"/>
                  </a:lnTo>
                  <a:lnTo>
                    <a:pt x="4" y="203"/>
                  </a:lnTo>
                  <a:lnTo>
                    <a:pt x="4" y="188"/>
                  </a:lnTo>
                  <a:lnTo>
                    <a:pt x="4" y="176"/>
                  </a:lnTo>
                  <a:lnTo>
                    <a:pt x="4" y="162"/>
                  </a:lnTo>
                  <a:lnTo>
                    <a:pt x="6" y="149"/>
                  </a:lnTo>
                  <a:lnTo>
                    <a:pt x="6" y="137"/>
                  </a:lnTo>
                  <a:lnTo>
                    <a:pt x="6" y="123"/>
                  </a:lnTo>
                  <a:lnTo>
                    <a:pt x="6" y="111"/>
                  </a:lnTo>
                  <a:lnTo>
                    <a:pt x="6" y="96"/>
                  </a:lnTo>
                  <a:lnTo>
                    <a:pt x="10" y="98"/>
                  </a:lnTo>
                  <a:lnTo>
                    <a:pt x="10" y="96"/>
                  </a:lnTo>
                  <a:lnTo>
                    <a:pt x="10" y="90"/>
                  </a:lnTo>
                  <a:lnTo>
                    <a:pt x="10" y="78"/>
                  </a:lnTo>
                  <a:lnTo>
                    <a:pt x="10" y="67"/>
                  </a:lnTo>
                  <a:lnTo>
                    <a:pt x="10" y="55"/>
                  </a:lnTo>
                  <a:lnTo>
                    <a:pt x="12" y="45"/>
                  </a:lnTo>
                  <a:lnTo>
                    <a:pt x="12" y="33"/>
                  </a:lnTo>
                  <a:lnTo>
                    <a:pt x="12" y="22"/>
                  </a:lnTo>
                  <a:lnTo>
                    <a:pt x="12" y="10"/>
                  </a:lnTo>
                  <a:lnTo>
                    <a:pt x="12" y="0"/>
                  </a:lnTo>
                  <a:lnTo>
                    <a:pt x="31" y="0"/>
                  </a:lnTo>
                  <a:lnTo>
                    <a:pt x="49" y="0"/>
                  </a:lnTo>
                  <a:lnTo>
                    <a:pt x="67" y="0"/>
                  </a:lnTo>
                  <a:lnTo>
                    <a:pt x="86" y="2"/>
                  </a:lnTo>
                  <a:lnTo>
                    <a:pt x="104" y="2"/>
                  </a:lnTo>
                  <a:lnTo>
                    <a:pt x="123" y="2"/>
                  </a:lnTo>
                  <a:lnTo>
                    <a:pt x="139" y="2"/>
                  </a:lnTo>
                  <a:lnTo>
                    <a:pt x="157" y="4"/>
                  </a:lnTo>
                  <a:lnTo>
                    <a:pt x="176" y="4"/>
                  </a:lnTo>
                  <a:lnTo>
                    <a:pt x="194" y="4"/>
                  </a:lnTo>
                  <a:lnTo>
                    <a:pt x="213" y="4"/>
                  </a:lnTo>
                  <a:lnTo>
                    <a:pt x="231" y="4"/>
                  </a:lnTo>
                  <a:lnTo>
                    <a:pt x="250" y="4"/>
                  </a:lnTo>
                  <a:lnTo>
                    <a:pt x="268" y="4"/>
                  </a:lnTo>
                  <a:lnTo>
                    <a:pt x="284" y="4"/>
                  </a:lnTo>
                  <a:lnTo>
                    <a:pt x="303" y="4"/>
                  </a:lnTo>
                  <a:lnTo>
                    <a:pt x="321" y="4"/>
                  </a:lnTo>
                  <a:lnTo>
                    <a:pt x="340" y="4"/>
                  </a:lnTo>
                  <a:lnTo>
                    <a:pt x="358" y="4"/>
                  </a:lnTo>
                  <a:lnTo>
                    <a:pt x="377" y="4"/>
                  </a:lnTo>
                  <a:lnTo>
                    <a:pt x="395" y="4"/>
                  </a:lnTo>
                  <a:lnTo>
                    <a:pt x="414" y="4"/>
                  </a:lnTo>
                  <a:lnTo>
                    <a:pt x="432" y="4"/>
                  </a:lnTo>
                  <a:lnTo>
                    <a:pt x="448" y="4"/>
                  </a:lnTo>
                  <a:lnTo>
                    <a:pt x="467" y="4"/>
                  </a:lnTo>
                  <a:lnTo>
                    <a:pt x="485" y="4"/>
                  </a:lnTo>
                  <a:lnTo>
                    <a:pt x="504" y="2"/>
                  </a:lnTo>
                  <a:lnTo>
                    <a:pt x="522" y="2"/>
                  </a:lnTo>
                  <a:lnTo>
                    <a:pt x="540" y="2"/>
                  </a:lnTo>
                  <a:lnTo>
                    <a:pt x="559" y="2"/>
                  </a:lnTo>
                  <a:lnTo>
                    <a:pt x="577" y="2"/>
                  </a:lnTo>
                  <a:lnTo>
                    <a:pt x="596" y="0"/>
                  </a:lnTo>
                  <a:lnTo>
                    <a:pt x="596" y="0"/>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SD</a:t>
              </a:r>
            </a:p>
          </p:txBody>
        </p:sp>
        <p:sp>
          <p:nvSpPr>
            <p:cNvPr id="148" name="Freeform 15">
              <a:extLst>
                <a:ext uri="{FF2B5EF4-FFF2-40B4-BE49-F238E27FC236}">
                  <a16:creationId xmlns:a16="http://schemas.microsoft.com/office/drawing/2014/main" id="{E5BBB3E2-1213-AA78-ECBA-85FAE2DDBBD0}"/>
                </a:ext>
              </a:extLst>
            </p:cNvPr>
            <p:cNvSpPr>
              <a:spLocks noEditPoints="1"/>
            </p:cNvSpPr>
            <p:nvPr/>
          </p:nvSpPr>
          <p:spPr bwMode="auto">
            <a:xfrm>
              <a:off x="4206" y="1500"/>
              <a:ext cx="438" cy="328"/>
            </a:xfrm>
            <a:custGeom>
              <a:avLst/>
              <a:gdLst>
                <a:gd name="T0" fmla="*/ 387 w 438"/>
                <a:gd name="T1" fmla="*/ 193 h 328"/>
                <a:gd name="T2" fmla="*/ 410 w 438"/>
                <a:gd name="T3" fmla="*/ 74 h 328"/>
                <a:gd name="T4" fmla="*/ 324 w 438"/>
                <a:gd name="T5" fmla="*/ 15 h 328"/>
                <a:gd name="T6" fmla="*/ 272 w 438"/>
                <a:gd name="T7" fmla="*/ 23 h 328"/>
                <a:gd name="T8" fmla="*/ 223 w 438"/>
                <a:gd name="T9" fmla="*/ 29 h 328"/>
                <a:gd name="T10" fmla="*/ 205 w 438"/>
                <a:gd name="T11" fmla="*/ 2 h 328"/>
                <a:gd name="T12" fmla="*/ 197 w 438"/>
                <a:gd name="T13" fmla="*/ 6 h 328"/>
                <a:gd name="T14" fmla="*/ 195 w 438"/>
                <a:gd name="T15" fmla="*/ 0 h 328"/>
                <a:gd name="T16" fmla="*/ 125 w 438"/>
                <a:gd name="T17" fmla="*/ 6 h 328"/>
                <a:gd name="T18" fmla="*/ 78 w 438"/>
                <a:gd name="T19" fmla="*/ 12 h 328"/>
                <a:gd name="T20" fmla="*/ 74 w 438"/>
                <a:gd name="T21" fmla="*/ 17 h 328"/>
                <a:gd name="T22" fmla="*/ 57 w 438"/>
                <a:gd name="T23" fmla="*/ 25 h 328"/>
                <a:gd name="T24" fmla="*/ 49 w 438"/>
                <a:gd name="T25" fmla="*/ 31 h 328"/>
                <a:gd name="T26" fmla="*/ 16 w 438"/>
                <a:gd name="T27" fmla="*/ 47 h 328"/>
                <a:gd name="T28" fmla="*/ 4 w 438"/>
                <a:gd name="T29" fmla="*/ 66 h 328"/>
                <a:gd name="T30" fmla="*/ 12 w 438"/>
                <a:gd name="T31" fmla="*/ 86 h 328"/>
                <a:gd name="T32" fmla="*/ 35 w 438"/>
                <a:gd name="T33" fmla="*/ 99 h 328"/>
                <a:gd name="T34" fmla="*/ 66 w 438"/>
                <a:gd name="T35" fmla="*/ 127 h 328"/>
                <a:gd name="T36" fmla="*/ 80 w 438"/>
                <a:gd name="T37" fmla="*/ 142 h 328"/>
                <a:gd name="T38" fmla="*/ 102 w 438"/>
                <a:gd name="T39" fmla="*/ 158 h 328"/>
                <a:gd name="T40" fmla="*/ 133 w 438"/>
                <a:gd name="T41" fmla="*/ 181 h 328"/>
                <a:gd name="T42" fmla="*/ 147 w 438"/>
                <a:gd name="T43" fmla="*/ 199 h 328"/>
                <a:gd name="T44" fmla="*/ 158 w 438"/>
                <a:gd name="T45" fmla="*/ 207 h 328"/>
                <a:gd name="T46" fmla="*/ 168 w 438"/>
                <a:gd name="T47" fmla="*/ 221 h 328"/>
                <a:gd name="T48" fmla="*/ 195 w 438"/>
                <a:gd name="T49" fmla="*/ 236 h 328"/>
                <a:gd name="T50" fmla="*/ 207 w 438"/>
                <a:gd name="T51" fmla="*/ 262 h 328"/>
                <a:gd name="T52" fmla="*/ 209 w 438"/>
                <a:gd name="T53" fmla="*/ 273 h 328"/>
                <a:gd name="T54" fmla="*/ 223 w 438"/>
                <a:gd name="T55" fmla="*/ 281 h 328"/>
                <a:gd name="T56" fmla="*/ 238 w 438"/>
                <a:gd name="T57" fmla="*/ 299 h 328"/>
                <a:gd name="T58" fmla="*/ 240 w 438"/>
                <a:gd name="T59" fmla="*/ 316 h 328"/>
                <a:gd name="T60" fmla="*/ 248 w 438"/>
                <a:gd name="T61" fmla="*/ 326 h 328"/>
                <a:gd name="T62" fmla="*/ 266 w 438"/>
                <a:gd name="T63" fmla="*/ 326 h 328"/>
                <a:gd name="T64" fmla="*/ 272 w 438"/>
                <a:gd name="T65" fmla="*/ 303 h 328"/>
                <a:gd name="T66" fmla="*/ 277 w 438"/>
                <a:gd name="T67" fmla="*/ 301 h 328"/>
                <a:gd name="T68" fmla="*/ 264 w 438"/>
                <a:gd name="T69" fmla="*/ 279 h 328"/>
                <a:gd name="T70" fmla="*/ 268 w 438"/>
                <a:gd name="T71" fmla="*/ 279 h 328"/>
                <a:gd name="T72" fmla="*/ 281 w 438"/>
                <a:gd name="T73" fmla="*/ 291 h 328"/>
                <a:gd name="T74" fmla="*/ 281 w 438"/>
                <a:gd name="T75" fmla="*/ 281 h 328"/>
                <a:gd name="T76" fmla="*/ 293 w 438"/>
                <a:gd name="T77" fmla="*/ 297 h 328"/>
                <a:gd name="T78" fmla="*/ 301 w 438"/>
                <a:gd name="T79" fmla="*/ 283 h 328"/>
                <a:gd name="T80" fmla="*/ 293 w 438"/>
                <a:gd name="T81" fmla="*/ 287 h 328"/>
                <a:gd name="T82" fmla="*/ 295 w 438"/>
                <a:gd name="T83" fmla="*/ 275 h 328"/>
                <a:gd name="T84" fmla="*/ 277 w 438"/>
                <a:gd name="T85" fmla="*/ 273 h 328"/>
                <a:gd name="T86" fmla="*/ 291 w 438"/>
                <a:gd name="T87" fmla="*/ 269 h 328"/>
                <a:gd name="T88" fmla="*/ 305 w 438"/>
                <a:gd name="T89" fmla="*/ 269 h 328"/>
                <a:gd name="T90" fmla="*/ 317 w 438"/>
                <a:gd name="T91" fmla="*/ 262 h 328"/>
                <a:gd name="T92" fmla="*/ 322 w 438"/>
                <a:gd name="T93" fmla="*/ 260 h 328"/>
                <a:gd name="T94" fmla="*/ 334 w 438"/>
                <a:gd name="T95" fmla="*/ 248 h 328"/>
                <a:gd name="T96" fmla="*/ 342 w 438"/>
                <a:gd name="T97" fmla="*/ 238 h 328"/>
                <a:gd name="T98" fmla="*/ 338 w 438"/>
                <a:gd name="T99" fmla="*/ 230 h 328"/>
                <a:gd name="T100" fmla="*/ 340 w 438"/>
                <a:gd name="T101" fmla="*/ 232 h 328"/>
                <a:gd name="T102" fmla="*/ 358 w 438"/>
                <a:gd name="T103" fmla="*/ 221 h 328"/>
                <a:gd name="T104" fmla="*/ 367 w 438"/>
                <a:gd name="T105" fmla="*/ 211 h 328"/>
                <a:gd name="T106" fmla="*/ 371 w 438"/>
                <a:gd name="T107" fmla="*/ 201 h 328"/>
                <a:gd name="T108" fmla="*/ 383 w 438"/>
                <a:gd name="T109" fmla="*/ 195 h 328"/>
                <a:gd name="T110" fmla="*/ 391 w 438"/>
                <a:gd name="T111" fmla="*/ 187 h 328"/>
                <a:gd name="T112" fmla="*/ 393 w 438"/>
                <a:gd name="T113" fmla="*/ 183 h 328"/>
                <a:gd name="T114" fmla="*/ 391 w 438"/>
                <a:gd name="T115" fmla="*/ 172 h 328"/>
                <a:gd name="T116" fmla="*/ 391 w 438"/>
                <a:gd name="T117" fmla="*/ 154 h 328"/>
                <a:gd name="T118" fmla="*/ 397 w 438"/>
                <a:gd name="T119" fmla="*/ 174 h 328"/>
                <a:gd name="T120" fmla="*/ 434 w 438"/>
                <a:gd name="T121" fmla="*/ 99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 h="328">
                  <a:moveTo>
                    <a:pt x="385" y="193"/>
                  </a:moveTo>
                  <a:lnTo>
                    <a:pt x="385" y="195"/>
                  </a:lnTo>
                  <a:lnTo>
                    <a:pt x="385" y="197"/>
                  </a:lnTo>
                  <a:lnTo>
                    <a:pt x="383" y="199"/>
                  </a:lnTo>
                  <a:lnTo>
                    <a:pt x="385" y="201"/>
                  </a:lnTo>
                  <a:lnTo>
                    <a:pt x="385" y="201"/>
                  </a:lnTo>
                  <a:lnTo>
                    <a:pt x="385" y="195"/>
                  </a:lnTo>
                  <a:lnTo>
                    <a:pt x="385" y="195"/>
                  </a:lnTo>
                  <a:lnTo>
                    <a:pt x="387" y="195"/>
                  </a:lnTo>
                  <a:lnTo>
                    <a:pt x="387" y="193"/>
                  </a:lnTo>
                  <a:lnTo>
                    <a:pt x="387" y="193"/>
                  </a:lnTo>
                  <a:lnTo>
                    <a:pt x="385" y="193"/>
                  </a:lnTo>
                  <a:close/>
                  <a:moveTo>
                    <a:pt x="436" y="96"/>
                  </a:moveTo>
                  <a:lnTo>
                    <a:pt x="436" y="96"/>
                  </a:lnTo>
                  <a:lnTo>
                    <a:pt x="436" y="96"/>
                  </a:lnTo>
                  <a:lnTo>
                    <a:pt x="434" y="96"/>
                  </a:lnTo>
                  <a:lnTo>
                    <a:pt x="434" y="94"/>
                  </a:lnTo>
                  <a:lnTo>
                    <a:pt x="436" y="94"/>
                  </a:lnTo>
                  <a:lnTo>
                    <a:pt x="430" y="88"/>
                  </a:lnTo>
                  <a:lnTo>
                    <a:pt x="424" y="84"/>
                  </a:lnTo>
                  <a:lnTo>
                    <a:pt x="416" y="80"/>
                  </a:lnTo>
                  <a:lnTo>
                    <a:pt x="410" y="74"/>
                  </a:lnTo>
                  <a:lnTo>
                    <a:pt x="401" y="70"/>
                  </a:lnTo>
                  <a:lnTo>
                    <a:pt x="395" y="66"/>
                  </a:lnTo>
                  <a:lnTo>
                    <a:pt x="389" y="60"/>
                  </a:lnTo>
                  <a:lnTo>
                    <a:pt x="381" y="55"/>
                  </a:lnTo>
                  <a:lnTo>
                    <a:pt x="375" y="51"/>
                  </a:lnTo>
                  <a:lnTo>
                    <a:pt x="360" y="41"/>
                  </a:lnTo>
                  <a:lnTo>
                    <a:pt x="348" y="31"/>
                  </a:lnTo>
                  <a:lnTo>
                    <a:pt x="340" y="27"/>
                  </a:lnTo>
                  <a:lnTo>
                    <a:pt x="334" y="23"/>
                  </a:lnTo>
                  <a:lnTo>
                    <a:pt x="328" y="17"/>
                  </a:lnTo>
                  <a:lnTo>
                    <a:pt x="324" y="15"/>
                  </a:lnTo>
                  <a:lnTo>
                    <a:pt x="322" y="15"/>
                  </a:lnTo>
                  <a:lnTo>
                    <a:pt x="320" y="15"/>
                  </a:lnTo>
                  <a:lnTo>
                    <a:pt x="315" y="15"/>
                  </a:lnTo>
                  <a:lnTo>
                    <a:pt x="315" y="17"/>
                  </a:lnTo>
                  <a:lnTo>
                    <a:pt x="311" y="17"/>
                  </a:lnTo>
                  <a:lnTo>
                    <a:pt x="307" y="17"/>
                  </a:lnTo>
                  <a:lnTo>
                    <a:pt x="303" y="19"/>
                  </a:lnTo>
                  <a:lnTo>
                    <a:pt x="295" y="19"/>
                  </a:lnTo>
                  <a:lnTo>
                    <a:pt x="289" y="21"/>
                  </a:lnTo>
                  <a:lnTo>
                    <a:pt x="281" y="21"/>
                  </a:lnTo>
                  <a:lnTo>
                    <a:pt x="272" y="23"/>
                  </a:lnTo>
                  <a:lnTo>
                    <a:pt x="264" y="23"/>
                  </a:lnTo>
                  <a:lnTo>
                    <a:pt x="256" y="25"/>
                  </a:lnTo>
                  <a:lnTo>
                    <a:pt x="248" y="27"/>
                  </a:lnTo>
                  <a:lnTo>
                    <a:pt x="242" y="27"/>
                  </a:lnTo>
                  <a:lnTo>
                    <a:pt x="236" y="29"/>
                  </a:lnTo>
                  <a:lnTo>
                    <a:pt x="231" y="29"/>
                  </a:lnTo>
                  <a:lnTo>
                    <a:pt x="229" y="29"/>
                  </a:lnTo>
                  <a:lnTo>
                    <a:pt x="229" y="29"/>
                  </a:lnTo>
                  <a:lnTo>
                    <a:pt x="225" y="29"/>
                  </a:lnTo>
                  <a:lnTo>
                    <a:pt x="223" y="29"/>
                  </a:lnTo>
                  <a:lnTo>
                    <a:pt x="223" y="29"/>
                  </a:lnTo>
                  <a:lnTo>
                    <a:pt x="223" y="29"/>
                  </a:lnTo>
                  <a:lnTo>
                    <a:pt x="223" y="29"/>
                  </a:lnTo>
                  <a:lnTo>
                    <a:pt x="221" y="17"/>
                  </a:lnTo>
                  <a:lnTo>
                    <a:pt x="221" y="17"/>
                  </a:lnTo>
                  <a:lnTo>
                    <a:pt x="221" y="17"/>
                  </a:lnTo>
                  <a:lnTo>
                    <a:pt x="217" y="10"/>
                  </a:lnTo>
                  <a:lnTo>
                    <a:pt x="211" y="6"/>
                  </a:lnTo>
                  <a:lnTo>
                    <a:pt x="207" y="2"/>
                  </a:lnTo>
                  <a:lnTo>
                    <a:pt x="207" y="2"/>
                  </a:lnTo>
                  <a:lnTo>
                    <a:pt x="207" y="2"/>
                  </a:lnTo>
                  <a:lnTo>
                    <a:pt x="205" y="2"/>
                  </a:lnTo>
                  <a:lnTo>
                    <a:pt x="205" y="2"/>
                  </a:lnTo>
                  <a:lnTo>
                    <a:pt x="199" y="8"/>
                  </a:lnTo>
                  <a:lnTo>
                    <a:pt x="199" y="8"/>
                  </a:lnTo>
                  <a:lnTo>
                    <a:pt x="199" y="8"/>
                  </a:lnTo>
                  <a:lnTo>
                    <a:pt x="197" y="8"/>
                  </a:lnTo>
                  <a:lnTo>
                    <a:pt x="197" y="8"/>
                  </a:lnTo>
                  <a:lnTo>
                    <a:pt x="197" y="8"/>
                  </a:lnTo>
                  <a:lnTo>
                    <a:pt x="197" y="6"/>
                  </a:lnTo>
                  <a:lnTo>
                    <a:pt x="197" y="6"/>
                  </a:lnTo>
                  <a:lnTo>
                    <a:pt x="197" y="6"/>
                  </a:lnTo>
                  <a:lnTo>
                    <a:pt x="197" y="6"/>
                  </a:lnTo>
                  <a:lnTo>
                    <a:pt x="197" y="6"/>
                  </a:lnTo>
                  <a:lnTo>
                    <a:pt x="197" y="2"/>
                  </a:lnTo>
                  <a:lnTo>
                    <a:pt x="197" y="2"/>
                  </a:lnTo>
                  <a:lnTo>
                    <a:pt x="197" y="2"/>
                  </a:lnTo>
                  <a:lnTo>
                    <a:pt x="197" y="2"/>
                  </a:lnTo>
                  <a:lnTo>
                    <a:pt x="197" y="0"/>
                  </a:lnTo>
                  <a:lnTo>
                    <a:pt x="197" y="0"/>
                  </a:lnTo>
                  <a:lnTo>
                    <a:pt x="197" y="0"/>
                  </a:lnTo>
                  <a:lnTo>
                    <a:pt x="195" y="0"/>
                  </a:lnTo>
                  <a:lnTo>
                    <a:pt x="195" y="0"/>
                  </a:lnTo>
                  <a:lnTo>
                    <a:pt x="195" y="0"/>
                  </a:lnTo>
                  <a:lnTo>
                    <a:pt x="193" y="0"/>
                  </a:lnTo>
                  <a:lnTo>
                    <a:pt x="188" y="0"/>
                  </a:lnTo>
                  <a:lnTo>
                    <a:pt x="182" y="0"/>
                  </a:lnTo>
                  <a:lnTo>
                    <a:pt x="178" y="2"/>
                  </a:lnTo>
                  <a:lnTo>
                    <a:pt x="170" y="2"/>
                  </a:lnTo>
                  <a:lnTo>
                    <a:pt x="164" y="2"/>
                  </a:lnTo>
                  <a:lnTo>
                    <a:pt x="156" y="4"/>
                  </a:lnTo>
                  <a:lnTo>
                    <a:pt x="147" y="4"/>
                  </a:lnTo>
                  <a:lnTo>
                    <a:pt x="139" y="6"/>
                  </a:lnTo>
                  <a:lnTo>
                    <a:pt x="133" y="6"/>
                  </a:lnTo>
                  <a:lnTo>
                    <a:pt x="125" y="6"/>
                  </a:lnTo>
                  <a:lnTo>
                    <a:pt x="117" y="8"/>
                  </a:lnTo>
                  <a:lnTo>
                    <a:pt x="111" y="8"/>
                  </a:lnTo>
                  <a:lnTo>
                    <a:pt x="104" y="10"/>
                  </a:lnTo>
                  <a:lnTo>
                    <a:pt x="100" y="10"/>
                  </a:lnTo>
                  <a:lnTo>
                    <a:pt x="96" y="10"/>
                  </a:lnTo>
                  <a:lnTo>
                    <a:pt x="92" y="10"/>
                  </a:lnTo>
                  <a:lnTo>
                    <a:pt x="92" y="10"/>
                  </a:lnTo>
                  <a:lnTo>
                    <a:pt x="86" y="12"/>
                  </a:lnTo>
                  <a:lnTo>
                    <a:pt x="80" y="12"/>
                  </a:lnTo>
                  <a:lnTo>
                    <a:pt x="80" y="12"/>
                  </a:lnTo>
                  <a:lnTo>
                    <a:pt x="78" y="12"/>
                  </a:lnTo>
                  <a:lnTo>
                    <a:pt x="78" y="12"/>
                  </a:lnTo>
                  <a:lnTo>
                    <a:pt x="78" y="12"/>
                  </a:lnTo>
                  <a:lnTo>
                    <a:pt x="78" y="12"/>
                  </a:lnTo>
                  <a:lnTo>
                    <a:pt x="78" y="12"/>
                  </a:lnTo>
                  <a:lnTo>
                    <a:pt x="78" y="12"/>
                  </a:lnTo>
                  <a:lnTo>
                    <a:pt x="76" y="12"/>
                  </a:lnTo>
                  <a:lnTo>
                    <a:pt x="76" y="12"/>
                  </a:lnTo>
                  <a:lnTo>
                    <a:pt x="74" y="15"/>
                  </a:lnTo>
                  <a:lnTo>
                    <a:pt x="74" y="15"/>
                  </a:lnTo>
                  <a:lnTo>
                    <a:pt x="74" y="17"/>
                  </a:lnTo>
                  <a:lnTo>
                    <a:pt x="74" y="17"/>
                  </a:lnTo>
                  <a:lnTo>
                    <a:pt x="74" y="17"/>
                  </a:lnTo>
                  <a:lnTo>
                    <a:pt x="70" y="17"/>
                  </a:lnTo>
                  <a:lnTo>
                    <a:pt x="70" y="19"/>
                  </a:lnTo>
                  <a:lnTo>
                    <a:pt x="70" y="19"/>
                  </a:lnTo>
                  <a:lnTo>
                    <a:pt x="68" y="19"/>
                  </a:lnTo>
                  <a:lnTo>
                    <a:pt x="68" y="19"/>
                  </a:lnTo>
                  <a:lnTo>
                    <a:pt x="68" y="19"/>
                  </a:lnTo>
                  <a:lnTo>
                    <a:pt x="64" y="21"/>
                  </a:lnTo>
                  <a:lnTo>
                    <a:pt x="64" y="21"/>
                  </a:lnTo>
                  <a:lnTo>
                    <a:pt x="59" y="23"/>
                  </a:lnTo>
                  <a:lnTo>
                    <a:pt x="57" y="25"/>
                  </a:lnTo>
                  <a:lnTo>
                    <a:pt x="55" y="25"/>
                  </a:lnTo>
                  <a:lnTo>
                    <a:pt x="55" y="25"/>
                  </a:lnTo>
                  <a:lnTo>
                    <a:pt x="53" y="25"/>
                  </a:lnTo>
                  <a:lnTo>
                    <a:pt x="53" y="25"/>
                  </a:lnTo>
                  <a:lnTo>
                    <a:pt x="53" y="27"/>
                  </a:lnTo>
                  <a:lnTo>
                    <a:pt x="53" y="27"/>
                  </a:lnTo>
                  <a:lnTo>
                    <a:pt x="53" y="27"/>
                  </a:lnTo>
                  <a:lnTo>
                    <a:pt x="51" y="29"/>
                  </a:lnTo>
                  <a:lnTo>
                    <a:pt x="51" y="29"/>
                  </a:lnTo>
                  <a:lnTo>
                    <a:pt x="49" y="31"/>
                  </a:lnTo>
                  <a:lnTo>
                    <a:pt x="49" y="31"/>
                  </a:lnTo>
                  <a:lnTo>
                    <a:pt x="47" y="33"/>
                  </a:lnTo>
                  <a:lnTo>
                    <a:pt x="47" y="33"/>
                  </a:lnTo>
                  <a:lnTo>
                    <a:pt x="47" y="33"/>
                  </a:lnTo>
                  <a:lnTo>
                    <a:pt x="47" y="31"/>
                  </a:lnTo>
                  <a:lnTo>
                    <a:pt x="45" y="31"/>
                  </a:lnTo>
                  <a:lnTo>
                    <a:pt x="43" y="33"/>
                  </a:lnTo>
                  <a:lnTo>
                    <a:pt x="18" y="45"/>
                  </a:lnTo>
                  <a:lnTo>
                    <a:pt x="16" y="45"/>
                  </a:lnTo>
                  <a:lnTo>
                    <a:pt x="16" y="45"/>
                  </a:lnTo>
                  <a:lnTo>
                    <a:pt x="16" y="47"/>
                  </a:lnTo>
                  <a:lnTo>
                    <a:pt x="16" y="47"/>
                  </a:lnTo>
                  <a:lnTo>
                    <a:pt x="16" y="49"/>
                  </a:lnTo>
                  <a:lnTo>
                    <a:pt x="16" y="49"/>
                  </a:lnTo>
                  <a:lnTo>
                    <a:pt x="12" y="51"/>
                  </a:lnTo>
                  <a:lnTo>
                    <a:pt x="12" y="51"/>
                  </a:lnTo>
                  <a:lnTo>
                    <a:pt x="8" y="55"/>
                  </a:lnTo>
                  <a:lnTo>
                    <a:pt x="8" y="55"/>
                  </a:lnTo>
                  <a:lnTo>
                    <a:pt x="8" y="58"/>
                  </a:lnTo>
                  <a:lnTo>
                    <a:pt x="6" y="62"/>
                  </a:lnTo>
                  <a:lnTo>
                    <a:pt x="6" y="64"/>
                  </a:lnTo>
                  <a:lnTo>
                    <a:pt x="6" y="64"/>
                  </a:lnTo>
                  <a:lnTo>
                    <a:pt x="4" y="66"/>
                  </a:lnTo>
                  <a:lnTo>
                    <a:pt x="4" y="66"/>
                  </a:lnTo>
                  <a:lnTo>
                    <a:pt x="2" y="68"/>
                  </a:lnTo>
                  <a:lnTo>
                    <a:pt x="2" y="70"/>
                  </a:lnTo>
                  <a:lnTo>
                    <a:pt x="2" y="70"/>
                  </a:lnTo>
                  <a:lnTo>
                    <a:pt x="2" y="70"/>
                  </a:lnTo>
                  <a:lnTo>
                    <a:pt x="2" y="72"/>
                  </a:lnTo>
                  <a:lnTo>
                    <a:pt x="2" y="72"/>
                  </a:lnTo>
                  <a:lnTo>
                    <a:pt x="0" y="74"/>
                  </a:lnTo>
                  <a:lnTo>
                    <a:pt x="0" y="80"/>
                  </a:lnTo>
                  <a:lnTo>
                    <a:pt x="4" y="82"/>
                  </a:lnTo>
                  <a:lnTo>
                    <a:pt x="12" y="86"/>
                  </a:lnTo>
                  <a:lnTo>
                    <a:pt x="16" y="88"/>
                  </a:lnTo>
                  <a:lnTo>
                    <a:pt x="18" y="86"/>
                  </a:lnTo>
                  <a:lnTo>
                    <a:pt x="18" y="86"/>
                  </a:lnTo>
                  <a:lnTo>
                    <a:pt x="18" y="88"/>
                  </a:lnTo>
                  <a:lnTo>
                    <a:pt x="21" y="90"/>
                  </a:lnTo>
                  <a:lnTo>
                    <a:pt x="23" y="90"/>
                  </a:lnTo>
                  <a:lnTo>
                    <a:pt x="27" y="92"/>
                  </a:lnTo>
                  <a:lnTo>
                    <a:pt x="29" y="94"/>
                  </a:lnTo>
                  <a:lnTo>
                    <a:pt x="29" y="96"/>
                  </a:lnTo>
                  <a:lnTo>
                    <a:pt x="31" y="99"/>
                  </a:lnTo>
                  <a:lnTo>
                    <a:pt x="35" y="99"/>
                  </a:lnTo>
                  <a:lnTo>
                    <a:pt x="39" y="99"/>
                  </a:lnTo>
                  <a:lnTo>
                    <a:pt x="45" y="96"/>
                  </a:lnTo>
                  <a:lnTo>
                    <a:pt x="49" y="99"/>
                  </a:lnTo>
                  <a:lnTo>
                    <a:pt x="49" y="101"/>
                  </a:lnTo>
                  <a:lnTo>
                    <a:pt x="51" y="105"/>
                  </a:lnTo>
                  <a:lnTo>
                    <a:pt x="53" y="107"/>
                  </a:lnTo>
                  <a:lnTo>
                    <a:pt x="53" y="109"/>
                  </a:lnTo>
                  <a:lnTo>
                    <a:pt x="59" y="115"/>
                  </a:lnTo>
                  <a:lnTo>
                    <a:pt x="61" y="117"/>
                  </a:lnTo>
                  <a:lnTo>
                    <a:pt x="64" y="127"/>
                  </a:lnTo>
                  <a:lnTo>
                    <a:pt x="66" y="127"/>
                  </a:lnTo>
                  <a:lnTo>
                    <a:pt x="66" y="129"/>
                  </a:lnTo>
                  <a:lnTo>
                    <a:pt x="68" y="129"/>
                  </a:lnTo>
                  <a:lnTo>
                    <a:pt x="70" y="131"/>
                  </a:lnTo>
                  <a:lnTo>
                    <a:pt x="72" y="131"/>
                  </a:lnTo>
                  <a:lnTo>
                    <a:pt x="72" y="133"/>
                  </a:lnTo>
                  <a:lnTo>
                    <a:pt x="74" y="133"/>
                  </a:lnTo>
                  <a:lnTo>
                    <a:pt x="74" y="135"/>
                  </a:lnTo>
                  <a:lnTo>
                    <a:pt x="76" y="137"/>
                  </a:lnTo>
                  <a:lnTo>
                    <a:pt x="78" y="140"/>
                  </a:lnTo>
                  <a:lnTo>
                    <a:pt x="78" y="140"/>
                  </a:lnTo>
                  <a:lnTo>
                    <a:pt x="80" y="142"/>
                  </a:lnTo>
                  <a:lnTo>
                    <a:pt x="82" y="146"/>
                  </a:lnTo>
                  <a:lnTo>
                    <a:pt x="82" y="148"/>
                  </a:lnTo>
                  <a:lnTo>
                    <a:pt x="84" y="148"/>
                  </a:lnTo>
                  <a:lnTo>
                    <a:pt x="86" y="148"/>
                  </a:lnTo>
                  <a:lnTo>
                    <a:pt x="86" y="148"/>
                  </a:lnTo>
                  <a:lnTo>
                    <a:pt x="88" y="150"/>
                  </a:lnTo>
                  <a:lnTo>
                    <a:pt x="90" y="152"/>
                  </a:lnTo>
                  <a:lnTo>
                    <a:pt x="92" y="154"/>
                  </a:lnTo>
                  <a:lnTo>
                    <a:pt x="96" y="156"/>
                  </a:lnTo>
                  <a:lnTo>
                    <a:pt x="98" y="156"/>
                  </a:lnTo>
                  <a:lnTo>
                    <a:pt x="102" y="158"/>
                  </a:lnTo>
                  <a:lnTo>
                    <a:pt x="107" y="160"/>
                  </a:lnTo>
                  <a:lnTo>
                    <a:pt x="113" y="164"/>
                  </a:lnTo>
                  <a:lnTo>
                    <a:pt x="115" y="166"/>
                  </a:lnTo>
                  <a:lnTo>
                    <a:pt x="117" y="170"/>
                  </a:lnTo>
                  <a:lnTo>
                    <a:pt x="119" y="172"/>
                  </a:lnTo>
                  <a:lnTo>
                    <a:pt x="119" y="174"/>
                  </a:lnTo>
                  <a:lnTo>
                    <a:pt x="121" y="178"/>
                  </a:lnTo>
                  <a:lnTo>
                    <a:pt x="123" y="178"/>
                  </a:lnTo>
                  <a:lnTo>
                    <a:pt x="125" y="181"/>
                  </a:lnTo>
                  <a:lnTo>
                    <a:pt x="127" y="181"/>
                  </a:lnTo>
                  <a:lnTo>
                    <a:pt x="133" y="181"/>
                  </a:lnTo>
                  <a:lnTo>
                    <a:pt x="133" y="183"/>
                  </a:lnTo>
                  <a:lnTo>
                    <a:pt x="137" y="183"/>
                  </a:lnTo>
                  <a:lnTo>
                    <a:pt x="141" y="187"/>
                  </a:lnTo>
                  <a:lnTo>
                    <a:pt x="143" y="189"/>
                  </a:lnTo>
                  <a:lnTo>
                    <a:pt x="147" y="191"/>
                  </a:lnTo>
                  <a:lnTo>
                    <a:pt x="147" y="193"/>
                  </a:lnTo>
                  <a:lnTo>
                    <a:pt x="147" y="195"/>
                  </a:lnTo>
                  <a:lnTo>
                    <a:pt x="150" y="195"/>
                  </a:lnTo>
                  <a:lnTo>
                    <a:pt x="150" y="197"/>
                  </a:lnTo>
                  <a:lnTo>
                    <a:pt x="147" y="197"/>
                  </a:lnTo>
                  <a:lnTo>
                    <a:pt x="147" y="199"/>
                  </a:lnTo>
                  <a:lnTo>
                    <a:pt x="150" y="201"/>
                  </a:lnTo>
                  <a:lnTo>
                    <a:pt x="150" y="201"/>
                  </a:lnTo>
                  <a:lnTo>
                    <a:pt x="150" y="203"/>
                  </a:lnTo>
                  <a:lnTo>
                    <a:pt x="154" y="207"/>
                  </a:lnTo>
                  <a:lnTo>
                    <a:pt x="156" y="207"/>
                  </a:lnTo>
                  <a:lnTo>
                    <a:pt x="156" y="207"/>
                  </a:lnTo>
                  <a:lnTo>
                    <a:pt x="156" y="207"/>
                  </a:lnTo>
                  <a:lnTo>
                    <a:pt x="156" y="205"/>
                  </a:lnTo>
                  <a:lnTo>
                    <a:pt x="158" y="207"/>
                  </a:lnTo>
                  <a:lnTo>
                    <a:pt x="158" y="207"/>
                  </a:lnTo>
                  <a:lnTo>
                    <a:pt x="158" y="207"/>
                  </a:lnTo>
                  <a:lnTo>
                    <a:pt x="158" y="209"/>
                  </a:lnTo>
                  <a:lnTo>
                    <a:pt x="160" y="209"/>
                  </a:lnTo>
                  <a:lnTo>
                    <a:pt x="160" y="211"/>
                  </a:lnTo>
                  <a:lnTo>
                    <a:pt x="160" y="211"/>
                  </a:lnTo>
                  <a:lnTo>
                    <a:pt x="158" y="213"/>
                  </a:lnTo>
                  <a:lnTo>
                    <a:pt x="160" y="215"/>
                  </a:lnTo>
                  <a:lnTo>
                    <a:pt x="162" y="215"/>
                  </a:lnTo>
                  <a:lnTo>
                    <a:pt x="164" y="215"/>
                  </a:lnTo>
                  <a:lnTo>
                    <a:pt x="166" y="215"/>
                  </a:lnTo>
                  <a:lnTo>
                    <a:pt x="166" y="217"/>
                  </a:lnTo>
                  <a:lnTo>
                    <a:pt x="168" y="221"/>
                  </a:lnTo>
                  <a:lnTo>
                    <a:pt x="168" y="221"/>
                  </a:lnTo>
                  <a:lnTo>
                    <a:pt x="172" y="224"/>
                  </a:lnTo>
                  <a:lnTo>
                    <a:pt x="180" y="226"/>
                  </a:lnTo>
                  <a:lnTo>
                    <a:pt x="184" y="228"/>
                  </a:lnTo>
                  <a:lnTo>
                    <a:pt x="186" y="230"/>
                  </a:lnTo>
                  <a:lnTo>
                    <a:pt x="188" y="230"/>
                  </a:lnTo>
                  <a:lnTo>
                    <a:pt x="191" y="230"/>
                  </a:lnTo>
                  <a:lnTo>
                    <a:pt x="193" y="232"/>
                  </a:lnTo>
                  <a:lnTo>
                    <a:pt x="193" y="232"/>
                  </a:lnTo>
                  <a:lnTo>
                    <a:pt x="195" y="234"/>
                  </a:lnTo>
                  <a:lnTo>
                    <a:pt x="195" y="236"/>
                  </a:lnTo>
                  <a:lnTo>
                    <a:pt x="195" y="240"/>
                  </a:lnTo>
                  <a:lnTo>
                    <a:pt x="195" y="242"/>
                  </a:lnTo>
                  <a:lnTo>
                    <a:pt x="197" y="242"/>
                  </a:lnTo>
                  <a:lnTo>
                    <a:pt x="203" y="250"/>
                  </a:lnTo>
                  <a:lnTo>
                    <a:pt x="205" y="252"/>
                  </a:lnTo>
                  <a:lnTo>
                    <a:pt x="205" y="254"/>
                  </a:lnTo>
                  <a:lnTo>
                    <a:pt x="205" y="256"/>
                  </a:lnTo>
                  <a:lnTo>
                    <a:pt x="205" y="258"/>
                  </a:lnTo>
                  <a:lnTo>
                    <a:pt x="207" y="258"/>
                  </a:lnTo>
                  <a:lnTo>
                    <a:pt x="207" y="260"/>
                  </a:lnTo>
                  <a:lnTo>
                    <a:pt x="207" y="262"/>
                  </a:lnTo>
                  <a:lnTo>
                    <a:pt x="207" y="262"/>
                  </a:lnTo>
                  <a:lnTo>
                    <a:pt x="207" y="265"/>
                  </a:lnTo>
                  <a:lnTo>
                    <a:pt x="207" y="265"/>
                  </a:lnTo>
                  <a:lnTo>
                    <a:pt x="207" y="267"/>
                  </a:lnTo>
                  <a:lnTo>
                    <a:pt x="209" y="267"/>
                  </a:lnTo>
                  <a:lnTo>
                    <a:pt x="209" y="267"/>
                  </a:lnTo>
                  <a:lnTo>
                    <a:pt x="209" y="267"/>
                  </a:lnTo>
                  <a:lnTo>
                    <a:pt x="209" y="269"/>
                  </a:lnTo>
                  <a:lnTo>
                    <a:pt x="209" y="271"/>
                  </a:lnTo>
                  <a:lnTo>
                    <a:pt x="209" y="273"/>
                  </a:lnTo>
                  <a:lnTo>
                    <a:pt x="209" y="273"/>
                  </a:lnTo>
                  <a:lnTo>
                    <a:pt x="211" y="275"/>
                  </a:lnTo>
                  <a:lnTo>
                    <a:pt x="213" y="277"/>
                  </a:lnTo>
                  <a:lnTo>
                    <a:pt x="213" y="277"/>
                  </a:lnTo>
                  <a:lnTo>
                    <a:pt x="215" y="277"/>
                  </a:lnTo>
                  <a:lnTo>
                    <a:pt x="219" y="277"/>
                  </a:lnTo>
                  <a:lnTo>
                    <a:pt x="219" y="277"/>
                  </a:lnTo>
                  <a:lnTo>
                    <a:pt x="221" y="279"/>
                  </a:lnTo>
                  <a:lnTo>
                    <a:pt x="221" y="279"/>
                  </a:lnTo>
                  <a:lnTo>
                    <a:pt x="223" y="281"/>
                  </a:lnTo>
                  <a:lnTo>
                    <a:pt x="223" y="281"/>
                  </a:lnTo>
                  <a:lnTo>
                    <a:pt x="223" y="281"/>
                  </a:lnTo>
                  <a:lnTo>
                    <a:pt x="225" y="281"/>
                  </a:lnTo>
                  <a:lnTo>
                    <a:pt x="225" y="281"/>
                  </a:lnTo>
                  <a:lnTo>
                    <a:pt x="227" y="283"/>
                  </a:lnTo>
                  <a:lnTo>
                    <a:pt x="227" y="283"/>
                  </a:lnTo>
                  <a:lnTo>
                    <a:pt x="227" y="285"/>
                  </a:lnTo>
                  <a:lnTo>
                    <a:pt x="229" y="285"/>
                  </a:lnTo>
                  <a:lnTo>
                    <a:pt x="231" y="285"/>
                  </a:lnTo>
                  <a:lnTo>
                    <a:pt x="231" y="287"/>
                  </a:lnTo>
                  <a:lnTo>
                    <a:pt x="231" y="291"/>
                  </a:lnTo>
                  <a:lnTo>
                    <a:pt x="236" y="299"/>
                  </a:lnTo>
                  <a:lnTo>
                    <a:pt x="238" y="299"/>
                  </a:lnTo>
                  <a:lnTo>
                    <a:pt x="240" y="299"/>
                  </a:lnTo>
                  <a:lnTo>
                    <a:pt x="240" y="301"/>
                  </a:lnTo>
                  <a:lnTo>
                    <a:pt x="240" y="303"/>
                  </a:lnTo>
                  <a:lnTo>
                    <a:pt x="240" y="306"/>
                  </a:lnTo>
                  <a:lnTo>
                    <a:pt x="240" y="308"/>
                  </a:lnTo>
                  <a:lnTo>
                    <a:pt x="240" y="308"/>
                  </a:lnTo>
                  <a:lnTo>
                    <a:pt x="240" y="310"/>
                  </a:lnTo>
                  <a:lnTo>
                    <a:pt x="240" y="312"/>
                  </a:lnTo>
                  <a:lnTo>
                    <a:pt x="240" y="312"/>
                  </a:lnTo>
                  <a:lnTo>
                    <a:pt x="240" y="314"/>
                  </a:lnTo>
                  <a:lnTo>
                    <a:pt x="240" y="316"/>
                  </a:lnTo>
                  <a:lnTo>
                    <a:pt x="240" y="316"/>
                  </a:lnTo>
                  <a:lnTo>
                    <a:pt x="242" y="320"/>
                  </a:lnTo>
                  <a:lnTo>
                    <a:pt x="242" y="320"/>
                  </a:lnTo>
                  <a:lnTo>
                    <a:pt x="242" y="320"/>
                  </a:lnTo>
                  <a:lnTo>
                    <a:pt x="242" y="320"/>
                  </a:lnTo>
                  <a:lnTo>
                    <a:pt x="244" y="322"/>
                  </a:lnTo>
                  <a:lnTo>
                    <a:pt x="244" y="322"/>
                  </a:lnTo>
                  <a:lnTo>
                    <a:pt x="244" y="322"/>
                  </a:lnTo>
                  <a:lnTo>
                    <a:pt x="246" y="322"/>
                  </a:lnTo>
                  <a:lnTo>
                    <a:pt x="248" y="326"/>
                  </a:lnTo>
                  <a:lnTo>
                    <a:pt x="248" y="326"/>
                  </a:lnTo>
                  <a:lnTo>
                    <a:pt x="254" y="324"/>
                  </a:lnTo>
                  <a:lnTo>
                    <a:pt x="256" y="324"/>
                  </a:lnTo>
                  <a:lnTo>
                    <a:pt x="260" y="326"/>
                  </a:lnTo>
                  <a:lnTo>
                    <a:pt x="260" y="326"/>
                  </a:lnTo>
                  <a:lnTo>
                    <a:pt x="262" y="328"/>
                  </a:lnTo>
                  <a:lnTo>
                    <a:pt x="262" y="328"/>
                  </a:lnTo>
                  <a:lnTo>
                    <a:pt x="264" y="328"/>
                  </a:lnTo>
                  <a:lnTo>
                    <a:pt x="266" y="328"/>
                  </a:lnTo>
                  <a:lnTo>
                    <a:pt x="266" y="328"/>
                  </a:lnTo>
                  <a:lnTo>
                    <a:pt x="266" y="328"/>
                  </a:lnTo>
                  <a:lnTo>
                    <a:pt x="266" y="326"/>
                  </a:lnTo>
                  <a:lnTo>
                    <a:pt x="266" y="324"/>
                  </a:lnTo>
                  <a:lnTo>
                    <a:pt x="270" y="320"/>
                  </a:lnTo>
                  <a:lnTo>
                    <a:pt x="270" y="316"/>
                  </a:lnTo>
                  <a:lnTo>
                    <a:pt x="270" y="314"/>
                  </a:lnTo>
                  <a:lnTo>
                    <a:pt x="270" y="314"/>
                  </a:lnTo>
                  <a:lnTo>
                    <a:pt x="272" y="312"/>
                  </a:lnTo>
                  <a:lnTo>
                    <a:pt x="272" y="310"/>
                  </a:lnTo>
                  <a:lnTo>
                    <a:pt x="272" y="308"/>
                  </a:lnTo>
                  <a:lnTo>
                    <a:pt x="272" y="306"/>
                  </a:lnTo>
                  <a:lnTo>
                    <a:pt x="272" y="306"/>
                  </a:lnTo>
                  <a:lnTo>
                    <a:pt x="272" y="303"/>
                  </a:lnTo>
                  <a:lnTo>
                    <a:pt x="274" y="308"/>
                  </a:lnTo>
                  <a:lnTo>
                    <a:pt x="272" y="316"/>
                  </a:lnTo>
                  <a:lnTo>
                    <a:pt x="272" y="320"/>
                  </a:lnTo>
                  <a:lnTo>
                    <a:pt x="279" y="314"/>
                  </a:lnTo>
                  <a:lnTo>
                    <a:pt x="281" y="310"/>
                  </a:lnTo>
                  <a:lnTo>
                    <a:pt x="283" y="306"/>
                  </a:lnTo>
                  <a:lnTo>
                    <a:pt x="283" y="306"/>
                  </a:lnTo>
                  <a:lnTo>
                    <a:pt x="281" y="303"/>
                  </a:lnTo>
                  <a:lnTo>
                    <a:pt x="281" y="301"/>
                  </a:lnTo>
                  <a:lnTo>
                    <a:pt x="279" y="301"/>
                  </a:lnTo>
                  <a:lnTo>
                    <a:pt x="277" y="301"/>
                  </a:lnTo>
                  <a:lnTo>
                    <a:pt x="277" y="301"/>
                  </a:lnTo>
                  <a:lnTo>
                    <a:pt x="272" y="297"/>
                  </a:lnTo>
                  <a:lnTo>
                    <a:pt x="270" y="297"/>
                  </a:lnTo>
                  <a:lnTo>
                    <a:pt x="270" y="297"/>
                  </a:lnTo>
                  <a:lnTo>
                    <a:pt x="270" y="295"/>
                  </a:lnTo>
                  <a:lnTo>
                    <a:pt x="270" y="293"/>
                  </a:lnTo>
                  <a:lnTo>
                    <a:pt x="268" y="289"/>
                  </a:lnTo>
                  <a:lnTo>
                    <a:pt x="266" y="287"/>
                  </a:lnTo>
                  <a:lnTo>
                    <a:pt x="264" y="283"/>
                  </a:lnTo>
                  <a:lnTo>
                    <a:pt x="264" y="281"/>
                  </a:lnTo>
                  <a:lnTo>
                    <a:pt x="264" y="279"/>
                  </a:lnTo>
                  <a:lnTo>
                    <a:pt x="264" y="279"/>
                  </a:lnTo>
                  <a:lnTo>
                    <a:pt x="262" y="275"/>
                  </a:lnTo>
                  <a:lnTo>
                    <a:pt x="260" y="275"/>
                  </a:lnTo>
                  <a:lnTo>
                    <a:pt x="260" y="275"/>
                  </a:lnTo>
                  <a:lnTo>
                    <a:pt x="262" y="273"/>
                  </a:lnTo>
                  <a:lnTo>
                    <a:pt x="262" y="275"/>
                  </a:lnTo>
                  <a:lnTo>
                    <a:pt x="264" y="275"/>
                  </a:lnTo>
                  <a:lnTo>
                    <a:pt x="264" y="277"/>
                  </a:lnTo>
                  <a:lnTo>
                    <a:pt x="266" y="277"/>
                  </a:lnTo>
                  <a:lnTo>
                    <a:pt x="268" y="277"/>
                  </a:lnTo>
                  <a:lnTo>
                    <a:pt x="268" y="279"/>
                  </a:lnTo>
                  <a:lnTo>
                    <a:pt x="266" y="281"/>
                  </a:lnTo>
                  <a:lnTo>
                    <a:pt x="268" y="283"/>
                  </a:lnTo>
                  <a:lnTo>
                    <a:pt x="268" y="285"/>
                  </a:lnTo>
                  <a:lnTo>
                    <a:pt x="272" y="291"/>
                  </a:lnTo>
                  <a:lnTo>
                    <a:pt x="279" y="295"/>
                  </a:lnTo>
                  <a:lnTo>
                    <a:pt x="281" y="297"/>
                  </a:lnTo>
                  <a:lnTo>
                    <a:pt x="283" y="295"/>
                  </a:lnTo>
                  <a:lnTo>
                    <a:pt x="283" y="293"/>
                  </a:lnTo>
                  <a:lnTo>
                    <a:pt x="281" y="293"/>
                  </a:lnTo>
                  <a:lnTo>
                    <a:pt x="281" y="291"/>
                  </a:lnTo>
                  <a:lnTo>
                    <a:pt x="281" y="291"/>
                  </a:lnTo>
                  <a:lnTo>
                    <a:pt x="279" y="283"/>
                  </a:lnTo>
                  <a:lnTo>
                    <a:pt x="279" y="281"/>
                  </a:lnTo>
                  <a:lnTo>
                    <a:pt x="279" y="281"/>
                  </a:lnTo>
                  <a:lnTo>
                    <a:pt x="279" y="281"/>
                  </a:lnTo>
                  <a:lnTo>
                    <a:pt x="279" y="279"/>
                  </a:lnTo>
                  <a:lnTo>
                    <a:pt x="279" y="281"/>
                  </a:lnTo>
                  <a:lnTo>
                    <a:pt x="279" y="281"/>
                  </a:lnTo>
                  <a:lnTo>
                    <a:pt x="279" y="281"/>
                  </a:lnTo>
                  <a:lnTo>
                    <a:pt x="277" y="279"/>
                  </a:lnTo>
                  <a:lnTo>
                    <a:pt x="281" y="279"/>
                  </a:lnTo>
                  <a:lnTo>
                    <a:pt x="281" y="281"/>
                  </a:lnTo>
                  <a:lnTo>
                    <a:pt x="281" y="289"/>
                  </a:lnTo>
                  <a:lnTo>
                    <a:pt x="281" y="289"/>
                  </a:lnTo>
                  <a:lnTo>
                    <a:pt x="285" y="287"/>
                  </a:lnTo>
                  <a:lnTo>
                    <a:pt x="285" y="293"/>
                  </a:lnTo>
                  <a:lnTo>
                    <a:pt x="285" y="297"/>
                  </a:lnTo>
                  <a:lnTo>
                    <a:pt x="285" y="299"/>
                  </a:lnTo>
                  <a:lnTo>
                    <a:pt x="287" y="299"/>
                  </a:lnTo>
                  <a:lnTo>
                    <a:pt x="289" y="297"/>
                  </a:lnTo>
                  <a:lnTo>
                    <a:pt x="291" y="297"/>
                  </a:lnTo>
                  <a:lnTo>
                    <a:pt x="291" y="297"/>
                  </a:lnTo>
                  <a:lnTo>
                    <a:pt x="293" y="297"/>
                  </a:lnTo>
                  <a:lnTo>
                    <a:pt x="299" y="291"/>
                  </a:lnTo>
                  <a:lnTo>
                    <a:pt x="299" y="289"/>
                  </a:lnTo>
                  <a:lnTo>
                    <a:pt x="297" y="289"/>
                  </a:lnTo>
                  <a:lnTo>
                    <a:pt x="299" y="289"/>
                  </a:lnTo>
                  <a:lnTo>
                    <a:pt x="299" y="289"/>
                  </a:lnTo>
                  <a:lnTo>
                    <a:pt x="299" y="287"/>
                  </a:lnTo>
                  <a:lnTo>
                    <a:pt x="299" y="287"/>
                  </a:lnTo>
                  <a:lnTo>
                    <a:pt x="299" y="287"/>
                  </a:lnTo>
                  <a:lnTo>
                    <a:pt x="301" y="287"/>
                  </a:lnTo>
                  <a:lnTo>
                    <a:pt x="301" y="285"/>
                  </a:lnTo>
                  <a:lnTo>
                    <a:pt x="301" y="283"/>
                  </a:lnTo>
                  <a:lnTo>
                    <a:pt x="301" y="281"/>
                  </a:lnTo>
                  <a:lnTo>
                    <a:pt x="301" y="281"/>
                  </a:lnTo>
                  <a:lnTo>
                    <a:pt x="301" y="283"/>
                  </a:lnTo>
                  <a:lnTo>
                    <a:pt x="299" y="283"/>
                  </a:lnTo>
                  <a:lnTo>
                    <a:pt x="299" y="285"/>
                  </a:lnTo>
                  <a:lnTo>
                    <a:pt x="297" y="285"/>
                  </a:lnTo>
                  <a:lnTo>
                    <a:pt x="295" y="287"/>
                  </a:lnTo>
                  <a:lnTo>
                    <a:pt x="293" y="289"/>
                  </a:lnTo>
                  <a:lnTo>
                    <a:pt x="291" y="289"/>
                  </a:lnTo>
                  <a:lnTo>
                    <a:pt x="291" y="289"/>
                  </a:lnTo>
                  <a:lnTo>
                    <a:pt x="293" y="287"/>
                  </a:lnTo>
                  <a:lnTo>
                    <a:pt x="295" y="285"/>
                  </a:lnTo>
                  <a:lnTo>
                    <a:pt x="299" y="283"/>
                  </a:lnTo>
                  <a:lnTo>
                    <a:pt x="299" y="281"/>
                  </a:lnTo>
                  <a:lnTo>
                    <a:pt x="297" y="279"/>
                  </a:lnTo>
                  <a:lnTo>
                    <a:pt x="295" y="277"/>
                  </a:lnTo>
                  <a:lnTo>
                    <a:pt x="287" y="279"/>
                  </a:lnTo>
                  <a:lnTo>
                    <a:pt x="289" y="277"/>
                  </a:lnTo>
                  <a:lnTo>
                    <a:pt x="291" y="277"/>
                  </a:lnTo>
                  <a:lnTo>
                    <a:pt x="293" y="275"/>
                  </a:lnTo>
                  <a:lnTo>
                    <a:pt x="295" y="275"/>
                  </a:lnTo>
                  <a:lnTo>
                    <a:pt x="295" y="275"/>
                  </a:lnTo>
                  <a:lnTo>
                    <a:pt x="295" y="275"/>
                  </a:lnTo>
                  <a:lnTo>
                    <a:pt x="291" y="273"/>
                  </a:lnTo>
                  <a:lnTo>
                    <a:pt x="291" y="273"/>
                  </a:lnTo>
                  <a:lnTo>
                    <a:pt x="289" y="273"/>
                  </a:lnTo>
                  <a:lnTo>
                    <a:pt x="289" y="275"/>
                  </a:lnTo>
                  <a:lnTo>
                    <a:pt x="287" y="275"/>
                  </a:lnTo>
                  <a:lnTo>
                    <a:pt x="279" y="275"/>
                  </a:lnTo>
                  <a:lnTo>
                    <a:pt x="277" y="275"/>
                  </a:lnTo>
                  <a:lnTo>
                    <a:pt x="277" y="275"/>
                  </a:lnTo>
                  <a:lnTo>
                    <a:pt x="277" y="275"/>
                  </a:lnTo>
                  <a:lnTo>
                    <a:pt x="277" y="273"/>
                  </a:lnTo>
                  <a:lnTo>
                    <a:pt x="279" y="273"/>
                  </a:lnTo>
                  <a:lnTo>
                    <a:pt x="281" y="273"/>
                  </a:lnTo>
                  <a:lnTo>
                    <a:pt x="287" y="273"/>
                  </a:lnTo>
                  <a:lnTo>
                    <a:pt x="289" y="271"/>
                  </a:lnTo>
                  <a:lnTo>
                    <a:pt x="289" y="271"/>
                  </a:lnTo>
                  <a:lnTo>
                    <a:pt x="289" y="269"/>
                  </a:lnTo>
                  <a:lnTo>
                    <a:pt x="289" y="269"/>
                  </a:lnTo>
                  <a:lnTo>
                    <a:pt x="289" y="267"/>
                  </a:lnTo>
                  <a:lnTo>
                    <a:pt x="289" y="267"/>
                  </a:lnTo>
                  <a:lnTo>
                    <a:pt x="289" y="269"/>
                  </a:lnTo>
                  <a:lnTo>
                    <a:pt x="291" y="269"/>
                  </a:lnTo>
                  <a:lnTo>
                    <a:pt x="295" y="271"/>
                  </a:lnTo>
                  <a:lnTo>
                    <a:pt x="295" y="271"/>
                  </a:lnTo>
                  <a:lnTo>
                    <a:pt x="297" y="271"/>
                  </a:lnTo>
                  <a:lnTo>
                    <a:pt x="299" y="271"/>
                  </a:lnTo>
                  <a:lnTo>
                    <a:pt x="299" y="273"/>
                  </a:lnTo>
                  <a:lnTo>
                    <a:pt x="301" y="273"/>
                  </a:lnTo>
                  <a:lnTo>
                    <a:pt x="301" y="273"/>
                  </a:lnTo>
                  <a:lnTo>
                    <a:pt x="303" y="273"/>
                  </a:lnTo>
                  <a:lnTo>
                    <a:pt x="305" y="273"/>
                  </a:lnTo>
                  <a:lnTo>
                    <a:pt x="305" y="271"/>
                  </a:lnTo>
                  <a:lnTo>
                    <a:pt x="305" y="269"/>
                  </a:lnTo>
                  <a:lnTo>
                    <a:pt x="305" y="267"/>
                  </a:lnTo>
                  <a:lnTo>
                    <a:pt x="305" y="267"/>
                  </a:lnTo>
                  <a:lnTo>
                    <a:pt x="305" y="269"/>
                  </a:lnTo>
                  <a:lnTo>
                    <a:pt x="307" y="269"/>
                  </a:lnTo>
                  <a:lnTo>
                    <a:pt x="307" y="271"/>
                  </a:lnTo>
                  <a:lnTo>
                    <a:pt x="309" y="271"/>
                  </a:lnTo>
                  <a:lnTo>
                    <a:pt x="309" y="271"/>
                  </a:lnTo>
                  <a:lnTo>
                    <a:pt x="309" y="271"/>
                  </a:lnTo>
                  <a:lnTo>
                    <a:pt x="311" y="269"/>
                  </a:lnTo>
                  <a:lnTo>
                    <a:pt x="315" y="265"/>
                  </a:lnTo>
                  <a:lnTo>
                    <a:pt x="317" y="262"/>
                  </a:lnTo>
                  <a:lnTo>
                    <a:pt x="317" y="262"/>
                  </a:lnTo>
                  <a:lnTo>
                    <a:pt x="317" y="260"/>
                  </a:lnTo>
                  <a:lnTo>
                    <a:pt x="320" y="260"/>
                  </a:lnTo>
                  <a:lnTo>
                    <a:pt x="317" y="260"/>
                  </a:lnTo>
                  <a:lnTo>
                    <a:pt x="317" y="260"/>
                  </a:lnTo>
                  <a:lnTo>
                    <a:pt x="313" y="256"/>
                  </a:lnTo>
                  <a:lnTo>
                    <a:pt x="311" y="256"/>
                  </a:lnTo>
                  <a:lnTo>
                    <a:pt x="313" y="256"/>
                  </a:lnTo>
                  <a:lnTo>
                    <a:pt x="315" y="256"/>
                  </a:lnTo>
                  <a:lnTo>
                    <a:pt x="317" y="258"/>
                  </a:lnTo>
                  <a:lnTo>
                    <a:pt x="322" y="260"/>
                  </a:lnTo>
                  <a:lnTo>
                    <a:pt x="322" y="260"/>
                  </a:lnTo>
                  <a:lnTo>
                    <a:pt x="324" y="258"/>
                  </a:lnTo>
                  <a:lnTo>
                    <a:pt x="326" y="256"/>
                  </a:lnTo>
                  <a:lnTo>
                    <a:pt x="328" y="256"/>
                  </a:lnTo>
                  <a:lnTo>
                    <a:pt x="330" y="254"/>
                  </a:lnTo>
                  <a:lnTo>
                    <a:pt x="336" y="252"/>
                  </a:lnTo>
                  <a:lnTo>
                    <a:pt x="336" y="252"/>
                  </a:lnTo>
                  <a:lnTo>
                    <a:pt x="336" y="250"/>
                  </a:lnTo>
                  <a:lnTo>
                    <a:pt x="334" y="250"/>
                  </a:lnTo>
                  <a:lnTo>
                    <a:pt x="332" y="248"/>
                  </a:lnTo>
                  <a:lnTo>
                    <a:pt x="334" y="248"/>
                  </a:lnTo>
                  <a:lnTo>
                    <a:pt x="334" y="248"/>
                  </a:lnTo>
                  <a:lnTo>
                    <a:pt x="336" y="248"/>
                  </a:lnTo>
                  <a:lnTo>
                    <a:pt x="340" y="248"/>
                  </a:lnTo>
                  <a:lnTo>
                    <a:pt x="340" y="248"/>
                  </a:lnTo>
                  <a:lnTo>
                    <a:pt x="344" y="242"/>
                  </a:lnTo>
                  <a:lnTo>
                    <a:pt x="346" y="240"/>
                  </a:lnTo>
                  <a:lnTo>
                    <a:pt x="344" y="238"/>
                  </a:lnTo>
                  <a:lnTo>
                    <a:pt x="344" y="238"/>
                  </a:lnTo>
                  <a:lnTo>
                    <a:pt x="344" y="238"/>
                  </a:lnTo>
                  <a:lnTo>
                    <a:pt x="344" y="238"/>
                  </a:lnTo>
                  <a:lnTo>
                    <a:pt x="342" y="238"/>
                  </a:lnTo>
                  <a:lnTo>
                    <a:pt x="342" y="236"/>
                  </a:lnTo>
                  <a:lnTo>
                    <a:pt x="342" y="236"/>
                  </a:lnTo>
                  <a:lnTo>
                    <a:pt x="338" y="236"/>
                  </a:lnTo>
                  <a:lnTo>
                    <a:pt x="336" y="236"/>
                  </a:lnTo>
                  <a:lnTo>
                    <a:pt x="336" y="234"/>
                  </a:lnTo>
                  <a:lnTo>
                    <a:pt x="334" y="232"/>
                  </a:lnTo>
                  <a:lnTo>
                    <a:pt x="336" y="234"/>
                  </a:lnTo>
                  <a:lnTo>
                    <a:pt x="338" y="234"/>
                  </a:lnTo>
                  <a:lnTo>
                    <a:pt x="338" y="234"/>
                  </a:lnTo>
                  <a:lnTo>
                    <a:pt x="338" y="232"/>
                  </a:lnTo>
                  <a:lnTo>
                    <a:pt x="338" y="230"/>
                  </a:lnTo>
                  <a:lnTo>
                    <a:pt x="336" y="228"/>
                  </a:lnTo>
                  <a:lnTo>
                    <a:pt x="336" y="226"/>
                  </a:lnTo>
                  <a:lnTo>
                    <a:pt x="336" y="226"/>
                  </a:lnTo>
                  <a:lnTo>
                    <a:pt x="340" y="228"/>
                  </a:lnTo>
                  <a:lnTo>
                    <a:pt x="340" y="228"/>
                  </a:lnTo>
                  <a:lnTo>
                    <a:pt x="340" y="226"/>
                  </a:lnTo>
                  <a:lnTo>
                    <a:pt x="340" y="226"/>
                  </a:lnTo>
                  <a:lnTo>
                    <a:pt x="340" y="226"/>
                  </a:lnTo>
                  <a:lnTo>
                    <a:pt x="342" y="226"/>
                  </a:lnTo>
                  <a:lnTo>
                    <a:pt x="340" y="230"/>
                  </a:lnTo>
                  <a:lnTo>
                    <a:pt x="340" y="232"/>
                  </a:lnTo>
                  <a:lnTo>
                    <a:pt x="342" y="232"/>
                  </a:lnTo>
                  <a:lnTo>
                    <a:pt x="342" y="232"/>
                  </a:lnTo>
                  <a:lnTo>
                    <a:pt x="344" y="234"/>
                  </a:lnTo>
                  <a:lnTo>
                    <a:pt x="346" y="234"/>
                  </a:lnTo>
                  <a:lnTo>
                    <a:pt x="346" y="234"/>
                  </a:lnTo>
                  <a:lnTo>
                    <a:pt x="348" y="234"/>
                  </a:lnTo>
                  <a:lnTo>
                    <a:pt x="350" y="232"/>
                  </a:lnTo>
                  <a:lnTo>
                    <a:pt x="354" y="228"/>
                  </a:lnTo>
                  <a:lnTo>
                    <a:pt x="356" y="226"/>
                  </a:lnTo>
                  <a:lnTo>
                    <a:pt x="356" y="224"/>
                  </a:lnTo>
                  <a:lnTo>
                    <a:pt x="358" y="221"/>
                  </a:lnTo>
                  <a:lnTo>
                    <a:pt x="360" y="219"/>
                  </a:lnTo>
                  <a:lnTo>
                    <a:pt x="360" y="219"/>
                  </a:lnTo>
                  <a:lnTo>
                    <a:pt x="360" y="219"/>
                  </a:lnTo>
                  <a:lnTo>
                    <a:pt x="360" y="217"/>
                  </a:lnTo>
                  <a:lnTo>
                    <a:pt x="363" y="217"/>
                  </a:lnTo>
                  <a:lnTo>
                    <a:pt x="363" y="217"/>
                  </a:lnTo>
                  <a:lnTo>
                    <a:pt x="367" y="213"/>
                  </a:lnTo>
                  <a:lnTo>
                    <a:pt x="367" y="213"/>
                  </a:lnTo>
                  <a:lnTo>
                    <a:pt x="367" y="211"/>
                  </a:lnTo>
                  <a:lnTo>
                    <a:pt x="367" y="211"/>
                  </a:lnTo>
                  <a:lnTo>
                    <a:pt x="367" y="211"/>
                  </a:lnTo>
                  <a:lnTo>
                    <a:pt x="365" y="213"/>
                  </a:lnTo>
                  <a:lnTo>
                    <a:pt x="365" y="213"/>
                  </a:lnTo>
                  <a:lnTo>
                    <a:pt x="363" y="213"/>
                  </a:lnTo>
                  <a:lnTo>
                    <a:pt x="363" y="211"/>
                  </a:lnTo>
                  <a:lnTo>
                    <a:pt x="363" y="209"/>
                  </a:lnTo>
                  <a:lnTo>
                    <a:pt x="365" y="205"/>
                  </a:lnTo>
                  <a:lnTo>
                    <a:pt x="365" y="203"/>
                  </a:lnTo>
                  <a:lnTo>
                    <a:pt x="367" y="203"/>
                  </a:lnTo>
                  <a:lnTo>
                    <a:pt x="369" y="199"/>
                  </a:lnTo>
                  <a:lnTo>
                    <a:pt x="371" y="199"/>
                  </a:lnTo>
                  <a:lnTo>
                    <a:pt x="371" y="201"/>
                  </a:lnTo>
                  <a:lnTo>
                    <a:pt x="371" y="201"/>
                  </a:lnTo>
                  <a:lnTo>
                    <a:pt x="373" y="203"/>
                  </a:lnTo>
                  <a:lnTo>
                    <a:pt x="373" y="203"/>
                  </a:lnTo>
                  <a:lnTo>
                    <a:pt x="375" y="203"/>
                  </a:lnTo>
                  <a:lnTo>
                    <a:pt x="377" y="201"/>
                  </a:lnTo>
                  <a:lnTo>
                    <a:pt x="379" y="201"/>
                  </a:lnTo>
                  <a:lnTo>
                    <a:pt x="381" y="201"/>
                  </a:lnTo>
                  <a:lnTo>
                    <a:pt x="383" y="199"/>
                  </a:lnTo>
                  <a:lnTo>
                    <a:pt x="383" y="199"/>
                  </a:lnTo>
                  <a:lnTo>
                    <a:pt x="383" y="197"/>
                  </a:lnTo>
                  <a:lnTo>
                    <a:pt x="383" y="195"/>
                  </a:lnTo>
                  <a:lnTo>
                    <a:pt x="385" y="193"/>
                  </a:lnTo>
                  <a:lnTo>
                    <a:pt x="387" y="191"/>
                  </a:lnTo>
                  <a:lnTo>
                    <a:pt x="389" y="189"/>
                  </a:lnTo>
                  <a:lnTo>
                    <a:pt x="389" y="187"/>
                  </a:lnTo>
                  <a:lnTo>
                    <a:pt x="387" y="185"/>
                  </a:lnTo>
                  <a:lnTo>
                    <a:pt x="385" y="185"/>
                  </a:lnTo>
                  <a:lnTo>
                    <a:pt x="383" y="185"/>
                  </a:lnTo>
                  <a:lnTo>
                    <a:pt x="385" y="185"/>
                  </a:lnTo>
                  <a:lnTo>
                    <a:pt x="387" y="185"/>
                  </a:lnTo>
                  <a:lnTo>
                    <a:pt x="389" y="185"/>
                  </a:lnTo>
                  <a:lnTo>
                    <a:pt x="391" y="187"/>
                  </a:lnTo>
                  <a:lnTo>
                    <a:pt x="391" y="187"/>
                  </a:lnTo>
                  <a:lnTo>
                    <a:pt x="391" y="187"/>
                  </a:lnTo>
                  <a:lnTo>
                    <a:pt x="391" y="185"/>
                  </a:lnTo>
                  <a:lnTo>
                    <a:pt x="391" y="185"/>
                  </a:lnTo>
                  <a:lnTo>
                    <a:pt x="391" y="185"/>
                  </a:lnTo>
                  <a:lnTo>
                    <a:pt x="389" y="183"/>
                  </a:lnTo>
                  <a:lnTo>
                    <a:pt x="389" y="183"/>
                  </a:lnTo>
                  <a:lnTo>
                    <a:pt x="391" y="181"/>
                  </a:lnTo>
                  <a:lnTo>
                    <a:pt x="391" y="181"/>
                  </a:lnTo>
                  <a:lnTo>
                    <a:pt x="393" y="183"/>
                  </a:lnTo>
                  <a:lnTo>
                    <a:pt x="393" y="183"/>
                  </a:lnTo>
                  <a:lnTo>
                    <a:pt x="395" y="183"/>
                  </a:lnTo>
                  <a:lnTo>
                    <a:pt x="395" y="181"/>
                  </a:lnTo>
                  <a:lnTo>
                    <a:pt x="395" y="178"/>
                  </a:lnTo>
                  <a:lnTo>
                    <a:pt x="397" y="178"/>
                  </a:lnTo>
                  <a:lnTo>
                    <a:pt x="395" y="178"/>
                  </a:lnTo>
                  <a:lnTo>
                    <a:pt x="395" y="178"/>
                  </a:lnTo>
                  <a:lnTo>
                    <a:pt x="395" y="176"/>
                  </a:lnTo>
                  <a:lnTo>
                    <a:pt x="393" y="174"/>
                  </a:lnTo>
                  <a:lnTo>
                    <a:pt x="393" y="174"/>
                  </a:lnTo>
                  <a:lnTo>
                    <a:pt x="393" y="172"/>
                  </a:lnTo>
                  <a:lnTo>
                    <a:pt x="391" y="172"/>
                  </a:lnTo>
                  <a:lnTo>
                    <a:pt x="387" y="172"/>
                  </a:lnTo>
                  <a:lnTo>
                    <a:pt x="385" y="170"/>
                  </a:lnTo>
                  <a:lnTo>
                    <a:pt x="385" y="168"/>
                  </a:lnTo>
                  <a:lnTo>
                    <a:pt x="385" y="166"/>
                  </a:lnTo>
                  <a:lnTo>
                    <a:pt x="385" y="164"/>
                  </a:lnTo>
                  <a:lnTo>
                    <a:pt x="385" y="162"/>
                  </a:lnTo>
                  <a:lnTo>
                    <a:pt x="389" y="154"/>
                  </a:lnTo>
                  <a:lnTo>
                    <a:pt x="389" y="154"/>
                  </a:lnTo>
                  <a:lnTo>
                    <a:pt x="391" y="152"/>
                  </a:lnTo>
                  <a:lnTo>
                    <a:pt x="391" y="152"/>
                  </a:lnTo>
                  <a:lnTo>
                    <a:pt x="391" y="154"/>
                  </a:lnTo>
                  <a:lnTo>
                    <a:pt x="389" y="158"/>
                  </a:lnTo>
                  <a:lnTo>
                    <a:pt x="387" y="162"/>
                  </a:lnTo>
                  <a:lnTo>
                    <a:pt x="387" y="166"/>
                  </a:lnTo>
                  <a:lnTo>
                    <a:pt x="387" y="166"/>
                  </a:lnTo>
                  <a:lnTo>
                    <a:pt x="391" y="166"/>
                  </a:lnTo>
                  <a:lnTo>
                    <a:pt x="391" y="166"/>
                  </a:lnTo>
                  <a:lnTo>
                    <a:pt x="393" y="168"/>
                  </a:lnTo>
                  <a:lnTo>
                    <a:pt x="393" y="170"/>
                  </a:lnTo>
                  <a:lnTo>
                    <a:pt x="395" y="174"/>
                  </a:lnTo>
                  <a:lnTo>
                    <a:pt x="395" y="174"/>
                  </a:lnTo>
                  <a:lnTo>
                    <a:pt x="397" y="174"/>
                  </a:lnTo>
                  <a:lnTo>
                    <a:pt x="395" y="172"/>
                  </a:lnTo>
                  <a:lnTo>
                    <a:pt x="395" y="160"/>
                  </a:lnTo>
                  <a:lnTo>
                    <a:pt x="397" y="158"/>
                  </a:lnTo>
                  <a:lnTo>
                    <a:pt x="395" y="158"/>
                  </a:lnTo>
                  <a:lnTo>
                    <a:pt x="397" y="152"/>
                  </a:lnTo>
                  <a:lnTo>
                    <a:pt x="404" y="140"/>
                  </a:lnTo>
                  <a:lnTo>
                    <a:pt x="410" y="125"/>
                  </a:lnTo>
                  <a:lnTo>
                    <a:pt x="414" y="117"/>
                  </a:lnTo>
                  <a:lnTo>
                    <a:pt x="422" y="109"/>
                  </a:lnTo>
                  <a:lnTo>
                    <a:pt x="430" y="101"/>
                  </a:lnTo>
                  <a:lnTo>
                    <a:pt x="434" y="99"/>
                  </a:lnTo>
                  <a:lnTo>
                    <a:pt x="438" y="96"/>
                  </a:lnTo>
                  <a:lnTo>
                    <a:pt x="436" y="96"/>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96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SC</a:t>
              </a:r>
            </a:p>
          </p:txBody>
        </p:sp>
        <p:sp>
          <p:nvSpPr>
            <p:cNvPr id="149" name="Freeform 16">
              <a:extLst>
                <a:ext uri="{FF2B5EF4-FFF2-40B4-BE49-F238E27FC236}">
                  <a16:creationId xmlns:a16="http://schemas.microsoft.com/office/drawing/2014/main" id="{411232BA-A954-67E4-D6D4-B062A4566FCF}"/>
                </a:ext>
              </a:extLst>
            </p:cNvPr>
            <p:cNvSpPr>
              <a:spLocks noEditPoints="1"/>
            </p:cNvSpPr>
            <p:nvPr/>
          </p:nvSpPr>
          <p:spPr bwMode="auto">
            <a:xfrm>
              <a:off x="5014" y="607"/>
              <a:ext cx="59" cy="92"/>
            </a:xfrm>
            <a:custGeom>
              <a:avLst/>
              <a:gdLst>
                <a:gd name="T0" fmla="*/ 41 w 59"/>
                <a:gd name="T1" fmla="*/ 86 h 92"/>
                <a:gd name="T2" fmla="*/ 39 w 59"/>
                <a:gd name="T3" fmla="*/ 86 h 92"/>
                <a:gd name="T4" fmla="*/ 37 w 59"/>
                <a:gd name="T5" fmla="*/ 90 h 92"/>
                <a:gd name="T6" fmla="*/ 43 w 59"/>
                <a:gd name="T7" fmla="*/ 92 h 92"/>
                <a:gd name="T8" fmla="*/ 43 w 59"/>
                <a:gd name="T9" fmla="*/ 88 h 92"/>
                <a:gd name="T10" fmla="*/ 47 w 59"/>
                <a:gd name="T11" fmla="*/ 45 h 92"/>
                <a:gd name="T12" fmla="*/ 47 w 59"/>
                <a:gd name="T13" fmla="*/ 49 h 92"/>
                <a:gd name="T14" fmla="*/ 47 w 59"/>
                <a:gd name="T15" fmla="*/ 51 h 92"/>
                <a:gd name="T16" fmla="*/ 47 w 59"/>
                <a:gd name="T17" fmla="*/ 57 h 92"/>
                <a:gd name="T18" fmla="*/ 49 w 59"/>
                <a:gd name="T19" fmla="*/ 53 h 92"/>
                <a:gd name="T20" fmla="*/ 59 w 59"/>
                <a:gd name="T21" fmla="*/ 49 h 92"/>
                <a:gd name="T22" fmla="*/ 57 w 59"/>
                <a:gd name="T23" fmla="*/ 39 h 92"/>
                <a:gd name="T24" fmla="*/ 53 w 59"/>
                <a:gd name="T25" fmla="*/ 35 h 92"/>
                <a:gd name="T26" fmla="*/ 53 w 59"/>
                <a:gd name="T27" fmla="*/ 41 h 92"/>
                <a:gd name="T28" fmla="*/ 53 w 59"/>
                <a:gd name="T29" fmla="*/ 45 h 92"/>
                <a:gd name="T30" fmla="*/ 51 w 59"/>
                <a:gd name="T31" fmla="*/ 49 h 92"/>
                <a:gd name="T32" fmla="*/ 51 w 59"/>
                <a:gd name="T33" fmla="*/ 53 h 92"/>
                <a:gd name="T34" fmla="*/ 53 w 59"/>
                <a:gd name="T35" fmla="*/ 55 h 92"/>
                <a:gd name="T36" fmla="*/ 57 w 59"/>
                <a:gd name="T37" fmla="*/ 51 h 92"/>
                <a:gd name="T38" fmla="*/ 53 w 59"/>
                <a:gd name="T39" fmla="*/ 30 h 92"/>
                <a:gd name="T40" fmla="*/ 53 w 59"/>
                <a:gd name="T41" fmla="*/ 28 h 92"/>
                <a:gd name="T42" fmla="*/ 47 w 59"/>
                <a:gd name="T43" fmla="*/ 22 h 92"/>
                <a:gd name="T44" fmla="*/ 43 w 59"/>
                <a:gd name="T45" fmla="*/ 20 h 92"/>
                <a:gd name="T46" fmla="*/ 41 w 59"/>
                <a:gd name="T47" fmla="*/ 14 h 92"/>
                <a:gd name="T48" fmla="*/ 41 w 59"/>
                <a:gd name="T49" fmla="*/ 12 h 92"/>
                <a:gd name="T50" fmla="*/ 39 w 59"/>
                <a:gd name="T51" fmla="*/ 12 h 92"/>
                <a:gd name="T52" fmla="*/ 35 w 59"/>
                <a:gd name="T53" fmla="*/ 4 h 92"/>
                <a:gd name="T54" fmla="*/ 23 w 59"/>
                <a:gd name="T55" fmla="*/ 2 h 92"/>
                <a:gd name="T56" fmla="*/ 2 w 59"/>
                <a:gd name="T57" fmla="*/ 14 h 92"/>
                <a:gd name="T58" fmla="*/ 8 w 59"/>
                <a:gd name="T59" fmla="*/ 39 h 92"/>
                <a:gd name="T60" fmla="*/ 14 w 59"/>
                <a:gd name="T61" fmla="*/ 59 h 92"/>
                <a:gd name="T62" fmla="*/ 14 w 59"/>
                <a:gd name="T63" fmla="*/ 71 h 92"/>
                <a:gd name="T64" fmla="*/ 23 w 59"/>
                <a:gd name="T65" fmla="*/ 78 h 92"/>
                <a:gd name="T66" fmla="*/ 41 w 59"/>
                <a:gd name="T67" fmla="*/ 67 h 92"/>
                <a:gd name="T68" fmla="*/ 43 w 59"/>
                <a:gd name="T69" fmla="*/ 65 h 92"/>
                <a:gd name="T70" fmla="*/ 43 w 59"/>
                <a:gd name="T71" fmla="*/ 49 h 92"/>
                <a:gd name="T72" fmla="*/ 43 w 59"/>
                <a:gd name="T73" fmla="*/ 43 h 92"/>
                <a:gd name="T74" fmla="*/ 41 w 59"/>
                <a:gd name="T75" fmla="*/ 37 h 92"/>
                <a:gd name="T76" fmla="*/ 39 w 59"/>
                <a:gd name="T77" fmla="*/ 32 h 92"/>
                <a:gd name="T78" fmla="*/ 43 w 59"/>
                <a:gd name="T79" fmla="*/ 35 h 92"/>
                <a:gd name="T80" fmla="*/ 43 w 59"/>
                <a:gd name="T81" fmla="*/ 28 h 92"/>
                <a:gd name="T82" fmla="*/ 41 w 59"/>
                <a:gd name="T83" fmla="*/ 26 h 92"/>
                <a:gd name="T84" fmla="*/ 41 w 59"/>
                <a:gd name="T85" fmla="*/ 20 h 92"/>
                <a:gd name="T86" fmla="*/ 43 w 59"/>
                <a:gd name="T87" fmla="*/ 26 h 92"/>
                <a:gd name="T88" fmla="*/ 47 w 59"/>
                <a:gd name="T89" fmla="*/ 26 h 92"/>
                <a:gd name="T90" fmla="*/ 49 w 59"/>
                <a:gd name="T91" fmla="*/ 24 h 92"/>
                <a:gd name="T92" fmla="*/ 49 w 59"/>
                <a:gd name="T93" fmla="*/ 32 h 92"/>
                <a:gd name="T94" fmla="*/ 53 w 59"/>
                <a:gd name="T9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92">
                  <a:moveTo>
                    <a:pt x="43" y="88"/>
                  </a:moveTo>
                  <a:lnTo>
                    <a:pt x="41" y="88"/>
                  </a:lnTo>
                  <a:lnTo>
                    <a:pt x="41" y="86"/>
                  </a:lnTo>
                  <a:lnTo>
                    <a:pt x="41" y="86"/>
                  </a:lnTo>
                  <a:lnTo>
                    <a:pt x="41" y="84"/>
                  </a:lnTo>
                  <a:lnTo>
                    <a:pt x="41" y="84"/>
                  </a:lnTo>
                  <a:lnTo>
                    <a:pt x="39" y="84"/>
                  </a:lnTo>
                  <a:lnTo>
                    <a:pt x="39" y="86"/>
                  </a:lnTo>
                  <a:lnTo>
                    <a:pt x="41" y="86"/>
                  </a:lnTo>
                  <a:lnTo>
                    <a:pt x="39" y="88"/>
                  </a:lnTo>
                  <a:lnTo>
                    <a:pt x="39" y="88"/>
                  </a:lnTo>
                  <a:lnTo>
                    <a:pt x="37" y="90"/>
                  </a:lnTo>
                  <a:lnTo>
                    <a:pt x="39" y="90"/>
                  </a:lnTo>
                  <a:lnTo>
                    <a:pt x="39" y="92"/>
                  </a:lnTo>
                  <a:lnTo>
                    <a:pt x="41" y="92"/>
                  </a:lnTo>
                  <a:lnTo>
                    <a:pt x="43" y="92"/>
                  </a:lnTo>
                  <a:lnTo>
                    <a:pt x="43" y="90"/>
                  </a:lnTo>
                  <a:lnTo>
                    <a:pt x="43" y="90"/>
                  </a:lnTo>
                  <a:lnTo>
                    <a:pt x="43" y="90"/>
                  </a:lnTo>
                  <a:lnTo>
                    <a:pt x="43" y="88"/>
                  </a:lnTo>
                  <a:close/>
                  <a:moveTo>
                    <a:pt x="49" y="47"/>
                  </a:moveTo>
                  <a:lnTo>
                    <a:pt x="49" y="45"/>
                  </a:lnTo>
                  <a:lnTo>
                    <a:pt x="47" y="45"/>
                  </a:lnTo>
                  <a:lnTo>
                    <a:pt x="47" y="45"/>
                  </a:lnTo>
                  <a:lnTo>
                    <a:pt x="47" y="45"/>
                  </a:lnTo>
                  <a:lnTo>
                    <a:pt x="47" y="45"/>
                  </a:lnTo>
                  <a:lnTo>
                    <a:pt x="45" y="49"/>
                  </a:lnTo>
                  <a:lnTo>
                    <a:pt x="47" y="49"/>
                  </a:lnTo>
                  <a:lnTo>
                    <a:pt x="47" y="51"/>
                  </a:lnTo>
                  <a:lnTo>
                    <a:pt x="47" y="51"/>
                  </a:lnTo>
                  <a:lnTo>
                    <a:pt x="47" y="51"/>
                  </a:lnTo>
                  <a:lnTo>
                    <a:pt x="47" y="51"/>
                  </a:lnTo>
                  <a:lnTo>
                    <a:pt x="47" y="53"/>
                  </a:lnTo>
                  <a:lnTo>
                    <a:pt x="47" y="53"/>
                  </a:lnTo>
                  <a:lnTo>
                    <a:pt x="47" y="55"/>
                  </a:lnTo>
                  <a:lnTo>
                    <a:pt x="47" y="57"/>
                  </a:lnTo>
                  <a:lnTo>
                    <a:pt x="47" y="55"/>
                  </a:lnTo>
                  <a:lnTo>
                    <a:pt x="49" y="55"/>
                  </a:lnTo>
                  <a:lnTo>
                    <a:pt x="49" y="55"/>
                  </a:lnTo>
                  <a:lnTo>
                    <a:pt x="49" y="53"/>
                  </a:lnTo>
                  <a:lnTo>
                    <a:pt x="49" y="53"/>
                  </a:lnTo>
                  <a:lnTo>
                    <a:pt x="49" y="51"/>
                  </a:lnTo>
                  <a:lnTo>
                    <a:pt x="49" y="47"/>
                  </a:lnTo>
                  <a:close/>
                  <a:moveTo>
                    <a:pt x="59" y="49"/>
                  </a:moveTo>
                  <a:lnTo>
                    <a:pt x="59" y="49"/>
                  </a:lnTo>
                  <a:lnTo>
                    <a:pt x="59" y="47"/>
                  </a:lnTo>
                  <a:lnTo>
                    <a:pt x="59" y="45"/>
                  </a:lnTo>
                  <a:lnTo>
                    <a:pt x="57" y="39"/>
                  </a:lnTo>
                  <a:lnTo>
                    <a:pt x="57" y="35"/>
                  </a:lnTo>
                  <a:lnTo>
                    <a:pt x="57" y="32"/>
                  </a:lnTo>
                  <a:lnTo>
                    <a:pt x="55" y="32"/>
                  </a:lnTo>
                  <a:lnTo>
                    <a:pt x="53" y="35"/>
                  </a:lnTo>
                  <a:lnTo>
                    <a:pt x="53" y="37"/>
                  </a:lnTo>
                  <a:lnTo>
                    <a:pt x="53" y="37"/>
                  </a:lnTo>
                  <a:lnTo>
                    <a:pt x="53" y="41"/>
                  </a:lnTo>
                  <a:lnTo>
                    <a:pt x="53" y="41"/>
                  </a:lnTo>
                  <a:lnTo>
                    <a:pt x="53" y="43"/>
                  </a:lnTo>
                  <a:lnTo>
                    <a:pt x="51" y="43"/>
                  </a:lnTo>
                  <a:lnTo>
                    <a:pt x="51" y="43"/>
                  </a:lnTo>
                  <a:lnTo>
                    <a:pt x="53" y="45"/>
                  </a:lnTo>
                  <a:lnTo>
                    <a:pt x="53" y="45"/>
                  </a:lnTo>
                  <a:lnTo>
                    <a:pt x="53" y="47"/>
                  </a:lnTo>
                  <a:lnTo>
                    <a:pt x="51" y="47"/>
                  </a:lnTo>
                  <a:lnTo>
                    <a:pt x="51" y="49"/>
                  </a:lnTo>
                  <a:lnTo>
                    <a:pt x="53" y="49"/>
                  </a:lnTo>
                  <a:lnTo>
                    <a:pt x="53" y="51"/>
                  </a:lnTo>
                  <a:lnTo>
                    <a:pt x="53" y="51"/>
                  </a:lnTo>
                  <a:lnTo>
                    <a:pt x="51" y="53"/>
                  </a:lnTo>
                  <a:lnTo>
                    <a:pt x="51" y="55"/>
                  </a:lnTo>
                  <a:lnTo>
                    <a:pt x="51" y="55"/>
                  </a:lnTo>
                  <a:lnTo>
                    <a:pt x="51" y="55"/>
                  </a:lnTo>
                  <a:lnTo>
                    <a:pt x="53" y="55"/>
                  </a:lnTo>
                  <a:lnTo>
                    <a:pt x="53" y="53"/>
                  </a:lnTo>
                  <a:lnTo>
                    <a:pt x="55" y="53"/>
                  </a:lnTo>
                  <a:lnTo>
                    <a:pt x="55" y="51"/>
                  </a:lnTo>
                  <a:lnTo>
                    <a:pt x="57" y="51"/>
                  </a:lnTo>
                  <a:lnTo>
                    <a:pt x="59" y="51"/>
                  </a:lnTo>
                  <a:lnTo>
                    <a:pt x="59" y="49"/>
                  </a:lnTo>
                  <a:close/>
                  <a:moveTo>
                    <a:pt x="53" y="32"/>
                  </a:moveTo>
                  <a:lnTo>
                    <a:pt x="53" y="30"/>
                  </a:lnTo>
                  <a:lnTo>
                    <a:pt x="55" y="30"/>
                  </a:lnTo>
                  <a:lnTo>
                    <a:pt x="53" y="30"/>
                  </a:lnTo>
                  <a:lnTo>
                    <a:pt x="53" y="28"/>
                  </a:lnTo>
                  <a:lnTo>
                    <a:pt x="53" y="28"/>
                  </a:lnTo>
                  <a:lnTo>
                    <a:pt x="53" y="28"/>
                  </a:lnTo>
                  <a:lnTo>
                    <a:pt x="51" y="24"/>
                  </a:lnTo>
                  <a:lnTo>
                    <a:pt x="49" y="22"/>
                  </a:lnTo>
                  <a:lnTo>
                    <a:pt x="47" y="22"/>
                  </a:lnTo>
                  <a:lnTo>
                    <a:pt x="47" y="22"/>
                  </a:lnTo>
                  <a:lnTo>
                    <a:pt x="45" y="22"/>
                  </a:lnTo>
                  <a:lnTo>
                    <a:pt x="43" y="22"/>
                  </a:lnTo>
                  <a:lnTo>
                    <a:pt x="43" y="20"/>
                  </a:lnTo>
                  <a:lnTo>
                    <a:pt x="43" y="20"/>
                  </a:lnTo>
                  <a:lnTo>
                    <a:pt x="43" y="20"/>
                  </a:lnTo>
                  <a:lnTo>
                    <a:pt x="43" y="16"/>
                  </a:lnTo>
                  <a:lnTo>
                    <a:pt x="41" y="14"/>
                  </a:lnTo>
                  <a:lnTo>
                    <a:pt x="41" y="14"/>
                  </a:lnTo>
                  <a:lnTo>
                    <a:pt x="41" y="14"/>
                  </a:lnTo>
                  <a:lnTo>
                    <a:pt x="41" y="12"/>
                  </a:lnTo>
                  <a:lnTo>
                    <a:pt x="41" y="12"/>
                  </a:lnTo>
                  <a:lnTo>
                    <a:pt x="41" y="12"/>
                  </a:lnTo>
                  <a:lnTo>
                    <a:pt x="41" y="10"/>
                  </a:lnTo>
                  <a:lnTo>
                    <a:pt x="39" y="10"/>
                  </a:lnTo>
                  <a:lnTo>
                    <a:pt x="39" y="12"/>
                  </a:lnTo>
                  <a:lnTo>
                    <a:pt x="37" y="12"/>
                  </a:lnTo>
                  <a:lnTo>
                    <a:pt x="37" y="10"/>
                  </a:lnTo>
                  <a:lnTo>
                    <a:pt x="37" y="10"/>
                  </a:lnTo>
                  <a:lnTo>
                    <a:pt x="35" y="4"/>
                  </a:lnTo>
                  <a:lnTo>
                    <a:pt x="35" y="0"/>
                  </a:lnTo>
                  <a:lnTo>
                    <a:pt x="33" y="0"/>
                  </a:lnTo>
                  <a:lnTo>
                    <a:pt x="29" y="0"/>
                  </a:lnTo>
                  <a:lnTo>
                    <a:pt x="23" y="2"/>
                  </a:lnTo>
                  <a:lnTo>
                    <a:pt x="14" y="4"/>
                  </a:lnTo>
                  <a:lnTo>
                    <a:pt x="8" y="6"/>
                  </a:lnTo>
                  <a:lnTo>
                    <a:pt x="0" y="8"/>
                  </a:lnTo>
                  <a:lnTo>
                    <a:pt x="2" y="14"/>
                  </a:lnTo>
                  <a:lnTo>
                    <a:pt x="4" y="20"/>
                  </a:lnTo>
                  <a:lnTo>
                    <a:pt x="6" y="26"/>
                  </a:lnTo>
                  <a:lnTo>
                    <a:pt x="8" y="32"/>
                  </a:lnTo>
                  <a:lnTo>
                    <a:pt x="8" y="39"/>
                  </a:lnTo>
                  <a:lnTo>
                    <a:pt x="10" y="45"/>
                  </a:lnTo>
                  <a:lnTo>
                    <a:pt x="12" y="49"/>
                  </a:lnTo>
                  <a:lnTo>
                    <a:pt x="14" y="55"/>
                  </a:lnTo>
                  <a:lnTo>
                    <a:pt x="14" y="59"/>
                  </a:lnTo>
                  <a:lnTo>
                    <a:pt x="14" y="63"/>
                  </a:lnTo>
                  <a:lnTo>
                    <a:pt x="16" y="69"/>
                  </a:lnTo>
                  <a:lnTo>
                    <a:pt x="16" y="69"/>
                  </a:lnTo>
                  <a:lnTo>
                    <a:pt x="14" y="71"/>
                  </a:lnTo>
                  <a:lnTo>
                    <a:pt x="14" y="73"/>
                  </a:lnTo>
                  <a:lnTo>
                    <a:pt x="16" y="78"/>
                  </a:lnTo>
                  <a:lnTo>
                    <a:pt x="16" y="80"/>
                  </a:lnTo>
                  <a:lnTo>
                    <a:pt x="23" y="78"/>
                  </a:lnTo>
                  <a:lnTo>
                    <a:pt x="35" y="69"/>
                  </a:lnTo>
                  <a:lnTo>
                    <a:pt x="39" y="67"/>
                  </a:lnTo>
                  <a:lnTo>
                    <a:pt x="39" y="67"/>
                  </a:lnTo>
                  <a:lnTo>
                    <a:pt x="41" y="67"/>
                  </a:lnTo>
                  <a:lnTo>
                    <a:pt x="43" y="67"/>
                  </a:lnTo>
                  <a:lnTo>
                    <a:pt x="43" y="67"/>
                  </a:lnTo>
                  <a:lnTo>
                    <a:pt x="43" y="67"/>
                  </a:lnTo>
                  <a:lnTo>
                    <a:pt x="43" y="65"/>
                  </a:lnTo>
                  <a:lnTo>
                    <a:pt x="43" y="65"/>
                  </a:lnTo>
                  <a:lnTo>
                    <a:pt x="45" y="57"/>
                  </a:lnTo>
                  <a:lnTo>
                    <a:pt x="45" y="55"/>
                  </a:lnTo>
                  <a:lnTo>
                    <a:pt x="43" y="49"/>
                  </a:lnTo>
                  <a:lnTo>
                    <a:pt x="43" y="47"/>
                  </a:lnTo>
                  <a:lnTo>
                    <a:pt x="41" y="45"/>
                  </a:lnTo>
                  <a:lnTo>
                    <a:pt x="41" y="45"/>
                  </a:lnTo>
                  <a:lnTo>
                    <a:pt x="43" y="43"/>
                  </a:lnTo>
                  <a:lnTo>
                    <a:pt x="43" y="41"/>
                  </a:lnTo>
                  <a:lnTo>
                    <a:pt x="43" y="39"/>
                  </a:lnTo>
                  <a:lnTo>
                    <a:pt x="41" y="37"/>
                  </a:lnTo>
                  <a:lnTo>
                    <a:pt x="41" y="37"/>
                  </a:lnTo>
                  <a:lnTo>
                    <a:pt x="39" y="35"/>
                  </a:lnTo>
                  <a:lnTo>
                    <a:pt x="39" y="35"/>
                  </a:lnTo>
                  <a:lnTo>
                    <a:pt x="39" y="32"/>
                  </a:lnTo>
                  <a:lnTo>
                    <a:pt x="39" y="32"/>
                  </a:lnTo>
                  <a:lnTo>
                    <a:pt x="41" y="32"/>
                  </a:lnTo>
                  <a:lnTo>
                    <a:pt x="41" y="32"/>
                  </a:lnTo>
                  <a:lnTo>
                    <a:pt x="43" y="32"/>
                  </a:lnTo>
                  <a:lnTo>
                    <a:pt x="43" y="35"/>
                  </a:lnTo>
                  <a:lnTo>
                    <a:pt x="43" y="32"/>
                  </a:lnTo>
                  <a:lnTo>
                    <a:pt x="43" y="30"/>
                  </a:lnTo>
                  <a:lnTo>
                    <a:pt x="43" y="30"/>
                  </a:lnTo>
                  <a:lnTo>
                    <a:pt x="43" y="28"/>
                  </a:lnTo>
                  <a:lnTo>
                    <a:pt x="43" y="28"/>
                  </a:lnTo>
                  <a:lnTo>
                    <a:pt x="41" y="28"/>
                  </a:lnTo>
                  <a:lnTo>
                    <a:pt x="41" y="26"/>
                  </a:lnTo>
                  <a:lnTo>
                    <a:pt x="41" y="26"/>
                  </a:lnTo>
                  <a:lnTo>
                    <a:pt x="39" y="22"/>
                  </a:lnTo>
                  <a:lnTo>
                    <a:pt x="39" y="20"/>
                  </a:lnTo>
                  <a:lnTo>
                    <a:pt x="39" y="20"/>
                  </a:lnTo>
                  <a:lnTo>
                    <a:pt x="41" y="20"/>
                  </a:lnTo>
                  <a:lnTo>
                    <a:pt x="41" y="22"/>
                  </a:lnTo>
                  <a:lnTo>
                    <a:pt x="41" y="22"/>
                  </a:lnTo>
                  <a:lnTo>
                    <a:pt x="43" y="24"/>
                  </a:lnTo>
                  <a:lnTo>
                    <a:pt x="43" y="26"/>
                  </a:lnTo>
                  <a:lnTo>
                    <a:pt x="45" y="26"/>
                  </a:lnTo>
                  <a:lnTo>
                    <a:pt x="47" y="28"/>
                  </a:lnTo>
                  <a:lnTo>
                    <a:pt x="47" y="28"/>
                  </a:lnTo>
                  <a:lnTo>
                    <a:pt x="47" y="26"/>
                  </a:lnTo>
                  <a:lnTo>
                    <a:pt x="47" y="24"/>
                  </a:lnTo>
                  <a:lnTo>
                    <a:pt x="47" y="24"/>
                  </a:lnTo>
                  <a:lnTo>
                    <a:pt x="49" y="24"/>
                  </a:lnTo>
                  <a:lnTo>
                    <a:pt x="49" y="24"/>
                  </a:lnTo>
                  <a:lnTo>
                    <a:pt x="49" y="24"/>
                  </a:lnTo>
                  <a:lnTo>
                    <a:pt x="49" y="28"/>
                  </a:lnTo>
                  <a:lnTo>
                    <a:pt x="49" y="30"/>
                  </a:lnTo>
                  <a:lnTo>
                    <a:pt x="49" y="32"/>
                  </a:lnTo>
                  <a:lnTo>
                    <a:pt x="49" y="32"/>
                  </a:lnTo>
                  <a:lnTo>
                    <a:pt x="49" y="35"/>
                  </a:lnTo>
                  <a:lnTo>
                    <a:pt x="51" y="35"/>
                  </a:lnTo>
                  <a:lnTo>
                    <a:pt x="53" y="32"/>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150" name="Freeform 17">
              <a:extLst>
                <a:ext uri="{FF2B5EF4-FFF2-40B4-BE49-F238E27FC236}">
                  <a16:creationId xmlns:a16="http://schemas.microsoft.com/office/drawing/2014/main" id="{0284392C-F544-D4F4-638C-987FF9F51CA2}"/>
                </a:ext>
              </a:extLst>
            </p:cNvPr>
            <p:cNvSpPr>
              <a:spLocks/>
            </p:cNvSpPr>
            <p:nvPr/>
          </p:nvSpPr>
          <p:spPr bwMode="auto">
            <a:xfrm>
              <a:off x="4317" y="685"/>
              <a:ext cx="510" cy="323"/>
            </a:xfrm>
            <a:custGeom>
              <a:avLst/>
              <a:gdLst>
                <a:gd name="T0" fmla="*/ 491 w 510"/>
                <a:gd name="T1" fmla="*/ 166 h 323"/>
                <a:gd name="T2" fmla="*/ 475 w 510"/>
                <a:gd name="T3" fmla="*/ 157 h 323"/>
                <a:gd name="T4" fmla="*/ 463 w 510"/>
                <a:gd name="T5" fmla="*/ 145 h 323"/>
                <a:gd name="T6" fmla="*/ 458 w 510"/>
                <a:gd name="T7" fmla="*/ 135 h 323"/>
                <a:gd name="T8" fmla="*/ 458 w 510"/>
                <a:gd name="T9" fmla="*/ 127 h 323"/>
                <a:gd name="T10" fmla="*/ 458 w 510"/>
                <a:gd name="T11" fmla="*/ 123 h 323"/>
                <a:gd name="T12" fmla="*/ 465 w 510"/>
                <a:gd name="T13" fmla="*/ 114 h 323"/>
                <a:gd name="T14" fmla="*/ 460 w 510"/>
                <a:gd name="T15" fmla="*/ 106 h 323"/>
                <a:gd name="T16" fmla="*/ 458 w 510"/>
                <a:gd name="T17" fmla="*/ 106 h 323"/>
                <a:gd name="T18" fmla="*/ 456 w 510"/>
                <a:gd name="T19" fmla="*/ 100 h 323"/>
                <a:gd name="T20" fmla="*/ 467 w 510"/>
                <a:gd name="T21" fmla="*/ 88 h 323"/>
                <a:gd name="T22" fmla="*/ 467 w 510"/>
                <a:gd name="T23" fmla="*/ 84 h 323"/>
                <a:gd name="T24" fmla="*/ 473 w 510"/>
                <a:gd name="T25" fmla="*/ 67 h 323"/>
                <a:gd name="T26" fmla="*/ 477 w 510"/>
                <a:gd name="T27" fmla="*/ 59 h 323"/>
                <a:gd name="T28" fmla="*/ 483 w 510"/>
                <a:gd name="T29" fmla="*/ 55 h 323"/>
                <a:gd name="T30" fmla="*/ 477 w 510"/>
                <a:gd name="T31" fmla="*/ 47 h 323"/>
                <a:gd name="T32" fmla="*/ 467 w 510"/>
                <a:gd name="T33" fmla="*/ 49 h 323"/>
                <a:gd name="T34" fmla="*/ 456 w 510"/>
                <a:gd name="T35" fmla="*/ 45 h 323"/>
                <a:gd name="T36" fmla="*/ 446 w 510"/>
                <a:gd name="T37" fmla="*/ 26 h 323"/>
                <a:gd name="T38" fmla="*/ 442 w 510"/>
                <a:gd name="T39" fmla="*/ 18 h 323"/>
                <a:gd name="T40" fmla="*/ 438 w 510"/>
                <a:gd name="T41" fmla="*/ 12 h 323"/>
                <a:gd name="T42" fmla="*/ 426 w 510"/>
                <a:gd name="T43" fmla="*/ 10 h 323"/>
                <a:gd name="T44" fmla="*/ 415 w 510"/>
                <a:gd name="T45" fmla="*/ 2 h 323"/>
                <a:gd name="T46" fmla="*/ 381 w 510"/>
                <a:gd name="T47" fmla="*/ 8 h 323"/>
                <a:gd name="T48" fmla="*/ 315 w 510"/>
                <a:gd name="T49" fmla="*/ 22 h 323"/>
                <a:gd name="T50" fmla="*/ 250 w 510"/>
                <a:gd name="T51" fmla="*/ 36 h 323"/>
                <a:gd name="T52" fmla="*/ 184 w 510"/>
                <a:gd name="T53" fmla="*/ 49 h 323"/>
                <a:gd name="T54" fmla="*/ 118 w 510"/>
                <a:gd name="T55" fmla="*/ 63 h 323"/>
                <a:gd name="T56" fmla="*/ 61 w 510"/>
                <a:gd name="T57" fmla="*/ 73 h 323"/>
                <a:gd name="T58" fmla="*/ 57 w 510"/>
                <a:gd name="T59" fmla="*/ 55 h 323"/>
                <a:gd name="T60" fmla="*/ 43 w 510"/>
                <a:gd name="T61" fmla="*/ 55 h 323"/>
                <a:gd name="T62" fmla="*/ 28 w 510"/>
                <a:gd name="T63" fmla="*/ 65 h 323"/>
                <a:gd name="T64" fmla="*/ 32 w 510"/>
                <a:gd name="T65" fmla="*/ 61 h 323"/>
                <a:gd name="T66" fmla="*/ 26 w 510"/>
                <a:gd name="T67" fmla="*/ 67 h 323"/>
                <a:gd name="T68" fmla="*/ 4 w 510"/>
                <a:gd name="T69" fmla="*/ 84 h 323"/>
                <a:gd name="T70" fmla="*/ 14 w 510"/>
                <a:gd name="T71" fmla="*/ 159 h 323"/>
                <a:gd name="T72" fmla="*/ 24 w 510"/>
                <a:gd name="T73" fmla="*/ 225 h 323"/>
                <a:gd name="T74" fmla="*/ 24 w 510"/>
                <a:gd name="T75" fmla="*/ 227 h 323"/>
                <a:gd name="T76" fmla="*/ 32 w 510"/>
                <a:gd name="T77" fmla="*/ 268 h 323"/>
                <a:gd name="T78" fmla="*/ 41 w 510"/>
                <a:gd name="T79" fmla="*/ 315 h 323"/>
                <a:gd name="T80" fmla="*/ 96 w 510"/>
                <a:gd name="T81" fmla="*/ 313 h 323"/>
                <a:gd name="T82" fmla="*/ 157 w 510"/>
                <a:gd name="T83" fmla="*/ 301 h 323"/>
                <a:gd name="T84" fmla="*/ 215 w 510"/>
                <a:gd name="T85" fmla="*/ 291 h 323"/>
                <a:gd name="T86" fmla="*/ 272 w 510"/>
                <a:gd name="T87" fmla="*/ 278 h 323"/>
                <a:gd name="T88" fmla="*/ 329 w 510"/>
                <a:gd name="T89" fmla="*/ 268 h 323"/>
                <a:gd name="T90" fmla="*/ 385 w 510"/>
                <a:gd name="T91" fmla="*/ 256 h 323"/>
                <a:gd name="T92" fmla="*/ 434 w 510"/>
                <a:gd name="T93" fmla="*/ 245 h 323"/>
                <a:gd name="T94" fmla="*/ 440 w 510"/>
                <a:gd name="T95" fmla="*/ 231 h 323"/>
                <a:gd name="T96" fmla="*/ 456 w 510"/>
                <a:gd name="T97" fmla="*/ 227 h 323"/>
                <a:gd name="T98" fmla="*/ 465 w 510"/>
                <a:gd name="T99" fmla="*/ 223 h 323"/>
                <a:gd name="T100" fmla="*/ 481 w 510"/>
                <a:gd name="T101" fmla="*/ 213 h 323"/>
                <a:gd name="T102" fmla="*/ 487 w 510"/>
                <a:gd name="T103" fmla="*/ 200 h 323"/>
                <a:gd name="T104" fmla="*/ 497 w 510"/>
                <a:gd name="T105" fmla="*/ 190 h 323"/>
                <a:gd name="T106" fmla="*/ 508 w 510"/>
                <a:gd name="T107" fmla="*/ 18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0" h="323">
                  <a:moveTo>
                    <a:pt x="506" y="176"/>
                  </a:moveTo>
                  <a:lnTo>
                    <a:pt x="499" y="174"/>
                  </a:lnTo>
                  <a:lnTo>
                    <a:pt x="495" y="170"/>
                  </a:lnTo>
                  <a:lnTo>
                    <a:pt x="493" y="168"/>
                  </a:lnTo>
                  <a:lnTo>
                    <a:pt x="493" y="166"/>
                  </a:lnTo>
                  <a:lnTo>
                    <a:pt x="491" y="166"/>
                  </a:lnTo>
                  <a:lnTo>
                    <a:pt x="487" y="163"/>
                  </a:lnTo>
                  <a:lnTo>
                    <a:pt x="485" y="159"/>
                  </a:lnTo>
                  <a:lnTo>
                    <a:pt x="483" y="157"/>
                  </a:lnTo>
                  <a:lnTo>
                    <a:pt x="479" y="159"/>
                  </a:lnTo>
                  <a:lnTo>
                    <a:pt x="477" y="159"/>
                  </a:lnTo>
                  <a:lnTo>
                    <a:pt x="475" y="157"/>
                  </a:lnTo>
                  <a:lnTo>
                    <a:pt x="475" y="155"/>
                  </a:lnTo>
                  <a:lnTo>
                    <a:pt x="473" y="147"/>
                  </a:lnTo>
                  <a:lnTo>
                    <a:pt x="471" y="145"/>
                  </a:lnTo>
                  <a:lnTo>
                    <a:pt x="465" y="145"/>
                  </a:lnTo>
                  <a:lnTo>
                    <a:pt x="463" y="145"/>
                  </a:lnTo>
                  <a:lnTo>
                    <a:pt x="463" y="145"/>
                  </a:lnTo>
                  <a:lnTo>
                    <a:pt x="460" y="143"/>
                  </a:lnTo>
                  <a:lnTo>
                    <a:pt x="460" y="141"/>
                  </a:lnTo>
                  <a:lnTo>
                    <a:pt x="460" y="141"/>
                  </a:lnTo>
                  <a:lnTo>
                    <a:pt x="460" y="139"/>
                  </a:lnTo>
                  <a:lnTo>
                    <a:pt x="458" y="137"/>
                  </a:lnTo>
                  <a:lnTo>
                    <a:pt x="458" y="135"/>
                  </a:lnTo>
                  <a:lnTo>
                    <a:pt x="458" y="135"/>
                  </a:lnTo>
                  <a:lnTo>
                    <a:pt x="458" y="133"/>
                  </a:lnTo>
                  <a:lnTo>
                    <a:pt x="458" y="133"/>
                  </a:lnTo>
                  <a:lnTo>
                    <a:pt x="458" y="131"/>
                  </a:lnTo>
                  <a:lnTo>
                    <a:pt x="458" y="127"/>
                  </a:lnTo>
                  <a:lnTo>
                    <a:pt x="458" y="127"/>
                  </a:lnTo>
                  <a:lnTo>
                    <a:pt x="456" y="127"/>
                  </a:lnTo>
                  <a:lnTo>
                    <a:pt x="456" y="127"/>
                  </a:lnTo>
                  <a:lnTo>
                    <a:pt x="456" y="125"/>
                  </a:lnTo>
                  <a:lnTo>
                    <a:pt x="458" y="125"/>
                  </a:lnTo>
                  <a:lnTo>
                    <a:pt x="458" y="125"/>
                  </a:lnTo>
                  <a:lnTo>
                    <a:pt x="458" y="123"/>
                  </a:lnTo>
                  <a:lnTo>
                    <a:pt x="460" y="123"/>
                  </a:lnTo>
                  <a:lnTo>
                    <a:pt x="463" y="123"/>
                  </a:lnTo>
                  <a:lnTo>
                    <a:pt x="463" y="120"/>
                  </a:lnTo>
                  <a:lnTo>
                    <a:pt x="463" y="118"/>
                  </a:lnTo>
                  <a:lnTo>
                    <a:pt x="463" y="116"/>
                  </a:lnTo>
                  <a:lnTo>
                    <a:pt x="465" y="114"/>
                  </a:lnTo>
                  <a:lnTo>
                    <a:pt x="465" y="114"/>
                  </a:lnTo>
                  <a:lnTo>
                    <a:pt x="465" y="112"/>
                  </a:lnTo>
                  <a:lnTo>
                    <a:pt x="465" y="110"/>
                  </a:lnTo>
                  <a:lnTo>
                    <a:pt x="463" y="108"/>
                  </a:lnTo>
                  <a:lnTo>
                    <a:pt x="460" y="106"/>
                  </a:lnTo>
                  <a:lnTo>
                    <a:pt x="460" y="106"/>
                  </a:lnTo>
                  <a:lnTo>
                    <a:pt x="460" y="106"/>
                  </a:lnTo>
                  <a:lnTo>
                    <a:pt x="460" y="106"/>
                  </a:lnTo>
                  <a:lnTo>
                    <a:pt x="458" y="106"/>
                  </a:lnTo>
                  <a:lnTo>
                    <a:pt x="458" y="106"/>
                  </a:lnTo>
                  <a:lnTo>
                    <a:pt x="458" y="106"/>
                  </a:lnTo>
                  <a:lnTo>
                    <a:pt x="458" y="106"/>
                  </a:lnTo>
                  <a:lnTo>
                    <a:pt x="458" y="104"/>
                  </a:lnTo>
                  <a:lnTo>
                    <a:pt x="458" y="104"/>
                  </a:lnTo>
                  <a:lnTo>
                    <a:pt x="456" y="104"/>
                  </a:lnTo>
                  <a:lnTo>
                    <a:pt x="456" y="102"/>
                  </a:lnTo>
                  <a:lnTo>
                    <a:pt x="456" y="102"/>
                  </a:lnTo>
                  <a:lnTo>
                    <a:pt x="456" y="100"/>
                  </a:lnTo>
                  <a:lnTo>
                    <a:pt x="458" y="98"/>
                  </a:lnTo>
                  <a:lnTo>
                    <a:pt x="458" y="96"/>
                  </a:lnTo>
                  <a:lnTo>
                    <a:pt x="460" y="96"/>
                  </a:lnTo>
                  <a:lnTo>
                    <a:pt x="463" y="94"/>
                  </a:lnTo>
                  <a:lnTo>
                    <a:pt x="463" y="94"/>
                  </a:lnTo>
                  <a:lnTo>
                    <a:pt x="467" y="88"/>
                  </a:lnTo>
                  <a:lnTo>
                    <a:pt x="467" y="88"/>
                  </a:lnTo>
                  <a:lnTo>
                    <a:pt x="467" y="88"/>
                  </a:lnTo>
                  <a:lnTo>
                    <a:pt x="465" y="86"/>
                  </a:lnTo>
                  <a:lnTo>
                    <a:pt x="467" y="86"/>
                  </a:lnTo>
                  <a:lnTo>
                    <a:pt x="467" y="86"/>
                  </a:lnTo>
                  <a:lnTo>
                    <a:pt x="467" y="84"/>
                  </a:lnTo>
                  <a:lnTo>
                    <a:pt x="467" y="84"/>
                  </a:lnTo>
                  <a:lnTo>
                    <a:pt x="469" y="84"/>
                  </a:lnTo>
                  <a:lnTo>
                    <a:pt x="471" y="77"/>
                  </a:lnTo>
                  <a:lnTo>
                    <a:pt x="473" y="71"/>
                  </a:lnTo>
                  <a:lnTo>
                    <a:pt x="473" y="69"/>
                  </a:lnTo>
                  <a:lnTo>
                    <a:pt x="473" y="67"/>
                  </a:lnTo>
                  <a:lnTo>
                    <a:pt x="473" y="67"/>
                  </a:lnTo>
                  <a:lnTo>
                    <a:pt x="477" y="61"/>
                  </a:lnTo>
                  <a:lnTo>
                    <a:pt x="477" y="61"/>
                  </a:lnTo>
                  <a:lnTo>
                    <a:pt x="477" y="59"/>
                  </a:lnTo>
                  <a:lnTo>
                    <a:pt x="477" y="59"/>
                  </a:lnTo>
                  <a:lnTo>
                    <a:pt x="477" y="59"/>
                  </a:lnTo>
                  <a:lnTo>
                    <a:pt x="477" y="59"/>
                  </a:lnTo>
                  <a:lnTo>
                    <a:pt x="479" y="57"/>
                  </a:lnTo>
                  <a:lnTo>
                    <a:pt x="479" y="57"/>
                  </a:lnTo>
                  <a:lnTo>
                    <a:pt x="481" y="57"/>
                  </a:lnTo>
                  <a:lnTo>
                    <a:pt x="483" y="55"/>
                  </a:lnTo>
                  <a:lnTo>
                    <a:pt x="483" y="55"/>
                  </a:lnTo>
                  <a:lnTo>
                    <a:pt x="481" y="53"/>
                  </a:lnTo>
                  <a:lnTo>
                    <a:pt x="479" y="51"/>
                  </a:lnTo>
                  <a:lnTo>
                    <a:pt x="479" y="51"/>
                  </a:lnTo>
                  <a:lnTo>
                    <a:pt x="477" y="49"/>
                  </a:lnTo>
                  <a:lnTo>
                    <a:pt x="477" y="49"/>
                  </a:lnTo>
                  <a:lnTo>
                    <a:pt x="477" y="47"/>
                  </a:lnTo>
                  <a:lnTo>
                    <a:pt x="475" y="49"/>
                  </a:lnTo>
                  <a:lnTo>
                    <a:pt x="475" y="49"/>
                  </a:lnTo>
                  <a:lnTo>
                    <a:pt x="475" y="49"/>
                  </a:lnTo>
                  <a:lnTo>
                    <a:pt x="473" y="49"/>
                  </a:lnTo>
                  <a:lnTo>
                    <a:pt x="471" y="47"/>
                  </a:lnTo>
                  <a:lnTo>
                    <a:pt x="467" y="49"/>
                  </a:lnTo>
                  <a:lnTo>
                    <a:pt x="465" y="49"/>
                  </a:lnTo>
                  <a:lnTo>
                    <a:pt x="465" y="49"/>
                  </a:lnTo>
                  <a:lnTo>
                    <a:pt x="463" y="47"/>
                  </a:lnTo>
                  <a:lnTo>
                    <a:pt x="460" y="47"/>
                  </a:lnTo>
                  <a:lnTo>
                    <a:pt x="458" y="47"/>
                  </a:lnTo>
                  <a:lnTo>
                    <a:pt x="456" y="45"/>
                  </a:lnTo>
                  <a:lnTo>
                    <a:pt x="454" y="45"/>
                  </a:lnTo>
                  <a:lnTo>
                    <a:pt x="448" y="36"/>
                  </a:lnTo>
                  <a:lnTo>
                    <a:pt x="448" y="36"/>
                  </a:lnTo>
                  <a:lnTo>
                    <a:pt x="446" y="34"/>
                  </a:lnTo>
                  <a:lnTo>
                    <a:pt x="446" y="30"/>
                  </a:lnTo>
                  <a:lnTo>
                    <a:pt x="446" y="26"/>
                  </a:lnTo>
                  <a:lnTo>
                    <a:pt x="444" y="24"/>
                  </a:lnTo>
                  <a:lnTo>
                    <a:pt x="444" y="22"/>
                  </a:lnTo>
                  <a:lnTo>
                    <a:pt x="444" y="22"/>
                  </a:lnTo>
                  <a:lnTo>
                    <a:pt x="444" y="20"/>
                  </a:lnTo>
                  <a:lnTo>
                    <a:pt x="444" y="18"/>
                  </a:lnTo>
                  <a:lnTo>
                    <a:pt x="442" y="18"/>
                  </a:lnTo>
                  <a:lnTo>
                    <a:pt x="440" y="18"/>
                  </a:lnTo>
                  <a:lnTo>
                    <a:pt x="440" y="16"/>
                  </a:lnTo>
                  <a:lnTo>
                    <a:pt x="440" y="14"/>
                  </a:lnTo>
                  <a:lnTo>
                    <a:pt x="440" y="14"/>
                  </a:lnTo>
                  <a:lnTo>
                    <a:pt x="440" y="12"/>
                  </a:lnTo>
                  <a:lnTo>
                    <a:pt x="438" y="12"/>
                  </a:lnTo>
                  <a:lnTo>
                    <a:pt x="438" y="12"/>
                  </a:lnTo>
                  <a:lnTo>
                    <a:pt x="434" y="10"/>
                  </a:lnTo>
                  <a:lnTo>
                    <a:pt x="432" y="10"/>
                  </a:lnTo>
                  <a:lnTo>
                    <a:pt x="432" y="10"/>
                  </a:lnTo>
                  <a:lnTo>
                    <a:pt x="428" y="12"/>
                  </a:lnTo>
                  <a:lnTo>
                    <a:pt x="426" y="10"/>
                  </a:lnTo>
                  <a:lnTo>
                    <a:pt x="426" y="8"/>
                  </a:lnTo>
                  <a:lnTo>
                    <a:pt x="424" y="6"/>
                  </a:lnTo>
                  <a:lnTo>
                    <a:pt x="424" y="4"/>
                  </a:lnTo>
                  <a:lnTo>
                    <a:pt x="422" y="4"/>
                  </a:lnTo>
                  <a:lnTo>
                    <a:pt x="417" y="4"/>
                  </a:lnTo>
                  <a:lnTo>
                    <a:pt x="415" y="2"/>
                  </a:lnTo>
                  <a:lnTo>
                    <a:pt x="415" y="0"/>
                  </a:lnTo>
                  <a:lnTo>
                    <a:pt x="415" y="0"/>
                  </a:lnTo>
                  <a:lnTo>
                    <a:pt x="413" y="2"/>
                  </a:lnTo>
                  <a:lnTo>
                    <a:pt x="403" y="4"/>
                  </a:lnTo>
                  <a:lnTo>
                    <a:pt x="391" y="6"/>
                  </a:lnTo>
                  <a:lnTo>
                    <a:pt x="381" y="8"/>
                  </a:lnTo>
                  <a:lnTo>
                    <a:pt x="370" y="10"/>
                  </a:lnTo>
                  <a:lnTo>
                    <a:pt x="358" y="14"/>
                  </a:lnTo>
                  <a:lnTo>
                    <a:pt x="348" y="16"/>
                  </a:lnTo>
                  <a:lnTo>
                    <a:pt x="338" y="18"/>
                  </a:lnTo>
                  <a:lnTo>
                    <a:pt x="325" y="20"/>
                  </a:lnTo>
                  <a:lnTo>
                    <a:pt x="315" y="22"/>
                  </a:lnTo>
                  <a:lnTo>
                    <a:pt x="305" y="24"/>
                  </a:lnTo>
                  <a:lnTo>
                    <a:pt x="293" y="26"/>
                  </a:lnTo>
                  <a:lnTo>
                    <a:pt x="282" y="30"/>
                  </a:lnTo>
                  <a:lnTo>
                    <a:pt x="272" y="32"/>
                  </a:lnTo>
                  <a:lnTo>
                    <a:pt x="260" y="34"/>
                  </a:lnTo>
                  <a:lnTo>
                    <a:pt x="250" y="36"/>
                  </a:lnTo>
                  <a:lnTo>
                    <a:pt x="239" y="38"/>
                  </a:lnTo>
                  <a:lnTo>
                    <a:pt x="227" y="41"/>
                  </a:lnTo>
                  <a:lnTo>
                    <a:pt x="217" y="43"/>
                  </a:lnTo>
                  <a:lnTo>
                    <a:pt x="207" y="45"/>
                  </a:lnTo>
                  <a:lnTo>
                    <a:pt x="194" y="47"/>
                  </a:lnTo>
                  <a:lnTo>
                    <a:pt x="184" y="49"/>
                  </a:lnTo>
                  <a:lnTo>
                    <a:pt x="174" y="51"/>
                  </a:lnTo>
                  <a:lnTo>
                    <a:pt x="161" y="53"/>
                  </a:lnTo>
                  <a:lnTo>
                    <a:pt x="151" y="55"/>
                  </a:lnTo>
                  <a:lnTo>
                    <a:pt x="141" y="59"/>
                  </a:lnTo>
                  <a:lnTo>
                    <a:pt x="129" y="61"/>
                  </a:lnTo>
                  <a:lnTo>
                    <a:pt x="118" y="63"/>
                  </a:lnTo>
                  <a:lnTo>
                    <a:pt x="108" y="65"/>
                  </a:lnTo>
                  <a:lnTo>
                    <a:pt x="96" y="67"/>
                  </a:lnTo>
                  <a:lnTo>
                    <a:pt x="86" y="69"/>
                  </a:lnTo>
                  <a:lnTo>
                    <a:pt x="75" y="71"/>
                  </a:lnTo>
                  <a:lnTo>
                    <a:pt x="63" y="73"/>
                  </a:lnTo>
                  <a:lnTo>
                    <a:pt x="61" y="73"/>
                  </a:lnTo>
                  <a:lnTo>
                    <a:pt x="61" y="69"/>
                  </a:lnTo>
                  <a:lnTo>
                    <a:pt x="59" y="67"/>
                  </a:lnTo>
                  <a:lnTo>
                    <a:pt x="59" y="63"/>
                  </a:lnTo>
                  <a:lnTo>
                    <a:pt x="59" y="61"/>
                  </a:lnTo>
                  <a:lnTo>
                    <a:pt x="57" y="57"/>
                  </a:lnTo>
                  <a:lnTo>
                    <a:pt x="57" y="55"/>
                  </a:lnTo>
                  <a:lnTo>
                    <a:pt x="57" y="51"/>
                  </a:lnTo>
                  <a:lnTo>
                    <a:pt x="57" y="49"/>
                  </a:lnTo>
                  <a:lnTo>
                    <a:pt x="55" y="45"/>
                  </a:lnTo>
                  <a:lnTo>
                    <a:pt x="55" y="45"/>
                  </a:lnTo>
                  <a:lnTo>
                    <a:pt x="47" y="51"/>
                  </a:lnTo>
                  <a:lnTo>
                    <a:pt x="43" y="55"/>
                  </a:lnTo>
                  <a:lnTo>
                    <a:pt x="41" y="55"/>
                  </a:lnTo>
                  <a:lnTo>
                    <a:pt x="37" y="59"/>
                  </a:lnTo>
                  <a:lnTo>
                    <a:pt x="34" y="61"/>
                  </a:lnTo>
                  <a:lnTo>
                    <a:pt x="30" y="65"/>
                  </a:lnTo>
                  <a:lnTo>
                    <a:pt x="28" y="65"/>
                  </a:lnTo>
                  <a:lnTo>
                    <a:pt x="28" y="65"/>
                  </a:lnTo>
                  <a:lnTo>
                    <a:pt x="28" y="63"/>
                  </a:lnTo>
                  <a:lnTo>
                    <a:pt x="30" y="63"/>
                  </a:lnTo>
                  <a:lnTo>
                    <a:pt x="30" y="63"/>
                  </a:lnTo>
                  <a:lnTo>
                    <a:pt x="32" y="61"/>
                  </a:lnTo>
                  <a:lnTo>
                    <a:pt x="32" y="61"/>
                  </a:lnTo>
                  <a:lnTo>
                    <a:pt x="32" y="61"/>
                  </a:lnTo>
                  <a:lnTo>
                    <a:pt x="30" y="59"/>
                  </a:lnTo>
                  <a:lnTo>
                    <a:pt x="30" y="61"/>
                  </a:lnTo>
                  <a:lnTo>
                    <a:pt x="28" y="63"/>
                  </a:lnTo>
                  <a:lnTo>
                    <a:pt x="26" y="63"/>
                  </a:lnTo>
                  <a:lnTo>
                    <a:pt x="26" y="67"/>
                  </a:lnTo>
                  <a:lnTo>
                    <a:pt x="26" y="67"/>
                  </a:lnTo>
                  <a:lnTo>
                    <a:pt x="24" y="67"/>
                  </a:lnTo>
                  <a:lnTo>
                    <a:pt x="22" y="69"/>
                  </a:lnTo>
                  <a:lnTo>
                    <a:pt x="12" y="79"/>
                  </a:lnTo>
                  <a:lnTo>
                    <a:pt x="6" y="82"/>
                  </a:lnTo>
                  <a:lnTo>
                    <a:pt x="6" y="82"/>
                  </a:lnTo>
                  <a:lnTo>
                    <a:pt x="4" y="84"/>
                  </a:lnTo>
                  <a:lnTo>
                    <a:pt x="0" y="86"/>
                  </a:lnTo>
                  <a:lnTo>
                    <a:pt x="2" y="94"/>
                  </a:lnTo>
                  <a:lnTo>
                    <a:pt x="6" y="116"/>
                  </a:lnTo>
                  <a:lnTo>
                    <a:pt x="10" y="137"/>
                  </a:lnTo>
                  <a:lnTo>
                    <a:pt x="12" y="149"/>
                  </a:lnTo>
                  <a:lnTo>
                    <a:pt x="14" y="159"/>
                  </a:lnTo>
                  <a:lnTo>
                    <a:pt x="16" y="172"/>
                  </a:lnTo>
                  <a:lnTo>
                    <a:pt x="18" y="182"/>
                  </a:lnTo>
                  <a:lnTo>
                    <a:pt x="20" y="192"/>
                  </a:lnTo>
                  <a:lnTo>
                    <a:pt x="20" y="204"/>
                  </a:lnTo>
                  <a:lnTo>
                    <a:pt x="22" y="215"/>
                  </a:lnTo>
                  <a:lnTo>
                    <a:pt x="24" y="225"/>
                  </a:lnTo>
                  <a:lnTo>
                    <a:pt x="24" y="225"/>
                  </a:lnTo>
                  <a:lnTo>
                    <a:pt x="24" y="225"/>
                  </a:lnTo>
                  <a:lnTo>
                    <a:pt x="24" y="225"/>
                  </a:lnTo>
                  <a:lnTo>
                    <a:pt x="24" y="225"/>
                  </a:lnTo>
                  <a:lnTo>
                    <a:pt x="24" y="227"/>
                  </a:lnTo>
                  <a:lnTo>
                    <a:pt x="24" y="227"/>
                  </a:lnTo>
                  <a:lnTo>
                    <a:pt x="24" y="227"/>
                  </a:lnTo>
                  <a:lnTo>
                    <a:pt x="24" y="227"/>
                  </a:lnTo>
                  <a:lnTo>
                    <a:pt x="28" y="243"/>
                  </a:lnTo>
                  <a:lnTo>
                    <a:pt x="30" y="252"/>
                  </a:lnTo>
                  <a:lnTo>
                    <a:pt x="30" y="260"/>
                  </a:lnTo>
                  <a:lnTo>
                    <a:pt x="32" y="268"/>
                  </a:lnTo>
                  <a:lnTo>
                    <a:pt x="34" y="276"/>
                  </a:lnTo>
                  <a:lnTo>
                    <a:pt x="37" y="284"/>
                  </a:lnTo>
                  <a:lnTo>
                    <a:pt x="37" y="295"/>
                  </a:lnTo>
                  <a:lnTo>
                    <a:pt x="39" y="301"/>
                  </a:lnTo>
                  <a:lnTo>
                    <a:pt x="41" y="309"/>
                  </a:lnTo>
                  <a:lnTo>
                    <a:pt x="41" y="315"/>
                  </a:lnTo>
                  <a:lnTo>
                    <a:pt x="43" y="323"/>
                  </a:lnTo>
                  <a:lnTo>
                    <a:pt x="53" y="321"/>
                  </a:lnTo>
                  <a:lnTo>
                    <a:pt x="63" y="319"/>
                  </a:lnTo>
                  <a:lnTo>
                    <a:pt x="75" y="317"/>
                  </a:lnTo>
                  <a:lnTo>
                    <a:pt x="86" y="315"/>
                  </a:lnTo>
                  <a:lnTo>
                    <a:pt x="96" y="313"/>
                  </a:lnTo>
                  <a:lnTo>
                    <a:pt x="106" y="311"/>
                  </a:lnTo>
                  <a:lnTo>
                    <a:pt x="118" y="309"/>
                  </a:lnTo>
                  <a:lnTo>
                    <a:pt x="129" y="307"/>
                  </a:lnTo>
                  <a:lnTo>
                    <a:pt x="139" y="305"/>
                  </a:lnTo>
                  <a:lnTo>
                    <a:pt x="147" y="303"/>
                  </a:lnTo>
                  <a:lnTo>
                    <a:pt x="157" y="301"/>
                  </a:lnTo>
                  <a:lnTo>
                    <a:pt x="168" y="301"/>
                  </a:lnTo>
                  <a:lnTo>
                    <a:pt x="176" y="299"/>
                  </a:lnTo>
                  <a:lnTo>
                    <a:pt x="186" y="297"/>
                  </a:lnTo>
                  <a:lnTo>
                    <a:pt x="196" y="295"/>
                  </a:lnTo>
                  <a:lnTo>
                    <a:pt x="204" y="293"/>
                  </a:lnTo>
                  <a:lnTo>
                    <a:pt x="215" y="291"/>
                  </a:lnTo>
                  <a:lnTo>
                    <a:pt x="223" y="288"/>
                  </a:lnTo>
                  <a:lnTo>
                    <a:pt x="233" y="286"/>
                  </a:lnTo>
                  <a:lnTo>
                    <a:pt x="243" y="284"/>
                  </a:lnTo>
                  <a:lnTo>
                    <a:pt x="252" y="282"/>
                  </a:lnTo>
                  <a:lnTo>
                    <a:pt x="262" y="280"/>
                  </a:lnTo>
                  <a:lnTo>
                    <a:pt x="272" y="278"/>
                  </a:lnTo>
                  <a:lnTo>
                    <a:pt x="280" y="278"/>
                  </a:lnTo>
                  <a:lnTo>
                    <a:pt x="291" y="276"/>
                  </a:lnTo>
                  <a:lnTo>
                    <a:pt x="301" y="274"/>
                  </a:lnTo>
                  <a:lnTo>
                    <a:pt x="309" y="272"/>
                  </a:lnTo>
                  <a:lnTo>
                    <a:pt x="319" y="270"/>
                  </a:lnTo>
                  <a:lnTo>
                    <a:pt x="329" y="268"/>
                  </a:lnTo>
                  <a:lnTo>
                    <a:pt x="338" y="266"/>
                  </a:lnTo>
                  <a:lnTo>
                    <a:pt x="348" y="264"/>
                  </a:lnTo>
                  <a:lnTo>
                    <a:pt x="356" y="262"/>
                  </a:lnTo>
                  <a:lnTo>
                    <a:pt x="366" y="260"/>
                  </a:lnTo>
                  <a:lnTo>
                    <a:pt x="377" y="258"/>
                  </a:lnTo>
                  <a:lnTo>
                    <a:pt x="385" y="256"/>
                  </a:lnTo>
                  <a:lnTo>
                    <a:pt x="395" y="254"/>
                  </a:lnTo>
                  <a:lnTo>
                    <a:pt x="405" y="252"/>
                  </a:lnTo>
                  <a:lnTo>
                    <a:pt x="413" y="250"/>
                  </a:lnTo>
                  <a:lnTo>
                    <a:pt x="424" y="248"/>
                  </a:lnTo>
                  <a:lnTo>
                    <a:pt x="432" y="245"/>
                  </a:lnTo>
                  <a:lnTo>
                    <a:pt x="434" y="245"/>
                  </a:lnTo>
                  <a:lnTo>
                    <a:pt x="434" y="245"/>
                  </a:lnTo>
                  <a:lnTo>
                    <a:pt x="434" y="241"/>
                  </a:lnTo>
                  <a:lnTo>
                    <a:pt x="436" y="237"/>
                  </a:lnTo>
                  <a:lnTo>
                    <a:pt x="438" y="233"/>
                  </a:lnTo>
                  <a:lnTo>
                    <a:pt x="438" y="233"/>
                  </a:lnTo>
                  <a:lnTo>
                    <a:pt x="440" y="231"/>
                  </a:lnTo>
                  <a:lnTo>
                    <a:pt x="442" y="229"/>
                  </a:lnTo>
                  <a:lnTo>
                    <a:pt x="444" y="229"/>
                  </a:lnTo>
                  <a:lnTo>
                    <a:pt x="446" y="227"/>
                  </a:lnTo>
                  <a:lnTo>
                    <a:pt x="448" y="227"/>
                  </a:lnTo>
                  <a:lnTo>
                    <a:pt x="452" y="227"/>
                  </a:lnTo>
                  <a:lnTo>
                    <a:pt x="456" y="227"/>
                  </a:lnTo>
                  <a:lnTo>
                    <a:pt x="458" y="227"/>
                  </a:lnTo>
                  <a:lnTo>
                    <a:pt x="460" y="229"/>
                  </a:lnTo>
                  <a:lnTo>
                    <a:pt x="460" y="229"/>
                  </a:lnTo>
                  <a:lnTo>
                    <a:pt x="463" y="225"/>
                  </a:lnTo>
                  <a:lnTo>
                    <a:pt x="463" y="225"/>
                  </a:lnTo>
                  <a:lnTo>
                    <a:pt x="465" y="223"/>
                  </a:lnTo>
                  <a:lnTo>
                    <a:pt x="469" y="221"/>
                  </a:lnTo>
                  <a:lnTo>
                    <a:pt x="471" y="221"/>
                  </a:lnTo>
                  <a:lnTo>
                    <a:pt x="473" y="219"/>
                  </a:lnTo>
                  <a:lnTo>
                    <a:pt x="477" y="217"/>
                  </a:lnTo>
                  <a:lnTo>
                    <a:pt x="481" y="215"/>
                  </a:lnTo>
                  <a:lnTo>
                    <a:pt x="481" y="213"/>
                  </a:lnTo>
                  <a:lnTo>
                    <a:pt x="481" y="211"/>
                  </a:lnTo>
                  <a:lnTo>
                    <a:pt x="481" y="209"/>
                  </a:lnTo>
                  <a:lnTo>
                    <a:pt x="481" y="207"/>
                  </a:lnTo>
                  <a:lnTo>
                    <a:pt x="483" y="204"/>
                  </a:lnTo>
                  <a:lnTo>
                    <a:pt x="485" y="204"/>
                  </a:lnTo>
                  <a:lnTo>
                    <a:pt x="487" y="200"/>
                  </a:lnTo>
                  <a:lnTo>
                    <a:pt x="489" y="200"/>
                  </a:lnTo>
                  <a:lnTo>
                    <a:pt x="491" y="198"/>
                  </a:lnTo>
                  <a:lnTo>
                    <a:pt x="491" y="196"/>
                  </a:lnTo>
                  <a:lnTo>
                    <a:pt x="493" y="192"/>
                  </a:lnTo>
                  <a:lnTo>
                    <a:pt x="495" y="192"/>
                  </a:lnTo>
                  <a:lnTo>
                    <a:pt x="497" y="190"/>
                  </a:lnTo>
                  <a:lnTo>
                    <a:pt x="499" y="190"/>
                  </a:lnTo>
                  <a:lnTo>
                    <a:pt x="501" y="186"/>
                  </a:lnTo>
                  <a:lnTo>
                    <a:pt x="501" y="186"/>
                  </a:lnTo>
                  <a:lnTo>
                    <a:pt x="504" y="184"/>
                  </a:lnTo>
                  <a:lnTo>
                    <a:pt x="506" y="184"/>
                  </a:lnTo>
                  <a:lnTo>
                    <a:pt x="508" y="182"/>
                  </a:lnTo>
                  <a:lnTo>
                    <a:pt x="510" y="180"/>
                  </a:lnTo>
                  <a:lnTo>
                    <a:pt x="508" y="178"/>
                  </a:lnTo>
                  <a:lnTo>
                    <a:pt x="506" y="176"/>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PA</a:t>
              </a:r>
            </a:p>
          </p:txBody>
        </p:sp>
        <p:sp>
          <p:nvSpPr>
            <p:cNvPr id="151" name="Freeform 18">
              <a:extLst>
                <a:ext uri="{FF2B5EF4-FFF2-40B4-BE49-F238E27FC236}">
                  <a16:creationId xmlns:a16="http://schemas.microsoft.com/office/drawing/2014/main" id="{ED689F02-6538-D203-8941-09FADE554CA1}"/>
                </a:ext>
              </a:extLst>
            </p:cNvPr>
            <p:cNvSpPr>
              <a:spLocks/>
            </p:cNvSpPr>
            <p:nvPr/>
          </p:nvSpPr>
          <p:spPr bwMode="auto">
            <a:xfrm>
              <a:off x="747" y="264"/>
              <a:ext cx="692" cy="537"/>
            </a:xfrm>
            <a:custGeom>
              <a:avLst/>
              <a:gdLst>
                <a:gd name="T0" fmla="*/ 205 w 692"/>
                <a:gd name="T1" fmla="*/ 31 h 537"/>
                <a:gd name="T2" fmla="*/ 209 w 692"/>
                <a:gd name="T3" fmla="*/ 58 h 537"/>
                <a:gd name="T4" fmla="*/ 211 w 692"/>
                <a:gd name="T5" fmla="*/ 80 h 537"/>
                <a:gd name="T6" fmla="*/ 246 w 692"/>
                <a:gd name="T7" fmla="*/ 95 h 537"/>
                <a:gd name="T8" fmla="*/ 328 w 692"/>
                <a:gd name="T9" fmla="*/ 99 h 537"/>
                <a:gd name="T10" fmla="*/ 344 w 692"/>
                <a:gd name="T11" fmla="*/ 105 h 537"/>
                <a:gd name="T12" fmla="*/ 369 w 692"/>
                <a:gd name="T13" fmla="*/ 103 h 537"/>
                <a:gd name="T14" fmla="*/ 397 w 692"/>
                <a:gd name="T15" fmla="*/ 107 h 537"/>
                <a:gd name="T16" fmla="*/ 449 w 692"/>
                <a:gd name="T17" fmla="*/ 101 h 537"/>
                <a:gd name="T18" fmla="*/ 504 w 692"/>
                <a:gd name="T19" fmla="*/ 97 h 537"/>
                <a:gd name="T20" fmla="*/ 606 w 692"/>
                <a:gd name="T21" fmla="*/ 115 h 537"/>
                <a:gd name="T22" fmla="*/ 672 w 692"/>
                <a:gd name="T23" fmla="*/ 142 h 537"/>
                <a:gd name="T24" fmla="*/ 692 w 692"/>
                <a:gd name="T25" fmla="*/ 166 h 537"/>
                <a:gd name="T26" fmla="*/ 678 w 692"/>
                <a:gd name="T27" fmla="*/ 189 h 537"/>
                <a:gd name="T28" fmla="*/ 653 w 692"/>
                <a:gd name="T29" fmla="*/ 226 h 537"/>
                <a:gd name="T30" fmla="*/ 641 w 692"/>
                <a:gd name="T31" fmla="*/ 250 h 537"/>
                <a:gd name="T32" fmla="*/ 621 w 692"/>
                <a:gd name="T33" fmla="*/ 273 h 537"/>
                <a:gd name="T34" fmla="*/ 614 w 692"/>
                <a:gd name="T35" fmla="*/ 287 h 537"/>
                <a:gd name="T36" fmla="*/ 621 w 692"/>
                <a:gd name="T37" fmla="*/ 298 h 537"/>
                <a:gd name="T38" fmla="*/ 631 w 692"/>
                <a:gd name="T39" fmla="*/ 304 h 537"/>
                <a:gd name="T40" fmla="*/ 635 w 692"/>
                <a:gd name="T41" fmla="*/ 314 h 537"/>
                <a:gd name="T42" fmla="*/ 631 w 692"/>
                <a:gd name="T43" fmla="*/ 328 h 537"/>
                <a:gd name="T44" fmla="*/ 619 w 692"/>
                <a:gd name="T45" fmla="*/ 347 h 537"/>
                <a:gd name="T46" fmla="*/ 608 w 692"/>
                <a:gd name="T47" fmla="*/ 421 h 537"/>
                <a:gd name="T48" fmla="*/ 590 w 692"/>
                <a:gd name="T49" fmla="*/ 537 h 537"/>
                <a:gd name="T50" fmla="*/ 426 w 692"/>
                <a:gd name="T51" fmla="*/ 511 h 537"/>
                <a:gd name="T52" fmla="*/ 223 w 692"/>
                <a:gd name="T53" fmla="*/ 474 h 537"/>
                <a:gd name="T54" fmla="*/ 14 w 692"/>
                <a:gd name="T55" fmla="*/ 429 h 537"/>
                <a:gd name="T56" fmla="*/ 2 w 692"/>
                <a:gd name="T57" fmla="*/ 396 h 537"/>
                <a:gd name="T58" fmla="*/ 4 w 692"/>
                <a:gd name="T59" fmla="*/ 378 h 537"/>
                <a:gd name="T60" fmla="*/ 8 w 692"/>
                <a:gd name="T61" fmla="*/ 353 h 537"/>
                <a:gd name="T62" fmla="*/ 10 w 692"/>
                <a:gd name="T63" fmla="*/ 326 h 537"/>
                <a:gd name="T64" fmla="*/ 29 w 692"/>
                <a:gd name="T65" fmla="*/ 289 h 537"/>
                <a:gd name="T66" fmla="*/ 35 w 692"/>
                <a:gd name="T67" fmla="*/ 289 h 537"/>
                <a:gd name="T68" fmla="*/ 43 w 692"/>
                <a:gd name="T69" fmla="*/ 283 h 537"/>
                <a:gd name="T70" fmla="*/ 47 w 692"/>
                <a:gd name="T71" fmla="*/ 279 h 537"/>
                <a:gd name="T72" fmla="*/ 49 w 692"/>
                <a:gd name="T73" fmla="*/ 261 h 537"/>
                <a:gd name="T74" fmla="*/ 57 w 692"/>
                <a:gd name="T75" fmla="*/ 255 h 537"/>
                <a:gd name="T76" fmla="*/ 53 w 692"/>
                <a:gd name="T77" fmla="*/ 255 h 537"/>
                <a:gd name="T78" fmla="*/ 66 w 692"/>
                <a:gd name="T79" fmla="*/ 220 h 537"/>
                <a:gd name="T80" fmla="*/ 72 w 692"/>
                <a:gd name="T81" fmla="*/ 193 h 537"/>
                <a:gd name="T82" fmla="*/ 78 w 692"/>
                <a:gd name="T83" fmla="*/ 181 h 537"/>
                <a:gd name="T84" fmla="*/ 84 w 692"/>
                <a:gd name="T85" fmla="*/ 162 h 537"/>
                <a:gd name="T86" fmla="*/ 90 w 692"/>
                <a:gd name="T87" fmla="*/ 138 h 537"/>
                <a:gd name="T88" fmla="*/ 98 w 692"/>
                <a:gd name="T89" fmla="*/ 119 h 537"/>
                <a:gd name="T90" fmla="*/ 104 w 692"/>
                <a:gd name="T91" fmla="*/ 99 h 537"/>
                <a:gd name="T92" fmla="*/ 104 w 692"/>
                <a:gd name="T93" fmla="*/ 89 h 537"/>
                <a:gd name="T94" fmla="*/ 111 w 692"/>
                <a:gd name="T95" fmla="*/ 84 h 537"/>
                <a:gd name="T96" fmla="*/ 113 w 692"/>
                <a:gd name="T97" fmla="*/ 76 h 537"/>
                <a:gd name="T98" fmla="*/ 115 w 692"/>
                <a:gd name="T99" fmla="*/ 68 h 537"/>
                <a:gd name="T100" fmla="*/ 123 w 692"/>
                <a:gd name="T101" fmla="*/ 56 h 537"/>
                <a:gd name="T102" fmla="*/ 117 w 692"/>
                <a:gd name="T103" fmla="*/ 52 h 537"/>
                <a:gd name="T104" fmla="*/ 121 w 692"/>
                <a:gd name="T105" fmla="*/ 27 h 537"/>
                <a:gd name="T106" fmla="*/ 127 w 692"/>
                <a:gd name="T107" fmla="*/ 0 h 537"/>
                <a:gd name="T108" fmla="*/ 137 w 692"/>
                <a:gd name="T109" fmla="*/ 11 h 537"/>
                <a:gd name="T110" fmla="*/ 137 w 692"/>
                <a:gd name="T111" fmla="*/ 9 h 537"/>
                <a:gd name="T112" fmla="*/ 145 w 692"/>
                <a:gd name="T113" fmla="*/ 9 h 537"/>
                <a:gd name="T114" fmla="*/ 162 w 692"/>
                <a:gd name="T115" fmla="*/ 7 h 537"/>
                <a:gd name="T116" fmla="*/ 186 w 692"/>
                <a:gd name="T117" fmla="*/ 1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2" h="537">
                  <a:moveTo>
                    <a:pt x="186" y="17"/>
                  </a:moveTo>
                  <a:lnTo>
                    <a:pt x="190" y="17"/>
                  </a:lnTo>
                  <a:lnTo>
                    <a:pt x="193" y="19"/>
                  </a:lnTo>
                  <a:lnTo>
                    <a:pt x="193" y="19"/>
                  </a:lnTo>
                  <a:lnTo>
                    <a:pt x="195" y="23"/>
                  </a:lnTo>
                  <a:lnTo>
                    <a:pt x="197" y="23"/>
                  </a:lnTo>
                  <a:lnTo>
                    <a:pt x="199" y="23"/>
                  </a:lnTo>
                  <a:lnTo>
                    <a:pt x="201" y="25"/>
                  </a:lnTo>
                  <a:lnTo>
                    <a:pt x="203" y="27"/>
                  </a:lnTo>
                  <a:lnTo>
                    <a:pt x="205" y="29"/>
                  </a:lnTo>
                  <a:lnTo>
                    <a:pt x="205" y="31"/>
                  </a:lnTo>
                  <a:lnTo>
                    <a:pt x="207" y="33"/>
                  </a:lnTo>
                  <a:lnTo>
                    <a:pt x="207" y="35"/>
                  </a:lnTo>
                  <a:lnTo>
                    <a:pt x="207" y="39"/>
                  </a:lnTo>
                  <a:lnTo>
                    <a:pt x="209" y="41"/>
                  </a:lnTo>
                  <a:lnTo>
                    <a:pt x="209" y="41"/>
                  </a:lnTo>
                  <a:lnTo>
                    <a:pt x="209" y="43"/>
                  </a:lnTo>
                  <a:lnTo>
                    <a:pt x="211" y="46"/>
                  </a:lnTo>
                  <a:lnTo>
                    <a:pt x="209" y="50"/>
                  </a:lnTo>
                  <a:lnTo>
                    <a:pt x="211" y="54"/>
                  </a:lnTo>
                  <a:lnTo>
                    <a:pt x="209" y="56"/>
                  </a:lnTo>
                  <a:lnTo>
                    <a:pt x="209" y="58"/>
                  </a:lnTo>
                  <a:lnTo>
                    <a:pt x="209" y="60"/>
                  </a:lnTo>
                  <a:lnTo>
                    <a:pt x="209" y="64"/>
                  </a:lnTo>
                  <a:lnTo>
                    <a:pt x="209" y="64"/>
                  </a:lnTo>
                  <a:lnTo>
                    <a:pt x="209" y="66"/>
                  </a:lnTo>
                  <a:lnTo>
                    <a:pt x="209" y="68"/>
                  </a:lnTo>
                  <a:lnTo>
                    <a:pt x="209" y="68"/>
                  </a:lnTo>
                  <a:lnTo>
                    <a:pt x="209" y="72"/>
                  </a:lnTo>
                  <a:lnTo>
                    <a:pt x="209" y="76"/>
                  </a:lnTo>
                  <a:lnTo>
                    <a:pt x="209" y="76"/>
                  </a:lnTo>
                  <a:lnTo>
                    <a:pt x="209" y="78"/>
                  </a:lnTo>
                  <a:lnTo>
                    <a:pt x="211" y="80"/>
                  </a:lnTo>
                  <a:lnTo>
                    <a:pt x="213" y="82"/>
                  </a:lnTo>
                  <a:lnTo>
                    <a:pt x="219" y="84"/>
                  </a:lnTo>
                  <a:lnTo>
                    <a:pt x="221" y="84"/>
                  </a:lnTo>
                  <a:lnTo>
                    <a:pt x="223" y="84"/>
                  </a:lnTo>
                  <a:lnTo>
                    <a:pt x="225" y="87"/>
                  </a:lnTo>
                  <a:lnTo>
                    <a:pt x="229" y="89"/>
                  </a:lnTo>
                  <a:lnTo>
                    <a:pt x="231" y="91"/>
                  </a:lnTo>
                  <a:lnTo>
                    <a:pt x="238" y="91"/>
                  </a:lnTo>
                  <a:lnTo>
                    <a:pt x="244" y="95"/>
                  </a:lnTo>
                  <a:lnTo>
                    <a:pt x="244" y="95"/>
                  </a:lnTo>
                  <a:lnTo>
                    <a:pt x="246" y="95"/>
                  </a:lnTo>
                  <a:lnTo>
                    <a:pt x="252" y="93"/>
                  </a:lnTo>
                  <a:lnTo>
                    <a:pt x="266" y="91"/>
                  </a:lnTo>
                  <a:lnTo>
                    <a:pt x="270" y="91"/>
                  </a:lnTo>
                  <a:lnTo>
                    <a:pt x="276" y="87"/>
                  </a:lnTo>
                  <a:lnTo>
                    <a:pt x="281" y="87"/>
                  </a:lnTo>
                  <a:lnTo>
                    <a:pt x="283" y="87"/>
                  </a:lnTo>
                  <a:lnTo>
                    <a:pt x="289" y="89"/>
                  </a:lnTo>
                  <a:lnTo>
                    <a:pt x="299" y="89"/>
                  </a:lnTo>
                  <a:lnTo>
                    <a:pt x="322" y="95"/>
                  </a:lnTo>
                  <a:lnTo>
                    <a:pt x="326" y="97"/>
                  </a:lnTo>
                  <a:lnTo>
                    <a:pt x="328" y="99"/>
                  </a:lnTo>
                  <a:lnTo>
                    <a:pt x="328" y="101"/>
                  </a:lnTo>
                  <a:lnTo>
                    <a:pt x="328" y="103"/>
                  </a:lnTo>
                  <a:lnTo>
                    <a:pt x="328" y="105"/>
                  </a:lnTo>
                  <a:lnTo>
                    <a:pt x="330" y="105"/>
                  </a:lnTo>
                  <a:lnTo>
                    <a:pt x="332" y="105"/>
                  </a:lnTo>
                  <a:lnTo>
                    <a:pt x="338" y="105"/>
                  </a:lnTo>
                  <a:lnTo>
                    <a:pt x="338" y="105"/>
                  </a:lnTo>
                  <a:lnTo>
                    <a:pt x="340" y="105"/>
                  </a:lnTo>
                  <a:lnTo>
                    <a:pt x="342" y="105"/>
                  </a:lnTo>
                  <a:lnTo>
                    <a:pt x="342" y="105"/>
                  </a:lnTo>
                  <a:lnTo>
                    <a:pt x="344" y="105"/>
                  </a:lnTo>
                  <a:lnTo>
                    <a:pt x="346" y="105"/>
                  </a:lnTo>
                  <a:lnTo>
                    <a:pt x="346" y="107"/>
                  </a:lnTo>
                  <a:lnTo>
                    <a:pt x="350" y="107"/>
                  </a:lnTo>
                  <a:lnTo>
                    <a:pt x="352" y="107"/>
                  </a:lnTo>
                  <a:lnTo>
                    <a:pt x="354" y="107"/>
                  </a:lnTo>
                  <a:lnTo>
                    <a:pt x="354" y="107"/>
                  </a:lnTo>
                  <a:lnTo>
                    <a:pt x="358" y="105"/>
                  </a:lnTo>
                  <a:lnTo>
                    <a:pt x="358" y="105"/>
                  </a:lnTo>
                  <a:lnTo>
                    <a:pt x="365" y="105"/>
                  </a:lnTo>
                  <a:lnTo>
                    <a:pt x="369" y="105"/>
                  </a:lnTo>
                  <a:lnTo>
                    <a:pt x="369" y="103"/>
                  </a:lnTo>
                  <a:lnTo>
                    <a:pt x="369" y="103"/>
                  </a:lnTo>
                  <a:lnTo>
                    <a:pt x="371" y="103"/>
                  </a:lnTo>
                  <a:lnTo>
                    <a:pt x="373" y="103"/>
                  </a:lnTo>
                  <a:lnTo>
                    <a:pt x="383" y="107"/>
                  </a:lnTo>
                  <a:lnTo>
                    <a:pt x="385" y="107"/>
                  </a:lnTo>
                  <a:lnTo>
                    <a:pt x="387" y="107"/>
                  </a:lnTo>
                  <a:lnTo>
                    <a:pt x="387" y="107"/>
                  </a:lnTo>
                  <a:lnTo>
                    <a:pt x="391" y="107"/>
                  </a:lnTo>
                  <a:lnTo>
                    <a:pt x="391" y="107"/>
                  </a:lnTo>
                  <a:lnTo>
                    <a:pt x="393" y="107"/>
                  </a:lnTo>
                  <a:lnTo>
                    <a:pt x="397" y="107"/>
                  </a:lnTo>
                  <a:lnTo>
                    <a:pt x="397" y="107"/>
                  </a:lnTo>
                  <a:lnTo>
                    <a:pt x="399" y="107"/>
                  </a:lnTo>
                  <a:lnTo>
                    <a:pt x="401" y="107"/>
                  </a:lnTo>
                  <a:lnTo>
                    <a:pt x="403" y="107"/>
                  </a:lnTo>
                  <a:lnTo>
                    <a:pt x="406" y="107"/>
                  </a:lnTo>
                  <a:lnTo>
                    <a:pt x="408" y="107"/>
                  </a:lnTo>
                  <a:lnTo>
                    <a:pt x="410" y="105"/>
                  </a:lnTo>
                  <a:lnTo>
                    <a:pt x="412" y="103"/>
                  </a:lnTo>
                  <a:lnTo>
                    <a:pt x="416" y="103"/>
                  </a:lnTo>
                  <a:lnTo>
                    <a:pt x="428" y="101"/>
                  </a:lnTo>
                  <a:lnTo>
                    <a:pt x="449" y="101"/>
                  </a:lnTo>
                  <a:lnTo>
                    <a:pt x="453" y="99"/>
                  </a:lnTo>
                  <a:lnTo>
                    <a:pt x="455" y="97"/>
                  </a:lnTo>
                  <a:lnTo>
                    <a:pt x="457" y="97"/>
                  </a:lnTo>
                  <a:lnTo>
                    <a:pt x="459" y="97"/>
                  </a:lnTo>
                  <a:lnTo>
                    <a:pt x="465" y="99"/>
                  </a:lnTo>
                  <a:lnTo>
                    <a:pt x="469" y="99"/>
                  </a:lnTo>
                  <a:lnTo>
                    <a:pt x="475" y="99"/>
                  </a:lnTo>
                  <a:lnTo>
                    <a:pt x="494" y="101"/>
                  </a:lnTo>
                  <a:lnTo>
                    <a:pt x="498" y="101"/>
                  </a:lnTo>
                  <a:lnTo>
                    <a:pt x="502" y="97"/>
                  </a:lnTo>
                  <a:lnTo>
                    <a:pt x="504" y="97"/>
                  </a:lnTo>
                  <a:lnTo>
                    <a:pt x="506" y="99"/>
                  </a:lnTo>
                  <a:lnTo>
                    <a:pt x="516" y="101"/>
                  </a:lnTo>
                  <a:lnTo>
                    <a:pt x="526" y="101"/>
                  </a:lnTo>
                  <a:lnTo>
                    <a:pt x="537" y="103"/>
                  </a:lnTo>
                  <a:lnTo>
                    <a:pt x="547" y="105"/>
                  </a:lnTo>
                  <a:lnTo>
                    <a:pt x="555" y="107"/>
                  </a:lnTo>
                  <a:lnTo>
                    <a:pt x="565" y="109"/>
                  </a:lnTo>
                  <a:lnTo>
                    <a:pt x="576" y="109"/>
                  </a:lnTo>
                  <a:lnTo>
                    <a:pt x="586" y="111"/>
                  </a:lnTo>
                  <a:lnTo>
                    <a:pt x="596" y="113"/>
                  </a:lnTo>
                  <a:lnTo>
                    <a:pt x="606" y="115"/>
                  </a:lnTo>
                  <a:lnTo>
                    <a:pt x="616" y="117"/>
                  </a:lnTo>
                  <a:lnTo>
                    <a:pt x="625" y="117"/>
                  </a:lnTo>
                  <a:lnTo>
                    <a:pt x="635" y="119"/>
                  </a:lnTo>
                  <a:lnTo>
                    <a:pt x="645" y="121"/>
                  </a:lnTo>
                  <a:lnTo>
                    <a:pt x="655" y="123"/>
                  </a:lnTo>
                  <a:lnTo>
                    <a:pt x="666" y="123"/>
                  </a:lnTo>
                  <a:lnTo>
                    <a:pt x="666" y="125"/>
                  </a:lnTo>
                  <a:lnTo>
                    <a:pt x="666" y="127"/>
                  </a:lnTo>
                  <a:lnTo>
                    <a:pt x="668" y="134"/>
                  </a:lnTo>
                  <a:lnTo>
                    <a:pt x="672" y="140"/>
                  </a:lnTo>
                  <a:lnTo>
                    <a:pt x="672" y="142"/>
                  </a:lnTo>
                  <a:lnTo>
                    <a:pt x="672" y="142"/>
                  </a:lnTo>
                  <a:lnTo>
                    <a:pt x="678" y="144"/>
                  </a:lnTo>
                  <a:lnTo>
                    <a:pt x="678" y="146"/>
                  </a:lnTo>
                  <a:lnTo>
                    <a:pt x="680" y="148"/>
                  </a:lnTo>
                  <a:lnTo>
                    <a:pt x="684" y="150"/>
                  </a:lnTo>
                  <a:lnTo>
                    <a:pt x="686" y="152"/>
                  </a:lnTo>
                  <a:lnTo>
                    <a:pt x="688" y="152"/>
                  </a:lnTo>
                  <a:lnTo>
                    <a:pt x="688" y="154"/>
                  </a:lnTo>
                  <a:lnTo>
                    <a:pt x="690" y="156"/>
                  </a:lnTo>
                  <a:lnTo>
                    <a:pt x="690" y="160"/>
                  </a:lnTo>
                  <a:lnTo>
                    <a:pt x="692" y="166"/>
                  </a:lnTo>
                  <a:lnTo>
                    <a:pt x="692" y="168"/>
                  </a:lnTo>
                  <a:lnTo>
                    <a:pt x="692" y="171"/>
                  </a:lnTo>
                  <a:lnTo>
                    <a:pt x="692" y="173"/>
                  </a:lnTo>
                  <a:lnTo>
                    <a:pt x="690" y="175"/>
                  </a:lnTo>
                  <a:lnTo>
                    <a:pt x="688" y="177"/>
                  </a:lnTo>
                  <a:lnTo>
                    <a:pt x="686" y="177"/>
                  </a:lnTo>
                  <a:lnTo>
                    <a:pt x="684" y="179"/>
                  </a:lnTo>
                  <a:lnTo>
                    <a:pt x="684" y="181"/>
                  </a:lnTo>
                  <a:lnTo>
                    <a:pt x="684" y="183"/>
                  </a:lnTo>
                  <a:lnTo>
                    <a:pt x="680" y="187"/>
                  </a:lnTo>
                  <a:lnTo>
                    <a:pt x="678" y="189"/>
                  </a:lnTo>
                  <a:lnTo>
                    <a:pt x="674" y="193"/>
                  </a:lnTo>
                  <a:lnTo>
                    <a:pt x="674" y="195"/>
                  </a:lnTo>
                  <a:lnTo>
                    <a:pt x="672" y="197"/>
                  </a:lnTo>
                  <a:lnTo>
                    <a:pt x="672" y="201"/>
                  </a:lnTo>
                  <a:lnTo>
                    <a:pt x="672" y="201"/>
                  </a:lnTo>
                  <a:lnTo>
                    <a:pt x="670" y="203"/>
                  </a:lnTo>
                  <a:lnTo>
                    <a:pt x="668" y="209"/>
                  </a:lnTo>
                  <a:lnTo>
                    <a:pt x="666" y="214"/>
                  </a:lnTo>
                  <a:lnTo>
                    <a:pt x="655" y="224"/>
                  </a:lnTo>
                  <a:lnTo>
                    <a:pt x="653" y="226"/>
                  </a:lnTo>
                  <a:lnTo>
                    <a:pt x="653" y="226"/>
                  </a:lnTo>
                  <a:lnTo>
                    <a:pt x="653" y="228"/>
                  </a:lnTo>
                  <a:lnTo>
                    <a:pt x="653" y="228"/>
                  </a:lnTo>
                  <a:lnTo>
                    <a:pt x="653" y="230"/>
                  </a:lnTo>
                  <a:lnTo>
                    <a:pt x="653" y="230"/>
                  </a:lnTo>
                  <a:lnTo>
                    <a:pt x="653" y="232"/>
                  </a:lnTo>
                  <a:lnTo>
                    <a:pt x="651" y="236"/>
                  </a:lnTo>
                  <a:lnTo>
                    <a:pt x="651" y="238"/>
                  </a:lnTo>
                  <a:lnTo>
                    <a:pt x="649" y="242"/>
                  </a:lnTo>
                  <a:lnTo>
                    <a:pt x="643" y="246"/>
                  </a:lnTo>
                  <a:lnTo>
                    <a:pt x="643" y="248"/>
                  </a:lnTo>
                  <a:lnTo>
                    <a:pt x="641" y="250"/>
                  </a:lnTo>
                  <a:lnTo>
                    <a:pt x="635" y="253"/>
                  </a:lnTo>
                  <a:lnTo>
                    <a:pt x="635" y="253"/>
                  </a:lnTo>
                  <a:lnTo>
                    <a:pt x="633" y="255"/>
                  </a:lnTo>
                  <a:lnTo>
                    <a:pt x="631" y="259"/>
                  </a:lnTo>
                  <a:lnTo>
                    <a:pt x="627" y="263"/>
                  </a:lnTo>
                  <a:lnTo>
                    <a:pt x="627" y="265"/>
                  </a:lnTo>
                  <a:lnTo>
                    <a:pt x="625" y="269"/>
                  </a:lnTo>
                  <a:lnTo>
                    <a:pt x="625" y="271"/>
                  </a:lnTo>
                  <a:lnTo>
                    <a:pt x="623" y="273"/>
                  </a:lnTo>
                  <a:lnTo>
                    <a:pt x="621" y="273"/>
                  </a:lnTo>
                  <a:lnTo>
                    <a:pt x="621" y="273"/>
                  </a:lnTo>
                  <a:lnTo>
                    <a:pt x="619" y="273"/>
                  </a:lnTo>
                  <a:lnTo>
                    <a:pt x="619" y="275"/>
                  </a:lnTo>
                  <a:lnTo>
                    <a:pt x="619" y="275"/>
                  </a:lnTo>
                  <a:lnTo>
                    <a:pt x="619" y="275"/>
                  </a:lnTo>
                  <a:lnTo>
                    <a:pt x="616" y="277"/>
                  </a:lnTo>
                  <a:lnTo>
                    <a:pt x="616" y="277"/>
                  </a:lnTo>
                  <a:lnTo>
                    <a:pt x="616" y="279"/>
                  </a:lnTo>
                  <a:lnTo>
                    <a:pt x="616" y="281"/>
                  </a:lnTo>
                  <a:lnTo>
                    <a:pt x="614" y="283"/>
                  </a:lnTo>
                  <a:lnTo>
                    <a:pt x="614" y="285"/>
                  </a:lnTo>
                  <a:lnTo>
                    <a:pt x="614" y="287"/>
                  </a:lnTo>
                  <a:lnTo>
                    <a:pt x="614" y="289"/>
                  </a:lnTo>
                  <a:lnTo>
                    <a:pt x="614" y="291"/>
                  </a:lnTo>
                  <a:lnTo>
                    <a:pt x="614" y="291"/>
                  </a:lnTo>
                  <a:lnTo>
                    <a:pt x="614" y="293"/>
                  </a:lnTo>
                  <a:lnTo>
                    <a:pt x="614" y="293"/>
                  </a:lnTo>
                  <a:lnTo>
                    <a:pt x="614" y="296"/>
                  </a:lnTo>
                  <a:lnTo>
                    <a:pt x="614" y="298"/>
                  </a:lnTo>
                  <a:lnTo>
                    <a:pt x="619" y="300"/>
                  </a:lnTo>
                  <a:lnTo>
                    <a:pt x="619" y="300"/>
                  </a:lnTo>
                  <a:lnTo>
                    <a:pt x="619" y="300"/>
                  </a:lnTo>
                  <a:lnTo>
                    <a:pt x="621" y="298"/>
                  </a:lnTo>
                  <a:lnTo>
                    <a:pt x="621" y="298"/>
                  </a:lnTo>
                  <a:lnTo>
                    <a:pt x="623" y="298"/>
                  </a:lnTo>
                  <a:lnTo>
                    <a:pt x="623" y="300"/>
                  </a:lnTo>
                  <a:lnTo>
                    <a:pt x="623" y="300"/>
                  </a:lnTo>
                  <a:lnTo>
                    <a:pt x="623" y="302"/>
                  </a:lnTo>
                  <a:lnTo>
                    <a:pt x="625" y="302"/>
                  </a:lnTo>
                  <a:lnTo>
                    <a:pt x="627" y="302"/>
                  </a:lnTo>
                  <a:lnTo>
                    <a:pt x="629" y="302"/>
                  </a:lnTo>
                  <a:lnTo>
                    <a:pt x="631" y="302"/>
                  </a:lnTo>
                  <a:lnTo>
                    <a:pt x="631" y="302"/>
                  </a:lnTo>
                  <a:lnTo>
                    <a:pt x="631" y="304"/>
                  </a:lnTo>
                  <a:lnTo>
                    <a:pt x="631" y="304"/>
                  </a:lnTo>
                  <a:lnTo>
                    <a:pt x="631" y="306"/>
                  </a:lnTo>
                  <a:lnTo>
                    <a:pt x="631" y="308"/>
                  </a:lnTo>
                  <a:lnTo>
                    <a:pt x="631" y="308"/>
                  </a:lnTo>
                  <a:lnTo>
                    <a:pt x="633" y="308"/>
                  </a:lnTo>
                  <a:lnTo>
                    <a:pt x="635" y="310"/>
                  </a:lnTo>
                  <a:lnTo>
                    <a:pt x="635" y="312"/>
                  </a:lnTo>
                  <a:lnTo>
                    <a:pt x="635" y="312"/>
                  </a:lnTo>
                  <a:lnTo>
                    <a:pt x="635" y="314"/>
                  </a:lnTo>
                  <a:lnTo>
                    <a:pt x="635" y="314"/>
                  </a:lnTo>
                  <a:lnTo>
                    <a:pt x="635" y="314"/>
                  </a:lnTo>
                  <a:lnTo>
                    <a:pt x="635" y="316"/>
                  </a:lnTo>
                  <a:lnTo>
                    <a:pt x="633" y="316"/>
                  </a:lnTo>
                  <a:lnTo>
                    <a:pt x="633" y="318"/>
                  </a:lnTo>
                  <a:lnTo>
                    <a:pt x="633" y="318"/>
                  </a:lnTo>
                  <a:lnTo>
                    <a:pt x="631" y="318"/>
                  </a:lnTo>
                  <a:lnTo>
                    <a:pt x="631" y="318"/>
                  </a:lnTo>
                  <a:lnTo>
                    <a:pt x="629" y="318"/>
                  </a:lnTo>
                  <a:lnTo>
                    <a:pt x="629" y="320"/>
                  </a:lnTo>
                  <a:lnTo>
                    <a:pt x="629" y="322"/>
                  </a:lnTo>
                  <a:lnTo>
                    <a:pt x="631" y="324"/>
                  </a:lnTo>
                  <a:lnTo>
                    <a:pt x="631" y="328"/>
                  </a:lnTo>
                  <a:lnTo>
                    <a:pt x="631" y="328"/>
                  </a:lnTo>
                  <a:lnTo>
                    <a:pt x="629" y="330"/>
                  </a:lnTo>
                  <a:lnTo>
                    <a:pt x="629" y="330"/>
                  </a:lnTo>
                  <a:lnTo>
                    <a:pt x="629" y="330"/>
                  </a:lnTo>
                  <a:lnTo>
                    <a:pt x="627" y="334"/>
                  </a:lnTo>
                  <a:lnTo>
                    <a:pt x="627" y="339"/>
                  </a:lnTo>
                  <a:lnTo>
                    <a:pt x="625" y="341"/>
                  </a:lnTo>
                  <a:lnTo>
                    <a:pt x="625" y="343"/>
                  </a:lnTo>
                  <a:lnTo>
                    <a:pt x="623" y="345"/>
                  </a:lnTo>
                  <a:lnTo>
                    <a:pt x="621" y="345"/>
                  </a:lnTo>
                  <a:lnTo>
                    <a:pt x="619" y="347"/>
                  </a:lnTo>
                  <a:lnTo>
                    <a:pt x="619" y="349"/>
                  </a:lnTo>
                  <a:lnTo>
                    <a:pt x="619" y="351"/>
                  </a:lnTo>
                  <a:lnTo>
                    <a:pt x="619" y="351"/>
                  </a:lnTo>
                  <a:lnTo>
                    <a:pt x="619" y="351"/>
                  </a:lnTo>
                  <a:lnTo>
                    <a:pt x="619" y="361"/>
                  </a:lnTo>
                  <a:lnTo>
                    <a:pt x="616" y="365"/>
                  </a:lnTo>
                  <a:lnTo>
                    <a:pt x="616" y="375"/>
                  </a:lnTo>
                  <a:lnTo>
                    <a:pt x="614" y="388"/>
                  </a:lnTo>
                  <a:lnTo>
                    <a:pt x="612" y="398"/>
                  </a:lnTo>
                  <a:lnTo>
                    <a:pt x="610" y="408"/>
                  </a:lnTo>
                  <a:lnTo>
                    <a:pt x="608" y="421"/>
                  </a:lnTo>
                  <a:lnTo>
                    <a:pt x="608" y="431"/>
                  </a:lnTo>
                  <a:lnTo>
                    <a:pt x="606" y="441"/>
                  </a:lnTo>
                  <a:lnTo>
                    <a:pt x="604" y="451"/>
                  </a:lnTo>
                  <a:lnTo>
                    <a:pt x="602" y="464"/>
                  </a:lnTo>
                  <a:lnTo>
                    <a:pt x="600" y="474"/>
                  </a:lnTo>
                  <a:lnTo>
                    <a:pt x="600" y="484"/>
                  </a:lnTo>
                  <a:lnTo>
                    <a:pt x="598" y="494"/>
                  </a:lnTo>
                  <a:lnTo>
                    <a:pt x="596" y="507"/>
                  </a:lnTo>
                  <a:lnTo>
                    <a:pt x="594" y="517"/>
                  </a:lnTo>
                  <a:lnTo>
                    <a:pt x="592" y="527"/>
                  </a:lnTo>
                  <a:lnTo>
                    <a:pt x="590" y="537"/>
                  </a:lnTo>
                  <a:lnTo>
                    <a:pt x="576" y="535"/>
                  </a:lnTo>
                  <a:lnTo>
                    <a:pt x="561" y="533"/>
                  </a:lnTo>
                  <a:lnTo>
                    <a:pt x="545" y="531"/>
                  </a:lnTo>
                  <a:lnTo>
                    <a:pt x="530" y="529"/>
                  </a:lnTo>
                  <a:lnTo>
                    <a:pt x="516" y="527"/>
                  </a:lnTo>
                  <a:lnTo>
                    <a:pt x="500" y="523"/>
                  </a:lnTo>
                  <a:lnTo>
                    <a:pt x="485" y="521"/>
                  </a:lnTo>
                  <a:lnTo>
                    <a:pt x="471" y="519"/>
                  </a:lnTo>
                  <a:lnTo>
                    <a:pt x="455" y="517"/>
                  </a:lnTo>
                  <a:lnTo>
                    <a:pt x="440" y="513"/>
                  </a:lnTo>
                  <a:lnTo>
                    <a:pt x="426" y="511"/>
                  </a:lnTo>
                  <a:lnTo>
                    <a:pt x="410" y="509"/>
                  </a:lnTo>
                  <a:lnTo>
                    <a:pt x="395" y="507"/>
                  </a:lnTo>
                  <a:lnTo>
                    <a:pt x="381" y="503"/>
                  </a:lnTo>
                  <a:lnTo>
                    <a:pt x="365" y="500"/>
                  </a:lnTo>
                  <a:lnTo>
                    <a:pt x="350" y="498"/>
                  </a:lnTo>
                  <a:lnTo>
                    <a:pt x="330" y="494"/>
                  </a:lnTo>
                  <a:lnTo>
                    <a:pt x="307" y="490"/>
                  </a:lnTo>
                  <a:lnTo>
                    <a:pt x="287" y="486"/>
                  </a:lnTo>
                  <a:lnTo>
                    <a:pt x="266" y="482"/>
                  </a:lnTo>
                  <a:lnTo>
                    <a:pt x="244" y="478"/>
                  </a:lnTo>
                  <a:lnTo>
                    <a:pt x="223" y="474"/>
                  </a:lnTo>
                  <a:lnTo>
                    <a:pt x="203" y="470"/>
                  </a:lnTo>
                  <a:lnTo>
                    <a:pt x="182" y="466"/>
                  </a:lnTo>
                  <a:lnTo>
                    <a:pt x="160" y="462"/>
                  </a:lnTo>
                  <a:lnTo>
                    <a:pt x="139" y="457"/>
                  </a:lnTo>
                  <a:lnTo>
                    <a:pt x="119" y="451"/>
                  </a:lnTo>
                  <a:lnTo>
                    <a:pt x="98" y="447"/>
                  </a:lnTo>
                  <a:lnTo>
                    <a:pt x="76" y="443"/>
                  </a:lnTo>
                  <a:lnTo>
                    <a:pt x="55" y="439"/>
                  </a:lnTo>
                  <a:lnTo>
                    <a:pt x="35" y="435"/>
                  </a:lnTo>
                  <a:lnTo>
                    <a:pt x="14" y="429"/>
                  </a:lnTo>
                  <a:lnTo>
                    <a:pt x="14" y="429"/>
                  </a:lnTo>
                  <a:lnTo>
                    <a:pt x="12" y="429"/>
                  </a:lnTo>
                  <a:lnTo>
                    <a:pt x="10" y="427"/>
                  </a:lnTo>
                  <a:lnTo>
                    <a:pt x="6" y="423"/>
                  </a:lnTo>
                  <a:lnTo>
                    <a:pt x="4" y="416"/>
                  </a:lnTo>
                  <a:lnTo>
                    <a:pt x="2" y="416"/>
                  </a:lnTo>
                  <a:lnTo>
                    <a:pt x="2" y="414"/>
                  </a:lnTo>
                  <a:lnTo>
                    <a:pt x="4" y="404"/>
                  </a:lnTo>
                  <a:lnTo>
                    <a:pt x="2" y="400"/>
                  </a:lnTo>
                  <a:lnTo>
                    <a:pt x="2" y="400"/>
                  </a:lnTo>
                  <a:lnTo>
                    <a:pt x="2" y="398"/>
                  </a:lnTo>
                  <a:lnTo>
                    <a:pt x="2" y="396"/>
                  </a:lnTo>
                  <a:lnTo>
                    <a:pt x="2" y="392"/>
                  </a:lnTo>
                  <a:lnTo>
                    <a:pt x="2" y="392"/>
                  </a:lnTo>
                  <a:lnTo>
                    <a:pt x="2" y="392"/>
                  </a:lnTo>
                  <a:lnTo>
                    <a:pt x="0" y="390"/>
                  </a:lnTo>
                  <a:lnTo>
                    <a:pt x="2" y="390"/>
                  </a:lnTo>
                  <a:lnTo>
                    <a:pt x="2" y="390"/>
                  </a:lnTo>
                  <a:lnTo>
                    <a:pt x="4" y="388"/>
                  </a:lnTo>
                  <a:lnTo>
                    <a:pt x="4" y="386"/>
                  </a:lnTo>
                  <a:lnTo>
                    <a:pt x="4" y="384"/>
                  </a:lnTo>
                  <a:lnTo>
                    <a:pt x="4" y="382"/>
                  </a:lnTo>
                  <a:lnTo>
                    <a:pt x="4" y="378"/>
                  </a:lnTo>
                  <a:lnTo>
                    <a:pt x="4" y="378"/>
                  </a:lnTo>
                  <a:lnTo>
                    <a:pt x="6" y="375"/>
                  </a:lnTo>
                  <a:lnTo>
                    <a:pt x="8" y="371"/>
                  </a:lnTo>
                  <a:lnTo>
                    <a:pt x="8" y="371"/>
                  </a:lnTo>
                  <a:lnTo>
                    <a:pt x="10" y="367"/>
                  </a:lnTo>
                  <a:lnTo>
                    <a:pt x="10" y="361"/>
                  </a:lnTo>
                  <a:lnTo>
                    <a:pt x="10" y="359"/>
                  </a:lnTo>
                  <a:lnTo>
                    <a:pt x="10" y="357"/>
                  </a:lnTo>
                  <a:lnTo>
                    <a:pt x="10" y="355"/>
                  </a:lnTo>
                  <a:lnTo>
                    <a:pt x="10" y="355"/>
                  </a:lnTo>
                  <a:lnTo>
                    <a:pt x="8" y="353"/>
                  </a:lnTo>
                  <a:lnTo>
                    <a:pt x="8" y="351"/>
                  </a:lnTo>
                  <a:lnTo>
                    <a:pt x="8" y="349"/>
                  </a:lnTo>
                  <a:lnTo>
                    <a:pt x="6" y="347"/>
                  </a:lnTo>
                  <a:lnTo>
                    <a:pt x="6" y="347"/>
                  </a:lnTo>
                  <a:lnTo>
                    <a:pt x="4" y="347"/>
                  </a:lnTo>
                  <a:lnTo>
                    <a:pt x="4" y="341"/>
                  </a:lnTo>
                  <a:lnTo>
                    <a:pt x="4" y="339"/>
                  </a:lnTo>
                  <a:lnTo>
                    <a:pt x="4" y="339"/>
                  </a:lnTo>
                  <a:lnTo>
                    <a:pt x="2" y="337"/>
                  </a:lnTo>
                  <a:lnTo>
                    <a:pt x="4" y="337"/>
                  </a:lnTo>
                  <a:lnTo>
                    <a:pt x="10" y="326"/>
                  </a:lnTo>
                  <a:lnTo>
                    <a:pt x="14" y="322"/>
                  </a:lnTo>
                  <a:lnTo>
                    <a:pt x="16" y="320"/>
                  </a:lnTo>
                  <a:lnTo>
                    <a:pt x="16" y="318"/>
                  </a:lnTo>
                  <a:lnTo>
                    <a:pt x="18" y="318"/>
                  </a:lnTo>
                  <a:lnTo>
                    <a:pt x="20" y="316"/>
                  </a:lnTo>
                  <a:lnTo>
                    <a:pt x="20" y="314"/>
                  </a:lnTo>
                  <a:lnTo>
                    <a:pt x="23" y="310"/>
                  </a:lnTo>
                  <a:lnTo>
                    <a:pt x="29" y="296"/>
                  </a:lnTo>
                  <a:lnTo>
                    <a:pt x="29" y="291"/>
                  </a:lnTo>
                  <a:lnTo>
                    <a:pt x="29" y="289"/>
                  </a:lnTo>
                  <a:lnTo>
                    <a:pt x="29" y="289"/>
                  </a:lnTo>
                  <a:lnTo>
                    <a:pt x="31" y="287"/>
                  </a:lnTo>
                  <a:lnTo>
                    <a:pt x="31" y="287"/>
                  </a:lnTo>
                  <a:lnTo>
                    <a:pt x="33" y="287"/>
                  </a:lnTo>
                  <a:lnTo>
                    <a:pt x="33" y="285"/>
                  </a:lnTo>
                  <a:lnTo>
                    <a:pt x="35" y="285"/>
                  </a:lnTo>
                  <a:lnTo>
                    <a:pt x="33" y="291"/>
                  </a:lnTo>
                  <a:lnTo>
                    <a:pt x="35" y="293"/>
                  </a:lnTo>
                  <a:lnTo>
                    <a:pt x="35" y="293"/>
                  </a:lnTo>
                  <a:lnTo>
                    <a:pt x="35" y="291"/>
                  </a:lnTo>
                  <a:lnTo>
                    <a:pt x="37" y="289"/>
                  </a:lnTo>
                  <a:lnTo>
                    <a:pt x="35" y="289"/>
                  </a:lnTo>
                  <a:lnTo>
                    <a:pt x="37" y="289"/>
                  </a:lnTo>
                  <a:lnTo>
                    <a:pt x="37" y="289"/>
                  </a:lnTo>
                  <a:lnTo>
                    <a:pt x="37" y="287"/>
                  </a:lnTo>
                  <a:lnTo>
                    <a:pt x="39" y="287"/>
                  </a:lnTo>
                  <a:lnTo>
                    <a:pt x="37" y="285"/>
                  </a:lnTo>
                  <a:lnTo>
                    <a:pt x="39" y="283"/>
                  </a:lnTo>
                  <a:lnTo>
                    <a:pt x="41" y="281"/>
                  </a:lnTo>
                  <a:lnTo>
                    <a:pt x="43" y="281"/>
                  </a:lnTo>
                  <a:lnTo>
                    <a:pt x="45" y="281"/>
                  </a:lnTo>
                  <a:lnTo>
                    <a:pt x="45" y="283"/>
                  </a:lnTo>
                  <a:lnTo>
                    <a:pt x="43" y="283"/>
                  </a:lnTo>
                  <a:lnTo>
                    <a:pt x="45" y="285"/>
                  </a:lnTo>
                  <a:lnTo>
                    <a:pt x="45" y="287"/>
                  </a:lnTo>
                  <a:lnTo>
                    <a:pt x="47" y="287"/>
                  </a:lnTo>
                  <a:lnTo>
                    <a:pt x="47" y="289"/>
                  </a:lnTo>
                  <a:lnTo>
                    <a:pt x="49" y="289"/>
                  </a:lnTo>
                  <a:lnTo>
                    <a:pt x="47" y="283"/>
                  </a:lnTo>
                  <a:lnTo>
                    <a:pt x="47" y="281"/>
                  </a:lnTo>
                  <a:lnTo>
                    <a:pt x="47" y="281"/>
                  </a:lnTo>
                  <a:lnTo>
                    <a:pt x="47" y="279"/>
                  </a:lnTo>
                  <a:lnTo>
                    <a:pt x="47" y="279"/>
                  </a:lnTo>
                  <a:lnTo>
                    <a:pt x="47" y="279"/>
                  </a:lnTo>
                  <a:lnTo>
                    <a:pt x="47" y="277"/>
                  </a:lnTo>
                  <a:lnTo>
                    <a:pt x="45" y="277"/>
                  </a:lnTo>
                  <a:lnTo>
                    <a:pt x="41" y="279"/>
                  </a:lnTo>
                  <a:lnTo>
                    <a:pt x="39" y="283"/>
                  </a:lnTo>
                  <a:lnTo>
                    <a:pt x="37" y="285"/>
                  </a:lnTo>
                  <a:lnTo>
                    <a:pt x="35" y="283"/>
                  </a:lnTo>
                  <a:lnTo>
                    <a:pt x="37" y="281"/>
                  </a:lnTo>
                  <a:lnTo>
                    <a:pt x="45" y="269"/>
                  </a:lnTo>
                  <a:lnTo>
                    <a:pt x="45" y="267"/>
                  </a:lnTo>
                  <a:lnTo>
                    <a:pt x="47" y="265"/>
                  </a:lnTo>
                  <a:lnTo>
                    <a:pt x="49" y="261"/>
                  </a:lnTo>
                  <a:lnTo>
                    <a:pt x="49" y="259"/>
                  </a:lnTo>
                  <a:lnTo>
                    <a:pt x="51" y="259"/>
                  </a:lnTo>
                  <a:lnTo>
                    <a:pt x="53" y="257"/>
                  </a:lnTo>
                  <a:lnTo>
                    <a:pt x="55" y="257"/>
                  </a:lnTo>
                  <a:lnTo>
                    <a:pt x="55" y="255"/>
                  </a:lnTo>
                  <a:lnTo>
                    <a:pt x="55" y="253"/>
                  </a:lnTo>
                  <a:lnTo>
                    <a:pt x="57" y="253"/>
                  </a:lnTo>
                  <a:lnTo>
                    <a:pt x="57" y="253"/>
                  </a:lnTo>
                  <a:lnTo>
                    <a:pt x="57" y="253"/>
                  </a:lnTo>
                  <a:lnTo>
                    <a:pt x="57" y="255"/>
                  </a:lnTo>
                  <a:lnTo>
                    <a:pt x="57" y="255"/>
                  </a:lnTo>
                  <a:lnTo>
                    <a:pt x="57" y="255"/>
                  </a:lnTo>
                  <a:lnTo>
                    <a:pt x="61" y="255"/>
                  </a:lnTo>
                  <a:lnTo>
                    <a:pt x="61" y="255"/>
                  </a:lnTo>
                  <a:lnTo>
                    <a:pt x="61" y="255"/>
                  </a:lnTo>
                  <a:lnTo>
                    <a:pt x="59" y="253"/>
                  </a:lnTo>
                  <a:lnTo>
                    <a:pt x="57" y="250"/>
                  </a:lnTo>
                  <a:lnTo>
                    <a:pt x="57" y="250"/>
                  </a:lnTo>
                  <a:lnTo>
                    <a:pt x="55" y="253"/>
                  </a:lnTo>
                  <a:lnTo>
                    <a:pt x="53" y="255"/>
                  </a:lnTo>
                  <a:lnTo>
                    <a:pt x="53" y="257"/>
                  </a:lnTo>
                  <a:lnTo>
                    <a:pt x="53" y="255"/>
                  </a:lnTo>
                  <a:lnTo>
                    <a:pt x="53" y="253"/>
                  </a:lnTo>
                  <a:lnTo>
                    <a:pt x="55" y="248"/>
                  </a:lnTo>
                  <a:lnTo>
                    <a:pt x="59" y="236"/>
                  </a:lnTo>
                  <a:lnTo>
                    <a:pt x="61" y="232"/>
                  </a:lnTo>
                  <a:lnTo>
                    <a:pt x="61" y="230"/>
                  </a:lnTo>
                  <a:lnTo>
                    <a:pt x="63" y="226"/>
                  </a:lnTo>
                  <a:lnTo>
                    <a:pt x="63" y="226"/>
                  </a:lnTo>
                  <a:lnTo>
                    <a:pt x="63" y="224"/>
                  </a:lnTo>
                  <a:lnTo>
                    <a:pt x="66" y="224"/>
                  </a:lnTo>
                  <a:lnTo>
                    <a:pt x="66" y="224"/>
                  </a:lnTo>
                  <a:lnTo>
                    <a:pt x="66" y="220"/>
                  </a:lnTo>
                  <a:lnTo>
                    <a:pt x="66" y="220"/>
                  </a:lnTo>
                  <a:lnTo>
                    <a:pt x="66" y="218"/>
                  </a:lnTo>
                  <a:lnTo>
                    <a:pt x="66" y="218"/>
                  </a:lnTo>
                  <a:lnTo>
                    <a:pt x="68" y="214"/>
                  </a:lnTo>
                  <a:lnTo>
                    <a:pt x="70" y="205"/>
                  </a:lnTo>
                  <a:lnTo>
                    <a:pt x="72" y="199"/>
                  </a:lnTo>
                  <a:lnTo>
                    <a:pt x="72" y="195"/>
                  </a:lnTo>
                  <a:lnTo>
                    <a:pt x="72" y="195"/>
                  </a:lnTo>
                  <a:lnTo>
                    <a:pt x="72" y="193"/>
                  </a:lnTo>
                  <a:lnTo>
                    <a:pt x="72" y="193"/>
                  </a:lnTo>
                  <a:lnTo>
                    <a:pt x="72" y="193"/>
                  </a:lnTo>
                  <a:lnTo>
                    <a:pt x="74" y="191"/>
                  </a:lnTo>
                  <a:lnTo>
                    <a:pt x="74" y="191"/>
                  </a:lnTo>
                  <a:lnTo>
                    <a:pt x="76" y="185"/>
                  </a:lnTo>
                  <a:lnTo>
                    <a:pt x="78" y="183"/>
                  </a:lnTo>
                  <a:lnTo>
                    <a:pt x="78" y="183"/>
                  </a:lnTo>
                  <a:lnTo>
                    <a:pt x="80" y="183"/>
                  </a:lnTo>
                  <a:lnTo>
                    <a:pt x="82" y="185"/>
                  </a:lnTo>
                  <a:lnTo>
                    <a:pt x="82" y="181"/>
                  </a:lnTo>
                  <a:lnTo>
                    <a:pt x="80" y="181"/>
                  </a:lnTo>
                  <a:lnTo>
                    <a:pt x="80" y="181"/>
                  </a:lnTo>
                  <a:lnTo>
                    <a:pt x="78" y="181"/>
                  </a:lnTo>
                  <a:lnTo>
                    <a:pt x="78" y="179"/>
                  </a:lnTo>
                  <a:lnTo>
                    <a:pt x="78" y="175"/>
                  </a:lnTo>
                  <a:lnTo>
                    <a:pt x="84" y="162"/>
                  </a:lnTo>
                  <a:lnTo>
                    <a:pt x="84" y="162"/>
                  </a:lnTo>
                  <a:lnTo>
                    <a:pt x="86" y="164"/>
                  </a:lnTo>
                  <a:lnTo>
                    <a:pt x="88" y="164"/>
                  </a:lnTo>
                  <a:lnTo>
                    <a:pt x="88" y="162"/>
                  </a:lnTo>
                  <a:lnTo>
                    <a:pt x="88" y="162"/>
                  </a:lnTo>
                  <a:lnTo>
                    <a:pt x="86" y="162"/>
                  </a:lnTo>
                  <a:lnTo>
                    <a:pt x="86" y="162"/>
                  </a:lnTo>
                  <a:lnTo>
                    <a:pt x="84" y="162"/>
                  </a:lnTo>
                  <a:lnTo>
                    <a:pt x="84" y="160"/>
                  </a:lnTo>
                  <a:lnTo>
                    <a:pt x="84" y="160"/>
                  </a:lnTo>
                  <a:lnTo>
                    <a:pt x="84" y="158"/>
                  </a:lnTo>
                  <a:lnTo>
                    <a:pt x="84" y="156"/>
                  </a:lnTo>
                  <a:lnTo>
                    <a:pt x="84" y="156"/>
                  </a:lnTo>
                  <a:lnTo>
                    <a:pt x="86" y="150"/>
                  </a:lnTo>
                  <a:lnTo>
                    <a:pt x="86" y="148"/>
                  </a:lnTo>
                  <a:lnTo>
                    <a:pt x="86" y="148"/>
                  </a:lnTo>
                  <a:lnTo>
                    <a:pt x="88" y="140"/>
                  </a:lnTo>
                  <a:lnTo>
                    <a:pt x="88" y="140"/>
                  </a:lnTo>
                  <a:lnTo>
                    <a:pt x="90" y="138"/>
                  </a:lnTo>
                  <a:lnTo>
                    <a:pt x="92" y="136"/>
                  </a:lnTo>
                  <a:lnTo>
                    <a:pt x="92" y="134"/>
                  </a:lnTo>
                  <a:lnTo>
                    <a:pt x="92" y="134"/>
                  </a:lnTo>
                  <a:lnTo>
                    <a:pt x="92" y="134"/>
                  </a:lnTo>
                  <a:lnTo>
                    <a:pt x="94" y="132"/>
                  </a:lnTo>
                  <a:lnTo>
                    <a:pt x="94" y="130"/>
                  </a:lnTo>
                  <a:lnTo>
                    <a:pt x="94" y="130"/>
                  </a:lnTo>
                  <a:lnTo>
                    <a:pt x="94" y="130"/>
                  </a:lnTo>
                  <a:lnTo>
                    <a:pt x="94" y="127"/>
                  </a:lnTo>
                  <a:lnTo>
                    <a:pt x="96" y="123"/>
                  </a:lnTo>
                  <a:lnTo>
                    <a:pt x="98" y="119"/>
                  </a:lnTo>
                  <a:lnTo>
                    <a:pt x="96" y="117"/>
                  </a:lnTo>
                  <a:lnTo>
                    <a:pt x="96" y="117"/>
                  </a:lnTo>
                  <a:lnTo>
                    <a:pt x="98" y="115"/>
                  </a:lnTo>
                  <a:lnTo>
                    <a:pt x="100" y="113"/>
                  </a:lnTo>
                  <a:lnTo>
                    <a:pt x="102" y="111"/>
                  </a:lnTo>
                  <a:lnTo>
                    <a:pt x="102" y="109"/>
                  </a:lnTo>
                  <a:lnTo>
                    <a:pt x="102" y="107"/>
                  </a:lnTo>
                  <a:lnTo>
                    <a:pt x="102" y="105"/>
                  </a:lnTo>
                  <a:lnTo>
                    <a:pt x="102" y="103"/>
                  </a:lnTo>
                  <a:lnTo>
                    <a:pt x="104" y="103"/>
                  </a:lnTo>
                  <a:lnTo>
                    <a:pt x="104" y="99"/>
                  </a:lnTo>
                  <a:lnTo>
                    <a:pt x="104" y="99"/>
                  </a:lnTo>
                  <a:lnTo>
                    <a:pt x="104" y="99"/>
                  </a:lnTo>
                  <a:lnTo>
                    <a:pt x="107" y="99"/>
                  </a:lnTo>
                  <a:lnTo>
                    <a:pt x="107" y="97"/>
                  </a:lnTo>
                  <a:lnTo>
                    <a:pt x="107" y="97"/>
                  </a:lnTo>
                  <a:lnTo>
                    <a:pt x="107" y="95"/>
                  </a:lnTo>
                  <a:lnTo>
                    <a:pt x="107" y="91"/>
                  </a:lnTo>
                  <a:lnTo>
                    <a:pt x="107" y="91"/>
                  </a:lnTo>
                  <a:lnTo>
                    <a:pt x="104" y="91"/>
                  </a:lnTo>
                  <a:lnTo>
                    <a:pt x="104" y="89"/>
                  </a:lnTo>
                  <a:lnTo>
                    <a:pt x="104" y="89"/>
                  </a:lnTo>
                  <a:lnTo>
                    <a:pt x="107" y="89"/>
                  </a:lnTo>
                  <a:lnTo>
                    <a:pt x="107" y="89"/>
                  </a:lnTo>
                  <a:lnTo>
                    <a:pt x="109" y="87"/>
                  </a:lnTo>
                  <a:lnTo>
                    <a:pt x="109" y="84"/>
                  </a:lnTo>
                  <a:lnTo>
                    <a:pt x="109" y="84"/>
                  </a:lnTo>
                  <a:lnTo>
                    <a:pt x="109" y="82"/>
                  </a:lnTo>
                  <a:lnTo>
                    <a:pt x="109" y="82"/>
                  </a:lnTo>
                  <a:lnTo>
                    <a:pt x="111" y="82"/>
                  </a:lnTo>
                  <a:lnTo>
                    <a:pt x="109" y="82"/>
                  </a:lnTo>
                  <a:lnTo>
                    <a:pt x="109" y="87"/>
                  </a:lnTo>
                  <a:lnTo>
                    <a:pt x="111" y="84"/>
                  </a:lnTo>
                  <a:lnTo>
                    <a:pt x="111" y="84"/>
                  </a:lnTo>
                  <a:lnTo>
                    <a:pt x="113" y="82"/>
                  </a:lnTo>
                  <a:lnTo>
                    <a:pt x="111" y="80"/>
                  </a:lnTo>
                  <a:lnTo>
                    <a:pt x="109" y="78"/>
                  </a:lnTo>
                  <a:lnTo>
                    <a:pt x="111" y="74"/>
                  </a:lnTo>
                  <a:lnTo>
                    <a:pt x="111" y="72"/>
                  </a:lnTo>
                  <a:lnTo>
                    <a:pt x="113" y="68"/>
                  </a:lnTo>
                  <a:lnTo>
                    <a:pt x="113" y="68"/>
                  </a:lnTo>
                  <a:lnTo>
                    <a:pt x="113" y="72"/>
                  </a:lnTo>
                  <a:lnTo>
                    <a:pt x="113" y="74"/>
                  </a:lnTo>
                  <a:lnTo>
                    <a:pt x="113" y="76"/>
                  </a:lnTo>
                  <a:lnTo>
                    <a:pt x="115" y="76"/>
                  </a:lnTo>
                  <a:lnTo>
                    <a:pt x="117" y="78"/>
                  </a:lnTo>
                  <a:lnTo>
                    <a:pt x="117" y="76"/>
                  </a:lnTo>
                  <a:lnTo>
                    <a:pt x="117" y="76"/>
                  </a:lnTo>
                  <a:lnTo>
                    <a:pt x="119" y="76"/>
                  </a:lnTo>
                  <a:lnTo>
                    <a:pt x="119" y="74"/>
                  </a:lnTo>
                  <a:lnTo>
                    <a:pt x="117" y="74"/>
                  </a:lnTo>
                  <a:lnTo>
                    <a:pt x="117" y="72"/>
                  </a:lnTo>
                  <a:lnTo>
                    <a:pt x="117" y="70"/>
                  </a:lnTo>
                  <a:lnTo>
                    <a:pt x="117" y="68"/>
                  </a:lnTo>
                  <a:lnTo>
                    <a:pt x="115" y="68"/>
                  </a:lnTo>
                  <a:lnTo>
                    <a:pt x="113" y="66"/>
                  </a:lnTo>
                  <a:lnTo>
                    <a:pt x="113" y="66"/>
                  </a:lnTo>
                  <a:lnTo>
                    <a:pt x="113" y="64"/>
                  </a:lnTo>
                  <a:lnTo>
                    <a:pt x="115" y="62"/>
                  </a:lnTo>
                  <a:lnTo>
                    <a:pt x="117" y="60"/>
                  </a:lnTo>
                  <a:lnTo>
                    <a:pt x="119" y="58"/>
                  </a:lnTo>
                  <a:lnTo>
                    <a:pt x="119" y="58"/>
                  </a:lnTo>
                  <a:lnTo>
                    <a:pt x="119" y="56"/>
                  </a:lnTo>
                  <a:lnTo>
                    <a:pt x="121" y="56"/>
                  </a:lnTo>
                  <a:lnTo>
                    <a:pt x="121" y="56"/>
                  </a:lnTo>
                  <a:lnTo>
                    <a:pt x="123" y="56"/>
                  </a:lnTo>
                  <a:lnTo>
                    <a:pt x="121" y="56"/>
                  </a:lnTo>
                  <a:lnTo>
                    <a:pt x="121" y="56"/>
                  </a:lnTo>
                  <a:lnTo>
                    <a:pt x="121" y="56"/>
                  </a:lnTo>
                  <a:lnTo>
                    <a:pt x="121" y="56"/>
                  </a:lnTo>
                  <a:lnTo>
                    <a:pt x="119" y="54"/>
                  </a:lnTo>
                  <a:lnTo>
                    <a:pt x="119" y="54"/>
                  </a:lnTo>
                  <a:lnTo>
                    <a:pt x="119" y="56"/>
                  </a:lnTo>
                  <a:lnTo>
                    <a:pt x="117" y="56"/>
                  </a:lnTo>
                  <a:lnTo>
                    <a:pt x="117" y="58"/>
                  </a:lnTo>
                  <a:lnTo>
                    <a:pt x="117" y="54"/>
                  </a:lnTo>
                  <a:lnTo>
                    <a:pt x="117" y="52"/>
                  </a:lnTo>
                  <a:lnTo>
                    <a:pt x="117" y="48"/>
                  </a:lnTo>
                  <a:lnTo>
                    <a:pt x="115" y="48"/>
                  </a:lnTo>
                  <a:lnTo>
                    <a:pt x="117" y="43"/>
                  </a:lnTo>
                  <a:lnTo>
                    <a:pt x="119" y="41"/>
                  </a:lnTo>
                  <a:lnTo>
                    <a:pt x="119" y="35"/>
                  </a:lnTo>
                  <a:lnTo>
                    <a:pt x="121" y="33"/>
                  </a:lnTo>
                  <a:lnTo>
                    <a:pt x="119" y="31"/>
                  </a:lnTo>
                  <a:lnTo>
                    <a:pt x="119" y="29"/>
                  </a:lnTo>
                  <a:lnTo>
                    <a:pt x="119" y="27"/>
                  </a:lnTo>
                  <a:lnTo>
                    <a:pt x="121" y="27"/>
                  </a:lnTo>
                  <a:lnTo>
                    <a:pt x="121" y="27"/>
                  </a:lnTo>
                  <a:lnTo>
                    <a:pt x="123" y="25"/>
                  </a:lnTo>
                  <a:lnTo>
                    <a:pt x="123" y="25"/>
                  </a:lnTo>
                  <a:lnTo>
                    <a:pt x="125" y="25"/>
                  </a:lnTo>
                  <a:lnTo>
                    <a:pt x="125" y="21"/>
                  </a:lnTo>
                  <a:lnTo>
                    <a:pt x="127" y="19"/>
                  </a:lnTo>
                  <a:lnTo>
                    <a:pt x="127" y="17"/>
                  </a:lnTo>
                  <a:lnTo>
                    <a:pt x="127" y="15"/>
                  </a:lnTo>
                  <a:lnTo>
                    <a:pt x="127" y="11"/>
                  </a:lnTo>
                  <a:lnTo>
                    <a:pt x="125" y="2"/>
                  </a:lnTo>
                  <a:lnTo>
                    <a:pt x="125" y="0"/>
                  </a:lnTo>
                  <a:lnTo>
                    <a:pt x="127" y="0"/>
                  </a:lnTo>
                  <a:lnTo>
                    <a:pt x="125" y="0"/>
                  </a:lnTo>
                  <a:lnTo>
                    <a:pt x="125" y="0"/>
                  </a:lnTo>
                  <a:lnTo>
                    <a:pt x="125" y="0"/>
                  </a:lnTo>
                  <a:lnTo>
                    <a:pt x="127" y="2"/>
                  </a:lnTo>
                  <a:lnTo>
                    <a:pt x="129" y="2"/>
                  </a:lnTo>
                  <a:lnTo>
                    <a:pt x="131" y="5"/>
                  </a:lnTo>
                  <a:lnTo>
                    <a:pt x="131" y="7"/>
                  </a:lnTo>
                  <a:lnTo>
                    <a:pt x="133" y="9"/>
                  </a:lnTo>
                  <a:lnTo>
                    <a:pt x="135" y="9"/>
                  </a:lnTo>
                  <a:lnTo>
                    <a:pt x="137" y="9"/>
                  </a:lnTo>
                  <a:lnTo>
                    <a:pt x="137" y="11"/>
                  </a:lnTo>
                  <a:lnTo>
                    <a:pt x="137" y="13"/>
                  </a:lnTo>
                  <a:lnTo>
                    <a:pt x="135" y="13"/>
                  </a:lnTo>
                  <a:lnTo>
                    <a:pt x="137" y="15"/>
                  </a:lnTo>
                  <a:lnTo>
                    <a:pt x="137" y="13"/>
                  </a:lnTo>
                  <a:lnTo>
                    <a:pt x="137" y="13"/>
                  </a:lnTo>
                  <a:lnTo>
                    <a:pt x="137" y="13"/>
                  </a:lnTo>
                  <a:lnTo>
                    <a:pt x="139" y="13"/>
                  </a:lnTo>
                  <a:lnTo>
                    <a:pt x="139" y="11"/>
                  </a:lnTo>
                  <a:lnTo>
                    <a:pt x="139" y="11"/>
                  </a:lnTo>
                  <a:lnTo>
                    <a:pt x="137" y="9"/>
                  </a:lnTo>
                  <a:lnTo>
                    <a:pt x="137" y="9"/>
                  </a:lnTo>
                  <a:lnTo>
                    <a:pt x="137" y="7"/>
                  </a:lnTo>
                  <a:lnTo>
                    <a:pt x="135" y="7"/>
                  </a:lnTo>
                  <a:lnTo>
                    <a:pt x="135" y="7"/>
                  </a:lnTo>
                  <a:lnTo>
                    <a:pt x="135" y="7"/>
                  </a:lnTo>
                  <a:lnTo>
                    <a:pt x="135" y="5"/>
                  </a:lnTo>
                  <a:lnTo>
                    <a:pt x="139" y="7"/>
                  </a:lnTo>
                  <a:lnTo>
                    <a:pt x="141" y="5"/>
                  </a:lnTo>
                  <a:lnTo>
                    <a:pt x="141" y="5"/>
                  </a:lnTo>
                  <a:lnTo>
                    <a:pt x="141" y="7"/>
                  </a:lnTo>
                  <a:lnTo>
                    <a:pt x="143" y="9"/>
                  </a:lnTo>
                  <a:lnTo>
                    <a:pt x="145" y="9"/>
                  </a:lnTo>
                  <a:lnTo>
                    <a:pt x="145" y="9"/>
                  </a:lnTo>
                  <a:lnTo>
                    <a:pt x="154" y="9"/>
                  </a:lnTo>
                  <a:lnTo>
                    <a:pt x="154" y="9"/>
                  </a:lnTo>
                  <a:lnTo>
                    <a:pt x="154" y="9"/>
                  </a:lnTo>
                  <a:lnTo>
                    <a:pt x="154" y="7"/>
                  </a:lnTo>
                  <a:lnTo>
                    <a:pt x="154" y="7"/>
                  </a:lnTo>
                  <a:lnTo>
                    <a:pt x="156" y="9"/>
                  </a:lnTo>
                  <a:lnTo>
                    <a:pt x="158" y="9"/>
                  </a:lnTo>
                  <a:lnTo>
                    <a:pt x="160" y="7"/>
                  </a:lnTo>
                  <a:lnTo>
                    <a:pt x="162" y="7"/>
                  </a:lnTo>
                  <a:lnTo>
                    <a:pt x="162" y="7"/>
                  </a:lnTo>
                  <a:lnTo>
                    <a:pt x="164" y="7"/>
                  </a:lnTo>
                  <a:lnTo>
                    <a:pt x="164" y="9"/>
                  </a:lnTo>
                  <a:lnTo>
                    <a:pt x="168" y="15"/>
                  </a:lnTo>
                  <a:lnTo>
                    <a:pt x="168" y="15"/>
                  </a:lnTo>
                  <a:lnTo>
                    <a:pt x="168" y="17"/>
                  </a:lnTo>
                  <a:lnTo>
                    <a:pt x="176" y="19"/>
                  </a:lnTo>
                  <a:lnTo>
                    <a:pt x="180" y="21"/>
                  </a:lnTo>
                  <a:lnTo>
                    <a:pt x="182" y="21"/>
                  </a:lnTo>
                  <a:lnTo>
                    <a:pt x="184" y="19"/>
                  </a:lnTo>
                  <a:lnTo>
                    <a:pt x="186" y="17"/>
                  </a:lnTo>
                  <a:lnTo>
                    <a:pt x="186" y="17"/>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R</a:t>
              </a:r>
            </a:p>
          </p:txBody>
        </p:sp>
        <p:sp>
          <p:nvSpPr>
            <p:cNvPr id="152" name="Freeform 19">
              <a:extLst>
                <a:ext uri="{FF2B5EF4-FFF2-40B4-BE49-F238E27FC236}">
                  <a16:creationId xmlns:a16="http://schemas.microsoft.com/office/drawing/2014/main" id="{5FE90ED4-F697-DCA3-9E14-D556181057B1}"/>
                </a:ext>
              </a:extLst>
            </p:cNvPr>
            <p:cNvSpPr>
              <a:spLocks/>
            </p:cNvSpPr>
            <p:nvPr/>
          </p:nvSpPr>
          <p:spPr bwMode="auto">
            <a:xfrm>
              <a:off x="2466" y="1433"/>
              <a:ext cx="758" cy="360"/>
            </a:xfrm>
            <a:custGeom>
              <a:avLst/>
              <a:gdLst>
                <a:gd name="T0" fmla="*/ 750 w 758"/>
                <a:gd name="T1" fmla="*/ 157 h 360"/>
                <a:gd name="T2" fmla="*/ 758 w 758"/>
                <a:gd name="T3" fmla="*/ 336 h 360"/>
                <a:gd name="T4" fmla="*/ 750 w 758"/>
                <a:gd name="T5" fmla="*/ 356 h 360"/>
                <a:gd name="T6" fmla="*/ 740 w 758"/>
                <a:gd name="T7" fmla="*/ 354 h 360"/>
                <a:gd name="T8" fmla="*/ 731 w 758"/>
                <a:gd name="T9" fmla="*/ 350 h 360"/>
                <a:gd name="T10" fmla="*/ 715 w 758"/>
                <a:gd name="T11" fmla="*/ 342 h 360"/>
                <a:gd name="T12" fmla="*/ 707 w 758"/>
                <a:gd name="T13" fmla="*/ 338 h 360"/>
                <a:gd name="T14" fmla="*/ 690 w 758"/>
                <a:gd name="T15" fmla="*/ 329 h 360"/>
                <a:gd name="T16" fmla="*/ 684 w 758"/>
                <a:gd name="T17" fmla="*/ 336 h 360"/>
                <a:gd name="T18" fmla="*/ 680 w 758"/>
                <a:gd name="T19" fmla="*/ 340 h 360"/>
                <a:gd name="T20" fmla="*/ 668 w 758"/>
                <a:gd name="T21" fmla="*/ 338 h 360"/>
                <a:gd name="T22" fmla="*/ 664 w 758"/>
                <a:gd name="T23" fmla="*/ 338 h 360"/>
                <a:gd name="T24" fmla="*/ 656 w 758"/>
                <a:gd name="T25" fmla="*/ 332 h 360"/>
                <a:gd name="T26" fmla="*/ 647 w 758"/>
                <a:gd name="T27" fmla="*/ 338 h 360"/>
                <a:gd name="T28" fmla="*/ 641 w 758"/>
                <a:gd name="T29" fmla="*/ 342 h 360"/>
                <a:gd name="T30" fmla="*/ 629 w 758"/>
                <a:gd name="T31" fmla="*/ 340 h 360"/>
                <a:gd name="T32" fmla="*/ 621 w 758"/>
                <a:gd name="T33" fmla="*/ 344 h 360"/>
                <a:gd name="T34" fmla="*/ 607 w 758"/>
                <a:gd name="T35" fmla="*/ 350 h 360"/>
                <a:gd name="T36" fmla="*/ 596 w 758"/>
                <a:gd name="T37" fmla="*/ 358 h 360"/>
                <a:gd name="T38" fmla="*/ 576 w 758"/>
                <a:gd name="T39" fmla="*/ 350 h 360"/>
                <a:gd name="T40" fmla="*/ 568 w 758"/>
                <a:gd name="T41" fmla="*/ 346 h 360"/>
                <a:gd name="T42" fmla="*/ 566 w 758"/>
                <a:gd name="T43" fmla="*/ 338 h 360"/>
                <a:gd name="T44" fmla="*/ 561 w 758"/>
                <a:gd name="T45" fmla="*/ 344 h 360"/>
                <a:gd name="T46" fmla="*/ 555 w 758"/>
                <a:gd name="T47" fmla="*/ 346 h 360"/>
                <a:gd name="T48" fmla="*/ 543 w 758"/>
                <a:gd name="T49" fmla="*/ 342 h 360"/>
                <a:gd name="T50" fmla="*/ 539 w 758"/>
                <a:gd name="T51" fmla="*/ 336 h 360"/>
                <a:gd name="T52" fmla="*/ 533 w 758"/>
                <a:gd name="T53" fmla="*/ 344 h 360"/>
                <a:gd name="T54" fmla="*/ 527 w 758"/>
                <a:gd name="T55" fmla="*/ 350 h 360"/>
                <a:gd name="T56" fmla="*/ 516 w 758"/>
                <a:gd name="T57" fmla="*/ 356 h 360"/>
                <a:gd name="T58" fmla="*/ 514 w 758"/>
                <a:gd name="T59" fmla="*/ 342 h 360"/>
                <a:gd name="T60" fmla="*/ 508 w 758"/>
                <a:gd name="T61" fmla="*/ 346 h 360"/>
                <a:gd name="T62" fmla="*/ 500 w 758"/>
                <a:gd name="T63" fmla="*/ 348 h 360"/>
                <a:gd name="T64" fmla="*/ 490 w 758"/>
                <a:gd name="T65" fmla="*/ 344 h 360"/>
                <a:gd name="T66" fmla="*/ 473 w 758"/>
                <a:gd name="T67" fmla="*/ 332 h 360"/>
                <a:gd name="T68" fmla="*/ 447 w 758"/>
                <a:gd name="T69" fmla="*/ 344 h 360"/>
                <a:gd name="T70" fmla="*/ 447 w 758"/>
                <a:gd name="T71" fmla="*/ 334 h 360"/>
                <a:gd name="T72" fmla="*/ 434 w 758"/>
                <a:gd name="T73" fmla="*/ 321 h 360"/>
                <a:gd name="T74" fmla="*/ 408 w 758"/>
                <a:gd name="T75" fmla="*/ 319 h 360"/>
                <a:gd name="T76" fmla="*/ 391 w 758"/>
                <a:gd name="T77" fmla="*/ 319 h 360"/>
                <a:gd name="T78" fmla="*/ 377 w 758"/>
                <a:gd name="T79" fmla="*/ 317 h 360"/>
                <a:gd name="T80" fmla="*/ 348 w 758"/>
                <a:gd name="T81" fmla="*/ 311 h 360"/>
                <a:gd name="T82" fmla="*/ 334 w 758"/>
                <a:gd name="T83" fmla="*/ 299 h 360"/>
                <a:gd name="T84" fmla="*/ 326 w 758"/>
                <a:gd name="T85" fmla="*/ 288 h 360"/>
                <a:gd name="T86" fmla="*/ 318 w 758"/>
                <a:gd name="T87" fmla="*/ 284 h 360"/>
                <a:gd name="T88" fmla="*/ 303 w 758"/>
                <a:gd name="T89" fmla="*/ 288 h 360"/>
                <a:gd name="T90" fmla="*/ 291 w 758"/>
                <a:gd name="T91" fmla="*/ 291 h 360"/>
                <a:gd name="T92" fmla="*/ 262 w 758"/>
                <a:gd name="T93" fmla="*/ 272 h 360"/>
                <a:gd name="T94" fmla="*/ 262 w 758"/>
                <a:gd name="T95" fmla="*/ 192 h 360"/>
                <a:gd name="T96" fmla="*/ 262 w 758"/>
                <a:gd name="T97" fmla="*/ 94 h 360"/>
                <a:gd name="T98" fmla="*/ 234 w 758"/>
                <a:gd name="T99" fmla="*/ 65 h 360"/>
                <a:gd name="T100" fmla="*/ 60 w 758"/>
                <a:gd name="T101" fmla="*/ 63 h 360"/>
                <a:gd name="T102" fmla="*/ 2 w 758"/>
                <a:gd name="T103" fmla="*/ 20 h 360"/>
                <a:gd name="T104" fmla="*/ 78 w 758"/>
                <a:gd name="T105" fmla="*/ 10 h 360"/>
                <a:gd name="T106" fmla="*/ 228 w 758"/>
                <a:gd name="T107" fmla="*/ 10 h 360"/>
                <a:gd name="T108" fmla="*/ 389 w 758"/>
                <a:gd name="T109" fmla="*/ 10 h 360"/>
                <a:gd name="T110" fmla="*/ 549 w 758"/>
                <a:gd name="T111" fmla="*/ 6 h 360"/>
                <a:gd name="T112" fmla="*/ 709 w 758"/>
                <a:gd name="T113"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8" h="360">
                  <a:moveTo>
                    <a:pt x="731" y="53"/>
                  </a:moveTo>
                  <a:lnTo>
                    <a:pt x="736" y="67"/>
                  </a:lnTo>
                  <a:lnTo>
                    <a:pt x="738" y="84"/>
                  </a:lnTo>
                  <a:lnTo>
                    <a:pt x="740" y="98"/>
                  </a:lnTo>
                  <a:lnTo>
                    <a:pt x="744" y="112"/>
                  </a:lnTo>
                  <a:lnTo>
                    <a:pt x="746" y="127"/>
                  </a:lnTo>
                  <a:lnTo>
                    <a:pt x="748" y="143"/>
                  </a:lnTo>
                  <a:lnTo>
                    <a:pt x="750" y="157"/>
                  </a:lnTo>
                  <a:lnTo>
                    <a:pt x="754" y="172"/>
                  </a:lnTo>
                  <a:lnTo>
                    <a:pt x="754" y="196"/>
                  </a:lnTo>
                  <a:lnTo>
                    <a:pt x="754" y="219"/>
                  </a:lnTo>
                  <a:lnTo>
                    <a:pt x="756" y="241"/>
                  </a:lnTo>
                  <a:lnTo>
                    <a:pt x="756" y="266"/>
                  </a:lnTo>
                  <a:lnTo>
                    <a:pt x="756" y="288"/>
                  </a:lnTo>
                  <a:lnTo>
                    <a:pt x="758" y="313"/>
                  </a:lnTo>
                  <a:lnTo>
                    <a:pt x="758" y="336"/>
                  </a:lnTo>
                  <a:lnTo>
                    <a:pt x="758" y="360"/>
                  </a:lnTo>
                  <a:lnTo>
                    <a:pt x="758" y="360"/>
                  </a:lnTo>
                  <a:lnTo>
                    <a:pt x="756" y="360"/>
                  </a:lnTo>
                  <a:lnTo>
                    <a:pt x="754" y="358"/>
                  </a:lnTo>
                  <a:lnTo>
                    <a:pt x="754" y="360"/>
                  </a:lnTo>
                  <a:lnTo>
                    <a:pt x="750" y="358"/>
                  </a:lnTo>
                  <a:lnTo>
                    <a:pt x="750" y="358"/>
                  </a:lnTo>
                  <a:lnTo>
                    <a:pt x="750" y="356"/>
                  </a:lnTo>
                  <a:lnTo>
                    <a:pt x="750" y="356"/>
                  </a:lnTo>
                  <a:lnTo>
                    <a:pt x="748" y="356"/>
                  </a:lnTo>
                  <a:lnTo>
                    <a:pt x="746" y="356"/>
                  </a:lnTo>
                  <a:lnTo>
                    <a:pt x="744" y="356"/>
                  </a:lnTo>
                  <a:lnTo>
                    <a:pt x="744" y="356"/>
                  </a:lnTo>
                  <a:lnTo>
                    <a:pt x="742" y="356"/>
                  </a:lnTo>
                  <a:lnTo>
                    <a:pt x="742" y="354"/>
                  </a:lnTo>
                  <a:lnTo>
                    <a:pt x="740" y="354"/>
                  </a:lnTo>
                  <a:lnTo>
                    <a:pt x="740" y="356"/>
                  </a:lnTo>
                  <a:lnTo>
                    <a:pt x="740" y="356"/>
                  </a:lnTo>
                  <a:lnTo>
                    <a:pt x="738" y="356"/>
                  </a:lnTo>
                  <a:lnTo>
                    <a:pt x="738" y="354"/>
                  </a:lnTo>
                  <a:lnTo>
                    <a:pt x="736" y="354"/>
                  </a:lnTo>
                  <a:lnTo>
                    <a:pt x="733" y="352"/>
                  </a:lnTo>
                  <a:lnTo>
                    <a:pt x="733" y="350"/>
                  </a:lnTo>
                  <a:lnTo>
                    <a:pt x="731" y="350"/>
                  </a:lnTo>
                  <a:lnTo>
                    <a:pt x="729" y="350"/>
                  </a:lnTo>
                  <a:lnTo>
                    <a:pt x="723" y="350"/>
                  </a:lnTo>
                  <a:lnTo>
                    <a:pt x="719" y="346"/>
                  </a:lnTo>
                  <a:lnTo>
                    <a:pt x="719" y="344"/>
                  </a:lnTo>
                  <a:lnTo>
                    <a:pt x="717" y="344"/>
                  </a:lnTo>
                  <a:lnTo>
                    <a:pt x="717" y="342"/>
                  </a:lnTo>
                  <a:lnTo>
                    <a:pt x="717" y="342"/>
                  </a:lnTo>
                  <a:lnTo>
                    <a:pt x="715" y="342"/>
                  </a:lnTo>
                  <a:lnTo>
                    <a:pt x="715" y="340"/>
                  </a:lnTo>
                  <a:lnTo>
                    <a:pt x="715" y="340"/>
                  </a:lnTo>
                  <a:lnTo>
                    <a:pt x="715" y="340"/>
                  </a:lnTo>
                  <a:lnTo>
                    <a:pt x="713" y="340"/>
                  </a:lnTo>
                  <a:lnTo>
                    <a:pt x="713" y="338"/>
                  </a:lnTo>
                  <a:lnTo>
                    <a:pt x="711" y="338"/>
                  </a:lnTo>
                  <a:lnTo>
                    <a:pt x="709" y="338"/>
                  </a:lnTo>
                  <a:lnTo>
                    <a:pt x="707" y="338"/>
                  </a:lnTo>
                  <a:lnTo>
                    <a:pt x="705" y="334"/>
                  </a:lnTo>
                  <a:lnTo>
                    <a:pt x="703" y="334"/>
                  </a:lnTo>
                  <a:lnTo>
                    <a:pt x="701" y="334"/>
                  </a:lnTo>
                  <a:lnTo>
                    <a:pt x="699" y="332"/>
                  </a:lnTo>
                  <a:lnTo>
                    <a:pt x="699" y="332"/>
                  </a:lnTo>
                  <a:lnTo>
                    <a:pt x="699" y="332"/>
                  </a:lnTo>
                  <a:lnTo>
                    <a:pt x="697" y="329"/>
                  </a:lnTo>
                  <a:lnTo>
                    <a:pt x="690" y="329"/>
                  </a:lnTo>
                  <a:lnTo>
                    <a:pt x="690" y="329"/>
                  </a:lnTo>
                  <a:lnTo>
                    <a:pt x="688" y="329"/>
                  </a:lnTo>
                  <a:lnTo>
                    <a:pt x="688" y="332"/>
                  </a:lnTo>
                  <a:lnTo>
                    <a:pt x="688" y="334"/>
                  </a:lnTo>
                  <a:lnTo>
                    <a:pt x="686" y="336"/>
                  </a:lnTo>
                  <a:lnTo>
                    <a:pt x="686" y="334"/>
                  </a:lnTo>
                  <a:lnTo>
                    <a:pt x="686" y="336"/>
                  </a:lnTo>
                  <a:lnTo>
                    <a:pt x="684" y="336"/>
                  </a:lnTo>
                  <a:lnTo>
                    <a:pt x="684" y="336"/>
                  </a:lnTo>
                  <a:lnTo>
                    <a:pt x="684" y="338"/>
                  </a:lnTo>
                  <a:lnTo>
                    <a:pt x="682" y="336"/>
                  </a:lnTo>
                  <a:lnTo>
                    <a:pt x="682" y="336"/>
                  </a:lnTo>
                  <a:lnTo>
                    <a:pt x="682" y="338"/>
                  </a:lnTo>
                  <a:lnTo>
                    <a:pt x="682" y="338"/>
                  </a:lnTo>
                  <a:lnTo>
                    <a:pt x="680" y="338"/>
                  </a:lnTo>
                  <a:lnTo>
                    <a:pt x="680" y="340"/>
                  </a:lnTo>
                  <a:lnTo>
                    <a:pt x="680" y="340"/>
                  </a:lnTo>
                  <a:lnTo>
                    <a:pt x="680" y="340"/>
                  </a:lnTo>
                  <a:lnTo>
                    <a:pt x="672" y="340"/>
                  </a:lnTo>
                  <a:lnTo>
                    <a:pt x="672" y="340"/>
                  </a:lnTo>
                  <a:lnTo>
                    <a:pt x="670" y="340"/>
                  </a:lnTo>
                  <a:lnTo>
                    <a:pt x="670" y="338"/>
                  </a:lnTo>
                  <a:lnTo>
                    <a:pt x="670" y="338"/>
                  </a:lnTo>
                  <a:lnTo>
                    <a:pt x="668" y="338"/>
                  </a:lnTo>
                  <a:lnTo>
                    <a:pt x="668" y="338"/>
                  </a:lnTo>
                  <a:lnTo>
                    <a:pt x="668" y="340"/>
                  </a:lnTo>
                  <a:lnTo>
                    <a:pt x="668" y="340"/>
                  </a:lnTo>
                  <a:lnTo>
                    <a:pt x="666" y="338"/>
                  </a:lnTo>
                  <a:lnTo>
                    <a:pt x="666" y="338"/>
                  </a:lnTo>
                  <a:lnTo>
                    <a:pt x="666" y="338"/>
                  </a:lnTo>
                  <a:lnTo>
                    <a:pt x="666" y="338"/>
                  </a:lnTo>
                  <a:lnTo>
                    <a:pt x="664" y="338"/>
                  </a:lnTo>
                  <a:lnTo>
                    <a:pt x="662" y="338"/>
                  </a:lnTo>
                  <a:lnTo>
                    <a:pt x="664" y="336"/>
                  </a:lnTo>
                  <a:lnTo>
                    <a:pt x="662" y="334"/>
                  </a:lnTo>
                  <a:lnTo>
                    <a:pt x="662" y="334"/>
                  </a:lnTo>
                  <a:lnTo>
                    <a:pt x="660" y="332"/>
                  </a:lnTo>
                  <a:lnTo>
                    <a:pt x="658" y="332"/>
                  </a:lnTo>
                  <a:lnTo>
                    <a:pt x="658" y="332"/>
                  </a:lnTo>
                  <a:lnTo>
                    <a:pt x="656" y="332"/>
                  </a:lnTo>
                  <a:lnTo>
                    <a:pt x="656" y="334"/>
                  </a:lnTo>
                  <a:lnTo>
                    <a:pt x="656" y="334"/>
                  </a:lnTo>
                  <a:lnTo>
                    <a:pt x="654" y="334"/>
                  </a:lnTo>
                  <a:lnTo>
                    <a:pt x="654" y="334"/>
                  </a:lnTo>
                  <a:lnTo>
                    <a:pt x="652" y="336"/>
                  </a:lnTo>
                  <a:lnTo>
                    <a:pt x="650" y="336"/>
                  </a:lnTo>
                  <a:lnTo>
                    <a:pt x="650" y="336"/>
                  </a:lnTo>
                  <a:lnTo>
                    <a:pt x="647" y="338"/>
                  </a:lnTo>
                  <a:lnTo>
                    <a:pt x="647" y="338"/>
                  </a:lnTo>
                  <a:lnTo>
                    <a:pt x="647" y="338"/>
                  </a:lnTo>
                  <a:lnTo>
                    <a:pt x="645" y="338"/>
                  </a:lnTo>
                  <a:lnTo>
                    <a:pt x="643" y="338"/>
                  </a:lnTo>
                  <a:lnTo>
                    <a:pt x="641" y="338"/>
                  </a:lnTo>
                  <a:lnTo>
                    <a:pt x="641" y="342"/>
                  </a:lnTo>
                  <a:lnTo>
                    <a:pt x="641" y="342"/>
                  </a:lnTo>
                  <a:lnTo>
                    <a:pt x="641" y="342"/>
                  </a:lnTo>
                  <a:lnTo>
                    <a:pt x="639" y="342"/>
                  </a:lnTo>
                  <a:lnTo>
                    <a:pt x="639" y="342"/>
                  </a:lnTo>
                  <a:lnTo>
                    <a:pt x="639" y="342"/>
                  </a:lnTo>
                  <a:lnTo>
                    <a:pt x="639" y="342"/>
                  </a:lnTo>
                  <a:lnTo>
                    <a:pt x="637" y="342"/>
                  </a:lnTo>
                  <a:lnTo>
                    <a:pt x="635" y="344"/>
                  </a:lnTo>
                  <a:lnTo>
                    <a:pt x="635" y="342"/>
                  </a:lnTo>
                  <a:lnTo>
                    <a:pt x="629" y="340"/>
                  </a:lnTo>
                  <a:lnTo>
                    <a:pt x="629" y="338"/>
                  </a:lnTo>
                  <a:lnTo>
                    <a:pt x="627" y="338"/>
                  </a:lnTo>
                  <a:lnTo>
                    <a:pt x="627" y="340"/>
                  </a:lnTo>
                  <a:lnTo>
                    <a:pt x="625" y="340"/>
                  </a:lnTo>
                  <a:lnTo>
                    <a:pt x="625" y="342"/>
                  </a:lnTo>
                  <a:lnTo>
                    <a:pt x="625" y="342"/>
                  </a:lnTo>
                  <a:lnTo>
                    <a:pt x="623" y="342"/>
                  </a:lnTo>
                  <a:lnTo>
                    <a:pt x="621" y="344"/>
                  </a:lnTo>
                  <a:lnTo>
                    <a:pt x="619" y="344"/>
                  </a:lnTo>
                  <a:lnTo>
                    <a:pt x="617" y="344"/>
                  </a:lnTo>
                  <a:lnTo>
                    <a:pt x="613" y="344"/>
                  </a:lnTo>
                  <a:lnTo>
                    <a:pt x="611" y="346"/>
                  </a:lnTo>
                  <a:lnTo>
                    <a:pt x="611" y="346"/>
                  </a:lnTo>
                  <a:lnTo>
                    <a:pt x="609" y="346"/>
                  </a:lnTo>
                  <a:lnTo>
                    <a:pt x="609" y="348"/>
                  </a:lnTo>
                  <a:lnTo>
                    <a:pt x="607" y="350"/>
                  </a:lnTo>
                  <a:lnTo>
                    <a:pt x="607" y="352"/>
                  </a:lnTo>
                  <a:lnTo>
                    <a:pt x="604" y="354"/>
                  </a:lnTo>
                  <a:lnTo>
                    <a:pt x="602" y="354"/>
                  </a:lnTo>
                  <a:lnTo>
                    <a:pt x="598" y="354"/>
                  </a:lnTo>
                  <a:lnTo>
                    <a:pt x="596" y="354"/>
                  </a:lnTo>
                  <a:lnTo>
                    <a:pt x="596" y="354"/>
                  </a:lnTo>
                  <a:lnTo>
                    <a:pt x="596" y="356"/>
                  </a:lnTo>
                  <a:lnTo>
                    <a:pt x="596" y="358"/>
                  </a:lnTo>
                  <a:lnTo>
                    <a:pt x="592" y="360"/>
                  </a:lnTo>
                  <a:lnTo>
                    <a:pt x="590" y="358"/>
                  </a:lnTo>
                  <a:lnTo>
                    <a:pt x="588" y="354"/>
                  </a:lnTo>
                  <a:lnTo>
                    <a:pt x="586" y="352"/>
                  </a:lnTo>
                  <a:lnTo>
                    <a:pt x="584" y="352"/>
                  </a:lnTo>
                  <a:lnTo>
                    <a:pt x="578" y="352"/>
                  </a:lnTo>
                  <a:lnTo>
                    <a:pt x="578" y="352"/>
                  </a:lnTo>
                  <a:lnTo>
                    <a:pt x="576" y="350"/>
                  </a:lnTo>
                  <a:lnTo>
                    <a:pt x="576" y="350"/>
                  </a:lnTo>
                  <a:lnTo>
                    <a:pt x="576" y="348"/>
                  </a:lnTo>
                  <a:lnTo>
                    <a:pt x="576" y="348"/>
                  </a:lnTo>
                  <a:lnTo>
                    <a:pt x="574" y="348"/>
                  </a:lnTo>
                  <a:lnTo>
                    <a:pt x="574" y="348"/>
                  </a:lnTo>
                  <a:lnTo>
                    <a:pt x="570" y="346"/>
                  </a:lnTo>
                  <a:lnTo>
                    <a:pt x="570" y="346"/>
                  </a:lnTo>
                  <a:lnTo>
                    <a:pt x="568" y="346"/>
                  </a:lnTo>
                  <a:lnTo>
                    <a:pt x="568" y="344"/>
                  </a:lnTo>
                  <a:lnTo>
                    <a:pt x="568" y="344"/>
                  </a:lnTo>
                  <a:lnTo>
                    <a:pt x="568" y="344"/>
                  </a:lnTo>
                  <a:lnTo>
                    <a:pt x="568" y="342"/>
                  </a:lnTo>
                  <a:lnTo>
                    <a:pt x="570" y="342"/>
                  </a:lnTo>
                  <a:lnTo>
                    <a:pt x="570" y="340"/>
                  </a:lnTo>
                  <a:lnTo>
                    <a:pt x="568" y="340"/>
                  </a:lnTo>
                  <a:lnTo>
                    <a:pt x="566" y="338"/>
                  </a:lnTo>
                  <a:lnTo>
                    <a:pt x="563" y="338"/>
                  </a:lnTo>
                  <a:lnTo>
                    <a:pt x="563" y="338"/>
                  </a:lnTo>
                  <a:lnTo>
                    <a:pt x="563" y="338"/>
                  </a:lnTo>
                  <a:lnTo>
                    <a:pt x="563" y="340"/>
                  </a:lnTo>
                  <a:lnTo>
                    <a:pt x="561" y="340"/>
                  </a:lnTo>
                  <a:lnTo>
                    <a:pt x="561" y="344"/>
                  </a:lnTo>
                  <a:lnTo>
                    <a:pt x="561" y="344"/>
                  </a:lnTo>
                  <a:lnTo>
                    <a:pt x="561" y="344"/>
                  </a:lnTo>
                  <a:lnTo>
                    <a:pt x="559" y="344"/>
                  </a:lnTo>
                  <a:lnTo>
                    <a:pt x="559" y="346"/>
                  </a:lnTo>
                  <a:lnTo>
                    <a:pt x="559" y="346"/>
                  </a:lnTo>
                  <a:lnTo>
                    <a:pt x="557" y="346"/>
                  </a:lnTo>
                  <a:lnTo>
                    <a:pt x="557" y="346"/>
                  </a:lnTo>
                  <a:lnTo>
                    <a:pt x="555" y="346"/>
                  </a:lnTo>
                  <a:lnTo>
                    <a:pt x="555" y="346"/>
                  </a:lnTo>
                  <a:lnTo>
                    <a:pt x="555" y="346"/>
                  </a:lnTo>
                  <a:lnTo>
                    <a:pt x="551" y="344"/>
                  </a:lnTo>
                  <a:lnTo>
                    <a:pt x="551" y="344"/>
                  </a:lnTo>
                  <a:lnTo>
                    <a:pt x="551" y="344"/>
                  </a:lnTo>
                  <a:lnTo>
                    <a:pt x="547" y="344"/>
                  </a:lnTo>
                  <a:lnTo>
                    <a:pt x="547" y="344"/>
                  </a:lnTo>
                  <a:lnTo>
                    <a:pt x="545" y="344"/>
                  </a:lnTo>
                  <a:lnTo>
                    <a:pt x="545" y="344"/>
                  </a:lnTo>
                  <a:lnTo>
                    <a:pt x="543" y="342"/>
                  </a:lnTo>
                  <a:lnTo>
                    <a:pt x="543" y="342"/>
                  </a:lnTo>
                  <a:lnTo>
                    <a:pt x="543" y="340"/>
                  </a:lnTo>
                  <a:lnTo>
                    <a:pt x="543" y="338"/>
                  </a:lnTo>
                  <a:lnTo>
                    <a:pt x="541" y="336"/>
                  </a:lnTo>
                  <a:lnTo>
                    <a:pt x="541" y="336"/>
                  </a:lnTo>
                  <a:lnTo>
                    <a:pt x="541" y="336"/>
                  </a:lnTo>
                  <a:lnTo>
                    <a:pt x="539" y="336"/>
                  </a:lnTo>
                  <a:lnTo>
                    <a:pt x="539" y="336"/>
                  </a:lnTo>
                  <a:lnTo>
                    <a:pt x="539" y="336"/>
                  </a:lnTo>
                  <a:lnTo>
                    <a:pt x="535" y="336"/>
                  </a:lnTo>
                  <a:lnTo>
                    <a:pt x="535" y="336"/>
                  </a:lnTo>
                  <a:lnTo>
                    <a:pt x="535" y="336"/>
                  </a:lnTo>
                  <a:lnTo>
                    <a:pt x="533" y="336"/>
                  </a:lnTo>
                  <a:lnTo>
                    <a:pt x="533" y="338"/>
                  </a:lnTo>
                  <a:lnTo>
                    <a:pt x="533" y="340"/>
                  </a:lnTo>
                  <a:lnTo>
                    <a:pt x="533" y="344"/>
                  </a:lnTo>
                  <a:lnTo>
                    <a:pt x="531" y="346"/>
                  </a:lnTo>
                  <a:lnTo>
                    <a:pt x="529" y="346"/>
                  </a:lnTo>
                  <a:lnTo>
                    <a:pt x="525" y="346"/>
                  </a:lnTo>
                  <a:lnTo>
                    <a:pt x="525" y="348"/>
                  </a:lnTo>
                  <a:lnTo>
                    <a:pt x="527" y="348"/>
                  </a:lnTo>
                  <a:lnTo>
                    <a:pt x="527" y="348"/>
                  </a:lnTo>
                  <a:lnTo>
                    <a:pt x="527" y="350"/>
                  </a:lnTo>
                  <a:lnTo>
                    <a:pt x="527" y="350"/>
                  </a:lnTo>
                  <a:lnTo>
                    <a:pt x="525" y="352"/>
                  </a:lnTo>
                  <a:lnTo>
                    <a:pt x="525" y="352"/>
                  </a:lnTo>
                  <a:lnTo>
                    <a:pt x="525" y="356"/>
                  </a:lnTo>
                  <a:lnTo>
                    <a:pt x="525" y="358"/>
                  </a:lnTo>
                  <a:lnTo>
                    <a:pt x="523" y="360"/>
                  </a:lnTo>
                  <a:lnTo>
                    <a:pt x="520" y="360"/>
                  </a:lnTo>
                  <a:lnTo>
                    <a:pt x="516" y="358"/>
                  </a:lnTo>
                  <a:lnTo>
                    <a:pt x="516" y="356"/>
                  </a:lnTo>
                  <a:lnTo>
                    <a:pt x="514" y="354"/>
                  </a:lnTo>
                  <a:lnTo>
                    <a:pt x="514" y="352"/>
                  </a:lnTo>
                  <a:lnTo>
                    <a:pt x="514" y="350"/>
                  </a:lnTo>
                  <a:lnTo>
                    <a:pt x="516" y="346"/>
                  </a:lnTo>
                  <a:lnTo>
                    <a:pt x="516" y="344"/>
                  </a:lnTo>
                  <a:lnTo>
                    <a:pt x="516" y="344"/>
                  </a:lnTo>
                  <a:lnTo>
                    <a:pt x="514" y="342"/>
                  </a:lnTo>
                  <a:lnTo>
                    <a:pt x="514" y="342"/>
                  </a:lnTo>
                  <a:lnTo>
                    <a:pt x="512" y="340"/>
                  </a:lnTo>
                  <a:lnTo>
                    <a:pt x="512" y="340"/>
                  </a:lnTo>
                  <a:lnTo>
                    <a:pt x="512" y="342"/>
                  </a:lnTo>
                  <a:lnTo>
                    <a:pt x="510" y="342"/>
                  </a:lnTo>
                  <a:lnTo>
                    <a:pt x="510" y="342"/>
                  </a:lnTo>
                  <a:lnTo>
                    <a:pt x="510" y="344"/>
                  </a:lnTo>
                  <a:lnTo>
                    <a:pt x="508" y="346"/>
                  </a:lnTo>
                  <a:lnTo>
                    <a:pt x="508" y="346"/>
                  </a:lnTo>
                  <a:lnTo>
                    <a:pt x="506" y="344"/>
                  </a:lnTo>
                  <a:lnTo>
                    <a:pt x="504" y="344"/>
                  </a:lnTo>
                  <a:lnTo>
                    <a:pt x="504" y="346"/>
                  </a:lnTo>
                  <a:lnTo>
                    <a:pt x="502" y="346"/>
                  </a:lnTo>
                  <a:lnTo>
                    <a:pt x="502" y="346"/>
                  </a:lnTo>
                  <a:lnTo>
                    <a:pt x="502" y="346"/>
                  </a:lnTo>
                  <a:lnTo>
                    <a:pt x="502" y="348"/>
                  </a:lnTo>
                  <a:lnTo>
                    <a:pt x="500" y="348"/>
                  </a:lnTo>
                  <a:lnTo>
                    <a:pt x="500" y="348"/>
                  </a:lnTo>
                  <a:lnTo>
                    <a:pt x="500" y="350"/>
                  </a:lnTo>
                  <a:lnTo>
                    <a:pt x="498" y="350"/>
                  </a:lnTo>
                  <a:lnTo>
                    <a:pt x="494" y="350"/>
                  </a:lnTo>
                  <a:lnTo>
                    <a:pt x="492" y="350"/>
                  </a:lnTo>
                  <a:lnTo>
                    <a:pt x="492" y="346"/>
                  </a:lnTo>
                  <a:lnTo>
                    <a:pt x="490" y="344"/>
                  </a:lnTo>
                  <a:lnTo>
                    <a:pt x="490" y="344"/>
                  </a:lnTo>
                  <a:lnTo>
                    <a:pt x="488" y="342"/>
                  </a:lnTo>
                  <a:lnTo>
                    <a:pt x="486" y="342"/>
                  </a:lnTo>
                  <a:lnTo>
                    <a:pt x="482" y="342"/>
                  </a:lnTo>
                  <a:lnTo>
                    <a:pt x="480" y="342"/>
                  </a:lnTo>
                  <a:lnTo>
                    <a:pt x="480" y="340"/>
                  </a:lnTo>
                  <a:lnTo>
                    <a:pt x="480" y="336"/>
                  </a:lnTo>
                  <a:lnTo>
                    <a:pt x="477" y="334"/>
                  </a:lnTo>
                  <a:lnTo>
                    <a:pt x="473" y="332"/>
                  </a:lnTo>
                  <a:lnTo>
                    <a:pt x="471" y="334"/>
                  </a:lnTo>
                  <a:lnTo>
                    <a:pt x="467" y="336"/>
                  </a:lnTo>
                  <a:lnTo>
                    <a:pt x="461" y="344"/>
                  </a:lnTo>
                  <a:lnTo>
                    <a:pt x="457" y="346"/>
                  </a:lnTo>
                  <a:lnTo>
                    <a:pt x="453" y="346"/>
                  </a:lnTo>
                  <a:lnTo>
                    <a:pt x="449" y="346"/>
                  </a:lnTo>
                  <a:lnTo>
                    <a:pt x="447" y="344"/>
                  </a:lnTo>
                  <a:lnTo>
                    <a:pt x="447" y="344"/>
                  </a:lnTo>
                  <a:lnTo>
                    <a:pt x="447" y="342"/>
                  </a:lnTo>
                  <a:lnTo>
                    <a:pt x="447" y="342"/>
                  </a:lnTo>
                  <a:lnTo>
                    <a:pt x="447" y="340"/>
                  </a:lnTo>
                  <a:lnTo>
                    <a:pt x="447" y="338"/>
                  </a:lnTo>
                  <a:lnTo>
                    <a:pt x="447" y="338"/>
                  </a:lnTo>
                  <a:lnTo>
                    <a:pt x="447" y="336"/>
                  </a:lnTo>
                  <a:lnTo>
                    <a:pt x="447" y="336"/>
                  </a:lnTo>
                  <a:lnTo>
                    <a:pt x="447" y="334"/>
                  </a:lnTo>
                  <a:lnTo>
                    <a:pt x="447" y="334"/>
                  </a:lnTo>
                  <a:lnTo>
                    <a:pt x="445" y="334"/>
                  </a:lnTo>
                  <a:lnTo>
                    <a:pt x="443" y="332"/>
                  </a:lnTo>
                  <a:lnTo>
                    <a:pt x="439" y="332"/>
                  </a:lnTo>
                  <a:lnTo>
                    <a:pt x="434" y="329"/>
                  </a:lnTo>
                  <a:lnTo>
                    <a:pt x="434" y="325"/>
                  </a:lnTo>
                  <a:lnTo>
                    <a:pt x="432" y="323"/>
                  </a:lnTo>
                  <a:lnTo>
                    <a:pt x="434" y="321"/>
                  </a:lnTo>
                  <a:lnTo>
                    <a:pt x="434" y="317"/>
                  </a:lnTo>
                  <a:lnTo>
                    <a:pt x="432" y="317"/>
                  </a:lnTo>
                  <a:lnTo>
                    <a:pt x="430" y="317"/>
                  </a:lnTo>
                  <a:lnTo>
                    <a:pt x="426" y="317"/>
                  </a:lnTo>
                  <a:lnTo>
                    <a:pt x="422" y="319"/>
                  </a:lnTo>
                  <a:lnTo>
                    <a:pt x="412" y="317"/>
                  </a:lnTo>
                  <a:lnTo>
                    <a:pt x="410" y="317"/>
                  </a:lnTo>
                  <a:lnTo>
                    <a:pt x="408" y="319"/>
                  </a:lnTo>
                  <a:lnTo>
                    <a:pt x="406" y="321"/>
                  </a:lnTo>
                  <a:lnTo>
                    <a:pt x="406" y="323"/>
                  </a:lnTo>
                  <a:lnTo>
                    <a:pt x="404" y="323"/>
                  </a:lnTo>
                  <a:lnTo>
                    <a:pt x="402" y="325"/>
                  </a:lnTo>
                  <a:lnTo>
                    <a:pt x="398" y="325"/>
                  </a:lnTo>
                  <a:lnTo>
                    <a:pt x="398" y="323"/>
                  </a:lnTo>
                  <a:lnTo>
                    <a:pt x="394" y="321"/>
                  </a:lnTo>
                  <a:lnTo>
                    <a:pt x="391" y="319"/>
                  </a:lnTo>
                  <a:lnTo>
                    <a:pt x="391" y="319"/>
                  </a:lnTo>
                  <a:lnTo>
                    <a:pt x="389" y="317"/>
                  </a:lnTo>
                  <a:lnTo>
                    <a:pt x="389" y="315"/>
                  </a:lnTo>
                  <a:lnTo>
                    <a:pt x="387" y="315"/>
                  </a:lnTo>
                  <a:lnTo>
                    <a:pt x="385" y="315"/>
                  </a:lnTo>
                  <a:lnTo>
                    <a:pt x="383" y="315"/>
                  </a:lnTo>
                  <a:lnTo>
                    <a:pt x="377" y="319"/>
                  </a:lnTo>
                  <a:lnTo>
                    <a:pt x="377" y="317"/>
                  </a:lnTo>
                  <a:lnTo>
                    <a:pt x="365" y="315"/>
                  </a:lnTo>
                  <a:lnTo>
                    <a:pt x="363" y="315"/>
                  </a:lnTo>
                  <a:lnTo>
                    <a:pt x="357" y="311"/>
                  </a:lnTo>
                  <a:lnTo>
                    <a:pt x="355" y="311"/>
                  </a:lnTo>
                  <a:lnTo>
                    <a:pt x="353" y="311"/>
                  </a:lnTo>
                  <a:lnTo>
                    <a:pt x="353" y="311"/>
                  </a:lnTo>
                  <a:lnTo>
                    <a:pt x="351" y="311"/>
                  </a:lnTo>
                  <a:lnTo>
                    <a:pt x="348" y="311"/>
                  </a:lnTo>
                  <a:lnTo>
                    <a:pt x="344" y="311"/>
                  </a:lnTo>
                  <a:lnTo>
                    <a:pt x="342" y="309"/>
                  </a:lnTo>
                  <a:lnTo>
                    <a:pt x="338" y="311"/>
                  </a:lnTo>
                  <a:lnTo>
                    <a:pt x="336" y="309"/>
                  </a:lnTo>
                  <a:lnTo>
                    <a:pt x="334" y="309"/>
                  </a:lnTo>
                  <a:lnTo>
                    <a:pt x="334" y="307"/>
                  </a:lnTo>
                  <a:lnTo>
                    <a:pt x="334" y="301"/>
                  </a:lnTo>
                  <a:lnTo>
                    <a:pt x="334" y="299"/>
                  </a:lnTo>
                  <a:lnTo>
                    <a:pt x="334" y="299"/>
                  </a:lnTo>
                  <a:lnTo>
                    <a:pt x="334" y="297"/>
                  </a:lnTo>
                  <a:lnTo>
                    <a:pt x="330" y="295"/>
                  </a:lnTo>
                  <a:lnTo>
                    <a:pt x="330" y="293"/>
                  </a:lnTo>
                  <a:lnTo>
                    <a:pt x="330" y="291"/>
                  </a:lnTo>
                  <a:lnTo>
                    <a:pt x="328" y="288"/>
                  </a:lnTo>
                  <a:lnTo>
                    <a:pt x="326" y="288"/>
                  </a:lnTo>
                  <a:lnTo>
                    <a:pt x="326" y="288"/>
                  </a:lnTo>
                  <a:lnTo>
                    <a:pt x="324" y="288"/>
                  </a:lnTo>
                  <a:lnTo>
                    <a:pt x="324" y="288"/>
                  </a:lnTo>
                  <a:lnTo>
                    <a:pt x="322" y="286"/>
                  </a:lnTo>
                  <a:lnTo>
                    <a:pt x="322" y="286"/>
                  </a:lnTo>
                  <a:lnTo>
                    <a:pt x="322" y="286"/>
                  </a:lnTo>
                  <a:lnTo>
                    <a:pt x="322" y="284"/>
                  </a:lnTo>
                  <a:lnTo>
                    <a:pt x="320" y="284"/>
                  </a:lnTo>
                  <a:lnTo>
                    <a:pt x="318" y="284"/>
                  </a:lnTo>
                  <a:lnTo>
                    <a:pt x="318" y="284"/>
                  </a:lnTo>
                  <a:lnTo>
                    <a:pt x="318" y="291"/>
                  </a:lnTo>
                  <a:lnTo>
                    <a:pt x="316" y="293"/>
                  </a:lnTo>
                  <a:lnTo>
                    <a:pt x="316" y="293"/>
                  </a:lnTo>
                  <a:lnTo>
                    <a:pt x="314" y="293"/>
                  </a:lnTo>
                  <a:lnTo>
                    <a:pt x="312" y="293"/>
                  </a:lnTo>
                  <a:lnTo>
                    <a:pt x="307" y="291"/>
                  </a:lnTo>
                  <a:lnTo>
                    <a:pt x="303" y="288"/>
                  </a:lnTo>
                  <a:lnTo>
                    <a:pt x="303" y="288"/>
                  </a:lnTo>
                  <a:lnTo>
                    <a:pt x="301" y="291"/>
                  </a:lnTo>
                  <a:lnTo>
                    <a:pt x="301" y="291"/>
                  </a:lnTo>
                  <a:lnTo>
                    <a:pt x="299" y="293"/>
                  </a:lnTo>
                  <a:lnTo>
                    <a:pt x="299" y="293"/>
                  </a:lnTo>
                  <a:lnTo>
                    <a:pt x="293" y="293"/>
                  </a:lnTo>
                  <a:lnTo>
                    <a:pt x="291" y="291"/>
                  </a:lnTo>
                  <a:lnTo>
                    <a:pt x="291" y="291"/>
                  </a:lnTo>
                  <a:lnTo>
                    <a:pt x="289" y="286"/>
                  </a:lnTo>
                  <a:lnTo>
                    <a:pt x="273" y="272"/>
                  </a:lnTo>
                  <a:lnTo>
                    <a:pt x="273" y="272"/>
                  </a:lnTo>
                  <a:lnTo>
                    <a:pt x="271" y="272"/>
                  </a:lnTo>
                  <a:lnTo>
                    <a:pt x="271" y="272"/>
                  </a:lnTo>
                  <a:lnTo>
                    <a:pt x="269" y="270"/>
                  </a:lnTo>
                  <a:lnTo>
                    <a:pt x="264" y="272"/>
                  </a:lnTo>
                  <a:lnTo>
                    <a:pt x="262" y="272"/>
                  </a:lnTo>
                  <a:lnTo>
                    <a:pt x="262" y="270"/>
                  </a:lnTo>
                  <a:lnTo>
                    <a:pt x="262" y="266"/>
                  </a:lnTo>
                  <a:lnTo>
                    <a:pt x="262" y="254"/>
                  </a:lnTo>
                  <a:lnTo>
                    <a:pt x="262" y="241"/>
                  </a:lnTo>
                  <a:lnTo>
                    <a:pt x="262" y="229"/>
                  </a:lnTo>
                  <a:lnTo>
                    <a:pt x="262" y="217"/>
                  </a:lnTo>
                  <a:lnTo>
                    <a:pt x="262" y="204"/>
                  </a:lnTo>
                  <a:lnTo>
                    <a:pt x="262" y="192"/>
                  </a:lnTo>
                  <a:lnTo>
                    <a:pt x="262" y="180"/>
                  </a:lnTo>
                  <a:lnTo>
                    <a:pt x="262" y="168"/>
                  </a:lnTo>
                  <a:lnTo>
                    <a:pt x="262" y="155"/>
                  </a:lnTo>
                  <a:lnTo>
                    <a:pt x="262" y="143"/>
                  </a:lnTo>
                  <a:lnTo>
                    <a:pt x="262" y="131"/>
                  </a:lnTo>
                  <a:lnTo>
                    <a:pt x="262" y="118"/>
                  </a:lnTo>
                  <a:lnTo>
                    <a:pt x="262" y="106"/>
                  </a:lnTo>
                  <a:lnTo>
                    <a:pt x="262" y="94"/>
                  </a:lnTo>
                  <a:lnTo>
                    <a:pt x="262" y="82"/>
                  </a:lnTo>
                  <a:lnTo>
                    <a:pt x="262" y="69"/>
                  </a:lnTo>
                  <a:lnTo>
                    <a:pt x="262" y="65"/>
                  </a:lnTo>
                  <a:lnTo>
                    <a:pt x="262" y="65"/>
                  </a:lnTo>
                  <a:lnTo>
                    <a:pt x="256" y="65"/>
                  </a:lnTo>
                  <a:lnTo>
                    <a:pt x="254" y="65"/>
                  </a:lnTo>
                  <a:lnTo>
                    <a:pt x="246" y="65"/>
                  </a:lnTo>
                  <a:lnTo>
                    <a:pt x="234" y="65"/>
                  </a:lnTo>
                  <a:lnTo>
                    <a:pt x="217" y="65"/>
                  </a:lnTo>
                  <a:lnTo>
                    <a:pt x="197" y="65"/>
                  </a:lnTo>
                  <a:lnTo>
                    <a:pt x="176" y="63"/>
                  </a:lnTo>
                  <a:lnTo>
                    <a:pt x="154" y="63"/>
                  </a:lnTo>
                  <a:lnTo>
                    <a:pt x="129" y="63"/>
                  </a:lnTo>
                  <a:lnTo>
                    <a:pt x="105" y="63"/>
                  </a:lnTo>
                  <a:lnTo>
                    <a:pt x="82" y="63"/>
                  </a:lnTo>
                  <a:lnTo>
                    <a:pt x="60" y="63"/>
                  </a:lnTo>
                  <a:lnTo>
                    <a:pt x="41" y="61"/>
                  </a:lnTo>
                  <a:lnTo>
                    <a:pt x="25" y="61"/>
                  </a:lnTo>
                  <a:lnTo>
                    <a:pt x="13" y="61"/>
                  </a:lnTo>
                  <a:lnTo>
                    <a:pt x="4" y="61"/>
                  </a:lnTo>
                  <a:lnTo>
                    <a:pt x="0" y="61"/>
                  </a:lnTo>
                  <a:lnTo>
                    <a:pt x="2" y="47"/>
                  </a:lnTo>
                  <a:lnTo>
                    <a:pt x="2" y="34"/>
                  </a:lnTo>
                  <a:lnTo>
                    <a:pt x="2" y="20"/>
                  </a:lnTo>
                  <a:lnTo>
                    <a:pt x="2" y="8"/>
                  </a:lnTo>
                  <a:lnTo>
                    <a:pt x="13" y="8"/>
                  </a:lnTo>
                  <a:lnTo>
                    <a:pt x="25" y="8"/>
                  </a:lnTo>
                  <a:lnTo>
                    <a:pt x="35" y="8"/>
                  </a:lnTo>
                  <a:lnTo>
                    <a:pt x="45" y="8"/>
                  </a:lnTo>
                  <a:lnTo>
                    <a:pt x="56" y="8"/>
                  </a:lnTo>
                  <a:lnTo>
                    <a:pt x="68" y="8"/>
                  </a:lnTo>
                  <a:lnTo>
                    <a:pt x="78" y="10"/>
                  </a:lnTo>
                  <a:lnTo>
                    <a:pt x="88" y="10"/>
                  </a:lnTo>
                  <a:lnTo>
                    <a:pt x="109" y="10"/>
                  </a:lnTo>
                  <a:lnTo>
                    <a:pt x="129" y="10"/>
                  </a:lnTo>
                  <a:lnTo>
                    <a:pt x="148" y="10"/>
                  </a:lnTo>
                  <a:lnTo>
                    <a:pt x="168" y="10"/>
                  </a:lnTo>
                  <a:lnTo>
                    <a:pt x="189" y="10"/>
                  </a:lnTo>
                  <a:lnTo>
                    <a:pt x="209" y="10"/>
                  </a:lnTo>
                  <a:lnTo>
                    <a:pt x="228" y="10"/>
                  </a:lnTo>
                  <a:lnTo>
                    <a:pt x="248" y="10"/>
                  </a:lnTo>
                  <a:lnTo>
                    <a:pt x="269" y="10"/>
                  </a:lnTo>
                  <a:lnTo>
                    <a:pt x="289" y="10"/>
                  </a:lnTo>
                  <a:lnTo>
                    <a:pt x="310" y="10"/>
                  </a:lnTo>
                  <a:lnTo>
                    <a:pt x="328" y="10"/>
                  </a:lnTo>
                  <a:lnTo>
                    <a:pt x="348" y="10"/>
                  </a:lnTo>
                  <a:lnTo>
                    <a:pt x="369" y="10"/>
                  </a:lnTo>
                  <a:lnTo>
                    <a:pt x="389" y="10"/>
                  </a:lnTo>
                  <a:lnTo>
                    <a:pt x="410" y="10"/>
                  </a:lnTo>
                  <a:lnTo>
                    <a:pt x="428" y="10"/>
                  </a:lnTo>
                  <a:lnTo>
                    <a:pt x="449" y="10"/>
                  </a:lnTo>
                  <a:lnTo>
                    <a:pt x="469" y="8"/>
                  </a:lnTo>
                  <a:lnTo>
                    <a:pt x="490" y="8"/>
                  </a:lnTo>
                  <a:lnTo>
                    <a:pt x="508" y="8"/>
                  </a:lnTo>
                  <a:lnTo>
                    <a:pt x="529" y="8"/>
                  </a:lnTo>
                  <a:lnTo>
                    <a:pt x="549" y="6"/>
                  </a:lnTo>
                  <a:lnTo>
                    <a:pt x="570" y="6"/>
                  </a:lnTo>
                  <a:lnTo>
                    <a:pt x="590" y="6"/>
                  </a:lnTo>
                  <a:lnTo>
                    <a:pt x="609" y="4"/>
                  </a:lnTo>
                  <a:lnTo>
                    <a:pt x="629" y="4"/>
                  </a:lnTo>
                  <a:lnTo>
                    <a:pt x="650" y="4"/>
                  </a:lnTo>
                  <a:lnTo>
                    <a:pt x="670" y="2"/>
                  </a:lnTo>
                  <a:lnTo>
                    <a:pt x="688" y="2"/>
                  </a:lnTo>
                  <a:lnTo>
                    <a:pt x="709" y="0"/>
                  </a:lnTo>
                  <a:lnTo>
                    <a:pt x="729" y="0"/>
                  </a:lnTo>
                  <a:lnTo>
                    <a:pt x="729" y="12"/>
                  </a:lnTo>
                  <a:lnTo>
                    <a:pt x="731" y="26"/>
                  </a:lnTo>
                  <a:lnTo>
                    <a:pt x="731" y="41"/>
                  </a:lnTo>
                  <a:lnTo>
                    <a:pt x="731" y="53"/>
                  </a:lnTo>
                  <a:lnTo>
                    <a:pt x="731" y="53"/>
                  </a:lnTo>
                  <a:close/>
                </a:path>
              </a:pathLst>
            </a:custGeom>
            <a:solidFill>
              <a:schemeClr val="tx1"/>
            </a:solidFill>
            <a:ln w="3175" cap="rnd">
              <a:solidFill>
                <a:schemeClr val="bg1"/>
              </a:solidFill>
              <a:prstDash val="solid"/>
              <a:round/>
              <a:headEnd/>
              <a:tailEnd/>
            </a:ln>
          </p:spPr>
          <p:txBody>
            <a:bodyPr vert="horz" wrap="square" lIns="38400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OK</a:t>
              </a:r>
            </a:p>
          </p:txBody>
        </p:sp>
        <p:sp>
          <p:nvSpPr>
            <p:cNvPr id="153" name="Freeform 20">
              <a:extLst>
                <a:ext uri="{FF2B5EF4-FFF2-40B4-BE49-F238E27FC236}">
                  <a16:creationId xmlns:a16="http://schemas.microsoft.com/office/drawing/2014/main" id="{0910B21F-E922-B6DE-379A-ADB416E42E42}"/>
                </a:ext>
              </a:extLst>
            </p:cNvPr>
            <p:cNvSpPr>
              <a:spLocks/>
            </p:cNvSpPr>
            <p:nvPr/>
          </p:nvSpPr>
          <p:spPr bwMode="auto">
            <a:xfrm>
              <a:off x="3975" y="771"/>
              <a:ext cx="366" cy="405"/>
            </a:xfrm>
            <a:custGeom>
              <a:avLst/>
              <a:gdLst>
                <a:gd name="T0" fmla="*/ 362 w 366"/>
                <a:gd name="T1" fmla="*/ 118 h 405"/>
                <a:gd name="T2" fmla="*/ 344 w 366"/>
                <a:gd name="T3" fmla="*/ 8 h 405"/>
                <a:gd name="T4" fmla="*/ 313 w 366"/>
                <a:gd name="T5" fmla="*/ 16 h 405"/>
                <a:gd name="T6" fmla="*/ 250 w 366"/>
                <a:gd name="T7" fmla="*/ 67 h 405"/>
                <a:gd name="T8" fmla="*/ 227 w 366"/>
                <a:gd name="T9" fmla="*/ 69 h 405"/>
                <a:gd name="T10" fmla="*/ 196 w 366"/>
                <a:gd name="T11" fmla="*/ 88 h 405"/>
                <a:gd name="T12" fmla="*/ 178 w 366"/>
                <a:gd name="T13" fmla="*/ 82 h 405"/>
                <a:gd name="T14" fmla="*/ 174 w 366"/>
                <a:gd name="T15" fmla="*/ 84 h 405"/>
                <a:gd name="T16" fmla="*/ 161 w 366"/>
                <a:gd name="T17" fmla="*/ 88 h 405"/>
                <a:gd name="T18" fmla="*/ 145 w 366"/>
                <a:gd name="T19" fmla="*/ 88 h 405"/>
                <a:gd name="T20" fmla="*/ 153 w 366"/>
                <a:gd name="T21" fmla="*/ 84 h 405"/>
                <a:gd name="T22" fmla="*/ 174 w 366"/>
                <a:gd name="T23" fmla="*/ 77 h 405"/>
                <a:gd name="T24" fmla="*/ 166 w 366"/>
                <a:gd name="T25" fmla="*/ 75 h 405"/>
                <a:gd name="T26" fmla="*/ 161 w 366"/>
                <a:gd name="T27" fmla="*/ 77 h 405"/>
                <a:gd name="T28" fmla="*/ 143 w 366"/>
                <a:gd name="T29" fmla="*/ 73 h 405"/>
                <a:gd name="T30" fmla="*/ 120 w 366"/>
                <a:gd name="T31" fmla="*/ 65 h 405"/>
                <a:gd name="T32" fmla="*/ 94 w 366"/>
                <a:gd name="T33" fmla="*/ 67 h 405"/>
                <a:gd name="T34" fmla="*/ 41 w 366"/>
                <a:gd name="T35" fmla="*/ 77 h 405"/>
                <a:gd name="T36" fmla="*/ 2 w 366"/>
                <a:gd name="T37" fmla="*/ 102 h 405"/>
                <a:gd name="T38" fmla="*/ 12 w 366"/>
                <a:gd name="T39" fmla="*/ 178 h 405"/>
                <a:gd name="T40" fmla="*/ 22 w 366"/>
                <a:gd name="T41" fmla="*/ 248 h 405"/>
                <a:gd name="T42" fmla="*/ 30 w 366"/>
                <a:gd name="T43" fmla="*/ 317 h 405"/>
                <a:gd name="T44" fmla="*/ 43 w 366"/>
                <a:gd name="T45" fmla="*/ 354 h 405"/>
                <a:gd name="T46" fmla="*/ 63 w 366"/>
                <a:gd name="T47" fmla="*/ 354 h 405"/>
                <a:gd name="T48" fmla="*/ 80 w 366"/>
                <a:gd name="T49" fmla="*/ 360 h 405"/>
                <a:gd name="T50" fmla="*/ 88 w 366"/>
                <a:gd name="T51" fmla="*/ 373 h 405"/>
                <a:gd name="T52" fmla="*/ 104 w 366"/>
                <a:gd name="T53" fmla="*/ 385 h 405"/>
                <a:gd name="T54" fmla="*/ 133 w 366"/>
                <a:gd name="T55" fmla="*/ 393 h 405"/>
                <a:gd name="T56" fmla="*/ 151 w 366"/>
                <a:gd name="T57" fmla="*/ 385 h 405"/>
                <a:gd name="T58" fmla="*/ 166 w 366"/>
                <a:gd name="T59" fmla="*/ 389 h 405"/>
                <a:gd name="T60" fmla="*/ 176 w 366"/>
                <a:gd name="T61" fmla="*/ 391 h 405"/>
                <a:gd name="T62" fmla="*/ 188 w 366"/>
                <a:gd name="T63" fmla="*/ 383 h 405"/>
                <a:gd name="T64" fmla="*/ 202 w 366"/>
                <a:gd name="T65" fmla="*/ 373 h 405"/>
                <a:gd name="T66" fmla="*/ 221 w 366"/>
                <a:gd name="T67" fmla="*/ 391 h 405"/>
                <a:gd name="T68" fmla="*/ 241 w 366"/>
                <a:gd name="T69" fmla="*/ 403 h 405"/>
                <a:gd name="T70" fmla="*/ 260 w 366"/>
                <a:gd name="T71" fmla="*/ 381 h 405"/>
                <a:gd name="T72" fmla="*/ 264 w 366"/>
                <a:gd name="T73" fmla="*/ 371 h 405"/>
                <a:gd name="T74" fmla="*/ 264 w 366"/>
                <a:gd name="T75" fmla="*/ 356 h 405"/>
                <a:gd name="T76" fmla="*/ 272 w 366"/>
                <a:gd name="T77" fmla="*/ 332 h 405"/>
                <a:gd name="T78" fmla="*/ 282 w 366"/>
                <a:gd name="T79" fmla="*/ 340 h 405"/>
                <a:gd name="T80" fmla="*/ 282 w 366"/>
                <a:gd name="T81" fmla="*/ 344 h 405"/>
                <a:gd name="T82" fmla="*/ 288 w 366"/>
                <a:gd name="T83" fmla="*/ 338 h 405"/>
                <a:gd name="T84" fmla="*/ 293 w 366"/>
                <a:gd name="T85" fmla="*/ 334 h 405"/>
                <a:gd name="T86" fmla="*/ 288 w 366"/>
                <a:gd name="T87" fmla="*/ 323 h 405"/>
                <a:gd name="T88" fmla="*/ 293 w 366"/>
                <a:gd name="T89" fmla="*/ 311 h 405"/>
                <a:gd name="T90" fmla="*/ 303 w 366"/>
                <a:gd name="T91" fmla="*/ 299 h 405"/>
                <a:gd name="T92" fmla="*/ 315 w 366"/>
                <a:gd name="T93" fmla="*/ 282 h 405"/>
                <a:gd name="T94" fmla="*/ 329 w 366"/>
                <a:gd name="T95" fmla="*/ 282 h 405"/>
                <a:gd name="T96" fmla="*/ 342 w 366"/>
                <a:gd name="T97" fmla="*/ 268 h 405"/>
                <a:gd name="T98" fmla="*/ 356 w 366"/>
                <a:gd name="T99" fmla="*/ 246 h 405"/>
                <a:gd name="T100" fmla="*/ 354 w 366"/>
                <a:gd name="T101" fmla="*/ 235 h 405"/>
                <a:gd name="T102" fmla="*/ 358 w 366"/>
                <a:gd name="T103" fmla="*/ 225 h 405"/>
                <a:gd name="T104" fmla="*/ 360 w 366"/>
                <a:gd name="T105" fmla="*/ 219 h 405"/>
                <a:gd name="T106" fmla="*/ 360 w 366"/>
                <a:gd name="T107" fmla="*/ 205 h 405"/>
                <a:gd name="T108" fmla="*/ 364 w 366"/>
                <a:gd name="T109" fmla="*/ 182 h 405"/>
                <a:gd name="T110" fmla="*/ 364 w 366"/>
                <a:gd name="T111" fmla="*/ 170 h 405"/>
                <a:gd name="T112" fmla="*/ 364 w 366"/>
                <a:gd name="T113" fmla="*/ 159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6" h="405">
                  <a:moveTo>
                    <a:pt x="358" y="145"/>
                  </a:moveTo>
                  <a:lnTo>
                    <a:pt x="358" y="143"/>
                  </a:lnTo>
                  <a:lnTo>
                    <a:pt x="362" y="143"/>
                  </a:lnTo>
                  <a:lnTo>
                    <a:pt x="362" y="143"/>
                  </a:lnTo>
                  <a:lnTo>
                    <a:pt x="366" y="141"/>
                  </a:lnTo>
                  <a:lnTo>
                    <a:pt x="366" y="139"/>
                  </a:lnTo>
                  <a:lnTo>
                    <a:pt x="364" y="129"/>
                  </a:lnTo>
                  <a:lnTo>
                    <a:pt x="362" y="118"/>
                  </a:lnTo>
                  <a:lnTo>
                    <a:pt x="362" y="106"/>
                  </a:lnTo>
                  <a:lnTo>
                    <a:pt x="360" y="96"/>
                  </a:lnTo>
                  <a:lnTo>
                    <a:pt x="358" y="86"/>
                  </a:lnTo>
                  <a:lnTo>
                    <a:pt x="356" y="73"/>
                  </a:lnTo>
                  <a:lnTo>
                    <a:pt x="354" y="63"/>
                  </a:lnTo>
                  <a:lnTo>
                    <a:pt x="352" y="51"/>
                  </a:lnTo>
                  <a:lnTo>
                    <a:pt x="348" y="30"/>
                  </a:lnTo>
                  <a:lnTo>
                    <a:pt x="344" y="8"/>
                  </a:lnTo>
                  <a:lnTo>
                    <a:pt x="342" y="0"/>
                  </a:lnTo>
                  <a:lnTo>
                    <a:pt x="323" y="10"/>
                  </a:lnTo>
                  <a:lnTo>
                    <a:pt x="319" y="12"/>
                  </a:lnTo>
                  <a:lnTo>
                    <a:pt x="317" y="14"/>
                  </a:lnTo>
                  <a:lnTo>
                    <a:pt x="315" y="14"/>
                  </a:lnTo>
                  <a:lnTo>
                    <a:pt x="315" y="14"/>
                  </a:lnTo>
                  <a:lnTo>
                    <a:pt x="315" y="16"/>
                  </a:lnTo>
                  <a:lnTo>
                    <a:pt x="313" y="16"/>
                  </a:lnTo>
                  <a:lnTo>
                    <a:pt x="311" y="18"/>
                  </a:lnTo>
                  <a:lnTo>
                    <a:pt x="309" y="20"/>
                  </a:lnTo>
                  <a:lnTo>
                    <a:pt x="305" y="22"/>
                  </a:lnTo>
                  <a:lnTo>
                    <a:pt x="280" y="39"/>
                  </a:lnTo>
                  <a:lnTo>
                    <a:pt x="258" y="63"/>
                  </a:lnTo>
                  <a:lnTo>
                    <a:pt x="254" y="65"/>
                  </a:lnTo>
                  <a:lnTo>
                    <a:pt x="252" y="67"/>
                  </a:lnTo>
                  <a:lnTo>
                    <a:pt x="250" y="67"/>
                  </a:lnTo>
                  <a:lnTo>
                    <a:pt x="247" y="67"/>
                  </a:lnTo>
                  <a:lnTo>
                    <a:pt x="247" y="67"/>
                  </a:lnTo>
                  <a:lnTo>
                    <a:pt x="245" y="67"/>
                  </a:lnTo>
                  <a:lnTo>
                    <a:pt x="243" y="69"/>
                  </a:lnTo>
                  <a:lnTo>
                    <a:pt x="243" y="69"/>
                  </a:lnTo>
                  <a:lnTo>
                    <a:pt x="241" y="69"/>
                  </a:lnTo>
                  <a:lnTo>
                    <a:pt x="231" y="69"/>
                  </a:lnTo>
                  <a:lnTo>
                    <a:pt x="227" y="69"/>
                  </a:lnTo>
                  <a:lnTo>
                    <a:pt x="217" y="75"/>
                  </a:lnTo>
                  <a:lnTo>
                    <a:pt x="211" y="80"/>
                  </a:lnTo>
                  <a:lnTo>
                    <a:pt x="209" y="82"/>
                  </a:lnTo>
                  <a:lnTo>
                    <a:pt x="202" y="82"/>
                  </a:lnTo>
                  <a:lnTo>
                    <a:pt x="200" y="84"/>
                  </a:lnTo>
                  <a:lnTo>
                    <a:pt x="200" y="84"/>
                  </a:lnTo>
                  <a:lnTo>
                    <a:pt x="196" y="88"/>
                  </a:lnTo>
                  <a:lnTo>
                    <a:pt x="196" y="88"/>
                  </a:lnTo>
                  <a:lnTo>
                    <a:pt x="192" y="88"/>
                  </a:lnTo>
                  <a:lnTo>
                    <a:pt x="188" y="88"/>
                  </a:lnTo>
                  <a:lnTo>
                    <a:pt x="182" y="84"/>
                  </a:lnTo>
                  <a:lnTo>
                    <a:pt x="180" y="84"/>
                  </a:lnTo>
                  <a:lnTo>
                    <a:pt x="180" y="84"/>
                  </a:lnTo>
                  <a:lnTo>
                    <a:pt x="178" y="84"/>
                  </a:lnTo>
                  <a:lnTo>
                    <a:pt x="178" y="82"/>
                  </a:lnTo>
                  <a:lnTo>
                    <a:pt x="178" y="82"/>
                  </a:lnTo>
                  <a:lnTo>
                    <a:pt x="176" y="80"/>
                  </a:lnTo>
                  <a:lnTo>
                    <a:pt x="176" y="80"/>
                  </a:lnTo>
                  <a:lnTo>
                    <a:pt x="178" y="82"/>
                  </a:lnTo>
                  <a:lnTo>
                    <a:pt x="180" y="86"/>
                  </a:lnTo>
                  <a:lnTo>
                    <a:pt x="182" y="86"/>
                  </a:lnTo>
                  <a:lnTo>
                    <a:pt x="178" y="84"/>
                  </a:lnTo>
                  <a:lnTo>
                    <a:pt x="176" y="84"/>
                  </a:lnTo>
                  <a:lnTo>
                    <a:pt x="174" y="84"/>
                  </a:lnTo>
                  <a:lnTo>
                    <a:pt x="174" y="84"/>
                  </a:lnTo>
                  <a:lnTo>
                    <a:pt x="172" y="84"/>
                  </a:lnTo>
                  <a:lnTo>
                    <a:pt x="172" y="84"/>
                  </a:lnTo>
                  <a:lnTo>
                    <a:pt x="170" y="86"/>
                  </a:lnTo>
                  <a:lnTo>
                    <a:pt x="170" y="84"/>
                  </a:lnTo>
                  <a:lnTo>
                    <a:pt x="168" y="84"/>
                  </a:lnTo>
                  <a:lnTo>
                    <a:pt x="164" y="86"/>
                  </a:lnTo>
                  <a:lnTo>
                    <a:pt x="161" y="88"/>
                  </a:lnTo>
                  <a:lnTo>
                    <a:pt x="157" y="90"/>
                  </a:lnTo>
                  <a:lnTo>
                    <a:pt x="153" y="88"/>
                  </a:lnTo>
                  <a:lnTo>
                    <a:pt x="153" y="90"/>
                  </a:lnTo>
                  <a:lnTo>
                    <a:pt x="153" y="90"/>
                  </a:lnTo>
                  <a:lnTo>
                    <a:pt x="151" y="90"/>
                  </a:lnTo>
                  <a:lnTo>
                    <a:pt x="151" y="88"/>
                  </a:lnTo>
                  <a:lnTo>
                    <a:pt x="151" y="88"/>
                  </a:lnTo>
                  <a:lnTo>
                    <a:pt x="145" y="88"/>
                  </a:lnTo>
                  <a:lnTo>
                    <a:pt x="147" y="88"/>
                  </a:lnTo>
                  <a:lnTo>
                    <a:pt x="149" y="88"/>
                  </a:lnTo>
                  <a:lnTo>
                    <a:pt x="151" y="86"/>
                  </a:lnTo>
                  <a:lnTo>
                    <a:pt x="151" y="88"/>
                  </a:lnTo>
                  <a:lnTo>
                    <a:pt x="153" y="86"/>
                  </a:lnTo>
                  <a:lnTo>
                    <a:pt x="153" y="86"/>
                  </a:lnTo>
                  <a:lnTo>
                    <a:pt x="153" y="84"/>
                  </a:lnTo>
                  <a:lnTo>
                    <a:pt x="153" y="84"/>
                  </a:lnTo>
                  <a:lnTo>
                    <a:pt x="155" y="84"/>
                  </a:lnTo>
                  <a:lnTo>
                    <a:pt x="157" y="84"/>
                  </a:lnTo>
                  <a:lnTo>
                    <a:pt x="159" y="82"/>
                  </a:lnTo>
                  <a:lnTo>
                    <a:pt x="161" y="82"/>
                  </a:lnTo>
                  <a:lnTo>
                    <a:pt x="164" y="82"/>
                  </a:lnTo>
                  <a:lnTo>
                    <a:pt x="166" y="80"/>
                  </a:lnTo>
                  <a:lnTo>
                    <a:pt x="168" y="80"/>
                  </a:lnTo>
                  <a:lnTo>
                    <a:pt x="174" y="77"/>
                  </a:lnTo>
                  <a:lnTo>
                    <a:pt x="174" y="77"/>
                  </a:lnTo>
                  <a:lnTo>
                    <a:pt x="172" y="75"/>
                  </a:lnTo>
                  <a:lnTo>
                    <a:pt x="172" y="75"/>
                  </a:lnTo>
                  <a:lnTo>
                    <a:pt x="168" y="75"/>
                  </a:lnTo>
                  <a:lnTo>
                    <a:pt x="168" y="75"/>
                  </a:lnTo>
                  <a:lnTo>
                    <a:pt x="166" y="77"/>
                  </a:lnTo>
                  <a:lnTo>
                    <a:pt x="166" y="75"/>
                  </a:lnTo>
                  <a:lnTo>
                    <a:pt x="166" y="75"/>
                  </a:lnTo>
                  <a:lnTo>
                    <a:pt x="166" y="75"/>
                  </a:lnTo>
                  <a:lnTo>
                    <a:pt x="164" y="73"/>
                  </a:lnTo>
                  <a:lnTo>
                    <a:pt x="161" y="73"/>
                  </a:lnTo>
                  <a:lnTo>
                    <a:pt x="161" y="71"/>
                  </a:lnTo>
                  <a:lnTo>
                    <a:pt x="161" y="73"/>
                  </a:lnTo>
                  <a:lnTo>
                    <a:pt x="161" y="73"/>
                  </a:lnTo>
                  <a:lnTo>
                    <a:pt x="161" y="75"/>
                  </a:lnTo>
                  <a:lnTo>
                    <a:pt x="161" y="77"/>
                  </a:lnTo>
                  <a:lnTo>
                    <a:pt x="159" y="77"/>
                  </a:lnTo>
                  <a:lnTo>
                    <a:pt x="159" y="80"/>
                  </a:lnTo>
                  <a:lnTo>
                    <a:pt x="155" y="80"/>
                  </a:lnTo>
                  <a:lnTo>
                    <a:pt x="153" y="80"/>
                  </a:lnTo>
                  <a:lnTo>
                    <a:pt x="151" y="80"/>
                  </a:lnTo>
                  <a:lnTo>
                    <a:pt x="149" y="80"/>
                  </a:lnTo>
                  <a:lnTo>
                    <a:pt x="147" y="77"/>
                  </a:lnTo>
                  <a:lnTo>
                    <a:pt x="143" y="73"/>
                  </a:lnTo>
                  <a:lnTo>
                    <a:pt x="139" y="73"/>
                  </a:lnTo>
                  <a:lnTo>
                    <a:pt x="137" y="73"/>
                  </a:lnTo>
                  <a:lnTo>
                    <a:pt x="135" y="73"/>
                  </a:lnTo>
                  <a:lnTo>
                    <a:pt x="129" y="71"/>
                  </a:lnTo>
                  <a:lnTo>
                    <a:pt x="127" y="69"/>
                  </a:lnTo>
                  <a:lnTo>
                    <a:pt x="123" y="67"/>
                  </a:lnTo>
                  <a:lnTo>
                    <a:pt x="120" y="65"/>
                  </a:lnTo>
                  <a:lnTo>
                    <a:pt x="120" y="65"/>
                  </a:lnTo>
                  <a:lnTo>
                    <a:pt x="118" y="67"/>
                  </a:lnTo>
                  <a:lnTo>
                    <a:pt x="116" y="67"/>
                  </a:lnTo>
                  <a:lnTo>
                    <a:pt x="114" y="67"/>
                  </a:lnTo>
                  <a:lnTo>
                    <a:pt x="108" y="67"/>
                  </a:lnTo>
                  <a:lnTo>
                    <a:pt x="108" y="65"/>
                  </a:lnTo>
                  <a:lnTo>
                    <a:pt x="108" y="65"/>
                  </a:lnTo>
                  <a:lnTo>
                    <a:pt x="102" y="65"/>
                  </a:lnTo>
                  <a:lnTo>
                    <a:pt x="94" y="67"/>
                  </a:lnTo>
                  <a:lnTo>
                    <a:pt x="88" y="69"/>
                  </a:lnTo>
                  <a:lnTo>
                    <a:pt x="82" y="69"/>
                  </a:lnTo>
                  <a:lnTo>
                    <a:pt x="75" y="71"/>
                  </a:lnTo>
                  <a:lnTo>
                    <a:pt x="67" y="71"/>
                  </a:lnTo>
                  <a:lnTo>
                    <a:pt x="61" y="73"/>
                  </a:lnTo>
                  <a:lnTo>
                    <a:pt x="55" y="75"/>
                  </a:lnTo>
                  <a:lnTo>
                    <a:pt x="47" y="75"/>
                  </a:lnTo>
                  <a:lnTo>
                    <a:pt x="41" y="77"/>
                  </a:lnTo>
                  <a:lnTo>
                    <a:pt x="34" y="77"/>
                  </a:lnTo>
                  <a:lnTo>
                    <a:pt x="28" y="80"/>
                  </a:lnTo>
                  <a:lnTo>
                    <a:pt x="20" y="82"/>
                  </a:lnTo>
                  <a:lnTo>
                    <a:pt x="14" y="82"/>
                  </a:lnTo>
                  <a:lnTo>
                    <a:pt x="8" y="84"/>
                  </a:lnTo>
                  <a:lnTo>
                    <a:pt x="0" y="84"/>
                  </a:lnTo>
                  <a:lnTo>
                    <a:pt x="2" y="92"/>
                  </a:lnTo>
                  <a:lnTo>
                    <a:pt x="2" y="102"/>
                  </a:lnTo>
                  <a:lnTo>
                    <a:pt x="6" y="118"/>
                  </a:lnTo>
                  <a:lnTo>
                    <a:pt x="6" y="127"/>
                  </a:lnTo>
                  <a:lnTo>
                    <a:pt x="8" y="135"/>
                  </a:lnTo>
                  <a:lnTo>
                    <a:pt x="8" y="145"/>
                  </a:lnTo>
                  <a:lnTo>
                    <a:pt x="10" y="153"/>
                  </a:lnTo>
                  <a:lnTo>
                    <a:pt x="10" y="162"/>
                  </a:lnTo>
                  <a:lnTo>
                    <a:pt x="12" y="170"/>
                  </a:lnTo>
                  <a:lnTo>
                    <a:pt x="12" y="178"/>
                  </a:lnTo>
                  <a:lnTo>
                    <a:pt x="14" y="188"/>
                  </a:lnTo>
                  <a:lnTo>
                    <a:pt x="14" y="196"/>
                  </a:lnTo>
                  <a:lnTo>
                    <a:pt x="16" y="205"/>
                  </a:lnTo>
                  <a:lnTo>
                    <a:pt x="18" y="213"/>
                  </a:lnTo>
                  <a:lnTo>
                    <a:pt x="18" y="221"/>
                  </a:lnTo>
                  <a:lnTo>
                    <a:pt x="20" y="231"/>
                  </a:lnTo>
                  <a:lnTo>
                    <a:pt x="20" y="239"/>
                  </a:lnTo>
                  <a:lnTo>
                    <a:pt x="22" y="248"/>
                  </a:lnTo>
                  <a:lnTo>
                    <a:pt x="22" y="256"/>
                  </a:lnTo>
                  <a:lnTo>
                    <a:pt x="24" y="264"/>
                  </a:lnTo>
                  <a:lnTo>
                    <a:pt x="24" y="274"/>
                  </a:lnTo>
                  <a:lnTo>
                    <a:pt x="26" y="282"/>
                  </a:lnTo>
                  <a:lnTo>
                    <a:pt x="26" y="291"/>
                  </a:lnTo>
                  <a:lnTo>
                    <a:pt x="28" y="299"/>
                  </a:lnTo>
                  <a:lnTo>
                    <a:pt x="28" y="307"/>
                  </a:lnTo>
                  <a:lnTo>
                    <a:pt x="30" y="317"/>
                  </a:lnTo>
                  <a:lnTo>
                    <a:pt x="32" y="325"/>
                  </a:lnTo>
                  <a:lnTo>
                    <a:pt x="32" y="334"/>
                  </a:lnTo>
                  <a:lnTo>
                    <a:pt x="34" y="342"/>
                  </a:lnTo>
                  <a:lnTo>
                    <a:pt x="34" y="350"/>
                  </a:lnTo>
                  <a:lnTo>
                    <a:pt x="37" y="360"/>
                  </a:lnTo>
                  <a:lnTo>
                    <a:pt x="41" y="356"/>
                  </a:lnTo>
                  <a:lnTo>
                    <a:pt x="41" y="354"/>
                  </a:lnTo>
                  <a:lnTo>
                    <a:pt x="43" y="354"/>
                  </a:lnTo>
                  <a:lnTo>
                    <a:pt x="43" y="354"/>
                  </a:lnTo>
                  <a:lnTo>
                    <a:pt x="45" y="354"/>
                  </a:lnTo>
                  <a:lnTo>
                    <a:pt x="45" y="354"/>
                  </a:lnTo>
                  <a:lnTo>
                    <a:pt x="47" y="356"/>
                  </a:lnTo>
                  <a:lnTo>
                    <a:pt x="47" y="356"/>
                  </a:lnTo>
                  <a:lnTo>
                    <a:pt x="53" y="360"/>
                  </a:lnTo>
                  <a:lnTo>
                    <a:pt x="55" y="360"/>
                  </a:lnTo>
                  <a:lnTo>
                    <a:pt x="63" y="354"/>
                  </a:lnTo>
                  <a:lnTo>
                    <a:pt x="65" y="354"/>
                  </a:lnTo>
                  <a:lnTo>
                    <a:pt x="67" y="354"/>
                  </a:lnTo>
                  <a:lnTo>
                    <a:pt x="69" y="356"/>
                  </a:lnTo>
                  <a:lnTo>
                    <a:pt x="71" y="358"/>
                  </a:lnTo>
                  <a:lnTo>
                    <a:pt x="71" y="358"/>
                  </a:lnTo>
                  <a:lnTo>
                    <a:pt x="73" y="358"/>
                  </a:lnTo>
                  <a:lnTo>
                    <a:pt x="75" y="360"/>
                  </a:lnTo>
                  <a:lnTo>
                    <a:pt x="80" y="360"/>
                  </a:lnTo>
                  <a:lnTo>
                    <a:pt x="82" y="362"/>
                  </a:lnTo>
                  <a:lnTo>
                    <a:pt x="82" y="364"/>
                  </a:lnTo>
                  <a:lnTo>
                    <a:pt x="82" y="366"/>
                  </a:lnTo>
                  <a:lnTo>
                    <a:pt x="84" y="366"/>
                  </a:lnTo>
                  <a:lnTo>
                    <a:pt x="84" y="368"/>
                  </a:lnTo>
                  <a:lnTo>
                    <a:pt x="86" y="371"/>
                  </a:lnTo>
                  <a:lnTo>
                    <a:pt x="86" y="371"/>
                  </a:lnTo>
                  <a:lnTo>
                    <a:pt x="88" y="373"/>
                  </a:lnTo>
                  <a:lnTo>
                    <a:pt x="88" y="373"/>
                  </a:lnTo>
                  <a:lnTo>
                    <a:pt x="90" y="375"/>
                  </a:lnTo>
                  <a:lnTo>
                    <a:pt x="90" y="377"/>
                  </a:lnTo>
                  <a:lnTo>
                    <a:pt x="90" y="379"/>
                  </a:lnTo>
                  <a:lnTo>
                    <a:pt x="92" y="381"/>
                  </a:lnTo>
                  <a:lnTo>
                    <a:pt x="94" y="383"/>
                  </a:lnTo>
                  <a:lnTo>
                    <a:pt x="102" y="385"/>
                  </a:lnTo>
                  <a:lnTo>
                    <a:pt x="104" y="385"/>
                  </a:lnTo>
                  <a:lnTo>
                    <a:pt x="112" y="383"/>
                  </a:lnTo>
                  <a:lnTo>
                    <a:pt x="114" y="383"/>
                  </a:lnTo>
                  <a:lnTo>
                    <a:pt x="118" y="383"/>
                  </a:lnTo>
                  <a:lnTo>
                    <a:pt x="123" y="383"/>
                  </a:lnTo>
                  <a:lnTo>
                    <a:pt x="123" y="385"/>
                  </a:lnTo>
                  <a:lnTo>
                    <a:pt x="125" y="387"/>
                  </a:lnTo>
                  <a:lnTo>
                    <a:pt x="127" y="389"/>
                  </a:lnTo>
                  <a:lnTo>
                    <a:pt x="133" y="393"/>
                  </a:lnTo>
                  <a:lnTo>
                    <a:pt x="137" y="395"/>
                  </a:lnTo>
                  <a:lnTo>
                    <a:pt x="141" y="395"/>
                  </a:lnTo>
                  <a:lnTo>
                    <a:pt x="141" y="395"/>
                  </a:lnTo>
                  <a:lnTo>
                    <a:pt x="143" y="393"/>
                  </a:lnTo>
                  <a:lnTo>
                    <a:pt x="143" y="391"/>
                  </a:lnTo>
                  <a:lnTo>
                    <a:pt x="143" y="389"/>
                  </a:lnTo>
                  <a:lnTo>
                    <a:pt x="145" y="389"/>
                  </a:lnTo>
                  <a:lnTo>
                    <a:pt x="151" y="385"/>
                  </a:lnTo>
                  <a:lnTo>
                    <a:pt x="151" y="385"/>
                  </a:lnTo>
                  <a:lnTo>
                    <a:pt x="153" y="385"/>
                  </a:lnTo>
                  <a:lnTo>
                    <a:pt x="155" y="387"/>
                  </a:lnTo>
                  <a:lnTo>
                    <a:pt x="157" y="387"/>
                  </a:lnTo>
                  <a:lnTo>
                    <a:pt x="157" y="387"/>
                  </a:lnTo>
                  <a:lnTo>
                    <a:pt x="161" y="387"/>
                  </a:lnTo>
                  <a:lnTo>
                    <a:pt x="161" y="387"/>
                  </a:lnTo>
                  <a:lnTo>
                    <a:pt x="166" y="389"/>
                  </a:lnTo>
                  <a:lnTo>
                    <a:pt x="166" y="389"/>
                  </a:lnTo>
                  <a:lnTo>
                    <a:pt x="168" y="389"/>
                  </a:lnTo>
                  <a:lnTo>
                    <a:pt x="170" y="393"/>
                  </a:lnTo>
                  <a:lnTo>
                    <a:pt x="170" y="393"/>
                  </a:lnTo>
                  <a:lnTo>
                    <a:pt x="172" y="393"/>
                  </a:lnTo>
                  <a:lnTo>
                    <a:pt x="174" y="393"/>
                  </a:lnTo>
                  <a:lnTo>
                    <a:pt x="176" y="391"/>
                  </a:lnTo>
                  <a:lnTo>
                    <a:pt x="176" y="391"/>
                  </a:lnTo>
                  <a:lnTo>
                    <a:pt x="178" y="389"/>
                  </a:lnTo>
                  <a:lnTo>
                    <a:pt x="182" y="391"/>
                  </a:lnTo>
                  <a:lnTo>
                    <a:pt x="184" y="389"/>
                  </a:lnTo>
                  <a:lnTo>
                    <a:pt x="186" y="389"/>
                  </a:lnTo>
                  <a:lnTo>
                    <a:pt x="186" y="387"/>
                  </a:lnTo>
                  <a:lnTo>
                    <a:pt x="186" y="385"/>
                  </a:lnTo>
                  <a:lnTo>
                    <a:pt x="186" y="385"/>
                  </a:lnTo>
                  <a:lnTo>
                    <a:pt x="188" y="383"/>
                  </a:lnTo>
                  <a:lnTo>
                    <a:pt x="190" y="383"/>
                  </a:lnTo>
                  <a:lnTo>
                    <a:pt x="190" y="381"/>
                  </a:lnTo>
                  <a:lnTo>
                    <a:pt x="192" y="379"/>
                  </a:lnTo>
                  <a:lnTo>
                    <a:pt x="192" y="379"/>
                  </a:lnTo>
                  <a:lnTo>
                    <a:pt x="194" y="377"/>
                  </a:lnTo>
                  <a:lnTo>
                    <a:pt x="196" y="377"/>
                  </a:lnTo>
                  <a:lnTo>
                    <a:pt x="200" y="373"/>
                  </a:lnTo>
                  <a:lnTo>
                    <a:pt x="202" y="373"/>
                  </a:lnTo>
                  <a:lnTo>
                    <a:pt x="204" y="373"/>
                  </a:lnTo>
                  <a:lnTo>
                    <a:pt x="204" y="375"/>
                  </a:lnTo>
                  <a:lnTo>
                    <a:pt x="204" y="377"/>
                  </a:lnTo>
                  <a:lnTo>
                    <a:pt x="207" y="379"/>
                  </a:lnTo>
                  <a:lnTo>
                    <a:pt x="209" y="385"/>
                  </a:lnTo>
                  <a:lnTo>
                    <a:pt x="213" y="389"/>
                  </a:lnTo>
                  <a:lnTo>
                    <a:pt x="217" y="391"/>
                  </a:lnTo>
                  <a:lnTo>
                    <a:pt x="221" y="391"/>
                  </a:lnTo>
                  <a:lnTo>
                    <a:pt x="223" y="393"/>
                  </a:lnTo>
                  <a:lnTo>
                    <a:pt x="231" y="397"/>
                  </a:lnTo>
                  <a:lnTo>
                    <a:pt x="231" y="399"/>
                  </a:lnTo>
                  <a:lnTo>
                    <a:pt x="233" y="403"/>
                  </a:lnTo>
                  <a:lnTo>
                    <a:pt x="235" y="403"/>
                  </a:lnTo>
                  <a:lnTo>
                    <a:pt x="235" y="403"/>
                  </a:lnTo>
                  <a:lnTo>
                    <a:pt x="237" y="405"/>
                  </a:lnTo>
                  <a:lnTo>
                    <a:pt x="241" y="403"/>
                  </a:lnTo>
                  <a:lnTo>
                    <a:pt x="247" y="399"/>
                  </a:lnTo>
                  <a:lnTo>
                    <a:pt x="254" y="399"/>
                  </a:lnTo>
                  <a:lnTo>
                    <a:pt x="256" y="397"/>
                  </a:lnTo>
                  <a:lnTo>
                    <a:pt x="258" y="395"/>
                  </a:lnTo>
                  <a:lnTo>
                    <a:pt x="258" y="393"/>
                  </a:lnTo>
                  <a:lnTo>
                    <a:pt x="258" y="383"/>
                  </a:lnTo>
                  <a:lnTo>
                    <a:pt x="258" y="381"/>
                  </a:lnTo>
                  <a:lnTo>
                    <a:pt x="260" y="381"/>
                  </a:lnTo>
                  <a:lnTo>
                    <a:pt x="264" y="381"/>
                  </a:lnTo>
                  <a:lnTo>
                    <a:pt x="266" y="379"/>
                  </a:lnTo>
                  <a:lnTo>
                    <a:pt x="266" y="377"/>
                  </a:lnTo>
                  <a:lnTo>
                    <a:pt x="266" y="377"/>
                  </a:lnTo>
                  <a:lnTo>
                    <a:pt x="266" y="375"/>
                  </a:lnTo>
                  <a:lnTo>
                    <a:pt x="266" y="375"/>
                  </a:lnTo>
                  <a:lnTo>
                    <a:pt x="264" y="373"/>
                  </a:lnTo>
                  <a:lnTo>
                    <a:pt x="264" y="371"/>
                  </a:lnTo>
                  <a:lnTo>
                    <a:pt x="264" y="368"/>
                  </a:lnTo>
                  <a:lnTo>
                    <a:pt x="264" y="366"/>
                  </a:lnTo>
                  <a:lnTo>
                    <a:pt x="262" y="364"/>
                  </a:lnTo>
                  <a:lnTo>
                    <a:pt x="262" y="364"/>
                  </a:lnTo>
                  <a:lnTo>
                    <a:pt x="260" y="362"/>
                  </a:lnTo>
                  <a:lnTo>
                    <a:pt x="260" y="360"/>
                  </a:lnTo>
                  <a:lnTo>
                    <a:pt x="262" y="358"/>
                  </a:lnTo>
                  <a:lnTo>
                    <a:pt x="264" y="356"/>
                  </a:lnTo>
                  <a:lnTo>
                    <a:pt x="264" y="354"/>
                  </a:lnTo>
                  <a:lnTo>
                    <a:pt x="264" y="352"/>
                  </a:lnTo>
                  <a:lnTo>
                    <a:pt x="264" y="350"/>
                  </a:lnTo>
                  <a:lnTo>
                    <a:pt x="264" y="346"/>
                  </a:lnTo>
                  <a:lnTo>
                    <a:pt x="266" y="344"/>
                  </a:lnTo>
                  <a:lnTo>
                    <a:pt x="268" y="338"/>
                  </a:lnTo>
                  <a:lnTo>
                    <a:pt x="270" y="334"/>
                  </a:lnTo>
                  <a:lnTo>
                    <a:pt x="272" y="332"/>
                  </a:lnTo>
                  <a:lnTo>
                    <a:pt x="274" y="332"/>
                  </a:lnTo>
                  <a:lnTo>
                    <a:pt x="276" y="332"/>
                  </a:lnTo>
                  <a:lnTo>
                    <a:pt x="276" y="334"/>
                  </a:lnTo>
                  <a:lnTo>
                    <a:pt x="280" y="334"/>
                  </a:lnTo>
                  <a:lnTo>
                    <a:pt x="280" y="336"/>
                  </a:lnTo>
                  <a:lnTo>
                    <a:pt x="282" y="338"/>
                  </a:lnTo>
                  <a:lnTo>
                    <a:pt x="282" y="338"/>
                  </a:lnTo>
                  <a:lnTo>
                    <a:pt x="282" y="340"/>
                  </a:lnTo>
                  <a:lnTo>
                    <a:pt x="284" y="340"/>
                  </a:lnTo>
                  <a:lnTo>
                    <a:pt x="284" y="340"/>
                  </a:lnTo>
                  <a:lnTo>
                    <a:pt x="284" y="340"/>
                  </a:lnTo>
                  <a:lnTo>
                    <a:pt x="282" y="342"/>
                  </a:lnTo>
                  <a:lnTo>
                    <a:pt x="282" y="342"/>
                  </a:lnTo>
                  <a:lnTo>
                    <a:pt x="282" y="342"/>
                  </a:lnTo>
                  <a:lnTo>
                    <a:pt x="282" y="344"/>
                  </a:lnTo>
                  <a:lnTo>
                    <a:pt x="282" y="344"/>
                  </a:lnTo>
                  <a:lnTo>
                    <a:pt x="282" y="344"/>
                  </a:lnTo>
                  <a:lnTo>
                    <a:pt x="282" y="346"/>
                  </a:lnTo>
                  <a:lnTo>
                    <a:pt x="284" y="346"/>
                  </a:lnTo>
                  <a:lnTo>
                    <a:pt x="286" y="344"/>
                  </a:lnTo>
                  <a:lnTo>
                    <a:pt x="288" y="342"/>
                  </a:lnTo>
                  <a:lnTo>
                    <a:pt x="288" y="342"/>
                  </a:lnTo>
                  <a:lnTo>
                    <a:pt x="288" y="338"/>
                  </a:lnTo>
                  <a:lnTo>
                    <a:pt x="288" y="338"/>
                  </a:lnTo>
                  <a:lnTo>
                    <a:pt x="290" y="336"/>
                  </a:lnTo>
                  <a:lnTo>
                    <a:pt x="290" y="336"/>
                  </a:lnTo>
                  <a:lnTo>
                    <a:pt x="293" y="338"/>
                  </a:lnTo>
                  <a:lnTo>
                    <a:pt x="293" y="338"/>
                  </a:lnTo>
                  <a:lnTo>
                    <a:pt x="295" y="338"/>
                  </a:lnTo>
                  <a:lnTo>
                    <a:pt x="295" y="336"/>
                  </a:lnTo>
                  <a:lnTo>
                    <a:pt x="295" y="336"/>
                  </a:lnTo>
                  <a:lnTo>
                    <a:pt x="293" y="334"/>
                  </a:lnTo>
                  <a:lnTo>
                    <a:pt x="293" y="330"/>
                  </a:lnTo>
                  <a:lnTo>
                    <a:pt x="293" y="328"/>
                  </a:lnTo>
                  <a:lnTo>
                    <a:pt x="290" y="328"/>
                  </a:lnTo>
                  <a:lnTo>
                    <a:pt x="290" y="328"/>
                  </a:lnTo>
                  <a:lnTo>
                    <a:pt x="290" y="325"/>
                  </a:lnTo>
                  <a:lnTo>
                    <a:pt x="288" y="325"/>
                  </a:lnTo>
                  <a:lnTo>
                    <a:pt x="288" y="325"/>
                  </a:lnTo>
                  <a:lnTo>
                    <a:pt x="288" y="323"/>
                  </a:lnTo>
                  <a:lnTo>
                    <a:pt x="288" y="323"/>
                  </a:lnTo>
                  <a:lnTo>
                    <a:pt x="288" y="323"/>
                  </a:lnTo>
                  <a:lnTo>
                    <a:pt x="293" y="321"/>
                  </a:lnTo>
                  <a:lnTo>
                    <a:pt x="293" y="319"/>
                  </a:lnTo>
                  <a:lnTo>
                    <a:pt x="293" y="317"/>
                  </a:lnTo>
                  <a:lnTo>
                    <a:pt x="293" y="313"/>
                  </a:lnTo>
                  <a:lnTo>
                    <a:pt x="293" y="311"/>
                  </a:lnTo>
                  <a:lnTo>
                    <a:pt x="293" y="311"/>
                  </a:lnTo>
                  <a:lnTo>
                    <a:pt x="295" y="305"/>
                  </a:lnTo>
                  <a:lnTo>
                    <a:pt x="297" y="301"/>
                  </a:lnTo>
                  <a:lnTo>
                    <a:pt x="297" y="301"/>
                  </a:lnTo>
                  <a:lnTo>
                    <a:pt x="299" y="301"/>
                  </a:lnTo>
                  <a:lnTo>
                    <a:pt x="301" y="299"/>
                  </a:lnTo>
                  <a:lnTo>
                    <a:pt x="303" y="299"/>
                  </a:lnTo>
                  <a:lnTo>
                    <a:pt x="303" y="299"/>
                  </a:lnTo>
                  <a:lnTo>
                    <a:pt x="303" y="299"/>
                  </a:lnTo>
                  <a:lnTo>
                    <a:pt x="303" y="299"/>
                  </a:lnTo>
                  <a:lnTo>
                    <a:pt x="305" y="299"/>
                  </a:lnTo>
                  <a:lnTo>
                    <a:pt x="305" y="297"/>
                  </a:lnTo>
                  <a:lnTo>
                    <a:pt x="305" y="293"/>
                  </a:lnTo>
                  <a:lnTo>
                    <a:pt x="305" y="291"/>
                  </a:lnTo>
                  <a:lnTo>
                    <a:pt x="311" y="284"/>
                  </a:lnTo>
                  <a:lnTo>
                    <a:pt x="311" y="284"/>
                  </a:lnTo>
                  <a:lnTo>
                    <a:pt x="315" y="282"/>
                  </a:lnTo>
                  <a:lnTo>
                    <a:pt x="317" y="284"/>
                  </a:lnTo>
                  <a:lnTo>
                    <a:pt x="317" y="287"/>
                  </a:lnTo>
                  <a:lnTo>
                    <a:pt x="319" y="287"/>
                  </a:lnTo>
                  <a:lnTo>
                    <a:pt x="321" y="289"/>
                  </a:lnTo>
                  <a:lnTo>
                    <a:pt x="323" y="289"/>
                  </a:lnTo>
                  <a:lnTo>
                    <a:pt x="325" y="284"/>
                  </a:lnTo>
                  <a:lnTo>
                    <a:pt x="327" y="284"/>
                  </a:lnTo>
                  <a:lnTo>
                    <a:pt x="329" y="282"/>
                  </a:lnTo>
                  <a:lnTo>
                    <a:pt x="329" y="282"/>
                  </a:lnTo>
                  <a:lnTo>
                    <a:pt x="331" y="280"/>
                  </a:lnTo>
                  <a:lnTo>
                    <a:pt x="333" y="280"/>
                  </a:lnTo>
                  <a:lnTo>
                    <a:pt x="336" y="276"/>
                  </a:lnTo>
                  <a:lnTo>
                    <a:pt x="336" y="276"/>
                  </a:lnTo>
                  <a:lnTo>
                    <a:pt x="340" y="274"/>
                  </a:lnTo>
                  <a:lnTo>
                    <a:pt x="340" y="272"/>
                  </a:lnTo>
                  <a:lnTo>
                    <a:pt x="342" y="268"/>
                  </a:lnTo>
                  <a:lnTo>
                    <a:pt x="344" y="264"/>
                  </a:lnTo>
                  <a:lnTo>
                    <a:pt x="352" y="256"/>
                  </a:lnTo>
                  <a:lnTo>
                    <a:pt x="356" y="252"/>
                  </a:lnTo>
                  <a:lnTo>
                    <a:pt x="356" y="252"/>
                  </a:lnTo>
                  <a:lnTo>
                    <a:pt x="358" y="248"/>
                  </a:lnTo>
                  <a:lnTo>
                    <a:pt x="358" y="248"/>
                  </a:lnTo>
                  <a:lnTo>
                    <a:pt x="356" y="246"/>
                  </a:lnTo>
                  <a:lnTo>
                    <a:pt x="356" y="246"/>
                  </a:lnTo>
                  <a:lnTo>
                    <a:pt x="356" y="246"/>
                  </a:lnTo>
                  <a:lnTo>
                    <a:pt x="358" y="243"/>
                  </a:lnTo>
                  <a:lnTo>
                    <a:pt x="358" y="241"/>
                  </a:lnTo>
                  <a:lnTo>
                    <a:pt x="358" y="239"/>
                  </a:lnTo>
                  <a:lnTo>
                    <a:pt x="356" y="239"/>
                  </a:lnTo>
                  <a:lnTo>
                    <a:pt x="356" y="237"/>
                  </a:lnTo>
                  <a:lnTo>
                    <a:pt x="354" y="237"/>
                  </a:lnTo>
                  <a:lnTo>
                    <a:pt x="354" y="235"/>
                  </a:lnTo>
                  <a:lnTo>
                    <a:pt x="356" y="235"/>
                  </a:lnTo>
                  <a:lnTo>
                    <a:pt x="356" y="233"/>
                  </a:lnTo>
                  <a:lnTo>
                    <a:pt x="356" y="231"/>
                  </a:lnTo>
                  <a:lnTo>
                    <a:pt x="356" y="229"/>
                  </a:lnTo>
                  <a:lnTo>
                    <a:pt x="358" y="229"/>
                  </a:lnTo>
                  <a:lnTo>
                    <a:pt x="358" y="227"/>
                  </a:lnTo>
                  <a:lnTo>
                    <a:pt x="358" y="225"/>
                  </a:lnTo>
                  <a:lnTo>
                    <a:pt x="358" y="225"/>
                  </a:lnTo>
                  <a:lnTo>
                    <a:pt x="358" y="223"/>
                  </a:lnTo>
                  <a:lnTo>
                    <a:pt x="358" y="223"/>
                  </a:lnTo>
                  <a:lnTo>
                    <a:pt x="358" y="221"/>
                  </a:lnTo>
                  <a:lnTo>
                    <a:pt x="358" y="219"/>
                  </a:lnTo>
                  <a:lnTo>
                    <a:pt x="358" y="219"/>
                  </a:lnTo>
                  <a:lnTo>
                    <a:pt x="360" y="221"/>
                  </a:lnTo>
                  <a:lnTo>
                    <a:pt x="360" y="219"/>
                  </a:lnTo>
                  <a:lnTo>
                    <a:pt x="360" y="219"/>
                  </a:lnTo>
                  <a:lnTo>
                    <a:pt x="360" y="217"/>
                  </a:lnTo>
                  <a:lnTo>
                    <a:pt x="360" y="217"/>
                  </a:lnTo>
                  <a:lnTo>
                    <a:pt x="360" y="217"/>
                  </a:lnTo>
                  <a:lnTo>
                    <a:pt x="360" y="215"/>
                  </a:lnTo>
                  <a:lnTo>
                    <a:pt x="360" y="213"/>
                  </a:lnTo>
                  <a:lnTo>
                    <a:pt x="360" y="211"/>
                  </a:lnTo>
                  <a:lnTo>
                    <a:pt x="360" y="209"/>
                  </a:lnTo>
                  <a:lnTo>
                    <a:pt x="360" y="205"/>
                  </a:lnTo>
                  <a:lnTo>
                    <a:pt x="360" y="202"/>
                  </a:lnTo>
                  <a:lnTo>
                    <a:pt x="360" y="200"/>
                  </a:lnTo>
                  <a:lnTo>
                    <a:pt x="362" y="196"/>
                  </a:lnTo>
                  <a:lnTo>
                    <a:pt x="362" y="194"/>
                  </a:lnTo>
                  <a:lnTo>
                    <a:pt x="362" y="190"/>
                  </a:lnTo>
                  <a:lnTo>
                    <a:pt x="362" y="188"/>
                  </a:lnTo>
                  <a:lnTo>
                    <a:pt x="362" y="182"/>
                  </a:lnTo>
                  <a:lnTo>
                    <a:pt x="364" y="182"/>
                  </a:lnTo>
                  <a:lnTo>
                    <a:pt x="366" y="180"/>
                  </a:lnTo>
                  <a:lnTo>
                    <a:pt x="366" y="180"/>
                  </a:lnTo>
                  <a:lnTo>
                    <a:pt x="366" y="176"/>
                  </a:lnTo>
                  <a:lnTo>
                    <a:pt x="366" y="176"/>
                  </a:lnTo>
                  <a:lnTo>
                    <a:pt x="366" y="174"/>
                  </a:lnTo>
                  <a:lnTo>
                    <a:pt x="364" y="172"/>
                  </a:lnTo>
                  <a:lnTo>
                    <a:pt x="364" y="170"/>
                  </a:lnTo>
                  <a:lnTo>
                    <a:pt x="364" y="170"/>
                  </a:lnTo>
                  <a:lnTo>
                    <a:pt x="364" y="170"/>
                  </a:lnTo>
                  <a:lnTo>
                    <a:pt x="364" y="170"/>
                  </a:lnTo>
                  <a:lnTo>
                    <a:pt x="364" y="168"/>
                  </a:lnTo>
                  <a:lnTo>
                    <a:pt x="364" y="168"/>
                  </a:lnTo>
                  <a:lnTo>
                    <a:pt x="362" y="168"/>
                  </a:lnTo>
                  <a:lnTo>
                    <a:pt x="362" y="166"/>
                  </a:lnTo>
                  <a:lnTo>
                    <a:pt x="364" y="162"/>
                  </a:lnTo>
                  <a:lnTo>
                    <a:pt x="364" y="159"/>
                  </a:lnTo>
                  <a:lnTo>
                    <a:pt x="362" y="157"/>
                  </a:lnTo>
                  <a:lnTo>
                    <a:pt x="362" y="155"/>
                  </a:lnTo>
                  <a:lnTo>
                    <a:pt x="360" y="153"/>
                  </a:lnTo>
                  <a:lnTo>
                    <a:pt x="356" y="149"/>
                  </a:lnTo>
                  <a:lnTo>
                    <a:pt x="356" y="147"/>
                  </a:lnTo>
                  <a:lnTo>
                    <a:pt x="356" y="145"/>
                  </a:lnTo>
                  <a:lnTo>
                    <a:pt x="358" y="145"/>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OH</a:t>
              </a:r>
            </a:p>
          </p:txBody>
        </p:sp>
        <p:sp>
          <p:nvSpPr>
            <p:cNvPr id="154" name="Freeform 21">
              <a:extLst>
                <a:ext uri="{FF2B5EF4-FFF2-40B4-BE49-F238E27FC236}">
                  <a16:creationId xmlns:a16="http://schemas.microsoft.com/office/drawing/2014/main" id="{97B6BD15-6DFA-F1BD-00B5-59807721332A}"/>
                </a:ext>
              </a:extLst>
            </p:cNvPr>
            <p:cNvSpPr>
              <a:spLocks/>
            </p:cNvSpPr>
            <p:nvPr/>
          </p:nvSpPr>
          <p:spPr bwMode="auto">
            <a:xfrm>
              <a:off x="1043" y="762"/>
              <a:ext cx="539" cy="810"/>
            </a:xfrm>
            <a:custGeom>
              <a:avLst/>
              <a:gdLst>
                <a:gd name="T0" fmla="*/ 453 w 539"/>
                <a:gd name="T1" fmla="*/ 701 h 810"/>
                <a:gd name="T2" fmla="*/ 442 w 539"/>
                <a:gd name="T3" fmla="*/ 707 h 810"/>
                <a:gd name="T4" fmla="*/ 436 w 539"/>
                <a:gd name="T5" fmla="*/ 701 h 810"/>
                <a:gd name="T6" fmla="*/ 434 w 539"/>
                <a:gd name="T7" fmla="*/ 693 h 810"/>
                <a:gd name="T8" fmla="*/ 430 w 539"/>
                <a:gd name="T9" fmla="*/ 691 h 810"/>
                <a:gd name="T10" fmla="*/ 426 w 539"/>
                <a:gd name="T11" fmla="*/ 693 h 810"/>
                <a:gd name="T12" fmla="*/ 424 w 539"/>
                <a:gd name="T13" fmla="*/ 693 h 810"/>
                <a:gd name="T14" fmla="*/ 422 w 539"/>
                <a:gd name="T15" fmla="*/ 691 h 810"/>
                <a:gd name="T16" fmla="*/ 416 w 539"/>
                <a:gd name="T17" fmla="*/ 689 h 810"/>
                <a:gd name="T18" fmla="*/ 401 w 539"/>
                <a:gd name="T19" fmla="*/ 691 h 810"/>
                <a:gd name="T20" fmla="*/ 399 w 539"/>
                <a:gd name="T21" fmla="*/ 693 h 810"/>
                <a:gd name="T22" fmla="*/ 399 w 539"/>
                <a:gd name="T23" fmla="*/ 699 h 810"/>
                <a:gd name="T24" fmla="*/ 397 w 539"/>
                <a:gd name="T25" fmla="*/ 707 h 810"/>
                <a:gd name="T26" fmla="*/ 401 w 539"/>
                <a:gd name="T27" fmla="*/ 718 h 810"/>
                <a:gd name="T28" fmla="*/ 397 w 539"/>
                <a:gd name="T29" fmla="*/ 728 h 810"/>
                <a:gd name="T30" fmla="*/ 399 w 539"/>
                <a:gd name="T31" fmla="*/ 744 h 810"/>
                <a:gd name="T32" fmla="*/ 397 w 539"/>
                <a:gd name="T33" fmla="*/ 761 h 810"/>
                <a:gd name="T34" fmla="*/ 401 w 539"/>
                <a:gd name="T35" fmla="*/ 777 h 810"/>
                <a:gd name="T36" fmla="*/ 399 w 539"/>
                <a:gd name="T37" fmla="*/ 791 h 810"/>
                <a:gd name="T38" fmla="*/ 395 w 539"/>
                <a:gd name="T39" fmla="*/ 796 h 810"/>
                <a:gd name="T40" fmla="*/ 393 w 539"/>
                <a:gd name="T41" fmla="*/ 800 h 810"/>
                <a:gd name="T42" fmla="*/ 393 w 539"/>
                <a:gd name="T43" fmla="*/ 806 h 810"/>
                <a:gd name="T44" fmla="*/ 379 w 539"/>
                <a:gd name="T45" fmla="*/ 793 h 810"/>
                <a:gd name="T46" fmla="*/ 323 w 539"/>
                <a:gd name="T47" fmla="*/ 726 h 810"/>
                <a:gd name="T48" fmla="*/ 276 w 539"/>
                <a:gd name="T49" fmla="*/ 662 h 810"/>
                <a:gd name="T50" fmla="*/ 227 w 539"/>
                <a:gd name="T51" fmla="*/ 599 h 810"/>
                <a:gd name="T52" fmla="*/ 172 w 539"/>
                <a:gd name="T53" fmla="*/ 531 h 810"/>
                <a:gd name="T54" fmla="*/ 117 w 539"/>
                <a:gd name="T55" fmla="*/ 459 h 810"/>
                <a:gd name="T56" fmla="*/ 49 w 539"/>
                <a:gd name="T57" fmla="*/ 377 h 810"/>
                <a:gd name="T58" fmla="*/ 0 w 539"/>
                <a:gd name="T59" fmla="*/ 312 h 810"/>
                <a:gd name="T60" fmla="*/ 12 w 539"/>
                <a:gd name="T61" fmla="*/ 248 h 810"/>
                <a:gd name="T62" fmla="*/ 24 w 539"/>
                <a:gd name="T63" fmla="*/ 173 h 810"/>
                <a:gd name="T64" fmla="*/ 39 w 539"/>
                <a:gd name="T65" fmla="*/ 95 h 810"/>
                <a:gd name="T66" fmla="*/ 53 w 539"/>
                <a:gd name="T67" fmla="*/ 19 h 810"/>
                <a:gd name="T68" fmla="*/ 102 w 539"/>
                <a:gd name="T69" fmla="*/ 9 h 810"/>
                <a:gd name="T70" fmla="*/ 162 w 539"/>
                <a:gd name="T71" fmla="*/ 19 h 810"/>
                <a:gd name="T72" fmla="*/ 223 w 539"/>
                <a:gd name="T73" fmla="*/ 29 h 810"/>
                <a:gd name="T74" fmla="*/ 283 w 539"/>
                <a:gd name="T75" fmla="*/ 37 h 810"/>
                <a:gd name="T76" fmla="*/ 344 w 539"/>
                <a:gd name="T77" fmla="*/ 48 h 810"/>
                <a:gd name="T78" fmla="*/ 403 w 539"/>
                <a:gd name="T79" fmla="*/ 56 h 810"/>
                <a:gd name="T80" fmla="*/ 463 w 539"/>
                <a:gd name="T81" fmla="*/ 64 h 810"/>
                <a:gd name="T82" fmla="*/ 524 w 539"/>
                <a:gd name="T83" fmla="*/ 72 h 810"/>
                <a:gd name="T84" fmla="*/ 532 w 539"/>
                <a:gd name="T85" fmla="*/ 123 h 810"/>
                <a:gd name="T86" fmla="*/ 524 w 539"/>
                <a:gd name="T87" fmla="*/ 189 h 810"/>
                <a:gd name="T88" fmla="*/ 516 w 539"/>
                <a:gd name="T89" fmla="*/ 257 h 810"/>
                <a:gd name="T90" fmla="*/ 508 w 539"/>
                <a:gd name="T91" fmla="*/ 322 h 810"/>
                <a:gd name="T92" fmla="*/ 500 w 539"/>
                <a:gd name="T93" fmla="*/ 388 h 810"/>
                <a:gd name="T94" fmla="*/ 491 w 539"/>
                <a:gd name="T95" fmla="*/ 455 h 810"/>
                <a:gd name="T96" fmla="*/ 483 w 539"/>
                <a:gd name="T97" fmla="*/ 521 h 810"/>
                <a:gd name="T98" fmla="*/ 473 w 539"/>
                <a:gd name="T99" fmla="*/ 587 h 810"/>
                <a:gd name="T100" fmla="*/ 471 w 539"/>
                <a:gd name="T101" fmla="*/ 611 h 810"/>
                <a:gd name="T102" fmla="*/ 467 w 539"/>
                <a:gd name="T103" fmla="*/ 636 h 810"/>
                <a:gd name="T104" fmla="*/ 465 w 539"/>
                <a:gd name="T105" fmla="*/ 664 h 810"/>
                <a:gd name="T106" fmla="*/ 461 w 539"/>
                <a:gd name="T107" fmla="*/ 683 h 810"/>
                <a:gd name="T108" fmla="*/ 461 w 539"/>
                <a:gd name="T109" fmla="*/ 689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10">
                  <a:moveTo>
                    <a:pt x="459" y="691"/>
                  </a:moveTo>
                  <a:lnTo>
                    <a:pt x="457" y="693"/>
                  </a:lnTo>
                  <a:lnTo>
                    <a:pt x="455" y="697"/>
                  </a:lnTo>
                  <a:lnTo>
                    <a:pt x="453" y="701"/>
                  </a:lnTo>
                  <a:lnTo>
                    <a:pt x="450" y="705"/>
                  </a:lnTo>
                  <a:lnTo>
                    <a:pt x="448" y="707"/>
                  </a:lnTo>
                  <a:lnTo>
                    <a:pt x="444" y="707"/>
                  </a:lnTo>
                  <a:lnTo>
                    <a:pt x="442" y="707"/>
                  </a:lnTo>
                  <a:lnTo>
                    <a:pt x="440" y="705"/>
                  </a:lnTo>
                  <a:lnTo>
                    <a:pt x="438" y="703"/>
                  </a:lnTo>
                  <a:lnTo>
                    <a:pt x="438" y="701"/>
                  </a:lnTo>
                  <a:lnTo>
                    <a:pt x="436" y="701"/>
                  </a:lnTo>
                  <a:lnTo>
                    <a:pt x="436" y="695"/>
                  </a:lnTo>
                  <a:lnTo>
                    <a:pt x="434" y="695"/>
                  </a:lnTo>
                  <a:lnTo>
                    <a:pt x="434" y="693"/>
                  </a:lnTo>
                  <a:lnTo>
                    <a:pt x="434" y="693"/>
                  </a:lnTo>
                  <a:lnTo>
                    <a:pt x="432" y="693"/>
                  </a:lnTo>
                  <a:lnTo>
                    <a:pt x="432" y="691"/>
                  </a:lnTo>
                  <a:lnTo>
                    <a:pt x="432" y="691"/>
                  </a:lnTo>
                  <a:lnTo>
                    <a:pt x="430" y="691"/>
                  </a:lnTo>
                  <a:lnTo>
                    <a:pt x="430" y="691"/>
                  </a:lnTo>
                  <a:lnTo>
                    <a:pt x="430" y="691"/>
                  </a:lnTo>
                  <a:lnTo>
                    <a:pt x="430" y="691"/>
                  </a:lnTo>
                  <a:lnTo>
                    <a:pt x="426" y="693"/>
                  </a:lnTo>
                  <a:lnTo>
                    <a:pt x="426" y="693"/>
                  </a:lnTo>
                  <a:lnTo>
                    <a:pt x="426" y="693"/>
                  </a:lnTo>
                  <a:lnTo>
                    <a:pt x="424" y="693"/>
                  </a:lnTo>
                  <a:lnTo>
                    <a:pt x="424" y="693"/>
                  </a:lnTo>
                  <a:lnTo>
                    <a:pt x="424" y="693"/>
                  </a:lnTo>
                  <a:lnTo>
                    <a:pt x="422" y="691"/>
                  </a:lnTo>
                  <a:lnTo>
                    <a:pt x="422" y="691"/>
                  </a:lnTo>
                  <a:lnTo>
                    <a:pt x="422" y="691"/>
                  </a:lnTo>
                  <a:lnTo>
                    <a:pt x="422" y="691"/>
                  </a:lnTo>
                  <a:lnTo>
                    <a:pt x="416" y="689"/>
                  </a:lnTo>
                  <a:lnTo>
                    <a:pt x="416" y="689"/>
                  </a:lnTo>
                  <a:lnTo>
                    <a:pt x="416" y="689"/>
                  </a:lnTo>
                  <a:lnTo>
                    <a:pt x="414" y="689"/>
                  </a:lnTo>
                  <a:lnTo>
                    <a:pt x="407" y="689"/>
                  </a:lnTo>
                  <a:lnTo>
                    <a:pt x="405" y="691"/>
                  </a:lnTo>
                  <a:lnTo>
                    <a:pt x="401" y="691"/>
                  </a:lnTo>
                  <a:lnTo>
                    <a:pt x="401" y="691"/>
                  </a:lnTo>
                  <a:lnTo>
                    <a:pt x="401" y="693"/>
                  </a:lnTo>
                  <a:lnTo>
                    <a:pt x="401" y="693"/>
                  </a:lnTo>
                  <a:lnTo>
                    <a:pt x="399" y="693"/>
                  </a:lnTo>
                  <a:lnTo>
                    <a:pt x="399" y="695"/>
                  </a:lnTo>
                  <a:lnTo>
                    <a:pt x="399" y="695"/>
                  </a:lnTo>
                  <a:lnTo>
                    <a:pt x="399" y="697"/>
                  </a:lnTo>
                  <a:lnTo>
                    <a:pt x="399" y="699"/>
                  </a:lnTo>
                  <a:lnTo>
                    <a:pt x="399" y="701"/>
                  </a:lnTo>
                  <a:lnTo>
                    <a:pt x="397" y="701"/>
                  </a:lnTo>
                  <a:lnTo>
                    <a:pt x="397" y="705"/>
                  </a:lnTo>
                  <a:lnTo>
                    <a:pt x="397" y="707"/>
                  </a:lnTo>
                  <a:lnTo>
                    <a:pt x="399" y="709"/>
                  </a:lnTo>
                  <a:lnTo>
                    <a:pt x="401" y="716"/>
                  </a:lnTo>
                  <a:lnTo>
                    <a:pt x="401" y="716"/>
                  </a:lnTo>
                  <a:lnTo>
                    <a:pt x="401" y="718"/>
                  </a:lnTo>
                  <a:lnTo>
                    <a:pt x="401" y="718"/>
                  </a:lnTo>
                  <a:lnTo>
                    <a:pt x="399" y="722"/>
                  </a:lnTo>
                  <a:lnTo>
                    <a:pt x="399" y="722"/>
                  </a:lnTo>
                  <a:lnTo>
                    <a:pt x="397" y="728"/>
                  </a:lnTo>
                  <a:lnTo>
                    <a:pt x="397" y="732"/>
                  </a:lnTo>
                  <a:lnTo>
                    <a:pt x="397" y="734"/>
                  </a:lnTo>
                  <a:lnTo>
                    <a:pt x="399" y="742"/>
                  </a:lnTo>
                  <a:lnTo>
                    <a:pt x="399" y="744"/>
                  </a:lnTo>
                  <a:lnTo>
                    <a:pt x="399" y="746"/>
                  </a:lnTo>
                  <a:lnTo>
                    <a:pt x="399" y="750"/>
                  </a:lnTo>
                  <a:lnTo>
                    <a:pt x="397" y="757"/>
                  </a:lnTo>
                  <a:lnTo>
                    <a:pt x="397" y="761"/>
                  </a:lnTo>
                  <a:lnTo>
                    <a:pt x="399" y="765"/>
                  </a:lnTo>
                  <a:lnTo>
                    <a:pt x="401" y="771"/>
                  </a:lnTo>
                  <a:lnTo>
                    <a:pt x="401" y="773"/>
                  </a:lnTo>
                  <a:lnTo>
                    <a:pt x="401" y="777"/>
                  </a:lnTo>
                  <a:lnTo>
                    <a:pt x="399" y="779"/>
                  </a:lnTo>
                  <a:lnTo>
                    <a:pt x="401" y="785"/>
                  </a:lnTo>
                  <a:lnTo>
                    <a:pt x="401" y="789"/>
                  </a:lnTo>
                  <a:lnTo>
                    <a:pt x="399" y="791"/>
                  </a:lnTo>
                  <a:lnTo>
                    <a:pt x="399" y="796"/>
                  </a:lnTo>
                  <a:lnTo>
                    <a:pt x="399" y="796"/>
                  </a:lnTo>
                  <a:lnTo>
                    <a:pt x="397" y="796"/>
                  </a:lnTo>
                  <a:lnTo>
                    <a:pt x="395" y="796"/>
                  </a:lnTo>
                  <a:lnTo>
                    <a:pt x="395" y="796"/>
                  </a:lnTo>
                  <a:lnTo>
                    <a:pt x="393" y="796"/>
                  </a:lnTo>
                  <a:lnTo>
                    <a:pt x="393" y="798"/>
                  </a:lnTo>
                  <a:lnTo>
                    <a:pt x="393" y="800"/>
                  </a:lnTo>
                  <a:lnTo>
                    <a:pt x="395" y="802"/>
                  </a:lnTo>
                  <a:lnTo>
                    <a:pt x="395" y="802"/>
                  </a:lnTo>
                  <a:lnTo>
                    <a:pt x="395" y="804"/>
                  </a:lnTo>
                  <a:lnTo>
                    <a:pt x="393" y="806"/>
                  </a:lnTo>
                  <a:lnTo>
                    <a:pt x="393" y="810"/>
                  </a:lnTo>
                  <a:lnTo>
                    <a:pt x="393" y="810"/>
                  </a:lnTo>
                  <a:lnTo>
                    <a:pt x="393" y="810"/>
                  </a:lnTo>
                  <a:lnTo>
                    <a:pt x="379" y="793"/>
                  </a:lnTo>
                  <a:lnTo>
                    <a:pt x="364" y="775"/>
                  </a:lnTo>
                  <a:lnTo>
                    <a:pt x="350" y="759"/>
                  </a:lnTo>
                  <a:lnTo>
                    <a:pt x="336" y="740"/>
                  </a:lnTo>
                  <a:lnTo>
                    <a:pt x="323" y="726"/>
                  </a:lnTo>
                  <a:lnTo>
                    <a:pt x="311" y="709"/>
                  </a:lnTo>
                  <a:lnTo>
                    <a:pt x="299" y="695"/>
                  </a:lnTo>
                  <a:lnTo>
                    <a:pt x="287" y="679"/>
                  </a:lnTo>
                  <a:lnTo>
                    <a:pt x="276" y="662"/>
                  </a:lnTo>
                  <a:lnTo>
                    <a:pt x="264" y="648"/>
                  </a:lnTo>
                  <a:lnTo>
                    <a:pt x="252" y="632"/>
                  </a:lnTo>
                  <a:lnTo>
                    <a:pt x="240" y="617"/>
                  </a:lnTo>
                  <a:lnTo>
                    <a:pt x="227" y="599"/>
                  </a:lnTo>
                  <a:lnTo>
                    <a:pt x="213" y="582"/>
                  </a:lnTo>
                  <a:lnTo>
                    <a:pt x="199" y="566"/>
                  </a:lnTo>
                  <a:lnTo>
                    <a:pt x="186" y="548"/>
                  </a:lnTo>
                  <a:lnTo>
                    <a:pt x="172" y="531"/>
                  </a:lnTo>
                  <a:lnTo>
                    <a:pt x="160" y="515"/>
                  </a:lnTo>
                  <a:lnTo>
                    <a:pt x="145" y="496"/>
                  </a:lnTo>
                  <a:lnTo>
                    <a:pt x="133" y="480"/>
                  </a:lnTo>
                  <a:lnTo>
                    <a:pt x="117" y="459"/>
                  </a:lnTo>
                  <a:lnTo>
                    <a:pt x="100" y="439"/>
                  </a:lnTo>
                  <a:lnTo>
                    <a:pt x="82" y="418"/>
                  </a:lnTo>
                  <a:lnTo>
                    <a:pt x="65" y="398"/>
                  </a:lnTo>
                  <a:lnTo>
                    <a:pt x="49" y="377"/>
                  </a:lnTo>
                  <a:lnTo>
                    <a:pt x="33" y="355"/>
                  </a:lnTo>
                  <a:lnTo>
                    <a:pt x="16" y="334"/>
                  </a:lnTo>
                  <a:lnTo>
                    <a:pt x="0" y="314"/>
                  </a:lnTo>
                  <a:lnTo>
                    <a:pt x="0" y="312"/>
                  </a:lnTo>
                  <a:lnTo>
                    <a:pt x="0" y="308"/>
                  </a:lnTo>
                  <a:lnTo>
                    <a:pt x="4" y="287"/>
                  </a:lnTo>
                  <a:lnTo>
                    <a:pt x="8" y="269"/>
                  </a:lnTo>
                  <a:lnTo>
                    <a:pt x="12" y="248"/>
                  </a:lnTo>
                  <a:lnTo>
                    <a:pt x="14" y="230"/>
                  </a:lnTo>
                  <a:lnTo>
                    <a:pt x="18" y="211"/>
                  </a:lnTo>
                  <a:lnTo>
                    <a:pt x="22" y="191"/>
                  </a:lnTo>
                  <a:lnTo>
                    <a:pt x="24" y="173"/>
                  </a:lnTo>
                  <a:lnTo>
                    <a:pt x="29" y="152"/>
                  </a:lnTo>
                  <a:lnTo>
                    <a:pt x="33" y="134"/>
                  </a:lnTo>
                  <a:lnTo>
                    <a:pt x="37" y="115"/>
                  </a:lnTo>
                  <a:lnTo>
                    <a:pt x="39" y="95"/>
                  </a:lnTo>
                  <a:lnTo>
                    <a:pt x="43" y="76"/>
                  </a:lnTo>
                  <a:lnTo>
                    <a:pt x="47" y="58"/>
                  </a:lnTo>
                  <a:lnTo>
                    <a:pt x="49" y="37"/>
                  </a:lnTo>
                  <a:lnTo>
                    <a:pt x="53" y="19"/>
                  </a:lnTo>
                  <a:lnTo>
                    <a:pt x="57" y="0"/>
                  </a:lnTo>
                  <a:lnTo>
                    <a:pt x="72" y="2"/>
                  </a:lnTo>
                  <a:lnTo>
                    <a:pt x="88" y="5"/>
                  </a:lnTo>
                  <a:lnTo>
                    <a:pt x="102" y="9"/>
                  </a:lnTo>
                  <a:lnTo>
                    <a:pt x="117" y="11"/>
                  </a:lnTo>
                  <a:lnTo>
                    <a:pt x="133" y="13"/>
                  </a:lnTo>
                  <a:lnTo>
                    <a:pt x="147" y="15"/>
                  </a:lnTo>
                  <a:lnTo>
                    <a:pt x="162" y="19"/>
                  </a:lnTo>
                  <a:lnTo>
                    <a:pt x="178" y="21"/>
                  </a:lnTo>
                  <a:lnTo>
                    <a:pt x="192" y="23"/>
                  </a:lnTo>
                  <a:lnTo>
                    <a:pt x="207" y="25"/>
                  </a:lnTo>
                  <a:lnTo>
                    <a:pt x="223" y="29"/>
                  </a:lnTo>
                  <a:lnTo>
                    <a:pt x="237" y="31"/>
                  </a:lnTo>
                  <a:lnTo>
                    <a:pt x="252" y="33"/>
                  </a:lnTo>
                  <a:lnTo>
                    <a:pt x="268" y="35"/>
                  </a:lnTo>
                  <a:lnTo>
                    <a:pt x="283" y="37"/>
                  </a:lnTo>
                  <a:lnTo>
                    <a:pt x="297" y="39"/>
                  </a:lnTo>
                  <a:lnTo>
                    <a:pt x="313" y="43"/>
                  </a:lnTo>
                  <a:lnTo>
                    <a:pt x="328" y="46"/>
                  </a:lnTo>
                  <a:lnTo>
                    <a:pt x="344" y="48"/>
                  </a:lnTo>
                  <a:lnTo>
                    <a:pt x="358" y="50"/>
                  </a:lnTo>
                  <a:lnTo>
                    <a:pt x="373" y="52"/>
                  </a:lnTo>
                  <a:lnTo>
                    <a:pt x="389" y="54"/>
                  </a:lnTo>
                  <a:lnTo>
                    <a:pt x="403" y="56"/>
                  </a:lnTo>
                  <a:lnTo>
                    <a:pt x="418" y="58"/>
                  </a:lnTo>
                  <a:lnTo>
                    <a:pt x="434" y="60"/>
                  </a:lnTo>
                  <a:lnTo>
                    <a:pt x="448" y="62"/>
                  </a:lnTo>
                  <a:lnTo>
                    <a:pt x="463" y="64"/>
                  </a:lnTo>
                  <a:lnTo>
                    <a:pt x="479" y="66"/>
                  </a:lnTo>
                  <a:lnTo>
                    <a:pt x="493" y="68"/>
                  </a:lnTo>
                  <a:lnTo>
                    <a:pt x="508" y="70"/>
                  </a:lnTo>
                  <a:lnTo>
                    <a:pt x="524" y="72"/>
                  </a:lnTo>
                  <a:lnTo>
                    <a:pt x="539" y="74"/>
                  </a:lnTo>
                  <a:lnTo>
                    <a:pt x="536" y="91"/>
                  </a:lnTo>
                  <a:lnTo>
                    <a:pt x="534" y="107"/>
                  </a:lnTo>
                  <a:lnTo>
                    <a:pt x="532" y="123"/>
                  </a:lnTo>
                  <a:lnTo>
                    <a:pt x="530" y="140"/>
                  </a:lnTo>
                  <a:lnTo>
                    <a:pt x="528" y="156"/>
                  </a:lnTo>
                  <a:lnTo>
                    <a:pt x="526" y="173"/>
                  </a:lnTo>
                  <a:lnTo>
                    <a:pt x="524" y="189"/>
                  </a:lnTo>
                  <a:lnTo>
                    <a:pt x="522" y="205"/>
                  </a:lnTo>
                  <a:lnTo>
                    <a:pt x="520" y="222"/>
                  </a:lnTo>
                  <a:lnTo>
                    <a:pt x="518" y="238"/>
                  </a:lnTo>
                  <a:lnTo>
                    <a:pt x="516" y="257"/>
                  </a:lnTo>
                  <a:lnTo>
                    <a:pt x="514" y="273"/>
                  </a:lnTo>
                  <a:lnTo>
                    <a:pt x="512" y="289"/>
                  </a:lnTo>
                  <a:lnTo>
                    <a:pt x="510" y="306"/>
                  </a:lnTo>
                  <a:lnTo>
                    <a:pt x="508" y="322"/>
                  </a:lnTo>
                  <a:lnTo>
                    <a:pt x="506" y="339"/>
                  </a:lnTo>
                  <a:lnTo>
                    <a:pt x="504" y="355"/>
                  </a:lnTo>
                  <a:lnTo>
                    <a:pt x="502" y="371"/>
                  </a:lnTo>
                  <a:lnTo>
                    <a:pt x="500" y="388"/>
                  </a:lnTo>
                  <a:lnTo>
                    <a:pt x="498" y="404"/>
                  </a:lnTo>
                  <a:lnTo>
                    <a:pt x="496" y="421"/>
                  </a:lnTo>
                  <a:lnTo>
                    <a:pt x="493" y="437"/>
                  </a:lnTo>
                  <a:lnTo>
                    <a:pt x="491" y="455"/>
                  </a:lnTo>
                  <a:lnTo>
                    <a:pt x="489" y="472"/>
                  </a:lnTo>
                  <a:lnTo>
                    <a:pt x="487" y="488"/>
                  </a:lnTo>
                  <a:lnTo>
                    <a:pt x="485" y="505"/>
                  </a:lnTo>
                  <a:lnTo>
                    <a:pt x="483" y="521"/>
                  </a:lnTo>
                  <a:lnTo>
                    <a:pt x="479" y="537"/>
                  </a:lnTo>
                  <a:lnTo>
                    <a:pt x="477" y="554"/>
                  </a:lnTo>
                  <a:lnTo>
                    <a:pt x="475" y="570"/>
                  </a:lnTo>
                  <a:lnTo>
                    <a:pt x="473" y="587"/>
                  </a:lnTo>
                  <a:lnTo>
                    <a:pt x="471" y="605"/>
                  </a:lnTo>
                  <a:lnTo>
                    <a:pt x="471" y="605"/>
                  </a:lnTo>
                  <a:lnTo>
                    <a:pt x="471" y="607"/>
                  </a:lnTo>
                  <a:lnTo>
                    <a:pt x="471" y="611"/>
                  </a:lnTo>
                  <a:lnTo>
                    <a:pt x="471" y="617"/>
                  </a:lnTo>
                  <a:lnTo>
                    <a:pt x="469" y="623"/>
                  </a:lnTo>
                  <a:lnTo>
                    <a:pt x="469" y="630"/>
                  </a:lnTo>
                  <a:lnTo>
                    <a:pt x="467" y="636"/>
                  </a:lnTo>
                  <a:lnTo>
                    <a:pt x="467" y="644"/>
                  </a:lnTo>
                  <a:lnTo>
                    <a:pt x="465" y="650"/>
                  </a:lnTo>
                  <a:lnTo>
                    <a:pt x="465" y="658"/>
                  </a:lnTo>
                  <a:lnTo>
                    <a:pt x="465" y="664"/>
                  </a:lnTo>
                  <a:lnTo>
                    <a:pt x="463" y="671"/>
                  </a:lnTo>
                  <a:lnTo>
                    <a:pt x="463" y="677"/>
                  </a:lnTo>
                  <a:lnTo>
                    <a:pt x="463" y="681"/>
                  </a:lnTo>
                  <a:lnTo>
                    <a:pt x="461" y="683"/>
                  </a:lnTo>
                  <a:lnTo>
                    <a:pt x="461" y="683"/>
                  </a:lnTo>
                  <a:lnTo>
                    <a:pt x="461" y="687"/>
                  </a:lnTo>
                  <a:lnTo>
                    <a:pt x="461" y="689"/>
                  </a:lnTo>
                  <a:lnTo>
                    <a:pt x="461" y="689"/>
                  </a:lnTo>
                  <a:lnTo>
                    <a:pt x="459" y="691"/>
                  </a:lnTo>
                  <a:lnTo>
                    <a:pt x="459" y="691"/>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240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V</a:t>
              </a:r>
            </a:p>
          </p:txBody>
        </p:sp>
        <p:sp>
          <p:nvSpPr>
            <p:cNvPr id="155" name="Freeform 22">
              <a:extLst>
                <a:ext uri="{FF2B5EF4-FFF2-40B4-BE49-F238E27FC236}">
                  <a16:creationId xmlns:a16="http://schemas.microsoft.com/office/drawing/2014/main" id="{976C3CB7-FBE3-D031-73BE-DC1CBBB3F824}"/>
                </a:ext>
              </a:extLst>
            </p:cNvPr>
            <p:cNvSpPr>
              <a:spLocks/>
            </p:cNvSpPr>
            <p:nvPr/>
          </p:nvSpPr>
          <p:spPr bwMode="auto">
            <a:xfrm>
              <a:off x="1895" y="1412"/>
              <a:ext cx="573" cy="615"/>
            </a:xfrm>
            <a:custGeom>
              <a:avLst/>
              <a:gdLst>
                <a:gd name="T0" fmla="*/ 229 w 573"/>
                <a:gd name="T1" fmla="*/ 578 h 615"/>
                <a:gd name="T2" fmla="*/ 215 w 573"/>
                <a:gd name="T3" fmla="*/ 576 h 615"/>
                <a:gd name="T4" fmla="*/ 201 w 573"/>
                <a:gd name="T5" fmla="*/ 576 h 615"/>
                <a:gd name="T6" fmla="*/ 186 w 573"/>
                <a:gd name="T7" fmla="*/ 574 h 615"/>
                <a:gd name="T8" fmla="*/ 172 w 573"/>
                <a:gd name="T9" fmla="*/ 574 h 615"/>
                <a:gd name="T10" fmla="*/ 158 w 573"/>
                <a:gd name="T11" fmla="*/ 572 h 615"/>
                <a:gd name="T12" fmla="*/ 145 w 573"/>
                <a:gd name="T13" fmla="*/ 572 h 615"/>
                <a:gd name="T14" fmla="*/ 131 w 573"/>
                <a:gd name="T15" fmla="*/ 570 h 615"/>
                <a:gd name="T16" fmla="*/ 117 w 573"/>
                <a:gd name="T17" fmla="*/ 570 h 615"/>
                <a:gd name="T18" fmla="*/ 102 w 573"/>
                <a:gd name="T19" fmla="*/ 568 h 615"/>
                <a:gd name="T20" fmla="*/ 88 w 573"/>
                <a:gd name="T21" fmla="*/ 568 h 615"/>
                <a:gd name="T22" fmla="*/ 80 w 573"/>
                <a:gd name="T23" fmla="*/ 568 h 615"/>
                <a:gd name="T24" fmla="*/ 80 w 573"/>
                <a:gd name="T25" fmla="*/ 572 h 615"/>
                <a:gd name="T26" fmla="*/ 80 w 573"/>
                <a:gd name="T27" fmla="*/ 578 h 615"/>
                <a:gd name="T28" fmla="*/ 80 w 573"/>
                <a:gd name="T29" fmla="*/ 582 h 615"/>
                <a:gd name="T30" fmla="*/ 80 w 573"/>
                <a:gd name="T31" fmla="*/ 586 h 615"/>
                <a:gd name="T32" fmla="*/ 78 w 573"/>
                <a:gd name="T33" fmla="*/ 590 h 615"/>
                <a:gd name="T34" fmla="*/ 78 w 573"/>
                <a:gd name="T35" fmla="*/ 596 h 615"/>
                <a:gd name="T36" fmla="*/ 78 w 573"/>
                <a:gd name="T37" fmla="*/ 600 h 615"/>
                <a:gd name="T38" fmla="*/ 78 w 573"/>
                <a:gd name="T39" fmla="*/ 605 h 615"/>
                <a:gd name="T40" fmla="*/ 78 w 573"/>
                <a:gd name="T41" fmla="*/ 609 h 615"/>
                <a:gd name="T42" fmla="*/ 78 w 573"/>
                <a:gd name="T43" fmla="*/ 613 h 615"/>
                <a:gd name="T44" fmla="*/ 65 w 573"/>
                <a:gd name="T45" fmla="*/ 615 h 615"/>
                <a:gd name="T46" fmla="*/ 41 w 573"/>
                <a:gd name="T47" fmla="*/ 613 h 615"/>
                <a:gd name="T48" fmla="*/ 18 w 573"/>
                <a:gd name="T49" fmla="*/ 611 h 615"/>
                <a:gd name="T50" fmla="*/ 0 w 573"/>
                <a:gd name="T51" fmla="*/ 609 h 615"/>
                <a:gd name="T52" fmla="*/ 0 w 573"/>
                <a:gd name="T53" fmla="*/ 609 h 615"/>
                <a:gd name="T54" fmla="*/ 0 w 573"/>
                <a:gd name="T55" fmla="*/ 609 h 615"/>
                <a:gd name="T56" fmla="*/ 0 w 573"/>
                <a:gd name="T57" fmla="*/ 609 h 615"/>
                <a:gd name="T58" fmla="*/ 0 w 573"/>
                <a:gd name="T59" fmla="*/ 609 h 615"/>
                <a:gd name="T60" fmla="*/ 0 w 573"/>
                <a:gd name="T61" fmla="*/ 609 h 615"/>
                <a:gd name="T62" fmla="*/ 8 w 573"/>
                <a:gd name="T63" fmla="*/ 512 h 615"/>
                <a:gd name="T64" fmla="*/ 18 w 573"/>
                <a:gd name="T65" fmla="*/ 400 h 615"/>
                <a:gd name="T66" fmla="*/ 26 w 573"/>
                <a:gd name="T67" fmla="*/ 285 h 615"/>
                <a:gd name="T68" fmla="*/ 37 w 573"/>
                <a:gd name="T69" fmla="*/ 170 h 615"/>
                <a:gd name="T70" fmla="*/ 45 w 573"/>
                <a:gd name="T71" fmla="*/ 57 h 615"/>
                <a:gd name="T72" fmla="*/ 100 w 573"/>
                <a:gd name="T73" fmla="*/ 4 h 615"/>
                <a:gd name="T74" fmla="*/ 196 w 573"/>
                <a:gd name="T75" fmla="*/ 10 h 615"/>
                <a:gd name="T76" fmla="*/ 295 w 573"/>
                <a:gd name="T77" fmla="*/ 16 h 615"/>
                <a:gd name="T78" fmla="*/ 393 w 573"/>
                <a:gd name="T79" fmla="*/ 21 h 615"/>
                <a:gd name="T80" fmla="*/ 491 w 573"/>
                <a:gd name="T81" fmla="*/ 25 h 615"/>
                <a:gd name="T82" fmla="*/ 573 w 573"/>
                <a:gd name="T83" fmla="*/ 41 h 615"/>
                <a:gd name="T84" fmla="*/ 569 w 573"/>
                <a:gd name="T85" fmla="*/ 86 h 615"/>
                <a:gd name="T86" fmla="*/ 565 w 573"/>
                <a:gd name="T87" fmla="*/ 176 h 615"/>
                <a:gd name="T88" fmla="*/ 563 w 573"/>
                <a:gd name="T89" fmla="*/ 266 h 615"/>
                <a:gd name="T90" fmla="*/ 559 w 573"/>
                <a:gd name="T91" fmla="*/ 357 h 615"/>
                <a:gd name="T92" fmla="*/ 557 w 573"/>
                <a:gd name="T93" fmla="*/ 447 h 615"/>
                <a:gd name="T94" fmla="*/ 555 w 573"/>
                <a:gd name="T95" fmla="*/ 537 h 615"/>
                <a:gd name="T96" fmla="*/ 471 w 573"/>
                <a:gd name="T97" fmla="*/ 564 h 615"/>
                <a:gd name="T98" fmla="*/ 350 w 573"/>
                <a:gd name="T99" fmla="*/ 560 h 615"/>
                <a:gd name="T100" fmla="*/ 227 w 573"/>
                <a:gd name="T101" fmla="*/ 553 h 615"/>
                <a:gd name="T102" fmla="*/ 227 w 573"/>
                <a:gd name="T103" fmla="*/ 564 h 615"/>
                <a:gd name="T104" fmla="*/ 231 w 573"/>
                <a:gd name="T105" fmla="*/ 57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3" h="615">
                  <a:moveTo>
                    <a:pt x="233" y="574"/>
                  </a:moveTo>
                  <a:lnTo>
                    <a:pt x="237" y="580"/>
                  </a:lnTo>
                  <a:lnTo>
                    <a:pt x="237" y="578"/>
                  </a:lnTo>
                  <a:lnTo>
                    <a:pt x="235" y="578"/>
                  </a:lnTo>
                  <a:lnTo>
                    <a:pt x="231" y="578"/>
                  </a:lnTo>
                  <a:lnTo>
                    <a:pt x="229" y="578"/>
                  </a:lnTo>
                  <a:lnTo>
                    <a:pt x="227" y="578"/>
                  </a:lnTo>
                  <a:lnTo>
                    <a:pt x="225" y="576"/>
                  </a:lnTo>
                  <a:lnTo>
                    <a:pt x="223" y="576"/>
                  </a:lnTo>
                  <a:lnTo>
                    <a:pt x="221" y="576"/>
                  </a:lnTo>
                  <a:lnTo>
                    <a:pt x="217" y="576"/>
                  </a:lnTo>
                  <a:lnTo>
                    <a:pt x="215" y="576"/>
                  </a:lnTo>
                  <a:lnTo>
                    <a:pt x="213" y="576"/>
                  </a:lnTo>
                  <a:lnTo>
                    <a:pt x="211" y="576"/>
                  </a:lnTo>
                  <a:lnTo>
                    <a:pt x="209" y="576"/>
                  </a:lnTo>
                  <a:lnTo>
                    <a:pt x="207" y="576"/>
                  </a:lnTo>
                  <a:lnTo>
                    <a:pt x="203" y="576"/>
                  </a:lnTo>
                  <a:lnTo>
                    <a:pt x="201" y="576"/>
                  </a:lnTo>
                  <a:lnTo>
                    <a:pt x="199" y="576"/>
                  </a:lnTo>
                  <a:lnTo>
                    <a:pt x="196" y="576"/>
                  </a:lnTo>
                  <a:lnTo>
                    <a:pt x="194" y="574"/>
                  </a:lnTo>
                  <a:lnTo>
                    <a:pt x="192" y="574"/>
                  </a:lnTo>
                  <a:lnTo>
                    <a:pt x="190" y="574"/>
                  </a:lnTo>
                  <a:lnTo>
                    <a:pt x="186" y="574"/>
                  </a:lnTo>
                  <a:lnTo>
                    <a:pt x="184" y="574"/>
                  </a:lnTo>
                  <a:lnTo>
                    <a:pt x="182" y="574"/>
                  </a:lnTo>
                  <a:lnTo>
                    <a:pt x="180" y="574"/>
                  </a:lnTo>
                  <a:lnTo>
                    <a:pt x="178" y="574"/>
                  </a:lnTo>
                  <a:lnTo>
                    <a:pt x="176" y="574"/>
                  </a:lnTo>
                  <a:lnTo>
                    <a:pt x="172" y="574"/>
                  </a:lnTo>
                  <a:lnTo>
                    <a:pt x="170" y="574"/>
                  </a:lnTo>
                  <a:lnTo>
                    <a:pt x="168" y="574"/>
                  </a:lnTo>
                  <a:lnTo>
                    <a:pt x="166" y="574"/>
                  </a:lnTo>
                  <a:lnTo>
                    <a:pt x="164" y="572"/>
                  </a:lnTo>
                  <a:lnTo>
                    <a:pt x="162" y="572"/>
                  </a:lnTo>
                  <a:lnTo>
                    <a:pt x="158" y="572"/>
                  </a:lnTo>
                  <a:lnTo>
                    <a:pt x="156" y="572"/>
                  </a:lnTo>
                  <a:lnTo>
                    <a:pt x="153" y="572"/>
                  </a:lnTo>
                  <a:lnTo>
                    <a:pt x="151" y="572"/>
                  </a:lnTo>
                  <a:lnTo>
                    <a:pt x="149" y="572"/>
                  </a:lnTo>
                  <a:lnTo>
                    <a:pt x="147" y="572"/>
                  </a:lnTo>
                  <a:lnTo>
                    <a:pt x="145" y="572"/>
                  </a:lnTo>
                  <a:lnTo>
                    <a:pt x="141" y="572"/>
                  </a:lnTo>
                  <a:lnTo>
                    <a:pt x="139" y="572"/>
                  </a:lnTo>
                  <a:lnTo>
                    <a:pt x="137" y="572"/>
                  </a:lnTo>
                  <a:lnTo>
                    <a:pt x="135" y="572"/>
                  </a:lnTo>
                  <a:lnTo>
                    <a:pt x="133" y="570"/>
                  </a:lnTo>
                  <a:lnTo>
                    <a:pt x="131" y="570"/>
                  </a:lnTo>
                  <a:lnTo>
                    <a:pt x="127" y="570"/>
                  </a:lnTo>
                  <a:lnTo>
                    <a:pt x="125" y="570"/>
                  </a:lnTo>
                  <a:lnTo>
                    <a:pt x="123" y="570"/>
                  </a:lnTo>
                  <a:lnTo>
                    <a:pt x="121" y="570"/>
                  </a:lnTo>
                  <a:lnTo>
                    <a:pt x="119" y="570"/>
                  </a:lnTo>
                  <a:lnTo>
                    <a:pt x="117" y="570"/>
                  </a:lnTo>
                  <a:lnTo>
                    <a:pt x="113" y="570"/>
                  </a:lnTo>
                  <a:lnTo>
                    <a:pt x="110" y="570"/>
                  </a:lnTo>
                  <a:lnTo>
                    <a:pt x="108" y="570"/>
                  </a:lnTo>
                  <a:lnTo>
                    <a:pt x="106" y="568"/>
                  </a:lnTo>
                  <a:lnTo>
                    <a:pt x="104" y="568"/>
                  </a:lnTo>
                  <a:lnTo>
                    <a:pt x="102" y="568"/>
                  </a:lnTo>
                  <a:lnTo>
                    <a:pt x="100" y="568"/>
                  </a:lnTo>
                  <a:lnTo>
                    <a:pt x="96" y="568"/>
                  </a:lnTo>
                  <a:lnTo>
                    <a:pt x="94" y="568"/>
                  </a:lnTo>
                  <a:lnTo>
                    <a:pt x="92" y="568"/>
                  </a:lnTo>
                  <a:lnTo>
                    <a:pt x="90" y="568"/>
                  </a:lnTo>
                  <a:lnTo>
                    <a:pt x="88" y="568"/>
                  </a:lnTo>
                  <a:lnTo>
                    <a:pt x="86" y="568"/>
                  </a:lnTo>
                  <a:lnTo>
                    <a:pt x="82" y="568"/>
                  </a:lnTo>
                  <a:lnTo>
                    <a:pt x="80" y="568"/>
                  </a:lnTo>
                  <a:lnTo>
                    <a:pt x="80" y="568"/>
                  </a:lnTo>
                  <a:lnTo>
                    <a:pt x="80" y="568"/>
                  </a:lnTo>
                  <a:lnTo>
                    <a:pt x="80" y="568"/>
                  </a:lnTo>
                  <a:lnTo>
                    <a:pt x="80" y="570"/>
                  </a:lnTo>
                  <a:lnTo>
                    <a:pt x="80" y="570"/>
                  </a:lnTo>
                  <a:lnTo>
                    <a:pt x="80" y="570"/>
                  </a:lnTo>
                  <a:lnTo>
                    <a:pt x="80" y="572"/>
                  </a:lnTo>
                  <a:lnTo>
                    <a:pt x="80" y="572"/>
                  </a:lnTo>
                  <a:lnTo>
                    <a:pt x="80" y="572"/>
                  </a:lnTo>
                  <a:lnTo>
                    <a:pt x="80" y="574"/>
                  </a:lnTo>
                  <a:lnTo>
                    <a:pt x="80" y="574"/>
                  </a:lnTo>
                  <a:lnTo>
                    <a:pt x="80" y="576"/>
                  </a:lnTo>
                  <a:lnTo>
                    <a:pt x="80" y="576"/>
                  </a:lnTo>
                  <a:lnTo>
                    <a:pt x="80" y="576"/>
                  </a:lnTo>
                  <a:lnTo>
                    <a:pt x="80" y="578"/>
                  </a:lnTo>
                  <a:lnTo>
                    <a:pt x="80" y="578"/>
                  </a:lnTo>
                  <a:lnTo>
                    <a:pt x="80" y="578"/>
                  </a:lnTo>
                  <a:lnTo>
                    <a:pt x="80" y="580"/>
                  </a:lnTo>
                  <a:lnTo>
                    <a:pt x="80" y="580"/>
                  </a:lnTo>
                  <a:lnTo>
                    <a:pt x="80" y="582"/>
                  </a:lnTo>
                  <a:lnTo>
                    <a:pt x="80" y="582"/>
                  </a:lnTo>
                  <a:lnTo>
                    <a:pt x="80" y="582"/>
                  </a:lnTo>
                  <a:lnTo>
                    <a:pt x="80" y="584"/>
                  </a:lnTo>
                  <a:lnTo>
                    <a:pt x="80" y="584"/>
                  </a:lnTo>
                  <a:lnTo>
                    <a:pt x="80" y="584"/>
                  </a:lnTo>
                  <a:lnTo>
                    <a:pt x="80" y="586"/>
                  </a:lnTo>
                  <a:lnTo>
                    <a:pt x="80" y="586"/>
                  </a:lnTo>
                  <a:lnTo>
                    <a:pt x="80" y="586"/>
                  </a:lnTo>
                  <a:lnTo>
                    <a:pt x="80" y="588"/>
                  </a:lnTo>
                  <a:lnTo>
                    <a:pt x="78" y="588"/>
                  </a:lnTo>
                  <a:lnTo>
                    <a:pt x="78" y="590"/>
                  </a:lnTo>
                  <a:lnTo>
                    <a:pt x="78" y="590"/>
                  </a:lnTo>
                  <a:lnTo>
                    <a:pt x="78" y="590"/>
                  </a:lnTo>
                  <a:lnTo>
                    <a:pt x="78" y="592"/>
                  </a:lnTo>
                  <a:lnTo>
                    <a:pt x="78" y="592"/>
                  </a:lnTo>
                  <a:lnTo>
                    <a:pt x="78" y="592"/>
                  </a:lnTo>
                  <a:lnTo>
                    <a:pt x="78" y="594"/>
                  </a:lnTo>
                  <a:lnTo>
                    <a:pt x="78" y="594"/>
                  </a:lnTo>
                  <a:lnTo>
                    <a:pt x="78" y="596"/>
                  </a:lnTo>
                  <a:lnTo>
                    <a:pt x="78" y="596"/>
                  </a:lnTo>
                  <a:lnTo>
                    <a:pt x="78" y="596"/>
                  </a:lnTo>
                  <a:lnTo>
                    <a:pt x="78" y="598"/>
                  </a:lnTo>
                  <a:lnTo>
                    <a:pt x="78" y="598"/>
                  </a:lnTo>
                  <a:lnTo>
                    <a:pt x="78" y="598"/>
                  </a:lnTo>
                  <a:lnTo>
                    <a:pt x="78" y="600"/>
                  </a:lnTo>
                  <a:lnTo>
                    <a:pt x="78" y="600"/>
                  </a:lnTo>
                  <a:lnTo>
                    <a:pt x="78" y="603"/>
                  </a:lnTo>
                  <a:lnTo>
                    <a:pt x="78" y="603"/>
                  </a:lnTo>
                  <a:lnTo>
                    <a:pt x="78" y="603"/>
                  </a:lnTo>
                  <a:lnTo>
                    <a:pt x="78" y="605"/>
                  </a:lnTo>
                  <a:lnTo>
                    <a:pt x="78" y="605"/>
                  </a:lnTo>
                  <a:lnTo>
                    <a:pt x="78" y="605"/>
                  </a:lnTo>
                  <a:lnTo>
                    <a:pt x="78" y="607"/>
                  </a:lnTo>
                  <a:lnTo>
                    <a:pt x="78" y="607"/>
                  </a:lnTo>
                  <a:lnTo>
                    <a:pt x="78" y="607"/>
                  </a:lnTo>
                  <a:lnTo>
                    <a:pt x="78" y="609"/>
                  </a:lnTo>
                  <a:lnTo>
                    <a:pt x="78" y="609"/>
                  </a:lnTo>
                  <a:lnTo>
                    <a:pt x="78" y="611"/>
                  </a:lnTo>
                  <a:lnTo>
                    <a:pt x="78" y="611"/>
                  </a:lnTo>
                  <a:lnTo>
                    <a:pt x="78" y="611"/>
                  </a:lnTo>
                  <a:lnTo>
                    <a:pt x="78" y="613"/>
                  </a:lnTo>
                  <a:lnTo>
                    <a:pt x="78" y="613"/>
                  </a:lnTo>
                  <a:lnTo>
                    <a:pt x="78" y="613"/>
                  </a:lnTo>
                  <a:lnTo>
                    <a:pt x="78" y="615"/>
                  </a:lnTo>
                  <a:lnTo>
                    <a:pt x="78" y="615"/>
                  </a:lnTo>
                  <a:lnTo>
                    <a:pt x="78" y="615"/>
                  </a:lnTo>
                  <a:lnTo>
                    <a:pt x="74" y="615"/>
                  </a:lnTo>
                  <a:lnTo>
                    <a:pt x="70" y="615"/>
                  </a:lnTo>
                  <a:lnTo>
                    <a:pt x="65" y="615"/>
                  </a:lnTo>
                  <a:lnTo>
                    <a:pt x="61" y="615"/>
                  </a:lnTo>
                  <a:lnTo>
                    <a:pt x="57" y="613"/>
                  </a:lnTo>
                  <a:lnTo>
                    <a:pt x="53" y="613"/>
                  </a:lnTo>
                  <a:lnTo>
                    <a:pt x="49" y="613"/>
                  </a:lnTo>
                  <a:lnTo>
                    <a:pt x="45" y="613"/>
                  </a:lnTo>
                  <a:lnTo>
                    <a:pt x="41" y="613"/>
                  </a:lnTo>
                  <a:lnTo>
                    <a:pt x="37" y="613"/>
                  </a:lnTo>
                  <a:lnTo>
                    <a:pt x="33" y="613"/>
                  </a:lnTo>
                  <a:lnTo>
                    <a:pt x="31" y="611"/>
                  </a:lnTo>
                  <a:lnTo>
                    <a:pt x="26" y="611"/>
                  </a:lnTo>
                  <a:lnTo>
                    <a:pt x="22" y="611"/>
                  </a:lnTo>
                  <a:lnTo>
                    <a:pt x="18" y="611"/>
                  </a:lnTo>
                  <a:lnTo>
                    <a:pt x="14" y="611"/>
                  </a:lnTo>
                  <a:lnTo>
                    <a:pt x="10" y="611"/>
                  </a:lnTo>
                  <a:lnTo>
                    <a:pt x="6" y="609"/>
                  </a:lnTo>
                  <a:lnTo>
                    <a:pt x="2"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2" y="590"/>
                  </a:lnTo>
                  <a:lnTo>
                    <a:pt x="4" y="570"/>
                  </a:lnTo>
                  <a:lnTo>
                    <a:pt x="6" y="551"/>
                  </a:lnTo>
                  <a:lnTo>
                    <a:pt x="6" y="533"/>
                  </a:lnTo>
                  <a:lnTo>
                    <a:pt x="8" y="512"/>
                  </a:lnTo>
                  <a:lnTo>
                    <a:pt x="10" y="494"/>
                  </a:lnTo>
                  <a:lnTo>
                    <a:pt x="12" y="475"/>
                  </a:lnTo>
                  <a:lnTo>
                    <a:pt x="12" y="457"/>
                  </a:lnTo>
                  <a:lnTo>
                    <a:pt x="14" y="437"/>
                  </a:lnTo>
                  <a:lnTo>
                    <a:pt x="16" y="418"/>
                  </a:lnTo>
                  <a:lnTo>
                    <a:pt x="18" y="400"/>
                  </a:lnTo>
                  <a:lnTo>
                    <a:pt x="18" y="379"/>
                  </a:lnTo>
                  <a:lnTo>
                    <a:pt x="20" y="361"/>
                  </a:lnTo>
                  <a:lnTo>
                    <a:pt x="22" y="342"/>
                  </a:lnTo>
                  <a:lnTo>
                    <a:pt x="24" y="324"/>
                  </a:lnTo>
                  <a:lnTo>
                    <a:pt x="24" y="303"/>
                  </a:lnTo>
                  <a:lnTo>
                    <a:pt x="26" y="285"/>
                  </a:lnTo>
                  <a:lnTo>
                    <a:pt x="29" y="266"/>
                  </a:lnTo>
                  <a:lnTo>
                    <a:pt x="31" y="246"/>
                  </a:lnTo>
                  <a:lnTo>
                    <a:pt x="31" y="228"/>
                  </a:lnTo>
                  <a:lnTo>
                    <a:pt x="33" y="209"/>
                  </a:lnTo>
                  <a:lnTo>
                    <a:pt x="35" y="191"/>
                  </a:lnTo>
                  <a:lnTo>
                    <a:pt x="37" y="170"/>
                  </a:lnTo>
                  <a:lnTo>
                    <a:pt x="39" y="152"/>
                  </a:lnTo>
                  <a:lnTo>
                    <a:pt x="39" y="133"/>
                  </a:lnTo>
                  <a:lnTo>
                    <a:pt x="41" y="113"/>
                  </a:lnTo>
                  <a:lnTo>
                    <a:pt x="43" y="94"/>
                  </a:lnTo>
                  <a:lnTo>
                    <a:pt x="45" y="76"/>
                  </a:lnTo>
                  <a:lnTo>
                    <a:pt x="45" y="57"/>
                  </a:lnTo>
                  <a:lnTo>
                    <a:pt x="47" y="37"/>
                  </a:lnTo>
                  <a:lnTo>
                    <a:pt x="49" y="18"/>
                  </a:lnTo>
                  <a:lnTo>
                    <a:pt x="51" y="0"/>
                  </a:lnTo>
                  <a:lnTo>
                    <a:pt x="67" y="0"/>
                  </a:lnTo>
                  <a:lnTo>
                    <a:pt x="84" y="2"/>
                  </a:lnTo>
                  <a:lnTo>
                    <a:pt x="100" y="4"/>
                  </a:lnTo>
                  <a:lnTo>
                    <a:pt x="117" y="4"/>
                  </a:lnTo>
                  <a:lnTo>
                    <a:pt x="131" y="6"/>
                  </a:lnTo>
                  <a:lnTo>
                    <a:pt x="147" y="6"/>
                  </a:lnTo>
                  <a:lnTo>
                    <a:pt x="164" y="8"/>
                  </a:lnTo>
                  <a:lnTo>
                    <a:pt x="180" y="10"/>
                  </a:lnTo>
                  <a:lnTo>
                    <a:pt x="196" y="10"/>
                  </a:lnTo>
                  <a:lnTo>
                    <a:pt x="213" y="12"/>
                  </a:lnTo>
                  <a:lnTo>
                    <a:pt x="229" y="12"/>
                  </a:lnTo>
                  <a:lnTo>
                    <a:pt x="246" y="14"/>
                  </a:lnTo>
                  <a:lnTo>
                    <a:pt x="262" y="14"/>
                  </a:lnTo>
                  <a:lnTo>
                    <a:pt x="278" y="16"/>
                  </a:lnTo>
                  <a:lnTo>
                    <a:pt x="295" y="16"/>
                  </a:lnTo>
                  <a:lnTo>
                    <a:pt x="311" y="16"/>
                  </a:lnTo>
                  <a:lnTo>
                    <a:pt x="328" y="18"/>
                  </a:lnTo>
                  <a:lnTo>
                    <a:pt x="344" y="18"/>
                  </a:lnTo>
                  <a:lnTo>
                    <a:pt x="360" y="21"/>
                  </a:lnTo>
                  <a:lnTo>
                    <a:pt x="377" y="21"/>
                  </a:lnTo>
                  <a:lnTo>
                    <a:pt x="393" y="21"/>
                  </a:lnTo>
                  <a:lnTo>
                    <a:pt x="409" y="23"/>
                  </a:lnTo>
                  <a:lnTo>
                    <a:pt x="426" y="23"/>
                  </a:lnTo>
                  <a:lnTo>
                    <a:pt x="442" y="23"/>
                  </a:lnTo>
                  <a:lnTo>
                    <a:pt x="459" y="25"/>
                  </a:lnTo>
                  <a:lnTo>
                    <a:pt x="475" y="25"/>
                  </a:lnTo>
                  <a:lnTo>
                    <a:pt x="491" y="25"/>
                  </a:lnTo>
                  <a:lnTo>
                    <a:pt x="508" y="27"/>
                  </a:lnTo>
                  <a:lnTo>
                    <a:pt x="524" y="27"/>
                  </a:lnTo>
                  <a:lnTo>
                    <a:pt x="541" y="27"/>
                  </a:lnTo>
                  <a:lnTo>
                    <a:pt x="557" y="27"/>
                  </a:lnTo>
                  <a:lnTo>
                    <a:pt x="573" y="29"/>
                  </a:lnTo>
                  <a:lnTo>
                    <a:pt x="573" y="41"/>
                  </a:lnTo>
                  <a:lnTo>
                    <a:pt x="573" y="55"/>
                  </a:lnTo>
                  <a:lnTo>
                    <a:pt x="573" y="68"/>
                  </a:lnTo>
                  <a:lnTo>
                    <a:pt x="571" y="82"/>
                  </a:lnTo>
                  <a:lnTo>
                    <a:pt x="569" y="82"/>
                  </a:lnTo>
                  <a:lnTo>
                    <a:pt x="569" y="84"/>
                  </a:lnTo>
                  <a:lnTo>
                    <a:pt x="569" y="86"/>
                  </a:lnTo>
                  <a:lnTo>
                    <a:pt x="567" y="103"/>
                  </a:lnTo>
                  <a:lnTo>
                    <a:pt x="567" y="117"/>
                  </a:lnTo>
                  <a:lnTo>
                    <a:pt x="567" y="131"/>
                  </a:lnTo>
                  <a:lnTo>
                    <a:pt x="567" y="148"/>
                  </a:lnTo>
                  <a:lnTo>
                    <a:pt x="565" y="162"/>
                  </a:lnTo>
                  <a:lnTo>
                    <a:pt x="565" y="176"/>
                  </a:lnTo>
                  <a:lnTo>
                    <a:pt x="565" y="193"/>
                  </a:lnTo>
                  <a:lnTo>
                    <a:pt x="565" y="207"/>
                  </a:lnTo>
                  <a:lnTo>
                    <a:pt x="565" y="221"/>
                  </a:lnTo>
                  <a:lnTo>
                    <a:pt x="563" y="238"/>
                  </a:lnTo>
                  <a:lnTo>
                    <a:pt x="563" y="252"/>
                  </a:lnTo>
                  <a:lnTo>
                    <a:pt x="563" y="266"/>
                  </a:lnTo>
                  <a:lnTo>
                    <a:pt x="563" y="281"/>
                  </a:lnTo>
                  <a:lnTo>
                    <a:pt x="561" y="297"/>
                  </a:lnTo>
                  <a:lnTo>
                    <a:pt x="561" y="312"/>
                  </a:lnTo>
                  <a:lnTo>
                    <a:pt x="561" y="326"/>
                  </a:lnTo>
                  <a:lnTo>
                    <a:pt x="561" y="342"/>
                  </a:lnTo>
                  <a:lnTo>
                    <a:pt x="559" y="357"/>
                  </a:lnTo>
                  <a:lnTo>
                    <a:pt x="559" y="371"/>
                  </a:lnTo>
                  <a:lnTo>
                    <a:pt x="559" y="387"/>
                  </a:lnTo>
                  <a:lnTo>
                    <a:pt x="559" y="402"/>
                  </a:lnTo>
                  <a:lnTo>
                    <a:pt x="557" y="416"/>
                  </a:lnTo>
                  <a:lnTo>
                    <a:pt x="557" y="432"/>
                  </a:lnTo>
                  <a:lnTo>
                    <a:pt x="557" y="447"/>
                  </a:lnTo>
                  <a:lnTo>
                    <a:pt x="557" y="461"/>
                  </a:lnTo>
                  <a:lnTo>
                    <a:pt x="557" y="478"/>
                  </a:lnTo>
                  <a:lnTo>
                    <a:pt x="555" y="492"/>
                  </a:lnTo>
                  <a:lnTo>
                    <a:pt x="555" y="506"/>
                  </a:lnTo>
                  <a:lnTo>
                    <a:pt x="555" y="523"/>
                  </a:lnTo>
                  <a:lnTo>
                    <a:pt x="555" y="537"/>
                  </a:lnTo>
                  <a:lnTo>
                    <a:pt x="553" y="551"/>
                  </a:lnTo>
                  <a:lnTo>
                    <a:pt x="553" y="568"/>
                  </a:lnTo>
                  <a:lnTo>
                    <a:pt x="532" y="566"/>
                  </a:lnTo>
                  <a:lnTo>
                    <a:pt x="512" y="566"/>
                  </a:lnTo>
                  <a:lnTo>
                    <a:pt x="491" y="566"/>
                  </a:lnTo>
                  <a:lnTo>
                    <a:pt x="471" y="564"/>
                  </a:lnTo>
                  <a:lnTo>
                    <a:pt x="452" y="564"/>
                  </a:lnTo>
                  <a:lnTo>
                    <a:pt x="432" y="564"/>
                  </a:lnTo>
                  <a:lnTo>
                    <a:pt x="412" y="562"/>
                  </a:lnTo>
                  <a:lnTo>
                    <a:pt x="391" y="562"/>
                  </a:lnTo>
                  <a:lnTo>
                    <a:pt x="371" y="560"/>
                  </a:lnTo>
                  <a:lnTo>
                    <a:pt x="350" y="560"/>
                  </a:lnTo>
                  <a:lnTo>
                    <a:pt x="330" y="557"/>
                  </a:lnTo>
                  <a:lnTo>
                    <a:pt x="309" y="557"/>
                  </a:lnTo>
                  <a:lnTo>
                    <a:pt x="289" y="555"/>
                  </a:lnTo>
                  <a:lnTo>
                    <a:pt x="268" y="555"/>
                  </a:lnTo>
                  <a:lnTo>
                    <a:pt x="248" y="553"/>
                  </a:lnTo>
                  <a:lnTo>
                    <a:pt x="227" y="553"/>
                  </a:lnTo>
                  <a:lnTo>
                    <a:pt x="225" y="553"/>
                  </a:lnTo>
                  <a:lnTo>
                    <a:pt x="223" y="553"/>
                  </a:lnTo>
                  <a:lnTo>
                    <a:pt x="223" y="553"/>
                  </a:lnTo>
                  <a:lnTo>
                    <a:pt x="225" y="557"/>
                  </a:lnTo>
                  <a:lnTo>
                    <a:pt x="225" y="560"/>
                  </a:lnTo>
                  <a:lnTo>
                    <a:pt x="227" y="564"/>
                  </a:lnTo>
                  <a:lnTo>
                    <a:pt x="227" y="566"/>
                  </a:lnTo>
                  <a:lnTo>
                    <a:pt x="229" y="568"/>
                  </a:lnTo>
                  <a:lnTo>
                    <a:pt x="227" y="570"/>
                  </a:lnTo>
                  <a:lnTo>
                    <a:pt x="229" y="570"/>
                  </a:lnTo>
                  <a:lnTo>
                    <a:pt x="229" y="572"/>
                  </a:lnTo>
                  <a:lnTo>
                    <a:pt x="231" y="572"/>
                  </a:lnTo>
                  <a:lnTo>
                    <a:pt x="231" y="572"/>
                  </a:lnTo>
                  <a:lnTo>
                    <a:pt x="231" y="572"/>
                  </a:lnTo>
                  <a:lnTo>
                    <a:pt x="233" y="574"/>
                  </a:lnTo>
                  <a:lnTo>
                    <a:pt x="233" y="574"/>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M</a:t>
              </a:r>
            </a:p>
          </p:txBody>
        </p:sp>
        <p:sp>
          <p:nvSpPr>
            <p:cNvPr id="156" name="Freeform 23">
              <a:extLst>
                <a:ext uri="{FF2B5EF4-FFF2-40B4-BE49-F238E27FC236}">
                  <a16:creationId xmlns:a16="http://schemas.microsoft.com/office/drawing/2014/main" id="{AFF1A481-E8B1-C52B-C6CB-9FBA97C35320}"/>
                </a:ext>
              </a:extLst>
            </p:cNvPr>
            <p:cNvSpPr>
              <a:spLocks noEditPoints="1"/>
            </p:cNvSpPr>
            <p:nvPr/>
          </p:nvSpPr>
          <p:spPr bwMode="auto">
            <a:xfrm>
              <a:off x="4368" y="340"/>
              <a:ext cx="662" cy="480"/>
            </a:xfrm>
            <a:custGeom>
              <a:avLst/>
              <a:gdLst>
                <a:gd name="T0" fmla="*/ 485 w 662"/>
                <a:gd name="T1" fmla="*/ 480 h 480"/>
                <a:gd name="T2" fmla="*/ 549 w 662"/>
                <a:gd name="T3" fmla="*/ 449 h 480"/>
                <a:gd name="T4" fmla="*/ 573 w 662"/>
                <a:gd name="T5" fmla="*/ 441 h 480"/>
                <a:gd name="T6" fmla="*/ 596 w 662"/>
                <a:gd name="T7" fmla="*/ 422 h 480"/>
                <a:gd name="T8" fmla="*/ 639 w 662"/>
                <a:gd name="T9" fmla="*/ 379 h 480"/>
                <a:gd name="T10" fmla="*/ 627 w 662"/>
                <a:gd name="T11" fmla="*/ 388 h 480"/>
                <a:gd name="T12" fmla="*/ 604 w 662"/>
                <a:gd name="T13" fmla="*/ 406 h 480"/>
                <a:gd name="T14" fmla="*/ 618 w 662"/>
                <a:gd name="T15" fmla="*/ 394 h 480"/>
                <a:gd name="T16" fmla="*/ 629 w 662"/>
                <a:gd name="T17" fmla="*/ 375 h 480"/>
                <a:gd name="T18" fmla="*/ 594 w 662"/>
                <a:gd name="T19" fmla="*/ 402 h 480"/>
                <a:gd name="T20" fmla="*/ 553 w 662"/>
                <a:gd name="T21" fmla="*/ 416 h 480"/>
                <a:gd name="T22" fmla="*/ 539 w 662"/>
                <a:gd name="T23" fmla="*/ 418 h 480"/>
                <a:gd name="T24" fmla="*/ 522 w 662"/>
                <a:gd name="T25" fmla="*/ 433 h 480"/>
                <a:gd name="T26" fmla="*/ 514 w 662"/>
                <a:gd name="T27" fmla="*/ 439 h 480"/>
                <a:gd name="T28" fmla="*/ 502 w 662"/>
                <a:gd name="T29" fmla="*/ 468 h 480"/>
                <a:gd name="T30" fmla="*/ 516 w 662"/>
                <a:gd name="T31" fmla="*/ 455 h 480"/>
                <a:gd name="T32" fmla="*/ 526 w 662"/>
                <a:gd name="T33" fmla="*/ 455 h 480"/>
                <a:gd name="T34" fmla="*/ 567 w 662"/>
                <a:gd name="T35" fmla="*/ 433 h 480"/>
                <a:gd name="T36" fmla="*/ 594 w 662"/>
                <a:gd name="T37" fmla="*/ 422 h 480"/>
                <a:gd name="T38" fmla="*/ 614 w 662"/>
                <a:gd name="T39" fmla="*/ 412 h 480"/>
                <a:gd name="T40" fmla="*/ 641 w 662"/>
                <a:gd name="T41" fmla="*/ 392 h 480"/>
                <a:gd name="T42" fmla="*/ 643 w 662"/>
                <a:gd name="T43" fmla="*/ 355 h 480"/>
                <a:gd name="T44" fmla="*/ 250 w 662"/>
                <a:gd name="T45" fmla="*/ 119 h 480"/>
                <a:gd name="T46" fmla="*/ 260 w 662"/>
                <a:gd name="T47" fmla="*/ 113 h 480"/>
                <a:gd name="T48" fmla="*/ 254 w 662"/>
                <a:gd name="T49" fmla="*/ 115 h 480"/>
                <a:gd name="T50" fmla="*/ 242 w 662"/>
                <a:gd name="T51" fmla="*/ 158 h 480"/>
                <a:gd name="T52" fmla="*/ 487 w 662"/>
                <a:gd name="T53" fmla="*/ 392 h 480"/>
                <a:gd name="T54" fmla="*/ 502 w 662"/>
                <a:gd name="T55" fmla="*/ 437 h 480"/>
                <a:gd name="T56" fmla="*/ 512 w 662"/>
                <a:gd name="T57" fmla="*/ 433 h 480"/>
                <a:gd name="T58" fmla="*/ 518 w 662"/>
                <a:gd name="T59" fmla="*/ 414 h 480"/>
                <a:gd name="T60" fmla="*/ 520 w 662"/>
                <a:gd name="T61" fmla="*/ 381 h 480"/>
                <a:gd name="T62" fmla="*/ 504 w 662"/>
                <a:gd name="T63" fmla="*/ 302 h 480"/>
                <a:gd name="T64" fmla="*/ 504 w 662"/>
                <a:gd name="T65" fmla="*/ 215 h 480"/>
                <a:gd name="T66" fmla="*/ 487 w 662"/>
                <a:gd name="T67" fmla="*/ 146 h 480"/>
                <a:gd name="T68" fmla="*/ 477 w 662"/>
                <a:gd name="T69" fmla="*/ 146 h 480"/>
                <a:gd name="T70" fmla="*/ 473 w 662"/>
                <a:gd name="T71" fmla="*/ 123 h 480"/>
                <a:gd name="T72" fmla="*/ 461 w 662"/>
                <a:gd name="T73" fmla="*/ 101 h 480"/>
                <a:gd name="T74" fmla="*/ 455 w 662"/>
                <a:gd name="T75" fmla="*/ 58 h 480"/>
                <a:gd name="T76" fmla="*/ 449 w 662"/>
                <a:gd name="T77" fmla="*/ 45 h 480"/>
                <a:gd name="T78" fmla="*/ 449 w 662"/>
                <a:gd name="T79" fmla="*/ 31 h 480"/>
                <a:gd name="T80" fmla="*/ 444 w 662"/>
                <a:gd name="T81" fmla="*/ 17 h 480"/>
                <a:gd name="T82" fmla="*/ 410 w 662"/>
                <a:gd name="T83" fmla="*/ 8 h 480"/>
                <a:gd name="T84" fmla="*/ 317 w 662"/>
                <a:gd name="T85" fmla="*/ 35 h 480"/>
                <a:gd name="T86" fmla="*/ 266 w 662"/>
                <a:gd name="T87" fmla="*/ 107 h 480"/>
                <a:gd name="T88" fmla="*/ 238 w 662"/>
                <a:gd name="T89" fmla="*/ 150 h 480"/>
                <a:gd name="T90" fmla="*/ 250 w 662"/>
                <a:gd name="T91" fmla="*/ 148 h 480"/>
                <a:gd name="T92" fmla="*/ 258 w 662"/>
                <a:gd name="T93" fmla="*/ 154 h 480"/>
                <a:gd name="T94" fmla="*/ 244 w 662"/>
                <a:gd name="T95" fmla="*/ 170 h 480"/>
                <a:gd name="T96" fmla="*/ 256 w 662"/>
                <a:gd name="T97" fmla="*/ 187 h 480"/>
                <a:gd name="T98" fmla="*/ 221 w 662"/>
                <a:gd name="T99" fmla="*/ 230 h 480"/>
                <a:gd name="T100" fmla="*/ 203 w 662"/>
                <a:gd name="T101" fmla="*/ 244 h 480"/>
                <a:gd name="T102" fmla="*/ 88 w 662"/>
                <a:gd name="T103" fmla="*/ 252 h 480"/>
                <a:gd name="T104" fmla="*/ 55 w 662"/>
                <a:gd name="T105" fmla="*/ 295 h 480"/>
                <a:gd name="T106" fmla="*/ 53 w 662"/>
                <a:gd name="T107" fmla="*/ 330 h 480"/>
                <a:gd name="T108" fmla="*/ 27 w 662"/>
                <a:gd name="T109" fmla="*/ 363 h 480"/>
                <a:gd name="T110" fmla="*/ 4 w 662"/>
                <a:gd name="T111" fmla="*/ 406 h 480"/>
                <a:gd name="T112" fmla="*/ 139 w 662"/>
                <a:gd name="T113" fmla="*/ 392 h 480"/>
                <a:gd name="T114" fmla="*/ 326 w 662"/>
                <a:gd name="T115" fmla="*/ 353 h 480"/>
                <a:gd name="T116" fmla="*/ 383 w 662"/>
                <a:gd name="T117" fmla="*/ 357 h 480"/>
                <a:gd name="T118" fmla="*/ 393 w 662"/>
                <a:gd name="T119" fmla="*/ 381 h 480"/>
                <a:gd name="T120" fmla="*/ 424 w 662"/>
                <a:gd name="T121" fmla="*/ 396 h 480"/>
                <a:gd name="T122" fmla="*/ 53 w 662"/>
                <a:gd name="T123" fmla="*/ 29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2" h="480">
                  <a:moveTo>
                    <a:pt x="494" y="461"/>
                  </a:moveTo>
                  <a:lnTo>
                    <a:pt x="494" y="461"/>
                  </a:lnTo>
                  <a:lnTo>
                    <a:pt x="492" y="463"/>
                  </a:lnTo>
                  <a:lnTo>
                    <a:pt x="492" y="463"/>
                  </a:lnTo>
                  <a:lnTo>
                    <a:pt x="489" y="463"/>
                  </a:lnTo>
                  <a:lnTo>
                    <a:pt x="487" y="463"/>
                  </a:lnTo>
                  <a:lnTo>
                    <a:pt x="487" y="463"/>
                  </a:lnTo>
                  <a:lnTo>
                    <a:pt x="485" y="465"/>
                  </a:lnTo>
                  <a:lnTo>
                    <a:pt x="487" y="468"/>
                  </a:lnTo>
                  <a:lnTo>
                    <a:pt x="487" y="472"/>
                  </a:lnTo>
                  <a:lnTo>
                    <a:pt x="487" y="472"/>
                  </a:lnTo>
                  <a:lnTo>
                    <a:pt x="485" y="474"/>
                  </a:lnTo>
                  <a:lnTo>
                    <a:pt x="485" y="474"/>
                  </a:lnTo>
                  <a:lnTo>
                    <a:pt x="485" y="474"/>
                  </a:lnTo>
                  <a:lnTo>
                    <a:pt x="485" y="476"/>
                  </a:lnTo>
                  <a:lnTo>
                    <a:pt x="485" y="476"/>
                  </a:lnTo>
                  <a:lnTo>
                    <a:pt x="485" y="480"/>
                  </a:lnTo>
                  <a:lnTo>
                    <a:pt x="494" y="472"/>
                  </a:lnTo>
                  <a:lnTo>
                    <a:pt x="498" y="468"/>
                  </a:lnTo>
                  <a:lnTo>
                    <a:pt x="496" y="461"/>
                  </a:lnTo>
                  <a:lnTo>
                    <a:pt x="494" y="461"/>
                  </a:lnTo>
                  <a:close/>
                  <a:moveTo>
                    <a:pt x="561" y="445"/>
                  </a:moveTo>
                  <a:lnTo>
                    <a:pt x="561" y="445"/>
                  </a:lnTo>
                  <a:lnTo>
                    <a:pt x="561" y="443"/>
                  </a:lnTo>
                  <a:lnTo>
                    <a:pt x="561" y="443"/>
                  </a:lnTo>
                  <a:lnTo>
                    <a:pt x="561" y="443"/>
                  </a:lnTo>
                  <a:lnTo>
                    <a:pt x="559" y="445"/>
                  </a:lnTo>
                  <a:lnTo>
                    <a:pt x="555" y="445"/>
                  </a:lnTo>
                  <a:lnTo>
                    <a:pt x="553" y="445"/>
                  </a:lnTo>
                  <a:lnTo>
                    <a:pt x="553" y="447"/>
                  </a:lnTo>
                  <a:lnTo>
                    <a:pt x="553" y="447"/>
                  </a:lnTo>
                  <a:lnTo>
                    <a:pt x="551" y="449"/>
                  </a:lnTo>
                  <a:lnTo>
                    <a:pt x="551" y="449"/>
                  </a:lnTo>
                  <a:lnTo>
                    <a:pt x="549" y="449"/>
                  </a:lnTo>
                  <a:lnTo>
                    <a:pt x="539" y="455"/>
                  </a:lnTo>
                  <a:lnTo>
                    <a:pt x="541" y="455"/>
                  </a:lnTo>
                  <a:lnTo>
                    <a:pt x="551" y="451"/>
                  </a:lnTo>
                  <a:lnTo>
                    <a:pt x="555" y="447"/>
                  </a:lnTo>
                  <a:lnTo>
                    <a:pt x="561" y="445"/>
                  </a:lnTo>
                  <a:lnTo>
                    <a:pt x="561" y="445"/>
                  </a:lnTo>
                  <a:close/>
                  <a:moveTo>
                    <a:pt x="596" y="422"/>
                  </a:moveTo>
                  <a:lnTo>
                    <a:pt x="592" y="427"/>
                  </a:lnTo>
                  <a:lnTo>
                    <a:pt x="588" y="429"/>
                  </a:lnTo>
                  <a:lnTo>
                    <a:pt x="588" y="429"/>
                  </a:lnTo>
                  <a:lnTo>
                    <a:pt x="586" y="431"/>
                  </a:lnTo>
                  <a:lnTo>
                    <a:pt x="584" y="431"/>
                  </a:lnTo>
                  <a:lnTo>
                    <a:pt x="582" y="433"/>
                  </a:lnTo>
                  <a:lnTo>
                    <a:pt x="582" y="433"/>
                  </a:lnTo>
                  <a:lnTo>
                    <a:pt x="580" y="435"/>
                  </a:lnTo>
                  <a:lnTo>
                    <a:pt x="578" y="437"/>
                  </a:lnTo>
                  <a:lnTo>
                    <a:pt x="573" y="441"/>
                  </a:lnTo>
                  <a:lnTo>
                    <a:pt x="565" y="443"/>
                  </a:lnTo>
                  <a:lnTo>
                    <a:pt x="563" y="445"/>
                  </a:lnTo>
                  <a:lnTo>
                    <a:pt x="561" y="447"/>
                  </a:lnTo>
                  <a:lnTo>
                    <a:pt x="559" y="447"/>
                  </a:lnTo>
                  <a:lnTo>
                    <a:pt x="559" y="447"/>
                  </a:lnTo>
                  <a:lnTo>
                    <a:pt x="563" y="447"/>
                  </a:lnTo>
                  <a:lnTo>
                    <a:pt x="569" y="443"/>
                  </a:lnTo>
                  <a:lnTo>
                    <a:pt x="578" y="437"/>
                  </a:lnTo>
                  <a:lnTo>
                    <a:pt x="580" y="437"/>
                  </a:lnTo>
                  <a:lnTo>
                    <a:pt x="582" y="435"/>
                  </a:lnTo>
                  <a:lnTo>
                    <a:pt x="586" y="431"/>
                  </a:lnTo>
                  <a:lnTo>
                    <a:pt x="592" y="427"/>
                  </a:lnTo>
                  <a:lnTo>
                    <a:pt x="594" y="427"/>
                  </a:lnTo>
                  <a:lnTo>
                    <a:pt x="594" y="424"/>
                  </a:lnTo>
                  <a:lnTo>
                    <a:pt x="598" y="422"/>
                  </a:lnTo>
                  <a:lnTo>
                    <a:pt x="598" y="422"/>
                  </a:lnTo>
                  <a:lnTo>
                    <a:pt x="596" y="422"/>
                  </a:lnTo>
                  <a:close/>
                  <a:moveTo>
                    <a:pt x="662" y="373"/>
                  </a:moveTo>
                  <a:lnTo>
                    <a:pt x="659" y="373"/>
                  </a:lnTo>
                  <a:lnTo>
                    <a:pt x="657" y="373"/>
                  </a:lnTo>
                  <a:lnTo>
                    <a:pt x="657" y="375"/>
                  </a:lnTo>
                  <a:lnTo>
                    <a:pt x="657" y="375"/>
                  </a:lnTo>
                  <a:lnTo>
                    <a:pt x="655" y="375"/>
                  </a:lnTo>
                  <a:lnTo>
                    <a:pt x="655" y="375"/>
                  </a:lnTo>
                  <a:lnTo>
                    <a:pt x="653" y="375"/>
                  </a:lnTo>
                  <a:lnTo>
                    <a:pt x="653" y="377"/>
                  </a:lnTo>
                  <a:lnTo>
                    <a:pt x="651" y="377"/>
                  </a:lnTo>
                  <a:lnTo>
                    <a:pt x="651" y="379"/>
                  </a:lnTo>
                  <a:lnTo>
                    <a:pt x="649" y="381"/>
                  </a:lnTo>
                  <a:lnTo>
                    <a:pt x="645" y="383"/>
                  </a:lnTo>
                  <a:lnTo>
                    <a:pt x="645" y="386"/>
                  </a:lnTo>
                  <a:lnTo>
                    <a:pt x="643" y="383"/>
                  </a:lnTo>
                  <a:lnTo>
                    <a:pt x="643" y="383"/>
                  </a:lnTo>
                  <a:lnTo>
                    <a:pt x="639" y="379"/>
                  </a:lnTo>
                  <a:lnTo>
                    <a:pt x="637" y="379"/>
                  </a:lnTo>
                  <a:lnTo>
                    <a:pt x="637" y="381"/>
                  </a:lnTo>
                  <a:lnTo>
                    <a:pt x="637" y="383"/>
                  </a:lnTo>
                  <a:lnTo>
                    <a:pt x="637" y="386"/>
                  </a:lnTo>
                  <a:lnTo>
                    <a:pt x="633" y="383"/>
                  </a:lnTo>
                  <a:lnTo>
                    <a:pt x="633" y="383"/>
                  </a:lnTo>
                  <a:lnTo>
                    <a:pt x="633" y="383"/>
                  </a:lnTo>
                  <a:lnTo>
                    <a:pt x="633" y="386"/>
                  </a:lnTo>
                  <a:lnTo>
                    <a:pt x="633" y="386"/>
                  </a:lnTo>
                  <a:lnTo>
                    <a:pt x="631" y="386"/>
                  </a:lnTo>
                  <a:lnTo>
                    <a:pt x="629" y="388"/>
                  </a:lnTo>
                  <a:lnTo>
                    <a:pt x="629" y="388"/>
                  </a:lnTo>
                  <a:lnTo>
                    <a:pt x="627" y="388"/>
                  </a:lnTo>
                  <a:lnTo>
                    <a:pt x="627" y="386"/>
                  </a:lnTo>
                  <a:lnTo>
                    <a:pt x="627" y="386"/>
                  </a:lnTo>
                  <a:lnTo>
                    <a:pt x="625" y="386"/>
                  </a:lnTo>
                  <a:lnTo>
                    <a:pt x="627" y="388"/>
                  </a:lnTo>
                  <a:lnTo>
                    <a:pt x="625" y="390"/>
                  </a:lnTo>
                  <a:lnTo>
                    <a:pt x="623" y="392"/>
                  </a:lnTo>
                  <a:lnTo>
                    <a:pt x="621" y="396"/>
                  </a:lnTo>
                  <a:lnTo>
                    <a:pt x="618" y="398"/>
                  </a:lnTo>
                  <a:lnTo>
                    <a:pt x="618" y="400"/>
                  </a:lnTo>
                  <a:lnTo>
                    <a:pt x="621" y="400"/>
                  </a:lnTo>
                  <a:lnTo>
                    <a:pt x="618" y="402"/>
                  </a:lnTo>
                  <a:lnTo>
                    <a:pt x="616" y="402"/>
                  </a:lnTo>
                  <a:lnTo>
                    <a:pt x="614" y="404"/>
                  </a:lnTo>
                  <a:lnTo>
                    <a:pt x="614" y="404"/>
                  </a:lnTo>
                  <a:lnTo>
                    <a:pt x="612" y="404"/>
                  </a:lnTo>
                  <a:lnTo>
                    <a:pt x="610" y="404"/>
                  </a:lnTo>
                  <a:lnTo>
                    <a:pt x="608" y="406"/>
                  </a:lnTo>
                  <a:lnTo>
                    <a:pt x="608" y="404"/>
                  </a:lnTo>
                  <a:lnTo>
                    <a:pt x="606" y="404"/>
                  </a:lnTo>
                  <a:lnTo>
                    <a:pt x="606" y="404"/>
                  </a:lnTo>
                  <a:lnTo>
                    <a:pt x="604" y="406"/>
                  </a:lnTo>
                  <a:lnTo>
                    <a:pt x="606" y="404"/>
                  </a:lnTo>
                  <a:lnTo>
                    <a:pt x="606" y="402"/>
                  </a:lnTo>
                  <a:lnTo>
                    <a:pt x="608" y="400"/>
                  </a:lnTo>
                  <a:lnTo>
                    <a:pt x="610" y="400"/>
                  </a:lnTo>
                  <a:lnTo>
                    <a:pt x="610" y="398"/>
                  </a:lnTo>
                  <a:lnTo>
                    <a:pt x="610" y="396"/>
                  </a:lnTo>
                  <a:lnTo>
                    <a:pt x="610" y="396"/>
                  </a:lnTo>
                  <a:lnTo>
                    <a:pt x="612" y="396"/>
                  </a:lnTo>
                  <a:lnTo>
                    <a:pt x="612" y="394"/>
                  </a:lnTo>
                  <a:lnTo>
                    <a:pt x="612" y="394"/>
                  </a:lnTo>
                  <a:lnTo>
                    <a:pt x="612" y="394"/>
                  </a:lnTo>
                  <a:lnTo>
                    <a:pt x="614" y="394"/>
                  </a:lnTo>
                  <a:lnTo>
                    <a:pt x="614" y="392"/>
                  </a:lnTo>
                  <a:lnTo>
                    <a:pt x="616" y="392"/>
                  </a:lnTo>
                  <a:lnTo>
                    <a:pt x="616" y="392"/>
                  </a:lnTo>
                  <a:lnTo>
                    <a:pt x="616" y="394"/>
                  </a:lnTo>
                  <a:lnTo>
                    <a:pt x="618" y="394"/>
                  </a:lnTo>
                  <a:lnTo>
                    <a:pt x="618" y="392"/>
                  </a:lnTo>
                  <a:lnTo>
                    <a:pt x="618" y="392"/>
                  </a:lnTo>
                  <a:lnTo>
                    <a:pt x="616" y="390"/>
                  </a:lnTo>
                  <a:lnTo>
                    <a:pt x="616" y="390"/>
                  </a:lnTo>
                  <a:lnTo>
                    <a:pt x="618" y="388"/>
                  </a:lnTo>
                  <a:lnTo>
                    <a:pt x="618" y="388"/>
                  </a:lnTo>
                  <a:lnTo>
                    <a:pt x="621" y="388"/>
                  </a:lnTo>
                  <a:lnTo>
                    <a:pt x="621" y="386"/>
                  </a:lnTo>
                  <a:lnTo>
                    <a:pt x="621" y="386"/>
                  </a:lnTo>
                  <a:lnTo>
                    <a:pt x="618" y="386"/>
                  </a:lnTo>
                  <a:lnTo>
                    <a:pt x="618" y="386"/>
                  </a:lnTo>
                  <a:lnTo>
                    <a:pt x="618" y="386"/>
                  </a:lnTo>
                  <a:lnTo>
                    <a:pt x="623" y="377"/>
                  </a:lnTo>
                  <a:lnTo>
                    <a:pt x="625" y="375"/>
                  </a:lnTo>
                  <a:lnTo>
                    <a:pt x="627" y="377"/>
                  </a:lnTo>
                  <a:lnTo>
                    <a:pt x="627" y="377"/>
                  </a:lnTo>
                  <a:lnTo>
                    <a:pt x="629" y="375"/>
                  </a:lnTo>
                  <a:lnTo>
                    <a:pt x="629" y="373"/>
                  </a:lnTo>
                  <a:lnTo>
                    <a:pt x="629" y="373"/>
                  </a:lnTo>
                  <a:lnTo>
                    <a:pt x="629" y="371"/>
                  </a:lnTo>
                  <a:lnTo>
                    <a:pt x="629" y="371"/>
                  </a:lnTo>
                  <a:lnTo>
                    <a:pt x="627" y="371"/>
                  </a:lnTo>
                  <a:lnTo>
                    <a:pt x="625" y="371"/>
                  </a:lnTo>
                  <a:lnTo>
                    <a:pt x="623" y="375"/>
                  </a:lnTo>
                  <a:lnTo>
                    <a:pt x="621" y="377"/>
                  </a:lnTo>
                  <a:lnTo>
                    <a:pt x="618" y="379"/>
                  </a:lnTo>
                  <a:lnTo>
                    <a:pt x="618" y="381"/>
                  </a:lnTo>
                  <a:lnTo>
                    <a:pt x="614" y="383"/>
                  </a:lnTo>
                  <a:lnTo>
                    <a:pt x="614" y="383"/>
                  </a:lnTo>
                  <a:lnTo>
                    <a:pt x="612" y="388"/>
                  </a:lnTo>
                  <a:lnTo>
                    <a:pt x="608" y="390"/>
                  </a:lnTo>
                  <a:lnTo>
                    <a:pt x="604" y="396"/>
                  </a:lnTo>
                  <a:lnTo>
                    <a:pt x="602" y="398"/>
                  </a:lnTo>
                  <a:lnTo>
                    <a:pt x="594" y="402"/>
                  </a:lnTo>
                  <a:lnTo>
                    <a:pt x="580" y="404"/>
                  </a:lnTo>
                  <a:lnTo>
                    <a:pt x="567" y="408"/>
                  </a:lnTo>
                  <a:lnTo>
                    <a:pt x="567" y="408"/>
                  </a:lnTo>
                  <a:lnTo>
                    <a:pt x="567" y="410"/>
                  </a:lnTo>
                  <a:lnTo>
                    <a:pt x="567" y="410"/>
                  </a:lnTo>
                  <a:lnTo>
                    <a:pt x="565" y="410"/>
                  </a:lnTo>
                  <a:lnTo>
                    <a:pt x="565" y="408"/>
                  </a:lnTo>
                  <a:lnTo>
                    <a:pt x="563" y="408"/>
                  </a:lnTo>
                  <a:lnTo>
                    <a:pt x="563" y="408"/>
                  </a:lnTo>
                  <a:lnTo>
                    <a:pt x="561" y="410"/>
                  </a:lnTo>
                  <a:lnTo>
                    <a:pt x="561" y="412"/>
                  </a:lnTo>
                  <a:lnTo>
                    <a:pt x="561" y="414"/>
                  </a:lnTo>
                  <a:lnTo>
                    <a:pt x="561" y="414"/>
                  </a:lnTo>
                  <a:lnTo>
                    <a:pt x="557" y="416"/>
                  </a:lnTo>
                  <a:lnTo>
                    <a:pt x="555" y="418"/>
                  </a:lnTo>
                  <a:lnTo>
                    <a:pt x="555" y="416"/>
                  </a:lnTo>
                  <a:lnTo>
                    <a:pt x="553" y="416"/>
                  </a:lnTo>
                  <a:lnTo>
                    <a:pt x="553" y="416"/>
                  </a:lnTo>
                  <a:lnTo>
                    <a:pt x="551" y="416"/>
                  </a:lnTo>
                  <a:lnTo>
                    <a:pt x="543" y="416"/>
                  </a:lnTo>
                  <a:lnTo>
                    <a:pt x="541" y="416"/>
                  </a:lnTo>
                  <a:lnTo>
                    <a:pt x="541" y="418"/>
                  </a:lnTo>
                  <a:lnTo>
                    <a:pt x="543" y="418"/>
                  </a:lnTo>
                  <a:lnTo>
                    <a:pt x="545" y="418"/>
                  </a:lnTo>
                  <a:lnTo>
                    <a:pt x="545" y="418"/>
                  </a:lnTo>
                  <a:lnTo>
                    <a:pt x="547" y="418"/>
                  </a:lnTo>
                  <a:lnTo>
                    <a:pt x="547" y="420"/>
                  </a:lnTo>
                  <a:lnTo>
                    <a:pt x="545" y="420"/>
                  </a:lnTo>
                  <a:lnTo>
                    <a:pt x="545" y="420"/>
                  </a:lnTo>
                  <a:lnTo>
                    <a:pt x="543" y="420"/>
                  </a:lnTo>
                  <a:lnTo>
                    <a:pt x="541" y="422"/>
                  </a:lnTo>
                  <a:lnTo>
                    <a:pt x="541" y="420"/>
                  </a:lnTo>
                  <a:lnTo>
                    <a:pt x="539" y="420"/>
                  </a:lnTo>
                  <a:lnTo>
                    <a:pt x="539" y="418"/>
                  </a:lnTo>
                  <a:lnTo>
                    <a:pt x="539" y="418"/>
                  </a:lnTo>
                  <a:lnTo>
                    <a:pt x="537" y="418"/>
                  </a:lnTo>
                  <a:lnTo>
                    <a:pt x="535" y="420"/>
                  </a:lnTo>
                  <a:lnTo>
                    <a:pt x="537" y="420"/>
                  </a:lnTo>
                  <a:lnTo>
                    <a:pt x="537" y="422"/>
                  </a:lnTo>
                  <a:lnTo>
                    <a:pt x="539" y="422"/>
                  </a:lnTo>
                  <a:lnTo>
                    <a:pt x="537" y="424"/>
                  </a:lnTo>
                  <a:lnTo>
                    <a:pt x="535" y="424"/>
                  </a:lnTo>
                  <a:lnTo>
                    <a:pt x="535" y="424"/>
                  </a:lnTo>
                  <a:lnTo>
                    <a:pt x="535" y="422"/>
                  </a:lnTo>
                  <a:lnTo>
                    <a:pt x="535" y="422"/>
                  </a:lnTo>
                  <a:lnTo>
                    <a:pt x="530" y="422"/>
                  </a:lnTo>
                  <a:lnTo>
                    <a:pt x="524" y="424"/>
                  </a:lnTo>
                  <a:lnTo>
                    <a:pt x="522" y="429"/>
                  </a:lnTo>
                  <a:lnTo>
                    <a:pt x="526" y="435"/>
                  </a:lnTo>
                  <a:lnTo>
                    <a:pt x="524" y="435"/>
                  </a:lnTo>
                  <a:lnTo>
                    <a:pt x="522" y="433"/>
                  </a:lnTo>
                  <a:lnTo>
                    <a:pt x="520" y="431"/>
                  </a:lnTo>
                  <a:lnTo>
                    <a:pt x="518" y="431"/>
                  </a:lnTo>
                  <a:lnTo>
                    <a:pt x="518" y="431"/>
                  </a:lnTo>
                  <a:lnTo>
                    <a:pt x="518" y="433"/>
                  </a:lnTo>
                  <a:lnTo>
                    <a:pt x="518" y="435"/>
                  </a:lnTo>
                  <a:lnTo>
                    <a:pt x="520" y="435"/>
                  </a:lnTo>
                  <a:lnTo>
                    <a:pt x="520" y="435"/>
                  </a:lnTo>
                  <a:lnTo>
                    <a:pt x="520" y="437"/>
                  </a:lnTo>
                  <a:lnTo>
                    <a:pt x="520" y="437"/>
                  </a:lnTo>
                  <a:lnTo>
                    <a:pt x="520" y="437"/>
                  </a:lnTo>
                  <a:lnTo>
                    <a:pt x="518" y="437"/>
                  </a:lnTo>
                  <a:lnTo>
                    <a:pt x="518" y="435"/>
                  </a:lnTo>
                  <a:lnTo>
                    <a:pt x="516" y="435"/>
                  </a:lnTo>
                  <a:lnTo>
                    <a:pt x="516" y="437"/>
                  </a:lnTo>
                  <a:lnTo>
                    <a:pt x="516" y="439"/>
                  </a:lnTo>
                  <a:lnTo>
                    <a:pt x="516" y="441"/>
                  </a:lnTo>
                  <a:lnTo>
                    <a:pt x="514" y="439"/>
                  </a:lnTo>
                  <a:lnTo>
                    <a:pt x="512" y="439"/>
                  </a:lnTo>
                  <a:lnTo>
                    <a:pt x="510" y="441"/>
                  </a:lnTo>
                  <a:lnTo>
                    <a:pt x="510" y="443"/>
                  </a:lnTo>
                  <a:lnTo>
                    <a:pt x="506" y="443"/>
                  </a:lnTo>
                  <a:lnTo>
                    <a:pt x="504" y="445"/>
                  </a:lnTo>
                  <a:lnTo>
                    <a:pt x="502" y="453"/>
                  </a:lnTo>
                  <a:lnTo>
                    <a:pt x="502" y="453"/>
                  </a:lnTo>
                  <a:lnTo>
                    <a:pt x="500" y="453"/>
                  </a:lnTo>
                  <a:lnTo>
                    <a:pt x="500" y="455"/>
                  </a:lnTo>
                  <a:lnTo>
                    <a:pt x="500" y="455"/>
                  </a:lnTo>
                  <a:lnTo>
                    <a:pt x="500" y="455"/>
                  </a:lnTo>
                  <a:lnTo>
                    <a:pt x="500" y="455"/>
                  </a:lnTo>
                  <a:lnTo>
                    <a:pt x="498" y="459"/>
                  </a:lnTo>
                  <a:lnTo>
                    <a:pt x="498" y="459"/>
                  </a:lnTo>
                  <a:lnTo>
                    <a:pt x="500" y="463"/>
                  </a:lnTo>
                  <a:lnTo>
                    <a:pt x="502" y="465"/>
                  </a:lnTo>
                  <a:lnTo>
                    <a:pt x="502" y="468"/>
                  </a:lnTo>
                  <a:lnTo>
                    <a:pt x="504" y="465"/>
                  </a:lnTo>
                  <a:lnTo>
                    <a:pt x="508" y="465"/>
                  </a:lnTo>
                  <a:lnTo>
                    <a:pt x="508" y="463"/>
                  </a:lnTo>
                  <a:lnTo>
                    <a:pt x="508" y="463"/>
                  </a:lnTo>
                  <a:lnTo>
                    <a:pt x="510" y="463"/>
                  </a:lnTo>
                  <a:lnTo>
                    <a:pt x="510" y="463"/>
                  </a:lnTo>
                  <a:lnTo>
                    <a:pt x="510" y="463"/>
                  </a:lnTo>
                  <a:lnTo>
                    <a:pt x="512" y="463"/>
                  </a:lnTo>
                  <a:lnTo>
                    <a:pt x="512" y="461"/>
                  </a:lnTo>
                  <a:lnTo>
                    <a:pt x="510" y="459"/>
                  </a:lnTo>
                  <a:lnTo>
                    <a:pt x="510" y="459"/>
                  </a:lnTo>
                  <a:lnTo>
                    <a:pt x="510" y="459"/>
                  </a:lnTo>
                  <a:lnTo>
                    <a:pt x="510" y="459"/>
                  </a:lnTo>
                  <a:lnTo>
                    <a:pt x="512" y="457"/>
                  </a:lnTo>
                  <a:lnTo>
                    <a:pt x="512" y="455"/>
                  </a:lnTo>
                  <a:lnTo>
                    <a:pt x="514" y="455"/>
                  </a:lnTo>
                  <a:lnTo>
                    <a:pt x="516" y="455"/>
                  </a:lnTo>
                  <a:lnTo>
                    <a:pt x="518" y="455"/>
                  </a:lnTo>
                  <a:lnTo>
                    <a:pt x="520" y="455"/>
                  </a:lnTo>
                  <a:lnTo>
                    <a:pt x="520" y="457"/>
                  </a:lnTo>
                  <a:lnTo>
                    <a:pt x="520" y="457"/>
                  </a:lnTo>
                  <a:lnTo>
                    <a:pt x="520" y="457"/>
                  </a:lnTo>
                  <a:lnTo>
                    <a:pt x="520" y="457"/>
                  </a:lnTo>
                  <a:lnTo>
                    <a:pt x="520" y="459"/>
                  </a:lnTo>
                  <a:lnTo>
                    <a:pt x="510" y="465"/>
                  </a:lnTo>
                  <a:lnTo>
                    <a:pt x="508" y="468"/>
                  </a:lnTo>
                  <a:lnTo>
                    <a:pt x="512" y="468"/>
                  </a:lnTo>
                  <a:lnTo>
                    <a:pt x="522" y="459"/>
                  </a:lnTo>
                  <a:lnTo>
                    <a:pt x="537" y="457"/>
                  </a:lnTo>
                  <a:lnTo>
                    <a:pt x="537" y="455"/>
                  </a:lnTo>
                  <a:lnTo>
                    <a:pt x="535" y="455"/>
                  </a:lnTo>
                  <a:lnTo>
                    <a:pt x="528" y="459"/>
                  </a:lnTo>
                  <a:lnTo>
                    <a:pt x="526" y="457"/>
                  </a:lnTo>
                  <a:lnTo>
                    <a:pt x="526" y="455"/>
                  </a:lnTo>
                  <a:lnTo>
                    <a:pt x="528" y="455"/>
                  </a:lnTo>
                  <a:lnTo>
                    <a:pt x="532" y="453"/>
                  </a:lnTo>
                  <a:lnTo>
                    <a:pt x="541" y="449"/>
                  </a:lnTo>
                  <a:lnTo>
                    <a:pt x="549" y="447"/>
                  </a:lnTo>
                  <a:lnTo>
                    <a:pt x="551" y="445"/>
                  </a:lnTo>
                  <a:lnTo>
                    <a:pt x="553" y="443"/>
                  </a:lnTo>
                  <a:lnTo>
                    <a:pt x="559" y="441"/>
                  </a:lnTo>
                  <a:lnTo>
                    <a:pt x="559" y="439"/>
                  </a:lnTo>
                  <a:lnTo>
                    <a:pt x="559" y="439"/>
                  </a:lnTo>
                  <a:lnTo>
                    <a:pt x="561" y="437"/>
                  </a:lnTo>
                  <a:lnTo>
                    <a:pt x="561" y="437"/>
                  </a:lnTo>
                  <a:lnTo>
                    <a:pt x="565" y="437"/>
                  </a:lnTo>
                  <a:lnTo>
                    <a:pt x="567" y="437"/>
                  </a:lnTo>
                  <a:lnTo>
                    <a:pt x="569" y="437"/>
                  </a:lnTo>
                  <a:lnTo>
                    <a:pt x="569" y="435"/>
                  </a:lnTo>
                  <a:lnTo>
                    <a:pt x="567" y="435"/>
                  </a:lnTo>
                  <a:lnTo>
                    <a:pt x="567" y="433"/>
                  </a:lnTo>
                  <a:lnTo>
                    <a:pt x="569" y="433"/>
                  </a:lnTo>
                  <a:lnTo>
                    <a:pt x="569" y="433"/>
                  </a:lnTo>
                  <a:lnTo>
                    <a:pt x="571" y="433"/>
                  </a:lnTo>
                  <a:lnTo>
                    <a:pt x="571" y="433"/>
                  </a:lnTo>
                  <a:lnTo>
                    <a:pt x="573" y="433"/>
                  </a:lnTo>
                  <a:lnTo>
                    <a:pt x="575" y="431"/>
                  </a:lnTo>
                  <a:lnTo>
                    <a:pt x="578" y="431"/>
                  </a:lnTo>
                  <a:lnTo>
                    <a:pt x="578" y="429"/>
                  </a:lnTo>
                  <a:lnTo>
                    <a:pt x="584" y="429"/>
                  </a:lnTo>
                  <a:lnTo>
                    <a:pt x="586" y="427"/>
                  </a:lnTo>
                  <a:lnTo>
                    <a:pt x="586" y="424"/>
                  </a:lnTo>
                  <a:lnTo>
                    <a:pt x="588" y="424"/>
                  </a:lnTo>
                  <a:lnTo>
                    <a:pt x="590" y="424"/>
                  </a:lnTo>
                  <a:lnTo>
                    <a:pt x="590" y="424"/>
                  </a:lnTo>
                  <a:lnTo>
                    <a:pt x="592" y="424"/>
                  </a:lnTo>
                  <a:lnTo>
                    <a:pt x="594" y="422"/>
                  </a:lnTo>
                  <a:lnTo>
                    <a:pt x="594" y="422"/>
                  </a:lnTo>
                  <a:lnTo>
                    <a:pt x="592" y="420"/>
                  </a:lnTo>
                  <a:lnTo>
                    <a:pt x="594" y="420"/>
                  </a:lnTo>
                  <a:lnTo>
                    <a:pt x="604" y="416"/>
                  </a:lnTo>
                  <a:lnTo>
                    <a:pt x="606" y="416"/>
                  </a:lnTo>
                  <a:lnTo>
                    <a:pt x="604" y="416"/>
                  </a:lnTo>
                  <a:lnTo>
                    <a:pt x="604" y="418"/>
                  </a:lnTo>
                  <a:lnTo>
                    <a:pt x="600" y="420"/>
                  </a:lnTo>
                  <a:lnTo>
                    <a:pt x="600" y="420"/>
                  </a:lnTo>
                  <a:lnTo>
                    <a:pt x="600" y="420"/>
                  </a:lnTo>
                  <a:lnTo>
                    <a:pt x="600" y="420"/>
                  </a:lnTo>
                  <a:lnTo>
                    <a:pt x="600" y="422"/>
                  </a:lnTo>
                  <a:lnTo>
                    <a:pt x="600" y="420"/>
                  </a:lnTo>
                  <a:lnTo>
                    <a:pt x="600" y="420"/>
                  </a:lnTo>
                  <a:lnTo>
                    <a:pt x="600" y="420"/>
                  </a:lnTo>
                  <a:lnTo>
                    <a:pt x="602" y="420"/>
                  </a:lnTo>
                  <a:lnTo>
                    <a:pt x="610" y="414"/>
                  </a:lnTo>
                  <a:lnTo>
                    <a:pt x="614" y="412"/>
                  </a:lnTo>
                  <a:lnTo>
                    <a:pt x="616" y="410"/>
                  </a:lnTo>
                  <a:lnTo>
                    <a:pt x="618" y="408"/>
                  </a:lnTo>
                  <a:lnTo>
                    <a:pt x="616" y="408"/>
                  </a:lnTo>
                  <a:lnTo>
                    <a:pt x="616" y="406"/>
                  </a:lnTo>
                  <a:lnTo>
                    <a:pt x="616" y="406"/>
                  </a:lnTo>
                  <a:lnTo>
                    <a:pt x="616" y="404"/>
                  </a:lnTo>
                  <a:lnTo>
                    <a:pt x="616" y="404"/>
                  </a:lnTo>
                  <a:lnTo>
                    <a:pt x="618" y="404"/>
                  </a:lnTo>
                  <a:lnTo>
                    <a:pt x="621" y="404"/>
                  </a:lnTo>
                  <a:lnTo>
                    <a:pt x="621" y="406"/>
                  </a:lnTo>
                  <a:lnTo>
                    <a:pt x="621" y="408"/>
                  </a:lnTo>
                  <a:lnTo>
                    <a:pt x="621" y="406"/>
                  </a:lnTo>
                  <a:lnTo>
                    <a:pt x="625" y="404"/>
                  </a:lnTo>
                  <a:lnTo>
                    <a:pt x="627" y="404"/>
                  </a:lnTo>
                  <a:lnTo>
                    <a:pt x="631" y="400"/>
                  </a:lnTo>
                  <a:lnTo>
                    <a:pt x="637" y="394"/>
                  </a:lnTo>
                  <a:lnTo>
                    <a:pt x="641" y="392"/>
                  </a:lnTo>
                  <a:lnTo>
                    <a:pt x="647" y="386"/>
                  </a:lnTo>
                  <a:lnTo>
                    <a:pt x="651" y="383"/>
                  </a:lnTo>
                  <a:lnTo>
                    <a:pt x="659" y="375"/>
                  </a:lnTo>
                  <a:lnTo>
                    <a:pt x="662" y="375"/>
                  </a:lnTo>
                  <a:lnTo>
                    <a:pt x="662" y="373"/>
                  </a:lnTo>
                  <a:lnTo>
                    <a:pt x="662" y="373"/>
                  </a:lnTo>
                  <a:lnTo>
                    <a:pt x="662" y="373"/>
                  </a:lnTo>
                  <a:close/>
                  <a:moveTo>
                    <a:pt x="645" y="357"/>
                  </a:moveTo>
                  <a:lnTo>
                    <a:pt x="645" y="357"/>
                  </a:lnTo>
                  <a:lnTo>
                    <a:pt x="647" y="355"/>
                  </a:lnTo>
                  <a:lnTo>
                    <a:pt x="647" y="353"/>
                  </a:lnTo>
                  <a:lnTo>
                    <a:pt x="649" y="353"/>
                  </a:lnTo>
                  <a:lnTo>
                    <a:pt x="649" y="353"/>
                  </a:lnTo>
                  <a:lnTo>
                    <a:pt x="649" y="353"/>
                  </a:lnTo>
                  <a:lnTo>
                    <a:pt x="649" y="351"/>
                  </a:lnTo>
                  <a:lnTo>
                    <a:pt x="643" y="355"/>
                  </a:lnTo>
                  <a:lnTo>
                    <a:pt x="643" y="355"/>
                  </a:lnTo>
                  <a:lnTo>
                    <a:pt x="643" y="357"/>
                  </a:lnTo>
                  <a:lnTo>
                    <a:pt x="643" y="357"/>
                  </a:lnTo>
                  <a:lnTo>
                    <a:pt x="645" y="357"/>
                  </a:lnTo>
                  <a:close/>
                  <a:moveTo>
                    <a:pt x="465" y="78"/>
                  </a:moveTo>
                  <a:lnTo>
                    <a:pt x="465" y="78"/>
                  </a:lnTo>
                  <a:lnTo>
                    <a:pt x="465" y="78"/>
                  </a:lnTo>
                  <a:lnTo>
                    <a:pt x="465" y="78"/>
                  </a:lnTo>
                  <a:close/>
                  <a:moveTo>
                    <a:pt x="244" y="125"/>
                  </a:moveTo>
                  <a:lnTo>
                    <a:pt x="246" y="125"/>
                  </a:lnTo>
                  <a:lnTo>
                    <a:pt x="246" y="125"/>
                  </a:lnTo>
                  <a:lnTo>
                    <a:pt x="250" y="123"/>
                  </a:lnTo>
                  <a:lnTo>
                    <a:pt x="250" y="121"/>
                  </a:lnTo>
                  <a:lnTo>
                    <a:pt x="250" y="121"/>
                  </a:lnTo>
                  <a:lnTo>
                    <a:pt x="250" y="119"/>
                  </a:lnTo>
                  <a:lnTo>
                    <a:pt x="250" y="119"/>
                  </a:lnTo>
                  <a:lnTo>
                    <a:pt x="250" y="119"/>
                  </a:lnTo>
                  <a:lnTo>
                    <a:pt x="250" y="119"/>
                  </a:lnTo>
                  <a:lnTo>
                    <a:pt x="248" y="121"/>
                  </a:lnTo>
                  <a:lnTo>
                    <a:pt x="248" y="121"/>
                  </a:lnTo>
                  <a:lnTo>
                    <a:pt x="246" y="121"/>
                  </a:lnTo>
                  <a:lnTo>
                    <a:pt x="244" y="123"/>
                  </a:lnTo>
                  <a:lnTo>
                    <a:pt x="244" y="123"/>
                  </a:lnTo>
                  <a:lnTo>
                    <a:pt x="244" y="123"/>
                  </a:lnTo>
                  <a:lnTo>
                    <a:pt x="244" y="125"/>
                  </a:lnTo>
                  <a:lnTo>
                    <a:pt x="244" y="125"/>
                  </a:lnTo>
                  <a:close/>
                  <a:moveTo>
                    <a:pt x="252" y="117"/>
                  </a:moveTo>
                  <a:lnTo>
                    <a:pt x="252" y="119"/>
                  </a:lnTo>
                  <a:lnTo>
                    <a:pt x="252" y="119"/>
                  </a:lnTo>
                  <a:lnTo>
                    <a:pt x="254" y="121"/>
                  </a:lnTo>
                  <a:lnTo>
                    <a:pt x="254" y="119"/>
                  </a:lnTo>
                  <a:lnTo>
                    <a:pt x="256" y="117"/>
                  </a:lnTo>
                  <a:lnTo>
                    <a:pt x="258" y="117"/>
                  </a:lnTo>
                  <a:lnTo>
                    <a:pt x="258" y="115"/>
                  </a:lnTo>
                  <a:lnTo>
                    <a:pt x="260" y="113"/>
                  </a:lnTo>
                  <a:lnTo>
                    <a:pt x="260" y="111"/>
                  </a:lnTo>
                  <a:lnTo>
                    <a:pt x="260" y="111"/>
                  </a:lnTo>
                  <a:lnTo>
                    <a:pt x="260" y="111"/>
                  </a:lnTo>
                  <a:lnTo>
                    <a:pt x="260" y="109"/>
                  </a:lnTo>
                  <a:lnTo>
                    <a:pt x="260" y="111"/>
                  </a:lnTo>
                  <a:lnTo>
                    <a:pt x="258" y="111"/>
                  </a:lnTo>
                  <a:lnTo>
                    <a:pt x="258" y="113"/>
                  </a:lnTo>
                  <a:lnTo>
                    <a:pt x="258" y="111"/>
                  </a:lnTo>
                  <a:lnTo>
                    <a:pt x="256" y="113"/>
                  </a:lnTo>
                  <a:lnTo>
                    <a:pt x="256" y="115"/>
                  </a:lnTo>
                  <a:lnTo>
                    <a:pt x="254" y="115"/>
                  </a:lnTo>
                  <a:lnTo>
                    <a:pt x="254" y="115"/>
                  </a:lnTo>
                  <a:lnTo>
                    <a:pt x="254" y="115"/>
                  </a:lnTo>
                  <a:lnTo>
                    <a:pt x="254" y="115"/>
                  </a:lnTo>
                  <a:lnTo>
                    <a:pt x="254" y="115"/>
                  </a:lnTo>
                  <a:lnTo>
                    <a:pt x="254" y="115"/>
                  </a:lnTo>
                  <a:lnTo>
                    <a:pt x="254" y="115"/>
                  </a:lnTo>
                  <a:lnTo>
                    <a:pt x="252" y="115"/>
                  </a:lnTo>
                  <a:lnTo>
                    <a:pt x="252" y="117"/>
                  </a:lnTo>
                  <a:lnTo>
                    <a:pt x="252" y="115"/>
                  </a:lnTo>
                  <a:lnTo>
                    <a:pt x="252" y="117"/>
                  </a:lnTo>
                  <a:lnTo>
                    <a:pt x="252" y="117"/>
                  </a:lnTo>
                  <a:lnTo>
                    <a:pt x="250" y="117"/>
                  </a:lnTo>
                  <a:lnTo>
                    <a:pt x="252" y="117"/>
                  </a:lnTo>
                  <a:lnTo>
                    <a:pt x="252" y="117"/>
                  </a:lnTo>
                  <a:close/>
                  <a:moveTo>
                    <a:pt x="244" y="154"/>
                  </a:moveTo>
                  <a:lnTo>
                    <a:pt x="246" y="152"/>
                  </a:lnTo>
                  <a:lnTo>
                    <a:pt x="246" y="150"/>
                  </a:lnTo>
                  <a:lnTo>
                    <a:pt x="244" y="150"/>
                  </a:lnTo>
                  <a:lnTo>
                    <a:pt x="244" y="150"/>
                  </a:lnTo>
                  <a:lnTo>
                    <a:pt x="242" y="152"/>
                  </a:lnTo>
                  <a:lnTo>
                    <a:pt x="242" y="154"/>
                  </a:lnTo>
                  <a:lnTo>
                    <a:pt x="240" y="154"/>
                  </a:lnTo>
                  <a:lnTo>
                    <a:pt x="242" y="158"/>
                  </a:lnTo>
                  <a:lnTo>
                    <a:pt x="244" y="154"/>
                  </a:lnTo>
                  <a:lnTo>
                    <a:pt x="244" y="154"/>
                  </a:lnTo>
                  <a:close/>
                  <a:moveTo>
                    <a:pt x="500" y="422"/>
                  </a:moveTo>
                  <a:lnTo>
                    <a:pt x="500" y="420"/>
                  </a:lnTo>
                  <a:lnTo>
                    <a:pt x="496" y="412"/>
                  </a:lnTo>
                  <a:lnTo>
                    <a:pt x="496" y="406"/>
                  </a:lnTo>
                  <a:lnTo>
                    <a:pt x="496" y="404"/>
                  </a:lnTo>
                  <a:lnTo>
                    <a:pt x="494" y="404"/>
                  </a:lnTo>
                  <a:lnTo>
                    <a:pt x="492" y="402"/>
                  </a:lnTo>
                  <a:lnTo>
                    <a:pt x="492" y="402"/>
                  </a:lnTo>
                  <a:lnTo>
                    <a:pt x="489" y="400"/>
                  </a:lnTo>
                  <a:lnTo>
                    <a:pt x="487" y="396"/>
                  </a:lnTo>
                  <a:lnTo>
                    <a:pt x="487" y="396"/>
                  </a:lnTo>
                  <a:lnTo>
                    <a:pt x="487" y="396"/>
                  </a:lnTo>
                  <a:lnTo>
                    <a:pt x="487" y="394"/>
                  </a:lnTo>
                  <a:lnTo>
                    <a:pt x="487" y="394"/>
                  </a:lnTo>
                  <a:lnTo>
                    <a:pt x="487" y="392"/>
                  </a:lnTo>
                  <a:lnTo>
                    <a:pt x="489" y="390"/>
                  </a:lnTo>
                  <a:lnTo>
                    <a:pt x="489" y="392"/>
                  </a:lnTo>
                  <a:lnTo>
                    <a:pt x="489" y="394"/>
                  </a:lnTo>
                  <a:lnTo>
                    <a:pt x="489" y="396"/>
                  </a:lnTo>
                  <a:lnTo>
                    <a:pt x="492" y="398"/>
                  </a:lnTo>
                  <a:lnTo>
                    <a:pt x="494" y="400"/>
                  </a:lnTo>
                  <a:lnTo>
                    <a:pt x="496" y="400"/>
                  </a:lnTo>
                  <a:lnTo>
                    <a:pt x="498" y="402"/>
                  </a:lnTo>
                  <a:lnTo>
                    <a:pt x="498" y="406"/>
                  </a:lnTo>
                  <a:lnTo>
                    <a:pt x="500" y="408"/>
                  </a:lnTo>
                  <a:lnTo>
                    <a:pt x="502" y="418"/>
                  </a:lnTo>
                  <a:lnTo>
                    <a:pt x="502" y="420"/>
                  </a:lnTo>
                  <a:lnTo>
                    <a:pt x="502" y="424"/>
                  </a:lnTo>
                  <a:lnTo>
                    <a:pt x="502" y="429"/>
                  </a:lnTo>
                  <a:lnTo>
                    <a:pt x="502" y="433"/>
                  </a:lnTo>
                  <a:lnTo>
                    <a:pt x="502" y="435"/>
                  </a:lnTo>
                  <a:lnTo>
                    <a:pt x="502" y="437"/>
                  </a:lnTo>
                  <a:lnTo>
                    <a:pt x="498" y="447"/>
                  </a:lnTo>
                  <a:lnTo>
                    <a:pt x="498" y="449"/>
                  </a:lnTo>
                  <a:lnTo>
                    <a:pt x="498" y="451"/>
                  </a:lnTo>
                  <a:lnTo>
                    <a:pt x="500" y="453"/>
                  </a:lnTo>
                  <a:lnTo>
                    <a:pt x="500" y="451"/>
                  </a:lnTo>
                  <a:lnTo>
                    <a:pt x="502" y="445"/>
                  </a:lnTo>
                  <a:lnTo>
                    <a:pt x="504" y="441"/>
                  </a:lnTo>
                  <a:lnTo>
                    <a:pt x="504" y="441"/>
                  </a:lnTo>
                  <a:lnTo>
                    <a:pt x="508" y="439"/>
                  </a:lnTo>
                  <a:lnTo>
                    <a:pt x="510" y="437"/>
                  </a:lnTo>
                  <a:lnTo>
                    <a:pt x="514" y="437"/>
                  </a:lnTo>
                  <a:lnTo>
                    <a:pt x="512" y="437"/>
                  </a:lnTo>
                  <a:lnTo>
                    <a:pt x="510" y="435"/>
                  </a:lnTo>
                  <a:lnTo>
                    <a:pt x="510" y="435"/>
                  </a:lnTo>
                  <a:lnTo>
                    <a:pt x="510" y="433"/>
                  </a:lnTo>
                  <a:lnTo>
                    <a:pt x="512" y="433"/>
                  </a:lnTo>
                  <a:lnTo>
                    <a:pt x="512" y="433"/>
                  </a:lnTo>
                  <a:lnTo>
                    <a:pt x="512" y="433"/>
                  </a:lnTo>
                  <a:lnTo>
                    <a:pt x="512" y="431"/>
                  </a:lnTo>
                  <a:lnTo>
                    <a:pt x="514" y="429"/>
                  </a:lnTo>
                  <a:lnTo>
                    <a:pt x="516" y="424"/>
                  </a:lnTo>
                  <a:lnTo>
                    <a:pt x="516" y="422"/>
                  </a:lnTo>
                  <a:lnTo>
                    <a:pt x="518" y="422"/>
                  </a:lnTo>
                  <a:lnTo>
                    <a:pt x="520" y="422"/>
                  </a:lnTo>
                  <a:lnTo>
                    <a:pt x="520" y="420"/>
                  </a:lnTo>
                  <a:lnTo>
                    <a:pt x="520" y="418"/>
                  </a:lnTo>
                  <a:lnTo>
                    <a:pt x="520" y="418"/>
                  </a:lnTo>
                  <a:lnTo>
                    <a:pt x="520" y="416"/>
                  </a:lnTo>
                  <a:lnTo>
                    <a:pt x="520" y="416"/>
                  </a:lnTo>
                  <a:lnTo>
                    <a:pt x="520" y="416"/>
                  </a:lnTo>
                  <a:lnTo>
                    <a:pt x="520" y="416"/>
                  </a:lnTo>
                  <a:lnTo>
                    <a:pt x="520" y="414"/>
                  </a:lnTo>
                  <a:lnTo>
                    <a:pt x="520" y="414"/>
                  </a:lnTo>
                  <a:lnTo>
                    <a:pt x="518" y="414"/>
                  </a:lnTo>
                  <a:lnTo>
                    <a:pt x="518" y="414"/>
                  </a:lnTo>
                  <a:lnTo>
                    <a:pt x="518" y="414"/>
                  </a:lnTo>
                  <a:lnTo>
                    <a:pt x="518" y="412"/>
                  </a:lnTo>
                  <a:lnTo>
                    <a:pt x="516" y="410"/>
                  </a:lnTo>
                  <a:lnTo>
                    <a:pt x="512" y="408"/>
                  </a:lnTo>
                  <a:lnTo>
                    <a:pt x="512" y="408"/>
                  </a:lnTo>
                  <a:lnTo>
                    <a:pt x="512" y="406"/>
                  </a:lnTo>
                  <a:lnTo>
                    <a:pt x="516" y="404"/>
                  </a:lnTo>
                  <a:lnTo>
                    <a:pt x="520" y="400"/>
                  </a:lnTo>
                  <a:lnTo>
                    <a:pt x="524" y="396"/>
                  </a:lnTo>
                  <a:lnTo>
                    <a:pt x="526" y="392"/>
                  </a:lnTo>
                  <a:lnTo>
                    <a:pt x="528" y="392"/>
                  </a:lnTo>
                  <a:lnTo>
                    <a:pt x="526" y="390"/>
                  </a:lnTo>
                  <a:lnTo>
                    <a:pt x="524" y="388"/>
                  </a:lnTo>
                  <a:lnTo>
                    <a:pt x="524" y="386"/>
                  </a:lnTo>
                  <a:lnTo>
                    <a:pt x="522" y="383"/>
                  </a:lnTo>
                  <a:lnTo>
                    <a:pt x="520" y="381"/>
                  </a:lnTo>
                  <a:lnTo>
                    <a:pt x="520" y="377"/>
                  </a:lnTo>
                  <a:lnTo>
                    <a:pt x="520" y="373"/>
                  </a:lnTo>
                  <a:lnTo>
                    <a:pt x="518" y="367"/>
                  </a:lnTo>
                  <a:lnTo>
                    <a:pt x="518" y="363"/>
                  </a:lnTo>
                  <a:lnTo>
                    <a:pt x="516" y="357"/>
                  </a:lnTo>
                  <a:lnTo>
                    <a:pt x="516" y="353"/>
                  </a:lnTo>
                  <a:lnTo>
                    <a:pt x="516" y="349"/>
                  </a:lnTo>
                  <a:lnTo>
                    <a:pt x="514" y="342"/>
                  </a:lnTo>
                  <a:lnTo>
                    <a:pt x="514" y="338"/>
                  </a:lnTo>
                  <a:lnTo>
                    <a:pt x="512" y="334"/>
                  </a:lnTo>
                  <a:lnTo>
                    <a:pt x="512" y="328"/>
                  </a:lnTo>
                  <a:lnTo>
                    <a:pt x="510" y="324"/>
                  </a:lnTo>
                  <a:lnTo>
                    <a:pt x="510" y="320"/>
                  </a:lnTo>
                  <a:lnTo>
                    <a:pt x="510" y="314"/>
                  </a:lnTo>
                  <a:lnTo>
                    <a:pt x="508" y="310"/>
                  </a:lnTo>
                  <a:lnTo>
                    <a:pt x="508" y="304"/>
                  </a:lnTo>
                  <a:lnTo>
                    <a:pt x="504" y="302"/>
                  </a:lnTo>
                  <a:lnTo>
                    <a:pt x="504" y="299"/>
                  </a:lnTo>
                  <a:lnTo>
                    <a:pt x="506" y="297"/>
                  </a:lnTo>
                  <a:lnTo>
                    <a:pt x="506" y="289"/>
                  </a:lnTo>
                  <a:lnTo>
                    <a:pt x="506" y="273"/>
                  </a:lnTo>
                  <a:lnTo>
                    <a:pt x="506" y="265"/>
                  </a:lnTo>
                  <a:lnTo>
                    <a:pt x="506" y="256"/>
                  </a:lnTo>
                  <a:lnTo>
                    <a:pt x="506" y="248"/>
                  </a:lnTo>
                  <a:lnTo>
                    <a:pt x="506" y="240"/>
                  </a:lnTo>
                  <a:lnTo>
                    <a:pt x="508" y="234"/>
                  </a:lnTo>
                  <a:lnTo>
                    <a:pt x="508" y="230"/>
                  </a:lnTo>
                  <a:lnTo>
                    <a:pt x="508" y="228"/>
                  </a:lnTo>
                  <a:lnTo>
                    <a:pt x="506" y="226"/>
                  </a:lnTo>
                  <a:lnTo>
                    <a:pt x="504" y="224"/>
                  </a:lnTo>
                  <a:lnTo>
                    <a:pt x="504" y="220"/>
                  </a:lnTo>
                  <a:lnTo>
                    <a:pt x="504" y="217"/>
                  </a:lnTo>
                  <a:lnTo>
                    <a:pt x="504" y="215"/>
                  </a:lnTo>
                  <a:lnTo>
                    <a:pt x="504" y="215"/>
                  </a:lnTo>
                  <a:lnTo>
                    <a:pt x="504" y="213"/>
                  </a:lnTo>
                  <a:lnTo>
                    <a:pt x="502" y="209"/>
                  </a:lnTo>
                  <a:lnTo>
                    <a:pt x="502" y="205"/>
                  </a:lnTo>
                  <a:lnTo>
                    <a:pt x="500" y="201"/>
                  </a:lnTo>
                  <a:lnTo>
                    <a:pt x="500" y="195"/>
                  </a:lnTo>
                  <a:lnTo>
                    <a:pt x="498" y="189"/>
                  </a:lnTo>
                  <a:lnTo>
                    <a:pt x="496" y="177"/>
                  </a:lnTo>
                  <a:lnTo>
                    <a:pt x="494" y="170"/>
                  </a:lnTo>
                  <a:lnTo>
                    <a:pt x="492" y="164"/>
                  </a:lnTo>
                  <a:lnTo>
                    <a:pt x="492" y="158"/>
                  </a:lnTo>
                  <a:lnTo>
                    <a:pt x="489" y="154"/>
                  </a:lnTo>
                  <a:lnTo>
                    <a:pt x="489" y="152"/>
                  </a:lnTo>
                  <a:lnTo>
                    <a:pt x="489" y="150"/>
                  </a:lnTo>
                  <a:lnTo>
                    <a:pt x="489" y="148"/>
                  </a:lnTo>
                  <a:lnTo>
                    <a:pt x="487" y="146"/>
                  </a:lnTo>
                  <a:lnTo>
                    <a:pt x="487" y="146"/>
                  </a:lnTo>
                  <a:lnTo>
                    <a:pt x="487" y="146"/>
                  </a:lnTo>
                  <a:lnTo>
                    <a:pt x="485" y="146"/>
                  </a:lnTo>
                  <a:lnTo>
                    <a:pt x="485" y="144"/>
                  </a:lnTo>
                  <a:lnTo>
                    <a:pt x="483" y="142"/>
                  </a:lnTo>
                  <a:lnTo>
                    <a:pt x="483" y="140"/>
                  </a:lnTo>
                  <a:lnTo>
                    <a:pt x="481" y="140"/>
                  </a:lnTo>
                  <a:lnTo>
                    <a:pt x="481" y="140"/>
                  </a:lnTo>
                  <a:lnTo>
                    <a:pt x="479" y="140"/>
                  </a:lnTo>
                  <a:lnTo>
                    <a:pt x="479" y="140"/>
                  </a:lnTo>
                  <a:lnTo>
                    <a:pt x="479" y="140"/>
                  </a:lnTo>
                  <a:lnTo>
                    <a:pt x="479" y="140"/>
                  </a:lnTo>
                  <a:lnTo>
                    <a:pt x="477" y="142"/>
                  </a:lnTo>
                  <a:lnTo>
                    <a:pt x="477" y="142"/>
                  </a:lnTo>
                  <a:lnTo>
                    <a:pt x="477" y="142"/>
                  </a:lnTo>
                  <a:lnTo>
                    <a:pt x="477" y="142"/>
                  </a:lnTo>
                  <a:lnTo>
                    <a:pt x="477" y="144"/>
                  </a:lnTo>
                  <a:lnTo>
                    <a:pt x="477" y="146"/>
                  </a:lnTo>
                  <a:lnTo>
                    <a:pt x="477" y="146"/>
                  </a:lnTo>
                  <a:lnTo>
                    <a:pt x="477" y="146"/>
                  </a:lnTo>
                  <a:lnTo>
                    <a:pt x="477" y="146"/>
                  </a:lnTo>
                  <a:lnTo>
                    <a:pt x="475" y="148"/>
                  </a:lnTo>
                  <a:lnTo>
                    <a:pt x="475" y="148"/>
                  </a:lnTo>
                  <a:lnTo>
                    <a:pt x="475" y="148"/>
                  </a:lnTo>
                  <a:lnTo>
                    <a:pt x="475" y="148"/>
                  </a:lnTo>
                  <a:lnTo>
                    <a:pt x="473" y="146"/>
                  </a:lnTo>
                  <a:lnTo>
                    <a:pt x="473" y="146"/>
                  </a:lnTo>
                  <a:lnTo>
                    <a:pt x="473" y="144"/>
                  </a:lnTo>
                  <a:lnTo>
                    <a:pt x="473" y="142"/>
                  </a:lnTo>
                  <a:lnTo>
                    <a:pt x="473" y="140"/>
                  </a:lnTo>
                  <a:lnTo>
                    <a:pt x="473" y="140"/>
                  </a:lnTo>
                  <a:lnTo>
                    <a:pt x="473" y="129"/>
                  </a:lnTo>
                  <a:lnTo>
                    <a:pt x="473" y="127"/>
                  </a:lnTo>
                  <a:lnTo>
                    <a:pt x="473" y="127"/>
                  </a:lnTo>
                  <a:lnTo>
                    <a:pt x="473" y="125"/>
                  </a:lnTo>
                  <a:lnTo>
                    <a:pt x="473" y="123"/>
                  </a:lnTo>
                  <a:lnTo>
                    <a:pt x="471" y="123"/>
                  </a:lnTo>
                  <a:lnTo>
                    <a:pt x="469" y="121"/>
                  </a:lnTo>
                  <a:lnTo>
                    <a:pt x="469" y="121"/>
                  </a:lnTo>
                  <a:lnTo>
                    <a:pt x="469" y="119"/>
                  </a:lnTo>
                  <a:lnTo>
                    <a:pt x="469" y="117"/>
                  </a:lnTo>
                  <a:lnTo>
                    <a:pt x="469" y="117"/>
                  </a:lnTo>
                  <a:lnTo>
                    <a:pt x="469" y="115"/>
                  </a:lnTo>
                  <a:lnTo>
                    <a:pt x="467" y="115"/>
                  </a:lnTo>
                  <a:lnTo>
                    <a:pt x="467" y="113"/>
                  </a:lnTo>
                  <a:lnTo>
                    <a:pt x="465" y="111"/>
                  </a:lnTo>
                  <a:lnTo>
                    <a:pt x="465" y="109"/>
                  </a:lnTo>
                  <a:lnTo>
                    <a:pt x="463" y="105"/>
                  </a:lnTo>
                  <a:lnTo>
                    <a:pt x="463" y="103"/>
                  </a:lnTo>
                  <a:lnTo>
                    <a:pt x="463" y="101"/>
                  </a:lnTo>
                  <a:lnTo>
                    <a:pt x="463" y="101"/>
                  </a:lnTo>
                  <a:lnTo>
                    <a:pt x="463" y="101"/>
                  </a:lnTo>
                  <a:lnTo>
                    <a:pt x="461" y="101"/>
                  </a:lnTo>
                  <a:lnTo>
                    <a:pt x="461" y="101"/>
                  </a:lnTo>
                  <a:lnTo>
                    <a:pt x="461" y="103"/>
                  </a:lnTo>
                  <a:lnTo>
                    <a:pt x="459" y="99"/>
                  </a:lnTo>
                  <a:lnTo>
                    <a:pt x="459" y="86"/>
                  </a:lnTo>
                  <a:lnTo>
                    <a:pt x="457" y="84"/>
                  </a:lnTo>
                  <a:lnTo>
                    <a:pt x="459" y="82"/>
                  </a:lnTo>
                  <a:lnTo>
                    <a:pt x="463" y="76"/>
                  </a:lnTo>
                  <a:lnTo>
                    <a:pt x="463" y="74"/>
                  </a:lnTo>
                  <a:lnTo>
                    <a:pt x="461" y="72"/>
                  </a:lnTo>
                  <a:lnTo>
                    <a:pt x="461" y="72"/>
                  </a:lnTo>
                  <a:lnTo>
                    <a:pt x="461" y="68"/>
                  </a:lnTo>
                  <a:lnTo>
                    <a:pt x="459" y="66"/>
                  </a:lnTo>
                  <a:lnTo>
                    <a:pt x="459" y="64"/>
                  </a:lnTo>
                  <a:lnTo>
                    <a:pt x="457" y="64"/>
                  </a:lnTo>
                  <a:lnTo>
                    <a:pt x="457" y="64"/>
                  </a:lnTo>
                  <a:lnTo>
                    <a:pt x="457" y="58"/>
                  </a:lnTo>
                  <a:lnTo>
                    <a:pt x="455" y="58"/>
                  </a:lnTo>
                  <a:lnTo>
                    <a:pt x="455" y="58"/>
                  </a:lnTo>
                  <a:lnTo>
                    <a:pt x="455" y="60"/>
                  </a:lnTo>
                  <a:lnTo>
                    <a:pt x="455" y="62"/>
                  </a:lnTo>
                  <a:lnTo>
                    <a:pt x="455" y="64"/>
                  </a:lnTo>
                  <a:lnTo>
                    <a:pt x="455" y="62"/>
                  </a:lnTo>
                  <a:lnTo>
                    <a:pt x="453" y="60"/>
                  </a:lnTo>
                  <a:lnTo>
                    <a:pt x="453" y="60"/>
                  </a:lnTo>
                  <a:lnTo>
                    <a:pt x="455" y="58"/>
                  </a:lnTo>
                  <a:lnTo>
                    <a:pt x="455" y="56"/>
                  </a:lnTo>
                  <a:lnTo>
                    <a:pt x="453" y="56"/>
                  </a:lnTo>
                  <a:lnTo>
                    <a:pt x="451" y="54"/>
                  </a:lnTo>
                  <a:lnTo>
                    <a:pt x="453" y="51"/>
                  </a:lnTo>
                  <a:lnTo>
                    <a:pt x="453" y="49"/>
                  </a:lnTo>
                  <a:lnTo>
                    <a:pt x="451" y="47"/>
                  </a:lnTo>
                  <a:lnTo>
                    <a:pt x="451" y="47"/>
                  </a:lnTo>
                  <a:lnTo>
                    <a:pt x="449" y="47"/>
                  </a:lnTo>
                  <a:lnTo>
                    <a:pt x="449" y="45"/>
                  </a:lnTo>
                  <a:lnTo>
                    <a:pt x="446" y="43"/>
                  </a:lnTo>
                  <a:lnTo>
                    <a:pt x="446" y="41"/>
                  </a:lnTo>
                  <a:lnTo>
                    <a:pt x="446" y="41"/>
                  </a:lnTo>
                  <a:lnTo>
                    <a:pt x="446" y="41"/>
                  </a:lnTo>
                  <a:lnTo>
                    <a:pt x="446" y="41"/>
                  </a:lnTo>
                  <a:lnTo>
                    <a:pt x="446" y="39"/>
                  </a:lnTo>
                  <a:lnTo>
                    <a:pt x="444" y="39"/>
                  </a:lnTo>
                  <a:lnTo>
                    <a:pt x="446" y="37"/>
                  </a:lnTo>
                  <a:lnTo>
                    <a:pt x="446" y="35"/>
                  </a:lnTo>
                  <a:lnTo>
                    <a:pt x="444" y="33"/>
                  </a:lnTo>
                  <a:lnTo>
                    <a:pt x="444" y="31"/>
                  </a:lnTo>
                  <a:lnTo>
                    <a:pt x="444" y="31"/>
                  </a:lnTo>
                  <a:lnTo>
                    <a:pt x="446" y="31"/>
                  </a:lnTo>
                  <a:lnTo>
                    <a:pt x="446" y="31"/>
                  </a:lnTo>
                  <a:lnTo>
                    <a:pt x="449" y="33"/>
                  </a:lnTo>
                  <a:lnTo>
                    <a:pt x="449" y="33"/>
                  </a:lnTo>
                  <a:lnTo>
                    <a:pt x="449" y="31"/>
                  </a:lnTo>
                  <a:lnTo>
                    <a:pt x="449" y="31"/>
                  </a:lnTo>
                  <a:lnTo>
                    <a:pt x="449" y="29"/>
                  </a:lnTo>
                  <a:lnTo>
                    <a:pt x="446" y="29"/>
                  </a:lnTo>
                  <a:lnTo>
                    <a:pt x="446" y="29"/>
                  </a:lnTo>
                  <a:lnTo>
                    <a:pt x="444" y="27"/>
                  </a:lnTo>
                  <a:lnTo>
                    <a:pt x="444" y="27"/>
                  </a:lnTo>
                  <a:lnTo>
                    <a:pt x="444" y="27"/>
                  </a:lnTo>
                  <a:lnTo>
                    <a:pt x="444" y="25"/>
                  </a:lnTo>
                  <a:lnTo>
                    <a:pt x="446" y="25"/>
                  </a:lnTo>
                  <a:lnTo>
                    <a:pt x="446" y="25"/>
                  </a:lnTo>
                  <a:lnTo>
                    <a:pt x="446" y="25"/>
                  </a:lnTo>
                  <a:lnTo>
                    <a:pt x="446" y="23"/>
                  </a:lnTo>
                  <a:lnTo>
                    <a:pt x="446" y="21"/>
                  </a:lnTo>
                  <a:lnTo>
                    <a:pt x="446" y="21"/>
                  </a:lnTo>
                  <a:lnTo>
                    <a:pt x="444" y="19"/>
                  </a:lnTo>
                  <a:lnTo>
                    <a:pt x="444" y="19"/>
                  </a:lnTo>
                  <a:lnTo>
                    <a:pt x="444" y="17"/>
                  </a:lnTo>
                  <a:lnTo>
                    <a:pt x="444" y="15"/>
                  </a:lnTo>
                  <a:lnTo>
                    <a:pt x="444" y="11"/>
                  </a:lnTo>
                  <a:lnTo>
                    <a:pt x="442" y="8"/>
                  </a:lnTo>
                  <a:lnTo>
                    <a:pt x="442" y="6"/>
                  </a:lnTo>
                  <a:lnTo>
                    <a:pt x="442" y="6"/>
                  </a:lnTo>
                  <a:lnTo>
                    <a:pt x="444" y="6"/>
                  </a:lnTo>
                  <a:lnTo>
                    <a:pt x="444" y="6"/>
                  </a:lnTo>
                  <a:lnTo>
                    <a:pt x="444" y="4"/>
                  </a:lnTo>
                  <a:lnTo>
                    <a:pt x="444" y="4"/>
                  </a:lnTo>
                  <a:lnTo>
                    <a:pt x="444" y="2"/>
                  </a:lnTo>
                  <a:lnTo>
                    <a:pt x="442" y="0"/>
                  </a:lnTo>
                  <a:lnTo>
                    <a:pt x="442" y="0"/>
                  </a:lnTo>
                  <a:lnTo>
                    <a:pt x="440" y="0"/>
                  </a:lnTo>
                  <a:lnTo>
                    <a:pt x="432" y="2"/>
                  </a:lnTo>
                  <a:lnTo>
                    <a:pt x="424" y="4"/>
                  </a:lnTo>
                  <a:lnTo>
                    <a:pt x="418" y="6"/>
                  </a:lnTo>
                  <a:lnTo>
                    <a:pt x="410" y="8"/>
                  </a:lnTo>
                  <a:lnTo>
                    <a:pt x="401" y="11"/>
                  </a:lnTo>
                  <a:lnTo>
                    <a:pt x="393" y="13"/>
                  </a:lnTo>
                  <a:lnTo>
                    <a:pt x="387" y="15"/>
                  </a:lnTo>
                  <a:lnTo>
                    <a:pt x="379" y="17"/>
                  </a:lnTo>
                  <a:lnTo>
                    <a:pt x="371" y="19"/>
                  </a:lnTo>
                  <a:lnTo>
                    <a:pt x="362" y="21"/>
                  </a:lnTo>
                  <a:lnTo>
                    <a:pt x="356" y="21"/>
                  </a:lnTo>
                  <a:lnTo>
                    <a:pt x="348" y="23"/>
                  </a:lnTo>
                  <a:lnTo>
                    <a:pt x="340" y="25"/>
                  </a:lnTo>
                  <a:lnTo>
                    <a:pt x="340" y="25"/>
                  </a:lnTo>
                  <a:lnTo>
                    <a:pt x="338" y="27"/>
                  </a:lnTo>
                  <a:lnTo>
                    <a:pt x="328" y="27"/>
                  </a:lnTo>
                  <a:lnTo>
                    <a:pt x="326" y="27"/>
                  </a:lnTo>
                  <a:lnTo>
                    <a:pt x="324" y="29"/>
                  </a:lnTo>
                  <a:lnTo>
                    <a:pt x="322" y="31"/>
                  </a:lnTo>
                  <a:lnTo>
                    <a:pt x="317" y="33"/>
                  </a:lnTo>
                  <a:lnTo>
                    <a:pt x="317" y="35"/>
                  </a:lnTo>
                  <a:lnTo>
                    <a:pt x="313" y="37"/>
                  </a:lnTo>
                  <a:lnTo>
                    <a:pt x="313" y="39"/>
                  </a:lnTo>
                  <a:lnTo>
                    <a:pt x="309" y="41"/>
                  </a:lnTo>
                  <a:lnTo>
                    <a:pt x="299" y="49"/>
                  </a:lnTo>
                  <a:lnTo>
                    <a:pt x="295" y="56"/>
                  </a:lnTo>
                  <a:lnTo>
                    <a:pt x="289" y="66"/>
                  </a:lnTo>
                  <a:lnTo>
                    <a:pt x="281" y="76"/>
                  </a:lnTo>
                  <a:lnTo>
                    <a:pt x="272" y="86"/>
                  </a:lnTo>
                  <a:lnTo>
                    <a:pt x="270" y="92"/>
                  </a:lnTo>
                  <a:lnTo>
                    <a:pt x="268" y="97"/>
                  </a:lnTo>
                  <a:lnTo>
                    <a:pt x="268" y="97"/>
                  </a:lnTo>
                  <a:lnTo>
                    <a:pt x="268" y="97"/>
                  </a:lnTo>
                  <a:lnTo>
                    <a:pt x="268" y="97"/>
                  </a:lnTo>
                  <a:lnTo>
                    <a:pt x="270" y="99"/>
                  </a:lnTo>
                  <a:lnTo>
                    <a:pt x="270" y="101"/>
                  </a:lnTo>
                  <a:lnTo>
                    <a:pt x="270" y="103"/>
                  </a:lnTo>
                  <a:lnTo>
                    <a:pt x="266" y="107"/>
                  </a:lnTo>
                  <a:lnTo>
                    <a:pt x="266" y="107"/>
                  </a:lnTo>
                  <a:lnTo>
                    <a:pt x="266" y="107"/>
                  </a:lnTo>
                  <a:lnTo>
                    <a:pt x="266" y="109"/>
                  </a:lnTo>
                  <a:lnTo>
                    <a:pt x="266" y="109"/>
                  </a:lnTo>
                  <a:lnTo>
                    <a:pt x="264" y="109"/>
                  </a:lnTo>
                  <a:lnTo>
                    <a:pt x="262" y="111"/>
                  </a:lnTo>
                  <a:lnTo>
                    <a:pt x="260" y="113"/>
                  </a:lnTo>
                  <a:lnTo>
                    <a:pt x="260" y="113"/>
                  </a:lnTo>
                  <a:lnTo>
                    <a:pt x="252" y="123"/>
                  </a:lnTo>
                  <a:lnTo>
                    <a:pt x="244" y="131"/>
                  </a:lnTo>
                  <a:lnTo>
                    <a:pt x="231" y="144"/>
                  </a:lnTo>
                  <a:lnTo>
                    <a:pt x="231" y="144"/>
                  </a:lnTo>
                  <a:lnTo>
                    <a:pt x="231" y="148"/>
                  </a:lnTo>
                  <a:lnTo>
                    <a:pt x="233" y="148"/>
                  </a:lnTo>
                  <a:lnTo>
                    <a:pt x="236" y="148"/>
                  </a:lnTo>
                  <a:lnTo>
                    <a:pt x="236" y="148"/>
                  </a:lnTo>
                  <a:lnTo>
                    <a:pt x="238" y="150"/>
                  </a:lnTo>
                  <a:lnTo>
                    <a:pt x="238" y="150"/>
                  </a:lnTo>
                  <a:lnTo>
                    <a:pt x="238" y="152"/>
                  </a:lnTo>
                  <a:lnTo>
                    <a:pt x="238" y="152"/>
                  </a:lnTo>
                  <a:lnTo>
                    <a:pt x="238" y="152"/>
                  </a:lnTo>
                  <a:lnTo>
                    <a:pt x="240" y="152"/>
                  </a:lnTo>
                  <a:lnTo>
                    <a:pt x="240" y="152"/>
                  </a:lnTo>
                  <a:lnTo>
                    <a:pt x="240" y="150"/>
                  </a:lnTo>
                  <a:lnTo>
                    <a:pt x="240" y="148"/>
                  </a:lnTo>
                  <a:lnTo>
                    <a:pt x="244" y="146"/>
                  </a:lnTo>
                  <a:lnTo>
                    <a:pt x="246" y="146"/>
                  </a:lnTo>
                  <a:lnTo>
                    <a:pt x="248" y="146"/>
                  </a:lnTo>
                  <a:lnTo>
                    <a:pt x="250" y="146"/>
                  </a:lnTo>
                  <a:lnTo>
                    <a:pt x="250" y="148"/>
                  </a:lnTo>
                  <a:lnTo>
                    <a:pt x="250" y="148"/>
                  </a:lnTo>
                  <a:lnTo>
                    <a:pt x="250" y="148"/>
                  </a:lnTo>
                  <a:lnTo>
                    <a:pt x="250" y="148"/>
                  </a:lnTo>
                  <a:lnTo>
                    <a:pt x="250" y="148"/>
                  </a:lnTo>
                  <a:lnTo>
                    <a:pt x="250" y="148"/>
                  </a:lnTo>
                  <a:lnTo>
                    <a:pt x="252" y="146"/>
                  </a:lnTo>
                  <a:lnTo>
                    <a:pt x="252" y="148"/>
                  </a:lnTo>
                  <a:lnTo>
                    <a:pt x="250" y="150"/>
                  </a:lnTo>
                  <a:lnTo>
                    <a:pt x="250" y="152"/>
                  </a:lnTo>
                  <a:lnTo>
                    <a:pt x="248" y="152"/>
                  </a:lnTo>
                  <a:lnTo>
                    <a:pt x="246" y="154"/>
                  </a:lnTo>
                  <a:lnTo>
                    <a:pt x="246" y="156"/>
                  </a:lnTo>
                  <a:lnTo>
                    <a:pt x="246" y="156"/>
                  </a:lnTo>
                  <a:lnTo>
                    <a:pt x="252" y="154"/>
                  </a:lnTo>
                  <a:lnTo>
                    <a:pt x="254" y="154"/>
                  </a:lnTo>
                  <a:lnTo>
                    <a:pt x="254" y="152"/>
                  </a:lnTo>
                  <a:lnTo>
                    <a:pt x="256" y="150"/>
                  </a:lnTo>
                  <a:lnTo>
                    <a:pt x="258" y="150"/>
                  </a:lnTo>
                  <a:lnTo>
                    <a:pt x="258" y="152"/>
                  </a:lnTo>
                  <a:lnTo>
                    <a:pt x="258" y="152"/>
                  </a:lnTo>
                  <a:lnTo>
                    <a:pt x="258" y="154"/>
                  </a:lnTo>
                  <a:lnTo>
                    <a:pt x="256" y="156"/>
                  </a:lnTo>
                  <a:lnTo>
                    <a:pt x="254" y="156"/>
                  </a:lnTo>
                  <a:lnTo>
                    <a:pt x="254" y="158"/>
                  </a:lnTo>
                  <a:lnTo>
                    <a:pt x="252" y="158"/>
                  </a:lnTo>
                  <a:lnTo>
                    <a:pt x="254" y="160"/>
                  </a:lnTo>
                  <a:lnTo>
                    <a:pt x="254" y="162"/>
                  </a:lnTo>
                  <a:lnTo>
                    <a:pt x="252" y="164"/>
                  </a:lnTo>
                  <a:lnTo>
                    <a:pt x="250" y="166"/>
                  </a:lnTo>
                  <a:lnTo>
                    <a:pt x="248" y="168"/>
                  </a:lnTo>
                  <a:lnTo>
                    <a:pt x="246" y="168"/>
                  </a:lnTo>
                  <a:lnTo>
                    <a:pt x="246" y="166"/>
                  </a:lnTo>
                  <a:lnTo>
                    <a:pt x="248" y="164"/>
                  </a:lnTo>
                  <a:lnTo>
                    <a:pt x="244" y="166"/>
                  </a:lnTo>
                  <a:lnTo>
                    <a:pt x="242" y="168"/>
                  </a:lnTo>
                  <a:lnTo>
                    <a:pt x="242" y="170"/>
                  </a:lnTo>
                  <a:lnTo>
                    <a:pt x="242" y="170"/>
                  </a:lnTo>
                  <a:lnTo>
                    <a:pt x="244" y="170"/>
                  </a:lnTo>
                  <a:lnTo>
                    <a:pt x="246" y="172"/>
                  </a:lnTo>
                  <a:lnTo>
                    <a:pt x="246" y="172"/>
                  </a:lnTo>
                  <a:lnTo>
                    <a:pt x="248" y="172"/>
                  </a:lnTo>
                  <a:lnTo>
                    <a:pt x="248" y="172"/>
                  </a:lnTo>
                  <a:lnTo>
                    <a:pt x="248" y="174"/>
                  </a:lnTo>
                  <a:lnTo>
                    <a:pt x="248" y="174"/>
                  </a:lnTo>
                  <a:lnTo>
                    <a:pt x="248" y="174"/>
                  </a:lnTo>
                  <a:lnTo>
                    <a:pt x="250" y="177"/>
                  </a:lnTo>
                  <a:lnTo>
                    <a:pt x="252" y="181"/>
                  </a:lnTo>
                  <a:lnTo>
                    <a:pt x="252" y="181"/>
                  </a:lnTo>
                  <a:lnTo>
                    <a:pt x="252" y="183"/>
                  </a:lnTo>
                  <a:lnTo>
                    <a:pt x="252" y="185"/>
                  </a:lnTo>
                  <a:lnTo>
                    <a:pt x="254" y="189"/>
                  </a:lnTo>
                  <a:lnTo>
                    <a:pt x="254" y="191"/>
                  </a:lnTo>
                  <a:lnTo>
                    <a:pt x="254" y="189"/>
                  </a:lnTo>
                  <a:lnTo>
                    <a:pt x="254" y="187"/>
                  </a:lnTo>
                  <a:lnTo>
                    <a:pt x="256" y="187"/>
                  </a:lnTo>
                  <a:lnTo>
                    <a:pt x="256" y="187"/>
                  </a:lnTo>
                  <a:lnTo>
                    <a:pt x="254" y="193"/>
                  </a:lnTo>
                  <a:lnTo>
                    <a:pt x="254" y="195"/>
                  </a:lnTo>
                  <a:lnTo>
                    <a:pt x="258" y="197"/>
                  </a:lnTo>
                  <a:lnTo>
                    <a:pt x="256" y="197"/>
                  </a:lnTo>
                  <a:lnTo>
                    <a:pt x="254" y="203"/>
                  </a:lnTo>
                  <a:lnTo>
                    <a:pt x="252" y="203"/>
                  </a:lnTo>
                  <a:lnTo>
                    <a:pt x="248" y="205"/>
                  </a:lnTo>
                  <a:lnTo>
                    <a:pt x="246" y="205"/>
                  </a:lnTo>
                  <a:lnTo>
                    <a:pt x="242" y="205"/>
                  </a:lnTo>
                  <a:lnTo>
                    <a:pt x="240" y="205"/>
                  </a:lnTo>
                  <a:lnTo>
                    <a:pt x="238" y="211"/>
                  </a:lnTo>
                  <a:lnTo>
                    <a:pt x="236" y="211"/>
                  </a:lnTo>
                  <a:lnTo>
                    <a:pt x="227" y="217"/>
                  </a:lnTo>
                  <a:lnTo>
                    <a:pt x="225" y="220"/>
                  </a:lnTo>
                  <a:lnTo>
                    <a:pt x="223" y="224"/>
                  </a:lnTo>
                  <a:lnTo>
                    <a:pt x="221" y="230"/>
                  </a:lnTo>
                  <a:lnTo>
                    <a:pt x="219" y="230"/>
                  </a:lnTo>
                  <a:lnTo>
                    <a:pt x="217" y="230"/>
                  </a:lnTo>
                  <a:lnTo>
                    <a:pt x="217" y="232"/>
                  </a:lnTo>
                  <a:lnTo>
                    <a:pt x="217" y="232"/>
                  </a:lnTo>
                  <a:lnTo>
                    <a:pt x="213" y="234"/>
                  </a:lnTo>
                  <a:lnTo>
                    <a:pt x="205" y="238"/>
                  </a:lnTo>
                  <a:lnTo>
                    <a:pt x="205" y="238"/>
                  </a:lnTo>
                  <a:lnTo>
                    <a:pt x="205" y="240"/>
                  </a:lnTo>
                  <a:lnTo>
                    <a:pt x="205" y="240"/>
                  </a:lnTo>
                  <a:lnTo>
                    <a:pt x="205" y="240"/>
                  </a:lnTo>
                  <a:lnTo>
                    <a:pt x="205" y="242"/>
                  </a:lnTo>
                  <a:lnTo>
                    <a:pt x="205" y="242"/>
                  </a:lnTo>
                  <a:lnTo>
                    <a:pt x="205" y="242"/>
                  </a:lnTo>
                  <a:lnTo>
                    <a:pt x="205" y="242"/>
                  </a:lnTo>
                  <a:lnTo>
                    <a:pt x="205" y="244"/>
                  </a:lnTo>
                  <a:lnTo>
                    <a:pt x="203" y="244"/>
                  </a:lnTo>
                  <a:lnTo>
                    <a:pt x="203" y="244"/>
                  </a:lnTo>
                  <a:lnTo>
                    <a:pt x="201" y="242"/>
                  </a:lnTo>
                  <a:lnTo>
                    <a:pt x="201" y="242"/>
                  </a:lnTo>
                  <a:lnTo>
                    <a:pt x="201" y="242"/>
                  </a:lnTo>
                  <a:lnTo>
                    <a:pt x="201" y="240"/>
                  </a:lnTo>
                  <a:lnTo>
                    <a:pt x="170" y="246"/>
                  </a:lnTo>
                  <a:lnTo>
                    <a:pt x="168" y="248"/>
                  </a:lnTo>
                  <a:lnTo>
                    <a:pt x="158" y="252"/>
                  </a:lnTo>
                  <a:lnTo>
                    <a:pt x="154" y="254"/>
                  </a:lnTo>
                  <a:lnTo>
                    <a:pt x="152" y="252"/>
                  </a:lnTo>
                  <a:lnTo>
                    <a:pt x="143" y="248"/>
                  </a:lnTo>
                  <a:lnTo>
                    <a:pt x="143" y="248"/>
                  </a:lnTo>
                  <a:lnTo>
                    <a:pt x="141" y="248"/>
                  </a:lnTo>
                  <a:lnTo>
                    <a:pt x="141" y="248"/>
                  </a:lnTo>
                  <a:lnTo>
                    <a:pt x="139" y="246"/>
                  </a:lnTo>
                  <a:lnTo>
                    <a:pt x="111" y="248"/>
                  </a:lnTo>
                  <a:lnTo>
                    <a:pt x="100" y="250"/>
                  </a:lnTo>
                  <a:lnTo>
                    <a:pt x="88" y="252"/>
                  </a:lnTo>
                  <a:lnTo>
                    <a:pt x="66" y="261"/>
                  </a:lnTo>
                  <a:lnTo>
                    <a:pt x="59" y="265"/>
                  </a:lnTo>
                  <a:lnTo>
                    <a:pt x="51" y="267"/>
                  </a:lnTo>
                  <a:lnTo>
                    <a:pt x="43" y="273"/>
                  </a:lnTo>
                  <a:lnTo>
                    <a:pt x="37" y="275"/>
                  </a:lnTo>
                  <a:lnTo>
                    <a:pt x="39" y="277"/>
                  </a:lnTo>
                  <a:lnTo>
                    <a:pt x="41" y="285"/>
                  </a:lnTo>
                  <a:lnTo>
                    <a:pt x="41" y="287"/>
                  </a:lnTo>
                  <a:lnTo>
                    <a:pt x="41" y="287"/>
                  </a:lnTo>
                  <a:lnTo>
                    <a:pt x="41" y="289"/>
                  </a:lnTo>
                  <a:lnTo>
                    <a:pt x="39" y="289"/>
                  </a:lnTo>
                  <a:lnTo>
                    <a:pt x="39" y="291"/>
                  </a:lnTo>
                  <a:lnTo>
                    <a:pt x="41" y="293"/>
                  </a:lnTo>
                  <a:lnTo>
                    <a:pt x="41" y="293"/>
                  </a:lnTo>
                  <a:lnTo>
                    <a:pt x="43" y="293"/>
                  </a:lnTo>
                  <a:lnTo>
                    <a:pt x="53" y="293"/>
                  </a:lnTo>
                  <a:lnTo>
                    <a:pt x="55" y="295"/>
                  </a:lnTo>
                  <a:lnTo>
                    <a:pt x="55" y="297"/>
                  </a:lnTo>
                  <a:lnTo>
                    <a:pt x="53" y="302"/>
                  </a:lnTo>
                  <a:lnTo>
                    <a:pt x="53" y="304"/>
                  </a:lnTo>
                  <a:lnTo>
                    <a:pt x="53" y="304"/>
                  </a:lnTo>
                  <a:lnTo>
                    <a:pt x="55" y="306"/>
                  </a:lnTo>
                  <a:lnTo>
                    <a:pt x="55" y="306"/>
                  </a:lnTo>
                  <a:lnTo>
                    <a:pt x="57" y="310"/>
                  </a:lnTo>
                  <a:lnTo>
                    <a:pt x="57" y="312"/>
                  </a:lnTo>
                  <a:lnTo>
                    <a:pt x="59" y="314"/>
                  </a:lnTo>
                  <a:lnTo>
                    <a:pt x="61" y="316"/>
                  </a:lnTo>
                  <a:lnTo>
                    <a:pt x="61" y="316"/>
                  </a:lnTo>
                  <a:lnTo>
                    <a:pt x="61" y="318"/>
                  </a:lnTo>
                  <a:lnTo>
                    <a:pt x="61" y="322"/>
                  </a:lnTo>
                  <a:lnTo>
                    <a:pt x="61" y="324"/>
                  </a:lnTo>
                  <a:lnTo>
                    <a:pt x="59" y="324"/>
                  </a:lnTo>
                  <a:lnTo>
                    <a:pt x="59" y="326"/>
                  </a:lnTo>
                  <a:lnTo>
                    <a:pt x="53" y="330"/>
                  </a:lnTo>
                  <a:lnTo>
                    <a:pt x="51" y="332"/>
                  </a:lnTo>
                  <a:lnTo>
                    <a:pt x="49" y="336"/>
                  </a:lnTo>
                  <a:lnTo>
                    <a:pt x="47" y="340"/>
                  </a:lnTo>
                  <a:lnTo>
                    <a:pt x="47" y="342"/>
                  </a:lnTo>
                  <a:lnTo>
                    <a:pt x="45" y="342"/>
                  </a:lnTo>
                  <a:lnTo>
                    <a:pt x="45" y="342"/>
                  </a:lnTo>
                  <a:lnTo>
                    <a:pt x="45" y="347"/>
                  </a:lnTo>
                  <a:lnTo>
                    <a:pt x="43" y="349"/>
                  </a:lnTo>
                  <a:lnTo>
                    <a:pt x="43" y="349"/>
                  </a:lnTo>
                  <a:lnTo>
                    <a:pt x="43" y="349"/>
                  </a:lnTo>
                  <a:lnTo>
                    <a:pt x="37" y="353"/>
                  </a:lnTo>
                  <a:lnTo>
                    <a:pt x="37" y="355"/>
                  </a:lnTo>
                  <a:lnTo>
                    <a:pt x="33" y="359"/>
                  </a:lnTo>
                  <a:lnTo>
                    <a:pt x="29" y="361"/>
                  </a:lnTo>
                  <a:lnTo>
                    <a:pt x="29" y="361"/>
                  </a:lnTo>
                  <a:lnTo>
                    <a:pt x="27" y="361"/>
                  </a:lnTo>
                  <a:lnTo>
                    <a:pt x="27" y="363"/>
                  </a:lnTo>
                  <a:lnTo>
                    <a:pt x="27" y="363"/>
                  </a:lnTo>
                  <a:lnTo>
                    <a:pt x="25" y="365"/>
                  </a:lnTo>
                  <a:lnTo>
                    <a:pt x="20" y="371"/>
                  </a:lnTo>
                  <a:lnTo>
                    <a:pt x="18" y="375"/>
                  </a:lnTo>
                  <a:lnTo>
                    <a:pt x="16" y="375"/>
                  </a:lnTo>
                  <a:lnTo>
                    <a:pt x="14" y="377"/>
                  </a:lnTo>
                  <a:lnTo>
                    <a:pt x="10" y="381"/>
                  </a:lnTo>
                  <a:lnTo>
                    <a:pt x="4" y="386"/>
                  </a:lnTo>
                  <a:lnTo>
                    <a:pt x="2" y="388"/>
                  </a:lnTo>
                  <a:lnTo>
                    <a:pt x="2" y="390"/>
                  </a:lnTo>
                  <a:lnTo>
                    <a:pt x="0" y="390"/>
                  </a:lnTo>
                  <a:lnTo>
                    <a:pt x="0" y="390"/>
                  </a:lnTo>
                  <a:lnTo>
                    <a:pt x="2" y="394"/>
                  </a:lnTo>
                  <a:lnTo>
                    <a:pt x="2" y="396"/>
                  </a:lnTo>
                  <a:lnTo>
                    <a:pt x="2" y="400"/>
                  </a:lnTo>
                  <a:lnTo>
                    <a:pt x="2" y="402"/>
                  </a:lnTo>
                  <a:lnTo>
                    <a:pt x="4" y="406"/>
                  </a:lnTo>
                  <a:lnTo>
                    <a:pt x="4" y="408"/>
                  </a:lnTo>
                  <a:lnTo>
                    <a:pt x="4" y="412"/>
                  </a:lnTo>
                  <a:lnTo>
                    <a:pt x="6" y="414"/>
                  </a:lnTo>
                  <a:lnTo>
                    <a:pt x="6" y="418"/>
                  </a:lnTo>
                  <a:lnTo>
                    <a:pt x="8" y="418"/>
                  </a:lnTo>
                  <a:lnTo>
                    <a:pt x="20" y="416"/>
                  </a:lnTo>
                  <a:lnTo>
                    <a:pt x="31" y="414"/>
                  </a:lnTo>
                  <a:lnTo>
                    <a:pt x="41" y="412"/>
                  </a:lnTo>
                  <a:lnTo>
                    <a:pt x="53" y="410"/>
                  </a:lnTo>
                  <a:lnTo>
                    <a:pt x="63" y="408"/>
                  </a:lnTo>
                  <a:lnTo>
                    <a:pt x="74" y="406"/>
                  </a:lnTo>
                  <a:lnTo>
                    <a:pt x="86" y="404"/>
                  </a:lnTo>
                  <a:lnTo>
                    <a:pt x="96" y="400"/>
                  </a:lnTo>
                  <a:lnTo>
                    <a:pt x="106" y="398"/>
                  </a:lnTo>
                  <a:lnTo>
                    <a:pt x="119" y="396"/>
                  </a:lnTo>
                  <a:lnTo>
                    <a:pt x="129" y="394"/>
                  </a:lnTo>
                  <a:lnTo>
                    <a:pt x="139" y="392"/>
                  </a:lnTo>
                  <a:lnTo>
                    <a:pt x="152" y="390"/>
                  </a:lnTo>
                  <a:lnTo>
                    <a:pt x="162" y="388"/>
                  </a:lnTo>
                  <a:lnTo>
                    <a:pt x="172" y="386"/>
                  </a:lnTo>
                  <a:lnTo>
                    <a:pt x="184" y="383"/>
                  </a:lnTo>
                  <a:lnTo>
                    <a:pt x="195" y="381"/>
                  </a:lnTo>
                  <a:lnTo>
                    <a:pt x="205" y="379"/>
                  </a:lnTo>
                  <a:lnTo>
                    <a:pt x="217" y="377"/>
                  </a:lnTo>
                  <a:lnTo>
                    <a:pt x="227" y="375"/>
                  </a:lnTo>
                  <a:lnTo>
                    <a:pt x="238" y="371"/>
                  </a:lnTo>
                  <a:lnTo>
                    <a:pt x="250" y="369"/>
                  </a:lnTo>
                  <a:lnTo>
                    <a:pt x="260" y="367"/>
                  </a:lnTo>
                  <a:lnTo>
                    <a:pt x="270" y="365"/>
                  </a:lnTo>
                  <a:lnTo>
                    <a:pt x="283" y="363"/>
                  </a:lnTo>
                  <a:lnTo>
                    <a:pt x="293" y="361"/>
                  </a:lnTo>
                  <a:lnTo>
                    <a:pt x="303" y="359"/>
                  </a:lnTo>
                  <a:lnTo>
                    <a:pt x="315" y="355"/>
                  </a:lnTo>
                  <a:lnTo>
                    <a:pt x="326" y="353"/>
                  </a:lnTo>
                  <a:lnTo>
                    <a:pt x="336" y="351"/>
                  </a:lnTo>
                  <a:lnTo>
                    <a:pt x="348" y="349"/>
                  </a:lnTo>
                  <a:lnTo>
                    <a:pt x="358" y="347"/>
                  </a:lnTo>
                  <a:lnTo>
                    <a:pt x="360" y="345"/>
                  </a:lnTo>
                  <a:lnTo>
                    <a:pt x="360" y="345"/>
                  </a:lnTo>
                  <a:lnTo>
                    <a:pt x="360" y="347"/>
                  </a:lnTo>
                  <a:lnTo>
                    <a:pt x="362" y="349"/>
                  </a:lnTo>
                  <a:lnTo>
                    <a:pt x="367" y="349"/>
                  </a:lnTo>
                  <a:lnTo>
                    <a:pt x="369" y="349"/>
                  </a:lnTo>
                  <a:lnTo>
                    <a:pt x="369" y="351"/>
                  </a:lnTo>
                  <a:lnTo>
                    <a:pt x="371" y="353"/>
                  </a:lnTo>
                  <a:lnTo>
                    <a:pt x="371" y="355"/>
                  </a:lnTo>
                  <a:lnTo>
                    <a:pt x="373" y="357"/>
                  </a:lnTo>
                  <a:lnTo>
                    <a:pt x="377" y="355"/>
                  </a:lnTo>
                  <a:lnTo>
                    <a:pt x="377" y="355"/>
                  </a:lnTo>
                  <a:lnTo>
                    <a:pt x="379" y="355"/>
                  </a:lnTo>
                  <a:lnTo>
                    <a:pt x="383" y="357"/>
                  </a:lnTo>
                  <a:lnTo>
                    <a:pt x="383" y="357"/>
                  </a:lnTo>
                  <a:lnTo>
                    <a:pt x="385" y="357"/>
                  </a:lnTo>
                  <a:lnTo>
                    <a:pt x="385" y="359"/>
                  </a:lnTo>
                  <a:lnTo>
                    <a:pt x="385" y="359"/>
                  </a:lnTo>
                  <a:lnTo>
                    <a:pt x="385" y="361"/>
                  </a:lnTo>
                  <a:lnTo>
                    <a:pt x="385" y="363"/>
                  </a:lnTo>
                  <a:lnTo>
                    <a:pt x="387" y="363"/>
                  </a:lnTo>
                  <a:lnTo>
                    <a:pt x="389" y="363"/>
                  </a:lnTo>
                  <a:lnTo>
                    <a:pt x="389" y="365"/>
                  </a:lnTo>
                  <a:lnTo>
                    <a:pt x="389" y="367"/>
                  </a:lnTo>
                  <a:lnTo>
                    <a:pt x="389" y="367"/>
                  </a:lnTo>
                  <a:lnTo>
                    <a:pt x="389" y="369"/>
                  </a:lnTo>
                  <a:lnTo>
                    <a:pt x="391" y="371"/>
                  </a:lnTo>
                  <a:lnTo>
                    <a:pt x="391" y="375"/>
                  </a:lnTo>
                  <a:lnTo>
                    <a:pt x="391" y="379"/>
                  </a:lnTo>
                  <a:lnTo>
                    <a:pt x="393" y="381"/>
                  </a:lnTo>
                  <a:lnTo>
                    <a:pt x="393" y="381"/>
                  </a:lnTo>
                  <a:lnTo>
                    <a:pt x="399" y="390"/>
                  </a:lnTo>
                  <a:lnTo>
                    <a:pt x="401" y="390"/>
                  </a:lnTo>
                  <a:lnTo>
                    <a:pt x="403" y="392"/>
                  </a:lnTo>
                  <a:lnTo>
                    <a:pt x="405" y="392"/>
                  </a:lnTo>
                  <a:lnTo>
                    <a:pt x="408" y="392"/>
                  </a:lnTo>
                  <a:lnTo>
                    <a:pt x="410" y="394"/>
                  </a:lnTo>
                  <a:lnTo>
                    <a:pt x="410" y="394"/>
                  </a:lnTo>
                  <a:lnTo>
                    <a:pt x="412" y="394"/>
                  </a:lnTo>
                  <a:lnTo>
                    <a:pt x="416" y="392"/>
                  </a:lnTo>
                  <a:lnTo>
                    <a:pt x="418" y="394"/>
                  </a:lnTo>
                  <a:lnTo>
                    <a:pt x="420" y="394"/>
                  </a:lnTo>
                  <a:lnTo>
                    <a:pt x="420" y="394"/>
                  </a:lnTo>
                  <a:lnTo>
                    <a:pt x="420" y="394"/>
                  </a:lnTo>
                  <a:lnTo>
                    <a:pt x="422" y="392"/>
                  </a:lnTo>
                  <a:lnTo>
                    <a:pt x="422" y="394"/>
                  </a:lnTo>
                  <a:lnTo>
                    <a:pt x="422" y="394"/>
                  </a:lnTo>
                  <a:lnTo>
                    <a:pt x="424" y="396"/>
                  </a:lnTo>
                  <a:lnTo>
                    <a:pt x="424" y="396"/>
                  </a:lnTo>
                  <a:lnTo>
                    <a:pt x="426" y="398"/>
                  </a:lnTo>
                  <a:lnTo>
                    <a:pt x="428" y="400"/>
                  </a:lnTo>
                  <a:lnTo>
                    <a:pt x="436" y="402"/>
                  </a:lnTo>
                  <a:lnTo>
                    <a:pt x="444" y="406"/>
                  </a:lnTo>
                  <a:lnTo>
                    <a:pt x="455" y="408"/>
                  </a:lnTo>
                  <a:lnTo>
                    <a:pt x="463" y="412"/>
                  </a:lnTo>
                  <a:lnTo>
                    <a:pt x="473" y="414"/>
                  </a:lnTo>
                  <a:lnTo>
                    <a:pt x="481" y="416"/>
                  </a:lnTo>
                  <a:lnTo>
                    <a:pt x="492" y="420"/>
                  </a:lnTo>
                  <a:lnTo>
                    <a:pt x="500" y="422"/>
                  </a:lnTo>
                  <a:close/>
                  <a:moveTo>
                    <a:pt x="45" y="302"/>
                  </a:moveTo>
                  <a:lnTo>
                    <a:pt x="47" y="302"/>
                  </a:lnTo>
                  <a:lnTo>
                    <a:pt x="47" y="304"/>
                  </a:lnTo>
                  <a:lnTo>
                    <a:pt x="49" y="304"/>
                  </a:lnTo>
                  <a:lnTo>
                    <a:pt x="51" y="304"/>
                  </a:lnTo>
                  <a:lnTo>
                    <a:pt x="53" y="297"/>
                  </a:lnTo>
                  <a:lnTo>
                    <a:pt x="53" y="295"/>
                  </a:lnTo>
                  <a:lnTo>
                    <a:pt x="53" y="295"/>
                  </a:lnTo>
                  <a:lnTo>
                    <a:pt x="51" y="295"/>
                  </a:lnTo>
                  <a:lnTo>
                    <a:pt x="49" y="295"/>
                  </a:lnTo>
                  <a:lnTo>
                    <a:pt x="47" y="295"/>
                  </a:lnTo>
                  <a:lnTo>
                    <a:pt x="47" y="295"/>
                  </a:lnTo>
                  <a:lnTo>
                    <a:pt x="45" y="295"/>
                  </a:lnTo>
                  <a:lnTo>
                    <a:pt x="45" y="297"/>
                  </a:lnTo>
                  <a:lnTo>
                    <a:pt x="45" y="302"/>
                  </a:lnTo>
                  <a:lnTo>
                    <a:pt x="45" y="30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Y</a:t>
              </a:r>
            </a:p>
          </p:txBody>
        </p:sp>
        <p:sp>
          <p:nvSpPr>
            <p:cNvPr id="157" name="Freeform 24">
              <a:extLst>
                <a:ext uri="{FF2B5EF4-FFF2-40B4-BE49-F238E27FC236}">
                  <a16:creationId xmlns:a16="http://schemas.microsoft.com/office/drawing/2014/main" id="{93CA45DD-118F-1681-DDF7-47FAF21F451A}"/>
                </a:ext>
              </a:extLst>
            </p:cNvPr>
            <p:cNvSpPr>
              <a:spLocks noEditPoints="1"/>
            </p:cNvSpPr>
            <p:nvPr/>
          </p:nvSpPr>
          <p:spPr bwMode="auto">
            <a:xfrm>
              <a:off x="4767" y="740"/>
              <a:ext cx="117" cy="258"/>
            </a:xfrm>
            <a:custGeom>
              <a:avLst/>
              <a:gdLst>
                <a:gd name="T0" fmla="*/ 99 w 117"/>
                <a:gd name="T1" fmla="*/ 197 h 258"/>
                <a:gd name="T2" fmla="*/ 105 w 117"/>
                <a:gd name="T3" fmla="*/ 190 h 258"/>
                <a:gd name="T4" fmla="*/ 115 w 117"/>
                <a:gd name="T5" fmla="*/ 156 h 258"/>
                <a:gd name="T6" fmla="*/ 109 w 117"/>
                <a:gd name="T7" fmla="*/ 182 h 258"/>
                <a:gd name="T8" fmla="*/ 115 w 117"/>
                <a:gd name="T9" fmla="*/ 156 h 258"/>
                <a:gd name="T10" fmla="*/ 115 w 117"/>
                <a:gd name="T11" fmla="*/ 121 h 258"/>
                <a:gd name="T12" fmla="*/ 115 w 117"/>
                <a:gd name="T13" fmla="*/ 98 h 258"/>
                <a:gd name="T14" fmla="*/ 109 w 117"/>
                <a:gd name="T15" fmla="*/ 84 h 258"/>
                <a:gd name="T16" fmla="*/ 90 w 117"/>
                <a:gd name="T17" fmla="*/ 86 h 258"/>
                <a:gd name="T18" fmla="*/ 84 w 117"/>
                <a:gd name="T19" fmla="*/ 76 h 258"/>
                <a:gd name="T20" fmla="*/ 86 w 117"/>
                <a:gd name="T21" fmla="*/ 63 h 258"/>
                <a:gd name="T22" fmla="*/ 90 w 117"/>
                <a:gd name="T23" fmla="*/ 55 h 258"/>
                <a:gd name="T24" fmla="*/ 97 w 117"/>
                <a:gd name="T25" fmla="*/ 55 h 258"/>
                <a:gd name="T26" fmla="*/ 99 w 117"/>
                <a:gd name="T27" fmla="*/ 43 h 258"/>
                <a:gd name="T28" fmla="*/ 74 w 117"/>
                <a:gd name="T29" fmla="*/ 14 h 258"/>
                <a:gd name="T30" fmla="*/ 27 w 117"/>
                <a:gd name="T31" fmla="*/ 2 h 258"/>
                <a:gd name="T32" fmla="*/ 23 w 117"/>
                <a:gd name="T33" fmla="*/ 6 h 258"/>
                <a:gd name="T34" fmla="*/ 15 w 117"/>
                <a:gd name="T35" fmla="*/ 29 h 258"/>
                <a:gd name="T36" fmla="*/ 13 w 117"/>
                <a:gd name="T37" fmla="*/ 33 h 258"/>
                <a:gd name="T38" fmla="*/ 2 w 117"/>
                <a:gd name="T39" fmla="*/ 45 h 258"/>
                <a:gd name="T40" fmla="*/ 4 w 117"/>
                <a:gd name="T41" fmla="*/ 51 h 258"/>
                <a:gd name="T42" fmla="*/ 9 w 117"/>
                <a:gd name="T43" fmla="*/ 53 h 258"/>
                <a:gd name="T44" fmla="*/ 9 w 117"/>
                <a:gd name="T45" fmla="*/ 65 h 258"/>
                <a:gd name="T46" fmla="*/ 2 w 117"/>
                <a:gd name="T47" fmla="*/ 72 h 258"/>
                <a:gd name="T48" fmla="*/ 4 w 117"/>
                <a:gd name="T49" fmla="*/ 80 h 258"/>
                <a:gd name="T50" fmla="*/ 9 w 117"/>
                <a:gd name="T51" fmla="*/ 90 h 258"/>
                <a:gd name="T52" fmla="*/ 23 w 117"/>
                <a:gd name="T53" fmla="*/ 104 h 258"/>
                <a:gd name="T54" fmla="*/ 39 w 117"/>
                <a:gd name="T55" fmla="*/ 113 h 258"/>
                <a:gd name="T56" fmla="*/ 52 w 117"/>
                <a:gd name="T57" fmla="*/ 129 h 258"/>
                <a:gd name="T58" fmla="*/ 39 w 117"/>
                <a:gd name="T59" fmla="*/ 137 h 258"/>
                <a:gd name="T60" fmla="*/ 29 w 117"/>
                <a:gd name="T61" fmla="*/ 154 h 258"/>
                <a:gd name="T62" fmla="*/ 27 w 117"/>
                <a:gd name="T63" fmla="*/ 162 h 258"/>
                <a:gd name="T64" fmla="*/ 21 w 117"/>
                <a:gd name="T65" fmla="*/ 166 h 258"/>
                <a:gd name="T66" fmla="*/ 4 w 117"/>
                <a:gd name="T67" fmla="*/ 184 h 258"/>
                <a:gd name="T68" fmla="*/ 2 w 117"/>
                <a:gd name="T69" fmla="*/ 190 h 258"/>
                <a:gd name="T70" fmla="*/ 4 w 117"/>
                <a:gd name="T71" fmla="*/ 201 h 258"/>
                <a:gd name="T72" fmla="*/ 4 w 117"/>
                <a:gd name="T73" fmla="*/ 211 h 258"/>
                <a:gd name="T74" fmla="*/ 23 w 117"/>
                <a:gd name="T75" fmla="*/ 221 h 258"/>
                <a:gd name="T76" fmla="*/ 29 w 117"/>
                <a:gd name="T77" fmla="*/ 225 h 258"/>
                <a:gd name="T78" fmla="*/ 41 w 117"/>
                <a:gd name="T79" fmla="*/ 229 h 258"/>
                <a:gd name="T80" fmla="*/ 45 w 117"/>
                <a:gd name="T81" fmla="*/ 233 h 258"/>
                <a:gd name="T82" fmla="*/ 54 w 117"/>
                <a:gd name="T83" fmla="*/ 229 h 258"/>
                <a:gd name="T84" fmla="*/ 62 w 117"/>
                <a:gd name="T85" fmla="*/ 229 h 258"/>
                <a:gd name="T86" fmla="*/ 64 w 117"/>
                <a:gd name="T87" fmla="*/ 252 h 258"/>
                <a:gd name="T88" fmla="*/ 68 w 117"/>
                <a:gd name="T89" fmla="*/ 256 h 258"/>
                <a:gd name="T90" fmla="*/ 76 w 117"/>
                <a:gd name="T91" fmla="*/ 242 h 258"/>
                <a:gd name="T92" fmla="*/ 82 w 117"/>
                <a:gd name="T93" fmla="*/ 233 h 258"/>
                <a:gd name="T94" fmla="*/ 78 w 117"/>
                <a:gd name="T95" fmla="*/ 233 h 258"/>
                <a:gd name="T96" fmla="*/ 86 w 117"/>
                <a:gd name="T97" fmla="*/ 219 h 258"/>
                <a:gd name="T98" fmla="*/ 82 w 117"/>
                <a:gd name="T99" fmla="*/ 213 h 258"/>
                <a:gd name="T100" fmla="*/ 90 w 117"/>
                <a:gd name="T101" fmla="*/ 205 h 258"/>
                <a:gd name="T102" fmla="*/ 95 w 117"/>
                <a:gd name="T103" fmla="*/ 207 h 258"/>
                <a:gd name="T104" fmla="*/ 95 w 117"/>
                <a:gd name="T105" fmla="*/ 197 h 258"/>
                <a:gd name="T106" fmla="*/ 99 w 117"/>
                <a:gd name="T107" fmla="*/ 193 h 258"/>
                <a:gd name="T108" fmla="*/ 97 w 117"/>
                <a:gd name="T109" fmla="*/ 182 h 258"/>
                <a:gd name="T110" fmla="*/ 105 w 117"/>
                <a:gd name="T111" fmla="*/ 184 h 258"/>
                <a:gd name="T112" fmla="*/ 105 w 117"/>
                <a:gd name="T113" fmla="*/ 174 h 258"/>
                <a:gd name="T114" fmla="*/ 111 w 117"/>
                <a:gd name="T115" fmla="*/ 166 h 258"/>
                <a:gd name="T116" fmla="*/ 109 w 117"/>
                <a:gd name="T117" fmla="*/ 154 h 258"/>
                <a:gd name="T118" fmla="*/ 111 w 117"/>
                <a:gd name="T119" fmla="*/ 139 h 258"/>
                <a:gd name="T120" fmla="*/ 109 w 117"/>
                <a:gd name="T121" fmla="*/ 131 h 258"/>
                <a:gd name="T122" fmla="*/ 113 w 117"/>
                <a:gd name="T123" fmla="*/ 123 h 258"/>
                <a:gd name="T124" fmla="*/ 115 w 117"/>
                <a:gd name="T125" fmla="*/ 12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7" h="258">
                  <a:moveTo>
                    <a:pt x="101" y="190"/>
                  </a:moveTo>
                  <a:lnTo>
                    <a:pt x="103" y="193"/>
                  </a:lnTo>
                  <a:lnTo>
                    <a:pt x="101" y="193"/>
                  </a:lnTo>
                  <a:lnTo>
                    <a:pt x="101" y="197"/>
                  </a:lnTo>
                  <a:lnTo>
                    <a:pt x="101" y="197"/>
                  </a:lnTo>
                  <a:lnTo>
                    <a:pt x="99" y="197"/>
                  </a:lnTo>
                  <a:lnTo>
                    <a:pt x="99" y="197"/>
                  </a:lnTo>
                  <a:lnTo>
                    <a:pt x="97" y="195"/>
                  </a:lnTo>
                  <a:lnTo>
                    <a:pt x="97" y="197"/>
                  </a:lnTo>
                  <a:lnTo>
                    <a:pt x="99" y="199"/>
                  </a:lnTo>
                  <a:lnTo>
                    <a:pt x="101" y="199"/>
                  </a:lnTo>
                  <a:lnTo>
                    <a:pt x="103" y="197"/>
                  </a:lnTo>
                  <a:lnTo>
                    <a:pt x="105" y="193"/>
                  </a:lnTo>
                  <a:lnTo>
                    <a:pt x="105" y="190"/>
                  </a:lnTo>
                  <a:lnTo>
                    <a:pt x="107" y="190"/>
                  </a:lnTo>
                  <a:lnTo>
                    <a:pt x="107" y="188"/>
                  </a:lnTo>
                  <a:lnTo>
                    <a:pt x="107" y="188"/>
                  </a:lnTo>
                  <a:lnTo>
                    <a:pt x="103" y="188"/>
                  </a:lnTo>
                  <a:lnTo>
                    <a:pt x="101" y="190"/>
                  </a:lnTo>
                  <a:close/>
                  <a:moveTo>
                    <a:pt x="115" y="156"/>
                  </a:moveTo>
                  <a:lnTo>
                    <a:pt x="115" y="156"/>
                  </a:lnTo>
                  <a:lnTo>
                    <a:pt x="115" y="160"/>
                  </a:lnTo>
                  <a:lnTo>
                    <a:pt x="115" y="162"/>
                  </a:lnTo>
                  <a:lnTo>
                    <a:pt x="109" y="176"/>
                  </a:lnTo>
                  <a:lnTo>
                    <a:pt x="109" y="180"/>
                  </a:lnTo>
                  <a:lnTo>
                    <a:pt x="109" y="180"/>
                  </a:lnTo>
                  <a:lnTo>
                    <a:pt x="109" y="180"/>
                  </a:lnTo>
                  <a:lnTo>
                    <a:pt x="109" y="182"/>
                  </a:lnTo>
                  <a:lnTo>
                    <a:pt x="111" y="178"/>
                  </a:lnTo>
                  <a:lnTo>
                    <a:pt x="113" y="170"/>
                  </a:lnTo>
                  <a:lnTo>
                    <a:pt x="115" y="166"/>
                  </a:lnTo>
                  <a:lnTo>
                    <a:pt x="115" y="162"/>
                  </a:lnTo>
                  <a:lnTo>
                    <a:pt x="117" y="158"/>
                  </a:lnTo>
                  <a:lnTo>
                    <a:pt x="117" y="154"/>
                  </a:lnTo>
                  <a:lnTo>
                    <a:pt x="115" y="156"/>
                  </a:lnTo>
                  <a:close/>
                  <a:moveTo>
                    <a:pt x="115" y="139"/>
                  </a:moveTo>
                  <a:lnTo>
                    <a:pt x="117" y="135"/>
                  </a:lnTo>
                  <a:lnTo>
                    <a:pt x="115" y="135"/>
                  </a:lnTo>
                  <a:lnTo>
                    <a:pt x="115" y="133"/>
                  </a:lnTo>
                  <a:lnTo>
                    <a:pt x="115" y="127"/>
                  </a:lnTo>
                  <a:lnTo>
                    <a:pt x="115" y="123"/>
                  </a:lnTo>
                  <a:lnTo>
                    <a:pt x="115" y="121"/>
                  </a:lnTo>
                  <a:lnTo>
                    <a:pt x="113" y="119"/>
                  </a:lnTo>
                  <a:lnTo>
                    <a:pt x="113" y="119"/>
                  </a:lnTo>
                  <a:lnTo>
                    <a:pt x="113" y="115"/>
                  </a:lnTo>
                  <a:lnTo>
                    <a:pt x="113" y="106"/>
                  </a:lnTo>
                  <a:lnTo>
                    <a:pt x="113" y="104"/>
                  </a:lnTo>
                  <a:lnTo>
                    <a:pt x="113" y="100"/>
                  </a:lnTo>
                  <a:lnTo>
                    <a:pt x="115" y="98"/>
                  </a:lnTo>
                  <a:lnTo>
                    <a:pt x="115" y="96"/>
                  </a:lnTo>
                  <a:lnTo>
                    <a:pt x="111" y="82"/>
                  </a:lnTo>
                  <a:lnTo>
                    <a:pt x="109" y="80"/>
                  </a:lnTo>
                  <a:lnTo>
                    <a:pt x="107" y="78"/>
                  </a:lnTo>
                  <a:lnTo>
                    <a:pt x="107" y="80"/>
                  </a:lnTo>
                  <a:lnTo>
                    <a:pt x="107" y="82"/>
                  </a:lnTo>
                  <a:lnTo>
                    <a:pt x="109" y="84"/>
                  </a:lnTo>
                  <a:lnTo>
                    <a:pt x="111" y="84"/>
                  </a:lnTo>
                  <a:lnTo>
                    <a:pt x="109" y="86"/>
                  </a:lnTo>
                  <a:lnTo>
                    <a:pt x="105" y="84"/>
                  </a:lnTo>
                  <a:lnTo>
                    <a:pt x="97" y="84"/>
                  </a:lnTo>
                  <a:lnTo>
                    <a:pt x="95" y="84"/>
                  </a:lnTo>
                  <a:lnTo>
                    <a:pt x="90" y="86"/>
                  </a:lnTo>
                  <a:lnTo>
                    <a:pt x="90" y="86"/>
                  </a:lnTo>
                  <a:lnTo>
                    <a:pt x="88" y="84"/>
                  </a:lnTo>
                  <a:lnTo>
                    <a:pt x="86" y="84"/>
                  </a:lnTo>
                  <a:lnTo>
                    <a:pt x="84" y="84"/>
                  </a:lnTo>
                  <a:lnTo>
                    <a:pt x="84" y="82"/>
                  </a:lnTo>
                  <a:lnTo>
                    <a:pt x="84" y="80"/>
                  </a:lnTo>
                  <a:lnTo>
                    <a:pt x="84" y="78"/>
                  </a:lnTo>
                  <a:lnTo>
                    <a:pt x="84" y="76"/>
                  </a:lnTo>
                  <a:lnTo>
                    <a:pt x="84" y="76"/>
                  </a:lnTo>
                  <a:lnTo>
                    <a:pt x="84" y="74"/>
                  </a:lnTo>
                  <a:lnTo>
                    <a:pt x="84" y="72"/>
                  </a:lnTo>
                  <a:lnTo>
                    <a:pt x="86" y="72"/>
                  </a:lnTo>
                  <a:lnTo>
                    <a:pt x="86" y="70"/>
                  </a:lnTo>
                  <a:lnTo>
                    <a:pt x="86" y="65"/>
                  </a:lnTo>
                  <a:lnTo>
                    <a:pt x="86" y="63"/>
                  </a:lnTo>
                  <a:lnTo>
                    <a:pt x="86" y="61"/>
                  </a:lnTo>
                  <a:lnTo>
                    <a:pt x="88" y="61"/>
                  </a:lnTo>
                  <a:lnTo>
                    <a:pt x="88" y="59"/>
                  </a:lnTo>
                  <a:lnTo>
                    <a:pt x="88" y="59"/>
                  </a:lnTo>
                  <a:lnTo>
                    <a:pt x="88" y="57"/>
                  </a:lnTo>
                  <a:lnTo>
                    <a:pt x="90" y="55"/>
                  </a:lnTo>
                  <a:lnTo>
                    <a:pt x="90" y="55"/>
                  </a:lnTo>
                  <a:lnTo>
                    <a:pt x="93" y="55"/>
                  </a:lnTo>
                  <a:lnTo>
                    <a:pt x="90" y="61"/>
                  </a:lnTo>
                  <a:lnTo>
                    <a:pt x="93" y="59"/>
                  </a:lnTo>
                  <a:lnTo>
                    <a:pt x="93" y="59"/>
                  </a:lnTo>
                  <a:lnTo>
                    <a:pt x="95" y="59"/>
                  </a:lnTo>
                  <a:lnTo>
                    <a:pt x="95" y="57"/>
                  </a:lnTo>
                  <a:lnTo>
                    <a:pt x="97" y="55"/>
                  </a:lnTo>
                  <a:lnTo>
                    <a:pt x="99" y="53"/>
                  </a:lnTo>
                  <a:lnTo>
                    <a:pt x="99" y="51"/>
                  </a:lnTo>
                  <a:lnTo>
                    <a:pt x="99" y="51"/>
                  </a:lnTo>
                  <a:lnTo>
                    <a:pt x="99" y="49"/>
                  </a:lnTo>
                  <a:lnTo>
                    <a:pt x="99" y="49"/>
                  </a:lnTo>
                  <a:lnTo>
                    <a:pt x="99" y="47"/>
                  </a:lnTo>
                  <a:lnTo>
                    <a:pt x="99" y="43"/>
                  </a:lnTo>
                  <a:lnTo>
                    <a:pt x="101" y="37"/>
                  </a:lnTo>
                  <a:lnTo>
                    <a:pt x="101" y="29"/>
                  </a:lnTo>
                  <a:lnTo>
                    <a:pt x="101" y="24"/>
                  </a:lnTo>
                  <a:lnTo>
                    <a:pt x="101" y="22"/>
                  </a:lnTo>
                  <a:lnTo>
                    <a:pt x="93" y="20"/>
                  </a:lnTo>
                  <a:lnTo>
                    <a:pt x="82" y="16"/>
                  </a:lnTo>
                  <a:lnTo>
                    <a:pt x="74" y="14"/>
                  </a:lnTo>
                  <a:lnTo>
                    <a:pt x="64" y="12"/>
                  </a:lnTo>
                  <a:lnTo>
                    <a:pt x="56" y="8"/>
                  </a:lnTo>
                  <a:lnTo>
                    <a:pt x="45" y="6"/>
                  </a:lnTo>
                  <a:lnTo>
                    <a:pt x="37" y="2"/>
                  </a:lnTo>
                  <a:lnTo>
                    <a:pt x="29" y="0"/>
                  </a:lnTo>
                  <a:lnTo>
                    <a:pt x="29" y="0"/>
                  </a:lnTo>
                  <a:lnTo>
                    <a:pt x="27" y="2"/>
                  </a:lnTo>
                  <a:lnTo>
                    <a:pt x="25" y="2"/>
                  </a:lnTo>
                  <a:lnTo>
                    <a:pt x="25" y="2"/>
                  </a:lnTo>
                  <a:lnTo>
                    <a:pt x="23" y="4"/>
                  </a:lnTo>
                  <a:lnTo>
                    <a:pt x="23" y="4"/>
                  </a:lnTo>
                  <a:lnTo>
                    <a:pt x="23" y="4"/>
                  </a:lnTo>
                  <a:lnTo>
                    <a:pt x="23" y="4"/>
                  </a:lnTo>
                  <a:lnTo>
                    <a:pt x="23" y="6"/>
                  </a:lnTo>
                  <a:lnTo>
                    <a:pt x="23" y="6"/>
                  </a:lnTo>
                  <a:lnTo>
                    <a:pt x="19" y="12"/>
                  </a:lnTo>
                  <a:lnTo>
                    <a:pt x="19" y="12"/>
                  </a:lnTo>
                  <a:lnTo>
                    <a:pt x="19" y="14"/>
                  </a:lnTo>
                  <a:lnTo>
                    <a:pt x="19" y="16"/>
                  </a:lnTo>
                  <a:lnTo>
                    <a:pt x="17" y="22"/>
                  </a:lnTo>
                  <a:lnTo>
                    <a:pt x="15" y="29"/>
                  </a:lnTo>
                  <a:lnTo>
                    <a:pt x="13" y="29"/>
                  </a:lnTo>
                  <a:lnTo>
                    <a:pt x="13" y="29"/>
                  </a:lnTo>
                  <a:lnTo>
                    <a:pt x="13" y="31"/>
                  </a:lnTo>
                  <a:lnTo>
                    <a:pt x="13" y="31"/>
                  </a:lnTo>
                  <a:lnTo>
                    <a:pt x="11" y="31"/>
                  </a:lnTo>
                  <a:lnTo>
                    <a:pt x="13" y="33"/>
                  </a:lnTo>
                  <a:lnTo>
                    <a:pt x="13" y="33"/>
                  </a:lnTo>
                  <a:lnTo>
                    <a:pt x="13" y="33"/>
                  </a:lnTo>
                  <a:lnTo>
                    <a:pt x="9" y="39"/>
                  </a:lnTo>
                  <a:lnTo>
                    <a:pt x="9" y="39"/>
                  </a:lnTo>
                  <a:lnTo>
                    <a:pt x="6" y="41"/>
                  </a:lnTo>
                  <a:lnTo>
                    <a:pt x="4" y="41"/>
                  </a:lnTo>
                  <a:lnTo>
                    <a:pt x="4" y="43"/>
                  </a:lnTo>
                  <a:lnTo>
                    <a:pt x="2" y="45"/>
                  </a:lnTo>
                  <a:lnTo>
                    <a:pt x="2" y="47"/>
                  </a:lnTo>
                  <a:lnTo>
                    <a:pt x="2" y="47"/>
                  </a:lnTo>
                  <a:lnTo>
                    <a:pt x="2" y="49"/>
                  </a:lnTo>
                  <a:lnTo>
                    <a:pt x="4" y="49"/>
                  </a:lnTo>
                  <a:lnTo>
                    <a:pt x="4" y="49"/>
                  </a:lnTo>
                  <a:lnTo>
                    <a:pt x="4" y="51"/>
                  </a:lnTo>
                  <a:lnTo>
                    <a:pt x="4" y="51"/>
                  </a:lnTo>
                  <a:lnTo>
                    <a:pt x="4" y="51"/>
                  </a:lnTo>
                  <a:lnTo>
                    <a:pt x="4" y="51"/>
                  </a:lnTo>
                  <a:lnTo>
                    <a:pt x="6" y="51"/>
                  </a:lnTo>
                  <a:lnTo>
                    <a:pt x="6" y="51"/>
                  </a:lnTo>
                  <a:lnTo>
                    <a:pt x="6" y="51"/>
                  </a:lnTo>
                  <a:lnTo>
                    <a:pt x="6" y="51"/>
                  </a:lnTo>
                  <a:lnTo>
                    <a:pt x="9" y="53"/>
                  </a:lnTo>
                  <a:lnTo>
                    <a:pt x="11" y="55"/>
                  </a:lnTo>
                  <a:lnTo>
                    <a:pt x="11" y="57"/>
                  </a:lnTo>
                  <a:lnTo>
                    <a:pt x="11" y="59"/>
                  </a:lnTo>
                  <a:lnTo>
                    <a:pt x="11" y="59"/>
                  </a:lnTo>
                  <a:lnTo>
                    <a:pt x="9" y="61"/>
                  </a:lnTo>
                  <a:lnTo>
                    <a:pt x="9" y="63"/>
                  </a:lnTo>
                  <a:lnTo>
                    <a:pt x="9" y="65"/>
                  </a:lnTo>
                  <a:lnTo>
                    <a:pt x="9" y="68"/>
                  </a:lnTo>
                  <a:lnTo>
                    <a:pt x="6" y="68"/>
                  </a:lnTo>
                  <a:lnTo>
                    <a:pt x="4" y="68"/>
                  </a:lnTo>
                  <a:lnTo>
                    <a:pt x="4" y="70"/>
                  </a:lnTo>
                  <a:lnTo>
                    <a:pt x="4" y="70"/>
                  </a:lnTo>
                  <a:lnTo>
                    <a:pt x="2" y="70"/>
                  </a:lnTo>
                  <a:lnTo>
                    <a:pt x="2" y="72"/>
                  </a:lnTo>
                  <a:lnTo>
                    <a:pt x="2" y="72"/>
                  </a:lnTo>
                  <a:lnTo>
                    <a:pt x="4" y="72"/>
                  </a:lnTo>
                  <a:lnTo>
                    <a:pt x="4" y="72"/>
                  </a:lnTo>
                  <a:lnTo>
                    <a:pt x="4" y="76"/>
                  </a:lnTo>
                  <a:lnTo>
                    <a:pt x="4" y="78"/>
                  </a:lnTo>
                  <a:lnTo>
                    <a:pt x="4" y="78"/>
                  </a:lnTo>
                  <a:lnTo>
                    <a:pt x="4" y="80"/>
                  </a:lnTo>
                  <a:lnTo>
                    <a:pt x="4" y="80"/>
                  </a:lnTo>
                  <a:lnTo>
                    <a:pt x="4" y="82"/>
                  </a:lnTo>
                  <a:lnTo>
                    <a:pt x="6" y="84"/>
                  </a:lnTo>
                  <a:lnTo>
                    <a:pt x="6" y="86"/>
                  </a:lnTo>
                  <a:lnTo>
                    <a:pt x="6" y="86"/>
                  </a:lnTo>
                  <a:lnTo>
                    <a:pt x="6" y="88"/>
                  </a:lnTo>
                  <a:lnTo>
                    <a:pt x="9" y="90"/>
                  </a:lnTo>
                  <a:lnTo>
                    <a:pt x="9" y="90"/>
                  </a:lnTo>
                  <a:lnTo>
                    <a:pt x="11" y="90"/>
                  </a:lnTo>
                  <a:lnTo>
                    <a:pt x="17" y="90"/>
                  </a:lnTo>
                  <a:lnTo>
                    <a:pt x="19" y="92"/>
                  </a:lnTo>
                  <a:lnTo>
                    <a:pt x="21" y="100"/>
                  </a:lnTo>
                  <a:lnTo>
                    <a:pt x="21" y="102"/>
                  </a:lnTo>
                  <a:lnTo>
                    <a:pt x="23" y="104"/>
                  </a:lnTo>
                  <a:lnTo>
                    <a:pt x="25" y="104"/>
                  </a:lnTo>
                  <a:lnTo>
                    <a:pt x="29" y="102"/>
                  </a:lnTo>
                  <a:lnTo>
                    <a:pt x="31" y="104"/>
                  </a:lnTo>
                  <a:lnTo>
                    <a:pt x="33" y="108"/>
                  </a:lnTo>
                  <a:lnTo>
                    <a:pt x="37" y="111"/>
                  </a:lnTo>
                  <a:lnTo>
                    <a:pt x="39" y="111"/>
                  </a:lnTo>
                  <a:lnTo>
                    <a:pt x="39" y="113"/>
                  </a:lnTo>
                  <a:lnTo>
                    <a:pt x="41" y="115"/>
                  </a:lnTo>
                  <a:lnTo>
                    <a:pt x="45" y="119"/>
                  </a:lnTo>
                  <a:lnTo>
                    <a:pt x="52" y="121"/>
                  </a:lnTo>
                  <a:lnTo>
                    <a:pt x="54" y="123"/>
                  </a:lnTo>
                  <a:lnTo>
                    <a:pt x="56" y="125"/>
                  </a:lnTo>
                  <a:lnTo>
                    <a:pt x="54" y="127"/>
                  </a:lnTo>
                  <a:lnTo>
                    <a:pt x="52" y="129"/>
                  </a:lnTo>
                  <a:lnTo>
                    <a:pt x="50" y="129"/>
                  </a:lnTo>
                  <a:lnTo>
                    <a:pt x="47" y="131"/>
                  </a:lnTo>
                  <a:lnTo>
                    <a:pt x="47" y="131"/>
                  </a:lnTo>
                  <a:lnTo>
                    <a:pt x="45" y="135"/>
                  </a:lnTo>
                  <a:lnTo>
                    <a:pt x="43" y="135"/>
                  </a:lnTo>
                  <a:lnTo>
                    <a:pt x="41" y="137"/>
                  </a:lnTo>
                  <a:lnTo>
                    <a:pt x="39" y="137"/>
                  </a:lnTo>
                  <a:lnTo>
                    <a:pt x="37" y="141"/>
                  </a:lnTo>
                  <a:lnTo>
                    <a:pt x="37" y="143"/>
                  </a:lnTo>
                  <a:lnTo>
                    <a:pt x="35" y="145"/>
                  </a:lnTo>
                  <a:lnTo>
                    <a:pt x="33" y="147"/>
                  </a:lnTo>
                  <a:lnTo>
                    <a:pt x="31" y="152"/>
                  </a:lnTo>
                  <a:lnTo>
                    <a:pt x="31" y="152"/>
                  </a:lnTo>
                  <a:lnTo>
                    <a:pt x="29" y="154"/>
                  </a:lnTo>
                  <a:lnTo>
                    <a:pt x="29" y="154"/>
                  </a:lnTo>
                  <a:lnTo>
                    <a:pt x="29" y="156"/>
                  </a:lnTo>
                  <a:lnTo>
                    <a:pt x="29" y="156"/>
                  </a:lnTo>
                  <a:lnTo>
                    <a:pt x="31" y="158"/>
                  </a:lnTo>
                  <a:lnTo>
                    <a:pt x="29" y="160"/>
                  </a:lnTo>
                  <a:lnTo>
                    <a:pt x="29" y="162"/>
                  </a:lnTo>
                  <a:lnTo>
                    <a:pt x="27" y="162"/>
                  </a:lnTo>
                  <a:lnTo>
                    <a:pt x="27" y="162"/>
                  </a:lnTo>
                  <a:lnTo>
                    <a:pt x="25" y="162"/>
                  </a:lnTo>
                  <a:lnTo>
                    <a:pt x="25" y="162"/>
                  </a:lnTo>
                  <a:lnTo>
                    <a:pt x="25" y="162"/>
                  </a:lnTo>
                  <a:lnTo>
                    <a:pt x="23" y="164"/>
                  </a:lnTo>
                  <a:lnTo>
                    <a:pt x="21" y="166"/>
                  </a:lnTo>
                  <a:lnTo>
                    <a:pt x="21" y="166"/>
                  </a:lnTo>
                  <a:lnTo>
                    <a:pt x="19" y="166"/>
                  </a:lnTo>
                  <a:lnTo>
                    <a:pt x="15" y="168"/>
                  </a:lnTo>
                  <a:lnTo>
                    <a:pt x="11" y="172"/>
                  </a:lnTo>
                  <a:lnTo>
                    <a:pt x="9" y="174"/>
                  </a:lnTo>
                  <a:lnTo>
                    <a:pt x="6" y="178"/>
                  </a:lnTo>
                  <a:lnTo>
                    <a:pt x="4" y="180"/>
                  </a:lnTo>
                  <a:lnTo>
                    <a:pt x="4" y="184"/>
                  </a:lnTo>
                  <a:lnTo>
                    <a:pt x="4" y="184"/>
                  </a:lnTo>
                  <a:lnTo>
                    <a:pt x="4" y="184"/>
                  </a:lnTo>
                  <a:lnTo>
                    <a:pt x="4" y="186"/>
                  </a:lnTo>
                  <a:lnTo>
                    <a:pt x="4" y="186"/>
                  </a:lnTo>
                  <a:lnTo>
                    <a:pt x="2" y="188"/>
                  </a:lnTo>
                  <a:lnTo>
                    <a:pt x="2" y="188"/>
                  </a:lnTo>
                  <a:lnTo>
                    <a:pt x="2" y="190"/>
                  </a:lnTo>
                  <a:lnTo>
                    <a:pt x="2" y="193"/>
                  </a:lnTo>
                  <a:lnTo>
                    <a:pt x="2" y="193"/>
                  </a:lnTo>
                  <a:lnTo>
                    <a:pt x="0" y="195"/>
                  </a:lnTo>
                  <a:lnTo>
                    <a:pt x="0" y="197"/>
                  </a:lnTo>
                  <a:lnTo>
                    <a:pt x="0" y="197"/>
                  </a:lnTo>
                  <a:lnTo>
                    <a:pt x="0" y="199"/>
                  </a:lnTo>
                  <a:lnTo>
                    <a:pt x="4" y="201"/>
                  </a:lnTo>
                  <a:lnTo>
                    <a:pt x="4" y="201"/>
                  </a:lnTo>
                  <a:lnTo>
                    <a:pt x="4" y="207"/>
                  </a:lnTo>
                  <a:lnTo>
                    <a:pt x="4" y="209"/>
                  </a:lnTo>
                  <a:lnTo>
                    <a:pt x="4" y="209"/>
                  </a:lnTo>
                  <a:lnTo>
                    <a:pt x="4" y="209"/>
                  </a:lnTo>
                  <a:lnTo>
                    <a:pt x="4" y="207"/>
                  </a:lnTo>
                  <a:lnTo>
                    <a:pt x="4" y="211"/>
                  </a:lnTo>
                  <a:lnTo>
                    <a:pt x="9" y="213"/>
                  </a:lnTo>
                  <a:lnTo>
                    <a:pt x="11" y="213"/>
                  </a:lnTo>
                  <a:lnTo>
                    <a:pt x="21" y="221"/>
                  </a:lnTo>
                  <a:lnTo>
                    <a:pt x="21" y="221"/>
                  </a:lnTo>
                  <a:lnTo>
                    <a:pt x="23" y="221"/>
                  </a:lnTo>
                  <a:lnTo>
                    <a:pt x="23" y="221"/>
                  </a:lnTo>
                  <a:lnTo>
                    <a:pt x="23" y="221"/>
                  </a:lnTo>
                  <a:lnTo>
                    <a:pt x="23" y="221"/>
                  </a:lnTo>
                  <a:lnTo>
                    <a:pt x="25" y="221"/>
                  </a:lnTo>
                  <a:lnTo>
                    <a:pt x="25" y="221"/>
                  </a:lnTo>
                  <a:lnTo>
                    <a:pt x="27" y="221"/>
                  </a:lnTo>
                  <a:lnTo>
                    <a:pt x="27" y="223"/>
                  </a:lnTo>
                  <a:lnTo>
                    <a:pt x="29" y="225"/>
                  </a:lnTo>
                  <a:lnTo>
                    <a:pt x="29" y="225"/>
                  </a:lnTo>
                  <a:lnTo>
                    <a:pt x="33" y="223"/>
                  </a:lnTo>
                  <a:lnTo>
                    <a:pt x="33" y="225"/>
                  </a:lnTo>
                  <a:lnTo>
                    <a:pt x="35" y="227"/>
                  </a:lnTo>
                  <a:lnTo>
                    <a:pt x="35" y="227"/>
                  </a:lnTo>
                  <a:lnTo>
                    <a:pt x="37" y="227"/>
                  </a:lnTo>
                  <a:lnTo>
                    <a:pt x="39" y="229"/>
                  </a:lnTo>
                  <a:lnTo>
                    <a:pt x="41" y="229"/>
                  </a:lnTo>
                  <a:lnTo>
                    <a:pt x="41" y="229"/>
                  </a:lnTo>
                  <a:lnTo>
                    <a:pt x="41" y="231"/>
                  </a:lnTo>
                  <a:lnTo>
                    <a:pt x="41" y="231"/>
                  </a:lnTo>
                  <a:lnTo>
                    <a:pt x="43" y="233"/>
                  </a:lnTo>
                  <a:lnTo>
                    <a:pt x="43" y="233"/>
                  </a:lnTo>
                  <a:lnTo>
                    <a:pt x="43" y="233"/>
                  </a:lnTo>
                  <a:lnTo>
                    <a:pt x="45" y="233"/>
                  </a:lnTo>
                  <a:lnTo>
                    <a:pt x="45" y="233"/>
                  </a:lnTo>
                  <a:lnTo>
                    <a:pt x="47" y="231"/>
                  </a:lnTo>
                  <a:lnTo>
                    <a:pt x="47" y="231"/>
                  </a:lnTo>
                  <a:lnTo>
                    <a:pt x="50" y="229"/>
                  </a:lnTo>
                  <a:lnTo>
                    <a:pt x="52" y="229"/>
                  </a:lnTo>
                  <a:lnTo>
                    <a:pt x="54" y="229"/>
                  </a:lnTo>
                  <a:lnTo>
                    <a:pt x="54" y="229"/>
                  </a:lnTo>
                  <a:lnTo>
                    <a:pt x="54" y="231"/>
                  </a:lnTo>
                  <a:lnTo>
                    <a:pt x="54" y="231"/>
                  </a:lnTo>
                  <a:lnTo>
                    <a:pt x="56" y="231"/>
                  </a:lnTo>
                  <a:lnTo>
                    <a:pt x="56" y="231"/>
                  </a:lnTo>
                  <a:lnTo>
                    <a:pt x="58" y="229"/>
                  </a:lnTo>
                  <a:lnTo>
                    <a:pt x="58" y="229"/>
                  </a:lnTo>
                  <a:lnTo>
                    <a:pt x="62" y="229"/>
                  </a:lnTo>
                  <a:lnTo>
                    <a:pt x="62" y="229"/>
                  </a:lnTo>
                  <a:lnTo>
                    <a:pt x="64" y="229"/>
                  </a:lnTo>
                  <a:lnTo>
                    <a:pt x="66" y="233"/>
                  </a:lnTo>
                  <a:lnTo>
                    <a:pt x="66" y="238"/>
                  </a:lnTo>
                  <a:lnTo>
                    <a:pt x="64" y="248"/>
                  </a:lnTo>
                  <a:lnTo>
                    <a:pt x="64" y="250"/>
                  </a:lnTo>
                  <a:lnTo>
                    <a:pt x="64" y="252"/>
                  </a:lnTo>
                  <a:lnTo>
                    <a:pt x="66" y="254"/>
                  </a:lnTo>
                  <a:lnTo>
                    <a:pt x="66" y="254"/>
                  </a:lnTo>
                  <a:lnTo>
                    <a:pt x="64" y="256"/>
                  </a:lnTo>
                  <a:lnTo>
                    <a:pt x="64" y="256"/>
                  </a:lnTo>
                  <a:lnTo>
                    <a:pt x="66" y="258"/>
                  </a:lnTo>
                  <a:lnTo>
                    <a:pt x="66" y="258"/>
                  </a:lnTo>
                  <a:lnTo>
                    <a:pt x="68" y="256"/>
                  </a:lnTo>
                  <a:lnTo>
                    <a:pt x="72" y="254"/>
                  </a:lnTo>
                  <a:lnTo>
                    <a:pt x="74" y="252"/>
                  </a:lnTo>
                  <a:lnTo>
                    <a:pt x="76" y="248"/>
                  </a:lnTo>
                  <a:lnTo>
                    <a:pt x="78" y="244"/>
                  </a:lnTo>
                  <a:lnTo>
                    <a:pt x="78" y="244"/>
                  </a:lnTo>
                  <a:lnTo>
                    <a:pt x="76" y="244"/>
                  </a:lnTo>
                  <a:lnTo>
                    <a:pt x="76" y="242"/>
                  </a:lnTo>
                  <a:lnTo>
                    <a:pt x="78" y="242"/>
                  </a:lnTo>
                  <a:lnTo>
                    <a:pt x="80" y="240"/>
                  </a:lnTo>
                  <a:lnTo>
                    <a:pt x="80" y="240"/>
                  </a:lnTo>
                  <a:lnTo>
                    <a:pt x="80" y="238"/>
                  </a:lnTo>
                  <a:lnTo>
                    <a:pt x="82" y="236"/>
                  </a:lnTo>
                  <a:lnTo>
                    <a:pt x="82" y="236"/>
                  </a:lnTo>
                  <a:lnTo>
                    <a:pt x="82" y="233"/>
                  </a:lnTo>
                  <a:lnTo>
                    <a:pt x="80" y="233"/>
                  </a:lnTo>
                  <a:lnTo>
                    <a:pt x="80" y="233"/>
                  </a:lnTo>
                  <a:lnTo>
                    <a:pt x="80" y="233"/>
                  </a:lnTo>
                  <a:lnTo>
                    <a:pt x="80" y="233"/>
                  </a:lnTo>
                  <a:lnTo>
                    <a:pt x="80" y="233"/>
                  </a:lnTo>
                  <a:lnTo>
                    <a:pt x="78" y="233"/>
                  </a:lnTo>
                  <a:lnTo>
                    <a:pt x="78" y="233"/>
                  </a:lnTo>
                  <a:lnTo>
                    <a:pt x="80" y="231"/>
                  </a:lnTo>
                  <a:lnTo>
                    <a:pt x="80" y="231"/>
                  </a:lnTo>
                  <a:lnTo>
                    <a:pt x="80" y="231"/>
                  </a:lnTo>
                  <a:lnTo>
                    <a:pt x="82" y="231"/>
                  </a:lnTo>
                  <a:lnTo>
                    <a:pt x="84" y="223"/>
                  </a:lnTo>
                  <a:lnTo>
                    <a:pt x="84" y="221"/>
                  </a:lnTo>
                  <a:lnTo>
                    <a:pt x="86" y="219"/>
                  </a:lnTo>
                  <a:lnTo>
                    <a:pt x="88" y="215"/>
                  </a:lnTo>
                  <a:lnTo>
                    <a:pt x="90" y="213"/>
                  </a:lnTo>
                  <a:lnTo>
                    <a:pt x="90" y="211"/>
                  </a:lnTo>
                  <a:lnTo>
                    <a:pt x="86" y="215"/>
                  </a:lnTo>
                  <a:lnTo>
                    <a:pt x="84" y="215"/>
                  </a:lnTo>
                  <a:lnTo>
                    <a:pt x="84" y="213"/>
                  </a:lnTo>
                  <a:lnTo>
                    <a:pt x="82" y="213"/>
                  </a:lnTo>
                  <a:lnTo>
                    <a:pt x="82" y="213"/>
                  </a:lnTo>
                  <a:lnTo>
                    <a:pt x="82" y="211"/>
                  </a:lnTo>
                  <a:lnTo>
                    <a:pt x="84" y="211"/>
                  </a:lnTo>
                  <a:lnTo>
                    <a:pt x="90" y="209"/>
                  </a:lnTo>
                  <a:lnTo>
                    <a:pt x="90" y="209"/>
                  </a:lnTo>
                  <a:lnTo>
                    <a:pt x="88" y="207"/>
                  </a:lnTo>
                  <a:lnTo>
                    <a:pt x="90" y="205"/>
                  </a:lnTo>
                  <a:lnTo>
                    <a:pt x="93" y="201"/>
                  </a:lnTo>
                  <a:lnTo>
                    <a:pt x="95" y="203"/>
                  </a:lnTo>
                  <a:lnTo>
                    <a:pt x="93" y="205"/>
                  </a:lnTo>
                  <a:lnTo>
                    <a:pt x="93" y="207"/>
                  </a:lnTo>
                  <a:lnTo>
                    <a:pt x="90" y="209"/>
                  </a:lnTo>
                  <a:lnTo>
                    <a:pt x="93" y="209"/>
                  </a:lnTo>
                  <a:lnTo>
                    <a:pt x="95" y="207"/>
                  </a:lnTo>
                  <a:lnTo>
                    <a:pt x="99" y="203"/>
                  </a:lnTo>
                  <a:lnTo>
                    <a:pt x="101" y="203"/>
                  </a:lnTo>
                  <a:lnTo>
                    <a:pt x="99" y="201"/>
                  </a:lnTo>
                  <a:lnTo>
                    <a:pt x="97" y="199"/>
                  </a:lnTo>
                  <a:lnTo>
                    <a:pt x="97" y="197"/>
                  </a:lnTo>
                  <a:lnTo>
                    <a:pt x="95" y="199"/>
                  </a:lnTo>
                  <a:lnTo>
                    <a:pt x="95" y="197"/>
                  </a:lnTo>
                  <a:lnTo>
                    <a:pt x="95" y="197"/>
                  </a:lnTo>
                  <a:lnTo>
                    <a:pt x="95" y="195"/>
                  </a:lnTo>
                  <a:lnTo>
                    <a:pt x="95" y="193"/>
                  </a:lnTo>
                  <a:lnTo>
                    <a:pt x="97" y="193"/>
                  </a:lnTo>
                  <a:lnTo>
                    <a:pt x="97" y="193"/>
                  </a:lnTo>
                  <a:lnTo>
                    <a:pt x="99" y="193"/>
                  </a:lnTo>
                  <a:lnTo>
                    <a:pt x="99" y="193"/>
                  </a:lnTo>
                  <a:lnTo>
                    <a:pt x="101" y="190"/>
                  </a:lnTo>
                  <a:lnTo>
                    <a:pt x="99" y="188"/>
                  </a:lnTo>
                  <a:lnTo>
                    <a:pt x="99" y="186"/>
                  </a:lnTo>
                  <a:lnTo>
                    <a:pt x="97" y="186"/>
                  </a:lnTo>
                  <a:lnTo>
                    <a:pt x="97" y="184"/>
                  </a:lnTo>
                  <a:lnTo>
                    <a:pt x="97" y="180"/>
                  </a:lnTo>
                  <a:lnTo>
                    <a:pt x="97" y="182"/>
                  </a:lnTo>
                  <a:lnTo>
                    <a:pt x="99" y="182"/>
                  </a:lnTo>
                  <a:lnTo>
                    <a:pt x="99" y="182"/>
                  </a:lnTo>
                  <a:lnTo>
                    <a:pt x="101" y="180"/>
                  </a:lnTo>
                  <a:lnTo>
                    <a:pt x="103" y="182"/>
                  </a:lnTo>
                  <a:lnTo>
                    <a:pt x="105" y="182"/>
                  </a:lnTo>
                  <a:lnTo>
                    <a:pt x="105" y="184"/>
                  </a:lnTo>
                  <a:lnTo>
                    <a:pt x="105" y="184"/>
                  </a:lnTo>
                  <a:lnTo>
                    <a:pt x="107" y="184"/>
                  </a:lnTo>
                  <a:lnTo>
                    <a:pt x="107" y="182"/>
                  </a:lnTo>
                  <a:lnTo>
                    <a:pt x="105" y="180"/>
                  </a:lnTo>
                  <a:lnTo>
                    <a:pt x="103" y="178"/>
                  </a:lnTo>
                  <a:lnTo>
                    <a:pt x="103" y="176"/>
                  </a:lnTo>
                  <a:lnTo>
                    <a:pt x="105" y="176"/>
                  </a:lnTo>
                  <a:lnTo>
                    <a:pt x="105" y="174"/>
                  </a:lnTo>
                  <a:lnTo>
                    <a:pt x="105" y="174"/>
                  </a:lnTo>
                  <a:lnTo>
                    <a:pt x="107" y="172"/>
                  </a:lnTo>
                  <a:lnTo>
                    <a:pt x="107" y="172"/>
                  </a:lnTo>
                  <a:lnTo>
                    <a:pt x="107" y="170"/>
                  </a:lnTo>
                  <a:lnTo>
                    <a:pt x="109" y="168"/>
                  </a:lnTo>
                  <a:lnTo>
                    <a:pt x="111" y="168"/>
                  </a:lnTo>
                  <a:lnTo>
                    <a:pt x="111" y="166"/>
                  </a:lnTo>
                  <a:lnTo>
                    <a:pt x="111" y="162"/>
                  </a:lnTo>
                  <a:lnTo>
                    <a:pt x="111" y="162"/>
                  </a:lnTo>
                  <a:lnTo>
                    <a:pt x="113" y="160"/>
                  </a:lnTo>
                  <a:lnTo>
                    <a:pt x="113" y="158"/>
                  </a:lnTo>
                  <a:lnTo>
                    <a:pt x="111" y="158"/>
                  </a:lnTo>
                  <a:lnTo>
                    <a:pt x="109" y="158"/>
                  </a:lnTo>
                  <a:lnTo>
                    <a:pt x="109" y="154"/>
                  </a:lnTo>
                  <a:lnTo>
                    <a:pt x="109" y="149"/>
                  </a:lnTo>
                  <a:lnTo>
                    <a:pt x="111" y="147"/>
                  </a:lnTo>
                  <a:lnTo>
                    <a:pt x="111" y="145"/>
                  </a:lnTo>
                  <a:lnTo>
                    <a:pt x="111" y="145"/>
                  </a:lnTo>
                  <a:lnTo>
                    <a:pt x="111" y="143"/>
                  </a:lnTo>
                  <a:lnTo>
                    <a:pt x="111" y="141"/>
                  </a:lnTo>
                  <a:lnTo>
                    <a:pt x="111" y="139"/>
                  </a:lnTo>
                  <a:lnTo>
                    <a:pt x="113" y="137"/>
                  </a:lnTo>
                  <a:lnTo>
                    <a:pt x="111" y="137"/>
                  </a:lnTo>
                  <a:lnTo>
                    <a:pt x="109" y="137"/>
                  </a:lnTo>
                  <a:lnTo>
                    <a:pt x="111" y="135"/>
                  </a:lnTo>
                  <a:lnTo>
                    <a:pt x="111" y="133"/>
                  </a:lnTo>
                  <a:lnTo>
                    <a:pt x="109" y="131"/>
                  </a:lnTo>
                  <a:lnTo>
                    <a:pt x="109" y="131"/>
                  </a:lnTo>
                  <a:lnTo>
                    <a:pt x="109" y="129"/>
                  </a:lnTo>
                  <a:lnTo>
                    <a:pt x="109" y="129"/>
                  </a:lnTo>
                  <a:lnTo>
                    <a:pt x="111" y="129"/>
                  </a:lnTo>
                  <a:lnTo>
                    <a:pt x="111" y="127"/>
                  </a:lnTo>
                  <a:lnTo>
                    <a:pt x="113" y="127"/>
                  </a:lnTo>
                  <a:lnTo>
                    <a:pt x="113" y="125"/>
                  </a:lnTo>
                  <a:lnTo>
                    <a:pt x="113" y="123"/>
                  </a:lnTo>
                  <a:lnTo>
                    <a:pt x="111" y="125"/>
                  </a:lnTo>
                  <a:lnTo>
                    <a:pt x="111" y="123"/>
                  </a:lnTo>
                  <a:lnTo>
                    <a:pt x="111" y="123"/>
                  </a:lnTo>
                  <a:lnTo>
                    <a:pt x="113" y="123"/>
                  </a:lnTo>
                  <a:lnTo>
                    <a:pt x="113" y="125"/>
                  </a:lnTo>
                  <a:lnTo>
                    <a:pt x="115" y="127"/>
                  </a:lnTo>
                  <a:lnTo>
                    <a:pt x="115" y="129"/>
                  </a:lnTo>
                  <a:lnTo>
                    <a:pt x="115" y="131"/>
                  </a:lnTo>
                  <a:lnTo>
                    <a:pt x="113" y="135"/>
                  </a:lnTo>
                  <a:lnTo>
                    <a:pt x="117" y="152"/>
                  </a:lnTo>
                  <a:lnTo>
                    <a:pt x="117" y="149"/>
                  </a:lnTo>
                  <a:lnTo>
                    <a:pt x="115" y="139"/>
                  </a:lnTo>
                  <a:close/>
                </a:path>
              </a:pathLst>
            </a:custGeom>
            <a:solidFill>
              <a:schemeClr val="accent1">
                <a:lumMod val="60000"/>
                <a:lumOff val="40000"/>
              </a:schemeClr>
            </a:solidFill>
            <a:ln w="3175" cap="rnd">
              <a:solidFill>
                <a:schemeClr val="bg1"/>
              </a:solidFill>
              <a:prstDash val="solid"/>
              <a:round/>
              <a:headEnd/>
              <a:tailEnd/>
            </a:ln>
          </p:spPr>
          <p:txBody>
            <a:bodyPr vert="horz" wrap="square" lIns="48000" tIns="0" rIns="0" bIns="144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J</a:t>
              </a:r>
            </a:p>
          </p:txBody>
        </p:sp>
        <p:sp>
          <p:nvSpPr>
            <p:cNvPr id="158" name="Freeform 26">
              <a:extLst>
                <a:ext uri="{FF2B5EF4-FFF2-40B4-BE49-F238E27FC236}">
                  <a16:creationId xmlns:a16="http://schemas.microsoft.com/office/drawing/2014/main" id="{B89AFF51-6A22-EF18-79EE-8EF0B5042DD6}"/>
                </a:ext>
              </a:extLst>
            </p:cNvPr>
            <p:cNvSpPr>
              <a:spLocks/>
            </p:cNvSpPr>
            <p:nvPr/>
          </p:nvSpPr>
          <p:spPr bwMode="auto">
            <a:xfrm>
              <a:off x="2394" y="797"/>
              <a:ext cx="725" cy="324"/>
            </a:xfrm>
            <a:custGeom>
              <a:avLst/>
              <a:gdLst>
                <a:gd name="T0" fmla="*/ 626 w 725"/>
                <a:gd name="T1" fmla="*/ 64 h 324"/>
                <a:gd name="T2" fmla="*/ 630 w 725"/>
                <a:gd name="T3" fmla="*/ 78 h 324"/>
                <a:gd name="T4" fmla="*/ 632 w 725"/>
                <a:gd name="T5" fmla="*/ 90 h 324"/>
                <a:gd name="T6" fmla="*/ 639 w 725"/>
                <a:gd name="T7" fmla="*/ 101 h 324"/>
                <a:gd name="T8" fmla="*/ 647 w 725"/>
                <a:gd name="T9" fmla="*/ 115 h 324"/>
                <a:gd name="T10" fmla="*/ 655 w 725"/>
                <a:gd name="T11" fmla="*/ 127 h 324"/>
                <a:gd name="T12" fmla="*/ 653 w 725"/>
                <a:gd name="T13" fmla="*/ 138 h 324"/>
                <a:gd name="T14" fmla="*/ 653 w 725"/>
                <a:gd name="T15" fmla="*/ 148 h 324"/>
                <a:gd name="T16" fmla="*/ 657 w 725"/>
                <a:gd name="T17" fmla="*/ 156 h 324"/>
                <a:gd name="T18" fmla="*/ 661 w 725"/>
                <a:gd name="T19" fmla="*/ 156 h 324"/>
                <a:gd name="T20" fmla="*/ 663 w 725"/>
                <a:gd name="T21" fmla="*/ 162 h 324"/>
                <a:gd name="T22" fmla="*/ 667 w 725"/>
                <a:gd name="T23" fmla="*/ 170 h 324"/>
                <a:gd name="T24" fmla="*/ 671 w 725"/>
                <a:gd name="T25" fmla="*/ 181 h 324"/>
                <a:gd name="T26" fmla="*/ 673 w 725"/>
                <a:gd name="T27" fmla="*/ 193 h 324"/>
                <a:gd name="T28" fmla="*/ 673 w 725"/>
                <a:gd name="T29" fmla="*/ 203 h 324"/>
                <a:gd name="T30" fmla="*/ 673 w 725"/>
                <a:gd name="T31" fmla="*/ 207 h 324"/>
                <a:gd name="T32" fmla="*/ 676 w 725"/>
                <a:gd name="T33" fmla="*/ 211 h 324"/>
                <a:gd name="T34" fmla="*/ 678 w 725"/>
                <a:gd name="T35" fmla="*/ 222 h 324"/>
                <a:gd name="T36" fmla="*/ 678 w 725"/>
                <a:gd name="T37" fmla="*/ 234 h 324"/>
                <a:gd name="T38" fmla="*/ 676 w 725"/>
                <a:gd name="T39" fmla="*/ 240 h 324"/>
                <a:gd name="T40" fmla="*/ 684 w 725"/>
                <a:gd name="T41" fmla="*/ 248 h 324"/>
                <a:gd name="T42" fmla="*/ 686 w 725"/>
                <a:gd name="T43" fmla="*/ 261 h 324"/>
                <a:gd name="T44" fmla="*/ 690 w 725"/>
                <a:gd name="T45" fmla="*/ 267 h 324"/>
                <a:gd name="T46" fmla="*/ 694 w 725"/>
                <a:gd name="T47" fmla="*/ 275 h 324"/>
                <a:gd name="T48" fmla="*/ 696 w 725"/>
                <a:gd name="T49" fmla="*/ 283 h 324"/>
                <a:gd name="T50" fmla="*/ 702 w 725"/>
                <a:gd name="T51" fmla="*/ 285 h 324"/>
                <a:gd name="T52" fmla="*/ 710 w 725"/>
                <a:gd name="T53" fmla="*/ 291 h 324"/>
                <a:gd name="T54" fmla="*/ 714 w 725"/>
                <a:gd name="T55" fmla="*/ 302 h 324"/>
                <a:gd name="T56" fmla="*/ 716 w 725"/>
                <a:gd name="T57" fmla="*/ 312 h 324"/>
                <a:gd name="T58" fmla="*/ 690 w 725"/>
                <a:gd name="T59" fmla="*/ 318 h 324"/>
                <a:gd name="T60" fmla="*/ 583 w 725"/>
                <a:gd name="T61" fmla="*/ 322 h 324"/>
                <a:gd name="T62" fmla="*/ 479 w 725"/>
                <a:gd name="T63" fmla="*/ 324 h 324"/>
                <a:gd name="T64" fmla="*/ 372 w 725"/>
                <a:gd name="T65" fmla="*/ 324 h 324"/>
                <a:gd name="T66" fmla="*/ 268 w 725"/>
                <a:gd name="T67" fmla="*/ 324 h 324"/>
                <a:gd name="T68" fmla="*/ 161 w 725"/>
                <a:gd name="T69" fmla="*/ 324 h 324"/>
                <a:gd name="T70" fmla="*/ 163 w 725"/>
                <a:gd name="T71" fmla="*/ 283 h 324"/>
                <a:gd name="T72" fmla="*/ 163 w 725"/>
                <a:gd name="T73" fmla="*/ 244 h 324"/>
                <a:gd name="T74" fmla="*/ 147 w 725"/>
                <a:gd name="T75" fmla="*/ 217 h 324"/>
                <a:gd name="T76" fmla="*/ 88 w 725"/>
                <a:gd name="T77" fmla="*/ 215 h 324"/>
                <a:gd name="T78" fmla="*/ 28 w 725"/>
                <a:gd name="T79" fmla="*/ 213 h 324"/>
                <a:gd name="T80" fmla="*/ 0 w 725"/>
                <a:gd name="T81" fmla="*/ 172 h 324"/>
                <a:gd name="T82" fmla="*/ 2 w 725"/>
                <a:gd name="T83" fmla="*/ 92 h 324"/>
                <a:gd name="T84" fmla="*/ 6 w 725"/>
                <a:gd name="T85" fmla="*/ 13 h 324"/>
                <a:gd name="T86" fmla="*/ 75 w 725"/>
                <a:gd name="T87" fmla="*/ 2 h 324"/>
                <a:gd name="T88" fmla="*/ 157 w 725"/>
                <a:gd name="T89" fmla="*/ 4 h 324"/>
                <a:gd name="T90" fmla="*/ 239 w 725"/>
                <a:gd name="T91" fmla="*/ 6 h 324"/>
                <a:gd name="T92" fmla="*/ 323 w 725"/>
                <a:gd name="T93" fmla="*/ 6 h 324"/>
                <a:gd name="T94" fmla="*/ 405 w 725"/>
                <a:gd name="T95" fmla="*/ 6 h 324"/>
                <a:gd name="T96" fmla="*/ 454 w 725"/>
                <a:gd name="T97" fmla="*/ 6 h 324"/>
                <a:gd name="T98" fmla="*/ 467 w 725"/>
                <a:gd name="T99" fmla="*/ 15 h 324"/>
                <a:gd name="T100" fmla="*/ 487 w 725"/>
                <a:gd name="T101" fmla="*/ 25 h 324"/>
                <a:gd name="T102" fmla="*/ 501 w 725"/>
                <a:gd name="T103" fmla="*/ 25 h 324"/>
                <a:gd name="T104" fmla="*/ 506 w 725"/>
                <a:gd name="T105" fmla="*/ 19 h 324"/>
                <a:gd name="T106" fmla="*/ 520 w 725"/>
                <a:gd name="T107" fmla="*/ 21 h 324"/>
                <a:gd name="T108" fmla="*/ 551 w 725"/>
                <a:gd name="T109" fmla="*/ 15 h 324"/>
                <a:gd name="T110" fmla="*/ 563 w 725"/>
                <a:gd name="T111" fmla="*/ 25 h 324"/>
                <a:gd name="T112" fmla="*/ 575 w 725"/>
                <a:gd name="T113" fmla="*/ 27 h 324"/>
                <a:gd name="T114" fmla="*/ 589 w 725"/>
                <a:gd name="T115" fmla="*/ 31 h 324"/>
                <a:gd name="T116" fmla="*/ 594 w 725"/>
                <a:gd name="T117" fmla="*/ 37 h 324"/>
                <a:gd name="T118" fmla="*/ 600 w 725"/>
                <a:gd name="T119" fmla="*/ 37 h 324"/>
                <a:gd name="T120" fmla="*/ 604 w 725"/>
                <a:gd name="T121" fmla="*/ 45 h 324"/>
                <a:gd name="T122" fmla="*/ 618 w 725"/>
                <a:gd name="T123" fmla="*/ 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5" h="324">
                  <a:moveTo>
                    <a:pt x="618" y="54"/>
                  </a:moveTo>
                  <a:lnTo>
                    <a:pt x="622" y="54"/>
                  </a:lnTo>
                  <a:lnTo>
                    <a:pt x="624" y="54"/>
                  </a:lnTo>
                  <a:lnTo>
                    <a:pt x="624" y="56"/>
                  </a:lnTo>
                  <a:lnTo>
                    <a:pt x="626" y="60"/>
                  </a:lnTo>
                  <a:lnTo>
                    <a:pt x="626" y="64"/>
                  </a:lnTo>
                  <a:lnTo>
                    <a:pt x="624" y="68"/>
                  </a:lnTo>
                  <a:lnTo>
                    <a:pt x="628" y="72"/>
                  </a:lnTo>
                  <a:lnTo>
                    <a:pt x="628" y="74"/>
                  </a:lnTo>
                  <a:lnTo>
                    <a:pt x="628" y="74"/>
                  </a:lnTo>
                  <a:lnTo>
                    <a:pt x="630" y="76"/>
                  </a:lnTo>
                  <a:lnTo>
                    <a:pt x="630" y="78"/>
                  </a:lnTo>
                  <a:lnTo>
                    <a:pt x="630" y="80"/>
                  </a:lnTo>
                  <a:lnTo>
                    <a:pt x="630" y="82"/>
                  </a:lnTo>
                  <a:lnTo>
                    <a:pt x="630" y="84"/>
                  </a:lnTo>
                  <a:lnTo>
                    <a:pt x="630" y="86"/>
                  </a:lnTo>
                  <a:lnTo>
                    <a:pt x="630" y="88"/>
                  </a:lnTo>
                  <a:lnTo>
                    <a:pt x="632" y="90"/>
                  </a:lnTo>
                  <a:lnTo>
                    <a:pt x="635" y="90"/>
                  </a:lnTo>
                  <a:lnTo>
                    <a:pt x="637" y="92"/>
                  </a:lnTo>
                  <a:lnTo>
                    <a:pt x="637" y="95"/>
                  </a:lnTo>
                  <a:lnTo>
                    <a:pt x="637" y="97"/>
                  </a:lnTo>
                  <a:lnTo>
                    <a:pt x="637" y="99"/>
                  </a:lnTo>
                  <a:lnTo>
                    <a:pt x="639" y="101"/>
                  </a:lnTo>
                  <a:lnTo>
                    <a:pt x="641" y="105"/>
                  </a:lnTo>
                  <a:lnTo>
                    <a:pt x="643" y="105"/>
                  </a:lnTo>
                  <a:lnTo>
                    <a:pt x="647" y="109"/>
                  </a:lnTo>
                  <a:lnTo>
                    <a:pt x="649" y="113"/>
                  </a:lnTo>
                  <a:lnTo>
                    <a:pt x="647" y="113"/>
                  </a:lnTo>
                  <a:lnTo>
                    <a:pt x="647" y="115"/>
                  </a:lnTo>
                  <a:lnTo>
                    <a:pt x="647" y="117"/>
                  </a:lnTo>
                  <a:lnTo>
                    <a:pt x="647" y="117"/>
                  </a:lnTo>
                  <a:lnTo>
                    <a:pt x="649" y="121"/>
                  </a:lnTo>
                  <a:lnTo>
                    <a:pt x="649" y="121"/>
                  </a:lnTo>
                  <a:lnTo>
                    <a:pt x="653" y="125"/>
                  </a:lnTo>
                  <a:lnTo>
                    <a:pt x="655" y="127"/>
                  </a:lnTo>
                  <a:lnTo>
                    <a:pt x="655" y="129"/>
                  </a:lnTo>
                  <a:lnTo>
                    <a:pt x="653" y="131"/>
                  </a:lnTo>
                  <a:lnTo>
                    <a:pt x="653" y="133"/>
                  </a:lnTo>
                  <a:lnTo>
                    <a:pt x="653" y="136"/>
                  </a:lnTo>
                  <a:lnTo>
                    <a:pt x="653" y="136"/>
                  </a:lnTo>
                  <a:lnTo>
                    <a:pt x="653" y="138"/>
                  </a:lnTo>
                  <a:lnTo>
                    <a:pt x="653" y="138"/>
                  </a:lnTo>
                  <a:lnTo>
                    <a:pt x="653" y="140"/>
                  </a:lnTo>
                  <a:lnTo>
                    <a:pt x="653" y="140"/>
                  </a:lnTo>
                  <a:lnTo>
                    <a:pt x="653" y="144"/>
                  </a:lnTo>
                  <a:lnTo>
                    <a:pt x="653" y="146"/>
                  </a:lnTo>
                  <a:lnTo>
                    <a:pt x="653" y="148"/>
                  </a:lnTo>
                  <a:lnTo>
                    <a:pt x="655" y="150"/>
                  </a:lnTo>
                  <a:lnTo>
                    <a:pt x="655" y="150"/>
                  </a:lnTo>
                  <a:lnTo>
                    <a:pt x="655" y="152"/>
                  </a:lnTo>
                  <a:lnTo>
                    <a:pt x="655" y="154"/>
                  </a:lnTo>
                  <a:lnTo>
                    <a:pt x="657" y="156"/>
                  </a:lnTo>
                  <a:lnTo>
                    <a:pt x="657" y="156"/>
                  </a:lnTo>
                  <a:lnTo>
                    <a:pt x="659" y="154"/>
                  </a:lnTo>
                  <a:lnTo>
                    <a:pt x="659" y="154"/>
                  </a:lnTo>
                  <a:lnTo>
                    <a:pt x="661" y="154"/>
                  </a:lnTo>
                  <a:lnTo>
                    <a:pt x="661" y="154"/>
                  </a:lnTo>
                  <a:lnTo>
                    <a:pt x="661" y="156"/>
                  </a:lnTo>
                  <a:lnTo>
                    <a:pt x="661" y="156"/>
                  </a:lnTo>
                  <a:lnTo>
                    <a:pt x="661" y="156"/>
                  </a:lnTo>
                  <a:lnTo>
                    <a:pt x="661" y="158"/>
                  </a:lnTo>
                  <a:lnTo>
                    <a:pt x="661" y="160"/>
                  </a:lnTo>
                  <a:lnTo>
                    <a:pt x="661" y="160"/>
                  </a:lnTo>
                  <a:lnTo>
                    <a:pt x="661" y="162"/>
                  </a:lnTo>
                  <a:lnTo>
                    <a:pt x="663" y="162"/>
                  </a:lnTo>
                  <a:lnTo>
                    <a:pt x="665" y="162"/>
                  </a:lnTo>
                  <a:lnTo>
                    <a:pt x="667" y="162"/>
                  </a:lnTo>
                  <a:lnTo>
                    <a:pt x="667" y="162"/>
                  </a:lnTo>
                  <a:lnTo>
                    <a:pt x="667" y="164"/>
                  </a:lnTo>
                  <a:lnTo>
                    <a:pt x="667" y="168"/>
                  </a:lnTo>
                  <a:lnTo>
                    <a:pt x="667" y="170"/>
                  </a:lnTo>
                  <a:lnTo>
                    <a:pt x="665" y="176"/>
                  </a:lnTo>
                  <a:lnTo>
                    <a:pt x="667" y="176"/>
                  </a:lnTo>
                  <a:lnTo>
                    <a:pt x="671" y="179"/>
                  </a:lnTo>
                  <a:lnTo>
                    <a:pt x="671" y="179"/>
                  </a:lnTo>
                  <a:lnTo>
                    <a:pt x="673" y="179"/>
                  </a:lnTo>
                  <a:lnTo>
                    <a:pt x="671" y="181"/>
                  </a:lnTo>
                  <a:lnTo>
                    <a:pt x="669" y="183"/>
                  </a:lnTo>
                  <a:lnTo>
                    <a:pt x="669" y="185"/>
                  </a:lnTo>
                  <a:lnTo>
                    <a:pt x="669" y="189"/>
                  </a:lnTo>
                  <a:lnTo>
                    <a:pt x="669" y="191"/>
                  </a:lnTo>
                  <a:lnTo>
                    <a:pt x="669" y="191"/>
                  </a:lnTo>
                  <a:lnTo>
                    <a:pt x="673" y="193"/>
                  </a:lnTo>
                  <a:lnTo>
                    <a:pt x="676" y="193"/>
                  </a:lnTo>
                  <a:lnTo>
                    <a:pt x="673" y="195"/>
                  </a:lnTo>
                  <a:lnTo>
                    <a:pt x="673" y="195"/>
                  </a:lnTo>
                  <a:lnTo>
                    <a:pt x="673" y="199"/>
                  </a:lnTo>
                  <a:lnTo>
                    <a:pt x="673" y="201"/>
                  </a:lnTo>
                  <a:lnTo>
                    <a:pt x="673" y="203"/>
                  </a:lnTo>
                  <a:lnTo>
                    <a:pt x="673" y="205"/>
                  </a:lnTo>
                  <a:lnTo>
                    <a:pt x="673" y="205"/>
                  </a:lnTo>
                  <a:lnTo>
                    <a:pt x="673" y="205"/>
                  </a:lnTo>
                  <a:lnTo>
                    <a:pt x="673" y="205"/>
                  </a:lnTo>
                  <a:lnTo>
                    <a:pt x="673" y="205"/>
                  </a:lnTo>
                  <a:lnTo>
                    <a:pt x="673" y="207"/>
                  </a:lnTo>
                  <a:lnTo>
                    <a:pt x="673" y="207"/>
                  </a:lnTo>
                  <a:lnTo>
                    <a:pt x="673" y="207"/>
                  </a:lnTo>
                  <a:lnTo>
                    <a:pt x="673" y="209"/>
                  </a:lnTo>
                  <a:lnTo>
                    <a:pt x="673" y="209"/>
                  </a:lnTo>
                  <a:lnTo>
                    <a:pt x="673" y="211"/>
                  </a:lnTo>
                  <a:lnTo>
                    <a:pt x="676" y="211"/>
                  </a:lnTo>
                  <a:lnTo>
                    <a:pt x="676" y="213"/>
                  </a:lnTo>
                  <a:lnTo>
                    <a:pt x="678" y="213"/>
                  </a:lnTo>
                  <a:lnTo>
                    <a:pt x="678" y="215"/>
                  </a:lnTo>
                  <a:lnTo>
                    <a:pt x="676" y="217"/>
                  </a:lnTo>
                  <a:lnTo>
                    <a:pt x="678" y="217"/>
                  </a:lnTo>
                  <a:lnTo>
                    <a:pt x="678" y="222"/>
                  </a:lnTo>
                  <a:lnTo>
                    <a:pt x="678" y="224"/>
                  </a:lnTo>
                  <a:lnTo>
                    <a:pt x="678" y="226"/>
                  </a:lnTo>
                  <a:lnTo>
                    <a:pt x="678" y="228"/>
                  </a:lnTo>
                  <a:lnTo>
                    <a:pt x="678" y="230"/>
                  </a:lnTo>
                  <a:lnTo>
                    <a:pt x="678" y="232"/>
                  </a:lnTo>
                  <a:lnTo>
                    <a:pt x="678" y="234"/>
                  </a:lnTo>
                  <a:lnTo>
                    <a:pt x="678" y="234"/>
                  </a:lnTo>
                  <a:lnTo>
                    <a:pt x="678" y="236"/>
                  </a:lnTo>
                  <a:lnTo>
                    <a:pt x="676" y="238"/>
                  </a:lnTo>
                  <a:lnTo>
                    <a:pt x="676" y="238"/>
                  </a:lnTo>
                  <a:lnTo>
                    <a:pt x="676" y="240"/>
                  </a:lnTo>
                  <a:lnTo>
                    <a:pt x="676" y="240"/>
                  </a:lnTo>
                  <a:lnTo>
                    <a:pt x="676" y="242"/>
                  </a:lnTo>
                  <a:lnTo>
                    <a:pt x="676" y="242"/>
                  </a:lnTo>
                  <a:lnTo>
                    <a:pt x="676" y="244"/>
                  </a:lnTo>
                  <a:lnTo>
                    <a:pt x="678" y="246"/>
                  </a:lnTo>
                  <a:lnTo>
                    <a:pt x="682" y="246"/>
                  </a:lnTo>
                  <a:lnTo>
                    <a:pt x="684" y="248"/>
                  </a:lnTo>
                  <a:lnTo>
                    <a:pt x="684" y="250"/>
                  </a:lnTo>
                  <a:lnTo>
                    <a:pt x="684" y="252"/>
                  </a:lnTo>
                  <a:lnTo>
                    <a:pt x="684" y="254"/>
                  </a:lnTo>
                  <a:lnTo>
                    <a:pt x="684" y="256"/>
                  </a:lnTo>
                  <a:lnTo>
                    <a:pt x="684" y="261"/>
                  </a:lnTo>
                  <a:lnTo>
                    <a:pt x="686" y="261"/>
                  </a:lnTo>
                  <a:lnTo>
                    <a:pt x="688" y="261"/>
                  </a:lnTo>
                  <a:lnTo>
                    <a:pt x="690" y="263"/>
                  </a:lnTo>
                  <a:lnTo>
                    <a:pt x="690" y="263"/>
                  </a:lnTo>
                  <a:lnTo>
                    <a:pt x="690" y="265"/>
                  </a:lnTo>
                  <a:lnTo>
                    <a:pt x="690" y="265"/>
                  </a:lnTo>
                  <a:lnTo>
                    <a:pt x="690" y="267"/>
                  </a:lnTo>
                  <a:lnTo>
                    <a:pt x="692" y="269"/>
                  </a:lnTo>
                  <a:lnTo>
                    <a:pt x="692" y="271"/>
                  </a:lnTo>
                  <a:lnTo>
                    <a:pt x="694" y="271"/>
                  </a:lnTo>
                  <a:lnTo>
                    <a:pt x="694" y="273"/>
                  </a:lnTo>
                  <a:lnTo>
                    <a:pt x="694" y="275"/>
                  </a:lnTo>
                  <a:lnTo>
                    <a:pt x="694" y="275"/>
                  </a:lnTo>
                  <a:lnTo>
                    <a:pt x="694" y="275"/>
                  </a:lnTo>
                  <a:lnTo>
                    <a:pt x="696" y="277"/>
                  </a:lnTo>
                  <a:lnTo>
                    <a:pt x="696" y="281"/>
                  </a:lnTo>
                  <a:lnTo>
                    <a:pt x="696" y="281"/>
                  </a:lnTo>
                  <a:lnTo>
                    <a:pt x="696" y="281"/>
                  </a:lnTo>
                  <a:lnTo>
                    <a:pt x="696" y="283"/>
                  </a:lnTo>
                  <a:lnTo>
                    <a:pt x="694" y="283"/>
                  </a:lnTo>
                  <a:lnTo>
                    <a:pt x="696" y="285"/>
                  </a:lnTo>
                  <a:lnTo>
                    <a:pt x="696" y="285"/>
                  </a:lnTo>
                  <a:lnTo>
                    <a:pt x="698" y="285"/>
                  </a:lnTo>
                  <a:lnTo>
                    <a:pt x="700" y="285"/>
                  </a:lnTo>
                  <a:lnTo>
                    <a:pt x="702" y="285"/>
                  </a:lnTo>
                  <a:lnTo>
                    <a:pt x="702" y="287"/>
                  </a:lnTo>
                  <a:lnTo>
                    <a:pt x="702" y="289"/>
                  </a:lnTo>
                  <a:lnTo>
                    <a:pt x="704" y="289"/>
                  </a:lnTo>
                  <a:lnTo>
                    <a:pt x="704" y="289"/>
                  </a:lnTo>
                  <a:lnTo>
                    <a:pt x="708" y="291"/>
                  </a:lnTo>
                  <a:lnTo>
                    <a:pt x="710" y="291"/>
                  </a:lnTo>
                  <a:lnTo>
                    <a:pt x="710" y="291"/>
                  </a:lnTo>
                  <a:lnTo>
                    <a:pt x="710" y="293"/>
                  </a:lnTo>
                  <a:lnTo>
                    <a:pt x="710" y="295"/>
                  </a:lnTo>
                  <a:lnTo>
                    <a:pt x="712" y="299"/>
                  </a:lnTo>
                  <a:lnTo>
                    <a:pt x="712" y="299"/>
                  </a:lnTo>
                  <a:lnTo>
                    <a:pt x="714" y="302"/>
                  </a:lnTo>
                  <a:lnTo>
                    <a:pt x="716" y="304"/>
                  </a:lnTo>
                  <a:lnTo>
                    <a:pt x="716" y="306"/>
                  </a:lnTo>
                  <a:lnTo>
                    <a:pt x="716" y="306"/>
                  </a:lnTo>
                  <a:lnTo>
                    <a:pt x="716" y="308"/>
                  </a:lnTo>
                  <a:lnTo>
                    <a:pt x="714" y="310"/>
                  </a:lnTo>
                  <a:lnTo>
                    <a:pt x="716" y="312"/>
                  </a:lnTo>
                  <a:lnTo>
                    <a:pt x="716" y="314"/>
                  </a:lnTo>
                  <a:lnTo>
                    <a:pt x="721" y="314"/>
                  </a:lnTo>
                  <a:lnTo>
                    <a:pt x="723" y="314"/>
                  </a:lnTo>
                  <a:lnTo>
                    <a:pt x="725" y="316"/>
                  </a:lnTo>
                  <a:lnTo>
                    <a:pt x="706" y="318"/>
                  </a:lnTo>
                  <a:lnTo>
                    <a:pt x="690" y="318"/>
                  </a:lnTo>
                  <a:lnTo>
                    <a:pt x="671" y="318"/>
                  </a:lnTo>
                  <a:lnTo>
                    <a:pt x="655" y="320"/>
                  </a:lnTo>
                  <a:lnTo>
                    <a:pt x="637" y="320"/>
                  </a:lnTo>
                  <a:lnTo>
                    <a:pt x="618" y="320"/>
                  </a:lnTo>
                  <a:lnTo>
                    <a:pt x="602" y="322"/>
                  </a:lnTo>
                  <a:lnTo>
                    <a:pt x="583" y="322"/>
                  </a:lnTo>
                  <a:lnTo>
                    <a:pt x="567" y="322"/>
                  </a:lnTo>
                  <a:lnTo>
                    <a:pt x="549" y="322"/>
                  </a:lnTo>
                  <a:lnTo>
                    <a:pt x="530" y="322"/>
                  </a:lnTo>
                  <a:lnTo>
                    <a:pt x="514" y="324"/>
                  </a:lnTo>
                  <a:lnTo>
                    <a:pt x="495" y="324"/>
                  </a:lnTo>
                  <a:lnTo>
                    <a:pt x="479" y="324"/>
                  </a:lnTo>
                  <a:lnTo>
                    <a:pt x="460" y="324"/>
                  </a:lnTo>
                  <a:lnTo>
                    <a:pt x="444" y="324"/>
                  </a:lnTo>
                  <a:lnTo>
                    <a:pt x="426" y="324"/>
                  </a:lnTo>
                  <a:lnTo>
                    <a:pt x="407" y="324"/>
                  </a:lnTo>
                  <a:lnTo>
                    <a:pt x="391" y="324"/>
                  </a:lnTo>
                  <a:lnTo>
                    <a:pt x="372" y="324"/>
                  </a:lnTo>
                  <a:lnTo>
                    <a:pt x="356" y="324"/>
                  </a:lnTo>
                  <a:lnTo>
                    <a:pt x="338" y="324"/>
                  </a:lnTo>
                  <a:lnTo>
                    <a:pt x="321" y="324"/>
                  </a:lnTo>
                  <a:lnTo>
                    <a:pt x="303" y="324"/>
                  </a:lnTo>
                  <a:lnTo>
                    <a:pt x="284" y="324"/>
                  </a:lnTo>
                  <a:lnTo>
                    <a:pt x="268" y="324"/>
                  </a:lnTo>
                  <a:lnTo>
                    <a:pt x="250" y="324"/>
                  </a:lnTo>
                  <a:lnTo>
                    <a:pt x="233" y="324"/>
                  </a:lnTo>
                  <a:lnTo>
                    <a:pt x="215" y="324"/>
                  </a:lnTo>
                  <a:lnTo>
                    <a:pt x="198" y="324"/>
                  </a:lnTo>
                  <a:lnTo>
                    <a:pt x="180" y="324"/>
                  </a:lnTo>
                  <a:lnTo>
                    <a:pt x="161" y="324"/>
                  </a:lnTo>
                  <a:lnTo>
                    <a:pt x="161" y="316"/>
                  </a:lnTo>
                  <a:lnTo>
                    <a:pt x="161" y="310"/>
                  </a:lnTo>
                  <a:lnTo>
                    <a:pt x="163" y="304"/>
                  </a:lnTo>
                  <a:lnTo>
                    <a:pt x="163" y="297"/>
                  </a:lnTo>
                  <a:lnTo>
                    <a:pt x="163" y="289"/>
                  </a:lnTo>
                  <a:lnTo>
                    <a:pt x="163" y="283"/>
                  </a:lnTo>
                  <a:lnTo>
                    <a:pt x="163" y="277"/>
                  </a:lnTo>
                  <a:lnTo>
                    <a:pt x="163" y="271"/>
                  </a:lnTo>
                  <a:lnTo>
                    <a:pt x="163" y="263"/>
                  </a:lnTo>
                  <a:lnTo>
                    <a:pt x="163" y="256"/>
                  </a:lnTo>
                  <a:lnTo>
                    <a:pt x="163" y="250"/>
                  </a:lnTo>
                  <a:lnTo>
                    <a:pt x="163" y="244"/>
                  </a:lnTo>
                  <a:lnTo>
                    <a:pt x="163" y="236"/>
                  </a:lnTo>
                  <a:lnTo>
                    <a:pt x="163" y="230"/>
                  </a:lnTo>
                  <a:lnTo>
                    <a:pt x="163" y="224"/>
                  </a:lnTo>
                  <a:lnTo>
                    <a:pt x="163" y="217"/>
                  </a:lnTo>
                  <a:lnTo>
                    <a:pt x="157" y="217"/>
                  </a:lnTo>
                  <a:lnTo>
                    <a:pt x="147" y="217"/>
                  </a:lnTo>
                  <a:lnTo>
                    <a:pt x="137" y="215"/>
                  </a:lnTo>
                  <a:lnTo>
                    <a:pt x="127" y="215"/>
                  </a:lnTo>
                  <a:lnTo>
                    <a:pt x="116" y="215"/>
                  </a:lnTo>
                  <a:lnTo>
                    <a:pt x="106" y="215"/>
                  </a:lnTo>
                  <a:lnTo>
                    <a:pt x="98" y="215"/>
                  </a:lnTo>
                  <a:lnTo>
                    <a:pt x="88" y="215"/>
                  </a:lnTo>
                  <a:lnTo>
                    <a:pt x="77" y="215"/>
                  </a:lnTo>
                  <a:lnTo>
                    <a:pt x="67" y="215"/>
                  </a:lnTo>
                  <a:lnTo>
                    <a:pt x="57" y="213"/>
                  </a:lnTo>
                  <a:lnTo>
                    <a:pt x="49" y="213"/>
                  </a:lnTo>
                  <a:lnTo>
                    <a:pt x="39" y="213"/>
                  </a:lnTo>
                  <a:lnTo>
                    <a:pt x="28" y="213"/>
                  </a:lnTo>
                  <a:lnTo>
                    <a:pt x="18" y="213"/>
                  </a:lnTo>
                  <a:lnTo>
                    <a:pt x="8" y="213"/>
                  </a:lnTo>
                  <a:lnTo>
                    <a:pt x="0" y="213"/>
                  </a:lnTo>
                  <a:lnTo>
                    <a:pt x="0" y="199"/>
                  </a:lnTo>
                  <a:lnTo>
                    <a:pt x="0" y="187"/>
                  </a:lnTo>
                  <a:lnTo>
                    <a:pt x="0" y="172"/>
                  </a:lnTo>
                  <a:lnTo>
                    <a:pt x="0" y="160"/>
                  </a:lnTo>
                  <a:lnTo>
                    <a:pt x="2" y="146"/>
                  </a:lnTo>
                  <a:lnTo>
                    <a:pt x="2" y="133"/>
                  </a:lnTo>
                  <a:lnTo>
                    <a:pt x="2" y="119"/>
                  </a:lnTo>
                  <a:lnTo>
                    <a:pt x="2" y="107"/>
                  </a:lnTo>
                  <a:lnTo>
                    <a:pt x="2" y="92"/>
                  </a:lnTo>
                  <a:lnTo>
                    <a:pt x="4" y="80"/>
                  </a:lnTo>
                  <a:lnTo>
                    <a:pt x="4" y="66"/>
                  </a:lnTo>
                  <a:lnTo>
                    <a:pt x="4" y="54"/>
                  </a:lnTo>
                  <a:lnTo>
                    <a:pt x="4" y="39"/>
                  </a:lnTo>
                  <a:lnTo>
                    <a:pt x="6" y="27"/>
                  </a:lnTo>
                  <a:lnTo>
                    <a:pt x="6" y="13"/>
                  </a:lnTo>
                  <a:lnTo>
                    <a:pt x="6" y="0"/>
                  </a:lnTo>
                  <a:lnTo>
                    <a:pt x="20" y="0"/>
                  </a:lnTo>
                  <a:lnTo>
                    <a:pt x="32" y="2"/>
                  </a:lnTo>
                  <a:lnTo>
                    <a:pt x="47" y="2"/>
                  </a:lnTo>
                  <a:lnTo>
                    <a:pt x="61" y="2"/>
                  </a:lnTo>
                  <a:lnTo>
                    <a:pt x="75" y="2"/>
                  </a:lnTo>
                  <a:lnTo>
                    <a:pt x="88" y="2"/>
                  </a:lnTo>
                  <a:lnTo>
                    <a:pt x="102" y="2"/>
                  </a:lnTo>
                  <a:lnTo>
                    <a:pt x="116" y="4"/>
                  </a:lnTo>
                  <a:lnTo>
                    <a:pt x="131" y="4"/>
                  </a:lnTo>
                  <a:lnTo>
                    <a:pt x="143" y="4"/>
                  </a:lnTo>
                  <a:lnTo>
                    <a:pt x="157" y="4"/>
                  </a:lnTo>
                  <a:lnTo>
                    <a:pt x="172" y="4"/>
                  </a:lnTo>
                  <a:lnTo>
                    <a:pt x="186" y="4"/>
                  </a:lnTo>
                  <a:lnTo>
                    <a:pt x="198" y="4"/>
                  </a:lnTo>
                  <a:lnTo>
                    <a:pt x="213" y="6"/>
                  </a:lnTo>
                  <a:lnTo>
                    <a:pt x="227" y="6"/>
                  </a:lnTo>
                  <a:lnTo>
                    <a:pt x="239" y="6"/>
                  </a:lnTo>
                  <a:lnTo>
                    <a:pt x="254" y="6"/>
                  </a:lnTo>
                  <a:lnTo>
                    <a:pt x="268" y="6"/>
                  </a:lnTo>
                  <a:lnTo>
                    <a:pt x="282" y="6"/>
                  </a:lnTo>
                  <a:lnTo>
                    <a:pt x="295" y="6"/>
                  </a:lnTo>
                  <a:lnTo>
                    <a:pt x="309" y="6"/>
                  </a:lnTo>
                  <a:lnTo>
                    <a:pt x="323" y="6"/>
                  </a:lnTo>
                  <a:lnTo>
                    <a:pt x="338" y="6"/>
                  </a:lnTo>
                  <a:lnTo>
                    <a:pt x="350" y="6"/>
                  </a:lnTo>
                  <a:lnTo>
                    <a:pt x="364" y="6"/>
                  </a:lnTo>
                  <a:lnTo>
                    <a:pt x="379" y="6"/>
                  </a:lnTo>
                  <a:lnTo>
                    <a:pt x="393" y="6"/>
                  </a:lnTo>
                  <a:lnTo>
                    <a:pt x="405" y="6"/>
                  </a:lnTo>
                  <a:lnTo>
                    <a:pt x="420" y="6"/>
                  </a:lnTo>
                  <a:lnTo>
                    <a:pt x="434" y="6"/>
                  </a:lnTo>
                  <a:lnTo>
                    <a:pt x="446" y="6"/>
                  </a:lnTo>
                  <a:lnTo>
                    <a:pt x="454" y="6"/>
                  </a:lnTo>
                  <a:lnTo>
                    <a:pt x="454" y="6"/>
                  </a:lnTo>
                  <a:lnTo>
                    <a:pt x="454" y="6"/>
                  </a:lnTo>
                  <a:lnTo>
                    <a:pt x="456" y="8"/>
                  </a:lnTo>
                  <a:lnTo>
                    <a:pt x="456" y="8"/>
                  </a:lnTo>
                  <a:lnTo>
                    <a:pt x="465" y="13"/>
                  </a:lnTo>
                  <a:lnTo>
                    <a:pt x="467" y="13"/>
                  </a:lnTo>
                  <a:lnTo>
                    <a:pt x="467" y="13"/>
                  </a:lnTo>
                  <a:lnTo>
                    <a:pt x="467" y="15"/>
                  </a:lnTo>
                  <a:lnTo>
                    <a:pt x="471" y="17"/>
                  </a:lnTo>
                  <a:lnTo>
                    <a:pt x="475" y="19"/>
                  </a:lnTo>
                  <a:lnTo>
                    <a:pt x="485" y="23"/>
                  </a:lnTo>
                  <a:lnTo>
                    <a:pt x="487" y="25"/>
                  </a:lnTo>
                  <a:lnTo>
                    <a:pt x="487" y="25"/>
                  </a:lnTo>
                  <a:lnTo>
                    <a:pt x="487" y="25"/>
                  </a:lnTo>
                  <a:lnTo>
                    <a:pt x="493" y="27"/>
                  </a:lnTo>
                  <a:lnTo>
                    <a:pt x="495" y="27"/>
                  </a:lnTo>
                  <a:lnTo>
                    <a:pt x="497" y="27"/>
                  </a:lnTo>
                  <a:lnTo>
                    <a:pt x="499" y="27"/>
                  </a:lnTo>
                  <a:lnTo>
                    <a:pt x="501" y="25"/>
                  </a:lnTo>
                  <a:lnTo>
                    <a:pt x="501" y="25"/>
                  </a:lnTo>
                  <a:lnTo>
                    <a:pt x="501" y="25"/>
                  </a:lnTo>
                  <a:lnTo>
                    <a:pt x="501" y="23"/>
                  </a:lnTo>
                  <a:lnTo>
                    <a:pt x="503" y="21"/>
                  </a:lnTo>
                  <a:lnTo>
                    <a:pt x="503" y="21"/>
                  </a:lnTo>
                  <a:lnTo>
                    <a:pt x="503" y="19"/>
                  </a:lnTo>
                  <a:lnTo>
                    <a:pt x="506" y="19"/>
                  </a:lnTo>
                  <a:lnTo>
                    <a:pt x="508" y="19"/>
                  </a:lnTo>
                  <a:lnTo>
                    <a:pt x="512" y="19"/>
                  </a:lnTo>
                  <a:lnTo>
                    <a:pt x="516" y="19"/>
                  </a:lnTo>
                  <a:lnTo>
                    <a:pt x="518" y="19"/>
                  </a:lnTo>
                  <a:lnTo>
                    <a:pt x="518" y="19"/>
                  </a:lnTo>
                  <a:lnTo>
                    <a:pt x="520" y="21"/>
                  </a:lnTo>
                  <a:lnTo>
                    <a:pt x="522" y="21"/>
                  </a:lnTo>
                  <a:lnTo>
                    <a:pt x="524" y="19"/>
                  </a:lnTo>
                  <a:lnTo>
                    <a:pt x="526" y="17"/>
                  </a:lnTo>
                  <a:lnTo>
                    <a:pt x="532" y="19"/>
                  </a:lnTo>
                  <a:lnTo>
                    <a:pt x="534" y="19"/>
                  </a:lnTo>
                  <a:lnTo>
                    <a:pt x="551" y="15"/>
                  </a:lnTo>
                  <a:lnTo>
                    <a:pt x="553" y="17"/>
                  </a:lnTo>
                  <a:lnTo>
                    <a:pt x="555" y="17"/>
                  </a:lnTo>
                  <a:lnTo>
                    <a:pt x="557" y="19"/>
                  </a:lnTo>
                  <a:lnTo>
                    <a:pt x="559" y="21"/>
                  </a:lnTo>
                  <a:lnTo>
                    <a:pt x="561" y="23"/>
                  </a:lnTo>
                  <a:lnTo>
                    <a:pt x="563" y="25"/>
                  </a:lnTo>
                  <a:lnTo>
                    <a:pt x="565" y="25"/>
                  </a:lnTo>
                  <a:lnTo>
                    <a:pt x="567" y="27"/>
                  </a:lnTo>
                  <a:lnTo>
                    <a:pt x="571" y="27"/>
                  </a:lnTo>
                  <a:lnTo>
                    <a:pt x="571" y="27"/>
                  </a:lnTo>
                  <a:lnTo>
                    <a:pt x="573" y="27"/>
                  </a:lnTo>
                  <a:lnTo>
                    <a:pt x="575" y="27"/>
                  </a:lnTo>
                  <a:lnTo>
                    <a:pt x="577" y="29"/>
                  </a:lnTo>
                  <a:lnTo>
                    <a:pt x="577" y="29"/>
                  </a:lnTo>
                  <a:lnTo>
                    <a:pt x="577" y="29"/>
                  </a:lnTo>
                  <a:lnTo>
                    <a:pt x="579" y="29"/>
                  </a:lnTo>
                  <a:lnTo>
                    <a:pt x="587" y="31"/>
                  </a:lnTo>
                  <a:lnTo>
                    <a:pt x="589" y="31"/>
                  </a:lnTo>
                  <a:lnTo>
                    <a:pt x="589" y="33"/>
                  </a:lnTo>
                  <a:lnTo>
                    <a:pt x="589" y="33"/>
                  </a:lnTo>
                  <a:lnTo>
                    <a:pt x="592" y="35"/>
                  </a:lnTo>
                  <a:lnTo>
                    <a:pt x="592" y="35"/>
                  </a:lnTo>
                  <a:lnTo>
                    <a:pt x="592" y="35"/>
                  </a:lnTo>
                  <a:lnTo>
                    <a:pt x="594" y="37"/>
                  </a:lnTo>
                  <a:lnTo>
                    <a:pt x="594" y="37"/>
                  </a:lnTo>
                  <a:lnTo>
                    <a:pt x="598" y="35"/>
                  </a:lnTo>
                  <a:lnTo>
                    <a:pt x="598" y="35"/>
                  </a:lnTo>
                  <a:lnTo>
                    <a:pt x="600" y="37"/>
                  </a:lnTo>
                  <a:lnTo>
                    <a:pt x="600" y="37"/>
                  </a:lnTo>
                  <a:lnTo>
                    <a:pt x="600" y="37"/>
                  </a:lnTo>
                  <a:lnTo>
                    <a:pt x="600" y="39"/>
                  </a:lnTo>
                  <a:lnTo>
                    <a:pt x="600" y="39"/>
                  </a:lnTo>
                  <a:lnTo>
                    <a:pt x="600" y="41"/>
                  </a:lnTo>
                  <a:lnTo>
                    <a:pt x="600" y="41"/>
                  </a:lnTo>
                  <a:lnTo>
                    <a:pt x="600" y="43"/>
                  </a:lnTo>
                  <a:lnTo>
                    <a:pt x="604" y="45"/>
                  </a:lnTo>
                  <a:lnTo>
                    <a:pt x="606" y="47"/>
                  </a:lnTo>
                  <a:lnTo>
                    <a:pt x="606" y="49"/>
                  </a:lnTo>
                  <a:lnTo>
                    <a:pt x="606" y="51"/>
                  </a:lnTo>
                  <a:lnTo>
                    <a:pt x="608" y="51"/>
                  </a:lnTo>
                  <a:lnTo>
                    <a:pt x="618" y="54"/>
                  </a:lnTo>
                  <a:lnTo>
                    <a:pt x="618" y="54"/>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E</a:t>
              </a:r>
            </a:p>
          </p:txBody>
        </p:sp>
        <p:sp>
          <p:nvSpPr>
            <p:cNvPr id="159" name="Freeform 27">
              <a:extLst>
                <a:ext uri="{FF2B5EF4-FFF2-40B4-BE49-F238E27FC236}">
                  <a16:creationId xmlns:a16="http://schemas.microsoft.com/office/drawing/2014/main" id="{28E0C73C-B0B1-D450-FF7E-363BD7BDC3C2}"/>
                </a:ext>
              </a:extLst>
            </p:cNvPr>
            <p:cNvSpPr>
              <a:spLocks/>
            </p:cNvSpPr>
            <p:nvPr/>
          </p:nvSpPr>
          <p:spPr bwMode="auto">
            <a:xfrm>
              <a:off x="2412" y="174"/>
              <a:ext cx="584" cy="320"/>
            </a:xfrm>
            <a:custGeom>
              <a:avLst/>
              <a:gdLst>
                <a:gd name="T0" fmla="*/ 528 w 584"/>
                <a:gd name="T1" fmla="*/ 318 h 320"/>
                <a:gd name="T2" fmla="*/ 455 w 584"/>
                <a:gd name="T3" fmla="*/ 320 h 320"/>
                <a:gd name="T4" fmla="*/ 383 w 584"/>
                <a:gd name="T5" fmla="*/ 320 h 320"/>
                <a:gd name="T6" fmla="*/ 309 w 584"/>
                <a:gd name="T7" fmla="*/ 320 h 320"/>
                <a:gd name="T8" fmla="*/ 238 w 584"/>
                <a:gd name="T9" fmla="*/ 320 h 320"/>
                <a:gd name="T10" fmla="*/ 164 w 584"/>
                <a:gd name="T11" fmla="*/ 320 h 320"/>
                <a:gd name="T12" fmla="*/ 92 w 584"/>
                <a:gd name="T13" fmla="*/ 318 h 320"/>
                <a:gd name="T14" fmla="*/ 19 w 584"/>
                <a:gd name="T15" fmla="*/ 316 h 320"/>
                <a:gd name="T16" fmla="*/ 2 w 584"/>
                <a:gd name="T17" fmla="*/ 256 h 320"/>
                <a:gd name="T18" fmla="*/ 4 w 584"/>
                <a:gd name="T19" fmla="*/ 177 h 320"/>
                <a:gd name="T20" fmla="*/ 6 w 584"/>
                <a:gd name="T21" fmla="*/ 99 h 320"/>
                <a:gd name="T22" fmla="*/ 10 w 584"/>
                <a:gd name="T23" fmla="*/ 21 h 320"/>
                <a:gd name="T24" fmla="*/ 47 w 584"/>
                <a:gd name="T25" fmla="*/ 2 h 320"/>
                <a:gd name="T26" fmla="*/ 115 w 584"/>
                <a:gd name="T27" fmla="*/ 4 h 320"/>
                <a:gd name="T28" fmla="*/ 180 w 584"/>
                <a:gd name="T29" fmla="*/ 4 h 320"/>
                <a:gd name="T30" fmla="*/ 229 w 584"/>
                <a:gd name="T31" fmla="*/ 6 h 320"/>
                <a:gd name="T32" fmla="*/ 297 w 584"/>
                <a:gd name="T33" fmla="*/ 6 h 320"/>
                <a:gd name="T34" fmla="*/ 363 w 584"/>
                <a:gd name="T35" fmla="*/ 6 h 320"/>
                <a:gd name="T36" fmla="*/ 428 w 584"/>
                <a:gd name="T37" fmla="*/ 4 h 320"/>
                <a:gd name="T38" fmla="*/ 496 w 584"/>
                <a:gd name="T39" fmla="*/ 4 h 320"/>
                <a:gd name="T40" fmla="*/ 522 w 584"/>
                <a:gd name="T41" fmla="*/ 6 h 320"/>
                <a:gd name="T42" fmla="*/ 524 w 584"/>
                <a:gd name="T43" fmla="*/ 13 h 320"/>
                <a:gd name="T44" fmla="*/ 526 w 584"/>
                <a:gd name="T45" fmla="*/ 19 h 320"/>
                <a:gd name="T46" fmla="*/ 533 w 584"/>
                <a:gd name="T47" fmla="*/ 33 h 320"/>
                <a:gd name="T48" fmla="*/ 528 w 584"/>
                <a:gd name="T49" fmla="*/ 49 h 320"/>
                <a:gd name="T50" fmla="*/ 533 w 584"/>
                <a:gd name="T51" fmla="*/ 62 h 320"/>
                <a:gd name="T52" fmla="*/ 533 w 584"/>
                <a:gd name="T53" fmla="*/ 74 h 320"/>
                <a:gd name="T54" fmla="*/ 533 w 584"/>
                <a:gd name="T55" fmla="*/ 88 h 320"/>
                <a:gd name="T56" fmla="*/ 539 w 584"/>
                <a:gd name="T57" fmla="*/ 107 h 320"/>
                <a:gd name="T58" fmla="*/ 543 w 584"/>
                <a:gd name="T59" fmla="*/ 117 h 320"/>
                <a:gd name="T60" fmla="*/ 543 w 584"/>
                <a:gd name="T61" fmla="*/ 123 h 320"/>
                <a:gd name="T62" fmla="*/ 545 w 584"/>
                <a:gd name="T63" fmla="*/ 125 h 320"/>
                <a:gd name="T64" fmla="*/ 549 w 584"/>
                <a:gd name="T65" fmla="*/ 131 h 320"/>
                <a:gd name="T66" fmla="*/ 553 w 584"/>
                <a:gd name="T67" fmla="*/ 142 h 320"/>
                <a:gd name="T68" fmla="*/ 555 w 584"/>
                <a:gd name="T69" fmla="*/ 146 h 320"/>
                <a:gd name="T70" fmla="*/ 555 w 584"/>
                <a:gd name="T71" fmla="*/ 150 h 320"/>
                <a:gd name="T72" fmla="*/ 555 w 584"/>
                <a:gd name="T73" fmla="*/ 156 h 320"/>
                <a:gd name="T74" fmla="*/ 555 w 584"/>
                <a:gd name="T75" fmla="*/ 166 h 320"/>
                <a:gd name="T76" fmla="*/ 557 w 584"/>
                <a:gd name="T77" fmla="*/ 183 h 320"/>
                <a:gd name="T78" fmla="*/ 557 w 584"/>
                <a:gd name="T79" fmla="*/ 191 h 320"/>
                <a:gd name="T80" fmla="*/ 559 w 584"/>
                <a:gd name="T81" fmla="*/ 201 h 320"/>
                <a:gd name="T82" fmla="*/ 561 w 584"/>
                <a:gd name="T83" fmla="*/ 211 h 320"/>
                <a:gd name="T84" fmla="*/ 561 w 584"/>
                <a:gd name="T85" fmla="*/ 213 h 320"/>
                <a:gd name="T86" fmla="*/ 563 w 584"/>
                <a:gd name="T87" fmla="*/ 215 h 320"/>
                <a:gd name="T88" fmla="*/ 563 w 584"/>
                <a:gd name="T89" fmla="*/ 217 h 320"/>
                <a:gd name="T90" fmla="*/ 561 w 584"/>
                <a:gd name="T91" fmla="*/ 226 h 320"/>
                <a:gd name="T92" fmla="*/ 561 w 584"/>
                <a:gd name="T93" fmla="*/ 230 h 320"/>
                <a:gd name="T94" fmla="*/ 561 w 584"/>
                <a:gd name="T95" fmla="*/ 242 h 320"/>
                <a:gd name="T96" fmla="*/ 565 w 584"/>
                <a:gd name="T97" fmla="*/ 250 h 320"/>
                <a:gd name="T98" fmla="*/ 567 w 584"/>
                <a:gd name="T99" fmla="*/ 261 h 320"/>
                <a:gd name="T100" fmla="*/ 569 w 584"/>
                <a:gd name="T101" fmla="*/ 263 h 320"/>
                <a:gd name="T102" fmla="*/ 578 w 584"/>
                <a:gd name="T103" fmla="*/ 275 h 320"/>
                <a:gd name="T104" fmla="*/ 580 w 584"/>
                <a:gd name="T105" fmla="*/ 287 h 320"/>
                <a:gd name="T106" fmla="*/ 582 w 584"/>
                <a:gd name="T107" fmla="*/ 293 h 320"/>
                <a:gd name="T108" fmla="*/ 582 w 584"/>
                <a:gd name="T109" fmla="*/ 299 h 320"/>
                <a:gd name="T110" fmla="*/ 582 w 584"/>
                <a:gd name="T111" fmla="*/ 31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320">
                  <a:moveTo>
                    <a:pt x="584" y="316"/>
                  </a:moveTo>
                  <a:lnTo>
                    <a:pt x="565" y="318"/>
                  </a:lnTo>
                  <a:lnTo>
                    <a:pt x="547" y="318"/>
                  </a:lnTo>
                  <a:lnTo>
                    <a:pt x="528" y="318"/>
                  </a:lnTo>
                  <a:lnTo>
                    <a:pt x="510" y="318"/>
                  </a:lnTo>
                  <a:lnTo>
                    <a:pt x="492" y="318"/>
                  </a:lnTo>
                  <a:lnTo>
                    <a:pt x="473" y="320"/>
                  </a:lnTo>
                  <a:lnTo>
                    <a:pt x="455" y="320"/>
                  </a:lnTo>
                  <a:lnTo>
                    <a:pt x="436" y="320"/>
                  </a:lnTo>
                  <a:lnTo>
                    <a:pt x="420" y="320"/>
                  </a:lnTo>
                  <a:lnTo>
                    <a:pt x="402" y="320"/>
                  </a:lnTo>
                  <a:lnTo>
                    <a:pt x="383" y="320"/>
                  </a:lnTo>
                  <a:lnTo>
                    <a:pt x="365" y="320"/>
                  </a:lnTo>
                  <a:lnTo>
                    <a:pt x="346" y="320"/>
                  </a:lnTo>
                  <a:lnTo>
                    <a:pt x="328" y="320"/>
                  </a:lnTo>
                  <a:lnTo>
                    <a:pt x="309" y="320"/>
                  </a:lnTo>
                  <a:lnTo>
                    <a:pt x="291" y="320"/>
                  </a:lnTo>
                  <a:lnTo>
                    <a:pt x="272" y="320"/>
                  </a:lnTo>
                  <a:lnTo>
                    <a:pt x="256" y="320"/>
                  </a:lnTo>
                  <a:lnTo>
                    <a:pt x="238" y="320"/>
                  </a:lnTo>
                  <a:lnTo>
                    <a:pt x="219" y="320"/>
                  </a:lnTo>
                  <a:lnTo>
                    <a:pt x="201" y="320"/>
                  </a:lnTo>
                  <a:lnTo>
                    <a:pt x="182" y="320"/>
                  </a:lnTo>
                  <a:lnTo>
                    <a:pt x="164" y="320"/>
                  </a:lnTo>
                  <a:lnTo>
                    <a:pt x="145" y="320"/>
                  </a:lnTo>
                  <a:lnTo>
                    <a:pt x="127" y="318"/>
                  </a:lnTo>
                  <a:lnTo>
                    <a:pt x="111" y="318"/>
                  </a:lnTo>
                  <a:lnTo>
                    <a:pt x="92" y="318"/>
                  </a:lnTo>
                  <a:lnTo>
                    <a:pt x="74" y="318"/>
                  </a:lnTo>
                  <a:lnTo>
                    <a:pt x="55" y="316"/>
                  </a:lnTo>
                  <a:lnTo>
                    <a:pt x="37" y="316"/>
                  </a:lnTo>
                  <a:lnTo>
                    <a:pt x="19" y="316"/>
                  </a:lnTo>
                  <a:lnTo>
                    <a:pt x="0" y="316"/>
                  </a:lnTo>
                  <a:lnTo>
                    <a:pt x="0" y="295"/>
                  </a:lnTo>
                  <a:lnTo>
                    <a:pt x="2" y="275"/>
                  </a:lnTo>
                  <a:lnTo>
                    <a:pt x="2" y="256"/>
                  </a:lnTo>
                  <a:lnTo>
                    <a:pt x="2" y="236"/>
                  </a:lnTo>
                  <a:lnTo>
                    <a:pt x="4" y="215"/>
                  </a:lnTo>
                  <a:lnTo>
                    <a:pt x="4" y="197"/>
                  </a:lnTo>
                  <a:lnTo>
                    <a:pt x="4" y="177"/>
                  </a:lnTo>
                  <a:lnTo>
                    <a:pt x="6" y="156"/>
                  </a:lnTo>
                  <a:lnTo>
                    <a:pt x="6" y="138"/>
                  </a:lnTo>
                  <a:lnTo>
                    <a:pt x="6" y="117"/>
                  </a:lnTo>
                  <a:lnTo>
                    <a:pt x="6" y="99"/>
                  </a:lnTo>
                  <a:lnTo>
                    <a:pt x="8" y="78"/>
                  </a:lnTo>
                  <a:lnTo>
                    <a:pt x="8" y="60"/>
                  </a:lnTo>
                  <a:lnTo>
                    <a:pt x="8" y="39"/>
                  </a:lnTo>
                  <a:lnTo>
                    <a:pt x="10" y="21"/>
                  </a:lnTo>
                  <a:lnTo>
                    <a:pt x="10" y="0"/>
                  </a:lnTo>
                  <a:lnTo>
                    <a:pt x="14" y="0"/>
                  </a:lnTo>
                  <a:lnTo>
                    <a:pt x="31" y="2"/>
                  </a:lnTo>
                  <a:lnTo>
                    <a:pt x="47" y="2"/>
                  </a:lnTo>
                  <a:lnTo>
                    <a:pt x="64" y="2"/>
                  </a:lnTo>
                  <a:lnTo>
                    <a:pt x="82" y="2"/>
                  </a:lnTo>
                  <a:lnTo>
                    <a:pt x="98" y="4"/>
                  </a:lnTo>
                  <a:lnTo>
                    <a:pt x="115" y="4"/>
                  </a:lnTo>
                  <a:lnTo>
                    <a:pt x="131" y="4"/>
                  </a:lnTo>
                  <a:lnTo>
                    <a:pt x="148" y="4"/>
                  </a:lnTo>
                  <a:lnTo>
                    <a:pt x="164" y="4"/>
                  </a:lnTo>
                  <a:lnTo>
                    <a:pt x="180" y="4"/>
                  </a:lnTo>
                  <a:lnTo>
                    <a:pt x="197" y="4"/>
                  </a:lnTo>
                  <a:lnTo>
                    <a:pt x="211" y="6"/>
                  </a:lnTo>
                  <a:lnTo>
                    <a:pt x="213" y="6"/>
                  </a:lnTo>
                  <a:lnTo>
                    <a:pt x="229" y="6"/>
                  </a:lnTo>
                  <a:lnTo>
                    <a:pt x="246" y="6"/>
                  </a:lnTo>
                  <a:lnTo>
                    <a:pt x="262" y="6"/>
                  </a:lnTo>
                  <a:lnTo>
                    <a:pt x="281" y="6"/>
                  </a:lnTo>
                  <a:lnTo>
                    <a:pt x="297" y="6"/>
                  </a:lnTo>
                  <a:lnTo>
                    <a:pt x="313" y="6"/>
                  </a:lnTo>
                  <a:lnTo>
                    <a:pt x="330" y="6"/>
                  </a:lnTo>
                  <a:lnTo>
                    <a:pt x="346" y="6"/>
                  </a:lnTo>
                  <a:lnTo>
                    <a:pt x="363" y="6"/>
                  </a:lnTo>
                  <a:lnTo>
                    <a:pt x="379" y="6"/>
                  </a:lnTo>
                  <a:lnTo>
                    <a:pt x="395" y="6"/>
                  </a:lnTo>
                  <a:lnTo>
                    <a:pt x="412" y="6"/>
                  </a:lnTo>
                  <a:lnTo>
                    <a:pt x="428" y="4"/>
                  </a:lnTo>
                  <a:lnTo>
                    <a:pt x="445" y="4"/>
                  </a:lnTo>
                  <a:lnTo>
                    <a:pt x="461" y="4"/>
                  </a:lnTo>
                  <a:lnTo>
                    <a:pt x="479" y="4"/>
                  </a:lnTo>
                  <a:lnTo>
                    <a:pt x="496" y="4"/>
                  </a:lnTo>
                  <a:lnTo>
                    <a:pt x="512" y="4"/>
                  </a:lnTo>
                  <a:lnTo>
                    <a:pt x="522" y="4"/>
                  </a:lnTo>
                  <a:lnTo>
                    <a:pt x="522" y="4"/>
                  </a:lnTo>
                  <a:lnTo>
                    <a:pt x="522" y="6"/>
                  </a:lnTo>
                  <a:lnTo>
                    <a:pt x="522" y="8"/>
                  </a:lnTo>
                  <a:lnTo>
                    <a:pt x="524" y="8"/>
                  </a:lnTo>
                  <a:lnTo>
                    <a:pt x="524" y="11"/>
                  </a:lnTo>
                  <a:lnTo>
                    <a:pt x="524" y="13"/>
                  </a:lnTo>
                  <a:lnTo>
                    <a:pt x="524" y="13"/>
                  </a:lnTo>
                  <a:lnTo>
                    <a:pt x="526" y="15"/>
                  </a:lnTo>
                  <a:lnTo>
                    <a:pt x="526" y="15"/>
                  </a:lnTo>
                  <a:lnTo>
                    <a:pt x="526" y="19"/>
                  </a:lnTo>
                  <a:lnTo>
                    <a:pt x="528" y="25"/>
                  </a:lnTo>
                  <a:lnTo>
                    <a:pt x="531" y="29"/>
                  </a:lnTo>
                  <a:lnTo>
                    <a:pt x="531" y="29"/>
                  </a:lnTo>
                  <a:lnTo>
                    <a:pt x="533" y="33"/>
                  </a:lnTo>
                  <a:lnTo>
                    <a:pt x="533" y="39"/>
                  </a:lnTo>
                  <a:lnTo>
                    <a:pt x="533" y="41"/>
                  </a:lnTo>
                  <a:lnTo>
                    <a:pt x="531" y="45"/>
                  </a:lnTo>
                  <a:lnTo>
                    <a:pt x="528" y="49"/>
                  </a:lnTo>
                  <a:lnTo>
                    <a:pt x="531" y="56"/>
                  </a:lnTo>
                  <a:lnTo>
                    <a:pt x="531" y="60"/>
                  </a:lnTo>
                  <a:lnTo>
                    <a:pt x="533" y="62"/>
                  </a:lnTo>
                  <a:lnTo>
                    <a:pt x="533" y="62"/>
                  </a:lnTo>
                  <a:lnTo>
                    <a:pt x="533" y="64"/>
                  </a:lnTo>
                  <a:lnTo>
                    <a:pt x="531" y="66"/>
                  </a:lnTo>
                  <a:lnTo>
                    <a:pt x="531" y="66"/>
                  </a:lnTo>
                  <a:lnTo>
                    <a:pt x="533" y="74"/>
                  </a:lnTo>
                  <a:lnTo>
                    <a:pt x="533" y="74"/>
                  </a:lnTo>
                  <a:lnTo>
                    <a:pt x="533" y="76"/>
                  </a:lnTo>
                  <a:lnTo>
                    <a:pt x="533" y="82"/>
                  </a:lnTo>
                  <a:lnTo>
                    <a:pt x="533" y="88"/>
                  </a:lnTo>
                  <a:lnTo>
                    <a:pt x="533" y="90"/>
                  </a:lnTo>
                  <a:lnTo>
                    <a:pt x="535" y="95"/>
                  </a:lnTo>
                  <a:lnTo>
                    <a:pt x="539" y="103"/>
                  </a:lnTo>
                  <a:lnTo>
                    <a:pt x="539" y="107"/>
                  </a:lnTo>
                  <a:lnTo>
                    <a:pt x="541" y="109"/>
                  </a:lnTo>
                  <a:lnTo>
                    <a:pt x="543" y="113"/>
                  </a:lnTo>
                  <a:lnTo>
                    <a:pt x="541" y="115"/>
                  </a:lnTo>
                  <a:lnTo>
                    <a:pt x="543" y="117"/>
                  </a:lnTo>
                  <a:lnTo>
                    <a:pt x="545" y="123"/>
                  </a:lnTo>
                  <a:lnTo>
                    <a:pt x="545" y="123"/>
                  </a:lnTo>
                  <a:lnTo>
                    <a:pt x="543" y="123"/>
                  </a:lnTo>
                  <a:lnTo>
                    <a:pt x="543" y="123"/>
                  </a:lnTo>
                  <a:lnTo>
                    <a:pt x="545" y="125"/>
                  </a:lnTo>
                  <a:lnTo>
                    <a:pt x="545" y="125"/>
                  </a:lnTo>
                  <a:lnTo>
                    <a:pt x="545" y="125"/>
                  </a:lnTo>
                  <a:lnTo>
                    <a:pt x="545" y="125"/>
                  </a:lnTo>
                  <a:lnTo>
                    <a:pt x="545" y="125"/>
                  </a:lnTo>
                  <a:lnTo>
                    <a:pt x="547" y="127"/>
                  </a:lnTo>
                  <a:lnTo>
                    <a:pt x="547" y="129"/>
                  </a:lnTo>
                  <a:lnTo>
                    <a:pt x="549" y="131"/>
                  </a:lnTo>
                  <a:lnTo>
                    <a:pt x="549" y="133"/>
                  </a:lnTo>
                  <a:lnTo>
                    <a:pt x="551" y="136"/>
                  </a:lnTo>
                  <a:lnTo>
                    <a:pt x="551" y="138"/>
                  </a:lnTo>
                  <a:lnTo>
                    <a:pt x="553" y="142"/>
                  </a:lnTo>
                  <a:lnTo>
                    <a:pt x="553" y="144"/>
                  </a:lnTo>
                  <a:lnTo>
                    <a:pt x="555" y="146"/>
                  </a:lnTo>
                  <a:lnTo>
                    <a:pt x="555" y="146"/>
                  </a:lnTo>
                  <a:lnTo>
                    <a:pt x="555" y="146"/>
                  </a:lnTo>
                  <a:lnTo>
                    <a:pt x="555" y="146"/>
                  </a:lnTo>
                  <a:lnTo>
                    <a:pt x="555" y="148"/>
                  </a:lnTo>
                  <a:lnTo>
                    <a:pt x="555" y="148"/>
                  </a:lnTo>
                  <a:lnTo>
                    <a:pt x="555" y="150"/>
                  </a:lnTo>
                  <a:lnTo>
                    <a:pt x="555" y="152"/>
                  </a:lnTo>
                  <a:lnTo>
                    <a:pt x="555" y="154"/>
                  </a:lnTo>
                  <a:lnTo>
                    <a:pt x="555" y="156"/>
                  </a:lnTo>
                  <a:lnTo>
                    <a:pt x="555" y="156"/>
                  </a:lnTo>
                  <a:lnTo>
                    <a:pt x="555" y="162"/>
                  </a:lnTo>
                  <a:lnTo>
                    <a:pt x="555" y="164"/>
                  </a:lnTo>
                  <a:lnTo>
                    <a:pt x="555" y="164"/>
                  </a:lnTo>
                  <a:lnTo>
                    <a:pt x="555" y="166"/>
                  </a:lnTo>
                  <a:lnTo>
                    <a:pt x="555" y="166"/>
                  </a:lnTo>
                  <a:lnTo>
                    <a:pt x="557" y="168"/>
                  </a:lnTo>
                  <a:lnTo>
                    <a:pt x="557" y="181"/>
                  </a:lnTo>
                  <a:lnTo>
                    <a:pt x="557" y="183"/>
                  </a:lnTo>
                  <a:lnTo>
                    <a:pt x="557" y="189"/>
                  </a:lnTo>
                  <a:lnTo>
                    <a:pt x="557" y="191"/>
                  </a:lnTo>
                  <a:lnTo>
                    <a:pt x="557" y="191"/>
                  </a:lnTo>
                  <a:lnTo>
                    <a:pt x="557" y="191"/>
                  </a:lnTo>
                  <a:lnTo>
                    <a:pt x="557" y="193"/>
                  </a:lnTo>
                  <a:lnTo>
                    <a:pt x="557" y="195"/>
                  </a:lnTo>
                  <a:lnTo>
                    <a:pt x="559" y="199"/>
                  </a:lnTo>
                  <a:lnTo>
                    <a:pt x="559" y="201"/>
                  </a:lnTo>
                  <a:lnTo>
                    <a:pt x="559" y="207"/>
                  </a:lnTo>
                  <a:lnTo>
                    <a:pt x="559" y="209"/>
                  </a:lnTo>
                  <a:lnTo>
                    <a:pt x="559" y="209"/>
                  </a:lnTo>
                  <a:lnTo>
                    <a:pt x="561" y="211"/>
                  </a:lnTo>
                  <a:lnTo>
                    <a:pt x="561" y="211"/>
                  </a:lnTo>
                  <a:lnTo>
                    <a:pt x="561" y="213"/>
                  </a:lnTo>
                  <a:lnTo>
                    <a:pt x="561" y="213"/>
                  </a:lnTo>
                  <a:lnTo>
                    <a:pt x="561" y="213"/>
                  </a:lnTo>
                  <a:lnTo>
                    <a:pt x="561" y="213"/>
                  </a:lnTo>
                  <a:lnTo>
                    <a:pt x="563" y="213"/>
                  </a:lnTo>
                  <a:lnTo>
                    <a:pt x="563" y="213"/>
                  </a:lnTo>
                  <a:lnTo>
                    <a:pt x="563" y="215"/>
                  </a:lnTo>
                  <a:lnTo>
                    <a:pt x="563" y="215"/>
                  </a:lnTo>
                  <a:lnTo>
                    <a:pt x="563" y="215"/>
                  </a:lnTo>
                  <a:lnTo>
                    <a:pt x="563" y="215"/>
                  </a:lnTo>
                  <a:lnTo>
                    <a:pt x="563" y="217"/>
                  </a:lnTo>
                  <a:lnTo>
                    <a:pt x="563" y="220"/>
                  </a:lnTo>
                  <a:lnTo>
                    <a:pt x="561" y="220"/>
                  </a:lnTo>
                  <a:lnTo>
                    <a:pt x="563" y="224"/>
                  </a:lnTo>
                  <a:lnTo>
                    <a:pt x="561" y="226"/>
                  </a:lnTo>
                  <a:lnTo>
                    <a:pt x="561" y="226"/>
                  </a:lnTo>
                  <a:lnTo>
                    <a:pt x="561" y="228"/>
                  </a:lnTo>
                  <a:lnTo>
                    <a:pt x="561" y="228"/>
                  </a:lnTo>
                  <a:lnTo>
                    <a:pt x="561" y="230"/>
                  </a:lnTo>
                  <a:lnTo>
                    <a:pt x="563" y="234"/>
                  </a:lnTo>
                  <a:lnTo>
                    <a:pt x="563" y="236"/>
                  </a:lnTo>
                  <a:lnTo>
                    <a:pt x="563" y="238"/>
                  </a:lnTo>
                  <a:lnTo>
                    <a:pt x="561" y="242"/>
                  </a:lnTo>
                  <a:lnTo>
                    <a:pt x="561" y="244"/>
                  </a:lnTo>
                  <a:lnTo>
                    <a:pt x="563" y="246"/>
                  </a:lnTo>
                  <a:lnTo>
                    <a:pt x="565" y="248"/>
                  </a:lnTo>
                  <a:lnTo>
                    <a:pt x="565" y="250"/>
                  </a:lnTo>
                  <a:lnTo>
                    <a:pt x="567" y="254"/>
                  </a:lnTo>
                  <a:lnTo>
                    <a:pt x="567" y="256"/>
                  </a:lnTo>
                  <a:lnTo>
                    <a:pt x="567" y="258"/>
                  </a:lnTo>
                  <a:lnTo>
                    <a:pt x="567" y="261"/>
                  </a:lnTo>
                  <a:lnTo>
                    <a:pt x="567" y="261"/>
                  </a:lnTo>
                  <a:lnTo>
                    <a:pt x="569" y="263"/>
                  </a:lnTo>
                  <a:lnTo>
                    <a:pt x="569" y="263"/>
                  </a:lnTo>
                  <a:lnTo>
                    <a:pt x="569" y="263"/>
                  </a:lnTo>
                  <a:lnTo>
                    <a:pt x="569" y="265"/>
                  </a:lnTo>
                  <a:lnTo>
                    <a:pt x="569" y="267"/>
                  </a:lnTo>
                  <a:lnTo>
                    <a:pt x="574" y="273"/>
                  </a:lnTo>
                  <a:lnTo>
                    <a:pt x="578" y="275"/>
                  </a:lnTo>
                  <a:lnTo>
                    <a:pt x="578" y="277"/>
                  </a:lnTo>
                  <a:lnTo>
                    <a:pt x="580" y="279"/>
                  </a:lnTo>
                  <a:lnTo>
                    <a:pt x="580" y="285"/>
                  </a:lnTo>
                  <a:lnTo>
                    <a:pt x="580" y="287"/>
                  </a:lnTo>
                  <a:lnTo>
                    <a:pt x="580" y="289"/>
                  </a:lnTo>
                  <a:lnTo>
                    <a:pt x="580" y="289"/>
                  </a:lnTo>
                  <a:lnTo>
                    <a:pt x="582" y="293"/>
                  </a:lnTo>
                  <a:lnTo>
                    <a:pt x="582" y="293"/>
                  </a:lnTo>
                  <a:lnTo>
                    <a:pt x="582" y="293"/>
                  </a:lnTo>
                  <a:lnTo>
                    <a:pt x="582" y="295"/>
                  </a:lnTo>
                  <a:lnTo>
                    <a:pt x="582" y="295"/>
                  </a:lnTo>
                  <a:lnTo>
                    <a:pt x="582" y="299"/>
                  </a:lnTo>
                  <a:lnTo>
                    <a:pt x="582" y="302"/>
                  </a:lnTo>
                  <a:lnTo>
                    <a:pt x="582" y="304"/>
                  </a:lnTo>
                  <a:lnTo>
                    <a:pt x="582" y="306"/>
                  </a:lnTo>
                  <a:lnTo>
                    <a:pt x="582" y="310"/>
                  </a:lnTo>
                  <a:lnTo>
                    <a:pt x="584" y="316"/>
                  </a:lnTo>
                  <a:lnTo>
                    <a:pt x="584" y="316"/>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D</a:t>
              </a:r>
            </a:p>
          </p:txBody>
        </p:sp>
        <p:sp>
          <p:nvSpPr>
            <p:cNvPr id="160" name="Freeform 28">
              <a:extLst>
                <a:ext uri="{FF2B5EF4-FFF2-40B4-BE49-F238E27FC236}">
                  <a16:creationId xmlns:a16="http://schemas.microsoft.com/office/drawing/2014/main" id="{261D799B-629D-D3D0-88C8-2CDED5DA4DC7}"/>
                </a:ext>
              </a:extLst>
            </p:cNvPr>
            <p:cNvSpPr>
              <a:spLocks noEditPoints="1"/>
            </p:cNvSpPr>
            <p:nvPr/>
          </p:nvSpPr>
          <p:spPr bwMode="auto">
            <a:xfrm>
              <a:off x="4115" y="1262"/>
              <a:ext cx="764" cy="332"/>
            </a:xfrm>
            <a:custGeom>
              <a:avLst/>
              <a:gdLst>
                <a:gd name="T0" fmla="*/ 588 w 764"/>
                <a:gd name="T1" fmla="*/ 287 h 332"/>
                <a:gd name="T2" fmla="*/ 678 w 764"/>
                <a:gd name="T3" fmla="*/ 214 h 332"/>
                <a:gd name="T4" fmla="*/ 690 w 764"/>
                <a:gd name="T5" fmla="*/ 216 h 332"/>
                <a:gd name="T6" fmla="*/ 721 w 764"/>
                <a:gd name="T7" fmla="*/ 162 h 332"/>
                <a:gd name="T8" fmla="*/ 760 w 764"/>
                <a:gd name="T9" fmla="*/ 91 h 332"/>
                <a:gd name="T10" fmla="*/ 762 w 764"/>
                <a:gd name="T11" fmla="*/ 123 h 332"/>
                <a:gd name="T12" fmla="*/ 750 w 764"/>
                <a:gd name="T13" fmla="*/ 140 h 332"/>
                <a:gd name="T14" fmla="*/ 731 w 764"/>
                <a:gd name="T15" fmla="*/ 66 h 332"/>
                <a:gd name="T16" fmla="*/ 711 w 764"/>
                <a:gd name="T17" fmla="*/ 19 h 332"/>
                <a:gd name="T18" fmla="*/ 723 w 764"/>
                <a:gd name="T19" fmla="*/ 46 h 332"/>
                <a:gd name="T20" fmla="*/ 745 w 764"/>
                <a:gd name="T21" fmla="*/ 72 h 332"/>
                <a:gd name="T22" fmla="*/ 729 w 764"/>
                <a:gd name="T23" fmla="*/ 101 h 332"/>
                <a:gd name="T24" fmla="*/ 735 w 764"/>
                <a:gd name="T25" fmla="*/ 87 h 332"/>
                <a:gd name="T26" fmla="*/ 717 w 764"/>
                <a:gd name="T27" fmla="*/ 66 h 332"/>
                <a:gd name="T28" fmla="*/ 709 w 764"/>
                <a:gd name="T29" fmla="*/ 97 h 332"/>
                <a:gd name="T30" fmla="*/ 698 w 764"/>
                <a:gd name="T31" fmla="*/ 84 h 332"/>
                <a:gd name="T32" fmla="*/ 682 w 764"/>
                <a:gd name="T33" fmla="*/ 74 h 332"/>
                <a:gd name="T34" fmla="*/ 643 w 764"/>
                <a:gd name="T35" fmla="*/ 72 h 332"/>
                <a:gd name="T36" fmla="*/ 637 w 764"/>
                <a:gd name="T37" fmla="*/ 50 h 332"/>
                <a:gd name="T38" fmla="*/ 674 w 764"/>
                <a:gd name="T39" fmla="*/ 56 h 332"/>
                <a:gd name="T40" fmla="*/ 676 w 764"/>
                <a:gd name="T41" fmla="*/ 48 h 332"/>
                <a:gd name="T42" fmla="*/ 688 w 764"/>
                <a:gd name="T43" fmla="*/ 41 h 332"/>
                <a:gd name="T44" fmla="*/ 702 w 764"/>
                <a:gd name="T45" fmla="*/ 41 h 332"/>
                <a:gd name="T46" fmla="*/ 711 w 764"/>
                <a:gd name="T47" fmla="*/ 39 h 332"/>
                <a:gd name="T48" fmla="*/ 700 w 764"/>
                <a:gd name="T49" fmla="*/ 17 h 332"/>
                <a:gd name="T50" fmla="*/ 614 w 764"/>
                <a:gd name="T51" fmla="*/ 19 h 332"/>
                <a:gd name="T52" fmla="*/ 254 w 764"/>
                <a:gd name="T53" fmla="*/ 84 h 332"/>
                <a:gd name="T54" fmla="*/ 203 w 764"/>
                <a:gd name="T55" fmla="*/ 121 h 332"/>
                <a:gd name="T56" fmla="*/ 172 w 764"/>
                <a:gd name="T57" fmla="*/ 148 h 332"/>
                <a:gd name="T58" fmla="*/ 147 w 764"/>
                <a:gd name="T59" fmla="*/ 162 h 332"/>
                <a:gd name="T60" fmla="*/ 135 w 764"/>
                <a:gd name="T61" fmla="*/ 166 h 332"/>
                <a:gd name="T62" fmla="*/ 115 w 764"/>
                <a:gd name="T63" fmla="*/ 179 h 332"/>
                <a:gd name="T64" fmla="*/ 104 w 764"/>
                <a:gd name="T65" fmla="*/ 197 h 332"/>
                <a:gd name="T66" fmla="*/ 76 w 764"/>
                <a:gd name="T67" fmla="*/ 218 h 332"/>
                <a:gd name="T68" fmla="*/ 49 w 764"/>
                <a:gd name="T69" fmla="*/ 230 h 332"/>
                <a:gd name="T70" fmla="*/ 22 w 764"/>
                <a:gd name="T71" fmla="*/ 250 h 332"/>
                <a:gd name="T72" fmla="*/ 8 w 764"/>
                <a:gd name="T73" fmla="*/ 269 h 332"/>
                <a:gd name="T74" fmla="*/ 55 w 764"/>
                <a:gd name="T75" fmla="*/ 291 h 332"/>
                <a:gd name="T76" fmla="*/ 143 w 764"/>
                <a:gd name="T77" fmla="*/ 263 h 332"/>
                <a:gd name="T78" fmla="*/ 168 w 764"/>
                <a:gd name="T79" fmla="*/ 250 h 332"/>
                <a:gd name="T80" fmla="*/ 285 w 764"/>
                <a:gd name="T81" fmla="*/ 238 h 332"/>
                <a:gd name="T82" fmla="*/ 297 w 764"/>
                <a:gd name="T83" fmla="*/ 240 h 332"/>
                <a:gd name="T84" fmla="*/ 397 w 764"/>
                <a:gd name="T85" fmla="*/ 255 h 332"/>
                <a:gd name="T86" fmla="*/ 528 w 764"/>
                <a:gd name="T87" fmla="*/ 332 h 332"/>
                <a:gd name="T88" fmla="*/ 577 w 764"/>
                <a:gd name="T89" fmla="*/ 304 h 332"/>
                <a:gd name="T90" fmla="*/ 596 w 764"/>
                <a:gd name="T91" fmla="*/ 263 h 332"/>
                <a:gd name="T92" fmla="*/ 614 w 764"/>
                <a:gd name="T93" fmla="*/ 228 h 332"/>
                <a:gd name="T94" fmla="*/ 618 w 764"/>
                <a:gd name="T95" fmla="*/ 236 h 332"/>
                <a:gd name="T96" fmla="*/ 637 w 764"/>
                <a:gd name="T97" fmla="*/ 216 h 332"/>
                <a:gd name="T98" fmla="*/ 680 w 764"/>
                <a:gd name="T99" fmla="*/ 209 h 332"/>
                <a:gd name="T100" fmla="*/ 694 w 764"/>
                <a:gd name="T101" fmla="*/ 191 h 332"/>
                <a:gd name="T102" fmla="*/ 698 w 764"/>
                <a:gd name="T103" fmla="*/ 171 h 332"/>
                <a:gd name="T104" fmla="*/ 688 w 764"/>
                <a:gd name="T105" fmla="*/ 171 h 332"/>
                <a:gd name="T106" fmla="*/ 676 w 764"/>
                <a:gd name="T107" fmla="*/ 183 h 332"/>
                <a:gd name="T108" fmla="*/ 635 w 764"/>
                <a:gd name="T109" fmla="*/ 177 h 332"/>
                <a:gd name="T110" fmla="*/ 674 w 764"/>
                <a:gd name="T111" fmla="*/ 160 h 332"/>
                <a:gd name="T112" fmla="*/ 680 w 764"/>
                <a:gd name="T113" fmla="*/ 152 h 332"/>
                <a:gd name="T114" fmla="*/ 629 w 764"/>
                <a:gd name="T115" fmla="*/ 132 h 332"/>
                <a:gd name="T116" fmla="*/ 666 w 764"/>
                <a:gd name="T117" fmla="*/ 134 h 332"/>
                <a:gd name="T118" fmla="*/ 668 w 764"/>
                <a:gd name="T119" fmla="*/ 128 h 332"/>
                <a:gd name="T120" fmla="*/ 682 w 764"/>
                <a:gd name="T121" fmla="*/ 125 h 332"/>
                <a:gd name="T122" fmla="*/ 696 w 764"/>
                <a:gd name="T123" fmla="*/ 136 h 332"/>
                <a:gd name="T124" fmla="*/ 717 w 764"/>
                <a:gd name="T125"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332">
                  <a:moveTo>
                    <a:pt x="580" y="320"/>
                  </a:moveTo>
                  <a:lnTo>
                    <a:pt x="580" y="320"/>
                  </a:lnTo>
                  <a:lnTo>
                    <a:pt x="577" y="320"/>
                  </a:lnTo>
                  <a:lnTo>
                    <a:pt x="575" y="320"/>
                  </a:lnTo>
                  <a:lnTo>
                    <a:pt x="575" y="322"/>
                  </a:lnTo>
                  <a:lnTo>
                    <a:pt x="577" y="324"/>
                  </a:lnTo>
                  <a:lnTo>
                    <a:pt x="577" y="324"/>
                  </a:lnTo>
                  <a:lnTo>
                    <a:pt x="580" y="324"/>
                  </a:lnTo>
                  <a:lnTo>
                    <a:pt x="582" y="324"/>
                  </a:lnTo>
                  <a:lnTo>
                    <a:pt x="582" y="324"/>
                  </a:lnTo>
                  <a:lnTo>
                    <a:pt x="582" y="318"/>
                  </a:lnTo>
                  <a:lnTo>
                    <a:pt x="580" y="320"/>
                  </a:lnTo>
                  <a:lnTo>
                    <a:pt x="580" y="320"/>
                  </a:lnTo>
                  <a:close/>
                  <a:moveTo>
                    <a:pt x="586" y="289"/>
                  </a:moveTo>
                  <a:lnTo>
                    <a:pt x="584" y="291"/>
                  </a:lnTo>
                  <a:lnTo>
                    <a:pt x="584" y="296"/>
                  </a:lnTo>
                  <a:lnTo>
                    <a:pt x="584" y="298"/>
                  </a:lnTo>
                  <a:lnTo>
                    <a:pt x="586" y="296"/>
                  </a:lnTo>
                  <a:lnTo>
                    <a:pt x="586" y="293"/>
                  </a:lnTo>
                  <a:lnTo>
                    <a:pt x="586" y="287"/>
                  </a:lnTo>
                  <a:lnTo>
                    <a:pt x="588" y="287"/>
                  </a:lnTo>
                  <a:lnTo>
                    <a:pt x="588" y="287"/>
                  </a:lnTo>
                  <a:lnTo>
                    <a:pt x="588" y="287"/>
                  </a:lnTo>
                  <a:lnTo>
                    <a:pt x="588" y="287"/>
                  </a:lnTo>
                  <a:lnTo>
                    <a:pt x="586" y="289"/>
                  </a:lnTo>
                  <a:close/>
                  <a:moveTo>
                    <a:pt x="618" y="242"/>
                  </a:moveTo>
                  <a:lnTo>
                    <a:pt x="616" y="246"/>
                  </a:lnTo>
                  <a:lnTo>
                    <a:pt x="614" y="246"/>
                  </a:lnTo>
                  <a:lnTo>
                    <a:pt x="612" y="246"/>
                  </a:lnTo>
                  <a:lnTo>
                    <a:pt x="602" y="257"/>
                  </a:lnTo>
                  <a:lnTo>
                    <a:pt x="600" y="261"/>
                  </a:lnTo>
                  <a:lnTo>
                    <a:pt x="600" y="265"/>
                  </a:lnTo>
                  <a:lnTo>
                    <a:pt x="600" y="263"/>
                  </a:lnTo>
                  <a:lnTo>
                    <a:pt x="608" y="253"/>
                  </a:lnTo>
                  <a:lnTo>
                    <a:pt x="608" y="253"/>
                  </a:lnTo>
                  <a:lnTo>
                    <a:pt x="612" y="250"/>
                  </a:lnTo>
                  <a:lnTo>
                    <a:pt x="618" y="244"/>
                  </a:lnTo>
                  <a:lnTo>
                    <a:pt x="620" y="242"/>
                  </a:lnTo>
                  <a:lnTo>
                    <a:pt x="620" y="242"/>
                  </a:lnTo>
                  <a:lnTo>
                    <a:pt x="620" y="242"/>
                  </a:lnTo>
                  <a:lnTo>
                    <a:pt x="620" y="242"/>
                  </a:lnTo>
                  <a:lnTo>
                    <a:pt x="620" y="242"/>
                  </a:lnTo>
                  <a:lnTo>
                    <a:pt x="618" y="242"/>
                  </a:lnTo>
                  <a:close/>
                  <a:moveTo>
                    <a:pt x="686" y="214"/>
                  </a:moveTo>
                  <a:lnTo>
                    <a:pt x="686" y="212"/>
                  </a:lnTo>
                  <a:lnTo>
                    <a:pt x="680" y="212"/>
                  </a:lnTo>
                  <a:lnTo>
                    <a:pt x="678" y="212"/>
                  </a:lnTo>
                  <a:lnTo>
                    <a:pt x="678" y="214"/>
                  </a:lnTo>
                  <a:lnTo>
                    <a:pt x="678" y="214"/>
                  </a:lnTo>
                  <a:lnTo>
                    <a:pt x="684" y="214"/>
                  </a:lnTo>
                  <a:lnTo>
                    <a:pt x="688" y="216"/>
                  </a:lnTo>
                  <a:lnTo>
                    <a:pt x="688" y="216"/>
                  </a:lnTo>
                  <a:lnTo>
                    <a:pt x="688" y="216"/>
                  </a:lnTo>
                  <a:lnTo>
                    <a:pt x="688" y="214"/>
                  </a:lnTo>
                  <a:lnTo>
                    <a:pt x="686" y="214"/>
                  </a:lnTo>
                  <a:close/>
                  <a:moveTo>
                    <a:pt x="670" y="212"/>
                  </a:moveTo>
                  <a:lnTo>
                    <a:pt x="655" y="216"/>
                  </a:lnTo>
                  <a:lnTo>
                    <a:pt x="643" y="222"/>
                  </a:lnTo>
                  <a:lnTo>
                    <a:pt x="641" y="222"/>
                  </a:lnTo>
                  <a:lnTo>
                    <a:pt x="639" y="224"/>
                  </a:lnTo>
                  <a:lnTo>
                    <a:pt x="661" y="214"/>
                  </a:lnTo>
                  <a:lnTo>
                    <a:pt x="663" y="214"/>
                  </a:lnTo>
                  <a:lnTo>
                    <a:pt x="676" y="212"/>
                  </a:lnTo>
                  <a:lnTo>
                    <a:pt x="674" y="212"/>
                  </a:lnTo>
                  <a:lnTo>
                    <a:pt x="670" y="212"/>
                  </a:lnTo>
                  <a:close/>
                  <a:moveTo>
                    <a:pt x="709" y="179"/>
                  </a:moveTo>
                  <a:lnTo>
                    <a:pt x="707" y="181"/>
                  </a:lnTo>
                  <a:lnTo>
                    <a:pt x="707" y="181"/>
                  </a:lnTo>
                  <a:lnTo>
                    <a:pt x="707" y="181"/>
                  </a:lnTo>
                  <a:lnTo>
                    <a:pt x="702" y="185"/>
                  </a:lnTo>
                  <a:lnTo>
                    <a:pt x="696" y="197"/>
                  </a:lnTo>
                  <a:lnTo>
                    <a:pt x="690" y="216"/>
                  </a:lnTo>
                  <a:lnTo>
                    <a:pt x="690" y="218"/>
                  </a:lnTo>
                  <a:lnTo>
                    <a:pt x="690" y="220"/>
                  </a:lnTo>
                  <a:lnTo>
                    <a:pt x="690" y="218"/>
                  </a:lnTo>
                  <a:lnTo>
                    <a:pt x="698" y="197"/>
                  </a:lnTo>
                  <a:lnTo>
                    <a:pt x="700" y="191"/>
                  </a:lnTo>
                  <a:lnTo>
                    <a:pt x="702" y="189"/>
                  </a:lnTo>
                  <a:lnTo>
                    <a:pt x="704" y="187"/>
                  </a:lnTo>
                  <a:lnTo>
                    <a:pt x="709" y="183"/>
                  </a:lnTo>
                  <a:lnTo>
                    <a:pt x="711" y="181"/>
                  </a:lnTo>
                  <a:lnTo>
                    <a:pt x="711" y="177"/>
                  </a:lnTo>
                  <a:lnTo>
                    <a:pt x="711" y="177"/>
                  </a:lnTo>
                  <a:lnTo>
                    <a:pt x="709" y="179"/>
                  </a:lnTo>
                  <a:close/>
                  <a:moveTo>
                    <a:pt x="719" y="160"/>
                  </a:moveTo>
                  <a:lnTo>
                    <a:pt x="719" y="160"/>
                  </a:lnTo>
                  <a:lnTo>
                    <a:pt x="719" y="162"/>
                  </a:lnTo>
                  <a:lnTo>
                    <a:pt x="719" y="162"/>
                  </a:lnTo>
                  <a:lnTo>
                    <a:pt x="717" y="164"/>
                  </a:lnTo>
                  <a:lnTo>
                    <a:pt x="717" y="164"/>
                  </a:lnTo>
                  <a:lnTo>
                    <a:pt x="717" y="166"/>
                  </a:lnTo>
                  <a:lnTo>
                    <a:pt x="715" y="168"/>
                  </a:lnTo>
                  <a:lnTo>
                    <a:pt x="715" y="171"/>
                  </a:lnTo>
                  <a:lnTo>
                    <a:pt x="715" y="171"/>
                  </a:lnTo>
                  <a:lnTo>
                    <a:pt x="717" y="168"/>
                  </a:lnTo>
                  <a:lnTo>
                    <a:pt x="721" y="162"/>
                  </a:lnTo>
                  <a:lnTo>
                    <a:pt x="721" y="162"/>
                  </a:lnTo>
                  <a:lnTo>
                    <a:pt x="723" y="162"/>
                  </a:lnTo>
                  <a:lnTo>
                    <a:pt x="723" y="162"/>
                  </a:lnTo>
                  <a:lnTo>
                    <a:pt x="723" y="160"/>
                  </a:lnTo>
                  <a:lnTo>
                    <a:pt x="721" y="160"/>
                  </a:lnTo>
                  <a:lnTo>
                    <a:pt x="719" y="160"/>
                  </a:lnTo>
                  <a:close/>
                  <a:moveTo>
                    <a:pt x="733" y="148"/>
                  </a:moveTo>
                  <a:lnTo>
                    <a:pt x="729" y="152"/>
                  </a:lnTo>
                  <a:lnTo>
                    <a:pt x="727" y="154"/>
                  </a:lnTo>
                  <a:lnTo>
                    <a:pt x="725" y="154"/>
                  </a:lnTo>
                  <a:lnTo>
                    <a:pt x="725" y="156"/>
                  </a:lnTo>
                  <a:lnTo>
                    <a:pt x="725" y="158"/>
                  </a:lnTo>
                  <a:lnTo>
                    <a:pt x="723" y="160"/>
                  </a:lnTo>
                  <a:lnTo>
                    <a:pt x="731" y="150"/>
                  </a:lnTo>
                  <a:lnTo>
                    <a:pt x="739" y="146"/>
                  </a:lnTo>
                  <a:lnTo>
                    <a:pt x="741" y="144"/>
                  </a:lnTo>
                  <a:lnTo>
                    <a:pt x="741" y="144"/>
                  </a:lnTo>
                  <a:lnTo>
                    <a:pt x="741" y="142"/>
                  </a:lnTo>
                  <a:lnTo>
                    <a:pt x="743" y="142"/>
                  </a:lnTo>
                  <a:lnTo>
                    <a:pt x="739" y="144"/>
                  </a:lnTo>
                  <a:lnTo>
                    <a:pt x="733" y="148"/>
                  </a:lnTo>
                  <a:close/>
                  <a:moveTo>
                    <a:pt x="762" y="103"/>
                  </a:moveTo>
                  <a:lnTo>
                    <a:pt x="762" y="95"/>
                  </a:lnTo>
                  <a:lnTo>
                    <a:pt x="760" y="91"/>
                  </a:lnTo>
                  <a:lnTo>
                    <a:pt x="758" y="87"/>
                  </a:lnTo>
                  <a:lnTo>
                    <a:pt x="756" y="84"/>
                  </a:lnTo>
                  <a:lnTo>
                    <a:pt x="756" y="82"/>
                  </a:lnTo>
                  <a:lnTo>
                    <a:pt x="754" y="78"/>
                  </a:lnTo>
                  <a:lnTo>
                    <a:pt x="752" y="76"/>
                  </a:lnTo>
                  <a:lnTo>
                    <a:pt x="750" y="76"/>
                  </a:lnTo>
                  <a:lnTo>
                    <a:pt x="750" y="76"/>
                  </a:lnTo>
                  <a:lnTo>
                    <a:pt x="752" y="78"/>
                  </a:lnTo>
                  <a:lnTo>
                    <a:pt x="754" y="80"/>
                  </a:lnTo>
                  <a:lnTo>
                    <a:pt x="754" y="82"/>
                  </a:lnTo>
                  <a:lnTo>
                    <a:pt x="758" y="91"/>
                  </a:lnTo>
                  <a:lnTo>
                    <a:pt x="760" y="95"/>
                  </a:lnTo>
                  <a:lnTo>
                    <a:pt x="760" y="97"/>
                  </a:lnTo>
                  <a:lnTo>
                    <a:pt x="760" y="99"/>
                  </a:lnTo>
                  <a:lnTo>
                    <a:pt x="760" y="101"/>
                  </a:lnTo>
                  <a:lnTo>
                    <a:pt x="760" y="103"/>
                  </a:lnTo>
                  <a:lnTo>
                    <a:pt x="760" y="103"/>
                  </a:lnTo>
                  <a:lnTo>
                    <a:pt x="760" y="105"/>
                  </a:lnTo>
                  <a:lnTo>
                    <a:pt x="760" y="107"/>
                  </a:lnTo>
                  <a:lnTo>
                    <a:pt x="762" y="109"/>
                  </a:lnTo>
                  <a:lnTo>
                    <a:pt x="762" y="113"/>
                  </a:lnTo>
                  <a:lnTo>
                    <a:pt x="762" y="117"/>
                  </a:lnTo>
                  <a:lnTo>
                    <a:pt x="762" y="123"/>
                  </a:lnTo>
                  <a:lnTo>
                    <a:pt x="762" y="123"/>
                  </a:lnTo>
                  <a:lnTo>
                    <a:pt x="762" y="128"/>
                  </a:lnTo>
                  <a:lnTo>
                    <a:pt x="760" y="130"/>
                  </a:lnTo>
                  <a:lnTo>
                    <a:pt x="756" y="134"/>
                  </a:lnTo>
                  <a:lnTo>
                    <a:pt x="750" y="138"/>
                  </a:lnTo>
                  <a:lnTo>
                    <a:pt x="750" y="138"/>
                  </a:lnTo>
                  <a:lnTo>
                    <a:pt x="750" y="138"/>
                  </a:lnTo>
                  <a:lnTo>
                    <a:pt x="750" y="136"/>
                  </a:lnTo>
                  <a:lnTo>
                    <a:pt x="750" y="136"/>
                  </a:lnTo>
                  <a:lnTo>
                    <a:pt x="750" y="136"/>
                  </a:lnTo>
                  <a:lnTo>
                    <a:pt x="747" y="138"/>
                  </a:lnTo>
                  <a:lnTo>
                    <a:pt x="750" y="138"/>
                  </a:lnTo>
                  <a:lnTo>
                    <a:pt x="747" y="138"/>
                  </a:lnTo>
                  <a:lnTo>
                    <a:pt x="747" y="138"/>
                  </a:lnTo>
                  <a:lnTo>
                    <a:pt x="747" y="140"/>
                  </a:lnTo>
                  <a:lnTo>
                    <a:pt x="747" y="140"/>
                  </a:lnTo>
                  <a:lnTo>
                    <a:pt x="747" y="140"/>
                  </a:lnTo>
                  <a:lnTo>
                    <a:pt x="745" y="140"/>
                  </a:lnTo>
                  <a:lnTo>
                    <a:pt x="745" y="142"/>
                  </a:lnTo>
                  <a:lnTo>
                    <a:pt x="745" y="142"/>
                  </a:lnTo>
                  <a:lnTo>
                    <a:pt x="747" y="142"/>
                  </a:lnTo>
                  <a:lnTo>
                    <a:pt x="747" y="142"/>
                  </a:lnTo>
                  <a:lnTo>
                    <a:pt x="747" y="140"/>
                  </a:lnTo>
                  <a:lnTo>
                    <a:pt x="750" y="140"/>
                  </a:lnTo>
                  <a:lnTo>
                    <a:pt x="750" y="140"/>
                  </a:lnTo>
                  <a:lnTo>
                    <a:pt x="754" y="138"/>
                  </a:lnTo>
                  <a:lnTo>
                    <a:pt x="756" y="136"/>
                  </a:lnTo>
                  <a:lnTo>
                    <a:pt x="758" y="134"/>
                  </a:lnTo>
                  <a:lnTo>
                    <a:pt x="760" y="134"/>
                  </a:lnTo>
                  <a:lnTo>
                    <a:pt x="762" y="134"/>
                  </a:lnTo>
                  <a:lnTo>
                    <a:pt x="762" y="132"/>
                  </a:lnTo>
                  <a:lnTo>
                    <a:pt x="764" y="130"/>
                  </a:lnTo>
                  <a:lnTo>
                    <a:pt x="764" y="121"/>
                  </a:lnTo>
                  <a:lnTo>
                    <a:pt x="762" y="103"/>
                  </a:lnTo>
                  <a:close/>
                  <a:moveTo>
                    <a:pt x="737" y="66"/>
                  </a:moveTo>
                  <a:lnTo>
                    <a:pt x="735" y="64"/>
                  </a:lnTo>
                  <a:lnTo>
                    <a:pt x="735" y="64"/>
                  </a:lnTo>
                  <a:lnTo>
                    <a:pt x="733" y="62"/>
                  </a:lnTo>
                  <a:lnTo>
                    <a:pt x="733" y="62"/>
                  </a:lnTo>
                  <a:lnTo>
                    <a:pt x="733" y="62"/>
                  </a:lnTo>
                  <a:lnTo>
                    <a:pt x="731" y="62"/>
                  </a:lnTo>
                  <a:lnTo>
                    <a:pt x="731" y="62"/>
                  </a:lnTo>
                  <a:lnTo>
                    <a:pt x="729" y="62"/>
                  </a:lnTo>
                  <a:lnTo>
                    <a:pt x="729" y="62"/>
                  </a:lnTo>
                  <a:lnTo>
                    <a:pt x="729" y="64"/>
                  </a:lnTo>
                  <a:lnTo>
                    <a:pt x="729" y="64"/>
                  </a:lnTo>
                  <a:lnTo>
                    <a:pt x="729" y="64"/>
                  </a:lnTo>
                  <a:lnTo>
                    <a:pt x="731" y="64"/>
                  </a:lnTo>
                  <a:lnTo>
                    <a:pt x="731" y="66"/>
                  </a:lnTo>
                  <a:lnTo>
                    <a:pt x="733" y="68"/>
                  </a:lnTo>
                  <a:lnTo>
                    <a:pt x="735" y="68"/>
                  </a:lnTo>
                  <a:lnTo>
                    <a:pt x="735" y="70"/>
                  </a:lnTo>
                  <a:lnTo>
                    <a:pt x="737" y="72"/>
                  </a:lnTo>
                  <a:lnTo>
                    <a:pt x="739" y="72"/>
                  </a:lnTo>
                  <a:lnTo>
                    <a:pt x="739" y="72"/>
                  </a:lnTo>
                  <a:lnTo>
                    <a:pt x="739" y="72"/>
                  </a:lnTo>
                  <a:lnTo>
                    <a:pt x="739" y="70"/>
                  </a:lnTo>
                  <a:lnTo>
                    <a:pt x="741" y="68"/>
                  </a:lnTo>
                  <a:lnTo>
                    <a:pt x="737" y="66"/>
                  </a:lnTo>
                  <a:close/>
                  <a:moveTo>
                    <a:pt x="745" y="72"/>
                  </a:moveTo>
                  <a:lnTo>
                    <a:pt x="745" y="74"/>
                  </a:lnTo>
                  <a:lnTo>
                    <a:pt x="747" y="74"/>
                  </a:lnTo>
                  <a:lnTo>
                    <a:pt x="750" y="74"/>
                  </a:lnTo>
                  <a:lnTo>
                    <a:pt x="750" y="74"/>
                  </a:lnTo>
                  <a:lnTo>
                    <a:pt x="745" y="68"/>
                  </a:lnTo>
                  <a:lnTo>
                    <a:pt x="743" y="64"/>
                  </a:lnTo>
                  <a:lnTo>
                    <a:pt x="725" y="43"/>
                  </a:lnTo>
                  <a:lnTo>
                    <a:pt x="719" y="33"/>
                  </a:lnTo>
                  <a:lnTo>
                    <a:pt x="715" y="27"/>
                  </a:lnTo>
                  <a:lnTo>
                    <a:pt x="715" y="27"/>
                  </a:lnTo>
                  <a:lnTo>
                    <a:pt x="715" y="23"/>
                  </a:lnTo>
                  <a:lnTo>
                    <a:pt x="713" y="21"/>
                  </a:lnTo>
                  <a:lnTo>
                    <a:pt x="711" y="19"/>
                  </a:lnTo>
                  <a:lnTo>
                    <a:pt x="704" y="0"/>
                  </a:lnTo>
                  <a:lnTo>
                    <a:pt x="704" y="0"/>
                  </a:lnTo>
                  <a:lnTo>
                    <a:pt x="702" y="2"/>
                  </a:lnTo>
                  <a:lnTo>
                    <a:pt x="702" y="2"/>
                  </a:lnTo>
                  <a:lnTo>
                    <a:pt x="702" y="2"/>
                  </a:lnTo>
                  <a:lnTo>
                    <a:pt x="702" y="2"/>
                  </a:lnTo>
                  <a:lnTo>
                    <a:pt x="704" y="7"/>
                  </a:lnTo>
                  <a:lnTo>
                    <a:pt x="704" y="9"/>
                  </a:lnTo>
                  <a:lnTo>
                    <a:pt x="707" y="11"/>
                  </a:lnTo>
                  <a:lnTo>
                    <a:pt x="707" y="13"/>
                  </a:lnTo>
                  <a:lnTo>
                    <a:pt x="709" y="15"/>
                  </a:lnTo>
                  <a:lnTo>
                    <a:pt x="711" y="17"/>
                  </a:lnTo>
                  <a:lnTo>
                    <a:pt x="713" y="23"/>
                  </a:lnTo>
                  <a:lnTo>
                    <a:pt x="713" y="27"/>
                  </a:lnTo>
                  <a:lnTo>
                    <a:pt x="713" y="27"/>
                  </a:lnTo>
                  <a:lnTo>
                    <a:pt x="713" y="27"/>
                  </a:lnTo>
                  <a:lnTo>
                    <a:pt x="713" y="27"/>
                  </a:lnTo>
                  <a:lnTo>
                    <a:pt x="713" y="27"/>
                  </a:lnTo>
                  <a:lnTo>
                    <a:pt x="715" y="29"/>
                  </a:lnTo>
                  <a:lnTo>
                    <a:pt x="719" y="33"/>
                  </a:lnTo>
                  <a:lnTo>
                    <a:pt x="719" y="35"/>
                  </a:lnTo>
                  <a:lnTo>
                    <a:pt x="721" y="39"/>
                  </a:lnTo>
                  <a:lnTo>
                    <a:pt x="723" y="41"/>
                  </a:lnTo>
                  <a:lnTo>
                    <a:pt x="723" y="46"/>
                  </a:lnTo>
                  <a:lnTo>
                    <a:pt x="723" y="46"/>
                  </a:lnTo>
                  <a:lnTo>
                    <a:pt x="725" y="48"/>
                  </a:lnTo>
                  <a:lnTo>
                    <a:pt x="725" y="50"/>
                  </a:lnTo>
                  <a:lnTo>
                    <a:pt x="727" y="50"/>
                  </a:lnTo>
                  <a:lnTo>
                    <a:pt x="727" y="52"/>
                  </a:lnTo>
                  <a:lnTo>
                    <a:pt x="729" y="50"/>
                  </a:lnTo>
                  <a:lnTo>
                    <a:pt x="729" y="50"/>
                  </a:lnTo>
                  <a:lnTo>
                    <a:pt x="731" y="52"/>
                  </a:lnTo>
                  <a:lnTo>
                    <a:pt x="731" y="54"/>
                  </a:lnTo>
                  <a:lnTo>
                    <a:pt x="729" y="54"/>
                  </a:lnTo>
                  <a:lnTo>
                    <a:pt x="729" y="54"/>
                  </a:lnTo>
                  <a:lnTo>
                    <a:pt x="727" y="54"/>
                  </a:lnTo>
                  <a:lnTo>
                    <a:pt x="727" y="56"/>
                  </a:lnTo>
                  <a:lnTo>
                    <a:pt x="729" y="56"/>
                  </a:lnTo>
                  <a:lnTo>
                    <a:pt x="731" y="56"/>
                  </a:lnTo>
                  <a:lnTo>
                    <a:pt x="731" y="56"/>
                  </a:lnTo>
                  <a:lnTo>
                    <a:pt x="731" y="56"/>
                  </a:lnTo>
                  <a:lnTo>
                    <a:pt x="739" y="62"/>
                  </a:lnTo>
                  <a:lnTo>
                    <a:pt x="741" y="64"/>
                  </a:lnTo>
                  <a:lnTo>
                    <a:pt x="743" y="68"/>
                  </a:lnTo>
                  <a:lnTo>
                    <a:pt x="743" y="70"/>
                  </a:lnTo>
                  <a:lnTo>
                    <a:pt x="745" y="70"/>
                  </a:lnTo>
                  <a:lnTo>
                    <a:pt x="745" y="72"/>
                  </a:lnTo>
                  <a:lnTo>
                    <a:pt x="745" y="72"/>
                  </a:lnTo>
                  <a:close/>
                  <a:moveTo>
                    <a:pt x="694" y="7"/>
                  </a:moveTo>
                  <a:lnTo>
                    <a:pt x="694" y="7"/>
                  </a:lnTo>
                  <a:lnTo>
                    <a:pt x="694" y="9"/>
                  </a:lnTo>
                  <a:lnTo>
                    <a:pt x="696" y="9"/>
                  </a:lnTo>
                  <a:lnTo>
                    <a:pt x="700" y="9"/>
                  </a:lnTo>
                  <a:lnTo>
                    <a:pt x="700" y="9"/>
                  </a:lnTo>
                  <a:lnTo>
                    <a:pt x="700" y="7"/>
                  </a:lnTo>
                  <a:lnTo>
                    <a:pt x="700" y="7"/>
                  </a:lnTo>
                  <a:lnTo>
                    <a:pt x="700" y="5"/>
                  </a:lnTo>
                  <a:lnTo>
                    <a:pt x="698" y="2"/>
                  </a:lnTo>
                  <a:lnTo>
                    <a:pt x="698" y="2"/>
                  </a:lnTo>
                  <a:lnTo>
                    <a:pt x="698" y="2"/>
                  </a:lnTo>
                  <a:lnTo>
                    <a:pt x="696" y="2"/>
                  </a:lnTo>
                  <a:lnTo>
                    <a:pt x="696" y="5"/>
                  </a:lnTo>
                  <a:lnTo>
                    <a:pt x="694" y="5"/>
                  </a:lnTo>
                  <a:lnTo>
                    <a:pt x="694" y="2"/>
                  </a:lnTo>
                  <a:lnTo>
                    <a:pt x="690" y="5"/>
                  </a:lnTo>
                  <a:lnTo>
                    <a:pt x="690" y="5"/>
                  </a:lnTo>
                  <a:lnTo>
                    <a:pt x="694" y="7"/>
                  </a:lnTo>
                  <a:close/>
                  <a:moveTo>
                    <a:pt x="723" y="101"/>
                  </a:moveTo>
                  <a:lnTo>
                    <a:pt x="725" y="101"/>
                  </a:lnTo>
                  <a:lnTo>
                    <a:pt x="727" y="103"/>
                  </a:lnTo>
                  <a:lnTo>
                    <a:pt x="729" y="101"/>
                  </a:lnTo>
                  <a:lnTo>
                    <a:pt x="729" y="101"/>
                  </a:lnTo>
                  <a:lnTo>
                    <a:pt x="729" y="101"/>
                  </a:lnTo>
                  <a:lnTo>
                    <a:pt x="729" y="101"/>
                  </a:lnTo>
                  <a:lnTo>
                    <a:pt x="729" y="103"/>
                  </a:lnTo>
                  <a:lnTo>
                    <a:pt x="729" y="103"/>
                  </a:lnTo>
                  <a:lnTo>
                    <a:pt x="727" y="103"/>
                  </a:lnTo>
                  <a:lnTo>
                    <a:pt x="727" y="105"/>
                  </a:lnTo>
                  <a:lnTo>
                    <a:pt x="731" y="103"/>
                  </a:lnTo>
                  <a:lnTo>
                    <a:pt x="731" y="103"/>
                  </a:lnTo>
                  <a:lnTo>
                    <a:pt x="733" y="103"/>
                  </a:lnTo>
                  <a:lnTo>
                    <a:pt x="733" y="101"/>
                  </a:lnTo>
                  <a:lnTo>
                    <a:pt x="731" y="101"/>
                  </a:lnTo>
                  <a:lnTo>
                    <a:pt x="731" y="99"/>
                  </a:lnTo>
                  <a:lnTo>
                    <a:pt x="733" y="99"/>
                  </a:lnTo>
                  <a:lnTo>
                    <a:pt x="733" y="99"/>
                  </a:lnTo>
                  <a:lnTo>
                    <a:pt x="733" y="99"/>
                  </a:lnTo>
                  <a:lnTo>
                    <a:pt x="733" y="99"/>
                  </a:lnTo>
                  <a:lnTo>
                    <a:pt x="735" y="95"/>
                  </a:lnTo>
                  <a:lnTo>
                    <a:pt x="735" y="95"/>
                  </a:lnTo>
                  <a:lnTo>
                    <a:pt x="731" y="93"/>
                  </a:lnTo>
                  <a:lnTo>
                    <a:pt x="731" y="91"/>
                  </a:lnTo>
                  <a:lnTo>
                    <a:pt x="731" y="89"/>
                  </a:lnTo>
                  <a:lnTo>
                    <a:pt x="733" y="89"/>
                  </a:lnTo>
                  <a:lnTo>
                    <a:pt x="735" y="89"/>
                  </a:lnTo>
                  <a:lnTo>
                    <a:pt x="735" y="87"/>
                  </a:lnTo>
                  <a:lnTo>
                    <a:pt x="735" y="84"/>
                  </a:lnTo>
                  <a:lnTo>
                    <a:pt x="733" y="84"/>
                  </a:lnTo>
                  <a:lnTo>
                    <a:pt x="731" y="82"/>
                  </a:lnTo>
                  <a:lnTo>
                    <a:pt x="731" y="80"/>
                  </a:lnTo>
                  <a:lnTo>
                    <a:pt x="731" y="80"/>
                  </a:lnTo>
                  <a:lnTo>
                    <a:pt x="731" y="78"/>
                  </a:lnTo>
                  <a:lnTo>
                    <a:pt x="733" y="76"/>
                  </a:lnTo>
                  <a:lnTo>
                    <a:pt x="731" y="74"/>
                  </a:lnTo>
                  <a:lnTo>
                    <a:pt x="731" y="74"/>
                  </a:lnTo>
                  <a:lnTo>
                    <a:pt x="729" y="72"/>
                  </a:lnTo>
                  <a:lnTo>
                    <a:pt x="729" y="70"/>
                  </a:lnTo>
                  <a:lnTo>
                    <a:pt x="723" y="64"/>
                  </a:lnTo>
                  <a:lnTo>
                    <a:pt x="721" y="62"/>
                  </a:lnTo>
                  <a:lnTo>
                    <a:pt x="717" y="62"/>
                  </a:lnTo>
                  <a:lnTo>
                    <a:pt x="717" y="62"/>
                  </a:lnTo>
                  <a:lnTo>
                    <a:pt x="717" y="64"/>
                  </a:lnTo>
                  <a:lnTo>
                    <a:pt x="717" y="64"/>
                  </a:lnTo>
                  <a:lnTo>
                    <a:pt x="717" y="66"/>
                  </a:lnTo>
                  <a:lnTo>
                    <a:pt x="717" y="64"/>
                  </a:lnTo>
                  <a:lnTo>
                    <a:pt x="719" y="64"/>
                  </a:lnTo>
                  <a:lnTo>
                    <a:pt x="719" y="66"/>
                  </a:lnTo>
                  <a:lnTo>
                    <a:pt x="721" y="66"/>
                  </a:lnTo>
                  <a:lnTo>
                    <a:pt x="719" y="66"/>
                  </a:lnTo>
                  <a:lnTo>
                    <a:pt x="717" y="66"/>
                  </a:lnTo>
                  <a:lnTo>
                    <a:pt x="715" y="66"/>
                  </a:lnTo>
                  <a:lnTo>
                    <a:pt x="713" y="66"/>
                  </a:lnTo>
                  <a:lnTo>
                    <a:pt x="715" y="68"/>
                  </a:lnTo>
                  <a:lnTo>
                    <a:pt x="715" y="68"/>
                  </a:lnTo>
                  <a:lnTo>
                    <a:pt x="717" y="70"/>
                  </a:lnTo>
                  <a:lnTo>
                    <a:pt x="719" y="70"/>
                  </a:lnTo>
                  <a:lnTo>
                    <a:pt x="719" y="70"/>
                  </a:lnTo>
                  <a:lnTo>
                    <a:pt x="719" y="72"/>
                  </a:lnTo>
                  <a:lnTo>
                    <a:pt x="719" y="72"/>
                  </a:lnTo>
                  <a:lnTo>
                    <a:pt x="717" y="72"/>
                  </a:lnTo>
                  <a:lnTo>
                    <a:pt x="715" y="72"/>
                  </a:lnTo>
                  <a:lnTo>
                    <a:pt x="713" y="70"/>
                  </a:lnTo>
                  <a:lnTo>
                    <a:pt x="711" y="68"/>
                  </a:lnTo>
                  <a:lnTo>
                    <a:pt x="711" y="68"/>
                  </a:lnTo>
                  <a:lnTo>
                    <a:pt x="711" y="70"/>
                  </a:lnTo>
                  <a:lnTo>
                    <a:pt x="709" y="72"/>
                  </a:lnTo>
                  <a:lnTo>
                    <a:pt x="707" y="74"/>
                  </a:lnTo>
                  <a:lnTo>
                    <a:pt x="711" y="87"/>
                  </a:lnTo>
                  <a:lnTo>
                    <a:pt x="711" y="91"/>
                  </a:lnTo>
                  <a:lnTo>
                    <a:pt x="709" y="99"/>
                  </a:lnTo>
                  <a:lnTo>
                    <a:pt x="709" y="99"/>
                  </a:lnTo>
                  <a:lnTo>
                    <a:pt x="709" y="99"/>
                  </a:lnTo>
                  <a:lnTo>
                    <a:pt x="709" y="99"/>
                  </a:lnTo>
                  <a:lnTo>
                    <a:pt x="709" y="97"/>
                  </a:lnTo>
                  <a:lnTo>
                    <a:pt x="709" y="97"/>
                  </a:lnTo>
                  <a:lnTo>
                    <a:pt x="704" y="99"/>
                  </a:lnTo>
                  <a:lnTo>
                    <a:pt x="702" y="99"/>
                  </a:lnTo>
                  <a:lnTo>
                    <a:pt x="700" y="99"/>
                  </a:lnTo>
                  <a:lnTo>
                    <a:pt x="698" y="97"/>
                  </a:lnTo>
                  <a:lnTo>
                    <a:pt x="700" y="95"/>
                  </a:lnTo>
                  <a:lnTo>
                    <a:pt x="704" y="97"/>
                  </a:lnTo>
                  <a:lnTo>
                    <a:pt x="707" y="97"/>
                  </a:lnTo>
                  <a:lnTo>
                    <a:pt x="709" y="95"/>
                  </a:lnTo>
                  <a:lnTo>
                    <a:pt x="707" y="95"/>
                  </a:lnTo>
                  <a:lnTo>
                    <a:pt x="707" y="93"/>
                  </a:lnTo>
                  <a:lnTo>
                    <a:pt x="704" y="93"/>
                  </a:lnTo>
                  <a:lnTo>
                    <a:pt x="707" y="91"/>
                  </a:lnTo>
                  <a:lnTo>
                    <a:pt x="707" y="91"/>
                  </a:lnTo>
                  <a:lnTo>
                    <a:pt x="707" y="89"/>
                  </a:lnTo>
                  <a:lnTo>
                    <a:pt x="704" y="89"/>
                  </a:lnTo>
                  <a:lnTo>
                    <a:pt x="704" y="87"/>
                  </a:lnTo>
                  <a:lnTo>
                    <a:pt x="704" y="87"/>
                  </a:lnTo>
                  <a:lnTo>
                    <a:pt x="702" y="87"/>
                  </a:lnTo>
                  <a:lnTo>
                    <a:pt x="702" y="87"/>
                  </a:lnTo>
                  <a:lnTo>
                    <a:pt x="700" y="87"/>
                  </a:lnTo>
                  <a:lnTo>
                    <a:pt x="698" y="87"/>
                  </a:lnTo>
                  <a:lnTo>
                    <a:pt x="698" y="87"/>
                  </a:lnTo>
                  <a:lnTo>
                    <a:pt x="698" y="84"/>
                  </a:lnTo>
                  <a:lnTo>
                    <a:pt x="702" y="87"/>
                  </a:lnTo>
                  <a:lnTo>
                    <a:pt x="704" y="84"/>
                  </a:lnTo>
                  <a:lnTo>
                    <a:pt x="704" y="82"/>
                  </a:lnTo>
                  <a:lnTo>
                    <a:pt x="702" y="78"/>
                  </a:lnTo>
                  <a:lnTo>
                    <a:pt x="700" y="78"/>
                  </a:lnTo>
                  <a:lnTo>
                    <a:pt x="700" y="76"/>
                  </a:lnTo>
                  <a:lnTo>
                    <a:pt x="702" y="76"/>
                  </a:lnTo>
                  <a:lnTo>
                    <a:pt x="702" y="74"/>
                  </a:lnTo>
                  <a:lnTo>
                    <a:pt x="702" y="72"/>
                  </a:lnTo>
                  <a:lnTo>
                    <a:pt x="704" y="70"/>
                  </a:lnTo>
                  <a:lnTo>
                    <a:pt x="702" y="70"/>
                  </a:lnTo>
                  <a:lnTo>
                    <a:pt x="700" y="72"/>
                  </a:lnTo>
                  <a:lnTo>
                    <a:pt x="700" y="68"/>
                  </a:lnTo>
                  <a:lnTo>
                    <a:pt x="700" y="66"/>
                  </a:lnTo>
                  <a:lnTo>
                    <a:pt x="702" y="68"/>
                  </a:lnTo>
                  <a:lnTo>
                    <a:pt x="702" y="66"/>
                  </a:lnTo>
                  <a:lnTo>
                    <a:pt x="700" y="64"/>
                  </a:lnTo>
                  <a:lnTo>
                    <a:pt x="698" y="64"/>
                  </a:lnTo>
                  <a:lnTo>
                    <a:pt x="696" y="64"/>
                  </a:lnTo>
                  <a:lnTo>
                    <a:pt x="688" y="66"/>
                  </a:lnTo>
                  <a:lnTo>
                    <a:pt x="680" y="70"/>
                  </a:lnTo>
                  <a:lnTo>
                    <a:pt x="678" y="72"/>
                  </a:lnTo>
                  <a:lnTo>
                    <a:pt x="680" y="72"/>
                  </a:lnTo>
                  <a:lnTo>
                    <a:pt x="682" y="74"/>
                  </a:lnTo>
                  <a:lnTo>
                    <a:pt x="684" y="74"/>
                  </a:lnTo>
                  <a:lnTo>
                    <a:pt x="680" y="74"/>
                  </a:lnTo>
                  <a:lnTo>
                    <a:pt x="678" y="74"/>
                  </a:lnTo>
                  <a:lnTo>
                    <a:pt x="676" y="74"/>
                  </a:lnTo>
                  <a:lnTo>
                    <a:pt x="674" y="74"/>
                  </a:lnTo>
                  <a:lnTo>
                    <a:pt x="674" y="76"/>
                  </a:lnTo>
                  <a:lnTo>
                    <a:pt x="674" y="76"/>
                  </a:lnTo>
                  <a:lnTo>
                    <a:pt x="672" y="76"/>
                  </a:lnTo>
                  <a:lnTo>
                    <a:pt x="672" y="74"/>
                  </a:lnTo>
                  <a:lnTo>
                    <a:pt x="672" y="74"/>
                  </a:lnTo>
                  <a:lnTo>
                    <a:pt x="672" y="72"/>
                  </a:lnTo>
                  <a:lnTo>
                    <a:pt x="672" y="72"/>
                  </a:lnTo>
                  <a:lnTo>
                    <a:pt x="668" y="72"/>
                  </a:lnTo>
                  <a:lnTo>
                    <a:pt x="663" y="74"/>
                  </a:lnTo>
                  <a:lnTo>
                    <a:pt x="659" y="76"/>
                  </a:lnTo>
                  <a:lnTo>
                    <a:pt x="657" y="78"/>
                  </a:lnTo>
                  <a:lnTo>
                    <a:pt x="657" y="78"/>
                  </a:lnTo>
                  <a:lnTo>
                    <a:pt x="655" y="78"/>
                  </a:lnTo>
                  <a:lnTo>
                    <a:pt x="643" y="80"/>
                  </a:lnTo>
                  <a:lnTo>
                    <a:pt x="643" y="80"/>
                  </a:lnTo>
                  <a:lnTo>
                    <a:pt x="645" y="76"/>
                  </a:lnTo>
                  <a:lnTo>
                    <a:pt x="645" y="74"/>
                  </a:lnTo>
                  <a:lnTo>
                    <a:pt x="643" y="74"/>
                  </a:lnTo>
                  <a:lnTo>
                    <a:pt x="643" y="72"/>
                  </a:lnTo>
                  <a:lnTo>
                    <a:pt x="643" y="72"/>
                  </a:lnTo>
                  <a:lnTo>
                    <a:pt x="643" y="70"/>
                  </a:lnTo>
                  <a:lnTo>
                    <a:pt x="641" y="70"/>
                  </a:lnTo>
                  <a:lnTo>
                    <a:pt x="641" y="70"/>
                  </a:lnTo>
                  <a:lnTo>
                    <a:pt x="639" y="68"/>
                  </a:lnTo>
                  <a:lnTo>
                    <a:pt x="639" y="66"/>
                  </a:lnTo>
                  <a:lnTo>
                    <a:pt x="637" y="64"/>
                  </a:lnTo>
                  <a:lnTo>
                    <a:pt x="637" y="62"/>
                  </a:lnTo>
                  <a:lnTo>
                    <a:pt x="635" y="56"/>
                  </a:lnTo>
                  <a:lnTo>
                    <a:pt x="635" y="54"/>
                  </a:lnTo>
                  <a:lnTo>
                    <a:pt x="635" y="52"/>
                  </a:lnTo>
                  <a:lnTo>
                    <a:pt x="637" y="50"/>
                  </a:lnTo>
                  <a:lnTo>
                    <a:pt x="637" y="48"/>
                  </a:lnTo>
                  <a:lnTo>
                    <a:pt x="637" y="46"/>
                  </a:lnTo>
                  <a:lnTo>
                    <a:pt x="637" y="46"/>
                  </a:lnTo>
                  <a:lnTo>
                    <a:pt x="637" y="43"/>
                  </a:lnTo>
                  <a:lnTo>
                    <a:pt x="635" y="43"/>
                  </a:lnTo>
                  <a:lnTo>
                    <a:pt x="635" y="41"/>
                  </a:lnTo>
                  <a:lnTo>
                    <a:pt x="637" y="41"/>
                  </a:lnTo>
                  <a:lnTo>
                    <a:pt x="639" y="41"/>
                  </a:lnTo>
                  <a:lnTo>
                    <a:pt x="639" y="43"/>
                  </a:lnTo>
                  <a:lnTo>
                    <a:pt x="639" y="48"/>
                  </a:lnTo>
                  <a:lnTo>
                    <a:pt x="639" y="48"/>
                  </a:lnTo>
                  <a:lnTo>
                    <a:pt x="637" y="50"/>
                  </a:lnTo>
                  <a:lnTo>
                    <a:pt x="637" y="52"/>
                  </a:lnTo>
                  <a:lnTo>
                    <a:pt x="637" y="56"/>
                  </a:lnTo>
                  <a:lnTo>
                    <a:pt x="639" y="60"/>
                  </a:lnTo>
                  <a:lnTo>
                    <a:pt x="641" y="64"/>
                  </a:lnTo>
                  <a:lnTo>
                    <a:pt x="643" y="68"/>
                  </a:lnTo>
                  <a:lnTo>
                    <a:pt x="645" y="70"/>
                  </a:lnTo>
                  <a:lnTo>
                    <a:pt x="647" y="70"/>
                  </a:lnTo>
                  <a:lnTo>
                    <a:pt x="649" y="66"/>
                  </a:lnTo>
                  <a:lnTo>
                    <a:pt x="649" y="68"/>
                  </a:lnTo>
                  <a:lnTo>
                    <a:pt x="653" y="70"/>
                  </a:lnTo>
                  <a:lnTo>
                    <a:pt x="653" y="72"/>
                  </a:lnTo>
                  <a:lnTo>
                    <a:pt x="655" y="70"/>
                  </a:lnTo>
                  <a:lnTo>
                    <a:pt x="659" y="70"/>
                  </a:lnTo>
                  <a:lnTo>
                    <a:pt x="661" y="70"/>
                  </a:lnTo>
                  <a:lnTo>
                    <a:pt x="663" y="68"/>
                  </a:lnTo>
                  <a:lnTo>
                    <a:pt x="666" y="64"/>
                  </a:lnTo>
                  <a:lnTo>
                    <a:pt x="668" y="62"/>
                  </a:lnTo>
                  <a:lnTo>
                    <a:pt x="666" y="62"/>
                  </a:lnTo>
                  <a:lnTo>
                    <a:pt x="666" y="62"/>
                  </a:lnTo>
                  <a:lnTo>
                    <a:pt x="666" y="62"/>
                  </a:lnTo>
                  <a:lnTo>
                    <a:pt x="668" y="60"/>
                  </a:lnTo>
                  <a:lnTo>
                    <a:pt x="676" y="58"/>
                  </a:lnTo>
                  <a:lnTo>
                    <a:pt x="676" y="56"/>
                  </a:lnTo>
                  <a:lnTo>
                    <a:pt x="674" y="56"/>
                  </a:lnTo>
                  <a:lnTo>
                    <a:pt x="670" y="56"/>
                  </a:lnTo>
                  <a:lnTo>
                    <a:pt x="668" y="56"/>
                  </a:lnTo>
                  <a:lnTo>
                    <a:pt x="668" y="54"/>
                  </a:lnTo>
                  <a:lnTo>
                    <a:pt x="666" y="54"/>
                  </a:lnTo>
                  <a:lnTo>
                    <a:pt x="663" y="52"/>
                  </a:lnTo>
                  <a:lnTo>
                    <a:pt x="661" y="52"/>
                  </a:lnTo>
                  <a:lnTo>
                    <a:pt x="661" y="52"/>
                  </a:lnTo>
                  <a:lnTo>
                    <a:pt x="659" y="50"/>
                  </a:lnTo>
                  <a:lnTo>
                    <a:pt x="661" y="50"/>
                  </a:lnTo>
                  <a:lnTo>
                    <a:pt x="663" y="50"/>
                  </a:lnTo>
                  <a:lnTo>
                    <a:pt x="666" y="52"/>
                  </a:lnTo>
                  <a:lnTo>
                    <a:pt x="666" y="50"/>
                  </a:lnTo>
                  <a:lnTo>
                    <a:pt x="668" y="52"/>
                  </a:lnTo>
                  <a:lnTo>
                    <a:pt x="672" y="54"/>
                  </a:lnTo>
                  <a:lnTo>
                    <a:pt x="680" y="56"/>
                  </a:lnTo>
                  <a:lnTo>
                    <a:pt x="682" y="56"/>
                  </a:lnTo>
                  <a:lnTo>
                    <a:pt x="684" y="54"/>
                  </a:lnTo>
                  <a:lnTo>
                    <a:pt x="684" y="54"/>
                  </a:lnTo>
                  <a:lnTo>
                    <a:pt x="682" y="54"/>
                  </a:lnTo>
                  <a:lnTo>
                    <a:pt x="680" y="50"/>
                  </a:lnTo>
                  <a:lnTo>
                    <a:pt x="678" y="48"/>
                  </a:lnTo>
                  <a:lnTo>
                    <a:pt x="678" y="48"/>
                  </a:lnTo>
                  <a:lnTo>
                    <a:pt x="676" y="48"/>
                  </a:lnTo>
                  <a:lnTo>
                    <a:pt x="676" y="48"/>
                  </a:lnTo>
                  <a:lnTo>
                    <a:pt x="674" y="46"/>
                  </a:lnTo>
                  <a:lnTo>
                    <a:pt x="674" y="46"/>
                  </a:lnTo>
                  <a:lnTo>
                    <a:pt x="674" y="46"/>
                  </a:lnTo>
                  <a:lnTo>
                    <a:pt x="676" y="46"/>
                  </a:lnTo>
                  <a:lnTo>
                    <a:pt x="680" y="48"/>
                  </a:lnTo>
                  <a:lnTo>
                    <a:pt x="680" y="48"/>
                  </a:lnTo>
                  <a:lnTo>
                    <a:pt x="680" y="48"/>
                  </a:lnTo>
                  <a:lnTo>
                    <a:pt x="682" y="50"/>
                  </a:lnTo>
                  <a:lnTo>
                    <a:pt x="686" y="52"/>
                  </a:lnTo>
                  <a:lnTo>
                    <a:pt x="686" y="52"/>
                  </a:lnTo>
                  <a:lnTo>
                    <a:pt x="688" y="52"/>
                  </a:lnTo>
                  <a:lnTo>
                    <a:pt x="690" y="50"/>
                  </a:lnTo>
                  <a:lnTo>
                    <a:pt x="690" y="50"/>
                  </a:lnTo>
                  <a:lnTo>
                    <a:pt x="690" y="50"/>
                  </a:lnTo>
                  <a:lnTo>
                    <a:pt x="690" y="50"/>
                  </a:lnTo>
                  <a:lnTo>
                    <a:pt x="692" y="48"/>
                  </a:lnTo>
                  <a:lnTo>
                    <a:pt x="692" y="48"/>
                  </a:lnTo>
                  <a:lnTo>
                    <a:pt x="694" y="46"/>
                  </a:lnTo>
                  <a:lnTo>
                    <a:pt x="694" y="46"/>
                  </a:lnTo>
                  <a:lnTo>
                    <a:pt x="694" y="46"/>
                  </a:lnTo>
                  <a:lnTo>
                    <a:pt x="692" y="46"/>
                  </a:lnTo>
                  <a:lnTo>
                    <a:pt x="692" y="41"/>
                  </a:lnTo>
                  <a:lnTo>
                    <a:pt x="690" y="41"/>
                  </a:lnTo>
                  <a:lnTo>
                    <a:pt x="688" y="41"/>
                  </a:lnTo>
                  <a:lnTo>
                    <a:pt x="686" y="39"/>
                  </a:lnTo>
                  <a:lnTo>
                    <a:pt x="684" y="37"/>
                  </a:lnTo>
                  <a:lnTo>
                    <a:pt x="682" y="37"/>
                  </a:lnTo>
                  <a:lnTo>
                    <a:pt x="680" y="35"/>
                  </a:lnTo>
                  <a:lnTo>
                    <a:pt x="678" y="35"/>
                  </a:lnTo>
                  <a:lnTo>
                    <a:pt x="678" y="35"/>
                  </a:lnTo>
                  <a:lnTo>
                    <a:pt x="678" y="33"/>
                  </a:lnTo>
                  <a:lnTo>
                    <a:pt x="678" y="33"/>
                  </a:lnTo>
                  <a:lnTo>
                    <a:pt x="680" y="31"/>
                  </a:lnTo>
                  <a:lnTo>
                    <a:pt x="680" y="31"/>
                  </a:lnTo>
                  <a:lnTo>
                    <a:pt x="680" y="33"/>
                  </a:lnTo>
                  <a:lnTo>
                    <a:pt x="680" y="33"/>
                  </a:lnTo>
                  <a:lnTo>
                    <a:pt x="680" y="33"/>
                  </a:lnTo>
                  <a:lnTo>
                    <a:pt x="684" y="33"/>
                  </a:lnTo>
                  <a:lnTo>
                    <a:pt x="686" y="35"/>
                  </a:lnTo>
                  <a:lnTo>
                    <a:pt x="688" y="35"/>
                  </a:lnTo>
                  <a:lnTo>
                    <a:pt x="690" y="37"/>
                  </a:lnTo>
                  <a:lnTo>
                    <a:pt x="690" y="37"/>
                  </a:lnTo>
                  <a:lnTo>
                    <a:pt x="692" y="37"/>
                  </a:lnTo>
                  <a:lnTo>
                    <a:pt x="694" y="37"/>
                  </a:lnTo>
                  <a:lnTo>
                    <a:pt x="696" y="41"/>
                  </a:lnTo>
                  <a:lnTo>
                    <a:pt x="698" y="41"/>
                  </a:lnTo>
                  <a:lnTo>
                    <a:pt x="700" y="41"/>
                  </a:lnTo>
                  <a:lnTo>
                    <a:pt x="702" y="41"/>
                  </a:lnTo>
                  <a:lnTo>
                    <a:pt x="709" y="43"/>
                  </a:lnTo>
                  <a:lnTo>
                    <a:pt x="709" y="41"/>
                  </a:lnTo>
                  <a:lnTo>
                    <a:pt x="707" y="41"/>
                  </a:lnTo>
                  <a:lnTo>
                    <a:pt x="704" y="41"/>
                  </a:lnTo>
                  <a:lnTo>
                    <a:pt x="702" y="39"/>
                  </a:lnTo>
                  <a:lnTo>
                    <a:pt x="702" y="39"/>
                  </a:lnTo>
                  <a:lnTo>
                    <a:pt x="702" y="37"/>
                  </a:lnTo>
                  <a:lnTo>
                    <a:pt x="702" y="35"/>
                  </a:lnTo>
                  <a:lnTo>
                    <a:pt x="700" y="31"/>
                  </a:lnTo>
                  <a:lnTo>
                    <a:pt x="698" y="31"/>
                  </a:lnTo>
                  <a:lnTo>
                    <a:pt x="698" y="29"/>
                  </a:lnTo>
                  <a:lnTo>
                    <a:pt x="696" y="29"/>
                  </a:lnTo>
                  <a:lnTo>
                    <a:pt x="698" y="29"/>
                  </a:lnTo>
                  <a:lnTo>
                    <a:pt x="700" y="29"/>
                  </a:lnTo>
                  <a:lnTo>
                    <a:pt x="702" y="31"/>
                  </a:lnTo>
                  <a:lnTo>
                    <a:pt x="702" y="33"/>
                  </a:lnTo>
                  <a:lnTo>
                    <a:pt x="702" y="33"/>
                  </a:lnTo>
                  <a:lnTo>
                    <a:pt x="704" y="33"/>
                  </a:lnTo>
                  <a:lnTo>
                    <a:pt x="707" y="33"/>
                  </a:lnTo>
                  <a:lnTo>
                    <a:pt x="707" y="35"/>
                  </a:lnTo>
                  <a:lnTo>
                    <a:pt x="707" y="37"/>
                  </a:lnTo>
                  <a:lnTo>
                    <a:pt x="707" y="37"/>
                  </a:lnTo>
                  <a:lnTo>
                    <a:pt x="707" y="37"/>
                  </a:lnTo>
                  <a:lnTo>
                    <a:pt x="711" y="39"/>
                  </a:lnTo>
                  <a:lnTo>
                    <a:pt x="711" y="39"/>
                  </a:lnTo>
                  <a:lnTo>
                    <a:pt x="713" y="41"/>
                  </a:lnTo>
                  <a:lnTo>
                    <a:pt x="713" y="41"/>
                  </a:lnTo>
                  <a:lnTo>
                    <a:pt x="713" y="43"/>
                  </a:lnTo>
                  <a:lnTo>
                    <a:pt x="713" y="43"/>
                  </a:lnTo>
                  <a:lnTo>
                    <a:pt x="713" y="46"/>
                  </a:lnTo>
                  <a:lnTo>
                    <a:pt x="713" y="46"/>
                  </a:lnTo>
                  <a:lnTo>
                    <a:pt x="715" y="48"/>
                  </a:lnTo>
                  <a:lnTo>
                    <a:pt x="717" y="50"/>
                  </a:lnTo>
                  <a:lnTo>
                    <a:pt x="719" y="50"/>
                  </a:lnTo>
                  <a:lnTo>
                    <a:pt x="721" y="50"/>
                  </a:lnTo>
                  <a:lnTo>
                    <a:pt x="719" y="48"/>
                  </a:lnTo>
                  <a:lnTo>
                    <a:pt x="719" y="46"/>
                  </a:lnTo>
                  <a:lnTo>
                    <a:pt x="717" y="43"/>
                  </a:lnTo>
                  <a:lnTo>
                    <a:pt x="717" y="41"/>
                  </a:lnTo>
                  <a:lnTo>
                    <a:pt x="709" y="31"/>
                  </a:lnTo>
                  <a:lnTo>
                    <a:pt x="709" y="29"/>
                  </a:lnTo>
                  <a:lnTo>
                    <a:pt x="707" y="27"/>
                  </a:lnTo>
                  <a:lnTo>
                    <a:pt x="704" y="25"/>
                  </a:lnTo>
                  <a:lnTo>
                    <a:pt x="702" y="23"/>
                  </a:lnTo>
                  <a:lnTo>
                    <a:pt x="702" y="19"/>
                  </a:lnTo>
                  <a:lnTo>
                    <a:pt x="700" y="15"/>
                  </a:lnTo>
                  <a:lnTo>
                    <a:pt x="700" y="15"/>
                  </a:lnTo>
                  <a:lnTo>
                    <a:pt x="700" y="17"/>
                  </a:lnTo>
                  <a:lnTo>
                    <a:pt x="700" y="19"/>
                  </a:lnTo>
                  <a:lnTo>
                    <a:pt x="698" y="19"/>
                  </a:lnTo>
                  <a:lnTo>
                    <a:pt x="700" y="21"/>
                  </a:lnTo>
                  <a:lnTo>
                    <a:pt x="700" y="21"/>
                  </a:lnTo>
                  <a:lnTo>
                    <a:pt x="700" y="21"/>
                  </a:lnTo>
                  <a:lnTo>
                    <a:pt x="702" y="23"/>
                  </a:lnTo>
                  <a:lnTo>
                    <a:pt x="700" y="21"/>
                  </a:lnTo>
                  <a:lnTo>
                    <a:pt x="696" y="19"/>
                  </a:lnTo>
                  <a:lnTo>
                    <a:pt x="696" y="17"/>
                  </a:lnTo>
                  <a:lnTo>
                    <a:pt x="696" y="15"/>
                  </a:lnTo>
                  <a:lnTo>
                    <a:pt x="694" y="15"/>
                  </a:lnTo>
                  <a:lnTo>
                    <a:pt x="692" y="13"/>
                  </a:lnTo>
                  <a:lnTo>
                    <a:pt x="690" y="13"/>
                  </a:lnTo>
                  <a:lnTo>
                    <a:pt x="690" y="11"/>
                  </a:lnTo>
                  <a:lnTo>
                    <a:pt x="688" y="9"/>
                  </a:lnTo>
                  <a:lnTo>
                    <a:pt x="688" y="7"/>
                  </a:lnTo>
                  <a:lnTo>
                    <a:pt x="688" y="5"/>
                  </a:lnTo>
                  <a:lnTo>
                    <a:pt x="688" y="5"/>
                  </a:lnTo>
                  <a:lnTo>
                    <a:pt x="686" y="5"/>
                  </a:lnTo>
                  <a:lnTo>
                    <a:pt x="674" y="9"/>
                  </a:lnTo>
                  <a:lnTo>
                    <a:pt x="659" y="11"/>
                  </a:lnTo>
                  <a:lnTo>
                    <a:pt x="643" y="15"/>
                  </a:lnTo>
                  <a:lnTo>
                    <a:pt x="629" y="17"/>
                  </a:lnTo>
                  <a:lnTo>
                    <a:pt x="614" y="19"/>
                  </a:lnTo>
                  <a:lnTo>
                    <a:pt x="600" y="23"/>
                  </a:lnTo>
                  <a:lnTo>
                    <a:pt x="584" y="25"/>
                  </a:lnTo>
                  <a:lnTo>
                    <a:pt x="569" y="29"/>
                  </a:lnTo>
                  <a:lnTo>
                    <a:pt x="555" y="31"/>
                  </a:lnTo>
                  <a:lnTo>
                    <a:pt x="539" y="35"/>
                  </a:lnTo>
                  <a:lnTo>
                    <a:pt x="524" y="37"/>
                  </a:lnTo>
                  <a:lnTo>
                    <a:pt x="510" y="41"/>
                  </a:lnTo>
                  <a:lnTo>
                    <a:pt x="494" y="43"/>
                  </a:lnTo>
                  <a:lnTo>
                    <a:pt x="479" y="46"/>
                  </a:lnTo>
                  <a:lnTo>
                    <a:pt x="465" y="50"/>
                  </a:lnTo>
                  <a:lnTo>
                    <a:pt x="450" y="52"/>
                  </a:lnTo>
                  <a:lnTo>
                    <a:pt x="434" y="54"/>
                  </a:lnTo>
                  <a:lnTo>
                    <a:pt x="420" y="58"/>
                  </a:lnTo>
                  <a:lnTo>
                    <a:pt x="405" y="60"/>
                  </a:lnTo>
                  <a:lnTo>
                    <a:pt x="389" y="62"/>
                  </a:lnTo>
                  <a:lnTo>
                    <a:pt x="375" y="66"/>
                  </a:lnTo>
                  <a:lnTo>
                    <a:pt x="360" y="68"/>
                  </a:lnTo>
                  <a:lnTo>
                    <a:pt x="344" y="70"/>
                  </a:lnTo>
                  <a:lnTo>
                    <a:pt x="330" y="72"/>
                  </a:lnTo>
                  <a:lnTo>
                    <a:pt x="315" y="76"/>
                  </a:lnTo>
                  <a:lnTo>
                    <a:pt x="299" y="78"/>
                  </a:lnTo>
                  <a:lnTo>
                    <a:pt x="285" y="80"/>
                  </a:lnTo>
                  <a:lnTo>
                    <a:pt x="270" y="82"/>
                  </a:lnTo>
                  <a:lnTo>
                    <a:pt x="254" y="84"/>
                  </a:lnTo>
                  <a:lnTo>
                    <a:pt x="240" y="89"/>
                  </a:lnTo>
                  <a:lnTo>
                    <a:pt x="225" y="91"/>
                  </a:lnTo>
                  <a:lnTo>
                    <a:pt x="209" y="93"/>
                  </a:lnTo>
                  <a:lnTo>
                    <a:pt x="209" y="93"/>
                  </a:lnTo>
                  <a:lnTo>
                    <a:pt x="207" y="93"/>
                  </a:lnTo>
                  <a:lnTo>
                    <a:pt x="207" y="93"/>
                  </a:lnTo>
                  <a:lnTo>
                    <a:pt x="207" y="91"/>
                  </a:lnTo>
                  <a:lnTo>
                    <a:pt x="203" y="99"/>
                  </a:lnTo>
                  <a:lnTo>
                    <a:pt x="203" y="101"/>
                  </a:lnTo>
                  <a:lnTo>
                    <a:pt x="203" y="101"/>
                  </a:lnTo>
                  <a:lnTo>
                    <a:pt x="205" y="103"/>
                  </a:lnTo>
                  <a:lnTo>
                    <a:pt x="205" y="105"/>
                  </a:lnTo>
                  <a:lnTo>
                    <a:pt x="205" y="109"/>
                  </a:lnTo>
                  <a:lnTo>
                    <a:pt x="203" y="113"/>
                  </a:lnTo>
                  <a:lnTo>
                    <a:pt x="203" y="115"/>
                  </a:lnTo>
                  <a:lnTo>
                    <a:pt x="203" y="115"/>
                  </a:lnTo>
                  <a:lnTo>
                    <a:pt x="203" y="115"/>
                  </a:lnTo>
                  <a:lnTo>
                    <a:pt x="205" y="117"/>
                  </a:lnTo>
                  <a:lnTo>
                    <a:pt x="205" y="119"/>
                  </a:lnTo>
                  <a:lnTo>
                    <a:pt x="205" y="119"/>
                  </a:lnTo>
                  <a:lnTo>
                    <a:pt x="207" y="119"/>
                  </a:lnTo>
                  <a:lnTo>
                    <a:pt x="207" y="121"/>
                  </a:lnTo>
                  <a:lnTo>
                    <a:pt x="205" y="121"/>
                  </a:lnTo>
                  <a:lnTo>
                    <a:pt x="203" y="121"/>
                  </a:lnTo>
                  <a:lnTo>
                    <a:pt x="199" y="119"/>
                  </a:lnTo>
                  <a:lnTo>
                    <a:pt x="197" y="119"/>
                  </a:lnTo>
                  <a:lnTo>
                    <a:pt x="197" y="119"/>
                  </a:lnTo>
                  <a:lnTo>
                    <a:pt x="190" y="125"/>
                  </a:lnTo>
                  <a:lnTo>
                    <a:pt x="188" y="128"/>
                  </a:lnTo>
                  <a:lnTo>
                    <a:pt x="188" y="130"/>
                  </a:lnTo>
                  <a:lnTo>
                    <a:pt x="182" y="146"/>
                  </a:lnTo>
                  <a:lnTo>
                    <a:pt x="182" y="148"/>
                  </a:lnTo>
                  <a:lnTo>
                    <a:pt x="182" y="148"/>
                  </a:lnTo>
                  <a:lnTo>
                    <a:pt x="180" y="148"/>
                  </a:lnTo>
                  <a:lnTo>
                    <a:pt x="180" y="150"/>
                  </a:lnTo>
                  <a:lnTo>
                    <a:pt x="178" y="152"/>
                  </a:lnTo>
                  <a:lnTo>
                    <a:pt x="178" y="152"/>
                  </a:lnTo>
                  <a:lnTo>
                    <a:pt x="178" y="152"/>
                  </a:lnTo>
                  <a:lnTo>
                    <a:pt x="176" y="152"/>
                  </a:lnTo>
                  <a:lnTo>
                    <a:pt x="176" y="152"/>
                  </a:lnTo>
                  <a:lnTo>
                    <a:pt x="174" y="152"/>
                  </a:lnTo>
                  <a:lnTo>
                    <a:pt x="174" y="152"/>
                  </a:lnTo>
                  <a:lnTo>
                    <a:pt x="174" y="150"/>
                  </a:lnTo>
                  <a:lnTo>
                    <a:pt x="174" y="150"/>
                  </a:lnTo>
                  <a:lnTo>
                    <a:pt x="174" y="150"/>
                  </a:lnTo>
                  <a:lnTo>
                    <a:pt x="174" y="150"/>
                  </a:lnTo>
                  <a:lnTo>
                    <a:pt x="172" y="150"/>
                  </a:lnTo>
                  <a:lnTo>
                    <a:pt x="172" y="148"/>
                  </a:lnTo>
                  <a:lnTo>
                    <a:pt x="172" y="148"/>
                  </a:lnTo>
                  <a:lnTo>
                    <a:pt x="172" y="148"/>
                  </a:lnTo>
                  <a:lnTo>
                    <a:pt x="172" y="148"/>
                  </a:lnTo>
                  <a:lnTo>
                    <a:pt x="172" y="148"/>
                  </a:lnTo>
                  <a:lnTo>
                    <a:pt x="170" y="148"/>
                  </a:lnTo>
                  <a:lnTo>
                    <a:pt x="170" y="148"/>
                  </a:lnTo>
                  <a:lnTo>
                    <a:pt x="168" y="148"/>
                  </a:lnTo>
                  <a:lnTo>
                    <a:pt x="168" y="148"/>
                  </a:lnTo>
                  <a:lnTo>
                    <a:pt x="168" y="148"/>
                  </a:lnTo>
                  <a:lnTo>
                    <a:pt x="168" y="146"/>
                  </a:lnTo>
                  <a:lnTo>
                    <a:pt x="166" y="148"/>
                  </a:lnTo>
                  <a:lnTo>
                    <a:pt x="166" y="148"/>
                  </a:lnTo>
                  <a:lnTo>
                    <a:pt x="166" y="148"/>
                  </a:lnTo>
                  <a:lnTo>
                    <a:pt x="164" y="150"/>
                  </a:lnTo>
                  <a:lnTo>
                    <a:pt x="162" y="150"/>
                  </a:lnTo>
                  <a:lnTo>
                    <a:pt x="160" y="150"/>
                  </a:lnTo>
                  <a:lnTo>
                    <a:pt x="160" y="150"/>
                  </a:lnTo>
                  <a:lnTo>
                    <a:pt x="158" y="152"/>
                  </a:lnTo>
                  <a:lnTo>
                    <a:pt x="156" y="154"/>
                  </a:lnTo>
                  <a:lnTo>
                    <a:pt x="154" y="154"/>
                  </a:lnTo>
                  <a:lnTo>
                    <a:pt x="154" y="154"/>
                  </a:lnTo>
                  <a:lnTo>
                    <a:pt x="151" y="156"/>
                  </a:lnTo>
                  <a:lnTo>
                    <a:pt x="149" y="160"/>
                  </a:lnTo>
                  <a:lnTo>
                    <a:pt x="147" y="162"/>
                  </a:lnTo>
                  <a:lnTo>
                    <a:pt x="147" y="164"/>
                  </a:lnTo>
                  <a:lnTo>
                    <a:pt x="147" y="164"/>
                  </a:lnTo>
                  <a:lnTo>
                    <a:pt x="145" y="166"/>
                  </a:lnTo>
                  <a:lnTo>
                    <a:pt x="145" y="168"/>
                  </a:lnTo>
                  <a:lnTo>
                    <a:pt x="145" y="168"/>
                  </a:lnTo>
                  <a:lnTo>
                    <a:pt x="145" y="168"/>
                  </a:lnTo>
                  <a:lnTo>
                    <a:pt x="145" y="168"/>
                  </a:lnTo>
                  <a:lnTo>
                    <a:pt x="141" y="173"/>
                  </a:lnTo>
                  <a:lnTo>
                    <a:pt x="139" y="173"/>
                  </a:lnTo>
                  <a:lnTo>
                    <a:pt x="139" y="173"/>
                  </a:lnTo>
                  <a:lnTo>
                    <a:pt x="139" y="173"/>
                  </a:lnTo>
                  <a:lnTo>
                    <a:pt x="139" y="173"/>
                  </a:lnTo>
                  <a:lnTo>
                    <a:pt x="137" y="173"/>
                  </a:lnTo>
                  <a:lnTo>
                    <a:pt x="137" y="173"/>
                  </a:lnTo>
                  <a:lnTo>
                    <a:pt x="137" y="173"/>
                  </a:lnTo>
                  <a:lnTo>
                    <a:pt x="137" y="173"/>
                  </a:lnTo>
                  <a:lnTo>
                    <a:pt x="137" y="171"/>
                  </a:lnTo>
                  <a:lnTo>
                    <a:pt x="135" y="171"/>
                  </a:lnTo>
                  <a:lnTo>
                    <a:pt x="135" y="171"/>
                  </a:lnTo>
                  <a:lnTo>
                    <a:pt x="135" y="168"/>
                  </a:lnTo>
                  <a:lnTo>
                    <a:pt x="135" y="168"/>
                  </a:lnTo>
                  <a:lnTo>
                    <a:pt x="135" y="166"/>
                  </a:lnTo>
                  <a:lnTo>
                    <a:pt x="135" y="166"/>
                  </a:lnTo>
                  <a:lnTo>
                    <a:pt x="135" y="166"/>
                  </a:lnTo>
                  <a:lnTo>
                    <a:pt x="135" y="166"/>
                  </a:lnTo>
                  <a:lnTo>
                    <a:pt x="133" y="164"/>
                  </a:lnTo>
                  <a:lnTo>
                    <a:pt x="133" y="164"/>
                  </a:lnTo>
                  <a:lnTo>
                    <a:pt x="133" y="164"/>
                  </a:lnTo>
                  <a:lnTo>
                    <a:pt x="131" y="164"/>
                  </a:lnTo>
                  <a:lnTo>
                    <a:pt x="129" y="166"/>
                  </a:lnTo>
                  <a:lnTo>
                    <a:pt x="127" y="168"/>
                  </a:lnTo>
                  <a:lnTo>
                    <a:pt x="121" y="173"/>
                  </a:lnTo>
                  <a:lnTo>
                    <a:pt x="121" y="173"/>
                  </a:lnTo>
                  <a:lnTo>
                    <a:pt x="121" y="173"/>
                  </a:lnTo>
                  <a:lnTo>
                    <a:pt x="121" y="173"/>
                  </a:lnTo>
                  <a:lnTo>
                    <a:pt x="121" y="175"/>
                  </a:lnTo>
                  <a:lnTo>
                    <a:pt x="121" y="175"/>
                  </a:lnTo>
                  <a:lnTo>
                    <a:pt x="121" y="175"/>
                  </a:lnTo>
                  <a:lnTo>
                    <a:pt x="119" y="177"/>
                  </a:lnTo>
                  <a:lnTo>
                    <a:pt x="119" y="177"/>
                  </a:lnTo>
                  <a:lnTo>
                    <a:pt x="119" y="179"/>
                  </a:lnTo>
                  <a:lnTo>
                    <a:pt x="119" y="179"/>
                  </a:lnTo>
                  <a:lnTo>
                    <a:pt x="119" y="179"/>
                  </a:lnTo>
                  <a:lnTo>
                    <a:pt x="119" y="179"/>
                  </a:lnTo>
                  <a:lnTo>
                    <a:pt x="117" y="179"/>
                  </a:lnTo>
                  <a:lnTo>
                    <a:pt x="117" y="179"/>
                  </a:lnTo>
                  <a:lnTo>
                    <a:pt x="115" y="179"/>
                  </a:lnTo>
                  <a:lnTo>
                    <a:pt x="115" y="179"/>
                  </a:lnTo>
                  <a:lnTo>
                    <a:pt x="113" y="179"/>
                  </a:lnTo>
                  <a:lnTo>
                    <a:pt x="113" y="179"/>
                  </a:lnTo>
                  <a:lnTo>
                    <a:pt x="111" y="179"/>
                  </a:lnTo>
                  <a:lnTo>
                    <a:pt x="111" y="179"/>
                  </a:lnTo>
                  <a:lnTo>
                    <a:pt x="111" y="179"/>
                  </a:lnTo>
                  <a:lnTo>
                    <a:pt x="108" y="181"/>
                  </a:lnTo>
                  <a:lnTo>
                    <a:pt x="108" y="181"/>
                  </a:lnTo>
                  <a:lnTo>
                    <a:pt x="108" y="181"/>
                  </a:lnTo>
                  <a:lnTo>
                    <a:pt x="108" y="181"/>
                  </a:lnTo>
                  <a:lnTo>
                    <a:pt x="108" y="183"/>
                  </a:lnTo>
                  <a:lnTo>
                    <a:pt x="108" y="183"/>
                  </a:lnTo>
                  <a:lnTo>
                    <a:pt x="111" y="183"/>
                  </a:lnTo>
                  <a:lnTo>
                    <a:pt x="111" y="185"/>
                  </a:lnTo>
                  <a:lnTo>
                    <a:pt x="111" y="185"/>
                  </a:lnTo>
                  <a:lnTo>
                    <a:pt x="111" y="187"/>
                  </a:lnTo>
                  <a:lnTo>
                    <a:pt x="111" y="187"/>
                  </a:lnTo>
                  <a:lnTo>
                    <a:pt x="111" y="189"/>
                  </a:lnTo>
                  <a:lnTo>
                    <a:pt x="111" y="189"/>
                  </a:lnTo>
                  <a:lnTo>
                    <a:pt x="111" y="189"/>
                  </a:lnTo>
                  <a:lnTo>
                    <a:pt x="108" y="191"/>
                  </a:lnTo>
                  <a:lnTo>
                    <a:pt x="108" y="195"/>
                  </a:lnTo>
                  <a:lnTo>
                    <a:pt x="106" y="197"/>
                  </a:lnTo>
                  <a:lnTo>
                    <a:pt x="104" y="197"/>
                  </a:lnTo>
                  <a:lnTo>
                    <a:pt x="104" y="197"/>
                  </a:lnTo>
                  <a:lnTo>
                    <a:pt x="102" y="197"/>
                  </a:lnTo>
                  <a:lnTo>
                    <a:pt x="100" y="197"/>
                  </a:lnTo>
                  <a:lnTo>
                    <a:pt x="98" y="197"/>
                  </a:lnTo>
                  <a:lnTo>
                    <a:pt x="98" y="197"/>
                  </a:lnTo>
                  <a:lnTo>
                    <a:pt x="98" y="199"/>
                  </a:lnTo>
                  <a:lnTo>
                    <a:pt x="94" y="201"/>
                  </a:lnTo>
                  <a:lnTo>
                    <a:pt x="90" y="203"/>
                  </a:lnTo>
                  <a:lnTo>
                    <a:pt x="90" y="203"/>
                  </a:lnTo>
                  <a:lnTo>
                    <a:pt x="90" y="203"/>
                  </a:lnTo>
                  <a:lnTo>
                    <a:pt x="88" y="205"/>
                  </a:lnTo>
                  <a:lnTo>
                    <a:pt x="86" y="207"/>
                  </a:lnTo>
                  <a:lnTo>
                    <a:pt x="84" y="207"/>
                  </a:lnTo>
                  <a:lnTo>
                    <a:pt x="84" y="207"/>
                  </a:lnTo>
                  <a:lnTo>
                    <a:pt x="84" y="209"/>
                  </a:lnTo>
                  <a:lnTo>
                    <a:pt x="84" y="209"/>
                  </a:lnTo>
                  <a:lnTo>
                    <a:pt x="82" y="212"/>
                  </a:lnTo>
                  <a:lnTo>
                    <a:pt x="80" y="214"/>
                  </a:lnTo>
                  <a:lnTo>
                    <a:pt x="80" y="214"/>
                  </a:lnTo>
                  <a:lnTo>
                    <a:pt x="80" y="214"/>
                  </a:lnTo>
                  <a:lnTo>
                    <a:pt x="78" y="214"/>
                  </a:lnTo>
                  <a:lnTo>
                    <a:pt x="78" y="214"/>
                  </a:lnTo>
                  <a:lnTo>
                    <a:pt x="78" y="216"/>
                  </a:lnTo>
                  <a:lnTo>
                    <a:pt x="76" y="216"/>
                  </a:lnTo>
                  <a:lnTo>
                    <a:pt x="76" y="218"/>
                  </a:lnTo>
                  <a:lnTo>
                    <a:pt x="74" y="218"/>
                  </a:lnTo>
                  <a:lnTo>
                    <a:pt x="74" y="220"/>
                  </a:lnTo>
                  <a:lnTo>
                    <a:pt x="70" y="222"/>
                  </a:lnTo>
                  <a:lnTo>
                    <a:pt x="68" y="222"/>
                  </a:lnTo>
                  <a:lnTo>
                    <a:pt x="68" y="224"/>
                  </a:lnTo>
                  <a:lnTo>
                    <a:pt x="68" y="224"/>
                  </a:lnTo>
                  <a:lnTo>
                    <a:pt x="65" y="226"/>
                  </a:lnTo>
                  <a:lnTo>
                    <a:pt x="65" y="228"/>
                  </a:lnTo>
                  <a:lnTo>
                    <a:pt x="63" y="228"/>
                  </a:lnTo>
                  <a:lnTo>
                    <a:pt x="59" y="230"/>
                  </a:lnTo>
                  <a:lnTo>
                    <a:pt x="57" y="230"/>
                  </a:lnTo>
                  <a:lnTo>
                    <a:pt x="57" y="230"/>
                  </a:lnTo>
                  <a:lnTo>
                    <a:pt x="57" y="230"/>
                  </a:lnTo>
                  <a:lnTo>
                    <a:pt x="57" y="228"/>
                  </a:lnTo>
                  <a:lnTo>
                    <a:pt x="55" y="228"/>
                  </a:lnTo>
                  <a:lnTo>
                    <a:pt x="55" y="228"/>
                  </a:lnTo>
                  <a:lnTo>
                    <a:pt x="55" y="228"/>
                  </a:lnTo>
                  <a:lnTo>
                    <a:pt x="53" y="230"/>
                  </a:lnTo>
                  <a:lnTo>
                    <a:pt x="51" y="230"/>
                  </a:lnTo>
                  <a:lnTo>
                    <a:pt x="51" y="230"/>
                  </a:lnTo>
                  <a:lnTo>
                    <a:pt x="51" y="230"/>
                  </a:lnTo>
                  <a:lnTo>
                    <a:pt x="51" y="230"/>
                  </a:lnTo>
                  <a:lnTo>
                    <a:pt x="49" y="230"/>
                  </a:lnTo>
                  <a:lnTo>
                    <a:pt x="49" y="230"/>
                  </a:lnTo>
                  <a:lnTo>
                    <a:pt x="49" y="230"/>
                  </a:lnTo>
                  <a:lnTo>
                    <a:pt x="47" y="230"/>
                  </a:lnTo>
                  <a:lnTo>
                    <a:pt x="47" y="230"/>
                  </a:lnTo>
                  <a:lnTo>
                    <a:pt x="45" y="230"/>
                  </a:lnTo>
                  <a:lnTo>
                    <a:pt x="43" y="230"/>
                  </a:lnTo>
                  <a:lnTo>
                    <a:pt x="43" y="232"/>
                  </a:lnTo>
                  <a:lnTo>
                    <a:pt x="41" y="232"/>
                  </a:lnTo>
                  <a:lnTo>
                    <a:pt x="39" y="234"/>
                  </a:lnTo>
                  <a:lnTo>
                    <a:pt x="37" y="236"/>
                  </a:lnTo>
                  <a:lnTo>
                    <a:pt x="37" y="236"/>
                  </a:lnTo>
                  <a:lnTo>
                    <a:pt x="37" y="236"/>
                  </a:lnTo>
                  <a:lnTo>
                    <a:pt x="33" y="238"/>
                  </a:lnTo>
                  <a:lnTo>
                    <a:pt x="33" y="238"/>
                  </a:lnTo>
                  <a:lnTo>
                    <a:pt x="31" y="238"/>
                  </a:lnTo>
                  <a:lnTo>
                    <a:pt x="31" y="238"/>
                  </a:lnTo>
                  <a:lnTo>
                    <a:pt x="31" y="242"/>
                  </a:lnTo>
                  <a:lnTo>
                    <a:pt x="29" y="242"/>
                  </a:lnTo>
                  <a:lnTo>
                    <a:pt x="29" y="244"/>
                  </a:lnTo>
                  <a:lnTo>
                    <a:pt x="29" y="244"/>
                  </a:lnTo>
                  <a:lnTo>
                    <a:pt x="25" y="246"/>
                  </a:lnTo>
                  <a:lnTo>
                    <a:pt x="25" y="246"/>
                  </a:lnTo>
                  <a:lnTo>
                    <a:pt x="25" y="246"/>
                  </a:lnTo>
                  <a:lnTo>
                    <a:pt x="22" y="248"/>
                  </a:lnTo>
                  <a:lnTo>
                    <a:pt x="22" y="250"/>
                  </a:lnTo>
                  <a:lnTo>
                    <a:pt x="22" y="250"/>
                  </a:lnTo>
                  <a:lnTo>
                    <a:pt x="22" y="250"/>
                  </a:lnTo>
                  <a:lnTo>
                    <a:pt x="22" y="250"/>
                  </a:lnTo>
                  <a:lnTo>
                    <a:pt x="22" y="253"/>
                  </a:lnTo>
                  <a:lnTo>
                    <a:pt x="22" y="253"/>
                  </a:lnTo>
                  <a:lnTo>
                    <a:pt x="22" y="255"/>
                  </a:lnTo>
                  <a:lnTo>
                    <a:pt x="22" y="255"/>
                  </a:lnTo>
                  <a:lnTo>
                    <a:pt x="22" y="255"/>
                  </a:lnTo>
                  <a:lnTo>
                    <a:pt x="20" y="257"/>
                  </a:lnTo>
                  <a:lnTo>
                    <a:pt x="20" y="259"/>
                  </a:lnTo>
                  <a:lnTo>
                    <a:pt x="20" y="259"/>
                  </a:lnTo>
                  <a:lnTo>
                    <a:pt x="20" y="259"/>
                  </a:lnTo>
                  <a:lnTo>
                    <a:pt x="20" y="263"/>
                  </a:lnTo>
                  <a:lnTo>
                    <a:pt x="20" y="265"/>
                  </a:lnTo>
                  <a:lnTo>
                    <a:pt x="20" y="265"/>
                  </a:lnTo>
                  <a:lnTo>
                    <a:pt x="18" y="267"/>
                  </a:lnTo>
                  <a:lnTo>
                    <a:pt x="18" y="267"/>
                  </a:lnTo>
                  <a:lnTo>
                    <a:pt x="16" y="269"/>
                  </a:lnTo>
                  <a:lnTo>
                    <a:pt x="16" y="269"/>
                  </a:lnTo>
                  <a:lnTo>
                    <a:pt x="14" y="269"/>
                  </a:lnTo>
                  <a:lnTo>
                    <a:pt x="10" y="269"/>
                  </a:lnTo>
                  <a:lnTo>
                    <a:pt x="8" y="271"/>
                  </a:lnTo>
                  <a:lnTo>
                    <a:pt x="8" y="271"/>
                  </a:lnTo>
                  <a:lnTo>
                    <a:pt x="8" y="269"/>
                  </a:lnTo>
                  <a:lnTo>
                    <a:pt x="8" y="269"/>
                  </a:lnTo>
                  <a:lnTo>
                    <a:pt x="6" y="269"/>
                  </a:lnTo>
                  <a:lnTo>
                    <a:pt x="6" y="269"/>
                  </a:lnTo>
                  <a:lnTo>
                    <a:pt x="6" y="269"/>
                  </a:lnTo>
                  <a:lnTo>
                    <a:pt x="4" y="269"/>
                  </a:lnTo>
                  <a:lnTo>
                    <a:pt x="4" y="271"/>
                  </a:lnTo>
                  <a:lnTo>
                    <a:pt x="2" y="271"/>
                  </a:lnTo>
                  <a:lnTo>
                    <a:pt x="2" y="273"/>
                  </a:lnTo>
                  <a:lnTo>
                    <a:pt x="0" y="273"/>
                  </a:lnTo>
                  <a:lnTo>
                    <a:pt x="0" y="275"/>
                  </a:lnTo>
                  <a:lnTo>
                    <a:pt x="0" y="275"/>
                  </a:lnTo>
                  <a:lnTo>
                    <a:pt x="0" y="277"/>
                  </a:lnTo>
                  <a:lnTo>
                    <a:pt x="0" y="279"/>
                  </a:lnTo>
                  <a:lnTo>
                    <a:pt x="0" y="283"/>
                  </a:lnTo>
                  <a:lnTo>
                    <a:pt x="0" y="289"/>
                  </a:lnTo>
                  <a:lnTo>
                    <a:pt x="0" y="296"/>
                  </a:lnTo>
                  <a:lnTo>
                    <a:pt x="2" y="300"/>
                  </a:lnTo>
                  <a:lnTo>
                    <a:pt x="8" y="300"/>
                  </a:lnTo>
                  <a:lnTo>
                    <a:pt x="14" y="298"/>
                  </a:lnTo>
                  <a:lnTo>
                    <a:pt x="20" y="298"/>
                  </a:lnTo>
                  <a:lnTo>
                    <a:pt x="29" y="296"/>
                  </a:lnTo>
                  <a:lnTo>
                    <a:pt x="35" y="296"/>
                  </a:lnTo>
                  <a:lnTo>
                    <a:pt x="47" y="293"/>
                  </a:lnTo>
                  <a:lnTo>
                    <a:pt x="55" y="291"/>
                  </a:lnTo>
                  <a:lnTo>
                    <a:pt x="61" y="291"/>
                  </a:lnTo>
                  <a:lnTo>
                    <a:pt x="68" y="289"/>
                  </a:lnTo>
                  <a:lnTo>
                    <a:pt x="74" y="287"/>
                  </a:lnTo>
                  <a:lnTo>
                    <a:pt x="80" y="287"/>
                  </a:lnTo>
                  <a:lnTo>
                    <a:pt x="88" y="285"/>
                  </a:lnTo>
                  <a:lnTo>
                    <a:pt x="94" y="285"/>
                  </a:lnTo>
                  <a:lnTo>
                    <a:pt x="100" y="283"/>
                  </a:lnTo>
                  <a:lnTo>
                    <a:pt x="106" y="283"/>
                  </a:lnTo>
                  <a:lnTo>
                    <a:pt x="108" y="283"/>
                  </a:lnTo>
                  <a:lnTo>
                    <a:pt x="133" y="271"/>
                  </a:lnTo>
                  <a:lnTo>
                    <a:pt x="135" y="269"/>
                  </a:lnTo>
                  <a:lnTo>
                    <a:pt x="137" y="269"/>
                  </a:lnTo>
                  <a:lnTo>
                    <a:pt x="137" y="271"/>
                  </a:lnTo>
                  <a:lnTo>
                    <a:pt x="137" y="271"/>
                  </a:lnTo>
                  <a:lnTo>
                    <a:pt x="137" y="271"/>
                  </a:lnTo>
                  <a:lnTo>
                    <a:pt x="139" y="269"/>
                  </a:lnTo>
                  <a:lnTo>
                    <a:pt x="139" y="269"/>
                  </a:lnTo>
                  <a:lnTo>
                    <a:pt x="141" y="267"/>
                  </a:lnTo>
                  <a:lnTo>
                    <a:pt x="141" y="267"/>
                  </a:lnTo>
                  <a:lnTo>
                    <a:pt x="143" y="265"/>
                  </a:lnTo>
                  <a:lnTo>
                    <a:pt x="143" y="265"/>
                  </a:lnTo>
                  <a:lnTo>
                    <a:pt x="143" y="265"/>
                  </a:lnTo>
                  <a:lnTo>
                    <a:pt x="143" y="263"/>
                  </a:lnTo>
                  <a:lnTo>
                    <a:pt x="143" y="263"/>
                  </a:lnTo>
                  <a:lnTo>
                    <a:pt x="145" y="263"/>
                  </a:lnTo>
                  <a:lnTo>
                    <a:pt x="145" y="263"/>
                  </a:lnTo>
                  <a:lnTo>
                    <a:pt x="147" y="263"/>
                  </a:lnTo>
                  <a:lnTo>
                    <a:pt x="149" y="261"/>
                  </a:lnTo>
                  <a:lnTo>
                    <a:pt x="154" y="259"/>
                  </a:lnTo>
                  <a:lnTo>
                    <a:pt x="154" y="259"/>
                  </a:lnTo>
                  <a:lnTo>
                    <a:pt x="158" y="257"/>
                  </a:lnTo>
                  <a:lnTo>
                    <a:pt x="158" y="257"/>
                  </a:lnTo>
                  <a:lnTo>
                    <a:pt x="158" y="257"/>
                  </a:lnTo>
                  <a:lnTo>
                    <a:pt x="160" y="257"/>
                  </a:lnTo>
                  <a:lnTo>
                    <a:pt x="160" y="257"/>
                  </a:lnTo>
                  <a:lnTo>
                    <a:pt x="160" y="255"/>
                  </a:lnTo>
                  <a:lnTo>
                    <a:pt x="164" y="255"/>
                  </a:lnTo>
                  <a:lnTo>
                    <a:pt x="164" y="255"/>
                  </a:lnTo>
                  <a:lnTo>
                    <a:pt x="164" y="255"/>
                  </a:lnTo>
                  <a:lnTo>
                    <a:pt x="164" y="253"/>
                  </a:lnTo>
                  <a:lnTo>
                    <a:pt x="164" y="253"/>
                  </a:lnTo>
                  <a:lnTo>
                    <a:pt x="166" y="250"/>
                  </a:lnTo>
                  <a:lnTo>
                    <a:pt x="166" y="250"/>
                  </a:lnTo>
                  <a:lnTo>
                    <a:pt x="168" y="250"/>
                  </a:lnTo>
                  <a:lnTo>
                    <a:pt x="168" y="250"/>
                  </a:lnTo>
                  <a:lnTo>
                    <a:pt x="168" y="250"/>
                  </a:lnTo>
                  <a:lnTo>
                    <a:pt x="168" y="250"/>
                  </a:lnTo>
                  <a:lnTo>
                    <a:pt x="168" y="250"/>
                  </a:lnTo>
                  <a:lnTo>
                    <a:pt x="168" y="250"/>
                  </a:lnTo>
                  <a:lnTo>
                    <a:pt x="170" y="250"/>
                  </a:lnTo>
                  <a:lnTo>
                    <a:pt x="170" y="250"/>
                  </a:lnTo>
                  <a:lnTo>
                    <a:pt x="176" y="250"/>
                  </a:lnTo>
                  <a:lnTo>
                    <a:pt x="182" y="248"/>
                  </a:lnTo>
                  <a:lnTo>
                    <a:pt x="182" y="248"/>
                  </a:lnTo>
                  <a:lnTo>
                    <a:pt x="186" y="248"/>
                  </a:lnTo>
                  <a:lnTo>
                    <a:pt x="190" y="248"/>
                  </a:lnTo>
                  <a:lnTo>
                    <a:pt x="194" y="248"/>
                  </a:lnTo>
                  <a:lnTo>
                    <a:pt x="201" y="246"/>
                  </a:lnTo>
                  <a:lnTo>
                    <a:pt x="207" y="246"/>
                  </a:lnTo>
                  <a:lnTo>
                    <a:pt x="215" y="244"/>
                  </a:lnTo>
                  <a:lnTo>
                    <a:pt x="223" y="244"/>
                  </a:lnTo>
                  <a:lnTo>
                    <a:pt x="229" y="244"/>
                  </a:lnTo>
                  <a:lnTo>
                    <a:pt x="237" y="242"/>
                  </a:lnTo>
                  <a:lnTo>
                    <a:pt x="246" y="242"/>
                  </a:lnTo>
                  <a:lnTo>
                    <a:pt x="254" y="240"/>
                  </a:lnTo>
                  <a:lnTo>
                    <a:pt x="260" y="240"/>
                  </a:lnTo>
                  <a:lnTo>
                    <a:pt x="268" y="240"/>
                  </a:lnTo>
                  <a:lnTo>
                    <a:pt x="272" y="238"/>
                  </a:lnTo>
                  <a:lnTo>
                    <a:pt x="278" y="238"/>
                  </a:lnTo>
                  <a:lnTo>
                    <a:pt x="283" y="238"/>
                  </a:lnTo>
                  <a:lnTo>
                    <a:pt x="285" y="238"/>
                  </a:lnTo>
                  <a:lnTo>
                    <a:pt x="285" y="238"/>
                  </a:lnTo>
                  <a:lnTo>
                    <a:pt x="285" y="238"/>
                  </a:lnTo>
                  <a:lnTo>
                    <a:pt x="287" y="238"/>
                  </a:lnTo>
                  <a:lnTo>
                    <a:pt x="287" y="238"/>
                  </a:lnTo>
                  <a:lnTo>
                    <a:pt x="287" y="238"/>
                  </a:lnTo>
                  <a:lnTo>
                    <a:pt x="287" y="240"/>
                  </a:lnTo>
                  <a:lnTo>
                    <a:pt x="287" y="240"/>
                  </a:lnTo>
                  <a:lnTo>
                    <a:pt x="287" y="240"/>
                  </a:lnTo>
                  <a:lnTo>
                    <a:pt x="287" y="240"/>
                  </a:lnTo>
                  <a:lnTo>
                    <a:pt x="287" y="244"/>
                  </a:lnTo>
                  <a:lnTo>
                    <a:pt x="287" y="244"/>
                  </a:lnTo>
                  <a:lnTo>
                    <a:pt x="287" y="244"/>
                  </a:lnTo>
                  <a:lnTo>
                    <a:pt x="287" y="244"/>
                  </a:lnTo>
                  <a:lnTo>
                    <a:pt x="287" y="244"/>
                  </a:lnTo>
                  <a:lnTo>
                    <a:pt x="287" y="246"/>
                  </a:lnTo>
                  <a:lnTo>
                    <a:pt x="287" y="246"/>
                  </a:lnTo>
                  <a:lnTo>
                    <a:pt x="287" y="246"/>
                  </a:lnTo>
                  <a:lnTo>
                    <a:pt x="289" y="246"/>
                  </a:lnTo>
                  <a:lnTo>
                    <a:pt x="289" y="246"/>
                  </a:lnTo>
                  <a:lnTo>
                    <a:pt x="289" y="246"/>
                  </a:lnTo>
                  <a:lnTo>
                    <a:pt x="295" y="240"/>
                  </a:lnTo>
                  <a:lnTo>
                    <a:pt x="295" y="240"/>
                  </a:lnTo>
                  <a:lnTo>
                    <a:pt x="297" y="240"/>
                  </a:lnTo>
                  <a:lnTo>
                    <a:pt x="297" y="240"/>
                  </a:lnTo>
                  <a:lnTo>
                    <a:pt x="297" y="240"/>
                  </a:lnTo>
                  <a:lnTo>
                    <a:pt x="301" y="244"/>
                  </a:lnTo>
                  <a:lnTo>
                    <a:pt x="307" y="248"/>
                  </a:lnTo>
                  <a:lnTo>
                    <a:pt x="311" y="255"/>
                  </a:lnTo>
                  <a:lnTo>
                    <a:pt x="311" y="255"/>
                  </a:lnTo>
                  <a:lnTo>
                    <a:pt x="311" y="255"/>
                  </a:lnTo>
                  <a:lnTo>
                    <a:pt x="313" y="267"/>
                  </a:lnTo>
                  <a:lnTo>
                    <a:pt x="313" y="267"/>
                  </a:lnTo>
                  <a:lnTo>
                    <a:pt x="313" y="267"/>
                  </a:lnTo>
                  <a:lnTo>
                    <a:pt x="313" y="267"/>
                  </a:lnTo>
                  <a:lnTo>
                    <a:pt x="315" y="267"/>
                  </a:lnTo>
                  <a:lnTo>
                    <a:pt x="319" y="267"/>
                  </a:lnTo>
                  <a:lnTo>
                    <a:pt x="319" y="267"/>
                  </a:lnTo>
                  <a:lnTo>
                    <a:pt x="321" y="267"/>
                  </a:lnTo>
                  <a:lnTo>
                    <a:pt x="326" y="267"/>
                  </a:lnTo>
                  <a:lnTo>
                    <a:pt x="332" y="265"/>
                  </a:lnTo>
                  <a:lnTo>
                    <a:pt x="338" y="265"/>
                  </a:lnTo>
                  <a:lnTo>
                    <a:pt x="346" y="263"/>
                  </a:lnTo>
                  <a:lnTo>
                    <a:pt x="354" y="261"/>
                  </a:lnTo>
                  <a:lnTo>
                    <a:pt x="362" y="261"/>
                  </a:lnTo>
                  <a:lnTo>
                    <a:pt x="371" y="259"/>
                  </a:lnTo>
                  <a:lnTo>
                    <a:pt x="379" y="259"/>
                  </a:lnTo>
                  <a:lnTo>
                    <a:pt x="385" y="257"/>
                  </a:lnTo>
                  <a:lnTo>
                    <a:pt x="393" y="257"/>
                  </a:lnTo>
                  <a:lnTo>
                    <a:pt x="397" y="255"/>
                  </a:lnTo>
                  <a:lnTo>
                    <a:pt x="401" y="255"/>
                  </a:lnTo>
                  <a:lnTo>
                    <a:pt x="405" y="255"/>
                  </a:lnTo>
                  <a:lnTo>
                    <a:pt x="405" y="253"/>
                  </a:lnTo>
                  <a:lnTo>
                    <a:pt x="410" y="253"/>
                  </a:lnTo>
                  <a:lnTo>
                    <a:pt x="412" y="253"/>
                  </a:lnTo>
                  <a:lnTo>
                    <a:pt x="414" y="253"/>
                  </a:lnTo>
                  <a:lnTo>
                    <a:pt x="418" y="255"/>
                  </a:lnTo>
                  <a:lnTo>
                    <a:pt x="424" y="261"/>
                  </a:lnTo>
                  <a:lnTo>
                    <a:pt x="430" y="265"/>
                  </a:lnTo>
                  <a:lnTo>
                    <a:pt x="438" y="269"/>
                  </a:lnTo>
                  <a:lnTo>
                    <a:pt x="450" y="279"/>
                  </a:lnTo>
                  <a:lnTo>
                    <a:pt x="465" y="289"/>
                  </a:lnTo>
                  <a:lnTo>
                    <a:pt x="471" y="293"/>
                  </a:lnTo>
                  <a:lnTo>
                    <a:pt x="479" y="298"/>
                  </a:lnTo>
                  <a:lnTo>
                    <a:pt x="485" y="304"/>
                  </a:lnTo>
                  <a:lnTo>
                    <a:pt x="491" y="308"/>
                  </a:lnTo>
                  <a:lnTo>
                    <a:pt x="500" y="312"/>
                  </a:lnTo>
                  <a:lnTo>
                    <a:pt x="506" y="318"/>
                  </a:lnTo>
                  <a:lnTo>
                    <a:pt x="514" y="322"/>
                  </a:lnTo>
                  <a:lnTo>
                    <a:pt x="520" y="326"/>
                  </a:lnTo>
                  <a:lnTo>
                    <a:pt x="526" y="332"/>
                  </a:lnTo>
                  <a:lnTo>
                    <a:pt x="528" y="330"/>
                  </a:lnTo>
                  <a:lnTo>
                    <a:pt x="530" y="330"/>
                  </a:lnTo>
                  <a:lnTo>
                    <a:pt x="528" y="332"/>
                  </a:lnTo>
                  <a:lnTo>
                    <a:pt x="528" y="332"/>
                  </a:lnTo>
                  <a:lnTo>
                    <a:pt x="537" y="328"/>
                  </a:lnTo>
                  <a:lnTo>
                    <a:pt x="541" y="326"/>
                  </a:lnTo>
                  <a:lnTo>
                    <a:pt x="543" y="324"/>
                  </a:lnTo>
                  <a:lnTo>
                    <a:pt x="543" y="320"/>
                  </a:lnTo>
                  <a:lnTo>
                    <a:pt x="545" y="320"/>
                  </a:lnTo>
                  <a:lnTo>
                    <a:pt x="545" y="322"/>
                  </a:lnTo>
                  <a:lnTo>
                    <a:pt x="545" y="324"/>
                  </a:lnTo>
                  <a:lnTo>
                    <a:pt x="545" y="324"/>
                  </a:lnTo>
                  <a:lnTo>
                    <a:pt x="547" y="324"/>
                  </a:lnTo>
                  <a:lnTo>
                    <a:pt x="555" y="322"/>
                  </a:lnTo>
                  <a:lnTo>
                    <a:pt x="557" y="322"/>
                  </a:lnTo>
                  <a:lnTo>
                    <a:pt x="557" y="322"/>
                  </a:lnTo>
                  <a:lnTo>
                    <a:pt x="563" y="320"/>
                  </a:lnTo>
                  <a:lnTo>
                    <a:pt x="565" y="320"/>
                  </a:lnTo>
                  <a:lnTo>
                    <a:pt x="573" y="322"/>
                  </a:lnTo>
                  <a:lnTo>
                    <a:pt x="573" y="322"/>
                  </a:lnTo>
                  <a:lnTo>
                    <a:pt x="575" y="320"/>
                  </a:lnTo>
                  <a:lnTo>
                    <a:pt x="575" y="320"/>
                  </a:lnTo>
                  <a:lnTo>
                    <a:pt x="577" y="314"/>
                  </a:lnTo>
                  <a:lnTo>
                    <a:pt x="580" y="310"/>
                  </a:lnTo>
                  <a:lnTo>
                    <a:pt x="580" y="308"/>
                  </a:lnTo>
                  <a:lnTo>
                    <a:pt x="577" y="304"/>
                  </a:lnTo>
                  <a:lnTo>
                    <a:pt x="577" y="304"/>
                  </a:lnTo>
                  <a:lnTo>
                    <a:pt x="580" y="302"/>
                  </a:lnTo>
                  <a:lnTo>
                    <a:pt x="577" y="300"/>
                  </a:lnTo>
                  <a:lnTo>
                    <a:pt x="575" y="291"/>
                  </a:lnTo>
                  <a:lnTo>
                    <a:pt x="573" y="289"/>
                  </a:lnTo>
                  <a:lnTo>
                    <a:pt x="575" y="287"/>
                  </a:lnTo>
                  <a:lnTo>
                    <a:pt x="577" y="293"/>
                  </a:lnTo>
                  <a:lnTo>
                    <a:pt x="580" y="296"/>
                  </a:lnTo>
                  <a:lnTo>
                    <a:pt x="580" y="300"/>
                  </a:lnTo>
                  <a:lnTo>
                    <a:pt x="582" y="308"/>
                  </a:lnTo>
                  <a:lnTo>
                    <a:pt x="582" y="312"/>
                  </a:lnTo>
                  <a:lnTo>
                    <a:pt x="582" y="312"/>
                  </a:lnTo>
                  <a:lnTo>
                    <a:pt x="582" y="312"/>
                  </a:lnTo>
                  <a:lnTo>
                    <a:pt x="582" y="314"/>
                  </a:lnTo>
                  <a:lnTo>
                    <a:pt x="582" y="316"/>
                  </a:lnTo>
                  <a:lnTo>
                    <a:pt x="584" y="312"/>
                  </a:lnTo>
                  <a:lnTo>
                    <a:pt x="584" y="306"/>
                  </a:lnTo>
                  <a:lnTo>
                    <a:pt x="584" y="293"/>
                  </a:lnTo>
                  <a:lnTo>
                    <a:pt x="584" y="291"/>
                  </a:lnTo>
                  <a:lnTo>
                    <a:pt x="586" y="287"/>
                  </a:lnTo>
                  <a:lnTo>
                    <a:pt x="586" y="285"/>
                  </a:lnTo>
                  <a:lnTo>
                    <a:pt x="586" y="283"/>
                  </a:lnTo>
                  <a:lnTo>
                    <a:pt x="588" y="279"/>
                  </a:lnTo>
                  <a:lnTo>
                    <a:pt x="592" y="271"/>
                  </a:lnTo>
                  <a:lnTo>
                    <a:pt x="596" y="263"/>
                  </a:lnTo>
                  <a:lnTo>
                    <a:pt x="606" y="253"/>
                  </a:lnTo>
                  <a:lnTo>
                    <a:pt x="612" y="246"/>
                  </a:lnTo>
                  <a:lnTo>
                    <a:pt x="616" y="244"/>
                  </a:lnTo>
                  <a:lnTo>
                    <a:pt x="616" y="242"/>
                  </a:lnTo>
                  <a:lnTo>
                    <a:pt x="618" y="242"/>
                  </a:lnTo>
                  <a:lnTo>
                    <a:pt x="618" y="242"/>
                  </a:lnTo>
                  <a:lnTo>
                    <a:pt x="616" y="242"/>
                  </a:lnTo>
                  <a:lnTo>
                    <a:pt x="616" y="240"/>
                  </a:lnTo>
                  <a:lnTo>
                    <a:pt x="618" y="240"/>
                  </a:lnTo>
                  <a:lnTo>
                    <a:pt x="616" y="238"/>
                  </a:lnTo>
                  <a:lnTo>
                    <a:pt x="614" y="238"/>
                  </a:lnTo>
                  <a:lnTo>
                    <a:pt x="614" y="238"/>
                  </a:lnTo>
                  <a:lnTo>
                    <a:pt x="612" y="238"/>
                  </a:lnTo>
                  <a:lnTo>
                    <a:pt x="612" y="236"/>
                  </a:lnTo>
                  <a:lnTo>
                    <a:pt x="610" y="236"/>
                  </a:lnTo>
                  <a:lnTo>
                    <a:pt x="610" y="236"/>
                  </a:lnTo>
                  <a:lnTo>
                    <a:pt x="610" y="234"/>
                  </a:lnTo>
                  <a:lnTo>
                    <a:pt x="610" y="234"/>
                  </a:lnTo>
                  <a:lnTo>
                    <a:pt x="612" y="234"/>
                  </a:lnTo>
                  <a:lnTo>
                    <a:pt x="612" y="234"/>
                  </a:lnTo>
                  <a:lnTo>
                    <a:pt x="612" y="234"/>
                  </a:lnTo>
                  <a:lnTo>
                    <a:pt x="614" y="232"/>
                  </a:lnTo>
                  <a:lnTo>
                    <a:pt x="614" y="232"/>
                  </a:lnTo>
                  <a:lnTo>
                    <a:pt x="614" y="228"/>
                  </a:lnTo>
                  <a:lnTo>
                    <a:pt x="614" y="228"/>
                  </a:lnTo>
                  <a:lnTo>
                    <a:pt x="612" y="226"/>
                  </a:lnTo>
                  <a:lnTo>
                    <a:pt x="612" y="226"/>
                  </a:lnTo>
                  <a:lnTo>
                    <a:pt x="610" y="226"/>
                  </a:lnTo>
                  <a:lnTo>
                    <a:pt x="610" y="226"/>
                  </a:lnTo>
                  <a:lnTo>
                    <a:pt x="608" y="220"/>
                  </a:lnTo>
                  <a:lnTo>
                    <a:pt x="610" y="222"/>
                  </a:lnTo>
                  <a:lnTo>
                    <a:pt x="610" y="222"/>
                  </a:lnTo>
                  <a:lnTo>
                    <a:pt x="610" y="220"/>
                  </a:lnTo>
                  <a:lnTo>
                    <a:pt x="612" y="220"/>
                  </a:lnTo>
                  <a:lnTo>
                    <a:pt x="612" y="222"/>
                  </a:lnTo>
                  <a:lnTo>
                    <a:pt x="614" y="222"/>
                  </a:lnTo>
                  <a:lnTo>
                    <a:pt x="614" y="222"/>
                  </a:lnTo>
                  <a:lnTo>
                    <a:pt x="612" y="222"/>
                  </a:lnTo>
                  <a:lnTo>
                    <a:pt x="612" y="224"/>
                  </a:lnTo>
                  <a:lnTo>
                    <a:pt x="614" y="224"/>
                  </a:lnTo>
                  <a:lnTo>
                    <a:pt x="618" y="228"/>
                  </a:lnTo>
                  <a:lnTo>
                    <a:pt x="618" y="228"/>
                  </a:lnTo>
                  <a:lnTo>
                    <a:pt x="618" y="230"/>
                  </a:lnTo>
                  <a:lnTo>
                    <a:pt x="616" y="234"/>
                  </a:lnTo>
                  <a:lnTo>
                    <a:pt x="614" y="236"/>
                  </a:lnTo>
                  <a:lnTo>
                    <a:pt x="618" y="236"/>
                  </a:lnTo>
                  <a:lnTo>
                    <a:pt x="618" y="236"/>
                  </a:lnTo>
                  <a:lnTo>
                    <a:pt x="618" y="236"/>
                  </a:lnTo>
                  <a:lnTo>
                    <a:pt x="620" y="238"/>
                  </a:lnTo>
                  <a:lnTo>
                    <a:pt x="623" y="238"/>
                  </a:lnTo>
                  <a:lnTo>
                    <a:pt x="625" y="236"/>
                  </a:lnTo>
                  <a:lnTo>
                    <a:pt x="625" y="234"/>
                  </a:lnTo>
                  <a:lnTo>
                    <a:pt x="627" y="234"/>
                  </a:lnTo>
                  <a:lnTo>
                    <a:pt x="631" y="226"/>
                  </a:lnTo>
                  <a:lnTo>
                    <a:pt x="633" y="224"/>
                  </a:lnTo>
                  <a:lnTo>
                    <a:pt x="633" y="224"/>
                  </a:lnTo>
                  <a:lnTo>
                    <a:pt x="633" y="222"/>
                  </a:lnTo>
                  <a:lnTo>
                    <a:pt x="633" y="222"/>
                  </a:lnTo>
                  <a:lnTo>
                    <a:pt x="633" y="222"/>
                  </a:lnTo>
                  <a:lnTo>
                    <a:pt x="633" y="222"/>
                  </a:lnTo>
                  <a:lnTo>
                    <a:pt x="635" y="222"/>
                  </a:lnTo>
                  <a:lnTo>
                    <a:pt x="635" y="222"/>
                  </a:lnTo>
                  <a:lnTo>
                    <a:pt x="635" y="222"/>
                  </a:lnTo>
                  <a:lnTo>
                    <a:pt x="637" y="220"/>
                  </a:lnTo>
                  <a:lnTo>
                    <a:pt x="637" y="218"/>
                  </a:lnTo>
                  <a:lnTo>
                    <a:pt x="637" y="218"/>
                  </a:lnTo>
                  <a:lnTo>
                    <a:pt x="635" y="216"/>
                  </a:lnTo>
                  <a:lnTo>
                    <a:pt x="635" y="216"/>
                  </a:lnTo>
                  <a:lnTo>
                    <a:pt x="635" y="214"/>
                  </a:lnTo>
                  <a:lnTo>
                    <a:pt x="637" y="214"/>
                  </a:lnTo>
                  <a:lnTo>
                    <a:pt x="637" y="214"/>
                  </a:lnTo>
                  <a:lnTo>
                    <a:pt x="637" y="216"/>
                  </a:lnTo>
                  <a:lnTo>
                    <a:pt x="639" y="218"/>
                  </a:lnTo>
                  <a:lnTo>
                    <a:pt x="639" y="220"/>
                  </a:lnTo>
                  <a:lnTo>
                    <a:pt x="639" y="222"/>
                  </a:lnTo>
                  <a:lnTo>
                    <a:pt x="639" y="222"/>
                  </a:lnTo>
                  <a:lnTo>
                    <a:pt x="641" y="222"/>
                  </a:lnTo>
                  <a:lnTo>
                    <a:pt x="641" y="220"/>
                  </a:lnTo>
                  <a:lnTo>
                    <a:pt x="653" y="214"/>
                  </a:lnTo>
                  <a:lnTo>
                    <a:pt x="655" y="212"/>
                  </a:lnTo>
                  <a:lnTo>
                    <a:pt x="672" y="209"/>
                  </a:lnTo>
                  <a:lnTo>
                    <a:pt x="672" y="207"/>
                  </a:lnTo>
                  <a:lnTo>
                    <a:pt x="670" y="205"/>
                  </a:lnTo>
                  <a:lnTo>
                    <a:pt x="670" y="205"/>
                  </a:lnTo>
                  <a:lnTo>
                    <a:pt x="668" y="207"/>
                  </a:lnTo>
                  <a:lnTo>
                    <a:pt x="668" y="207"/>
                  </a:lnTo>
                  <a:lnTo>
                    <a:pt x="666" y="207"/>
                  </a:lnTo>
                  <a:lnTo>
                    <a:pt x="668" y="205"/>
                  </a:lnTo>
                  <a:lnTo>
                    <a:pt x="668" y="203"/>
                  </a:lnTo>
                  <a:lnTo>
                    <a:pt x="670" y="201"/>
                  </a:lnTo>
                  <a:lnTo>
                    <a:pt x="672" y="201"/>
                  </a:lnTo>
                  <a:lnTo>
                    <a:pt x="674" y="201"/>
                  </a:lnTo>
                  <a:lnTo>
                    <a:pt x="674" y="203"/>
                  </a:lnTo>
                  <a:lnTo>
                    <a:pt x="676" y="207"/>
                  </a:lnTo>
                  <a:lnTo>
                    <a:pt x="676" y="209"/>
                  </a:lnTo>
                  <a:lnTo>
                    <a:pt x="680" y="209"/>
                  </a:lnTo>
                  <a:lnTo>
                    <a:pt x="680" y="207"/>
                  </a:lnTo>
                  <a:lnTo>
                    <a:pt x="678" y="197"/>
                  </a:lnTo>
                  <a:lnTo>
                    <a:pt x="678" y="197"/>
                  </a:lnTo>
                  <a:lnTo>
                    <a:pt x="680" y="199"/>
                  </a:lnTo>
                  <a:lnTo>
                    <a:pt x="682" y="201"/>
                  </a:lnTo>
                  <a:lnTo>
                    <a:pt x="682" y="203"/>
                  </a:lnTo>
                  <a:lnTo>
                    <a:pt x="682" y="203"/>
                  </a:lnTo>
                  <a:lnTo>
                    <a:pt x="684" y="205"/>
                  </a:lnTo>
                  <a:lnTo>
                    <a:pt x="686" y="205"/>
                  </a:lnTo>
                  <a:lnTo>
                    <a:pt x="688" y="205"/>
                  </a:lnTo>
                  <a:lnTo>
                    <a:pt x="688" y="205"/>
                  </a:lnTo>
                  <a:lnTo>
                    <a:pt x="690" y="203"/>
                  </a:lnTo>
                  <a:lnTo>
                    <a:pt x="690" y="203"/>
                  </a:lnTo>
                  <a:lnTo>
                    <a:pt x="690" y="201"/>
                  </a:lnTo>
                  <a:lnTo>
                    <a:pt x="688" y="201"/>
                  </a:lnTo>
                  <a:lnTo>
                    <a:pt x="688" y="201"/>
                  </a:lnTo>
                  <a:lnTo>
                    <a:pt x="690" y="199"/>
                  </a:lnTo>
                  <a:lnTo>
                    <a:pt x="690" y="199"/>
                  </a:lnTo>
                  <a:lnTo>
                    <a:pt x="690" y="199"/>
                  </a:lnTo>
                  <a:lnTo>
                    <a:pt x="690" y="199"/>
                  </a:lnTo>
                  <a:lnTo>
                    <a:pt x="692" y="195"/>
                  </a:lnTo>
                  <a:lnTo>
                    <a:pt x="694" y="193"/>
                  </a:lnTo>
                  <a:lnTo>
                    <a:pt x="694" y="191"/>
                  </a:lnTo>
                  <a:lnTo>
                    <a:pt x="694" y="191"/>
                  </a:lnTo>
                  <a:lnTo>
                    <a:pt x="694" y="189"/>
                  </a:lnTo>
                  <a:lnTo>
                    <a:pt x="694" y="187"/>
                  </a:lnTo>
                  <a:lnTo>
                    <a:pt x="694" y="187"/>
                  </a:lnTo>
                  <a:lnTo>
                    <a:pt x="694" y="187"/>
                  </a:lnTo>
                  <a:lnTo>
                    <a:pt x="696" y="187"/>
                  </a:lnTo>
                  <a:lnTo>
                    <a:pt x="696" y="189"/>
                  </a:lnTo>
                  <a:lnTo>
                    <a:pt x="696" y="189"/>
                  </a:lnTo>
                  <a:lnTo>
                    <a:pt x="698" y="187"/>
                  </a:lnTo>
                  <a:lnTo>
                    <a:pt x="700" y="185"/>
                  </a:lnTo>
                  <a:lnTo>
                    <a:pt x="700" y="185"/>
                  </a:lnTo>
                  <a:lnTo>
                    <a:pt x="700" y="183"/>
                  </a:lnTo>
                  <a:lnTo>
                    <a:pt x="698" y="183"/>
                  </a:lnTo>
                  <a:lnTo>
                    <a:pt x="698" y="181"/>
                  </a:lnTo>
                  <a:lnTo>
                    <a:pt x="698" y="181"/>
                  </a:lnTo>
                  <a:lnTo>
                    <a:pt x="700" y="179"/>
                  </a:lnTo>
                  <a:lnTo>
                    <a:pt x="700" y="179"/>
                  </a:lnTo>
                  <a:lnTo>
                    <a:pt x="702" y="179"/>
                  </a:lnTo>
                  <a:lnTo>
                    <a:pt x="702" y="179"/>
                  </a:lnTo>
                  <a:lnTo>
                    <a:pt x="704" y="177"/>
                  </a:lnTo>
                  <a:lnTo>
                    <a:pt x="704" y="177"/>
                  </a:lnTo>
                  <a:lnTo>
                    <a:pt x="704" y="175"/>
                  </a:lnTo>
                  <a:lnTo>
                    <a:pt x="702" y="175"/>
                  </a:lnTo>
                  <a:lnTo>
                    <a:pt x="700" y="173"/>
                  </a:lnTo>
                  <a:lnTo>
                    <a:pt x="698" y="171"/>
                  </a:lnTo>
                  <a:lnTo>
                    <a:pt x="696" y="171"/>
                  </a:lnTo>
                  <a:lnTo>
                    <a:pt x="696" y="173"/>
                  </a:lnTo>
                  <a:lnTo>
                    <a:pt x="698" y="175"/>
                  </a:lnTo>
                  <a:lnTo>
                    <a:pt x="700" y="177"/>
                  </a:lnTo>
                  <a:lnTo>
                    <a:pt x="698" y="177"/>
                  </a:lnTo>
                  <a:lnTo>
                    <a:pt x="696" y="177"/>
                  </a:lnTo>
                  <a:lnTo>
                    <a:pt x="696" y="179"/>
                  </a:lnTo>
                  <a:lnTo>
                    <a:pt x="694" y="181"/>
                  </a:lnTo>
                  <a:lnTo>
                    <a:pt x="694" y="181"/>
                  </a:lnTo>
                  <a:lnTo>
                    <a:pt x="690" y="181"/>
                  </a:lnTo>
                  <a:lnTo>
                    <a:pt x="688" y="183"/>
                  </a:lnTo>
                  <a:lnTo>
                    <a:pt x="688" y="183"/>
                  </a:lnTo>
                  <a:lnTo>
                    <a:pt x="688" y="181"/>
                  </a:lnTo>
                  <a:lnTo>
                    <a:pt x="688" y="181"/>
                  </a:lnTo>
                  <a:lnTo>
                    <a:pt x="688" y="181"/>
                  </a:lnTo>
                  <a:lnTo>
                    <a:pt x="688" y="179"/>
                  </a:lnTo>
                  <a:lnTo>
                    <a:pt x="688" y="179"/>
                  </a:lnTo>
                  <a:lnTo>
                    <a:pt x="688" y="179"/>
                  </a:lnTo>
                  <a:lnTo>
                    <a:pt x="690" y="177"/>
                  </a:lnTo>
                  <a:lnTo>
                    <a:pt x="692" y="177"/>
                  </a:lnTo>
                  <a:lnTo>
                    <a:pt x="690" y="175"/>
                  </a:lnTo>
                  <a:lnTo>
                    <a:pt x="688" y="173"/>
                  </a:lnTo>
                  <a:lnTo>
                    <a:pt x="688" y="173"/>
                  </a:lnTo>
                  <a:lnTo>
                    <a:pt x="688" y="171"/>
                  </a:lnTo>
                  <a:lnTo>
                    <a:pt x="688" y="171"/>
                  </a:lnTo>
                  <a:lnTo>
                    <a:pt x="688" y="171"/>
                  </a:lnTo>
                  <a:lnTo>
                    <a:pt x="686" y="168"/>
                  </a:lnTo>
                  <a:lnTo>
                    <a:pt x="686" y="168"/>
                  </a:lnTo>
                  <a:lnTo>
                    <a:pt x="686" y="168"/>
                  </a:lnTo>
                  <a:lnTo>
                    <a:pt x="686" y="171"/>
                  </a:lnTo>
                  <a:lnTo>
                    <a:pt x="684" y="173"/>
                  </a:lnTo>
                  <a:lnTo>
                    <a:pt x="684" y="173"/>
                  </a:lnTo>
                  <a:lnTo>
                    <a:pt x="684" y="175"/>
                  </a:lnTo>
                  <a:lnTo>
                    <a:pt x="686" y="177"/>
                  </a:lnTo>
                  <a:lnTo>
                    <a:pt x="686" y="177"/>
                  </a:lnTo>
                  <a:lnTo>
                    <a:pt x="686" y="179"/>
                  </a:lnTo>
                  <a:lnTo>
                    <a:pt x="684" y="177"/>
                  </a:lnTo>
                  <a:lnTo>
                    <a:pt x="682" y="177"/>
                  </a:lnTo>
                  <a:lnTo>
                    <a:pt x="680" y="177"/>
                  </a:lnTo>
                  <a:lnTo>
                    <a:pt x="680" y="177"/>
                  </a:lnTo>
                  <a:lnTo>
                    <a:pt x="678" y="179"/>
                  </a:lnTo>
                  <a:lnTo>
                    <a:pt x="678" y="181"/>
                  </a:lnTo>
                  <a:lnTo>
                    <a:pt x="682" y="183"/>
                  </a:lnTo>
                  <a:lnTo>
                    <a:pt x="682" y="185"/>
                  </a:lnTo>
                  <a:lnTo>
                    <a:pt x="680" y="185"/>
                  </a:lnTo>
                  <a:lnTo>
                    <a:pt x="678" y="183"/>
                  </a:lnTo>
                  <a:lnTo>
                    <a:pt x="676" y="183"/>
                  </a:lnTo>
                  <a:lnTo>
                    <a:pt x="676" y="183"/>
                  </a:lnTo>
                  <a:lnTo>
                    <a:pt x="676" y="181"/>
                  </a:lnTo>
                  <a:lnTo>
                    <a:pt x="674" y="181"/>
                  </a:lnTo>
                  <a:lnTo>
                    <a:pt x="674" y="181"/>
                  </a:lnTo>
                  <a:lnTo>
                    <a:pt x="674" y="181"/>
                  </a:lnTo>
                  <a:lnTo>
                    <a:pt x="672" y="181"/>
                  </a:lnTo>
                  <a:lnTo>
                    <a:pt x="670" y="183"/>
                  </a:lnTo>
                  <a:lnTo>
                    <a:pt x="670" y="185"/>
                  </a:lnTo>
                  <a:lnTo>
                    <a:pt x="668" y="187"/>
                  </a:lnTo>
                  <a:lnTo>
                    <a:pt x="668" y="187"/>
                  </a:lnTo>
                  <a:lnTo>
                    <a:pt x="666" y="189"/>
                  </a:lnTo>
                  <a:lnTo>
                    <a:pt x="663" y="191"/>
                  </a:lnTo>
                  <a:lnTo>
                    <a:pt x="663" y="191"/>
                  </a:lnTo>
                  <a:lnTo>
                    <a:pt x="663" y="191"/>
                  </a:lnTo>
                  <a:lnTo>
                    <a:pt x="663" y="191"/>
                  </a:lnTo>
                  <a:lnTo>
                    <a:pt x="661" y="189"/>
                  </a:lnTo>
                  <a:lnTo>
                    <a:pt x="659" y="189"/>
                  </a:lnTo>
                  <a:lnTo>
                    <a:pt x="653" y="187"/>
                  </a:lnTo>
                  <a:lnTo>
                    <a:pt x="649" y="187"/>
                  </a:lnTo>
                  <a:lnTo>
                    <a:pt x="647" y="187"/>
                  </a:lnTo>
                  <a:lnTo>
                    <a:pt x="643" y="183"/>
                  </a:lnTo>
                  <a:lnTo>
                    <a:pt x="639" y="179"/>
                  </a:lnTo>
                  <a:lnTo>
                    <a:pt x="637" y="177"/>
                  </a:lnTo>
                  <a:lnTo>
                    <a:pt x="635" y="177"/>
                  </a:lnTo>
                  <a:lnTo>
                    <a:pt x="635" y="177"/>
                  </a:lnTo>
                  <a:lnTo>
                    <a:pt x="631" y="171"/>
                  </a:lnTo>
                  <a:lnTo>
                    <a:pt x="633" y="171"/>
                  </a:lnTo>
                  <a:lnTo>
                    <a:pt x="639" y="177"/>
                  </a:lnTo>
                  <a:lnTo>
                    <a:pt x="643" y="177"/>
                  </a:lnTo>
                  <a:lnTo>
                    <a:pt x="643" y="177"/>
                  </a:lnTo>
                  <a:lnTo>
                    <a:pt x="649" y="181"/>
                  </a:lnTo>
                  <a:lnTo>
                    <a:pt x="651" y="183"/>
                  </a:lnTo>
                  <a:lnTo>
                    <a:pt x="655" y="183"/>
                  </a:lnTo>
                  <a:lnTo>
                    <a:pt x="657" y="183"/>
                  </a:lnTo>
                  <a:lnTo>
                    <a:pt x="661" y="183"/>
                  </a:lnTo>
                  <a:lnTo>
                    <a:pt x="663" y="181"/>
                  </a:lnTo>
                  <a:lnTo>
                    <a:pt x="666" y="179"/>
                  </a:lnTo>
                  <a:lnTo>
                    <a:pt x="668" y="177"/>
                  </a:lnTo>
                  <a:lnTo>
                    <a:pt x="670" y="173"/>
                  </a:lnTo>
                  <a:lnTo>
                    <a:pt x="672" y="171"/>
                  </a:lnTo>
                  <a:lnTo>
                    <a:pt x="672" y="168"/>
                  </a:lnTo>
                  <a:lnTo>
                    <a:pt x="674" y="166"/>
                  </a:lnTo>
                  <a:lnTo>
                    <a:pt x="676" y="164"/>
                  </a:lnTo>
                  <a:lnTo>
                    <a:pt x="676" y="162"/>
                  </a:lnTo>
                  <a:lnTo>
                    <a:pt x="674" y="158"/>
                  </a:lnTo>
                  <a:lnTo>
                    <a:pt x="672" y="160"/>
                  </a:lnTo>
                  <a:lnTo>
                    <a:pt x="672" y="160"/>
                  </a:lnTo>
                  <a:lnTo>
                    <a:pt x="674" y="160"/>
                  </a:lnTo>
                  <a:lnTo>
                    <a:pt x="674" y="160"/>
                  </a:lnTo>
                  <a:lnTo>
                    <a:pt x="674" y="160"/>
                  </a:lnTo>
                  <a:lnTo>
                    <a:pt x="674" y="162"/>
                  </a:lnTo>
                  <a:lnTo>
                    <a:pt x="672" y="162"/>
                  </a:lnTo>
                  <a:lnTo>
                    <a:pt x="672" y="162"/>
                  </a:lnTo>
                  <a:lnTo>
                    <a:pt x="670" y="162"/>
                  </a:lnTo>
                  <a:lnTo>
                    <a:pt x="666" y="162"/>
                  </a:lnTo>
                  <a:lnTo>
                    <a:pt x="666" y="162"/>
                  </a:lnTo>
                  <a:lnTo>
                    <a:pt x="666" y="160"/>
                  </a:lnTo>
                  <a:lnTo>
                    <a:pt x="668" y="160"/>
                  </a:lnTo>
                  <a:lnTo>
                    <a:pt x="668" y="158"/>
                  </a:lnTo>
                  <a:lnTo>
                    <a:pt x="670" y="158"/>
                  </a:lnTo>
                  <a:lnTo>
                    <a:pt x="670" y="158"/>
                  </a:lnTo>
                  <a:lnTo>
                    <a:pt x="670" y="156"/>
                  </a:lnTo>
                  <a:lnTo>
                    <a:pt x="672" y="156"/>
                  </a:lnTo>
                  <a:lnTo>
                    <a:pt x="674" y="156"/>
                  </a:lnTo>
                  <a:lnTo>
                    <a:pt x="676" y="156"/>
                  </a:lnTo>
                  <a:lnTo>
                    <a:pt x="676" y="156"/>
                  </a:lnTo>
                  <a:lnTo>
                    <a:pt x="678" y="154"/>
                  </a:lnTo>
                  <a:lnTo>
                    <a:pt x="676" y="154"/>
                  </a:lnTo>
                  <a:lnTo>
                    <a:pt x="676" y="154"/>
                  </a:lnTo>
                  <a:lnTo>
                    <a:pt x="674" y="152"/>
                  </a:lnTo>
                  <a:lnTo>
                    <a:pt x="674" y="152"/>
                  </a:lnTo>
                  <a:lnTo>
                    <a:pt x="678" y="152"/>
                  </a:lnTo>
                  <a:lnTo>
                    <a:pt x="680" y="152"/>
                  </a:lnTo>
                  <a:lnTo>
                    <a:pt x="680" y="150"/>
                  </a:lnTo>
                  <a:lnTo>
                    <a:pt x="680" y="150"/>
                  </a:lnTo>
                  <a:lnTo>
                    <a:pt x="680" y="148"/>
                  </a:lnTo>
                  <a:lnTo>
                    <a:pt x="680" y="146"/>
                  </a:lnTo>
                  <a:lnTo>
                    <a:pt x="678" y="146"/>
                  </a:lnTo>
                  <a:lnTo>
                    <a:pt x="678" y="144"/>
                  </a:lnTo>
                  <a:lnTo>
                    <a:pt x="678" y="144"/>
                  </a:lnTo>
                  <a:lnTo>
                    <a:pt x="676" y="144"/>
                  </a:lnTo>
                  <a:lnTo>
                    <a:pt x="666" y="144"/>
                  </a:lnTo>
                  <a:lnTo>
                    <a:pt x="659" y="142"/>
                  </a:lnTo>
                  <a:lnTo>
                    <a:pt x="653" y="140"/>
                  </a:lnTo>
                  <a:lnTo>
                    <a:pt x="647" y="140"/>
                  </a:lnTo>
                  <a:lnTo>
                    <a:pt x="645" y="140"/>
                  </a:lnTo>
                  <a:lnTo>
                    <a:pt x="643" y="138"/>
                  </a:lnTo>
                  <a:lnTo>
                    <a:pt x="639" y="138"/>
                  </a:lnTo>
                  <a:lnTo>
                    <a:pt x="635" y="138"/>
                  </a:lnTo>
                  <a:lnTo>
                    <a:pt x="633" y="140"/>
                  </a:lnTo>
                  <a:lnTo>
                    <a:pt x="631" y="136"/>
                  </a:lnTo>
                  <a:lnTo>
                    <a:pt x="631" y="136"/>
                  </a:lnTo>
                  <a:lnTo>
                    <a:pt x="629" y="134"/>
                  </a:lnTo>
                  <a:lnTo>
                    <a:pt x="627" y="134"/>
                  </a:lnTo>
                  <a:lnTo>
                    <a:pt x="627" y="134"/>
                  </a:lnTo>
                  <a:lnTo>
                    <a:pt x="625" y="130"/>
                  </a:lnTo>
                  <a:lnTo>
                    <a:pt x="629" y="132"/>
                  </a:lnTo>
                  <a:lnTo>
                    <a:pt x="631" y="134"/>
                  </a:lnTo>
                  <a:lnTo>
                    <a:pt x="635" y="134"/>
                  </a:lnTo>
                  <a:lnTo>
                    <a:pt x="639" y="136"/>
                  </a:lnTo>
                  <a:lnTo>
                    <a:pt x="641" y="136"/>
                  </a:lnTo>
                  <a:lnTo>
                    <a:pt x="645" y="134"/>
                  </a:lnTo>
                  <a:lnTo>
                    <a:pt x="647" y="136"/>
                  </a:lnTo>
                  <a:lnTo>
                    <a:pt x="649" y="136"/>
                  </a:lnTo>
                  <a:lnTo>
                    <a:pt x="651" y="138"/>
                  </a:lnTo>
                  <a:lnTo>
                    <a:pt x="657" y="136"/>
                  </a:lnTo>
                  <a:lnTo>
                    <a:pt x="659" y="136"/>
                  </a:lnTo>
                  <a:lnTo>
                    <a:pt x="659" y="134"/>
                  </a:lnTo>
                  <a:lnTo>
                    <a:pt x="659" y="134"/>
                  </a:lnTo>
                  <a:lnTo>
                    <a:pt x="659" y="134"/>
                  </a:lnTo>
                  <a:lnTo>
                    <a:pt x="661" y="134"/>
                  </a:lnTo>
                  <a:lnTo>
                    <a:pt x="661" y="136"/>
                  </a:lnTo>
                  <a:lnTo>
                    <a:pt x="663" y="136"/>
                  </a:lnTo>
                  <a:lnTo>
                    <a:pt x="666" y="136"/>
                  </a:lnTo>
                  <a:lnTo>
                    <a:pt x="668" y="136"/>
                  </a:lnTo>
                  <a:lnTo>
                    <a:pt x="668" y="134"/>
                  </a:lnTo>
                  <a:lnTo>
                    <a:pt x="668" y="134"/>
                  </a:lnTo>
                  <a:lnTo>
                    <a:pt x="666" y="134"/>
                  </a:lnTo>
                  <a:lnTo>
                    <a:pt x="666" y="134"/>
                  </a:lnTo>
                  <a:lnTo>
                    <a:pt x="666" y="134"/>
                  </a:lnTo>
                  <a:lnTo>
                    <a:pt x="666" y="134"/>
                  </a:lnTo>
                  <a:lnTo>
                    <a:pt x="666" y="132"/>
                  </a:lnTo>
                  <a:lnTo>
                    <a:pt x="666" y="132"/>
                  </a:lnTo>
                  <a:lnTo>
                    <a:pt x="666" y="132"/>
                  </a:lnTo>
                  <a:lnTo>
                    <a:pt x="666" y="132"/>
                  </a:lnTo>
                  <a:lnTo>
                    <a:pt x="663" y="132"/>
                  </a:lnTo>
                  <a:lnTo>
                    <a:pt x="663" y="130"/>
                  </a:lnTo>
                  <a:lnTo>
                    <a:pt x="663" y="130"/>
                  </a:lnTo>
                  <a:lnTo>
                    <a:pt x="663" y="128"/>
                  </a:lnTo>
                  <a:lnTo>
                    <a:pt x="663" y="125"/>
                  </a:lnTo>
                  <a:lnTo>
                    <a:pt x="661" y="125"/>
                  </a:lnTo>
                  <a:lnTo>
                    <a:pt x="661" y="123"/>
                  </a:lnTo>
                  <a:lnTo>
                    <a:pt x="659" y="123"/>
                  </a:lnTo>
                  <a:lnTo>
                    <a:pt x="661" y="121"/>
                  </a:lnTo>
                  <a:lnTo>
                    <a:pt x="663" y="119"/>
                  </a:lnTo>
                  <a:lnTo>
                    <a:pt x="666" y="119"/>
                  </a:lnTo>
                  <a:lnTo>
                    <a:pt x="670" y="119"/>
                  </a:lnTo>
                  <a:lnTo>
                    <a:pt x="672" y="119"/>
                  </a:lnTo>
                  <a:lnTo>
                    <a:pt x="674" y="119"/>
                  </a:lnTo>
                  <a:lnTo>
                    <a:pt x="674" y="121"/>
                  </a:lnTo>
                  <a:lnTo>
                    <a:pt x="674" y="123"/>
                  </a:lnTo>
                  <a:lnTo>
                    <a:pt x="668" y="123"/>
                  </a:lnTo>
                  <a:lnTo>
                    <a:pt x="666" y="123"/>
                  </a:lnTo>
                  <a:lnTo>
                    <a:pt x="666" y="125"/>
                  </a:lnTo>
                  <a:lnTo>
                    <a:pt x="668" y="128"/>
                  </a:lnTo>
                  <a:lnTo>
                    <a:pt x="670" y="128"/>
                  </a:lnTo>
                  <a:lnTo>
                    <a:pt x="670" y="128"/>
                  </a:lnTo>
                  <a:lnTo>
                    <a:pt x="668" y="130"/>
                  </a:lnTo>
                  <a:lnTo>
                    <a:pt x="670" y="130"/>
                  </a:lnTo>
                  <a:lnTo>
                    <a:pt x="674" y="132"/>
                  </a:lnTo>
                  <a:lnTo>
                    <a:pt x="674" y="132"/>
                  </a:lnTo>
                  <a:lnTo>
                    <a:pt x="674" y="132"/>
                  </a:lnTo>
                  <a:lnTo>
                    <a:pt x="674" y="132"/>
                  </a:lnTo>
                  <a:lnTo>
                    <a:pt x="672" y="134"/>
                  </a:lnTo>
                  <a:lnTo>
                    <a:pt x="674" y="134"/>
                  </a:lnTo>
                  <a:lnTo>
                    <a:pt x="676" y="136"/>
                  </a:lnTo>
                  <a:lnTo>
                    <a:pt x="678" y="136"/>
                  </a:lnTo>
                  <a:lnTo>
                    <a:pt x="678" y="136"/>
                  </a:lnTo>
                  <a:lnTo>
                    <a:pt x="678" y="136"/>
                  </a:lnTo>
                  <a:lnTo>
                    <a:pt x="678" y="134"/>
                  </a:lnTo>
                  <a:lnTo>
                    <a:pt x="676" y="134"/>
                  </a:lnTo>
                  <a:lnTo>
                    <a:pt x="676" y="134"/>
                  </a:lnTo>
                  <a:lnTo>
                    <a:pt x="678" y="132"/>
                  </a:lnTo>
                  <a:lnTo>
                    <a:pt x="678" y="132"/>
                  </a:lnTo>
                  <a:lnTo>
                    <a:pt x="680" y="134"/>
                  </a:lnTo>
                  <a:lnTo>
                    <a:pt x="680" y="130"/>
                  </a:lnTo>
                  <a:lnTo>
                    <a:pt x="680" y="128"/>
                  </a:lnTo>
                  <a:lnTo>
                    <a:pt x="680" y="125"/>
                  </a:lnTo>
                  <a:lnTo>
                    <a:pt x="682" y="125"/>
                  </a:lnTo>
                  <a:lnTo>
                    <a:pt x="684" y="128"/>
                  </a:lnTo>
                  <a:lnTo>
                    <a:pt x="684" y="132"/>
                  </a:lnTo>
                  <a:lnTo>
                    <a:pt x="684" y="134"/>
                  </a:lnTo>
                  <a:lnTo>
                    <a:pt x="686" y="134"/>
                  </a:lnTo>
                  <a:lnTo>
                    <a:pt x="686" y="134"/>
                  </a:lnTo>
                  <a:lnTo>
                    <a:pt x="682" y="136"/>
                  </a:lnTo>
                  <a:lnTo>
                    <a:pt x="682" y="136"/>
                  </a:lnTo>
                  <a:lnTo>
                    <a:pt x="684" y="136"/>
                  </a:lnTo>
                  <a:lnTo>
                    <a:pt x="684" y="136"/>
                  </a:lnTo>
                  <a:lnTo>
                    <a:pt x="684" y="136"/>
                  </a:lnTo>
                  <a:lnTo>
                    <a:pt x="686" y="138"/>
                  </a:lnTo>
                  <a:lnTo>
                    <a:pt x="686" y="138"/>
                  </a:lnTo>
                  <a:lnTo>
                    <a:pt x="688" y="138"/>
                  </a:lnTo>
                  <a:lnTo>
                    <a:pt x="688" y="136"/>
                  </a:lnTo>
                  <a:lnTo>
                    <a:pt x="688" y="134"/>
                  </a:lnTo>
                  <a:lnTo>
                    <a:pt x="686" y="134"/>
                  </a:lnTo>
                  <a:lnTo>
                    <a:pt x="686" y="134"/>
                  </a:lnTo>
                  <a:lnTo>
                    <a:pt x="686" y="132"/>
                  </a:lnTo>
                  <a:lnTo>
                    <a:pt x="686" y="130"/>
                  </a:lnTo>
                  <a:lnTo>
                    <a:pt x="688" y="132"/>
                  </a:lnTo>
                  <a:lnTo>
                    <a:pt x="690" y="132"/>
                  </a:lnTo>
                  <a:lnTo>
                    <a:pt x="692" y="134"/>
                  </a:lnTo>
                  <a:lnTo>
                    <a:pt x="694" y="136"/>
                  </a:lnTo>
                  <a:lnTo>
                    <a:pt x="696" y="136"/>
                  </a:lnTo>
                  <a:lnTo>
                    <a:pt x="696" y="134"/>
                  </a:lnTo>
                  <a:lnTo>
                    <a:pt x="696" y="134"/>
                  </a:lnTo>
                  <a:lnTo>
                    <a:pt x="696" y="132"/>
                  </a:lnTo>
                  <a:lnTo>
                    <a:pt x="696" y="132"/>
                  </a:lnTo>
                  <a:lnTo>
                    <a:pt x="698" y="134"/>
                  </a:lnTo>
                  <a:lnTo>
                    <a:pt x="700" y="134"/>
                  </a:lnTo>
                  <a:lnTo>
                    <a:pt x="707" y="134"/>
                  </a:lnTo>
                  <a:lnTo>
                    <a:pt x="707" y="134"/>
                  </a:lnTo>
                  <a:lnTo>
                    <a:pt x="707" y="132"/>
                  </a:lnTo>
                  <a:lnTo>
                    <a:pt x="709" y="130"/>
                  </a:lnTo>
                  <a:lnTo>
                    <a:pt x="711" y="128"/>
                  </a:lnTo>
                  <a:lnTo>
                    <a:pt x="713" y="128"/>
                  </a:lnTo>
                  <a:lnTo>
                    <a:pt x="713" y="128"/>
                  </a:lnTo>
                  <a:lnTo>
                    <a:pt x="711" y="125"/>
                  </a:lnTo>
                  <a:lnTo>
                    <a:pt x="711" y="123"/>
                  </a:lnTo>
                  <a:lnTo>
                    <a:pt x="713" y="121"/>
                  </a:lnTo>
                  <a:lnTo>
                    <a:pt x="715" y="121"/>
                  </a:lnTo>
                  <a:lnTo>
                    <a:pt x="713" y="123"/>
                  </a:lnTo>
                  <a:lnTo>
                    <a:pt x="715" y="123"/>
                  </a:lnTo>
                  <a:lnTo>
                    <a:pt x="715" y="123"/>
                  </a:lnTo>
                  <a:lnTo>
                    <a:pt x="715" y="123"/>
                  </a:lnTo>
                  <a:lnTo>
                    <a:pt x="715" y="121"/>
                  </a:lnTo>
                  <a:lnTo>
                    <a:pt x="715" y="119"/>
                  </a:lnTo>
                  <a:lnTo>
                    <a:pt x="717" y="119"/>
                  </a:lnTo>
                  <a:lnTo>
                    <a:pt x="717" y="117"/>
                  </a:lnTo>
                  <a:lnTo>
                    <a:pt x="715" y="117"/>
                  </a:lnTo>
                  <a:lnTo>
                    <a:pt x="717" y="115"/>
                  </a:lnTo>
                  <a:lnTo>
                    <a:pt x="717" y="115"/>
                  </a:lnTo>
                  <a:lnTo>
                    <a:pt x="719" y="115"/>
                  </a:lnTo>
                  <a:lnTo>
                    <a:pt x="719" y="113"/>
                  </a:lnTo>
                  <a:lnTo>
                    <a:pt x="717" y="113"/>
                  </a:lnTo>
                  <a:lnTo>
                    <a:pt x="717" y="113"/>
                  </a:lnTo>
                  <a:lnTo>
                    <a:pt x="717" y="111"/>
                  </a:lnTo>
                  <a:lnTo>
                    <a:pt x="717" y="111"/>
                  </a:lnTo>
                  <a:lnTo>
                    <a:pt x="719" y="111"/>
                  </a:lnTo>
                  <a:lnTo>
                    <a:pt x="719" y="111"/>
                  </a:lnTo>
                  <a:lnTo>
                    <a:pt x="723" y="105"/>
                  </a:lnTo>
                  <a:lnTo>
                    <a:pt x="723" y="103"/>
                  </a:lnTo>
                  <a:lnTo>
                    <a:pt x="723" y="101"/>
                  </a:lnTo>
                  <a:lnTo>
                    <a:pt x="721" y="99"/>
                  </a:lnTo>
                  <a:lnTo>
                    <a:pt x="723" y="97"/>
                  </a:lnTo>
                  <a:lnTo>
                    <a:pt x="723" y="101"/>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NC</a:t>
              </a:r>
            </a:p>
          </p:txBody>
        </p:sp>
        <p:sp>
          <p:nvSpPr>
            <p:cNvPr id="161" name="Freeform 29">
              <a:extLst>
                <a:ext uri="{FF2B5EF4-FFF2-40B4-BE49-F238E27FC236}">
                  <a16:creationId xmlns:a16="http://schemas.microsoft.com/office/drawing/2014/main" id="{B9B2C2EC-F25A-DD1B-892D-7A539BE9AE4B}"/>
                </a:ext>
              </a:extLst>
            </p:cNvPr>
            <p:cNvSpPr>
              <a:spLocks/>
            </p:cNvSpPr>
            <p:nvPr/>
          </p:nvSpPr>
          <p:spPr bwMode="auto">
            <a:xfrm>
              <a:off x="1507" y="92"/>
              <a:ext cx="915" cy="511"/>
            </a:xfrm>
            <a:custGeom>
              <a:avLst/>
              <a:gdLst>
                <a:gd name="T0" fmla="*/ 874 w 915"/>
                <a:gd name="T1" fmla="*/ 494 h 511"/>
                <a:gd name="T2" fmla="*/ 745 w 915"/>
                <a:gd name="T3" fmla="*/ 488 h 511"/>
                <a:gd name="T4" fmla="*/ 616 w 915"/>
                <a:gd name="T5" fmla="*/ 480 h 511"/>
                <a:gd name="T6" fmla="*/ 487 w 915"/>
                <a:gd name="T7" fmla="*/ 470 h 511"/>
                <a:gd name="T8" fmla="*/ 360 w 915"/>
                <a:gd name="T9" fmla="*/ 459 h 511"/>
                <a:gd name="T10" fmla="*/ 342 w 915"/>
                <a:gd name="T11" fmla="*/ 496 h 511"/>
                <a:gd name="T12" fmla="*/ 330 w 915"/>
                <a:gd name="T13" fmla="*/ 498 h 511"/>
                <a:gd name="T14" fmla="*/ 319 w 915"/>
                <a:gd name="T15" fmla="*/ 480 h 511"/>
                <a:gd name="T16" fmla="*/ 311 w 915"/>
                <a:gd name="T17" fmla="*/ 486 h 511"/>
                <a:gd name="T18" fmla="*/ 307 w 915"/>
                <a:gd name="T19" fmla="*/ 496 h 511"/>
                <a:gd name="T20" fmla="*/ 307 w 915"/>
                <a:gd name="T21" fmla="*/ 500 h 511"/>
                <a:gd name="T22" fmla="*/ 280 w 915"/>
                <a:gd name="T23" fmla="*/ 500 h 511"/>
                <a:gd name="T24" fmla="*/ 260 w 915"/>
                <a:gd name="T25" fmla="*/ 496 h 511"/>
                <a:gd name="T26" fmla="*/ 244 w 915"/>
                <a:gd name="T27" fmla="*/ 494 h 511"/>
                <a:gd name="T28" fmla="*/ 233 w 915"/>
                <a:gd name="T29" fmla="*/ 500 h 511"/>
                <a:gd name="T30" fmla="*/ 207 w 915"/>
                <a:gd name="T31" fmla="*/ 496 h 511"/>
                <a:gd name="T32" fmla="*/ 196 w 915"/>
                <a:gd name="T33" fmla="*/ 504 h 511"/>
                <a:gd name="T34" fmla="*/ 186 w 915"/>
                <a:gd name="T35" fmla="*/ 492 h 511"/>
                <a:gd name="T36" fmla="*/ 184 w 915"/>
                <a:gd name="T37" fmla="*/ 480 h 511"/>
                <a:gd name="T38" fmla="*/ 184 w 915"/>
                <a:gd name="T39" fmla="*/ 472 h 511"/>
                <a:gd name="T40" fmla="*/ 176 w 915"/>
                <a:gd name="T41" fmla="*/ 457 h 511"/>
                <a:gd name="T42" fmla="*/ 164 w 915"/>
                <a:gd name="T43" fmla="*/ 455 h 511"/>
                <a:gd name="T44" fmla="*/ 158 w 915"/>
                <a:gd name="T45" fmla="*/ 441 h 511"/>
                <a:gd name="T46" fmla="*/ 155 w 915"/>
                <a:gd name="T47" fmla="*/ 422 h 511"/>
                <a:gd name="T48" fmla="*/ 149 w 915"/>
                <a:gd name="T49" fmla="*/ 412 h 511"/>
                <a:gd name="T50" fmla="*/ 141 w 915"/>
                <a:gd name="T51" fmla="*/ 400 h 511"/>
                <a:gd name="T52" fmla="*/ 141 w 915"/>
                <a:gd name="T53" fmla="*/ 386 h 511"/>
                <a:gd name="T54" fmla="*/ 139 w 915"/>
                <a:gd name="T55" fmla="*/ 373 h 511"/>
                <a:gd name="T56" fmla="*/ 127 w 915"/>
                <a:gd name="T57" fmla="*/ 359 h 511"/>
                <a:gd name="T58" fmla="*/ 121 w 915"/>
                <a:gd name="T59" fmla="*/ 363 h 511"/>
                <a:gd name="T60" fmla="*/ 115 w 915"/>
                <a:gd name="T61" fmla="*/ 371 h 511"/>
                <a:gd name="T62" fmla="*/ 102 w 915"/>
                <a:gd name="T63" fmla="*/ 377 h 511"/>
                <a:gd name="T64" fmla="*/ 90 w 915"/>
                <a:gd name="T65" fmla="*/ 371 h 511"/>
                <a:gd name="T66" fmla="*/ 82 w 915"/>
                <a:gd name="T67" fmla="*/ 361 h 511"/>
                <a:gd name="T68" fmla="*/ 84 w 915"/>
                <a:gd name="T69" fmla="*/ 349 h 511"/>
                <a:gd name="T70" fmla="*/ 88 w 915"/>
                <a:gd name="T71" fmla="*/ 338 h 511"/>
                <a:gd name="T72" fmla="*/ 96 w 915"/>
                <a:gd name="T73" fmla="*/ 330 h 511"/>
                <a:gd name="T74" fmla="*/ 92 w 915"/>
                <a:gd name="T75" fmla="*/ 320 h 511"/>
                <a:gd name="T76" fmla="*/ 92 w 915"/>
                <a:gd name="T77" fmla="*/ 306 h 511"/>
                <a:gd name="T78" fmla="*/ 98 w 915"/>
                <a:gd name="T79" fmla="*/ 299 h 511"/>
                <a:gd name="T80" fmla="*/ 102 w 915"/>
                <a:gd name="T81" fmla="*/ 287 h 511"/>
                <a:gd name="T82" fmla="*/ 106 w 915"/>
                <a:gd name="T83" fmla="*/ 275 h 511"/>
                <a:gd name="T84" fmla="*/ 108 w 915"/>
                <a:gd name="T85" fmla="*/ 269 h 511"/>
                <a:gd name="T86" fmla="*/ 112 w 915"/>
                <a:gd name="T87" fmla="*/ 256 h 511"/>
                <a:gd name="T88" fmla="*/ 98 w 915"/>
                <a:gd name="T89" fmla="*/ 254 h 511"/>
                <a:gd name="T90" fmla="*/ 90 w 915"/>
                <a:gd name="T91" fmla="*/ 248 h 511"/>
                <a:gd name="T92" fmla="*/ 80 w 915"/>
                <a:gd name="T93" fmla="*/ 246 h 511"/>
                <a:gd name="T94" fmla="*/ 72 w 915"/>
                <a:gd name="T95" fmla="*/ 234 h 511"/>
                <a:gd name="T96" fmla="*/ 67 w 915"/>
                <a:gd name="T97" fmla="*/ 220 h 511"/>
                <a:gd name="T98" fmla="*/ 51 w 915"/>
                <a:gd name="T99" fmla="*/ 197 h 511"/>
                <a:gd name="T100" fmla="*/ 43 w 915"/>
                <a:gd name="T101" fmla="*/ 185 h 511"/>
                <a:gd name="T102" fmla="*/ 16 w 915"/>
                <a:gd name="T103" fmla="*/ 162 h 511"/>
                <a:gd name="T104" fmla="*/ 22 w 915"/>
                <a:gd name="T105" fmla="*/ 158 h 511"/>
                <a:gd name="T106" fmla="*/ 20 w 915"/>
                <a:gd name="T107" fmla="*/ 148 h 511"/>
                <a:gd name="T108" fmla="*/ 16 w 915"/>
                <a:gd name="T109" fmla="*/ 129 h 511"/>
                <a:gd name="T110" fmla="*/ 6 w 915"/>
                <a:gd name="T111" fmla="*/ 113 h 511"/>
                <a:gd name="T112" fmla="*/ 10 w 915"/>
                <a:gd name="T113" fmla="*/ 25 h 511"/>
                <a:gd name="T114" fmla="*/ 211 w 915"/>
                <a:gd name="T115" fmla="*/ 27 h 511"/>
                <a:gd name="T116" fmla="*/ 457 w 915"/>
                <a:gd name="T117" fmla="*/ 54 h 511"/>
                <a:gd name="T118" fmla="*/ 688 w 915"/>
                <a:gd name="T119" fmla="*/ 72 h 511"/>
                <a:gd name="T120" fmla="*/ 915 w 915"/>
                <a:gd name="T121" fmla="*/ 103 h 511"/>
                <a:gd name="T122" fmla="*/ 905 w 915"/>
                <a:gd name="T123" fmla="*/ 39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5" h="511">
                  <a:moveTo>
                    <a:pt x="905" y="398"/>
                  </a:moveTo>
                  <a:lnTo>
                    <a:pt x="905" y="408"/>
                  </a:lnTo>
                  <a:lnTo>
                    <a:pt x="905" y="420"/>
                  </a:lnTo>
                  <a:lnTo>
                    <a:pt x="905" y="431"/>
                  </a:lnTo>
                  <a:lnTo>
                    <a:pt x="905" y="443"/>
                  </a:lnTo>
                  <a:lnTo>
                    <a:pt x="903" y="453"/>
                  </a:lnTo>
                  <a:lnTo>
                    <a:pt x="903" y="465"/>
                  </a:lnTo>
                  <a:lnTo>
                    <a:pt x="903" y="476"/>
                  </a:lnTo>
                  <a:lnTo>
                    <a:pt x="903" y="488"/>
                  </a:lnTo>
                  <a:lnTo>
                    <a:pt x="903" y="494"/>
                  </a:lnTo>
                  <a:lnTo>
                    <a:pt x="903" y="496"/>
                  </a:lnTo>
                  <a:lnTo>
                    <a:pt x="899" y="494"/>
                  </a:lnTo>
                  <a:lnTo>
                    <a:pt x="891" y="494"/>
                  </a:lnTo>
                  <a:lnTo>
                    <a:pt x="883" y="494"/>
                  </a:lnTo>
                  <a:lnTo>
                    <a:pt x="874" y="494"/>
                  </a:lnTo>
                  <a:lnTo>
                    <a:pt x="866" y="494"/>
                  </a:lnTo>
                  <a:lnTo>
                    <a:pt x="856" y="494"/>
                  </a:lnTo>
                  <a:lnTo>
                    <a:pt x="848" y="492"/>
                  </a:lnTo>
                  <a:lnTo>
                    <a:pt x="840" y="492"/>
                  </a:lnTo>
                  <a:lnTo>
                    <a:pt x="831" y="492"/>
                  </a:lnTo>
                  <a:lnTo>
                    <a:pt x="823" y="492"/>
                  </a:lnTo>
                  <a:lnTo>
                    <a:pt x="815" y="492"/>
                  </a:lnTo>
                  <a:lnTo>
                    <a:pt x="805" y="492"/>
                  </a:lnTo>
                  <a:lnTo>
                    <a:pt x="797" y="490"/>
                  </a:lnTo>
                  <a:lnTo>
                    <a:pt x="788" y="490"/>
                  </a:lnTo>
                  <a:lnTo>
                    <a:pt x="780" y="490"/>
                  </a:lnTo>
                  <a:lnTo>
                    <a:pt x="772" y="490"/>
                  </a:lnTo>
                  <a:lnTo>
                    <a:pt x="762" y="490"/>
                  </a:lnTo>
                  <a:lnTo>
                    <a:pt x="754" y="488"/>
                  </a:lnTo>
                  <a:lnTo>
                    <a:pt x="745" y="488"/>
                  </a:lnTo>
                  <a:lnTo>
                    <a:pt x="737" y="488"/>
                  </a:lnTo>
                  <a:lnTo>
                    <a:pt x="729" y="488"/>
                  </a:lnTo>
                  <a:lnTo>
                    <a:pt x="719" y="486"/>
                  </a:lnTo>
                  <a:lnTo>
                    <a:pt x="711" y="486"/>
                  </a:lnTo>
                  <a:lnTo>
                    <a:pt x="702" y="486"/>
                  </a:lnTo>
                  <a:lnTo>
                    <a:pt x="694" y="486"/>
                  </a:lnTo>
                  <a:lnTo>
                    <a:pt x="686" y="484"/>
                  </a:lnTo>
                  <a:lnTo>
                    <a:pt x="676" y="484"/>
                  </a:lnTo>
                  <a:lnTo>
                    <a:pt x="668" y="484"/>
                  </a:lnTo>
                  <a:lnTo>
                    <a:pt x="659" y="484"/>
                  </a:lnTo>
                  <a:lnTo>
                    <a:pt x="651" y="482"/>
                  </a:lnTo>
                  <a:lnTo>
                    <a:pt x="643" y="482"/>
                  </a:lnTo>
                  <a:lnTo>
                    <a:pt x="633" y="482"/>
                  </a:lnTo>
                  <a:lnTo>
                    <a:pt x="624" y="480"/>
                  </a:lnTo>
                  <a:lnTo>
                    <a:pt x="616" y="480"/>
                  </a:lnTo>
                  <a:lnTo>
                    <a:pt x="608" y="480"/>
                  </a:lnTo>
                  <a:lnTo>
                    <a:pt x="600" y="480"/>
                  </a:lnTo>
                  <a:lnTo>
                    <a:pt x="592" y="478"/>
                  </a:lnTo>
                  <a:lnTo>
                    <a:pt x="581" y="478"/>
                  </a:lnTo>
                  <a:lnTo>
                    <a:pt x="573" y="478"/>
                  </a:lnTo>
                  <a:lnTo>
                    <a:pt x="565" y="476"/>
                  </a:lnTo>
                  <a:lnTo>
                    <a:pt x="557" y="476"/>
                  </a:lnTo>
                  <a:lnTo>
                    <a:pt x="549" y="476"/>
                  </a:lnTo>
                  <a:lnTo>
                    <a:pt x="538" y="474"/>
                  </a:lnTo>
                  <a:lnTo>
                    <a:pt x="530" y="474"/>
                  </a:lnTo>
                  <a:lnTo>
                    <a:pt x="522" y="474"/>
                  </a:lnTo>
                  <a:lnTo>
                    <a:pt x="514" y="472"/>
                  </a:lnTo>
                  <a:lnTo>
                    <a:pt x="506" y="472"/>
                  </a:lnTo>
                  <a:lnTo>
                    <a:pt x="495" y="472"/>
                  </a:lnTo>
                  <a:lnTo>
                    <a:pt x="487" y="470"/>
                  </a:lnTo>
                  <a:lnTo>
                    <a:pt x="479" y="470"/>
                  </a:lnTo>
                  <a:lnTo>
                    <a:pt x="471" y="470"/>
                  </a:lnTo>
                  <a:lnTo>
                    <a:pt x="463" y="468"/>
                  </a:lnTo>
                  <a:lnTo>
                    <a:pt x="455" y="468"/>
                  </a:lnTo>
                  <a:lnTo>
                    <a:pt x="444" y="468"/>
                  </a:lnTo>
                  <a:lnTo>
                    <a:pt x="436" y="465"/>
                  </a:lnTo>
                  <a:lnTo>
                    <a:pt x="428" y="465"/>
                  </a:lnTo>
                  <a:lnTo>
                    <a:pt x="420" y="463"/>
                  </a:lnTo>
                  <a:lnTo>
                    <a:pt x="411" y="463"/>
                  </a:lnTo>
                  <a:lnTo>
                    <a:pt x="401" y="463"/>
                  </a:lnTo>
                  <a:lnTo>
                    <a:pt x="393" y="461"/>
                  </a:lnTo>
                  <a:lnTo>
                    <a:pt x="385" y="461"/>
                  </a:lnTo>
                  <a:lnTo>
                    <a:pt x="377" y="459"/>
                  </a:lnTo>
                  <a:lnTo>
                    <a:pt x="368" y="459"/>
                  </a:lnTo>
                  <a:lnTo>
                    <a:pt x="360" y="459"/>
                  </a:lnTo>
                  <a:lnTo>
                    <a:pt x="350" y="457"/>
                  </a:lnTo>
                  <a:lnTo>
                    <a:pt x="346" y="457"/>
                  </a:lnTo>
                  <a:lnTo>
                    <a:pt x="346" y="459"/>
                  </a:lnTo>
                  <a:lnTo>
                    <a:pt x="346" y="461"/>
                  </a:lnTo>
                  <a:lnTo>
                    <a:pt x="346" y="465"/>
                  </a:lnTo>
                  <a:lnTo>
                    <a:pt x="346" y="470"/>
                  </a:lnTo>
                  <a:lnTo>
                    <a:pt x="346" y="472"/>
                  </a:lnTo>
                  <a:lnTo>
                    <a:pt x="346" y="476"/>
                  </a:lnTo>
                  <a:lnTo>
                    <a:pt x="344" y="478"/>
                  </a:lnTo>
                  <a:lnTo>
                    <a:pt x="344" y="482"/>
                  </a:lnTo>
                  <a:lnTo>
                    <a:pt x="344" y="484"/>
                  </a:lnTo>
                  <a:lnTo>
                    <a:pt x="344" y="488"/>
                  </a:lnTo>
                  <a:lnTo>
                    <a:pt x="344" y="490"/>
                  </a:lnTo>
                  <a:lnTo>
                    <a:pt x="344" y="494"/>
                  </a:lnTo>
                  <a:lnTo>
                    <a:pt x="342" y="496"/>
                  </a:lnTo>
                  <a:lnTo>
                    <a:pt x="342" y="500"/>
                  </a:lnTo>
                  <a:lnTo>
                    <a:pt x="342" y="504"/>
                  </a:lnTo>
                  <a:lnTo>
                    <a:pt x="342" y="506"/>
                  </a:lnTo>
                  <a:lnTo>
                    <a:pt x="342" y="511"/>
                  </a:lnTo>
                  <a:lnTo>
                    <a:pt x="338" y="509"/>
                  </a:lnTo>
                  <a:lnTo>
                    <a:pt x="338" y="506"/>
                  </a:lnTo>
                  <a:lnTo>
                    <a:pt x="336" y="504"/>
                  </a:lnTo>
                  <a:lnTo>
                    <a:pt x="334" y="502"/>
                  </a:lnTo>
                  <a:lnTo>
                    <a:pt x="334" y="500"/>
                  </a:lnTo>
                  <a:lnTo>
                    <a:pt x="332" y="500"/>
                  </a:lnTo>
                  <a:lnTo>
                    <a:pt x="332" y="500"/>
                  </a:lnTo>
                  <a:lnTo>
                    <a:pt x="330" y="498"/>
                  </a:lnTo>
                  <a:lnTo>
                    <a:pt x="330" y="498"/>
                  </a:lnTo>
                  <a:lnTo>
                    <a:pt x="330" y="498"/>
                  </a:lnTo>
                  <a:lnTo>
                    <a:pt x="330" y="498"/>
                  </a:lnTo>
                  <a:lnTo>
                    <a:pt x="330" y="496"/>
                  </a:lnTo>
                  <a:lnTo>
                    <a:pt x="330" y="496"/>
                  </a:lnTo>
                  <a:lnTo>
                    <a:pt x="330" y="494"/>
                  </a:lnTo>
                  <a:lnTo>
                    <a:pt x="330" y="494"/>
                  </a:lnTo>
                  <a:lnTo>
                    <a:pt x="330" y="494"/>
                  </a:lnTo>
                  <a:lnTo>
                    <a:pt x="330" y="492"/>
                  </a:lnTo>
                  <a:lnTo>
                    <a:pt x="330" y="492"/>
                  </a:lnTo>
                  <a:lnTo>
                    <a:pt x="328" y="492"/>
                  </a:lnTo>
                  <a:lnTo>
                    <a:pt x="328" y="492"/>
                  </a:lnTo>
                  <a:lnTo>
                    <a:pt x="328" y="490"/>
                  </a:lnTo>
                  <a:lnTo>
                    <a:pt x="323" y="486"/>
                  </a:lnTo>
                  <a:lnTo>
                    <a:pt x="323" y="484"/>
                  </a:lnTo>
                  <a:lnTo>
                    <a:pt x="323" y="482"/>
                  </a:lnTo>
                  <a:lnTo>
                    <a:pt x="321" y="480"/>
                  </a:lnTo>
                  <a:lnTo>
                    <a:pt x="319" y="480"/>
                  </a:lnTo>
                  <a:lnTo>
                    <a:pt x="319" y="480"/>
                  </a:lnTo>
                  <a:lnTo>
                    <a:pt x="319" y="480"/>
                  </a:lnTo>
                  <a:lnTo>
                    <a:pt x="317" y="482"/>
                  </a:lnTo>
                  <a:lnTo>
                    <a:pt x="317" y="482"/>
                  </a:lnTo>
                  <a:lnTo>
                    <a:pt x="315" y="482"/>
                  </a:lnTo>
                  <a:lnTo>
                    <a:pt x="313" y="482"/>
                  </a:lnTo>
                  <a:lnTo>
                    <a:pt x="313" y="482"/>
                  </a:lnTo>
                  <a:lnTo>
                    <a:pt x="313" y="484"/>
                  </a:lnTo>
                  <a:lnTo>
                    <a:pt x="311" y="484"/>
                  </a:lnTo>
                  <a:lnTo>
                    <a:pt x="311" y="484"/>
                  </a:lnTo>
                  <a:lnTo>
                    <a:pt x="311" y="484"/>
                  </a:lnTo>
                  <a:lnTo>
                    <a:pt x="311" y="486"/>
                  </a:lnTo>
                  <a:lnTo>
                    <a:pt x="311" y="486"/>
                  </a:lnTo>
                  <a:lnTo>
                    <a:pt x="311" y="486"/>
                  </a:lnTo>
                  <a:lnTo>
                    <a:pt x="311" y="486"/>
                  </a:lnTo>
                  <a:lnTo>
                    <a:pt x="311" y="488"/>
                  </a:lnTo>
                  <a:lnTo>
                    <a:pt x="311" y="488"/>
                  </a:lnTo>
                  <a:lnTo>
                    <a:pt x="311" y="488"/>
                  </a:lnTo>
                  <a:lnTo>
                    <a:pt x="311" y="488"/>
                  </a:lnTo>
                  <a:lnTo>
                    <a:pt x="311" y="490"/>
                  </a:lnTo>
                  <a:lnTo>
                    <a:pt x="311" y="490"/>
                  </a:lnTo>
                  <a:lnTo>
                    <a:pt x="309" y="490"/>
                  </a:lnTo>
                  <a:lnTo>
                    <a:pt x="309" y="490"/>
                  </a:lnTo>
                  <a:lnTo>
                    <a:pt x="309" y="490"/>
                  </a:lnTo>
                  <a:lnTo>
                    <a:pt x="307" y="492"/>
                  </a:lnTo>
                  <a:lnTo>
                    <a:pt x="307" y="492"/>
                  </a:lnTo>
                  <a:lnTo>
                    <a:pt x="307" y="494"/>
                  </a:lnTo>
                  <a:lnTo>
                    <a:pt x="307" y="494"/>
                  </a:lnTo>
                  <a:lnTo>
                    <a:pt x="307" y="494"/>
                  </a:lnTo>
                  <a:lnTo>
                    <a:pt x="307" y="496"/>
                  </a:lnTo>
                  <a:lnTo>
                    <a:pt x="307" y="496"/>
                  </a:lnTo>
                  <a:lnTo>
                    <a:pt x="307" y="496"/>
                  </a:lnTo>
                  <a:lnTo>
                    <a:pt x="307" y="498"/>
                  </a:lnTo>
                  <a:lnTo>
                    <a:pt x="307" y="498"/>
                  </a:lnTo>
                  <a:lnTo>
                    <a:pt x="307" y="498"/>
                  </a:lnTo>
                  <a:lnTo>
                    <a:pt x="307" y="498"/>
                  </a:lnTo>
                  <a:lnTo>
                    <a:pt x="307" y="498"/>
                  </a:lnTo>
                  <a:lnTo>
                    <a:pt x="309" y="500"/>
                  </a:lnTo>
                  <a:lnTo>
                    <a:pt x="311" y="500"/>
                  </a:lnTo>
                  <a:lnTo>
                    <a:pt x="311" y="500"/>
                  </a:lnTo>
                  <a:lnTo>
                    <a:pt x="311" y="500"/>
                  </a:lnTo>
                  <a:lnTo>
                    <a:pt x="309" y="500"/>
                  </a:lnTo>
                  <a:lnTo>
                    <a:pt x="309" y="500"/>
                  </a:lnTo>
                  <a:lnTo>
                    <a:pt x="307" y="500"/>
                  </a:lnTo>
                  <a:lnTo>
                    <a:pt x="307" y="500"/>
                  </a:lnTo>
                  <a:lnTo>
                    <a:pt x="307" y="500"/>
                  </a:lnTo>
                  <a:lnTo>
                    <a:pt x="305" y="500"/>
                  </a:lnTo>
                  <a:lnTo>
                    <a:pt x="303" y="498"/>
                  </a:lnTo>
                  <a:lnTo>
                    <a:pt x="303" y="498"/>
                  </a:lnTo>
                  <a:lnTo>
                    <a:pt x="293" y="498"/>
                  </a:lnTo>
                  <a:lnTo>
                    <a:pt x="293" y="498"/>
                  </a:lnTo>
                  <a:lnTo>
                    <a:pt x="289" y="500"/>
                  </a:lnTo>
                  <a:lnTo>
                    <a:pt x="289" y="500"/>
                  </a:lnTo>
                  <a:lnTo>
                    <a:pt x="287" y="500"/>
                  </a:lnTo>
                  <a:lnTo>
                    <a:pt x="285" y="500"/>
                  </a:lnTo>
                  <a:lnTo>
                    <a:pt x="285" y="500"/>
                  </a:lnTo>
                  <a:lnTo>
                    <a:pt x="282" y="500"/>
                  </a:lnTo>
                  <a:lnTo>
                    <a:pt x="282" y="500"/>
                  </a:lnTo>
                  <a:lnTo>
                    <a:pt x="282" y="500"/>
                  </a:lnTo>
                  <a:lnTo>
                    <a:pt x="280" y="500"/>
                  </a:lnTo>
                  <a:lnTo>
                    <a:pt x="280" y="500"/>
                  </a:lnTo>
                  <a:lnTo>
                    <a:pt x="280" y="498"/>
                  </a:lnTo>
                  <a:lnTo>
                    <a:pt x="280" y="498"/>
                  </a:lnTo>
                  <a:lnTo>
                    <a:pt x="280" y="498"/>
                  </a:lnTo>
                  <a:lnTo>
                    <a:pt x="278" y="496"/>
                  </a:lnTo>
                  <a:lnTo>
                    <a:pt x="278" y="496"/>
                  </a:lnTo>
                  <a:lnTo>
                    <a:pt x="274" y="496"/>
                  </a:lnTo>
                  <a:lnTo>
                    <a:pt x="274" y="496"/>
                  </a:lnTo>
                  <a:lnTo>
                    <a:pt x="272" y="496"/>
                  </a:lnTo>
                  <a:lnTo>
                    <a:pt x="272" y="496"/>
                  </a:lnTo>
                  <a:lnTo>
                    <a:pt x="272" y="496"/>
                  </a:lnTo>
                  <a:lnTo>
                    <a:pt x="270" y="496"/>
                  </a:lnTo>
                  <a:lnTo>
                    <a:pt x="270" y="496"/>
                  </a:lnTo>
                  <a:lnTo>
                    <a:pt x="268" y="496"/>
                  </a:lnTo>
                  <a:lnTo>
                    <a:pt x="260" y="496"/>
                  </a:lnTo>
                  <a:lnTo>
                    <a:pt x="260" y="496"/>
                  </a:lnTo>
                  <a:lnTo>
                    <a:pt x="258" y="496"/>
                  </a:lnTo>
                  <a:lnTo>
                    <a:pt x="256" y="494"/>
                  </a:lnTo>
                  <a:lnTo>
                    <a:pt x="254" y="494"/>
                  </a:lnTo>
                  <a:lnTo>
                    <a:pt x="252" y="494"/>
                  </a:lnTo>
                  <a:lnTo>
                    <a:pt x="252" y="494"/>
                  </a:lnTo>
                  <a:lnTo>
                    <a:pt x="252" y="494"/>
                  </a:lnTo>
                  <a:lnTo>
                    <a:pt x="250" y="492"/>
                  </a:lnTo>
                  <a:lnTo>
                    <a:pt x="250" y="492"/>
                  </a:lnTo>
                  <a:lnTo>
                    <a:pt x="248" y="492"/>
                  </a:lnTo>
                  <a:lnTo>
                    <a:pt x="248" y="492"/>
                  </a:lnTo>
                  <a:lnTo>
                    <a:pt x="248" y="494"/>
                  </a:lnTo>
                  <a:lnTo>
                    <a:pt x="246" y="494"/>
                  </a:lnTo>
                  <a:lnTo>
                    <a:pt x="246" y="494"/>
                  </a:lnTo>
                  <a:lnTo>
                    <a:pt x="244" y="494"/>
                  </a:lnTo>
                  <a:lnTo>
                    <a:pt x="244" y="494"/>
                  </a:lnTo>
                  <a:lnTo>
                    <a:pt x="242" y="494"/>
                  </a:lnTo>
                  <a:lnTo>
                    <a:pt x="242" y="494"/>
                  </a:lnTo>
                  <a:lnTo>
                    <a:pt x="242" y="496"/>
                  </a:lnTo>
                  <a:lnTo>
                    <a:pt x="239" y="496"/>
                  </a:lnTo>
                  <a:lnTo>
                    <a:pt x="239" y="498"/>
                  </a:lnTo>
                  <a:lnTo>
                    <a:pt x="237" y="502"/>
                  </a:lnTo>
                  <a:lnTo>
                    <a:pt x="237" y="502"/>
                  </a:lnTo>
                  <a:lnTo>
                    <a:pt x="237" y="502"/>
                  </a:lnTo>
                  <a:lnTo>
                    <a:pt x="235" y="502"/>
                  </a:lnTo>
                  <a:lnTo>
                    <a:pt x="235" y="502"/>
                  </a:lnTo>
                  <a:lnTo>
                    <a:pt x="233" y="502"/>
                  </a:lnTo>
                  <a:lnTo>
                    <a:pt x="233" y="502"/>
                  </a:lnTo>
                  <a:lnTo>
                    <a:pt x="233" y="502"/>
                  </a:lnTo>
                  <a:lnTo>
                    <a:pt x="233" y="500"/>
                  </a:lnTo>
                  <a:lnTo>
                    <a:pt x="231" y="500"/>
                  </a:lnTo>
                  <a:lnTo>
                    <a:pt x="231" y="500"/>
                  </a:lnTo>
                  <a:lnTo>
                    <a:pt x="229" y="500"/>
                  </a:lnTo>
                  <a:lnTo>
                    <a:pt x="227" y="500"/>
                  </a:lnTo>
                  <a:lnTo>
                    <a:pt x="227" y="500"/>
                  </a:lnTo>
                  <a:lnTo>
                    <a:pt x="225" y="498"/>
                  </a:lnTo>
                  <a:lnTo>
                    <a:pt x="225" y="498"/>
                  </a:lnTo>
                  <a:lnTo>
                    <a:pt x="225" y="498"/>
                  </a:lnTo>
                  <a:lnTo>
                    <a:pt x="215" y="496"/>
                  </a:lnTo>
                  <a:lnTo>
                    <a:pt x="213" y="494"/>
                  </a:lnTo>
                  <a:lnTo>
                    <a:pt x="213" y="494"/>
                  </a:lnTo>
                  <a:lnTo>
                    <a:pt x="211" y="494"/>
                  </a:lnTo>
                  <a:lnTo>
                    <a:pt x="211" y="496"/>
                  </a:lnTo>
                  <a:lnTo>
                    <a:pt x="209" y="496"/>
                  </a:lnTo>
                  <a:lnTo>
                    <a:pt x="207" y="496"/>
                  </a:lnTo>
                  <a:lnTo>
                    <a:pt x="207" y="496"/>
                  </a:lnTo>
                  <a:lnTo>
                    <a:pt x="203" y="500"/>
                  </a:lnTo>
                  <a:lnTo>
                    <a:pt x="201" y="500"/>
                  </a:lnTo>
                  <a:lnTo>
                    <a:pt x="201" y="500"/>
                  </a:lnTo>
                  <a:lnTo>
                    <a:pt x="201" y="502"/>
                  </a:lnTo>
                  <a:lnTo>
                    <a:pt x="201" y="502"/>
                  </a:lnTo>
                  <a:lnTo>
                    <a:pt x="201" y="502"/>
                  </a:lnTo>
                  <a:lnTo>
                    <a:pt x="201" y="502"/>
                  </a:lnTo>
                  <a:lnTo>
                    <a:pt x="201" y="506"/>
                  </a:lnTo>
                  <a:lnTo>
                    <a:pt x="201" y="506"/>
                  </a:lnTo>
                  <a:lnTo>
                    <a:pt x="201" y="506"/>
                  </a:lnTo>
                  <a:lnTo>
                    <a:pt x="201" y="506"/>
                  </a:lnTo>
                  <a:lnTo>
                    <a:pt x="199" y="506"/>
                  </a:lnTo>
                  <a:lnTo>
                    <a:pt x="199" y="506"/>
                  </a:lnTo>
                  <a:lnTo>
                    <a:pt x="196" y="504"/>
                  </a:lnTo>
                  <a:lnTo>
                    <a:pt x="196" y="504"/>
                  </a:lnTo>
                  <a:lnTo>
                    <a:pt x="196" y="502"/>
                  </a:lnTo>
                  <a:lnTo>
                    <a:pt x="192" y="502"/>
                  </a:lnTo>
                  <a:lnTo>
                    <a:pt x="192" y="500"/>
                  </a:lnTo>
                  <a:lnTo>
                    <a:pt x="192" y="500"/>
                  </a:lnTo>
                  <a:lnTo>
                    <a:pt x="190" y="498"/>
                  </a:lnTo>
                  <a:lnTo>
                    <a:pt x="190" y="498"/>
                  </a:lnTo>
                  <a:lnTo>
                    <a:pt x="190" y="498"/>
                  </a:lnTo>
                  <a:lnTo>
                    <a:pt x="188" y="498"/>
                  </a:lnTo>
                  <a:lnTo>
                    <a:pt x="188" y="496"/>
                  </a:lnTo>
                  <a:lnTo>
                    <a:pt x="188" y="496"/>
                  </a:lnTo>
                  <a:lnTo>
                    <a:pt x="188" y="494"/>
                  </a:lnTo>
                  <a:lnTo>
                    <a:pt x="188" y="494"/>
                  </a:lnTo>
                  <a:lnTo>
                    <a:pt x="186" y="494"/>
                  </a:lnTo>
                  <a:lnTo>
                    <a:pt x="186" y="492"/>
                  </a:lnTo>
                  <a:lnTo>
                    <a:pt x="186" y="492"/>
                  </a:lnTo>
                  <a:lnTo>
                    <a:pt x="188" y="492"/>
                  </a:lnTo>
                  <a:lnTo>
                    <a:pt x="188" y="490"/>
                  </a:lnTo>
                  <a:lnTo>
                    <a:pt x="188" y="490"/>
                  </a:lnTo>
                  <a:lnTo>
                    <a:pt x="188" y="488"/>
                  </a:lnTo>
                  <a:lnTo>
                    <a:pt x="188" y="488"/>
                  </a:lnTo>
                  <a:lnTo>
                    <a:pt x="186" y="488"/>
                  </a:lnTo>
                  <a:lnTo>
                    <a:pt x="186" y="486"/>
                  </a:lnTo>
                  <a:lnTo>
                    <a:pt x="186" y="486"/>
                  </a:lnTo>
                  <a:lnTo>
                    <a:pt x="186" y="486"/>
                  </a:lnTo>
                  <a:lnTo>
                    <a:pt x="186" y="484"/>
                  </a:lnTo>
                  <a:lnTo>
                    <a:pt x="186" y="484"/>
                  </a:lnTo>
                  <a:lnTo>
                    <a:pt x="184" y="482"/>
                  </a:lnTo>
                  <a:lnTo>
                    <a:pt x="184" y="482"/>
                  </a:lnTo>
                  <a:lnTo>
                    <a:pt x="184" y="480"/>
                  </a:lnTo>
                  <a:lnTo>
                    <a:pt x="184" y="480"/>
                  </a:lnTo>
                  <a:lnTo>
                    <a:pt x="184" y="480"/>
                  </a:lnTo>
                  <a:lnTo>
                    <a:pt x="184" y="480"/>
                  </a:lnTo>
                  <a:lnTo>
                    <a:pt x="186" y="480"/>
                  </a:lnTo>
                  <a:lnTo>
                    <a:pt x="186" y="478"/>
                  </a:lnTo>
                  <a:lnTo>
                    <a:pt x="186" y="478"/>
                  </a:lnTo>
                  <a:lnTo>
                    <a:pt x="186" y="478"/>
                  </a:lnTo>
                  <a:lnTo>
                    <a:pt x="186" y="478"/>
                  </a:lnTo>
                  <a:lnTo>
                    <a:pt x="186" y="476"/>
                  </a:lnTo>
                  <a:lnTo>
                    <a:pt x="186" y="476"/>
                  </a:lnTo>
                  <a:lnTo>
                    <a:pt x="184" y="474"/>
                  </a:lnTo>
                  <a:lnTo>
                    <a:pt x="184" y="474"/>
                  </a:lnTo>
                  <a:lnTo>
                    <a:pt x="184" y="472"/>
                  </a:lnTo>
                  <a:lnTo>
                    <a:pt x="184" y="472"/>
                  </a:lnTo>
                  <a:lnTo>
                    <a:pt x="184" y="472"/>
                  </a:lnTo>
                  <a:lnTo>
                    <a:pt x="184" y="470"/>
                  </a:lnTo>
                  <a:lnTo>
                    <a:pt x="182" y="470"/>
                  </a:lnTo>
                  <a:lnTo>
                    <a:pt x="182" y="470"/>
                  </a:lnTo>
                  <a:lnTo>
                    <a:pt x="182" y="470"/>
                  </a:lnTo>
                  <a:lnTo>
                    <a:pt x="182" y="468"/>
                  </a:lnTo>
                  <a:lnTo>
                    <a:pt x="182" y="468"/>
                  </a:lnTo>
                  <a:lnTo>
                    <a:pt x="182" y="468"/>
                  </a:lnTo>
                  <a:lnTo>
                    <a:pt x="182" y="468"/>
                  </a:lnTo>
                  <a:lnTo>
                    <a:pt x="182" y="465"/>
                  </a:lnTo>
                  <a:lnTo>
                    <a:pt x="180" y="465"/>
                  </a:lnTo>
                  <a:lnTo>
                    <a:pt x="180" y="463"/>
                  </a:lnTo>
                  <a:lnTo>
                    <a:pt x="180" y="463"/>
                  </a:lnTo>
                  <a:lnTo>
                    <a:pt x="178" y="461"/>
                  </a:lnTo>
                  <a:lnTo>
                    <a:pt x="176" y="459"/>
                  </a:lnTo>
                  <a:lnTo>
                    <a:pt x="176" y="457"/>
                  </a:lnTo>
                  <a:lnTo>
                    <a:pt x="174" y="457"/>
                  </a:lnTo>
                  <a:lnTo>
                    <a:pt x="172" y="457"/>
                  </a:lnTo>
                  <a:lnTo>
                    <a:pt x="172" y="457"/>
                  </a:lnTo>
                  <a:lnTo>
                    <a:pt x="170" y="457"/>
                  </a:lnTo>
                  <a:lnTo>
                    <a:pt x="170" y="457"/>
                  </a:lnTo>
                  <a:lnTo>
                    <a:pt x="168" y="459"/>
                  </a:lnTo>
                  <a:lnTo>
                    <a:pt x="168" y="459"/>
                  </a:lnTo>
                  <a:lnTo>
                    <a:pt x="168" y="459"/>
                  </a:lnTo>
                  <a:lnTo>
                    <a:pt x="166" y="459"/>
                  </a:lnTo>
                  <a:lnTo>
                    <a:pt x="166" y="459"/>
                  </a:lnTo>
                  <a:lnTo>
                    <a:pt x="164" y="459"/>
                  </a:lnTo>
                  <a:lnTo>
                    <a:pt x="164" y="457"/>
                  </a:lnTo>
                  <a:lnTo>
                    <a:pt x="164" y="455"/>
                  </a:lnTo>
                  <a:lnTo>
                    <a:pt x="164" y="455"/>
                  </a:lnTo>
                  <a:lnTo>
                    <a:pt x="164" y="455"/>
                  </a:lnTo>
                  <a:lnTo>
                    <a:pt x="160" y="453"/>
                  </a:lnTo>
                  <a:lnTo>
                    <a:pt x="158" y="451"/>
                  </a:lnTo>
                  <a:lnTo>
                    <a:pt x="158" y="451"/>
                  </a:lnTo>
                  <a:lnTo>
                    <a:pt x="158" y="449"/>
                  </a:lnTo>
                  <a:lnTo>
                    <a:pt x="158" y="447"/>
                  </a:lnTo>
                  <a:lnTo>
                    <a:pt x="158" y="445"/>
                  </a:lnTo>
                  <a:lnTo>
                    <a:pt x="155" y="445"/>
                  </a:lnTo>
                  <a:lnTo>
                    <a:pt x="155" y="445"/>
                  </a:lnTo>
                  <a:lnTo>
                    <a:pt x="155" y="443"/>
                  </a:lnTo>
                  <a:lnTo>
                    <a:pt x="155" y="443"/>
                  </a:lnTo>
                  <a:lnTo>
                    <a:pt x="155" y="443"/>
                  </a:lnTo>
                  <a:lnTo>
                    <a:pt x="155" y="443"/>
                  </a:lnTo>
                  <a:lnTo>
                    <a:pt x="155" y="443"/>
                  </a:lnTo>
                  <a:lnTo>
                    <a:pt x="158" y="441"/>
                  </a:lnTo>
                  <a:lnTo>
                    <a:pt x="158" y="441"/>
                  </a:lnTo>
                  <a:lnTo>
                    <a:pt x="158" y="441"/>
                  </a:lnTo>
                  <a:lnTo>
                    <a:pt x="160" y="441"/>
                  </a:lnTo>
                  <a:lnTo>
                    <a:pt x="160" y="439"/>
                  </a:lnTo>
                  <a:lnTo>
                    <a:pt x="160" y="437"/>
                  </a:lnTo>
                  <a:lnTo>
                    <a:pt x="160" y="437"/>
                  </a:lnTo>
                  <a:lnTo>
                    <a:pt x="160" y="437"/>
                  </a:lnTo>
                  <a:lnTo>
                    <a:pt x="160" y="435"/>
                  </a:lnTo>
                  <a:lnTo>
                    <a:pt x="160" y="435"/>
                  </a:lnTo>
                  <a:lnTo>
                    <a:pt x="160" y="431"/>
                  </a:lnTo>
                  <a:lnTo>
                    <a:pt x="158" y="431"/>
                  </a:lnTo>
                  <a:lnTo>
                    <a:pt x="155" y="427"/>
                  </a:lnTo>
                  <a:lnTo>
                    <a:pt x="155" y="427"/>
                  </a:lnTo>
                  <a:lnTo>
                    <a:pt x="155" y="425"/>
                  </a:lnTo>
                  <a:lnTo>
                    <a:pt x="155" y="422"/>
                  </a:lnTo>
                  <a:lnTo>
                    <a:pt x="155" y="422"/>
                  </a:lnTo>
                  <a:lnTo>
                    <a:pt x="153" y="422"/>
                  </a:lnTo>
                  <a:lnTo>
                    <a:pt x="151" y="422"/>
                  </a:lnTo>
                  <a:lnTo>
                    <a:pt x="151" y="422"/>
                  </a:lnTo>
                  <a:lnTo>
                    <a:pt x="151" y="420"/>
                  </a:lnTo>
                  <a:lnTo>
                    <a:pt x="151" y="420"/>
                  </a:lnTo>
                  <a:lnTo>
                    <a:pt x="151" y="420"/>
                  </a:lnTo>
                  <a:lnTo>
                    <a:pt x="151" y="418"/>
                  </a:lnTo>
                  <a:lnTo>
                    <a:pt x="151" y="418"/>
                  </a:lnTo>
                  <a:lnTo>
                    <a:pt x="151" y="418"/>
                  </a:lnTo>
                  <a:lnTo>
                    <a:pt x="151" y="416"/>
                  </a:lnTo>
                  <a:lnTo>
                    <a:pt x="151" y="416"/>
                  </a:lnTo>
                  <a:lnTo>
                    <a:pt x="149" y="416"/>
                  </a:lnTo>
                  <a:lnTo>
                    <a:pt x="149" y="414"/>
                  </a:lnTo>
                  <a:lnTo>
                    <a:pt x="149" y="414"/>
                  </a:lnTo>
                  <a:lnTo>
                    <a:pt x="149" y="412"/>
                  </a:lnTo>
                  <a:lnTo>
                    <a:pt x="147" y="412"/>
                  </a:lnTo>
                  <a:lnTo>
                    <a:pt x="147" y="410"/>
                  </a:lnTo>
                  <a:lnTo>
                    <a:pt x="145" y="408"/>
                  </a:lnTo>
                  <a:lnTo>
                    <a:pt x="145" y="408"/>
                  </a:lnTo>
                  <a:lnTo>
                    <a:pt x="145" y="408"/>
                  </a:lnTo>
                  <a:lnTo>
                    <a:pt x="145" y="406"/>
                  </a:lnTo>
                  <a:lnTo>
                    <a:pt x="145" y="406"/>
                  </a:lnTo>
                  <a:lnTo>
                    <a:pt x="145" y="404"/>
                  </a:lnTo>
                  <a:lnTo>
                    <a:pt x="143" y="404"/>
                  </a:lnTo>
                  <a:lnTo>
                    <a:pt x="143" y="402"/>
                  </a:lnTo>
                  <a:lnTo>
                    <a:pt x="141" y="402"/>
                  </a:lnTo>
                  <a:lnTo>
                    <a:pt x="141" y="402"/>
                  </a:lnTo>
                  <a:lnTo>
                    <a:pt x="141" y="402"/>
                  </a:lnTo>
                  <a:lnTo>
                    <a:pt x="141" y="400"/>
                  </a:lnTo>
                  <a:lnTo>
                    <a:pt x="141" y="400"/>
                  </a:lnTo>
                  <a:lnTo>
                    <a:pt x="141" y="398"/>
                  </a:lnTo>
                  <a:lnTo>
                    <a:pt x="143" y="396"/>
                  </a:lnTo>
                  <a:lnTo>
                    <a:pt x="143" y="394"/>
                  </a:lnTo>
                  <a:lnTo>
                    <a:pt x="143" y="394"/>
                  </a:lnTo>
                  <a:lnTo>
                    <a:pt x="141" y="394"/>
                  </a:lnTo>
                  <a:lnTo>
                    <a:pt x="139" y="392"/>
                  </a:lnTo>
                  <a:lnTo>
                    <a:pt x="139" y="390"/>
                  </a:lnTo>
                  <a:lnTo>
                    <a:pt x="139" y="390"/>
                  </a:lnTo>
                  <a:lnTo>
                    <a:pt x="139" y="388"/>
                  </a:lnTo>
                  <a:lnTo>
                    <a:pt x="139" y="388"/>
                  </a:lnTo>
                  <a:lnTo>
                    <a:pt x="139" y="388"/>
                  </a:lnTo>
                  <a:lnTo>
                    <a:pt x="139" y="388"/>
                  </a:lnTo>
                  <a:lnTo>
                    <a:pt x="139" y="386"/>
                  </a:lnTo>
                  <a:lnTo>
                    <a:pt x="141" y="386"/>
                  </a:lnTo>
                  <a:lnTo>
                    <a:pt x="141" y="386"/>
                  </a:lnTo>
                  <a:lnTo>
                    <a:pt x="141" y="384"/>
                  </a:lnTo>
                  <a:lnTo>
                    <a:pt x="141" y="381"/>
                  </a:lnTo>
                  <a:lnTo>
                    <a:pt x="141" y="381"/>
                  </a:lnTo>
                  <a:lnTo>
                    <a:pt x="141" y="381"/>
                  </a:lnTo>
                  <a:lnTo>
                    <a:pt x="141" y="381"/>
                  </a:lnTo>
                  <a:lnTo>
                    <a:pt x="141" y="379"/>
                  </a:lnTo>
                  <a:lnTo>
                    <a:pt x="137" y="379"/>
                  </a:lnTo>
                  <a:lnTo>
                    <a:pt x="137" y="377"/>
                  </a:lnTo>
                  <a:lnTo>
                    <a:pt x="137" y="377"/>
                  </a:lnTo>
                  <a:lnTo>
                    <a:pt x="137" y="377"/>
                  </a:lnTo>
                  <a:lnTo>
                    <a:pt x="137" y="375"/>
                  </a:lnTo>
                  <a:lnTo>
                    <a:pt x="139" y="375"/>
                  </a:lnTo>
                  <a:lnTo>
                    <a:pt x="139" y="373"/>
                  </a:lnTo>
                  <a:lnTo>
                    <a:pt x="139" y="373"/>
                  </a:lnTo>
                  <a:lnTo>
                    <a:pt x="139" y="373"/>
                  </a:lnTo>
                  <a:lnTo>
                    <a:pt x="139" y="371"/>
                  </a:lnTo>
                  <a:lnTo>
                    <a:pt x="139" y="371"/>
                  </a:lnTo>
                  <a:lnTo>
                    <a:pt x="139" y="371"/>
                  </a:lnTo>
                  <a:lnTo>
                    <a:pt x="139" y="369"/>
                  </a:lnTo>
                  <a:lnTo>
                    <a:pt x="139" y="369"/>
                  </a:lnTo>
                  <a:lnTo>
                    <a:pt x="137" y="369"/>
                  </a:lnTo>
                  <a:lnTo>
                    <a:pt x="133" y="367"/>
                  </a:lnTo>
                  <a:lnTo>
                    <a:pt x="133" y="367"/>
                  </a:lnTo>
                  <a:lnTo>
                    <a:pt x="133" y="365"/>
                  </a:lnTo>
                  <a:lnTo>
                    <a:pt x="133" y="365"/>
                  </a:lnTo>
                  <a:lnTo>
                    <a:pt x="133" y="365"/>
                  </a:lnTo>
                  <a:lnTo>
                    <a:pt x="133" y="363"/>
                  </a:lnTo>
                  <a:lnTo>
                    <a:pt x="131" y="361"/>
                  </a:lnTo>
                  <a:lnTo>
                    <a:pt x="127" y="359"/>
                  </a:lnTo>
                  <a:lnTo>
                    <a:pt x="127" y="359"/>
                  </a:lnTo>
                  <a:lnTo>
                    <a:pt x="125" y="359"/>
                  </a:lnTo>
                  <a:lnTo>
                    <a:pt x="125" y="359"/>
                  </a:lnTo>
                  <a:lnTo>
                    <a:pt x="125" y="359"/>
                  </a:lnTo>
                  <a:lnTo>
                    <a:pt x="125" y="359"/>
                  </a:lnTo>
                  <a:lnTo>
                    <a:pt x="125" y="359"/>
                  </a:lnTo>
                  <a:lnTo>
                    <a:pt x="125" y="361"/>
                  </a:lnTo>
                  <a:lnTo>
                    <a:pt x="125" y="361"/>
                  </a:lnTo>
                  <a:lnTo>
                    <a:pt x="125" y="361"/>
                  </a:lnTo>
                  <a:lnTo>
                    <a:pt x="125" y="361"/>
                  </a:lnTo>
                  <a:lnTo>
                    <a:pt x="125" y="363"/>
                  </a:lnTo>
                  <a:lnTo>
                    <a:pt x="125" y="363"/>
                  </a:lnTo>
                  <a:lnTo>
                    <a:pt x="125" y="363"/>
                  </a:lnTo>
                  <a:lnTo>
                    <a:pt x="125" y="363"/>
                  </a:lnTo>
                  <a:lnTo>
                    <a:pt x="123" y="363"/>
                  </a:lnTo>
                  <a:lnTo>
                    <a:pt x="121" y="363"/>
                  </a:lnTo>
                  <a:lnTo>
                    <a:pt x="121" y="365"/>
                  </a:lnTo>
                  <a:lnTo>
                    <a:pt x="121" y="365"/>
                  </a:lnTo>
                  <a:lnTo>
                    <a:pt x="121" y="365"/>
                  </a:lnTo>
                  <a:lnTo>
                    <a:pt x="119" y="365"/>
                  </a:lnTo>
                  <a:lnTo>
                    <a:pt x="119" y="365"/>
                  </a:lnTo>
                  <a:lnTo>
                    <a:pt x="119" y="367"/>
                  </a:lnTo>
                  <a:lnTo>
                    <a:pt x="119" y="367"/>
                  </a:lnTo>
                  <a:lnTo>
                    <a:pt x="119" y="367"/>
                  </a:lnTo>
                  <a:lnTo>
                    <a:pt x="117" y="367"/>
                  </a:lnTo>
                  <a:lnTo>
                    <a:pt x="117" y="369"/>
                  </a:lnTo>
                  <a:lnTo>
                    <a:pt x="117" y="369"/>
                  </a:lnTo>
                  <a:lnTo>
                    <a:pt x="115" y="369"/>
                  </a:lnTo>
                  <a:lnTo>
                    <a:pt x="115" y="369"/>
                  </a:lnTo>
                  <a:lnTo>
                    <a:pt x="115" y="371"/>
                  </a:lnTo>
                  <a:lnTo>
                    <a:pt x="115" y="371"/>
                  </a:lnTo>
                  <a:lnTo>
                    <a:pt x="115" y="371"/>
                  </a:lnTo>
                  <a:lnTo>
                    <a:pt x="110" y="371"/>
                  </a:lnTo>
                  <a:lnTo>
                    <a:pt x="108" y="373"/>
                  </a:lnTo>
                  <a:lnTo>
                    <a:pt x="108" y="373"/>
                  </a:lnTo>
                  <a:lnTo>
                    <a:pt x="108" y="373"/>
                  </a:lnTo>
                  <a:lnTo>
                    <a:pt x="106" y="373"/>
                  </a:lnTo>
                  <a:lnTo>
                    <a:pt x="106" y="373"/>
                  </a:lnTo>
                  <a:lnTo>
                    <a:pt x="104" y="373"/>
                  </a:lnTo>
                  <a:lnTo>
                    <a:pt x="104" y="373"/>
                  </a:lnTo>
                  <a:lnTo>
                    <a:pt x="104" y="373"/>
                  </a:lnTo>
                  <a:lnTo>
                    <a:pt x="104" y="373"/>
                  </a:lnTo>
                  <a:lnTo>
                    <a:pt x="104" y="373"/>
                  </a:lnTo>
                  <a:lnTo>
                    <a:pt x="102" y="375"/>
                  </a:lnTo>
                  <a:lnTo>
                    <a:pt x="102" y="377"/>
                  </a:lnTo>
                  <a:lnTo>
                    <a:pt x="102" y="377"/>
                  </a:lnTo>
                  <a:lnTo>
                    <a:pt x="102" y="377"/>
                  </a:lnTo>
                  <a:lnTo>
                    <a:pt x="100" y="377"/>
                  </a:lnTo>
                  <a:lnTo>
                    <a:pt x="98" y="377"/>
                  </a:lnTo>
                  <a:lnTo>
                    <a:pt x="98" y="377"/>
                  </a:lnTo>
                  <a:lnTo>
                    <a:pt x="98" y="377"/>
                  </a:lnTo>
                  <a:lnTo>
                    <a:pt x="96" y="377"/>
                  </a:lnTo>
                  <a:lnTo>
                    <a:pt x="96" y="377"/>
                  </a:lnTo>
                  <a:lnTo>
                    <a:pt x="94" y="377"/>
                  </a:lnTo>
                  <a:lnTo>
                    <a:pt x="94" y="377"/>
                  </a:lnTo>
                  <a:lnTo>
                    <a:pt x="94" y="375"/>
                  </a:lnTo>
                  <a:lnTo>
                    <a:pt x="92" y="373"/>
                  </a:lnTo>
                  <a:lnTo>
                    <a:pt x="90" y="373"/>
                  </a:lnTo>
                  <a:lnTo>
                    <a:pt x="90" y="373"/>
                  </a:lnTo>
                  <a:lnTo>
                    <a:pt x="90" y="371"/>
                  </a:lnTo>
                  <a:lnTo>
                    <a:pt x="90" y="371"/>
                  </a:lnTo>
                  <a:lnTo>
                    <a:pt x="90" y="371"/>
                  </a:lnTo>
                  <a:lnTo>
                    <a:pt x="88" y="369"/>
                  </a:lnTo>
                  <a:lnTo>
                    <a:pt x="86" y="369"/>
                  </a:lnTo>
                  <a:lnTo>
                    <a:pt x="84" y="367"/>
                  </a:lnTo>
                  <a:lnTo>
                    <a:pt x="82" y="367"/>
                  </a:lnTo>
                  <a:lnTo>
                    <a:pt x="80" y="367"/>
                  </a:lnTo>
                  <a:lnTo>
                    <a:pt x="80" y="367"/>
                  </a:lnTo>
                  <a:lnTo>
                    <a:pt x="80" y="365"/>
                  </a:lnTo>
                  <a:lnTo>
                    <a:pt x="82" y="365"/>
                  </a:lnTo>
                  <a:lnTo>
                    <a:pt x="82" y="365"/>
                  </a:lnTo>
                  <a:lnTo>
                    <a:pt x="82" y="363"/>
                  </a:lnTo>
                  <a:lnTo>
                    <a:pt x="82" y="363"/>
                  </a:lnTo>
                  <a:lnTo>
                    <a:pt x="82" y="363"/>
                  </a:lnTo>
                  <a:lnTo>
                    <a:pt x="82" y="361"/>
                  </a:lnTo>
                  <a:lnTo>
                    <a:pt x="82" y="361"/>
                  </a:lnTo>
                  <a:lnTo>
                    <a:pt x="82" y="361"/>
                  </a:lnTo>
                  <a:lnTo>
                    <a:pt x="82" y="359"/>
                  </a:lnTo>
                  <a:lnTo>
                    <a:pt x="84" y="359"/>
                  </a:lnTo>
                  <a:lnTo>
                    <a:pt x="86" y="357"/>
                  </a:lnTo>
                  <a:lnTo>
                    <a:pt x="86" y="357"/>
                  </a:lnTo>
                  <a:lnTo>
                    <a:pt x="86" y="357"/>
                  </a:lnTo>
                  <a:lnTo>
                    <a:pt x="86" y="357"/>
                  </a:lnTo>
                  <a:lnTo>
                    <a:pt x="86" y="357"/>
                  </a:lnTo>
                  <a:lnTo>
                    <a:pt x="86" y="355"/>
                  </a:lnTo>
                  <a:lnTo>
                    <a:pt x="86" y="355"/>
                  </a:lnTo>
                  <a:lnTo>
                    <a:pt x="86" y="355"/>
                  </a:lnTo>
                  <a:lnTo>
                    <a:pt x="86" y="353"/>
                  </a:lnTo>
                  <a:lnTo>
                    <a:pt x="86" y="353"/>
                  </a:lnTo>
                  <a:lnTo>
                    <a:pt x="86" y="351"/>
                  </a:lnTo>
                  <a:lnTo>
                    <a:pt x="84" y="349"/>
                  </a:lnTo>
                  <a:lnTo>
                    <a:pt x="84" y="349"/>
                  </a:lnTo>
                  <a:lnTo>
                    <a:pt x="84" y="349"/>
                  </a:lnTo>
                  <a:lnTo>
                    <a:pt x="84" y="347"/>
                  </a:lnTo>
                  <a:lnTo>
                    <a:pt x="84" y="347"/>
                  </a:lnTo>
                  <a:lnTo>
                    <a:pt x="82" y="345"/>
                  </a:lnTo>
                  <a:lnTo>
                    <a:pt x="84" y="345"/>
                  </a:lnTo>
                  <a:lnTo>
                    <a:pt x="84" y="345"/>
                  </a:lnTo>
                  <a:lnTo>
                    <a:pt x="84" y="343"/>
                  </a:lnTo>
                  <a:lnTo>
                    <a:pt x="84" y="343"/>
                  </a:lnTo>
                  <a:lnTo>
                    <a:pt x="86" y="343"/>
                  </a:lnTo>
                  <a:lnTo>
                    <a:pt x="86" y="343"/>
                  </a:lnTo>
                  <a:lnTo>
                    <a:pt x="86" y="340"/>
                  </a:lnTo>
                  <a:lnTo>
                    <a:pt x="88" y="340"/>
                  </a:lnTo>
                  <a:lnTo>
                    <a:pt x="88" y="338"/>
                  </a:lnTo>
                  <a:lnTo>
                    <a:pt x="88" y="338"/>
                  </a:lnTo>
                  <a:lnTo>
                    <a:pt x="88" y="338"/>
                  </a:lnTo>
                  <a:lnTo>
                    <a:pt x="88" y="338"/>
                  </a:lnTo>
                  <a:lnTo>
                    <a:pt x="90" y="338"/>
                  </a:lnTo>
                  <a:lnTo>
                    <a:pt x="90" y="338"/>
                  </a:lnTo>
                  <a:lnTo>
                    <a:pt x="92" y="338"/>
                  </a:lnTo>
                  <a:lnTo>
                    <a:pt x="94" y="338"/>
                  </a:lnTo>
                  <a:lnTo>
                    <a:pt x="94" y="338"/>
                  </a:lnTo>
                  <a:lnTo>
                    <a:pt x="94" y="338"/>
                  </a:lnTo>
                  <a:lnTo>
                    <a:pt x="96" y="336"/>
                  </a:lnTo>
                  <a:lnTo>
                    <a:pt x="96" y="336"/>
                  </a:lnTo>
                  <a:lnTo>
                    <a:pt x="96" y="334"/>
                  </a:lnTo>
                  <a:lnTo>
                    <a:pt x="96" y="334"/>
                  </a:lnTo>
                  <a:lnTo>
                    <a:pt x="96" y="332"/>
                  </a:lnTo>
                  <a:lnTo>
                    <a:pt x="96" y="330"/>
                  </a:lnTo>
                  <a:lnTo>
                    <a:pt x="96" y="330"/>
                  </a:lnTo>
                  <a:lnTo>
                    <a:pt x="96" y="330"/>
                  </a:lnTo>
                  <a:lnTo>
                    <a:pt x="96" y="330"/>
                  </a:lnTo>
                  <a:lnTo>
                    <a:pt x="96" y="328"/>
                  </a:lnTo>
                  <a:lnTo>
                    <a:pt x="96" y="328"/>
                  </a:lnTo>
                  <a:lnTo>
                    <a:pt x="96" y="326"/>
                  </a:lnTo>
                  <a:lnTo>
                    <a:pt x="98" y="326"/>
                  </a:lnTo>
                  <a:lnTo>
                    <a:pt x="98" y="326"/>
                  </a:lnTo>
                  <a:lnTo>
                    <a:pt x="96" y="324"/>
                  </a:lnTo>
                  <a:lnTo>
                    <a:pt x="96" y="324"/>
                  </a:lnTo>
                  <a:lnTo>
                    <a:pt x="94" y="324"/>
                  </a:lnTo>
                  <a:lnTo>
                    <a:pt x="92" y="322"/>
                  </a:lnTo>
                  <a:lnTo>
                    <a:pt x="92" y="322"/>
                  </a:lnTo>
                  <a:lnTo>
                    <a:pt x="92" y="322"/>
                  </a:lnTo>
                  <a:lnTo>
                    <a:pt x="92" y="320"/>
                  </a:lnTo>
                  <a:lnTo>
                    <a:pt x="92" y="320"/>
                  </a:lnTo>
                  <a:lnTo>
                    <a:pt x="92" y="320"/>
                  </a:lnTo>
                  <a:lnTo>
                    <a:pt x="92" y="318"/>
                  </a:lnTo>
                  <a:lnTo>
                    <a:pt x="92" y="318"/>
                  </a:lnTo>
                  <a:lnTo>
                    <a:pt x="92" y="318"/>
                  </a:lnTo>
                  <a:lnTo>
                    <a:pt x="92" y="316"/>
                  </a:lnTo>
                  <a:lnTo>
                    <a:pt x="92" y="316"/>
                  </a:lnTo>
                  <a:lnTo>
                    <a:pt x="94" y="314"/>
                  </a:lnTo>
                  <a:lnTo>
                    <a:pt x="94" y="314"/>
                  </a:lnTo>
                  <a:lnTo>
                    <a:pt x="94" y="314"/>
                  </a:lnTo>
                  <a:lnTo>
                    <a:pt x="94" y="312"/>
                  </a:lnTo>
                  <a:lnTo>
                    <a:pt x="94" y="312"/>
                  </a:lnTo>
                  <a:lnTo>
                    <a:pt x="94" y="312"/>
                  </a:lnTo>
                  <a:lnTo>
                    <a:pt x="94" y="310"/>
                  </a:lnTo>
                  <a:lnTo>
                    <a:pt x="92" y="308"/>
                  </a:lnTo>
                  <a:lnTo>
                    <a:pt x="92" y="306"/>
                  </a:lnTo>
                  <a:lnTo>
                    <a:pt x="92" y="306"/>
                  </a:lnTo>
                  <a:lnTo>
                    <a:pt x="92" y="306"/>
                  </a:lnTo>
                  <a:lnTo>
                    <a:pt x="92" y="306"/>
                  </a:lnTo>
                  <a:lnTo>
                    <a:pt x="92" y="306"/>
                  </a:lnTo>
                  <a:lnTo>
                    <a:pt x="92" y="304"/>
                  </a:lnTo>
                  <a:lnTo>
                    <a:pt x="94" y="304"/>
                  </a:lnTo>
                  <a:lnTo>
                    <a:pt x="96" y="304"/>
                  </a:lnTo>
                  <a:lnTo>
                    <a:pt x="96" y="304"/>
                  </a:lnTo>
                  <a:lnTo>
                    <a:pt x="96" y="304"/>
                  </a:lnTo>
                  <a:lnTo>
                    <a:pt x="98" y="304"/>
                  </a:lnTo>
                  <a:lnTo>
                    <a:pt x="98" y="304"/>
                  </a:lnTo>
                  <a:lnTo>
                    <a:pt x="98" y="304"/>
                  </a:lnTo>
                  <a:lnTo>
                    <a:pt x="98" y="302"/>
                  </a:lnTo>
                  <a:lnTo>
                    <a:pt x="98" y="302"/>
                  </a:lnTo>
                  <a:lnTo>
                    <a:pt x="98" y="299"/>
                  </a:lnTo>
                  <a:lnTo>
                    <a:pt x="98" y="299"/>
                  </a:lnTo>
                  <a:lnTo>
                    <a:pt x="98" y="297"/>
                  </a:lnTo>
                  <a:lnTo>
                    <a:pt x="98" y="297"/>
                  </a:lnTo>
                  <a:lnTo>
                    <a:pt x="96" y="295"/>
                  </a:lnTo>
                  <a:lnTo>
                    <a:pt x="96" y="295"/>
                  </a:lnTo>
                  <a:lnTo>
                    <a:pt x="96" y="295"/>
                  </a:lnTo>
                  <a:lnTo>
                    <a:pt x="98" y="295"/>
                  </a:lnTo>
                  <a:lnTo>
                    <a:pt x="98" y="293"/>
                  </a:lnTo>
                  <a:lnTo>
                    <a:pt x="98" y="293"/>
                  </a:lnTo>
                  <a:lnTo>
                    <a:pt x="98" y="293"/>
                  </a:lnTo>
                  <a:lnTo>
                    <a:pt x="98" y="293"/>
                  </a:lnTo>
                  <a:lnTo>
                    <a:pt x="98" y="291"/>
                  </a:lnTo>
                  <a:lnTo>
                    <a:pt x="98" y="291"/>
                  </a:lnTo>
                  <a:lnTo>
                    <a:pt x="100" y="289"/>
                  </a:lnTo>
                  <a:lnTo>
                    <a:pt x="102" y="287"/>
                  </a:lnTo>
                  <a:lnTo>
                    <a:pt x="102" y="287"/>
                  </a:lnTo>
                  <a:lnTo>
                    <a:pt x="102" y="287"/>
                  </a:lnTo>
                  <a:lnTo>
                    <a:pt x="102" y="287"/>
                  </a:lnTo>
                  <a:lnTo>
                    <a:pt x="102" y="285"/>
                  </a:lnTo>
                  <a:lnTo>
                    <a:pt x="102" y="283"/>
                  </a:lnTo>
                  <a:lnTo>
                    <a:pt x="102" y="283"/>
                  </a:lnTo>
                  <a:lnTo>
                    <a:pt x="102" y="281"/>
                  </a:lnTo>
                  <a:lnTo>
                    <a:pt x="106" y="279"/>
                  </a:lnTo>
                  <a:lnTo>
                    <a:pt x="106" y="277"/>
                  </a:lnTo>
                  <a:lnTo>
                    <a:pt x="106" y="277"/>
                  </a:lnTo>
                  <a:lnTo>
                    <a:pt x="106" y="277"/>
                  </a:lnTo>
                  <a:lnTo>
                    <a:pt x="106" y="275"/>
                  </a:lnTo>
                  <a:lnTo>
                    <a:pt x="106" y="275"/>
                  </a:lnTo>
                  <a:lnTo>
                    <a:pt x="106" y="275"/>
                  </a:lnTo>
                  <a:lnTo>
                    <a:pt x="106" y="275"/>
                  </a:lnTo>
                  <a:lnTo>
                    <a:pt x="104" y="273"/>
                  </a:lnTo>
                  <a:lnTo>
                    <a:pt x="104" y="273"/>
                  </a:lnTo>
                  <a:lnTo>
                    <a:pt x="104" y="273"/>
                  </a:lnTo>
                  <a:lnTo>
                    <a:pt x="104" y="273"/>
                  </a:lnTo>
                  <a:lnTo>
                    <a:pt x="104" y="271"/>
                  </a:lnTo>
                  <a:lnTo>
                    <a:pt x="104" y="271"/>
                  </a:lnTo>
                  <a:lnTo>
                    <a:pt x="104" y="271"/>
                  </a:lnTo>
                  <a:lnTo>
                    <a:pt x="108" y="271"/>
                  </a:lnTo>
                  <a:lnTo>
                    <a:pt x="108" y="271"/>
                  </a:lnTo>
                  <a:lnTo>
                    <a:pt x="108" y="271"/>
                  </a:lnTo>
                  <a:lnTo>
                    <a:pt x="108" y="271"/>
                  </a:lnTo>
                  <a:lnTo>
                    <a:pt x="108" y="269"/>
                  </a:lnTo>
                  <a:lnTo>
                    <a:pt x="110" y="269"/>
                  </a:lnTo>
                  <a:lnTo>
                    <a:pt x="108" y="269"/>
                  </a:lnTo>
                  <a:lnTo>
                    <a:pt x="108" y="269"/>
                  </a:lnTo>
                  <a:lnTo>
                    <a:pt x="108" y="267"/>
                  </a:lnTo>
                  <a:lnTo>
                    <a:pt x="108" y="267"/>
                  </a:lnTo>
                  <a:lnTo>
                    <a:pt x="108" y="267"/>
                  </a:lnTo>
                  <a:lnTo>
                    <a:pt x="108" y="267"/>
                  </a:lnTo>
                  <a:lnTo>
                    <a:pt x="110" y="265"/>
                  </a:lnTo>
                  <a:lnTo>
                    <a:pt x="110" y="265"/>
                  </a:lnTo>
                  <a:lnTo>
                    <a:pt x="110" y="265"/>
                  </a:lnTo>
                  <a:lnTo>
                    <a:pt x="110" y="263"/>
                  </a:lnTo>
                  <a:lnTo>
                    <a:pt x="110" y="263"/>
                  </a:lnTo>
                  <a:lnTo>
                    <a:pt x="110" y="263"/>
                  </a:lnTo>
                  <a:lnTo>
                    <a:pt x="110" y="263"/>
                  </a:lnTo>
                  <a:lnTo>
                    <a:pt x="110" y="261"/>
                  </a:lnTo>
                  <a:lnTo>
                    <a:pt x="112" y="261"/>
                  </a:lnTo>
                  <a:lnTo>
                    <a:pt x="112" y="259"/>
                  </a:lnTo>
                  <a:lnTo>
                    <a:pt x="112" y="256"/>
                  </a:lnTo>
                  <a:lnTo>
                    <a:pt x="112" y="256"/>
                  </a:lnTo>
                  <a:lnTo>
                    <a:pt x="112" y="256"/>
                  </a:lnTo>
                  <a:lnTo>
                    <a:pt x="112" y="254"/>
                  </a:lnTo>
                  <a:lnTo>
                    <a:pt x="112" y="254"/>
                  </a:lnTo>
                  <a:lnTo>
                    <a:pt x="110" y="254"/>
                  </a:lnTo>
                  <a:lnTo>
                    <a:pt x="110" y="254"/>
                  </a:lnTo>
                  <a:lnTo>
                    <a:pt x="110" y="254"/>
                  </a:lnTo>
                  <a:lnTo>
                    <a:pt x="104" y="254"/>
                  </a:lnTo>
                  <a:lnTo>
                    <a:pt x="104" y="254"/>
                  </a:lnTo>
                  <a:lnTo>
                    <a:pt x="102" y="256"/>
                  </a:lnTo>
                  <a:lnTo>
                    <a:pt x="102" y="256"/>
                  </a:lnTo>
                  <a:lnTo>
                    <a:pt x="100" y="256"/>
                  </a:lnTo>
                  <a:lnTo>
                    <a:pt x="100" y="256"/>
                  </a:lnTo>
                  <a:lnTo>
                    <a:pt x="100" y="256"/>
                  </a:lnTo>
                  <a:lnTo>
                    <a:pt x="98" y="254"/>
                  </a:lnTo>
                  <a:lnTo>
                    <a:pt x="98" y="254"/>
                  </a:lnTo>
                  <a:lnTo>
                    <a:pt x="98" y="254"/>
                  </a:lnTo>
                  <a:lnTo>
                    <a:pt x="96" y="256"/>
                  </a:lnTo>
                  <a:lnTo>
                    <a:pt x="94" y="256"/>
                  </a:lnTo>
                  <a:lnTo>
                    <a:pt x="94" y="256"/>
                  </a:lnTo>
                  <a:lnTo>
                    <a:pt x="92" y="254"/>
                  </a:lnTo>
                  <a:lnTo>
                    <a:pt x="92" y="254"/>
                  </a:lnTo>
                  <a:lnTo>
                    <a:pt x="90" y="252"/>
                  </a:lnTo>
                  <a:lnTo>
                    <a:pt x="88" y="252"/>
                  </a:lnTo>
                  <a:lnTo>
                    <a:pt x="88" y="252"/>
                  </a:lnTo>
                  <a:lnTo>
                    <a:pt x="88" y="250"/>
                  </a:lnTo>
                  <a:lnTo>
                    <a:pt x="88" y="250"/>
                  </a:lnTo>
                  <a:lnTo>
                    <a:pt x="88" y="250"/>
                  </a:lnTo>
                  <a:lnTo>
                    <a:pt x="88" y="250"/>
                  </a:lnTo>
                  <a:lnTo>
                    <a:pt x="90" y="248"/>
                  </a:lnTo>
                  <a:lnTo>
                    <a:pt x="90" y="248"/>
                  </a:lnTo>
                  <a:lnTo>
                    <a:pt x="90" y="246"/>
                  </a:lnTo>
                  <a:lnTo>
                    <a:pt x="90" y="246"/>
                  </a:lnTo>
                  <a:lnTo>
                    <a:pt x="90" y="246"/>
                  </a:lnTo>
                  <a:lnTo>
                    <a:pt x="88" y="244"/>
                  </a:lnTo>
                  <a:lnTo>
                    <a:pt x="86" y="244"/>
                  </a:lnTo>
                  <a:lnTo>
                    <a:pt x="86" y="244"/>
                  </a:lnTo>
                  <a:lnTo>
                    <a:pt x="86" y="244"/>
                  </a:lnTo>
                  <a:lnTo>
                    <a:pt x="86" y="244"/>
                  </a:lnTo>
                  <a:lnTo>
                    <a:pt x="84" y="244"/>
                  </a:lnTo>
                  <a:lnTo>
                    <a:pt x="84" y="244"/>
                  </a:lnTo>
                  <a:lnTo>
                    <a:pt x="82" y="246"/>
                  </a:lnTo>
                  <a:lnTo>
                    <a:pt x="80" y="246"/>
                  </a:lnTo>
                  <a:lnTo>
                    <a:pt x="80" y="246"/>
                  </a:lnTo>
                  <a:lnTo>
                    <a:pt x="80" y="246"/>
                  </a:lnTo>
                  <a:lnTo>
                    <a:pt x="80" y="246"/>
                  </a:lnTo>
                  <a:lnTo>
                    <a:pt x="80" y="244"/>
                  </a:lnTo>
                  <a:lnTo>
                    <a:pt x="80" y="244"/>
                  </a:lnTo>
                  <a:lnTo>
                    <a:pt x="80" y="242"/>
                  </a:lnTo>
                  <a:lnTo>
                    <a:pt x="80" y="242"/>
                  </a:lnTo>
                  <a:lnTo>
                    <a:pt x="80" y="240"/>
                  </a:lnTo>
                  <a:lnTo>
                    <a:pt x="80" y="240"/>
                  </a:lnTo>
                  <a:lnTo>
                    <a:pt x="80" y="240"/>
                  </a:lnTo>
                  <a:lnTo>
                    <a:pt x="80" y="240"/>
                  </a:lnTo>
                  <a:lnTo>
                    <a:pt x="78" y="238"/>
                  </a:lnTo>
                  <a:lnTo>
                    <a:pt x="76" y="238"/>
                  </a:lnTo>
                  <a:lnTo>
                    <a:pt x="76" y="236"/>
                  </a:lnTo>
                  <a:lnTo>
                    <a:pt x="74" y="236"/>
                  </a:lnTo>
                  <a:lnTo>
                    <a:pt x="74" y="234"/>
                  </a:lnTo>
                  <a:lnTo>
                    <a:pt x="72" y="234"/>
                  </a:lnTo>
                  <a:lnTo>
                    <a:pt x="69" y="232"/>
                  </a:lnTo>
                  <a:lnTo>
                    <a:pt x="69" y="232"/>
                  </a:lnTo>
                  <a:lnTo>
                    <a:pt x="69" y="230"/>
                  </a:lnTo>
                  <a:lnTo>
                    <a:pt x="69" y="230"/>
                  </a:lnTo>
                  <a:lnTo>
                    <a:pt x="69" y="228"/>
                  </a:lnTo>
                  <a:lnTo>
                    <a:pt x="69" y="226"/>
                  </a:lnTo>
                  <a:lnTo>
                    <a:pt x="69" y="226"/>
                  </a:lnTo>
                  <a:lnTo>
                    <a:pt x="69" y="226"/>
                  </a:lnTo>
                  <a:lnTo>
                    <a:pt x="69" y="224"/>
                  </a:lnTo>
                  <a:lnTo>
                    <a:pt x="69" y="224"/>
                  </a:lnTo>
                  <a:lnTo>
                    <a:pt x="69" y="224"/>
                  </a:lnTo>
                  <a:lnTo>
                    <a:pt x="69" y="224"/>
                  </a:lnTo>
                  <a:lnTo>
                    <a:pt x="67" y="222"/>
                  </a:lnTo>
                  <a:lnTo>
                    <a:pt x="67" y="222"/>
                  </a:lnTo>
                  <a:lnTo>
                    <a:pt x="67" y="220"/>
                  </a:lnTo>
                  <a:lnTo>
                    <a:pt x="65" y="218"/>
                  </a:lnTo>
                  <a:lnTo>
                    <a:pt x="65" y="218"/>
                  </a:lnTo>
                  <a:lnTo>
                    <a:pt x="65" y="215"/>
                  </a:lnTo>
                  <a:lnTo>
                    <a:pt x="63" y="215"/>
                  </a:lnTo>
                  <a:lnTo>
                    <a:pt x="61" y="215"/>
                  </a:lnTo>
                  <a:lnTo>
                    <a:pt x="61" y="215"/>
                  </a:lnTo>
                  <a:lnTo>
                    <a:pt x="61" y="213"/>
                  </a:lnTo>
                  <a:lnTo>
                    <a:pt x="61" y="213"/>
                  </a:lnTo>
                  <a:lnTo>
                    <a:pt x="61" y="213"/>
                  </a:lnTo>
                  <a:lnTo>
                    <a:pt x="61" y="211"/>
                  </a:lnTo>
                  <a:lnTo>
                    <a:pt x="61" y="211"/>
                  </a:lnTo>
                  <a:lnTo>
                    <a:pt x="55" y="203"/>
                  </a:lnTo>
                  <a:lnTo>
                    <a:pt x="53" y="201"/>
                  </a:lnTo>
                  <a:lnTo>
                    <a:pt x="53" y="197"/>
                  </a:lnTo>
                  <a:lnTo>
                    <a:pt x="51" y="197"/>
                  </a:lnTo>
                  <a:lnTo>
                    <a:pt x="49" y="195"/>
                  </a:lnTo>
                  <a:lnTo>
                    <a:pt x="49" y="195"/>
                  </a:lnTo>
                  <a:lnTo>
                    <a:pt x="49" y="193"/>
                  </a:lnTo>
                  <a:lnTo>
                    <a:pt x="49" y="193"/>
                  </a:lnTo>
                  <a:lnTo>
                    <a:pt x="47" y="193"/>
                  </a:lnTo>
                  <a:lnTo>
                    <a:pt x="47" y="193"/>
                  </a:lnTo>
                  <a:lnTo>
                    <a:pt x="47" y="191"/>
                  </a:lnTo>
                  <a:lnTo>
                    <a:pt x="47" y="191"/>
                  </a:lnTo>
                  <a:lnTo>
                    <a:pt x="47" y="189"/>
                  </a:lnTo>
                  <a:lnTo>
                    <a:pt x="47" y="189"/>
                  </a:lnTo>
                  <a:lnTo>
                    <a:pt x="45" y="189"/>
                  </a:lnTo>
                  <a:lnTo>
                    <a:pt x="45" y="189"/>
                  </a:lnTo>
                  <a:lnTo>
                    <a:pt x="45" y="187"/>
                  </a:lnTo>
                  <a:lnTo>
                    <a:pt x="45" y="187"/>
                  </a:lnTo>
                  <a:lnTo>
                    <a:pt x="43" y="185"/>
                  </a:lnTo>
                  <a:lnTo>
                    <a:pt x="43" y="185"/>
                  </a:lnTo>
                  <a:lnTo>
                    <a:pt x="43" y="183"/>
                  </a:lnTo>
                  <a:lnTo>
                    <a:pt x="37" y="181"/>
                  </a:lnTo>
                  <a:lnTo>
                    <a:pt x="33" y="179"/>
                  </a:lnTo>
                  <a:lnTo>
                    <a:pt x="31" y="179"/>
                  </a:lnTo>
                  <a:lnTo>
                    <a:pt x="31" y="179"/>
                  </a:lnTo>
                  <a:lnTo>
                    <a:pt x="31" y="177"/>
                  </a:lnTo>
                  <a:lnTo>
                    <a:pt x="31" y="177"/>
                  </a:lnTo>
                  <a:lnTo>
                    <a:pt x="29" y="174"/>
                  </a:lnTo>
                  <a:lnTo>
                    <a:pt x="29" y="172"/>
                  </a:lnTo>
                  <a:lnTo>
                    <a:pt x="26" y="168"/>
                  </a:lnTo>
                  <a:lnTo>
                    <a:pt x="26" y="168"/>
                  </a:lnTo>
                  <a:lnTo>
                    <a:pt x="20" y="164"/>
                  </a:lnTo>
                  <a:lnTo>
                    <a:pt x="18" y="162"/>
                  </a:lnTo>
                  <a:lnTo>
                    <a:pt x="16" y="162"/>
                  </a:lnTo>
                  <a:lnTo>
                    <a:pt x="16" y="162"/>
                  </a:lnTo>
                  <a:lnTo>
                    <a:pt x="16" y="160"/>
                  </a:lnTo>
                  <a:lnTo>
                    <a:pt x="16" y="160"/>
                  </a:lnTo>
                  <a:lnTo>
                    <a:pt x="16" y="160"/>
                  </a:lnTo>
                  <a:lnTo>
                    <a:pt x="16" y="160"/>
                  </a:lnTo>
                  <a:lnTo>
                    <a:pt x="16" y="160"/>
                  </a:lnTo>
                  <a:lnTo>
                    <a:pt x="18" y="160"/>
                  </a:lnTo>
                  <a:lnTo>
                    <a:pt x="20" y="160"/>
                  </a:lnTo>
                  <a:lnTo>
                    <a:pt x="22" y="160"/>
                  </a:lnTo>
                  <a:lnTo>
                    <a:pt x="22" y="160"/>
                  </a:lnTo>
                  <a:lnTo>
                    <a:pt x="22" y="160"/>
                  </a:lnTo>
                  <a:lnTo>
                    <a:pt x="22" y="160"/>
                  </a:lnTo>
                  <a:lnTo>
                    <a:pt x="22" y="158"/>
                  </a:lnTo>
                  <a:lnTo>
                    <a:pt x="22" y="158"/>
                  </a:lnTo>
                  <a:lnTo>
                    <a:pt x="22" y="158"/>
                  </a:lnTo>
                  <a:lnTo>
                    <a:pt x="20" y="156"/>
                  </a:lnTo>
                  <a:lnTo>
                    <a:pt x="20" y="156"/>
                  </a:lnTo>
                  <a:lnTo>
                    <a:pt x="20" y="156"/>
                  </a:lnTo>
                  <a:lnTo>
                    <a:pt x="20" y="154"/>
                  </a:lnTo>
                  <a:lnTo>
                    <a:pt x="20" y="152"/>
                  </a:lnTo>
                  <a:lnTo>
                    <a:pt x="20" y="152"/>
                  </a:lnTo>
                  <a:lnTo>
                    <a:pt x="18" y="150"/>
                  </a:lnTo>
                  <a:lnTo>
                    <a:pt x="16" y="150"/>
                  </a:lnTo>
                  <a:lnTo>
                    <a:pt x="16" y="150"/>
                  </a:lnTo>
                  <a:lnTo>
                    <a:pt x="18" y="150"/>
                  </a:lnTo>
                  <a:lnTo>
                    <a:pt x="18" y="148"/>
                  </a:lnTo>
                  <a:lnTo>
                    <a:pt x="20" y="148"/>
                  </a:lnTo>
                  <a:lnTo>
                    <a:pt x="20" y="148"/>
                  </a:lnTo>
                  <a:lnTo>
                    <a:pt x="20" y="148"/>
                  </a:lnTo>
                  <a:lnTo>
                    <a:pt x="20" y="148"/>
                  </a:lnTo>
                  <a:lnTo>
                    <a:pt x="22" y="146"/>
                  </a:lnTo>
                  <a:lnTo>
                    <a:pt x="22" y="146"/>
                  </a:lnTo>
                  <a:lnTo>
                    <a:pt x="22" y="144"/>
                  </a:lnTo>
                  <a:lnTo>
                    <a:pt x="22" y="144"/>
                  </a:lnTo>
                  <a:lnTo>
                    <a:pt x="20" y="140"/>
                  </a:lnTo>
                  <a:lnTo>
                    <a:pt x="20" y="140"/>
                  </a:lnTo>
                  <a:lnTo>
                    <a:pt x="20" y="138"/>
                  </a:lnTo>
                  <a:lnTo>
                    <a:pt x="20" y="136"/>
                  </a:lnTo>
                  <a:lnTo>
                    <a:pt x="20" y="136"/>
                  </a:lnTo>
                  <a:lnTo>
                    <a:pt x="20" y="133"/>
                  </a:lnTo>
                  <a:lnTo>
                    <a:pt x="20" y="133"/>
                  </a:lnTo>
                  <a:lnTo>
                    <a:pt x="18" y="131"/>
                  </a:lnTo>
                  <a:lnTo>
                    <a:pt x="16" y="131"/>
                  </a:lnTo>
                  <a:lnTo>
                    <a:pt x="16" y="131"/>
                  </a:lnTo>
                  <a:lnTo>
                    <a:pt x="16" y="129"/>
                  </a:lnTo>
                  <a:lnTo>
                    <a:pt x="16" y="129"/>
                  </a:lnTo>
                  <a:lnTo>
                    <a:pt x="16" y="129"/>
                  </a:lnTo>
                  <a:lnTo>
                    <a:pt x="14" y="127"/>
                  </a:lnTo>
                  <a:lnTo>
                    <a:pt x="14" y="127"/>
                  </a:lnTo>
                  <a:lnTo>
                    <a:pt x="14" y="125"/>
                  </a:lnTo>
                  <a:lnTo>
                    <a:pt x="12" y="121"/>
                  </a:lnTo>
                  <a:lnTo>
                    <a:pt x="12" y="119"/>
                  </a:lnTo>
                  <a:lnTo>
                    <a:pt x="12" y="119"/>
                  </a:lnTo>
                  <a:lnTo>
                    <a:pt x="12" y="119"/>
                  </a:lnTo>
                  <a:lnTo>
                    <a:pt x="10" y="117"/>
                  </a:lnTo>
                  <a:lnTo>
                    <a:pt x="10" y="117"/>
                  </a:lnTo>
                  <a:lnTo>
                    <a:pt x="8" y="115"/>
                  </a:lnTo>
                  <a:lnTo>
                    <a:pt x="8" y="115"/>
                  </a:lnTo>
                  <a:lnTo>
                    <a:pt x="8" y="113"/>
                  </a:lnTo>
                  <a:lnTo>
                    <a:pt x="6" y="113"/>
                  </a:lnTo>
                  <a:lnTo>
                    <a:pt x="6" y="113"/>
                  </a:lnTo>
                  <a:lnTo>
                    <a:pt x="6" y="111"/>
                  </a:lnTo>
                  <a:lnTo>
                    <a:pt x="4" y="109"/>
                  </a:lnTo>
                  <a:lnTo>
                    <a:pt x="4" y="107"/>
                  </a:lnTo>
                  <a:lnTo>
                    <a:pt x="2" y="105"/>
                  </a:lnTo>
                  <a:lnTo>
                    <a:pt x="0" y="103"/>
                  </a:lnTo>
                  <a:lnTo>
                    <a:pt x="0" y="101"/>
                  </a:lnTo>
                  <a:lnTo>
                    <a:pt x="0" y="101"/>
                  </a:lnTo>
                  <a:lnTo>
                    <a:pt x="0" y="97"/>
                  </a:lnTo>
                  <a:lnTo>
                    <a:pt x="2" y="84"/>
                  </a:lnTo>
                  <a:lnTo>
                    <a:pt x="4" y="72"/>
                  </a:lnTo>
                  <a:lnTo>
                    <a:pt x="6" y="60"/>
                  </a:lnTo>
                  <a:lnTo>
                    <a:pt x="8" y="47"/>
                  </a:lnTo>
                  <a:lnTo>
                    <a:pt x="10" y="37"/>
                  </a:lnTo>
                  <a:lnTo>
                    <a:pt x="10" y="25"/>
                  </a:lnTo>
                  <a:lnTo>
                    <a:pt x="12" y="13"/>
                  </a:lnTo>
                  <a:lnTo>
                    <a:pt x="14" y="0"/>
                  </a:lnTo>
                  <a:lnTo>
                    <a:pt x="31" y="2"/>
                  </a:lnTo>
                  <a:lnTo>
                    <a:pt x="47" y="4"/>
                  </a:lnTo>
                  <a:lnTo>
                    <a:pt x="63" y="8"/>
                  </a:lnTo>
                  <a:lnTo>
                    <a:pt x="80" y="11"/>
                  </a:lnTo>
                  <a:lnTo>
                    <a:pt x="96" y="13"/>
                  </a:lnTo>
                  <a:lnTo>
                    <a:pt x="112" y="15"/>
                  </a:lnTo>
                  <a:lnTo>
                    <a:pt x="129" y="17"/>
                  </a:lnTo>
                  <a:lnTo>
                    <a:pt x="145" y="19"/>
                  </a:lnTo>
                  <a:lnTo>
                    <a:pt x="162" y="21"/>
                  </a:lnTo>
                  <a:lnTo>
                    <a:pt x="162" y="21"/>
                  </a:lnTo>
                  <a:lnTo>
                    <a:pt x="178" y="23"/>
                  </a:lnTo>
                  <a:lnTo>
                    <a:pt x="194" y="25"/>
                  </a:lnTo>
                  <a:lnTo>
                    <a:pt x="211" y="27"/>
                  </a:lnTo>
                  <a:lnTo>
                    <a:pt x="227" y="29"/>
                  </a:lnTo>
                  <a:lnTo>
                    <a:pt x="244" y="31"/>
                  </a:lnTo>
                  <a:lnTo>
                    <a:pt x="260" y="33"/>
                  </a:lnTo>
                  <a:lnTo>
                    <a:pt x="276" y="35"/>
                  </a:lnTo>
                  <a:lnTo>
                    <a:pt x="293" y="37"/>
                  </a:lnTo>
                  <a:lnTo>
                    <a:pt x="309" y="39"/>
                  </a:lnTo>
                  <a:lnTo>
                    <a:pt x="325" y="39"/>
                  </a:lnTo>
                  <a:lnTo>
                    <a:pt x="342" y="41"/>
                  </a:lnTo>
                  <a:lnTo>
                    <a:pt x="358" y="43"/>
                  </a:lnTo>
                  <a:lnTo>
                    <a:pt x="375" y="45"/>
                  </a:lnTo>
                  <a:lnTo>
                    <a:pt x="391" y="47"/>
                  </a:lnTo>
                  <a:lnTo>
                    <a:pt x="407" y="49"/>
                  </a:lnTo>
                  <a:lnTo>
                    <a:pt x="424" y="49"/>
                  </a:lnTo>
                  <a:lnTo>
                    <a:pt x="440" y="52"/>
                  </a:lnTo>
                  <a:lnTo>
                    <a:pt x="457" y="54"/>
                  </a:lnTo>
                  <a:lnTo>
                    <a:pt x="467" y="54"/>
                  </a:lnTo>
                  <a:lnTo>
                    <a:pt x="473" y="56"/>
                  </a:lnTo>
                  <a:lnTo>
                    <a:pt x="491" y="56"/>
                  </a:lnTo>
                  <a:lnTo>
                    <a:pt x="508" y="58"/>
                  </a:lnTo>
                  <a:lnTo>
                    <a:pt x="524" y="60"/>
                  </a:lnTo>
                  <a:lnTo>
                    <a:pt x="541" y="60"/>
                  </a:lnTo>
                  <a:lnTo>
                    <a:pt x="557" y="62"/>
                  </a:lnTo>
                  <a:lnTo>
                    <a:pt x="573" y="64"/>
                  </a:lnTo>
                  <a:lnTo>
                    <a:pt x="590" y="64"/>
                  </a:lnTo>
                  <a:lnTo>
                    <a:pt x="606" y="66"/>
                  </a:lnTo>
                  <a:lnTo>
                    <a:pt x="622" y="66"/>
                  </a:lnTo>
                  <a:lnTo>
                    <a:pt x="639" y="68"/>
                  </a:lnTo>
                  <a:lnTo>
                    <a:pt x="655" y="70"/>
                  </a:lnTo>
                  <a:lnTo>
                    <a:pt x="672" y="70"/>
                  </a:lnTo>
                  <a:lnTo>
                    <a:pt x="688" y="72"/>
                  </a:lnTo>
                  <a:lnTo>
                    <a:pt x="704" y="72"/>
                  </a:lnTo>
                  <a:lnTo>
                    <a:pt x="721" y="74"/>
                  </a:lnTo>
                  <a:lnTo>
                    <a:pt x="737" y="74"/>
                  </a:lnTo>
                  <a:lnTo>
                    <a:pt x="756" y="76"/>
                  </a:lnTo>
                  <a:lnTo>
                    <a:pt x="772" y="76"/>
                  </a:lnTo>
                  <a:lnTo>
                    <a:pt x="788" y="76"/>
                  </a:lnTo>
                  <a:lnTo>
                    <a:pt x="805" y="78"/>
                  </a:lnTo>
                  <a:lnTo>
                    <a:pt x="821" y="78"/>
                  </a:lnTo>
                  <a:lnTo>
                    <a:pt x="837" y="80"/>
                  </a:lnTo>
                  <a:lnTo>
                    <a:pt x="854" y="80"/>
                  </a:lnTo>
                  <a:lnTo>
                    <a:pt x="870" y="80"/>
                  </a:lnTo>
                  <a:lnTo>
                    <a:pt x="887" y="82"/>
                  </a:lnTo>
                  <a:lnTo>
                    <a:pt x="903" y="82"/>
                  </a:lnTo>
                  <a:lnTo>
                    <a:pt x="915" y="82"/>
                  </a:lnTo>
                  <a:lnTo>
                    <a:pt x="915" y="103"/>
                  </a:lnTo>
                  <a:lnTo>
                    <a:pt x="913" y="121"/>
                  </a:lnTo>
                  <a:lnTo>
                    <a:pt x="913" y="142"/>
                  </a:lnTo>
                  <a:lnTo>
                    <a:pt x="913" y="160"/>
                  </a:lnTo>
                  <a:lnTo>
                    <a:pt x="911" y="181"/>
                  </a:lnTo>
                  <a:lnTo>
                    <a:pt x="911" y="199"/>
                  </a:lnTo>
                  <a:lnTo>
                    <a:pt x="911" y="220"/>
                  </a:lnTo>
                  <a:lnTo>
                    <a:pt x="911" y="238"/>
                  </a:lnTo>
                  <a:lnTo>
                    <a:pt x="909" y="259"/>
                  </a:lnTo>
                  <a:lnTo>
                    <a:pt x="909" y="279"/>
                  </a:lnTo>
                  <a:lnTo>
                    <a:pt x="909" y="297"/>
                  </a:lnTo>
                  <a:lnTo>
                    <a:pt x="907" y="318"/>
                  </a:lnTo>
                  <a:lnTo>
                    <a:pt x="907" y="338"/>
                  </a:lnTo>
                  <a:lnTo>
                    <a:pt x="907" y="357"/>
                  </a:lnTo>
                  <a:lnTo>
                    <a:pt x="905" y="377"/>
                  </a:lnTo>
                  <a:lnTo>
                    <a:pt x="905" y="398"/>
                  </a:lnTo>
                  <a:lnTo>
                    <a:pt x="905" y="398"/>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T</a:t>
              </a:r>
            </a:p>
          </p:txBody>
        </p:sp>
        <p:sp>
          <p:nvSpPr>
            <p:cNvPr id="162" name="Freeform 30">
              <a:extLst>
                <a:ext uri="{FF2B5EF4-FFF2-40B4-BE49-F238E27FC236}">
                  <a16:creationId xmlns:a16="http://schemas.microsoft.com/office/drawing/2014/main" id="{263D23FE-E658-6F71-6CF7-D2452CB5FA80}"/>
                </a:ext>
              </a:extLst>
            </p:cNvPr>
            <p:cNvSpPr>
              <a:spLocks noEditPoints="1"/>
            </p:cNvSpPr>
            <p:nvPr/>
          </p:nvSpPr>
          <p:spPr bwMode="auto">
            <a:xfrm>
              <a:off x="3502" y="1603"/>
              <a:ext cx="309" cy="535"/>
            </a:xfrm>
            <a:custGeom>
              <a:avLst/>
              <a:gdLst>
                <a:gd name="T0" fmla="*/ 245 w 309"/>
                <a:gd name="T1" fmla="*/ 522 h 535"/>
                <a:gd name="T2" fmla="*/ 247 w 309"/>
                <a:gd name="T3" fmla="*/ 524 h 535"/>
                <a:gd name="T4" fmla="*/ 247 w 309"/>
                <a:gd name="T5" fmla="*/ 518 h 535"/>
                <a:gd name="T6" fmla="*/ 258 w 309"/>
                <a:gd name="T7" fmla="*/ 522 h 535"/>
                <a:gd name="T8" fmla="*/ 309 w 309"/>
                <a:gd name="T9" fmla="*/ 516 h 535"/>
                <a:gd name="T10" fmla="*/ 299 w 309"/>
                <a:gd name="T11" fmla="*/ 436 h 535"/>
                <a:gd name="T12" fmla="*/ 286 w 309"/>
                <a:gd name="T13" fmla="*/ 346 h 535"/>
                <a:gd name="T14" fmla="*/ 284 w 309"/>
                <a:gd name="T15" fmla="*/ 297 h 535"/>
                <a:gd name="T16" fmla="*/ 284 w 309"/>
                <a:gd name="T17" fmla="*/ 190 h 535"/>
                <a:gd name="T18" fmla="*/ 284 w 309"/>
                <a:gd name="T19" fmla="*/ 65 h 535"/>
                <a:gd name="T20" fmla="*/ 284 w 309"/>
                <a:gd name="T21" fmla="*/ 10 h 535"/>
                <a:gd name="T22" fmla="*/ 249 w 309"/>
                <a:gd name="T23" fmla="*/ 4 h 535"/>
                <a:gd name="T24" fmla="*/ 157 w 309"/>
                <a:gd name="T25" fmla="*/ 12 h 535"/>
                <a:gd name="T26" fmla="*/ 92 w 309"/>
                <a:gd name="T27" fmla="*/ 22 h 535"/>
                <a:gd name="T28" fmla="*/ 77 w 309"/>
                <a:gd name="T29" fmla="*/ 45 h 535"/>
                <a:gd name="T30" fmla="*/ 67 w 309"/>
                <a:gd name="T31" fmla="*/ 55 h 535"/>
                <a:gd name="T32" fmla="*/ 61 w 309"/>
                <a:gd name="T33" fmla="*/ 88 h 535"/>
                <a:gd name="T34" fmla="*/ 55 w 309"/>
                <a:gd name="T35" fmla="*/ 94 h 535"/>
                <a:gd name="T36" fmla="*/ 49 w 309"/>
                <a:gd name="T37" fmla="*/ 98 h 535"/>
                <a:gd name="T38" fmla="*/ 38 w 309"/>
                <a:gd name="T39" fmla="*/ 116 h 535"/>
                <a:gd name="T40" fmla="*/ 32 w 309"/>
                <a:gd name="T41" fmla="*/ 131 h 535"/>
                <a:gd name="T42" fmla="*/ 32 w 309"/>
                <a:gd name="T43" fmla="*/ 141 h 535"/>
                <a:gd name="T44" fmla="*/ 28 w 309"/>
                <a:gd name="T45" fmla="*/ 155 h 535"/>
                <a:gd name="T46" fmla="*/ 18 w 309"/>
                <a:gd name="T47" fmla="*/ 168 h 535"/>
                <a:gd name="T48" fmla="*/ 20 w 309"/>
                <a:gd name="T49" fmla="*/ 178 h 535"/>
                <a:gd name="T50" fmla="*/ 28 w 309"/>
                <a:gd name="T51" fmla="*/ 190 h 535"/>
                <a:gd name="T52" fmla="*/ 30 w 309"/>
                <a:gd name="T53" fmla="*/ 209 h 535"/>
                <a:gd name="T54" fmla="*/ 30 w 309"/>
                <a:gd name="T55" fmla="*/ 225 h 535"/>
                <a:gd name="T56" fmla="*/ 34 w 309"/>
                <a:gd name="T57" fmla="*/ 244 h 535"/>
                <a:gd name="T58" fmla="*/ 34 w 309"/>
                <a:gd name="T59" fmla="*/ 256 h 535"/>
                <a:gd name="T60" fmla="*/ 38 w 309"/>
                <a:gd name="T61" fmla="*/ 272 h 535"/>
                <a:gd name="T62" fmla="*/ 34 w 309"/>
                <a:gd name="T63" fmla="*/ 282 h 535"/>
                <a:gd name="T64" fmla="*/ 38 w 309"/>
                <a:gd name="T65" fmla="*/ 295 h 535"/>
                <a:gd name="T66" fmla="*/ 53 w 309"/>
                <a:gd name="T67" fmla="*/ 309 h 535"/>
                <a:gd name="T68" fmla="*/ 51 w 309"/>
                <a:gd name="T69" fmla="*/ 325 h 535"/>
                <a:gd name="T70" fmla="*/ 47 w 309"/>
                <a:gd name="T71" fmla="*/ 342 h 535"/>
                <a:gd name="T72" fmla="*/ 32 w 309"/>
                <a:gd name="T73" fmla="*/ 360 h 535"/>
                <a:gd name="T74" fmla="*/ 18 w 309"/>
                <a:gd name="T75" fmla="*/ 377 h 535"/>
                <a:gd name="T76" fmla="*/ 10 w 309"/>
                <a:gd name="T77" fmla="*/ 403 h 535"/>
                <a:gd name="T78" fmla="*/ 12 w 309"/>
                <a:gd name="T79" fmla="*/ 418 h 535"/>
                <a:gd name="T80" fmla="*/ 0 w 309"/>
                <a:gd name="T81" fmla="*/ 432 h 535"/>
                <a:gd name="T82" fmla="*/ 4 w 309"/>
                <a:gd name="T83" fmla="*/ 440 h 535"/>
                <a:gd name="T84" fmla="*/ 6 w 309"/>
                <a:gd name="T85" fmla="*/ 459 h 535"/>
                <a:gd name="T86" fmla="*/ 90 w 309"/>
                <a:gd name="T87" fmla="*/ 453 h 535"/>
                <a:gd name="T88" fmla="*/ 172 w 309"/>
                <a:gd name="T89" fmla="*/ 444 h 535"/>
                <a:gd name="T90" fmla="*/ 174 w 309"/>
                <a:gd name="T91" fmla="*/ 467 h 535"/>
                <a:gd name="T92" fmla="*/ 176 w 309"/>
                <a:gd name="T93" fmla="*/ 483 h 535"/>
                <a:gd name="T94" fmla="*/ 190 w 309"/>
                <a:gd name="T95" fmla="*/ 502 h 535"/>
                <a:gd name="T96" fmla="*/ 194 w 309"/>
                <a:gd name="T97" fmla="*/ 518 h 535"/>
                <a:gd name="T98" fmla="*/ 206 w 309"/>
                <a:gd name="T99" fmla="*/ 528 h 535"/>
                <a:gd name="T100" fmla="*/ 213 w 309"/>
                <a:gd name="T101" fmla="*/ 528 h 535"/>
                <a:gd name="T102" fmla="*/ 215 w 309"/>
                <a:gd name="T103" fmla="*/ 520 h 535"/>
                <a:gd name="T104" fmla="*/ 221 w 309"/>
                <a:gd name="T105" fmla="*/ 510 h 535"/>
                <a:gd name="T106" fmla="*/ 229 w 309"/>
                <a:gd name="T107" fmla="*/ 512 h 535"/>
                <a:gd name="T108" fmla="*/ 251 w 309"/>
                <a:gd name="T109" fmla="*/ 504 h 535"/>
                <a:gd name="T110" fmla="*/ 256 w 309"/>
                <a:gd name="T111" fmla="*/ 498 h 535"/>
                <a:gd name="T112" fmla="*/ 290 w 309"/>
                <a:gd name="T113" fmla="*/ 498 h 535"/>
                <a:gd name="T114" fmla="*/ 299 w 309"/>
                <a:gd name="T115" fmla="*/ 504 h 535"/>
                <a:gd name="T116" fmla="*/ 309 w 309"/>
                <a:gd name="T117" fmla="*/ 500 h 535"/>
                <a:gd name="T118" fmla="*/ 282 w 309"/>
                <a:gd name="T119" fmla="*/ 514 h 535"/>
                <a:gd name="T120" fmla="*/ 290 w 309"/>
                <a:gd name="T121" fmla="*/ 51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9" h="535">
                  <a:moveTo>
                    <a:pt x="247" y="518"/>
                  </a:moveTo>
                  <a:lnTo>
                    <a:pt x="247" y="520"/>
                  </a:lnTo>
                  <a:lnTo>
                    <a:pt x="245" y="520"/>
                  </a:lnTo>
                  <a:lnTo>
                    <a:pt x="241" y="520"/>
                  </a:lnTo>
                  <a:lnTo>
                    <a:pt x="241" y="522"/>
                  </a:lnTo>
                  <a:lnTo>
                    <a:pt x="243" y="520"/>
                  </a:lnTo>
                  <a:lnTo>
                    <a:pt x="245" y="520"/>
                  </a:lnTo>
                  <a:lnTo>
                    <a:pt x="245" y="522"/>
                  </a:lnTo>
                  <a:lnTo>
                    <a:pt x="245" y="522"/>
                  </a:lnTo>
                  <a:lnTo>
                    <a:pt x="247" y="522"/>
                  </a:lnTo>
                  <a:lnTo>
                    <a:pt x="247" y="522"/>
                  </a:lnTo>
                  <a:lnTo>
                    <a:pt x="245" y="524"/>
                  </a:lnTo>
                  <a:lnTo>
                    <a:pt x="245" y="524"/>
                  </a:lnTo>
                  <a:lnTo>
                    <a:pt x="245" y="524"/>
                  </a:lnTo>
                  <a:lnTo>
                    <a:pt x="247" y="524"/>
                  </a:lnTo>
                  <a:lnTo>
                    <a:pt x="247" y="524"/>
                  </a:lnTo>
                  <a:lnTo>
                    <a:pt x="247" y="524"/>
                  </a:lnTo>
                  <a:lnTo>
                    <a:pt x="249" y="520"/>
                  </a:lnTo>
                  <a:lnTo>
                    <a:pt x="249" y="520"/>
                  </a:lnTo>
                  <a:lnTo>
                    <a:pt x="249" y="518"/>
                  </a:lnTo>
                  <a:lnTo>
                    <a:pt x="249" y="518"/>
                  </a:lnTo>
                  <a:lnTo>
                    <a:pt x="249" y="518"/>
                  </a:lnTo>
                  <a:lnTo>
                    <a:pt x="249" y="518"/>
                  </a:lnTo>
                  <a:lnTo>
                    <a:pt x="247" y="518"/>
                  </a:lnTo>
                  <a:close/>
                  <a:moveTo>
                    <a:pt x="215" y="532"/>
                  </a:moveTo>
                  <a:lnTo>
                    <a:pt x="215" y="535"/>
                  </a:lnTo>
                  <a:lnTo>
                    <a:pt x="217" y="535"/>
                  </a:lnTo>
                  <a:lnTo>
                    <a:pt x="217" y="532"/>
                  </a:lnTo>
                  <a:lnTo>
                    <a:pt x="217" y="532"/>
                  </a:lnTo>
                  <a:lnTo>
                    <a:pt x="215" y="532"/>
                  </a:lnTo>
                  <a:close/>
                  <a:moveTo>
                    <a:pt x="258" y="522"/>
                  </a:moveTo>
                  <a:lnTo>
                    <a:pt x="258" y="522"/>
                  </a:lnTo>
                  <a:lnTo>
                    <a:pt x="260" y="520"/>
                  </a:lnTo>
                  <a:lnTo>
                    <a:pt x="262" y="520"/>
                  </a:lnTo>
                  <a:lnTo>
                    <a:pt x="260" y="520"/>
                  </a:lnTo>
                  <a:lnTo>
                    <a:pt x="258" y="522"/>
                  </a:lnTo>
                  <a:close/>
                  <a:moveTo>
                    <a:pt x="301" y="516"/>
                  </a:moveTo>
                  <a:lnTo>
                    <a:pt x="305" y="516"/>
                  </a:lnTo>
                  <a:lnTo>
                    <a:pt x="307" y="516"/>
                  </a:lnTo>
                  <a:lnTo>
                    <a:pt x="309" y="516"/>
                  </a:lnTo>
                  <a:lnTo>
                    <a:pt x="301" y="516"/>
                  </a:lnTo>
                  <a:lnTo>
                    <a:pt x="301" y="516"/>
                  </a:lnTo>
                  <a:close/>
                  <a:moveTo>
                    <a:pt x="309" y="498"/>
                  </a:moveTo>
                  <a:lnTo>
                    <a:pt x="305" y="477"/>
                  </a:lnTo>
                  <a:lnTo>
                    <a:pt x="305" y="467"/>
                  </a:lnTo>
                  <a:lnTo>
                    <a:pt x="303" y="457"/>
                  </a:lnTo>
                  <a:lnTo>
                    <a:pt x="301" y="446"/>
                  </a:lnTo>
                  <a:lnTo>
                    <a:pt x="299" y="436"/>
                  </a:lnTo>
                  <a:lnTo>
                    <a:pt x="296" y="428"/>
                  </a:lnTo>
                  <a:lnTo>
                    <a:pt x="296" y="418"/>
                  </a:lnTo>
                  <a:lnTo>
                    <a:pt x="292" y="397"/>
                  </a:lnTo>
                  <a:lnTo>
                    <a:pt x="292" y="387"/>
                  </a:lnTo>
                  <a:lnTo>
                    <a:pt x="290" y="377"/>
                  </a:lnTo>
                  <a:lnTo>
                    <a:pt x="288" y="366"/>
                  </a:lnTo>
                  <a:lnTo>
                    <a:pt x="286" y="356"/>
                  </a:lnTo>
                  <a:lnTo>
                    <a:pt x="286" y="346"/>
                  </a:lnTo>
                  <a:lnTo>
                    <a:pt x="284" y="338"/>
                  </a:lnTo>
                  <a:lnTo>
                    <a:pt x="284" y="336"/>
                  </a:lnTo>
                  <a:lnTo>
                    <a:pt x="284" y="334"/>
                  </a:lnTo>
                  <a:lnTo>
                    <a:pt x="284" y="330"/>
                  </a:lnTo>
                  <a:lnTo>
                    <a:pt x="284" y="323"/>
                  </a:lnTo>
                  <a:lnTo>
                    <a:pt x="284" y="315"/>
                  </a:lnTo>
                  <a:lnTo>
                    <a:pt x="284" y="307"/>
                  </a:lnTo>
                  <a:lnTo>
                    <a:pt x="284" y="297"/>
                  </a:lnTo>
                  <a:lnTo>
                    <a:pt x="284" y="287"/>
                  </a:lnTo>
                  <a:lnTo>
                    <a:pt x="284" y="274"/>
                  </a:lnTo>
                  <a:lnTo>
                    <a:pt x="284" y="262"/>
                  </a:lnTo>
                  <a:lnTo>
                    <a:pt x="284" y="250"/>
                  </a:lnTo>
                  <a:lnTo>
                    <a:pt x="284" y="235"/>
                  </a:lnTo>
                  <a:lnTo>
                    <a:pt x="284" y="221"/>
                  </a:lnTo>
                  <a:lnTo>
                    <a:pt x="284" y="207"/>
                  </a:lnTo>
                  <a:lnTo>
                    <a:pt x="284" y="190"/>
                  </a:lnTo>
                  <a:lnTo>
                    <a:pt x="284" y="162"/>
                  </a:lnTo>
                  <a:lnTo>
                    <a:pt x="284" y="145"/>
                  </a:lnTo>
                  <a:lnTo>
                    <a:pt x="284" y="131"/>
                  </a:lnTo>
                  <a:lnTo>
                    <a:pt x="284" y="116"/>
                  </a:lnTo>
                  <a:lnTo>
                    <a:pt x="284" y="102"/>
                  </a:lnTo>
                  <a:lnTo>
                    <a:pt x="284" y="90"/>
                  </a:lnTo>
                  <a:lnTo>
                    <a:pt x="284" y="78"/>
                  </a:lnTo>
                  <a:lnTo>
                    <a:pt x="284" y="65"/>
                  </a:lnTo>
                  <a:lnTo>
                    <a:pt x="284" y="55"/>
                  </a:lnTo>
                  <a:lnTo>
                    <a:pt x="284" y="45"/>
                  </a:lnTo>
                  <a:lnTo>
                    <a:pt x="284" y="37"/>
                  </a:lnTo>
                  <a:lnTo>
                    <a:pt x="284" y="28"/>
                  </a:lnTo>
                  <a:lnTo>
                    <a:pt x="284" y="18"/>
                  </a:lnTo>
                  <a:lnTo>
                    <a:pt x="284" y="16"/>
                  </a:lnTo>
                  <a:lnTo>
                    <a:pt x="284" y="10"/>
                  </a:lnTo>
                  <a:lnTo>
                    <a:pt x="284" y="10"/>
                  </a:lnTo>
                  <a:lnTo>
                    <a:pt x="284" y="10"/>
                  </a:lnTo>
                  <a:lnTo>
                    <a:pt x="280" y="8"/>
                  </a:lnTo>
                  <a:lnTo>
                    <a:pt x="278" y="4"/>
                  </a:lnTo>
                  <a:lnTo>
                    <a:pt x="276" y="0"/>
                  </a:lnTo>
                  <a:lnTo>
                    <a:pt x="276" y="0"/>
                  </a:lnTo>
                  <a:lnTo>
                    <a:pt x="272" y="0"/>
                  </a:lnTo>
                  <a:lnTo>
                    <a:pt x="260" y="2"/>
                  </a:lnTo>
                  <a:lnTo>
                    <a:pt x="249" y="4"/>
                  </a:lnTo>
                  <a:lnTo>
                    <a:pt x="237" y="4"/>
                  </a:lnTo>
                  <a:lnTo>
                    <a:pt x="227" y="6"/>
                  </a:lnTo>
                  <a:lnTo>
                    <a:pt x="215" y="6"/>
                  </a:lnTo>
                  <a:lnTo>
                    <a:pt x="202" y="8"/>
                  </a:lnTo>
                  <a:lnTo>
                    <a:pt x="192" y="8"/>
                  </a:lnTo>
                  <a:lnTo>
                    <a:pt x="180" y="10"/>
                  </a:lnTo>
                  <a:lnTo>
                    <a:pt x="169" y="12"/>
                  </a:lnTo>
                  <a:lnTo>
                    <a:pt x="157" y="12"/>
                  </a:lnTo>
                  <a:lnTo>
                    <a:pt x="145" y="14"/>
                  </a:lnTo>
                  <a:lnTo>
                    <a:pt x="135" y="14"/>
                  </a:lnTo>
                  <a:lnTo>
                    <a:pt x="122" y="16"/>
                  </a:lnTo>
                  <a:lnTo>
                    <a:pt x="112" y="16"/>
                  </a:lnTo>
                  <a:lnTo>
                    <a:pt x="100" y="18"/>
                  </a:lnTo>
                  <a:lnTo>
                    <a:pt x="88" y="18"/>
                  </a:lnTo>
                  <a:lnTo>
                    <a:pt x="90" y="18"/>
                  </a:lnTo>
                  <a:lnTo>
                    <a:pt x="92" y="22"/>
                  </a:lnTo>
                  <a:lnTo>
                    <a:pt x="92" y="26"/>
                  </a:lnTo>
                  <a:lnTo>
                    <a:pt x="90" y="30"/>
                  </a:lnTo>
                  <a:lnTo>
                    <a:pt x="86" y="32"/>
                  </a:lnTo>
                  <a:lnTo>
                    <a:pt x="75" y="39"/>
                  </a:lnTo>
                  <a:lnTo>
                    <a:pt x="75" y="39"/>
                  </a:lnTo>
                  <a:lnTo>
                    <a:pt x="75" y="41"/>
                  </a:lnTo>
                  <a:lnTo>
                    <a:pt x="77" y="43"/>
                  </a:lnTo>
                  <a:lnTo>
                    <a:pt x="77" y="45"/>
                  </a:lnTo>
                  <a:lnTo>
                    <a:pt x="75" y="47"/>
                  </a:lnTo>
                  <a:lnTo>
                    <a:pt x="75" y="49"/>
                  </a:lnTo>
                  <a:lnTo>
                    <a:pt x="73" y="49"/>
                  </a:lnTo>
                  <a:lnTo>
                    <a:pt x="71" y="49"/>
                  </a:lnTo>
                  <a:lnTo>
                    <a:pt x="69" y="47"/>
                  </a:lnTo>
                  <a:lnTo>
                    <a:pt x="69" y="49"/>
                  </a:lnTo>
                  <a:lnTo>
                    <a:pt x="67" y="51"/>
                  </a:lnTo>
                  <a:lnTo>
                    <a:pt x="67" y="55"/>
                  </a:lnTo>
                  <a:lnTo>
                    <a:pt x="67" y="59"/>
                  </a:lnTo>
                  <a:lnTo>
                    <a:pt x="69" y="65"/>
                  </a:lnTo>
                  <a:lnTo>
                    <a:pt x="69" y="75"/>
                  </a:lnTo>
                  <a:lnTo>
                    <a:pt x="69" y="80"/>
                  </a:lnTo>
                  <a:lnTo>
                    <a:pt x="69" y="82"/>
                  </a:lnTo>
                  <a:lnTo>
                    <a:pt x="65" y="86"/>
                  </a:lnTo>
                  <a:lnTo>
                    <a:pt x="63" y="88"/>
                  </a:lnTo>
                  <a:lnTo>
                    <a:pt x="61" y="88"/>
                  </a:lnTo>
                  <a:lnTo>
                    <a:pt x="57" y="90"/>
                  </a:lnTo>
                  <a:lnTo>
                    <a:pt x="55" y="90"/>
                  </a:lnTo>
                  <a:lnTo>
                    <a:pt x="55" y="90"/>
                  </a:lnTo>
                  <a:lnTo>
                    <a:pt x="53" y="88"/>
                  </a:lnTo>
                  <a:lnTo>
                    <a:pt x="53" y="90"/>
                  </a:lnTo>
                  <a:lnTo>
                    <a:pt x="53" y="90"/>
                  </a:lnTo>
                  <a:lnTo>
                    <a:pt x="55" y="92"/>
                  </a:lnTo>
                  <a:lnTo>
                    <a:pt x="55" y="94"/>
                  </a:lnTo>
                  <a:lnTo>
                    <a:pt x="55" y="94"/>
                  </a:lnTo>
                  <a:lnTo>
                    <a:pt x="55" y="96"/>
                  </a:lnTo>
                  <a:lnTo>
                    <a:pt x="55" y="98"/>
                  </a:lnTo>
                  <a:lnTo>
                    <a:pt x="53" y="98"/>
                  </a:lnTo>
                  <a:lnTo>
                    <a:pt x="53" y="100"/>
                  </a:lnTo>
                  <a:lnTo>
                    <a:pt x="53" y="100"/>
                  </a:lnTo>
                  <a:lnTo>
                    <a:pt x="51" y="98"/>
                  </a:lnTo>
                  <a:lnTo>
                    <a:pt x="49" y="98"/>
                  </a:lnTo>
                  <a:lnTo>
                    <a:pt x="49" y="98"/>
                  </a:lnTo>
                  <a:lnTo>
                    <a:pt x="49" y="100"/>
                  </a:lnTo>
                  <a:lnTo>
                    <a:pt x="47" y="108"/>
                  </a:lnTo>
                  <a:lnTo>
                    <a:pt x="45" y="108"/>
                  </a:lnTo>
                  <a:lnTo>
                    <a:pt x="45" y="110"/>
                  </a:lnTo>
                  <a:lnTo>
                    <a:pt x="38" y="112"/>
                  </a:lnTo>
                  <a:lnTo>
                    <a:pt x="38" y="114"/>
                  </a:lnTo>
                  <a:lnTo>
                    <a:pt x="38" y="116"/>
                  </a:lnTo>
                  <a:lnTo>
                    <a:pt x="45" y="118"/>
                  </a:lnTo>
                  <a:lnTo>
                    <a:pt x="47" y="123"/>
                  </a:lnTo>
                  <a:lnTo>
                    <a:pt x="45" y="125"/>
                  </a:lnTo>
                  <a:lnTo>
                    <a:pt x="43" y="127"/>
                  </a:lnTo>
                  <a:lnTo>
                    <a:pt x="43" y="127"/>
                  </a:lnTo>
                  <a:lnTo>
                    <a:pt x="40" y="127"/>
                  </a:lnTo>
                  <a:lnTo>
                    <a:pt x="38" y="127"/>
                  </a:lnTo>
                  <a:lnTo>
                    <a:pt x="32" y="131"/>
                  </a:lnTo>
                  <a:lnTo>
                    <a:pt x="28" y="133"/>
                  </a:lnTo>
                  <a:lnTo>
                    <a:pt x="28" y="133"/>
                  </a:lnTo>
                  <a:lnTo>
                    <a:pt x="28" y="135"/>
                  </a:lnTo>
                  <a:lnTo>
                    <a:pt x="28" y="135"/>
                  </a:lnTo>
                  <a:lnTo>
                    <a:pt x="30" y="135"/>
                  </a:lnTo>
                  <a:lnTo>
                    <a:pt x="32" y="137"/>
                  </a:lnTo>
                  <a:lnTo>
                    <a:pt x="32" y="139"/>
                  </a:lnTo>
                  <a:lnTo>
                    <a:pt x="32" y="141"/>
                  </a:lnTo>
                  <a:lnTo>
                    <a:pt x="30" y="143"/>
                  </a:lnTo>
                  <a:lnTo>
                    <a:pt x="32" y="147"/>
                  </a:lnTo>
                  <a:lnTo>
                    <a:pt x="32" y="149"/>
                  </a:lnTo>
                  <a:lnTo>
                    <a:pt x="32" y="151"/>
                  </a:lnTo>
                  <a:lnTo>
                    <a:pt x="32" y="153"/>
                  </a:lnTo>
                  <a:lnTo>
                    <a:pt x="32" y="153"/>
                  </a:lnTo>
                  <a:lnTo>
                    <a:pt x="28" y="155"/>
                  </a:lnTo>
                  <a:lnTo>
                    <a:pt x="28" y="155"/>
                  </a:lnTo>
                  <a:lnTo>
                    <a:pt x="28" y="155"/>
                  </a:lnTo>
                  <a:lnTo>
                    <a:pt x="26" y="157"/>
                  </a:lnTo>
                  <a:lnTo>
                    <a:pt x="24" y="157"/>
                  </a:lnTo>
                  <a:lnTo>
                    <a:pt x="24" y="159"/>
                  </a:lnTo>
                  <a:lnTo>
                    <a:pt x="22" y="164"/>
                  </a:lnTo>
                  <a:lnTo>
                    <a:pt x="20" y="166"/>
                  </a:lnTo>
                  <a:lnTo>
                    <a:pt x="18" y="166"/>
                  </a:lnTo>
                  <a:lnTo>
                    <a:pt x="18" y="168"/>
                  </a:lnTo>
                  <a:lnTo>
                    <a:pt x="20" y="170"/>
                  </a:lnTo>
                  <a:lnTo>
                    <a:pt x="24" y="170"/>
                  </a:lnTo>
                  <a:lnTo>
                    <a:pt x="26" y="172"/>
                  </a:lnTo>
                  <a:lnTo>
                    <a:pt x="26" y="174"/>
                  </a:lnTo>
                  <a:lnTo>
                    <a:pt x="26" y="176"/>
                  </a:lnTo>
                  <a:lnTo>
                    <a:pt x="24" y="178"/>
                  </a:lnTo>
                  <a:lnTo>
                    <a:pt x="22" y="178"/>
                  </a:lnTo>
                  <a:lnTo>
                    <a:pt x="20" y="178"/>
                  </a:lnTo>
                  <a:lnTo>
                    <a:pt x="18" y="180"/>
                  </a:lnTo>
                  <a:lnTo>
                    <a:pt x="18" y="182"/>
                  </a:lnTo>
                  <a:lnTo>
                    <a:pt x="20" y="182"/>
                  </a:lnTo>
                  <a:lnTo>
                    <a:pt x="22" y="184"/>
                  </a:lnTo>
                  <a:lnTo>
                    <a:pt x="24" y="184"/>
                  </a:lnTo>
                  <a:lnTo>
                    <a:pt x="26" y="186"/>
                  </a:lnTo>
                  <a:lnTo>
                    <a:pt x="28" y="188"/>
                  </a:lnTo>
                  <a:lnTo>
                    <a:pt x="28" y="190"/>
                  </a:lnTo>
                  <a:lnTo>
                    <a:pt x="30" y="192"/>
                  </a:lnTo>
                  <a:lnTo>
                    <a:pt x="30" y="196"/>
                  </a:lnTo>
                  <a:lnTo>
                    <a:pt x="28" y="198"/>
                  </a:lnTo>
                  <a:lnTo>
                    <a:pt x="26" y="203"/>
                  </a:lnTo>
                  <a:lnTo>
                    <a:pt x="26" y="205"/>
                  </a:lnTo>
                  <a:lnTo>
                    <a:pt x="26" y="207"/>
                  </a:lnTo>
                  <a:lnTo>
                    <a:pt x="28" y="207"/>
                  </a:lnTo>
                  <a:lnTo>
                    <a:pt x="30" y="209"/>
                  </a:lnTo>
                  <a:lnTo>
                    <a:pt x="32" y="209"/>
                  </a:lnTo>
                  <a:lnTo>
                    <a:pt x="32" y="211"/>
                  </a:lnTo>
                  <a:lnTo>
                    <a:pt x="32" y="217"/>
                  </a:lnTo>
                  <a:lnTo>
                    <a:pt x="34" y="219"/>
                  </a:lnTo>
                  <a:lnTo>
                    <a:pt x="34" y="221"/>
                  </a:lnTo>
                  <a:lnTo>
                    <a:pt x="34" y="223"/>
                  </a:lnTo>
                  <a:lnTo>
                    <a:pt x="32" y="225"/>
                  </a:lnTo>
                  <a:lnTo>
                    <a:pt x="30" y="225"/>
                  </a:lnTo>
                  <a:lnTo>
                    <a:pt x="30" y="225"/>
                  </a:lnTo>
                  <a:lnTo>
                    <a:pt x="28" y="227"/>
                  </a:lnTo>
                  <a:lnTo>
                    <a:pt x="30" y="237"/>
                  </a:lnTo>
                  <a:lnTo>
                    <a:pt x="30" y="241"/>
                  </a:lnTo>
                  <a:lnTo>
                    <a:pt x="30" y="244"/>
                  </a:lnTo>
                  <a:lnTo>
                    <a:pt x="32" y="244"/>
                  </a:lnTo>
                  <a:lnTo>
                    <a:pt x="32" y="244"/>
                  </a:lnTo>
                  <a:lnTo>
                    <a:pt x="34" y="244"/>
                  </a:lnTo>
                  <a:lnTo>
                    <a:pt x="36" y="244"/>
                  </a:lnTo>
                  <a:lnTo>
                    <a:pt x="36" y="246"/>
                  </a:lnTo>
                  <a:lnTo>
                    <a:pt x="38" y="248"/>
                  </a:lnTo>
                  <a:lnTo>
                    <a:pt x="38" y="250"/>
                  </a:lnTo>
                  <a:lnTo>
                    <a:pt x="36" y="252"/>
                  </a:lnTo>
                  <a:lnTo>
                    <a:pt x="36" y="254"/>
                  </a:lnTo>
                  <a:lnTo>
                    <a:pt x="34" y="254"/>
                  </a:lnTo>
                  <a:lnTo>
                    <a:pt x="34" y="256"/>
                  </a:lnTo>
                  <a:lnTo>
                    <a:pt x="32" y="260"/>
                  </a:lnTo>
                  <a:lnTo>
                    <a:pt x="32" y="264"/>
                  </a:lnTo>
                  <a:lnTo>
                    <a:pt x="32" y="266"/>
                  </a:lnTo>
                  <a:lnTo>
                    <a:pt x="34" y="266"/>
                  </a:lnTo>
                  <a:lnTo>
                    <a:pt x="38" y="268"/>
                  </a:lnTo>
                  <a:lnTo>
                    <a:pt x="40" y="268"/>
                  </a:lnTo>
                  <a:lnTo>
                    <a:pt x="40" y="270"/>
                  </a:lnTo>
                  <a:lnTo>
                    <a:pt x="38" y="272"/>
                  </a:lnTo>
                  <a:lnTo>
                    <a:pt x="38" y="272"/>
                  </a:lnTo>
                  <a:lnTo>
                    <a:pt x="34" y="274"/>
                  </a:lnTo>
                  <a:lnTo>
                    <a:pt x="32" y="274"/>
                  </a:lnTo>
                  <a:lnTo>
                    <a:pt x="32" y="276"/>
                  </a:lnTo>
                  <a:lnTo>
                    <a:pt x="32" y="278"/>
                  </a:lnTo>
                  <a:lnTo>
                    <a:pt x="32" y="280"/>
                  </a:lnTo>
                  <a:lnTo>
                    <a:pt x="34" y="282"/>
                  </a:lnTo>
                  <a:lnTo>
                    <a:pt x="34" y="282"/>
                  </a:lnTo>
                  <a:lnTo>
                    <a:pt x="36" y="284"/>
                  </a:lnTo>
                  <a:lnTo>
                    <a:pt x="38" y="284"/>
                  </a:lnTo>
                  <a:lnTo>
                    <a:pt x="38" y="287"/>
                  </a:lnTo>
                  <a:lnTo>
                    <a:pt x="40" y="287"/>
                  </a:lnTo>
                  <a:lnTo>
                    <a:pt x="38" y="289"/>
                  </a:lnTo>
                  <a:lnTo>
                    <a:pt x="38" y="291"/>
                  </a:lnTo>
                  <a:lnTo>
                    <a:pt x="38" y="291"/>
                  </a:lnTo>
                  <a:lnTo>
                    <a:pt x="38" y="295"/>
                  </a:lnTo>
                  <a:lnTo>
                    <a:pt x="40" y="297"/>
                  </a:lnTo>
                  <a:lnTo>
                    <a:pt x="40" y="299"/>
                  </a:lnTo>
                  <a:lnTo>
                    <a:pt x="45" y="301"/>
                  </a:lnTo>
                  <a:lnTo>
                    <a:pt x="47" y="301"/>
                  </a:lnTo>
                  <a:lnTo>
                    <a:pt x="49" y="303"/>
                  </a:lnTo>
                  <a:lnTo>
                    <a:pt x="51" y="307"/>
                  </a:lnTo>
                  <a:lnTo>
                    <a:pt x="51" y="307"/>
                  </a:lnTo>
                  <a:lnTo>
                    <a:pt x="53" y="309"/>
                  </a:lnTo>
                  <a:lnTo>
                    <a:pt x="55" y="309"/>
                  </a:lnTo>
                  <a:lnTo>
                    <a:pt x="57" y="309"/>
                  </a:lnTo>
                  <a:lnTo>
                    <a:pt x="59" y="311"/>
                  </a:lnTo>
                  <a:lnTo>
                    <a:pt x="59" y="313"/>
                  </a:lnTo>
                  <a:lnTo>
                    <a:pt x="57" y="313"/>
                  </a:lnTo>
                  <a:lnTo>
                    <a:pt x="57" y="313"/>
                  </a:lnTo>
                  <a:lnTo>
                    <a:pt x="55" y="317"/>
                  </a:lnTo>
                  <a:lnTo>
                    <a:pt x="51" y="325"/>
                  </a:lnTo>
                  <a:lnTo>
                    <a:pt x="49" y="332"/>
                  </a:lnTo>
                  <a:lnTo>
                    <a:pt x="45" y="332"/>
                  </a:lnTo>
                  <a:lnTo>
                    <a:pt x="43" y="332"/>
                  </a:lnTo>
                  <a:lnTo>
                    <a:pt x="43" y="334"/>
                  </a:lnTo>
                  <a:lnTo>
                    <a:pt x="43" y="334"/>
                  </a:lnTo>
                  <a:lnTo>
                    <a:pt x="43" y="334"/>
                  </a:lnTo>
                  <a:lnTo>
                    <a:pt x="47" y="338"/>
                  </a:lnTo>
                  <a:lnTo>
                    <a:pt x="47" y="342"/>
                  </a:lnTo>
                  <a:lnTo>
                    <a:pt x="45" y="346"/>
                  </a:lnTo>
                  <a:lnTo>
                    <a:pt x="43" y="348"/>
                  </a:lnTo>
                  <a:lnTo>
                    <a:pt x="38" y="350"/>
                  </a:lnTo>
                  <a:lnTo>
                    <a:pt x="38" y="350"/>
                  </a:lnTo>
                  <a:lnTo>
                    <a:pt x="38" y="350"/>
                  </a:lnTo>
                  <a:lnTo>
                    <a:pt x="36" y="354"/>
                  </a:lnTo>
                  <a:lnTo>
                    <a:pt x="36" y="354"/>
                  </a:lnTo>
                  <a:lnTo>
                    <a:pt x="32" y="360"/>
                  </a:lnTo>
                  <a:lnTo>
                    <a:pt x="30" y="360"/>
                  </a:lnTo>
                  <a:lnTo>
                    <a:pt x="28" y="362"/>
                  </a:lnTo>
                  <a:lnTo>
                    <a:pt x="26" y="362"/>
                  </a:lnTo>
                  <a:lnTo>
                    <a:pt x="24" y="364"/>
                  </a:lnTo>
                  <a:lnTo>
                    <a:pt x="22" y="366"/>
                  </a:lnTo>
                  <a:lnTo>
                    <a:pt x="22" y="369"/>
                  </a:lnTo>
                  <a:lnTo>
                    <a:pt x="20" y="373"/>
                  </a:lnTo>
                  <a:lnTo>
                    <a:pt x="18" y="377"/>
                  </a:lnTo>
                  <a:lnTo>
                    <a:pt x="18" y="379"/>
                  </a:lnTo>
                  <a:lnTo>
                    <a:pt x="18" y="381"/>
                  </a:lnTo>
                  <a:lnTo>
                    <a:pt x="18" y="391"/>
                  </a:lnTo>
                  <a:lnTo>
                    <a:pt x="18" y="393"/>
                  </a:lnTo>
                  <a:lnTo>
                    <a:pt x="18" y="395"/>
                  </a:lnTo>
                  <a:lnTo>
                    <a:pt x="18" y="395"/>
                  </a:lnTo>
                  <a:lnTo>
                    <a:pt x="12" y="401"/>
                  </a:lnTo>
                  <a:lnTo>
                    <a:pt x="10" y="403"/>
                  </a:lnTo>
                  <a:lnTo>
                    <a:pt x="10" y="409"/>
                  </a:lnTo>
                  <a:lnTo>
                    <a:pt x="10" y="409"/>
                  </a:lnTo>
                  <a:lnTo>
                    <a:pt x="12" y="409"/>
                  </a:lnTo>
                  <a:lnTo>
                    <a:pt x="12" y="414"/>
                  </a:lnTo>
                  <a:lnTo>
                    <a:pt x="14" y="414"/>
                  </a:lnTo>
                  <a:lnTo>
                    <a:pt x="14" y="416"/>
                  </a:lnTo>
                  <a:lnTo>
                    <a:pt x="12" y="416"/>
                  </a:lnTo>
                  <a:lnTo>
                    <a:pt x="12" y="418"/>
                  </a:lnTo>
                  <a:lnTo>
                    <a:pt x="12" y="424"/>
                  </a:lnTo>
                  <a:lnTo>
                    <a:pt x="12" y="426"/>
                  </a:lnTo>
                  <a:lnTo>
                    <a:pt x="10" y="428"/>
                  </a:lnTo>
                  <a:lnTo>
                    <a:pt x="8" y="428"/>
                  </a:lnTo>
                  <a:lnTo>
                    <a:pt x="4" y="428"/>
                  </a:lnTo>
                  <a:lnTo>
                    <a:pt x="2" y="428"/>
                  </a:lnTo>
                  <a:lnTo>
                    <a:pt x="0" y="430"/>
                  </a:lnTo>
                  <a:lnTo>
                    <a:pt x="0" y="432"/>
                  </a:lnTo>
                  <a:lnTo>
                    <a:pt x="2" y="434"/>
                  </a:lnTo>
                  <a:lnTo>
                    <a:pt x="4" y="434"/>
                  </a:lnTo>
                  <a:lnTo>
                    <a:pt x="4" y="436"/>
                  </a:lnTo>
                  <a:lnTo>
                    <a:pt x="4" y="436"/>
                  </a:lnTo>
                  <a:lnTo>
                    <a:pt x="4" y="438"/>
                  </a:lnTo>
                  <a:lnTo>
                    <a:pt x="4" y="438"/>
                  </a:lnTo>
                  <a:lnTo>
                    <a:pt x="4" y="438"/>
                  </a:lnTo>
                  <a:lnTo>
                    <a:pt x="4" y="440"/>
                  </a:lnTo>
                  <a:lnTo>
                    <a:pt x="4" y="442"/>
                  </a:lnTo>
                  <a:lnTo>
                    <a:pt x="4" y="442"/>
                  </a:lnTo>
                  <a:lnTo>
                    <a:pt x="4" y="446"/>
                  </a:lnTo>
                  <a:lnTo>
                    <a:pt x="8" y="448"/>
                  </a:lnTo>
                  <a:lnTo>
                    <a:pt x="8" y="453"/>
                  </a:lnTo>
                  <a:lnTo>
                    <a:pt x="2" y="459"/>
                  </a:lnTo>
                  <a:lnTo>
                    <a:pt x="2" y="459"/>
                  </a:lnTo>
                  <a:lnTo>
                    <a:pt x="6" y="459"/>
                  </a:lnTo>
                  <a:lnTo>
                    <a:pt x="8" y="459"/>
                  </a:lnTo>
                  <a:lnTo>
                    <a:pt x="14" y="459"/>
                  </a:lnTo>
                  <a:lnTo>
                    <a:pt x="22" y="457"/>
                  </a:lnTo>
                  <a:lnTo>
                    <a:pt x="32" y="457"/>
                  </a:lnTo>
                  <a:lnTo>
                    <a:pt x="45" y="455"/>
                  </a:lnTo>
                  <a:lnTo>
                    <a:pt x="59" y="455"/>
                  </a:lnTo>
                  <a:lnTo>
                    <a:pt x="73" y="453"/>
                  </a:lnTo>
                  <a:lnTo>
                    <a:pt x="90" y="453"/>
                  </a:lnTo>
                  <a:lnTo>
                    <a:pt x="104" y="450"/>
                  </a:lnTo>
                  <a:lnTo>
                    <a:pt x="118" y="448"/>
                  </a:lnTo>
                  <a:lnTo>
                    <a:pt x="133" y="448"/>
                  </a:lnTo>
                  <a:lnTo>
                    <a:pt x="145" y="446"/>
                  </a:lnTo>
                  <a:lnTo>
                    <a:pt x="155" y="446"/>
                  </a:lnTo>
                  <a:lnTo>
                    <a:pt x="163" y="444"/>
                  </a:lnTo>
                  <a:lnTo>
                    <a:pt x="169" y="444"/>
                  </a:lnTo>
                  <a:lnTo>
                    <a:pt x="172" y="444"/>
                  </a:lnTo>
                  <a:lnTo>
                    <a:pt x="176" y="444"/>
                  </a:lnTo>
                  <a:lnTo>
                    <a:pt x="178" y="444"/>
                  </a:lnTo>
                  <a:lnTo>
                    <a:pt x="180" y="444"/>
                  </a:lnTo>
                  <a:lnTo>
                    <a:pt x="180" y="448"/>
                  </a:lnTo>
                  <a:lnTo>
                    <a:pt x="178" y="453"/>
                  </a:lnTo>
                  <a:lnTo>
                    <a:pt x="176" y="457"/>
                  </a:lnTo>
                  <a:lnTo>
                    <a:pt x="176" y="463"/>
                  </a:lnTo>
                  <a:lnTo>
                    <a:pt x="174" y="467"/>
                  </a:lnTo>
                  <a:lnTo>
                    <a:pt x="174" y="469"/>
                  </a:lnTo>
                  <a:lnTo>
                    <a:pt x="174" y="471"/>
                  </a:lnTo>
                  <a:lnTo>
                    <a:pt x="172" y="475"/>
                  </a:lnTo>
                  <a:lnTo>
                    <a:pt x="172" y="477"/>
                  </a:lnTo>
                  <a:lnTo>
                    <a:pt x="172" y="479"/>
                  </a:lnTo>
                  <a:lnTo>
                    <a:pt x="174" y="481"/>
                  </a:lnTo>
                  <a:lnTo>
                    <a:pt x="174" y="481"/>
                  </a:lnTo>
                  <a:lnTo>
                    <a:pt x="176" y="483"/>
                  </a:lnTo>
                  <a:lnTo>
                    <a:pt x="174" y="485"/>
                  </a:lnTo>
                  <a:lnTo>
                    <a:pt x="178" y="491"/>
                  </a:lnTo>
                  <a:lnTo>
                    <a:pt x="178" y="491"/>
                  </a:lnTo>
                  <a:lnTo>
                    <a:pt x="182" y="494"/>
                  </a:lnTo>
                  <a:lnTo>
                    <a:pt x="184" y="494"/>
                  </a:lnTo>
                  <a:lnTo>
                    <a:pt x="184" y="498"/>
                  </a:lnTo>
                  <a:lnTo>
                    <a:pt x="188" y="500"/>
                  </a:lnTo>
                  <a:lnTo>
                    <a:pt x="190" y="502"/>
                  </a:lnTo>
                  <a:lnTo>
                    <a:pt x="190" y="502"/>
                  </a:lnTo>
                  <a:lnTo>
                    <a:pt x="190" y="504"/>
                  </a:lnTo>
                  <a:lnTo>
                    <a:pt x="190" y="506"/>
                  </a:lnTo>
                  <a:lnTo>
                    <a:pt x="190" y="506"/>
                  </a:lnTo>
                  <a:lnTo>
                    <a:pt x="190" y="508"/>
                  </a:lnTo>
                  <a:lnTo>
                    <a:pt x="194" y="512"/>
                  </a:lnTo>
                  <a:lnTo>
                    <a:pt x="194" y="514"/>
                  </a:lnTo>
                  <a:lnTo>
                    <a:pt x="194" y="518"/>
                  </a:lnTo>
                  <a:lnTo>
                    <a:pt x="196" y="520"/>
                  </a:lnTo>
                  <a:lnTo>
                    <a:pt x="200" y="526"/>
                  </a:lnTo>
                  <a:lnTo>
                    <a:pt x="202" y="528"/>
                  </a:lnTo>
                  <a:lnTo>
                    <a:pt x="202" y="528"/>
                  </a:lnTo>
                  <a:lnTo>
                    <a:pt x="204" y="528"/>
                  </a:lnTo>
                  <a:lnTo>
                    <a:pt x="206" y="528"/>
                  </a:lnTo>
                  <a:lnTo>
                    <a:pt x="206" y="528"/>
                  </a:lnTo>
                  <a:lnTo>
                    <a:pt x="206" y="528"/>
                  </a:lnTo>
                  <a:lnTo>
                    <a:pt x="206" y="528"/>
                  </a:lnTo>
                  <a:lnTo>
                    <a:pt x="208" y="528"/>
                  </a:lnTo>
                  <a:lnTo>
                    <a:pt x="208" y="528"/>
                  </a:lnTo>
                  <a:lnTo>
                    <a:pt x="210" y="528"/>
                  </a:lnTo>
                  <a:lnTo>
                    <a:pt x="210" y="526"/>
                  </a:lnTo>
                  <a:lnTo>
                    <a:pt x="213" y="528"/>
                  </a:lnTo>
                  <a:lnTo>
                    <a:pt x="213" y="528"/>
                  </a:lnTo>
                  <a:lnTo>
                    <a:pt x="213" y="528"/>
                  </a:lnTo>
                  <a:lnTo>
                    <a:pt x="213" y="528"/>
                  </a:lnTo>
                  <a:lnTo>
                    <a:pt x="215" y="528"/>
                  </a:lnTo>
                  <a:lnTo>
                    <a:pt x="215" y="528"/>
                  </a:lnTo>
                  <a:lnTo>
                    <a:pt x="215" y="526"/>
                  </a:lnTo>
                  <a:lnTo>
                    <a:pt x="215" y="524"/>
                  </a:lnTo>
                  <a:lnTo>
                    <a:pt x="217" y="522"/>
                  </a:lnTo>
                  <a:lnTo>
                    <a:pt x="217" y="522"/>
                  </a:lnTo>
                  <a:lnTo>
                    <a:pt x="215" y="520"/>
                  </a:lnTo>
                  <a:lnTo>
                    <a:pt x="223" y="514"/>
                  </a:lnTo>
                  <a:lnTo>
                    <a:pt x="225" y="514"/>
                  </a:lnTo>
                  <a:lnTo>
                    <a:pt x="225" y="512"/>
                  </a:lnTo>
                  <a:lnTo>
                    <a:pt x="225" y="510"/>
                  </a:lnTo>
                  <a:lnTo>
                    <a:pt x="223" y="510"/>
                  </a:lnTo>
                  <a:lnTo>
                    <a:pt x="221" y="510"/>
                  </a:lnTo>
                  <a:lnTo>
                    <a:pt x="221" y="510"/>
                  </a:lnTo>
                  <a:lnTo>
                    <a:pt x="221" y="510"/>
                  </a:lnTo>
                  <a:lnTo>
                    <a:pt x="221" y="508"/>
                  </a:lnTo>
                  <a:lnTo>
                    <a:pt x="223" y="508"/>
                  </a:lnTo>
                  <a:lnTo>
                    <a:pt x="223" y="506"/>
                  </a:lnTo>
                  <a:lnTo>
                    <a:pt x="225" y="506"/>
                  </a:lnTo>
                  <a:lnTo>
                    <a:pt x="229" y="508"/>
                  </a:lnTo>
                  <a:lnTo>
                    <a:pt x="231" y="510"/>
                  </a:lnTo>
                  <a:lnTo>
                    <a:pt x="229" y="510"/>
                  </a:lnTo>
                  <a:lnTo>
                    <a:pt x="229" y="512"/>
                  </a:lnTo>
                  <a:lnTo>
                    <a:pt x="229" y="512"/>
                  </a:lnTo>
                  <a:lnTo>
                    <a:pt x="231" y="512"/>
                  </a:lnTo>
                  <a:lnTo>
                    <a:pt x="231" y="512"/>
                  </a:lnTo>
                  <a:lnTo>
                    <a:pt x="237" y="510"/>
                  </a:lnTo>
                  <a:lnTo>
                    <a:pt x="243" y="508"/>
                  </a:lnTo>
                  <a:lnTo>
                    <a:pt x="249" y="506"/>
                  </a:lnTo>
                  <a:lnTo>
                    <a:pt x="251" y="504"/>
                  </a:lnTo>
                  <a:lnTo>
                    <a:pt x="251" y="504"/>
                  </a:lnTo>
                  <a:lnTo>
                    <a:pt x="256" y="502"/>
                  </a:lnTo>
                  <a:lnTo>
                    <a:pt x="256" y="502"/>
                  </a:lnTo>
                  <a:lnTo>
                    <a:pt x="262" y="502"/>
                  </a:lnTo>
                  <a:lnTo>
                    <a:pt x="264" y="502"/>
                  </a:lnTo>
                  <a:lnTo>
                    <a:pt x="266" y="500"/>
                  </a:lnTo>
                  <a:lnTo>
                    <a:pt x="253" y="500"/>
                  </a:lnTo>
                  <a:lnTo>
                    <a:pt x="253" y="498"/>
                  </a:lnTo>
                  <a:lnTo>
                    <a:pt x="256" y="498"/>
                  </a:lnTo>
                  <a:lnTo>
                    <a:pt x="258" y="498"/>
                  </a:lnTo>
                  <a:lnTo>
                    <a:pt x="260" y="496"/>
                  </a:lnTo>
                  <a:lnTo>
                    <a:pt x="268" y="498"/>
                  </a:lnTo>
                  <a:lnTo>
                    <a:pt x="278" y="504"/>
                  </a:lnTo>
                  <a:lnTo>
                    <a:pt x="280" y="504"/>
                  </a:lnTo>
                  <a:lnTo>
                    <a:pt x="284" y="504"/>
                  </a:lnTo>
                  <a:lnTo>
                    <a:pt x="288" y="502"/>
                  </a:lnTo>
                  <a:lnTo>
                    <a:pt x="290" y="498"/>
                  </a:lnTo>
                  <a:lnTo>
                    <a:pt x="290" y="498"/>
                  </a:lnTo>
                  <a:lnTo>
                    <a:pt x="290" y="500"/>
                  </a:lnTo>
                  <a:lnTo>
                    <a:pt x="292" y="500"/>
                  </a:lnTo>
                  <a:lnTo>
                    <a:pt x="294" y="502"/>
                  </a:lnTo>
                  <a:lnTo>
                    <a:pt x="294" y="504"/>
                  </a:lnTo>
                  <a:lnTo>
                    <a:pt x="296" y="504"/>
                  </a:lnTo>
                  <a:lnTo>
                    <a:pt x="296" y="504"/>
                  </a:lnTo>
                  <a:lnTo>
                    <a:pt x="299" y="504"/>
                  </a:lnTo>
                  <a:lnTo>
                    <a:pt x="301" y="504"/>
                  </a:lnTo>
                  <a:lnTo>
                    <a:pt x="303" y="504"/>
                  </a:lnTo>
                  <a:lnTo>
                    <a:pt x="305" y="504"/>
                  </a:lnTo>
                  <a:lnTo>
                    <a:pt x="305" y="504"/>
                  </a:lnTo>
                  <a:lnTo>
                    <a:pt x="305" y="502"/>
                  </a:lnTo>
                  <a:lnTo>
                    <a:pt x="307" y="502"/>
                  </a:lnTo>
                  <a:lnTo>
                    <a:pt x="307" y="502"/>
                  </a:lnTo>
                  <a:lnTo>
                    <a:pt x="309" y="500"/>
                  </a:lnTo>
                  <a:lnTo>
                    <a:pt x="309" y="500"/>
                  </a:lnTo>
                  <a:lnTo>
                    <a:pt x="309" y="498"/>
                  </a:lnTo>
                  <a:lnTo>
                    <a:pt x="309" y="498"/>
                  </a:lnTo>
                  <a:lnTo>
                    <a:pt x="309" y="498"/>
                  </a:lnTo>
                  <a:close/>
                  <a:moveTo>
                    <a:pt x="290" y="516"/>
                  </a:moveTo>
                  <a:lnTo>
                    <a:pt x="288" y="516"/>
                  </a:lnTo>
                  <a:lnTo>
                    <a:pt x="286" y="514"/>
                  </a:lnTo>
                  <a:lnTo>
                    <a:pt x="282" y="514"/>
                  </a:lnTo>
                  <a:lnTo>
                    <a:pt x="280" y="514"/>
                  </a:lnTo>
                  <a:lnTo>
                    <a:pt x="278" y="516"/>
                  </a:lnTo>
                  <a:lnTo>
                    <a:pt x="278" y="516"/>
                  </a:lnTo>
                  <a:lnTo>
                    <a:pt x="296" y="516"/>
                  </a:lnTo>
                  <a:lnTo>
                    <a:pt x="296" y="516"/>
                  </a:lnTo>
                  <a:lnTo>
                    <a:pt x="299" y="516"/>
                  </a:lnTo>
                  <a:lnTo>
                    <a:pt x="296" y="516"/>
                  </a:lnTo>
                  <a:lnTo>
                    <a:pt x="290" y="516"/>
                  </a:lnTo>
                  <a:close/>
                  <a:moveTo>
                    <a:pt x="266" y="518"/>
                  </a:moveTo>
                  <a:lnTo>
                    <a:pt x="264" y="518"/>
                  </a:lnTo>
                  <a:lnTo>
                    <a:pt x="264" y="520"/>
                  </a:lnTo>
                  <a:lnTo>
                    <a:pt x="264" y="518"/>
                  </a:lnTo>
                  <a:lnTo>
                    <a:pt x="266" y="518"/>
                  </a:lnTo>
                  <a:lnTo>
                    <a:pt x="266" y="518"/>
                  </a:lnTo>
                  <a:lnTo>
                    <a:pt x="266" y="518"/>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S</a:t>
              </a:r>
            </a:p>
          </p:txBody>
        </p:sp>
        <p:sp>
          <p:nvSpPr>
            <p:cNvPr id="163" name="Freeform 31">
              <a:extLst>
                <a:ext uri="{FF2B5EF4-FFF2-40B4-BE49-F238E27FC236}">
                  <a16:creationId xmlns:a16="http://schemas.microsoft.com/office/drawing/2014/main" id="{2F13EDCC-3AAD-CCAF-EE37-0DD01E130896}"/>
                </a:ext>
              </a:extLst>
            </p:cNvPr>
            <p:cNvSpPr>
              <a:spLocks/>
            </p:cNvSpPr>
            <p:nvPr/>
          </p:nvSpPr>
          <p:spPr bwMode="auto">
            <a:xfrm>
              <a:off x="3081" y="1029"/>
              <a:ext cx="592" cy="488"/>
            </a:xfrm>
            <a:custGeom>
              <a:avLst/>
              <a:gdLst>
                <a:gd name="T0" fmla="*/ 360 w 592"/>
                <a:gd name="T1" fmla="*/ 65 h 488"/>
                <a:gd name="T2" fmla="*/ 364 w 592"/>
                <a:gd name="T3" fmla="*/ 80 h 488"/>
                <a:gd name="T4" fmla="*/ 374 w 592"/>
                <a:gd name="T5" fmla="*/ 96 h 488"/>
                <a:gd name="T6" fmla="*/ 426 w 592"/>
                <a:gd name="T7" fmla="*/ 137 h 488"/>
                <a:gd name="T8" fmla="*/ 434 w 592"/>
                <a:gd name="T9" fmla="*/ 156 h 488"/>
                <a:gd name="T10" fmla="*/ 440 w 592"/>
                <a:gd name="T11" fmla="*/ 174 h 488"/>
                <a:gd name="T12" fmla="*/ 467 w 592"/>
                <a:gd name="T13" fmla="*/ 170 h 488"/>
                <a:gd name="T14" fmla="*/ 481 w 592"/>
                <a:gd name="T15" fmla="*/ 190 h 488"/>
                <a:gd name="T16" fmla="*/ 469 w 592"/>
                <a:gd name="T17" fmla="*/ 240 h 488"/>
                <a:gd name="T18" fmla="*/ 481 w 592"/>
                <a:gd name="T19" fmla="*/ 256 h 488"/>
                <a:gd name="T20" fmla="*/ 504 w 592"/>
                <a:gd name="T21" fmla="*/ 272 h 488"/>
                <a:gd name="T22" fmla="*/ 532 w 592"/>
                <a:gd name="T23" fmla="*/ 287 h 488"/>
                <a:gd name="T24" fmla="*/ 549 w 592"/>
                <a:gd name="T25" fmla="*/ 307 h 488"/>
                <a:gd name="T26" fmla="*/ 555 w 592"/>
                <a:gd name="T27" fmla="*/ 336 h 488"/>
                <a:gd name="T28" fmla="*/ 559 w 592"/>
                <a:gd name="T29" fmla="*/ 350 h 488"/>
                <a:gd name="T30" fmla="*/ 577 w 592"/>
                <a:gd name="T31" fmla="*/ 369 h 488"/>
                <a:gd name="T32" fmla="*/ 577 w 592"/>
                <a:gd name="T33" fmla="*/ 361 h 488"/>
                <a:gd name="T34" fmla="*/ 583 w 592"/>
                <a:gd name="T35" fmla="*/ 371 h 488"/>
                <a:gd name="T36" fmla="*/ 592 w 592"/>
                <a:gd name="T37" fmla="*/ 381 h 488"/>
                <a:gd name="T38" fmla="*/ 587 w 592"/>
                <a:gd name="T39" fmla="*/ 406 h 488"/>
                <a:gd name="T40" fmla="*/ 571 w 592"/>
                <a:gd name="T41" fmla="*/ 410 h 488"/>
                <a:gd name="T42" fmla="*/ 565 w 592"/>
                <a:gd name="T43" fmla="*/ 430 h 488"/>
                <a:gd name="T44" fmla="*/ 555 w 592"/>
                <a:gd name="T45" fmla="*/ 424 h 488"/>
                <a:gd name="T46" fmla="*/ 561 w 592"/>
                <a:gd name="T47" fmla="*/ 440 h 488"/>
                <a:gd name="T48" fmla="*/ 559 w 592"/>
                <a:gd name="T49" fmla="*/ 449 h 488"/>
                <a:gd name="T50" fmla="*/ 555 w 592"/>
                <a:gd name="T51" fmla="*/ 467 h 488"/>
                <a:gd name="T52" fmla="*/ 547 w 592"/>
                <a:gd name="T53" fmla="*/ 481 h 488"/>
                <a:gd name="T54" fmla="*/ 491 w 592"/>
                <a:gd name="T55" fmla="*/ 486 h 488"/>
                <a:gd name="T56" fmla="*/ 497 w 592"/>
                <a:gd name="T57" fmla="*/ 471 h 488"/>
                <a:gd name="T58" fmla="*/ 501 w 592"/>
                <a:gd name="T59" fmla="*/ 467 h 488"/>
                <a:gd name="T60" fmla="*/ 510 w 592"/>
                <a:gd name="T61" fmla="*/ 461 h 488"/>
                <a:gd name="T62" fmla="*/ 514 w 592"/>
                <a:gd name="T63" fmla="*/ 455 h 488"/>
                <a:gd name="T64" fmla="*/ 514 w 592"/>
                <a:gd name="T65" fmla="*/ 449 h 488"/>
                <a:gd name="T66" fmla="*/ 514 w 592"/>
                <a:gd name="T67" fmla="*/ 440 h 488"/>
                <a:gd name="T68" fmla="*/ 508 w 592"/>
                <a:gd name="T69" fmla="*/ 434 h 488"/>
                <a:gd name="T70" fmla="*/ 499 w 592"/>
                <a:gd name="T71" fmla="*/ 430 h 488"/>
                <a:gd name="T72" fmla="*/ 284 w 592"/>
                <a:gd name="T73" fmla="*/ 447 h 488"/>
                <a:gd name="T74" fmla="*/ 116 w 592"/>
                <a:gd name="T75" fmla="*/ 430 h 488"/>
                <a:gd name="T76" fmla="*/ 110 w 592"/>
                <a:gd name="T77" fmla="*/ 307 h 488"/>
                <a:gd name="T78" fmla="*/ 104 w 592"/>
                <a:gd name="T79" fmla="*/ 184 h 488"/>
                <a:gd name="T80" fmla="*/ 102 w 592"/>
                <a:gd name="T81" fmla="*/ 172 h 488"/>
                <a:gd name="T82" fmla="*/ 92 w 592"/>
                <a:gd name="T83" fmla="*/ 170 h 488"/>
                <a:gd name="T84" fmla="*/ 78 w 592"/>
                <a:gd name="T85" fmla="*/ 151 h 488"/>
                <a:gd name="T86" fmla="*/ 67 w 592"/>
                <a:gd name="T87" fmla="*/ 141 h 488"/>
                <a:gd name="T88" fmla="*/ 63 w 592"/>
                <a:gd name="T89" fmla="*/ 129 h 488"/>
                <a:gd name="T90" fmla="*/ 69 w 592"/>
                <a:gd name="T91" fmla="*/ 117 h 488"/>
                <a:gd name="T92" fmla="*/ 78 w 592"/>
                <a:gd name="T93" fmla="*/ 108 h 488"/>
                <a:gd name="T94" fmla="*/ 71 w 592"/>
                <a:gd name="T95" fmla="*/ 96 h 488"/>
                <a:gd name="T96" fmla="*/ 59 w 592"/>
                <a:gd name="T97" fmla="*/ 98 h 488"/>
                <a:gd name="T98" fmla="*/ 49 w 592"/>
                <a:gd name="T99" fmla="*/ 92 h 488"/>
                <a:gd name="T100" fmla="*/ 32 w 592"/>
                <a:gd name="T101" fmla="*/ 82 h 488"/>
                <a:gd name="T102" fmla="*/ 28 w 592"/>
                <a:gd name="T103" fmla="*/ 67 h 488"/>
                <a:gd name="T104" fmla="*/ 18 w 592"/>
                <a:gd name="T105" fmla="*/ 55 h 488"/>
                <a:gd name="T106" fmla="*/ 12 w 592"/>
                <a:gd name="T107" fmla="*/ 49 h 488"/>
                <a:gd name="T108" fmla="*/ 8 w 592"/>
                <a:gd name="T109" fmla="*/ 37 h 488"/>
                <a:gd name="T110" fmla="*/ 0 w 592"/>
                <a:gd name="T111" fmla="*/ 24 h 488"/>
                <a:gd name="T112" fmla="*/ 0 w 592"/>
                <a:gd name="T113" fmla="*/ 22 h 488"/>
                <a:gd name="T114" fmla="*/ 20 w 592"/>
                <a:gd name="T115" fmla="*/ 20 h 488"/>
                <a:gd name="T116" fmla="*/ 202 w 592"/>
                <a:gd name="T117" fmla="*/ 10 h 488"/>
                <a:gd name="T118" fmla="*/ 336 w 592"/>
                <a:gd name="T119" fmla="*/ 2 h 488"/>
                <a:gd name="T120" fmla="*/ 342 w 592"/>
                <a:gd name="T121" fmla="*/ 8 h 488"/>
                <a:gd name="T122" fmla="*/ 348 w 592"/>
                <a:gd name="T123" fmla="*/ 14 h 488"/>
                <a:gd name="T124" fmla="*/ 352 w 592"/>
                <a:gd name="T125" fmla="*/ 1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2" h="488">
                  <a:moveTo>
                    <a:pt x="362" y="24"/>
                  </a:moveTo>
                  <a:lnTo>
                    <a:pt x="362" y="24"/>
                  </a:lnTo>
                  <a:lnTo>
                    <a:pt x="358" y="26"/>
                  </a:lnTo>
                  <a:lnTo>
                    <a:pt x="358" y="33"/>
                  </a:lnTo>
                  <a:lnTo>
                    <a:pt x="356" y="39"/>
                  </a:lnTo>
                  <a:lnTo>
                    <a:pt x="356" y="43"/>
                  </a:lnTo>
                  <a:lnTo>
                    <a:pt x="356" y="47"/>
                  </a:lnTo>
                  <a:lnTo>
                    <a:pt x="360" y="65"/>
                  </a:lnTo>
                  <a:lnTo>
                    <a:pt x="360" y="65"/>
                  </a:lnTo>
                  <a:lnTo>
                    <a:pt x="362" y="67"/>
                  </a:lnTo>
                  <a:lnTo>
                    <a:pt x="364" y="70"/>
                  </a:lnTo>
                  <a:lnTo>
                    <a:pt x="364" y="70"/>
                  </a:lnTo>
                  <a:lnTo>
                    <a:pt x="364" y="72"/>
                  </a:lnTo>
                  <a:lnTo>
                    <a:pt x="364" y="72"/>
                  </a:lnTo>
                  <a:lnTo>
                    <a:pt x="364" y="74"/>
                  </a:lnTo>
                  <a:lnTo>
                    <a:pt x="364" y="76"/>
                  </a:lnTo>
                  <a:lnTo>
                    <a:pt x="364" y="78"/>
                  </a:lnTo>
                  <a:lnTo>
                    <a:pt x="364" y="80"/>
                  </a:lnTo>
                  <a:lnTo>
                    <a:pt x="366" y="80"/>
                  </a:lnTo>
                  <a:lnTo>
                    <a:pt x="366" y="82"/>
                  </a:lnTo>
                  <a:lnTo>
                    <a:pt x="366" y="84"/>
                  </a:lnTo>
                  <a:lnTo>
                    <a:pt x="370" y="84"/>
                  </a:lnTo>
                  <a:lnTo>
                    <a:pt x="370" y="86"/>
                  </a:lnTo>
                  <a:lnTo>
                    <a:pt x="370" y="88"/>
                  </a:lnTo>
                  <a:lnTo>
                    <a:pt x="370" y="90"/>
                  </a:lnTo>
                  <a:lnTo>
                    <a:pt x="372" y="92"/>
                  </a:lnTo>
                  <a:lnTo>
                    <a:pt x="374" y="96"/>
                  </a:lnTo>
                  <a:lnTo>
                    <a:pt x="397" y="113"/>
                  </a:lnTo>
                  <a:lnTo>
                    <a:pt x="399" y="115"/>
                  </a:lnTo>
                  <a:lnTo>
                    <a:pt x="399" y="117"/>
                  </a:lnTo>
                  <a:lnTo>
                    <a:pt x="399" y="119"/>
                  </a:lnTo>
                  <a:lnTo>
                    <a:pt x="401" y="121"/>
                  </a:lnTo>
                  <a:lnTo>
                    <a:pt x="401" y="121"/>
                  </a:lnTo>
                  <a:lnTo>
                    <a:pt x="422" y="133"/>
                  </a:lnTo>
                  <a:lnTo>
                    <a:pt x="424" y="135"/>
                  </a:lnTo>
                  <a:lnTo>
                    <a:pt x="426" y="137"/>
                  </a:lnTo>
                  <a:lnTo>
                    <a:pt x="430" y="141"/>
                  </a:lnTo>
                  <a:lnTo>
                    <a:pt x="430" y="143"/>
                  </a:lnTo>
                  <a:lnTo>
                    <a:pt x="432" y="145"/>
                  </a:lnTo>
                  <a:lnTo>
                    <a:pt x="432" y="147"/>
                  </a:lnTo>
                  <a:lnTo>
                    <a:pt x="432" y="149"/>
                  </a:lnTo>
                  <a:lnTo>
                    <a:pt x="432" y="151"/>
                  </a:lnTo>
                  <a:lnTo>
                    <a:pt x="432" y="154"/>
                  </a:lnTo>
                  <a:lnTo>
                    <a:pt x="434" y="156"/>
                  </a:lnTo>
                  <a:lnTo>
                    <a:pt x="434" y="156"/>
                  </a:lnTo>
                  <a:lnTo>
                    <a:pt x="434" y="158"/>
                  </a:lnTo>
                  <a:lnTo>
                    <a:pt x="434" y="158"/>
                  </a:lnTo>
                  <a:lnTo>
                    <a:pt x="434" y="160"/>
                  </a:lnTo>
                  <a:lnTo>
                    <a:pt x="434" y="162"/>
                  </a:lnTo>
                  <a:lnTo>
                    <a:pt x="434" y="162"/>
                  </a:lnTo>
                  <a:lnTo>
                    <a:pt x="436" y="164"/>
                  </a:lnTo>
                  <a:lnTo>
                    <a:pt x="436" y="166"/>
                  </a:lnTo>
                  <a:lnTo>
                    <a:pt x="436" y="168"/>
                  </a:lnTo>
                  <a:lnTo>
                    <a:pt x="440" y="174"/>
                  </a:lnTo>
                  <a:lnTo>
                    <a:pt x="442" y="178"/>
                  </a:lnTo>
                  <a:lnTo>
                    <a:pt x="446" y="178"/>
                  </a:lnTo>
                  <a:lnTo>
                    <a:pt x="450" y="176"/>
                  </a:lnTo>
                  <a:lnTo>
                    <a:pt x="454" y="170"/>
                  </a:lnTo>
                  <a:lnTo>
                    <a:pt x="458" y="168"/>
                  </a:lnTo>
                  <a:lnTo>
                    <a:pt x="461" y="168"/>
                  </a:lnTo>
                  <a:lnTo>
                    <a:pt x="463" y="170"/>
                  </a:lnTo>
                  <a:lnTo>
                    <a:pt x="465" y="170"/>
                  </a:lnTo>
                  <a:lnTo>
                    <a:pt x="467" y="170"/>
                  </a:lnTo>
                  <a:lnTo>
                    <a:pt x="471" y="172"/>
                  </a:lnTo>
                  <a:lnTo>
                    <a:pt x="481" y="176"/>
                  </a:lnTo>
                  <a:lnTo>
                    <a:pt x="483" y="178"/>
                  </a:lnTo>
                  <a:lnTo>
                    <a:pt x="485" y="180"/>
                  </a:lnTo>
                  <a:lnTo>
                    <a:pt x="485" y="182"/>
                  </a:lnTo>
                  <a:lnTo>
                    <a:pt x="483" y="186"/>
                  </a:lnTo>
                  <a:lnTo>
                    <a:pt x="483" y="188"/>
                  </a:lnTo>
                  <a:lnTo>
                    <a:pt x="481" y="188"/>
                  </a:lnTo>
                  <a:lnTo>
                    <a:pt x="481" y="190"/>
                  </a:lnTo>
                  <a:lnTo>
                    <a:pt x="481" y="192"/>
                  </a:lnTo>
                  <a:lnTo>
                    <a:pt x="481" y="197"/>
                  </a:lnTo>
                  <a:lnTo>
                    <a:pt x="481" y="203"/>
                  </a:lnTo>
                  <a:lnTo>
                    <a:pt x="481" y="205"/>
                  </a:lnTo>
                  <a:lnTo>
                    <a:pt x="477" y="213"/>
                  </a:lnTo>
                  <a:lnTo>
                    <a:pt x="473" y="225"/>
                  </a:lnTo>
                  <a:lnTo>
                    <a:pt x="471" y="231"/>
                  </a:lnTo>
                  <a:lnTo>
                    <a:pt x="469" y="235"/>
                  </a:lnTo>
                  <a:lnTo>
                    <a:pt x="469" y="240"/>
                  </a:lnTo>
                  <a:lnTo>
                    <a:pt x="471" y="244"/>
                  </a:lnTo>
                  <a:lnTo>
                    <a:pt x="471" y="246"/>
                  </a:lnTo>
                  <a:lnTo>
                    <a:pt x="471" y="248"/>
                  </a:lnTo>
                  <a:lnTo>
                    <a:pt x="473" y="248"/>
                  </a:lnTo>
                  <a:lnTo>
                    <a:pt x="473" y="250"/>
                  </a:lnTo>
                  <a:lnTo>
                    <a:pt x="477" y="252"/>
                  </a:lnTo>
                  <a:lnTo>
                    <a:pt x="479" y="254"/>
                  </a:lnTo>
                  <a:lnTo>
                    <a:pt x="481" y="256"/>
                  </a:lnTo>
                  <a:lnTo>
                    <a:pt x="481" y="256"/>
                  </a:lnTo>
                  <a:lnTo>
                    <a:pt x="483" y="258"/>
                  </a:lnTo>
                  <a:lnTo>
                    <a:pt x="483" y="260"/>
                  </a:lnTo>
                  <a:lnTo>
                    <a:pt x="487" y="260"/>
                  </a:lnTo>
                  <a:lnTo>
                    <a:pt x="489" y="262"/>
                  </a:lnTo>
                  <a:lnTo>
                    <a:pt x="491" y="266"/>
                  </a:lnTo>
                  <a:lnTo>
                    <a:pt x="495" y="268"/>
                  </a:lnTo>
                  <a:lnTo>
                    <a:pt x="497" y="268"/>
                  </a:lnTo>
                  <a:lnTo>
                    <a:pt x="504" y="272"/>
                  </a:lnTo>
                  <a:lnTo>
                    <a:pt x="504" y="272"/>
                  </a:lnTo>
                  <a:lnTo>
                    <a:pt x="508" y="272"/>
                  </a:lnTo>
                  <a:lnTo>
                    <a:pt x="508" y="272"/>
                  </a:lnTo>
                  <a:lnTo>
                    <a:pt x="512" y="272"/>
                  </a:lnTo>
                  <a:lnTo>
                    <a:pt x="514" y="274"/>
                  </a:lnTo>
                  <a:lnTo>
                    <a:pt x="520" y="279"/>
                  </a:lnTo>
                  <a:lnTo>
                    <a:pt x="522" y="281"/>
                  </a:lnTo>
                  <a:lnTo>
                    <a:pt x="528" y="283"/>
                  </a:lnTo>
                  <a:lnTo>
                    <a:pt x="530" y="285"/>
                  </a:lnTo>
                  <a:lnTo>
                    <a:pt x="532" y="287"/>
                  </a:lnTo>
                  <a:lnTo>
                    <a:pt x="534" y="293"/>
                  </a:lnTo>
                  <a:lnTo>
                    <a:pt x="536" y="295"/>
                  </a:lnTo>
                  <a:lnTo>
                    <a:pt x="547" y="297"/>
                  </a:lnTo>
                  <a:lnTo>
                    <a:pt x="549" y="299"/>
                  </a:lnTo>
                  <a:lnTo>
                    <a:pt x="549" y="301"/>
                  </a:lnTo>
                  <a:lnTo>
                    <a:pt x="549" y="301"/>
                  </a:lnTo>
                  <a:lnTo>
                    <a:pt x="549" y="303"/>
                  </a:lnTo>
                  <a:lnTo>
                    <a:pt x="549" y="305"/>
                  </a:lnTo>
                  <a:lnTo>
                    <a:pt x="549" y="307"/>
                  </a:lnTo>
                  <a:lnTo>
                    <a:pt x="549" y="309"/>
                  </a:lnTo>
                  <a:lnTo>
                    <a:pt x="549" y="311"/>
                  </a:lnTo>
                  <a:lnTo>
                    <a:pt x="549" y="313"/>
                  </a:lnTo>
                  <a:lnTo>
                    <a:pt x="553" y="317"/>
                  </a:lnTo>
                  <a:lnTo>
                    <a:pt x="555" y="320"/>
                  </a:lnTo>
                  <a:lnTo>
                    <a:pt x="557" y="324"/>
                  </a:lnTo>
                  <a:lnTo>
                    <a:pt x="559" y="328"/>
                  </a:lnTo>
                  <a:lnTo>
                    <a:pt x="557" y="332"/>
                  </a:lnTo>
                  <a:lnTo>
                    <a:pt x="555" y="336"/>
                  </a:lnTo>
                  <a:lnTo>
                    <a:pt x="553" y="338"/>
                  </a:lnTo>
                  <a:lnTo>
                    <a:pt x="553" y="342"/>
                  </a:lnTo>
                  <a:lnTo>
                    <a:pt x="553" y="344"/>
                  </a:lnTo>
                  <a:lnTo>
                    <a:pt x="555" y="344"/>
                  </a:lnTo>
                  <a:lnTo>
                    <a:pt x="555" y="344"/>
                  </a:lnTo>
                  <a:lnTo>
                    <a:pt x="557" y="344"/>
                  </a:lnTo>
                  <a:lnTo>
                    <a:pt x="557" y="346"/>
                  </a:lnTo>
                  <a:lnTo>
                    <a:pt x="557" y="348"/>
                  </a:lnTo>
                  <a:lnTo>
                    <a:pt x="559" y="350"/>
                  </a:lnTo>
                  <a:lnTo>
                    <a:pt x="561" y="352"/>
                  </a:lnTo>
                  <a:lnTo>
                    <a:pt x="565" y="358"/>
                  </a:lnTo>
                  <a:lnTo>
                    <a:pt x="565" y="361"/>
                  </a:lnTo>
                  <a:lnTo>
                    <a:pt x="565" y="365"/>
                  </a:lnTo>
                  <a:lnTo>
                    <a:pt x="567" y="365"/>
                  </a:lnTo>
                  <a:lnTo>
                    <a:pt x="571" y="369"/>
                  </a:lnTo>
                  <a:lnTo>
                    <a:pt x="575" y="369"/>
                  </a:lnTo>
                  <a:lnTo>
                    <a:pt x="577" y="369"/>
                  </a:lnTo>
                  <a:lnTo>
                    <a:pt x="577" y="369"/>
                  </a:lnTo>
                  <a:lnTo>
                    <a:pt x="577" y="367"/>
                  </a:lnTo>
                  <a:lnTo>
                    <a:pt x="575" y="367"/>
                  </a:lnTo>
                  <a:lnTo>
                    <a:pt x="575" y="365"/>
                  </a:lnTo>
                  <a:lnTo>
                    <a:pt x="573" y="365"/>
                  </a:lnTo>
                  <a:lnTo>
                    <a:pt x="573" y="363"/>
                  </a:lnTo>
                  <a:lnTo>
                    <a:pt x="573" y="361"/>
                  </a:lnTo>
                  <a:lnTo>
                    <a:pt x="575" y="361"/>
                  </a:lnTo>
                  <a:lnTo>
                    <a:pt x="577" y="361"/>
                  </a:lnTo>
                  <a:lnTo>
                    <a:pt x="577" y="361"/>
                  </a:lnTo>
                  <a:lnTo>
                    <a:pt x="577" y="363"/>
                  </a:lnTo>
                  <a:lnTo>
                    <a:pt x="579" y="365"/>
                  </a:lnTo>
                  <a:lnTo>
                    <a:pt x="579" y="365"/>
                  </a:lnTo>
                  <a:lnTo>
                    <a:pt x="581" y="367"/>
                  </a:lnTo>
                  <a:lnTo>
                    <a:pt x="581" y="367"/>
                  </a:lnTo>
                  <a:lnTo>
                    <a:pt x="583" y="369"/>
                  </a:lnTo>
                  <a:lnTo>
                    <a:pt x="583" y="369"/>
                  </a:lnTo>
                  <a:lnTo>
                    <a:pt x="583" y="371"/>
                  </a:lnTo>
                  <a:lnTo>
                    <a:pt x="583" y="371"/>
                  </a:lnTo>
                  <a:lnTo>
                    <a:pt x="585" y="371"/>
                  </a:lnTo>
                  <a:lnTo>
                    <a:pt x="585" y="371"/>
                  </a:lnTo>
                  <a:lnTo>
                    <a:pt x="587" y="371"/>
                  </a:lnTo>
                  <a:lnTo>
                    <a:pt x="587" y="371"/>
                  </a:lnTo>
                  <a:lnTo>
                    <a:pt x="590" y="371"/>
                  </a:lnTo>
                  <a:lnTo>
                    <a:pt x="590" y="373"/>
                  </a:lnTo>
                  <a:lnTo>
                    <a:pt x="590" y="377"/>
                  </a:lnTo>
                  <a:lnTo>
                    <a:pt x="592" y="381"/>
                  </a:lnTo>
                  <a:lnTo>
                    <a:pt x="592" y="381"/>
                  </a:lnTo>
                  <a:lnTo>
                    <a:pt x="590" y="383"/>
                  </a:lnTo>
                  <a:lnTo>
                    <a:pt x="590" y="383"/>
                  </a:lnTo>
                  <a:lnTo>
                    <a:pt x="590" y="385"/>
                  </a:lnTo>
                  <a:lnTo>
                    <a:pt x="590" y="385"/>
                  </a:lnTo>
                  <a:lnTo>
                    <a:pt x="590" y="387"/>
                  </a:lnTo>
                  <a:lnTo>
                    <a:pt x="592" y="391"/>
                  </a:lnTo>
                  <a:lnTo>
                    <a:pt x="592" y="393"/>
                  </a:lnTo>
                  <a:lnTo>
                    <a:pt x="592" y="397"/>
                  </a:lnTo>
                  <a:lnTo>
                    <a:pt x="587" y="406"/>
                  </a:lnTo>
                  <a:lnTo>
                    <a:pt x="587" y="412"/>
                  </a:lnTo>
                  <a:lnTo>
                    <a:pt x="585" y="414"/>
                  </a:lnTo>
                  <a:lnTo>
                    <a:pt x="583" y="416"/>
                  </a:lnTo>
                  <a:lnTo>
                    <a:pt x="579" y="414"/>
                  </a:lnTo>
                  <a:lnTo>
                    <a:pt x="577" y="414"/>
                  </a:lnTo>
                  <a:lnTo>
                    <a:pt x="575" y="410"/>
                  </a:lnTo>
                  <a:lnTo>
                    <a:pt x="573" y="410"/>
                  </a:lnTo>
                  <a:lnTo>
                    <a:pt x="571" y="410"/>
                  </a:lnTo>
                  <a:lnTo>
                    <a:pt x="571" y="410"/>
                  </a:lnTo>
                  <a:lnTo>
                    <a:pt x="571" y="412"/>
                  </a:lnTo>
                  <a:lnTo>
                    <a:pt x="569" y="416"/>
                  </a:lnTo>
                  <a:lnTo>
                    <a:pt x="569" y="418"/>
                  </a:lnTo>
                  <a:lnTo>
                    <a:pt x="569" y="424"/>
                  </a:lnTo>
                  <a:lnTo>
                    <a:pt x="569" y="424"/>
                  </a:lnTo>
                  <a:lnTo>
                    <a:pt x="569" y="426"/>
                  </a:lnTo>
                  <a:lnTo>
                    <a:pt x="567" y="428"/>
                  </a:lnTo>
                  <a:lnTo>
                    <a:pt x="565" y="428"/>
                  </a:lnTo>
                  <a:lnTo>
                    <a:pt x="565" y="430"/>
                  </a:lnTo>
                  <a:lnTo>
                    <a:pt x="563" y="430"/>
                  </a:lnTo>
                  <a:lnTo>
                    <a:pt x="561" y="428"/>
                  </a:lnTo>
                  <a:lnTo>
                    <a:pt x="563" y="426"/>
                  </a:lnTo>
                  <a:lnTo>
                    <a:pt x="563" y="424"/>
                  </a:lnTo>
                  <a:lnTo>
                    <a:pt x="563" y="424"/>
                  </a:lnTo>
                  <a:lnTo>
                    <a:pt x="561" y="420"/>
                  </a:lnTo>
                  <a:lnTo>
                    <a:pt x="559" y="418"/>
                  </a:lnTo>
                  <a:lnTo>
                    <a:pt x="555" y="420"/>
                  </a:lnTo>
                  <a:lnTo>
                    <a:pt x="555" y="424"/>
                  </a:lnTo>
                  <a:lnTo>
                    <a:pt x="557" y="424"/>
                  </a:lnTo>
                  <a:lnTo>
                    <a:pt x="557" y="426"/>
                  </a:lnTo>
                  <a:lnTo>
                    <a:pt x="557" y="426"/>
                  </a:lnTo>
                  <a:lnTo>
                    <a:pt x="559" y="428"/>
                  </a:lnTo>
                  <a:lnTo>
                    <a:pt x="557" y="430"/>
                  </a:lnTo>
                  <a:lnTo>
                    <a:pt x="559" y="430"/>
                  </a:lnTo>
                  <a:lnTo>
                    <a:pt x="561" y="436"/>
                  </a:lnTo>
                  <a:lnTo>
                    <a:pt x="561" y="438"/>
                  </a:lnTo>
                  <a:lnTo>
                    <a:pt x="561" y="440"/>
                  </a:lnTo>
                  <a:lnTo>
                    <a:pt x="559" y="440"/>
                  </a:lnTo>
                  <a:lnTo>
                    <a:pt x="557" y="442"/>
                  </a:lnTo>
                  <a:lnTo>
                    <a:pt x="555" y="442"/>
                  </a:lnTo>
                  <a:lnTo>
                    <a:pt x="553" y="442"/>
                  </a:lnTo>
                  <a:lnTo>
                    <a:pt x="553" y="445"/>
                  </a:lnTo>
                  <a:lnTo>
                    <a:pt x="555" y="447"/>
                  </a:lnTo>
                  <a:lnTo>
                    <a:pt x="557" y="449"/>
                  </a:lnTo>
                  <a:lnTo>
                    <a:pt x="559" y="449"/>
                  </a:lnTo>
                  <a:lnTo>
                    <a:pt x="559" y="449"/>
                  </a:lnTo>
                  <a:lnTo>
                    <a:pt x="559" y="451"/>
                  </a:lnTo>
                  <a:lnTo>
                    <a:pt x="559" y="451"/>
                  </a:lnTo>
                  <a:lnTo>
                    <a:pt x="557" y="453"/>
                  </a:lnTo>
                  <a:lnTo>
                    <a:pt x="549" y="453"/>
                  </a:lnTo>
                  <a:lnTo>
                    <a:pt x="549" y="453"/>
                  </a:lnTo>
                  <a:lnTo>
                    <a:pt x="553" y="461"/>
                  </a:lnTo>
                  <a:lnTo>
                    <a:pt x="557" y="465"/>
                  </a:lnTo>
                  <a:lnTo>
                    <a:pt x="555" y="467"/>
                  </a:lnTo>
                  <a:lnTo>
                    <a:pt x="555" y="467"/>
                  </a:lnTo>
                  <a:lnTo>
                    <a:pt x="553" y="467"/>
                  </a:lnTo>
                  <a:lnTo>
                    <a:pt x="551" y="469"/>
                  </a:lnTo>
                  <a:lnTo>
                    <a:pt x="551" y="469"/>
                  </a:lnTo>
                  <a:lnTo>
                    <a:pt x="551" y="471"/>
                  </a:lnTo>
                  <a:lnTo>
                    <a:pt x="549" y="477"/>
                  </a:lnTo>
                  <a:lnTo>
                    <a:pt x="549" y="479"/>
                  </a:lnTo>
                  <a:lnTo>
                    <a:pt x="547" y="479"/>
                  </a:lnTo>
                  <a:lnTo>
                    <a:pt x="547" y="479"/>
                  </a:lnTo>
                  <a:lnTo>
                    <a:pt x="547" y="481"/>
                  </a:lnTo>
                  <a:lnTo>
                    <a:pt x="547" y="481"/>
                  </a:lnTo>
                  <a:lnTo>
                    <a:pt x="534" y="481"/>
                  </a:lnTo>
                  <a:lnTo>
                    <a:pt x="522" y="483"/>
                  </a:lnTo>
                  <a:lnTo>
                    <a:pt x="510" y="486"/>
                  </a:lnTo>
                  <a:lnTo>
                    <a:pt x="497" y="486"/>
                  </a:lnTo>
                  <a:lnTo>
                    <a:pt x="491" y="488"/>
                  </a:lnTo>
                  <a:lnTo>
                    <a:pt x="491" y="488"/>
                  </a:lnTo>
                  <a:lnTo>
                    <a:pt x="491" y="486"/>
                  </a:lnTo>
                  <a:lnTo>
                    <a:pt x="491" y="486"/>
                  </a:lnTo>
                  <a:lnTo>
                    <a:pt x="491" y="486"/>
                  </a:lnTo>
                  <a:lnTo>
                    <a:pt x="493" y="479"/>
                  </a:lnTo>
                  <a:lnTo>
                    <a:pt x="493" y="477"/>
                  </a:lnTo>
                  <a:lnTo>
                    <a:pt x="495" y="475"/>
                  </a:lnTo>
                  <a:lnTo>
                    <a:pt x="495" y="473"/>
                  </a:lnTo>
                  <a:lnTo>
                    <a:pt x="497" y="473"/>
                  </a:lnTo>
                  <a:lnTo>
                    <a:pt x="497" y="473"/>
                  </a:lnTo>
                  <a:lnTo>
                    <a:pt x="497" y="471"/>
                  </a:lnTo>
                  <a:lnTo>
                    <a:pt x="497" y="471"/>
                  </a:lnTo>
                  <a:lnTo>
                    <a:pt x="499" y="471"/>
                  </a:lnTo>
                  <a:lnTo>
                    <a:pt x="499" y="471"/>
                  </a:lnTo>
                  <a:lnTo>
                    <a:pt x="499" y="471"/>
                  </a:lnTo>
                  <a:lnTo>
                    <a:pt x="501" y="471"/>
                  </a:lnTo>
                  <a:lnTo>
                    <a:pt x="501" y="469"/>
                  </a:lnTo>
                  <a:lnTo>
                    <a:pt x="501" y="469"/>
                  </a:lnTo>
                  <a:lnTo>
                    <a:pt x="501" y="469"/>
                  </a:lnTo>
                  <a:lnTo>
                    <a:pt x="501" y="469"/>
                  </a:lnTo>
                  <a:lnTo>
                    <a:pt x="501" y="467"/>
                  </a:lnTo>
                  <a:lnTo>
                    <a:pt x="501" y="467"/>
                  </a:lnTo>
                  <a:lnTo>
                    <a:pt x="501" y="465"/>
                  </a:lnTo>
                  <a:lnTo>
                    <a:pt x="501" y="465"/>
                  </a:lnTo>
                  <a:lnTo>
                    <a:pt x="501" y="465"/>
                  </a:lnTo>
                  <a:lnTo>
                    <a:pt x="504" y="465"/>
                  </a:lnTo>
                  <a:lnTo>
                    <a:pt x="504" y="465"/>
                  </a:lnTo>
                  <a:lnTo>
                    <a:pt x="506" y="463"/>
                  </a:lnTo>
                  <a:lnTo>
                    <a:pt x="506" y="463"/>
                  </a:lnTo>
                  <a:lnTo>
                    <a:pt x="510" y="461"/>
                  </a:lnTo>
                  <a:lnTo>
                    <a:pt x="510" y="461"/>
                  </a:lnTo>
                  <a:lnTo>
                    <a:pt x="510" y="461"/>
                  </a:lnTo>
                  <a:lnTo>
                    <a:pt x="510" y="459"/>
                  </a:lnTo>
                  <a:lnTo>
                    <a:pt x="510" y="459"/>
                  </a:lnTo>
                  <a:lnTo>
                    <a:pt x="510" y="457"/>
                  </a:lnTo>
                  <a:lnTo>
                    <a:pt x="510" y="457"/>
                  </a:lnTo>
                  <a:lnTo>
                    <a:pt x="510" y="457"/>
                  </a:lnTo>
                  <a:lnTo>
                    <a:pt x="512" y="455"/>
                  </a:lnTo>
                  <a:lnTo>
                    <a:pt x="514" y="455"/>
                  </a:lnTo>
                  <a:lnTo>
                    <a:pt x="514" y="455"/>
                  </a:lnTo>
                  <a:lnTo>
                    <a:pt x="514" y="455"/>
                  </a:lnTo>
                  <a:lnTo>
                    <a:pt x="514" y="455"/>
                  </a:lnTo>
                  <a:lnTo>
                    <a:pt x="514" y="453"/>
                  </a:lnTo>
                  <a:lnTo>
                    <a:pt x="514" y="453"/>
                  </a:lnTo>
                  <a:lnTo>
                    <a:pt x="516" y="453"/>
                  </a:lnTo>
                  <a:lnTo>
                    <a:pt x="516" y="453"/>
                  </a:lnTo>
                  <a:lnTo>
                    <a:pt x="516" y="451"/>
                  </a:lnTo>
                  <a:lnTo>
                    <a:pt x="514" y="449"/>
                  </a:lnTo>
                  <a:lnTo>
                    <a:pt x="514" y="447"/>
                  </a:lnTo>
                  <a:lnTo>
                    <a:pt x="514" y="445"/>
                  </a:lnTo>
                  <a:lnTo>
                    <a:pt x="514" y="445"/>
                  </a:lnTo>
                  <a:lnTo>
                    <a:pt x="514" y="445"/>
                  </a:lnTo>
                  <a:lnTo>
                    <a:pt x="514" y="442"/>
                  </a:lnTo>
                  <a:lnTo>
                    <a:pt x="514" y="442"/>
                  </a:lnTo>
                  <a:lnTo>
                    <a:pt x="514" y="442"/>
                  </a:lnTo>
                  <a:lnTo>
                    <a:pt x="514" y="442"/>
                  </a:lnTo>
                  <a:lnTo>
                    <a:pt x="514" y="440"/>
                  </a:lnTo>
                  <a:lnTo>
                    <a:pt x="512" y="440"/>
                  </a:lnTo>
                  <a:lnTo>
                    <a:pt x="510" y="440"/>
                  </a:lnTo>
                  <a:lnTo>
                    <a:pt x="510" y="438"/>
                  </a:lnTo>
                  <a:lnTo>
                    <a:pt x="510" y="438"/>
                  </a:lnTo>
                  <a:lnTo>
                    <a:pt x="510" y="438"/>
                  </a:lnTo>
                  <a:lnTo>
                    <a:pt x="508" y="438"/>
                  </a:lnTo>
                  <a:lnTo>
                    <a:pt x="508" y="436"/>
                  </a:lnTo>
                  <a:lnTo>
                    <a:pt x="508" y="436"/>
                  </a:lnTo>
                  <a:lnTo>
                    <a:pt x="508" y="434"/>
                  </a:lnTo>
                  <a:lnTo>
                    <a:pt x="508" y="434"/>
                  </a:lnTo>
                  <a:lnTo>
                    <a:pt x="508" y="434"/>
                  </a:lnTo>
                  <a:lnTo>
                    <a:pt x="508" y="434"/>
                  </a:lnTo>
                  <a:lnTo>
                    <a:pt x="506" y="434"/>
                  </a:lnTo>
                  <a:lnTo>
                    <a:pt x="506" y="432"/>
                  </a:lnTo>
                  <a:lnTo>
                    <a:pt x="506" y="430"/>
                  </a:lnTo>
                  <a:lnTo>
                    <a:pt x="506" y="430"/>
                  </a:lnTo>
                  <a:lnTo>
                    <a:pt x="506" y="430"/>
                  </a:lnTo>
                  <a:lnTo>
                    <a:pt x="499" y="430"/>
                  </a:lnTo>
                  <a:lnTo>
                    <a:pt x="475" y="432"/>
                  </a:lnTo>
                  <a:lnTo>
                    <a:pt x="450" y="434"/>
                  </a:lnTo>
                  <a:lnTo>
                    <a:pt x="428" y="436"/>
                  </a:lnTo>
                  <a:lnTo>
                    <a:pt x="403" y="438"/>
                  </a:lnTo>
                  <a:lnTo>
                    <a:pt x="379" y="440"/>
                  </a:lnTo>
                  <a:lnTo>
                    <a:pt x="356" y="442"/>
                  </a:lnTo>
                  <a:lnTo>
                    <a:pt x="331" y="445"/>
                  </a:lnTo>
                  <a:lnTo>
                    <a:pt x="309" y="447"/>
                  </a:lnTo>
                  <a:lnTo>
                    <a:pt x="284" y="447"/>
                  </a:lnTo>
                  <a:lnTo>
                    <a:pt x="260" y="449"/>
                  </a:lnTo>
                  <a:lnTo>
                    <a:pt x="237" y="451"/>
                  </a:lnTo>
                  <a:lnTo>
                    <a:pt x="213" y="453"/>
                  </a:lnTo>
                  <a:lnTo>
                    <a:pt x="188" y="453"/>
                  </a:lnTo>
                  <a:lnTo>
                    <a:pt x="166" y="455"/>
                  </a:lnTo>
                  <a:lnTo>
                    <a:pt x="141" y="455"/>
                  </a:lnTo>
                  <a:lnTo>
                    <a:pt x="116" y="457"/>
                  </a:lnTo>
                  <a:lnTo>
                    <a:pt x="116" y="445"/>
                  </a:lnTo>
                  <a:lnTo>
                    <a:pt x="116" y="430"/>
                  </a:lnTo>
                  <a:lnTo>
                    <a:pt x="114" y="416"/>
                  </a:lnTo>
                  <a:lnTo>
                    <a:pt x="114" y="404"/>
                  </a:lnTo>
                  <a:lnTo>
                    <a:pt x="114" y="389"/>
                  </a:lnTo>
                  <a:lnTo>
                    <a:pt x="112" y="375"/>
                  </a:lnTo>
                  <a:lnTo>
                    <a:pt x="112" y="363"/>
                  </a:lnTo>
                  <a:lnTo>
                    <a:pt x="112" y="348"/>
                  </a:lnTo>
                  <a:lnTo>
                    <a:pt x="110" y="334"/>
                  </a:lnTo>
                  <a:lnTo>
                    <a:pt x="110" y="322"/>
                  </a:lnTo>
                  <a:lnTo>
                    <a:pt x="110" y="307"/>
                  </a:lnTo>
                  <a:lnTo>
                    <a:pt x="108" y="293"/>
                  </a:lnTo>
                  <a:lnTo>
                    <a:pt x="108" y="281"/>
                  </a:lnTo>
                  <a:lnTo>
                    <a:pt x="108" y="266"/>
                  </a:lnTo>
                  <a:lnTo>
                    <a:pt x="106" y="252"/>
                  </a:lnTo>
                  <a:lnTo>
                    <a:pt x="106" y="240"/>
                  </a:lnTo>
                  <a:lnTo>
                    <a:pt x="106" y="225"/>
                  </a:lnTo>
                  <a:lnTo>
                    <a:pt x="104" y="211"/>
                  </a:lnTo>
                  <a:lnTo>
                    <a:pt x="104" y="199"/>
                  </a:lnTo>
                  <a:lnTo>
                    <a:pt x="104" y="184"/>
                  </a:lnTo>
                  <a:lnTo>
                    <a:pt x="104" y="176"/>
                  </a:lnTo>
                  <a:lnTo>
                    <a:pt x="104" y="176"/>
                  </a:lnTo>
                  <a:lnTo>
                    <a:pt x="102" y="176"/>
                  </a:lnTo>
                  <a:lnTo>
                    <a:pt x="102" y="176"/>
                  </a:lnTo>
                  <a:lnTo>
                    <a:pt x="102" y="174"/>
                  </a:lnTo>
                  <a:lnTo>
                    <a:pt x="102" y="174"/>
                  </a:lnTo>
                  <a:lnTo>
                    <a:pt x="104" y="174"/>
                  </a:lnTo>
                  <a:lnTo>
                    <a:pt x="104" y="172"/>
                  </a:lnTo>
                  <a:lnTo>
                    <a:pt x="102" y="172"/>
                  </a:lnTo>
                  <a:lnTo>
                    <a:pt x="100" y="172"/>
                  </a:lnTo>
                  <a:lnTo>
                    <a:pt x="100" y="172"/>
                  </a:lnTo>
                  <a:lnTo>
                    <a:pt x="100" y="170"/>
                  </a:lnTo>
                  <a:lnTo>
                    <a:pt x="100" y="170"/>
                  </a:lnTo>
                  <a:lnTo>
                    <a:pt x="98" y="170"/>
                  </a:lnTo>
                  <a:lnTo>
                    <a:pt x="98" y="170"/>
                  </a:lnTo>
                  <a:lnTo>
                    <a:pt x="96" y="170"/>
                  </a:lnTo>
                  <a:lnTo>
                    <a:pt x="94" y="170"/>
                  </a:lnTo>
                  <a:lnTo>
                    <a:pt x="92" y="170"/>
                  </a:lnTo>
                  <a:lnTo>
                    <a:pt x="88" y="168"/>
                  </a:lnTo>
                  <a:lnTo>
                    <a:pt x="86" y="168"/>
                  </a:lnTo>
                  <a:lnTo>
                    <a:pt x="86" y="166"/>
                  </a:lnTo>
                  <a:lnTo>
                    <a:pt x="84" y="164"/>
                  </a:lnTo>
                  <a:lnTo>
                    <a:pt x="84" y="162"/>
                  </a:lnTo>
                  <a:lnTo>
                    <a:pt x="84" y="162"/>
                  </a:lnTo>
                  <a:lnTo>
                    <a:pt x="80" y="160"/>
                  </a:lnTo>
                  <a:lnTo>
                    <a:pt x="78" y="156"/>
                  </a:lnTo>
                  <a:lnTo>
                    <a:pt x="78" y="151"/>
                  </a:lnTo>
                  <a:lnTo>
                    <a:pt x="78" y="149"/>
                  </a:lnTo>
                  <a:lnTo>
                    <a:pt x="75" y="147"/>
                  </a:lnTo>
                  <a:lnTo>
                    <a:pt x="73" y="147"/>
                  </a:lnTo>
                  <a:lnTo>
                    <a:pt x="73" y="145"/>
                  </a:lnTo>
                  <a:lnTo>
                    <a:pt x="73" y="145"/>
                  </a:lnTo>
                  <a:lnTo>
                    <a:pt x="69" y="143"/>
                  </a:lnTo>
                  <a:lnTo>
                    <a:pt x="67" y="143"/>
                  </a:lnTo>
                  <a:lnTo>
                    <a:pt x="67" y="141"/>
                  </a:lnTo>
                  <a:lnTo>
                    <a:pt x="67" y="141"/>
                  </a:lnTo>
                  <a:lnTo>
                    <a:pt x="65" y="137"/>
                  </a:lnTo>
                  <a:lnTo>
                    <a:pt x="63" y="137"/>
                  </a:lnTo>
                  <a:lnTo>
                    <a:pt x="63" y="135"/>
                  </a:lnTo>
                  <a:lnTo>
                    <a:pt x="61" y="135"/>
                  </a:lnTo>
                  <a:lnTo>
                    <a:pt x="59" y="133"/>
                  </a:lnTo>
                  <a:lnTo>
                    <a:pt x="59" y="129"/>
                  </a:lnTo>
                  <a:lnTo>
                    <a:pt x="61" y="129"/>
                  </a:lnTo>
                  <a:lnTo>
                    <a:pt x="63" y="129"/>
                  </a:lnTo>
                  <a:lnTo>
                    <a:pt x="63" y="129"/>
                  </a:lnTo>
                  <a:lnTo>
                    <a:pt x="63" y="127"/>
                  </a:lnTo>
                  <a:lnTo>
                    <a:pt x="63" y="127"/>
                  </a:lnTo>
                  <a:lnTo>
                    <a:pt x="63" y="125"/>
                  </a:lnTo>
                  <a:lnTo>
                    <a:pt x="63" y="123"/>
                  </a:lnTo>
                  <a:lnTo>
                    <a:pt x="65" y="121"/>
                  </a:lnTo>
                  <a:lnTo>
                    <a:pt x="67" y="119"/>
                  </a:lnTo>
                  <a:lnTo>
                    <a:pt x="69" y="117"/>
                  </a:lnTo>
                  <a:lnTo>
                    <a:pt x="69" y="117"/>
                  </a:lnTo>
                  <a:lnTo>
                    <a:pt x="69" y="117"/>
                  </a:lnTo>
                  <a:lnTo>
                    <a:pt x="69" y="113"/>
                  </a:lnTo>
                  <a:lnTo>
                    <a:pt x="69" y="113"/>
                  </a:lnTo>
                  <a:lnTo>
                    <a:pt x="71" y="110"/>
                  </a:lnTo>
                  <a:lnTo>
                    <a:pt x="71" y="110"/>
                  </a:lnTo>
                  <a:lnTo>
                    <a:pt x="75" y="113"/>
                  </a:lnTo>
                  <a:lnTo>
                    <a:pt x="78" y="113"/>
                  </a:lnTo>
                  <a:lnTo>
                    <a:pt x="80" y="110"/>
                  </a:lnTo>
                  <a:lnTo>
                    <a:pt x="80" y="108"/>
                  </a:lnTo>
                  <a:lnTo>
                    <a:pt x="78" y="108"/>
                  </a:lnTo>
                  <a:lnTo>
                    <a:pt x="78" y="108"/>
                  </a:lnTo>
                  <a:lnTo>
                    <a:pt x="78" y="106"/>
                  </a:lnTo>
                  <a:lnTo>
                    <a:pt x="78" y="106"/>
                  </a:lnTo>
                  <a:lnTo>
                    <a:pt x="78" y="102"/>
                  </a:lnTo>
                  <a:lnTo>
                    <a:pt x="78" y="102"/>
                  </a:lnTo>
                  <a:lnTo>
                    <a:pt x="78" y="100"/>
                  </a:lnTo>
                  <a:lnTo>
                    <a:pt x="73" y="98"/>
                  </a:lnTo>
                  <a:lnTo>
                    <a:pt x="71" y="98"/>
                  </a:lnTo>
                  <a:lnTo>
                    <a:pt x="71" y="96"/>
                  </a:lnTo>
                  <a:lnTo>
                    <a:pt x="71" y="96"/>
                  </a:lnTo>
                  <a:lnTo>
                    <a:pt x="71" y="94"/>
                  </a:lnTo>
                  <a:lnTo>
                    <a:pt x="71" y="94"/>
                  </a:lnTo>
                  <a:lnTo>
                    <a:pt x="69" y="94"/>
                  </a:lnTo>
                  <a:lnTo>
                    <a:pt x="67" y="94"/>
                  </a:lnTo>
                  <a:lnTo>
                    <a:pt x="65" y="94"/>
                  </a:lnTo>
                  <a:lnTo>
                    <a:pt x="63" y="96"/>
                  </a:lnTo>
                  <a:lnTo>
                    <a:pt x="61" y="98"/>
                  </a:lnTo>
                  <a:lnTo>
                    <a:pt x="59" y="98"/>
                  </a:lnTo>
                  <a:lnTo>
                    <a:pt x="57" y="98"/>
                  </a:lnTo>
                  <a:lnTo>
                    <a:pt x="55" y="96"/>
                  </a:lnTo>
                  <a:lnTo>
                    <a:pt x="55" y="94"/>
                  </a:lnTo>
                  <a:lnTo>
                    <a:pt x="53" y="94"/>
                  </a:lnTo>
                  <a:lnTo>
                    <a:pt x="53" y="94"/>
                  </a:lnTo>
                  <a:lnTo>
                    <a:pt x="51" y="94"/>
                  </a:lnTo>
                  <a:lnTo>
                    <a:pt x="51" y="94"/>
                  </a:lnTo>
                  <a:lnTo>
                    <a:pt x="51" y="92"/>
                  </a:lnTo>
                  <a:lnTo>
                    <a:pt x="49" y="92"/>
                  </a:lnTo>
                  <a:lnTo>
                    <a:pt x="49" y="92"/>
                  </a:lnTo>
                  <a:lnTo>
                    <a:pt x="49" y="90"/>
                  </a:lnTo>
                  <a:lnTo>
                    <a:pt x="47" y="90"/>
                  </a:lnTo>
                  <a:lnTo>
                    <a:pt x="47" y="90"/>
                  </a:lnTo>
                  <a:lnTo>
                    <a:pt x="45" y="88"/>
                  </a:lnTo>
                  <a:lnTo>
                    <a:pt x="41" y="84"/>
                  </a:lnTo>
                  <a:lnTo>
                    <a:pt x="39" y="82"/>
                  </a:lnTo>
                  <a:lnTo>
                    <a:pt x="37" y="82"/>
                  </a:lnTo>
                  <a:lnTo>
                    <a:pt x="32" y="82"/>
                  </a:lnTo>
                  <a:lnTo>
                    <a:pt x="32" y="80"/>
                  </a:lnTo>
                  <a:lnTo>
                    <a:pt x="30" y="78"/>
                  </a:lnTo>
                  <a:lnTo>
                    <a:pt x="32" y="76"/>
                  </a:lnTo>
                  <a:lnTo>
                    <a:pt x="32" y="74"/>
                  </a:lnTo>
                  <a:lnTo>
                    <a:pt x="32" y="74"/>
                  </a:lnTo>
                  <a:lnTo>
                    <a:pt x="32" y="72"/>
                  </a:lnTo>
                  <a:lnTo>
                    <a:pt x="30" y="70"/>
                  </a:lnTo>
                  <a:lnTo>
                    <a:pt x="28" y="67"/>
                  </a:lnTo>
                  <a:lnTo>
                    <a:pt x="28" y="67"/>
                  </a:lnTo>
                  <a:lnTo>
                    <a:pt x="26" y="63"/>
                  </a:lnTo>
                  <a:lnTo>
                    <a:pt x="26" y="61"/>
                  </a:lnTo>
                  <a:lnTo>
                    <a:pt x="26" y="59"/>
                  </a:lnTo>
                  <a:lnTo>
                    <a:pt x="26" y="59"/>
                  </a:lnTo>
                  <a:lnTo>
                    <a:pt x="24" y="59"/>
                  </a:lnTo>
                  <a:lnTo>
                    <a:pt x="20" y="57"/>
                  </a:lnTo>
                  <a:lnTo>
                    <a:pt x="20" y="57"/>
                  </a:lnTo>
                  <a:lnTo>
                    <a:pt x="18" y="57"/>
                  </a:lnTo>
                  <a:lnTo>
                    <a:pt x="18" y="55"/>
                  </a:lnTo>
                  <a:lnTo>
                    <a:pt x="18" y="53"/>
                  </a:lnTo>
                  <a:lnTo>
                    <a:pt x="16" y="53"/>
                  </a:lnTo>
                  <a:lnTo>
                    <a:pt x="14" y="53"/>
                  </a:lnTo>
                  <a:lnTo>
                    <a:pt x="12" y="53"/>
                  </a:lnTo>
                  <a:lnTo>
                    <a:pt x="12" y="53"/>
                  </a:lnTo>
                  <a:lnTo>
                    <a:pt x="10" y="51"/>
                  </a:lnTo>
                  <a:lnTo>
                    <a:pt x="12" y="51"/>
                  </a:lnTo>
                  <a:lnTo>
                    <a:pt x="12" y="49"/>
                  </a:lnTo>
                  <a:lnTo>
                    <a:pt x="12" y="49"/>
                  </a:lnTo>
                  <a:lnTo>
                    <a:pt x="12" y="49"/>
                  </a:lnTo>
                  <a:lnTo>
                    <a:pt x="12" y="45"/>
                  </a:lnTo>
                  <a:lnTo>
                    <a:pt x="10" y="43"/>
                  </a:lnTo>
                  <a:lnTo>
                    <a:pt x="10" y="43"/>
                  </a:lnTo>
                  <a:lnTo>
                    <a:pt x="10" y="43"/>
                  </a:lnTo>
                  <a:lnTo>
                    <a:pt x="10" y="41"/>
                  </a:lnTo>
                  <a:lnTo>
                    <a:pt x="10" y="39"/>
                  </a:lnTo>
                  <a:lnTo>
                    <a:pt x="8" y="39"/>
                  </a:lnTo>
                  <a:lnTo>
                    <a:pt x="8" y="37"/>
                  </a:lnTo>
                  <a:lnTo>
                    <a:pt x="6" y="35"/>
                  </a:lnTo>
                  <a:lnTo>
                    <a:pt x="6" y="33"/>
                  </a:lnTo>
                  <a:lnTo>
                    <a:pt x="6" y="33"/>
                  </a:lnTo>
                  <a:lnTo>
                    <a:pt x="6" y="31"/>
                  </a:lnTo>
                  <a:lnTo>
                    <a:pt x="6" y="31"/>
                  </a:lnTo>
                  <a:lnTo>
                    <a:pt x="4" y="29"/>
                  </a:lnTo>
                  <a:lnTo>
                    <a:pt x="2" y="29"/>
                  </a:lnTo>
                  <a:lnTo>
                    <a:pt x="0" y="29"/>
                  </a:lnTo>
                  <a:lnTo>
                    <a:pt x="0" y="24"/>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20" y="20"/>
                  </a:lnTo>
                  <a:lnTo>
                    <a:pt x="41" y="20"/>
                  </a:lnTo>
                  <a:lnTo>
                    <a:pt x="61" y="18"/>
                  </a:lnTo>
                  <a:lnTo>
                    <a:pt x="82" y="18"/>
                  </a:lnTo>
                  <a:lnTo>
                    <a:pt x="102" y="16"/>
                  </a:lnTo>
                  <a:lnTo>
                    <a:pt x="123" y="16"/>
                  </a:lnTo>
                  <a:lnTo>
                    <a:pt x="143" y="14"/>
                  </a:lnTo>
                  <a:lnTo>
                    <a:pt x="161" y="14"/>
                  </a:lnTo>
                  <a:lnTo>
                    <a:pt x="182" y="12"/>
                  </a:lnTo>
                  <a:lnTo>
                    <a:pt x="202" y="10"/>
                  </a:lnTo>
                  <a:lnTo>
                    <a:pt x="223" y="10"/>
                  </a:lnTo>
                  <a:lnTo>
                    <a:pt x="243" y="8"/>
                  </a:lnTo>
                  <a:lnTo>
                    <a:pt x="264" y="6"/>
                  </a:lnTo>
                  <a:lnTo>
                    <a:pt x="284" y="4"/>
                  </a:lnTo>
                  <a:lnTo>
                    <a:pt x="303" y="4"/>
                  </a:lnTo>
                  <a:lnTo>
                    <a:pt x="323" y="2"/>
                  </a:lnTo>
                  <a:lnTo>
                    <a:pt x="331" y="2"/>
                  </a:lnTo>
                  <a:lnTo>
                    <a:pt x="336" y="0"/>
                  </a:lnTo>
                  <a:lnTo>
                    <a:pt x="336" y="2"/>
                  </a:lnTo>
                  <a:lnTo>
                    <a:pt x="336" y="2"/>
                  </a:lnTo>
                  <a:lnTo>
                    <a:pt x="338" y="4"/>
                  </a:lnTo>
                  <a:lnTo>
                    <a:pt x="338" y="4"/>
                  </a:lnTo>
                  <a:lnTo>
                    <a:pt x="338" y="6"/>
                  </a:lnTo>
                  <a:lnTo>
                    <a:pt x="340" y="6"/>
                  </a:lnTo>
                  <a:lnTo>
                    <a:pt x="340" y="8"/>
                  </a:lnTo>
                  <a:lnTo>
                    <a:pt x="340" y="8"/>
                  </a:lnTo>
                  <a:lnTo>
                    <a:pt x="342" y="8"/>
                  </a:lnTo>
                  <a:lnTo>
                    <a:pt x="342" y="8"/>
                  </a:lnTo>
                  <a:lnTo>
                    <a:pt x="344" y="10"/>
                  </a:lnTo>
                  <a:lnTo>
                    <a:pt x="346" y="10"/>
                  </a:lnTo>
                  <a:lnTo>
                    <a:pt x="346" y="12"/>
                  </a:lnTo>
                  <a:lnTo>
                    <a:pt x="346" y="12"/>
                  </a:lnTo>
                  <a:lnTo>
                    <a:pt x="346" y="12"/>
                  </a:lnTo>
                  <a:lnTo>
                    <a:pt x="346" y="12"/>
                  </a:lnTo>
                  <a:lnTo>
                    <a:pt x="348" y="12"/>
                  </a:lnTo>
                  <a:lnTo>
                    <a:pt x="348" y="12"/>
                  </a:lnTo>
                  <a:lnTo>
                    <a:pt x="348" y="14"/>
                  </a:lnTo>
                  <a:lnTo>
                    <a:pt x="348" y="14"/>
                  </a:lnTo>
                  <a:lnTo>
                    <a:pt x="348" y="14"/>
                  </a:lnTo>
                  <a:lnTo>
                    <a:pt x="350" y="14"/>
                  </a:lnTo>
                  <a:lnTo>
                    <a:pt x="352" y="16"/>
                  </a:lnTo>
                  <a:lnTo>
                    <a:pt x="352" y="16"/>
                  </a:lnTo>
                  <a:lnTo>
                    <a:pt x="352" y="16"/>
                  </a:lnTo>
                  <a:lnTo>
                    <a:pt x="352" y="18"/>
                  </a:lnTo>
                  <a:lnTo>
                    <a:pt x="352" y="18"/>
                  </a:lnTo>
                  <a:lnTo>
                    <a:pt x="352" y="18"/>
                  </a:lnTo>
                  <a:lnTo>
                    <a:pt x="354" y="20"/>
                  </a:lnTo>
                  <a:lnTo>
                    <a:pt x="356" y="22"/>
                  </a:lnTo>
                  <a:lnTo>
                    <a:pt x="358" y="24"/>
                  </a:lnTo>
                  <a:lnTo>
                    <a:pt x="360" y="24"/>
                  </a:lnTo>
                  <a:lnTo>
                    <a:pt x="362" y="24"/>
                  </a:lnTo>
                  <a:lnTo>
                    <a:pt x="362" y="24"/>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O</a:t>
              </a:r>
            </a:p>
          </p:txBody>
        </p:sp>
        <p:sp>
          <p:nvSpPr>
            <p:cNvPr id="164" name="Freeform 32">
              <a:extLst>
                <a:ext uri="{FF2B5EF4-FFF2-40B4-BE49-F238E27FC236}">
                  <a16:creationId xmlns:a16="http://schemas.microsoft.com/office/drawing/2014/main" id="{0566AD96-4CC6-B3F5-FB15-DC26BEE99B9C}"/>
                </a:ext>
              </a:extLst>
            </p:cNvPr>
            <p:cNvSpPr>
              <a:spLocks/>
            </p:cNvSpPr>
            <p:nvPr/>
          </p:nvSpPr>
          <p:spPr bwMode="auto">
            <a:xfrm>
              <a:off x="2934" y="133"/>
              <a:ext cx="584" cy="613"/>
            </a:xfrm>
            <a:custGeom>
              <a:avLst/>
              <a:gdLst>
                <a:gd name="T0" fmla="*/ 562 w 584"/>
                <a:gd name="T1" fmla="*/ 115 h 613"/>
                <a:gd name="T2" fmla="*/ 516 w 584"/>
                <a:gd name="T3" fmla="*/ 109 h 613"/>
                <a:gd name="T4" fmla="*/ 500 w 584"/>
                <a:gd name="T5" fmla="*/ 111 h 613"/>
                <a:gd name="T6" fmla="*/ 488 w 584"/>
                <a:gd name="T7" fmla="*/ 99 h 613"/>
                <a:gd name="T8" fmla="*/ 455 w 584"/>
                <a:gd name="T9" fmla="*/ 115 h 613"/>
                <a:gd name="T10" fmla="*/ 432 w 584"/>
                <a:gd name="T11" fmla="*/ 115 h 613"/>
                <a:gd name="T12" fmla="*/ 410 w 584"/>
                <a:gd name="T13" fmla="*/ 107 h 613"/>
                <a:gd name="T14" fmla="*/ 379 w 584"/>
                <a:gd name="T15" fmla="*/ 92 h 613"/>
                <a:gd name="T16" fmla="*/ 371 w 584"/>
                <a:gd name="T17" fmla="*/ 105 h 613"/>
                <a:gd name="T18" fmla="*/ 349 w 584"/>
                <a:gd name="T19" fmla="*/ 86 h 613"/>
                <a:gd name="T20" fmla="*/ 342 w 584"/>
                <a:gd name="T21" fmla="*/ 74 h 613"/>
                <a:gd name="T22" fmla="*/ 287 w 584"/>
                <a:gd name="T23" fmla="*/ 76 h 613"/>
                <a:gd name="T24" fmla="*/ 254 w 584"/>
                <a:gd name="T25" fmla="*/ 70 h 613"/>
                <a:gd name="T26" fmla="*/ 224 w 584"/>
                <a:gd name="T27" fmla="*/ 64 h 613"/>
                <a:gd name="T28" fmla="*/ 191 w 584"/>
                <a:gd name="T29" fmla="*/ 52 h 613"/>
                <a:gd name="T30" fmla="*/ 181 w 584"/>
                <a:gd name="T31" fmla="*/ 8 h 613"/>
                <a:gd name="T32" fmla="*/ 156 w 584"/>
                <a:gd name="T33" fmla="*/ 37 h 613"/>
                <a:gd name="T34" fmla="*/ 39 w 584"/>
                <a:gd name="T35" fmla="*/ 43 h 613"/>
                <a:gd name="T36" fmla="*/ 2 w 584"/>
                <a:gd name="T37" fmla="*/ 54 h 613"/>
                <a:gd name="T38" fmla="*/ 9 w 584"/>
                <a:gd name="T39" fmla="*/ 86 h 613"/>
                <a:gd name="T40" fmla="*/ 11 w 584"/>
                <a:gd name="T41" fmla="*/ 115 h 613"/>
                <a:gd name="T42" fmla="*/ 19 w 584"/>
                <a:gd name="T43" fmla="*/ 156 h 613"/>
                <a:gd name="T44" fmla="*/ 23 w 584"/>
                <a:gd name="T45" fmla="*/ 166 h 613"/>
                <a:gd name="T46" fmla="*/ 33 w 584"/>
                <a:gd name="T47" fmla="*/ 187 h 613"/>
                <a:gd name="T48" fmla="*/ 33 w 584"/>
                <a:gd name="T49" fmla="*/ 203 h 613"/>
                <a:gd name="T50" fmla="*/ 35 w 584"/>
                <a:gd name="T51" fmla="*/ 232 h 613"/>
                <a:gd name="T52" fmla="*/ 39 w 584"/>
                <a:gd name="T53" fmla="*/ 252 h 613"/>
                <a:gd name="T54" fmla="*/ 41 w 584"/>
                <a:gd name="T55" fmla="*/ 256 h 613"/>
                <a:gd name="T56" fmla="*/ 41 w 584"/>
                <a:gd name="T57" fmla="*/ 275 h 613"/>
                <a:gd name="T58" fmla="*/ 45 w 584"/>
                <a:gd name="T59" fmla="*/ 299 h 613"/>
                <a:gd name="T60" fmla="*/ 56 w 584"/>
                <a:gd name="T61" fmla="*/ 318 h 613"/>
                <a:gd name="T62" fmla="*/ 60 w 584"/>
                <a:gd name="T63" fmla="*/ 336 h 613"/>
                <a:gd name="T64" fmla="*/ 60 w 584"/>
                <a:gd name="T65" fmla="*/ 361 h 613"/>
                <a:gd name="T66" fmla="*/ 45 w 584"/>
                <a:gd name="T67" fmla="*/ 384 h 613"/>
                <a:gd name="T68" fmla="*/ 49 w 584"/>
                <a:gd name="T69" fmla="*/ 408 h 613"/>
                <a:gd name="T70" fmla="*/ 70 w 584"/>
                <a:gd name="T71" fmla="*/ 424 h 613"/>
                <a:gd name="T72" fmla="*/ 76 w 584"/>
                <a:gd name="T73" fmla="*/ 590 h 613"/>
                <a:gd name="T74" fmla="*/ 312 w 584"/>
                <a:gd name="T75" fmla="*/ 603 h 613"/>
                <a:gd name="T76" fmla="*/ 496 w 584"/>
                <a:gd name="T77" fmla="*/ 584 h 613"/>
                <a:gd name="T78" fmla="*/ 494 w 584"/>
                <a:gd name="T79" fmla="*/ 562 h 613"/>
                <a:gd name="T80" fmla="*/ 488 w 584"/>
                <a:gd name="T81" fmla="*/ 547 h 613"/>
                <a:gd name="T82" fmla="*/ 478 w 584"/>
                <a:gd name="T83" fmla="*/ 537 h 613"/>
                <a:gd name="T84" fmla="*/ 457 w 584"/>
                <a:gd name="T85" fmla="*/ 533 h 613"/>
                <a:gd name="T86" fmla="*/ 404 w 584"/>
                <a:gd name="T87" fmla="*/ 494 h 613"/>
                <a:gd name="T88" fmla="*/ 375 w 584"/>
                <a:gd name="T89" fmla="*/ 478 h 613"/>
                <a:gd name="T90" fmla="*/ 365 w 584"/>
                <a:gd name="T91" fmla="*/ 449 h 613"/>
                <a:gd name="T92" fmla="*/ 363 w 584"/>
                <a:gd name="T93" fmla="*/ 427 h 613"/>
                <a:gd name="T94" fmla="*/ 365 w 584"/>
                <a:gd name="T95" fmla="*/ 406 h 613"/>
                <a:gd name="T96" fmla="*/ 361 w 584"/>
                <a:gd name="T97" fmla="*/ 384 h 613"/>
                <a:gd name="T98" fmla="*/ 357 w 584"/>
                <a:gd name="T99" fmla="*/ 357 h 613"/>
                <a:gd name="T100" fmla="*/ 373 w 584"/>
                <a:gd name="T101" fmla="*/ 338 h 613"/>
                <a:gd name="T102" fmla="*/ 383 w 584"/>
                <a:gd name="T103" fmla="*/ 332 h 613"/>
                <a:gd name="T104" fmla="*/ 392 w 584"/>
                <a:gd name="T105" fmla="*/ 322 h 613"/>
                <a:gd name="T106" fmla="*/ 389 w 584"/>
                <a:gd name="T107" fmla="*/ 267 h 613"/>
                <a:gd name="T108" fmla="*/ 396 w 584"/>
                <a:gd name="T109" fmla="*/ 263 h 613"/>
                <a:gd name="T110" fmla="*/ 400 w 584"/>
                <a:gd name="T111" fmla="*/ 256 h 613"/>
                <a:gd name="T112" fmla="*/ 428 w 584"/>
                <a:gd name="T113" fmla="*/ 230 h 613"/>
                <a:gd name="T114" fmla="*/ 441 w 584"/>
                <a:gd name="T115" fmla="*/ 218 h 613"/>
                <a:gd name="T116" fmla="*/ 549 w 584"/>
                <a:gd name="T117" fmla="*/ 133 h 613"/>
                <a:gd name="T118" fmla="*/ 584 w 584"/>
                <a:gd name="T119" fmla="*/ 11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4" h="613">
                  <a:moveTo>
                    <a:pt x="584" y="111"/>
                  </a:moveTo>
                  <a:lnTo>
                    <a:pt x="580" y="111"/>
                  </a:lnTo>
                  <a:lnTo>
                    <a:pt x="578" y="111"/>
                  </a:lnTo>
                  <a:lnTo>
                    <a:pt x="574" y="111"/>
                  </a:lnTo>
                  <a:lnTo>
                    <a:pt x="574" y="111"/>
                  </a:lnTo>
                  <a:lnTo>
                    <a:pt x="572" y="111"/>
                  </a:lnTo>
                  <a:lnTo>
                    <a:pt x="572" y="111"/>
                  </a:lnTo>
                  <a:lnTo>
                    <a:pt x="570" y="111"/>
                  </a:lnTo>
                  <a:lnTo>
                    <a:pt x="568" y="111"/>
                  </a:lnTo>
                  <a:lnTo>
                    <a:pt x="562" y="115"/>
                  </a:lnTo>
                  <a:lnTo>
                    <a:pt x="559" y="115"/>
                  </a:lnTo>
                  <a:lnTo>
                    <a:pt x="555" y="113"/>
                  </a:lnTo>
                  <a:lnTo>
                    <a:pt x="553" y="113"/>
                  </a:lnTo>
                  <a:lnTo>
                    <a:pt x="551" y="111"/>
                  </a:lnTo>
                  <a:lnTo>
                    <a:pt x="547" y="105"/>
                  </a:lnTo>
                  <a:lnTo>
                    <a:pt x="547" y="105"/>
                  </a:lnTo>
                  <a:lnTo>
                    <a:pt x="543" y="103"/>
                  </a:lnTo>
                  <a:lnTo>
                    <a:pt x="539" y="103"/>
                  </a:lnTo>
                  <a:lnTo>
                    <a:pt x="516" y="109"/>
                  </a:lnTo>
                  <a:lnTo>
                    <a:pt x="516" y="109"/>
                  </a:lnTo>
                  <a:lnTo>
                    <a:pt x="516" y="109"/>
                  </a:lnTo>
                  <a:lnTo>
                    <a:pt x="514" y="107"/>
                  </a:lnTo>
                  <a:lnTo>
                    <a:pt x="514" y="109"/>
                  </a:lnTo>
                  <a:lnTo>
                    <a:pt x="512" y="109"/>
                  </a:lnTo>
                  <a:lnTo>
                    <a:pt x="510" y="109"/>
                  </a:lnTo>
                  <a:lnTo>
                    <a:pt x="510" y="109"/>
                  </a:lnTo>
                  <a:lnTo>
                    <a:pt x="508" y="109"/>
                  </a:lnTo>
                  <a:lnTo>
                    <a:pt x="508" y="107"/>
                  </a:lnTo>
                  <a:lnTo>
                    <a:pt x="506" y="107"/>
                  </a:lnTo>
                  <a:lnTo>
                    <a:pt x="500" y="111"/>
                  </a:lnTo>
                  <a:lnTo>
                    <a:pt x="496" y="111"/>
                  </a:lnTo>
                  <a:lnTo>
                    <a:pt x="492" y="109"/>
                  </a:lnTo>
                  <a:lnTo>
                    <a:pt x="492" y="107"/>
                  </a:lnTo>
                  <a:lnTo>
                    <a:pt x="490" y="105"/>
                  </a:lnTo>
                  <a:lnTo>
                    <a:pt x="490" y="103"/>
                  </a:lnTo>
                  <a:lnTo>
                    <a:pt x="490" y="103"/>
                  </a:lnTo>
                  <a:lnTo>
                    <a:pt x="488" y="103"/>
                  </a:lnTo>
                  <a:lnTo>
                    <a:pt x="488" y="103"/>
                  </a:lnTo>
                  <a:lnTo>
                    <a:pt x="488" y="101"/>
                  </a:lnTo>
                  <a:lnTo>
                    <a:pt x="488" y="99"/>
                  </a:lnTo>
                  <a:lnTo>
                    <a:pt x="488" y="99"/>
                  </a:lnTo>
                  <a:lnTo>
                    <a:pt x="488" y="97"/>
                  </a:lnTo>
                  <a:lnTo>
                    <a:pt x="486" y="97"/>
                  </a:lnTo>
                  <a:lnTo>
                    <a:pt x="482" y="97"/>
                  </a:lnTo>
                  <a:lnTo>
                    <a:pt x="475" y="101"/>
                  </a:lnTo>
                  <a:lnTo>
                    <a:pt x="473" y="103"/>
                  </a:lnTo>
                  <a:lnTo>
                    <a:pt x="469" y="105"/>
                  </a:lnTo>
                  <a:lnTo>
                    <a:pt x="461" y="111"/>
                  </a:lnTo>
                  <a:lnTo>
                    <a:pt x="459" y="113"/>
                  </a:lnTo>
                  <a:lnTo>
                    <a:pt x="455" y="115"/>
                  </a:lnTo>
                  <a:lnTo>
                    <a:pt x="449" y="117"/>
                  </a:lnTo>
                  <a:lnTo>
                    <a:pt x="445" y="119"/>
                  </a:lnTo>
                  <a:lnTo>
                    <a:pt x="443" y="119"/>
                  </a:lnTo>
                  <a:lnTo>
                    <a:pt x="441" y="119"/>
                  </a:lnTo>
                  <a:lnTo>
                    <a:pt x="441" y="119"/>
                  </a:lnTo>
                  <a:lnTo>
                    <a:pt x="432" y="119"/>
                  </a:lnTo>
                  <a:lnTo>
                    <a:pt x="432" y="119"/>
                  </a:lnTo>
                  <a:lnTo>
                    <a:pt x="432" y="119"/>
                  </a:lnTo>
                  <a:lnTo>
                    <a:pt x="432" y="117"/>
                  </a:lnTo>
                  <a:lnTo>
                    <a:pt x="432" y="115"/>
                  </a:lnTo>
                  <a:lnTo>
                    <a:pt x="432" y="115"/>
                  </a:lnTo>
                  <a:lnTo>
                    <a:pt x="430" y="115"/>
                  </a:lnTo>
                  <a:lnTo>
                    <a:pt x="430" y="115"/>
                  </a:lnTo>
                  <a:lnTo>
                    <a:pt x="424" y="115"/>
                  </a:lnTo>
                  <a:lnTo>
                    <a:pt x="422" y="113"/>
                  </a:lnTo>
                  <a:lnTo>
                    <a:pt x="422" y="111"/>
                  </a:lnTo>
                  <a:lnTo>
                    <a:pt x="420" y="109"/>
                  </a:lnTo>
                  <a:lnTo>
                    <a:pt x="420" y="107"/>
                  </a:lnTo>
                  <a:lnTo>
                    <a:pt x="418" y="107"/>
                  </a:lnTo>
                  <a:lnTo>
                    <a:pt x="410" y="107"/>
                  </a:lnTo>
                  <a:lnTo>
                    <a:pt x="402" y="103"/>
                  </a:lnTo>
                  <a:lnTo>
                    <a:pt x="402" y="103"/>
                  </a:lnTo>
                  <a:lnTo>
                    <a:pt x="400" y="101"/>
                  </a:lnTo>
                  <a:lnTo>
                    <a:pt x="398" y="101"/>
                  </a:lnTo>
                  <a:lnTo>
                    <a:pt x="398" y="97"/>
                  </a:lnTo>
                  <a:lnTo>
                    <a:pt x="396" y="95"/>
                  </a:lnTo>
                  <a:lnTo>
                    <a:pt x="396" y="92"/>
                  </a:lnTo>
                  <a:lnTo>
                    <a:pt x="394" y="92"/>
                  </a:lnTo>
                  <a:lnTo>
                    <a:pt x="387" y="92"/>
                  </a:lnTo>
                  <a:lnTo>
                    <a:pt x="379" y="92"/>
                  </a:lnTo>
                  <a:lnTo>
                    <a:pt x="377" y="95"/>
                  </a:lnTo>
                  <a:lnTo>
                    <a:pt x="375" y="97"/>
                  </a:lnTo>
                  <a:lnTo>
                    <a:pt x="375" y="99"/>
                  </a:lnTo>
                  <a:lnTo>
                    <a:pt x="377" y="101"/>
                  </a:lnTo>
                  <a:lnTo>
                    <a:pt x="377" y="103"/>
                  </a:lnTo>
                  <a:lnTo>
                    <a:pt x="377" y="105"/>
                  </a:lnTo>
                  <a:lnTo>
                    <a:pt x="375" y="105"/>
                  </a:lnTo>
                  <a:lnTo>
                    <a:pt x="373" y="105"/>
                  </a:lnTo>
                  <a:lnTo>
                    <a:pt x="371" y="107"/>
                  </a:lnTo>
                  <a:lnTo>
                    <a:pt x="371" y="105"/>
                  </a:lnTo>
                  <a:lnTo>
                    <a:pt x="367" y="101"/>
                  </a:lnTo>
                  <a:lnTo>
                    <a:pt x="365" y="97"/>
                  </a:lnTo>
                  <a:lnTo>
                    <a:pt x="363" y="95"/>
                  </a:lnTo>
                  <a:lnTo>
                    <a:pt x="363" y="92"/>
                  </a:lnTo>
                  <a:lnTo>
                    <a:pt x="363" y="88"/>
                  </a:lnTo>
                  <a:lnTo>
                    <a:pt x="363" y="86"/>
                  </a:lnTo>
                  <a:lnTo>
                    <a:pt x="361" y="84"/>
                  </a:lnTo>
                  <a:lnTo>
                    <a:pt x="359" y="84"/>
                  </a:lnTo>
                  <a:lnTo>
                    <a:pt x="355" y="84"/>
                  </a:lnTo>
                  <a:lnTo>
                    <a:pt x="349" y="86"/>
                  </a:lnTo>
                  <a:lnTo>
                    <a:pt x="346" y="84"/>
                  </a:lnTo>
                  <a:lnTo>
                    <a:pt x="344" y="84"/>
                  </a:lnTo>
                  <a:lnTo>
                    <a:pt x="342" y="84"/>
                  </a:lnTo>
                  <a:lnTo>
                    <a:pt x="344" y="80"/>
                  </a:lnTo>
                  <a:lnTo>
                    <a:pt x="344" y="80"/>
                  </a:lnTo>
                  <a:lnTo>
                    <a:pt x="349" y="80"/>
                  </a:lnTo>
                  <a:lnTo>
                    <a:pt x="351" y="78"/>
                  </a:lnTo>
                  <a:lnTo>
                    <a:pt x="351" y="76"/>
                  </a:lnTo>
                  <a:lnTo>
                    <a:pt x="349" y="76"/>
                  </a:lnTo>
                  <a:lnTo>
                    <a:pt x="342" y="74"/>
                  </a:lnTo>
                  <a:lnTo>
                    <a:pt x="330" y="72"/>
                  </a:lnTo>
                  <a:lnTo>
                    <a:pt x="324" y="70"/>
                  </a:lnTo>
                  <a:lnTo>
                    <a:pt x="322" y="68"/>
                  </a:lnTo>
                  <a:lnTo>
                    <a:pt x="312" y="68"/>
                  </a:lnTo>
                  <a:lnTo>
                    <a:pt x="301" y="68"/>
                  </a:lnTo>
                  <a:lnTo>
                    <a:pt x="291" y="70"/>
                  </a:lnTo>
                  <a:lnTo>
                    <a:pt x="289" y="72"/>
                  </a:lnTo>
                  <a:lnTo>
                    <a:pt x="287" y="72"/>
                  </a:lnTo>
                  <a:lnTo>
                    <a:pt x="287" y="74"/>
                  </a:lnTo>
                  <a:lnTo>
                    <a:pt x="287" y="76"/>
                  </a:lnTo>
                  <a:lnTo>
                    <a:pt x="287" y="76"/>
                  </a:lnTo>
                  <a:lnTo>
                    <a:pt x="285" y="78"/>
                  </a:lnTo>
                  <a:lnTo>
                    <a:pt x="279" y="80"/>
                  </a:lnTo>
                  <a:lnTo>
                    <a:pt x="277" y="80"/>
                  </a:lnTo>
                  <a:lnTo>
                    <a:pt x="275" y="80"/>
                  </a:lnTo>
                  <a:lnTo>
                    <a:pt x="265" y="82"/>
                  </a:lnTo>
                  <a:lnTo>
                    <a:pt x="262" y="82"/>
                  </a:lnTo>
                  <a:lnTo>
                    <a:pt x="260" y="80"/>
                  </a:lnTo>
                  <a:lnTo>
                    <a:pt x="258" y="72"/>
                  </a:lnTo>
                  <a:lnTo>
                    <a:pt x="254" y="70"/>
                  </a:lnTo>
                  <a:lnTo>
                    <a:pt x="242" y="70"/>
                  </a:lnTo>
                  <a:lnTo>
                    <a:pt x="228" y="70"/>
                  </a:lnTo>
                  <a:lnTo>
                    <a:pt x="226" y="70"/>
                  </a:lnTo>
                  <a:lnTo>
                    <a:pt x="226" y="70"/>
                  </a:lnTo>
                  <a:lnTo>
                    <a:pt x="226" y="68"/>
                  </a:lnTo>
                  <a:lnTo>
                    <a:pt x="226" y="66"/>
                  </a:lnTo>
                  <a:lnTo>
                    <a:pt x="226" y="66"/>
                  </a:lnTo>
                  <a:lnTo>
                    <a:pt x="224" y="66"/>
                  </a:lnTo>
                  <a:lnTo>
                    <a:pt x="224" y="66"/>
                  </a:lnTo>
                  <a:lnTo>
                    <a:pt x="224" y="64"/>
                  </a:lnTo>
                  <a:lnTo>
                    <a:pt x="222" y="64"/>
                  </a:lnTo>
                  <a:lnTo>
                    <a:pt x="209" y="66"/>
                  </a:lnTo>
                  <a:lnTo>
                    <a:pt x="205" y="66"/>
                  </a:lnTo>
                  <a:lnTo>
                    <a:pt x="201" y="64"/>
                  </a:lnTo>
                  <a:lnTo>
                    <a:pt x="193" y="60"/>
                  </a:lnTo>
                  <a:lnTo>
                    <a:pt x="191" y="58"/>
                  </a:lnTo>
                  <a:lnTo>
                    <a:pt x="191" y="56"/>
                  </a:lnTo>
                  <a:lnTo>
                    <a:pt x="191" y="56"/>
                  </a:lnTo>
                  <a:lnTo>
                    <a:pt x="191" y="54"/>
                  </a:lnTo>
                  <a:lnTo>
                    <a:pt x="191" y="52"/>
                  </a:lnTo>
                  <a:lnTo>
                    <a:pt x="191" y="52"/>
                  </a:lnTo>
                  <a:lnTo>
                    <a:pt x="191" y="45"/>
                  </a:lnTo>
                  <a:lnTo>
                    <a:pt x="187" y="35"/>
                  </a:lnTo>
                  <a:lnTo>
                    <a:pt x="183" y="25"/>
                  </a:lnTo>
                  <a:lnTo>
                    <a:pt x="183" y="23"/>
                  </a:lnTo>
                  <a:lnTo>
                    <a:pt x="183" y="21"/>
                  </a:lnTo>
                  <a:lnTo>
                    <a:pt x="183" y="17"/>
                  </a:lnTo>
                  <a:lnTo>
                    <a:pt x="181" y="15"/>
                  </a:lnTo>
                  <a:lnTo>
                    <a:pt x="181" y="13"/>
                  </a:lnTo>
                  <a:lnTo>
                    <a:pt x="181" y="8"/>
                  </a:lnTo>
                  <a:lnTo>
                    <a:pt x="179" y="6"/>
                  </a:lnTo>
                  <a:lnTo>
                    <a:pt x="179" y="4"/>
                  </a:lnTo>
                  <a:lnTo>
                    <a:pt x="172" y="2"/>
                  </a:lnTo>
                  <a:lnTo>
                    <a:pt x="168" y="2"/>
                  </a:lnTo>
                  <a:lnTo>
                    <a:pt x="158" y="2"/>
                  </a:lnTo>
                  <a:lnTo>
                    <a:pt x="154" y="0"/>
                  </a:lnTo>
                  <a:lnTo>
                    <a:pt x="154" y="6"/>
                  </a:lnTo>
                  <a:lnTo>
                    <a:pt x="156" y="15"/>
                  </a:lnTo>
                  <a:lnTo>
                    <a:pt x="156" y="27"/>
                  </a:lnTo>
                  <a:lnTo>
                    <a:pt x="156" y="37"/>
                  </a:lnTo>
                  <a:lnTo>
                    <a:pt x="156" y="39"/>
                  </a:lnTo>
                  <a:lnTo>
                    <a:pt x="156" y="39"/>
                  </a:lnTo>
                  <a:lnTo>
                    <a:pt x="154" y="39"/>
                  </a:lnTo>
                  <a:lnTo>
                    <a:pt x="138" y="39"/>
                  </a:lnTo>
                  <a:lnTo>
                    <a:pt x="121" y="41"/>
                  </a:lnTo>
                  <a:lnTo>
                    <a:pt x="105" y="41"/>
                  </a:lnTo>
                  <a:lnTo>
                    <a:pt x="88" y="41"/>
                  </a:lnTo>
                  <a:lnTo>
                    <a:pt x="72" y="43"/>
                  </a:lnTo>
                  <a:lnTo>
                    <a:pt x="56" y="43"/>
                  </a:lnTo>
                  <a:lnTo>
                    <a:pt x="39" y="43"/>
                  </a:lnTo>
                  <a:lnTo>
                    <a:pt x="23" y="43"/>
                  </a:lnTo>
                  <a:lnTo>
                    <a:pt x="6" y="45"/>
                  </a:lnTo>
                  <a:lnTo>
                    <a:pt x="0" y="45"/>
                  </a:lnTo>
                  <a:lnTo>
                    <a:pt x="0" y="45"/>
                  </a:lnTo>
                  <a:lnTo>
                    <a:pt x="0" y="47"/>
                  </a:lnTo>
                  <a:lnTo>
                    <a:pt x="0" y="49"/>
                  </a:lnTo>
                  <a:lnTo>
                    <a:pt x="2" y="49"/>
                  </a:lnTo>
                  <a:lnTo>
                    <a:pt x="2" y="52"/>
                  </a:lnTo>
                  <a:lnTo>
                    <a:pt x="2" y="54"/>
                  </a:lnTo>
                  <a:lnTo>
                    <a:pt x="2" y="54"/>
                  </a:lnTo>
                  <a:lnTo>
                    <a:pt x="4" y="56"/>
                  </a:lnTo>
                  <a:lnTo>
                    <a:pt x="4" y="56"/>
                  </a:lnTo>
                  <a:lnTo>
                    <a:pt x="4" y="60"/>
                  </a:lnTo>
                  <a:lnTo>
                    <a:pt x="6" y="66"/>
                  </a:lnTo>
                  <a:lnTo>
                    <a:pt x="9" y="70"/>
                  </a:lnTo>
                  <a:lnTo>
                    <a:pt x="9" y="70"/>
                  </a:lnTo>
                  <a:lnTo>
                    <a:pt x="11" y="74"/>
                  </a:lnTo>
                  <a:lnTo>
                    <a:pt x="11" y="80"/>
                  </a:lnTo>
                  <a:lnTo>
                    <a:pt x="11" y="82"/>
                  </a:lnTo>
                  <a:lnTo>
                    <a:pt x="9" y="86"/>
                  </a:lnTo>
                  <a:lnTo>
                    <a:pt x="6" y="90"/>
                  </a:lnTo>
                  <a:lnTo>
                    <a:pt x="9" y="97"/>
                  </a:lnTo>
                  <a:lnTo>
                    <a:pt x="9" y="101"/>
                  </a:lnTo>
                  <a:lnTo>
                    <a:pt x="11" y="103"/>
                  </a:lnTo>
                  <a:lnTo>
                    <a:pt x="11" y="103"/>
                  </a:lnTo>
                  <a:lnTo>
                    <a:pt x="11" y="105"/>
                  </a:lnTo>
                  <a:lnTo>
                    <a:pt x="9" y="107"/>
                  </a:lnTo>
                  <a:lnTo>
                    <a:pt x="9" y="107"/>
                  </a:lnTo>
                  <a:lnTo>
                    <a:pt x="11" y="115"/>
                  </a:lnTo>
                  <a:lnTo>
                    <a:pt x="11" y="115"/>
                  </a:lnTo>
                  <a:lnTo>
                    <a:pt x="11" y="117"/>
                  </a:lnTo>
                  <a:lnTo>
                    <a:pt x="11" y="123"/>
                  </a:lnTo>
                  <a:lnTo>
                    <a:pt x="11" y="129"/>
                  </a:lnTo>
                  <a:lnTo>
                    <a:pt x="11" y="131"/>
                  </a:lnTo>
                  <a:lnTo>
                    <a:pt x="13" y="136"/>
                  </a:lnTo>
                  <a:lnTo>
                    <a:pt x="17" y="144"/>
                  </a:lnTo>
                  <a:lnTo>
                    <a:pt x="17" y="148"/>
                  </a:lnTo>
                  <a:lnTo>
                    <a:pt x="19" y="150"/>
                  </a:lnTo>
                  <a:lnTo>
                    <a:pt x="21" y="154"/>
                  </a:lnTo>
                  <a:lnTo>
                    <a:pt x="19" y="156"/>
                  </a:lnTo>
                  <a:lnTo>
                    <a:pt x="21" y="158"/>
                  </a:lnTo>
                  <a:lnTo>
                    <a:pt x="23" y="164"/>
                  </a:lnTo>
                  <a:lnTo>
                    <a:pt x="23" y="164"/>
                  </a:lnTo>
                  <a:lnTo>
                    <a:pt x="21" y="164"/>
                  </a:lnTo>
                  <a:lnTo>
                    <a:pt x="21" y="164"/>
                  </a:lnTo>
                  <a:lnTo>
                    <a:pt x="23" y="166"/>
                  </a:lnTo>
                  <a:lnTo>
                    <a:pt x="23" y="166"/>
                  </a:lnTo>
                  <a:lnTo>
                    <a:pt x="23" y="166"/>
                  </a:lnTo>
                  <a:lnTo>
                    <a:pt x="23" y="166"/>
                  </a:lnTo>
                  <a:lnTo>
                    <a:pt x="23" y="166"/>
                  </a:lnTo>
                  <a:lnTo>
                    <a:pt x="25" y="168"/>
                  </a:lnTo>
                  <a:lnTo>
                    <a:pt x="25" y="170"/>
                  </a:lnTo>
                  <a:lnTo>
                    <a:pt x="27" y="172"/>
                  </a:lnTo>
                  <a:lnTo>
                    <a:pt x="27" y="174"/>
                  </a:lnTo>
                  <a:lnTo>
                    <a:pt x="29" y="177"/>
                  </a:lnTo>
                  <a:lnTo>
                    <a:pt x="29" y="179"/>
                  </a:lnTo>
                  <a:lnTo>
                    <a:pt x="31" y="183"/>
                  </a:lnTo>
                  <a:lnTo>
                    <a:pt x="31" y="185"/>
                  </a:lnTo>
                  <a:lnTo>
                    <a:pt x="33" y="187"/>
                  </a:lnTo>
                  <a:lnTo>
                    <a:pt x="33" y="187"/>
                  </a:lnTo>
                  <a:lnTo>
                    <a:pt x="33" y="187"/>
                  </a:lnTo>
                  <a:lnTo>
                    <a:pt x="33" y="187"/>
                  </a:lnTo>
                  <a:lnTo>
                    <a:pt x="33" y="189"/>
                  </a:lnTo>
                  <a:lnTo>
                    <a:pt x="33" y="189"/>
                  </a:lnTo>
                  <a:lnTo>
                    <a:pt x="33" y="191"/>
                  </a:lnTo>
                  <a:lnTo>
                    <a:pt x="33" y="193"/>
                  </a:lnTo>
                  <a:lnTo>
                    <a:pt x="33" y="195"/>
                  </a:lnTo>
                  <a:lnTo>
                    <a:pt x="33" y="197"/>
                  </a:lnTo>
                  <a:lnTo>
                    <a:pt x="33" y="197"/>
                  </a:lnTo>
                  <a:lnTo>
                    <a:pt x="33" y="203"/>
                  </a:lnTo>
                  <a:lnTo>
                    <a:pt x="33" y="205"/>
                  </a:lnTo>
                  <a:lnTo>
                    <a:pt x="33" y="205"/>
                  </a:lnTo>
                  <a:lnTo>
                    <a:pt x="33" y="207"/>
                  </a:lnTo>
                  <a:lnTo>
                    <a:pt x="33" y="207"/>
                  </a:lnTo>
                  <a:lnTo>
                    <a:pt x="35" y="209"/>
                  </a:lnTo>
                  <a:lnTo>
                    <a:pt x="35" y="222"/>
                  </a:lnTo>
                  <a:lnTo>
                    <a:pt x="35" y="224"/>
                  </a:lnTo>
                  <a:lnTo>
                    <a:pt x="35" y="230"/>
                  </a:lnTo>
                  <a:lnTo>
                    <a:pt x="35" y="232"/>
                  </a:lnTo>
                  <a:lnTo>
                    <a:pt x="35" y="232"/>
                  </a:lnTo>
                  <a:lnTo>
                    <a:pt x="35" y="232"/>
                  </a:lnTo>
                  <a:lnTo>
                    <a:pt x="35" y="234"/>
                  </a:lnTo>
                  <a:lnTo>
                    <a:pt x="35" y="236"/>
                  </a:lnTo>
                  <a:lnTo>
                    <a:pt x="37" y="240"/>
                  </a:lnTo>
                  <a:lnTo>
                    <a:pt x="37" y="242"/>
                  </a:lnTo>
                  <a:lnTo>
                    <a:pt x="37" y="248"/>
                  </a:lnTo>
                  <a:lnTo>
                    <a:pt x="37" y="250"/>
                  </a:lnTo>
                  <a:lnTo>
                    <a:pt x="37" y="250"/>
                  </a:lnTo>
                  <a:lnTo>
                    <a:pt x="39" y="252"/>
                  </a:lnTo>
                  <a:lnTo>
                    <a:pt x="39" y="252"/>
                  </a:lnTo>
                  <a:lnTo>
                    <a:pt x="39" y="254"/>
                  </a:lnTo>
                  <a:lnTo>
                    <a:pt x="39" y="254"/>
                  </a:lnTo>
                  <a:lnTo>
                    <a:pt x="39" y="254"/>
                  </a:lnTo>
                  <a:lnTo>
                    <a:pt x="39" y="254"/>
                  </a:lnTo>
                  <a:lnTo>
                    <a:pt x="41" y="254"/>
                  </a:lnTo>
                  <a:lnTo>
                    <a:pt x="41" y="254"/>
                  </a:lnTo>
                  <a:lnTo>
                    <a:pt x="41" y="256"/>
                  </a:lnTo>
                  <a:lnTo>
                    <a:pt x="41" y="256"/>
                  </a:lnTo>
                  <a:lnTo>
                    <a:pt x="41" y="256"/>
                  </a:lnTo>
                  <a:lnTo>
                    <a:pt x="41" y="256"/>
                  </a:lnTo>
                  <a:lnTo>
                    <a:pt x="41" y="258"/>
                  </a:lnTo>
                  <a:lnTo>
                    <a:pt x="41" y="261"/>
                  </a:lnTo>
                  <a:lnTo>
                    <a:pt x="39" y="261"/>
                  </a:lnTo>
                  <a:lnTo>
                    <a:pt x="41" y="265"/>
                  </a:lnTo>
                  <a:lnTo>
                    <a:pt x="39" y="267"/>
                  </a:lnTo>
                  <a:lnTo>
                    <a:pt x="39" y="267"/>
                  </a:lnTo>
                  <a:lnTo>
                    <a:pt x="39" y="269"/>
                  </a:lnTo>
                  <a:lnTo>
                    <a:pt x="39" y="269"/>
                  </a:lnTo>
                  <a:lnTo>
                    <a:pt x="39" y="271"/>
                  </a:lnTo>
                  <a:lnTo>
                    <a:pt x="41" y="275"/>
                  </a:lnTo>
                  <a:lnTo>
                    <a:pt x="41" y="277"/>
                  </a:lnTo>
                  <a:lnTo>
                    <a:pt x="41" y="279"/>
                  </a:lnTo>
                  <a:lnTo>
                    <a:pt x="39" y="283"/>
                  </a:lnTo>
                  <a:lnTo>
                    <a:pt x="39" y="285"/>
                  </a:lnTo>
                  <a:lnTo>
                    <a:pt x="41" y="287"/>
                  </a:lnTo>
                  <a:lnTo>
                    <a:pt x="43" y="289"/>
                  </a:lnTo>
                  <a:lnTo>
                    <a:pt x="43" y="291"/>
                  </a:lnTo>
                  <a:lnTo>
                    <a:pt x="45" y="295"/>
                  </a:lnTo>
                  <a:lnTo>
                    <a:pt x="45" y="297"/>
                  </a:lnTo>
                  <a:lnTo>
                    <a:pt x="45" y="299"/>
                  </a:lnTo>
                  <a:lnTo>
                    <a:pt x="45" y="302"/>
                  </a:lnTo>
                  <a:lnTo>
                    <a:pt x="45" y="302"/>
                  </a:lnTo>
                  <a:lnTo>
                    <a:pt x="47" y="304"/>
                  </a:lnTo>
                  <a:lnTo>
                    <a:pt x="47" y="304"/>
                  </a:lnTo>
                  <a:lnTo>
                    <a:pt x="47" y="304"/>
                  </a:lnTo>
                  <a:lnTo>
                    <a:pt x="47" y="306"/>
                  </a:lnTo>
                  <a:lnTo>
                    <a:pt x="47" y="308"/>
                  </a:lnTo>
                  <a:lnTo>
                    <a:pt x="52" y="314"/>
                  </a:lnTo>
                  <a:lnTo>
                    <a:pt x="56" y="316"/>
                  </a:lnTo>
                  <a:lnTo>
                    <a:pt x="56" y="318"/>
                  </a:lnTo>
                  <a:lnTo>
                    <a:pt x="58" y="320"/>
                  </a:lnTo>
                  <a:lnTo>
                    <a:pt x="58" y="326"/>
                  </a:lnTo>
                  <a:lnTo>
                    <a:pt x="58" y="328"/>
                  </a:lnTo>
                  <a:lnTo>
                    <a:pt x="58" y="330"/>
                  </a:lnTo>
                  <a:lnTo>
                    <a:pt x="58" y="330"/>
                  </a:lnTo>
                  <a:lnTo>
                    <a:pt x="60" y="334"/>
                  </a:lnTo>
                  <a:lnTo>
                    <a:pt x="60" y="334"/>
                  </a:lnTo>
                  <a:lnTo>
                    <a:pt x="60" y="334"/>
                  </a:lnTo>
                  <a:lnTo>
                    <a:pt x="60" y="336"/>
                  </a:lnTo>
                  <a:lnTo>
                    <a:pt x="60" y="336"/>
                  </a:lnTo>
                  <a:lnTo>
                    <a:pt x="60" y="340"/>
                  </a:lnTo>
                  <a:lnTo>
                    <a:pt x="60" y="343"/>
                  </a:lnTo>
                  <a:lnTo>
                    <a:pt x="60" y="345"/>
                  </a:lnTo>
                  <a:lnTo>
                    <a:pt x="60" y="347"/>
                  </a:lnTo>
                  <a:lnTo>
                    <a:pt x="60" y="351"/>
                  </a:lnTo>
                  <a:lnTo>
                    <a:pt x="62" y="357"/>
                  </a:lnTo>
                  <a:lnTo>
                    <a:pt x="60" y="359"/>
                  </a:lnTo>
                  <a:lnTo>
                    <a:pt x="60" y="359"/>
                  </a:lnTo>
                  <a:lnTo>
                    <a:pt x="60" y="359"/>
                  </a:lnTo>
                  <a:lnTo>
                    <a:pt x="60" y="361"/>
                  </a:lnTo>
                  <a:lnTo>
                    <a:pt x="60" y="367"/>
                  </a:lnTo>
                  <a:lnTo>
                    <a:pt x="60" y="369"/>
                  </a:lnTo>
                  <a:lnTo>
                    <a:pt x="58" y="371"/>
                  </a:lnTo>
                  <a:lnTo>
                    <a:pt x="56" y="375"/>
                  </a:lnTo>
                  <a:lnTo>
                    <a:pt x="56" y="377"/>
                  </a:lnTo>
                  <a:lnTo>
                    <a:pt x="54" y="377"/>
                  </a:lnTo>
                  <a:lnTo>
                    <a:pt x="54" y="377"/>
                  </a:lnTo>
                  <a:lnTo>
                    <a:pt x="52" y="379"/>
                  </a:lnTo>
                  <a:lnTo>
                    <a:pt x="45" y="384"/>
                  </a:lnTo>
                  <a:lnTo>
                    <a:pt x="45" y="384"/>
                  </a:lnTo>
                  <a:lnTo>
                    <a:pt x="43" y="386"/>
                  </a:lnTo>
                  <a:lnTo>
                    <a:pt x="41" y="388"/>
                  </a:lnTo>
                  <a:lnTo>
                    <a:pt x="39" y="390"/>
                  </a:lnTo>
                  <a:lnTo>
                    <a:pt x="39" y="390"/>
                  </a:lnTo>
                  <a:lnTo>
                    <a:pt x="39" y="392"/>
                  </a:lnTo>
                  <a:lnTo>
                    <a:pt x="37" y="394"/>
                  </a:lnTo>
                  <a:lnTo>
                    <a:pt x="39" y="396"/>
                  </a:lnTo>
                  <a:lnTo>
                    <a:pt x="43" y="400"/>
                  </a:lnTo>
                  <a:lnTo>
                    <a:pt x="45" y="402"/>
                  </a:lnTo>
                  <a:lnTo>
                    <a:pt x="49" y="408"/>
                  </a:lnTo>
                  <a:lnTo>
                    <a:pt x="52" y="412"/>
                  </a:lnTo>
                  <a:lnTo>
                    <a:pt x="52" y="414"/>
                  </a:lnTo>
                  <a:lnTo>
                    <a:pt x="58" y="414"/>
                  </a:lnTo>
                  <a:lnTo>
                    <a:pt x="62" y="414"/>
                  </a:lnTo>
                  <a:lnTo>
                    <a:pt x="64" y="416"/>
                  </a:lnTo>
                  <a:lnTo>
                    <a:pt x="66" y="416"/>
                  </a:lnTo>
                  <a:lnTo>
                    <a:pt x="68" y="418"/>
                  </a:lnTo>
                  <a:lnTo>
                    <a:pt x="68" y="418"/>
                  </a:lnTo>
                  <a:lnTo>
                    <a:pt x="70" y="422"/>
                  </a:lnTo>
                  <a:lnTo>
                    <a:pt x="70" y="424"/>
                  </a:lnTo>
                  <a:lnTo>
                    <a:pt x="72" y="424"/>
                  </a:lnTo>
                  <a:lnTo>
                    <a:pt x="72" y="424"/>
                  </a:lnTo>
                  <a:lnTo>
                    <a:pt x="72" y="429"/>
                  </a:lnTo>
                  <a:lnTo>
                    <a:pt x="72" y="451"/>
                  </a:lnTo>
                  <a:lnTo>
                    <a:pt x="72" y="474"/>
                  </a:lnTo>
                  <a:lnTo>
                    <a:pt x="74" y="498"/>
                  </a:lnTo>
                  <a:lnTo>
                    <a:pt x="74" y="521"/>
                  </a:lnTo>
                  <a:lnTo>
                    <a:pt x="74" y="543"/>
                  </a:lnTo>
                  <a:lnTo>
                    <a:pt x="76" y="566"/>
                  </a:lnTo>
                  <a:lnTo>
                    <a:pt x="76" y="590"/>
                  </a:lnTo>
                  <a:lnTo>
                    <a:pt x="78" y="613"/>
                  </a:lnTo>
                  <a:lnTo>
                    <a:pt x="103" y="613"/>
                  </a:lnTo>
                  <a:lnTo>
                    <a:pt x="129" y="611"/>
                  </a:lnTo>
                  <a:lnTo>
                    <a:pt x="156" y="611"/>
                  </a:lnTo>
                  <a:lnTo>
                    <a:pt x="183" y="609"/>
                  </a:lnTo>
                  <a:lnTo>
                    <a:pt x="207" y="607"/>
                  </a:lnTo>
                  <a:lnTo>
                    <a:pt x="234" y="607"/>
                  </a:lnTo>
                  <a:lnTo>
                    <a:pt x="260" y="605"/>
                  </a:lnTo>
                  <a:lnTo>
                    <a:pt x="287" y="603"/>
                  </a:lnTo>
                  <a:lnTo>
                    <a:pt x="312" y="603"/>
                  </a:lnTo>
                  <a:lnTo>
                    <a:pt x="338" y="601"/>
                  </a:lnTo>
                  <a:lnTo>
                    <a:pt x="365" y="599"/>
                  </a:lnTo>
                  <a:lnTo>
                    <a:pt x="392" y="597"/>
                  </a:lnTo>
                  <a:lnTo>
                    <a:pt x="416" y="595"/>
                  </a:lnTo>
                  <a:lnTo>
                    <a:pt x="443" y="595"/>
                  </a:lnTo>
                  <a:lnTo>
                    <a:pt x="469" y="593"/>
                  </a:lnTo>
                  <a:lnTo>
                    <a:pt x="496" y="590"/>
                  </a:lnTo>
                  <a:lnTo>
                    <a:pt x="496" y="586"/>
                  </a:lnTo>
                  <a:lnTo>
                    <a:pt x="496" y="586"/>
                  </a:lnTo>
                  <a:lnTo>
                    <a:pt x="496" y="584"/>
                  </a:lnTo>
                  <a:lnTo>
                    <a:pt x="494" y="582"/>
                  </a:lnTo>
                  <a:lnTo>
                    <a:pt x="494" y="580"/>
                  </a:lnTo>
                  <a:lnTo>
                    <a:pt x="494" y="576"/>
                  </a:lnTo>
                  <a:lnTo>
                    <a:pt x="494" y="576"/>
                  </a:lnTo>
                  <a:lnTo>
                    <a:pt x="494" y="574"/>
                  </a:lnTo>
                  <a:lnTo>
                    <a:pt x="494" y="572"/>
                  </a:lnTo>
                  <a:lnTo>
                    <a:pt x="494" y="566"/>
                  </a:lnTo>
                  <a:lnTo>
                    <a:pt x="494" y="564"/>
                  </a:lnTo>
                  <a:lnTo>
                    <a:pt x="494" y="562"/>
                  </a:lnTo>
                  <a:lnTo>
                    <a:pt x="494" y="562"/>
                  </a:lnTo>
                  <a:lnTo>
                    <a:pt x="492" y="560"/>
                  </a:lnTo>
                  <a:lnTo>
                    <a:pt x="492" y="560"/>
                  </a:lnTo>
                  <a:lnTo>
                    <a:pt x="490" y="560"/>
                  </a:lnTo>
                  <a:lnTo>
                    <a:pt x="490" y="558"/>
                  </a:lnTo>
                  <a:lnTo>
                    <a:pt x="490" y="558"/>
                  </a:lnTo>
                  <a:lnTo>
                    <a:pt x="490" y="556"/>
                  </a:lnTo>
                  <a:lnTo>
                    <a:pt x="490" y="554"/>
                  </a:lnTo>
                  <a:lnTo>
                    <a:pt x="490" y="552"/>
                  </a:lnTo>
                  <a:lnTo>
                    <a:pt x="490" y="547"/>
                  </a:lnTo>
                  <a:lnTo>
                    <a:pt x="488" y="547"/>
                  </a:lnTo>
                  <a:lnTo>
                    <a:pt x="488" y="545"/>
                  </a:lnTo>
                  <a:lnTo>
                    <a:pt x="488" y="545"/>
                  </a:lnTo>
                  <a:lnTo>
                    <a:pt x="486" y="545"/>
                  </a:lnTo>
                  <a:lnTo>
                    <a:pt x="482" y="543"/>
                  </a:lnTo>
                  <a:lnTo>
                    <a:pt x="482" y="543"/>
                  </a:lnTo>
                  <a:lnTo>
                    <a:pt x="480" y="541"/>
                  </a:lnTo>
                  <a:lnTo>
                    <a:pt x="480" y="539"/>
                  </a:lnTo>
                  <a:lnTo>
                    <a:pt x="480" y="537"/>
                  </a:lnTo>
                  <a:lnTo>
                    <a:pt x="480" y="537"/>
                  </a:lnTo>
                  <a:lnTo>
                    <a:pt x="478" y="537"/>
                  </a:lnTo>
                  <a:lnTo>
                    <a:pt x="478" y="537"/>
                  </a:lnTo>
                  <a:lnTo>
                    <a:pt x="478" y="535"/>
                  </a:lnTo>
                  <a:lnTo>
                    <a:pt x="473" y="535"/>
                  </a:lnTo>
                  <a:lnTo>
                    <a:pt x="473" y="535"/>
                  </a:lnTo>
                  <a:lnTo>
                    <a:pt x="473" y="535"/>
                  </a:lnTo>
                  <a:lnTo>
                    <a:pt x="467" y="533"/>
                  </a:lnTo>
                  <a:lnTo>
                    <a:pt x="467" y="533"/>
                  </a:lnTo>
                  <a:lnTo>
                    <a:pt x="459" y="533"/>
                  </a:lnTo>
                  <a:lnTo>
                    <a:pt x="459" y="533"/>
                  </a:lnTo>
                  <a:lnTo>
                    <a:pt x="457" y="533"/>
                  </a:lnTo>
                  <a:lnTo>
                    <a:pt x="447" y="525"/>
                  </a:lnTo>
                  <a:lnTo>
                    <a:pt x="445" y="523"/>
                  </a:lnTo>
                  <a:lnTo>
                    <a:pt x="443" y="521"/>
                  </a:lnTo>
                  <a:lnTo>
                    <a:pt x="437" y="511"/>
                  </a:lnTo>
                  <a:lnTo>
                    <a:pt x="432" y="506"/>
                  </a:lnTo>
                  <a:lnTo>
                    <a:pt x="420" y="496"/>
                  </a:lnTo>
                  <a:lnTo>
                    <a:pt x="416" y="496"/>
                  </a:lnTo>
                  <a:lnTo>
                    <a:pt x="406" y="494"/>
                  </a:lnTo>
                  <a:lnTo>
                    <a:pt x="406" y="494"/>
                  </a:lnTo>
                  <a:lnTo>
                    <a:pt x="404" y="494"/>
                  </a:lnTo>
                  <a:lnTo>
                    <a:pt x="404" y="492"/>
                  </a:lnTo>
                  <a:lnTo>
                    <a:pt x="402" y="488"/>
                  </a:lnTo>
                  <a:lnTo>
                    <a:pt x="398" y="486"/>
                  </a:lnTo>
                  <a:lnTo>
                    <a:pt x="396" y="484"/>
                  </a:lnTo>
                  <a:lnTo>
                    <a:pt x="394" y="482"/>
                  </a:lnTo>
                  <a:lnTo>
                    <a:pt x="381" y="482"/>
                  </a:lnTo>
                  <a:lnTo>
                    <a:pt x="377" y="480"/>
                  </a:lnTo>
                  <a:lnTo>
                    <a:pt x="377" y="480"/>
                  </a:lnTo>
                  <a:lnTo>
                    <a:pt x="375" y="478"/>
                  </a:lnTo>
                  <a:lnTo>
                    <a:pt x="375" y="478"/>
                  </a:lnTo>
                  <a:lnTo>
                    <a:pt x="373" y="476"/>
                  </a:lnTo>
                  <a:lnTo>
                    <a:pt x="367" y="472"/>
                  </a:lnTo>
                  <a:lnTo>
                    <a:pt x="363" y="470"/>
                  </a:lnTo>
                  <a:lnTo>
                    <a:pt x="361" y="468"/>
                  </a:lnTo>
                  <a:lnTo>
                    <a:pt x="363" y="459"/>
                  </a:lnTo>
                  <a:lnTo>
                    <a:pt x="363" y="457"/>
                  </a:lnTo>
                  <a:lnTo>
                    <a:pt x="363" y="455"/>
                  </a:lnTo>
                  <a:lnTo>
                    <a:pt x="363" y="453"/>
                  </a:lnTo>
                  <a:lnTo>
                    <a:pt x="363" y="451"/>
                  </a:lnTo>
                  <a:lnTo>
                    <a:pt x="365" y="449"/>
                  </a:lnTo>
                  <a:lnTo>
                    <a:pt x="365" y="449"/>
                  </a:lnTo>
                  <a:lnTo>
                    <a:pt x="363" y="445"/>
                  </a:lnTo>
                  <a:lnTo>
                    <a:pt x="363" y="441"/>
                  </a:lnTo>
                  <a:lnTo>
                    <a:pt x="361" y="435"/>
                  </a:lnTo>
                  <a:lnTo>
                    <a:pt x="361" y="433"/>
                  </a:lnTo>
                  <a:lnTo>
                    <a:pt x="361" y="433"/>
                  </a:lnTo>
                  <a:lnTo>
                    <a:pt x="363" y="431"/>
                  </a:lnTo>
                  <a:lnTo>
                    <a:pt x="363" y="431"/>
                  </a:lnTo>
                  <a:lnTo>
                    <a:pt x="363" y="429"/>
                  </a:lnTo>
                  <a:lnTo>
                    <a:pt x="363" y="427"/>
                  </a:lnTo>
                  <a:lnTo>
                    <a:pt x="361" y="422"/>
                  </a:lnTo>
                  <a:lnTo>
                    <a:pt x="361" y="422"/>
                  </a:lnTo>
                  <a:lnTo>
                    <a:pt x="361" y="420"/>
                  </a:lnTo>
                  <a:lnTo>
                    <a:pt x="363" y="418"/>
                  </a:lnTo>
                  <a:lnTo>
                    <a:pt x="361" y="414"/>
                  </a:lnTo>
                  <a:lnTo>
                    <a:pt x="361" y="412"/>
                  </a:lnTo>
                  <a:lnTo>
                    <a:pt x="363" y="410"/>
                  </a:lnTo>
                  <a:lnTo>
                    <a:pt x="363" y="408"/>
                  </a:lnTo>
                  <a:lnTo>
                    <a:pt x="365" y="408"/>
                  </a:lnTo>
                  <a:lnTo>
                    <a:pt x="365" y="406"/>
                  </a:lnTo>
                  <a:lnTo>
                    <a:pt x="365" y="404"/>
                  </a:lnTo>
                  <a:lnTo>
                    <a:pt x="367" y="402"/>
                  </a:lnTo>
                  <a:lnTo>
                    <a:pt x="369" y="398"/>
                  </a:lnTo>
                  <a:lnTo>
                    <a:pt x="369" y="396"/>
                  </a:lnTo>
                  <a:lnTo>
                    <a:pt x="367" y="394"/>
                  </a:lnTo>
                  <a:lnTo>
                    <a:pt x="367" y="394"/>
                  </a:lnTo>
                  <a:lnTo>
                    <a:pt x="365" y="392"/>
                  </a:lnTo>
                  <a:lnTo>
                    <a:pt x="363" y="390"/>
                  </a:lnTo>
                  <a:lnTo>
                    <a:pt x="363" y="388"/>
                  </a:lnTo>
                  <a:lnTo>
                    <a:pt x="361" y="384"/>
                  </a:lnTo>
                  <a:lnTo>
                    <a:pt x="361" y="384"/>
                  </a:lnTo>
                  <a:lnTo>
                    <a:pt x="357" y="381"/>
                  </a:lnTo>
                  <a:lnTo>
                    <a:pt x="353" y="381"/>
                  </a:lnTo>
                  <a:lnTo>
                    <a:pt x="351" y="381"/>
                  </a:lnTo>
                  <a:lnTo>
                    <a:pt x="349" y="377"/>
                  </a:lnTo>
                  <a:lnTo>
                    <a:pt x="349" y="371"/>
                  </a:lnTo>
                  <a:lnTo>
                    <a:pt x="349" y="369"/>
                  </a:lnTo>
                  <a:lnTo>
                    <a:pt x="349" y="367"/>
                  </a:lnTo>
                  <a:lnTo>
                    <a:pt x="355" y="361"/>
                  </a:lnTo>
                  <a:lnTo>
                    <a:pt x="357" y="357"/>
                  </a:lnTo>
                  <a:lnTo>
                    <a:pt x="357" y="355"/>
                  </a:lnTo>
                  <a:lnTo>
                    <a:pt x="361" y="349"/>
                  </a:lnTo>
                  <a:lnTo>
                    <a:pt x="363" y="347"/>
                  </a:lnTo>
                  <a:lnTo>
                    <a:pt x="365" y="345"/>
                  </a:lnTo>
                  <a:lnTo>
                    <a:pt x="365" y="345"/>
                  </a:lnTo>
                  <a:lnTo>
                    <a:pt x="369" y="340"/>
                  </a:lnTo>
                  <a:lnTo>
                    <a:pt x="371" y="340"/>
                  </a:lnTo>
                  <a:lnTo>
                    <a:pt x="373" y="340"/>
                  </a:lnTo>
                  <a:lnTo>
                    <a:pt x="373" y="340"/>
                  </a:lnTo>
                  <a:lnTo>
                    <a:pt x="373" y="338"/>
                  </a:lnTo>
                  <a:lnTo>
                    <a:pt x="373" y="338"/>
                  </a:lnTo>
                  <a:lnTo>
                    <a:pt x="373" y="338"/>
                  </a:lnTo>
                  <a:lnTo>
                    <a:pt x="375" y="338"/>
                  </a:lnTo>
                  <a:lnTo>
                    <a:pt x="375" y="336"/>
                  </a:lnTo>
                  <a:lnTo>
                    <a:pt x="375" y="336"/>
                  </a:lnTo>
                  <a:lnTo>
                    <a:pt x="379" y="336"/>
                  </a:lnTo>
                  <a:lnTo>
                    <a:pt x="379" y="336"/>
                  </a:lnTo>
                  <a:lnTo>
                    <a:pt x="381" y="332"/>
                  </a:lnTo>
                  <a:lnTo>
                    <a:pt x="383" y="332"/>
                  </a:lnTo>
                  <a:lnTo>
                    <a:pt x="383" y="332"/>
                  </a:lnTo>
                  <a:lnTo>
                    <a:pt x="385" y="332"/>
                  </a:lnTo>
                  <a:lnTo>
                    <a:pt x="387" y="332"/>
                  </a:lnTo>
                  <a:lnTo>
                    <a:pt x="387" y="332"/>
                  </a:lnTo>
                  <a:lnTo>
                    <a:pt x="389" y="330"/>
                  </a:lnTo>
                  <a:lnTo>
                    <a:pt x="389" y="328"/>
                  </a:lnTo>
                  <a:lnTo>
                    <a:pt x="389" y="328"/>
                  </a:lnTo>
                  <a:lnTo>
                    <a:pt x="392" y="326"/>
                  </a:lnTo>
                  <a:lnTo>
                    <a:pt x="394" y="326"/>
                  </a:lnTo>
                  <a:lnTo>
                    <a:pt x="392" y="322"/>
                  </a:lnTo>
                  <a:lnTo>
                    <a:pt x="392" y="322"/>
                  </a:lnTo>
                  <a:lnTo>
                    <a:pt x="392" y="314"/>
                  </a:lnTo>
                  <a:lnTo>
                    <a:pt x="392" y="308"/>
                  </a:lnTo>
                  <a:lnTo>
                    <a:pt x="392" y="302"/>
                  </a:lnTo>
                  <a:lnTo>
                    <a:pt x="392" y="295"/>
                  </a:lnTo>
                  <a:lnTo>
                    <a:pt x="389" y="289"/>
                  </a:lnTo>
                  <a:lnTo>
                    <a:pt x="389" y="281"/>
                  </a:lnTo>
                  <a:lnTo>
                    <a:pt x="389" y="275"/>
                  </a:lnTo>
                  <a:lnTo>
                    <a:pt x="389" y="269"/>
                  </a:lnTo>
                  <a:lnTo>
                    <a:pt x="389" y="267"/>
                  </a:lnTo>
                  <a:lnTo>
                    <a:pt x="389" y="267"/>
                  </a:lnTo>
                  <a:lnTo>
                    <a:pt x="389" y="267"/>
                  </a:lnTo>
                  <a:lnTo>
                    <a:pt x="389" y="267"/>
                  </a:lnTo>
                  <a:lnTo>
                    <a:pt x="392" y="267"/>
                  </a:lnTo>
                  <a:lnTo>
                    <a:pt x="394" y="267"/>
                  </a:lnTo>
                  <a:lnTo>
                    <a:pt x="394" y="267"/>
                  </a:lnTo>
                  <a:lnTo>
                    <a:pt x="394" y="265"/>
                  </a:lnTo>
                  <a:lnTo>
                    <a:pt x="396" y="265"/>
                  </a:lnTo>
                  <a:lnTo>
                    <a:pt x="396" y="265"/>
                  </a:lnTo>
                  <a:lnTo>
                    <a:pt x="396" y="265"/>
                  </a:lnTo>
                  <a:lnTo>
                    <a:pt x="396" y="263"/>
                  </a:lnTo>
                  <a:lnTo>
                    <a:pt x="396" y="261"/>
                  </a:lnTo>
                  <a:lnTo>
                    <a:pt x="396" y="261"/>
                  </a:lnTo>
                  <a:lnTo>
                    <a:pt x="396" y="261"/>
                  </a:lnTo>
                  <a:lnTo>
                    <a:pt x="396" y="261"/>
                  </a:lnTo>
                  <a:lnTo>
                    <a:pt x="398" y="258"/>
                  </a:lnTo>
                  <a:lnTo>
                    <a:pt x="398" y="258"/>
                  </a:lnTo>
                  <a:lnTo>
                    <a:pt x="398" y="258"/>
                  </a:lnTo>
                  <a:lnTo>
                    <a:pt x="398" y="258"/>
                  </a:lnTo>
                  <a:lnTo>
                    <a:pt x="400" y="256"/>
                  </a:lnTo>
                  <a:lnTo>
                    <a:pt x="400" y="256"/>
                  </a:lnTo>
                  <a:lnTo>
                    <a:pt x="402" y="254"/>
                  </a:lnTo>
                  <a:lnTo>
                    <a:pt x="402" y="254"/>
                  </a:lnTo>
                  <a:lnTo>
                    <a:pt x="402" y="254"/>
                  </a:lnTo>
                  <a:lnTo>
                    <a:pt x="402" y="250"/>
                  </a:lnTo>
                  <a:lnTo>
                    <a:pt x="406" y="246"/>
                  </a:lnTo>
                  <a:lnTo>
                    <a:pt x="412" y="242"/>
                  </a:lnTo>
                  <a:lnTo>
                    <a:pt x="418" y="238"/>
                  </a:lnTo>
                  <a:lnTo>
                    <a:pt x="420" y="238"/>
                  </a:lnTo>
                  <a:lnTo>
                    <a:pt x="424" y="234"/>
                  </a:lnTo>
                  <a:lnTo>
                    <a:pt x="428" y="230"/>
                  </a:lnTo>
                  <a:lnTo>
                    <a:pt x="430" y="228"/>
                  </a:lnTo>
                  <a:lnTo>
                    <a:pt x="435" y="224"/>
                  </a:lnTo>
                  <a:lnTo>
                    <a:pt x="435" y="224"/>
                  </a:lnTo>
                  <a:lnTo>
                    <a:pt x="437" y="222"/>
                  </a:lnTo>
                  <a:lnTo>
                    <a:pt x="437" y="222"/>
                  </a:lnTo>
                  <a:lnTo>
                    <a:pt x="437" y="222"/>
                  </a:lnTo>
                  <a:lnTo>
                    <a:pt x="439" y="220"/>
                  </a:lnTo>
                  <a:lnTo>
                    <a:pt x="439" y="220"/>
                  </a:lnTo>
                  <a:lnTo>
                    <a:pt x="439" y="220"/>
                  </a:lnTo>
                  <a:lnTo>
                    <a:pt x="441" y="218"/>
                  </a:lnTo>
                  <a:lnTo>
                    <a:pt x="445" y="213"/>
                  </a:lnTo>
                  <a:lnTo>
                    <a:pt x="480" y="172"/>
                  </a:lnTo>
                  <a:lnTo>
                    <a:pt x="486" y="170"/>
                  </a:lnTo>
                  <a:lnTo>
                    <a:pt x="496" y="158"/>
                  </a:lnTo>
                  <a:lnTo>
                    <a:pt x="514" y="148"/>
                  </a:lnTo>
                  <a:lnTo>
                    <a:pt x="525" y="144"/>
                  </a:lnTo>
                  <a:lnTo>
                    <a:pt x="529" y="142"/>
                  </a:lnTo>
                  <a:lnTo>
                    <a:pt x="531" y="142"/>
                  </a:lnTo>
                  <a:lnTo>
                    <a:pt x="533" y="140"/>
                  </a:lnTo>
                  <a:lnTo>
                    <a:pt x="549" y="133"/>
                  </a:lnTo>
                  <a:lnTo>
                    <a:pt x="574" y="119"/>
                  </a:lnTo>
                  <a:lnTo>
                    <a:pt x="574" y="119"/>
                  </a:lnTo>
                  <a:lnTo>
                    <a:pt x="576" y="115"/>
                  </a:lnTo>
                  <a:lnTo>
                    <a:pt x="578" y="115"/>
                  </a:lnTo>
                  <a:lnTo>
                    <a:pt x="580" y="113"/>
                  </a:lnTo>
                  <a:lnTo>
                    <a:pt x="580" y="111"/>
                  </a:lnTo>
                  <a:lnTo>
                    <a:pt x="584" y="113"/>
                  </a:lnTo>
                  <a:lnTo>
                    <a:pt x="584" y="113"/>
                  </a:lnTo>
                  <a:lnTo>
                    <a:pt x="584" y="111"/>
                  </a:lnTo>
                  <a:lnTo>
                    <a:pt x="584" y="111"/>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240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N</a:t>
              </a:r>
            </a:p>
          </p:txBody>
        </p:sp>
        <p:sp>
          <p:nvSpPr>
            <p:cNvPr id="165" name="Freeform 33">
              <a:extLst>
                <a:ext uri="{FF2B5EF4-FFF2-40B4-BE49-F238E27FC236}">
                  <a16:creationId xmlns:a16="http://schemas.microsoft.com/office/drawing/2014/main" id="{6097792A-3F1B-5131-CEB1-AB4372CA204E}"/>
                </a:ext>
              </a:extLst>
            </p:cNvPr>
            <p:cNvSpPr>
              <a:spLocks noEditPoints="1"/>
            </p:cNvSpPr>
            <p:nvPr/>
          </p:nvSpPr>
          <p:spPr bwMode="auto">
            <a:xfrm>
              <a:off x="3472" y="217"/>
              <a:ext cx="674" cy="654"/>
            </a:xfrm>
            <a:custGeom>
              <a:avLst/>
              <a:gdLst>
                <a:gd name="T0" fmla="*/ 541 w 674"/>
                <a:gd name="T1" fmla="*/ 179 h 654"/>
                <a:gd name="T2" fmla="*/ 516 w 674"/>
                <a:gd name="T3" fmla="*/ 179 h 654"/>
                <a:gd name="T4" fmla="*/ 477 w 674"/>
                <a:gd name="T5" fmla="*/ 138 h 654"/>
                <a:gd name="T6" fmla="*/ 485 w 674"/>
                <a:gd name="T7" fmla="*/ 129 h 654"/>
                <a:gd name="T8" fmla="*/ 395 w 674"/>
                <a:gd name="T9" fmla="*/ 187 h 654"/>
                <a:gd name="T10" fmla="*/ 446 w 674"/>
                <a:gd name="T11" fmla="*/ 195 h 654"/>
                <a:gd name="T12" fmla="*/ 475 w 674"/>
                <a:gd name="T13" fmla="*/ 185 h 654"/>
                <a:gd name="T14" fmla="*/ 496 w 674"/>
                <a:gd name="T15" fmla="*/ 170 h 654"/>
                <a:gd name="T16" fmla="*/ 479 w 674"/>
                <a:gd name="T17" fmla="*/ 144 h 654"/>
                <a:gd name="T18" fmla="*/ 420 w 674"/>
                <a:gd name="T19" fmla="*/ 140 h 654"/>
                <a:gd name="T20" fmla="*/ 332 w 674"/>
                <a:gd name="T21" fmla="*/ 134 h 654"/>
                <a:gd name="T22" fmla="*/ 270 w 674"/>
                <a:gd name="T23" fmla="*/ 160 h 654"/>
                <a:gd name="T24" fmla="*/ 225 w 674"/>
                <a:gd name="T25" fmla="*/ 150 h 654"/>
                <a:gd name="T26" fmla="*/ 172 w 674"/>
                <a:gd name="T27" fmla="*/ 125 h 654"/>
                <a:gd name="T28" fmla="*/ 147 w 674"/>
                <a:gd name="T29" fmla="*/ 144 h 654"/>
                <a:gd name="T30" fmla="*/ 141 w 674"/>
                <a:gd name="T31" fmla="*/ 111 h 654"/>
                <a:gd name="T32" fmla="*/ 76 w 674"/>
                <a:gd name="T33" fmla="*/ 142 h 654"/>
                <a:gd name="T34" fmla="*/ 10 w 674"/>
                <a:gd name="T35" fmla="*/ 185 h 654"/>
                <a:gd name="T36" fmla="*/ 98 w 674"/>
                <a:gd name="T37" fmla="*/ 213 h 654"/>
                <a:gd name="T38" fmla="*/ 145 w 674"/>
                <a:gd name="T39" fmla="*/ 224 h 654"/>
                <a:gd name="T40" fmla="*/ 172 w 674"/>
                <a:gd name="T41" fmla="*/ 226 h 654"/>
                <a:gd name="T42" fmla="*/ 190 w 674"/>
                <a:gd name="T43" fmla="*/ 244 h 654"/>
                <a:gd name="T44" fmla="*/ 211 w 674"/>
                <a:gd name="T45" fmla="*/ 254 h 654"/>
                <a:gd name="T46" fmla="*/ 209 w 674"/>
                <a:gd name="T47" fmla="*/ 281 h 654"/>
                <a:gd name="T48" fmla="*/ 223 w 674"/>
                <a:gd name="T49" fmla="*/ 293 h 654"/>
                <a:gd name="T50" fmla="*/ 262 w 674"/>
                <a:gd name="T51" fmla="*/ 246 h 654"/>
                <a:gd name="T52" fmla="*/ 276 w 674"/>
                <a:gd name="T53" fmla="*/ 242 h 654"/>
                <a:gd name="T54" fmla="*/ 307 w 674"/>
                <a:gd name="T55" fmla="*/ 222 h 654"/>
                <a:gd name="T56" fmla="*/ 303 w 674"/>
                <a:gd name="T57" fmla="*/ 248 h 654"/>
                <a:gd name="T58" fmla="*/ 321 w 674"/>
                <a:gd name="T59" fmla="*/ 226 h 654"/>
                <a:gd name="T60" fmla="*/ 293 w 674"/>
                <a:gd name="T61" fmla="*/ 156 h 654"/>
                <a:gd name="T62" fmla="*/ 145 w 674"/>
                <a:gd name="T63" fmla="*/ 105 h 654"/>
                <a:gd name="T64" fmla="*/ 162 w 674"/>
                <a:gd name="T65" fmla="*/ 99 h 654"/>
                <a:gd name="T66" fmla="*/ 199 w 674"/>
                <a:gd name="T67" fmla="*/ 72 h 654"/>
                <a:gd name="T68" fmla="*/ 80 w 674"/>
                <a:gd name="T69" fmla="*/ 35 h 654"/>
                <a:gd name="T70" fmla="*/ 133 w 674"/>
                <a:gd name="T71" fmla="*/ 0 h 654"/>
                <a:gd name="T72" fmla="*/ 352 w 674"/>
                <a:gd name="T73" fmla="*/ 302 h 654"/>
                <a:gd name="T74" fmla="*/ 471 w 674"/>
                <a:gd name="T75" fmla="*/ 185 h 654"/>
                <a:gd name="T76" fmla="*/ 674 w 674"/>
                <a:gd name="T77" fmla="*/ 478 h 654"/>
                <a:gd name="T78" fmla="*/ 600 w 674"/>
                <a:gd name="T79" fmla="*/ 379 h 654"/>
                <a:gd name="T80" fmla="*/ 563 w 674"/>
                <a:gd name="T81" fmla="*/ 427 h 654"/>
                <a:gd name="T82" fmla="*/ 555 w 674"/>
                <a:gd name="T83" fmla="*/ 386 h 654"/>
                <a:gd name="T84" fmla="*/ 577 w 674"/>
                <a:gd name="T85" fmla="*/ 347 h 654"/>
                <a:gd name="T86" fmla="*/ 561 w 674"/>
                <a:gd name="T87" fmla="*/ 279 h 654"/>
                <a:gd name="T88" fmla="*/ 569 w 674"/>
                <a:gd name="T89" fmla="*/ 263 h 654"/>
                <a:gd name="T90" fmla="*/ 522 w 674"/>
                <a:gd name="T91" fmla="*/ 238 h 654"/>
                <a:gd name="T92" fmla="*/ 428 w 674"/>
                <a:gd name="T93" fmla="*/ 215 h 654"/>
                <a:gd name="T94" fmla="*/ 407 w 674"/>
                <a:gd name="T95" fmla="*/ 300 h 654"/>
                <a:gd name="T96" fmla="*/ 397 w 674"/>
                <a:gd name="T97" fmla="*/ 308 h 654"/>
                <a:gd name="T98" fmla="*/ 393 w 674"/>
                <a:gd name="T99" fmla="*/ 295 h 654"/>
                <a:gd name="T100" fmla="*/ 366 w 674"/>
                <a:gd name="T101" fmla="*/ 308 h 654"/>
                <a:gd name="T102" fmla="*/ 344 w 674"/>
                <a:gd name="T103" fmla="*/ 338 h 654"/>
                <a:gd name="T104" fmla="*/ 342 w 674"/>
                <a:gd name="T105" fmla="*/ 433 h 654"/>
                <a:gd name="T106" fmla="*/ 369 w 674"/>
                <a:gd name="T107" fmla="*/ 517 h 654"/>
                <a:gd name="T108" fmla="*/ 420 w 674"/>
                <a:gd name="T109" fmla="*/ 644 h 654"/>
                <a:gd name="T110" fmla="*/ 596 w 674"/>
                <a:gd name="T111" fmla="*/ 621 h 654"/>
                <a:gd name="T112" fmla="*/ 629 w 674"/>
                <a:gd name="T113" fmla="*/ 586 h 654"/>
                <a:gd name="T114" fmla="*/ 647 w 674"/>
                <a:gd name="T115" fmla="*/ 535 h 654"/>
                <a:gd name="T116" fmla="*/ 663 w 674"/>
                <a:gd name="T117" fmla="*/ 517 h 654"/>
                <a:gd name="T118" fmla="*/ 391 w 674"/>
                <a:gd name="T119" fmla="*/ 215 h 654"/>
                <a:gd name="T120" fmla="*/ 475 w 674"/>
                <a:gd name="T121" fmla="*/ 207 h 654"/>
                <a:gd name="T122" fmla="*/ 391 w 674"/>
                <a:gd name="T123" fmla="*/ 226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4" h="654">
                  <a:moveTo>
                    <a:pt x="512" y="183"/>
                  </a:moveTo>
                  <a:lnTo>
                    <a:pt x="512" y="183"/>
                  </a:lnTo>
                  <a:lnTo>
                    <a:pt x="512" y="183"/>
                  </a:lnTo>
                  <a:lnTo>
                    <a:pt x="512" y="181"/>
                  </a:lnTo>
                  <a:lnTo>
                    <a:pt x="514" y="181"/>
                  </a:lnTo>
                  <a:lnTo>
                    <a:pt x="514" y="181"/>
                  </a:lnTo>
                  <a:lnTo>
                    <a:pt x="514" y="183"/>
                  </a:lnTo>
                  <a:lnTo>
                    <a:pt x="516" y="183"/>
                  </a:lnTo>
                  <a:lnTo>
                    <a:pt x="518" y="183"/>
                  </a:lnTo>
                  <a:lnTo>
                    <a:pt x="518" y="185"/>
                  </a:lnTo>
                  <a:lnTo>
                    <a:pt x="518" y="185"/>
                  </a:lnTo>
                  <a:lnTo>
                    <a:pt x="518" y="185"/>
                  </a:lnTo>
                  <a:lnTo>
                    <a:pt x="520" y="185"/>
                  </a:lnTo>
                  <a:lnTo>
                    <a:pt x="520" y="185"/>
                  </a:lnTo>
                  <a:lnTo>
                    <a:pt x="522" y="183"/>
                  </a:lnTo>
                  <a:lnTo>
                    <a:pt x="524" y="185"/>
                  </a:lnTo>
                  <a:lnTo>
                    <a:pt x="524" y="185"/>
                  </a:lnTo>
                  <a:lnTo>
                    <a:pt x="526" y="185"/>
                  </a:lnTo>
                  <a:lnTo>
                    <a:pt x="526" y="185"/>
                  </a:lnTo>
                  <a:lnTo>
                    <a:pt x="528" y="183"/>
                  </a:lnTo>
                  <a:lnTo>
                    <a:pt x="528" y="183"/>
                  </a:lnTo>
                  <a:lnTo>
                    <a:pt x="532" y="183"/>
                  </a:lnTo>
                  <a:lnTo>
                    <a:pt x="534" y="185"/>
                  </a:lnTo>
                  <a:lnTo>
                    <a:pt x="536" y="185"/>
                  </a:lnTo>
                  <a:lnTo>
                    <a:pt x="539" y="183"/>
                  </a:lnTo>
                  <a:lnTo>
                    <a:pt x="541" y="183"/>
                  </a:lnTo>
                  <a:lnTo>
                    <a:pt x="541" y="179"/>
                  </a:lnTo>
                  <a:lnTo>
                    <a:pt x="541" y="179"/>
                  </a:lnTo>
                  <a:lnTo>
                    <a:pt x="543" y="177"/>
                  </a:lnTo>
                  <a:lnTo>
                    <a:pt x="543" y="174"/>
                  </a:lnTo>
                  <a:lnTo>
                    <a:pt x="541" y="174"/>
                  </a:lnTo>
                  <a:lnTo>
                    <a:pt x="539" y="174"/>
                  </a:lnTo>
                  <a:lnTo>
                    <a:pt x="536" y="172"/>
                  </a:lnTo>
                  <a:lnTo>
                    <a:pt x="536" y="170"/>
                  </a:lnTo>
                  <a:lnTo>
                    <a:pt x="534" y="168"/>
                  </a:lnTo>
                  <a:lnTo>
                    <a:pt x="532" y="168"/>
                  </a:lnTo>
                  <a:lnTo>
                    <a:pt x="530" y="166"/>
                  </a:lnTo>
                  <a:lnTo>
                    <a:pt x="524" y="166"/>
                  </a:lnTo>
                  <a:lnTo>
                    <a:pt x="522" y="166"/>
                  </a:lnTo>
                  <a:lnTo>
                    <a:pt x="522" y="168"/>
                  </a:lnTo>
                  <a:lnTo>
                    <a:pt x="524" y="168"/>
                  </a:lnTo>
                  <a:lnTo>
                    <a:pt x="524" y="170"/>
                  </a:lnTo>
                  <a:lnTo>
                    <a:pt x="526" y="170"/>
                  </a:lnTo>
                  <a:lnTo>
                    <a:pt x="526" y="170"/>
                  </a:lnTo>
                  <a:lnTo>
                    <a:pt x="526" y="170"/>
                  </a:lnTo>
                  <a:lnTo>
                    <a:pt x="526" y="172"/>
                  </a:lnTo>
                  <a:lnTo>
                    <a:pt x="526" y="172"/>
                  </a:lnTo>
                  <a:lnTo>
                    <a:pt x="524" y="172"/>
                  </a:lnTo>
                  <a:lnTo>
                    <a:pt x="524" y="174"/>
                  </a:lnTo>
                  <a:lnTo>
                    <a:pt x="522" y="174"/>
                  </a:lnTo>
                  <a:lnTo>
                    <a:pt x="520" y="177"/>
                  </a:lnTo>
                  <a:lnTo>
                    <a:pt x="520" y="177"/>
                  </a:lnTo>
                  <a:lnTo>
                    <a:pt x="518" y="177"/>
                  </a:lnTo>
                  <a:lnTo>
                    <a:pt x="518" y="179"/>
                  </a:lnTo>
                  <a:lnTo>
                    <a:pt x="518" y="179"/>
                  </a:lnTo>
                  <a:lnTo>
                    <a:pt x="516" y="179"/>
                  </a:lnTo>
                  <a:lnTo>
                    <a:pt x="514" y="177"/>
                  </a:lnTo>
                  <a:lnTo>
                    <a:pt x="512" y="177"/>
                  </a:lnTo>
                  <a:lnTo>
                    <a:pt x="512" y="179"/>
                  </a:lnTo>
                  <a:lnTo>
                    <a:pt x="512" y="181"/>
                  </a:lnTo>
                  <a:lnTo>
                    <a:pt x="512" y="183"/>
                  </a:lnTo>
                  <a:close/>
                  <a:moveTo>
                    <a:pt x="485" y="150"/>
                  </a:moveTo>
                  <a:lnTo>
                    <a:pt x="483" y="150"/>
                  </a:lnTo>
                  <a:lnTo>
                    <a:pt x="483" y="150"/>
                  </a:lnTo>
                  <a:lnTo>
                    <a:pt x="483" y="152"/>
                  </a:lnTo>
                  <a:lnTo>
                    <a:pt x="483" y="154"/>
                  </a:lnTo>
                  <a:lnTo>
                    <a:pt x="483" y="156"/>
                  </a:lnTo>
                  <a:lnTo>
                    <a:pt x="485" y="158"/>
                  </a:lnTo>
                  <a:lnTo>
                    <a:pt x="487" y="158"/>
                  </a:lnTo>
                  <a:lnTo>
                    <a:pt x="489" y="156"/>
                  </a:lnTo>
                  <a:lnTo>
                    <a:pt x="489" y="154"/>
                  </a:lnTo>
                  <a:lnTo>
                    <a:pt x="487" y="152"/>
                  </a:lnTo>
                  <a:lnTo>
                    <a:pt x="487" y="150"/>
                  </a:lnTo>
                  <a:lnTo>
                    <a:pt x="485" y="150"/>
                  </a:lnTo>
                  <a:close/>
                  <a:moveTo>
                    <a:pt x="629" y="566"/>
                  </a:moveTo>
                  <a:lnTo>
                    <a:pt x="629" y="568"/>
                  </a:lnTo>
                  <a:lnTo>
                    <a:pt x="629" y="574"/>
                  </a:lnTo>
                  <a:lnTo>
                    <a:pt x="629" y="576"/>
                  </a:lnTo>
                  <a:lnTo>
                    <a:pt x="629" y="578"/>
                  </a:lnTo>
                  <a:lnTo>
                    <a:pt x="631" y="576"/>
                  </a:lnTo>
                  <a:lnTo>
                    <a:pt x="631" y="572"/>
                  </a:lnTo>
                  <a:lnTo>
                    <a:pt x="629" y="566"/>
                  </a:lnTo>
                  <a:close/>
                  <a:moveTo>
                    <a:pt x="475" y="136"/>
                  </a:moveTo>
                  <a:lnTo>
                    <a:pt x="477" y="138"/>
                  </a:lnTo>
                  <a:lnTo>
                    <a:pt x="477" y="138"/>
                  </a:lnTo>
                  <a:lnTo>
                    <a:pt x="479" y="142"/>
                  </a:lnTo>
                  <a:lnTo>
                    <a:pt x="479" y="144"/>
                  </a:lnTo>
                  <a:lnTo>
                    <a:pt x="481" y="144"/>
                  </a:lnTo>
                  <a:lnTo>
                    <a:pt x="483" y="144"/>
                  </a:lnTo>
                  <a:lnTo>
                    <a:pt x="483" y="146"/>
                  </a:lnTo>
                  <a:lnTo>
                    <a:pt x="483" y="148"/>
                  </a:lnTo>
                  <a:lnTo>
                    <a:pt x="483" y="148"/>
                  </a:lnTo>
                  <a:lnTo>
                    <a:pt x="483" y="148"/>
                  </a:lnTo>
                  <a:lnTo>
                    <a:pt x="485" y="148"/>
                  </a:lnTo>
                  <a:lnTo>
                    <a:pt x="485" y="148"/>
                  </a:lnTo>
                  <a:lnTo>
                    <a:pt x="487" y="148"/>
                  </a:lnTo>
                  <a:lnTo>
                    <a:pt x="487" y="148"/>
                  </a:lnTo>
                  <a:lnTo>
                    <a:pt x="487" y="148"/>
                  </a:lnTo>
                  <a:lnTo>
                    <a:pt x="487" y="148"/>
                  </a:lnTo>
                  <a:lnTo>
                    <a:pt x="487" y="148"/>
                  </a:lnTo>
                  <a:lnTo>
                    <a:pt x="487" y="146"/>
                  </a:lnTo>
                  <a:lnTo>
                    <a:pt x="487" y="146"/>
                  </a:lnTo>
                  <a:lnTo>
                    <a:pt x="483" y="142"/>
                  </a:lnTo>
                  <a:lnTo>
                    <a:pt x="481" y="140"/>
                  </a:lnTo>
                  <a:lnTo>
                    <a:pt x="481" y="140"/>
                  </a:lnTo>
                  <a:lnTo>
                    <a:pt x="481" y="138"/>
                  </a:lnTo>
                  <a:lnTo>
                    <a:pt x="481" y="136"/>
                  </a:lnTo>
                  <a:lnTo>
                    <a:pt x="483" y="131"/>
                  </a:lnTo>
                  <a:lnTo>
                    <a:pt x="483" y="129"/>
                  </a:lnTo>
                  <a:lnTo>
                    <a:pt x="483" y="129"/>
                  </a:lnTo>
                  <a:lnTo>
                    <a:pt x="485" y="129"/>
                  </a:lnTo>
                  <a:lnTo>
                    <a:pt x="485" y="129"/>
                  </a:lnTo>
                  <a:lnTo>
                    <a:pt x="483" y="127"/>
                  </a:lnTo>
                  <a:lnTo>
                    <a:pt x="479" y="127"/>
                  </a:lnTo>
                  <a:lnTo>
                    <a:pt x="479" y="127"/>
                  </a:lnTo>
                  <a:lnTo>
                    <a:pt x="479" y="127"/>
                  </a:lnTo>
                  <a:lnTo>
                    <a:pt x="475" y="131"/>
                  </a:lnTo>
                  <a:lnTo>
                    <a:pt x="475" y="134"/>
                  </a:lnTo>
                  <a:lnTo>
                    <a:pt x="473" y="136"/>
                  </a:lnTo>
                  <a:lnTo>
                    <a:pt x="475" y="136"/>
                  </a:lnTo>
                  <a:lnTo>
                    <a:pt x="475" y="136"/>
                  </a:lnTo>
                  <a:close/>
                  <a:moveTo>
                    <a:pt x="344" y="205"/>
                  </a:moveTo>
                  <a:lnTo>
                    <a:pt x="350" y="207"/>
                  </a:lnTo>
                  <a:lnTo>
                    <a:pt x="354" y="209"/>
                  </a:lnTo>
                  <a:lnTo>
                    <a:pt x="354" y="207"/>
                  </a:lnTo>
                  <a:lnTo>
                    <a:pt x="354" y="205"/>
                  </a:lnTo>
                  <a:lnTo>
                    <a:pt x="356" y="203"/>
                  </a:lnTo>
                  <a:lnTo>
                    <a:pt x="364" y="201"/>
                  </a:lnTo>
                  <a:lnTo>
                    <a:pt x="375" y="201"/>
                  </a:lnTo>
                  <a:lnTo>
                    <a:pt x="375" y="199"/>
                  </a:lnTo>
                  <a:lnTo>
                    <a:pt x="377" y="199"/>
                  </a:lnTo>
                  <a:lnTo>
                    <a:pt x="377" y="195"/>
                  </a:lnTo>
                  <a:lnTo>
                    <a:pt x="381" y="189"/>
                  </a:lnTo>
                  <a:lnTo>
                    <a:pt x="383" y="187"/>
                  </a:lnTo>
                  <a:lnTo>
                    <a:pt x="389" y="187"/>
                  </a:lnTo>
                  <a:lnTo>
                    <a:pt x="391" y="185"/>
                  </a:lnTo>
                  <a:lnTo>
                    <a:pt x="391" y="185"/>
                  </a:lnTo>
                  <a:lnTo>
                    <a:pt x="393" y="185"/>
                  </a:lnTo>
                  <a:lnTo>
                    <a:pt x="393" y="187"/>
                  </a:lnTo>
                  <a:lnTo>
                    <a:pt x="395" y="187"/>
                  </a:lnTo>
                  <a:lnTo>
                    <a:pt x="395" y="187"/>
                  </a:lnTo>
                  <a:lnTo>
                    <a:pt x="397" y="185"/>
                  </a:lnTo>
                  <a:lnTo>
                    <a:pt x="399" y="185"/>
                  </a:lnTo>
                  <a:lnTo>
                    <a:pt x="401" y="187"/>
                  </a:lnTo>
                  <a:lnTo>
                    <a:pt x="403" y="187"/>
                  </a:lnTo>
                  <a:lnTo>
                    <a:pt x="409" y="187"/>
                  </a:lnTo>
                  <a:lnTo>
                    <a:pt x="412" y="187"/>
                  </a:lnTo>
                  <a:lnTo>
                    <a:pt x="416" y="189"/>
                  </a:lnTo>
                  <a:lnTo>
                    <a:pt x="422" y="191"/>
                  </a:lnTo>
                  <a:lnTo>
                    <a:pt x="424" y="191"/>
                  </a:lnTo>
                  <a:lnTo>
                    <a:pt x="428" y="193"/>
                  </a:lnTo>
                  <a:lnTo>
                    <a:pt x="428" y="195"/>
                  </a:lnTo>
                  <a:lnTo>
                    <a:pt x="430" y="195"/>
                  </a:lnTo>
                  <a:lnTo>
                    <a:pt x="432" y="197"/>
                  </a:lnTo>
                  <a:lnTo>
                    <a:pt x="432" y="197"/>
                  </a:lnTo>
                  <a:lnTo>
                    <a:pt x="434" y="197"/>
                  </a:lnTo>
                  <a:lnTo>
                    <a:pt x="436" y="199"/>
                  </a:lnTo>
                  <a:lnTo>
                    <a:pt x="438" y="199"/>
                  </a:lnTo>
                  <a:lnTo>
                    <a:pt x="438" y="201"/>
                  </a:lnTo>
                  <a:lnTo>
                    <a:pt x="440" y="203"/>
                  </a:lnTo>
                  <a:lnTo>
                    <a:pt x="444" y="203"/>
                  </a:lnTo>
                  <a:lnTo>
                    <a:pt x="446" y="205"/>
                  </a:lnTo>
                  <a:lnTo>
                    <a:pt x="448" y="201"/>
                  </a:lnTo>
                  <a:lnTo>
                    <a:pt x="448" y="201"/>
                  </a:lnTo>
                  <a:lnTo>
                    <a:pt x="446" y="199"/>
                  </a:lnTo>
                  <a:lnTo>
                    <a:pt x="446" y="197"/>
                  </a:lnTo>
                  <a:lnTo>
                    <a:pt x="448" y="195"/>
                  </a:lnTo>
                  <a:lnTo>
                    <a:pt x="446" y="195"/>
                  </a:lnTo>
                  <a:lnTo>
                    <a:pt x="446" y="195"/>
                  </a:lnTo>
                  <a:lnTo>
                    <a:pt x="446" y="193"/>
                  </a:lnTo>
                  <a:lnTo>
                    <a:pt x="446" y="191"/>
                  </a:lnTo>
                  <a:lnTo>
                    <a:pt x="448" y="191"/>
                  </a:lnTo>
                  <a:lnTo>
                    <a:pt x="448" y="191"/>
                  </a:lnTo>
                  <a:lnTo>
                    <a:pt x="448" y="191"/>
                  </a:lnTo>
                  <a:lnTo>
                    <a:pt x="448" y="185"/>
                  </a:lnTo>
                  <a:lnTo>
                    <a:pt x="450" y="183"/>
                  </a:lnTo>
                  <a:lnTo>
                    <a:pt x="453" y="183"/>
                  </a:lnTo>
                  <a:lnTo>
                    <a:pt x="455" y="185"/>
                  </a:lnTo>
                  <a:lnTo>
                    <a:pt x="457" y="183"/>
                  </a:lnTo>
                  <a:lnTo>
                    <a:pt x="459" y="183"/>
                  </a:lnTo>
                  <a:lnTo>
                    <a:pt x="461" y="185"/>
                  </a:lnTo>
                  <a:lnTo>
                    <a:pt x="461" y="187"/>
                  </a:lnTo>
                  <a:lnTo>
                    <a:pt x="461" y="187"/>
                  </a:lnTo>
                  <a:lnTo>
                    <a:pt x="461" y="189"/>
                  </a:lnTo>
                  <a:lnTo>
                    <a:pt x="463" y="189"/>
                  </a:lnTo>
                  <a:lnTo>
                    <a:pt x="463" y="187"/>
                  </a:lnTo>
                  <a:lnTo>
                    <a:pt x="463" y="187"/>
                  </a:lnTo>
                  <a:lnTo>
                    <a:pt x="465" y="187"/>
                  </a:lnTo>
                  <a:lnTo>
                    <a:pt x="467" y="189"/>
                  </a:lnTo>
                  <a:lnTo>
                    <a:pt x="467" y="187"/>
                  </a:lnTo>
                  <a:lnTo>
                    <a:pt x="467" y="185"/>
                  </a:lnTo>
                  <a:lnTo>
                    <a:pt x="471" y="185"/>
                  </a:lnTo>
                  <a:lnTo>
                    <a:pt x="473" y="187"/>
                  </a:lnTo>
                  <a:lnTo>
                    <a:pt x="475" y="187"/>
                  </a:lnTo>
                  <a:lnTo>
                    <a:pt x="475" y="187"/>
                  </a:lnTo>
                  <a:lnTo>
                    <a:pt x="475" y="185"/>
                  </a:lnTo>
                  <a:lnTo>
                    <a:pt x="475" y="185"/>
                  </a:lnTo>
                  <a:lnTo>
                    <a:pt x="477" y="185"/>
                  </a:lnTo>
                  <a:lnTo>
                    <a:pt x="477" y="185"/>
                  </a:lnTo>
                  <a:lnTo>
                    <a:pt x="479" y="185"/>
                  </a:lnTo>
                  <a:lnTo>
                    <a:pt x="479" y="185"/>
                  </a:lnTo>
                  <a:lnTo>
                    <a:pt x="485" y="185"/>
                  </a:lnTo>
                  <a:lnTo>
                    <a:pt x="502" y="185"/>
                  </a:lnTo>
                  <a:lnTo>
                    <a:pt x="502" y="185"/>
                  </a:lnTo>
                  <a:lnTo>
                    <a:pt x="502" y="185"/>
                  </a:lnTo>
                  <a:lnTo>
                    <a:pt x="504" y="185"/>
                  </a:lnTo>
                  <a:lnTo>
                    <a:pt x="504" y="185"/>
                  </a:lnTo>
                  <a:lnTo>
                    <a:pt x="504" y="185"/>
                  </a:lnTo>
                  <a:lnTo>
                    <a:pt x="508" y="183"/>
                  </a:lnTo>
                  <a:lnTo>
                    <a:pt x="510" y="183"/>
                  </a:lnTo>
                  <a:lnTo>
                    <a:pt x="510" y="183"/>
                  </a:lnTo>
                  <a:lnTo>
                    <a:pt x="510" y="181"/>
                  </a:lnTo>
                  <a:lnTo>
                    <a:pt x="510" y="179"/>
                  </a:lnTo>
                  <a:lnTo>
                    <a:pt x="510" y="179"/>
                  </a:lnTo>
                  <a:lnTo>
                    <a:pt x="508" y="179"/>
                  </a:lnTo>
                  <a:lnTo>
                    <a:pt x="506" y="177"/>
                  </a:lnTo>
                  <a:lnTo>
                    <a:pt x="506" y="177"/>
                  </a:lnTo>
                  <a:lnTo>
                    <a:pt x="504" y="177"/>
                  </a:lnTo>
                  <a:lnTo>
                    <a:pt x="504" y="177"/>
                  </a:lnTo>
                  <a:lnTo>
                    <a:pt x="502" y="177"/>
                  </a:lnTo>
                  <a:lnTo>
                    <a:pt x="500" y="174"/>
                  </a:lnTo>
                  <a:lnTo>
                    <a:pt x="498" y="172"/>
                  </a:lnTo>
                  <a:lnTo>
                    <a:pt x="496" y="172"/>
                  </a:lnTo>
                  <a:lnTo>
                    <a:pt x="496" y="170"/>
                  </a:lnTo>
                  <a:lnTo>
                    <a:pt x="496" y="168"/>
                  </a:lnTo>
                  <a:lnTo>
                    <a:pt x="498" y="168"/>
                  </a:lnTo>
                  <a:lnTo>
                    <a:pt x="498" y="166"/>
                  </a:lnTo>
                  <a:lnTo>
                    <a:pt x="498" y="166"/>
                  </a:lnTo>
                  <a:lnTo>
                    <a:pt x="496" y="166"/>
                  </a:lnTo>
                  <a:lnTo>
                    <a:pt x="493" y="166"/>
                  </a:lnTo>
                  <a:lnTo>
                    <a:pt x="493" y="166"/>
                  </a:lnTo>
                  <a:lnTo>
                    <a:pt x="491" y="166"/>
                  </a:lnTo>
                  <a:lnTo>
                    <a:pt x="491" y="166"/>
                  </a:lnTo>
                  <a:lnTo>
                    <a:pt x="491" y="166"/>
                  </a:lnTo>
                  <a:lnTo>
                    <a:pt x="489" y="164"/>
                  </a:lnTo>
                  <a:lnTo>
                    <a:pt x="489" y="164"/>
                  </a:lnTo>
                  <a:lnTo>
                    <a:pt x="487" y="164"/>
                  </a:lnTo>
                  <a:lnTo>
                    <a:pt x="485" y="164"/>
                  </a:lnTo>
                  <a:lnTo>
                    <a:pt x="483" y="164"/>
                  </a:lnTo>
                  <a:lnTo>
                    <a:pt x="483" y="166"/>
                  </a:lnTo>
                  <a:lnTo>
                    <a:pt x="481" y="164"/>
                  </a:lnTo>
                  <a:lnTo>
                    <a:pt x="479" y="162"/>
                  </a:lnTo>
                  <a:lnTo>
                    <a:pt x="479" y="162"/>
                  </a:lnTo>
                  <a:lnTo>
                    <a:pt x="481" y="160"/>
                  </a:lnTo>
                  <a:lnTo>
                    <a:pt x="483" y="158"/>
                  </a:lnTo>
                  <a:lnTo>
                    <a:pt x="485" y="158"/>
                  </a:lnTo>
                  <a:lnTo>
                    <a:pt x="483" y="156"/>
                  </a:lnTo>
                  <a:lnTo>
                    <a:pt x="481" y="154"/>
                  </a:lnTo>
                  <a:lnTo>
                    <a:pt x="481" y="152"/>
                  </a:lnTo>
                  <a:lnTo>
                    <a:pt x="479" y="148"/>
                  </a:lnTo>
                  <a:lnTo>
                    <a:pt x="479" y="146"/>
                  </a:lnTo>
                  <a:lnTo>
                    <a:pt x="479" y="144"/>
                  </a:lnTo>
                  <a:lnTo>
                    <a:pt x="475" y="140"/>
                  </a:lnTo>
                  <a:lnTo>
                    <a:pt x="473" y="138"/>
                  </a:lnTo>
                  <a:lnTo>
                    <a:pt x="471" y="134"/>
                  </a:lnTo>
                  <a:lnTo>
                    <a:pt x="469" y="134"/>
                  </a:lnTo>
                  <a:lnTo>
                    <a:pt x="467" y="134"/>
                  </a:lnTo>
                  <a:lnTo>
                    <a:pt x="465" y="134"/>
                  </a:lnTo>
                  <a:lnTo>
                    <a:pt x="463" y="134"/>
                  </a:lnTo>
                  <a:lnTo>
                    <a:pt x="463" y="134"/>
                  </a:lnTo>
                  <a:lnTo>
                    <a:pt x="461" y="140"/>
                  </a:lnTo>
                  <a:lnTo>
                    <a:pt x="459" y="142"/>
                  </a:lnTo>
                  <a:lnTo>
                    <a:pt x="455" y="144"/>
                  </a:lnTo>
                  <a:lnTo>
                    <a:pt x="453" y="144"/>
                  </a:lnTo>
                  <a:lnTo>
                    <a:pt x="448" y="144"/>
                  </a:lnTo>
                  <a:lnTo>
                    <a:pt x="450" y="142"/>
                  </a:lnTo>
                  <a:lnTo>
                    <a:pt x="446" y="138"/>
                  </a:lnTo>
                  <a:lnTo>
                    <a:pt x="444" y="138"/>
                  </a:lnTo>
                  <a:lnTo>
                    <a:pt x="442" y="138"/>
                  </a:lnTo>
                  <a:lnTo>
                    <a:pt x="440" y="140"/>
                  </a:lnTo>
                  <a:lnTo>
                    <a:pt x="438" y="142"/>
                  </a:lnTo>
                  <a:lnTo>
                    <a:pt x="434" y="142"/>
                  </a:lnTo>
                  <a:lnTo>
                    <a:pt x="432" y="144"/>
                  </a:lnTo>
                  <a:lnTo>
                    <a:pt x="430" y="144"/>
                  </a:lnTo>
                  <a:lnTo>
                    <a:pt x="428" y="142"/>
                  </a:lnTo>
                  <a:lnTo>
                    <a:pt x="424" y="142"/>
                  </a:lnTo>
                  <a:lnTo>
                    <a:pt x="424" y="142"/>
                  </a:lnTo>
                  <a:lnTo>
                    <a:pt x="422" y="140"/>
                  </a:lnTo>
                  <a:lnTo>
                    <a:pt x="422" y="140"/>
                  </a:lnTo>
                  <a:lnTo>
                    <a:pt x="420" y="140"/>
                  </a:lnTo>
                  <a:lnTo>
                    <a:pt x="418" y="142"/>
                  </a:lnTo>
                  <a:lnTo>
                    <a:pt x="418" y="142"/>
                  </a:lnTo>
                  <a:lnTo>
                    <a:pt x="416" y="142"/>
                  </a:lnTo>
                  <a:lnTo>
                    <a:pt x="414" y="142"/>
                  </a:lnTo>
                  <a:lnTo>
                    <a:pt x="414" y="140"/>
                  </a:lnTo>
                  <a:lnTo>
                    <a:pt x="414" y="138"/>
                  </a:lnTo>
                  <a:lnTo>
                    <a:pt x="416" y="136"/>
                  </a:lnTo>
                  <a:lnTo>
                    <a:pt x="416" y="134"/>
                  </a:lnTo>
                  <a:lnTo>
                    <a:pt x="414" y="129"/>
                  </a:lnTo>
                  <a:lnTo>
                    <a:pt x="414" y="117"/>
                  </a:lnTo>
                  <a:lnTo>
                    <a:pt x="414" y="117"/>
                  </a:lnTo>
                  <a:lnTo>
                    <a:pt x="416" y="115"/>
                  </a:lnTo>
                  <a:lnTo>
                    <a:pt x="416" y="113"/>
                  </a:lnTo>
                  <a:lnTo>
                    <a:pt x="418" y="113"/>
                  </a:lnTo>
                  <a:lnTo>
                    <a:pt x="418" y="111"/>
                  </a:lnTo>
                  <a:lnTo>
                    <a:pt x="416" y="111"/>
                  </a:lnTo>
                  <a:lnTo>
                    <a:pt x="412" y="113"/>
                  </a:lnTo>
                  <a:lnTo>
                    <a:pt x="412" y="113"/>
                  </a:lnTo>
                  <a:lnTo>
                    <a:pt x="403" y="113"/>
                  </a:lnTo>
                  <a:lnTo>
                    <a:pt x="399" y="115"/>
                  </a:lnTo>
                  <a:lnTo>
                    <a:pt x="391" y="117"/>
                  </a:lnTo>
                  <a:lnTo>
                    <a:pt x="379" y="125"/>
                  </a:lnTo>
                  <a:lnTo>
                    <a:pt x="375" y="127"/>
                  </a:lnTo>
                  <a:lnTo>
                    <a:pt x="348" y="127"/>
                  </a:lnTo>
                  <a:lnTo>
                    <a:pt x="346" y="129"/>
                  </a:lnTo>
                  <a:lnTo>
                    <a:pt x="346" y="127"/>
                  </a:lnTo>
                  <a:lnTo>
                    <a:pt x="344" y="129"/>
                  </a:lnTo>
                  <a:lnTo>
                    <a:pt x="332" y="134"/>
                  </a:lnTo>
                  <a:lnTo>
                    <a:pt x="330" y="134"/>
                  </a:lnTo>
                  <a:lnTo>
                    <a:pt x="328" y="134"/>
                  </a:lnTo>
                  <a:lnTo>
                    <a:pt x="317" y="142"/>
                  </a:lnTo>
                  <a:lnTo>
                    <a:pt x="309" y="146"/>
                  </a:lnTo>
                  <a:lnTo>
                    <a:pt x="307" y="148"/>
                  </a:lnTo>
                  <a:lnTo>
                    <a:pt x="303" y="150"/>
                  </a:lnTo>
                  <a:lnTo>
                    <a:pt x="303" y="150"/>
                  </a:lnTo>
                  <a:lnTo>
                    <a:pt x="299" y="154"/>
                  </a:lnTo>
                  <a:lnTo>
                    <a:pt x="299" y="154"/>
                  </a:lnTo>
                  <a:lnTo>
                    <a:pt x="295" y="160"/>
                  </a:lnTo>
                  <a:lnTo>
                    <a:pt x="293" y="162"/>
                  </a:lnTo>
                  <a:lnTo>
                    <a:pt x="291" y="164"/>
                  </a:lnTo>
                  <a:lnTo>
                    <a:pt x="291" y="164"/>
                  </a:lnTo>
                  <a:lnTo>
                    <a:pt x="291" y="162"/>
                  </a:lnTo>
                  <a:lnTo>
                    <a:pt x="291" y="162"/>
                  </a:lnTo>
                  <a:lnTo>
                    <a:pt x="289" y="162"/>
                  </a:lnTo>
                  <a:lnTo>
                    <a:pt x="287" y="162"/>
                  </a:lnTo>
                  <a:lnTo>
                    <a:pt x="287" y="160"/>
                  </a:lnTo>
                  <a:lnTo>
                    <a:pt x="285" y="160"/>
                  </a:lnTo>
                  <a:lnTo>
                    <a:pt x="283" y="158"/>
                  </a:lnTo>
                  <a:lnTo>
                    <a:pt x="280" y="158"/>
                  </a:lnTo>
                  <a:lnTo>
                    <a:pt x="278" y="162"/>
                  </a:lnTo>
                  <a:lnTo>
                    <a:pt x="276" y="162"/>
                  </a:lnTo>
                  <a:lnTo>
                    <a:pt x="274" y="164"/>
                  </a:lnTo>
                  <a:lnTo>
                    <a:pt x="272" y="164"/>
                  </a:lnTo>
                  <a:lnTo>
                    <a:pt x="272" y="162"/>
                  </a:lnTo>
                  <a:lnTo>
                    <a:pt x="272" y="162"/>
                  </a:lnTo>
                  <a:lnTo>
                    <a:pt x="270" y="160"/>
                  </a:lnTo>
                  <a:lnTo>
                    <a:pt x="270" y="162"/>
                  </a:lnTo>
                  <a:lnTo>
                    <a:pt x="268" y="160"/>
                  </a:lnTo>
                  <a:lnTo>
                    <a:pt x="266" y="158"/>
                  </a:lnTo>
                  <a:lnTo>
                    <a:pt x="266" y="158"/>
                  </a:lnTo>
                  <a:lnTo>
                    <a:pt x="266" y="156"/>
                  </a:lnTo>
                  <a:lnTo>
                    <a:pt x="266" y="156"/>
                  </a:lnTo>
                  <a:lnTo>
                    <a:pt x="264" y="156"/>
                  </a:lnTo>
                  <a:lnTo>
                    <a:pt x="264" y="156"/>
                  </a:lnTo>
                  <a:lnTo>
                    <a:pt x="262" y="154"/>
                  </a:lnTo>
                  <a:lnTo>
                    <a:pt x="262" y="156"/>
                  </a:lnTo>
                  <a:lnTo>
                    <a:pt x="260" y="156"/>
                  </a:lnTo>
                  <a:lnTo>
                    <a:pt x="260" y="156"/>
                  </a:lnTo>
                  <a:lnTo>
                    <a:pt x="260" y="156"/>
                  </a:lnTo>
                  <a:lnTo>
                    <a:pt x="258" y="156"/>
                  </a:lnTo>
                  <a:lnTo>
                    <a:pt x="256" y="158"/>
                  </a:lnTo>
                  <a:lnTo>
                    <a:pt x="256" y="160"/>
                  </a:lnTo>
                  <a:lnTo>
                    <a:pt x="256" y="160"/>
                  </a:lnTo>
                  <a:lnTo>
                    <a:pt x="254" y="160"/>
                  </a:lnTo>
                  <a:lnTo>
                    <a:pt x="250" y="160"/>
                  </a:lnTo>
                  <a:lnTo>
                    <a:pt x="246" y="162"/>
                  </a:lnTo>
                  <a:lnTo>
                    <a:pt x="237" y="162"/>
                  </a:lnTo>
                  <a:lnTo>
                    <a:pt x="235" y="160"/>
                  </a:lnTo>
                  <a:lnTo>
                    <a:pt x="233" y="158"/>
                  </a:lnTo>
                  <a:lnTo>
                    <a:pt x="231" y="154"/>
                  </a:lnTo>
                  <a:lnTo>
                    <a:pt x="231" y="154"/>
                  </a:lnTo>
                  <a:lnTo>
                    <a:pt x="231" y="152"/>
                  </a:lnTo>
                  <a:lnTo>
                    <a:pt x="227" y="152"/>
                  </a:lnTo>
                  <a:lnTo>
                    <a:pt x="225" y="150"/>
                  </a:lnTo>
                  <a:lnTo>
                    <a:pt x="225" y="150"/>
                  </a:lnTo>
                  <a:lnTo>
                    <a:pt x="225" y="148"/>
                  </a:lnTo>
                  <a:lnTo>
                    <a:pt x="223" y="148"/>
                  </a:lnTo>
                  <a:lnTo>
                    <a:pt x="221" y="146"/>
                  </a:lnTo>
                  <a:lnTo>
                    <a:pt x="221" y="144"/>
                  </a:lnTo>
                  <a:lnTo>
                    <a:pt x="219" y="144"/>
                  </a:lnTo>
                  <a:lnTo>
                    <a:pt x="215" y="140"/>
                  </a:lnTo>
                  <a:lnTo>
                    <a:pt x="215" y="138"/>
                  </a:lnTo>
                  <a:lnTo>
                    <a:pt x="213" y="134"/>
                  </a:lnTo>
                  <a:lnTo>
                    <a:pt x="211" y="131"/>
                  </a:lnTo>
                  <a:lnTo>
                    <a:pt x="209" y="134"/>
                  </a:lnTo>
                  <a:lnTo>
                    <a:pt x="209" y="134"/>
                  </a:lnTo>
                  <a:lnTo>
                    <a:pt x="209" y="131"/>
                  </a:lnTo>
                  <a:lnTo>
                    <a:pt x="207" y="129"/>
                  </a:lnTo>
                  <a:lnTo>
                    <a:pt x="207" y="129"/>
                  </a:lnTo>
                  <a:lnTo>
                    <a:pt x="205" y="131"/>
                  </a:lnTo>
                  <a:lnTo>
                    <a:pt x="205" y="131"/>
                  </a:lnTo>
                  <a:lnTo>
                    <a:pt x="203" y="129"/>
                  </a:lnTo>
                  <a:lnTo>
                    <a:pt x="203" y="129"/>
                  </a:lnTo>
                  <a:lnTo>
                    <a:pt x="201" y="127"/>
                  </a:lnTo>
                  <a:lnTo>
                    <a:pt x="201" y="127"/>
                  </a:lnTo>
                  <a:lnTo>
                    <a:pt x="201" y="127"/>
                  </a:lnTo>
                  <a:lnTo>
                    <a:pt x="199" y="127"/>
                  </a:lnTo>
                  <a:lnTo>
                    <a:pt x="199" y="127"/>
                  </a:lnTo>
                  <a:lnTo>
                    <a:pt x="199" y="125"/>
                  </a:lnTo>
                  <a:lnTo>
                    <a:pt x="188" y="125"/>
                  </a:lnTo>
                  <a:lnTo>
                    <a:pt x="176" y="125"/>
                  </a:lnTo>
                  <a:lnTo>
                    <a:pt x="172" y="125"/>
                  </a:lnTo>
                  <a:lnTo>
                    <a:pt x="166" y="129"/>
                  </a:lnTo>
                  <a:lnTo>
                    <a:pt x="166" y="129"/>
                  </a:lnTo>
                  <a:lnTo>
                    <a:pt x="166" y="131"/>
                  </a:lnTo>
                  <a:lnTo>
                    <a:pt x="164" y="134"/>
                  </a:lnTo>
                  <a:lnTo>
                    <a:pt x="162" y="136"/>
                  </a:lnTo>
                  <a:lnTo>
                    <a:pt x="160" y="138"/>
                  </a:lnTo>
                  <a:lnTo>
                    <a:pt x="160" y="136"/>
                  </a:lnTo>
                  <a:lnTo>
                    <a:pt x="162" y="134"/>
                  </a:lnTo>
                  <a:lnTo>
                    <a:pt x="162" y="131"/>
                  </a:lnTo>
                  <a:lnTo>
                    <a:pt x="164" y="129"/>
                  </a:lnTo>
                  <a:lnTo>
                    <a:pt x="168" y="125"/>
                  </a:lnTo>
                  <a:lnTo>
                    <a:pt x="170" y="123"/>
                  </a:lnTo>
                  <a:lnTo>
                    <a:pt x="170" y="121"/>
                  </a:lnTo>
                  <a:lnTo>
                    <a:pt x="168" y="121"/>
                  </a:lnTo>
                  <a:lnTo>
                    <a:pt x="168" y="123"/>
                  </a:lnTo>
                  <a:lnTo>
                    <a:pt x="164" y="125"/>
                  </a:lnTo>
                  <a:lnTo>
                    <a:pt x="160" y="129"/>
                  </a:lnTo>
                  <a:lnTo>
                    <a:pt x="158" y="129"/>
                  </a:lnTo>
                  <a:lnTo>
                    <a:pt x="156" y="134"/>
                  </a:lnTo>
                  <a:lnTo>
                    <a:pt x="156" y="134"/>
                  </a:lnTo>
                  <a:lnTo>
                    <a:pt x="153" y="134"/>
                  </a:lnTo>
                  <a:lnTo>
                    <a:pt x="151" y="136"/>
                  </a:lnTo>
                  <a:lnTo>
                    <a:pt x="153" y="136"/>
                  </a:lnTo>
                  <a:lnTo>
                    <a:pt x="149" y="142"/>
                  </a:lnTo>
                  <a:lnTo>
                    <a:pt x="147" y="146"/>
                  </a:lnTo>
                  <a:lnTo>
                    <a:pt x="145" y="144"/>
                  </a:lnTo>
                  <a:lnTo>
                    <a:pt x="145" y="144"/>
                  </a:lnTo>
                  <a:lnTo>
                    <a:pt x="147" y="144"/>
                  </a:lnTo>
                  <a:lnTo>
                    <a:pt x="147" y="144"/>
                  </a:lnTo>
                  <a:lnTo>
                    <a:pt x="147" y="142"/>
                  </a:lnTo>
                  <a:lnTo>
                    <a:pt x="147" y="142"/>
                  </a:lnTo>
                  <a:lnTo>
                    <a:pt x="147" y="142"/>
                  </a:lnTo>
                  <a:lnTo>
                    <a:pt x="145" y="138"/>
                  </a:lnTo>
                  <a:lnTo>
                    <a:pt x="145" y="138"/>
                  </a:lnTo>
                  <a:lnTo>
                    <a:pt x="145" y="136"/>
                  </a:lnTo>
                  <a:lnTo>
                    <a:pt x="145" y="136"/>
                  </a:lnTo>
                  <a:lnTo>
                    <a:pt x="145" y="134"/>
                  </a:lnTo>
                  <a:lnTo>
                    <a:pt x="145" y="134"/>
                  </a:lnTo>
                  <a:lnTo>
                    <a:pt x="145" y="131"/>
                  </a:lnTo>
                  <a:lnTo>
                    <a:pt x="147" y="131"/>
                  </a:lnTo>
                  <a:lnTo>
                    <a:pt x="147" y="127"/>
                  </a:lnTo>
                  <a:lnTo>
                    <a:pt x="147" y="125"/>
                  </a:lnTo>
                  <a:lnTo>
                    <a:pt x="147" y="123"/>
                  </a:lnTo>
                  <a:lnTo>
                    <a:pt x="147" y="121"/>
                  </a:lnTo>
                  <a:lnTo>
                    <a:pt x="145" y="119"/>
                  </a:lnTo>
                  <a:lnTo>
                    <a:pt x="143" y="117"/>
                  </a:lnTo>
                  <a:lnTo>
                    <a:pt x="143" y="117"/>
                  </a:lnTo>
                  <a:lnTo>
                    <a:pt x="141" y="117"/>
                  </a:lnTo>
                  <a:lnTo>
                    <a:pt x="141" y="117"/>
                  </a:lnTo>
                  <a:lnTo>
                    <a:pt x="141" y="117"/>
                  </a:lnTo>
                  <a:lnTo>
                    <a:pt x="141" y="117"/>
                  </a:lnTo>
                  <a:lnTo>
                    <a:pt x="141" y="117"/>
                  </a:lnTo>
                  <a:lnTo>
                    <a:pt x="141" y="115"/>
                  </a:lnTo>
                  <a:lnTo>
                    <a:pt x="141" y="113"/>
                  </a:lnTo>
                  <a:lnTo>
                    <a:pt x="141" y="111"/>
                  </a:lnTo>
                  <a:lnTo>
                    <a:pt x="141" y="111"/>
                  </a:lnTo>
                  <a:lnTo>
                    <a:pt x="139" y="109"/>
                  </a:lnTo>
                  <a:lnTo>
                    <a:pt x="135" y="109"/>
                  </a:lnTo>
                  <a:lnTo>
                    <a:pt x="133" y="109"/>
                  </a:lnTo>
                  <a:lnTo>
                    <a:pt x="131" y="107"/>
                  </a:lnTo>
                  <a:lnTo>
                    <a:pt x="131" y="105"/>
                  </a:lnTo>
                  <a:lnTo>
                    <a:pt x="131" y="103"/>
                  </a:lnTo>
                  <a:lnTo>
                    <a:pt x="131" y="101"/>
                  </a:lnTo>
                  <a:lnTo>
                    <a:pt x="129" y="99"/>
                  </a:lnTo>
                  <a:lnTo>
                    <a:pt x="129" y="99"/>
                  </a:lnTo>
                  <a:lnTo>
                    <a:pt x="127" y="101"/>
                  </a:lnTo>
                  <a:lnTo>
                    <a:pt x="115" y="111"/>
                  </a:lnTo>
                  <a:lnTo>
                    <a:pt x="113" y="113"/>
                  </a:lnTo>
                  <a:lnTo>
                    <a:pt x="113" y="113"/>
                  </a:lnTo>
                  <a:lnTo>
                    <a:pt x="110" y="117"/>
                  </a:lnTo>
                  <a:lnTo>
                    <a:pt x="110" y="117"/>
                  </a:lnTo>
                  <a:lnTo>
                    <a:pt x="110" y="117"/>
                  </a:lnTo>
                  <a:lnTo>
                    <a:pt x="108" y="121"/>
                  </a:lnTo>
                  <a:lnTo>
                    <a:pt x="106" y="123"/>
                  </a:lnTo>
                  <a:lnTo>
                    <a:pt x="106" y="123"/>
                  </a:lnTo>
                  <a:lnTo>
                    <a:pt x="102" y="125"/>
                  </a:lnTo>
                  <a:lnTo>
                    <a:pt x="100" y="125"/>
                  </a:lnTo>
                  <a:lnTo>
                    <a:pt x="100" y="125"/>
                  </a:lnTo>
                  <a:lnTo>
                    <a:pt x="96" y="125"/>
                  </a:lnTo>
                  <a:lnTo>
                    <a:pt x="94" y="125"/>
                  </a:lnTo>
                  <a:lnTo>
                    <a:pt x="92" y="127"/>
                  </a:lnTo>
                  <a:lnTo>
                    <a:pt x="88" y="134"/>
                  </a:lnTo>
                  <a:lnTo>
                    <a:pt x="82" y="140"/>
                  </a:lnTo>
                  <a:lnTo>
                    <a:pt x="76" y="142"/>
                  </a:lnTo>
                  <a:lnTo>
                    <a:pt x="45" y="150"/>
                  </a:lnTo>
                  <a:lnTo>
                    <a:pt x="41" y="150"/>
                  </a:lnTo>
                  <a:lnTo>
                    <a:pt x="29" y="164"/>
                  </a:lnTo>
                  <a:lnTo>
                    <a:pt x="27" y="166"/>
                  </a:lnTo>
                  <a:lnTo>
                    <a:pt x="12" y="172"/>
                  </a:lnTo>
                  <a:lnTo>
                    <a:pt x="8" y="174"/>
                  </a:lnTo>
                  <a:lnTo>
                    <a:pt x="8" y="174"/>
                  </a:lnTo>
                  <a:lnTo>
                    <a:pt x="6" y="174"/>
                  </a:lnTo>
                  <a:lnTo>
                    <a:pt x="4" y="177"/>
                  </a:lnTo>
                  <a:lnTo>
                    <a:pt x="2" y="177"/>
                  </a:lnTo>
                  <a:lnTo>
                    <a:pt x="0" y="179"/>
                  </a:lnTo>
                  <a:lnTo>
                    <a:pt x="0" y="179"/>
                  </a:lnTo>
                  <a:lnTo>
                    <a:pt x="0" y="181"/>
                  </a:lnTo>
                  <a:lnTo>
                    <a:pt x="0" y="183"/>
                  </a:lnTo>
                  <a:lnTo>
                    <a:pt x="0" y="183"/>
                  </a:lnTo>
                  <a:lnTo>
                    <a:pt x="2" y="183"/>
                  </a:lnTo>
                  <a:lnTo>
                    <a:pt x="2" y="183"/>
                  </a:lnTo>
                  <a:lnTo>
                    <a:pt x="2" y="183"/>
                  </a:lnTo>
                  <a:lnTo>
                    <a:pt x="4" y="183"/>
                  </a:lnTo>
                  <a:lnTo>
                    <a:pt x="4" y="181"/>
                  </a:lnTo>
                  <a:lnTo>
                    <a:pt x="6" y="181"/>
                  </a:lnTo>
                  <a:lnTo>
                    <a:pt x="6" y="181"/>
                  </a:lnTo>
                  <a:lnTo>
                    <a:pt x="6" y="183"/>
                  </a:lnTo>
                  <a:lnTo>
                    <a:pt x="8" y="183"/>
                  </a:lnTo>
                  <a:lnTo>
                    <a:pt x="8" y="183"/>
                  </a:lnTo>
                  <a:lnTo>
                    <a:pt x="10" y="183"/>
                  </a:lnTo>
                  <a:lnTo>
                    <a:pt x="10" y="185"/>
                  </a:lnTo>
                  <a:lnTo>
                    <a:pt x="10" y="185"/>
                  </a:lnTo>
                  <a:lnTo>
                    <a:pt x="12" y="185"/>
                  </a:lnTo>
                  <a:lnTo>
                    <a:pt x="12" y="185"/>
                  </a:lnTo>
                  <a:lnTo>
                    <a:pt x="14" y="185"/>
                  </a:lnTo>
                  <a:lnTo>
                    <a:pt x="14" y="185"/>
                  </a:lnTo>
                  <a:lnTo>
                    <a:pt x="16" y="187"/>
                  </a:lnTo>
                  <a:lnTo>
                    <a:pt x="16" y="187"/>
                  </a:lnTo>
                  <a:lnTo>
                    <a:pt x="18" y="189"/>
                  </a:lnTo>
                  <a:lnTo>
                    <a:pt x="18" y="193"/>
                  </a:lnTo>
                  <a:lnTo>
                    <a:pt x="20" y="197"/>
                  </a:lnTo>
                  <a:lnTo>
                    <a:pt x="22" y="199"/>
                  </a:lnTo>
                  <a:lnTo>
                    <a:pt x="24" y="201"/>
                  </a:lnTo>
                  <a:lnTo>
                    <a:pt x="24" y="201"/>
                  </a:lnTo>
                  <a:lnTo>
                    <a:pt x="24" y="201"/>
                  </a:lnTo>
                  <a:lnTo>
                    <a:pt x="27" y="203"/>
                  </a:lnTo>
                  <a:lnTo>
                    <a:pt x="27" y="203"/>
                  </a:lnTo>
                  <a:lnTo>
                    <a:pt x="31" y="203"/>
                  </a:lnTo>
                  <a:lnTo>
                    <a:pt x="33" y="203"/>
                  </a:lnTo>
                  <a:lnTo>
                    <a:pt x="39" y="203"/>
                  </a:lnTo>
                  <a:lnTo>
                    <a:pt x="43" y="205"/>
                  </a:lnTo>
                  <a:lnTo>
                    <a:pt x="51" y="205"/>
                  </a:lnTo>
                  <a:lnTo>
                    <a:pt x="57" y="207"/>
                  </a:lnTo>
                  <a:lnTo>
                    <a:pt x="63" y="209"/>
                  </a:lnTo>
                  <a:lnTo>
                    <a:pt x="72" y="209"/>
                  </a:lnTo>
                  <a:lnTo>
                    <a:pt x="78" y="211"/>
                  </a:lnTo>
                  <a:lnTo>
                    <a:pt x="84" y="211"/>
                  </a:lnTo>
                  <a:lnTo>
                    <a:pt x="90" y="211"/>
                  </a:lnTo>
                  <a:lnTo>
                    <a:pt x="94" y="213"/>
                  </a:lnTo>
                  <a:lnTo>
                    <a:pt x="98" y="213"/>
                  </a:lnTo>
                  <a:lnTo>
                    <a:pt x="100" y="213"/>
                  </a:lnTo>
                  <a:lnTo>
                    <a:pt x="100" y="213"/>
                  </a:lnTo>
                  <a:lnTo>
                    <a:pt x="104" y="215"/>
                  </a:lnTo>
                  <a:lnTo>
                    <a:pt x="106" y="215"/>
                  </a:lnTo>
                  <a:lnTo>
                    <a:pt x="110" y="218"/>
                  </a:lnTo>
                  <a:lnTo>
                    <a:pt x="115" y="220"/>
                  </a:lnTo>
                  <a:lnTo>
                    <a:pt x="121" y="222"/>
                  </a:lnTo>
                  <a:lnTo>
                    <a:pt x="125" y="224"/>
                  </a:lnTo>
                  <a:lnTo>
                    <a:pt x="127" y="224"/>
                  </a:lnTo>
                  <a:lnTo>
                    <a:pt x="127" y="224"/>
                  </a:lnTo>
                  <a:lnTo>
                    <a:pt x="129" y="224"/>
                  </a:lnTo>
                  <a:lnTo>
                    <a:pt x="129" y="224"/>
                  </a:lnTo>
                  <a:lnTo>
                    <a:pt x="131" y="224"/>
                  </a:lnTo>
                  <a:lnTo>
                    <a:pt x="131" y="224"/>
                  </a:lnTo>
                  <a:lnTo>
                    <a:pt x="131" y="224"/>
                  </a:lnTo>
                  <a:lnTo>
                    <a:pt x="133" y="224"/>
                  </a:lnTo>
                  <a:lnTo>
                    <a:pt x="133" y="224"/>
                  </a:lnTo>
                  <a:lnTo>
                    <a:pt x="135" y="224"/>
                  </a:lnTo>
                  <a:lnTo>
                    <a:pt x="135" y="224"/>
                  </a:lnTo>
                  <a:lnTo>
                    <a:pt x="135" y="224"/>
                  </a:lnTo>
                  <a:lnTo>
                    <a:pt x="137" y="224"/>
                  </a:lnTo>
                  <a:lnTo>
                    <a:pt x="137" y="224"/>
                  </a:lnTo>
                  <a:lnTo>
                    <a:pt x="139" y="224"/>
                  </a:lnTo>
                  <a:lnTo>
                    <a:pt x="143" y="226"/>
                  </a:lnTo>
                  <a:lnTo>
                    <a:pt x="143" y="226"/>
                  </a:lnTo>
                  <a:lnTo>
                    <a:pt x="143" y="226"/>
                  </a:lnTo>
                  <a:lnTo>
                    <a:pt x="145" y="224"/>
                  </a:lnTo>
                  <a:lnTo>
                    <a:pt x="145" y="224"/>
                  </a:lnTo>
                  <a:lnTo>
                    <a:pt x="147" y="224"/>
                  </a:lnTo>
                  <a:lnTo>
                    <a:pt x="147" y="224"/>
                  </a:lnTo>
                  <a:lnTo>
                    <a:pt x="147" y="224"/>
                  </a:lnTo>
                  <a:lnTo>
                    <a:pt x="147" y="224"/>
                  </a:lnTo>
                  <a:lnTo>
                    <a:pt x="149" y="224"/>
                  </a:lnTo>
                  <a:lnTo>
                    <a:pt x="149" y="224"/>
                  </a:lnTo>
                  <a:lnTo>
                    <a:pt x="149" y="222"/>
                  </a:lnTo>
                  <a:lnTo>
                    <a:pt x="151" y="222"/>
                  </a:lnTo>
                  <a:lnTo>
                    <a:pt x="151" y="224"/>
                  </a:lnTo>
                  <a:lnTo>
                    <a:pt x="153" y="224"/>
                  </a:lnTo>
                  <a:lnTo>
                    <a:pt x="153" y="224"/>
                  </a:lnTo>
                  <a:lnTo>
                    <a:pt x="156" y="224"/>
                  </a:lnTo>
                  <a:lnTo>
                    <a:pt x="156" y="224"/>
                  </a:lnTo>
                  <a:lnTo>
                    <a:pt x="156" y="224"/>
                  </a:lnTo>
                  <a:lnTo>
                    <a:pt x="156" y="224"/>
                  </a:lnTo>
                  <a:lnTo>
                    <a:pt x="158" y="224"/>
                  </a:lnTo>
                  <a:lnTo>
                    <a:pt x="160" y="226"/>
                  </a:lnTo>
                  <a:lnTo>
                    <a:pt x="160" y="226"/>
                  </a:lnTo>
                  <a:lnTo>
                    <a:pt x="162" y="226"/>
                  </a:lnTo>
                  <a:lnTo>
                    <a:pt x="164" y="224"/>
                  </a:lnTo>
                  <a:lnTo>
                    <a:pt x="164" y="224"/>
                  </a:lnTo>
                  <a:lnTo>
                    <a:pt x="164" y="224"/>
                  </a:lnTo>
                  <a:lnTo>
                    <a:pt x="166" y="226"/>
                  </a:lnTo>
                  <a:lnTo>
                    <a:pt x="168" y="226"/>
                  </a:lnTo>
                  <a:lnTo>
                    <a:pt x="168" y="226"/>
                  </a:lnTo>
                  <a:lnTo>
                    <a:pt x="170" y="226"/>
                  </a:lnTo>
                  <a:lnTo>
                    <a:pt x="172" y="226"/>
                  </a:lnTo>
                  <a:lnTo>
                    <a:pt x="172" y="226"/>
                  </a:lnTo>
                  <a:lnTo>
                    <a:pt x="174" y="228"/>
                  </a:lnTo>
                  <a:lnTo>
                    <a:pt x="176" y="228"/>
                  </a:lnTo>
                  <a:lnTo>
                    <a:pt x="176" y="228"/>
                  </a:lnTo>
                  <a:lnTo>
                    <a:pt x="176" y="228"/>
                  </a:lnTo>
                  <a:lnTo>
                    <a:pt x="178" y="226"/>
                  </a:lnTo>
                  <a:lnTo>
                    <a:pt x="178" y="226"/>
                  </a:lnTo>
                  <a:lnTo>
                    <a:pt x="178" y="228"/>
                  </a:lnTo>
                  <a:lnTo>
                    <a:pt x="180" y="228"/>
                  </a:lnTo>
                  <a:lnTo>
                    <a:pt x="182" y="228"/>
                  </a:lnTo>
                  <a:lnTo>
                    <a:pt x="182" y="228"/>
                  </a:lnTo>
                  <a:lnTo>
                    <a:pt x="184" y="230"/>
                  </a:lnTo>
                  <a:lnTo>
                    <a:pt x="184" y="230"/>
                  </a:lnTo>
                  <a:lnTo>
                    <a:pt x="186" y="234"/>
                  </a:lnTo>
                  <a:lnTo>
                    <a:pt x="186" y="234"/>
                  </a:lnTo>
                  <a:lnTo>
                    <a:pt x="186" y="236"/>
                  </a:lnTo>
                  <a:lnTo>
                    <a:pt x="186" y="236"/>
                  </a:lnTo>
                  <a:lnTo>
                    <a:pt x="186" y="236"/>
                  </a:lnTo>
                  <a:lnTo>
                    <a:pt x="184" y="238"/>
                  </a:lnTo>
                  <a:lnTo>
                    <a:pt x="184" y="240"/>
                  </a:lnTo>
                  <a:lnTo>
                    <a:pt x="184" y="240"/>
                  </a:lnTo>
                  <a:lnTo>
                    <a:pt x="184" y="240"/>
                  </a:lnTo>
                  <a:lnTo>
                    <a:pt x="184" y="242"/>
                  </a:lnTo>
                  <a:lnTo>
                    <a:pt x="186" y="242"/>
                  </a:lnTo>
                  <a:lnTo>
                    <a:pt x="186" y="242"/>
                  </a:lnTo>
                  <a:lnTo>
                    <a:pt x="188" y="242"/>
                  </a:lnTo>
                  <a:lnTo>
                    <a:pt x="188" y="244"/>
                  </a:lnTo>
                  <a:lnTo>
                    <a:pt x="190" y="244"/>
                  </a:lnTo>
                  <a:lnTo>
                    <a:pt x="190" y="244"/>
                  </a:lnTo>
                  <a:lnTo>
                    <a:pt x="192" y="244"/>
                  </a:lnTo>
                  <a:lnTo>
                    <a:pt x="194" y="242"/>
                  </a:lnTo>
                  <a:lnTo>
                    <a:pt x="194" y="242"/>
                  </a:lnTo>
                  <a:lnTo>
                    <a:pt x="194" y="242"/>
                  </a:lnTo>
                  <a:lnTo>
                    <a:pt x="194" y="242"/>
                  </a:lnTo>
                  <a:lnTo>
                    <a:pt x="196" y="244"/>
                  </a:lnTo>
                  <a:lnTo>
                    <a:pt x="196" y="244"/>
                  </a:lnTo>
                  <a:lnTo>
                    <a:pt x="196" y="244"/>
                  </a:lnTo>
                  <a:lnTo>
                    <a:pt x="196" y="244"/>
                  </a:lnTo>
                  <a:lnTo>
                    <a:pt x="199" y="244"/>
                  </a:lnTo>
                  <a:lnTo>
                    <a:pt x="203" y="244"/>
                  </a:lnTo>
                  <a:lnTo>
                    <a:pt x="203" y="244"/>
                  </a:lnTo>
                  <a:lnTo>
                    <a:pt x="203" y="246"/>
                  </a:lnTo>
                  <a:lnTo>
                    <a:pt x="203" y="246"/>
                  </a:lnTo>
                  <a:lnTo>
                    <a:pt x="205" y="246"/>
                  </a:lnTo>
                  <a:lnTo>
                    <a:pt x="205" y="246"/>
                  </a:lnTo>
                  <a:lnTo>
                    <a:pt x="205" y="248"/>
                  </a:lnTo>
                  <a:lnTo>
                    <a:pt x="207" y="248"/>
                  </a:lnTo>
                  <a:lnTo>
                    <a:pt x="209" y="248"/>
                  </a:lnTo>
                  <a:lnTo>
                    <a:pt x="209" y="250"/>
                  </a:lnTo>
                  <a:lnTo>
                    <a:pt x="211" y="250"/>
                  </a:lnTo>
                  <a:lnTo>
                    <a:pt x="211" y="252"/>
                  </a:lnTo>
                  <a:lnTo>
                    <a:pt x="211" y="252"/>
                  </a:lnTo>
                  <a:lnTo>
                    <a:pt x="211" y="252"/>
                  </a:lnTo>
                  <a:lnTo>
                    <a:pt x="211" y="252"/>
                  </a:lnTo>
                  <a:lnTo>
                    <a:pt x="211" y="252"/>
                  </a:lnTo>
                  <a:lnTo>
                    <a:pt x="211" y="254"/>
                  </a:lnTo>
                  <a:lnTo>
                    <a:pt x="211" y="254"/>
                  </a:lnTo>
                  <a:lnTo>
                    <a:pt x="211" y="254"/>
                  </a:lnTo>
                  <a:lnTo>
                    <a:pt x="211" y="256"/>
                  </a:lnTo>
                  <a:lnTo>
                    <a:pt x="213" y="259"/>
                  </a:lnTo>
                  <a:lnTo>
                    <a:pt x="213" y="259"/>
                  </a:lnTo>
                  <a:lnTo>
                    <a:pt x="213" y="261"/>
                  </a:lnTo>
                  <a:lnTo>
                    <a:pt x="213" y="261"/>
                  </a:lnTo>
                  <a:lnTo>
                    <a:pt x="213" y="263"/>
                  </a:lnTo>
                  <a:lnTo>
                    <a:pt x="213" y="263"/>
                  </a:lnTo>
                  <a:lnTo>
                    <a:pt x="213" y="263"/>
                  </a:lnTo>
                  <a:lnTo>
                    <a:pt x="213" y="263"/>
                  </a:lnTo>
                  <a:lnTo>
                    <a:pt x="211" y="263"/>
                  </a:lnTo>
                  <a:lnTo>
                    <a:pt x="211" y="265"/>
                  </a:lnTo>
                  <a:lnTo>
                    <a:pt x="211" y="265"/>
                  </a:lnTo>
                  <a:lnTo>
                    <a:pt x="213" y="267"/>
                  </a:lnTo>
                  <a:lnTo>
                    <a:pt x="213" y="271"/>
                  </a:lnTo>
                  <a:lnTo>
                    <a:pt x="213" y="271"/>
                  </a:lnTo>
                  <a:lnTo>
                    <a:pt x="213" y="271"/>
                  </a:lnTo>
                  <a:lnTo>
                    <a:pt x="213" y="271"/>
                  </a:lnTo>
                  <a:lnTo>
                    <a:pt x="213" y="273"/>
                  </a:lnTo>
                  <a:lnTo>
                    <a:pt x="213" y="273"/>
                  </a:lnTo>
                  <a:lnTo>
                    <a:pt x="213" y="275"/>
                  </a:lnTo>
                  <a:lnTo>
                    <a:pt x="211" y="275"/>
                  </a:lnTo>
                  <a:lnTo>
                    <a:pt x="209" y="277"/>
                  </a:lnTo>
                  <a:lnTo>
                    <a:pt x="209" y="277"/>
                  </a:lnTo>
                  <a:lnTo>
                    <a:pt x="209" y="277"/>
                  </a:lnTo>
                  <a:lnTo>
                    <a:pt x="209" y="279"/>
                  </a:lnTo>
                  <a:lnTo>
                    <a:pt x="209" y="279"/>
                  </a:lnTo>
                  <a:lnTo>
                    <a:pt x="209" y="281"/>
                  </a:lnTo>
                  <a:lnTo>
                    <a:pt x="209" y="281"/>
                  </a:lnTo>
                  <a:lnTo>
                    <a:pt x="209" y="283"/>
                  </a:lnTo>
                  <a:lnTo>
                    <a:pt x="209" y="285"/>
                  </a:lnTo>
                  <a:lnTo>
                    <a:pt x="209" y="285"/>
                  </a:lnTo>
                  <a:lnTo>
                    <a:pt x="209" y="285"/>
                  </a:lnTo>
                  <a:lnTo>
                    <a:pt x="211" y="287"/>
                  </a:lnTo>
                  <a:lnTo>
                    <a:pt x="211" y="287"/>
                  </a:lnTo>
                  <a:lnTo>
                    <a:pt x="213" y="285"/>
                  </a:lnTo>
                  <a:lnTo>
                    <a:pt x="213" y="285"/>
                  </a:lnTo>
                  <a:lnTo>
                    <a:pt x="213" y="285"/>
                  </a:lnTo>
                  <a:lnTo>
                    <a:pt x="213" y="285"/>
                  </a:lnTo>
                  <a:lnTo>
                    <a:pt x="215" y="285"/>
                  </a:lnTo>
                  <a:lnTo>
                    <a:pt x="217" y="285"/>
                  </a:lnTo>
                  <a:lnTo>
                    <a:pt x="217" y="285"/>
                  </a:lnTo>
                  <a:lnTo>
                    <a:pt x="217" y="285"/>
                  </a:lnTo>
                  <a:lnTo>
                    <a:pt x="223" y="281"/>
                  </a:lnTo>
                  <a:lnTo>
                    <a:pt x="223" y="281"/>
                  </a:lnTo>
                  <a:lnTo>
                    <a:pt x="223" y="281"/>
                  </a:lnTo>
                  <a:lnTo>
                    <a:pt x="225" y="281"/>
                  </a:lnTo>
                  <a:lnTo>
                    <a:pt x="225" y="283"/>
                  </a:lnTo>
                  <a:lnTo>
                    <a:pt x="225" y="283"/>
                  </a:lnTo>
                  <a:lnTo>
                    <a:pt x="227" y="283"/>
                  </a:lnTo>
                  <a:lnTo>
                    <a:pt x="227" y="285"/>
                  </a:lnTo>
                  <a:lnTo>
                    <a:pt x="227" y="285"/>
                  </a:lnTo>
                  <a:lnTo>
                    <a:pt x="227" y="285"/>
                  </a:lnTo>
                  <a:lnTo>
                    <a:pt x="225" y="287"/>
                  </a:lnTo>
                  <a:lnTo>
                    <a:pt x="225" y="287"/>
                  </a:lnTo>
                  <a:lnTo>
                    <a:pt x="223" y="293"/>
                  </a:lnTo>
                  <a:lnTo>
                    <a:pt x="223" y="297"/>
                  </a:lnTo>
                  <a:lnTo>
                    <a:pt x="221" y="297"/>
                  </a:lnTo>
                  <a:lnTo>
                    <a:pt x="221" y="302"/>
                  </a:lnTo>
                  <a:lnTo>
                    <a:pt x="223" y="302"/>
                  </a:lnTo>
                  <a:lnTo>
                    <a:pt x="223" y="304"/>
                  </a:lnTo>
                  <a:lnTo>
                    <a:pt x="225" y="304"/>
                  </a:lnTo>
                  <a:lnTo>
                    <a:pt x="225" y="306"/>
                  </a:lnTo>
                  <a:lnTo>
                    <a:pt x="227" y="308"/>
                  </a:lnTo>
                  <a:lnTo>
                    <a:pt x="227" y="308"/>
                  </a:lnTo>
                  <a:lnTo>
                    <a:pt x="227" y="308"/>
                  </a:lnTo>
                  <a:lnTo>
                    <a:pt x="229" y="310"/>
                  </a:lnTo>
                  <a:lnTo>
                    <a:pt x="233" y="310"/>
                  </a:lnTo>
                  <a:lnTo>
                    <a:pt x="233" y="310"/>
                  </a:lnTo>
                  <a:lnTo>
                    <a:pt x="233" y="306"/>
                  </a:lnTo>
                  <a:lnTo>
                    <a:pt x="233" y="304"/>
                  </a:lnTo>
                  <a:lnTo>
                    <a:pt x="235" y="302"/>
                  </a:lnTo>
                  <a:lnTo>
                    <a:pt x="250" y="275"/>
                  </a:lnTo>
                  <a:lnTo>
                    <a:pt x="250" y="273"/>
                  </a:lnTo>
                  <a:lnTo>
                    <a:pt x="250" y="271"/>
                  </a:lnTo>
                  <a:lnTo>
                    <a:pt x="250" y="271"/>
                  </a:lnTo>
                  <a:lnTo>
                    <a:pt x="252" y="269"/>
                  </a:lnTo>
                  <a:lnTo>
                    <a:pt x="252" y="267"/>
                  </a:lnTo>
                  <a:lnTo>
                    <a:pt x="254" y="263"/>
                  </a:lnTo>
                  <a:lnTo>
                    <a:pt x="254" y="261"/>
                  </a:lnTo>
                  <a:lnTo>
                    <a:pt x="256" y="256"/>
                  </a:lnTo>
                  <a:lnTo>
                    <a:pt x="258" y="254"/>
                  </a:lnTo>
                  <a:lnTo>
                    <a:pt x="260" y="248"/>
                  </a:lnTo>
                  <a:lnTo>
                    <a:pt x="262" y="246"/>
                  </a:lnTo>
                  <a:lnTo>
                    <a:pt x="264" y="244"/>
                  </a:lnTo>
                  <a:lnTo>
                    <a:pt x="266" y="244"/>
                  </a:lnTo>
                  <a:lnTo>
                    <a:pt x="266" y="240"/>
                  </a:lnTo>
                  <a:lnTo>
                    <a:pt x="266" y="240"/>
                  </a:lnTo>
                  <a:lnTo>
                    <a:pt x="266" y="236"/>
                  </a:lnTo>
                  <a:lnTo>
                    <a:pt x="268" y="232"/>
                  </a:lnTo>
                  <a:lnTo>
                    <a:pt x="268" y="230"/>
                  </a:lnTo>
                  <a:lnTo>
                    <a:pt x="270" y="228"/>
                  </a:lnTo>
                  <a:lnTo>
                    <a:pt x="270" y="228"/>
                  </a:lnTo>
                  <a:lnTo>
                    <a:pt x="270" y="222"/>
                  </a:lnTo>
                  <a:lnTo>
                    <a:pt x="272" y="220"/>
                  </a:lnTo>
                  <a:lnTo>
                    <a:pt x="272" y="220"/>
                  </a:lnTo>
                  <a:lnTo>
                    <a:pt x="274" y="222"/>
                  </a:lnTo>
                  <a:lnTo>
                    <a:pt x="274" y="222"/>
                  </a:lnTo>
                  <a:lnTo>
                    <a:pt x="274" y="224"/>
                  </a:lnTo>
                  <a:lnTo>
                    <a:pt x="272" y="226"/>
                  </a:lnTo>
                  <a:lnTo>
                    <a:pt x="272" y="228"/>
                  </a:lnTo>
                  <a:lnTo>
                    <a:pt x="272" y="228"/>
                  </a:lnTo>
                  <a:lnTo>
                    <a:pt x="272" y="230"/>
                  </a:lnTo>
                  <a:lnTo>
                    <a:pt x="272" y="232"/>
                  </a:lnTo>
                  <a:lnTo>
                    <a:pt x="272" y="234"/>
                  </a:lnTo>
                  <a:lnTo>
                    <a:pt x="274" y="234"/>
                  </a:lnTo>
                  <a:lnTo>
                    <a:pt x="274" y="236"/>
                  </a:lnTo>
                  <a:lnTo>
                    <a:pt x="274" y="240"/>
                  </a:lnTo>
                  <a:lnTo>
                    <a:pt x="274" y="242"/>
                  </a:lnTo>
                  <a:lnTo>
                    <a:pt x="276" y="244"/>
                  </a:lnTo>
                  <a:lnTo>
                    <a:pt x="276" y="244"/>
                  </a:lnTo>
                  <a:lnTo>
                    <a:pt x="276" y="242"/>
                  </a:lnTo>
                  <a:lnTo>
                    <a:pt x="276" y="242"/>
                  </a:lnTo>
                  <a:lnTo>
                    <a:pt x="280" y="240"/>
                  </a:lnTo>
                  <a:lnTo>
                    <a:pt x="283" y="240"/>
                  </a:lnTo>
                  <a:lnTo>
                    <a:pt x="283" y="240"/>
                  </a:lnTo>
                  <a:lnTo>
                    <a:pt x="285" y="238"/>
                  </a:lnTo>
                  <a:lnTo>
                    <a:pt x="285" y="238"/>
                  </a:lnTo>
                  <a:lnTo>
                    <a:pt x="285" y="236"/>
                  </a:lnTo>
                  <a:lnTo>
                    <a:pt x="287" y="232"/>
                  </a:lnTo>
                  <a:lnTo>
                    <a:pt x="287" y="232"/>
                  </a:lnTo>
                  <a:lnTo>
                    <a:pt x="287" y="230"/>
                  </a:lnTo>
                  <a:lnTo>
                    <a:pt x="289" y="230"/>
                  </a:lnTo>
                  <a:lnTo>
                    <a:pt x="289" y="228"/>
                  </a:lnTo>
                  <a:lnTo>
                    <a:pt x="289" y="228"/>
                  </a:lnTo>
                  <a:lnTo>
                    <a:pt x="289" y="226"/>
                  </a:lnTo>
                  <a:lnTo>
                    <a:pt x="289" y="224"/>
                  </a:lnTo>
                  <a:lnTo>
                    <a:pt x="291" y="224"/>
                  </a:lnTo>
                  <a:lnTo>
                    <a:pt x="291" y="224"/>
                  </a:lnTo>
                  <a:lnTo>
                    <a:pt x="295" y="226"/>
                  </a:lnTo>
                  <a:lnTo>
                    <a:pt x="297" y="226"/>
                  </a:lnTo>
                  <a:lnTo>
                    <a:pt x="299" y="224"/>
                  </a:lnTo>
                  <a:lnTo>
                    <a:pt x="299" y="224"/>
                  </a:lnTo>
                  <a:lnTo>
                    <a:pt x="301" y="222"/>
                  </a:lnTo>
                  <a:lnTo>
                    <a:pt x="301" y="220"/>
                  </a:lnTo>
                  <a:lnTo>
                    <a:pt x="303" y="220"/>
                  </a:lnTo>
                  <a:lnTo>
                    <a:pt x="305" y="220"/>
                  </a:lnTo>
                  <a:lnTo>
                    <a:pt x="305" y="220"/>
                  </a:lnTo>
                  <a:lnTo>
                    <a:pt x="307" y="220"/>
                  </a:lnTo>
                  <a:lnTo>
                    <a:pt x="307" y="222"/>
                  </a:lnTo>
                  <a:lnTo>
                    <a:pt x="305" y="228"/>
                  </a:lnTo>
                  <a:lnTo>
                    <a:pt x="305" y="230"/>
                  </a:lnTo>
                  <a:lnTo>
                    <a:pt x="307" y="230"/>
                  </a:lnTo>
                  <a:lnTo>
                    <a:pt x="307" y="230"/>
                  </a:lnTo>
                  <a:lnTo>
                    <a:pt x="307" y="230"/>
                  </a:lnTo>
                  <a:lnTo>
                    <a:pt x="307" y="232"/>
                  </a:lnTo>
                  <a:lnTo>
                    <a:pt x="305" y="232"/>
                  </a:lnTo>
                  <a:lnTo>
                    <a:pt x="305" y="230"/>
                  </a:lnTo>
                  <a:lnTo>
                    <a:pt x="303" y="230"/>
                  </a:lnTo>
                  <a:lnTo>
                    <a:pt x="303" y="230"/>
                  </a:lnTo>
                  <a:lnTo>
                    <a:pt x="301" y="232"/>
                  </a:lnTo>
                  <a:lnTo>
                    <a:pt x="301" y="232"/>
                  </a:lnTo>
                  <a:lnTo>
                    <a:pt x="301" y="232"/>
                  </a:lnTo>
                  <a:lnTo>
                    <a:pt x="301" y="232"/>
                  </a:lnTo>
                  <a:lnTo>
                    <a:pt x="301" y="234"/>
                  </a:lnTo>
                  <a:lnTo>
                    <a:pt x="301" y="234"/>
                  </a:lnTo>
                  <a:lnTo>
                    <a:pt x="301" y="234"/>
                  </a:lnTo>
                  <a:lnTo>
                    <a:pt x="301" y="234"/>
                  </a:lnTo>
                  <a:lnTo>
                    <a:pt x="299" y="234"/>
                  </a:lnTo>
                  <a:lnTo>
                    <a:pt x="299" y="236"/>
                  </a:lnTo>
                  <a:lnTo>
                    <a:pt x="299" y="238"/>
                  </a:lnTo>
                  <a:lnTo>
                    <a:pt x="299" y="240"/>
                  </a:lnTo>
                  <a:lnTo>
                    <a:pt x="297" y="242"/>
                  </a:lnTo>
                  <a:lnTo>
                    <a:pt x="297" y="242"/>
                  </a:lnTo>
                  <a:lnTo>
                    <a:pt x="297" y="244"/>
                  </a:lnTo>
                  <a:lnTo>
                    <a:pt x="299" y="246"/>
                  </a:lnTo>
                  <a:lnTo>
                    <a:pt x="301" y="248"/>
                  </a:lnTo>
                  <a:lnTo>
                    <a:pt x="303" y="248"/>
                  </a:lnTo>
                  <a:lnTo>
                    <a:pt x="303" y="248"/>
                  </a:lnTo>
                  <a:lnTo>
                    <a:pt x="305" y="248"/>
                  </a:lnTo>
                  <a:lnTo>
                    <a:pt x="305" y="248"/>
                  </a:lnTo>
                  <a:lnTo>
                    <a:pt x="305" y="248"/>
                  </a:lnTo>
                  <a:lnTo>
                    <a:pt x="305" y="246"/>
                  </a:lnTo>
                  <a:lnTo>
                    <a:pt x="303" y="246"/>
                  </a:lnTo>
                  <a:lnTo>
                    <a:pt x="303" y="246"/>
                  </a:lnTo>
                  <a:lnTo>
                    <a:pt x="303" y="244"/>
                  </a:lnTo>
                  <a:lnTo>
                    <a:pt x="303" y="244"/>
                  </a:lnTo>
                  <a:lnTo>
                    <a:pt x="303" y="242"/>
                  </a:lnTo>
                  <a:lnTo>
                    <a:pt x="303" y="242"/>
                  </a:lnTo>
                  <a:lnTo>
                    <a:pt x="305" y="242"/>
                  </a:lnTo>
                  <a:lnTo>
                    <a:pt x="305" y="242"/>
                  </a:lnTo>
                  <a:lnTo>
                    <a:pt x="305" y="238"/>
                  </a:lnTo>
                  <a:lnTo>
                    <a:pt x="307" y="238"/>
                  </a:lnTo>
                  <a:lnTo>
                    <a:pt x="309" y="236"/>
                  </a:lnTo>
                  <a:lnTo>
                    <a:pt x="309" y="236"/>
                  </a:lnTo>
                  <a:lnTo>
                    <a:pt x="309" y="234"/>
                  </a:lnTo>
                  <a:lnTo>
                    <a:pt x="309" y="234"/>
                  </a:lnTo>
                  <a:lnTo>
                    <a:pt x="309" y="232"/>
                  </a:lnTo>
                  <a:lnTo>
                    <a:pt x="311" y="232"/>
                  </a:lnTo>
                  <a:lnTo>
                    <a:pt x="313" y="232"/>
                  </a:lnTo>
                  <a:lnTo>
                    <a:pt x="315" y="230"/>
                  </a:lnTo>
                  <a:lnTo>
                    <a:pt x="315" y="230"/>
                  </a:lnTo>
                  <a:lnTo>
                    <a:pt x="317" y="228"/>
                  </a:lnTo>
                  <a:lnTo>
                    <a:pt x="317" y="228"/>
                  </a:lnTo>
                  <a:lnTo>
                    <a:pt x="317" y="228"/>
                  </a:lnTo>
                  <a:lnTo>
                    <a:pt x="321" y="226"/>
                  </a:lnTo>
                  <a:lnTo>
                    <a:pt x="321" y="226"/>
                  </a:lnTo>
                  <a:lnTo>
                    <a:pt x="321" y="224"/>
                  </a:lnTo>
                  <a:lnTo>
                    <a:pt x="321" y="224"/>
                  </a:lnTo>
                  <a:lnTo>
                    <a:pt x="323" y="218"/>
                  </a:lnTo>
                  <a:lnTo>
                    <a:pt x="326" y="213"/>
                  </a:lnTo>
                  <a:lnTo>
                    <a:pt x="328" y="209"/>
                  </a:lnTo>
                  <a:lnTo>
                    <a:pt x="342" y="205"/>
                  </a:lnTo>
                  <a:lnTo>
                    <a:pt x="344" y="205"/>
                  </a:lnTo>
                  <a:close/>
                  <a:moveTo>
                    <a:pt x="287" y="156"/>
                  </a:moveTo>
                  <a:lnTo>
                    <a:pt x="287" y="156"/>
                  </a:lnTo>
                  <a:lnTo>
                    <a:pt x="289" y="156"/>
                  </a:lnTo>
                  <a:lnTo>
                    <a:pt x="289" y="158"/>
                  </a:lnTo>
                  <a:lnTo>
                    <a:pt x="289" y="158"/>
                  </a:lnTo>
                  <a:lnTo>
                    <a:pt x="289" y="160"/>
                  </a:lnTo>
                  <a:lnTo>
                    <a:pt x="289" y="160"/>
                  </a:lnTo>
                  <a:lnTo>
                    <a:pt x="291" y="160"/>
                  </a:lnTo>
                  <a:lnTo>
                    <a:pt x="291" y="160"/>
                  </a:lnTo>
                  <a:lnTo>
                    <a:pt x="291" y="160"/>
                  </a:lnTo>
                  <a:lnTo>
                    <a:pt x="291" y="158"/>
                  </a:lnTo>
                  <a:lnTo>
                    <a:pt x="291" y="158"/>
                  </a:lnTo>
                  <a:lnTo>
                    <a:pt x="291" y="160"/>
                  </a:lnTo>
                  <a:lnTo>
                    <a:pt x="293" y="160"/>
                  </a:lnTo>
                  <a:lnTo>
                    <a:pt x="293" y="160"/>
                  </a:lnTo>
                  <a:lnTo>
                    <a:pt x="293" y="160"/>
                  </a:lnTo>
                  <a:lnTo>
                    <a:pt x="295" y="160"/>
                  </a:lnTo>
                  <a:lnTo>
                    <a:pt x="295" y="158"/>
                  </a:lnTo>
                  <a:lnTo>
                    <a:pt x="295" y="158"/>
                  </a:lnTo>
                  <a:lnTo>
                    <a:pt x="293" y="156"/>
                  </a:lnTo>
                  <a:lnTo>
                    <a:pt x="293" y="158"/>
                  </a:lnTo>
                  <a:lnTo>
                    <a:pt x="291" y="158"/>
                  </a:lnTo>
                  <a:lnTo>
                    <a:pt x="291" y="156"/>
                  </a:lnTo>
                  <a:lnTo>
                    <a:pt x="291" y="156"/>
                  </a:lnTo>
                  <a:lnTo>
                    <a:pt x="293" y="154"/>
                  </a:lnTo>
                  <a:lnTo>
                    <a:pt x="291" y="152"/>
                  </a:lnTo>
                  <a:lnTo>
                    <a:pt x="291" y="150"/>
                  </a:lnTo>
                  <a:lnTo>
                    <a:pt x="291" y="150"/>
                  </a:lnTo>
                  <a:lnTo>
                    <a:pt x="289" y="150"/>
                  </a:lnTo>
                  <a:lnTo>
                    <a:pt x="287" y="150"/>
                  </a:lnTo>
                  <a:lnTo>
                    <a:pt x="287" y="152"/>
                  </a:lnTo>
                  <a:lnTo>
                    <a:pt x="287" y="154"/>
                  </a:lnTo>
                  <a:lnTo>
                    <a:pt x="287" y="156"/>
                  </a:lnTo>
                  <a:close/>
                  <a:moveTo>
                    <a:pt x="133" y="99"/>
                  </a:moveTo>
                  <a:lnTo>
                    <a:pt x="131" y="101"/>
                  </a:lnTo>
                  <a:lnTo>
                    <a:pt x="131" y="103"/>
                  </a:lnTo>
                  <a:lnTo>
                    <a:pt x="131" y="107"/>
                  </a:lnTo>
                  <a:lnTo>
                    <a:pt x="133" y="109"/>
                  </a:lnTo>
                  <a:lnTo>
                    <a:pt x="139" y="109"/>
                  </a:lnTo>
                  <a:lnTo>
                    <a:pt x="141" y="109"/>
                  </a:lnTo>
                  <a:lnTo>
                    <a:pt x="143" y="111"/>
                  </a:lnTo>
                  <a:lnTo>
                    <a:pt x="143" y="111"/>
                  </a:lnTo>
                  <a:lnTo>
                    <a:pt x="145" y="109"/>
                  </a:lnTo>
                  <a:lnTo>
                    <a:pt x="147" y="109"/>
                  </a:lnTo>
                  <a:lnTo>
                    <a:pt x="147" y="107"/>
                  </a:lnTo>
                  <a:lnTo>
                    <a:pt x="145" y="105"/>
                  </a:lnTo>
                  <a:lnTo>
                    <a:pt x="143" y="107"/>
                  </a:lnTo>
                  <a:lnTo>
                    <a:pt x="145" y="105"/>
                  </a:lnTo>
                  <a:lnTo>
                    <a:pt x="145" y="103"/>
                  </a:lnTo>
                  <a:lnTo>
                    <a:pt x="147" y="101"/>
                  </a:lnTo>
                  <a:lnTo>
                    <a:pt x="147" y="101"/>
                  </a:lnTo>
                  <a:lnTo>
                    <a:pt x="147" y="103"/>
                  </a:lnTo>
                  <a:lnTo>
                    <a:pt x="147" y="107"/>
                  </a:lnTo>
                  <a:lnTo>
                    <a:pt x="147" y="107"/>
                  </a:lnTo>
                  <a:lnTo>
                    <a:pt x="147" y="109"/>
                  </a:lnTo>
                  <a:lnTo>
                    <a:pt x="147" y="111"/>
                  </a:lnTo>
                  <a:lnTo>
                    <a:pt x="145" y="113"/>
                  </a:lnTo>
                  <a:lnTo>
                    <a:pt x="143" y="113"/>
                  </a:lnTo>
                  <a:lnTo>
                    <a:pt x="143" y="115"/>
                  </a:lnTo>
                  <a:lnTo>
                    <a:pt x="143" y="115"/>
                  </a:lnTo>
                  <a:lnTo>
                    <a:pt x="149" y="121"/>
                  </a:lnTo>
                  <a:lnTo>
                    <a:pt x="149" y="121"/>
                  </a:lnTo>
                  <a:lnTo>
                    <a:pt x="151" y="119"/>
                  </a:lnTo>
                  <a:lnTo>
                    <a:pt x="151" y="117"/>
                  </a:lnTo>
                  <a:lnTo>
                    <a:pt x="153" y="111"/>
                  </a:lnTo>
                  <a:lnTo>
                    <a:pt x="153" y="111"/>
                  </a:lnTo>
                  <a:lnTo>
                    <a:pt x="158" y="109"/>
                  </a:lnTo>
                  <a:lnTo>
                    <a:pt x="158" y="107"/>
                  </a:lnTo>
                  <a:lnTo>
                    <a:pt x="158" y="105"/>
                  </a:lnTo>
                  <a:lnTo>
                    <a:pt x="158" y="105"/>
                  </a:lnTo>
                  <a:lnTo>
                    <a:pt x="160" y="105"/>
                  </a:lnTo>
                  <a:lnTo>
                    <a:pt x="162" y="105"/>
                  </a:lnTo>
                  <a:lnTo>
                    <a:pt x="162" y="103"/>
                  </a:lnTo>
                  <a:lnTo>
                    <a:pt x="160" y="103"/>
                  </a:lnTo>
                  <a:lnTo>
                    <a:pt x="160" y="101"/>
                  </a:lnTo>
                  <a:lnTo>
                    <a:pt x="162" y="99"/>
                  </a:lnTo>
                  <a:lnTo>
                    <a:pt x="162" y="97"/>
                  </a:lnTo>
                  <a:lnTo>
                    <a:pt x="164" y="97"/>
                  </a:lnTo>
                  <a:lnTo>
                    <a:pt x="164" y="97"/>
                  </a:lnTo>
                  <a:lnTo>
                    <a:pt x="166" y="97"/>
                  </a:lnTo>
                  <a:lnTo>
                    <a:pt x="166" y="95"/>
                  </a:lnTo>
                  <a:lnTo>
                    <a:pt x="168" y="93"/>
                  </a:lnTo>
                  <a:lnTo>
                    <a:pt x="170" y="90"/>
                  </a:lnTo>
                  <a:lnTo>
                    <a:pt x="172" y="90"/>
                  </a:lnTo>
                  <a:lnTo>
                    <a:pt x="172" y="90"/>
                  </a:lnTo>
                  <a:lnTo>
                    <a:pt x="172" y="86"/>
                  </a:lnTo>
                  <a:lnTo>
                    <a:pt x="174" y="86"/>
                  </a:lnTo>
                  <a:lnTo>
                    <a:pt x="176" y="86"/>
                  </a:lnTo>
                  <a:lnTo>
                    <a:pt x="176" y="84"/>
                  </a:lnTo>
                  <a:lnTo>
                    <a:pt x="180" y="80"/>
                  </a:lnTo>
                  <a:lnTo>
                    <a:pt x="180" y="80"/>
                  </a:lnTo>
                  <a:lnTo>
                    <a:pt x="176" y="78"/>
                  </a:lnTo>
                  <a:lnTo>
                    <a:pt x="174" y="78"/>
                  </a:lnTo>
                  <a:lnTo>
                    <a:pt x="176" y="78"/>
                  </a:lnTo>
                  <a:lnTo>
                    <a:pt x="176" y="76"/>
                  </a:lnTo>
                  <a:lnTo>
                    <a:pt x="180" y="76"/>
                  </a:lnTo>
                  <a:lnTo>
                    <a:pt x="184" y="74"/>
                  </a:lnTo>
                  <a:lnTo>
                    <a:pt x="186" y="74"/>
                  </a:lnTo>
                  <a:lnTo>
                    <a:pt x="188" y="74"/>
                  </a:lnTo>
                  <a:lnTo>
                    <a:pt x="190" y="76"/>
                  </a:lnTo>
                  <a:lnTo>
                    <a:pt x="192" y="76"/>
                  </a:lnTo>
                  <a:lnTo>
                    <a:pt x="194" y="74"/>
                  </a:lnTo>
                  <a:lnTo>
                    <a:pt x="196" y="72"/>
                  </a:lnTo>
                  <a:lnTo>
                    <a:pt x="199" y="72"/>
                  </a:lnTo>
                  <a:lnTo>
                    <a:pt x="199" y="72"/>
                  </a:lnTo>
                  <a:lnTo>
                    <a:pt x="196" y="72"/>
                  </a:lnTo>
                  <a:lnTo>
                    <a:pt x="194" y="68"/>
                  </a:lnTo>
                  <a:lnTo>
                    <a:pt x="194" y="68"/>
                  </a:lnTo>
                  <a:lnTo>
                    <a:pt x="190" y="66"/>
                  </a:lnTo>
                  <a:lnTo>
                    <a:pt x="188" y="66"/>
                  </a:lnTo>
                  <a:lnTo>
                    <a:pt x="172" y="68"/>
                  </a:lnTo>
                  <a:lnTo>
                    <a:pt x="166" y="70"/>
                  </a:lnTo>
                  <a:lnTo>
                    <a:pt x="160" y="72"/>
                  </a:lnTo>
                  <a:lnTo>
                    <a:pt x="160" y="74"/>
                  </a:lnTo>
                  <a:lnTo>
                    <a:pt x="158" y="76"/>
                  </a:lnTo>
                  <a:lnTo>
                    <a:pt x="158" y="76"/>
                  </a:lnTo>
                  <a:lnTo>
                    <a:pt x="156" y="76"/>
                  </a:lnTo>
                  <a:lnTo>
                    <a:pt x="156" y="76"/>
                  </a:lnTo>
                  <a:lnTo>
                    <a:pt x="153" y="76"/>
                  </a:lnTo>
                  <a:lnTo>
                    <a:pt x="153" y="76"/>
                  </a:lnTo>
                  <a:lnTo>
                    <a:pt x="151" y="78"/>
                  </a:lnTo>
                  <a:lnTo>
                    <a:pt x="145" y="80"/>
                  </a:lnTo>
                  <a:lnTo>
                    <a:pt x="143" y="82"/>
                  </a:lnTo>
                  <a:lnTo>
                    <a:pt x="137" y="93"/>
                  </a:lnTo>
                  <a:lnTo>
                    <a:pt x="137" y="95"/>
                  </a:lnTo>
                  <a:lnTo>
                    <a:pt x="133" y="97"/>
                  </a:lnTo>
                  <a:lnTo>
                    <a:pt x="133" y="99"/>
                  </a:lnTo>
                  <a:close/>
                  <a:moveTo>
                    <a:pt x="80" y="35"/>
                  </a:moveTo>
                  <a:lnTo>
                    <a:pt x="84" y="33"/>
                  </a:lnTo>
                  <a:lnTo>
                    <a:pt x="84" y="33"/>
                  </a:lnTo>
                  <a:lnTo>
                    <a:pt x="80" y="35"/>
                  </a:lnTo>
                  <a:lnTo>
                    <a:pt x="80" y="35"/>
                  </a:lnTo>
                  <a:lnTo>
                    <a:pt x="80" y="39"/>
                  </a:lnTo>
                  <a:lnTo>
                    <a:pt x="80" y="39"/>
                  </a:lnTo>
                  <a:lnTo>
                    <a:pt x="80" y="39"/>
                  </a:lnTo>
                  <a:lnTo>
                    <a:pt x="80" y="39"/>
                  </a:lnTo>
                  <a:lnTo>
                    <a:pt x="80" y="39"/>
                  </a:lnTo>
                  <a:lnTo>
                    <a:pt x="82" y="41"/>
                  </a:lnTo>
                  <a:lnTo>
                    <a:pt x="84" y="41"/>
                  </a:lnTo>
                  <a:lnTo>
                    <a:pt x="86" y="41"/>
                  </a:lnTo>
                  <a:lnTo>
                    <a:pt x="98" y="33"/>
                  </a:lnTo>
                  <a:lnTo>
                    <a:pt x="102" y="33"/>
                  </a:lnTo>
                  <a:lnTo>
                    <a:pt x="102" y="33"/>
                  </a:lnTo>
                  <a:lnTo>
                    <a:pt x="94" y="33"/>
                  </a:lnTo>
                  <a:lnTo>
                    <a:pt x="96" y="31"/>
                  </a:lnTo>
                  <a:lnTo>
                    <a:pt x="98" y="29"/>
                  </a:lnTo>
                  <a:lnTo>
                    <a:pt x="98" y="29"/>
                  </a:lnTo>
                  <a:lnTo>
                    <a:pt x="117" y="19"/>
                  </a:lnTo>
                  <a:lnTo>
                    <a:pt x="121" y="17"/>
                  </a:lnTo>
                  <a:lnTo>
                    <a:pt x="125" y="15"/>
                  </a:lnTo>
                  <a:lnTo>
                    <a:pt x="125" y="13"/>
                  </a:lnTo>
                  <a:lnTo>
                    <a:pt x="125" y="13"/>
                  </a:lnTo>
                  <a:lnTo>
                    <a:pt x="123" y="11"/>
                  </a:lnTo>
                  <a:lnTo>
                    <a:pt x="123" y="11"/>
                  </a:lnTo>
                  <a:lnTo>
                    <a:pt x="125" y="8"/>
                  </a:lnTo>
                  <a:lnTo>
                    <a:pt x="131" y="4"/>
                  </a:lnTo>
                  <a:lnTo>
                    <a:pt x="133" y="2"/>
                  </a:lnTo>
                  <a:lnTo>
                    <a:pt x="133" y="0"/>
                  </a:lnTo>
                  <a:lnTo>
                    <a:pt x="133" y="0"/>
                  </a:lnTo>
                  <a:lnTo>
                    <a:pt x="133" y="0"/>
                  </a:lnTo>
                  <a:lnTo>
                    <a:pt x="133" y="0"/>
                  </a:lnTo>
                  <a:lnTo>
                    <a:pt x="131" y="2"/>
                  </a:lnTo>
                  <a:lnTo>
                    <a:pt x="129" y="2"/>
                  </a:lnTo>
                  <a:lnTo>
                    <a:pt x="129" y="2"/>
                  </a:lnTo>
                  <a:lnTo>
                    <a:pt x="131" y="0"/>
                  </a:lnTo>
                  <a:lnTo>
                    <a:pt x="131" y="0"/>
                  </a:lnTo>
                  <a:lnTo>
                    <a:pt x="127" y="2"/>
                  </a:lnTo>
                  <a:lnTo>
                    <a:pt x="125" y="4"/>
                  </a:lnTo>
                  <a:lnTo>
                    <a:pt x="123" y="4"/>
                  </a:lnTo>
                  <a:lnTo>
                    <a:pt x="121" y="6"/>
                  </a:lnTo>
                  <a:lnTo>
                    <a:pt x="121" y="4"/>
                  </a:lnTo>
                  <a:lnTo>
                    <a:pt x="115" y="11"/>
                  </a:lnTo>
                  <a:lnTo>
                    <a:pt x="115" y="8"/>
                  </a:lnTo>
                  <a:lnTo>
                    <a:pt x="113" y="11"/>
                  </a:lnTo>
                  <a:lnTo>
                    <a:pt x="108" y="13"/>
                  </a:lnTo>
                  <a:lnTo>
                    <a:pt x="106" y="15"/>
                  </a:lnTo>
                  <a:lnTo>
                    <a:pt x="104" y="17"/>
                  </a:lnTo>
                  <a:lnTo>
                    <a:pt x="102" y="17"/>
                  </a:lnTo>
                  <a:lnTo>
                    <a:pt x="100" y="19"/>
                  </a:lnTo>
                  <a:lnTo>
                    <a:pt x="98" y="19"/>
                  </a:lnTo>
                  <a:lnTo>
                    <a:pt x="98" y="19"/>
                  </a:lnTo>
                  <a:lnTo>
                    <a:pt x="96" y="21"/>
                  </a:lnTo>
                  <a:lnTo>
                    <a:pt x="86" y="27"/>
                  </a:lnTo>
                  <a:lnTo>
                    <a:pt x="78" y="33"/>
                  </a:lnTo>
                  <a:lnTo>
                    <a:pt x="80" y="35"/>
                  </a:lnTo>
                  <a:lnTo>
                    <a:pt x="80" y="35"/>
                  </a:lnTo>
                  <a:close/>
                  <a:moveTo>
                    <a:pt x="352" y="302"/>
                  </a:moveTo>
                  <a:lnTo>
                    <a:pt x="352" y="302"/>
                  </a:lnTo>
                  <a:lnTo>
                    <a:pt x="350" y="302"/>
                  </a:lnTo>
                  <a:lnTo>
                    <a:pt x="350" y="302"/>
                  </a:lnTo>
                  <a:lnTo>
                    <a:pt x="348" y="304"/>
                  </a:lnTo>
                  <a:lnTo>
                    <a:pt x="348" y="306"/>
                  </a:lnTo>
                  <a:lnTo>
                    <a:pt x="348" y="306"/>
                  </a:lnTo>
                  <a:lnTo>
                    <a:pt x="350" y="308"/>
                  </a:lnTo>
                  <a:lnTo>
                    <a:pt x="352" y="306"/>
                  </a:lnTo>
                  <a:lnTo>
                    <a:pt x="352" y="304"/>
                  </a:lnTo>
                  <a:lnTo>
                    <a:pt x="354" y="302"/>
                  </a:lnTo>
                  <a:lnTo>
                    <a:pt x="352" y="302"/>
                  </a:lnTo>
                  <a:lnTo>
                    <a:pt x="352" y="302"/>
                  </a:lnTo>
                  <a:close/>
                  <a:moveTo>
                    <a:pt x="358" y="297"/>
                  </a:moveTo>
                  <a:lnTo>
                    <a:pt x="360" y="297"/>
                  </a:lnTo>
                  <a:lnTo>
                    <a:pt x="360" y="295"/>
                  </a:lnTo>
                  <a:lnTo>
                    <a:pt x="360" y="295"/>
                  </a:lnTo>
                  <a:lnTo>
                    <a:pt x="360" y="293"/>
                  </a:lnTo>
                  <a:lnTo>
                    <a:pt x="360" y="291"/>
                  </a:lnTo>
                  <a:lnTo>
                    <a:pt x="360" y="291"/>
                  </a:lnTo>
                  <a:lnTo>
                    <a:pt x="358" y="289"/>
                  </a:lnTo>
                  <a:lnTo>
                    <a:pt x="358" y="289"/>
                  </a:lnTo>
                  <a:lnTo>
                    <a:pt x="356" y="289"/>
                  </a:lnTo>
                  <a:lnTo>
                    <a:pt x="356" y="289"/>
                  </a:lnTo>
                  <a:lnTo>
                    <a:pt x="354" y="289"/>
                  </a:lnTo>
                  <a:lnTo>
                    <a:pt x="354" y="291"/>
                  </a:lnTo>
                  <a:lnTo>
                    <a:pt x="356" y="297"/>
                  </a:lnTo>
                  <a:lnTo>
                    <a:pt x="358" y="297"/>
                  </a:lnTo>
                  <a:close/>
                  <a:moveTo>
                    <a:pt x="473" y="187"/>
                  </a:moveTo>
                  <a:lnTo>
                    <a:pt x="471" y="185"/>
                  </a:lnTo>
                  <a:lnTo>
                    <a:pt x="469" y="187"/>
                  </a:lnTo>
                  <a:lnTo>
                    <a:pt x="469" y="187"/>
                  </a:lnTo>
                  <a:lnTo>
                    <a:pt x="469" y="187"/>
                  </a:lnTo>
                  <a:lnTo>
                    <a:pt x="469" y="187"/>
                  </a:lnTo>
                  <a:lnTo>
                    <a:pt x="469" y="189"/>
                  </a:lnTo>
                  <a:lnTo>
                    <a:pt x="471" y="189"/>
                  </a:lnTo>
                  <a:lnTo>
                    <a:pt x="471" y="189"/>
                  </a:lnTo>
                  <a:lnTo>
                    <a:pt x="469" y="189"/>
                  </a:lnTo>
                  <a:lnTo>
                    <a:pt x="471" y="189"/>
                  </a:lnTo>
                  <a:lnTo>
                    <a:pt x="473" y="191"/>
                  </a:lnTo>
                  <a:lnTo>
                    <a:pt x="477" y="189"/>
                  </a:lnTo>
                  <a:lnTo>
                    <a:pt x="475" y="189"/>
                  </a:lnTo>
                  <a:lnTo>
                    <a:pt x="475" y="189"/>
                  </a:lnTo>
                  <a:lnTo>
                    <a:pt x="473" y="187"/>
                  </a:lnTo>
                  <a:lnTo>
                    <a:pt x="473" y="189"/>
                  </a:lnTo>
                  <a:lnTo>
                    <a:pt x="473" y="187"/>
                  </a:lnTo>
                  <a:lnTo>
                    <a:pt x="473" y="187"/>
                  </a:lnTo>
                  <a:close/>
                  <a:moveTo>
                    <a:pt x="364" y="256"/>
                  </a:moveTo>
                  <a:lnTo>
                    <a:pt x="364" y="256"/>
                  </a:lnTo>
                  <a:lnTo>
                    <a:pt x="364" y="256"/>
                  </a:lnTo>
                  <a:lnTo>
                    <a:pt x="362" y="256"/>
                  </a:lnTo>
                  <a:lnTo>
                    <a:pt x="366" y="263"/>
                  </a:lnTo>
                  <a:lnTo>
                    <a:pt x="369" y="263"/>
                  </a:lnTo>
                  <a:lnTo>
                    <a:pt x="369" y="261"/>
                  </a:lnTo>
                  <a:lnTo>
                    <a:pt x="369" y="261"/>
                  </a:lnTo>
                  <a:lnTo>
                    <a:pt x="366" y="259"/>
                  </a:lnTo>
                  <a:lnTo>
                    <a:pt x="364" y="256"/>
                  </a:lnTo>
                  <a:close/>
                  <a:moveTo>
                    <a:pt x="674" y="478"/>
                  </a:moveTo>
                  <a:lnTo>
                    <a:pt x="674" y="476"/>
                  </a:lnTo>
                  <a:lnTo>
                    <a:pt x="674" y="472"/>
                  </a:lnTo>
                  <a:lnTo>
                    <a:pt x="674" y="472"/>
                  </a:lnTo>
                  <a:lnTo>
                    <a:pt x="672" y="470"/>
                  </a:lnTo>
                  <a:lnTo>
                    <a:pt x="670" y="465"/>
                  </a:lnTo>
                  <a:lnTo>
                    <a:pt x="668" y="463"/>
                  </a:lnTo>
                  <a:lnTo>
                    <a:pt x="668" y="463"/>
                  </a:lnTo>
                  <a:lnTo>
                    <a:pt x="661" y="445"/>
                  </a:lnTo>
                  <a:lnTo>
                    <a:pt x="655" y="429"/>
                  </a:lnTo>
                  <a:lnTo>
                    <a:pt x="653" y="420"/>
                  </a:lnTo>
                  <a:lnTo>
                    <a:pt x="643" y="392"/>
                  </a:lnTo>
                  <a:lnTo>
                    <a:pt x="639" y="386"/>
                  </a:lnTo>
                  <a:lnTo>
                    <a:pt x="639" y="386"/>
                  </a:lnTo>
                  <a:lnTo>
                    <a:pt x="639" y="384"/>
                  </a:lnTo>
                  <a:lnTo>
                    <a:pt x="637" y="381"/>
                  </a:lnTo>
                  <a:lnTo>
                    <a:pt x="633" y="375"/>
                  </a:lnTo>
                  <a:lnTo>
                    <a:pt x="629" y="373"/>
                  </a:lnTo>
                  <a:lnTo>
                    <a:pt x="627" y="371"/>
                  </a:lnTo>
                  <a:lnTo>
                    <a:pt x="616" y="369"/>
                  </a:lnTo>
                  <a:lnTo>
                    <a:pt x="614" y="369"/>
                  </a:lnTo>
                  <a:lnTo>
                    <a:pt x="612" y="369"/>
                  </a:lnTo>
                  <a:lnTo>
                    <a:pt x="608" y="371"/>
                  </a:lnTo>
                  <a:lnTo>
                    <a:pt x="608" y="371"/>
                  </a:lnTo>
                  <a:lnTo>
                    <a:pt x="606" y="375"/>
                  </a:lnTo>
                  <a:lnTo>
                    <a:pt x="604" y="375"/>
                  </a:lnTo>
                  <a:lnTo>
                    <a:pt x="602" y="377"/>
                  </a:lnTo>
                  <a:lnTo>
                    <a:pt x="600" y="377"/>
                  </a:lnTo>
                  <a:lnTo>
                    <a:pt x="600" y="379"/>
                  </a:lnTo>
                  <a:lnTo>
                    <a:pt x="598" y="379"/>
                  </a:lnTo>
                  <a:lnTo>
                    <a:pt x="592" y="381"/>
                  </a:lnTo>
                  <a:lnTo>
                    <a:pt x="592" y="381"/>
                  </a:lnTo>
                  <a:lnTo>
                    <a:pt x="592" y="381"/>
                  </a:lnTo>
                  <a:lnTo>
                    <a:pt x="590" y="381"/>
                  </a:lnTo>
                  <a:lnTo>
                    <a:pt x="588" y="386"/>
                  </a:lnTo>
                  <a:lnTo>
                    <a:pt x="588" y="388"/>
                  </a:lnTo>
                  <a:lnTo>
                    <a:pt x="588" y="388"/>
                  </a:lnTo>
                  <a:lnTo>
                    <a:pt x="579" y="390"/>
                  </a:lnTo>
                  <a:lnTo>
                    <a:pt x="582" y="390"/>
                  </a:lnTo>
                  <a:lnTo>
                    <a:pt x="584" y="390"/>
                  </a:lnTo>
                  <a:lnTo>
                    <a:pt x="586" y="390"/>
                  </a:lnTo>
                  <a:lnTo>
                    <a:pt x="586" y="392"/>
                  </a:lnTo>
                  <a:lnTo>
                    <a:pt x="584" y="394"/>
                  </a:lnTo>
                  <a:lnTo>
                    <a:pt x="584" y="396"/>
                  </a:lnTo>
                  <a:lnTo>
                    <a:pt x="582" y="398"/>
                  </a:lnTo>
                  <a:lnTo>
                    <a:pt x="582" y="400"/>
                  </a:lnTo>
                  <a:lnTo>
                    <a:pt x="579" y="406"/>
                  </a:lnTo>
                  <a:lnTo>
                    <a:pt x="577" y="412"/>
                  </a:lnTo>
                  <a:lnTo>
                    <a:pt x="577" y="414"/>
                  </a:lnTo>
                  <a:lnTo>
                    <a:pt x="575" y="414"/>
                  </a:lnTo>
                  <a:lnTo>
                    <a:pt x="575" y="412"/>
                  </a:lnTo>
                  <a:lnTo>
                    <a:pt x="575" y="412"/>
                  </a:lnTo>
                  <a:lnTo>
                    <a:pt x="573" y="410"/>
                  </a:lnTo>
                  <a:lnTo>
                    <a:pt x="573" y="412"/>
                  </a:lnTo>
                  <a:lnTo>
                    <a:pt x="569" y="420"/>
                  </a:lnTo>
                  <a:lnTo>
                    <a:pt x="567" y="422"/>
                  </a:lnTo>
                  <a:lnTo>
                    <a:pt x="563" y="427"/>
                  </a:lnTo>
                  <a:lnTo>
                    <a:pt x="561" y="425"/>
                  </a:lnTo>
                  <a:lnTo>
                    <a:pt x="557" y="425"/>
                  </a:lnTo>
                  <a:lnTo>
                    <a:pt x="553" y="422"/>
                  </a:lnTo>
                  <a:lnTo>
                    <a:pt x="551" y="422"/>
                  </a:lnTo>
                  <a:lnTo>
                    <a:pt x="547" y="420"/>
                  </a:lnTo>
                  <a:lnTo>
                    <a:pt x="545" y="420"/>
                  </a:lnTo>
                  <a:lnTo>
                    <a:pt x="543" y="418"/>
                  </a:lnTo>
                  <a:lnTo>
                    <a:pt x="541" y="416"/>
                  </a:lnTo>
                  <a:lnTo>
                    <a:pt x="541" y="414"/>
                  </a:lnTo>
                  <a:lnTo>
                    <a:pt x="541" y="410"/>
                  </a:lnTo>
                  <a:lnTo>
                    <a:pt x="541" y="410"/>
                  </a:lnTo>
                  <a:lnTo>
                    <a:pt x="541" y="406"/>
                  </a:lnTo>
                  <a:lnTo>
                    <a:pt x="541" y="404"/>
                  </a:lnTo>
                  <a:lnTo>
                    <a:pt x="541" y="404"/>
                  </a:lnTo>
                  <a:lnTo>
                    <a:pt x="541" y="402"/>
                  </a:lnTo>
                  <a:lnTo>
                    <a:pt x="541" y="402"/>
                  </a:lnTo>
                  <a:lnTo>
                    <a:pt x="541" y="400"/>
                  </a:lnTo>
                  <a:lnTo>
                    <a:pt x="541" y="392"/>
                  </a:lnTo>
                  <a:lnTo>
                    <a:pt x="543" y="388"/>
                  </a:lnTo>
                  <a:lnTo>
                    <a:pt x="547" y="386"/>
                  </a:lnTo>
                  <a:lnTo>
                    <a:pt x="547" y="386"/>
                  </a:lnTo>
                  <a:lnTo>
                    <a:pt x="549" y="386"/>
                  </a:lnTo>
                  <a:lnTo>
                    <a:pt x="551" y="386"/>
                  </a:lnTo>
                  <a:lnTo>
                    <a:pt x="551" y="386"/>
                  </a:lnTo>
                  <a:lnTo>
                    <a:pt x="553" y="386"/>
                  </a:lnTo>
                  <a:lnTo>
                    <a:pt x="553" y="384"/>
                  </a:lnTo>
                  <a:lnTo>
                    <a:pt x="553" y="384"/>
                  </a:lnTo>
                  <a:lnTo>
                    <a:pt x="555" y="386"/>
                  </a:lnTo>
                  <a:lnTo>
                    <a:pt x="557" y="384"/>
                  </a:lnTo>
                  <a:lnTo>
                    <a:pt x="557" y="384"/>
                  </a:lnTo>
                  <a:lnTo>
                    <a:pt x="557" y="381"/>
                  </a:lnTo>
                  <a:lnTo>
                    <a:pt x="557" y="379"/>
                  </a:lnTo>
                  <a:lnTo>
                    <a:pt x="559" y="379"/>
                  </a:lnTo>
                  <a:lnTo>
                    <a:pt x="563" y="377"/>
                  </a:lnTo>
                  <a:lnTo>
                    <a:pt x="563" y="377"/>
                  </a:lnTo>
                  <a:lnTo>
                    <a:pt x="563" y="375"/>
                  </a:lnTo>
                  <a:lnTo>
                    <a:pt x="563" y="375"/>
                  </a:lnTo>
                  <a:lnTo>
                    <a:pt x="563" y="373"/>
                  </a:lnTo>
                  <a:lnTo>
                    <a:pt x="563" y="373"/>
                  </a:lnTo>
                  <a:lnTo>
                    <a:pt x="565" y="373"/>
                  </a:lnTo>
                  <a:lnTo>
                    <a:pt x="565" y="371"/>
                  </a:lnTo>
                  <a:lnTo>
                    <a:pt x="563" y="363"/>
                  </a:lnTo>
                  <a:lnTo>
                    <a:pt x="563" y="359"/>
                  </a:lnTo>
                  <a:lnTo>
                    <a:pt x="565" y="355"/>
                  </a:lnTo>
                  <a:lnTo>
                    <a:pt x="567" y="353"/>
                  </a:lnTo>
                  <a:lnTo>
                    <a:pt x="569" y="353"/>
                  </a:lnTo>
                  <a:lnTo>
                    <a:pt x="571" y="353"/>
                  </a:lnTo>
                  <a:lnTo>
                    <a:pt x="571" y="353"/>
                  </a:lnTo>
                  <a:lnTo>
                    <a:pt x="571" y="355"/>
                  </a:lnTo>
                  <a:lnTo>
                    <a:pt x="571" y="355"/>
                  </a:lnTo>
                  <a:lnTo>
                    <a:pt x="571" y="355"/>
                  </a:lnTo>
                  <a:lnTo>
                    <a:pt x="573" y="349"/>
                  </a:lnTo>
                  <a:lnTo>
                    <a:pt x="575" y="349"/>
                  </a:lnTo>
                  <a:lnTo>
                    <a:pt x="575" y="347"/>
                  </a:lnTo>
                  <a:lnTo>
                    <a:pt x="577" y="347"/>
                  </a:lnTo>
                  <a:lnTo>
                    <a:pt x="577" y="347"/>
                  </a:lnTo>
                  <a:lnTo>
                    <a:pt x="579" y="345"/>
                  </a:lnTo>
                  <a:lnTo>
                    <a:pt x="579" y="345"/>
                  </a:lnTo>
                  <a:lnTo>
                    <a:pt x="579" y="343"/>
                  </a:lnTo>
                  <a:lnTo>
                    <a:pt x="579" y="338"/>
                  </a:lnTo>
                  <a:lnTo>
                    <a:pt x="577" y="316"/>
                  </a:lnTo>
                  <a:lnTo>
                    <a:pt x="577" y="314"/>
                  </a:lnTo>
                  <a:lnTo>
                    <a:pt x="577" y="310"/>
                  </a:lnTo>
                  <a:lnTo>
                    <a:pt x="577" y="308"/>
                  </a:lnTo>
                  <a:lnTo>
                    <a:pt x="577" y="306"/>
                  </a:lnTo>
                  <a:lnTo>
                    <a:pt x="575" y="302"/>
                  </a:lnTo>
                  <a:lnTo>
                    <a:pt x="575" y="295"/>
                  </a:lnTo>
                  <a:lnTo>
                    <a:pt x="573" y="293"/>
                  </a:lnTo>
                  <a:lnTo>
                    <a:pt x="573" y="291"/>
                  </a:lnTo>
                  <a:lnTo>
                    <a:pt x="571" y="291"/>
                  </a:lnTo>
                  <a:lnTo>
                    <a:pt x="571" y="289"/>
                  </a:lnTo>
                  <a:lnTo>
                    <a:pt x="571" y="289"/>
                  </a:lnTo>
                  <a:lnTo>
                    <a:pt x="571" y="289"/>
                  </a:lnTo>
                  <a:lnTo>
                    <a:pt x="569" y="287"/>
                  </a:lnTo>
                  <a:lnTo>
                    <a:pt x="569" y="287"/>
                  </a:lnTo>
                  <a:lnTo>
                    <a:pt x="567" y="287"/>
                  </a:lnTo>
                  <a:lnTo>
                    <a:pt x="565" y="285"/>
                  </a:lnTo>
                  <a:lnTo>
                    <a:pt x="563" y="285"/>
                  </a:lnTo>
                  <a:lnTo>
                    <a:pt x="563" y="283"/>
                  </a:lnTo>
                  <a:lnTo>
                    <a:pt x="561" y="283"/>
                  </a:lnTo>
                  <a:lnTo>
                    <a:pt x="561" y="281"/>
                  </a:lnTo>
                  <a:lnTo>
                    <a:pt x="561" y="281"/>
                  </a:lnTo>
                  <a:lnTo>
                    <a:pt x="561" y="279"/>
                  </a:lnTo>
                  <a:lnTo>
                    <a:pt x="561" y="279"/>
                  </a:lnTo>
                  <a:lnTo>
                    <a:pt x="559" y="279"/>
                  </a:lnTo>
                  <a:lnTo>
                    <a:pt x="559" y="279"/>
                  </a:lnTo>
                  <a:lnTo>
                    <a:pt x="559" y="277"/>
                  </a:lnTo>
                  <a:lnTo>
                    <a:pt x="559" y="277"/>
                  </a:lnTo>
                  <a:lnTo>
                    <a:pt x="559" y="277"/>
                  </a:lnTo>
                  <a:lnTo>
                    <a:pt x="561" y="277"/>
                  </a:lnTo>
                  <a:lnTo>
                    <a:pt x="559" y="273"/>
                  </a:lnTo>
                  <a:lnTo>
                    <a:pt x="561" y="271"/>
                  </a:lnTo>
                  <a:lnTo>
                    <a:pt x="561" y="271"/>
                  </a:lnTo>
                  <a:lnTo>
                    <a:pt x="565" y="269"/>
                  </a:lnTo>
                  <a:lnTo>
                    <a:pt x="565" y="269"/>
                  </a:lnTo>
                  <a:lnTo>
                    <a:pt x="567" y="271"/>
                  </a:lnTo>
                  <a:lnTo>
                    <a:pt x="569" y="273"/>
                  </a:lnTo>
                  <a:lnTo>
                    <a:pt x="569" y="273"/>
                  </a:lnTo>
                  <a:lnTo>
                    <a:pt x="571" y="273"/>
                  </a:lnTo>
                  <a:lnTo>
                    <a:pt x="573" y="273"/>
                  </a:lnTo>
                  <a:lnTo>
                    <a:pt x="573" y="271"/>
                  </a:lnTo>
                  <a:lnTo>
                    <a:pt x="569" y="269"/>
                  </a:lnTo>
                  <a:lnTo>
                    <a:pt x="569" y="267"/>
                  </a:lnTo>
                  <a:lnTo>
                    <a:pt x="569" y="267"/>
                  </a:lnTo>
                  <a:lnTo>
                    <a:pt x="569" y="267"/>
                  </a:lnTo>
                  <a:lnTo>
                    <a:pt x="569" y="267"/>
                  </a:lnTo>
                  <a:lnTo>
                    <a:pt x="569" y="267"/>
                  </a:lnTo>
                  <a:lnTo>
                    <a:pt x="569" y="265"/>
                  </a:lnTo>
                  <a:lnTo>
                    <a:pt x="569" y="265"/>
                  </a:lnTo>
                  <a:lnTo>
                    <a:pt x="569" y="265"/>
                  </a:lnTo>
                  <a:lnTo>
                    <a:pt x="569" y="265"/>
                  </a:lnTo>
                  <a:lnTo>
                    <a:pt x="569" y="263"/>
                  </a:lnTo>
                  <a:lnTo>
                    <a:pt x="567" y="261"/>
                  </a:lnTo>
                  <a:lnTo>
                    <a:pt x="567" y="261"/>
                  </a:lnTo>
                  <a:lnTo>
                    <a:pt x="567" y="261"/>
                  </a:lnTo>
                  <a:lnTo>
                    <a:pt x="565" y="261"/>
                  </a:lnTo>
                  <a:lnTo>
                    <a:pt x="565" y="259"/>
                  </a:lnTo>
                  <a:lnTo>
                    <a:pt x="563" y="259"/>
                  </a:lnTo>
                  <a:lnTo>
                    <a:pt x="561" y="256"/>
                  </a:lnTo>
                  <a:lnTo>
                    <a:pt x="559" y="252"/>
                  </a:lnTo>
                  <a:lnTo>
                    <a:pt x="559" y="252"/>
                  </a:lnTo>
                  <a:lnTo>
                    <a:pt x="559" y="250"/>
                  </a:lnTo>
                  <a:lnTo>
                    <a:pt x="559" y="250"/>
                  </a:lnTo>
                  <a:lnTo>
                    <a:pt x="561" y="248"/>
                  </a:lnTo>
                  <a:lnTo>
                    <a:pt x="557" y="246"/>
                  </a:lnTo>
                  <a:lnTo>
                    <a:pt x="553" y="244"/>
                  </a:lnTo>
                  <a:lnTo>
                    <a:pt x="549" y="242"/>
                  </a:lnTo>
                  <a:lnTo>
                    <a:pt x="547" y="242"/>
                  </a:lnTo>
                  <a:lnTo>
                    <a:pt x="543" y="242"/>
                  </a:lnTo>
                  <a:lnTo>
                    <a:pt x="543" y="242"/>
                  </a:lnTo>
                  <a:lnTo>
                    <a:pt x="539" y="242"/>
                  </a:lnTo>
                  <a:lnTo>
                    <a:pt x="539" y="242"/>
                  </a:lnTo>
                  <a:lnTo>
                    <a:pt x="536" y="240"/>
                  </a:lnTo>
                  <a:lnTo>
                    <a:pt x="534" y="238"/>
                  </a:lnTo>
                  <a:lnTo>
                    <a:pt x="532" y="238"/>
                  </a:lnTo>
                  <a:lnTo>
                    <a:pt x="532" y="238"/>
                  </a:lnTo>
                  <a:lnTo>
                    <a:pt x="528" y="238"/>
                  </a:lnTo>
                  <a:lnTo>
                    <a:pt x="528" y="238"/>
                  </a:lnTo>
                  <a:lnTo>
                    <a:pt x="526" y="238"/>
                  </a:lnTo>
                  <a:lnTo>
                    <a:pt x="522" y="238"/>
                  </a:lnTo>
                  <a:lnTo>
                    <a:pt x="520" y="236"/>
                  </a:lnTo>
                  <a:lnTo>
                    <a:pt x="518" y="234"/>
                  </a:lnTo>
                  <a:lnTo>
                    <a:pt x="514" y="232"/>
                  </a:lnTo>
                  <a:lnTo>
                    <a:pt x="502" y="234"/>
                  </a:lnTo>
                  <a:lnTo>
                    <a:pt x="500" y="234"/>
                  </a:lnTo>
                  <a:lnTo>
                    <a:pt x="500" y="232"/>
                  </a:lnTo>
                  <a:lnTo>
                    <a:pt x="498" y="230"/>
                  </a:lnTo>
                  <a:lnTo>
                    <a:pt x="498" y="228"/>
                  </a:lnTo>
                  <a:lnTo>
                    <a:pt x="498" y="226"/>
                  </a:lnTo>
                  <a:lnTo>
                    <a:pt x="496" y="226"/>
                  </a:lnTo>
                  <a:lnTo>
                    <a:pt x="493" y="222"/>
                  </a:lnTo>
                  <a:lnTo>
                    <a:pt x="489" y="222"/>
                  </a:lnTo>
                  <a:lnTo>
                    <a:pt x="485" y="220"/>
                  </a:lnTo>
                  <a:lnTo>
                    <a:pt x="483" y="220"/>
                  </a:lnTo>
                  <a:lnTo>
                    <a:pt x="479" y="220"/>
                  </a:lnTo>
                  <a:lnTo>
                    <a:pt x="471" y="220"/>
                  </a:lnTo>
                  <a:lnTo>
                    <a:pt x="469" y="220"/>
                  </a:lnTo>
                  <a:lnTo>
                    <a:pt x="461" y="215"/>
                  </a:lnTo>
                  <a:lnTo>
                    <a:pt x="450" y="211"/>
                  </a:lnTo>
                  <a:lnTo>
                    <a:pt x="448" y="209"/>
                  </a:lnTo>
                  <a:lnTo>
                    <a:pt x="446" y="209"/>
                  </a:lnTo>
                  <a:lnTo>
                    <a:pt x="444" y="211"/>
                  </a:lnTo>
                  <a:lnTo>
                    <a:pt x="444" y="211"/>
                  </a:lnTo>
                  <a:lnTo>
                    <a:pt x="444" y="213"/>
                  </a:lnTo>
                  <a:lnTo>
                    <a:pt x="442" y="213"/>
                  </a:lnTo>
                  <a:lnTo>
                    <a:pt x="442" y="215"/>
                  </a:lnTo>
                  <a:lnTo>
                    <a:pt x="432" y="215"/>
                  </a:lnTo>
                  <a:lnTo>
                    <a:pt x="428" y="215"/>
                  </a:lnTo>
                  <a:lnTo>
                    <a:pt x="428" y="215"/>
                  </a:lnTo>
                  <a:lnTo>
                    <a:pt x="430" y="215"/>
                  </a:lnTo>
                  <a:lnTo>
                    <a:pt x="432" y="220"/>
                  </a:lnTo>
                  <a:lnTo>
                    <a:pt x="432" y="220"/>
                  </a:lnTo>
                  <a:lnTo>
                    <a:pt x="432" y="220"/>
                  </a:lnTo>
                  <a:lnTo>
                    <a:pt x="430" y="226"/>
                  </a:lnTo>
                  <a:lnTo>
                    <a:pt x="426" y="230"/>
                  </a:lnTo>
                  <a:lnTo>
                    <a:pt x="424" y="232"/>
                  </a:lnTo>
                  <a:lnTo>
                    <a:pt x="422" y="234"/>
                  </a:lnTo>
                  <a:lnTo>
                    <a:pt x="422" y="238"/>
                  </a:lnTo>
                  <a:lnTo>
                    <a:pt x="424" y="242"/>
                  </a:lnTo>
                  <a:lnTo>
                    <a:pt x="426" y="246"/>
                  </a:lnTo>
                  <a:lnTo>
                    <a:pt x="426" y="248"/>
                  </a:lnTo>
                  <a:lnTo>
                    <a:pt x="430" y="250"/>
                  </a:lnTo>
                  <a:lnTo>
                    <a:pt x="430" y="250"/>
                  </a:lnTo>
                  <a:lnTo>
                    <a:pt x="438" y="250"/>
                  </a:lnTo>
                  <a:lnTo>
                    <a:pt x="440" y="250"/>
                  </a:lnTo>
                  <a:lnTo>
                    <a:pt x="438" y="254"/>
                  </a:lnTo>
                  <a:lnTo>
                    <a:pt x="434" y="256"/>
                  </a:lnTo>
                  <a:lnTo>
                    <a:pt x="430" y="256"/>
                  </a:lnTo>
                  <a:lnTo>
                    <a:pt x="424" y="256"/>
                  </a:lnTo>
                  <a:lnTo>
                    <a:pt x="420" y="259"/>
                  </a:lnTo>
                  <a:lnTo>
                    <a:pt x="407" y="267"/>
                  </a:lnTo>
                  <a:lnTo>
                    <a:pt x="405" y="269"/>
                  </a:lnTo>
                  <a:lnTo>
                    <a:pt x="405" y="273"/>
                  </a:lnTo>
                  <a:lnTo>
                    <a:pt x="405" y="277"/>
                  </a:lnTo>
                  <a:lnTo>
                    <a:pt x="407" y="289"/>
                  </a:lnTo>
                  <a:lnTo>
                    <a:pt x="407" y="300"/>
                  </a:lnTo>
                  <a:lnTo>
                    <a:pt x="407" y="308"/>
                  </a:lnTo>
                  <a:lnTo>
                    <a:pt x="403" y="316"/>
                  </a:lnTo>
                  <a:lnTo>
                    <a:pt x="399" y="324"/>
                  </a:lnTo>
                  <a:lnTo>
                    <a:pt x="399" y="326"/>
                  </a:lnTo>
                  <a:lnTo>
                    <a:pt x="399" y="326"/>
                  </a:lnTo>
                  <a:lnTo>
                    <a:pt x="397" y="326"/>
                  </a:lnTo>
                  <a:lnTo>
                    <a:pt x="397" y="324"/>
                  </a:lnTo>
                  <a:lnTo>
                    <a:pt x="397" y="324"/>
                  </a:lnTo>
                  <a:lnTo>
                    <a:pt x="397" y="322"/>
                  </a:lnTo>
                  <a:lnTo>
                    <a:pt x="397" y="320"/>
                  </a:lnTo>
                  <a:lnTo>
                    <a:pt x="397" y="318"/>
                  </a:lnTo>
                  <a:lnTo>
                    <a:pt x="397" y="318"/>
                  </a:lnTo>
                  <a:lnTo>
                    <a:pt x="399" y="316"/>
                  </a:lnTo>
                  <a:lnTo>
                    <a:pt x="401" y="314"/>
                  </a:lnTo>
                  <a:lnTo>
                    <a:pt x="401" y="312"/>
                  </a:lnTo>
                  <a:lnTo>
                    <a:pt x="401" y="310"/>
                  </a:lnTo>
                  <a:lnTo>
                    <a:pt x="401" y="306"/>
                  </a:lnTo>
                  <a:lnTo>
                    <a:pt x="401" y="306"/>
                  </a:lnTo>
                  <a:lnTo>
                    <a:pt x="401" y="304"/>
                  </a:lnTo>
                  <a:lnTo>
                    <a:pt x="401" y="304"/>
                  </a:lnTo>
                  <a:lnTo>
                    <a:pt x="401" y="302"/>
                  </a:lnTo>
                  <a:lnTo>
                    <a:pt x="399" y="302"/>
                  </a:lnTo>
                  <a:lnTo>
                    <a:pt x="399" y="302"/>
                  </a:lnTo>
                  <a:lnTo>
                    <a:pt x="397" y="302"/>
                  </a:lnTo>
                  <a:lnTo>
                    <a:pt x="397" y="302"/>
                  </a:lnTo>
                  <a:lnTo>
                    <a:pt x="397" y="304"/>
                  </a:lnTo>
                  <a:lnTo>
                    <a:pt x="397" y="308"/>
                  </a:lnTo>
                  <a:lnTo>
                    <a:pt x="397" y="308"/>
                  </a:lnTo>
                  <a:lnTo>
                    <a:pt x="397" y="310"/>
                  </a:lnTo>
                  <a:lnTo>
                    <a:pt x="395" y="312"/>
                  </a:lnTo>
                  <a:lnTo>
                    <a:pt x="395" y="312"/>
                  </a:lnTo>
                  <a:lnTo>
                    <a:pt x="397" y="312"/>
                  </a:lnTo>
                  <a:lnTo>
                    <a:pt x="397" y="312"/>
                  </a:lnTo>
                  <a:lnTo>
                    <a:pt x="395" y="314"/>
                  </a:lnTo>
                  <a:lnTo>
                    <a:pt x="395" y="316"/>
                  </a:lnTo>
                  <a:lnTo>
                    <a:pt x="395" y="318"/>
                  </a:lnTo>
                  <a:lnTo>
                    <a:pt x="395" y="320"/>
                  </a:lnTo>
                  <a:lnTo>
                    <a:pt x="395" y="322"/>
                  </a:lnTo>
                  <a:lnTo>
                    <a:pt x="395" y="324"/>
                  </a:lnTo>
                  <a:lnTo>
                    <a:pt x="393" y="324"/>
                  </a:lnTo>
                  <a:lnTo>
                    <a:pt x="393" y="324"/>
                  </a:lnTo>
                  <a:lnTo>
                    <a:pt x="391" y="322"/>
                  </a:lnTo>
                  <a:lnTo>
                    <a:pt x="389" y="320"/>
                  </a:lnTo>
                  <a:lnTo>
                    <a:pt x="389" y="318"/>
                  </a:lnTo>
                  <a:lnTo>
                    <a:pt x="389" y="314"/>
                  </a:lnTo>
                  <a:lnTo>
                    <a:pt x="391" y="308"/>
                  </a:lnTo>
                  <a:lnTo>
                    <a:pt x="391" y="306"/>
                  </a:lnTo>
                  <a:lnTo>
                    <a:pt x="391" y="304"/>
                  </a:lnTo>
                  <a:lnTo>
                    <a:pt x="391" y="304"/>
                  </a:lnTo>
                  <a:lnTo>
                    <a:pt x="391" y="304"/>
                  </a:lnTo>
                  <a:lnTo>
                    <a:pt x="389" y="304"/>
                  </a:lnTo>
                  <a:lnTo>
                    <a:pt x="389" y="302"/>
                  </a:lnTo>
                  <a:lnTo>
                    <a:pt x="389" y="300"/>
                  </a:lnTo>
                  <a:lnTo>
                    <a:pt x="391" y="297"/>
                  </a:lnTo>
                  <a:lnTo>
                    <a:pt x="393" y="295"/>
                  </a:lnTo>
                  <a:lnTo>
                    <a:pt x="393" y="295"/>
                  </a:lnTo>
                  <a:lnTo>
                    <a:pt x="391" y="293"/>
                  </a:lnTo>
                  <a:lnTo>
                    <a:pt x="389" y="289"/>
                  </a:lnTo>
                  <a:lnTo>
                    <a:pt x="389" y="287"/>
                  </a:lnTo>
                  <a:lnTo>
                    <a:pt x="391" y="285"/>
                  </a:lnTo>
                  <a:lnTo>
                    <a:pt x="391" y="285"/>
                  </a:lnTo>
                  <a:lnTo>
                    <a:pt x="393" y="285"/>
                  </a:lnTo>
                  <a:lnTo>
                    <a:pt x="393" y="283"/>
                  </a:lnTo>
                  <a:lnTo>
                    <a:pt x="393" y="281"/>
                  </a:lnTo>
                  <a:lnTo>
                    <a:pt x="393" y="279"/>
                  </a:lnTo>
                  <a:lnTo>
                    <a:pt x="391" y="279"/>
                  </a:lnTo>
                  <a:lnTo>
                    <a:pt x="389" y="281"/>
                  </a:lnTo>
                  <a:lnTo>
                    <a:pt x="389" y="281"/>
                  </a:lnTo>
                  <a:lnTo>
                    <a:pt x="387" y="281"/>
                  </a:lnTo>
                  <a:lnTo>
                    <a:pt x="387" y="283"/>
                  </a:lnTo>
                  <a:lnTo>
                    <a:pt x="387" y="283"/>
                  </a:lnTo>
                  <a:lnTo>
                    <a:pt x="383" y="291"/>
                  </a:lnTo>
                  <a:lnTo>
                    <a:pt x="383" y="293"/>
                  </a:lnTo>
                  <a:lnTo>
                    <a:pt x="379" y="295"/>
                  </a:lnTo>
                  <a:lnTo>
                    <a:pt x="379" y="297"/>
                  </a:lnTo>
                  <a:lnTo>
                    <a:pt x="379" y="300"/>
                  </a:lnTo>
                  <a:lnTo>
                    <a:pt x="375" y="308"/>
                  </a:lnTo>
                  <a:lnTo>
                    <a:pt x="375" y="310"/>
                  </a:lnTo>
                  <a:lnTo>
                    <a:pt x="373" y="310"/>
                  </a:lnTo>
                  <a:lnTo>
                    <a:pt x="373" y="310"/>
                  </a:lnTo>
                  <a:lnTo>
                    <a:pt x="369" y="308"/>
                  </a:lnTo>
                  <a:lnTo>
                    <a:pt x="369" y="308"/>
                  </a:lnTo>
                  <a:lnTo>
                    <a:pt x="366" y="308"/>
                  </a:lnTo>
                  <a:lnTo>
                    <a:pt x="366" y="308"/>
                  </a:lnTo>
                  <a:lnTo>
                    <a:pt x="366" y="308"/>
                  </a:lnTo>
                  <a:lnTo>
                    <a:pt x="364" y="308"/>
                  </a:lnTo>
                  <a:lnTo>
                    <a:pt x="364" y="308"/>
                  </a:lnTo>
                  <a:lnTo>
                    <a:pt x="364" y="308"/>
                  </a:lnTo>
                  <a:lnTo>
                    <a:pt x="364" y="310"/>
                  </a:lnTo>
                  <a:lnTo>
                    <a:pt x="362" y="314"/>
                  </a:lnTo>
                  <a:lnTo>
                    <a:pt x="362" y="316"/>
                  </a:lnTo>
                  <a:lnTo>
                    <a:pt x="360" y="316"/>
                  </a:lnTo>
                  <a:lnTo>
                    <a:pt x="360" y="314"/>
                  </a:lnTo>
                  <a:lnTo>
                    <a:pt x="360" y="314"/>
                  </a:lnTo>
                  <a:lnTo>
                    <a:pt x="358" y="314"/>
                  </a:lnTo>
                  <a:lnTo>
                    <a:pt x="356" y="314"/>
                  </a:lnTo>
                  <a:lnTo>
                    <a:pt x="356" y="316"/>
                  </a:lnTo>
                  <a:lnTo>
                    <a:pt x="356" y="316"/>
                  </a:lnTo>
                  <a:lnTo>
                    <a:pt x="356" y="320"/>
                  </a:lnTo>
                  <a:lnTo>
                    <a:pt x="356" y="330"/>
                  </a:lnTo>
                  <a:lnTo>
                    <a:pt x="356" y="330"/>
                  </a:lnTo>
                  <a:lnTo>
                    <a:pt x="356" y="332"/>
                  </a:lnTo>
                  <a:lnTo>
                    <a:pt x="356" y="334"/>
                  </a:lnTo>
                  <a:lnTo>
                    <a:pt x="354" y="334"/>
                  </a:lnTo>
                  <a:lnTo>
                    <a:pt x="354" y="334"/>
                  </a:lnTo>
                  <a:lnTo>
                    <a:pt x="352" y="334"/>
                  </a:lnTo>
                  <a:lnTo>
                    <a:pt x="352" y="334"/>
                  </a:lnTo>
                  <a:lnTo>
                    <a:pt x="350" y="334"/>
                  </a:lnTo>
                  <a:lnTo>
                    <a:pt x="350" y="334"/>
                  </a:lnTo>
                  <a:lnTo>
                    <a:pt x="348" y="334"/>
                  </a:lnTo>
                  <a:lnTo>
                    <a:pt x="346" y="336"/>
                  </a:lnTo>
                  <a:lnTo>
                    <a:pt x="344" y="338"/>
                  </a:lnTo>
                  <a:lnTo>
                    <a:pt x="344" y="340"/>
                  </a:lnTo>
                  <a:lnTo>
                    <a:pt x="344" y="345"/>
                  </a:lnTo>
                  <a:lnTo>
                    <a:pt x="346" y="347"/>
                  </a:lnTo>
                  <a:lnTo>
                    <a:pt x="348" y="349"/>
                  </a:lnTo>
                  <a:lnTo>
                    <a:pt x="348" y="351"/>
                  </a:lnTo>
                  <a:lnTo>
                    <a:pt x="346" y="359"/>
                  </a:lnTo>
                  <a:lnTo>
                    <a:pt x="346" y="359"/>
                  </a:lnTo>
                  <a:lnTo>
                    <a:pt x="346" y="361"/>
                  </a:lnTo>
                  <a:lnTo>
                    <a:pt x="346" y="365"/>
                  </a:lnTo>
                  <a:lnTo>
                    <a:pt x="346" y="365"/>
                  </a:lnTo>
                  <a:lnTo>
                    <a:pt x="348" y="369"/>
                  </a:lnTo>
                  <a:lnTo>
                    <a:pt x="348" y="373"/>
                  </a:lnTo>
                  <a:lnTo>
                    <a:pt x="346" y="377"/>
                  </a:lnTo>
                  <a:lnTo>
                    <a:pt x="344" y="386"/>
                  </a:lnTo>
                  <a:lnTo>
                    <a:pt x="340" y="394"/>
                  </a:lnTo>
                  <a:lnTo>
                    <a:pt x="340" y="398"/>
                  </a:lnTo>
                  <a:lnTo>
                    <a:pt x="334" y="404"/>
                  </a:lnTo>
                  <a:lnTo>
                    <a:pt x="332" y="406"/>
                  </a:lnTo>
                  <a:lnTo>
                    <a:pt x="332" y="410"/>
                  </a:lnTo>
                  <a:lnTo>
                    <a:pt x="334" y="412"/>
                  </a:lnTo>
                  <a:lnTo>
                    <a:pt x="336" y="414"/>
                  </a:lnTo>
                  <a:lnTo>
                    <a:pt x="336" y="416"/>
                  </a:lnTo>
                  <a:lnTo>
                    <a:pt x="338" y="418"/>
                  </a:lnTo>
                  <a:lnTo>
                    <a:pt x="338" y="418"/>
                  </a:lnTo>
                  <a:lnTo>
                    <a:pt x="338" y="422"/>
                  </a:lnTo>
                  <a:lnTo>
                    <a:pt x="338" y="422"/>
                  </a:lnTo>
                  <a:lnTo>
                    <a:pt x="340" y="425"/>
                  </a:lnTo>
                  <a:lnTo>
                    <a:pt x="342" y="433"/>
                  </a:lnTo>
                  <a:lnTo>
                    <a:pt x="342" y="437"/>
                  </a:lnTo>
                  <a:lnTo>
                    <a:pt x="340" y="441"/>
                  </a:lnTo>
                  <a:lnTo>
                    <a:pt x="336" y="447"/>
                  </a:lnTo>
                  <a:lnTo>
                    <a:pt x="336" y="451"/>
                  </a:lnTo>
                  <a:lnTo>
                    <a:pt x="336" y="455"/>
                  </a:lnTo>
                  <a:lnTo>
                    <a:pt x="336" y="457"/>
                  </a:lnTo>
                  <a:lnTo>
                    <a:pt x="338" y="459"/>
                  </a:lnTo>
                  <a:lnTo>
                    <a:pt x="340" y="463"/>
                  </a:lnTo>
                  <a:lnTo>
                    <a:pt x="354" y="492"/>
                  </a:lnTo>
                  <a:lnTo>
                    <a:pt x="356" y="492"/>
                  </a:lnTo>
                  <a:lnTo>
                    <a:pt x="358" y="492"/>
                  </a:lnTo>
                  <a:lnTo>
                    <a:pt x="362" y="488"/>
                  </a:lnTo>
                  <a:lnTo>
                    <a:pt x="362" y="490"/>
                  </a:lnTo>
                  <a:lnTo>
                    <a:pt x="362" y="492"/>
                  </a:lnTo>
                  <a:lnTo>
                    <a:pt x="360" y="494"/>
                  </a:lnTo>
                  <a:lnTo>
                    <a:pt x="358" y="494"/>
                  </a:lnTo>
                  <a:lnTo>
                    <a:pt x="358" y="494"/>
                  </a:lnTo>
                  <a:lnTo>
                    <a:pt x="358" y="496"/>
                  </a:lnTo>
                  <a:lnTo>
                    <a:pt x="364" y="506"/>
                  </a:lnTo>
                  <a:lnTo>
                    <a:pt x="364" y="511"/>
                  </a:lnTo>
                  <a:lnTo>
                    <a:pt x="366" y="513"/>
                  </a:lnTo>
                  <a:lnTo>
                    <a:pt x="369" y="515"/>
                  </a:lnTo>
                  <a:lnTo>
                    <a:pt x="369" y="517"/>
                  </a:lnTo>
                  <a:lnTo>
                    <a:pt x="369" y="517"/>
                  </a:lnTo>
                  <a:lnTo>
                    <a:pt x="369" y="517"/>
                  </a:lnTo>
                  <a:lnTo>
                    <a:pt x="369" y="517"/>
                  </a:lnTo>
                  <a:lnTo>
                    <a:pt x="369" y="517"/>
                  </a:lnTo>
                  <a:lnTo>
                    <a:pt x="369" y="517"/>
                  </a:lnTo>
                  <a:lnTo>
                    <a:pt x="369" y="517"/>
                  </a:lnTo>
                  <a:lnTo>
                    <a:pt x="369" y="517"/>
                  </a:lnTo>
                  <a:lnTo>
                    <a:pt x="369" y="519"/>
                  </a:lnTo>
                  <a:lnTo>
                    <a:pt x="371" y="521"/>
                  </a:lnTo>
                  <a:lnTo>
                    <a:pt x="373" y="547"/>
                  </a:lnTo>
                  <a:lnTo>
                    <a:pt x="373" y="572"/>
                  </a:lnTo>
                  <a:lnTo>
                    <a:pt x="371" y="580"/>
                  </a:lnTo>
                  <a:lnTo>
                    <a:pt x="366" y="597"/>
                  </a:lnTo>
                  <a:lnTo>
                    <a:pt x="358" y="611"/>
                  </a:lnTo>
                  <a:lnTo>
                    <a:pt x="352" y="631"/>
                  </a:lnTo>
                  <a:lnTo>
                    <a:pt x="348" y="640"/>
                  </a:lnTo>
                  <a:lnTo>
                    <a:pt x="344" y="646"/>
                  </a:lnTo>
                  <a:lnTo>
                    <a:pt x="340" y="648"/>
                  </a:lnTo>
                  <a:lnTo>
                    <a:pt x="338" y="650"/>
                  </a:lnTo>
                  <a:lnTo>
                    <a:pt x="338" y="652"/>
                  </a:lnTo>
                  <a:lnTo>
                    <a:pt x="336" y="654"/>
                  </a:lnTo>
                  <a:lnTo>
                    <a:pt x="338" y="654"/>
                  </a:lnTo>
                  <a:lnTo>
                    <a:pt x="344" y="652"/>
                  </a:lnTo>
                  <a:lnTo>
                    <a:pt x="350" y="652"/>
                  </a:lnTo>
                  <a:lnTo>
                    <a:pt x="356" y="650"/>
                  </a:lnTo>
                  <a:lnTo>
                    <a:pt x="362" y="650"/>
                  </a:lnTo>
                  <a:lnTo>
                    <a:pt x="369" y="650"/>
                  </a:lnTo>
                  <a:lnTo>
                    <a:pt x="381" y="648"/>
                  </a:lnTo>
                  <a:lnTo>
                    <a:pt x="387" y="648"/>
                  </a:lnTo>
                  <a:lnTo>
                    <a:pt x="395" y="646"/>
                  </a:lnTo>
                  <a:lnTo>
                    <a:pt x="401" y="646"/>
                  </a:lnTo>
                  <a:lnTo>
                    <a:pt x="407" y="644"/>
                  </a:lnTo>
                  <a:lnTo>
                    <a:pt x="420" y="644"/>
                  </a:lnTo>
                  <a:lnTo>
                    <a:pt x="426" y="642"/>
                  </a:lnTo>
                  <a:lnTo>
                    <a:pt x="432" y="642"/>
                  </a:lnTo>
                  <a:lnTo>
                    <a:pt x="438" y="640"/>
                  </a:lnTo>
                  <a:lnTo>
                    <a:pt x="444" y="640"/>
                  </a:lnTo>
                  <a:lnTo>
                    <a:pt x="450" y="640"/>
                  </a:lnTo>
                  <a:lnTo>
                    <a:pt x="457" y="638"/>
                  </a:lnTo>
                  <a:lnTo>
                    <a:pt x="463" y="638"/>
                  </a:lnTo>
                  <a:lnTo>
                    <a:pt x="471" y="636"/>
                  </a:lnTo>
                  <a:lnTo>
                    <a:pt x="477" y="636"/>
                  </a:lnTo>
                  <a:lnTo>
                    <a:pt x="483" y="636"/>
                  </a:lnTo>
                  <a:lnTo>
                    <a:pt x="489" y="634"/>
                  </a:lnTo>
                  <a:lnTo>
                    <a:pt x="496" y="634"/>
                  </a:lnTo>
                  <a:lnTo>
                    <a:pt x="502" y="631"/>
                  </a:lnTo>
                  <a:lnTo>
                    <a:pt x="502" y="638"/>
                  </a:lnTo>
                  <a:lnTo>
                    <a:pt x="510" y="638"/>
                  </a:lnTo>
                  <a:lnTo>
                    <a:pt x="516" y="636"/>
                  </a:lnTo>
                  <a:lnTo>
                    <a:pt x="522" y="636"/>
                  </a:lnTo>
                  <a:lnTo>
                    <a:pt x="530" y="634"/>
                  </a:lnTo>
                  <a:lnTo>
                    <a:pt x="536" y="631"/>
                  </a:lnTo>
                  <a:lnTo>
                    <a:pt x="543" y="631"/>
                  </a:lnTo>
                  <a:lnTo>
                    <a:pt x="549" y="629"/>
                  </a:lnTo>
                  <a:lnTo>
                    <a:pt x="557" y="629"/>
                  </a:lnTo>
                  <a:lnTo>
                    <a:pt x="563" y="627"/>
                  </a:lnTo>
                  <a:lnTo>
                    <a:pt x="569" y="625"/>
                  </a:lnTo>
                  <a:lnTo>
                    <a:pt x="577" y="625"/>
                  </a:lnTo>
                  <a:lnTo>
                    <a:pt x="584" y="623"/>
                  </a:lnTo>
                  <a:lnTo>
                    <a:pt x="590" y="623"/>
                  </a:lnTo>
                  <a:lnTo>
                    <a:pt x="596" y="621"/>
                  </a:lnTo>
                  <a:lnTo>
                    <a:pt x="604" y="619"/>
                  </a:lnTo>
                  <a:lnTo>
                    <a:pt x="610" y="619"/>
                  </a:lnTo>
                  <a:lnTo>
                    <a:pt x="610" y="617"/>
                  </a:lnTo>
                  <a:lnTo>
                    <a:pt x="610" y="617"/>
                  </a:lnTo>
                  <a:lnTo>
                    <a:pt x="610" y="615"/>
                  </a:lnTo>
                  <a:lnTo>
                    <a:pt x="612" y="615"/>
                  </a:lnTo>
                  <a:lnTo>
                    <a:pt x="612" y="615"/>
                  </a:lnTo>
                  <a:lnTo>
                    <a:pt x="612" y="615"/>
                  </a:lnTo>
                  <a:lnTo>
                    <a:pt x="612" y="613"/>
                  </a:lnTo>
                  <a:lnTo>
                    <a:pt x="612" y="611"/>
                  </a:lnTo>
                  <a:lnTo>
                    <a:pt x="612" y="609"/>
                  </a:lnTo>
                  <a:lnTo>
                    <a:pt x="616" y="603"/>
                  </a:lnTo>
                  <a:lnTo>
                    <a:pt x="616" y="601"/>
                  </a:lnTo>
                  <a:lnTo>
                    <a:pt x="618" y="601"/>
                  </a:lnTo>
                  <a:lnTo>
                    <a:pt x="618" y="599"/>
                  </a:lnTo>
                  <a:lnTo>
                    <a:pt x="620" y="597"/>
                  </a:lnTo>
                  <a:lnTo>
                    <a:pt x="620" y="595"/>
                  </a:lnTo>
                  <a:lnTo>
                    <a:pt x="625" y="595"/>
                  </a:lnTo>
                  <a:lnTo>
                    <a:pt x="625" y="595"/>
                  </a:lnTo>
                  <a:lnTo>
                    <a:pt x="625" y="593"/>
                  </a:lnTo>
                  <a:lnTo>
                    <a:pt x="622" y="591"/>
                  </a:lnTo>
                  <a:lnTo>
                    <a:pt x="622" y="591"/>
                  </a:lnTo>
                  <a:lnTo>
                    <a:pt x="625" y="591"/>
                  </a:lnTo>
                  <a:lnTo>
                    <a:pt x="627" y="588"/>
                  </a:lnTo>
                  <a:lnTo>
                    <a:pt x="627" y="584"/>
                  </a:lnTo>
                  <a:lnTo>
                    <a:pt x="627" y="584"/>
                  </a:lnTo>
                  <a:lnTo>
                    <a:pt x="629" y="584"/>
                  </a:lnTo>
                  <a:lnTo>
                    <a:pt x="629" y="586"/>
                  </a:lnTo>
                  <a:lnTo>
                    <a:pt x="629" y="584"/>
                  </a:lnTo>
                  <a:lnTo>
                    <a:pt x="629" y="584"/>
                  </a:lnTo>
                  <a:lnTo>
                    <a:pt x="629" y="582"/>
                  </a:lnTo>
                  <a:lnTo>
                    <a:pt x="627" y="582"/>
                  </a:lnTo>
                  <a:lnTo>
                    <a:pt x="627" y="582"/>
                  </a:lnTo>
                  <a:lnTo>
                    <a:pt x="627" y="580"/>
                  </a:lnTo>
                  <a:lnTo>
                    <a:pt x="627" y="580"/>
                  </a:lnTo>
                  <a:lnTo>
                    <a:pt x="627" y="578"/>
                  </a:lnTo>
                  <a:lnTo>
                    <a:pt x="627" y="578"/>
                  </a:lnTo>
                  <a:lnTo>
                    <a:pt x="627" y="576"/>
                  </a:lnTo>
                  <a:lnTo>
                    <a:pt x="627" y="576"/>
                  </a:lnTo>
                  <a:lnTo>
                    <a:pt x="627" y="574"/>
                  </a:lnTo>
                  <a:lnTo>
                    <a:pt x="629" y="562"/>
                  </a:lnTo>
                  <a:lnTo>
                    <a:pt x="629" y="560"/>
                  </a:lnTo>
                  <a:lnTo>
                    <a:pt x="633" y="554"/>
                  </a:lnTo>
                  <a:lnTo>
                    <a:pt x="633" y="552"/>
                  </a:lnTo>
                  <a:lnTo>
                    <a:pt x="635" y="550"/>
                  </a:lnTo>
                  <a:lnTo>
                    <a:pt x="639" y="547"/>
                  </a:lnTo>
                  <a:lnTo>
                    <a:pt x="641" y="547"/>
                  </a:lnTo>
                  <a:lnTo>
                    <a:pt x="643" y="545"/>
                  </a:lnTo>
                  <a:lnTo>
                    <a:pt x="643" y="545"/>
                  </a:lnTo>
                  <a:lnTo>
                    <a:pt x="645" y="543"/>
                  </a:lnTo>
                  <a:lnTo>
                    <a:pt x="645" y="541"/>
                  </a:lnTo>
                  <a:lnTo>
                    <a:pt x="647" y="539"/>
                  </a:lnTo>
                  <a:lnTo>
                    <a:pt x="647" y="539"/>
                  </a:lnTo>
                  <a:lnTo>
                    <a:pt x="647" y="537"/>
                  </a:lnTo>
                  <a:lnTo>
                    <a:pt x="647" y="535"/>
                  </a:lnTo>
                  <a:lnTo>
                    <a:pt x="647" y="535"/>
                  </a:lnTo>
                  <a:lnTo>
                    <a:pt x="645" y="533"/>
                  </a:lnTo>
                  <a:lnTo>
                    <a:pt x="645" y="531"/>
                  </a:lnTo>
                  <a:lnTo>
                    <a:pt x="645" y="529"/>
                  </a:lnTo>
                  <a:lnTo>
                    <a:pt x="645" y="527"/>
                  </a:lnTo>
                  <a:lnTo>
                    <a:pt x="645" y="525"/>
                  </a:lnTo>
                  <a:lnTo>
                    <a:pt x="647" y="525"/>
                  </a:lnTo>
                  <a:lnTo>
                    <a:pt x="649" y="523"/>
                  </a:lnTo>
                  <a:lnTo>
                    <a:pt x="651" y="523"/>
                  </a:lnTo>
                  <a:lnTo>
                    <a:pt x="651" y="521"/>
                  </a:lnTo>
                  <a:lnTo>
                    <a:pt x="651" y="521"/>
                  </a:lnTo>
                  <a:lnTo>
                    <a:pt x="651" y="519"/>
                  </a:lnTo>
                  <a:lnTo>
                    <a:pt x="649" y="519"/>
                  </a:lnTo>
                  <a:lnTo>
                    <a:pt x="649" y="517"/>
                  </a:lnTo>
                  <a:lnTo>
                    <a:pt x="647" y="515"/>
                  </a:lnTo>
                  <a:lnTo>
                    <a:pt x="649" y="513"/>
                  </a:lnTo>
                  <a:lnTo>
                    <a:pt x="651" y="513"/>
                  </a:lnTo>
                  <a:lnTo>
                    <a:pt x="653" y="511"/>
                  </a:lnTo>
                  <a:lnTo>
                    <a:pt x="653" y="511"/>
                  </a:lnTo>
                  <a:lnTo>
                    <a:pt x="655" y="509"/>
                  </a:lnTo>
                  <a:lnTo>
                    <a:pt x="657" y="509"/>
                  </a:lnTo>
                  <a:lnTo>
                    <a:pt x="661" y="511"/>
                  </a:lnTo>
                  <a:lnTo>
                    <a:pt x="661" y="509"/>
                  </a:lnTo>
                  <a:lnTo>
                    <a:pt x="661" y="511"/>
                  </a:lnTo>
                  <a:lnTo>
                    <a:pt x="661" y="513"/>
                  </a:lnTo>
                  <a:lnTo>
                    <a:pt x="661" y="515"/>
                  </a:lnTo>
                  <a:lnTo>
                    <a:pt x="661" y="515"/>
                  </a:lnTo>
                  <a:lnTo>
                    <a:pt x="663" y="515"/>
                  </a:lnTo>
                  <a:lnTo>
                    <a:pt x="663" y="517"/>
                  </a:lnTo>
                  <a:lnTo>
                    <a:pt x="663" y="519"/>
                  </a:lnTo>
                  <a:lnTo>
                    <a:pt x="666" y="519"/>
                  </a:lnTo>
                  <a:lnTo>
                    <a:pt x="666" y="519"/>
                  </a:lnTo>
                  <a:lnTo>
                    <a:pt x="663" y="521"/>
                  </a:lnTo>
                  <a:lnTo>
                    <a:pt x="663" y="523"/>
                  </a:lnTo>
                  <a:lnTo>
                    <a:pt x="663" y="523"/>
                  </a:lnTo>
                  <a:lnTo>
                    <a:pt x="666" y="521"/>
                  </a:lnTo>
                  <a:lnTo>
                    <a:pt x="668" y="521"/>
                  </a:lnTo>
                  <a:lnTo>
                    <a:pt x="670" y="519"/>
                  </a:lnTo>
                  <a:lnTo>
                    <a:pt x="672" y="515"/>
                  </a:lnTo>
                  <a:lnTo>
                    <a:pt x="672" y="511"/>
                  </a:lnTo>
                  <a:lnTo>
                    <a:pt x="674" y="504"/>
                  </a:lnTo>
                  <a:lnTo>
                    <a:pt x="674" y="498"/>
                  </a:lnTo>
                  <a:lnTo>
                    <a:pt x="674" y="496"/>
                  </a:lnTo>
                  <a:lnTo>
                    <a:pt x="674" y="496"/>
                  </a:lnTo>
                  <a:lnTo>
                    <a:pt x="674" y="494"/>
                  </a:lnTo>
                  <a:lnTo>
                    <a:pt x="672" y="494"/>
                  </a:lnTo>
                  <a:lnTo>
                    <a:pt x="672" y="492"/>
                  </a:lnTo>
                  <a:lnTo>
                    <a:pt x="672" y="488"/>
                  </a:lnTo>
                  <a:lnTo>
                    <a:pt x="672" y="486"/>
                  </a:lnTo>
                  <a:lnTo>
                    <a:pt x="672" y="482"/>
                  </a:lnTo>
                  <a:lnTo>
                    <a:pt x="674" y="478"/>
                  </a:lnTo>
                  <a:close/>
                  <a:moveTo>
                    <a:pt x="393" y="218"/>
                  </a:moveTo>
                  <a:lnTo>
                    <a:pt x="393" y="218"/>
                  </a:lnTo>
                  <a:lnTo>
                    <a:pt x="393" y="218"/>
                  </a:lnTo>
                  <a:lnTo>
                    <a:pt x="393" y="215"/>
                  </a:lnTo>
                  <a:lnTo>
                    <a:pt x="393" y="215"/>
                  </a:lnTo>
                  <a:lnTo>
                    <a:pt x="391" y="215"/>
                  </a:lnTo>
                  <a:lnTo>
                    <a:pt x="391" y="215"/>
                  </a:lnTo>
                  <a:lnTo>
                    <a:pt x="389" y="215"/>
                  </a:lnTo>
                  <a:lnTo>
                    <a:pt x="389" y="215"/>
                  </a:lnTo>
                  <a:lnTo>
                    <a:pt x="387" y="215"/>
                  </a:lnTo>
                  <a:lnTo>
                    <a:pt x="387" y="215"/>
                  </a:lnTo>
                  <a:lnTo>
                    <a:pt x="387" y="215"/>
                  </a:lnTo>
                  <a:lnTo>
                    <a:pt x="387" y="213"/>
                  </a:lnTo>
                  <a:lnTo>
                    <a:pt x="387" y="215"/>
                  </a:lnTo>
                  <a:lnTo>
                    <a:pt x="389" y="218"/>
                  </a:lnTo>
                  <a:lnTo>
                    <a:pt x="389" y="218"/>
                  </a:lnTo>
                  <a:lnTo>
                    <a:pt x="391" y="220"/>
                  </a:lnTo>
                  <a:lnTo>
                    <a:pt x="391" y="218"/>
                  </a:lnTo>
                  <a:lnTo>
                    <a:pt x="393" y="218"/>
                  </a:lnTo>
                  <a:close/>
                  <a:moveTo>
                    <a:pt x="463" y="205"/>
                  </a:moveTo>
                  <a:lnTo>
                    <a:pt x="461" y="205"/>
                  </a:lnTo>
                  <a:lnTo>
                    <a:pt x="461" y="207"/>
                  </a:lnTo>
                  <a:lnTo>
                    <a:pt x="461" y="207"/>
                  </a:lnTo>
                  <a:lnTo>
                    <a:pt x="465" y="211"/>
                  </a:lnTo>
                  <a:lnTo>
                    <a:pt x="469" y="213"/>
                  </a:lnTo>
                  <a:lnTo>
                    <a:pt x="469" y="213"/>
                  </a:lnTo>
                  <a:lnTo>
                    <a:pt x="471" y="213"/>
                  </a:lnTo>
                  <a:lnTo>
                    <a:pt x="473" y="213"/>
                  </a:lnTo>
                  <a:lnTo>
                    <a:pt x="473" y="213"/>
                  </a:lnTo>
                  <a:lnTo>
                    <a:pt x="475" y="213"/>
                  </a:lnTo>
                  <a:lnTo>
                    <a:pt x="475" y="211"/>
                  </a:lnTo>
                  <a:lnTo>
                    <a:pt x="477" y="209"/>
                  </a:lnTo>
                  <a:lnTo>
                    <a:pt x="477" y="207"/>
                  </a:lnTo>
                  <a:lnTo>
                    <a:pt x="475" y="207"/>
                  </a:lnTo>
                  <a:lnTo>
                    <a:pt x="473" y="207"/>
                  </a:lnTo>
                  <a:lnTo>
                    <a:pt x="473" y="205"/>
                  </a:lnTo>
                  <a:lnTo>
                    <a:pt x="473" y="203"/>
                  </a:lnTo>
                  <a:lnTo>
                    <a:pt x="471" y="205"/>
                  </a:lnTo>
                  <a:lnTo>
                    <a:pt x="471" y="205"/>
                  </a:lnTo>
                  <a:lnTo>
                    <a:pt x="471" y="207"/>
                  </a:lnTo>
                  <a:lnTo>
                    <a:pt x="471" y="207"/>
                  </a:lnTo>
                  <a:lnTo>
                    <a:pt x="469" y="205"/>
                  </a:lnTo>
                  <a:lnTo>
                    <a:pt x="463" y="205"/>
                  </a:lnTo>
                  <a:close/>
                  <a:moveTo>
                    <a:pt x="385" y="226"/>
                  </a:moveTo>
                  <a:lnTo>
                    <a:pt x="385" y="226"/>
                  </a:lnTo>
                  <a:lnTo>
                    <a:pt x="383" y="228"/>
                  </a:lnTo>
                  <a:lnTo>
                    <a:pt x="383" y="230"/>
                  </a:lnTo>
                  <a:lnTo>
                    <a:pt x="383" y="230"/>
                  </a:lnTo>
                  <a:lnTo>
                    <a:pt x="383" y="234"/>
                  </a:lnTo>
                  <a:lnTo>
                    <a:pt x="381" y="236"/>
                  </a:lnTo>
                  <a:lnTo>
                    <a:pt x="381" y="238"/>
                  </a:lnTo>
                  <a:lnTo>
                    <a:pt x="383" y="240"/>
                  </a:lnTo>
                  <a:lnTo>
                    <a:pt x="385" y="240"/>
                  </a:lnTo>
                  <a:lnTo>
                    <a:pt x="389" y="240"/>
                  </a:lnTo>
                  <a:lnTo>
                    <a:pt x="391" y="238"/>
                  </a:lnTo>
                  <a:lnTo>
                    <a:pt x="391" y="236"/>
                  </a:lnTo>
                  <a:lnTo>
                    <a:pt x="391" y="234"/>
                  </a:lnTo>
                  <a:lnTo>
                    <a:pt x="391" y="230"/>
                  </a:lnTo>
                  <a:lnTo>
                    <a:pt x="391" y="230"/>
                  </a:lnTo>
                  <a:lnTo>
                    <a:pt x="391" y="228"/>
                  </a:lnTo>
                  <a:lnTo>
                    <a:pt x="391" y="228"/>
                  </a:lnTo>
                  <a:lnTo>
                    <a:pt x="391" y="226"/>
                  </a:lnTo>
                  <a:lnTo>
                    <a:pt x="389" y="224"/>
                  </a:lnTo>
                  <a:lnTo>
                    <a:pt x="389" y="224"/>
                  </a:lnTo>
                  <a:lnTo>
                    <a:pt x="389" y="224"/>
                  </a:lnTo>
                  <a:lnTo>
                    <a:pt x="389" y="222"/>
                  </a:lnTo>
                  <a:lnTo>
                    <a:pt x="391" y="222"/>
                  </a:lnTo>
                  <a:lnTo>
                    <a:pt x="389" y="222"/>
                  </a:lnTo>
                  <a:lnTo>
                    <a:pt x="387" y="222"/>
                  </a:lnTo>
                  <a:lnTo>
                    <a:pt x="385" y="222"/>
                  </a:lnTo>
                  <a:lnTo>
                    <a:pt x="385" y="224"/>
                  </a:lnTo>
                  <a:lnTo>
                    <a:pt x="385" y="224"/>
                  </a:lnTo>
                  <a:lnTo>
                    <a:pt x="385" y="226"/>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192000" bIns="144000" numCol="1" anchor="b"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MI</a:t>
              </a:r>
            </a:p>
          </p:txBody>
        </p:sp>
        <p:sp>
          <p:nvSpPr>
            <p:cNvPr id="166" name="Freeform 34">
              <a:extLst>
                <a:ext uri="{FF2B5EF4-FFF2-40B4-BE49-F238E27FC236}">
                  <a16:creationId xmlns:a16="http://schemas.microsoft.com/office/drawing/2014/main" id="{4CE5F9C8-5EC5-B83C-147C-F968DC5406D6}"/>
                </a:ext>
              </a:extLst>
            </p:cNvPr>
            <p:cNvSpPr>
              <a:spLocks noEditPoints="1"/>
            </p:cNvSpPr>
            <p:nvPr/>
          </p:nvSpPr>
          <p:spPr bwMode="auto">
            <a:xfrm>
              <a:off x="4981" y="0"/>
              <a:ext cx="328" cy="484"/>
            </a:xfrm>
            <a:custGeom>
              <a:avLst/>
              <a:gdLst>
                <a:gd name="T0" fmla="*/ 211 w 328"/>
                <a:gd name="T1" fmla="*/ 338 h 484"/>
                <a:gd name="T2" fmla="*/ 213 w 328"/>
                <a:gd name="T3" fmla="*/ 322 h 484"/>
                <a:gd name="T4" fmla="*/ 234 w 328"/>
                <a:gd name="T5" fmla="*/ 295 h 484"/>
                <a:gd name="T6" fmla="*/ 240 w 328"/>
                <a:gd name="T7" fmla="*/ 314 h 484"/>
                <a:gd name="T8" fmla="*/ 326 w 328"/>
                <a:gd name="T9" fmla="*/ 223 h 484"/>
                <a:gd name="T10" fmla="*/ 316 w 328"/>
                <a:gd name="T11" fmla="*/ 219 h 484"/>
                <a:gd name="T12" fmla="*/ 312 w 328"/>
                <a:gd name="T13" fmla="*/ 219 h 484"/>
                <a:gd name="T14" fmla="*/ 310 w 328"/>
                <a:gd name="T15" fmla="*/ 203 h 484"/>
                <a:gd name="T16" fmla="*/ 293 w 328"/>
                <a:gd name="T17" fmla="*/ 193 h 484"/>
                <a:gd name="T18" fmla="*/ 269 w 328"/>
                <a:gd name="T19" fmla="*/ 166 h 484"/>
                <a:gd name="T20" fmla="*/ 242 w 328"/>
                <a:gd name="T21" fmla="*/ 156 h 484"/>
                <a:gd name="T22" fmla="*/ 232 w 328"/>
                <a:gd name="T23" fmla="*/ 131 h 484"/>
                <a:gd name="T24" fmla="*/ 183 w 328"/>
                <a:gd name="T25" fmla="*/ 10 h 484"/>
                <a:gd name="T26" fmla="*/ 146 w 328"/>
                <a:gd name="T27" fmla="*/ 10 h 484"/>
                <a:gd name="T28" fmla="*/ 97 w 328"/>
                <a:gd name="T29" fmla="*/ 25 h 484"/>
                <a:gd name="T30" fmla="*/ 43 w 328"/>
                <a:gd name="T31" fmla="*/ 107 h 484"/>
                <a:gd name="T32" fmla="*/ 41 w 328"/>
                <a:gd name="T33" fmla="*/ 164 h 484"/>
                <a:gd name="T34" fmla="*/ 45 w 328"/>
                <a:gd name="T35" fmla="*/ 182 h 484"/>
                <a:gd name="T36" fmla="*/ 35 w 328"/>
                <a:gd name="T37" fmla="*/ 213 h 484"/>
                <a:gd name="T38" fmla="*/ 19 w 328"/>
                <a:gd name="T39" fmla="*/ 246 h 484"/>
                <a:gd name="T40" fmla="*/ 4 w 328"/>
                <a:gd name="T41" fmla="*/ 260 h 484"/>
                <a:gd name="T42" fmla="*/ 25 w 328"/>
                <a:gd name="T43" fmla="*/ 340 h 484"/>
                <a:gd name="T44" fmla="*/ 58 w 328"/>
                <a:gd name="T45" fmla="*/ 437 h 484"/>
                <a:gd name="T46" fmla="*/ 66 w 328"/>
                <a:gd name="T47" fmla="*/ 461 h 484"/>
                <a:gd name="T48" fmla="*/ 88 w 328"/>
                <a:gd name="T49" fmla="*/ 480 h 484"/>
                <a:gd name="T50" fmla="*/ 99 w 328"/>
                <a:gd name="T51" fmla="*/ 451 h 484"/>
                <a:gd name="T52" fmla="*/ 107 w 328"/>
                <a:gd name="T53" fmla="*/ 437 h 484"/>
                <a:gd name="T54" fmla="*/ 117 w 328"/>
                <a:gd name="T55" fmla="*/ 418 h 484"/>
                <a:gd name="T56" fmla="*/ 119 w 328"/>
                <a:gd name="T57" fmla="*/ 394 h 484"/>
                <a:gd name="T58" fmla="*/ 127 w 328"/>
                <a:gd name="T59" fmla="*/ 400 h 484"/>
                <a:gd name="T60" fmla="*/ 133 w 328"/>
                <a:gd name="T61" fmla="*/ 391 h 484"/>
                <a:gd name="T62" fmla="*/ 137 w 328"/>
                <a:gd name="T63" fmla="*/ 387 h 484"/>
                <a:gd name="T64" fmla="*/ 142 w 328"/>
                <a:gd name="T65" fmla="*/ 389 h 484"/>
                <a:gd name="T66" fmla="*/ 135 w 328"/>
                <a:gd name="T67" fmla="*/ 363 h 484"/>
                <a:gd name="T68" fmla="*/ 144 w 328"/>
                <a:gd name="T69" fmla="*/ 387 h 484"/>
                <a:gd name="T70" fmla="*/ 142 w 328"/>
                <a:gd name="T71" fmla="*/ 379 h 484"/>
                <a:gd name="T72" fmla="*/ 150 w 328"/>
                <a:gd name="T73" fmla="*/ 373 h 484"/>
                <a:gd name="T74" fmla="*/ 154 w 328"/>
                <a:gd name="T75" fmla="*/ 375 h 484"/>
                <a:gd name="T76" fmla="*/ 156 w 328"/>
                <a:gd name="T77" fmla="*/ 371 h 484"/>
                <a:gd name="T78" fmla="*/ 162 w 328"/>
                <a:gd name="T79" fmla="*/ 379 h 484"/>
                <a:gd name="T80" fmla="*/ 168 w 328"/>
                <a:gd name="T81" fmla="*/ 357 h 484"/>
                <a:gd name="T82" fmla="*/ 180 w 328"/>
                <a:gd name="T83" fmla="*/ 363 h 484"/>
                <a:gd name="T84" fmla="*/ 191 w 328"/>
                <a:gd name="T85" fmla="*/ 342 h 484"/>
                <a:gd name="T86" fmla="*/ 187 w 328"/>
                <a:gd name="T87" fmla="*/ 310 h 484"/>
                <a:gd name="T88" fmla="*/ 197 w 328"/>
                <a:gd name="T89" fmla="*/ 289 h 484"/>
                <a:gd name="T90" fmla="*/ 203 w 328"/>
                <a:gd name="T91" fmla="*/ 301 h 484"/>
                <a:gd name="T92" fmla="*/ 201 w 328"/>
                <a:gd name="T93" fmla="*/ 312 h 484"/>
                <a:gd name="T94" fmla="*/ 226 w 328"/>
                <a:gd name="T95" fmla="*/ 310 h 484"/>
                <a:gd name="T96" fmla="*/ 226 w 328"/>
                <a:gd name="T97" fmla="*/ 301 h 484"/>
                <a:gd name="T98" fmla="*/ 230 w 328"/>
                <a:gd name="T99" fmla="*/ 297 h 484"/>
                <a:gd name="T100" fmla="*/ 238 w 328"/>
                <a:gd name="T101" fmla="*/ 283 h 484"/>
                <a:gd name="T102" fmla="*/ 246 w 328"/>
                <a:gd name="T103" fmla="*/ 283 h 484"/>
                <a:gd name="T104" fmla="*/ 258 w 328"/>
                <a:gd name="T105" fmla="*/ 295 h 484"/>
                <a:gd name="T106" fmla="*/ 262 w 328"/>
                <a:gd name="T107" fmla="*/ 283 h 484"/>
                <a:gd name="T108" fmla="*/ 267 w 328"/>
                <a:gd name="T109" fmla="*/ 285 h 484"/>
                <a:gd name="T110" fmla="*/ 269 w 328"/>
                <a:gd name="T111" fmla="*/ 273 h 484"/>
                <a:gd name="T112" fmla="*/ 275 w 328"/>
                <a:gd name="T113" fmla="*/ 269 h 484"/>
                <a:gd name="T114" fmla="*/ 285 w 328"/>
                <a:gd name="T115" fmla="*/ 266 h 484"/>
                <a:gd name="T116" fmla="*/ 289 w 328"/>
                <a:gd name="T117" fmla="*/ 254 h 484"/>
                <a:gd name="T118" fmla="*/ 299 w 328"/>
                <a:gd name="T119" fmla="*/ 254 h 484"/>
                <a:gd name="T120" fmla="*/ 303 w 328"/>
                <a:gd name="T121" fmla="*/ 242 h 484"/>
                <a:gd name="T122" fmla="*/ 314 w 328"/>
                <a:gd name="T123" fmla="*/ 24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484">
                  <a:moveTo>
                    <a:pt x="211" y="338"/>
                  </a:moveTo>
                  <a:lnTo>
                    <a:pt x="207" y="338"/>
                  </a:lnTo>
                  <a:lnTo>
                    <a:pt x="205" y="338"/>
                  </a:lnTo>
                  <a:lnTo>
                    <a:pt x="203" y="336"/>
                  </a:lnTo>
                  <a:lnTo>
                    <a:pt x="201" y="336"/>
                  </a:lnTo>
                  <a:lnTo>
                    <a:pt x="201" y="338"/>
                  </a:lnTo>
                  <a:lnTo>
                    <a:pt x="203" y="338"/>
                  </a:lnTo>
                  <a:lnTo>
                    <a:pt x="205" y="340"/>
                  </a:lnTo>
                  <a:lnTo>
                    <a:pt x="205" y="340"/>
                  </a:lnTo>
                  <a:lnTo>
                    <a:pt x="205" y="342"/>
                  </a:lnTo>
                  <a:lnTo>
                    <a:pt x="209" y="344"/>
                  </a:lnTo>
                  <a:lnTo>
                    <a:pt x="211" y="344"/>
                  </a:lnTo>
                  <a:lnTo>
                    <a:pt x="211" y="342"/>
                  </a:lnTo>
                  <a:lnTo>
                    <a:pt x="211" y="342"/>
                  </a:lnTo>
                  <a:lnTo>
                    <a:pt x="211" y="340"/>
                  </a:lnTo>
                  <a:lnTo>
                    <a:pt x="213" y="340"/>
                  </a:lnTo>
                  <a:lnTo>
                    <a:pt x="211" y="338"/>
                  </a:lnTo>
                  <a:lnTo>
                    <a:pt x="211" y="338"/>
                  </a:lnTo>
                  <a:close/>
                  <a:moveTo>
                    <a:pt x="219" y="324"/>
                  </a:moveTo>
                  <a:lnTo>
                    <a:pt x="217" y="324"/>
                  </a:lnTo>
                  <a:lnTo>
                    <a:pt x="217" y="324"/>
                  </a:lnTo>
                  <a:lnTo>
                    <a:pt x="217" y="322"/>
                  </a:lnTo>
                  <a:lnTo>
                    <a:pt x="219" y="322"/>
                  </a:lnTo>
                  <a:lnTo>
                    <a:pt x="221" y="320"/>
                  </a:lnTo>
                  <a:lnTo>
                    <a:pt x="219" y="320"/>
                  </a:lnTo>
                  <a:lnTo>
                    <a:pt x="219" y="318"/>
                  </a:lnTo>
                  <a:lnTo>
                    <a:pt x="219" y="318"/>
                  </a:lnTo>
                  <a:lnTo>
                    <a:pt x="217" y="316"/>
                  </a:lnTo>
                  <a:lnTo>
                    <a:pt x="215" y="316"/>
                  </a:lnTo>
                  <a:lnTo>
                    <a:pt x="213" y="316"/>
                  </a:lnTo>
                  <a:lnTo>
                    <a:pt x="213" y="318"/>
                  </a:lnTo>
                  <a:lnTo>
                    <a:pt x="213" y="318"/>
                  </a:lnTo>
                  <a:lnTo>
                    <a:pt x="213" y="320"/>
                  </a:lnTo>
                  <a:lnTo>
                    <a:pt x="213" y="322"/>
                  </a:lnTo>
                  <a:lnTo>
                    <a:pt x="215" y="322"/>
                  </a:lnTo>
                  <a:lnTo>
                    <a:pt x="213" y="322"/>
                  </a:lnTo>
                  <a:lnTo>
                    <a:pt x="213" y="322"/>
                  </a:lnTo>
                  <a:lnTo>
                    <a:pt x="211" y="322"/>
                  </a:lnTo>
                  <a:lnTo>
                    <a:pt x="213" y="324"/>
                  </a:lnTo>
                  <a:lnTo>
                    <a:pt x="213" y="326"/>
                  </a:lnTo>
                  <a:lnTo>
                    <a:pt x="213" y="326"/>
                  </a:lnTo>
                  <a:lnTo>
                    <a:pt x="213" y="328"/>
                  </a:lnTo>
                  <a:lnTo>
                    <a:pt x="213" y="328"/>
                  </a:lnTo>
                  <a:lnTo>
                    <a:pt x="217" y="328"/>
                  </a:lnTo>
                  <a:lnTo>
                    <a:pt x="219" y="328"/>
                  </a:lnTo>
                  <a:lnTo>
                    <a:pt x="221" y="326"/>
                  </a:lnTo>
                  <a:lnTo>
                    <a:pt x="221" y="324"/>
                  </a:lnTo>
                  <a:lnTo>
                    <a:pt x="219" y="324"/>
                  </a:lnTo>
                  <a:close/>
                  <a:moveTo>
                    <a:pt x="244" y="293"/>
                  </a:moveTo>
                  <a:lnTo>
                    <a:pt x="242" y="291"/>
                  </a:lnTo>
                  <a:lnTo>
                    <a:pt x="240" y="291"/>
                  </a:lnTo>
                  <a:lnTo>
                    <a:pt x="236" y="291"/>
                  </a:lnTo>
                  <a:lnTo>
                    <a:pt x="234" y="293"/>
                  </a:lnTo>
                  <a:lnTo>
                    <a:pt x="234" y="295"/>
                  </a:lnTo>
                  <a:lnTo>
                    <a:pt x="234" y="297"/>
                  </a:lnTo>
                  <a:lnTo>
                    <a:pt x="234" y="297"/>
                  </a:lnTo>
                  <a:lnTo>
                    <a:pt x="234" y="299"/>
                  </a:lnTo>
                  <a:lnTo>
                    <a:pt x="232" y="299"/>
                  </a:lnTo>
                  <a:lnTo>
                    <a:pt x="232" y="299"/>
                  </a:lnTo>
                  <a:lnTo>
                    <a:pt x="232" y="301"/>
                  </a:lnTo>
                  <a:lnTo>
                    <a:pt x="232" y="305"/>
                  </a:lnTo>
                  <a:lnTo>
                    <a:pt x="232" y="307"/>
                  </a:lnTo>
                  <a:lnTo>
                    <a:pt x="232" y="307"/>
                  </a:lnTo>
                  <a:lnTo>
                    <a:pt x="232" y="307"/>
                  </a:lnTo>
                  <a:lnTo>
                    <a:pt x="234" y="307"/>
                  </a:lnTo>
                  <a:lnTo>
                    <a:pt x="234" y="310"/>
                  </a:lnTo>
                  <a:lnTo>
                    <a:pt x="234" y="310"/>
                  </a:lnTo>
                  <a:lnTo>
                    <a:pt x="234" y="310"/>
                  </a:lnTo>
                  <a:lnTo>
                    <a:pt x="234" y="312"/>
                  </a:lnTo>
                  <a:lnTo>
                    <a:pt x="238" y="312"/>
                  </a:lnTo>
                  <a:lnTo>
                    <a:pt x="238" y="314"/>
                  </a:lnTo>
                  <a:lnTo>
                    <a:pt x="240" y="314"/>
                  </a:lnTo>
                  <a:lnTo>
                    <a:pt x="240" y="312"/>
                  </a:lnTo>
                  <a:lnTo>
                    <a:pt x="240" y="312"/>
                  </a:lnTo>
                  <a:lnTo>
                    <a:pt x="242" y="314"/>
                  </a:lnTo>
                  <a:lnTo>
                    <a:pt x="242" y="314"/>
                  </a:lnTo>
                  <a:lnTo>
                    <a:pt x="244" y="312"/>
                  </a:lnTo>
                  <a:lnTo>
                    <a:pt x="244" y="310"/>
                  </a:lnTo>
                  <a:lnTo>
                    <a:pt x="244" y="310"/>
                  </a:lnTo>
                  <a:lnTo>
                    <a:pt x="242" y="307"/>
                  </a:lnTo>
                  <a:lnTo>
                    <a:pt x="240" y="307"/>
                  </a:lnTo>
                  <a:lnTo>
                    <a:pt x="240" y="303"/>
                  </a:lnTo>
                  <a:lnTo>
                    <a:pt x="242" y="303"/>
                  </a:lnTo>
                  <a:lnTo>
                    <a:pt x="244" y="305"/>
                  </a:lnTo>
                  <a:lnTo>
                    <a:pt x="246" y="303"/>
                  </a:lnTo>
                  <a:lnTo>
                    <a:pt x="250" y="301"/>
                  </a:lnTo>
                  <a:lnTo>
                    <a:pt x="250" y="299"/>
                  </a:lnTo>
                  <a:lnTo>
                    <a:pt x="248" y="297"/>
                  </a:lnTo>
                  <a:lnTo>
                    <a:pt x="244" y="293"/>
                  </a:lnTo>
                  <a:close/>
                  <a:moveTo>
                    <a:pt x="326" y="223"/>
                  </a:moveTo>
                  <a:lnTo>
                    <a:pt x="326" y="219"/>
                  </a:lnTo>
                  <a:lnTo>
                    <a:pt x="324" y="219"/>
                  </a:lnTo>
                  <a:lnTo>
                    <a:pt x="324" y="219"/>
                  </a:lnTo>
                  <a:lnTo>
                    <a:pt x="324" y="219"/>
                  </a:lnTo>
                  <a:lnTo>
                    <a:pt x="324" y="219"/>
                  </a:lnTo>
                  <a:lnTo>
                    <a:pt x="324" y="219"/>
                  </a:lnTo>
                  <a:lnTo>
                    <a:pt x="324" y="219"/>
                  </a:lnTo>
                  <a:lnTo>
                    <a:pt x="320" y="217"/>
                  </a:lnTo>
                  <a:lnTo>
                    <a:pt x="320" y="217"/>
                  </a:lnTo>
                  <a:lnTo>
                    <a:pt x="318" y="217"/>
                  </a:lnTo>
                  <a:lnTo>
                    <a:pt x="322" y="221"/>
                  </a:lnTo>
                  <a:lnTo>
                    <a:pt x="322" y="223"/>
                  </a:lnTo>
                  <a:lnTo>
                    <a:pt x="320" y="223"/>
                  </a:lnTo>
                  <a:lnTo>
                    <a:pt x="320" y="221"/>
                  </a:lnTo>
                  <a:lnTo>
                    <a:pt x="318" y="219"/>
                  </a:lnTo>
                  <a:lnTo>
                    <a:pt x="316" y="217"/>
                  </a:lnTo>
                  <a:lnTo>
                    <a:pt x="316" y="219"/>
                  </a:lnTo>
                  <a:lnTo>
                    <a:pt x="316" y="219"/>
                  </a:lnTo>
                  <a:lnTo>
                    <a:pt x="316" y="219"/>
                  </a:lnTo>
                  <a:lnTo>
                    <a:pt x="316" y="221"/>
                  </a:lnTo>
                  <a:lnTo>
                    <a:pt x="316" y="221"/>
                  </a:lnTo>
                  <a:lnTo>
                    <a:pt x="316" y="221"/>
                  </a:lnTo>
                  <a:lnTo>
                    <a:pt x="316" y="223"/>
                  </a:lnTo>
                  <a:lnTo>
                    <a:pt x="314" y="221"/>
                  </a:lnTo>
                  <a:lnTo>
                    <a:pt x="314" y="221"/>
                  </a:lnTo>
                  <a:lnTo>
                    <a:pt x="314" y="223"/>
                  </a:lnTo>
                  <a:lnTo>
                    <a:pt x="314" y="225"/>
                  </a:lnTo>
                  <a:lnTo>
                    <a:pt x="314" y="228"/>
                  </a:lnTo>
                  <a:lnTo>
                    <a:pt x="312" y="221"/>
                  </a:lnTo>
                  <a:lnTo>
                    <a:pt x="310" y="221"/>
                  </a:lnTo>
                  <a:lnTo>
                    <a:pt x="307" y="219"/>
                  </a:lnTo>
                  <a:lnTo>
                    <a:pt x="307" y="219"/>
                  </a:lnTo>
                  <a:lnTo>
                    <a:pt x="307" y="217"/>
                  </a:lnTo>
                  <a:lnTo>
                    <a:pt x="307" y="217"/>
                  </a:lnTo>
                  <a:lnTo>
                    <a:pt x="312" y="219"/>
                  </a:lnTo>
                  <a:lnTo>
                    <a:pt x="312" y="219"/>
                  </a:lnTo>
                  <a:lnTo>
                    <a:pt x="314" y="217"/>
                  </a:lnTo>
                  <a:lnTo>
                    <a:pt x="314" y="217"/>
                  </a:lnTo>
                  <a:lnTo>
                    <a:pt x="314" y="215"/>
                  </a:lnTo>
                  <a:lnTo>
                    <a:pt x="312" y="215"/>
                  </a:lnTo>
                  <a:lnTo>
                    <a:pt x="312" y="213"/>
                  </a:lnTo>
                  <a:lnTo>
                    <a:pt x="314" y="213"/>
                  </a:lnTo>
                  <a:lnTo>
                    <a:pt x="314" y="213"/>
                  </a:lnTo>
                  <a:lnTo>
                    <a:pt x="316" y="215"/>
                  </a:lnTo>
                  <a:lnTo>
                    <a:pt x="318" y="213"/>
                  </a:lnTo>
                  <a:lnTo>
                    <a:pt x="318" y="211"/>
                  </a:lnTo>
                  <a:lnTo>
                    <a:pt x="318" y="209"/>
                  </a:lnTo>
                  <a:lnTo>
                    <a:pt x="318" y="209"/>
                  </a:lnTo>
                  <a:lnTo>
                    <a:pt x="316" y="207"/>
                  </a:lnTo>
                  <a:lnTo>
                    <a:pt x="314" y="205"/>
                  </a:lnTo>
                  <a:lnTo>
                    <a:pt x="314" y="205"/>
                  </a:lnTo>
                  <a:lnTo>
                    <a:pt x="312" y="205"/>
                  </a:lnTo>
                  <a:lnTo>
                    <a:pt x="310" y="203"/>
                  </a:lnTo>
                  <a:lnTo>
                    <a:pt x="310" y="203"/>
                  </a:lnTo>
                  <a:lnTo>
                    <a:pt x="310" y="201"/>
                  </a:lnTo>
                  <a:lnTo>
                    <a:pt x="307" y="199"/>
                  </a:lnTo>
                  <a:lnTo>
                    <a:pt x="307" y="197"/>
                  </a:lnTo>
                  <a:lnTo>
                    <a:pt x="305" y="197"/>
                  </a:lnTo>
                  <a:lnTo>
                    <a:pt x="305" y="197"/>
                  </a:lnTo>
                  <a:lnTo>
                    <a:pt x="305" y="197"/>
                  </a:lnTo>
                  <a:lnTo>
                    <a:pt x="303" y="197"/>
                  </a:lnTo>
                  <a:lnTo>
                    <a:pt x="303" y="195"/>
                  </a:lnTo>
                  <a:lnTo>
                    <a:pt x="303" y="195"/>
                  </a:lnTo>
                  <a:lnTo>
                    <a:pt x="301" y="195"/>
                  </a:lnTo>
                  <a:lnTo>
                    <a:pt x="301" y="193"/>
                  </a:lnTo>
                  <a:lnTo>
                    <a:pt x="301" y="193"/>
                  </a:lnTo>
                  <a:lnTo>
                    <a:pt x="299" y="195"/>
                  </a:lnTo>
                  <a:lnTo>
                    <a:pt x="299" y="195"/>
                  </a:lnTo>
                  <a:lnTo>
                    <a:pt x="299" y="193"/>
                  </a:lnTo>
                  <a:lnTo>
                    <a:pt x="297" y="193"/>
                  </a:lnTo>
                  <a:lnTo>
                    <a:pt x="295" y="193"/>
                  </a:lnTo>
                  <a:lnTo>
                    <a:pt x="293" y="193"/>
                  </a:lnTo>
                  <a:lnTo>
                    <a:pt x="293" y="193"/>
                  </a:lnTo>
                  <a:lnTo>
                    <a:pt x="293" y="193"/>
                  </a:lnTo>
                  <a:lnTo>
                    <a:pt x="293" y="195"/>
                  </a:lnTo>
                  <a:lnTo>
                    <a:pt x="293" y="195"/>
                  </a:lnTo>
                  <a:lnTo>
                    <a:pt x="293" y="197"/>
                  </a:lnTo>
                  <a:lnTo>
                    <a:pt x="291" y="199"/>
                  </a:lnTo>
                  <a:lnTo>
                    <a:pt x="287" y="199"/>
                  </a:lnTo>
                  <a:lnTo>
                    <a:pt x="285" y="197"/>
                  </a:lnTo>
                  <a:lnTo>
                    <a:pt x="281" y="193"/>
                  </a:lnTo>
                  <a:lnTo>
                    <a:pt x="277" y="191"/>
                  </a:lnTo>
                  <a:lnTo>
                    <a:pt x="275" y="189"/>
                  </a:lnTo>
                  <a:lnTo>
                    <a:pt x="275" y="187"/>
                  </a:lnTo>
                  <a:lnTo>
                    <a:pt x="275" y="185"/>
                  </a:lnTo>
                  <a:lnTo>
                    <a:pt x="277" y="182"/>
                  </a:lnTo>
                  <a:lnTo>
                    <a:pt x="275" y="178"/>
                  </a:lnTo>
                  <a:lnTo>
                    <a:pt x="269" y="172"/>
                  </a:lnTo>
                  <a:lnTo>
                    <a:pt x="267" y="168"/>
                  </a:lnTo>
                  <a:lnTo>
                    <a:pt x="269" y="166"/>
                  </a:lnTo>
                  <a:lnTo>
                    <a:pt x="271" y="164"/>
                  </a:lnTo>
                  <a:lnTo>
                    <a:pt x="271" y="164"/>
                  </a:lnTo>
                  <a:lnTo>
                    <a:pt x="271" y="160"/>
                  </a:lnTo>
                  <a:lnTo>
                    <a:pt x="269" y="158"/>
                  </a:lnTo>
                  <a:lnTo>
                    <a:pt x="267" y="156"/>
                  </a:lnTo>
                  <a:lnTo>
                    <a:pt x="264" y="156"/>
                  </a:lnTo>
                  <a:lnTo>
                    <a:pt x="262" y="158"/>
                  </a:lnTo>
                  <a:lnTo>
                    <a:pt x="260" y="158"/>
                  </a:lnTo>
                  <a:lnTo>
                    <a:pt x="254" y="158"/>
                  </a:lnTo>
                  <a:lnTo>
                    <a:pt x="250" y="158"/>
                  </a:lnTo>
                  <a:lnTo>
                    <a:pt x="248" y="158"/>
                  </a:lnTo>
                  <a:lnTo>
                    <a:pt x="246" y="156"/>
                  </a:lnTo>
                  <a:lnTo>
                    <a:pt x="246" y="156"/>
                  </a:lnTo>
                  <a:lnTo>
                    <a:pt x="244" y="154"/>
                  </a:lnTo>
                  <a:lnTo>
                    <a:pt x="244" y="154"/>
                  </a:lnTo>
                  <a:lnTo>
                    <a:pt x="244" y="154"/>
                  </a:lnTo>
                  <a:lnTo>
                    <a:pt x="244" y="156"/>
                  </a:lnTo>
                  <a:lnTo>
                    <a:pt x="242" y="156"/>
                  </a:lnTo>
                  <a:lnTo>
                    <a:pt x="242" y="156"/>
                  </a:lnTo>
                  <a:lnTo>
                    <a:pt x="240" y="156"/>
                  </a:lnTo>
                  <a:lnTo>
                    <a:pt x="238" y="156"/>
                  </a:lnTo>
                  <a:lnTo>
                    <a:pt x="238" y="154"/>
                  </a:lnTo>
                  <a:lnTo>
                    <a:pt x="236" y="150"/>
                  </a:lnTo>
                  <a:lnTo>
                    <a:pt x="236" y="148"/>
                  </a:lnTo>
                  <a:lnTo>
                    <a:pt x="236" y="146"/>
                  </a:lnTo>
                  <a:lnTo>
                    <a:pt x="236" y="144"/>
                  </a:lnTo>
                  <a:lnTo>
                    <a:pt x="236" y="141"/>
                  </a:lnTo>
                  <a:lnTo>
                    <a:pt x="236" y="141"/>
                  </a:lnTo>
                  <a:lnTo>
                    <a:pt x="234" y="139"/>
                  </a:lnTo>
                  <a:lnTo>
                    <a:pt x="234" y="137"/>
                  </a:lnTo>
                  <a:lnTo>
                    <a:pt x="234" y="135"/>
                  </a:lnTo>
                  <a:lnTo>
                    <a:pt x="234" y="133"/>
                  </a:lnTo>
                  <a:lnTo>
                    <a:pt x="234" y="133"/>
                  </a:lnTo>
                  <a:lnTo>
                    <a:pt x="234" y="131"/>
                  </a:lnTo>
                  <a:lnTo>
                    <a:pt x="234" y="131"/>
                  </a:lnTo>
                  <a:lnTo>
                    <a:pt x="232" y="131"/>
                  </a:lnTo>
                  <a:lnTo>
                    <a:pt x="232" y="129"/>
                  </a:lnTo>
                  <a:lnTo>
                    <a:pt x="232" y="129"/>
                  </a:lnTo>
                  <a:lnTo>
                    <a:pt x="228" y="115"/>
                  </a:lnTo>
                  <a:lnTo>
                    <a:pt x="223" y="103"/>
                  </a:lnTo>
                  <a:lnTo>
                    <a:pt x="219" y="88"/>
                  </a:lnTo>
                  <a:lnTo>
                    <a:pt x="215" y="76"/>
                  </a:lnTo>
                  <a:lnTo>
                    <a:pt x="211" y="62"/>
                  </a:lnTo>
                  <a:lnTo>
                    <a:pt x="207" y="49"/>
                  </a:lnTo>
                  <a:lnTo>
                    <a:pt x="203" y="35"/>
                  </a:lnTo>
                  <a:lnTo>
                    <a:pt x="199" y="23"/>
                  </a:lnTo>
                  <a:lnTo>
                    <a:pt x="197" y="19"/>
                  </a:lnTo>
                  <a:lnTo>
                    <a:pt x="197" y="19"/>
                  </a:lnTo>
                  <a:lnTo>
                    <a:pt x="193" y="16"/>
                  </a:lnTo>
                  <a:lnTo>
                    <a:pt x="191" y="16"/>
                  </a:lnTo>
                  <a:lnTo>
                    <a:pt x="189" y="14"/>
                  </a:lnTo>
                  <a:lnTo>
                    <a:pt x="185" y="12"/>
                  </a:lnTo>
                  <a:lnTo>
                    <a:pt x="183" y="12"/>
                  </a:lnTo>
                  <a:lnTo>
                    <a:pt x="183" y="10"/>
                  </a:lnTo>
                  <a:lnTo>
                    <a:pt x="183" y="10"/>
                  </a:lnTo>
                  <a:lnTo>
                    <a:pt x="178" y="8"/>
                  </a:lnTo>
                  <a:lnTo>
                    <a:pt x="174" y="6"/>
                  </a:lnTo>
                  <a:lnTo>
                    <a:pt x="168" y="4"/>
                  </a:lnTo>
                  <a:lnTo>
                    <a:pt x="168" y="4"/>
                  </a:lnTo>
                  <a:lnTo>
                    <a:pt x="164" y="4"/>
                  </a:lnTo>
                  <a:lnTo>
                    <a:pt x="164" y="4"/>
                  </a:lnTo>
                  <a:lnTo>
                    <a:pt x="162" y="2"/>
                  </a:lnTo>
                  <a:lnTo>
                    <a:pt x="160" y="0"/>
                  </a:lnTo>
                  <a:lnTo>
                    <a:pt x="156" y="0"/>
                  </a:lnTo>
                  <a:lnTo>
                    <a:pt x="152" y="0"/>
                  </a:lnTo>
                  <a:lnTo>
                    <a:pt x="148" y="2"/>
                  </a:lnTo>
                  <a:lnTo>
                    <a:pt x="148" y="6"/>
                  </a:lnTo>
                  <a:lnTo>
                    <a:pt x="148" y="8"/>
                  </a:lnTo>
                  <a:lnTo>
                    <a:pt x="148" y="8"/>
                  </a:lnTo>
                  <a:lnTo>
                    <a:pt x="148" y="8"/>
                  </a:lnTo>
                  <a:lnTo>
                    <a:pt x="146" y="10"/>
                  </a:lnTo>
                  <a:lnTo>
                    <a:pt x="146" y="10"/>
                  </a:lnTo>
                  <a:lnTo>
                    <a:pt x="144" y="10"/>
                  </a:lnTo>
                  <a:lnTo>
                    <a:pt x="142" y="10"/>
                  </a:lnTo>
                  <a:lnTo>
                    <a:pt x="140" y="10"/>
                  </a:lnTo>
                  <a:lnTo>
                    <a:pt x="137" y="10"/>
                  </a:lnTo>
                  <a:lnTo>
                    <a:pt x="135" y="12"/>
                  </a:lnTo>
                  <a:lnTo>
                    <a:pt x="133" y="14"/>
                  </a:lnTo>
                  <a:lnTo>
                    <a:pt x="131" y="16"/>
                  </a:lnTo>
                  <a:lnTo>
                    <a:pt x="131" y="19"/>
                  </a:lnTo>
                  <a:lnTo>
                    <a:pt x="129" y="21"/>
                  </a:lnTo>
                  <a:lnTo>
                    <a:pt x="127" y="21"/>
                  </a:lnTo>
                  <a:lnTo>
                    <a:pt x="125" y="21"/>
                  </a:lnTo>
                  <a:lnTo>
                    <a:pt x="121" y="23"/>
                  </a:lnTo>
                  <a:lnTo>
                    <a:pt x="113" y="31"/>
                  </a:lnTo>
                  <a:lnTo>
                    <a:pt x="113" y="31"/>
                  </a:lnTo>
                  <a:lnTo>
                    <a:pt x="101" y="29"/>
                  </a:lnTo>
                  <a:lnTo>
                    <a:pt x="99" y="27"/>
                  </a:lnTo>
                  <a:lnTo>
                    <a:pt x="99" y="25"/>
                  </a:lnTo>
                  <a:lnTo>
                    <a:pt x="97" y="25"/>
                  </a:lnTo>
                  <a:lnTo>
                    <a:pt x="97" y="21"/>
                  </a:lnTo>
                  <a:lnTo>
                    <a:pt x="94" y="14"/>
                  </a:lnTo>
                  <a:lnTo>
                    <a:pt x="94" y="12"/>
                  </a:lnTo>
                  <a:lnTo>
                    <a:pt x="92" y="10"/>
                  </a:lnTo>
                  <a:lnTo>
                    <a:pt x="80" y="10"/>
                  </a:lnTo>
                  <a:lnTo>
                    <a:pt x="80" y="12"/>
                  </a:lnTo>
                  <a:lnTo>
                    <a:pt x="80" y="12"/>
                  </a:lnTo>
                  <a:lnTo>
                    <a:pt x="78" y="14"/>
                  </a:lnTo>
                  <a:lnTo>
                    <a:pt x="74" y="25"/>
                  </a:lnTo>
                  <a:lnTo>
                    <a:pt x="70" y="35"/>
                  </a:lnTo>
                  <a:lnTo>
                    <a:pt x="66" y="47"/>
                  </a:lnTo>
                  <a:lnTo>
                    <a:pt x="62" y="57"/>
                  </a:lnTo>
                  <a:lnTo>
                    <a:pt x="58" y="68"/>
                  </a:lnTo>
                  <a:lnTo>
                    <a:pt x="54" y="78"/>
                  </a:lnTo>
                  <a:lnTo>
                    <a:pt x="49" y="90"/>
                  </a:lnTo>
                  <a:lnTo>
                    <a:pt x="45" y="100"/>
                  </a:lnTo>
                  <a:lnTo>
                    <a:pt x="43" y="103"/>
                  </a:lnTo>
                  <a:lnTo>
                    <a:pt x="43" y="107"/>
                  </a:lnTo>
                  <a:lnTo>
                    <a:pt x="45" y="113"/>
                  </a:lnTo>
                  <a:lnTo>
                    <a:pt x="45" y="123"/>
                  </a:lnTo>
                  <a:lnTo>
                    <a:pt x="47" y="129"/>
                  </a:lnTo>
                  <a:lnTo>
                    <a:pt x="47" y="133"/>
                  </a:lnTo>
                  <a:lnTo>
                    <a:pt x="43" y="139"/>
                  </a:lnTo>
                  <a:lnTo>
                    <a:pt x="41" y="139"/>
                  </a:lnTo>
                  <a:lnTo>
                    <a:pt x="39" y="141"/>
                  </a:lnTo>
                  <a:lnTo>
                    <a:pt x="39" y="144"/>
                  </a:lnTo>
                  <a:lnTo>
                    <a:pt x="41" y="146"/>
                  </a:lnTo>
                  <a:lnTo>
                    <a:pt x="41" y="146"/>
                  </a:lnTo>
                  <a:lnTo>
                    <a:pt x="39" y="148"/>
                  </a:lnTo>
                  <a:lnTo>
                    <a:pt x="39" y="150"/>
                  </a:lnTo>
                  <a:lnTo>
                    <a:pt x="37" y="154"/>
                  </a:lnTo>
                  <a:lnTo>
                    <a:pt x="37" y="158"/>
                  </a:lnTo>
                  <a:lnTo>
                    <a:pt x="37" y="160"/>
                  </a:lnTo>
                  <a:lnTo>
                    <a:pt x="39" y="160"/>
                  </a:lnTo>
                  <a:lnTo>
                    <a:pt x="41" y="162"/>
                  </a:lnTo>
                  <a:lnTo>
                    <a:pt x="41" y="164"/>
                  </a:lnTo>
                  <a:lnTo>
                    <a:pt x="41" y="166"/>
                  </a:lnTo>
                  <a:lnTo>
                    <a:pt x="41" y="168"/>
                  </a:lnTo>
                  <a:lnTo>
                    <a:pt x="39" y="170"/>
                  </a:lnTo>
                  <a:lnTo>
                    <a:pt x="39" y="172"/>
                  </a:lnTo>
                  <a:lnTo>
                    <a:pt x="39" y="172"/>
                  </a:lnTo>
                  <a:lnTo>
                    <a:pt x="39" y="172"/>
                  </a:lnTo>
                  <a:lnTo>
                    <a:pt x="39" y="172"/>
                  </a:lnTo>
                  <a:lnTo>
                    <a:pt x="39" y="172"/>
                  </a:lnTo>
                  <a:lnTo>
                    <a:pt x="41" y="174"/>
                  </a:lnTo>
                  <a:lnTo>
                    <a:pt x="41" y="174"/>
                  </a:lnTo>
                  <a:lnTo>
                    <a:pt x="41" y="174"/>
                  </a:lnTo>
                  <a:lnTo>
                    <a:pt x="39" y="174"/>
                  </a:lnTo>
                  <a:lnTo>
                    <a:pt x="39" y="176"/>
                  </a:lnTo>
                  <a:lnTo>
                    <a:pt x="41" y="180"/>
                  </a:lnTo>
                  <a:lnTo>
                    <a:pt x="41" y="180"/>
                  </a:lnTo>
                  <a:lnTo>
                    <a:pt x="41" y="182"/>
                  </a:lnTo>
                  <a:lnTo>
                    <a:pt x="43" y="182"/>
                  </a:lnTo>
                  <a:lnTo>
                    <a:pt x="45" y="182"/>
                  </a:lnTo>
                  <a:lnTo>
                    <a:pt x="45" y="182"/>
                  </a:lnTo>
                  <a:lnTo>
                    <a:pt x="47" y="187"/>
                  </a:lnTo>
                  <a:lnTo>
                    <a:pt x="45" y="191"/>
                  </a:lnTo>
                  <a:lnTo>
                    <a:pt x="43" y="193"/>
                  </a:lnTo>
                  <a:lnTo>
                    <a:pt x="39" y="199"/>
                  </a:lnTo>
                  <a:lnTo>
                    <a:pt x="39" y="201"/>
                  </a:lnTo>
                  <a:lnTo>
                    <a:pt x="39" y="201"/>
                  </a:lnTo>
                  <a:lnTo>
                    <a:pt x="39" y="203"/>
                  </a:lnTo>
                  <a:lnTo>
                    <a:pt x="39" y="203"/>
                  </a:lnTo>
                  <a:lnTo>
                    <a:pt x="39" y="203"/>
                  </a:lnTo>
                  <a:lnTo>
                    <a:pt x="39" y="205"/>
                  </a:lnTo>
                  <a:lnTo>
                    <a:pt x="41" y="207"/>
                  </a:lnTo>
                  <a:lnTo>
                    <a:pt x="41" y="209"/>
                  </a:lnTo>
                  <a:lnTo>
                    <a:pt x="41" y="209"/>
                  </a:lnTo>
                  <a:lnTo>
                    <a:pt x="39" y="211"/>
                  </a:lnTo>
                  <a:lnTo>
                    <a:pt x="39" y="211"/>
                  </a:lnTo>
                  <a:lnTo>
                    <a:pt x="37" y="213"/>
                  </a:lnTo>
                  <a:lnTo>
                    <a:pt x="35" y="213"/>
                  </a:lnTo>
                  <a:lnTo>
                    <a:pt x="33" y="215"/>
                  </a:lnTo>
                  <a:lnTo>
                    <a:pt x="31" y="219"/>
                  </a:lnTo>
                  <a:lnTo>
                    <a:pt x="29" y="219"/>
                  </a:lnTo>
                  <a:lnTo>
                    <a:pt x="25" y="230"/>
                  </a:lnTo>
                  <a:lnTo>
                    <a:pt x="23" y="238"/>
                  </a:lnTo>
                  <a:lnTo>
                    <a:pt x="23" y="240"/>
                  </a:lnTo>
                  <a:lnTo>
                    <a:pt x="25" y="242"/>
                  </a:lnTo>
                  <a:lnTo>
                    <a:pt x="25" y="242"/>
                  </a:lnTo>
                  <a:lnTo>
                    <a:pt x="29" y="244"/>
                  </a:lnTo>
                  <a:lnTo>
                    <a:pt x="31" y="244"/>
                  </a:lnTo>
                  <a:lnTo>
                    <a:pt x="31" y="246"/>
                  </a:lnTo>
                  <a:lnTo>
                    <a:pt x="31" y="248"/>
                  </a:lnTo>
                  <a:lnTo>
                    <a:pt x="29" y="248"/>
                  </a:lnTo>
                  <a:lnTo>
                    <a:pt x="29" y="248"/>
                  </a:lnTo>
                  <a:lnTo>
                    <a:pt x="27" y="248"/>
                  </a:lnTo>
                  <a:lnTo>
                    <a:pt x="23" y="246"/>
                  </a:lnTo>
                  <a:lnTo>
                    <a:pt x="21" y="246"/>
                  </a:lnTo>
                  <a:lnTo>
                    <a:pt x="19" y="246"/>
                  </a:lnTo>
                  <a:lnTo>
                    <a:pt x="19" y="248"/>
                  </a:lnTo>
                  <a:lnTo>
                    <a:pt x="19" y="250"/>
                  </a:lnTo>
                  <a:lnTo>
                    <a:pt x="19" y="252"/>
                  </a:lnTo>
                  <a:lnTo>
                    <a:pt x="19" y="254"/>
                  </a:lnTo>
                  <a:lnTo>
                    <a:pt x="19" y="258"/>
                  </a:lnTo>
                  <a:lnTo>
                    <a:pt x="21" y="260"/>
                  </a:lnTo>
                  <a:lnTo>
                    <a:pt x="19" y="260"/>
                  </a:lnTo>
                  <a:lnTo>
                    <a:pt x="19" y="262"/>
                  </a:lnTo>
                  <a:lnTo>
                    <a:pt x="19" y="262"/>
                  </a:lnTo>
                  <a:lnTo>
                    <a:pt x="19" y="264"/>
                  </a:lnTo>
                  <a:lnTo>
                    <a:pt x="19" y="266"/>
                  </a:lnTo>
                  <a:lnTo>
                    <a:pt x="19" y="266"/>
                  </a:lnTo>
                  <a:lnTo>
                    <a:pt x="17" y="269"/>
                  </a:lnTo>
                  <a:lnTo>
                    <a:pt x="17" y="266"/>
                  </a:lnTo>
                  <a:lnTo>
                    <a:pt x="10" y="260"/>
                  </a:lnTo>
                  <a:lnTo>
                    <a:pt x="8" y="258"/>
                  </a:lnTo>
                  <a:lnTo>
                    <a:pt x="6" y="258"/>
                  </a:lnTo>
                  <a:lnTo>
                    <a:pt x="4" y="260"/>
                  </a:lnTo>
                  <a:lnTo>
                    <a:pt x="4" y="260"/>
                  </a:lnTo>
                  <a:lnTo>
                    <a:pt x="4" y="262"/>
                  </a:lnTo>
                  <a:lnTo>
                    <a:pt x="2" y="264"/>
                  </a:lnTo>
                  <a:lnTo>
                    <a:pt x="2" y="264"/>
                  </a:lnTo>
                  <a:lnTo>
                    <a:pt x="0" y="264"/>
                  </a:lnTo>
                  <a:lnTo>
                    <a:pt x="2" y="271"/>
                  </a:lnTo>
                  <a:lnTo>
                    <a:pt x="4" y="277"/>
                  </a:lnTo>
                  <a:lnTo>
                    <a:pt x="6" y="281"/>
                  </a:lnTo>
                  <a:lnTo>
                    <a:pt x="8" y="287"/>
                  </a:lnTo>
                  <a:lnTo>
                    <a:pt x="10" y="291"/>
                  </a:lnTo>
                  <a:lnTo>
                    <a:pt x="13" y="303"/>
                  </a:lnTo>
                  <a:lnTo>
                    <a:pt x="15" y="307"/>
                  </a:lnTo>
                  <a:lnTo>
                    <a:pt x="17" y="314"/>
                  </a:lnTo>
                  <a:lnTo>
                    <a:pt x="19" y="318"/>
                  </a:lnTo>
                  <a:lnTo>
                    <a:pt x="21" y="324"/>
                  </a:lnTo>
                  <a:lnTo>
                    <a:pt x="23" y="330"/>
                  </a:lnTo>
                  <a:lnTo>
                    <a:pt x="23" y="334"/>
                  </a:lnTo>
                  <a:lnTo>
                    <a:pt x="25" y="340"/>
                  </a:lnTo>
                  <a:lnTo>
                    <a:pt x="27" y="344"/>
                  </a:lnTo>
                  <a:lnTo>
                    <a:pt x="29" y="351"/>
                  </a:lnTo>
                  <a:lnTo>
                    <a:pt x="31" y="357"/>
                  </a:lnTo>
                  <a:lnTo>
                    <a:pt x="33" y="361"/>
                  </a:lnTo>
                  <a:lnTo>
                    <a:pt x="35" y="367"/>
                  </a:lnTo>
                  <a:lnTo>
                    <a:pt x="35" y="371"/>
                  </a:lnTo>
                  <a:lnTo>
                    <a:pt x="37" y="377"/>
                  </a:lnTo>
                  <a:lnTo>
                    <a:pt x="39" y="383"/>
                  </a:lnTo>
                  <a:lnTo>
                    <a:pt x="41" y="387"/>
                  </a:lnTo>
                  <a:lnTo>
                    <a:pt x="43" y="394"/>
                  </a:lnTo>
                  <a:lnTo>
                    <a:pt x="45" y="400"/>
                  </a:lnTo>
                  <a:lnTo>
                    <a:pt x="47" y="404"/>
                  </a:lnTo>
                  <a:lnTo>
                    <a:pt x="47" y="410"/>
                  </a:lnTo>
                  <a:lnTo>
                    <a:pt x="49" y="414"/>
                  </a:lnTo>
                  <a:lnTo>
                    <a:pt x="51" y="420"/>
                  </a:lnTo>
                  <a:lnTo>
                    <a:pt x="54" y="426"/>
                  </a:lnTo>
                  <a:lnTo>
                    <a:pt x="56" y="430"/>
                  </a:lnTo>
                  <a:lnTo>
                    <a:pt x="58" y="437"/>
                  </a:lnTo>
                  <a:lnTo>
                    <a:pt x="58" y="439"/>
                  </a:lnTo>
                  <a:lnTo>
                    <a:pt x="60" y="443"/>
                  </a:lnTo>
                  <a:lnTo>
                    <a:pt x="60" y="445"/>
                  </a:lnTo>
                  <a:lnTo>
                    <a:pt x="60" y="445"/>
                  </a:lnTo>
                  <a:lnTo>
                    <a:pt x="60" y="447"/>
                  </a:lnTo>
                  <a:lnTo>
                    <a:pt x="60" y="447"/>
                  </a:lnTo>
                  <a:lnTo>
                    <a:pt x="60" y="447"/>
                  </a:lnTo>
                  <a:lnTo>
                    <a:pt x="60" y="449"/>
                  </a:lnTo>
                  <a:lnTo>
                    <a:pt x="62" y="451"/>
                  </a:lnTo>
                  <a:lnTo>
                    <a:pt x="62" y="451"/>
                  </a:lnTo>
                  <a:lnTo>
                    <a:pt x="62" y="455"/>
                  </a:lnTo>
                  <a:lnTo>
                    <a:pt x="62" y="455"/>
                  </a:lnTo>
                  <a:lnTo>
                    <a:pt x="62" y="455"/>
                  </a:lnTo>
                  <a:lnTo>
                    <a:pt x="62" y="457"/>
                  </a:lnTo>
                  <a:lnTo>
                    <a:pt x="62" y="457"/>
                  </a:lnTo>
                  <a:lnTo>
                    <a:pt x="62" y="459"/>
                  </a:lnTo>
                  <a:lnTo>
                    <a:pt x="64" y="459"/>
                  </a:lnTo>
                  <a:lnTo>
                    <a:pt x="66" y="461"/>
                  </a:lnTo>
                  <a:lnTo>
                    <a:pt x="70" y="463"/>
                  </a:lnTo>
                  <a:lnTo>
                    <a:pt x="74" y="467"/>
                  </a:lnTo>
                  <a:lnTo>
                    <a:pt x="76" y="467"/>
                  </a:lnTo>
                  <a:lnTo>
                    <a:pt x="78" y="469"/>
                  </a:lnTo>
                  <a:lnTo>
                    <a:pt x="78" y="469"/>
                  </a:lnTo>
                  <a:lnTo>
                    <a:pt x="78" y="471"/>
                  </a:lnTo>
                  <a:lnTo>
                    <a:pt x="78" y="471"/>
                  </a:lnTo>
                  <a:lnTo>
                    <a:pt x="78" y="471"/>
                  </a:lnTo>
                  <a:lnTo>
                    <a:pt x="78" y="476"/>
                  </a:lnTo>
                  <a:lnTo>
                    <a:pt x="80" y="478"/>
                  </a:lnTo>
                  <a:lnTo>
                    <a:pt x="80" y="478"/>
                  </a:lnTo>
                  <a:lnTo>
                    <a:pt x="82" y="480"/>
                  </a:lnTo>
                  <a:lnTo>
                    <a:pt x="84" y="482"/>
                  </a:lnTo>
                  <a:lnTo>
                    <a:pt x="88" y="484"/>
                  </a:lnTo>
                  <a:lnTo>
                    <a:pt x="88" y="484"/>
                  </a:lnTo>
                  <a:lnTo>
                    <a:pt x="88" y="480"/>
                  </a:lnTo>
                  <a:lnTo>
                    <a:pt x="88" y="480"/>
                  </a:lnTo>
                  <a:lnTo>
                    <a:pt x="88" y="480"/>
                  </a:lnTo>
                  <a:lnTo>
                    <a:pt x="90" y="480"/>
                  </a:lnTo>
                  <a:lnTo>
                    <a:pt x="92" y="482"/>
                  </a:lnTo>
                  <a:lnTo>
                    <a:pt x="94" y="482"/>
                  </a:lnTo>
                  <a:lnTo>
                    <a:pt x="94" y="480"/>
                  </a:lnTo>
                  <a:lnTo>
                    <a:pt x="94" y="476"/>
                  </a:lnTo>
                  <a:lnTo>
                    <a:pt x="97" y="471"/>
                  </a:lnTo>
                  <a:lnTo>
                    <a:pt x="97" y="469"/>
                  </a:lnTo>
                  <a:lnTo>
                    <a:pt x="99" y="469"/>
                  </a:lnTo>
                  <a:lnTo>
                    <a:pt x="97" y="469"/>
                  </a:lnTo>
                  <a:lnTo>
                    <a:pt x="97" y="467"/>
                  </a:lnTo>
                  <a:lnTo>
                    <a:pt x="99" y="465"/>
                  </a:lnTo>
                  <a:lnTo>
                    <a:pt x="97" y="463"/>
                  </a:lnTo>
                  <a:lnTo>
                    <a:pt x="94" y="461"/>
                  </a:lnTo>
                  <a:lnTo>
                    <a:pt x="97" y="457"/>
                  </a:lnTo>
                  <a:lnTo>
                    <a:pt x="97" y="455"/>
                  </a:lnTo>
                  <a:lnTo>
                    <a:pt x="99" y="451"/>
                  </a:lnTo>
                  <a:lnTo>
                    <a:pt x="99" y="451"/>
                  </a:lnTo>
                  <a:lnTo>
                    <a:pt x="99" y="451"/>
                  </a:lnTo>
                  <a:lnTo>
                    <a:pt x="101" y="449"/>
                  </a:lnTo>
                  <a:lnTo>
                    <a:pt x="103" y="449"/>
                  </a:lnTo>
                  <a:lnTo>
                    <a:pt x="105" y="447"/>
                  </a:lnTo>
                  <a:lnTo>
                    <a:pt x="105" y="445"/>
                  </a:lnTo>
                  <a:lnTo>
                    <a:pt x="107" y="443"/>
                  </a:lnTo>
                  <a:lnTo>
                    <a:pt x="107" y="443"/>
                  </a:lnTo>
                  <a:lnTo>
                    <a:pt x="107" y="443"/>
                  </a:lnTo>
                  <a:lnTo>
                    <a:pt x="109" y="443"/>
                  </a:lnTo>
                  <a:lnTo>
                    <a:pt x="109" y="441"/>
                  </a:lnTo>
                  <a:lnTo>
                    <a:pt x="109" y="441"/>
                  </a:lnTo>
                  <a:lnTo>
                    <a:pt x="109" y="439"/>
                  </a:lnTo>
                  <a:lnTo>
                    <a:pt x="109" y="437"/>
                  </a:lnTo>
                  <a:lnTo>
                    <a:pt x="109" y="437"/>
                  </a:lnTo>
                  <a:lnTo>
                    <a:pt x="111" y="435"/>
                  </a:lnTo>
                  <a:lnTo>
                    <a:pt x="111" y="435"/>
                  </a:lnTo>
                  <a:lnTo>
                    <a:pt x="109" y="435"/>
                  </a:lnTo>
                  <a:lnTo>
                    <a:pt x="109" y="435"/>
                  </a:lnTo>
                  <a:lnTo>
                    <a:pt x="107" y="437"/>
                  </a:lnTo>
                  <a:lnTo>
                    <a:pt x="107" y="435"/>
                  </a:lnTo>
                  <a:lnTo>
                    <a:pt x="107" y="432"/>
                  </a:lnTo>
                  <a:lnTo>
                    <a:pt x="105" y="430"/>
                  </a:lnTo>
                  <a:lnTo>
                    <a:pt x="107" y="428"/>
                  </a:lnTo>
                  <a:lnTo>
                    <a:pt x="107" y="426"/>
                  </a:lnTo>
                  <a:lnTo>
                    <a:pt x="107" y="424"/>
                  </a:lnTo>
                  <a:lnTo>
                    <a:pt x="109" y="424"/>
                  </a:lnTo>
                  <a:lnTo>
                    <a:pt x="109" y="426"/>
                  </a:lnTo>
                  <a:lnTo>
                    <a:pt x="111" y="426"/>
                  </a:lnTo>
                  <a:lnTo>
                    <a:pt x="111" y="424"/>
                  </a:lnTo>
                  <a:lnTo>
                    <a:pt x="113" y="422"/>
                  </a:lnTo>
                  <a:lnTo>
                    <a:pt x="113" y="422"/>
                  </a:lnTo>
                  <a:lnTo>
                    <a:pt x="113" y="424"/>
                  </a:lnTo>
                  <a:lnTo>
                    <a:pt x="113" y="424"/>
                  </a:lnTo>
                  <a:lnTo>
                    <a:pt x="115" y="422"/>
                  </a:lnTo>
                  <a:lnTo>
                    <a:pt x="117" y="422"/>
                  </a:lnTo>
                  <a:lnTo>
                    <a:pt x="117" y="420"/>
                  </a:lnTo>
                  <a:lnTo>
                    <a:pt x="117" y="418"/>
                  </a:lnTo>
                  <a:lnTo>
                    <a:pt x="115" y="416"/>
                  </a:lnTo>
                  <a:lnTo>
                    <a:pt x="115" y="414"/>
                  </a:lnTo>
                  <a:lnTo>
                    <a:pt x="113" y="414"/>
                  </a:lnTo>
                  <a:lnTo>
                    <a:pt x="111" y="414"/>
                  </a:lnTo>
                  <a:lnTo>
                    <a:pt x="109" y="414"/>
                  </a:lnTo>
                  <a:lnTo>
                    <a:pt x="107" y="414"/>
                  </a:lnTo>
                  <a:lnTo>
                    <a:pt x="111" y="414"/>
                  </a:lnTo>
                  <a:lnTo>
                    <a:pt x="111" y="412"/>
                  </a:lnTo>
                  <a:lnTo>
                    <a:pt x="111" y="412"/>
                  </a:lnTo>
                  <a:lnTo>
                    <a:pt x="111" y="410"/>
                  </a:lnTo>
                  <a:lnTo>
                    <a:pt x="111" y="410"/>
                  </a:lnTo>
                  <a:lnTo>
                    <a:pt x="111" y="408"/>
                  </a:lnTo>
                  <a:lnTo>
                    <a:pt x="113" y="406"/>
                  </a:lnTo>
                  <a:lnTo>
                    <a:pt x="113" y="402"/>
                  </a:lnTo>
                  <a:lnTo>
                    <a:pt x="115" y="400"/>
                  </a:lnTo>
                  <a:lnTo>
                    <a:pt x="117" y="394"/>
                  </a:lnTo>
                  <a:lnTo>
                    <a:pt x="117" y="394"/>
                  </a:lnTo>
                  <a:lnTo>
                    <a:pt x="119" y="394"/>
                  </a:lnTo>
                  <a:lnTo>
                    <a:pt x="119" y="394"/>
                  </a:lnTo>
                  <a:lnTo>
                    <a:pt x="121" y="391"/>
                  </a:lnTo>
                  <a:lnTo>
                    <a:pt x="121" y="391"/>
                  </a:lnTo>
                  <a:lnTo>
                    <a:pt x="123" y="389"/>
                  </a:lnTo>
                  <a:lnTo>
                    <a:pt x="123" y="387"/>
                  </a:lnTo>
                  <a:lnTo>
                    <a:pt x="123" y="387"/>
                  </a:lnTo>
                  <a:lnTo>
                    <a:pt x="125" y="385"/>
                  </a:lnTo>
                  <a:lnTo>
                    <a:pt x="125" y="387"/>
                  </a:lnTo>
                  <a:lnTo>
                    <a:pt x="125" y="389"/>
                  </a:lnTo>
                  <a:lnTo>
                    <a:pt x="123" y="389"/>
                  </a:lnTo>
                  <a:lnTo>
                    <a:pt x="123" y="389"/>
                  </a:lnTo>
                  <a:lnTo>
                    <a:pt x="125" y="389"/>
                  </a:lnTo>
                  <a:lnTo>
                    <a:pt x="127" y="387"/>
                  </a:lnTo>
                  <a:lnTo>
                    <a:pt x="127" y="387"/>
                  </a:lnTo>
                  <a:lnTo>
                    <a:pt x="127" y="389"/>
                  </a:lnTo>
                  <a:lnTo>
                    <a:pt x="125" y="396"/>
                  </a:lnTo>
                  <a:lnTo>
                    <a:pt x="125" y="400"/>
                  </a:lnTo>
                  <a:lnTo>
                    <a:pt x="127" y="400"/>
                  </a:lnTo>
                  <a:lnTo>
                    <a:pt x="127" y="398"/>
                  </a:lnTo>
                  <a:lnTo>
                    <a:pt x="127" y="396"/>
                  </a:lnTo>
                  <a:lnTo>
                    <a:pt x="127" y="394"/>
                  </a:lnTo>
                  <a:lnTo>
                    <a:pt x="127" y="391"/>
                  </a:lnTo>
                  <a:lnTo>
                    <a:pt x="129" y="389"/>
                  </a:lnTo>
                  <a:lnTo>
                    <a:pt x="129" y="387"/>
                  </a:lnTo>
                  <a:lnTo>
                    <a:pt x="129" y="385"/>
                  </a:lnTo>
                  <a:lnTo>
                    <a:pt x="131" y="387"/>
                  </a:lnTo>
                  <a:lnTo>
                    <a:pt x="129" y="400"/>
                  </a:lnTo>
                  <a:lnTo>
                    <a:pt x="129" y="400"/>
                  </a:lnTo>
                  <a:lnTo>
                    <a:pt x="129" y="400"/>
                  </a:lnTo>
                  <a:lnTo>
                    <a:pt x="129" y="400"/>
                  </a:lnTo>
                  <a:lnTo>
                    <a:pt x="129" y="398"/>
                  </a:lnTo>
                  <a:lnTo>
                    <a:pt x="129" y="398"/>
                  </a:lnTo>
                  <a:lnTo>
                    <a:pt x="129" y="396"/>
                  </a:lnTo>
                  <a:lnTo>
                    <a:pt x="131" y="396"/>
                  </a:lnTo>
                  <a:lnTo>
                    <a:pt x="133" y="391"/>
                  </a:lnTo>
                  <a:lnTo>
                    <a:pt x="133" y="391"/>
                  </a:lnTo>
                  <a:lnTo>
                    <a:pt x="133" y="391"/>
                  </a:lnTo>
                  <a:lnTo>
                    <a:pt x="135" y="389"/>
                  </a:lnTo>
                  <a:lnTo>
                    <a:pt x="135" y="389"/>
                  </a:lnTo>
                  <a:lnTo>
                    <a:pt x="135" y="387"/>
                  </a:lnTo>
                  <a:lnTo>
                    <a:pt x="133" y="385"/>
                  </a:lnTo>
                  <a:lnTo>
                    <a:pt x="133" y="385"/>
                  </a:lnTo>
                  <a:lnTo>
                    <a:pt x="131" y="385"/>
                  </a:lnTo>
                  <a:lnTo>
                    <a:pt x="131" y="383"/>
                  </a:lnTo>
                  <a:lnTo>
                    <a:pt x="133" y="383"/>
                  </a:lnTo>
                  <a:lnTo>
                    <a:pt x="133" y="383"/>
                  </a:lnTo>
                  <a:lnTo>
                    <a:pt x="133" y="383"/>
                  </a:lnTo>
                  <a:lnTo>
                    <a:pt x="135" y="383"/>
                  </a:lnTo>
                  <a:lnTo>
                    <a:pt x="135" y="383"/>
                  </a:lnTo>
                  <a:lnTo>
                    <a:pt x="135" y="383"/>
                  </a:lnTo>
                  <a:lnTo>
                    <a:pt x="135" y="385"/>
                  </a:lnTo>
                  <a:lnTo>
                    <a:pt x="135" y="385"/>
                  </a:lnTo>
                  <a:lnTo>
                    <a:pt x="137" y="387"/>
                  </a:lnTo>
                  <a:lnTo>
                    <a:pt x="137" y="387"/>
                  </a:lnTo>
                  <a:lnTo>
                    <a:pt x="137" y="389"/>
                  </a:lnTo>
                  <a:lnTo>
                    <a:pt x="137" y="389"/>
                  </a:lnTo>
                  <a:lnTo>
                    <a:pt x="137" y="389"/>
                  </a:lnTo>
                  <a:lnTo>
                    <a:pt x="137" y="389"/>
                  </a:lnTo>
                  <a:lnTo>
                    <a:pt x="137" y="394"/>
                  </a:lnTo>
                  <a:lnTo>
                    <a:pt x="137" y="394"/>
                  </a:lnTo>
                  <a:lnTo>
                    <a:pt x="140" y="396"/>
                  </a:lnTo>
                  <a:lnTo>
                    <a:pt x="140" y="396"/>
                  </a:lnTo>
                  <a:lnTo>
                    <a:pt x="142" y="398"/>
                  </a:lnTo>
                  <a:lnTo>
                    <a:pt x="142" y="400"/>
                  </a:lnTo>
                  <a:lnTo>
                    <a:pt x="142" y="398"/>
                  </a:lnTo>
                  <a:lnTo>
                    <a:pt x="142" y="398"/>
                  </a:lnTo>
                  <a:lnTo>
                    <a:pt x="144" y="396"/>
                  </a:lnTo>
                  <a:lnTo>
                    <a:pt x="144" y="396"/>
                  </a:lnTo>
                  <a:lnTo>
                    <a:pt x="144" y="394"/>
                  </a:lnTo>
                  <a:lnTo>
                    <a:pt x="144" y="391"/>
                  </a:lnTo>
                  <a:lnTo>
                    <a:pt x="144" y="391"/>
                  </a:lnTo>
                  <a:lnTo>
                    <a:pt x="142" y="389"/>
                  </a:lnTo>
                  <a:lnTo>
                    <a:pt x="140" y="385"/>
                  </a:lnTo>
                  <a:lnTo>
                    <a:pt x="140" y="383"/>
                  </a:lnTo>
                  <a:lnTo>
                    <a:pt x="135" y="375"/>
                  </a:lnTo>
                  <a:lnTo>
                    <a:pt x="133" y="371"/>
                  </a:lnTo>
                  <a:lnTo>
                    <a:pt x="133" y="373"/>
                  </a:lnTo>
                  <a:lnTo>
                    <a:pt x="133" y="373"/>
                  </a:lnTo>
                  <a:lnTo>
                    <a:pt x="131" y="375"/>
                  </a:lnTo>
                  <a:lnTo>
                    <a:pt x="131" y="375"/>
                  </a:lnTo>
                  <a:lnTo>
                    <a:pt x="129" y="373"/>
                  </a:lnTo>
                  <a:lnTo>
                    <a:pt x="129" y="373"/>
                  </a:lnTo>
                  <a:lnTo>
                    <a:pt x="129" y="371"/>
                  </a:lnTo>
                  <a:lnTo>
                    <a:pt x="133" y="365"/>
                  </a:lnTo>
                  <a:lnTo>
                    <a:pt x="133" y="365"/>
                  </a:lnTo>
                  <a:lnTo>
                    <a:pt x="135" y="363"/>
                  </a:lnTo>
                  <a:lnTo>
                    <a:pt x="135" y="363"/>
                  </a:lnTo>
                  <a:lnTo>
                    <a:pt x="135" y="361"/>
                  </a:lnTo>
                  <a:lnTo>
                    <a:pt x="137" y="363"/>
                  </a:lnTo>
                  <a:lnTo>
                    <a:pt x="135" y="363"/>
                  </a:lnTo>
                  <a:lnTo>
                    <a:pt x="135" y="365"/>
                  </a:lnTo>
                  <a:lnTo>
                    <a:pt x="135" y="367"/>
                  </a:lnTo>
                  <a:lnTo>
                    <a:pt x="135" y="371"/>
                  </a:lnTo>
                  <a:lnTo>
                    <a:pt x="135" y="371"/>
                  </a:lnTo>
                  <a:lnTo>
                    <a:pt x="137" y="373"/>
                  </a:lnTo>
                  <a:lnTo>
                    <a:pt x="137" y="375"/>
                  </a:lnTo>
                  <a:lnTo>
                    <a:pt x="137" y="375"/>
                  </a:lnTo>
                  <a:lnTo>
                    <a:pt x="137" y="377"/>
                  </a:lnTo>
                  <a:lnTo>
                    <a:pt x="140" y="379"/>
                  </a:lnTo>
                  <a:lnTo>
                    <a:pt x="140" y="379"/>
                  </a:lnTo>
                  <a:lnTo>
                    <a:pt x="140" y="381"/>
                  </a:lnTo>
                  <a:lnTo>
                    <a:pt x="142" y="381"/>
                  </a:lnTo>
                  <a:lnTo>
                    <a:pt x="144" y="387"/>
                  </a:lnTo>
                  <a:lnTo>
                    <a:pt x="144" y="387"/>
                  </a:lnTo>
                  <a:lnTo>
                    <a:pt x="144" y="387"/>
                  </a:lnTo>
                  <a:lnTo>
                    <a:pt x="144" y="387"/>
                  </a:lnTo>
                  <a:lnTo>
                    <a:pt x="144" y="387"/>
                  </a:lnTo>
                  <a:lnTo>
                    <a:pt x="144" y="387"/>
                  </a:lnTo>
                  <a:lnTo>
                    <a:pt x="144" y="387"/>
                  </a:lnTo>
                  <a:lnTo>
                    <a:pt x="144" y="387"/>
                  </a:lnTo>
                  <a:lnTo>
                    <a:pt x="144" y="389"/>
                  </a:lnTo>
                  <a:lnTo>
                    <a:pt x="146" y="391"/>
                  </a:lnTo>
                  <a:lnTo>
                    <a:pt x="146" y="391"/>
                  </a:lnTo>
                  <a:lnTo>
                    <a:pt x="148" y="389"/>
                  </a:lnTo>
                  <a:lnTo>
                    <a:pt x="148" y="383"/>
                  </a:lnTo>
                  <a:lnTo>
                    <a:pt x="148" y="381"/>
                  </a:lnTo>
                  <a:lnTo>
                    <a:pt x="146" y="381"/>
                  </a:lnTo>
                  <a:lnTo>
                    <a:pt x="146" y="383"/>
                  </a:lnTo>
                  <a:lnTo>
                    <a:pt x="146" y="385"/>
                  </a:lnTo>
                  <a:lnTo>
                    <a:pt x="146" y="385"/>
                  </a:lnTo>
                  <a:lnTo>
                    <a:pt x="146" y="383"/>
                  </a:lnTo>
                  <a:lnTo>
                    <a:pt x="146" y="381"/>
                  </a:lnTo>
                  <a:lnTo>
                    <a:pt x="144" y="379"/>
                  </a:lnTo>
                  <a:lnTo>
                    <a:pt x="144" y="379"/>
                  </a:lnTo>
                  <a:lnTo>
                    <a:pt x="142" y="379"/>
                  </a:lnTo>
                  <a:lnTo>
                    <a:pt x="142" y="379"/>
                  </a:lnTo>
                  <a:lnTo>
                    <a:pt x="142" y="377"/>
                  </a:lnTo>
                  <a:lnTo>
                    <a:pt x="146" y="365"/>
                  </a:lnTo>
                  <a:lnTo>
                    <a:pt x="148" y="363"/>
                  </a:lnTo>
                  <a:lnTo>
                    <a:pt x="148" y="363"/>
                  </a:lnTo>
                  <a:lnTo>
                    <a:pt x="150" y="361"/>
                  </a:lnTo>
                  <a:lnTo>
                    <a:pt x="150" y="363"/>
                  </a:lnTo>
                  <a:lnTo>
                    <a:pt x="148" y="363"/>
                  </a:lnTo>
                  <a:lnTo>
                    <a:pt x="148" y="365"/>
                  </a:lnTo>
                  <a:lnTo>
                    <a:pt x="148" y="369"/>
                  </a:lnTo>
                  <a:lnTo>
                    <a:pt x="148" y="369"/>
                  </a:lnTo>
                  <a:lnTo>
                    <a:pt x="148" y="371"/>
                  </a:lnTo>
                  <a:lnTo>
                    <a:pt x="150" y="371"/>
                  </a:lnTo>
                  <a:lnTo>
                    <a:pt x="150" y="371"/>
                  </a:lnTo>
                  <a:lnTo>
                    <a:pt x="152" y="373"/>
                  </a:lnTo>
                  <a:lnTo>
                    <a:pt x="152" y="373"/>
                  </a:lnTo>
                  <a:lnTo>
                    <a:pt x="150" y="373"/>
                  </a:lnTo>
                  <a:lnTo>
                    <a:pt x="150" y="373"/>
                  </a:lnTo>
                  <a:lnTo>
                    <a:pt x="150" y="373"/>
                  </a:lnTo>
                  <a:lnTo>
                    <a:pt x="150" y="375"/>
                  </a:lnTo>
                  <a:lnTo>
                    <a:pt x="150" y="375"/>
                  </a:lnTo>
                  <a:lnTo>
                    <a:pt x="150" y="375"/>
                  </a:lnTo>
                  <a:lnTo>
                    <a:pt x="150" y="379"/>
                  </a:lnTo>
                  <a:lnTo>
                    <a:pt x="150" y="379"/>
                  </a:lnTo>
                  <a:lnTo>
                    <a:pt x="150" y="379"/>
                  </a:lnTo>
                  <a:lnTo>
                    <a:pt x="152" y="381"/>
                  </a:lnTo>
                  <a:lnTo>
                    <a:pt x="154" y="381"/>
                  </a:lnTo>
                  <a:lnTo>
                    <a:pt x="154" y="381"/>
                  </a:lnTo>
                  <a:lnTo>
                    <a:pt x="156" y="379"/>
                  </a:lnTo>
                  <a:lnTo>
                    <a:pt x="156" y="383"/>
                  </a:lnTo>
                  <a:lnTo>
                    <a:pt x="158" y="383"/>
                  </a:lnTo>
                  <a:lnTo>
                    <a:pt x="158" y="381"/>
                  </a:lnTo>
                  <a:lnTo>
                    <a:pt x="158" y="379"/>
                  </a:lnTo>
                  <a:lnTo>
                    <a:pt x="156" y="377"/>
                  </a:lnTo>
                  <a:lnTo>
                    <a:pt x="156" y="377"/>
                  </a:lnTo>
                  <a:lnTo>
                    <a:pt x="154" y="375"/>
                  </a:lnTo>
                  <a:lnTo>
                    <a:pt x="154" y="375"/>
                  </a:lnTo>
                  <a:lnTo>
                    <a:pt x="154" y="373"/>
                  </a:lnTo>
                  <a:lnTo>
                    <a:pt x="154" y="373"/>
                  </a:lnTo>
                  <a:lnTo>
                    <a:pt x="154" y="373"/>
                  </a:lnTo>
                  <a:lnTo>
                    <a:pt x="154" y="373"/>
                  </a:lnTo>
                  <a:lnTo>
                    <a:pt x="154" y="371"/>
                  </a:lnTo>
                  <a:lnTo>
                    <a:pt x="154" y="371"/>
                  </a:lnTo>
                  <a:lnTo>
                    <a:pt x="154" y="369"/>
                  </a:lnTo>
                  <a:lnTo>
                    <a:pt x="154" y="369"/>
                  </a:lnTo>
                  <a:lnTo>
                    <a:pt x="154" y="367"/>
                  </a:lnTo>
                  <a:lnTo>
                    <a:pt x="154" y="367"/>
                  </a:lnTo>
                  <a:lnTo>
                    <a:pt x="154" y="363"/>
                  </a:lnTo>
                  <a:lnTo>
                    <a:pt x="154" y="361"/>
                  </a:lnTo>
                  <a:lnTo>
                    <a:pt x="156" y="361"/>
                  </a:lnTo>
                  <a:lnTo>
                    <a:pt x="156" y="363"/>
                  </a:lnTo>
                  <a:lnTo>
                    <a:pt x="156" y="367"/>
                  </a:lnTo>
                  <a:lnTo>
                    <a:pt x="156" y="369"/>
                  </a:lnTo>
                  <a:lnTo>
                    <a:pt x="156" y="369"/>
                  </a:lnTo>
                  <a:lnTo>
                    <a:pt x="156" y="371"/>
                  </a:lnTo>
                  <a:lnTo>
                    <a:pt x="156" y="371"/>
                  </a:lnTo>
                  <a:lnTo>
                    <a:pt x="156" y="371"/>
                  </a:lnTo>
                  <a:lnTo>
                    <a:pt x="156" y="373"/>
                  </a:lnTo>
                  <a:lnTo>
                    <a:pt x="156" y="373"/>
                  </a:lnTo>
                  <a:lnTo>
                    <a:pt x="156" y="375"/>
                  </a:lnTo>
                  <a:lnTo>
                    <a:pt x="156" y="375"/>
                  </a:lnTo>
                  <a:lnTo>
                    <a:pt x="158" y="377"/>
                  </a:lnTo>
                  <a:lnTo>
                    <a:pt x="158" y="377"/>
                  </a:lnTo>
                  <a:lnTo>
                    <a:pt x="158" y="379"/>
                  </a:lnTo>
                  <a:lnTo>
                    <a:pt x="160" y="379"/>
                  </a:lnTo>
                  <a:lnTo>
                    <a:pt x="158" y="377"/>
                  </a:lnTo>
                  <a:lnTo>
                    <a:pt x="158" y="375"/>
                  </a:lnTo>
                  <a:lnTo>
                    <a:pt x="158" y="373"/>
                  </a:lnTo>
                  <a:lnTo>
                    <a:pt x="158" y="373"/>
                  </a:lnTo>
                  <a:lnTo>
                    <a:pt x="160" y="375"/>
                  </a:lnTo>
                  <a:lnTo>
                    <a:pt x="160" y="375"/>
                  </a:lnTo>
                  <a:lnTo>
                    <a:pt x="162" y="377"/>
                  </a:lnTo>
                  <a:lnTo>
                    <a:pt x="162" y="379"/>
                  </a:lnTo>
                  <a:lnTo>
                    <a:pt x="164" y="377"/>
                  </a:lnTo>
                  <a:lnTo>
                    <a:pt x="164" y="373"/>
                  </a:lnTo>
                  <a:lnTo>
                    <a:pt x="164" y="365"/>
                  </a:lnTo>
                  <a:lnTo>
                    <a:pt x="164" y="363"/>
                  </a:lnTo>
                  <a:lnTo>
                    <a:pt x="164" y="361"/>
                  </a:lnTo>
                  <a:lnTo>
                    <a:pt x="164" y="361"/>
                  </a:lnTo>
                  <a:lnTo>
                    <a:pt x="166" y="361"/>
                  </a:lnTo>
                  <a:lnTo>
                    <a:pt x="166" y="359"/>
                  </a:lnTo>
                  <a:lnTo>
                    <a:pt x="166" y="357"/>
                  </a:lnTo>
                  <a:lnTo>
                    <a:pt x="166" y="357"/>
                  </a:lnTo>
                  <a:lnTo>
                    <a:pt x="166" y="355"/>
                  </a:lnTo>
                  <a:lnTo>
                    <a:pt x="168" y="355"/>
                  </a:lnTo>
                  <a:lnTo>
                    <a:pt x="168" y="353"/>
                  </a:lnTo>
                  <a:lnTo>
                    <a:pt x="168" y="353"/>
                  </a:lnTo>
                  <a:lnTo>
                    <a:pt x="168" y="353"/>
                  </a:lnTo>
                  <a:lnTo>
                    <a:pt x="168" y="355"/>
                  </a:lnTo>
                  <a:lnTo>
                    <a:pt x="168" y="357"/>
                  </a:lnTo>
                  <a:lnTo>
                    <a:pt x="168" y="357"/>
                  </a:lnTo>
                  <a:lnTo>
                    <a:pt x="170" y="357"/>
                  </a:lnTo>
                  <a:lnTo>
                    <a:pt x="170" y="357"/>
                  </a:lnTo>
                  <a:lnTo>
                    <a:pt x="170" y="359"/>
                  </a:lnTo>
                  <a:lnTo>
                    <a:pt x="170" y="361"/>
                  </a:lnTo>
                  <a:lnTo>
                    <a:pt x="170" y="361"/>
                  </a:lnTo>
                  <a:lnTo>
                    <a:pt x="172" y="359"/>
                  </a:lnTo>
                  <a:lnTo>
                    <a:pt x="172" y="359"/>
                  </a:lnTo>
                  <a:lnTo>
                    <a:pt x="174" y="359"/>
                  </a:lnTo>
                  <a:lnTo>
                    <a:pt x="174" y="363"/>
                  </a:lnTo>
                  <a:lnTo>
                    <a:pt x="174" y="363"/>
                  </a:lnTo>
                  <a:lnTo>
                    <a:pt x="176" y="363"/>
                  </a:lnTo>
                  <a:lnTo>
                    <a:pt x="178" y="355"/>
                  </a:lnTo>
                  <a:lnTo>
                    <a:pt x="180" y="355"/>
                  </a:lnTo>
                  <a:lnTo>
                    <a:pt x="180" y="357"/>
                  </a:lnTo>
                  <a:lnTo>
                    <a:pt x="178" y="361"/>
                  </a:lnTo>
                  <a:lnTo>
                    <a:pt x="178" y="363"/>
                  </a:lnTo>
                  <a:lnTo>
                    <a:pt x="178" y="363"/>
                  </a:lnTo>
                  <a:lnTo>
                    <a:pt x="180" y="363"/>
                  </a:lnTo>
                  <a:lnTo>
                    <a:pt x="180" y="363"/>
                  </a:lnTo>
                  <a:lnTo>
                    <a:pt x="185" y="361"/>
                  </a:lnTo>
                  <a:lnTo>
                    <a:pt x="183" y="359"/>
                  </a:lnTo>
                  <a:lnTo>
                    <a:pt x="183" y="359"/>
                  </a:lnTo>
                  <a:lnTo>
                    <a:pt x="183" y="357"/>
                  </a:lnTo>
                  <a:lnTo>
                    <a:pt x="183" y="357"/>
                  </a:lnTo>
                  <a:lnTo>
                    <a:pt x="183" y="357"/>
                  </a:lnTo>
                  <a:lnTo>
                    <a:pt x="185" y="355"/>
                  </a:lnTo>
                  <a:lnTo>
                    <a:pt x="185" y="355"/>
                  </a:lnTo>
                  <a:lnTo>
                    <a:pt x="185" y="355"/>
                  </a:lnTo>
                  <a:lnTo>
                    <a:pt x="187" y="355"/>
                  </a:lnTo>
                  <a:lnTo>
                    <a:pt x="187" y="353"/>
                  </a:lnTo>
                  <a:lnTo>
                    <a:pt x="187" y="351"/>
                  </a:lnTo>
                  <a:lnTo>
                    <a:pt x="187" y="348"/>
                  </a:lnTo>
                  <a:lnTo>
                    <a:pt x="189" y="348"/>
                  </a:lnTo>
                  <a:lnTo>
                    <a:pt x="191" y="346"/>
                  </a:lnTo>
                  <a:lnTo>
                    <a:pt x="191" y="344"/>
                  </a:lnTo>
                  <a:lnTo>
                    <a:pt x="191" y="342"/>
                  </a:lnTo>
                  <a:lnTo>
                    <a:pt x="189" y="344"/>
                  </a:lnTo>
                  <a:lnTo>
                    <a:pt x="187" y="342"/>
                  </a:lnTo>
                  <a:lnTo>
                    <a:pt x="187" y="340"/>
                  </a:lnTo>
                  <a:lnTo>
                    <a:pt x="187" y="340"/>
                  </a:lnTo>
                  <a:lnTo>
                    <a:pt x="187" y="338"/>
                  </a:lnTo>
                  <a:lnTo>
                    <a:pt x="187" y="338"/>
                  </a:lnTo>
                  <a:lnTo>
                    <a:pt x="187" y="336"/>
                  </a:lnTo>
                  <a:lnTo>
                    <a:pt x="187" y="334"/>
                  </a:lnTo>
                  <a:lnTo>
                    <a:pt x="187" y="328"/>
                  </a:lnTo>
                  <a:lnTo>
                    <a:pt x="189" y="326"/>
                  </a:lnTo>
                  <a:lnTo>
                    <a:pt x="189" y="322"/>
                  </a:lnTo>
                  <a:lnTo>
                    <a:pt x="189" y="320"/>
                  </a:lnTo>
                  <a:lnTo>
                    <a:pt x="191" y="320"/>
                  </a:lnTo>
                  <a:lnTo>
                    <a:pt x="193" y="318"/>
                  </a:lnTo>
                  <a:lnTo>
                    <a:pt x="193" y="316"/>
                  </a:lnTo>
                  <a:lnTo>
                    <a:pt x="191" y="314"/>
                  </a:lnTo>
                  <a:lnTo>
                    <a:pt x="189" y="312"/>
                  </a:lnTo>
                  <a:lnTo>
                    <a:pt x="187" y="310"/>
                  </a:lnTo>
                  <a:lnTo>
                    <a:pt x="187" y="310"/>
                  </a:lnTo>
                  <a:lnTo>
                    <a:pt x="187" y="310"/>
                  </a:lnTo>
                  <a:lnTo>
                    <a:pt x="187" y="307"/>
                  </a:lnTo>
                  <a:lnTo>
                    <a:pt x="187" y="305"/>
                  </a:lnTo>
                  <a:lnTo>
                    <a:pt x="191" y="303"/>
                  </a:lnTo>
                  <a:lnTo>
                    <a:pt x="191" y="303"/>
                  </a:lnTo>
                  <a:lnTo>
                    <a:pt x="193" y="301"/>
                  </a:lnTo>
                  <a:lnTo>
                    <a:pt x="193" y="299"/>
                  </a:lnTo>
                  <a:lnTo>
                    <a:pt x="195" y="299"/>
                  </a:lnTo>
                  <a:lnTo>
                    <a:pt x="195" y="301"/>
                  </a:lnTo>
                  <a:lnTo>
                    <a:pt x="195" y="301"/>
                  </a:lnTo>
                  <a:lnTo>
                    <a:pt x="197" y="301"/>
                  </a:lnTo>
                  <a:lnTo>
                    <a:pt x="199" y="299"/>
                  </a:lnTo>
                  <a:lnTo>
                    <a:pt x="197" y="299"/>
                  </a:lnTo>
                  <a:lnTo>
                    <a:pt x="197" y="299"/>
                  </a:lnTo>
                  <a:lnTo>
                    <a:pt x="197" y="293"/>
                  </a:lnTo>
                  <a:lnTo>
                    <a:pt x="197" y="289"/>
                  </a:lnTo>
                  <a:lnTo>
                    <a:pt x="197" y="289"/>
                  </a:lnTo>
                  <a:lnTo>
                    <a:pt x="197" y="289"/>
                  </a:lnTo>
                  <a:lnTo>
                    <a:pt x="201" y="289"/>
                  </a:lnTo>
                  <a:lnTo>
                    <a:pt x="201" y="291"/>
                  </a:lnTo>
                  <a:lnTo>
                    <a:pt x="201" y="297"/>
                  </a:lnTo>
                  <a:lnTo>
                    <a:pt x="201" y="297"/>
                  </a:lnTo>
                  <a:lnTo>
                    <a:pt x="201" y="299"/>
                  </a:lnTo>
                  <a:lnTo>
                    <a:pt x="201" y="299"/>
                  </a:lnTo>
                  <a:lnTo>
                    <a:pt x="201" y="299"/>
                  </a:lnTo>
                  <a:lnTo>
                    <a:pt x="199" y="301"/>
                  </a:lnTo>
                  <a:lnTo>
                    <a:pt x="199" y="301"/>
                  </a:lnTo>
                  <a:lnTo>
                    <a:pt x="199" y="303"/>
                  </a:lnTo>
                  <a:lnTo>
                    <a:pt x="199" y="305"/>
                  </a:lnTo>
                  <a:lnTo>
                    <a:pt x="199" y="305"/>
                  </a:lnTo>
                  <a:lnTo>
                    <a:pt x="201" y="307"/>
                  </a:lnTo>
                  <a:lnTo>
                    <a:pt x="201" y="307"/>
                  </a:lnTo>
                  <a:lnTo>
                    <a:pt x="201" y="305"/>
                  </a:lnTo>
                  <a:lnTo>
                    <a:pt x="203" y="303"/>
                  </a:lnTo>
                  <a:lnTo>
                    <a:pt x="203" y="301"/>
                  </a:lnTo>
                  <a:lnTo>
                    <a:pt x="205" y="299"/>
                  </a:lnTo>
                  <a:lnTo>
                    <a:pt x="207" y="301"/>
                  </a:lnTo>
                  <a:lnTo>
                    <a:pt x="209" y="303"/>
                  </a:lnTo>
                  <a:lnTo>
                    <a:pt x="207" y="303"/>
                  </a:lnTo>
                  <a:lnTo>
                    <a:pt x="207" y="303"/>
                  </a:lnTo>
                  <a:lnTo>
                    <a:pt x="205" y="303"/>
                  </a:lnTo>
                  <a:lnTo>
                    <a:pt x="205" y="303"/>
                  </a:lnTo>
                  <a:lnTo>
                    <a:pt x="205" y="303"/>
                  </a:lnTo>
                  <a:lnTo>
                    <a:pt x="203" y="305"/>
                  </a:lnTo>
                  <a:lnTo>
                    <a:pt x="205" y="305"/>
                  </a:lnTo>
                  <a:lnTo>
                    <a:pt x="205" y="307"/>
                  </a:lnTo>
                  <a:lnTo>
                    <a:pt x="205" y="307"/>
                  </a:lnTo>
                  <a:lnTo>
                    <a:pt x="205" y="310"/>
                  </a:lnTo>
                  <a:lnTo>
                    <a:pt x="203" y="310"/>
                  </a:lnTo>
                  <a:lnTo>
                    <a:pt x="203" y="307"/>
                  </a:lnTo>
                  <a:lnTo>
                    <a:pt x="203" y="307"/>
                  </a:lnTo>
                  <a:lnTo>
                    <a:pt x="201" y="310"/>
                  </a:lnTo>
                  <a:lnTo>
                    <a:pt x="201" y="312"/>
                  </a:lnTo>
                  <a:lnTo>
                    <a:pt x="201" y="316"/>
                  </a:lnTo>
                  <a:lnTo>
                    <a:pt x="203" y="314"/>
                  </a:lnTo>
                  <a:lnTo>
                    <a:pt x="205" y="312"/>
                  </a:lnTo>
                  <a:lnTo>
                    <a:pt x="207" y="312"/>
                  </a:lnTo>
                  <a:lnTo>
                    <a:pt x="211" y="314"/>
                  </a:lnTo>
                  <a:lnTo>
                    <a:pt x="213" y="314"/>
                  </a:lnTo>
                  <a:lnTo>
                    <a:pt x="213" y="314"/>
                  </a:lnTo>
                  <a:lnTo>
                    <a:pt x="217" y="314"/>
                  </a:lnTo>
                  <a:lnTo>
                    <a:pt x="226" y="316"/>
                  </a:lnTo>
                  <a:lnTo>
                    <a:pt x="228" y="316"/>
                  </a:lnTo>
                  <a:lnTo>
                    <a:pt x="226" y="316"/>
                  </a:lnTo>
                  <a:lnTo>
                    <a:pt x="226" y="314"/>
                  </a:lnTo>
                  <a:lnTo>
                    <a:pt x="226" y="314"/>
                  </a:lnTo>
                  <a:lnTo>
                    <a:pt x="223" y="314"/>
                  </a:lnTo>
                  <a:lnTo>
                    <a:pt x="226" y="314"/>
                  </a:lnTo>
                  <a:lnTo>
                    <a:pt x="226" y="314"/>
                  </a:lnTo>
                  <a:lnTo>
                    <a:pt x="226" y="312"/>
                  </a:lnTo>
                  <a:lnTo>
                    <a:pt x="226" y="310"/>
                  </a:lnTo>
                  <a:lnTo>
                    <a:pt x="223" y="310"/>
                  </a:lnTo>
                  <a:lnTo>
                    <a:pt x="223" y="310"/>
                  </a:lnTo>
                  <a:lnTo>
                    <a:pt x="221" y="310"/>
                  </a:lnTo>
                  <a:lnTo>
                    <a:pt x="221" y="310"/>
                  </a:lnTo>
                  <a:lnTo>
                    <a:pt x="221" y="307"/>
                  </a:lnTo>
                  <a:lnTo>
                    <a:pt x="221" y="305"/>
                  </a:lnTo>
                  <a:lnTo>
                    <a:pt x="221" y="303"/>
                  </a:lnTo>
                  <a:lnTo>
                    <a:pt x="219" y="303"/>
                  </a:lnTo>
                  <a:lnTo>
                    <a:pt x="219" y="301"/>
                  </a:lnTo>
                  <a:lnTo>
                    <a:pt x="217" y="299"/>
                  </a:lnTo>
                  <a:lnTo>
                    <a:pt x="219" y="299"/>
                  </a:lnTo>
                  <a:lnTo>
                    <a:pt x="221" y="299"/>
                  </a:lnTo>
                  <a:lnTo>
                    <a:pt x="223" y="297"/>
                  </a:lnTo>
                  <a:lnTo>
                    <a:pt x="223" y="295"/>
                  </a:lnTo>
                  <a:lnTo>
                    <a:pt x="226" y="297"/>
                  </a:lnTo>
                  <a:lnTo>
                    <a:pt x="226" y="297"/>
                  </a:lnTo>
                  <a:lnTo>
                    <a:pt x="226" y="299"/>
                  </a:lnTo>
                  <a:lnTo>
                    <a:pt x="226" y="301"/>
                  </a:lnTo>
                  <a:lnTo>
                    <a:pt x="228" y="299"/>
                  </a:lnTo>
                  <a:lnTo>
                    <a:pt x="228" y="297"/>
                  </a:lnTo>
                  <a:lnTo>
                    <a:pt x="228" y="297"/>
                  </a:lnTo>
                  <a:lnTo>
                    <a:pt x="228" y="297"/>
                  </a:lnTo>
                  <a:lnTo>
                    <a:pt x="228" y="295"/>
                  </a:lnTo>
                  <a:lnTo>
                    <a:pt x="226" y="295"/>
                  </a:lnTo>
                  <a:lnTo>
                    <a:pt x="226" y="295"/>
                  </a:lnTo>
                  <a:lnTo>
                    <a:pt x="226" y="295"/>
                  </a:lnTo>
                  <a:lnTo>
                    <a:pt x="226" y="295"/>
                  </a:lnTo>
                  <a:lnTo>
                    <a:pt x="226" y="293"/>
                  </a:lnTo>
                  <a:lnTo>
                    <a:pt x="226" y="293"/>
                  </a:lnTo>
                  <a:lnTo>
                    <a:pt x="226" y="293"/>
                  </a:lnTo>
                  <a:lnTo>
                    <a:pt x="223" y="289"/>
                  </a:lnTo>
                  <a:lnTo>
                    <a:pt x="226" y="289"/>
                  </a:lnTo>
                  <a:lnTo>
                    <a:pt x="226" y="289"/>
                  </a:lnTo>
                  <a:lnTo>
                    <a:pt x="228" y="291"/>
                  </a:lnTo>
                  <a:lnTo>
                    <a:pt x="230" y="295"/>
                  </a:lnTo>
                  <a:lnTo>
                    <a:pt x="230" y="297"/>
                  </a:lnTo>
                  <a:lnTo>
                    <a:pt x="230" y="297"/>
                  </a:lnTo>
                  <a:lnTo>
                    <a:pt x="232" y="295"/>
                  </a:lnTo>
                  <a:lnTo>
                    <a:pt x="232" y="295"/>
                  </a:lnTo>
                  <a:lnTo>
                    <a:pt x="234" y="291"/>
                  </a:lnTo>
                  <a:lnTo>
                    <a:pt x="234" y="289"/>
                  </a:lnTo>
                  <a:lnTo>
                    <a:pt x="234" y="291"/>
                  </a:lnTo>
                  <a:lnTo>
                    <a:pt x="236" y="289"/>
                  </a:lnTo>
                  <a:lnTo>
                    <a:pt x="240" y="289"/>
                  </a:lnTo>
                  <a:lnTo>
                    <a:pt x="240" y="289"/>
                  </a:lnTo>
                  <a:lnTo>
                    <a:pt x="240" y="289"/>
                  </a:lnTo>
                  <a:lnTo>
                    <a:pt x="238" y="289"/>
                  </a:lnTo>
                  <a:lnTo>
                    <a:pt x="238" y="287"/>
                  </a:lnTo>
                  <a:lnTo>
                    <a:pt x="238" y="285"/>
                  </a:lnTo>
                  <a:lnTo>
                    <a:pt x="238" y="285"/>
                  </a:lnTo>
                  <a:lnTo>
                    <a:pt x="234" y="285"/>
                  </a:lnTo>
                  <a:lnTo>
                    <a:pt x="234" y="283"/>
                  </a:lnTo>
                  <a:lnTo>
                    <a:pt x="236" y="281"/>
                  </a:lnTo>
                  <a:lnTo>
                    <a:pt x="238" y="283"/>
                  </a:lnTo>
                  <a:lnTo>
                    <a:pt x="238" y="281"/>
                  </a:lnTo>
                  <a:lnTo>
                    <a:pt x="240" y="283"/>
                  </a:lnTo>
                  <a:lnTo>
                    <a:pt x="240" y="285"/>
                  </a:lnTo>
                  <a:lnTo>
                    <a:pt x="242" y="287"/>
                  </a:lnTo>
                  <a:lnTo>
                    <a:pt x="244" y="285"/>
                  </a:lnTo>
                  <a:lnTo>
                    <a:pt x="242" y="285"/>
                  </a:lnTo>
                  <a:lnTo>
                    <a:pt x="242" y="283"/>
                  </a:lnTo>
                  <a:lnTo>
                    <a:pt x="242" y="281"/>
                  </a:lnTo>
                  <a:lnTo>
                    <a:pt x="244" y="281"/>
                  </a:lnTo>
                  <a:lnTo>
                    <a:pt x="244" y="283"/>
                  </a:lnTo>
                  <a:lnTo>
                    <a:pt x="246" y="285"/>
                  </a:lnTo>
                  <a:lnTo>
                    <a:pt x="246" y="285"/>
                  </a:lnTo>
                  <a:lnTo>
                    <a:pt x="246" y="287"/>
                  </a:lnTo>
                  <a:lnTo>
                    <a:pt x="248" y="285"/>
                  </a:lnTo>
                  <a:lnTo>
                    <a:pt x="248" y="285"/>
                  </a:lnTo>
                  <a:lnTo>
                    <a:pt x="248" y="285"/>
                  </a:lnTo>
                  <a:lnTo>
                    <a:pt x="248" y="285"/>
                  </a:lnTo>
                  <a:lnTo>
                    <a:pt x="246" y="283"/>
                  </a:lnTo>
                  <a:lnTo>
                    <a:pt x="246" y="283"/>
                  </a:lnTo>
                  <a:lnTo>
                    <a:pt x="246" y="283"/>
                  </a:lnTo>
                  <a:lnTo>
                    <a:pt x="246" y="281"/>
                  </a:lnTo>
                  <a:lnTo>
                    <a:pt x="248" y="281"/>
                  </a:lnTo>
                  <a:lnTo>
                    <a:pt x="248" y="281"/>
                  </a:lnTo>
                  <a:lnTo>
                    <a:pt x="248" y="281"/>
                  </a:lnTo>
                  <a:lnTo>
                    <a:pt x="248" y="283"/>
                  </a:lnTo>
                  <a:lnTo>
                    <a:pt x="248" y="283"/>
                  </a:lnTo>
                  <a:lnTo>
                    <a:pt x="250" y="283"/>
                  </a:lnTo>
                  <a:lnTo>
                    <a:pt x="252" y="285"/>
                  </a:lnTo>
                  <a:lnTo>
                    <a:pt x="252" y="287"/>
                  </a:lnTo>
                  <a:lnTo>
                    <a:pt x="252" y="289"/>
                  </a:lnTo>
                  <a:lnTo>
                    <a:pt x="254" y="291"/>
                  </a:lnTo>
                  <a:lnTo>
                    <a:pt x="256" y="293"/>
                  </a:lnTo>
                  <a:lnTo>
                    <a:pt x="256" y="293"/>
                  </a:lnTo>
                  <a:lnTo>
                    <a:pt x="258" y="291"/>
                  </a:lnTo>
                  <a:lnTo>
                    <a:pt x="258" y="293"/>
                  </a:lnTo>
                  <a:lnTo>
                    <a:pt x="258" y="295"/>
                  </a:lnTo>
                  <a:lnTo>
                    <a:pt x="258" y="295"/>
                  </a:lnTo>
                  <a:lnTo>
                    <a:pt x="260" y="297"/>
                  </a:lnTo>
                  <a:lnTo>
                    <a:pt x="260" y="295"/>
                  </a:lnTo>
                  <a:lnTo>
                    <a:pt x="260" y="291"/>
                  </a:lnTo>
                  <a:lnTo>
                    <a:pt x="260" y="289"/>
                  </a:lnTo>
                  <a:lnTo>
                    <a:pt x="260" y="289"/>
                  </a:lnTo>
                  <a:lnTo>
                    <a:pt x="260" y="289"/>
                  </a:lnTo>
                  <a:lnTo>
                    <a:pt x="262" y="289"/>
                  </a:lnTo>
                  <a:lnTo>
                    <a:pt x="262" y="289"/>
                  </a:lnTo>
                  <a:lnTo>
                    <a:pt x="262" y="289"/>
                  </a:lnTo>
                  <a:lnTo>
                    <a:pt x="262" y="289"/>
                  </a:lnTo>
                  <a:lnTo>
                    <a:pt x="264" y="289"/>
                  </a:lnTo>
                  <a:lnTo>
                    <a:pt x="264" y="289"/>
                  </a:lnTo>
                  <a:lnTo>
                    <a:pt x="264" y="287"/>
                  </a:lnTo>
                  <a:lnTo>
                    <a:pt x="264" y="287"/>
                  </a:lnTo>
                  <a:lnTo>
                    <a:pt x="264" y="287"/>
                  </a:lnTo>
                  <a:lnTo>
                    <a:pt x="262" y="287"/>
                  </a:lnTo>
                  <a:lnTo>
                    <a:pt x="262" y="283"/>
                  </a:lnTo>
                  <a:lnTo>
                    <a:pt x="262" y="283"/>
                  </a:lnTo>
                  <a:lnTo>
                    <a:pt x="258" y="283"/>
                  </a:lnTo>
                  <a:lnTo>
                    <a:pt x="258" y="281"/>
                  </a:lnTo>
                  <a:lnTo>
                    <a:pt x="258" y="281"/>
                  </a:lnTo>
                  <a:lnTo>
                    <a:pt x="260" y="281"/>
                  </a:lnTo>
                  <a:lnTo>
                    <a:pt x="260" y="281"/>
                  </a:lnTo>
                  <a:lnTo>
                    <a:pt x="260" y="281"/>
                  </a:lnTo>
                  <a:lnTo>
                    <a:pt x="260" y="279"/>
                  </a:lnTo>
                  <a:lnTo>
                    <a:pt x="260" y="279"/>
                  </a:lnTo>
                  <a:lnTo>
                    <a:pt x="260" y="277"/>
                  </a:lnTo>
                  <a:lnTo>
                    <a:pt x="260" y="277"/>
                  </a:lnTo>
                  <a:lnTo>
                    <a:pt x="264" y="283"/>
                  </a:lnTo>
                  <a:lnTo>
                    <a:pt x="264" y="285"/>
                  </a:lnTo>
                  <a:lnTo>
                    <a:pt x="264" y="285"/>
                  </a:lnTo>
                  <a:lnTo>
                    <a:pt x="264" y="285"/>
                  </a:lnTo>
                  <a:lnTo>
                    <a:pt x="264" y="285"/>
                  </a:lnTo>
                  <a:lnTo>
                    <a:pt x="267" y="285"/>
                  </a:lnTo>
                  <a:lnTo>
                    <a:pt x="267" y="285"/>
                  </a:lnTo>
                  <a:lnTo>
                    <a:pt x="267" y="283"/>
                  </a:lnTo>
                  <a:lnTo>
                    <a:pt x="264" y="281"/>
                  </a:lnTo>
                  <a:lnTo>
                    <a:pt x="264" y="279"/>
                  </a:lnTo>
                  <a:lnTo>
                    <a:pt x="267" y="279"/>
                  </a:lnTo>
                  <a:lnTo>
                    <a:pt x="267" y="277"/>
                  </a:lnTo>
                  <a:lnTo>
                    <a:pt x="267" y="279"/>
                  </a:lnTo>
                  <a:lnTo>
                    <a:pt x="267" y="283"/>
                  </a:lnTo>
                  <a:lnTo>
                    <a:pt x="267" y="285"/>
                  </a:lnTo>
                  <a:lnTo>
                    <a:pt x="269" y="287"/>
                  </a:lnTo>
                  <a:lnTo>
                    <a:pt x="269" y="283"/>
                  </a:lnTo>
                  <a:lnTo>
                    <a:pt x="269" y="279"/>
                  </a:lnTo>
                  <a:lnTo>
                    <a:pt x="269" y="277"/>
                  </a:lnTo>
                  <a:lnTo>
                    <a:pt x="269" y="277"/>
                  </a:lnTo>
                  <a:lnTo>
                    <a:pt x="271" y="277"/>
                  </a:lnTo>
                  <a:lnTo>
                    <a:pt x="271" y="277"/>
                  </a:lnTo>
                  <a:lnTo>
                    <a:pt x="271" y="275"/>
                  </a:lnTo>
                  <a:lnTo>
                    <a:pt x="271" y="275"/>
                  </a:lnTo>
                  <a:lnTo>
                    <a:pt x="269" y="273"/>
                  </a:lnTo>
                  <a:lnTo>
                    <a:pt x="267" y="271"/>
                  </a:lnTo>
                  <a:lnTo>
                    <a:pt x="267" y="271"/>
                  </a:lnTo>
                  <a:lnTo>
                    <a:pt x="269" y="271"/>
                  </a:lnTo>
                  <a:lnTo>
                    <a:pt x="269" y="269"/>
                  </a:lnTo>
                  <a:lnTo>
                    <a:pt x="269" y="266"/>
                  </a:lnTo>
                  <a:lnTo>
                    <a:pt x="269" y="266"/>
                  </a:lnTo>
                  <a:lnTo>
                    <a:pt x="271" y="264"/>
                  </a:lnTo>
                  <a:lnTo>
                    <a:pt x="271" y="266"/>
                  </a:lnTo>
                  <a:lnTo>
                    <a:pt x="271" y="264"/>
                  </a:lnTo>
                  <a:lnTo>
                    <a:pt x="273" y="262"/>
                  </a:lnTo>
                  <a:lnTo>
                    <a:pt x="273" y="262"/>
                  </a:lnTo>
                  <a:lnTo>
                    <a:pt x="273" y="264"/>
                  </a:lnTo>
                  <a:lnTo>
                    <a:pt x="273" y="266"/>
                  </a:lnTo>
                  <a:lnTo>
                    <a:pt x="273" y="269"/>
                  </a:lnTo>
                  <a:lnTo>
                    <a:pt x="273" y="269"/>
                  </a:lnTo>
                  <a:lnTo>
                    <a:pt x="275" y="271"/>
                  </a:lnTo>
                  <a:lnTo>
                    <a:pt x="275" y="271"/>
                  </a:lnTo>
                  <a:lnTo>
                    <a:pt x="275" y="269"/>
                  </a:lnTo>
                  <a:lnTo>
                    <a:pt x="275" y="269"/>
                  </a:lnTo>
                  <a:lnTo>
                    <a:pt x="275" y="262"/>
                  </a:lnTo>
                  <a:lnTo>
                    <a:pt x="275" y="262"/>
                  </a:lnTo>
                  <a:lnTo>
                    <a:pt x="277" y="262"/>
                  </a:lnTo>
                  <a:lnTo>
                    <a:pt x="277" y="269"/>
                  </a:lnTo>
                  <a:lnTo>
                    <a:pt x="277" y="271"/>
                  </a:lnTo>
                  <a:lnTo>
                    <a:pt x="279" y="271"/>
                  </a:lnTo>
                  <a:lnTo>
                    <a:pt x="279" y="271"/>
                  </a:lnTo>
                  <a:lnTo>
                    <a:pt x="281" y="271"/>
                  </a:lnTo>
                  <a:lnTo>
                    <a:pt x="281" y="266"/>
                  </a:lnTo>
                  <a:lnTo>
                    <a:pt x="283" y="264"/>
                  </a:lnTo>
                  <a:lnTo>
                    <a:pt x="283" y="264"/>
                  </a:lnTo>
                  <a:lnTo>
                    <a:pt x="283" y="262"/>
                  </a:lnTo>
                  <a:lnTo>
                    <a:pt x="285" y="262"/>
                  </a:lnTo>
                  <a:lnTo>
                    <a:pt x="285" y="264"/>
                  </a:lnTo>
                  <a:lnTo>
                    <a:pt x="285" y="264"/>
                  </a:lnTo>
                  <a:lnTo>
                    <a:pt x="285" y="266"/>
                  </a:lnTo>
                  <a:lnTo>
                    <a:pt x="285" y="266"/>
                  </a:lnTo>
                  <a:lnTo>
                    <a:pt x="285" y="266"/>
                  </a:lnTo>
                  <a:lnTo>
                    <a:pt x="287" y="266"/>
                  </a:lnTo>
                  <a:lnTo>
                    <a:pt x="287" y="266"/>
                  </a:lnTo>
                  <a:lnTo>
                    <a:pt x="287" y="266"/>
                  </a:lnTo>
                  <a:lnTo>
                    <a:pt x="289" y="266"/>
                  </a:lnTo>
                  <a:lnTo>
                    <a:pt x="289" y="266"/>
                  </a:lnTo>
                  <a:lnTo>
                    <a:pt x="289" y="264"/>
                  </a:lnTo>
                  <a:lnTo>
                    <a:pt x="289" y="264"/>
                  </a:lnTo>
                  <a:lnTo>
                    <a:pt x="291" y="264"/>
                  </a:lnTo>
                  <a:lnTo>
                    <a:pt x="291" y="264"/>
                  </a:lnTo>
                  <a:lnTo>
                    <a:pt x="289" y="262"/>
                  </a:lnTo>
                  <a:lnTo>
                    <a:pt x="289" y="262"/>
                  </a:lnTo>
                  <a:lnTo>
                    <a:pt x="289" y="260"/>
                  </a:lnTo>
                  <a:lnTo>
                    <a:pt x="289" y="260"/>
                  </a:lnTo>
                  <a:lnTo>
                    <a:pt x="289" y="256"/>
                  </a:lnTo>
                  <a:lnTo>
                    <a:pt x="287" y="256"/>
                  </a:lnTo>
                  <a:lnTo>
                    <a:pt x="287" y="256"/>
                  </a:lnTo>
                  <a:lnTo>
                    <a:pt x="289" y="254"/>
                  </a:lnTo>
                  <a:lnTo>
                    <a:pt x="289" y="252"/>
                  </a:lnTo>
                  <a:lnTo>
                    <a:pt x="291" y="254"/>
                  </a:lnTo>
                  <a:lnTo>
                    <a:pt x="291" y="254"/>
                  </a:lnTo>
                  <a:lnTo>
                    <a:pt x="291" y="254"/>
                  </a:lnTo>
                  <a:lnTo>
                    <a:pt x="293" y="254"/>
                  </a:lnTo>
                  <a:lnTo>
                    <a:pt x="293" y="254"/>
                  </a:lnTo>
                  <a:lnTo>
                    <a:pt x="293" y="256"/>
                  </a:lnTo>
                  <a:lnTo>
                    <a:pt x="295" y="256"/>
                  </a:lnTo>
                  <a:lnTo>
                    <a:pt x="295" y="256"/>
                  </a:lnTo>
                  <a:lnTo>
                    <a:pt x="297" y="254"/>
                  </a:lnTo>
                  <a:lnTo>
                    <a:pt x="299" y="254"/>
                  </a:lnTo>
                  <a:lnTo>
                    <a:pt x="297" y="254"/>
                  </a:lnTo>
                  <a:lnTo>
                    <a:pt x="297" y="252"/>
                  </a:lnTo>
                  <a:lnTo>
                    <a:pt x="295" y="250"/>
                  </a:lnTo>
                  <a:lnTo>
                    <a:pt x="295" y="248"/>
                  </a:lnTo>
                  <a:lnTo>
                    <a:pt x="297" y="248"/>
                  </a:lnTo>
                  <a:lnTo>
                    <a:pt x="299" y="250"/>
                  </a:lnTo>
                  <a:lnTo>
                    <a:pt x="299" y="254"/>
                  </a:lnTo>
                  <a:lnTo>
                    <a:pt x="301" y="254"/>
                  </a:lnTo>
                  <a:lnTo>
                    <a:pt x="301" y="254"/>
                  </a:lnTo>
                  <a:lnTo>
                    <a:pt x="301" y="252"/>
                  </a:lnTo>
                  <a:lnTo>
                    <a:pt x="301" y="252"/>
                  </a:lnTo>
                  <a:lnTo>
                    <a:pt x="303" y="252"/>
                  </a:lnTo>
                  <a:lnTo>
                    <a:pt x="303" y="252"/>
                  </a:lnTo>
                  <a:lnTo>
                    <a:pt x="303" y="250"/>
                  </a:lnTo>
                  <a:lnTo>
                    <a:pt x="301" y="250"/>
                  </a:lnTo>
                  <a:lnTo>
                    <a:pt x="301" y="248"/>
                  </a:lnTo>
                  <a:lnTo>
                    <a:pt x="301" y="246"/>
                  </a:lnTo>
                  <a:lnTo>
                    <a:pt x="299" y="246"/>
                  </a:lnTo>
                  <a:lnTo>
                    <a:pt x="299" y="244"/>
                  </a:lnTo>
                  <a:lnTo>
                    <a:pt x="299" y="244"/>
                  </a:lnTo>
                  <a:lnTo>
                    <a:pt x="301" y="244"/>
                  </a:lnTo>
                  <a:lnTo>
                    <a:pt x="301" y="244"/>
                  </a:lnTo>
                  <a:lnTo>
                    <a:pt x="303" y="244"/>
                  </a:lnTo>
                  <a:lnTo>
                    <a:pt x="301" y="244"/>
                  </a:lnTo>
                  <a:lnTo>
                    <a:pt x="303" y="242"/>
                  </a:lnTo>
                  <a:lnTo>
                    <a:pt x="305" y="242"/>
                  </a:lnTo>
                  <a:lnTo>
                    <a:pt x="305" y="244"/>
                  </a:lnTo>
                  <a:lnTo>
                    <a:pt x="305" y="246"/>
                  </a:lnTo>
                  <a:lnTo>
                    <a:pt x="305" y="246"/>
                  </a:lnTo>
                  <a:lnTo>
                    <a:pt x="307" y="248"/>
                  </a:lnTo>
                  <a:lnTo>
                    <a:pt x="307" y="248"/>
                  </a:lnTo>
                  <a:lnTo>
                    <a:pt x="310" y="248"/>
                  </a:lnTo>
                  <a:lnTo>
                    <a:pt x="312" y="248"/>
                  </a:lnTo>
                  <a:lnTo>
                    <a:pt x="310" y="246"/>
                  </a:lnTo>
                  <a:lnTo>
                    <a:pt x="310" y="246"/>
                  </a:lnTo>
                  <a:lnTo>
                    <a:pt x="310" y="246"/>
                  </a:lnTo>
                  <a:lnTo>
                    <a:pt x="312" y="244"/>
                  </a:lnTo>
                  <a:lnTo>
                    <a:pt x="312" y="246"/>
                  </a:lnTo>
                  <a:lnTo>
                    <a:pt x="314" y="246"/>
                  </a:lnTo>
                  <a:lnTo>
                    <a:pt x="314" y="246"/>
                  </a:lnTo>
                  <a:lnTo>
                    <a:pt x="316" y="246"/>
                  </a:lnTo>
                  <a:lnTo>
                    <a:pt x="316" y="244"/>
                  </a:lnTo>
                  <a:lnTo>
                    <a:pt x="314" y="244"/>
                  </a:lnTo>
                  <a:lnTo>
                    <a:pt x="316" y="244"/>
                  </a:lnTo>
                  <a:lnTo>
                    <a:pt x="316" y="242"/>
                  </a:lnTo>
                  <a:lnTo>
                    <a:pt x="318" y="242"/>
                  </a:lnTo>
                  <a:lnTo>
                    <a:pt x="320" y="236"/>
                  </a:lnTo>
                  <a:lnTo>
                    <a:pt x="320" y="234"/>
                  </a:lnTo>
                  <a:lnTo>
                    <a:pt x="320" y="232"/>
                  </a:lnTo>
                  <a:lnTo>
                    <a:pt x="322" y="234"/>
                  </a:lnTo>
                  <a:lnTo>
                    <a:pt x="322" y="232"/>
                  </a:lnTo>
                  <a:lnTo>
                    <a:pt x="322" y="230"/>
                  </a:lnTo>
                  <a:lnTo>
                    <a:pt x="322" y="230"/>
                  </a:lnTo>
                  <a:lnTo>
                    <a:pt x="322" y="230"/>
                  </a:lnTo>
                  <a:lnTo>
                    <a:pt x="324" y="230"/>
                  </a:lnTo>
                  <a:lnTo>
                    <a:pt x="324" y="230"/>
                  </a:lnTo>
                  <a:lnTo>
                    <a:pt x="326" y="228"/>
                  </a:lnTo>
                  <a:lnTo>
                    <a:pt x="326" y="223"/>
                  </a:lnTo>
                  <a:lnTo>
                    <a:pt x="328" y="223"/>
                  </a:lnTo>
                  <a:lnTo>
                    <a:pt x="326" y="223"/>
                  </a:lnTo>
                  <a:close/>
                </a:path>
              </a:pathLst>
            </a:custGeom>
            <a:solidFill>
              <a:schemeClr val="accent1"/>
            </a:solidFill>
            <a:ln w="3175" cap="rnd">
              <a:solidFill>
                <a:schemeClr val="bg1"/>
              </a:solidFill>
              <a:prstDash val="solid"/>
              <a:round/>
              <a:headEnd/>
              <a:tailEnd/>
            </a:ln>
          </p:spPr>
          <p:txBody>
            <a:bodyPr vert="horz" wrap="square" lIns="0" tIns="0" rIns="48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E</a:t>
              </a:r>
            </a:p>
          </p:txBody>
        </p:sp>
        <p:sp>
          <p:nvSpPr>
            <p:cNvPr id="167" name="Freeform 35">
              <a:extLst>
                <a:ext uri="{FF2B5EF4-FFF2-40B4-BE49-F238E27FC236}">
                  <a16:creationId xmlns:a16="http://schemas.microsoft.com/office/drawing/2014/main" id="{440A7C54-9A49-A18E-1359-70DC2AC4D5AA}"/>
                </a:ext>
              </a:extLst>
            </p:cNvPr>
            <p:cNvSpPr>
              <a:spLocks noEditPoints="1"/>
            </p:cNvSpPr>
            <p:nvPr/>
          </p:nvSpPr>
          <p:spPr bwMode="auto">
            <a:xfrm>
              <a:off x="4447" y="930"/>
              <a:ext cx="395" cy="189"/>
            </a:xfrm>
            <a:custGeom>
              <a:avLst/>
              <a:gdLst>
                <a:gd name="T0" fmla="*/ 323 w 395"/>
                <a:gd name="T1" fmla="*/ 181 h 189"/>
                <a:gd name="T2" fmla="*/ 389 w 395"/>
                <a:gd name="T3" fmla="*/ 162 h 189"/>
                <a:gd name="T4" fmla="*/ 395 w 395"/>
                <a:gd name="T5" fmla="*/ 128 h 189"/>
                <a:gd name="T6" fmla="*/ 389 w 395"/>
                <a:gd name="T7" fmla="*/ 128 h 189"/>
                <a:gd name="T8" fmla="*/ 385 w 395"/>
                <a:gd name="T9" fmla="*/ 121 h 189"/>
                <a:gd name="T10" fmla="*/ 317 w 395"/>
                <a:gd name="T11" fmla="*/ 46 h 189"/>
                <a:gd name="T12" fmla="*/ 190 w 395"/>
                <a:gd name="T13" fmla="*/ 25 h 189"/>
                <a:gd name="T14" fmla="*/ 18 w 395"/>
                <a:gd name="T15" fmla="*/ 58 h 189"/>
                <a:gd name="T16" fmla="*/ 30 w 395"/>
                <a:gd name="T17" fmla="*/ 93 h 189"/>
                <a:gd name="T18" fmla="*/ 45 w 395"/>
                <a:gd name="T19" fmla="*/ 82 h 189"/>
                <a:gd name="T20" fmla="*/ 57 w 395"/>
                <a:gd name="T21" fmla="*/ 68 h 189"/>
                <a:gd name="T22" fmla="*/ 63 w 395"/>
                <a:gd name="T23" fmla="*/ 62 h 189"/>
                <a:gd name="T24" fmla="*/ 78 w 395"/>
                <a:gd name="T25" fmla="*/ 68 h 189"/>
                <a:gd name="T26" fmla="*/ 96 w 395"/>
                <a:gd name="T27" fmla="*/ 52 h 189"/>
                <a:gd name="T28" fmla="*/ 133 w 395"/>
                <a:gd name="T29" fmla="*/ 50 h 189"/>
                <a:gd name="T30" fmla="*/ 141 w 395"/>
                <a:gd name="T31" fmla="*/ 56 h 189"/>
                <a:gd name="T32" fmla="*/ 149 w 395"/>
                <a:gd name="T33" fmla="*/ 72 h 189"/>
                <a:gd name="T34" fmla="*/ 174 w 395"/>
                <a:gd name="T35" fmla="*/ 91 h 189"/>
                <a:gd name="T36" fmla="*/ 217 w 395"/>
                <a:gd name="T37" fmla="*/ 97 h 189"/>
                <a:gd name="T38" fmla="*/ 219 w 395"/>
                <a:gd name="T39" fmla="*/ 138 h 189"/>
                <a:gd name="T40" fmla="*/ 211 w 395"/>
                <a:gd name="T41" fmla="*/ 152 h 189"/>
                <a:gd name="T42" fmla="*/ 223 w 395"/>
                <a:gd name="T43" fmla="*/ 154 h 189"/>
                <a:gd name="T44" fmla="*/ 231 w 395"/>
                <a:gd name="T45" fmla="*/ 156 h 189"/>
                <a:gd name="T46" fmla="*/ 258 w 395"/>
                <a:gd name="T47" fmla="*/ 173 h 189"/>
                <a:gd name="T48" fmla="*/ 284 w 395"/>
                <a:gd name="T49" fmla="*/ 175 h 189"/>
                <a:gd name="T50" fmla="*/ 295 w 395"/>
                <a:gd name="T51" fmla="*/ 173 h 189"/>
                <a:gd name="T52" fmla="*/ 264 w 395"/>
                <a:gd name="T53" fmla="*/ 150 h 189"/>
                <a:gd name="T54" fmla="*/ 270 w 395"/>
                <a:gd name="T55" fmla="*/ 150 h 189"/>
                <a:gd name="T56" fmla="*/ 270 w 395"/>
                <a:gd name="T57" fmla="*/ 134 h 189"/>
                <a:gd name="T58" fmla="*/ 262 w 395"/>
                <a:gd name="T59" fmla="*/ 101 h 189"/>
                <a:gd name="T60" fmla="*/ 262 w 395"/>
                <a:gd name="T61" fmla="*/ 89 h 189"/>
                <a:gd name="T62" fmla="*/ 270 w 395"/>
                <a:gd name="T63" fmla="*/ 84 h 189"/>
                <a:gd name="T64" fmla="*/ 264 w 395"/>
                <a:gd name="T65" fmla="*/ 72 h 189"/>
                <a:gd name="T66" fmla="*/ 248 w 395"/>
                <a:gd name="T67" fmla="*/ 62 h 189"/>
                <a:gd name="T68" fmla="*/ 258 w 395"/>
                <a:gd name="T69" fmla="*/ 58 h 189"/>
                <a:gd name="T70" fmla="*/ 268 w 395"/>
                <a:gd name="T71" fmla="*/ 48 h 189"/>
                <a:gd name="T72" fmla="*/ 272 w 395"/>
                <a:gd name="T73" fmla="*/ 33 h 189"/>
                <a:gd name="T74" fmla="*/ 284 w 395"/>
                <a:gd name="T75" fmla="*/ 21 h 189"/>
                <a:gd name="T76" fmla="*/ 303 w 395"/>
                <a:gd name="T77" fmla="*/ 15 h 189"/>
                <a:gd name="T78" fmla="*/ 307 w 395"/>
                <a:gd name="T79" fmla="*/ 35 h 189"/>
                <a:gd name="T80" fmla="*/ 278 w 395"/>
                <a:gd name="T81" fmla="*/ 66 h 189"/>
                <a:gd name="T82" fmla="*/ 293 w 395"/>
                <a:gd name="T83" fmla="*/ 66 h 189"/>
                <a:gd name="T84" fmla="*/ 278 w 395"/>
                <a:gd name="T85" fmla="*/ 82 h 189"/>
                <a:gd name="T86" fmla="*/ 278 w 395"/>
                <a:gd name="T87" fmla="*/ 93 h 189"/>
                <a:gd name="T88" fmla="*/ 293 w 395"/>
                <a:gd name="T89" fmla="*/ 91 h 189"/>
                <a:gd name="T90" fmla="*/ 293 w 395"/>
                <a:gd name="T91" fmla="*/ 105 h 189"/>
                <a:gd name="T92" fmla="*/ 282 w 395"/>
                <a:gd name="T93" fmla="*/ 117 h 189"/>
                <a:gd name="T94" fmla="*/ 293 w 395"/>
                <a:gd name="T95" fmla="*/ 115 h 189"/>
                <a:gd name="T96" fmla="*/ 299 w 395"/>
                <a:gd name="T97" fmla="*/ 119 h 189"/>
                <a:gd name="T98" fmla="*/ 311 w 395"/>
                <a:gd name="T99" fmla="*/ 123 h 189"/>
                <a:gd name="T100" fmla="*/ 288 w 395"/>
                <a:gd name="T101" fmla="*/ 130 h 189"/>
                <a:gd name="T102" fmla="*/ 293 w 395"/>
                <a:gd name="T103" fmla="*/ 134 h 189"/>
                <a:gd name="T104" fmla="*/ 299 w 395"/>
                <a:gd name="T105" fmla="*/ 152 h 189"/>
                <a:gd name="T106" fmla="*/ 317 w 395"/>
                <a:gd name="T107" fmla="*/ 152 h 189"/>
                <a:gd name="T108" fmla="*/ 323 w 395"/>
                <a:gd name="T109" fmla="*/ 150 h 189"/>
                <a:gd name="T110" fmla="*/ 336 w 395"/>
                <a:gd name="T111" fmla="*/ 156 h 189"/>
                <a:gd name="T112" fmla="*/ 342 w 395"/>
                <a:gd name="T113" fmla="*/ 164 h 189"/>
                <a:gd name="T114" fmla="*/ 342 w 395"/>
                <a:gd name="T115" fmla="*/ 169 h 189"/>
                <a:gd name="T116" fmla="*/ 338 w 395"/>
                <a:gd name="T117" fmla="*/ 183 h 189"/>
                <a:gd name="T118" fmla="*/ 356 w 395"/>
                <a:gd name="T119" fmla="*/ 181 h 189"/>
                <a:gd name="T120" fmla="*/ 383 w 395"/>
                <a:gd name="T121" fmla="*/ 15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5" h="189">
                  <a:moveTo>
                    <a:pt x="323" y="181"/>
                  </a:moveTo>
                  <a:lnTo>
                    <a:pt x="323" y="179"/>
                  </a:lnTo>
                  <a:lnTo>
                    <a:pt x="321" y="179"/>
                  </a:lnTo>
                  <a:lnTo>
                    <a:pt x="321" y="179"/>
                  </a:lnTo>
                  <a:lnTo>
                    <a:pt x="321" y="181"/>
                  </a:lnTo>
                  <a:lnTo>
                    <a:pt x="321" y="183"/>
                  </a:lnTo>
                  <a:lnTo>
                    <a:pt x="325" y="183"/>
                  </a:lnTo>
                  <a:lnTo>
                    <a:pt x="325" y="183"/>
                  </a:lnTo>
                  <a:lnTo>
                    <a:pt x="325" y="185"/>
                  </a:lnTo>
                  <a:lnTo>
                    <a:pt x="321" y="185"/>
                  </a:lnTo>
                  <a:lnTo>
                    <a:pt x="321" y="185"/>
                  </a:lnTo>
                  <a:lnTo>
                    <a:pt x="323" y="187"/>
                  </a:lnTo>
                  <a:lnTo>
                    <a:pt x="325" y="187"/>
                  </a:lnTo>
                  <a:lnTo>
                    <a:pt x="325" y="187"/>
                  </a:lnTo>
                  <a:lnTo>
                    <a:pt x="325" y="185"/>
                  </a:lnTo>
                  <a:lnTo>
                    <a:pt x="327" y="183"/>
                  </a:lnTo>
                  <a:lnTo>
                    <a:pt x="325" y="181"/>
                  </a:lnTo>
                  <a:lnTo>
                    <a:pt x="323" y="181"/>
                  </a:lnTo>
                  <a:close/>
                  <a:moveTo>
                    <a:pt x="319" y="164"/>
                  </a:moveTo>
                  <a:lnTo>
                    <a:pt x="319" y="162"/>
                  </a:lnTo>
                  <a:lnTo>
                    <a:pt x="317" y="162"/>
                  </a:lnTo>
                  <a:lnTo>
                    <a:pt x="315" y="162"/>
                  </a:lnTo>
                  <a:lnTo>
                    <a:pt x="315" y="164"/>
                  </a:lnTo>
                  <a:lnTo>
                    <a:pt x="315" y="166"/>
                  </a:lnTo>
                  <a:lnTo>
                    <a:pt x="317" y="166"/>
                  </a:lnTo>
                  <a:lnTo>
                    <a:pt x="319" y="166"/>
                  </a:lnTo>
                  <a:lnTo>
                    <a:pt x="321" y="166"/>
                  </a:lnTo>
                  <a:lnTo>
                    <a:pt x="321" y="164"/>
                  </a:lnTo>
                  <a:lnTo>
                    <a:pt x="319" y="164"/>
                  </a:lnTo>
                  <a:close/>
                  <a:moveTo>
                    <a:pt x="393" y="138"/>
                  </a:moveTo>
                  <a:lnTo>
                    <a:pt x="391" y="146"/>
                  </a:lnTo>
                  <a:lnTo>
                    <a:pt x="391" y="150"/>
                  </a:lnTo>
                  <a:lnTo>
                    <a:pt x="391" y="154"/>
                  </a:lnTo>
                  <a:lnTo>
                    <a:pt x="391" y="156"/>
                  </a:lnTo>
                  <a:lnTo>
                    <a:pt x="391" y="158"/>
                  </a:lnTo>
                  <a:lnTo>
                    <a:pt x="389" y="162"/>
                  </a:lnTo>
                  <a:lnTo>
                    <a:pt x="387" y="166"/>
                  </a:lnTo>
                  <a:lnTo>
                    <a:pt x="389" y="166"/>
                  </a:lnTo>
                  <a:lnTo>
                    <a:pt x="389" y="164"/>
                  </a:lnTo>
                  <a:lnTo>
                    <a:pt x="389" y="164"/>
                  </a:lnTo>
                  <a:lnTo>
                    <a:pt x="391" y="160"/>
                  </a:lnTo>
                  <a:lnTo>
                    <a:pt x="393" y="150"/>
                  </a:lnTo>
                  <a:lnTo>
                    <a:pt x="393" y="144"/>
                  </a:lnTo>
                  <a:lnTo>
                    <a:pt x="395" y="138"/>
                  </a:lnTo>
                  <a:lnTo>
                    <a:pt x="395" y="136"/>
                  </a:lnTo>
                  <a:lnTo>
                    <a:pt x="393" y="136"/>
                  </a:lnTo>
                  <a:lnTo>
                    <a:pt x="393" y="138"/>
                  </a:lnTo>
                  <a:close/>
                  <a:moveTo>
                    <a:pt x="395" y="121"/>
                  </a:moveTo>
                  <a:lnTo>
                    <a:pt x="395" y="119"/>
                  </a:lnTo>
                  <a:lnTo>
                    <a:pt x="395" y="119"/>
                  </a:lnTo>
                  <a:lnTo>
                    <a:pt x="393" y="119"/>
                  </a:lnTo>
                  <a:lnTo>
                    <a:pt x="393" y="119"/>
                  </a:lnTo>
                  <a:lnTo>
                    <a:pt x="395" y="121"/>
                  </a:lnTo>
                  <a:lnTo>
                    <a:pt x="395" y="128"/>
                  </a:lnTo>
                  <a:lnTo>
                    <a:pt x="395" y="132"/>
                  </a:lnTo>
                  <a:lnTo>
                    <a:pt x="395" y="130"/>
                  </a:lnTo>
                  <a:lnTo>
                    <a:pt x="395" y="125"/>
                  </a:lnTo>
                  <a:lnTo>
                    <a:pt x="395" y="121"/>
                  </a:lnTo>
                  <a:close/>
                  <a:moveTo>
                    <a:pt x="391" y="142"/>
                  </a:moveTo>
                  <a:lnTo>
                    <a:pt x="391" y="138"/>
                  </a:lnTo>
                  <a:lnTo>
                    <a:pt x="393" y="136"/>
                  </a:lnTo>
                  <a:lnTo>
                    <a:pt x="393" y="134"/>
                  </a:lnTo>
                  <a:lnTo>
                    <a:pt x="393" y="132"/>
                  </a:lnTo>
                  <a:lnTo>
                    <a:pt x="393" y="130"/>
                  </a:lnTo>
                  <a:lnTo>
                    <a:pt x="393" y="130"/>
                  </a:lnTo>
                  <a:lnTo>
                    <a:pt x="391" y="130"/>
                  </a:lnTo>
                  <a:lnTo>
                    <a:pt x="391" y="130"/>
                  </a:lnTo>
                  <a:lnTo>
                    <a:pt x="389" y="130"/>
                  </a:lnTo>
                  <a:lnTo>
                    <a:pt x="389" y="130"/>
                  </a:lnTo>
                  <a:lnTo>
                    <a:pt x="389" y="130"/>
                  </a:lnTo>
                  <a:lnTo>
                    <a:pt x="391" y="128"/>
                  </a:lnTo>
                  <a:lnTo>
                    <a:pt x="389" y="128"/>
                  </a:lnTo>
                  <a:lnTo>
                    <a:pt x="389" y="128"/>
                  </a:lnTo>
                  <a:lnTo>
                    <a:pt x="389" y="128"/>
                  </a:lnTo>
                  <a:lnTo>
                    <a:pt x="389" y="125"/>
                  </a:lnTo>
                  <a:lnTo>
                    <a:pt x="389" y="125"/>
                  </a:lnTo>
                  <a:lnTo>
                    <a:pt x="385" y="125"/>
                  </a:lnTo>
                  <a:lnTo>
                    <a:pt x="385" y="123"/>
                  </a:lnTo>
                  <a:lnTo>
                    <a:pt x="387" y="123"/>
                  </a:lnTo>
                  <a:lnTo>
                    <a:pt x="389" y="123"/>
                  </a:lnTo>
                  <a:lnTo>
                    <a:pt x="391" y="123"/>
                  </a:lnTo>
                  <a:lnTo>
                    <a:pt x="391" y="123"/>
                  </a:lnTo>
                  <a:lnTo>
                    <a:pt x="391" y="123"/>
                  </a:lnTo>
                  <a:lnTo>
                    <a:pt x="389" y="121"/>
                  </a:lnTo>
                  <a:lnTo>
                    <a:pt x="391" y="121"/>
                  </a:lnTo>
                  <a:lnTo>
                    <a:pt x="391" y="121"/>
                  </a:lnTo>
                  <a:lnTo>
                    <a:pt x="391" y="119"/>
                  </a:lnTo>
                  <a:lnTo>
                    <a:pt x="391" y="119"/>
                  </a:lnTo>
                  <a:lnTo>
                    <a:pt x="389" y="119"/>
                  </a:lnTo>
                  <a:lnTo>
                    <a:pt x="385" y="121"/>
                  </a:lnTo>
                  <a:lnTo>
                    <a:pt x="379" y="121"/>
                  </a:lnTo>
                  <a:lnTo>
                    <a:pt x="372" y="123"/>
                  </a:lnTo>
                  <a:lnTo>
                    <a:pt x="366" y="125"/>
                  </a:lnTo>
                  <a:lnTo>
                    <a:pt x="360" y="125"/>
                  </a:lnTo>
                  <a:lnTo>
                    <a:pt x="352" y="128"/>
                  </a:lnTo>
                  <a:lnTo>
                    <a:pt x="346" y="130"/>
                  </a:lnTo>
                  <a:lnTo>
                    <a:pt x="340" y="132"/>
                  </a:lnTo>
                  <a:lnTo>
                    <a:pt x="338" y="125"/>
                  </a:lnTo>
                  <a:lnTo>
                    <a:pt x="338" y="121"/>
                  </a:lnTo>
                  <a:lnTo>
                    <a:pt x="336" y="113"/>
                  </a:lnTo>
                  <a:lnTo>
                    <a:pt x="334" y="105"/>
                  </a:lnTo>
                  <a:lnTo>
                    <a:pt x="331" y="99"/>
                  </a:lnTo>
                  <a:lnTo>
                    <a:pt x="329" y="91"/>
                  </a:lnTo>
                  <a:lnTo>
                    <a:pt x="327" y="82"/>
                  </a:lnTo>
                  <a:lnTo>
                    <a:pt x="325" y="76"/>
                  </a:lnTo>
                  <a:lnTo>
                    <a:pt x="321" y="60"/>
                  </a:lnTo>
                  <a:lnTo>
                    <a:pt x="319" y="54"/>
                  </a:lnTo>
                  <a:lnTo>
                    <a:pt x="317" y="46"/>
                  </a:lnTo>
                  <a:lnTo>
                    <a:pt x="315" y="37"/>
                  </a:lnTo>
                  <a:lnTo>
                    <a:pt x="311" y="29"/>
                  </a:lnTo>
                  <a:lnTo>
                    <a:pt x="309" y="23"/>
                  </a:lnTo>
                  <a:lnTo>
                    <a:pt x="307" y="15"/>
                  </a:lnTo>
                  <a:lnTo>
                    <a:pt x="305" y="7"/>
                  </a:lnTo>
                  <a:lnTo>
                    <a:pt x="303" y="0"/>
                  </a:lnTo>
                  <a:lnTo>
                    <a:pt x="295" y="3"/>
                  </a:lnTo>
                  <a:lnTo>
                    <a:pt x="284" y="5"/>
                  </a:lnTo>
                  <a:lnTo>
                    <a:pt x="276" y="7"/>
                  </a:lnTo>
                  <a:lnTo>
                    <a:pt x="266" y="9"/>
                  </a:lnTo>
                  <a:lnTo>
                    <a:pt x="256" y="11"/>
                  </a:lnTo>
                  <a:lnTo>
                    <a:pt x="248" y="13"/>
                  </a:lnTo>
                  <a:lnTo>
                    <a:pt x="237" y="15"/>
                  </a:lnTo>
                  <a:lnTo>
                    <a:pt x="227" y="17"/>
                  </a:lnTo>
                  <a:lnTo>
                    <a:pt x="219" y="19"/>
                  </a:lnTo>
                  <a:lnTo>
                    <a:pt x="209" y="21"/>
                  </a:lnTo>
                  <a:lnTo>
                    <a:pt x="200" y="23"/>
                  </a:lnTo>
                  <a:lnTo>
                    <a:pt x="190" y="25"/>
                  </a:lnTo>
                  <a:lnTo>
                    <a:pt x="180" y="27"/>
                  </a:lnTo>
                  <a:lnTo>
                    <a:pt x="172" y="29"/>
                  </a:lnTo>
                  <a:lnTo>
                    <a:pt x="162" y="31"/>
                  </a:lnTo>
                  <a:lnTo>
                    <a:pt x="151" y="33"/>
                  </a:lnTo>
                  <a:lnTo>
                    <a:pt x="143" y="33"/>
                  </a:lnTo>
                  <a:lnTo>
                    <a:pt x="133" y="35"/>
                  </a:lnTo>
                  <a:lnTo>
                    <a:pt x="123" y="37"/>
                  </a:lnTo>
                  <a:lnTo>
                    <a:pt x="114" y="39"/>
                  </a:lnTo>
                  <a:lnTo>
                    <a:pt x="104" y="41"/>
                  </a:lnTo>
                  <a:lnTo>
                    <a:pt x="94" y="43"/>
                  </a:lnTo>
                  <a:lnTo>
                    <a:pt x="86" y="46"/>
                  </a:lnTo>
                  <a:lnTo>
                    <a:pt x="75" y="48"/>
                  </a:lnTo>
                  <a:lnTo>
                    <a:pt x="67" y="50"/>
                  </a:lnTo>
                  <a:lnTo>
                    <a:pt x="57" y="52"/>
                  </a:lnTo>
                  <a:lnTo>
                    <a:pt x="47" y="54"/>
                  </a:lnTo>
                  <a:lnTo>
                    <a:pt x="39" y="56"/>
                  </a:lnTo>
                  <a:lnTo>
                    <a:pt x="28" y="56"/>
                  </a:lnTo>
                  <a:lnTo>
                    <a:pt x="18" y="58"/>
                  </a:lnTo>
                  <a:lnTo>
                    <a:pt x="10" y="60"/>
                  </a:lnTo>
                  <a:lnTo>
                    <a:pt x="0" y="62"/>
                  </a:lnTo>
                  <a:lnTo>
                    <a:pt x="8" y="115"/>
                  </a:lnTo>
                  <a:lnTo>
                    <a:pt x="10" y="117"/>
                  </a:lnTo>
                  <a:lnTo>
                    <a:pt x="10" y="117"/>
                  </a:lnTo>
                  <a:lnTo>
                    <a:pt x="10" y="115"/>
                  </a:lnTo>
                  <a:lnTo>
                    <a:pt x="12" y="115"/>
                  </a:lnTo>
                  <a:lnTo>
                    <a:pt x="18" y="105"/>
                  </a:lnTo>
                  <a:lnTo>
                    <a:pt x="20" y="105"/>
                  </a:lnTo>
                  <a:lnTo>
                    <a:pt x="22" y="103"/>
                  </a:lnTo>
                  <a:lnTo>
                    <a:pt x="24" y="103"/>
                  </a:lnTo>
                  <a:lnTo>
                    <a:pt x="24" y="103"/>
                  </a:lnTo>
                  <a:lnTo>
                    <a:pt x="24" y="101"/>
                  </a:lnTo>
                  <a:lnTo>
                    <a:pt x="24" y="99"/>
                  </a:lnTo>
                  <a:lnTo>
                    <a:pt x="26" y="97"/>
                  </a:lnTo>
                  <a:lnTo>
                    <a:pt x="28" y="95"/>
                  </a:lnTo>
                  <a:lnTo>
                    <a:pt x="30" y="93"/>
                  </a:lnTo>
                  <a:lnTo>
                    <a:pt x="30" y="93"/>
                  </a:lnTo>
                  <a:lnTo>
                    <a:pt x="32" y="93"/>
                  </a:lnTo>
                  <a:lnTo>
                    <a:pt x="32" y="91"/>
                  </a:lnTo>
                  <a:lnTo>
                    <a:pt x="35" y="89"/>
                  </a:lnTo>
                  <a:lnTo>
                    <a:pt x="35" y="89"/>
                  </a:lnTo>
                  <a:lnTo>
                    <a:pt x="35" y="89"/>
                  </a:lnTo>
                  <a:lnTo>
                    <a:pt x="35" y="89"/>
                  </a:lnTo>
                  <a:lnTo>
                    <a:pt x="35" y="87"/>
                  </a:lnTo>
                  <a:lnTo>
                    <a:pt x="35" y="84"/>
                  </a:lnTo>
                  <a:lnTo>
                    <a:pt x="35" y="84"/>
                  </a:lnTo>
                  <a:lnTo>
                    <a:pt x="35" y="82"/>
                  </a:lnTo>
                  <a:lnTo>
                    <a:pt x="37" y="82"/>
                  </a:lnTo>
                  <a:lnTo>
                    <a:pt x="39" y="80"/>
                  </a:lnTo>
                  <a:lnTo>
                    <a:pt x="39" y="80"/>
                  </a:lnTo>
                  <a:lnTo>
                    <a:pt x="41" y="80"/>
                  </a:lnTo>
                  <a:lnTo>
                    <a:pt x="41" y="80"/>
                  </a:lnTo>
                  <a:lnTo>
                    <a:pt x="43" y="80"/>
                  </a:lnTo>
                  <a:lnTo>
                    <a:pt x="45" y="82"/>
                  </a:lnTo>
                  <a:lnTo>
                    <a:pt x="45" y="82"/>
                  </a:lnTo>
                  <a:lnTo>
                    <a:pt x="47" y="82"/>
                  </a:lnTo>
                  <a:lnTo>
                    <a:pt x="47" y="82"/>
                  </a:lnTo>
                  <a:lnTo>
                    <a:pt x="49" y="82"/>
                  </a:lnTo>
                  <a:lnTo>
                    <a:pt x="49" y="82"/>
                  </a:lnTo>
                  <a:lnTo>
                    <a:pt x="49" y="80"/>
                  </a:lnTo>
                  <a:lnTo>
                    <a:pt x="49" y="80"/>
                  </a:lnTo>
                  <a:lnTo>
                    <a:pt x="53" y="74"/>
                  </a:lnTo>
                  <a:lnTo>
                    <a:pt x="53" y="72"/>
                  </a:lnTo>
                  <a:lnTo>
                    <a:pt x="55" y="70"/>
                  </a:lnTo>
                  <a:lnTo>
                    <a:pt x="55" y="70"/>
                  </a:lnTo>
                  <a:lnTo>
                    <a:pt x="55" y="70"/>
                  </a:lnTo>
                  <a:lnTo>
                    <a:pt x="55" y="70"/>
                  </a:lnTo>
                  <a:lnTo>
                    <a:pt x="55" y="68"/>
                  </a:lnTo>
                  <a:lnTo>
                    <a:pt x="55" y="68"/>
                  </a:lnTo>
                  <a:lnTo>
                    <a:pt x="57" y="68"/>
                  </a:lnTo>
                  <a:lnTo>
                    <a:pt x="57" y="68"/>
                  </a:lnTo>
                  <a:lnTo>
                    <a:pt x="57" y="68"/>
                  </a:lnTo>
                  <a:lnTo>
                    <a:pt x="57" y="68"/>
                  </a:lnTo>
                  <a:lnTo>
                    <a:pt x="57" y="66"/>
                  </a:lnTo>
                  <a:lnTo>
                    <a:pt x="57" y="66"/>
                  </a:lnTo>
                  <a:lnTo>
                    <a:pt x="57" y="66"/>
                  </a:lnTo>
                  <a:lnTo>
                    <a:pt x="57" y="66"/>
                  </a:lnTo>
                  <a:lnTo>
                    <a:pt x="57" y="64"/>
                  </a:lnTo>
                  <a:lnTo>
                    <a:pt x="59" y="62"/>
                  </a:lnTo>
                  <a:lnTo>
                    <a:pt x="59" y="62"/>
                  </a:lnTo>
                  <a:lnTo>
                    <a:pt x="59" y="60"/>
                  </a:lnTo>
                  <a:lnTo>
                    <a:pt x="59" y="60"/>
                  </a:lnTo>
                  <a:lnTo>
                    <a:pt x="59" y="60"/>
                  </a:lnTo>
                  <a:lnTo>
                    <a:pt x="59" y="60"/>
                  </a:lnTo>
                  <a:lnTo>
                    <a:pt x="59" y="60"/>
                  </a:lnTo>
                  <a:lnTo>
                    <a:pt x="61" y="60"/>
                  </a:lnTo>
                  <a:lnTo>
                    <a:pt x="61" y="60"/>
                  </a:lnTo>
                  <a:lnTo>
                    <a:pt x="61" y="62"/>
                  </a:lnTo>
                  <a:lnTo>
                    <a:pt x="63" y="62"/>
                  </a:lnTo>
                  <a:lnTo>
                    <a:pt x="63" y="62"/>
                  </a:lnTo>
                  <a:lnTo>
                    <a:pt x="63" y="62"/>
                  </a:lnTo>
                  <a:lnTo>
                    <a:pt x="63" y="62"/>
                  </a:lnTo>
                  <a:lnTo>
                    <a:pt x="61" y="64"/>
                  </a:lnTo>
                  <a:lnTo>
                    <a:pt x="61" y="64"/>
                  </a:lnTo>
                  <a:lnTo>
                    <a:pt x="61" y="64"/>
                  </a:lnTo>
                  <a:lnTo>
                    <a:pt x="61" y="64"/>
                  </a:lnTo>
                  <a:lnTo>
                    <a:pt x="61" y="64"/>
                  </a:lnTo>
                  <a:lnTo>
                    <a:pt x="61" y="64"/>
                  </a:lnTo>
                  <a:lnTo>
                    <a:pt x="61" y="66"/>
                  </a:lnTo>
                  <a:lnTo>
                    <a:pt x="61" y="66"/>
                  </a:lnTo>
                  <a:lnTo>
                    <a:pt x="63" y="66"/>
                  </a:lnTo>
                  <a:lnTo>
                    <a:pt x="63" y="66"/>
                  </a:lnTo>
                  <a:lnTo>
                    <a:pt x="63" y="66"/>
                  </a:lnTo>
                  <a:lnTo>
                    <a:pt x="67" y="66"/>
                  </a:lnTo>
                  <a:lnTo>
                    <a:pt x="67" y="68"/>
                  </a:lnTo>
                  <a:lnTo>
                    <a:pt x="67" y="68"/>
                  </a:lnTo>
                  <a:lnTo>
                    <a:pt x="69" y="68"/>
                  </a:lnTo>
                  <a:lnTo>
                    <a:pt x="71" y="68"/>
                  </a:lnTo>
                  <a:lnTo>
                    <a:pt x="78" y="68"/>
                  </a:lnTo>
                  <a:lnTo>
                    <a:pt x="78" y="68"/>
                  </a:lnTo>
                  <a:lnTo>
                    <a:pt x="82" y="66"/>
                  </a:lnTo>
                  <a:lnTo>
                    <a:pt x="86" y="66"/>
                  </a:lnTo>
                  <a:lnTo>
                    <a:pt x="90" y="64"/>
                  </a:lnTo>
                  <a:lnTo>
                    <a:pt x="90" y="62"/>
                  </a:lnTo>
                  <a:lnTo>
                    <a:pt x="88" y="62"/>
                  </a:lnTo>
                  <a:lnTo>
                    <a:pt x="88" y="62"/>
                  </a:lnTo>
                  <a:lnTo>
                    <a:pt x="88" y="60"/>
                  </a:lnTo>
                  <a:lnTo>
                    <a:pt x="88" y="60"/>
                  </a:lnTo>
                  <a:lnTo>
                    <a:pt x="90" y="60"/>
                  </a:lnTo>
                  <a:lnTo>
                    <a:pt x="90" y="58"/>
                  </a:lnTo>
                  <a:lnTo>
                    <a:pt x="88" y="56"/>
                  </a:lnTo>
                  <a:lnTo>
                    <a:pt x="88" y="56"/>
                  </a:lnTo>
                  <a:lnTo>
                    <a:pt x="90" y="56"/>
                  </a:lnTo>
                  <a:lnTo>
                    <a:pt x="92" y="56"/>
                  </a:lnTo>
                  <a:lnTo>
                    <a:pt x="92" y="54"/>
                  </a:lnTo>
                  <a:lnTo>
                    <a:pt x="94" y="54"/>
                  </a:lnTo>
                  <a:lnTo>
                    <a:pt x="96" y="52"/>
                  </a:lnTo>
                  <a:lnTo>
                    <a:pt x="98" y="52"/>
                  </a:lnTo>
                  <a:lnTo>
                    <a:pt x="100" y="52"/>
                  </a:lnTo>
                  <a:lnTo>
                    <a:pt x="100" y="52"/>
                  </a:lnTo>
                  <a:lnTo>
                    <a:pt x="102" y="50"/>
                  </a:lnTo>
                  <a:lnTo>
                    <a:pt x="102" y="48"/>
                  </a:lnTo>
                  <a:lnTo>
                    <a:pt x="104" y="46"/>
                  </a:lnTo>
                  <a:lnTo>
                    <a:pt x="104" y="43"/>
                  </a:lnTo>
                  <a:lnTo>
                    <a:pt x="106" y="43"/>
                  </a:lnTo>
                  <a:lnTo>
                    <a:pt x="106" y="43"/>
                  </a:lnTo>
                  <a:lnTo>
                    <a:pt x="110" y="43"/>
                  </a:lnTo>
                  <a:lnTo>
                    <a:pt x="114" y="43"/>
                  </a:lnTo>
                  <a:lnTo>
                    <a:pt x="123" y="50"/>
                  </a:lnTo>
                  <a:lnTo>
                    <a:pt x="125" y="50"/>
                  </a:lnTo>
                  <a:lnTo>
                    <a:pt x="127" y="50"/>
                  </a:lnTo>
                  <a:lnTo>
                    <a:pt x="129" y="50"/>
                  </a:lnTo>
                  <a:lnTo>
                    <a:pt x="129" y="50"/>
                  </a:lnTo>
                  <a:lnTo>
                    <a:pt x="131" y="50"/>
                  </a:lnTo>
                  <a:lnTo>
                    <a:pt x="133" y="50"/>
                  </a:lnTo>
                  <a:lnTo>
                    <a:pt x="133" y="48"/>
                  </a:lnTo>
                  <a:lnTo>
                    <a:pt x="133" y="48"/>
                  </a:lnTo>
                  <a:lnTo>
                    <a:pt x="135" y="48"/>
                  </a:lnTo>
                  <a:lnTo>
                    <a:pt x="135" y="48"/>
                  </a:lnTo>
                  <a:lnTo>
                    <a:pt x="137" y="48"/>
                  </a:lnTo>
                  <a:lnTo>
                    <a:pt x="139" y="50"/>
                  </a:lnTo>
                  <a:lnTo>
                    <a:pt x="139" y="50"/>
                  </a:lnTo>
                  <a:lnTo>
                    <a:pt x="137" y="52"/>
                  </a:lnTo>
                  <a:lnTo>
                    <a:pt x="135" y="54"/>
                  </a:lnTo>
                  <a:lnTo>
                    <a:pt x="135" y="54"/>
                  </a:lnTo>
                  <a:lnTo>
                    <a:pt x="137" y="58"/>
                  </a:lnTo>
                  <a:lnTo>
                    <a:pt x="139" y="58"/>
                  </a:lnTo>
                  <a:lnTo>
                    <a:pt x="139" y="56"/>
                  </a:lnTo>
                  <a:lnTo>
                    <a:pt x="139" y="56"/>
                  </a:lnTo>
                  <a:lnTo>
                    <a:pt x="139" y="54"/>
                  </a:lnTo>
                  <a:lnTo>
                    <a:pt x="139" y="54"/>
                  </a:lnTo>
                  <a:lnTo>
                    <a:pt x="141" y="56"/>
                  </a:lnTo>
                  <a:lnTo>
                    <a:pt x="141" y="56"/>
                  </a:lnTo>
                  <a:lnTo>
                    <a:pt x="139" y="58"/>
                  </a:lnTo>
                  <a:lnTo>
                    <a:pt x="139" y="58"/>
                  </a:lnTo>
                  <a:lnTo>
                    <a:pt x="141" y="60"/>
                  </a:lnTo>
                  <a:lnTo>
                    <a:pt x="143" y="58"/>
                  </a:lnTo>
                  <a:lnTo>
                    <a:pt x="143" y="58"/>
                  </a:lnTo>
                  <a:lnTo>
                    <a:pt x="145" y="58"/>
                  </a:lnTo>
                  <a:lnTo>
                    <a:pt x="145" y="58"/>
                  </a:lnTo>
                  <a:lnTo>
                    <a:pt x="145" y="58"/>
                  </a:lnTo>
                  <a:lnTo>
                    <a:pt x="143" y="60"/>
                  </a:lnTo>
                  <a:lnTo>
                    <a:pt x="143" y="62"/>
                  </a:lnTo>
                  <a:lnTo>
                    <a:pt x="145" y="62"/>
                  </a:lnTo>
                  <a:lnTo>
                    <a:pt x="143" y="64"/>
                  </a:lnTo>
                  <a:lnTo>
                    <a:pt x="145" y="64"/>
                  </a:lnTo>
                  <a:lnTo>
                    <a:pt x="149" y="66"/>
                  </a:lnTo>
                  <a:lnTo>
                    <a:pt x="149" y="68"/>
                  </a:lnTo>
                  <a:lnTo>
                    <a:pt x="149" y="68"/>
                  </a:lnTo>
                  <a:lnTo>
                    <a:pt x="149" y="72"/>
                  </a:lnTo>
                  <a:lnTo>
                    <a:pt x="149" y="72"/>
                  </a:lnTo>
                  <a:lnTo>
                    <a:pt x="151" y="74"/>
                  </a:lnTo>
                  <a:lnTo>
                    <a:pt x="151" y="74"/>
                  </a:lnTo>
                  <a:lnTo>
                    <a:pt x="153" y="76"/>
                  </a:lnTo>
                  <a:lnTo>
                    <a:pt x="157" y="74"/>
                  </a:lnTo>
                  <a:lnTo>
                    <a:pt x="159" y="74"/>
                  </a:lnTo>
                  <a:lnTo>
                    <a:pt x="164" y="74"/>
                  </a:lnTo>
                  <a:lnTo>
                    <a:pt x="168" y="76"/>
                  </a:lnTo>
                  <a:lnTo>
                    <a:pt x="168" y="76"/>
                  </a:lnTo>
                  <a:lnTo>
                    <a:pt x="170" y="78"/>
                  </a:lnTo>
                  <a:lnTo>
                    <a:pt x="172" y="78"/>
                  </a:lnTo>
                  <a:lnTo>
                    <a:pt x="174" y="78"/>
                  </a:lnTo>
                  <a:lnTo>
                    <a:pt x="176" y="80"/>
                  </a:lnTo>
                  <a:lnTo>
                    <a:pt x="178" y="80"/>
                  </a:lnTo>
                  <a:lnTo>
                    <a:pt x="178" y="82"/>
                  </a:lnTo>
                  <a:lnTo>
                    <a:pt x="176" y="84"/>
                  </a:lnTo>
                  <a:lnTo>
                    <a:pt x="174" y="89"/>
                  </a:lnTo>
                  <a:lnTo>
                    <a:pt x="174" y="91"/>
                  </a:lnTo>
                  <a:lnTo>
                    <a:pt x="174" y="91"/>
                  </a:lnTo>
                  <a:lnTo>
                    <a:pt x="176" y="93"/>
                  </a:lnTo>
                  <a:lnTo>
                    <a:pt x="178" y="93"/>
                  </a:lnTo>
                  <a:lnTo>
                    <a:pt x="182" y="97"/>
                  </a:lnTo>
                  <a:lnTo>
                    <a:pt x="184" y="97"/>
                  </a:lnTo>
                  <a:lnTo>
                    <a:pt x="190" y="95"/>
                  </a:lnTo>
                  <a:lnTo>
                    <a:pt x="194" y="97"/>
                  </a:lnTo>
                  <a:lnTo>
                    <a:pt x="196" y="97"/>
                  </a:lnTo>
                  <a:lnTo>
                    <a:pt x="198" y="99"/>
                  </a:lnTo>
                  <a:lnTo>
                    <a:pt x="198" y="99"/>
                  </a:lnTo>
                  <a:lnTo>
                    <a:pt x="200" y="101"/>
                  </a:lnTo>
                  <a:lnTo>
                    <a:pt x="200" y="103"/>
                  </a:lnTo>
                  <a:lnTo>
                    <a:pt x="202" y="103"/>
                  </a:lnTo>
                  <a:lnTo>
                    <a:pt x="202" y="103"/>
                  </a:lnTo>
                  <a:lnTo>
                    <a:pt x="207" y="103"/>
                  </a:lnTo>
                  <a:lnTo>
                    <a:pt x="209" y="103"/>
                  </a:lnTo>
                  <a:lnTo>
                    <a:pt x="211" y="103"/>
                  </a:lnTo>
                  <a:lnTo>
                    <a:pt x="211" y="105"/>
                  </a:lnTo>
                  <a:lnTo>
                    <a:pt x="217" y="97"/>
                  </a:lnTo>
                  <a:lnTo>
                    <a:pt x="227" y="107"/>
                  </a:lnTo>
                  <a:lnTo>
                    <a:pt x="223" y="117"/>
                  </a:lnTo>
                  <a:lnTo>
                    <a:pt x="223" y="119"/>
                  </a:lnTo>
                  <a:lnTo>
                    <a:pt x="225" y="121"/>
                  </a:lnTo>
                  <a:lnTo>
                    <a:pt x="225" y="123"/>
                  </a:lnTo>
                  <a:lnTo>
                    <a:pt x="225" y="123"/>
                  </a:lnTo>
                  <a:lnTo>
                    <a:pt x="223" y="123"/>
                  </a:lnTo>
                  <a:lnTo>
                    <a:pt x="223" y="125"/>
                  </a:lnTo>
                  <a:lnTo>
                    <a:pt x="225" y="125"/>
                  </a:lnTo>
                  <a:lnTo>
                    <a:pt x="225" y="128"/>
                  </a:lnTo>
                  <a:lnTo>
                    <a:pt x="221" y="130"/>
                  </a:lnTo>
                  <a:lnTo>
                    <a:pt x="219" y="130"/>
                  </a:lnTo>
                  <a:lnTo>
                    <a:pt x="219" y="132"/>
                  </a:lnTo>
                  <a:lnTo>
                    <a:pt x="219" y="132"/>
                  </a:lnTo>
                  <a:lnTo>
                    <a:pt x="219" y="134"/>
                  </a:lnTo>
                  <a:lnTo>
                    <a:pt x="219" y="136"/>
                  </a:lnTo>
                  <a:lnTo>
                    <a:pt x="219" y="136"/>
                  </a:lnTo>
                  <a:lnTo>
                    <a:pt x="219" y="138"/>
                  </a:lnTo>
                  <a:lnTo>
                    <a:pt x="217" y="140"/>
                  </a:lnTo>
                  <a:lnTo>
                    <a:pt x="217" y="140"/>
                  </a:lnTo>
                  <a:lnTo>
                    <a:pt x="215" y="140"/>
                  </a:lnTo>
                  <a:lnTo>
                    <a:pt x="215" y="140"/>
                  </a:lnTo>
                  <a:lnTo>
                    <a:pt x="215" y="142"/>
                  </a:lnTo>
                  <a:lnTo>
                    <a:pt x="213" y="142"/>
                  </a:lnTo>
                  <a:lnTo>
                    <a:pt x="213" y="142"/>
                  </a:lnTo>
                  <a:lnTo>
                    <a:pt x="213" y="142"/>
                  </a:lnTo>
                  <a:lnTo>
                    <a:pt x="213" y="144"/>
                  </a:lnTo>
                  <a:lnTo>
                    <a:pt x="213" y="144"/>
                  </a:lnTo>
                  <a:lnTo>
                    <a:pt x="213" y="144"/>
                  </a:lnTo>
                  <a:lnTo>
                    <a:pt x="215" y="144"/>
                  </a:lnTo>
                  <a:lnTo>
                    <a:pt x="215" y="144"/>
                  </a:lnTo>
                  <a:lnTo>
                    <a:pt x="213" y="146"/>
                  </a:lnTo>
                  <a:lnTo>
                    <a:pt x="213" y="146"/>
                  </a:lnTo>
                  <a:lnTo>
                    <a:pt x="211" y="148"/>
                  </a:lnTo>
                  <a:lnTo>
                    <a:pt x="211" y="150"/>
                  </a:lnTo>
                  <a:lnTo>
                    <a:pt x="211" y="152"/>
                  </a:lnTo>
                  <a:lnTo>
                    <a:pt x="209" y="152"/>
                  </a:lnTo>
                  <a:lnTo>
                    <a:pt x="209" y="154"/>
                  </a:lnTo>
                  <a:lnTo>
                    <a:pt x="211" y="158"/>
                  </a:lnTo>
                  <a:lnTo>
                    <a:pt x="211" y="160"/>
                  </a:lnTo>
                  <a:lnTo>
                    <a:pt x="213" y="162"/>
                  </a:lnTo>
                  <a:lnTo>
                    <a:pt x="213" y="164"/>
                  </a:lnTo>
                  <a:lnTo>
                    <a:pt x="215" y="166"/>
                  </a:lnTo>
                  <a:lnTo>
                    <a:pt x="217" y="166"/>
                  </a:lnTo>
                  <a:lnTo>
                    <a:pt x="219" y="166"/>
                  </a:lnTo>
                  <a:lnTo>
                    <a:pt x="219" y="164"/>
                  </a:lnTo>
                  <a:lnTo>
                    <a:pt x="221" y="164"/>
                  </a:lnTo>
                  <a:lnTo>
                    <a:pt x="223" y="162"/>
                  </a:lnTo>
                  <a:lnTo>
                    <a:pt x="223" y="158"/>
                  </a:lnTo>
                  <a:lnTo>
                    <a:pt x="221" y="158"/>
                  </a:lnTo>
                  <a:lnTo>
                    <a:pt x="221" y="156"/>
                  </a:lnTo>
                  <a:lnTo>
                    <a:pt x="221" y="156"/>
                  </a:lnTo>
                  <a:lnTo>
                    <a:pt x="221" y="156"/>
                  </a:lnTo>
                  <a:lnTo>
                    <a:pt x="223" y="154"/>
                  </a:lnTo>
                  <a:lnTo>
                    <a:pt x="223" y="154"/>
                  </a:lnTo>
                  <a:lnTo>
                    <a:pt x="223" y="154"/>
                  </a:lnTo>
                  <a:lnTo>
                    <a:pt x="223" y="154"/>
                  </a:lnTo>
                  <a:lnTo>
                    <a:pt x="223" y="156"/>
                  </a:lnTo>
                  <a:lnTo>
                    <a:pt x="223" y="156"/>
                  </a:lnTo>
                  <a:lnTo>
                    <a:pt x="223" y="156"/>
                  </a:lnTo>
                  <a:lnTo>
                    <a:pt x="223" y="158"/>
                  </a:lnTo>
                  <a:lnTo>
                    <a:pt x="225" y="158"/>
                  </a:lnTo>
                  <a:lnTo>
                    <a:pt x="225" y="160"/>
                  </a:lnTo>
                  <a:lnTo>
                    <a:pt x="227" y="158"/>
                  </a:lnTo>
                  <a:lnTo>
                    <a:pt x="227" y="158"/>
                  </a:lnTo>
                  <a:lnTo>
                    <a:pt x="229" y="156"/>
                  </a:lnTo>
                  <a:lnTo>
                    <a:pt x="229" y="154"/>
                  </a:lnTo>
                  <a:lnTo>
                    <a:pt x="229" y="154"/>
                  </a:lnTo>
                  <a:lnTo>
                    <a:pt x="229" y="152"/>
                  </a:lnTo>
                  <a:lnTo>
                    <a:pt x="229" y="152"/>
                  </a:lnTo>
                  <a:lnTo>
                    <a:pt x="231" y="154"/>
                  </a:lnTo>
                  <a:lnTo>
                    <a:pt x="231" y="156"/>
                  </a:lnTo>
                  <a:lnTo>
                    <a:pt x="235" y="162"/>
                  </a:lnTo>
                  <a:lnTo>
                    <a:pt x="237" y="164"/>
                  </a:lnTo>
                  <a:lnTo>
                    <a:pt x="245" y="169"/>
                  </a:lnTo>
                  <a:lnTo>
                    <a:pt x="248" y="171"/>
                  </a:lnTo>
                  <a:lnTo>
                    <a:pt x="250" y="171"/>
                  </a:lnTo>
                  <a:lnTo>
                    <a:pt x="250" y="166"/>
                  </a:lnTo>
                  <a:lnTo>
                    <a:pt x="248" y="164"/>
                  </a:lnTo>
                  <a:lnTo>
                    <a:pt x="245" y="162"/>
                  </a:lnTo>
                  <a:lnTo>
                    <a:pt x="243" y="158"/>
                  </a:lnTo>
                  <a:lnTo>
                    <a:pt x="245" y="158"/>
                  </a:lnTo>
                  <a:lnTo>
                    <a:pt x="248" y="160"/>
                  </a:lnTo>
                  <a:lnTo>
                    <a:pt x="250" y="162"/>
                  </a:lnTo>
                  <a:lnTo>
                    <a:pt x="252" y="166"/>
                  </a:lnTo>
                  <a:lnTo>
                    <a:pt x="252" y="169"/>
                  </a:lnTo>
                  <a:lnTo>
                    <a:pt x="252" y="169"/>
                  </a:lnTo>
                  <a:lnTo>
                    <a:pt x="254" y="171"/>
                  </a:lnTo>
                  <a:lnTo>
                    <a:pt x="256" y="173"/>
                  </a:lnTo>
                  <a:lnTo>
                    <a:pt x="258" y="173"/>
                  </a:lnTo>
                  <a:lnTo>
                    <a:pt x="264" y="171"/>
                  </a:lnTo>
                  <a:lnTo>
                    <a:pt x="268" y="169"/>
                  </a:lnTo>
                  <a:lnTo>
                    <a:pt x="270" y="171"/>
                  </a:lnTo>
                  <a:lnTo>
                    <a:pt x="272" y="171"/>
                  </a:lnTo>
                  <a:lnTo>
                    <a:pt x="274" y="173"/>
                  </a:lnTo>
                  <a:lnTo>
                    <a:pt x="274" y="173"/>
                  </a:lnTo>
                  <a:lnTo>
                    <a:pt x="276" y="175"/>
                  </a:lnTo>
                  <a:lnTo>
                    <a:pt x="276" y="175"/>
                  </a:lnTo>
                  <a:lnTo>
                    <a:pt x="278" y="179"/>
                  </a:lnTo>
                  <a:lnTo>
                    <a:pt x="278" y="179"/>
                  </a:lnTo>
                  <a:lnTo>
                    <a:pt x="280" y="179"/>
                  </a:lnTo>
                  <a:lnTo>
                    <a:pt x="280" y="179"/>
                  </a:lnTo>
                  <a:lnTo>
                    <a:pt x="280" y="175"/>
                  </a:lnTo>
                  <a:lnTo>
                    <a:pt x="282" y="177"/>
                  </a:lnTo>
                  <a:lnTo>
                    <a:pt x="282" y="179"/>
                  </a:lnTo>
                  <a:lnTo>
                    <a:pt x="284" y="177"/>
                  </a:lnTo>
                  <a:lnTo>
                    <a:pt x="284" y="175"/>
                  </a:lnTo>
                  <a:lnTo>
                    <a:pt x="284" y="175"/>
                  </a:lnTo>
                  <a:lnTo>
                    <a:pt x="284" y="173"/>
                  </a:lnTo>
                  <a:lnTo>
                    <a:pt x="284" y="173"/>
                  </a:lnTo>
                  <a:lnTo>
                    <a:pt x="282" y="171"/>
                  </a:lnTo>
                  <a:lnTo>
                    <a:pt x="282" y="171"/>
                  </a:lnTo>
                  <a:lnTo>
                    <a:pt x="284" y="173"/>
                  </a:lnTo>
                  <a:lnTo>
                    <a:pt x="286" y="175"/>
                  </a:lnTo>
                  <a:lnTo>
                    <a:pt x="288" y="179"/>
                  </a:lnTo>
                  <a:lnTo>
                    <a:pt x="288" y="179"/>
                  </a:lnTo>
                  <a:lnTo>
                    <a:pt x="291" y="181"/>
                  </a:lnTo>
                  <a:lnTo>
                    <a:pt x="299" y="185"/>
                  </a:lnTo>
                  <a:lnTo>
                    <a:pt x="299" y="183"/>
                  </a:lnTo>
                  <a:lnTo>
                    <a:pt x="297" y="183"/>
                  </a:lnTo>
                  <a:lnTo>
                    <a:pt x="297" y="181"/>
                  </a:lnTo>
                  <a:lnTo>
                    <a:pt x="297" y="181"/>
                  </a:lnTo>
                  <a:lnTo>
                    <a:pt x="297" y="179"/>
                  </a:lnTo>
                  <a:lnTo>
                    <a:pt x="297" y="177"/>
                  </a:lnTo>
                  <a:lnTo>
                    <a:pt x="297" y="175"/>
                  </a:lnTo>
                  <a:lnTo>
                    <a:pt x="295" y="173"/>
                  </a:lnTo>
                  <a:lnTo>
                    <a:pt x="293" y="169"/>
                  </a:lnTo>
                  <a:lnTo>
                    <a:pt x="288" y="169"/>
                  </a:lnTo>
                  <a:lnTo>
                    <a:pt x="288" y="166"/>
                  </a:lnTo>
                  <a:lnTo>
                    <a:pt x="286" y="164"/>
                  </a:lnTo>
                  <a:lnTo>
                    <a:pt x="286" y="164"/>
                  </a:lnTo>
                  <a:lnTo>
                    <a:pt x="288" y="162"/>
                  </a:lnTo>
                  <a:lnTo>
                    <a:pt x="288" y="160"/>
                  </a:lnTo>
                  <a:lnTo>
                    <a:pt x="286" y="158"/>
                  </a:lnTo>
                  <a:lnTo>
                    <a:pt x="284" y="158"/>
                  </a:lnTo>
                  <a:lnTo>
                    <a:pt x="282" y="160"/>
                  </a:lnTo>
                  <a:lnTo>
                    <a:pt x="280" y="160"/>
                  </a:lnTo>
                  <a:lnTo>
                    <a:pt x="278" y="160"/>
                  </a:lnTo>
                  <a:lnTo>
                    <a:pt x="276" y="158"/>
                  </a:lnTo>
                  <a:lnTo>
                    <a:pt x="276" y="156"/>
                  </a:lnTo>
                  <a:lnTo>
                    <a:pt x="274" y="154"/>
                  </a:lnTo>
                  <a:lnTo>
                    <a:pt x="274" y="154"/>
                  </a:lnTo>
                  <a:lnTo>
                    <a:pt x="268" y="152"/>
                  </a:lnTo>
                  <a:lnTo>
                    <a:pt x="264" y="150"/>
                  </a:lnTo>
                  <a:lnTo>
                    <a:pt x="262" y="148"/>
                  </a:lnTo>
                  <a:lnTo>
                    <a:pt x="260" y="146"/>
                  </a:lnTo>
                  <a:lnTo>
                    <a:pt x="258" y="142"/>
                  </a:lnTo>
                  <a:lnTo>
                    <a:pt x="258" y="140"/>
                  </a:lnTo>
                  <a:lnTo>
                    <a:pt x="258" y="140"/>
                  </a:lnTo>
                  <a:lnTo>
                    <a:pt x="258" y="140"/>
                  </a:lnTo>
                  <a:lnTo>
                    <a:pt x="256" y="138"/>
                  </a:lnTo>
                  <a:lnTo>
                    <a:pt x="256" y="136"/>
                  </a:lnTo>
                  <a:lnTo>
                    <a:pt x="254" y="128"/>
                  </a:lnTo>
                  <a:lnTo>
                    <a:pt x="254" y="128"/>
                  </a:lnTo>
                  <a:lnTo>
                    <a:pt x="254" y="125"/>
                  </a:lnTo>
                  <a:lnTo>
                    <a:pt x="254" y="125"/>
                  </a:lnTo>
                  <a:lnTo>
                    <a:pt x="256" y="128"/>
                  </a:lnTo>
                  <a:lnTo>
                    <a:pt x="260" y="142"/>
                  </a:lnTo>
                  <a:lnTo>
                    <a:pt x="262" y="144"/>
                  </a:lnTo>
                  <a:lnTo>
                    <a:pt x="262" y="144"/>
                  </a:lnTo>
                  <a:lnTo>
                    <a:pt x="270" y="150"/>
                  </a:lnTo>
                  <a:lnTo>
                    <a:pt x="270" y="150"/>
                  </a:lnTo>
                  <a:lnTo>
                    <a:pt x="274" y="150"/>
                  </a:lnTo>
                  <a:lnTo>
                    <a:pt x="274" y="150"/>
                  </a:lnTo>
                  <a:lnTo>
                    <a:pt x="276" y="152"/>
                  </a:lnTo>
                  <a:lnTo>
                    <a:pt x="276" y="152"/>
                  </a:lnTo>
                  <a:lnTo>
                    <a:pt x="278" y="152"/>
                  </a:lnTo>
                  <a:lnTo>
                    <a:pt x="278" y="154"/>
                  </a:lnTo>
                  <a:lnTo>
                    <a:pt x="278" y="154"/>
                  </a:lnTo>
                  <a:lnTo>
                    <a:pt x="280" y="156"/>
                  </a:lnTo>
                  <a:lnTo>
                    <a:pt x="280" y="156"/>
                  </a:lnTo>
                  <a:lnTo>
                    <a:pt x="284" y="154"/>
                  </a:lnTo>
                  <a:lnTo>
                    <a:pt x="286" y="154"/>
                  </a:lnTo>
                  <a:lnTo>
                    <a:pt x="286" y="152"/>
                  </a:lnTo>
                  <a:lnTo>
                    <a:pt x="284" y="150"/>
                  </a:lnTo>
                  <a:lnTo>
                    <a:pt x="282" y="148"/>
                  </a:lnTo>
                  <a:lnTo>
                    <a:pt x="280" y="144"/>
                  </a:lnTo>
                  <a:lnTo>
                    <a:pt x="272" y="140"/>
                  </a:lnTo>
                  <a:lnTo>
                    <a:pt x="270" y="136"/>
                  </a:lnTo>
                  <a:lnTo>
                    <a:pt x="270" y="134"/>
                  </a:lnTo>
                  <a:lnTo>
                    <a:pt x="270" y="125"/>
                  </a:lnTo>
                  <a:lnTo>
                    <a:pt x="268" y="125"/>
                  </a:lnTo>
                  <a:lnTo>
                    <a:pt x="268" y="123"/>
                  </a:lnTo>
                  <a:lnTo>
                    <a:pt x="266" y="121"/>
                  </a:lnTo>
                  <a:lnTo>
                    <a:pt x="266" y="117"/>
                  </a:lnTo>
                  <a:lnTo>
                    <a:pt x="264" y="117"/>
                  </a:lnTo>
                  <a:lnTo>
                    <a:pt x="262" y="115"/>
                  </a:lnTo>
                  <a:lnTo>
                    <a:pt x="262" y="113"/>
                  </a:lnTo>
                  <a:lnTo>
                    <a:pt x="262" y="111"/>
                  </a:lnTo>
                  <a:lnTo>
                    <a:pt x="266" y="109"/>
                  </a:lnTo>
                  <a:lnTo>
                    <a:pt x="266" y="107"/>
                  </a:lnTo>
                  <a:lnTo>
                    <a:pt x="266" y="105"/>
                  </a:lnTo>
                  <a:lnTo>
                    <a:pt x="266" y="105"/>
                  </a:lnTo>
                  <a:lnTo>
                    <a:pt x="264" y="107"/>
                  </a:lnTo>
                  <a:lnTo>
                    <a:pt x="262" y="105"/>
                  </a:lnTo>
                  <a:lnTo>
                    <a:pt x="262" y="103"/>
                  </a:lnTo>
                  <a:lnTo>
                    <a:pt x="262" y="101"/>
                  </a:lnTo>
                  <a:lnTo>
                    <a:pt x="262" y="101"/>
                  </a:lnTo>
                  <a:lnTo>
                    <a:pt x="260" y="101"/>
                  </a:lnTo>
                  <a:lnTo>
                    <a:pt x="260" y="101"/>
                  </a:lnTo>
                  <a:lnTo>
                    <a:pt x="262" y="99"/>
                  </a:lnTo>
                  <a:lnTo>
                    <a:pt x="264" y="99"/>
                  </a:lnTo>
                  <a:lnTo>
                    <a:pt x="264" y="101"/>
                  </a:lnTo>
                  <a:lnTo>
                    <a:pt x="266" y="99"/>
                  </a:lnTo>
                  <a:lnTo>
                    <a:pt x="264" y="97"/>
                  </a:lnTo>
                  <a:lnTo>
                    <a:pt x="262" y="97"/>
                  </a:lnTo>
                  <a:lnTo>
                    <a:pt x="260" y="95"/>
                  </a:lnTo>
                  <a:lnTo>
                    <a:pt x="260" y="95"/>
                  </a:lnTo>
                  <a:lnTo>
                    <a:pt x="258" y="93"/>
                  </a:lnTo>
                  <a:lnTo>
                    <a:pt x="260" y="93"/>
                  </a:lnTo>
                  <a:lnTo>
                    <a:pt x="262" y="93"/>
                  </a:lnTo>
                  <a:lnTo>
                    <a:pt x="266" y="95"/>
                  </a:lnTo>
                  <a:lnTo>
                    <a:pt x="268" y="95"/>
                  </a:lnTo>
                  <a:lnTo>
                    <a:pt x="268" y="95"/>
                  </a:lnTo>
                  <a:lnTo>
                    <a:pt x="266" y="93"/>
                  </a:lnTo>
                  <a:lnTo>
                    <a:pt x="262" y="89"/>
                  </a:lnTo>
                  <a:lnTo>
                    <a:pt x="260" y="87"/>
                  </a:lnTo>
                  <a:lnTo>
                    <a:pt x="258" y="84"/>
                  </a:lnTo>
                  <a:lnTo>
                    <a:pt x="256" y="84"/>
                  </a:lnTo>
                  <a:lnTo>
                    <a:pt x="256" y="84"/>
                  </a:lnTo>
                  <a:lnTo>
                    <a:pt x="254" y="84"/>
                  </a:lnTo>
                  <a:lnTo>
                    <a:pt x="254" y="82"/>
                  </a:lnTo>
                  <a:lnTo>
                    <a:pt x="254" y="82"/>
                  </a:lnTo>
                  <a:lnTo>
                    <a:pt x="256" y="80"/>
                  </a:lnTo>
                  <a:lnTo>
                    <a:pt x="256" y="80"/>
                  </a:lnTo>
                  <a:lnTo>
                    <a:pt x="258" y="82"/>
                  </a:lnTo>
                  <a:lnTo>
                    <a:pt x="260" y="84"/>
                  </a:lnTo>
                  <a:lnTo>
                    <a:pt x="264" y="89"/>
                  </a:lnTo>
                  <a:lnTo>
                    <a:pt x="266" y="87"/>
                  </a:lnTo>
                  <a:lnTo>
                    <a:pt x="266" y="87"/>
                  </a:lnTo>
                  <a:lnTo>
                    <a:pt x="266" y="87"/>
                  </a:lnTo>
                  <a:lnTo>
                    <a:pt x="268" y="87"/>
                  </a:lnTo>
                  <a:lnTo>
                    <a:pt x="270" y="84"/>
                  </a:lnTo>
                  <a:lnTo>
                    <a:pt x="270" y="84"/>
                  </a:lnTo>
                  <a:lnTo>
                    <a:pt x="268" y="82"/>
                  </a:lnTo>
                  <a:lnTo>
                    <a:pt x="266" y="80"/>
                  </a:lnTo>
                  <a:lnTo>
                    <a:pt x="262" y="80"/>
                  </a:lnTo>
                  <a:lnTo>
                    <a:pt x="260" y="80"/>
                  </a:lnTo>
                  <a:lnTo>
                    <a:pt x="260" y="80"/>
                  </a:lnTo>
                  <a:lnTo>
                    <a:pt x="258" y="78"/>
                  </a:lnTo>
                  <a:lnTo>
                    <a:pt x="258" y="78"/>
                  </a:lnTo>
                  <a:lnTo>
                    <a:pt x="258" y="78"/>
                  </a:lnTo>
                  <a:lnTo>
                    <a:pt x="258" y="78"/>
                  </a:lnTo>
                  <a:lnTo>
                    <a:pt x="262" y="78"/>
                  </a:lnTo>
                  <a:lnTo>
                    <a:pt x="262" y="78"/>
                  </a:lnTo>
                  <a:lnTo>
                    <a:pt x="264" y="78"/>
                  </a:lnTo>
                  <a:lnTo>
                    <a:pt x="266" y="78"/>
                  </a:lnTo>
                  <a:lnTo>
                    <a:pt x="266" y="80"/>
                  </a:lnTo>
                  <a:lnTo>
                    <a:pt x="266" y="80"/>
                  </a:lnTo>
                  <a:lnTo>
                    <a:pt x="266" y="76"/>
                  </a:lnTo>
                  <a:lnTo>
                    <a:pt x="264" y="74"/>
                  </a:lnTo>
                  <a:lnTo>
                    <a:pt x="264" y="72"/>
                  </a:lnTo>
                  <a:lnTo>
                    <a:pt x="262" y="70"/>
                  </a:lnTo>
                  <a:lnTo>
                    <a:pt x="260" y="70"/>
                  </a:lnTo>
                  <a:lnTo>
                    <a:pt x="258" y="72"/>
                  </a:lnTo>
                  <a:lnTo>
                    <a:pt x="258" y="70"/>
                  </a:lnTo>
                  <a:lnTo>
                    <a:pt x="256" y="70"/>
                  </a:lnTo>
                  <a:lnTo>
                    <a:pt x="256" y="68"/>
                  </a:lnTo>
                  <a:lnTo>
                    <a:pt x="256" y="68"/>
                  </a:lnTo>
                  <a:lnTo>
                    <a:pt x="254" y="68"/>
                  </a:lnTo>
                  <a:lnTo>
                    <a:pt x="254" y="66"/>
                  </a:lnTo>
                  <a:lnTo>
                    <a:pt x="252" y="66"/>
                  </a:lnTo>
                  <a:lnTo>
                    <a:pt x="250" y="66"/>
                  </a:lnTo>
                  <a:lnTo>
                    <a:pt x="250" y="64"/>
                  </a:lnTo>
                  <a:lnTo>
                    <a:pt x="250" y="64"/>
                  </a:lnTo>
                  <a:lnTo>
                    <a:pt x="248" y="64"/>
                  </a:lnTo>
                  <a:lnTo>
                    <a:pt x="245" y="64"/>
                  </a:lnTo>
                  <a:lnTo>
                    <a:pt x="245" y="64"/>
                  </a:lnTo>
                  <a:lnTo>
                    <a:pt x="245" y="62"/>
                  </a:lnTo>
                  <a:lnTo>
                    <a:pt x="248" y="62"/>
                  </a:lnTo>
                  <a:lnTo>
                    <a:pt x="250" y="62"/>
                  </a:lnTo>
                  <a:lnTo>
                    <a:pt x="250" y="60"/>
                  </a:lnTo>
                  <a:lnTo>
                    <a:pt x="250" y="62"/>
                  </a:lnTo>
                  <a:lnTo>
                    <a:pt x="256" y="62"/>
                  </a:lnTo>
                  <a:lnTo>
                    <a:pt x="256" y="64"/>
                  </a:lnTo>
                  <a:lnTo>
                    <a:pt x="258" y="64"/>
                  </a:lnTo>
                  <a:lnTo>
                    <a:pt x="258" y="64"/>
                  </a:lnTo>
                  <a:lnTo>
                    <a:pt x="260" y="64"/>
                  </a:lnTo>
                  <a:lnTo>
                    <a:pt x="260" y="66"/>
                  </a:lnTo>
                  <a:lnTo>
                    <a:pt x="260" y="64"/>
                  </a:lnTo>
                  <a:lnTo>
                    <a:pt x="260" y="64"/>
                  </a:lnTo>
                  <a:lnTo>
                    <a:pt x="262" y="64"/>
                  </a:lnTo>
                  <a:lnTo>
                    <a:pt x="262" y="66"/>
                  </a:lnTo>
                  <a:lnTo>
                    <a:pt x="266" y="62"/>
                  </a:lnTo>
                  <a:lnTo>
                    <a:pt x="266" y="62"/>
                  </a:lnTo>
                  <a:lnTo>
                    <a:pt x="262" y="62"/>
                  </a:lnTo>
                  <a:lnTo>
                    <a:pt x="260" y="60"/>
                  </a:lnTo>
                  <a:lnTo>
                    <a:pt x="258" y="58"/>
                  </a:lnTo>
                  <a:lnTo>
                    <a:pt x="256" y="56"/>
                  </a:lnTo>
                  <a:lnTo>
                    <a:pt x="258" y="56"/>
                  </a:lnTo>
                  <a:lnTo>
                    <a:pt x="260" y="56"/>
                  </a:lnTo>
                  <a:lnTo>
                    <a:pt x="262" y="58"/>
                  </a:lnTo>
                  <a:lnTo>
                    <a:pt x="262" y="60"/>
                  </a:lnTo>
                  <a:lnTo>
                    <a:pt x="264" y="60"/>
                  </a:lnTo>
                  <a:lnTo>
                    <a:pt x="264" y="58"/>
                  </a:lnTo>
                  <a:lnTo>
                    <a:pt x="264" y="58"/>
                  </a:lnTo>
                  <a:lnTo>
                    <a:pt x="260" y="54"/>
                  </a:lnTo>
                  <a:lnTo>
                    <a:pt x="260" y="54"/>
                  </a:lnTo>
                  <a:lnTo>
                    <a:pt x="260" y="54"/>
                  </a:lnTo>
                  <a:lnTo>
                    <a:pt x="266" y="54"/>
                  </a:lnTo>
                  <a:lnTo>
                    <a:pt x="266" y="52"/>
                  </a:lnTo>
                  <a:lnTo>
                    <a:pt x="264" y="52"/>
                  </a:lnTo>
                  <a:lnTo>
                    <a:pt x="266" y="50"/>
                  </a:lnTo>
                  <a:lnTo>
                    <a:pt x="266" y="50"/>
                  </a:lnTo>
                  <a:lnTo>
                    <a:pt x="266" y="50"/>
                  </a:lnTo>
                  <a:lnTo>
                    <a:pt x="268" y="48"/>
                  </a:lnTo>
                  <a:lnTo>
                    <a:pt x="266" y="48"/>
                  </a:lnTo>
                  <a:lnTo>
                    <a:pt x="266" y="48"/>
                  </a:lnTo>
                  <a:lnTo>
                    <a:pt x="264" y="46"/>
                  </a:lnTo>
                  <a:lnTo>
                    <a:pt x="262" y="46"/>
                  </a:lnTo>
                  <a:lnTo>
                    <a:pt x="260" y="46"/>
                  </a:lnTo>
                  <a:lnTo>
                    <a:pt x="266" y="41"/>
                  </a:lnTo>
                  <a:lnTo>
                    <a:pt x="268" y="43"/>
                  </a:lnTo>
                  <a:lnTo>
                    <a:pt x="270" y="48"/>
                  </a:lnTo>
                  <a:lnTo>
                    <a:pt x="272" y="52"/>
                  </a:lnTo>
                  <a:lnTo>
                    <a:pt x="274" y="48"/>
                  </a:lnTo>
                  <a:lnTo>
                    <a:pt x="274" y="48"/>
                  </a:lnTo>
                  <a:lnTo>
                    <a:pt x="274" y="48"/>
                  </a:lnTo>
                  <a:lnTo>
                    <a:pt x="274" y="46"/>
                  </a:lnTo>
                  <a:lnTo>
                    <a:pt x="272" y="43"/>
                  </a:lnTo>
                  <a:lnTo>
                    <a:pt x="272" y="35"/>
                  </a:lnTo>
                  <a:lnTo>
                    <a:pt x="272" y="35"/>
                  </a:lnTo>
                  <a:lnTo>
                    <a:pt x="272" y="35"/>
                  </a:lnTo>
                  <a:lnTo>
                    <a:pt x="272" y="33"/>
                  </a:lnTo>
                  <a:lnTo>
                    <a:pt x="274" y="33"/>
                  </a:lnTo>
                  <a:lnTo>
                    <a:pt x="274" y="33"/>
                  </a:lnTo>
                  <a:lnTo>
                    <a:pt x="274" y="35"/>
                  </a:lnTo>
                  <a:lnTo>
                    <a:pt x="274" y="37"/>
                  </a:lnTo>
                  <a:lnTo>
                    <a:pt x="274" y="41"/>
                  </a:lnTo>
                  <a:lnTo>
                    <a:pt x="276" y="43"/>
                  </a:lnTo>
                  <a:lnTo>
                    <a:pt x="276" y="46"/>
                  </a:lnTo>
                  <a:lnTo>
                    <a:pt x="278" y="41"/>
                  </a:lnTo>
                  <a:lnTo>
                    <a:pt x="282" y="37"/>
                  </a:lnTo>
                  <a:lnTo>
                    <a:pt x="286" y="33"/>
                  </a:lnTo>
                  <a:lnTo>
                    <a:pt x="286" y="33"/>
                  </a:lnTo>
                  <a:lnTo>
                    <a:pt x="286" y="31"/>
                  </a:lnTo>
                  <a:lnTo>
                    <a:pt x="286" y="31"/>
                  </a:lnTo>
                  <a:lnTo>
                    <a:pt x="282" y="31"/>
                  </a:lnTo>
                  <a:lnTo>
                    <a:pt x="282" y="29"/>
                  </a:lnTo>
                  <a:lnTo>
                    <a:pt x="282" y="23"/>
                  </a:lnTo>
                  <a:lnTo>
                    <a:pt x="282" y="23"/>
                  </a:lnTo>
                  <a:lnTo>
                    <a:pt x="284" y="21"/>
                  </a:lnTo>
                  <a:lnTo>
                    <a:pt x="284" y="21"/>
                  </a:lnTo>
                  <a:lnTo>
                    <a:pt x="291" y="21"/>
                  </a:lnTo>
                  <a:lnTo>
                    <a:pt x="291" y="19"/>
                  </a:lnTo>
                  <a:lnTo>
                    <a:pt x="293" y="17"/>
                  </a:lnTo>
                  <a:lnTo>
                    <a:pt x="293" y="15"/>
                  </a:lnTo>
                  <a:lnTo>
                    <a:pt x="295" y="15"/>
                  </a:lnTo>
                  <a:lnTo>
                    <a:pt x="295" y="19"/>
                  </a:lnTo>
                  <a:lnTo>
                    <a:pt x="295" y="21"/>
                  </a:lnTo>
                  <a:lnTo>
                    <a:pt x="293" y="23"/>
                  </a:lnTo>
                  <a:lnTo>
                    <a:pt x="293" y="27"/>
                  </a:lnTo>
                  <a:lnTo>
                    <a:pt x="291" y="29"/>
                  </a:lnTo>
                  <a:lnTo>
                    <a:pt x="293" y="31"/>
                  </a:lnTo>
                  <a:lnTo>
                    <a:pt x="293" y="29"/>
                  </a:lnTo>
                  <a:lnTo>
                    <a:pt x="299" y="23"/>
                  </a:lnTo>
                  <a:lnTo>
                    <a:pt x="299" y="21"/>
                  </a:lnTo>
                  <a:lnTo>
                    <a:pt x="301" y="19"/>
                  </a:lnTo>
                  <a:lnTo>
                    <a:pt x="301" y="17"/>
                  </a:lnTo>
                  <a:lnTo>
                    <a:pt x="303" y="15"/>
                  </a:lnTo>
                  <a:lnTo>
                    <a:pt x="303" y="17"/>
                  </a:lnTo>
                  <a:lnTo>
                    <a:pt x="303" y="21"/>
                  </a:lnTo>
                  <a:lnTo>
                    <a:pt x="301" y="23"/>
                  </a:lnTo>
                  <a:lnTo>
                    <a:pt x="299" y="25"/>
                  </a:lnTo>
                  <a:lnTo>
                    <a:pt x="301" y="25"/>
                  </a:lnTo>
                  <a:lnTo>
                    <a:pt x="303" y="27"/>
                  </a:lnTo>
                  <a:lnTo>
                    <a:pt x="305" y="27"/>
                  </a:lnTo>
                  <a:lnTo>
                    <a:pt x="305" y="27"/>
                  </a:lnTo>
                  <a:lnTo>
                    <a:pt x="303" y="29"/>
                  </a:lnTo>
                  <a:lnTo>
                    <a:pt x="299" y="27"/>
                  </a:lnTo>
                  <a:lnTo>
                    <a:pt x="297" y="29"/>
                  </a:lnTo>
                  <a:lnTo>
                    <a:pt x="297" y="29"/>
                  </a:lnTo>
                  <a:lnTo>
                    <a:pt x="295" y="31"/>
                  </a:lnTo>
                  <a:lnTo>
                    <a:pt x="293" y="35"/>
                  </a:lnTo>
                  <a:lnTo>
                    <a:pt x="293" y="37"/>
                  </a:lnTo>
                  <a:lnTo>
                    <a:pt x="295" y="37"/>
                  </a:lnTo>
                  <a:lnTo>
                    <a:pt x="303" y="35"/>
                  </a:lnTo>
                  <a:lnTo>
                    <a:pt x="307" y="35"/>
                  </a:lnTo>
                  <a:lnTo>
                    <a:pt x="307" y="37"/>
                  </a:lnTo>
                  <a:lnTo>
                    <a:pt x="305" y="37"/>
                  </a:lnTo>
                  <a:lnTo>
                    <a:pt x="305" y="37"/>
                  </a:lnTo>
                  <a:lnTo>
                    <a:pt x="301" y="39"/>
                  </a:lnTo>
                  <a:lnTo>
                    <a:pt x="293" y="41"/>
                  </a:lnTo>
                  <a:lnTo>
                    <a:pt x="284" y="43"/>
                  </a:lnTo>
                  <a:lnTo>
                    <a:pt x="284" y="43"/>
                  </a:lnTo>
                  <a:lnTo>
                    <a:pt x="284" y="46"/>
                  </a:lnTo>
                  <a:lnTo>
                    <a:pt x="284" y="48"/>
                  </a:lnTo>
                  <a:lnTo>
                    <a:pt x="282" y="48"/>
                  </a:lnTo>
                  <a:lnTo>
                    <a:pt x="282" y="48"/>
                  </a:lnTo>
                  <a:lnTo>
                    <a:pt x="280" y="50"/>
                  </a:lnTo>
                  <a:lnTo>
                    <a:pt x="280" y="50"/>
                  </a:lnTo>
                  <a:lnTo>
                    <a:pt x="280" y="52"/>
                  </a:lnTo>
                  <a:lnTo>
                    <a:pt x="280" y="54"/>
                  </a:lnTo>
                  <a:lnTo>
                    <a:pt x="278" y="62"/>
                  </a:lnTo>
                  <a:lnTo>
                    <a:pt x="278" y="66"/>
                  </a:lnTo>
                  <a:lnTo>
                    <a:pt x="278" y="66"/>
                  </a:lnTo>
                  <a:lnTo>
                    <a:pt x="278" y="68"/>
                  </a:lnTo>
                  <a:lnTo>
                    <a:pt x="278" y="68"/>
                  </a:lnTo>
                  <a:lnTo>
                    <a:pt x="280" y="70"/>
                  </a:lnTo>
                  <a:lnTo>
                    <a:pt x="280" y="70"/>
                  </a:lnTo>
                  <a:lnTo>
                    <a:pt x="282" y="70"/>
                  </a:lnTo>
                  <a:lnTo>
                    <a:pt x="282" y="72"/>
                  </a:lnTo>
                  <a:lnTo>
                    <a:pt x="282" y="76"/>
                  </a:lnTo>
                  <a:lnTo>
                    <a:pt x="282" y="78"/>
                  </a:lnTo>
                  <a:lnTo>
                    <a:pt x="284" y="78"/>
                  </a:lnTo>
                  <a:lnTo>
                    <a:pt x="284" y="78"/>
                  </a:lnTo>
                  <a:lnTo>
                    <a:pt x="284" y="74"/>
                  </a:lnTo>
                  <a:lnTo>
                    <a:pt x="284" y="70"/>
                  </a:lnTo>
                  <a:lnTo>
                    <a:pt x="288" y="68"/>
                  </a:lnTo>
                  <a:lnTo>
                    <a:pt x="288" y="68"/>
                  </a:lnTo>
                  <a:lnTo>
                    <a:pt x="286" y="68"/>
                  </a:lnTo>
                  <a:lnTo>
                    <a:pt x="288" y="68"/>
                  </a:lnTo>
                  <a:lnTo>
                    <a:pt x="291" y="68"/>
                  </a:lnTo>
                  <a:lnTo>
                    <a:pt x="293" y="66"/>
                  </a:lnTo>
                  <a:lnTo>
                    <a:pt x="295" y="66"/>
                  </a:lnTo>
                  <a:lnTo>
                    <a:pt x="293" y="68"/>
                  </a:lnTo>
                  <a:lnTo>
                    <a:pt x="291" y="72"/>
                  </a:lnTo>
                  <a:lnTo>
                    <a:pt x="288" y="74"/>
                  </a:lnTo>
                  <a:lnTo>
                    <a:pt x="291" y="74"/>
                  </a:lnTo>
                  <a:lnTo>
                    <a:pt x="288" y="76"/>
                  </a:lnTo>
                  <a:lnTo>
                    <a:pt x="286" y="76"/>
                  </a:lnTo>
                  <a:lnTo>
                    <a:pt x="288" y="76"/>
                  </a:lnTo>
                  <a:lnTo>
                    <a:pt x="288" y="78"/>
                  </a:lnTo>
                  <a:lnTo>
                    <a:pt x="288" y="78"/>
                  </a:lnTo>
                  <a:lnTo>
                    <a:pt x="291" y="78"/>
                  </a:lnTo>
                  <a:lnTo>
                    <a:pt x="291" y="80"/>
                  </a:lnTo>
                  <a:lnTo>
                    <a:pt x="288" y="82"/>
                  </a:lnTo>
                  <a:lnTo>
                    <a:pt x="286" y="84"/>
                  </a:lnTo>
                  <a:lnTo>
                    <a:pt x="284" y="84"/>
                  </a:lnTo>
                  <a:lnTo>
                    <a:pt x="282" y="84"/>
                  </a:lnTo>
                  <a:lnTo>
                    <a:pt x="282" y="84"/>
                  </a:lnTo>
                  <a:lnTo>
                    <a:pt x="278" y="82"/>
                  </a:lnTo>
                  <a:lnTo>
                    <a:pt x="278" y="82"/>
                  </a:lnTo>
                  <a:lnTo>
                    <a:pt x="276" y="80"/>
                  </a:lnTo>
                  <a:lnTo>
                    <a:pt x="276" y="82"/>
                  </a:lnTo>
                  <a:lnTo>
                    <a:pt x="276" y="84"/>
                  </a:lnTo>
                  <a:lnTo>
                    <a:pt x="276" y="87"/>
                  </a:lnTo>
                  <a:lnTo>
                    <a:pt x="274" y="89"/>
                  </a:lnTo>
                  <a:lnTo>
                    <a:pt x="276" y="91"/>
                  </a:lnTo>
                  <a:lnTo>
                    <a:pt x="276" y="99"/>
                  </a:lnTo>
                  <a:lnTo>
                    <a:pt x="276" y="101"/>
                  </a:lnTo>
                  <a:lnTo>
                    <a:pt x="278" y="99"/>
                  </a:lnTo>
                  <a:lnTo>
                    <a:pt x="278" y="99"/>
                  </a:lnTo>
                  <a:lnTo>
                    <a:pt x="280" y="97"/>
                  </a:lnTo>
                  <a:lnTo>
                    <a:pt x="278" y="97"/>
                  </a:lnTo>
                  <a:lnTo>
                    <a:pt x="278" y="97"/>
                  </a:lnTo>
                  <a:lnTo>
                    <a:pt x="278" y="95"/>
                  </a:lnTo>
                  <a:lnTo>
                    <a:pt x="278" y="95"/>
                  </a:lnTo>
                  <a:lnTo>
                    <a:pt x="278" y="93"/>
                  </a:lnTo>
                  <a:lnTo>
                    <a:pt x="278" y="93"/>
                  </a:lnTo>
                  <a:lnTo>
                    <a:pt x="280" y="93"/>
                  </a:lnTo>
                  <a:lnTo>
                    <a:pt x="282" y="91"/>
                  </a:lnTo>
                  <a:lnTo>
                    <a:pt x="282" y="91"/>
                  </a:lnTo>
                  <a:lnTo>
                    <a:pt x="282" y="91"/>
                  </a:lnTo>
                  <a:lnTo>
                    <a:pt x="282" y="89"/>
                  </a:lnTo>
                  <a:lnTo>
                    <a:pt x="282" y="89"/>
                  </a:lnTo>
                  <a:lnTo>
                    <a:pt x="284" y="89"/>
                  </a:lnTo>
                  <a:lnTo>
                    <a:pt x="284" y="87"/>
                  </a:lnTo>
                  <a:lnTo>
                    <a:pt x="284" y="87"/>
                  </a:lnTo>
                  <a:lnTo>
                    <a:pt x="288" y="89"/>
                  </a:lnTo>
                  <a:lnTo>
                    <a:pt x="288" y="91"/>
                  </a:lnTo>
                  <a:lnTo>
                    <a:pt x="288" y="93"/>
                  </a:lnTo>
                  <a:lnTo>
                    <a:pt x="288" y="93"/>
                  </a:lnTo>
                  <a:lnTo>
                    <a:pt x="291" y="93"/>
                  </a:lnTo>
                  <a:lnTo>
                    <a:pt x="291" y="93"/>
                  </a:lnTo>
                  <a:lnTo>
                    <a:pt x="291" y="91"/>
                  </a:lnTo>
                  <a:lnTo>
                    <a:pt x="291" y="91"/>
                  </a:lnTo>
                  <a:lnTo>
                    <a:pt x="293" y="91"/>
                  </a:lnTo>
                  <a:lnTo>
                    <a:pt x="293" y="91"/>
                  </a:lnTo>
                  <a:lnTo>
                    <a:pt x="293" y="93"/>
                  </a:lnTo>
                  <a:lnTo>
                    <a:pt x="293" y="93"/>
                  </a:lnTo>
                  <a:lnTo>
                    <a:pt x="297" y="95"/>
                  </a:lnTo>
                  <a:lnTo>
                    <a:pt x="295" y="95"/>
                  </a:lnTo>
                  <a:lnTo>
                    <a:pt x="293" y="97"/>
                  </a:lnTo>
                  <a:lnTo>
                    <a:pt x="291" y="99"/>
                  </a:lnTo>
                  <a:lnTo>
                    <a:pt x="293" y="101"/>
                  </a:lnTo>
                  <a:lnTo>
                    <a:pt x="293" y="103"/>
                  </a:lnTo>
                  <a:lnTo>
                    <a:pt x="295" y="103"/>
                  </a:lnTo>
                  <a:lnTo>
                    <a:pt x="297" y="103"/>
                  </a:lnTo>
                  <a:lnTo>
                    <a:pt x="297" y="101"/>
                  </a:lnTo>
                  <a:lnTo>
                    <a:pt x="299" y="103"/>
                  </a:lnTo>
                  <a:lnTo>
                    <a:pt x="299" y="103"/>
                  </a:lnTo>
                  <a:lnTo>
                    <a:pt x="297" y="105"/>
                  </a:lnTo>
                  <a:lnTo>
                    <a:pt x="297" y="105"/>
                  </a:lnTo>
                  <a:lnTo>
                    <a:pt x="295" y="107"/>
                  </a:lnTo>
                  <a:lnTo>
                    <a:pt x="293" y="105"/>
                  </a:lnTo>
                  <a:lnTo>
                    <a:pt x="291" y="105"/>
                  </a:lnTo>
                  <a:lnTo>
                    <a:pt x="291" y="105"/>
                  </a:lnTo>
                  <a:lnTo>
                    <a:pt x="288" y="103"/>
                  </a:lnTo>
                  <a:lnTo>
                    <a:pt x="288" y="101"/>
                  </a:lnTo>
                  <a:lnTo>
                    <a:pt x="288" y="101"/>
                  </a:lnTo>
                  <a:lnTo>
                    <a:pt x="286" y="101"/>
                  </a:lnTo>
                  <a:lnTo>
                    <a:pt x="286" y="101"/>
                  </a:lnTo>
                  <a:lnTo>
                    <a:pt x="284" y="99"/>
                  </a:lnTo>
                  <a:lnTo>
                    <a:pt x="282" y="101"/>
                  </a:lnTo>
                  <a:lnTo>
                    <a:pt x="282" y="103"/>
                  </a:lnTo>
                  <a:lnTo>
                    <a:pt x="282" y="105"/>
                  </a:lnTo>
                  <a:lnTo>
                    <a:pt x="282" y="105"/>
                  </a:lnTo>
                  <a:lnTo>
                    <a:pt x="280" y="111"/>
                  </a:lnTo>
                  <a:lnTo>
                    <a:pt x="280" y="113"/>
                  </a:lnTo>
                  <a:lnTo>
                    <a:pt x="280" y="115"/>
                  </a:lnTo>
                  <a:lnTo>
                    <a:pt x="280" y="117"/>
                  </a:lnTo>
                  <a:lnTo>
                    <a:pt x="282" y="117"/>
                  </a:lnTo>
                  <a:lnTo>
                    <a:pt x="282" y="117"/>
                  </a:lnTo>
                  <a:lnTo>
                    <a:pt x="284" y="117"/>
                  </a:lnTo>
                  <a:lnTo>
                    <a:pt x="284" y="115"/>
                  </a:lnTo>
                  <a:lnTo>
                    <a:pt x="284" y="115"/>
                  </a:lnTo>
                  <a:lnTo>
                    <a:pt x="282" y="113"/>
                  </a:lnTo>
                  <a:lnTo>
                    <a:pt x="282" y="109"/>
                  </a:lnTo>
                  <a:lnTo>
                    <a:pt x="284" y="107"/>
                  </a:lnTo>
                  <a:lnTo>
                    <a:pt x="284" y="107"/>
                  </a:lnTo>
                  <a:lnTo>
                    <a:pt x="284" y="107"/>
                  </a:lnTo>
                  <a:lnTo>
                    <a:pt x="284" y="111"/>
                  </a:lnTo>
                  <a:lnTo>
                    <a:pt x="286" y="113"/>
                  </a:lnTo>
                  <a:lnTo>
                    <a:pt x="286" y="111"/>
                  </a:lnTo>
                  <a:lnTo>
                    <a:pt x="288" y="107"/>
                  </a:lnTo>
                  <a:lnTo>
                    <a:pt x="291" y="107"/>
                  </a:lnTo>
                  <a:lnTo>
                    <a:pt x="291" y="109"/>
                  </a:lnTo>
                  <a:lnTo>
                    <a:pt x="291" y="113"/>
                  </a:lnTo>
                  <a:lnTo>
                    <a:pt x="291" y="113"/>
                  </a:lnTo>
                  <a:lnTo>
                    <a:pt x="293" y="115"/>
                  </a:lnTo>
                  <a:lnTo>
                    <a:pt x="293" y="115"/>
                  </a:lnTo>
                  <a:lnTo>
                    <a:pt x="295" y="115"/>
                  </a:lnTo>
                  <a:lnTo>
                    <a:pt x="295" y="113"/>
                  </a:lnTo>
                  <a:lnTo>
                    <a:pt x="295" y="111"/>
                  </a:lnTo>
                  <a:lnTo>
                    <a:pt x="295" y="111"/>
                  </a:lnTo>
                  <a:lnTo>
                    <a:pt x="295" y="111"/>
                  </a:lnTo>
                  <a:lnTo>
                    <a:pt x="297" y="113"/>
                  </a:lnTo>
                  <a:lnTo>
                    <a:pt x="295" y="113"/>
                  </a:lnTo>
                  <a:lnTo>
                    <a:pt x="295" y="115"/>
                  </a:lnTo>
                  <a:lnTo>
                    <a:pt x="297" y="115"/>
                  </a:lnTo>
                  <a:lnTo>
                    <a:pt x="297" y="115"/>
                  </a:lnTo>
                  <a:lnTo>
                    <a:pt x="299" y="115"/>
                  </a:lnTo>
                  <a:lnTo>
                    <a:pt x="301" y="113"/>
                  </a:lnTo>
                  <a:lnTo>
                    <a:pt x="301" y="115"/>
                  </a:lnTo>
                  <a:lnTo>
                    <a:pt x="301" y="115"/>
                  </a:lnTo>
                  <a:lnTo>
                    <a:pt x="299" y="117"/>
                  </a:lnTo>
                  <a:lnTo>
                    <a:pt x="297" y="117"/>
                  </a:lnTo>
                  <a:lnTo>
                    <a:pt x="299" y="117"/>
                  </a:lnTo>
                  <a:lnTo>
                    <a:pt x="299" y="119"/>
                  </a:lnTo>
                  <a:lnTo>
                    <a:pt x="301" y="117"/>
                  </a:lnTo>
                  <a:lnTo>
                    <a:pt x="301" y="117"/>
                  </a:lnTo>
                  <a:lnTo>
                    <a:pt x="303" y="117"/>
                  </a:lnTo>
                  <a:lnTo>
                    <a:pt x="303" y="119"/>
                  </a:lnTo>
                  <a:lnTo>
                    <a:pt x="305" y="119"/>
                  </a:lnTo>
                  <a:lnTo>
                    <a:pt x="307" y="121"/>
                  </a:lnTo>
                  <a:lnTo>
                    <a:pt x="309" y="121"/>
                  </a:lnTo>
                  <a:lnTo>
                    <a:pt x="311" y="119"/>
                  </a:lnTo>
                  <a:lnTo>
                    <a:pt x="313" y="117"/>
                  </a:lnTo>
                  <a:lnTo>
                    <a:pt x="313" y="113"/>
                  </a:lnTo>
                  <a:lnTo>
                    <a:pt x="313" y="113"/>
                  </a:lnTo>
                  <a:lnTo>
                    <a:pt x="313" y="115"/>
                  </a:lnTo>
                  <a:lnTo>
                    <a:pt x="315" y="115"/>
                  </a:lnTo>
                  <a:lnTo>
                    <a:pt x="313" y="117"/>
                  </a:lnTo>
                  <a:lnTo>
                    <a:pt x="315" y="119"/>
                  </a:lnTo>
                  <a:lnTo>
                    <a:pt x="313" y="121"/>
                  </a:lnTo>
                  <a:lnTo>
                    <a:pt x="313" y="123"/>
                  </a:lnTo>
                  <a:lnTo>
                    <a:pt x="311" y="123"/>
                  </a:lnTo>
                  <a:lnTo>
                    <a:pt x="309" y="123"/>
                  </a:lnTo>
                  <a:lnTo>
                    <a:pt x="301" y="123"/>
                  </a:lnTo>
                  <a:lnTo>
                    <a:pt x="299" y="123"/>
                  </a:lnTo>
                  <a:lnTo>
                    <a:pt x="297" y="123"/>
                  </a:lnTo>
                  <a:lnTo>
                    <a:pt x="297" y="121"/>
                  </a:lnTo>
                  <a:lnTo>
                    <a:pt x="297" y="121"/>
                  </a:lnTo>
                  <a:lnTo>
                    <a:pt x="299" y="121"/>
                  </a:lnTo>
                  <a:lnTo>
                    <a:pt x="297" y="121"/>
                  </a:lnTo>
                  <a:lnTo>
                    <a:pt x="295" y="123"/>
                  </a:lnTo>
                  <a:lnTo>
                    <a:pt x="293" y="123"/>
                  </a:lnTo>
                  <a:lnTo>
                    <a:pt x="293" y="123"/>
                  </a:lnTo>
                  <a:lnTo>
                    <a:pt x="288" y="123"/>
                  </a:lnTo>
                  <a:lnTo>
                    <a:pt x="288" y="125"/>
                  </a:lnTo>
                  <a:lnTo>
                    <a:pt x="291" y="125"/>
                  </a:lnTo>
                  <a:lnTo>
                    <a:pt x="291" y="125"/>
                  </a:lnTo>
                  <a:lnTo>
                    <a:pt x="291" y="125"/>
                  </a:lnTo>
                  <a:lnTo>
                    <a:pt x="288" y="128"/>
                  </a:lnTo>
                  <a:lnTo>
                    <a:pt x="288" y="130"/>
                  </a:lnTo>
                  <a:lnTo>
                    <a:pt x="291" y="130"/>
                  </a:lnTo>
                  <a:lnTo>
                    <a:pt x="293" y="130"/>
                  </a:lnTo>
                  <a:lnTo>
                    <a:pt x="295" y="130"/>
                  </a:lnTo>
                  <a:lnTo>
                    <a:pt x="295" y="128"/>
                  </a:lnTo>
                  <a:lnTo>
                    <a:pt x="295" y="128"/>
                  </a:lnTo>
                  <a:lnTo>
                    <a:pt x="295" y="128"/>
                  </a:lnTo>
                  <a:lnTo>
                    <a:pt x="295" y="128"/>
                  </a:lnTo>
                  <a:lnTo>
                    <a:pt x="297" y="125"/>
                  </a:lnTo>
                  <a:lnTo>
                    <a:pt x="297" y="125"/>
                  </a:lnTo>
                  <a:lnTo>
                    <a:pt x="297" y="125"/>
                  </a:lnTo>
                  <a:lnTo>
                    <a:pt x="297" y="125"/>
                  </a:lnTo>
                  <a:lnTo>
                    <a:pt x="299" y="128"/>
                  </a:lnTo>
                  <a:lnTo>
                    <a:pt x="299" y="128"/>
                  </a:lnTo>
                  <a:lnTo>
                    <a:pt x="297" y="130"/>
                  </a:lnTo>
                  <a:lnTo>
                    <a:pt x="299" y="130"/>
                  </a:lnTo>
                  <a:lnTo>
                    <a:pt x="297" y="132"/>
                  </a:lnTo>
                  <a:lnTo>
                    <a:pt x="295" y="132"/>
                  </a:lnTo>
                  <a:lnTo>
                    <a:pt x="293" y="134"/>
                  </a:lnTo>
                  <a:lnTo>
                    <a:pt x="293" y="136"/>
                  </a:lnTo>
                  <a:lnTo>
                    <a:pt x="293" y="138"/>
                  </a:lnTo>
                  <a:lnTo>
                    <a:pt x="293" y="140"/>
                  </a:lnTo>
                  <a:lnTo>
                    <a:pt x="293" y="140"/>
                  </a:lnTo>
                  <a:lnTo>
                    <a:pt x="291" y="138"/>
                  </a:lnTo>
                  <a:lnTo>
                    <a:pt x="291" y="136"/>
                  </a:lnTo>
                  <a:lnTo>
                    <a:pt x="288" y="136"/>
                  </a:lnTo>
                  <a:lnTo>
                    <a:pt x="288" y="138"/>
                  </a:lnTo>
                  <a:lnTo>
                    <a:pt x="288" y="140"/>
                  </a:lnTo>
                  <a:lnTo>
                    <a:pt x="288" y="140"/>
                  </a:lnTo>
                  <a:lnTo>
                    <a:pt x="291" y="140"/>
                  </a:lnTo>
                  <a:lnTo>
                    <a:pt x="291" y="142"/>
                  </a:lnTo>
                  <a:lnTo>
                    <a:pt x="293" y="144"/>
                  </a:lnTo>
                  <a:lnTo>
                    <a:pt x="293" y="144"/>
                  </a:lnTo>
                  <a:lnTo>
                    <a:pt x="293" y="146"/>
                  </a:lnTo>
                  <a:lnTo>
                    <a:pt x="295" y="146"/>
                  </a:lnTo>
                  <a:lnTo>
                    <a:pt x="297" y="150"/>
                  </a:lnTo>
                  <a:lnTo>
                    <a:pt x="299" y="152"/>
                  </a:lnTo>
                  <a:lnTo>
                    <a:pt x="301" y="154"/>
                  </a:lnTo>
                  <a:lnTo>
                    <a:pt x="301" y="154"/>
                  </a:lnTo>
                  <a:lnTo>
                    <a:pt x="301" y="152"/>
                  </a:lnTo>
                  <a:lnTo>
                    <a:pt x="299" y="148"/>
                  </a:lnTo>
                  <a:lnTo>
                    <a:pt x="299" y="146"/>
                  </a:lnTo>
                  <a:lnTo>
                    <a:pt x="301" y="148"/>
                  </a:lnTo>
                  <a:lnTo>
                    <a:pt x="307" y="152"/>
                  </a:lnTo>
                  <a:lnTo>
                    <a:pt x="309" y="154"/>
                  </a:lnTo>
                  <a:lnTo>
                    <a:pt x="309" y="154"/>
                  </a:lnTo>
                  <a:lnTo>
                    <a:pt x="311" y="154"/>
                  </a:lnTo>
                  <a:lnTo>
                    <a:pt x="313" y="156"/>
                  </a:lnTo>
                  <a:lnTo>
                    <a:pt x="315" y="160"/>
                  </a:lnTo>
                  <a:lnTo>
                    <a:pt x="317" y="160"/>
                  </a:lnTo>
                  <a:lnTo>
                    <a:pt x="317" y="158"/>
                  </a:lnTo>
                  <a:lnTo>
                    <a:pt x="317" y="156"/>
                  </a:lnTo>
                  <a:lnTo>
                    <a:pt x="317" y="154"/>
                  </a:lnTo>
                  <a:lnTo>
                    <a:pt x="317" y="154"/>
                  </a:lnTo>
                  <a:lnTo>
                    <a:pt x="317" y="152"/>
                  </a:lnTo>
                  <a:lnTo>
                    <a:pt x="315" y="152"/>
                  </a:lnTo>
                  <a:lnTo>
                    <a:pt x="317" y="150"/>
                  </a:lnTo>
                  <a:lnTo>
                    <a:pt x="319" y="146"/>
                  </a:lnTo>
                  <a:lnTo>
                    <a:pt x="319" y="144"/>
                  </a:lnTo>
                  <a:lnTo>
                    <a:pt x="321" y="146"/>
                  </a:lnTo>
                  <a:lnTo>
                    <a:pt x="321" y="148"/>
                  </a:lnTo>
                  <a:lnTo>
                    <a:pt x="319" y="150"/>
                  </a:lnTo>
                  <a:lnTo>
                    <a:pt x="319" y="150"/>
                  </a:lnTo>
                  <a:lnTo>
                    <a:pt x="319" y="152"/>
                  </a:lnTo>
                  <a:lnTo>
                    <a:pt x="321" y="152"/>
                  </a:lnTo>
                  <a:lnTo>
                    <a:pt x="321" y="152"/>
                  </a:lnTo>
                  <a:lnTo>
                    <a:pt x="321" y="154"/>
                  </a:lnTo>
                  <a:lnTo>
                    <a:pt x="321" y="154"/>
                  </a:lnTo>
                  <a:lnTo>
                    <a:pt x="323" y="156"/>
                  </a:lnTo>
                  <a:lnTo>
                    <a:pt x="323" y="156"/>
                  </a:lnTo>
                  <a:lnTo>
                    <a:pt x="323" y="156"/>
                  </a:lnTo>
                  <a:lnTo>
                    <a:pt x="323" y="156"/>
                  </a:lnTo>
                  <a:lnTo>
                    <a:pt x="323" y="150"/>
                  </a:lnTo>
                  <a:lnTo>
                    <a:pt x="325" y="148"/>
                  </a:lnTo>
                  <a:lnTo>
                    <a:pt x="327" y="142"/>
                  </a:lnTo>
                  <a:lnTo>
                    <a:pt x="327" y="142"/>
                  </a:lnTo>
                  <a:lnTo>
                    <a:pt x="327" y="140"/>
                  </a:lnTo>
                  <a:lnTo>
                    <a:pt x="327" y="140"/>
                  </a:lnTo>
                  <a:lnTo>
                    <a:pt x="327" y="138"/>
                  </a:lnTo>
                  <a:lnTo>
                    <a:pt x="329" y="138"/>
                  </a:lnTo>
                  <a:lnTo>
                    <a:pt x="329" y="140"/>
                  </a:lnTo>
                  <a:lnTo>
                    <a:pt x="329" y="140"/>
                  </a:lnTo>
                  <a:lnTo>
                    <a:pt x="329" y="142"/>
                  </a:lnTo>
                  <a:lnTo>
                    <a:pt x="329" y="144"/>
                  </a:lnTo>
                  <a:lnTo>
                    <a:pt x="327" y="148"/>
                  </a:lnTo>
                  <a:lnTo>
                    <a:pt x="327" y="152"/>
                  </a:lnTo>
                  <a:lnTo>
                    <a:pt x="327" y="154"/>
                  </a:lnTo>
                  <a:lnTo>
                    <a:pt x="329" y="156"/>
                  </a:lnTo>
                  <a:lnTo>
                    <a:pt x="329" y="156"/>
                  </a:lnTo>
                  <a:lnTo>
                    <a:pt x="334" y="156"/>
                  </a:lnTo>
                  <a:lnTo>
                    <a:pt x="336" y="156"/>
                  </a:lnTo>
                  <a:lnTo>
                    <a:pt x="334" y="158"/>
                  </a:lnTo>
                  <a:lnTo>
                    <a:pt x="329" y="160"/>
                  </a:lnTo>
                  <a:lnTo>
                    <a:pt x="327" y="162"/>
                  </a:lnTo>
                  <a:lnTo>
                    <a:pt x="327" y="166"/>
                  </a:lnTo>
                  <a:lnTo>
                    <a:pt x="327" y="169"/>
                  </a:lnTo>
                  <a:lnTo>
                    <a:pt x="327" y="169"/>
                  </a:lnTo>
                  <a:lnTo>
                    <a:pt x="329" y="169"/>
                  </a:lnTo>
                  <a:lnTo>
                    <a:pt x="329" y="169"/>
                  </a:lnTo>
                  <a:lnTo>
                    <a:pt x="329" y="169"/>
                  </a:lnTo>
                  <a:lnTo>
                    <a:pt x="329" y="166"/>
                  </a:lnTo>
                  <a:lnTo>
                    <a:pt x="329" y="166"/>
                  </a:lnTo>
                  <a:lnTo>
                    <a:pt x="331" y="164"/>
                  </a:lnTo>
                  <a:lnTo>
                    <a:pt x="336" y="164"/>
                  </a:lnTo>
                  <a:lnTo>
                    <a:pt x="338" y="164"/>
                  </a:lnTo>
                  <a:lnTo>
                    <a:pt x="338" y="164"/>
                  </a:lnTo>
                  <a:lnTo>
                    <a:pt x="340" y="162"/>
                  </a:lnTo>
                  <a:lnTo>
                    <a:pt x="340" y="164"/>
                  </a:lnTo>
                  <a:lnTo>
                    <a:pt x="342" y="164"/>
                  </a:lnTo>
                  <a:lnTo>
                    <a:pt x="340" y="164"/>
                  </a:lnTo>
                  <a:lnTo>
                    <a:pt x="338" y="166"/>
                  </a:lnTo>
                  <a:lnTo>
                    <a:pt x="338" y="166"/>
                  </a:lnTo>
                  <a:lnTo>
                    <a:pt x="338" y="166"/>
                  </a:lnTo>
                  <a:lnTo>
                    <a:pt x="338" y="169"/>
                  </a:lnTo>
                  <a:lnTo>
                    <a:pt x="338" y="169"/>
                  </a:lnTo>
                  <a:lnTo>
                    <a:pt x="336" y="171"/>
                  </a:lnTo>
                  <a:lnTo>
                    <a:pt x="336" y="171"/>
                  </a:lnTo>
                  <a:lnTo>
                    <a:pt x="336" y="173"/>
                  </a:lnTo>
                  <a:lnTo>
                    <a:pt x="336" y="173"/>
                  </a:lnTo>
                  <a:lnTo>
                    <a:pt x="336" y="173"/>
                  </a:lnTo>
                  <a:lnTo>
                    <a:pt x="336" y="173"/>
                  </a:lnTo>
                  <a:lnTo>
                    <a:pt x="338" y="173"/>
                  </a:lnTo>
                  <a:lnTo>
                    <a:pt x="338" y="171"/>
                  </a:lnTo>
                  <a:lnTo>
                    <a:pt x="340" y="171"/>
                  </a:lnTo>
                  <a:lnTo>
                    <a:pt x="342" y="171"/>
                  </a:lnTo>
                  <a:lnTo>
                    <a:pt x="342" y="171"/>
                  </a:lnTo>
                  <a:lnTo>
                    <a:pt x="342" y="169"/>
                  </a:lnTo>
                  <a:lnTo>
                    <a:pt x="344" y="166"/>
                  </a:lnTo>
                  <a:lnTo>
                    <a:pt x="344" y="166"/>
                  </a:lnTo>
                  <a:lnTo>
                    <a:pt x="344" y="171"/>
                  </a:lnTo>
                  <a:lnTo>
                    <a:pt x="342" y="175"/>
                  </a:lnTo>
                  <a:lnTo>
                    <a:pt x="340" y="175"/>
                  </a:lnTo>
                  <a:lnTo>
                    <a:pt x="340" y="177"/>
                  </a:lnTo>
                  <a:lnTo>
                    <a:pt x="338" y="177"/>
                  </a:lnTo>
                  <a:lnTo>
                    <a:pt x="338" y="177"/>
                  </a:lnTo>
                  <a:lnTo>
                    <a:pt x="338" y="179"/>
                  </a:lnTo>
                  <a:lnTo>
                    <a:pt x="336" y="183"/>
                  </a:lnTo>
                  <a:lnTo>
                    <a:pt x="336" y="183"/>
                  </a:lnTo>
                  <a:lnTo>
                    <a:pt x="336" y="183"/>
                  </a:lnTo>
                  <a:lnTo>
                    <a:pt x="336" y="183"/>
                  </a:lnTo>
                  <a:lnTo>
                    <a:pt x="336" y="183"/>
                  </a:lnTo>
                  <a:lnTo>
                    <a:pt x="336" y="183"/>
                  </a:lnTo>
                  <a:lnTo>
                    <a:pt x="338" y="183"/>
                  </a:lnTo>
                  <a:lnTo>
                    <a:pt x="338" y="183"/>
                  </a:lnTo>
                  <a:lnTo>
                    <a:pt x="338" y="183"/>
                  </a:lnTo>
                  <a:lnTo>
                    <a:pt x="338" y="181"/>
                  </a:lnTo>
                  <a:lnTo>
                    <a:pt x="340" y="181"/>
                  </a:lnTo>
                  <a:lnTo>
                    <a:pt x="340" y="183"/>
                  </a:lnTo>
                  <a:lnTo>
                    <a:pt x="338" y="185"/>
                  </a:lnTo>
                  <a:lnTo>
                    <a:pt x="338" y="185"/>
                  </a:lnTo>
                  <a:lnTo>
                    <a:pt x="338" y="185"/>
                  </a:lnTo>
                  <a:lnTo>
                    <a:pt x="338" y="187"/>
                  </a:lnTo>
                  <a:lnTo>
                    <a:pt x="338" y="187"/>
                  </a:lnTo>
                  <a:lnTo>
                    <a:pt x="338" y="187"/>
                  </a:lnTo>
                  <a:lnTo>
                    <a:pt x="338" y="189"/>
                  </a:lnTo>
                  <a:lnTo>
                    <a:pt x="340" y="189"/>
                  </a:lnTo>
                  <a:lnTo>
                    <a:pt x="340" y="187"/>
                  </a:lnTo>
                  <a:lnTo>
                    <a:pt x="342" y="185"/>
                  </a:lnTo>
                  <a:lnTo>
                    <a:pt x="344" y="183"/>
                  </a:lnTo>
                  <a:lnTo>
                    <a:pt x="346" y="181"/>
                  </a:lnTo>
                  <a:lnTo>
                    <a:pt x="354" y="181"/>
                  </a:lnTo>
                  <a:lnTo>
                    <a:pt x="356" y="181"/>
                  </a:lnTo>
                  <a:lnTo>
                    <a:pt x="356" y="181"/>
                  </a:lnTo>
                  <a:lnTo>
                    <a:pt x="356" y="179"/>
                  </a:lnTo>
                  <a:lnTo>
                    <a:pt x="358" y="177"/>
                  </a:lnTo>
                  <a:lnTo>
                    <a:pt x="358" y="177"/>
                  </a:lnTo>
                  <a:lnTo>
                    <a:pt x="360" y="177"/>
                  </a:lnTo>
                  <a:lnTo>
                    <a:pt x="362" y="175"/>
                  </a:lnTo>
                  <a:lnTo>
                    <a:pt x="366" y="175"/>
                  </a:lnTo>
                  <a:lnTo>
                    <a:pt x="370" y="173"/>
                  </a:lnTo>
                  <a:lnTo>
                    <a:pt x="375" y="171"/>
                  </a:lnTo>
                  <a:lnTo>
                    <a:pt x="377" y="171"/>
                  </a:lnTo>
                  <a:lnTo>
                    <a:pt x="377" y="171"/>
                  </a:lnTo>
                  <a:lnTo>
                    <a:pt x="377" y="169"/>
                  </a:lnTo>
                  <a:lnTo>
                    <a:pt x="379" y="162"/>
                  </a:lnTo>
                  <a:lnTo>
                    <a:pt x="377" y="162"/>
                  </a:lnTo>
                  <a:lnTo>
                    <a:pt x="379" y="162"/>
                  </a:lnTo>
                  <a:lnTo>
                    <a:pt x="379" y="160"/>
                  </a:lnTo>
                  <a:lnTo>
                    <a:pt x="379" y="158"/>
                  </a:lnTo>
                  <a:lnTo>
                    <a:pt x="381" y="158"/>
                  </a:lnTo>
                  <a:lnTo>
                    <a:pt x="383" y="158"/>
                  </a:lnTo>
                  <a:lnTo>
                    <a:pt x="383" y="158"/>
                  </a:lnTo>
                  <a:lnTo>
                    <a:pt x="383" y="158"/>
                  </a:lnTo>
                  <a:lnTo>
                    <a:pt x="383" y="154"/>
                  </a:lnTo>
                  <a:lnTo>
                    <a:pt x="383" y="154"/>
                  </a:lnTo>
                  <a:lnTo>
                    <a:pt x="385" y="152"/>
                  </a:lnTo>
                  <a:lnTo>
                    <a:pt x="383" y="146"/>
                  </a:lnTo>
                  <a:lnTo>
                    <a:pt x="385" y="144"/>
                  </a:lnTo>
                  <a:lnTo>
                    <a:pt x="385" y="144"/>
                  </a:lnTo>
                  <a:lnTo>
                    <a:pt x="387" y="142"/>
                  </a:lnTo>
                  <a:lnTo>
                    <a:pt x="387" y="144"/>
                  </a:lnTo>
                  <a:lnTo>
                    <a:pt x="387" y="144"/>
                  </a:lnTo>
                  <a:lnTo>
                    <a:pt x="391" y="144"/>
                  </a:lnTo>
                  <a:lnTo>
                    <a:pt x="391" y="142"/>
                  </a:lnTo>
                  <a:close/>
                </a:path>
              </a:pathLst>
            </a:custGeom>
            <a:solidFill>
              <a:schemeClr val="bg1">
                <a:lumMod val="50000"/>
              </a:schemeClr>
            </a:solidFill>
            <a:ln w="3175" cap="rnd">
              <a:solidFill>
                <a:schemeClr val="bg1"/>
              </a:solidFill>
              <a:prstDash val="solid"/>
              <a:round/>
              <a:headEnd/>
              <a:tailEnd/>
            </a:ln>
          </p:spPr>
          <p:txBody>
            <a:bodyPr vert="horz" wrap="square" lIns="48000" tIns="48000" rIns="0" bIns="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MD</a:t>
              </a:r>
            </a:p>
          </p:txBody>
        </p:sp>
        <p:sp>
          <p:nvSpPr>
            <p:cNvPr id="221" name="Freeform 36">
              <a:extLst>
                <a:ext uri="{FF2B5EF4-FFF2-40B4-BE49-F238E27FC236}">
                  <a16:creationId xmlns:a16="http://schemas.microsoft.com/office/drawing/2014/main" id="{2294CD5C-CA13-2A12-8634-F7AF26C44D9F}"/>
                </a:ext>
              </a:extLst>
            </p:cNvPr>
            <p:cNvSpPr>
              <a:spLocks noEditPoints="1"/>
            </p:cNvSpPr>
            <p:nvPr/>
          </p:nvSpPr>
          <p:spPr bwMode="auto">
            <a:xfrm>
              <a:off x="4877" y="506"/>
              <a:ext cx="305" cy="158"/>
            </a:xfrm>
            <a:custGeom>
              <a:avLst/>
              <a:gdLst>
                <a:gd name="T0" fmla="*/ 295 w 305"/>
                <a:gd name="T1" fmla="*/ 144 h 158"/>
                <a:gd name="T2" fmla="*/ 293 w 305"/>
                <a:gd name="T3" fmla="*/ 148 h 158"/>
                <a:gd name="T4" fmla="*/ 303 w 305"/>
                <a:gd name="T5" fmla="*/ 144 h 158"/>
                <a:gd name="T6" fmla="*/ 264 w 305"/>
                <a:gd name="T7" fmla="*/ 146 h 158"/>
                <a:gd name="T8" fmla="*/ 250 w 305"/>
                <a:gd name="T9" fmla="*/ 138 h 158"/>
                <a:gd name="T10" fmla="*/ 239 w 305"/>
                <a:gd name="T11" fmla="*/ 152 h 158"/>
                <a:gd name="T12" fmla="*/ 239 w 305"/>
                <a:gd name="T13" fmla="*/ 156 h 158"/>
                <a:gd name="T14" fmla="*/ 295 w 305"/>
                <a:gd name="T15" fmla="*/ 109 h 158"/>
                <a:gd name="T16" fmla="*/ 293 w 305"/>
                <a:gd name="T17" fmla="*/ 92 h 158"/>
                <a:gd name="T18" fmla="*/ 291 w 305"/>
                <a:gd name="T19" fmla="*/ 88 h 158"/>
                <a:gd name="T20" fmla="*/ 266 w 305"/>
                <a:gd name="T21" fmla="*/ 66 h 158"/>
                <a:gd name="T22" fmla="*/ 262 w 305"/>
                <a:gd name="T23" fmla="*/ 72 h 158"/>
                <a:gd name="T24" fmla="*/ 274 w 305"/>
                <a:gd name="T25" fmla="*/ 72 h 158"/>
                <a:gd name="T26" fmla="*/ 282 w 305"/>
                <a:gd name="T27" fmla="*/ 80 h 158"/>
                <a:gd name="T28" fmla="*/ 284 w 305"/>
                <a:gd name="T29" fmla="*/ 95 h 158"/>
                <a:gd name="T30" fmla="*/ 266 w 305"/>
                <a:gd name="T31" fmla="*/ 107 h 158"/>
                <a:gd name="T32" fmla="*/ 237 w 305"/>
                <a:gd name="T33" fmla="*/ 88 h 158"/>
                <a:gd name="T34" fmla="*/ 227 w 305"/>
                <a:gd name="T35" fmla="*/ 80 h 158"/>
                <a:gd name="T36" fmla="*/ 233 w 305"/>
                <a:gd name="T37" fmla="*/ 84 h 158"/>
                <a:gd name="T38" fmla="*/ 219 w 305"/>
                <a:gd name="T39" fmla="*/ 70 h 158"/>
                <a:gd name="T40" fmla="*/ 201 w 305"/>
                <a:gd name="T41" fmla="*/ 60 h 158"/>
                <a:gd name="T42" fmla="*/ 201 w 305"/>
                <a:gd name="T43" fmla="*/ 66 h 158"/>
                <a:gd name="T44" fmla="*/ 196 w 305"/>
                <a:gd name="T45" fmla="*/ 64 h 158"/>
                <a:gd name="T46" fmla="*/ 190 w 305"/>
                <a:gd name="T47" fmla="*/ 60 h 158"/>
                <a:gd name="T48" fmla="*/ 190 w 305"/>
                <a:gd name="T49" fmla="*/ 56 h 158"/>
                <a:gd name="T50" fmla="*/ 192 w 305"/>
                <a:gd name="T51" fmla="*/ 49 h 158"/>
                <a:gd name="T52" fmla="*/ 196 w 305"/>
                <a:gd name="T53" fmla="*/ 43 h 158"/>
                <a:gd name="T54" fmla="*/ 198 w 305"/>
                <a:gd name="T55" fmla="*/ 37 h 158"/>
                <a:gd name="T56" fmla="*/ 201 w 305"/>
                <a:gd name="T57" fmla="*/ 31 h 158"/>
                <a:gd name="T58" fmla="*/ 215 w 305"/>
                <a:gd name="T59" fmla="*/ 23 h 158"/>
                <a:gd name="T60" fmla="*/ 215 w 305"/>
                <a:gd name="T61" fmla="*/ 17 h 158"/>
                <a:gd name="T62" fmla="*/ 209 w 305"/>
                <a:gd name="T63" fmla="*/ 21 h 158"/>
                <a:gd name="T64" fmla="*/ 196 w 305"/>
                <a:gd name="T65" fmla="*/ 13 h 158"/>
                <a:gd name="T66" fmla="*/ 192 w 305"/>
                <a:gd name="T67" fmla="*/ 6 h 158"/>
                <a:gd name="T68" fmla="*/ 184 w 305"/>
                <a:gd name="T69" fmla="*/ 0 h 158"/>
                <a:gd name="T70" fmla="*/ 172 w 305"/>
                <a:gd name="T71" fmla="*/ 13 h 158"/>
                <a:gd name="T72" fmla="*/ 166 w 305"/>
                <a:gd name="T73" fmla="*/ 19 h 158"/>
                <a:gd name="T74" fmla="*/ 160 w 305"/>
                <a:gd name="T75" fmla="*/ 29 h 158"/>
                <a:gd name="T76" fmla="*/ 112 w 305"/>
                <a:gd name="T77" fmla="*/ 39 h 158"/>
                <a:gd name="T78" fmla="*/ 67 w 305"/>
                <a:gd name="T79" fmla="*/ 49 h 158"/>
                <a:gd name="T80" fmla="*/ 67 w 305"/>
                <a:gd name="T81" fmla="*/ 49 h 158"/>
                <a:gd name="T82" fmla="*/ 26 w 305"/>
                <a:gd name="T83" fmla="*/ 58 h 158"/>
                <a:gd name="T84" fmla="*/ 2 w 305"/>
                <a:gd name="T85" fmla="*/ 99 h 158"/>
                <a:gd name="T86" fmla="*/ 43 w 305"/>
                <a:gd name="T87" fmla="*/ 129 h 158"/>
                <a:gd name="T88" fmla="*/ 76 w 305"/>
                <a:gd name="T89" fmla="*/ 123 h 158"/>
                <a:gd name="T90" fmla="*/ 151 w 305"/>
                <a:gd name="T91" fmla="*/ 105 h 158"/>
                <a:gd name="T92" fmla="*/ 176 w 305"/>
                <a:gd name="T93" fmla="*/ 111 h 158"/>
                <a:gd name="T94" fmla="*/ 180 w 305"/>
                <a:gd name="T95" fmla="*/ 121 h 158"/>
                <a:gd name="T96" fmla="*/ 190 w 305"/>
                <a:gd name="T97" fmla="*/ 127 h 158"/>
                <a:gd name="T98" fmla="*/ 194 w 305"/>
                <a:gd name="T99" fmla="*/ 129 h 158"/>
                <a:gd name="T100" fmla="*/ 205 w 305"/>
                <a:gd name="T101" fmla="*/ 146 h 158"/>
                <a:gd name="T102" fmla="*/ 209 w 305"/>
                <a:gd name="T103" fmla="*/ 144 h 158"/>
                <a:gd name="T104" fmla="*/ 219 w 305"/>
                <a:gd name="T105" fmla="*/ 133 h 158"/>
                <a:gd name="T106" fmla="*/ 223 w 305"/>
                <a:gd name="T107" fmla="*/ 129 h 158"/>
                <a:gd name="T108" fmla="*/ 231 w 305"/>
                <a:gd name="T109" fmla="*/ 121 h 158"/>
                <a:gd name="T110" fmla="*/ 237 w 305"/>
                <a:gd name="T111" fmla="*/ 113 h 158"/>
                <a:gd name="T112" fmla="*/ 237 w 305"/>
                <a:gd name="T113" fmla="*/ 119 h 158"/>
                <a:gd name="T114" fmla="*/ 254 w 305"/>
                <a:gd name="T115" fmla="*/ 125 h 158"/>
                <a:gd name="T116" fmla="*/ 266 w 305"/>
                <a:gd name="T117" fmla="*/ 115 h 158"/>
                <a:gd name="T118" fmla="*/ 276 w 305"/>
                <a:gd name="T119" fmla="*/ 1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5" h="158">
                  <a:moveTo>
                    <a:pt x="303" y="144"/>
                  </a:moveTo>
                  <a:lnTo>
                    <a:pt x="299" y="140"/>
                  </a:lnTo>
                  <a:lnTo>
                    <a:pt x="297" y="136"/>
                  </a:lnTo>
                  <a:lnTo>
                    <a:pt x="297" y="136"/>
                  </a:lnTo>
                  <a:lnTo>
                    <a:pt x="295" y="133"/>
                  </a:lnTo>
                  <a:lnTo>
                    <a:pt x="295" y="133"/>
                  </a:lnTo>
                  <a:lnTo>
                    <a:pt x="295" y="133"/>
                  </a:lnTo>
                  <a:lnTo>
                    <a:pt x="295" y="138"/>
                  </a:lnTo>
                  <a:lnTo>
                    <a:pt x="295" y="140"/>
                  </a:lnTo>
                  <a:lnTo>
                    <a:pt x="295" y="144"/>
                  </a:lnTo>
                  <a:lnTo>
                    <a:pt x="295" y="144"/>
                  </a:lnTo>
                  <a:lnTo>
                    <a:pt x="297" y="140"/>
                  </a:lnTo>
                  <a:lnTo>
                    <a:pt x="299" y="140"/>
                  </a:lnTo>
                  <a:lnTo>
                    <a:pt x="299" y="142"/>
                  </a:lnTo>
                  <a:lnTo>
                    <a:pt x="297" y="142"/>
                  </a:lnTo>
                  <a:lnTo>
                    <a:pt x="297" y="144"/>
                  </a:lnTo>
                  <a:lnTo>
                    <a:pt x="295" y="146"/>
                  </a:lnTo>
                  <a:lnTo>
                    <a:pt x="295" y="146"/>
                  </a:lnTo>
                  <a:lnTo>
                    <a:pt x="295" y="146"/>
                  </a:lnTo>
                  <a:lnTo>
                    <a:pt x="293" y="148"/>
                  </a:lnTo>
                  <a:lnTo>
                    <a:pt x="293" y="146"/>
                  </a:lnTo>
                  <a:lnTo>
                    <a:pt x="291" y="146"/>
                  </a:lnTo>
                  <a:lnTo>
                    <a:pt x="289" y="148"/>
                  </a:lnTo>
                  <a:lnTo>
                    <a:pt x="282" y="150"/>
                  </a:lnTo>
                  <a:lnTo>
                    <a:pt x="282" y="150"/>
                  </a:lnTo>
                  <a:lnTo>
                    <a:pt x="293" y="152"/>
                  </a:lnTo>
                  <a:lnTo>
                    <a:pt x="297" y="150"/>
                  </a:lnTo>
                  <a:lnTo>
                    <a:pt x="301" y="150"/>
                  </a:lnTo>
                  <a:lnTo>
                    <a:pt x="305" y="146"/>
                  </a:lnTo>
                  <a:lnTo>
                    <a:pt x="303" y="144"/>
                  </a:lnTo>
                  <a:close/>
                  <a:moveTo>
                    <a:pt x="262" y="142"/>
                  </a:moveTo>
                  <a:lnTo>
                    <a:pt x="260" y="140"/>
                  </a:lnTo>
                  <a:lnTo>
                    <a:pt x="260" y="142"/>
                  </a:lnTo>
                  <a:lnTo>
                    <a:pt x="260" y="144"/>
                  </a:lnTo>
                  <a:lnTo>
                    <a:pt x="258" y="146"/>
                  </a:lnTo>
                  <a:lnTo>
                    <a:pt x="258" y="146"/>
                  </a:lnTo>
                  <a:lnTo>
                    <a:pt x="260" y="148"/>
                  </a:lnTo>
                  <a:lnTo>
                    <a:pt x="262" y="148"/>
                  </a:lnTo>
                  <a:lnTo>
                    <a:pt x="262" y="148"/>
                  </a:lnTo>
                  <a:lnTo>
                    <a:pt x="264" y="146"/>
                  </a:lnTo>
                  <a:lnTo>
                    <a:pt x="262" y="146"/>
                  </a:lnTo>
                  <a:lnTo>
                    <a:pt x="262" y="142"/>
                  </a:lnTo>
                  <a:close/>
                  <a:moveTo>
                    <a:pt x="254" y="144"/>
                  </a:moveTo>
                  <a:lnTo>
                    <a:pt x="252" y="144"/>
                  </a:lnTo>
                  <a:lnTo>
                    <a:pt x="252" y="144"/>
                  </a:lnTo>
                  <a:lnTo>
                    <a:pt x="252" y="142"/>
                  </a:lnTo>
                  <a:lnTo>
                    <a:pt x="254" y="142"/>
                  </a:lnTo>
                  <a:lnTo>
                    <a:pt x="254" y="140"/>
                  </a:lnTo>
                  <a:lnTo>
                    <a:pt x="252" y="138"/>
                  </a:lnTo>
                  <a:lnTo>
                    <a:pt x="250" y="138"/>
                  </a:lnTo>
                  <a:lnTo>
                    <a:pt x="250" y="140"/>
                  </a:lnTo>
                  <a:lnTo>
                    <a:pt x="250" y="142"/>
                  </a:lnTo>
                  <a:lnTo>
                    <a:pt x="248" y="142"/>
                  </a:lnTo>
                  <a:lnTo>
                    <a:pt x="248" y="140"/>
                  </a:lnTo>
                  <a:lnTo>
                    <a:pt x="248" y="140"/>
                  </a:lnTo>
                  <a:lnTo>
                    <a:pt x="244" y="142"/>
                  </a:lnTo>
                  <a:lnTo>
                    <a:pt x="241" y="146"/>
                  </a:lnTo>
                  <a:lnTo>
                    <a:pt x="241" y="146"/>
                  </a:lnTo>
                  <a:lnTo>
                    <a:pt x="239" y="148"/>
                  </a:lnTo>
                  <a:lnTo>
                    <a:pt x="239" y="152"/>
                  </a:lnTo>
                  <a:lnTo>
                    <a:pt x="239" y="152"/>
                  </a:lnTo>
                  <a:lnTo>
                    <a:pt x="237" y="154"/>
                  </a:lnTo>
                  <a:lnTo>
                    <a:pt x="231" y="156"/>
                  </a:lnTo>
                  <a:lnTo>
                    <a:pt x="233" y="156"/>
                  </a:lnTo>
                  <a:lnTo>
                    <a:pt x="233" y="156"/>
                  </a:lnTo>
                  <a:lnTo>
                    <a:pt x="235" y="158"/>
                  </a:lnTo>
                  <a:lnTo>
                    <a:pt x="237" y="158"/>
                  </a:lnTo>
                  <a:lnTo>
                    <a:pt x="237" y="158"/>
                  </a:lnTo>
                  <a:lnTo>
                    <a:pt x="239" y="158"/>
                  </a:lnTo>
                  <a:lnTo>
                    <a:pt x="239" y="156"/>
                  </a:lnTo>
                  <a:lnTo>
                    <a:pt x="241" y="156"/>
                  </a:lnTo>
                  <a:lnTo>
                    <a:pt x="244" y="154"/>
                  </a:lnTo>
                  <a:lnTo>
                    <a:pt x="246" y="152"/>
                  </a:lnTo>
                  <a:lnTo>
                    <a:pt x="258" y="150"/>
                  </a:lnTo>
                  <a:lnTo>
                    <a:pt x="258" y="148"/>
                  </a:lnTo>
                  <a:lnTo>
                    <a:pt x="256" y="144"/>
                  </a:lnTo>
                  <a:lnTo>
                    <a:pt x="254" y="144"/>
                  </a:lnTo>
                  <a:close/>
                  <a:moveTo>
                    <a:pt x="293" y="117"/>
                  </a:moveTo>
                  <a:lnTo>
                    <a:pt x="293" y="111"/>
                  </a:lnTo>
                  <a:lnTo>
                    <a:pt x="295" y="109"/>
                  </a:lnTo>
                  <a:lnTo>
                    <a:pt x="295" y="109"/>
                  </a:lnTo>
                  <a:lnTo>
                    <a:pt x="295" y="107"/>
                  </a:lnTo>
                  <a:lnTo>
                    <a:pt x="293" y="107"/>
                  </a:lnTo>
                  <a:lnTo>
                    <a:pt x="293" y="107"/>
                  </a:lnTo>
                  <a:lnTo>
                    <a:pt x="293" y="109"/>
                  </a:lnTo>
                  <a:lnTo>
                    <a:pt x="293" y="119"/>
                  </a:lnTo>
                  <a:lnTo>
                    <a:pt x="293" y="117"/>
                  </a:lnTo>
                  <a:close/>
                  <a:moveTo>
                    <a:pt x="295" y="105"/>
                  </a:moveTo>
                  <a:lnTo>
                    <a:pt x="293" y="97"/>
                  </a:lnTo>
                  <a:lnTo>
                    <a:pt x="293" y="92"/>
                  </a:lnTo>
                  <a:lnTo>
                    <a:pt x="291" y="90"/>
                  </a:lnTo>
                  <a:lnTo>
                    <a:pt x="289" y="90"/>
                  </a:lnTo>
                  <a:lnTo>
                    <a:pt x="289" y="92"/>
                  </a:lnTo>
                  <a:lnTo>
                    <a:pt x="289" y="90"/>
                  </a:lnTo>
                  <a:lnTo>
                    <a:pt x="287" y="88"/>
                  </a:lnTo>
                  <a:lnTo>
                    <a:pt x="287" y="86"/>
                  </a:lnTo>
                  <a:lnTo>
                    <a:pt x="289" y="86"/>
                  </a:lnTo>
                  <a:lnTo>
                    <a:pt x="291" y="88"/>
                  </a:lnTo>
                  <a:lnTo>
                    <a:pt x="291" y="88"/>
                  </a:lnTo>
                  <a:lnTo>
                    <a:pt x="291" y="88"/>
                  </a:lnTo>
                  <a:lnTo>
                    <a:pt x="291" y="86"/>
                  </a:lnTo>
                  <a:lnTo>
                    <a:pt x="291" y="86"/>
                  </a:lnTo>
                  <a:lnTo>
                    <a:pt x="289" y="84"/>
                  </a:lnTo>
                  <a:lnTo>
                    <a:pt x="282" y="74"/>
                  </a:lnTo>
                  <a:lnTo>
                    <a:pt x="280" y="72"/>
                  </a:lnTo>
                  <a:lnTo>
                    <a:pt x="274" y="68"/>
                  </a:lnTo>
                  <a:lnTo>
                    <a:pt x="272" y="68"/>
                  </a:lnTo>
                  <a:lnTo>
                    <a:pt x="268" y="66"/>
                  </a:lnTo>
                  <a:lnTo>
                    <a:pt x="266" y="66"/>
                  </a:lnTo>
                  <a:lnTo>
                    <a:pt x="266" y="66"/>
                  </a:lnTo>
                  <a:lnTo>
                    <a:pt x="262" y="68"/>
                  </a:lnTo>
                  <a:lnTo>
                    <a:pt x="260" y="68"/>
                  </a:lnTo>
                  <a:lnTo>
                    <a:pt x="260" y="68"/>
                  </a:lnTo>
                  <a:lnTo>
                    <a:pt x="260" y="68"/>
                  </a:lnTo>
                  <a:lnTo>
                    <a:pt x="260" y="70"/>
                  </a:lnTo>
                  <a:lnTo>
                    <a:pt x="260" y="70"/>
                  </a:lnTo>
                  <a:lnTo>
                    <a:pt x="260" y="70"/>
                  </a:lnTo>
                  <a:lnTo>
                    <a:pt x="260" y="70"/>
                  </a:lnTo>
                  <a:lnTo>
                    <a:pt x="260" y="70"/>
                  </a:lnTo>
                  <a:lnTo>
                    <a:pt x="262" y="72"/>
                  </a:lnTo>
                  <a:lnTo>
                    <a:pt x="264" y="74"/>
                  </a:lnTo>
                  <a:lnTo>
                    <a:pt x="264" y="74"/>
                  </a:lnTo>
                  <a:lnTo>
                    <a:pt x="266" y="72"/>
                  </a:lnTo>
                  <a:lnTo>
                    <a:pt x="266" y="72"/>
                  </a:lnTo>
                  <a:lnTo>
                    <a:pt x="266" y="72"/>
                  </a:lnTo>
                  <a:lnTo>
                    <a:pt x="264" y="72"/>
                  </a:lnTo>
                  <a:lnTo>
                    <a:pt x="266" y="70"/>
                  </a:lnTo>
                  <a:lnTo>
                    <a:pt x="268" y="68"/>
                  </a:lnTo>
                  <a:lnTo>
                    <a:pt x="272" y="70"/>
                  </a:lnTo>
                  <a:lnTo>
                    <a:pt x="274" y="72"/>
                  </a:lnTo>
                  <a:lnTo>
                    <a:pt x="274" y="74"/>
                  </a:lnTo>
                  <a:lnTo>
                    <a:pt x="276" y="78"/>
                  </a:lnTo>
                  <a:lnTo>
                    <a:pt x="276" y="80"/>
                  </a:lnTo>
                  <a:lnTo>
                    <a:pt x="278" y="84"/>
                  </a:lnTo>
                  <a:lnTo>
                    <a:pt x="278" y="82"/>
                  </a:lnTo>
                  <a:lnTo>
                    <a:pt x="278" y="80"/>
                  </a:lnTo>
                  <a:lnTo>
                    <a:pt x="278" y="78"/>
                  </a:lnTo>
                  <a:lnTo>
                    <a:pt x="280" y="78"/>
                  </a:lnTo>
                  <a:lnTo>
                    <a:pt x="280" y="80"/>
                  </a:lnTo>
                  <a:lnTo>
                    <a:pt x="282" y="80"/>
                  </a:lnTo>
                  <a:lnTo>
                    <a:pt x="284" y="80"/>
                  </a:lnTo>
                  <a:lnTo>
                    <a:pt x="284" y="80"/>
                  </a:lnTo>
                  <a:lnTo>
                    <a:pt x="282" y="82"/>
                  </a:lnTo>
                  <a:lnTo>
                    <a:pt x="282" y="82"/>
                  </a:lnTo>
                  <a:lnTo>
                    <a:pt x="282" y="82"/>
                  </a:lnTo>
                  <a:lnTo>
                    <a:pt x="284" y="84"/>
                  </a:lnTo>
                  <a:lnTo>
                    <a:pt x="284" y="86"/>
                  </a:lnTo>
                  <a:lnTo>
                    <a:pt x="287" y="90"/>
                  </a:lnTo>
                  <a:lnTo>
                    <a:pt x="284" y="95"/>
                  </a:lnTo>
                  <a:lnTo>
                    <a:pt x="284" y="95"/>
                  </a:lnTo>
                  <a:lnTo>
                    <a:pt x="280" y="97"/>
                  </a:lnTo>
                  <a:lnTo>
                    <a:pt x="278" y="99"/>
                  </a:lnTo>
                  <a:lnTo>
                    <a:pt x="272" y="103"/>
                  </a:lnTo>
                  <a:lnTo>
                    <a:pt x="270" y="105"/>
                  </a:lnTo>
                  <a:lnTo>
                    <a:pt x="266" y="107"/>
                  </a:lnTo>
                  <a:lnTo>
                    <a:pt x="264" y="109"/>
                  </a:lnTo>
                  <a:lnTo>
                    <a:pt x="262" y="109"/>
                  </a:lnTo>
                  <a:lnTo>
                    <a:pt x="262" y="107"/>
                  </a:lnTo>
                  <a:lnTo>
                    <a:pt x="262" y="107"/>
                  </a:lnTo>
                  <a:lnTo>
                    <a:pt x="266" y="107"/>
                  </a:lnTo>
                  <a:lnTo>
                    <a:pt x="266" y="105"/>
                  </a:lnTo>
                  <a:lnTo>
                    <a:pt x="256" y="107"/>
                  </a:lnTo>
                  <a:lnTo>
                    <a:pt x="254" y="107"/>
                  </a:lnTo>
                  <a:lnTo>
                    <a:pt x="248" y="105"/>
                  </a:lnTo>
                  <a:lnTo>
                    <a:pt x="244" y="103"/>
                  </a:lnTo>
                  <a:lnTo>
                    <a:pt x="244" y="101"/>
                  </a:lnTo>
                  <a:lnTo>
                    <a:pt x="244" y="97"/>
                  </a:lnTo>
                  <a:lnTo>
                    <a:pt x="241" y="92"/>
                  </a:lnTo>
                  <a:lnTo>
                    <a:pt x="239" y="90"/>
                  </a:lnTo>
                  <a:lnTo>
                    <a:pt x="237" y="88"/>
                  </a:lnTo>
                  <a:lnTo>
                    <a:pt x="233" y="90"/>
                  </a:lnTo>
                  <a:lnTo>
                    <a:pt x="233" y="90"/>
                  </a:lnTo>
                  <a:lnTo>
                    <a:pt x="231" y="90"/>
                  </a:lnTo>
                  <a:lnTo>
                    <a:pt x="225" y="86"/>
                  </a:lnTo>
                  <a:lnTo>
                    <a:pt x="225" y="86"/>
                  </a:lnTo>
                  <a:lnTo>
                    <a:pt x="227" y="84"/>
                  </a:lnTo>
                  <a:lnTo>
                    <a:pt x="227" y="84"/>
                  </a:lnTo>
                  <a:lnTo>
                    <a:pt x="227" y="86"/>
                  </a:lnTo>
                  <a:lnTo>
                    <a:pt x="227" y="80"/>
                  </a:lnTo>
                  <a:lnTo>
                    <a:pt x="227" y="80"/>
                  </a:lnTo>
                  <a:lnTo>
                    <a:pt x="229" y="80"/>
                  </a:lnTo>
                  <a:lnTo>
                    <a:pt x="229" y="80"/>
                  </a:lnTo>
                  <a:lnTo>
                    <a:pt x="231" y="84"/>
                  </a:lnTo>
                  <a:lnTo>
                    <a:pt x="231" y="84"/>
                  </a:lnTo>
                  <a:lnTo>
                    <a:pt x="231" y="84"/>
                  </a:lnTo>
                  <a:lnTo>
                    <a:pt x="229" y="84"/>
                  </a:lnTo>
                  <a:lnTo>
                    <a:pt x="231" y="84"/>
                  </a:lnTo>
                  <a:lnTo>
                    <a:pt x="231" y="84"/>
                  </a:lnTo>
                  <a:lnTo>
                    <a:pt x="233" y="84"/>
                  </a:lnTo>
                  <a:lnTo>
                    <a:pt x="233" y="84"/>
                  </a:lnTo>
                  <a:lnTo>
                    <a:pt x="233" y="82"/>
                  </a:lnTo>
                  <a:lnTo>
                    <a:pt x="233" y="82"/>
                  </a:lnTo>
                  <a:lnTo>
                    <a:pt x="233" y="82"/>
                  </a:lnTo>
                  <a:lnTo>
                    <a:pt x="229" y="80"/>
                  </a:lnTo>
                  <a:lnTo>
                    <a:pt x="229" y="78"/>
                  </a:lnTo>
                  <a:lnTo>
                    <a:pt x="229" y="76"/>
                  </a:lnTo>
                  <a:lnTo>
                    <a:pt x="225" y="76"/>
                  </a:lnTo>
                  <a:lnTo>
                    <a:pt x="223" y="72"/>
                  </a:lnTo>
                  <a:lnTo>
                    <a:pt x="221" y="70"/>
                  </a:lnTo>
                  <a:lnTo>
                    <a:pt x="219" y="70"/>
                  </a:lnTo>
                  <a:lnTo>
                    <a:pt x="219" y="70"/>
                  </a:lnTo>
                  <a:lnTo>
                    <a:pt x="219" y="70"/>
                  </a:lnTo>
                  <a:lnTo>
                    <a:pt x="219" y="66"/>
                  </a:lnTo>
                  <a:lnTo>
                    <a:pt x="219" y="66"/>
                  </a:lnTo>
                  <a:lnTo>
                    <a:pt x="215" y="64"/>
                  </a:lnTo>
                  <a:lnTo>
                    <a:pt x="213" y="64"/>
                  </a:lnTo>
                  <a:lnTo>
                    <a:pt x="211" y="62"/>
                  </a:lnTo>
                  <a:lnTo>
                    <a:pt x="207" y="62"/>
                  </a:lnTo>
                  <a:lnTo>
                    <a:pt x="205" y="62"/>
                  </a:lnTo>
                  <a:lnTo>
                    <a:pt x="201" y="60"/>
                  </a:lnTo>
                  <a:lnTo>
                    <a:pt x="201" y="60"/>
                  </a:lnTo>
                  <a:lnTo>
                    <a:pt x="203" y="62"/>
                  </a:lnTo>
                  <a:lnTo>
                    <a:pt x="203" y="62"/>
                  </a:lnTo>
                  <a:lnTo>
                    <a:pt x="205" y="64"/>
                  </a:lnTo>
                  <a:lnTo>
                    <a:pt x="205" y="64"/>
                  </a:lnTo>
                  <a:lnTo>
                    <a:pt x="205" y="66"/>
                  </a:lnTo>
                  <a:lnTo>
                    <a:pt x="205" y="66"/>
                  </a:lnTo>
                  <a:lnTo>
                    <a:pt x="203" y="64"/>
                  </a:lnTo>
                  <a:lnTo>
                    <a:pt x="203" y="66"/>
                  </a:lnTo>
                  <a:lnTo>
                    <a:pt x="201" y="66"/>
                  </a:lnTo>
                  <a:lnTo>
                    <a:pt x="201" y="68"/>
                  </a:lnTo>
                  <a:lnTo>
                    <a:pt x="198" y="68"/>
                  </a:lnTo>
                  <a:lnTo>
                    <a:pt x="198" y="68"/>
                  </a:lnTo>
                  <a:lnTo>
                    <a:pt x="198" y="68"/>
                  </a:lnTo>
                  <a:lnTo>
                    <a:pt x="198" y="68"/>
                  </a:lnTo>
                  <a:lnTo>
                    <a:pt x="198" y="68"/>
                  </a:lnTo>
                  <a:lnTo>
                    <a:pt x="196" y="68"/>
                  </a:lnTo>
                  <a:lnTo>
                    <a:pt x="198" y="66"/>
                  </a:lnTo>
                  <a:lnTo>
                    <a:pt x="198" y="66"/>
                  </a:lnTo>
                  <a:lnTo>
                    <a:pt x="196" y="64"/>
                  </a:lnTo>
                  <a:lnTo>
                    <a:pt x="194" y="64"/>
                  </a:lnTo>
                  <a:lnTo>
                    <a:pt x="194" y="64"/>
                  </a:lnTo>
                  <a:lnTo>
                    <a:pt x="194" y="62"/>
                  </a:lnTo>
                  <a:lnTo>
                    <a:pt x="192" y="64"/>
                  </a:lnTo>
                  <a:lnTo>
                    <a:pt x="192" y="64"/>
                  </a:lnTo>
                  <a:lnTo>
                    <a:pt x="190" y="64"/>
                  </a:lnTo>
                  <a:lnTo>
                    <a:pt x="188" y="62"/>
                  </a:lnTo>
                  <a:lnTo>
                    <a:pt x="188" y="60"/>
                  </a:lnTo>
                  <a:lnTo>
                    <a:pt x="190" y="60"/>
                  </a:lnTo>
                  <a:lnTo>
                    <a:pt x="190" y="60"/>
                  </a:lnTo>
                  <a:lnTo>
                    <a:pt x="190" y="58"/>
                  </a:lnTo>
                  <a:lnTo>
                    <a:pt x="190" y="58"/>
                  </a:lnTo>
                  <a:lnTo>
                    <a:pt x="188" y="58"/>
                  </a:lnTo>
                  <a:lnTo>
                    <a:pt x="188" y="58"/>
                  </a:lnTo>
                  <a:lnTo>
                    <a:pt x="188" y="56"/>
                  </a:lnTo>
                  <a:lnTo>
                    <a:pt x="190" y="56"/>
                  </a:lnTo>
                  <a:lnTo>
                    <a:pt x="192" y="58"/>
                  </a:lnTo>
                  <a:lnTo>
                    <a:pt x="192" y="56"/>
                  </a:lnTo>
                  <a:lnTo>
                    <a:pt x="192" y="56"/>
                  </a:lnTo>
                  <a:lnTo>
                    <a:pt x="190" y="56"/>
                  </a:lnTo>
                  <a:lnTo>
                    <a:pt x="190" y="56"/>
                  </a:lnTo>
                  <a:lnTo>
                    <a:pt x="192" y="56"/>
                  </a:lnTo>
                  <a:lnTo>
                    <a:pt x="192" y="56"/>
                  </a:lnTo>
                  <a:lnTo>
                    <a:pt x="194" y="56"/>
                  </a:lnTo>
                  <a:lnTo>
                    <a:pt x="196" y="56"/>
                  </a:lnTo>
                  <a:lnTo>
                    <a:pt x="194" y="56"/>
                  </a:lnTo>
                  <a:lnTo>
                    <a:pt x="194" y="54"/>
                  </a:lnTo>
                  <a:lnTo>
                    <a:pt x="192" y="51"/>
                  </a:lnTo>
                  <a:lnTo>
                    <a:pt x="192" y="49"/>
                  </a:lnTo>
                  <a:lnTo>
                    <a:pt x="192" y="49"/>
                  </a:lnTo>
                  <a:lnTo>
                    <a:pt x="192" y="47"/>
                  </a:lnTo>
                  <a:lnTo>
                    <a:pt x="194" y="47"/>
                  </a:lnTo>
                  <a:lnTo>
                    <a:pt x="196" y="49"/>
                  </a:lnTo>
                  <a:lnTo>
                    <a:pt x="198" y="47"/>
                  </a:lnTo>
                  <a:lnTo>
                    <a:pt x="196" y="47"/>
                  </a:lnTo>
                  <a:lnTo>
                    <a:pt x="196" y="47"/>
                  </a:lnTo>
                  <a:lnTo>
                    <a:pt x="194" y="45"/>
                  </a:lnTo>
                  <a:lnTo>
                    <a:pt x="194" y="45"/>
                  </a:lnTo>
                  <a:lnTo>
                    <a:pt x="196" y="43"/>
                  </a:lnTo>
                  <a:lnTo>
                    <a:pt x="196" y="43"/>
                  </a:lnTo>
                  <a:lnTo>
                    <a:pt x="196" y="43"/>
                  </a:lnTo>
                  <a:lnTo>
                    <a:pt x="198" y="43"/>
                  </a:lnTo>
                  <a:lnTo>
                    <a:pt x="198" y="41"/>
                  </a:lnTo>
                  <a:lnTo>
                    <a:pt x="198" y="41"/>
                  </a:lnTo>
                  <a:lnTo>
                    <a:pt x="201" y="39"/>
                  </a:lnTo>
                  <a:lnTo>
                    <a:pt x="201" y="39"/>
                  </a:lnTo>
                  <a:lnTo>
                    <a:pt x="201" y="39"/>
                  </a:lnTo>
                  <a:lnTo>
                    <a:pt x="201" y="39"/>
                  </a:lnTo>
                  <a:lnTo>
                    <a:pt x="198" y="37"/>
                  </a:lnTo>
                  <a:lnTo>
                    <a:pt x="198" y="37"/>
                  </a:lnTo>
                  <a:lnTo>
                    <a:pt x="198" y="37"/>
                  </a:lnTo>
                  <a:lnTo>
                    <a:pt x="196" y="39"/>
                  </a:lnTo>
                  <a:lnTo>
                    <a:pt x="196" y="39"/>
                  </a:lnTo>
                  <a:lnTo>
                    <a:pt x="196" y="39"/>
                  </a:lnTo>
                  <a:lnTo>
                    <a:pt x="196" y="37"/>
                  </a:lnTo>
                  <a:lnTo>
                    <a:pt x="196" y="37"/>
                  </a:lnTo>
                  <a:lnTo>
                    <a:pt x="196" y="37"/>
                  </a:lnTo>
                  <a:lnTo>
                    <a:pt x="196" y="35"/>
                  </a:lnTo>
                  <a:lnTo>
                    <a:pt x="198" y="35"/>
                  </a:lnTo>
                  <a:lnTo>
                    <a:pt x="201" y="31"/>
                  </a:lnTo>
                  <a:lnTo>
                    <a:pt x="209" y="27"/>
                  </a:lnTo>
                  <a:lnTo>
                    <a:pt x="211" y="27"/>
                  </a:lnTo>
                  <a:lnTo>
                    <a:pt x="211" y="25"/>
                  </a:lnTo>
                  <a:lnTo>
                    <a:pt x="211" y="25"/>
                  </a:lnTo>
                  <a:lnTo>
                    <a:pt x="211" y="23"/>
                  </a:lnTo>
                  <a:lnTo>
                    <a:pt x="213" y="23"/>
                  </a:lnTo>
                  <a:lnTo>
                    <a:pt x="213" y="25"/>
                  </a:lnTo>
                  <a:lnTo>
                    <a:pt x="213" y="25"/>
                  </a:lnTo>
                  <a:lnTo>
                    <a:pt x="215" y="25"/>
                  </a:lnTo>
                  <a:lnTo>
                    <a:pt x="215" y="23"/>
                  </a:lnTo>
                  <a:lnTo>
                    <a:pt x="215" y="23"/>
                  </a:lnTo>
                  <a:lnTo>
                    <a:pt x="215" y="23"/>
                  </a:lnTo>
                  <a:lnTo>
                    <a:pt x="215" y="21"/>
                  </a:lnTo>
                  <a:lnTo>
                    <a:pt x="217" y="21"/>
                  </a:lnTo>
                  <a:lnTo>
                    <a:pt x="217" y="21"/>
                  </a:lnTo>
                  <a:lnTo>
                    <a:pt x="217" y="19"/>
                  </a:lnTo>
                  <a:lnTo>
                    <a:pt x="217" y="19"/>
                  </a:lnTo>
                  <a:lnTo>
                    <a:pt x="217" y="17"/>
                  </a:lnTo>
                  <a:lnTo>
                    <a:pt x="217" y="17"/>
                  </a:lnTo>
                  <a:lnTo>
                    <a:pt x="215" y="17"/>
                  </a:lnTo>
                  <a:lnTo>
                    <a:pt x="215" y="17"/>
                  </a:lnTo>
                  <a:lnTo>
                    <a:pt x="213" y="17"/>
                  </a:lnTo>
                  <a:lnTo>
                    <a:pt x="213" y="17"/>
                  </a:lnTo>
                  <a:lnTo>
                    <a:pt x="213" y="15"/>
                  </a:lnTo>
                  <a:lnTo>
                    <a:pt x="211" y="17"/>
                  </a:lnTo>
                  <a:lnTo>
                    <a:pt x="211" y="17"/>
                  </a:lnTo>
                  <a:lnTo>
                    <a:pt x="209" y="19"/>
                  </a:lnTo>
                  <a:lnTo>
                    <a:pt x="211" y="21"/>
                  </a:lnTo>
                  <a:lnTo>
                    <a:pt x="211" y="23"/>
                  </a:lnTo>
                  <a:lnTo>
                    <a:pt x="209" y="21"/>
                  </a:lnTo>
                  <a:lnTo>
                    <a:pt x="209" y="21"/>
                  </a:lnTo>
                  <a:lnTo>
                    <a:pt x="205" y="21"/>
                  </a:lnTo>
                  <a:lnTo>
                    <a:pt x="203" y="19"/>
                  </a:lnTo>
                  <a:lnTo>
                    <a:pt x="203" y="19"/>
                  </a:lnTo>
                  <a:lnTo>
                    <a:pt x="203" y="19"/>
                  </a:lnTo>
                  <a:lnTo>
                    <a:pt x="205" y="19"/>
                  </a:lnTo>
                  <a:lnTo>
                    <a:pt x="198" y="17"/>
                  </a:lnTo>
                  <a:lnTo>
                    <a:pt x="196" y="17"/>
                  </a:lnTo>
                  <a:lnTo>
                    <a:pt x="196" y="13"/>
                  </a:lnTo>
                  <a:lnTo>
                    <a:pt x="196" y="13"/>
                  </a:lnTo>
                  <a:lnTo>
                    <a:pt x="201" y="17"/>
                  </a:lnTo>
                  <a:lnTo>
                    <a:pt x="201" y="15"/>
                  </a:lnTo>
                  <a:lnTo>
                    <a:pt x="196" y="8"/>
                  </a:lnTo>
                  <a:lnTo>
                    <a:pt x="196" y="8"/>
                  </a:lnTo>
                  <a:lnTo>
                    <a:pt x="194" y="8"/>
                  </a:lnTo>
                  <a:lnTo>
                    <a:pt x="194" y="6"/>
                  </a:lnTo>
                  <a:lnTo>
                    <a:pt x="194" y="6"/>
                  </a:lnTo>
                  <a:lnTo>
                    <a:pt x="194" y="8"/>
                  </a:lnTo>
                  <a:lnTo>
                    <a:pt x="194" y="8"/>
                  </a:lnTo>
                  <a:lnTo>
                    <a:pt x="192" y="6"/>
                  </a:lnTo>
                  <a:lnTo>
                    <a:pt x="190" y="6"/>
                  </a:lnTo>
                  <a:lnTo>
                    <a:pt x="190" y="6"/>
                  </a:lnTo>
                  <a:lnTo>
                    <a:pt x="192" y="6"/>
                  </a:lnTo>
                  <a:lnTo>
                    <a:pt x="194" y="4"/>
                  </a:lnTo>
                  <a:lnTo>
                    <a:pt x="194" y="4"/>
                  </a:lnTo>
                  <a:lnTo>
                    <a:pt x="192" y="0"/>
                  </a:lnTo>
                  <a:lnTo>
                    <a:pt x="192" y="0"/>
                  </a:lnTo>
                  <a:lnTo>
                    <a:pt x="190" y="2"/>
                  </a:lnTo>
                  <a:lnTo>
                    <a:pt x="188" y="2"/>
                  </a:lnTo>
                  <a:lnTo>
                    <a:pt x="184" y="0"/>
                  </a:lnTo>
                  <a:lnTo>
                    <a:pt x="184" y="0"/>
                  </a:lnTo>
                  <a:lnTo>
                    <a:pt x="184" y="2"/>
                  </a:lnTo>
                  <a:lnTo>
                    <a:pt x="176" y="6"/>
                  </a:lnTo>
                  <a:lnTo>
                    <a:pt x="176" y="8"/>
                  </a:lnTo>
                  <a:lnTo>
                    <a:pt x="176" y="8"/>
                  </a:lnTo>
                  <a:lnTo>
                    <a:pt x="174" y="11"/>
                  </a:lnTo>
                  <a:lnTo>
                    <a:pt x="174" y="11"/>
                  </a:lnTo>
                  <a:lnTo>
                    <a:pt x="174" y="11"/>
                  </a:lnTo>
                  <a:lnTo>
                    <a:pt x="172" y="13"/>
                  </a:lnTo>
                  <a:lnTo>
                    <a:pt x="172" y="13"/>
                  </a:lnTo>
                  <a:lnTo>
                    <a:pt x="172" y="13"/>
                  </a:lnTo>
                  <a:lnTo>
                    <a:pt x="170" y="13"/>
                  </a:lnTo>
                  <a:lnTo>
                    <a:pt x="170" y="13"/>
                  </a:lnTo>
                  <a:lnTo>
                    <a:pt x="168" y="13"/>
                  </a:lnTo>
                  <a:lnTo>
                    <a:pt x="168" y="13"/>
                  </a:lnTo>
                  <a:lnTo>
                    <a:pt x="168" y="15"/>
                  </a:lnTo>
                  <a:lnTo>
                    <a:pt x="168" y="15"/>
                  </a:lnTo>
                  <a:lnTo>
                    <a:pt x="168" y="15"/>
                  </a:lnTo>
                  <a:lnTo>
                    <a:pt x="166" y="17"/>
                  </a:lnTo>
                  <a:lnTo>
                    <a:pt x="166" y="19"/>
                  </a:lnTo>
                  <a:lnTo>
                    <a:pt x="166" y="19"/>
                  </a:lnTo>
                  <a:lnTo>
                    <a:pt x="166" y="21"/>
                  </a:lnTo>
                  <a:lnTo>
                    <a:pt x="166" y="21"/>
                  </a:lnTo>
                  <a:lnTo>
                    <a:pt x="164" y="23"/>
                  </a:lnTo>
                  <a:lnTo>
                    <a:pt x="164" y="23"/>
                  </a:lnTo>
                  <a:lnTo>
                    <a:pt x="162" y="23"/>
                  </a:lnTo>
                  <a:lnTo>
                    <a:pt x="162" y="25"/>
                  </a:lnTo>
                  <a:lnTo>
                    <a:pt x="162" y="27"/>
                  </a:lnTo>
                  <a:lnTo>
                    <a:pt x="160" y="27"/>
                  </a:lnTo>
                  <a:lnTo>
                    <a:pt x="160" y="29"/>
                  </a:lnTo>
                  <a:lnTo>
                    <a:pt x="158" y="29"/>
                  </a:lnTo>
                  <a:lnTo>
                    <a:pt x="158" y="29"/>
                  </a:lnTo>
                  <a:lnTo>
                    <a:pt x="151" y="31"/>
                  </a:lnTo>
                  <a:lnTo>
                    <a:pt x="145" y="31"/>
                  </a:lnTo>
                  <a:lnTo>
                    <a:pt x="139" y="33"/>
                  </a:lnTo>
                  <a:lnTo>
                    <a:pt x="135" y="33"/>
                  </a:lnTo>
                  <a:lnTo>
                    <a:pt x="129" y="35"/>
                  </a:lnTo>
                  <a:lnTo>
                    <a:pt x="123" y="37"/>
                  </a:lnTo>
                  <a:lnTo>
                    <a:pt x="117" y="37"/>
                  </a:lnTo>
                  <a:lnTo>
                    <a:pt x="112" y="39"/>
                  </a:lnTo>
                  <a:lnTo>
                    <a:pt x="106" y="41"/>
                  </a:lnTo>
                  <a:lnTo>
                    <a:pt x="94" y="43"/>
                  </a:lnTo>
                  <a:lnTo>
                    <a:pt x="90" y="43"/>
                  </a:lnTo>
                  <a:lnTo>
                    <a:pt x="84" y="45"/>
                  </a:lnTo>
                  <a:lnTo>
                    <a:pt x="78" y="47"/>
                  </a:lnTo>
                  <a:lnTo>
                    <a:pt x="71" y="47"/>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3" y="49"/>
                  </a:lnTo>
                  <a:lnTo>
                    <a:pt x="59" y="51"/>
                  </a:lnTo>
                  <a:lnTo>
                    <a:pt x="55" y="51"/>
                  </a:lnTo>
                  <a:lnTo>
                    <a:pt x="51" y="54"/>
                  </a:lnTo>
                  <a:lnTo>
                    <a:pt x="47" y="54"/>
                  </a:lnTo>
                  <a:lnTo>
                    <a:pt x="43" y="54"/>
                  </a:lnTo>
                  <a:lnTo>
                    <a:pt x="39" y="56"/>
                  </a:lnTo>
                  <a:lnTo>
                    <a:pt x="35" y="56"/>
                  </a:lnTo>
                  <a:lnTo>
                    <a:pt x="31" y="56"/>
                  </a:lnTo>
                  <a:lnTo>
                    <a:pt x="26" y="58"/>
                  </a:lnTo>
                  <a:lnTo>
                    <a:pt x="24" y="58"/>
                  </a:lnTo>
                  <a:lnTo>
                    <a:pt x="20" y="60"/>
                  </a:lnTo>
                  <a:lnTo>
                    <a:pt x="16" y="60"/>
                  </a:lnTo>
                  <a:lnTo>
                    <a:pt x="4" y="62"/>
                  </a:lnTo>
                  <a:lnTo>
                    <a:pt x="4" y="64"/>
                  </a:lnTo>
                  <a:lnTo>
                    <a:pt x="4" y="68"/>
                  </a:lnTo>
                  <a:lnTo>
                    <a:pt x="2" y="74"/>
                  </a:lnTo>
                  <a:lnTo>
                    <a:pt x="2" y="82"/>
                  </a:lnTo>
                  <a:lnTo>
                    <a:pt x="2" y="90"/>
                  </a:lnTo>
                  <a:lnTo>
                    <a:pt x="2" y="99"/>
                  </a:lnTo>
                  <a:lnTo>
                    <a:pt x="2" y="107"/>
                  </a:lnTo>
                  <a:lnTo>
                    <a:pt x="2" y="123"/>
                  </a:lnTo>
                  <a:lnTo>
                    <a:pt x="2" y="131"/>
                  </a:lnTo>
                  <a:lnTo>
                    <a:pt x="0" y="133"/>
                  </a:lnTo>
                  <a:lnTo>
                    <a:pt x="0" y="136"/>
                  </a:lnTo>
                  <a:lnTo>
                    <a:pt x="4" y="138"/>
                  </a:lnTo>
                  <a:lnTo>
                    <a:pt x="14" y="136"/>
                  </a:lnTo>
                  <a:lnTo>
                    <a:pt x="22" y="133"/>
                  </a:lnTo>
                  <a:lnTo>
                    <a:pt x="33" y="131"/>
                  </a:lnTo>
                  <a:lnTo>
                    <a:pt x="43" y="129"/>
                  </a:lnTo>
                  <a:lnTo>
                    <a:pt x="49" y="129"/>
                  </a:lnTo>
                  <a:lnTo>
                    <a:pt x="53" y="127"/>
                  </a:lnTo>
                  <a:lnTo>
                    <a:pt x="57" y="127"/>
                  </a:lnTo>
                  <a:lnTo>
                    <a:pt x="59" y="129"/>
                  </a:lnTo>
                  <a:lnTo>
                    <a:pt x="61" y="129"/>
                  </a:lnTo>
                  <a:lnTo>
                    <a:pt x="61" y="127"/>
                  </a:lnTo>
                  <a:lnTo>
                    <a:pt x="71" y="123"/>
                  </a:lnTo>
                  <a:lnTo>
                    <a:pt x="74" y="123"/>
                  </a:lnTo>
                  <a:lnTo>
                    <a:pt x="76" y="123"/>
                  </a:lnTo>
                  <a:lnTo>
                    <a:pt x="76" y="123"/>
                  </a:lnTo>
                  <a:lnTo>
                    <a:pt x="78" y="123"/>
                  </a:lnTo>
                  <a:lnTo>
                    <a:pt x="82" y="121"/>
                  </a:lnTo>
                  <a:lnTo>
                    <a:pt x="94" y="119"/>
                  </a:lnTo>
                  <a:lnTo>
                    <a:pt x="104" y="115"/>
                  </a:lnTo>
                  <a:lnTo>
                    <a:pt x="117" y="113"/>
                  </a:lnTo>
                  <a:lnTo>
                    <a:pt x="129" y="111"/>
                  </a:lnTo>
                  <a:lnTo>
                    <a:pt x="137" y="109"/>
                  </a:lnTo>
                  <a:lnTo>
                    <a:pt x="137" y="109"/>
                  </a:lnTo>
                  <a:lnTo>
                    <a:pt x="145" y="107"/>
                  </a:lnTo>
                  <a:lnTo>
                    <a:pt x="151" y="105"/>
                  </a:lnTo>
                  <a:lnTo>
                    <a:pt x="160" y="103"/>
                  </a:lnTo>
                  <a:lnTo>
                    <a:pt x="166" y="101"/>
                  </a:lnTo>
                  <a:lnTo>
                    <a:pt x="170" y="101"/>
                  </a:lnTo>
                  <a:lnTo>
                    <a:pt x="172" y="101"/>
                  </a:lnTo>
                  <a:lnTo>
                    <a:pt x="172" y="105"/>
                  </a:lnTo>
                  <a:lnTo>
                    <a:pt x="174" y="111"/>
                  </a:lnTo>
                  <a:lnTo>
                    <a:pt x="174" y="111"/>
                  </a:lnTo>
                  <a:lnTo>
                    <a:pt x="174" y="113"/>
                  </a:lnTo>
                  <a:lnTo>
                    <a:pt x="176" y="113"/>
                  </a:lnTo>
                  <a:lnTo>
                    <a:pt x="176" y="111"/>
                  </a:lnTo>
                  <a:lnTo>
                    <a:pt x="178" y="111"/>
                  </a:lnTo>
                  <a:lnTo>
                    <a:pt x="178" y="113"/>
                  </a:lnTo>
                  <a:lnTo>
                    <a:pt x="178" y="113"/>
                  </a:lnTo>
                  <a:lnTo>
                    <a:pt x="178" y="113"/>
                  </a:lnTo>
                  <a:lnTo>
                    <a:pt x="178" y="115"/>
                  </a:lnTo>
                  <a:lnTo>
                    <a:pt x="178" y="115"/>
                  </a:lnTo>
                  <a:lnTo>
                    <a:pt x="178" y="115"/>
                  </a:lnTo>
                  <a:lnTo>
                    <a:pt x="180" y="117"/>
                  </a:lnTo>
                  <a:lnTo>
                    <a:pt x="180" y="121"/>
                  </a:lnTo>
                  <a:lnTo>
                    <a:pt x="180" y="121"/>
                  </a:lnTo>
                  <a:lnTo>
                    <a:pt x="180" y="121"/>
                  </a:lnTo>
                  <a:lnTo>
                    <a:pt x="180" y="123"/>
                  </a:lnTo>
                  <a:lnTo>
                    <a:pt x="182" y="123"/>
                  </a:lnTo>
                  <a:lnTo>
                    <a:pt x="184" y="123"/>
                  </a:lnTo>
                  <a:lnTo>
                    <a:pt x="184" y="123"/>
                  </a:lnTo>
                  <a:lnTo>
                    <a:pt x="186" y="123"/>
                  </a:lnTo>
                  <a:lnTo>
                    <a:pt x="188" y="125"/>
                  </a:lnTo>
                  <a:lnTo>
                    <a:pt x="190" y="129"/>
                  </a:lnTo>
                  <a:lnTo>
                    <a:pt x="190" y="127"/>
                  </a:lnTo>
                  <a:lnTo>
                    <a:pt x="190" y="127"/>
                  </a:lnTo>
                  <a:lnTo>
                    <a:pt x="192" y="125"/>
                  </a:lnTo>
                  <a:lnTo>
                    <a:pt x="192" y="125"/>
                  </a:lnTo>
                  <a:lnTo>
                    <a:pt x="194" y="125"/>
                  </a:lnTo>
                  <a:lnTo>
                    <a:pt x="194" y="125"/>
                  </a:lnTo>
                  <a:lnTo>
                    <a:pt x="196" y="125"/>
                  </a:lnTo>
                  <a:lnTo>
                    <a:pt x="196" y="119"/>
                  </a:lnTo>
                  <a:lnTo>
                    <a:pt x="196" y="117"/>
                  </a:lnTo>
                  <a:lnTo>
                    <a:pt x="198" y="117"/>
                  </a:lnTo>
                  <a:lnTo>
                    <a:pt x="198" y="121"/>
                  </a:lnTo>
                  <a:lnTo>
                    <a:pt x="194" y="129"/>
                  </a:lnTo>
                  <a:lnTo>
                    <a:pt x="194" y="133"/>
                  </a:lnTo>
                  <a:lnTo>
                    <a:pt x="194" y="136"/>
                  </a:lnTo>
                  <a:lnTo>
                    <a:pt x="196" y="140"/>
                  </a:lnTo>
                  <a:lnTo>
                    <a:pt x="196" y="144"/>
                  </a:lnTo>
                  <a:lnTo>
                    <a:pt x="198" y="148"/>
                  </a:lnTo>
                  <a:lnTo>
                    <a:pt x="198" y="148"/>
                  </a:lnTo>
                  <a:lnTo>
                    <a:pt x="198" y="150"/>
                  </a:lnTo>
                  <a:lnTo>
                    <a:pt x="201" y="150"/>
                  </a:lnTo>
                  <a:lnTo>
                    <a:pt x="201" y="152"/>
                  </a:lnTo>
                  <a:lnTo>
                    <a:pt x="205" y="146"/>
                  </a:lnTo>
                  <a:lnTo>
                    <a:pt x="207" y="144"/>
                  </a:lnTo>
                  <a:lnTo>
                    <a:pt x="207" y="144"/>
                  </a:lnTo>
                  <a:lnTo>
                    <a:pt x="205" y="144"/>
                  </a:lnTo>
                  <a:lnTo>
                    <a:pt x="209" y="142"/>
                  </a:lnTo>
                  <a:lnTo>
                    <a:pt x="209" y="142"/>
                  </a:lnTo>
                  <a:lnTo>
                    <a:pt x="209" y="140"/>
                  </a:lnTo>
                  <a:lnTo>
                    <a:pt x="211" y="140"/>
                  </a:lnTo>
                  <a:lnTo>
                    <a:pt x="211" y="142"/>
                  </a:lnTo>
                  <a:lnTo>
                    <a:pt x="211" y="144"/>
                  </a:lnTo>
                  <a:lnTo>
                    <a:pt x="209" y="144"/>
                  </a:lnTo>
                  <a:lnTo>
                    <a:pt x="213" y="146"/>
                  </a:lnTo>
                  <a:lnTo>
                    <a:pt x="215" y="144"/>
                  </a:lnTo>
                  <a:lnTo>
                    <a:pt x="217" y="140"/>
                  </a:lnTo>
                  <a:lnTo>
                    <a:pt x="217" y="142"/>
                  </a:lnTo>
                  <a:lnTo>
                    <a:pt x="217" y="142"/>
                  </a:lnTo>
                  <a:lnTo>
                    <a:pt x="217" y="142"/>
                  </a:lnTo>
                  <a:lnTo>
                    <a:pt x="219" y="140"/>
                  </a:lnTo>
                  <a:lnTo>
                    <a:pt x="219" y="138"/>
                  </a:lnTo>
                  <a:lnTo>
                    <a:pt x="219" y="136"/>
                  </a:lnTo>
                  <a:lnTo>
                    <a:pt x="219" y="133"/>
                  </a:lnTo>
                  <a:lnTo>
                    <a:pt x="219" y="131"/>
                  </a:lnTo>
                  <a:lnTo>
                    <a:pt x="219" y="129"/>
                  </a:lnTo>
                  <a:lnTo>
                    <a:pt x="221" y="129"/>
                  </a:lnTo>
                  <a:lnTo>
                    <a:pt x="221" y="129"/>
                  </a:lnTo>
                  <a:lnTo>
                    <a:pt x="223" y="129"/>
                  </a:lnTo>
                  <a:lnTo>
                    <a:pt x="223" y="131"/>
                  </a:lnTo>
                  <a:lnTo>
                    <a:pt x="225" y="131"/>
                  </a:lnTo>
                  <a:lnTo>
                    <a:pt x="225" y="131"/>
                  </a:lnTo>
                  <a:lnTo>
                    <a:pt x="225" y="131"/>
                  </a:lnTo>
                  <a:lnTo>
                    <a:pt x="223" y="129"/>
                  </a:lnTo>
                  <a:lnTo>
                    <a:pt x="225" y="127"/>
                  </a:lnTo>
                  <a:lnTo>
                    <a:pt x="225" y="127"/>
                  </a:lnTo>
                  <a:lnTo>
                    <a:pt x="227" y="125"/>
                  </a:lnTo>
                  <a:lnTo>
                    <a:pt x="227" y="125"/>
                  </a:lnTo>
                  <a:lnTo>
                    <a:pt x="227" y="125"/>
                  </a:lnTo>
                  <a:lnTo>
                    <a:pt x="227" y="125"/>
                  </a:lnTo>
                  <a:lnTo>
                    <a:pt x="227" y="123"/>
                  </a:lnTo>
                  <a:lnTo>
                    <a:pt x="229" y="125"/>
                  </a:lnTo>
                  <a:lnTo>
                    <a:pt x="231" y="123"/>
                  </a:lnTo>
                  <a:lnTo>
                    <a:pt x="231" y="121"/>
                  </a:lnTo>
                  <a:lnTo>
                    <a:pt x="231" y="119"/>
                  </a:lnTo>
                  <a:lnTo>
                    <a:pt x="233" y="119"/>
                  </a:lnTo>
                  <a:lnTo>
                    <a:pt x="231" y="119"/>
                  </a:lnTo>
                  <a:lnTo>
                    <a:pt x="231" y="117"/>
                  </a:lnTo>
                  <a:lnTo>
                    <a:pt x="231" y="113"/>
                  </a:lnTo>
                  <a:lnTo>
                    <a:pt x="231" y="113"/>
                  </a:lnTo>
                  <a:lnTo>
                    <a:pt x="233" y="113"/>
                  </a:lnTo>
                  <a:lnTo>
                    <a:pt x="237" y="115"/>
                  </a:lnTo>
                  <a:lnTo>
                    <a:pt x="237" y="115"/>
                  </a:lnTo>
                  <a:lnTo>
                    <a:pt x="237" y="113"/>
                  </a:lnTo>
                  <a:lnTo>
                    <a:pt x="237" y="113"/>
                  </a:lnTo>
                  <a:lnTo>
                    <a:pt x="237" y="113"/>
                  </a:lnTo>
                  <a:lnTo>
                    <a:pt x="239" y="113"/>
                  </a:lnTo>
                  <a:lnTo>
                    <a:pt x="239" y="113"/>
                  </a:lnTo>
                  <a:lnTo>
                    <a:pt x="237" y="115"/>
                  </a:lnTo>
                  <a:lnTo>
                    <a:pt x="239" y="115"/>
                  </a:lnTo>
                  <a:lnTo>
                    <a:pt x="239" y="117"/>
                  </a:lnTo>
                  <a:lnTo>
                    <a:pt x="237" y="117"/>
                  </a:lnTo>
                  <a:lnTo>
                    <a:pt x="237" y="119"/>
                  </a:lnTo>
                  <a:lnTo>
                    <a:pt x="237" y="119"/>
                  </a:lnTo>
                  <a:lnTo>
                    <a:pt x="239" y="121"/>
                  </a:lnTo>
                  <a:lnTo>
                    <a:pt x="241" y="129"/>
                  </a:lnTo>
                  <a:lnTo>
                    <a:pt x="241" y="133"/>
                  </a:lnTo>
                  <a:lnTo>
                    <a:pt x="239" y="136"/>
                  </a:lnTo>
                  <a:lnTo>
                    <a:pt x="241" y="133"/>
                  </a:lnTo>
                  <a:lnTo>
                    <a:pt x="246" y="131"/>
                  </a:lnTo>
                  <a:lnTo>
                    <a:pt x="248" y="129"/>
                  </a:lnTo>
                  <a:lnTo>
                    <a:pt x="252" y="129"/>
                  </a:lnTo>
                  <a:lnTo>
                    <a:pt x="254" y="127"/>
                  </a:lnTo>
                  <a:lnTo>
                    <a:pt x="254" y="125"/>
                  </a:lnTo>
                  <a:lnTo>
                    <a:pt x="256" y="123"/>
                  </a:lnTo>
                  <a:lnTo>
                    <a:pt x="258" y="119"/>
                  </a:lnTo>
                  <a:lnTo>
                    <a:pt x="258" y="117"/>
                  </a:lnTo>
                  <a:lnTo>
                    <a:pt x="258" y="117"/>
                  </a:lnTo>
                  <a:lnTo>
                    <a:pt x="260" y="119"/>
                  </a:lnTo>
                  <a:lnTo>
                    <a:pt x="262" y="119"/>
                  </a:lnTo>
                  <a:lnTo>
                    <a:pt x="262" y="117"/>
                  </a:lnTo>
                  <a:lnTo>
                    <a:pt x="264" y="117"/>
                  </a:lnTo>
                  <a:lnTo>
                    <a:pt x="266" y="117"/>
                  </a:lnTo>
                  <a:lnTo>
                    <a:pt x="266" y="115"/>
                  </a:lnTo>
                  <a:lnTo>
                    <a:pt x="268" y="115"/>
                  </a:lnTo>
                  <a:lnTo>
                    <a:pt x="270" y="113"/>
                  </a:lnTo>
                  <a:lnTo>
                    <a:pt x="270" y="117"/>
                  </a:lnTo>
                  <a:lnTo>
                    <a:pt x="270" y="117"/>
                  </a:lnTo>
                  <a:lnTo>
                    <a:pt x="270" y="117"/>
                  </a:lnTo>
                  <a:lnTo>
                    <a:pt x="272" y="115"/>
                  </a:lnTo>
                  <a:lnTo>
                    <a:pt x="272" y="113"/>
                  </a:lnTo>
                  <a:lnTo>
                    <a:pt x="272" y="113"/>
                  </a:lnTo>
                  <a:lnTo>
                    <a:pt x="274" y="113"/>
                  </a:lnTo>
                  <a:lnTo>
                    <a:pt x="276" y="111"/>
                  </a:lnTo>
                  <a:lnTo>
                    <a:pt x="280" y="109"/>
                  </a:lnTo>
                  <a:lnTo>
                    <a:pt x="291" y="105"/>
                  </a:lnTo>
                  <a:lnTo>
                    <a:pt x="295" y="105"/>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MA</a:t>
              </a:r>
            </a:p>
          </p:txBody>
        </p:sp>
        <p:sp>
          <p:nvSpPr>
            <p:cNvPr id="222" name="Freeform 37">
              <a:extLst>
                <a:ext uri="{FF2B5EF4-FFF2-40B4-BE49-F238E27FC236}">
                  <a16:creationId xmlns:a16="http://schemas.microsoft.com/office/drawing/2014/main" id="{642C86CE-CC2D-606A-3BDE-225B597CD136}"/>
                </a:ext>
              </a:extLst>
            </p:cNvPr>
            <p:cNvSpPr>
              <a:spLocks noEditPoints="1"/>
            </p:cNvSpPr>
            <p:nvPr/>
          </p:nvSpPr>
          <p:spPr bwMode="auto">
            <a:xfrm>
              <a:off x="3272" y="1840"/>
              <a:ext cx="506" cy="427"/>
            </a:xfrm>
            <a:custGeom>
              <a:avLst/>
              <a:gdLst>
                <a:gd name="T0" fmla="*/ 232 w 506"/>
                <a:gd name="T1" fmla="*/ 382 h 427"/>
                <a:gd name="T2" fmla="*/ 338 w 506"/>
                <a:gd name="T3" fmla="*/ 423 h 427"/>
                <a:gd name="T4" fmla="*/ 494 w 506"/>
                <a:gd name="T5" fmla="*/ 347 h 427"/>
                <a:gd name="T6" fmla="*/ 475 w 506"/>
                <a:gd name="T7" fmla="*/ 365 h 427"/>
                <a:gd name="T8" fmla="*/ 461 w 506"/>
                <a:gd name="T9" fmla="*/ 304 h 427"/>
                <a:gd name="T10" fmla="*/ 469 w 506"/>
                <a:gd name="T11" fmla="*/ 291 h 427"/>
                <a:gd name="T12" fmla="*/ 459 w 506"/>
                <a:gd name="T13" fmla="*/ 320 h 427"/>
                <a:gd name="T14" fmla="*/ 494 w 506"/>
                <a:gd name="T15" fmla="*/ 394 h 427"/>
                <a:gd name="T16" fmla="*/ 477 w 506"/>
                <a:gd name="T17" fmla="*/ 382 h 427"/>
                <a:gd name="T18" fmla="*/ 459 w 506"/>
                <a:gd name="T19" fmla="*/ 377 h 427"/>
                <a:gd name="T20" fmla="*/ 445 w 506"/>
                <a:gd name="T21" fmla="*/ 369 h 427"/>
                <a:gd name="T22" fmla="*/ 430 w 506"/>
                <a:gd name="T23" fmla="*/ 351 h 427"/>
                <a:gd name="T24" fmla="*/ 434 w 506"/>
                <a:gd name="T25" fmla="*/ 345 h 427"/>
                <a:gd name="T26" fmla="*/ 457 w 506"/>
                <a:gd name="T27" fmla="*/ 332 h 427"/>
                <a:gd name="T28" fmla="*/ 451 w 506"/>
                <a:gd name="T29" fmla="*/ 322 h 427"/>
                <a:gd name="T30" fmla="*/ 453 w 506"/>
                <a:gd name="T31" fmla="*/ 306 h 427"/>
                <a:gd name="T32" fmla="*/ 436 w 506"/>
                <a:gd name="T33" fmla="*/ 312 h 427"/>
                <a:gd name="T34" fmla="*/ 412 w 506"/>
                <a:gd name="T35" fmla="*/ 310 h 427"/>
                <a:gd name="T36" fmla="*/ 420 w 506"/>
                <a:gd name="T37" fmla="*/ 300 h 427"/>
                <a:gd name="T38" fmla="*/ 404 w 506"/>
                <a:gd name="T39" fmla="*/ 300 h 427"/>
                <a:gd name="T40" fmla="*/ 391 w 506"/>
                <a:gd name="T41" fmla="*/ 283 h 427"/>
                <a:gd name="T42" fmla="*/ 430 w 506"/>
                <a:gd name="T43" fmla="*/ 295 h 427"/>
                <a:gd name="T44" fmla="*/ 406 w 506"/>
                <a:gd name="T45" fmla="*/ 246 h 427"/>
                <a:gd name="T46" fmla="*/ 262 w 506"/>
                <a:gd name="T47" fmla="*/ 220 h 427"/>
                <a:gd name="T48" fmla="*/ 242 w 506"/>
                <a:gd name="T49" fmla="*/ 181 h 427"/>
                <a:gd name="T50" fmla="*/ 268 w 506"/>
                <a:gd name="T51" fmla="*/ 113 h 427"/>
                <a:gd name="T52" fmla="*/ 268 w 506"/>
                <a:gd name="T53" fmla="*/ 58 h 427"/>
                <a:gd name="T54" fmla="*/ 268 w 506"/>
                <a:gd name="T55" fmla="*/ 13 h 427"/>
                <a:gd name="T56" fmla="*/ 2 w 506"/>
                <a:gd name="T57" fmla="*/ 58 h 427"/>
                <a:gd name="T58" fmla="*/ 27 w 506"/>
                <a:gd name="T59" fmla="*/ 154 h 427"/>
                <a:gd name="T60" fmla="*/ 37 w 506"/>
                <a:gd name="T61" fmla="*/ 179 h 427"/>
                <a:gd name="T62" fmla="*/ 43 w 506"/>
                <a:gd name="T63" fmla="*/ 195 h 427"/>
                <a:gd name="T64" fmla="*/ 55 w 506"/>
                <a:gd name="T65" fmla="*/ 220 h 427"/>
                <a:gd name="T66" fmla="*/ 51 w 506"/>
                <a:gd name="T67" fmla="*/ 265 h 427"/>
                <a:gd name="T68" fmla="*/ 45 w 506"/>
                <a:gd name="T69" fmla="*/ 316 h 427"/>
                <a:gd name="T70" fmla="*/ 41 w 506"/>
                <a:gd name="T71" fmla="*/ 371 h 427"/>
                <a:gd name="T72" fmla="*/ 166 w 506"/>
                <a:gd name="T73" fmla="*/ 382 h 427"/>
                <a:gd name="T74" fmla="*/ 193 w 506"/>
                <a:gd name="T75" fmla="*/ 365 h 427"/>
                <a:gd name="T76" fmla="*/ 223 w 506"/>
                <a:gd name="T77" fmla="*/ 349 h 427"/>
                <a:gd name="T78" fmla="*/ 250 w 506"/>
                <a:gd name="T79" fmla="*/ 367 h 427"/>
                <a:gd name="T80" fmla="*/ 279 w 506"/>
                <a:gd name="T81" fmla="*/ 377 h 427"/>
                <a:gd name="T82" fmla="*/ 295 w 506"/>
                <a:gd name="T83" fmla="*/ 402 h 427"/>
                <a:gd name="T84" fmla="*/ 281 w 506"/>
                <a:gd name="T85" fmla="*/ 406 h 427"/>
                <a:gd name="T86" fmla="*/ 322 w 506"/>
                <a:gd name="T87" fmla="*/ 410 h 427"/>
                <a:gd name="T88" fmla="*/ 342 w 506"/>
                <a:gd name="T89" fmla="*/ 408 h 427"/>
                <a:gd name="T90" fmla="*/ 352 w 506"/>
                <a:gd name="T91" fmla="*/ 396 h 427"/>
                <a:gd name="T92" fmla="*/ 375 w 506"/>
                <a:gd name="T93" fmla="*/ 398 h 427"/>
                <a:gd name="T94" fmla="*/ 393 w 506"/>
                <a:gd name="T95" fmla="*/ 400 h 427"/>
                <a:gd name="T96" fmla="*/ 393 w 506"/>
                <a:gd name="T97" fmla="*/ 375 h 427"/>
                <a:gd name="T98" fmla="*/ 391 w 506"/>
                <a:gd name="T99" fmla="*/ 367 h 427"/>
                <a:gd name="T100" fmla="*/ 420 w 506"/>
                <a:gd name="T101" fmla="*/ 379 h 427"/>
                <a:gd name="T102" fmla="*/ 447 w 506"/>
                <a:gd name="T103" fmla="*/ 392 h 427"/>
                <a:gd name="T104" fmla="*/ 469 w 506"/>
                <a:gd name="T105" fmla="*/ 402 h 427"/>
                <a:gd name="T106" fmla="*/ 473 w 506"/>
                <a:gd name="T107" fmla="*/ 410 h 427"/>
                <a:gd name="T108" fmla="*/ 490 w 506"/>
                <a:gd name="T109" fmla="*/ 404 h 427"/>
                <a:gd name="T110" fmla="*/ 451 w 506"/>
                <a:gd name="T111" fmla="*/ 338 h 427"/>
                <a:gd name="T112" fmla="*/ 500 w 506"/>
                <a:gd name="T113" fmla="*/ 302 h 427"/>
                <a:gd name="T114" fmla="*/ 367 w 506"/>
                <a:gd name="T115" fmla="*/ 414 h 427"/>
                <a:gd name="T116" fmla="*/ 375 w 506"/>
                <a:gd name="T117" fmla="*/ 416 h 427"/>
                <a:gd name="T118" fmla="*/ 397 w 506"/>
                <a:gd name="T119" fmla="*/ 375 h 427"/>
                <a:gd name="T120" fmla="*/ 500 w 506"/>
                <a:gd name="T121" fmla="*/ 322 h 427"/>
                <a:gd name="T122" fmla="*/ 443 w 506"/>
                <a:gd name="T123" fmla="*/ 345 h 427"/>
                <a:gd name="T124" fmla="*/ 465 w 506"/>
                <a:gd name="T125" fmla="*/ 314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 h="427">
                  <a:moveTo>
                    <a:pt x="236" y="375"/>
                  </a:moveTo>
                  <a:lnTo>
                    <a:pt x="234" y="375"/>
                  </a:lnTo>
                  <a:lnTo>
                    <a:pt x="230" y="373"/>
                  </a:lnTo>
                  <a:lnTo>
                    <a:pt x="230" y="373"/>
                  </a:lnTo>
                  <a:lnTo>
                    <a:pt x="227" y="373"/>
                  </a:lnTo>
                  <a:lnTo>
                    <a:pt x="225" y="371"/>
                  </a:lnTo>
                  <a:lnTo>
                    <a:pt x="223" y="369"/>
                  </a:lnTo>
                  <a:lnTo>
                    <a:pt x="217" y="369"/>
                  </a:lnTo>
                  <a:lnTo>
                    <a:pt x="217" y="369"/>
                  </a:lnTo>
                  <a:lnTo>
                    <a:pt x="217" y="369"/>
                  </a:lnTo>
                  <a:lnTo>
                    <a:pt x="215" y="371"/>
                  </a:lnTo>
                  <a:lnTo>
                    <a:pt x="215" y="371"/>
                  </a:lnTo>
                  <a:lnTo>
                    <a:pt x="213" y="373"/>
                  </a:lnTo>
                  <a:lnTo>
                    <a:pt x="211" y="373"/>
                  </a:lnTo>
                  <a:lnTo>
                    <a:pt x="209" y="373"/>
                  </a:lnTo>
                  <a:lnTo>
                    <a:pt x="207" y="375"/>
                  </a:lnTo>
                  <a:lnTo>
                    <a:pt x="207" y="377"/>
                  </a:lnTo>
                  <a:lnTo>
                    <a:pt x="209" y="377"/>
                  </a:lnTo>
                  <a:lnTo>
                    <a:pt x="219" y="382"/>
                  </a:lnTo>
                  <a:lnTo>
                    <a:pt x="219" y="384"/>
                  </a:lnTo>
                  <a:lnTo>
                    <a:pt x="221" y="384"/>
                  </a:lnTo>
                  <a:lnTo>
                    <a:pt x="227" y="386"/>
                  </a:lnTo>
                  <a:lnTo>
                    <a:pt x="230" y="386"/>
                  </a:lnTo>
                  <a:lnTo>
                    <a:pt x="232" y="386"/>
                  </a:lnTo>
                  <a:lnTo>
                    <a:pt x="232" y="386"/>
                  </a:lnTo>
                  <a:lnTo>
                    <a:pt x="232" y="384"/>
                  </a:lnTo>
                  <a:lnTo>
                    <a:pt x="232" y="382"/>
                  </a:lnTo>
                  <a:lnTo>
                    <a:pt x="232" y="382"/>
                  </a:lnTo>
                  <a:lnTo>
                    <a:pt x="234" y="379"/>
                  </a:lnTo>
                  <a:lnTo>
                    <a:pt x="238" y="377"/>
                  </a:lnTo>
                  <a:lnTo>
                    <a:pt x="238" y="375"/>
                  </a:lnTo>
                  <a:lnTo>
                    <a:pt x="238" y="375"/>
                  </a:lnTo>
                  <a:lnTo>
                    <a:pt x="236" y="375"/>
                  </a:lnTo>
                  <a:close/>
                  <a:moveTo>
                    <a:pt x="313" y="425"/>
                  </a:moveTo>
                  <a:lnTo>
                    <a:pt x="313" y="425"/>
                  </a:lnTo>
                  <a:lnTo>
                    <a:pt x="313" y="425"/>
                  </a:lnTo>
                  <a:lnTo>
                    <a:pt x="313" y="425"/>
                  </a:lnTo>
                  <a:close/>
                  <a:moveTo>
                    <a:pt x="313" y="425"/>
                  </a:moveTo>
                  <a:lnTo>
                    <a:pt x="318" y="427"/>
                  </a:lnTo>
                  <a:lnTo>
                    <a:pt x="320" y="425"/>
                  </a:lnTo>
                  <a:lnTo>
                    <a:pt x="318" y="425"/>
                  </a:lnTo>
                  <a:lnTo>
                    <a:pt x="313" y="425"/>
                  </a:lnTo>
                  <a:close/>
                  <a:moveTo>
                    <a:pt x="326" y="425"/>
                  </a:moveTo>
                  <a:lnTo>
                    <a:pt x="324" y="425"/>
                  </a:lnTo>
                  <a:lnTo>
                    <a:pt x="324" y="425"/>
                  </a:lnTo>
                  <a:lnTo>
                    <a:pt x="324" y="427"/>
                  </a:lnTo>
                  <a:lnTo>
                    <a:pt x="324" y="427"/>
                  </a:lnTo>
                  <a:lnTo>
                    <a:pt x="326" y="427"/>
                  </a:lnTo>
                  <a:lnTo>
                    <a:pt x="326" y="427"/>
                  </a:lnTo>
                  <a:lnTo>
                    <a:pt x="326" y="427"/>
                  </a:lnTo>
                  <a:lnTo>
                    <a:pt x="326" y="425"/>
                  </a:lnTo>
                  <a:close/>
                  <a:moveTo>
                    <a:pt x="342" y="423"/>
                  </a:moveTo>
                  <a:lnTo>
                    <a:pt x="342" y="423"/>
                  </a:lnTo>
                  <a:lnTo>
                    <a:pt x="340" y="423"/>
                  </a:lnTo>
                  <a:lnTo>
                    <a:pt x="340" y="423"/>
                  </a:lnTo>
                  <a:lnTo>
                    <a:pt x="338" y="423"/>
                  </a:lnTo>
                  <a:lnTo>
                    <a:pt x="338" y="423"/>
                  </a:lnTo>
                  <a:lnTo>
                    <a:pt x="336" y="423"/>
                  </a:lnTo>
                  <a:lnTo>
                    <a:pt x="336" y="423"/>
                  </a:lnTo>
                  <a:lnTo>
                    <a:pt x="336" y="423"/>
                  </a:lnTo>
                  <a:lnTo>
                    <a:pt x="334" y="425"/>
                  </a:lnTo>
                  <a:lnTo>
                    <a:pt x="334" y="425"/>
                  </a:lnTo>
                  <a:lnTo>
                    <a:pt x="332" y="425"/>
                  </a:lnTo>
                  <a:lnTo>
                    <a:pt x="332" y="427"/>
                  </a:lnTo>
                  <a:lnTo>
                    <a:pt x="332" y="427"/>
                  </a:lnTo>
                  <a:lnTo>
                    <a:pt x="340" y="423"/>
                  </a:lnTo>
                  <a:lnTo>
                    <a:pt x="342" y="423"/>
                  </a:lnTo>
                  <a:lnTo>
                    <a:pt x="342" y="423"/>
                  </a:lnTo>
                  <a:lnTo>
                    <a:pt x="342" y="420"/>
                  </a:lnTo>
                  <a:lnTo>
                    <a:pt x="342" y="423"/>
                  </a:lnTo>
                  <a:lnTo>
                    <a:pt x="342" y="423"/>
                  </a:lnTo>
                  <a:close/>
                  <a:moveTo>
                    <a:pt x="365" y="420"/>
                  </a:moveTo>
                  <a:lnTo>
                    <a:pt x="363" y="420"/>
                  </a:lnTo>
                  <a:lnTo>
                    <a:pt x="361" y="420"/>
                  </a:lnTo>
                  <a:lnTo>
                    <a:pt x="354" y="420"/>
                  </a:lnTo>
                  <a:lnTo>
                    <a:pt x="354" y="420"/>
                  </a:lnTo>
                  <a:lnTo>
                    <a:pt x="359" y="423"/>
                  </a:lnTo>
                  <a:lnTo>
                    <a:pt x="365" y="423"/>
                  </a:lnTo>
                  <a:lnTo>
                    <a:pt x="365" y="423"/>
                  </a:lnTo>
                  <a:lnTo>
                    <a:pt x="365" y="423"/>
                  </a:lnTo>
                  <a:lnTo>
                    <a:pt x="365" y="420"/>
                  </a:lnTo>
                  <a:close/>
                  <a:moveTo>
                    <a:pt x="494" y="347"/>
                  </a:moveTo>
                  <a:lnTo>
                    <a:pt x="494" y="345"/>
                  </a:lnTo>
                  <a:lnTo>
                    <a:pt x="494" y="347"/>
                  </a:lnTo>
                  <a:lnTo>
                    <a:pt x="494" y="347"/>
                  </a:lnTo>
                  <a:lnTo>
                    <a:pt x="494" y="347"/>
                  </a:lnTo>
                  <a:lnTo>
                    <a:pt x="494" y="347"/>
                  </a:lnTo>
                  <a:close/>
                  <a:moveTo>
                    <a:pt x="465" y="318"/>
                  </a:moveTo>
                  <a:lnTo>
                    <a:pt x="465" y="318"/>
                  </a:lnTo>
                  <a:lnTo>
                    <a:pt x="465" y="316"/>
                  </a:lnTo>
                  <a:lnTo>
                    <a:pt x="465" y="316"/>
                  </a:lnTo>
                  <a:lnTo>
                    <a:pt x="465" y="316"/>
                  </a:lnTo>
                  <a:lnTo>
                    <a:pt x="463" y="316"/>
                  </a:lnTo>
                  <a:lnTo>
                    <a:pt x="461" y="316"/>
                  </a:lnTo>
                  <a:lnTo>
                    <a:pt x="461" y="318"/>
                  </a:lnTo>
                  <a:lnTo>
                    <a:pt x="461" y="318"/>
                  </a:lnTo>
                  <a:lnTo>
                    <a:pt x="461" y="318"/>
                  </a:lnTo>
                  <a:lnTo>
                    <a:pt x="463" y="318"/>
                  </a:lnTo>
                  <a:lnTo>
                    <a:pt x="465" y="318"/>
                  </a:lnTo>
                  <a:lnTo>
                    <a:pt x="465" y="318"/>
                  </a:lnTo>
                  <a:close/>
                  <a:moveTo>
                    <a:pt x="475" y="365"/>
                  </a:moveTo>
                  <a:lnTo>
                    <a:pt x="477" y="365"/>
                  </a:lnTo>
                  <a:lnTo>
                    <a:pt x="477" y="363"/>
                  </a:lnTo>
                  <a:lnTo>
                    <a:pt x="477" y="363"/>
                  </a:lnTo>
                  <a:lnTo>
                    <a:pt x="477" y="363"/>
                  </a:lnTo>
                  <a:lnTo>
                    <a:pt x="477" y="363"/>
                  </a:lnTo>
                  <a:lnTo>
                    <a:pt x="477" y="363"/>
                  </a:lnTo>
                  <a:lnTo>
                    <a:pt x="477" y="363"/>
                  </a:lnTo>
                  <a:lnTo>
                    <a:pt x="475" y="365"/>
                  </a:lnTo>
                  <a:lnTo>
                    <a:pt x="471" y="367"/>
                  </a:lnTo>
                  <a:lnTo>
                    <a:pt x="473" y="367"/>
                  </a:lnTo>
                  <a:lnTo>
                    <a:pt x="475" y="365"/>
                  </a:lnTo>
                  <a:close/>
                  <a:moveTo>
                    <a:pt x="359" y="402"/>
                  </a:moveTo>
                  <a:lnTo>
                    <a:pt x="361" y="400"/>
                  </a:lnTo>
                  <a:lnTo>
                    <a:pt x="361" y="400"/>
                  </a:lnTo>
                  <a:lnTo>
                    <a:pt x="361" y="400"/>
                  </a:lnTo>
                  <a:lnTo>
                    <a:pt x="359" y="400"/>
                  </a:lnTo>
                  <a:lnTo>
                    <a:pt x="359" y="402"/>
                  </a:lnTo>
                  <a:lnTo>
                    <a:pt x="359" y="404"/>
                  </a:lnTo>
                  <a:lnTo>
                    <a:pt x="359" y="402"/>
                  </a:lnTo>
                  <a:lnTo>
                    <a:pt x="359" y="402"/>
                  </a:lnTo>
                  <a:close/>
                  <a:moveTo>
                    <a:pt x="483" y="359"/>
                  </a:moveTo>
                  <a:lnTo>
                    <a:pt x="488" y="355"/>
                  </a:lnTo>
                  <a:lnTo>
                    <a:pt x="488" y="355"/>
                  </a:lnTo>
                  <a:lnTo>
                    <a:pt x="488" y="355"/>
                  </a:lnTo>
                  <a:lnTo>
                    <a:pt x="486" y="355"/>
                  </a:lnTo>
                  <a:lnTo>
                    <a:pt x="483" y="359"/>
                  </a:lnTo>
                  <a:lnTo>
                    <a:pt x="483" y="359"/>
                  </a:lnTo>
                  <a:lnTo>
                    <a:pt x="483" y="359"/>
                  </a:lnTo>
                  <a:close/>
                  <a:moveTo>
                    <a:pt x="455" y="306"/>
                  </a:moveTo>
                  <a:lnTo>
                    <a:pt x="457" y="306"/>
                  </a:lnTo>
                  <a:lnTo>
                    <a:pt x="457" y="304"/>
                  </a:lnTo>
                  <a:lnTo>
                    <a:pt x="457" y="304"/>
                  </a:lnTo>
                  <a:lnTo>
                    <a:pt x="459" y="304"/>
                  </a:lnTo>
                  <a:lnTo>
                    <a:pt x="459" y="304"/>
                  </a:lnTo>
                  <a:lnTo>
                    <a:pt x="459" y="304"/>
                  </a:lnTo>
                  <a:lnTo>
                    <a:pt x="459" y="304"/>
                  </a:lnTo>
                  <a:lnTo>
                    <a:pt x="461" y="304"/>
                  </a:lnTo>
                  <a:lnTo>
                    <a:pt x="461" y="304"/>
                  </a:lnTo>
                  <a:lnTo>
                    <a:pt x="461" y="304"/>
                  </a:lnTo>
                  <a:lnTo>
                    <a:pt x="461" y="304"/>
                  </a:lnTo>
                  <a:lnTo>
                    <a:pt x="461" y="302"/>
                  </a:lnTo>
                  <a:lnTo>
                    <a:pt x="463" y="302"/>
                  </a:lnTo>
                  <a:lnTo>
                    <a:pt x="463" y="302"/>
                  </a:lnTo>
                  <a:lnTo>
                    <a:pt x="463" y="304"/>
                  </a:lnTo>
                  <a:lnTo>
                    <a:pt x="463" y="304"/>
                  </a:lnTo>
                  <a:lnTo>
                    <a:pt x="463" y="304"/>
                  </a:lnTo>
                  <a:lnTo>
                    <a:pt x="465" y="306"/>
                  </a:lnTo>
                  <a:lnTo>
                    <a:pt x="465" y="306"/>
                  </a:lnTo>
                  <a:lnTo>
                    <a:pt x="467" y="306"/>
                  </a:lnTo>
                  <a:lnTo>
                    <a:pt x="467" y="306"/>
                  </a:lnTo>
                  <a:lnTo>
                    <a:pt x="469" y="304"/>
                  </a:lnTo>
                  <a:lnTo>
                    <a:pt x="469" y="302"/>
                  </a:lnTo>
                  <a:lnTo>
                    <a:pt x="469" y="302"/>
                  </a:lnTo>
                  <a:lnTo>
                    <a:pt x="467" y="302"/>
                  </a:lnTo>
                  <a:lnTo>
                    <a:pt x="467" y="302"/>
                  </a:lnTo>
                  <a:lnTo>
                    <a:pt x="467" y="302"/>
                  </a:lnTo>
                  <a:lnTo>
                    <a:pt x="467" y="304"/>
                  </a:lnTo>
                  <a:lnTo>
                    <a:pt x="467" y="304"/>
                  </a:lnTo>
                  <a:lnTo>
                    <a:pt x="467" y="304"/>
                  </a:lnTo>
                  <a:lnTo>
                    <a:pt x="465" y="302"/>
                  </a:lnTo>
                  <a:lnTo>
                    <a:pt x="465" y="300"/>
                  </a:lnTo>
                  <a:lnTo>
                    <a:pt x="465" y="300"/>
                  </a:lnTo>
                  <a:lnTo>
                    <a:pt x="463" y="300"/>
                  </a:lnTo>
                  <a:lnTo>
                    <a:pt x="463" y="298"/>
                  </a:lnTo>
                  <a:lnTo>
                    <a:pt x="467" y="293"/>
                  </a:lnTo>
                  <a:lnTo>
                    <a:pt x="467" y="293"/>
                  </a:lnTo>
                  <a:lnTo>
                    <a:pt x="469" y="291"/>
                  </a:lnTo>
                  <a:lnTo>
                    <a:pt x="469" y="291"/>
                  </a:lnTo>
                  <a:lnTo>
                    <a:pt x="467" y="291"/>
                  </a:lnTo>
                  <a:lnTo>
                    <a:pt x="465" y="293"/>
                  </a:lnTo>
                  <a:lnTo>
                    <a:pt x="465" y="295"/>
                  </a:lnTo>
                  <a:lnTo>
                    <a:pt x="463" y="298"/>
                  </a:lnTo>
                  <a:lnTo>
                    <a:pt x="461" y="298"/>
                  </a:lnTo>
                  <a:lnTo>
                    <a:pt x="459" y="300"/>
                  </a:lnTo>
                  <a:lnTo>
                    <a:pt x="461" y="300"/>
                  </a:lnTo>
                  <a:lnTo>
                    <a:pt x="459" y="302"/>
                  </a:lnTo>
                  <a:lnTo>
                    <a:pt x="459" y="302"/>
                  </a:lnTo>
                  <a:lnTo>
                    <a:pt x="457" y="302"/>
                  </a:lnTo>
                  <a:lnTo>
                    <a:pt x="457" y="302"/>
                  </a:lnTo>
                  <a:lnTo>
                    <a:pt x="457" y="304"/>
                  </a:lnTo>
                  <a:lnTo>
                    <a:pt x="455" y="304"/>
                  </a:lnTo>
                  <a:lnTo>
                    <a:pt x="455" y="304"/>
                  </a:lnTo>
                  <a:lnTo>
                    <a:pt x="455" y="306"/>
                  </a:lnTo>
                  <a:lnTo>
                    <a:pt x="455" y="306"/>
                  </a:lnTo>
                  <a:close/>
                  <a:moveTo>
                    <a:pt x="459" y="318"/>
                  </a:moveTo>
                  <a:lnTo>
                    <a:pt x="461" y="316"/>
                  </a:lnTo>
                  <a:lnTo>
                    <a:pt x="461" y="314"/>
                  </a:lnTo>
                  <a:lnTo>
                    <a:pt x="461" y="312"/>
                  </a:lnTo>
                  <a:lnTo>
                    <a:pt x="461" y="312"/>
                  </a:lnTo>
                  <a:lnTo>
                    <a:pt x="461" y="314"/>
                  </a:lnTo>
                  <a:lnTo>
                    <a:pt x="459" y="316"/>
                  </a:lnTo>
                  <a:lnTo>
                    <a:pt x="459" y="318"/>
                  </a:lnTo>
                  <a:lnTo>
                    <a:pt x="459" y="318"/>
                  </a:lnTo>
                  <a:lnTo>
                    <a:pt x="457" y="320"/>
                  </a:lnTo>
                  <a:lnTo>
                    <a:pt x="459" y="320"/>
                  </a:lnTo>
                  <a:lnTo>
                    <a:pt x="459" y="318"/>
                  </a:lnTo>
                  <a:close/>
                  <a:moveTo>
                    <a:pt x="463" y="330"/>
                  </a:moveTo>
                  <a:lnTo>
                    <a:pt x="463" y="330"/>
                  </a:lnTo>
                  <a:lnTo>
                    <a:pt x="461" y="330"/>
                  </a:lnTo>
                  <a:lnTo>
                    <a:pt x="461" y="330"/>
                  </a:lnTo>
                  <a:lnTo>
                    <a:pt x="457" y="330"/>
                  </a:lnTo>
                  <a:lnTo>
                    <a:pt x="457" y="332"/>
                  </a:lnTo>
                  <a:lnTo>
                    <a:pt x="463" y="334"/>
                  </a:lnTo>
                  <a:lnTo>
                    <a:pt x="463" y="330"/>
                  </a:lnTo>
                  <a:close/>
                  <a:moveTo>
                    <a:pt x="328" y="425"/>
                  </a:moveTo>
                  <a:lnTo>
                    <a:pt x="328" y="425"/>
                  </a:lnTo>
                  <a:lnTo>
                    <a:pt x="328" y="427"/>
                  </a:lnTo>
                  <a:lnTo>
                    <a:pt x="328" y="427"/>
                  </a:lnTo>
                  <a:lnTo>
                    <a:pt x="328" y="427"/>
                  </a:lnTo>
                  <a:lnTo>
                    <a:pt x="330" y="425"/>
                  </a:lnTo>
                  <a:lnTo>
                    <a:pt x="330" y="425"/>
                  </a:lnTo>
                  <a:lnTo>
                    <a:pt x="330" y="425"/>
                  </a:lnTo>
                  <a:lnTo>
                    <a:pt x="328" y="425"/>
                  </a:lnTo>
                  <a:close/>
                  <a:moveTo>
                    <a:pt x="492" y="396"/>
                  </a:moveTo>
                  <a:lnTo>
                    <a:pt x="492" y="398"/>
                  </a:lnTo>
                  <a:lnTo>
                    <a:pt x="492" y="398"/>
                  </a:lnTo>
                  <a:lnTo>
                    <a:pt x="492" y="396"/>
                  </a:lnTo>
                  <a:lnTo>
                    <a:pt x="494" y="396"/>
                  </a:lnTo>
                  <a:lnTo>
                    <a:pt x="496" y="396"/>
                  </a:lnTo>
                  <a:lnTo>
                    <a:pt x="494" y="396"/>
                  </a:lnTo>
                  <a:lnTo>
                    <a:pt x="494" y="396"/>
                  </a:lnTo>
                  <a:lnTo>
                    <a:pt x="494" y="396"/>
                  </a:lnTo>
                  <a:lnTo>
                    <a:pt x="494" y="394"/>
                  </a:lnTo>
                  <a:lnTo>
                    <a:pt x="494" y="394"/>
                  </a:lnTo>
                  <a:lnTo>
                    <a:pt x="494" y="392"/>
                  </a:lnTo>
                  <a:lnTo>
                    <a:pt x="492" y="392"/>
                  </a:lnTo>
                  <a:lnTo>
                    <a:pt x="492" y="392"/>
                  </a:lnTo>
                  <a:lnTo>
                    <a:pt x="490" y="392"/>
                  </a:lnTo>
                  <a:lnTo>
                    <a:pt x="490" y="394"/>
                  </a:lnTo>
                  <a:lnTo>
                    <a:pt x="490" y="394"/>
                  </a:lnTo>
                  <a:lnTo>
                    <a:pt x="490" y="394"/>
                  </a:lnTo>
                  <a:lnTo>
                    <a:pt x="488" y="394"/>
                  </a:lnTo>
                  <a:lnTo>
                    <a:pt x="486" y="394"/>
                  </a:lnTo>
                  <a:lnTo>
                    <a:pt x="486" y="392"/>
                  </a:lnTo>
                  <a:lnTo>
                    <a:pt x="481" y="392"/>
                  </a:lnTo>
                  <a:lnTo>
                    <a:pt x="481" y="390"/>
                  </a:lnTo>
                  <a:lnTo>
                    <a:pt x="481" y="390"/>
                  </a:lnTo>
                  <a:lnTo>
                    <a:pt x="483" y="390"/>
                  </a:lnTo>
                  <a:lnTo>
                    <a:pt x="483" y="388"/>
                  </a:lnTo>
                  <a:lnTo>
                    <a:pt x="483" y="388"/>
                  </a:lnTo>
                  <a:lnTo>
                    <a:pt x="483" y="388"/>
                  </a:lnTo>
                  <a:lnTo>
                    <a:pt x="483" y="386"/>
                  </a:lnTo>
                  <a:lnTo>
                    <a:pt x="483" y="386"/>
                  </a:lnTo>
                  <a:lnTo>
                    <a:pt x="481" y="384"/>
                  </a:lnTo>
                  <a:lnTo>
                    <a:pt x="481" y="384"/>
                  </a:lnTo>
                  <a:lnTo>
                    <a:pt x="479" y="386"/>
                  </a:lnTo>
                  <a:lnTo>
                    <a:pt x="479" y="384"/>
                  </a:lnTo>
                  <a:lnTo>
                    <a:pt x="479" y="384"/>
                  </a:lnTo>
                  <a:lnTo>
                    <a:pt x="479" y="384"/>
                  </a:lnTo>
                  <a:lnTo>
                    <a:pt x="477" y="382"/>
                  </a:lnTo>
                  <a:lnTo>
                    <a:pt x="477" y="382"/>
                  </a:lnTo>
                  <a:lnTo>
                    <a:pt x="477" y="382"/>
                  </a:lnTo>
                  <a:lnTo>
                    <a:pt x="477" y="382"/>
                  </a:lnTo>
                  <a:lnTo>
                    <a:pt x="477" y="379"/>
                  </a:lnTo>
                  <a:lnTo>
                    <a:pt x="475" y="379"/>
                  </a:lnTo>
                  <a:lnTo>
                    <a:pt x="475" y="379"/>
                  </a:lnTo>
                  <a:lnTo>
                    <a:pt x="475" y="379"/>
                  </a:lnTo>
                  <a:lnTo>
                    <a:pt x="475" y="379"/>
                  </a:lnTo>
                  <a:lnTo>
                    <a:pt x="475" y="379"/>
                  </a:lnTo>
                  <a:lnTo>
                    <a:pt x="475" y="379"/>
                  </a:lnTo>
                  <a:lnTo>
                    <a:pt x="475" y="382"/>
                  </a:lnTo>
                  <a:lnTo>
                    <a:pt x="473" y="382"/>
                  </a:lnTo>
                  <a:lnTo>
                    <a:pt x="471" y="384"/>
                  </a:lnTo>
                  <a:lnTo>
                    <a:pt x="471" y="384"/>
                  </a:lnTo>
                  <a:lnTo>
                    <a:pt x="469" y="382"/>
                  </a:lnTo>
                  <a:lnTo>
                    <a:pt x="469" y="379"/>
                  </a:lnTo>
                  <a:lnTo>
                    <a:pt x="469" y="379"/>
                  </a:lnTo>
                  <a:lnTo>
                    <a:pt x="467" y="379"/>
                  </a:lnTo>
                  <a:lnTo>
                    <a:pt x="467" y="379"/>
                  </a:lnTo>
                  <a:lnTo>
                    <a:pt x="465" y="379"/>
                  </a:lnTo>
                  <a:lnTo>
                    <a:pt x="465" y="379"/>
                  </a:lnTo>
                  <a:lnTo>
                    <a:pt x="463" y="382"/>
                  </a:lnTo>
                  <a:lnTo>
                    <a:pt x="463" y="382"/>
                  </a:lnTo>
                  <a:lnTo>
                    <a:pt x="461" y="382"/>
                  </a:lnTo>
                  <a:lnTo>
                    <a:pt x="459" y="379"/>
                  </a:lnTo>
                  <a:lnTo>
                    <a:pt x="459" y="379"/>
                  </a:lnTo>
                  <a:lnTo>
                    <a:pt x="459" y="379"/>
                  </a:lnTo>
                  <a:lnTo>
                    <a:pt x="459" y="379"/>
                  </a:lnTo>
                  <a:lnTo>
                    <a:pt x="459" y="377"/>
                  </a:lnTo>
                  <a:lnTo>
                    <a:pt x="459" y="377"/>
                  </a:lnTo>
                  <a:lnTo>
                    <a:pt x="461" y="377"/>
                  </a:lnTo>
                  <a:lnTo>
                    <a:pt x="461" y="377"/>
                  </a:lnTo>
                  <a:lnTo>
                    <a:pt x="463" y="377"/>
                  </a:lnTo>
                  <a:lnTo>
                    <a:pt x="463" y="375"/>
                  </a:lnTo>
                  <a:lnTo>
                    <a:pt x="461" y="375"/>
                  </a:lnTo>
                  <a:lnTo>
                    <a:pt x="459" y="375"/>
                  </a:lnTo>
                  <a:lnTo>
                    <a:pt x="459" y="375"/>
                  </a:lnTo>
                  <a:lnTo>
                    <a:pt x="459" y="377"/>
                  </a:lnTo>
                  <a:lnTo>
                    <a:pt x="457" y="377"/>
                  </a:lnTo>
                  <a:lnTo>
                    <a:pt x="457" y="377"/>
                  </a:lnTo>
                  <a:lnTo>
                    <a:pt x="457" y="377"/>
                  </a:lnTo>
                  <a:lnTo>
                    <a:pt x="455" y="377"/>
                  </a:lnTo>
                  <a:lnTo>
                    <a:pt x="455" y="377"/>
                  </a:lnTo>
                  <a:lnTo>
                    <a:pt x="453" y="375"/>
                  </a:lnTo>
                  <a:lnTo>
                    <a:pt x="451" y="375"/>
                  </a:lnTo>
                  <a:lnTo>
                    <a:pt x="445" y="377"/>
                  </a:lnTo>
                  <a:lnTo>
                    <a:pt x="445" y="377"/>
                  </a:lnTo>
                  <a:lnTo>
                    <a:pt x="443" y="377"/>
                  </a:lnTo>
                  <a:lnTo>
                    <a:pt x="443" y="375"/>
                  </a:lnTo>
                  <a:lnTo>
                    <a:pt x="443" y="375"/>
                  </a:lnTo>
                  <a:lnTo>
                    <a:pt x="445" y="375"/>
                  </a:lnTo>
                  <a:lnTo>
                    <a:pt x="445" y="375"/>
                  </a:lnTo>
                  <a:lnTo>
                    <a:pt x="445" y="373"/>
                  </a:lnTo>
                  <a:lnTo>
                    <a:pt x="443" y="373"/>
                  </a:lnTo>
                  <a:lnTo>
                    <a:pt x="443" y="373"/>
                  </a:lnTo>
                  <a:lnTo>
                    <a:pt x="443" y="371"/>
                  </a:lnTo>
                  <a:lnTo>
                    <a:pt x="445" y="369"/>
                  </a:lnTo>
                  <a:lnTo>
                    <a:pt x="445" y="369"/>
                  </a:lnTo>
                  <a:lnTo>
                    <a:pt x="443" y="369"/>
                  </a:lnTo>
                  <a:lnTo>
                    <a:pt x="438" y="367"/>
                  </a:lnTo>
                  <a:lnTo>
                    <a:pt x="438" y="367"/>
                  </a:lnTo>
                  <a:lnTo>
                    <a:pt x="438" y="367"/>
                  </a:lnTo>
                  <a:lnTo>
                    <a:pt x="438" y="367"/>
                  </a:lnTo>
                  <a:lnTo>
                    <a:pt x="438" y="367"/>
                  </a:lnTo>
                  <a:lnTo>
                    <a:pt x="436" y="367"/>
                  </a:lnTo>
                  <a:lnTo>
                    <a:pt x="434" y="367"/>
                  </a:lnTo>
                  <a:lnTo>
                    <a:pt x="432" y="365"/>
                  </a:lnTo>
                  <a:lnTo>
                    <a:pt x="430" y="365"/>
                  </a:lnTo>
                  <a:lnTo>
                    <a:pt x="428" y="365"/>
                  </a:lnTo>
                  <a:lnTo>
                    <a:pt x="428" y="363"/>
                  </a:lnTo>
                  <a:lnTo>
                    <a:pt x="428" y="361"/>
                  </a:lnTo>
                  <a:lnTo>
                    <a:pt x="426" y="359"/>
                  </a:lnTo>
                  <a:lnTo>
                    <a:pt x="424" y="357"/>
                  </a:lnTo>
                  <a:lnTo>
                    <a:pt x="424" y="355"/>
                  </a:lnTo>
                  <a:lnTo>
                    <a:pt x="424" y="355"/>
                  </a:lnTo>
                  <a:lnTo>
                    <a:pt x="424" y="355"/>
                  </a:lnTo>
                  <a:lnTo>
                    <a:pt x="424" y="355"/>
                  </a:lnTo>
                  <a:lnTo>
                    <a:pt x="422" y="355"/>
                  </a:lnTo>
                  <a:lnTo>
                    <a:pt x="420" y="353"/>
                  </a:lnTo>
                  <a:lnTo>
                    <a:pt x="424" y="353"/>
                  </a:lnTo>
                  <a:lnTo>
                    <a:pt x="432" y="355"/>
                  </a:lnTo>
                  <a:lnTo>
                    <a:pt x="432" y="353"/>
                  </a:lnTo>
                  <a:lnTo>
                    <a:pt x="430" y="351"/>
                  </a:lnTo>
                  <a:lnTo>
                    <a:pt x="430" y="351"/>
                  </a:lnTo>
                  <a:lnTo>
                    <a:pt x="430" y="351"/>
                  </a:lnTo>
                  <a:lnTo>
                    <a:pt x="430" y="351"/>
                  </a:lnTo>
                  <a:lnTo>
                    <a:pt x="428" y="349"/>
                  </a:lnTo>
                  <a:lnTo>
                    <a:pt x="428" y="349"/>
                  </a:lnTo>
                  <a:lnTo>
                    <a:pt x="430" y="349"/>
                  </a:lnTo>
                  <a:lnTo>
                    <a:pt x="428" y="347"/>
                  </a:lnTo>
                  <a:lnTo>
                    <a:pt x="426" y="347"/>
                  </a:lnTo>
                  <a:lnTo>
                    <a:pt x="424" y="345"/>
                  </a:lnTo>
                  <a:lnTo>
                    <a:pt x="428" y="347"/>
                  </a:lnTo>
                  <a:lnTo>
                    <a:pt x="432" y="349"/>
                  </a:lnTo>
                  <a:lnTo>
                    <a:pt x="434" y="349"/>
                  </a:lnTo>
                  <a:lnTo>
                    <a:pt x="438" y="349"/>
                  </a:lnTo>
                  <a:lnTo>
                    <a:pt x="440" y="349"/>
                  </a:lnTo>
                  <a:lnTo>
                    <a:pt x="443" y="349"/>
                  </a:lnTo>
                  <a:lnTo>
                    <a:pt x="443" y="351"/>
                  </a:lnTo>
                  <a:lnTo>
                    <a:pt x="445" y="351"/>
                  </a:lnTo>
                  <a:lnTo>
                    <a:pt x="447" y="351"/>
                  </a:lnTo>
                  <a:lnTo>
                    <a:pt x="447" y="351"/>
                  </a:lnTo>
                  <a:lnTo>
                    <a:pt x="443" y="349"/>
                  </a:lnTo>
                  <a:lnTo>
                    <a:pt x="440" y="347"/>
                  </a:lnTo>
                  <a:lnTo>
                    <a:pt x="440" y="347"/>
                  </a:lnTo>
                  <a:lnTo>
                    <a:pt x="443" y="347"/>
                  </a:lnTo>
                  <a:lnTo>
                    <a:pt x="443" y="347"/>
                  </a:lnTo>
                  <a:lnTo>
                    <a:pt x="443" y="347"/>
                  </a:lnTo>
                  <a:lnTo>
                    <a:pt x="443" y="347"/>
                  </a:lnTo>
                  <a:lnTo>
                    <a:pt x="440" y="347"/>
                  </a:lnTo>
                  <a:lnTo>
                    <a:pt x="438" y="347"/>
                  </a:lnTo>
                  <a:lnTo>
                    <a:pt x="436" y="347"/>
                  </a:lnTo>
                  <a:lnTo>
                    <a:pt x="434" y="345"/>
                  </a:lnTo>
                  <a:lnTo>
                    <a:pt x="434" y="343"/>
                  </a:lnTo>
                  <a:lnTo>
                    <a:pt x="434" y="341"/>
                  </a:lnTo>
                  <a:lnTo>
                    <a:pt x="434" y="341"/>
                  </a:lnTo>
                  <a:lnTo>
                    <a:pt x="436" y="338"/>
                  </a:lnTo>
                  <a:lnTo>
                    <a:pt x="438" y="338"/>
                  </a:lnTo>
                  <a:lnTo>
                    <a:pt x="438" y="338"/>
                  </a:lnTo>
                  <a:lnTo>
                    <a:pt x="440" y="338"/>
                  </a:lnTo>
                  <a:lnTo>
                    <a:pt x="440" y="338"/>
                  </a:lnTo>
                  <a:lnTo>
                    <a:pt x="440" y="336"/>
                  </a:lnTo>
                  <a:lnTo>
                    <a:pt x="443" y="334"/>
                  </a:lnTo>
                  <a:lnTo>
                    <a:pt x="445" y="332"/>
                  </a:lnTo>
                  <a:lnTo>
                    <a:pt x="445" y="332"/>
                  </a:lnTo>
                  <a:lnTo>
                    <a:pt x="445" y="330"/>
                  </a:lnTo>
                  <a:lnTo>
                    <a:pt x="445" y="330"/>
                  </a:lnTo>
                  <a:lnTo>
                    <a:pt x="447" y="330"/>
                  </a:lnTo>
                  <a:lnTo>
                    <a:pt x="447" y="330"/>
                  </a:lnTo>
                  <a:lnTo>
                    <a:pt x="449" y="332"/>
                  </a:lnTo>
                  <a:lnTo>
                    <a:pt x="449" y="332"/>
                  </a:lnTo>
                  <a:lnTo>
                    <a:pt x="451" y="334"/>
                  </a:lnTo>
                  <a:lnTo>
                    <a:pt x="451" y="334"/>
                  </a:lnTo>
                  <a:lnTo>
                    <a:pt x="451" y="334"/>
                  </a:lnTo>
                  <a:lnTo>
                    <a:pt x="451" y="336"/>
                  </a:lnTo>
                  <a:lnTo>
                    <a:pt x="451" y="336"/>
                  </a:lnTo>
                  <a:lnTo>
                    <a:pt x="453" y="336"/>
                  </a:lnTo>
                  <a:lnTo>
                    <a:pt x="453" y="334"/>
                  </a:lnTo>
                  <a:lnTo>
                    <a:pt x="453" y="332"/>
                  </a:lnTo>
                  <a:lnTo>
                    <a:pt x="455" y="332"/>
                  </a:lnTo>
                  <a:lnTo>
                    <a:pt x="457" y="332"/>
                  </a:lnTo>
                  <a:lnTo>
                    <a:pt x="457" y="332"/>
                  </a:lnTo>
                  <a:lnTo>
                    <a:pt x="455" y="332"/>
                  </a:lnTo>
                  <a:lnTo>
                    <a:pt x="455" y="332"/>
                  </a:lnTo>
                  <a:lnTo>
                    <a:pt x="455" y="330"/>
                  </a:lnTo>
                  <a:lnTo>
                    <a:pt x="453" y="328"/>
                  </a:lnTo>
                  <a:lnTo>
                    <a:pt x="455" y="328"/>
                  </a:lnTo>
                  <a:lnTo>
                    <a:pt x="455" y="328"/>
                  </a:lnTo>
                  <a:lnTo>
                    <a:pt x="455" y="326"/>
                  </a:lnTo>
                  <a:lnTo>
                    <a:pt x="457" y="326"/>
                  </a:lnTo>
                  <a:lnTo>
                    <a:pt x="457" y="326"/>
                  </a:lnTo>
                  <a:lnTo>
                    <a:pt x="457" y="326"/>
                  </a:lnTo>
                  <a:lnTo>
                    <a:pt x="455" y="326"/>
                  </a:lnTo>
                  <a:lnTo>
                    <a:pt x="455" y="324"/>
                  </a:lnTo>
                  <a:lnTo>
                    <a:pt x="455" y="324"/>
                  </a:lnTo>
                  <a:lnTo>
                    <a:pt x="457" y="324"/>
                  </a:lnTo>
                  <a:lnTo>
                    <a:pt x="455" y="322"/>
                  </a:lnTo>
                  <a:lnTo>
                    <a:pt x="455" y="322"/>
                  </a:lnTo>
                  <a:lnTo>
                    <a:pt x="453" y="322"/>
                  </a:lnTo>
                  <a:lnTo>
                    <a:pt x="453" y="324"/>
                  </a:lnTo>
                  <a:lnTo>
                    <a:pt x="451" y="324"/>
                  </a:lnTo>
                  <a:lnTo>
                    <a:pt x="451" y="324"/>
                  </a:lnTo>
                  <a:lnTo>
                    <a:pt x="453" y="322"/>
                  </a:lnTo>
                  <a:lnTo>
                    <a:pt x="455" y="320"/>
                  </a:lnTo>
                  <a:lnTo>
                    <a:pt x="453" y="320"/>
                  </a:lnTo>
                  <a:lnTo>
                    <a:pt x="453" y="320"/>
                  </a:lnTo>
                  <a:lnTo>
                    <a:pt x="451" y="320"/>
                  </a:lnTo>
                  <a:lnTo>
                    <a:pt x="451" y="320"/>
                  </a:lnTo>
                  <a:lnTo>
                    <a:pt x="451" y="322"/>
                  </a:lnTo>
                  <a:lnTo>
                    <a:pt x="449" y="322"/>
                  </a:lnTo>
                  <a:lnTo>
                    <a:pt x="449" y="322"/>
                  </a:lnTo>
                  <a:lnTo>
                    <a:pt x="449" y="322"/>
                  </a:lnTo>
                  <a:lnTo>
                    <a:pt x="449" y="322"/>
                  </a:lnTo>
                  <a:lnTo>
                    <a:pt x="449" y="320"/>
                  </a:lnTo>
                  <a:lnTo>
                    <a:pt x="447" y="320"/>
                  </a:lnTo>
                  <a:lnTo>
                    <a:pt x="447" y="318"/>
                  </a:lnTo>
                  <a:lnTo>
                    <a:pt x="449" y="316"/>
                  </a:lnTo>
                  <a:lnTo>
                    <a:pt x="451" y="318"/>
                  </a:lnTo>
                  <a:lnTo>
                    <a:pt x="453" y="318"/>
                  </a:lnTo>
                  <a:lnTo>
                    <a:pt x="453" y="316"/>
                  </a:lnTo>
                  <a:lnTo>
                    <a:pt x="451" y="314"/>
                  </a:lnTo>
                  <a:lnTo>
                    <a:pt x="451" y="314"/>
                  </a:lnTo>
                  <a:lnTo>
                    <a:pt x="447" y="314"/>
                  </a:lnTo>
                  <a:lnTo>
                    <a:pt x="447" y="314"/>
                  </a:lnTo>
                  <a:lnTo>
                    <a:pt x="445" y="314"/>
                  </a:lnTo>
                  <a:lnTo>
                    <a:pt x="445" y="314"/>
                  </a:lnTo>
                  <a:lnTo>
                    <a:pt x="447" y="314"/>
                  </a:lnTo>
                  <a:lnTo>
                    <a:pt x="447" y="312"/>
                  </a:lnTo>
                  <a:lnTo>
                    <a:pt x="447" y="312"/>
                  </a:lnTo>
                  <a:lnTo>
                    <a:pt x="447" y="312"/>
                  </a:lnTo>
                  <a:lnTo>
                    <a:pt x="447" y="310"/>
                  </a:lnTo>
                  <a:lnTo>
                    <a:pt x="447" y="310"/>
                  </a:lnTo>
                  <a:lnTo>
                    <a:pt x="447" y="308"/>
                  </a:lnTo>
                  <a:lnTo>
                    <a:pt x="451" y="308"/>
                  </a:lnTo>
                  <a:lnTo>
                    <a:pt x="451" y="308"/>
                  </a:lnTo>
                  <a:lnTo>
                    <a:pt x="453" y="306"/>
                  </a:lnTo>
                  <a:lnTo>
                    <a:pt x="453" y="306"/>
                  </a:lnTo>
                  <a:lnTo>
                    <a:pt x="453" y="306"/>
                  </a:lnTo>
                  <a:lnTo>
                    <a:pt x="451" y="306"/>
                  </a:lnTo>
                  <a:lnTo>
                    <a:pt x="451" y="306"/>
                  </a:lnTo>
                  <a:lnTo>
                    <a:pt x="449" y="306"/>
                  </a:lnTo>
                  <a:lnTo>
                    <a:pt x="447" y="308"/>
                  </a:lnTo>
                  <a:lnTo>
                    <a:pt x="447" y="308"/>
                  </a:lnTo>
                  <a:lnTo>
                    <a:pt x="447" y="308"/>
                  </a:lnTo>
                  <a:lnTo>
                    <a:pt x="447" y="308"/>
                  </a:lnTo>
                  <a:lnTo>
                    <a:pt x="447" y="308"/>
                  </a:lnTo>
                  <a:lnTo>
                    <a:pt x="447" y="306"/>
                  </a:lnTo>
                  <a:lnTo>
                    <a:pt x="447" y="306"/>
                  </a:lnTo>
                  <a:lnTo>
                    <a:pt x="447" y="306"/>
                  </a:lnTo>
                  <a:lnTo>
                    <a:pt x="447" y="306"/>
                  </a:lnTo>
                  <a:lnTo>
                    <a:pt x="447" y="306"/>
                  </a:lnTo>
                  <a:lnTo>
                    <a:pt x="445" y="304"/>
                  </a:lnTo>
                  <a:lnTo>
                    <a:pt x="443" y="304"/>
                  </a:lnTo>
                  <a:lnTo>
                    <a:pt x="443" y="304"/>
                  </a:lnTo>
                  <a:lnTo>
                    <a:pt x="443" y="304"/>
                  </a:lnTo>
                  <a:lnTo>
                    <a:pt x="440" y="304"/>
                  </a:lnTo>
                  <a:lnTo>
                    <a:pt x="440" y="304"/>
                  </a:lnTo>
                  <a:lnTo>
                    <a:pt x="440" y="306"/>
                  </a:lnTo>
                  <a:lnTo>
                    <a:pt x="440" y="306"/>
                  </a:lnTo>
                  <a:lnTo>
                    <a:pt x="440" y="308"/>
                  </a:lnTo>
                  <a:lnTo>
                    <a:pt x="440" y="308"/>
                  </a:lnTo>
                  <a:lnTo>
                    <a:pt x="440" y="310"/>
                  </a:lnTo>
                  <a:lnTo>
                    <a:pt x="438" y="310"/>
                  </a:lnTo>
                  <a:lnTo>
                    <a:pt x="438" y="310"/>
                  </a:lnTo>
                  <a:lnTo>
                    <a:pt x="436" y="312"/>
                  </a:lnTo>
                  <a:lnTo>
                    <a:pt x="436" y="312"/>
                  </a:lnTo>
                  <a:lnTo>
                    <a:pt x="434" y="312"/>
                  </a:lnTo>
                  <a:lnTo>
                    <a:pt x="434" y="314"/>
                  </a:lnTo>
                  <a:lnTo>
                    <a:pt x="434" y="318"/>
                  </a:lnTo>
                  <a:lnTo>
                    <a:pt x="434" y="320"/>
                  </a:lnTo>
                  <a:lnTo>
                    <a:pt x="434" y="322"/>
                  </a:lnTo>
                  <a:lnTo>
                    <a:pt x="432" y="324"/>
                  </a:lnTo>
                  <a:lnTo>
                    <a:pt x="430" y="326"/>
                  </a:lnTo>
                  <a:lnTo>
                    <a:pt x="428" y="326"/>
                  </a:lnTo>
                  <a:lnTo>
                    <a:pt x="426" y="326"/>
                  </a:lnTo>
                  <a:lnTo>
                    <a:pt x="424" y="326"/>
                  </a:lnTo>
                  <a:lnTo>
                    <a:pt x="422" y="324"/>
                  </a:lnTo>
                  <a:lnTo>
                    <a:pt x="420" y="322"/>
                  </a:lnTo>
                  <a:lnTo>
                    <a:pt x="420" y="322"/>
                  </a:lnTo>
                  <a:lnTo>
                    <a:pt x="422" y="320"/>
                  </a:lnTo>
                  <a:lnTo>
                    <a:pt x="422" y="318"/>
                  </a:lnTo>
                  <a:lnTo>
                    <a:pt x="420" y="318"/>
                  </a:lnTo>
                  <a:lnTo>
                    <a:pt x="418" y="320"/>
                  </a:lnTo>
                  <a:lnTo>
                    <a:pt x="416" y="320"/>
                  </a:lnTo>
                  <a:lnTo>
                    <a:pt x="414" y="320"/>
                  </a:lnTo>
                  <a:lnTo>
                    <a:pt x="412" y="320"/>
                  </a:lnTo>
                  <a:lnTo>
                    <a:pt x="412" y="320"/>
                  </a:lnTo>
                  <a:lnTo>
                    <a:pt x="410" y="318"/>
                  </a:lnTo>
                  <a:lnTo>
                    <a:pt x="410" y="316"/>
                  </a:lnTo>
                  <a:lnTo>
                    <a:pt x="410" y="314"/>
                  </a:lnTo>
                  <a:lnTo>
                    <a:pt x="410" y="312"/>
                  </a:lnTo>
                  <a:lnTo>
                    <a:pt x="410" y="310"/>
                  </a:lnTo>
                  <a:lnTo>
                    <a:pt x="412" y="310"/>
                  </a:lnTo>
                  <a:lnTo>
                    <a:pt x="414" y="310"/>
                  </a:lnTo>
                  <a:lnTo>
                    <a:pt x="418" y="310"/>
                  </a:lnTo>
                  <a:lnTo>
                    <a:pt x="420" y="312"/>
                  </a:lnTo>
                  <a:lnTo>
                    <a:pt x="420" y="310"/>
                  </a:lnTo>
                  <a:lnTo>
                    <a:pt x="420" y="310"/>
                  </a:lnTo>
                  <a:lnTo>
                    <a:pt x="420" y="308"/>
                  </a:lnTo>
                  <a:lnTo>
                    <a:pt x="420" y="308"/>
                  </a:lnTo>
                  <a:lnTo>
                    <a:pt x="420" y="306"/>
                  </a:lnTo>
                  <a:lnTo>
                    <a:pt x="422" y="306"/>
                  </a:lnTo>
                  <a:lnTo>
                    <a:pt x="424" y="304"/>
                  </a:lnTo>
                  <a:lnTo>
                    <a:pt x="424" y="302"/>
                  </a:lnTo>
                  <a:lnTo>
                    <a:pt x="424" y="300"/>
                  </a:lnTo>
                  <a:lnTo>
                    <a:pt x="426" y="298"/>
                  </a:lnTo>
                  <a:lnTo>
                    <a:pt x="424" y="298"/>
                  </a:lnTo>
                  <a:lnTo>
                    <a:pt x="424" y="295"/>
                  </a:lnTo>
                  <a:lnTo>
                    <a:pt x="422" y="295"/>
                  </a:lnTo>
                  <a:lnTo>
                    <a:pt x="420" y="298"/>
                  </a:lnTo>
                  <a:lnTo>
                    <a:pt x="420" y="298"/>
                  </a:lnTo>
                  <a:lnTo>
                    <a:pt x="420" y="298"/>
                  </a:lnTo>
                  <a:lnTo>
                    <a:pt x="420" y="298"/>
                  </a:lnTo>
                  <a:lnTo>
                    <a:pt x="420" y="298"/>
                  </a:lnTo>
                  <a:lnTo>
                    <a:pt x="420" y="298"/>
                  </a:lnTo>
                  <a:lnTo>
                    <a:pt x="422" y="298"/>
                  </a:lnTo>
                  <a:lnTo>
                    <a:pt x="422" y="298"/>
                  </a:lnTo>
                  <a:lnTo>
                    <a:pt x="422" y="298"/>
                  </a:lnTo>
                  <a:lnTo>
                    <a:pt x="422" y="300"/>
                  </a:lnTo>
                  <a:lnTo>
                    <a:pt x="422" y="300"/>
                  </a:lnTo>
                  <a:lnTo>
                    <a:pt x="420" y="300"/>
                  </a:lnTo>
                  <a:lnTo>
                    <a:pt x="420" y="300"/>
                  </a:lnTo>
                  <a:lnTo>
                    <a:pt x="418" y="300"/>
                  </a:lnTo>
                  <a:lnTo>
                    <a:pt x="418" y="300"/>
                  </a:lnTo>
                  <a:lnTo>
                    <a:pt x="418" y="302"/>
                  </a:lnTo>
                  <a:lnTo>
                    <a:pt x="416" y="304"/>
                  </a:lnTo>
                  <a:lnTo>
                    <a:pt x="416" y="304"/>
                  </a:lnTo>
                  <a:lnTo>
                    <a:pt x="416" y="302"/>
                  </a:lnTo>
                  <a:lnTo>
                    <a:pt x="416" y="302"/>
                  </a:lnTo>
                  <a:lnTo>
                    <a:pt x="416" y="302"/>
                  </a:lnTo>
                  <a:lnTo>
                    <a:pt x="416" y="302"/>
                  </a:lnTo>
                  <a:lnTo>
                    <a:pt x="416" y="298"/>
                  </a:lnTo>
                  <a:lnTo>
                    <a:pt x="418" y="298"/>
                  </a:lnTo>
                  <a:lnTo>
                    <a:pt x="416" y="295"/>
                  </a:lnTo>
                  <a:lnTo>
                    <a:pt x="416" y="295"/>
                  </a:lnTo>
                  <a:lnTo>
                    <a:pt x="416" y="298"/>
                  </a:lnTo>
                  <a:lnTo>
                    <a:pt x="416" y="298"/>
                  </a:lnTo>
                  <a:lnTo>
                    <a:pt x="414" y="300"/>
                  </a:lnTo>
                  <a:lnTo>
                    <a:pt x="414" y="302"/>
                  </a:lnTo>
                  <a:lnTo>
                    <a:pt x="412" y="304"/>
                  </a:lnTo>
                  <a:lnTo>
                    <a:pt x="412" y="304"/>
                  </a:lnTo>
                  <a:lnTo>
                    <a:pt x="412" y="304"/>
                  </a:lnTo>
                  <a:lnTo>
                    <a:pt x="410" y="304"/>
                  </a:lnTo>
                  <a:lnTo>
                    <a:pt x="410" y="304"/>
                  </a:lnTo>
                  <a:lnTo>
                    <a:pt x="408" y="302"/>
                  </a:lnTo>
                  <a:lnTo>
                    <a:pt x="408" y="302"/>
                  </a:lnTo>
                  <a:lnTo>
                    <a:pt x="406" y="300"/>
                  </a:lnTo>
                  <a:lnTo>
                    <a:pt x="406" y="300"/>
                  </a:lnTo>
                  <a:lnTo>
                    <a:pt x="404" y="300"/>
                  </a:lnTo>
                  <a:lnTo>
                    <a:pt x="402" y="302"/>
                  </a:lnTo>
                  <a:lnTo>
                    <a:pt x="399" y="306"/>
                  </a:lnTo>
                  <a:lnTo>
                    <a:pt x="393" y="310"/>
                  </a:lnTo>
                  <a:lnTo>
                    <a:pt x="391" y="312"/>
                  </a:lnTo>
                  <a:lnTo>
                    <a:pt x="389" y="312"/>
                  </a:lnTo>
                  <a:lnTo>
                    <a:pt x="383" y="314"/>
                  </a:lnTo>
                  <a:lnTo>
                    <a:pt x="381" y="316"/>
                  </a:lnTo>
                  <a:lnTo>
                    <a:pt x="379" y="316"/>
                  </a:lnTo>
                  <a:lnTo>
                    <a:pt x="373" y="314"/>
                  </a:lnTo>
                  <a:lnTo>
                    <a:pt x="369" y="312"/>
                  </a:lnTo>
                  <a:lnTo>
                    <a:pt x="363" y="312"/>
                  </a:lnTo>
                  <a:lnTo>
                    <a:pt x="359" y="312"/>
                  </a:lnTo>
                  <a:lnTo>
                    <a:pt x="354" y="308"/>
                  </a:lnTo>
                  <a:lnTo>
                    <a:pt x="352" y="304"/>
                  </a:lnTo>
                  <a:lnTo>
                    <a:pt x="352" y="300"/>
                  </a:lnTo>
                  <a:lnTo>
                    <a:pt x="354" y="295"/>
                  </a:lnTo>
                  <a:lnTo>
                    <a:pt x="361" y="289"/>
                  </a:lnTo>
                  <a:lnTo>
                    <a:pt x="363" y="285"/>
                  </a:lnTo>
                  <a:lnTo>
                    <a:pt x="365" y="281"/>
                  </a:lnTo>
                  <a:lnTo>
                    <a:pt x="367" y="279"/>
                  </a:lnTo>
                  <a:lnTo>
                    <a:pt x="369" y="277"/>
                  </a:lnTo>
                  <a:lnTo>
                    <a:pt x="373" y="275"/>
                  </a:lnTo>
                  <a:lnTo>
                    <a:pt x="377" y="277"/>
                  </a:lnTo>
                  <a:lnTo>
                    <a:pt x="381" y="277"/>
                  </a:lnTo>
                  <a:lnTo>
                    <a:pt x="385" y="279"/>
                  </a:lnTo>
                  <a:lnTo>
                    <a:pt x="389" y="281"/>
                  </a:lnTo>
                  <a:lnTo>
                    <a:pt x="391" y="281"/>
                  </a:lnTo>
                  <a:lnTo>
                    <a:pt x="391" y="283"/>
                  </a:lnTo>
                  <a:lnTo>
                    <a:pt x="393" y="287"/>
                  </a:lnTo>
                  <a:lnTo>
                    <a:pt x="393" y="287"/>
                  </a:lnTo>
                  <a:lnTo>
                    <a:pt x="397" y="287"/>
                  </a:lnTo>
                  <a:lnTo>
                    <a:pt x="399" y="287"/>
                  </a:lnTo>
                  <a:lnTo>
                    <a:pt x="402" y="287"/>
                  </a:lnTo>
                  <a:lnTo>
                    <a:pt x="402" y="287"/>
                  </a:lnTo>
                  <a:lnTo>
                    <a:pt x="404" y="287"/>
                  </a:lnTo>
                  <a:lnTo>
                    <a:pt x="408" y="289"/>
                  </a:lnTo>
                  <a:lnTo>
                    <a:pt x="410" y="289"/>
                  </a:lnTo>
                  <a:lnTo>
                    <a:pt x="414" y="289"/>
                  </a:lnTo>
                  <a:lnTo>
                    <a:pt x="414" y="289"/>
                  </a:lnTo>
                  <a:lnTo>
                    <a:pt x="416" y="291"/>
                  </a:lnTo>
                  <a:lnTo>
                    <a:pt x="416" y="291"/>
                  </a:lnTo>
                  <a:lnTo>
                    <a:pt x="416" y="291"/>
                  </a:lnTo>
                  <a:lnTo>
                    <a:pt x="416" y="293"/>
                  </a:lnTo>
                  <a:lnTo>
                    <a:pt x="416" y="293"/>
                  </a:lnTo>
                  <a:lnTo>
                    <a:pt x="416" y="293"/>
                  </a:lnTo>
                  <a:lnTo>
                    <a:pt x="418" y="295"/>
                  </a:lnTo>
                  <a:lnTo>
                    <a:pt x="420" y="295"/>
                  </a:lnTo>
                  <a:lnTo>
                    <a:pt x="420" y="293"/>
                  </a:lnTo>
                  <a:lnTo>
                    <a:pt x="422" y="293"/>
                  </a:lnTo>
                  <a:lnTo>
                    <a:pt x="426" y="295"/>
                  </a:lnTo>
                  <a:lnTo>
                    <a:pt x="426" y="293"/>
                  </a:lnTo>
                  <a:lnTo>
                    <a:pt x="428" y="293"/>
                  </a:lnTo>
                  <a:lnTo>
                    <a:pt x="430" y="293"/>
                  </a:lnTo>
                  <a:lnTo>
                    <a:pt x="430" y="293"/>
                  </a:lnTo>
                  <a:lnTo>
                    <a:pt x="430" y="295"/>
                  </a:lnTo>
                  <a:lnTo>
                    <a:pt x="430" y="295"/>
                  </a:lnTo>
                  <a:lnTo>
                    <a:pt x="428" y="295"/>
                  </a:lnTo>
                  <a:lnTo>
                    <a:pt x="430" y="295"/>
                  </a:lnTo>
                  <a:lnTo>
                    <a:pt x="432" y="295"/>
                  </a:lnTo>
                  <a:lnTo>
                    <a:pt x="434" y="293"/>
                  </a:lnTo>
                  <a:lnTo>
                    <a:pt x="436" y="291"/>
                  </a:lnTo>
                  <a:lnTo>
                    <a:pt x="436" y="291"/>
                  </a:lnTo>
                  <a:lnTo>
                    <a:pt x="434" y="291"/>
                  </a:lnTo>
                  <a:lnTo>
                    <a:pt x="432" y="291"/>
                  </a:lnTo>
                  <a:lnTo>
                    <a:pt x="432" y="291"/>
                  </a:lnTo>
                  <a:lnTo>
                    <a:pt x="430" y="289"/>
                  </a:lnTo>
                  <a:lnTo>
                    <a:pt x="426" y="283"/>
                  </a:lnTo>
                  <a:lnTo>
                    <a:pt x="424" y="281"/>
                  </a:lnTo>
                  <a:lnTo>
                    <a:pt x="424" y="277"/>
                  </a:lnTo>
                  <a:lnTo>
                    <a:pt x="424" y="275"/>
                  </a:lnTo>
                  <a:lnTo>
                    <a:pt x="420" y="271"/>
                  </a:lnTo>
                  <a:lnTo>
                    <a:pt x="420" y="269"/>
                  </a:lnTo>
                  <a:lnTo>
                    <a:pt x="420" y="269"/>
                  </a:lnTo>
                  <a:lnTo>
                    <a:pt x="420" y="267"/>
                  </a:lnTo>
                  <a:lnTo>
                    <a:pt x="420" y="265"/>
                  </a:lnTo>
                  <a:lnTo>
                    <a:pt x="420" y="265"/>
                  </a:lnTo>
                  <a:lnTo>
                    <a:pt x="418" y="263"/>
                  </a:lnTo>
                  <a:lnTo>
                    <a:pt x="414" y="261"/>
                  </a:lnTo>
                  <a:lnTo>
                    <a:pt x="414" y="257"/>
                  </a:lnTo>
                  <a:lnTo>
                    <a:pt x="412" y="257"/>
                  </a:lnTo>
                  <a:lnTo>
                    <a:pt x="408" y="254"/>
                  </a:lnTo>
                  <a:lnTo>
                    <a:pt x="408" y="254"/>
                  </a:lnTo>
                  <a:lnTo>
                    <a:pt x="404" y="248"/>
                  </a:lnTo>
                  <a:lnTo>
                    <a:pt x="406" y="246"/>
                  </a:lnTo>
                  <a:lnTo>
                    <a:pt x="404" y="244"/>
                  </a:lnTo>
                  <a:lnTo>
                    <a:pt x="404" y="244"/>
                  </a:lnTo>
                  <a:lnTo>
                    <a:pt x="402" y="242"/>
                  </a:lnTo>
                  <a:lnTo>
                    <a:pt x="402" y="240"/>
                  </a:lnTo>
                  <a:lnTo>
                    <a:pt x="402" y="238"/>
                  </a:lnTo>
                  <a:lnTo>
                    <a:pt x="404" y="234"/>
                  </a:lnTo>
                  <a:lnTo>
                    <a:pt x="404" y="232"/>
                  </a:lnTo>
                  <a:lnTo>
                    <a:pt x="404" y="230"/>
                  </a:lnTo>
                  <a:lnTo>
                    <a:pt x="406" y="226"/>
                  </a:lnTo>
                  <a:lnTo>
                    <a:pt x="406" y="220"/>
                  </a:lnTo>
                  <a:lnTo>
                    <a:pt x="408" y="216"/>
                  </a:lnTo>
                  <a:lnTo>
                    <a:pt x="410" y="211"/>
                  </a:lnTo>
                  <a:lnTo>
                    <a:pt x="410" y="207"/>
                  </a:lnTo>
                  <a:lnTo>
                    <a:pt x="408" y="207"/>
                  </a:lnTo>
                  <a:lnTo>
                    <a:pt x="406" y="207"/>
                  </a:lnTo>
                  <a:lnTo>
                    <a:pt x="402" y="207"/>
                  </a:lnTo>
                  <a:lnTo>
                    <a:pt x="399" y="207"/>
                  </a:lnTo>
                  <a:lnTo>
                    <a:pt x="393" y="207"/>
                  </a:lnTo>
                  <a:lnTo>
                    <a:pt x="385" y="209"/>
                  </a:lnTo>
                  <a:lnTo>
                    <a:pt x="375" y="209"/>
                  </a:lnTo>
                  <a:lnTo>
                    <a:pt x="363" y="211"/>
                  </a:lnTo>
                  <a:lnTo>
                    <a:pt x="348" y="211"/>
                  </a:lnTo>
                  <a:lnTo>
                    <a:pt x="334" y="213"/>
                  </a:lnTo>
                  <a:lnTo>
                    <a:pt x="320" y="216"/>
                  </a:lnTo>
                  <a:lnTo>
                    <a:pt x="303" y="216"/>
                  </a:lnTo>
                  <a:lnTo>
                    <a:pt x="289" y="218"/>
                  </a:lnTo>
                  <a:lnTo>
                    <a:pt x="275" y="218"/>
                  </a:lnTo>
                  <a:lnTo>
                    <a:pt x="262" y="220"/>
                  </a:lnTo>
                  <a:lnTo>
                    <a:pt x="252" y="220"/>
                  </a:lnTo>
                  <a:lnTo>
                    <a:pt x="244" y="222"/>
                  </a:lnTo>
                  <a:lnTo>
                    <a:pt x="238" y="222"/>
                  </a:lnTo>
                  <a:lnTo>
                    <a:pt x="236" y="222"/>
                  </a:lnTo>
                  <a:lnTo>
                    <a:pt x="232" y="222"/>
                  </a:lnTo>
                  <a:lnTo>
                    <a:pt x="232" y="222"/>
                  </a:lnTo>
                  <a:lnTo>
                    <a:pt x="238" y="216"/>
                  </a:lnTo>
                  <a:lnTo>
                    <a:pt x="238" y="211"/>
                  </a:lnTo>
                  <a:lnTo>
                    <a:pt x="234" y="209"/>
                  </a:lnTo>
                  <a:lnTo>
                    <a:pt x="234" y="205"/>
                  </a:lnTo>
                  <a:lnTo>
                    <a:pt x="234" y="205"/>
                  </a:lnTo>
                  <a:lnTo>
                    <a:pt x="234" y="203"/>
                  </a:lnTo>
                  <a:lnTo>
                    <a:pt x="234" y="201"/>
                  </a:lnTo>
                  <a:lnTo>
                    <a:pt x="234" y="201"/>
                  </a:lnTo>
                  <a:lnTo>
                    <a:pt x="234" y="201"/>
                  </a:lnTo>
                  <a:lnTo>
                    <a:pt x="234" y="199"/>
                  </a:lnTo>
                  <a:lnTo>
                    <a:pt x="234" y="199"/>
                  </a:lnTo>
                  <a:lnTo>
                    <a:pt x="234" y="197"/>
                  </a:lnTo>
                  <a:lnTo>
                    <a:pt x="232" y="197"/>
                  </a:lnTo>
                  <a:lnTo>
                    <a:pt x="230" y="195"/>
                  </a:lnTo>
                  <a:lnTo>
                    <a:pt x="230" y="193"/>
                  </a:lnTo>
                  <a:lnTo>
                    <a:pt x="232" y="191"/>
                  </a:lnTo>
                  <a:lnTo>
                    <a:pt x="234" y="191"/>
                  </a:lnTo>
                  <a:lnTo>
                    <a:pt x="238" y="191"/>
                  </a:lnTo>
                  <a:lnTo>
                    <a:pt x="240" y="191"/>
                  </a:lnTo>
                  <a:lnTo>
                    <a:pt x="242" y="189"/>
                  </a:lnTo>
                  <a:lnTo>
                    <a:pt x="242" y="187"/>
                  </a:lnTo>
                  <a:lnTo>
                    <a:pt x="242" y="181"/>
                  </a:lnTo>
                  <a:lnTo>
                    <a:pt x="242" y="179"/>
                  </a:lnTo>
                  <a:lnTo>
                    <a:pt x="244" y="179"/>
                  </a:lnTo>
                  <a:lnTo>
                    <a:pt x="244" y="177"/>
                  </a:lnTo>
                  <a:lnTo>
                    <a:pt x="242" y="177"/>
                  </a:lnTo>
                  <a:lnTo>
                    <a:pt x="242" y="172"/>
                  </a:lnTo>
                  <a:lnTo>
                    <a:pt x="240" y="172"/>
                  </a:lnTo>
                  <a:lnTo>
                    <a:pt x="240" y="172"/>
                  </a:lnTo>
                  <a:lnTo>
                    <a:pt x="240" y="166"/>
                  </a:lnTo>
                  <a:lnTo>
                    <a:pt x="242" y="164"/>
                  </a:lnTo>
                  <a:lnTo>
                    <a:pt x="248" y="158"/>
                  </a:lnTo>
                  <a:lnTo>
                    <a:pt x="248" y="158"/>
                  </a:lnTo>
                  <a:lnTo>
                    <a:pt x="248" y="156"/>
                  </a:lnTo>
                  <a:lnTo>
                    <a:pt x="248" y="154"/>
                  </a:lnTo>
                  <a:lnTo>
                    <a:pt x="248" y="144"/>
                  </a:lnTo>
                  <a:lnTo>
                    <a:pt x="248" y="142"/>
                  </a:lnTo>
                  <a:lnTo>
                    <a:pt x="248" y="140"/>
                  </a:lnTo>
                  <a:lnTo>
                    <a:pt x="250" y="136"/>
                  </a:lnTo>
                  <a:lnTo>
                    <a:pt x="252" y="132"/>
                  </a:lnTo>
                  <a:lnTo>
                    <a:pt x="252" y="129"/>
                  </a:lnTo>
                  <a:lnTo>
                    <a:pt x="254" y="127"/>
                  </a:lnTo>
                  <a:lnTo>
                    <a:pt x="256" y="125"/>
                  </a:lnTo>
                  <a:lnTo>
                    <a:pt x="258" y="125"/>
                  </a:lnTo>
                  <a:lnTo>
                    <a:pt x="260" y="123"/>
                  </a:lnTo>
                  <a:lnTo>
                    <a:pt x="262" y="123"/>
                  </a:lnTo>
                  <a:lnTo>
                    <a:pt x="266" y="117"/>
                  </a:lnTo>
                  <a:lnTo>
                    <a:pt x="266" y="117"/>
                  </a:lnTo>
                  <a:lnTo>
                    <a:pt x="268" y="113"/>
                  </a:lnTo>
                  <a:lnTo>
                    <a:pt x="268" y="113"/>
                  </a:lnTo>
                  <a:lnTo>
                    <a:pt x="268" y="113"/>
                  </a:lnTo>
                  <a:lnTo>
                    <a:pt x="273" y="111"/>
                  </a:lnTo>
                  <a:lnTo>
                    <a:pt x="275" y="109"/>
                  </a:lnTo>
                  <a:lnTo>
                    <a:pt x="277" y="105"/>
                  </a:lnTo>
                  <a:lnTo>
                    <a:pt x="277" y="101"/>
                  </a:lnTo>
                  <a:lnTo>
                    <a:pt x="273" y="97"/>
                  </a:lnTo>
                  <a:lnTo>
                    <a:pt x="273" y="97"/>
                  </a:lnTo>
                  <a:lnTo>
                    <a:pt x="273" y="97"/>
                  </a:lnTo>
                  <a:lnTo>
                    <a:pt x="273" y="95"/>
                  </a:lnTo>
                  <a:lnTo>
                    <a:pt x="275" y="95"/>
                  </a:lnTo>
                  <a:lnTo>
                    <a:pt x="279" y="95"/>
                  </a:lnTo>
                  <a:lnTo>
                    <a:pt x="281" y="88"/>
                  </a:lnTo>
                  <a:lnTo>
                    <a:pt x="285" y="80"/>
                  </a:lnTo>
                  <a:lnTo>
                    <a:pt x="287" y="76"/>
                  </a:lnTo>
                  <a:lnTo>
                    <a:pt x="287" y="76"/>
                  </a:lnTo>
                  <a:lnTo>
                    <a:pt x="289" y="76"/>
                  </a:lnTo>
                  <a:lnTo>
                    <a:pt x="289" y="74"/>
                  </a:lnTo>
                  <a:lnTo>
                    <a:pt x="287" y="72"/>
                  </a:lnTo>
                  <a:lnTo>
                    <a:pt x="285" y="72"/>
                  </a:lnTo>
                  <a:lnTo>
                    <a:pt x="283" y="72"/>
                  </a:lnTo>
                  <a:lnTo>
                    <a:pt x="281" y="70"/>
                  </a:lnTo>
                  <a:lnTo>
                    <a:pt x="281" y="70"/>
                  </a:lnTo>
                  <a:lnTo>
                    <a:pt x="279" y="66"/>
                  </a:lnTo>
                  <a:lnTo>
                    <a:pt x="277" y="64"/>
                  </a:lnTo>
                  <a:lnTo>
                    <a:pt x="275" y="64"/>
                  </a:lnTo>
                  <a:lnTo>
                    <a:pt x="270" y="62"/>
                  </a:lnTo>
                  <a:lnTo>
                    <a:pt x="270" y="60"/>
                  </a:lnTo>
                  <a:lnTo>
                    <a:pt x="268" y="58"/>
                  </a:lnTo>
                  <a:lnTo>
                    <a:pt x="268" y="54"/>
                  </a:lnTo>
                  <a:lnTo>
                    <a:pt x="268" y="54"/>
                  </a:lnTo>
                  <a:lnTo>
                    <a:pt x="268" y="52"/>
                  </a:lnTo>
                  <a:lnTo>
                    <a:pt x="270" y="50"/>
                  </a:lnTo>
                  <a:lnTo>
                    <a:pt x="268" y="50"/>
                  </a:lnTo>
                  <a:lnTo>
                    <a:pt x="268" y="47"/>
                  </a:lnTo>
                  <a:lnTo>
                    <a:pt x="266" y="47"/>
                  </a:lnTo>
                  <a:lnTo>
                    <a:pt x="264" y="45"/>
                  </a:lnTo>
                  <a:lnTo>
                    <a:pt x="264" y="45"/>
                  </a:lnTo>
                  <a:lnTo>
                    <a:pt x="262" y="43"/>
                  </a:lnTo>
                  <a:lnTo>
                    <a:pt x="262" y="41"/>
                  </a:lnTo>
                  <a:lnTo>
                    <a:pt x="262" y="39"/>
                  </a:lnTo>
                  <a:lnTo>
                    <a:pt x="262" y="37"/>
                  </a:lnTo>
                  <a:lnTo>
                    <a:pt x="264" y="37"/>
                  </a:lnTo>
                  <a:lnTo>
                    <a:pt x="268" y="35"/>
                  </a:lnTo>
                  <a:lnTo>
                    <a:pt x="268" y="35"/>
                  </a:lnTo>
                  <a:lnTo>
                    <a:pt x="270" y="33"/>
                  </a:lnTo>
                  <a:lnTo>
                    <a:pt x="270" y="31"/>
                  </a:lnTo>
                  <a:lnTo>
                    <a:pt x="268" y="31"/>
                  </a:lnTo>
                  <a:lnTo>
                    <a:pt x="264" y="29"/>
                  </a:lnTo>
                  <a:lnTo>
                    <a:pt x="262" y="29"/>
                  </a:lnTo>
                  <a:lnTo>
                    <a:pt x="262" y="27"/>
                  </a:lnTo>
                  <a:lnTo>
                    <a:pt x="262" y="23"/>
                  </a:lnTo>
                  <a:lnTo>
                    <a:pt x="264" y="19"/>
                  </a:lnTo>
                  <a:lnTo>
                    <a:pt x="264" y="17"/>
                  </a:lnTo>
                  <a:lnTo>
                    <a:pt x="266" y="17"/>
                  </a:lnTo>
                  <a:lnTo>
                    <a:pt x="266" y="15"/>
                  </a:lnTo>
                  <a:lnTo>
                    <a:pt x="268" y="13"/>
                  </a:lnTo>
                  <a:lnTo>
                    <a:pt x="268" y="11"/>
                  </a:lnTo>
                  <a:lnTo>
                    <a:pt x="266" y="9"/>
                  </a:lnTo>
                  <a:lnTo>
                    <a:pt x="266" y="7"/>
                  </a:lnTo>
                  <a:lnTo>
                    <a:pt x="264" y="7"/>
                  </a:lnTo>
                  <a:lnTo>
                    <a:pt x="262" y="7"/>
                  </a:lnTo>
                  <a:lnTo>
                    <a:pt x="262" y="7"/>
                  </a:lnTo>
                  <a:lnTo>
                    <a:pt x="260" y="7"/>
                  </a:lnTo>
                  <a:lnTo>
                    <a:pt x="260" y="4"/>
                  </a:lnTo>
                  <a:lnTo>
                    <a:pt x="260" y="0"/>
                  </a:lnTo>
                  <a:lnTo>
                    <a:pt x="258" y="2"/>
                  </a:lnTo>
                  <a:lnTo>
                    <a:pt x="242" y="2"/>
                  </a:lnTo>
                  <a:lnTo>
                    <a:pt x="225" y="4"/>
                  </a:lnTo>
                  <a:lnTo>
                    <a:pt x="209" y="4"/>
                  </a:lnTo>
                  <a:lnTo>
                    <a:pt x="193" y="7"/>
                  </a:lnTo>
                  <a:lnTo>
                    <a:pt x="178" y="9"/>
                  </a:lnTo>
                  <a:lnTo>
                    <a:pt x="162" y="9"/>
                  </a:lnTo>
                  <a:lnTo>
                    <a:pt x="146" y="11"/>
                  </a:lnTo>
                  <a:lnTo>
                    <a:pt x="129" y="11"/>
                  </a:lnTo>
                  <a:lnTo>
                    <a:pt x="113" y="13"/>
                  </a:lnTo>
                  <a:lnTo>
                    <a:pt x="96" y="13"/>
                  </a:lnTo>
                  <a:lnTo>
                    <a:pt x="80" y="15"/>
                  </a:lnTo>
                  <a:lnTo>
                    <a:pt x="64" y="15"/>
                  </a:lnTo>
                  <a:lnTo>
                    <a:pt x="47" y="17"/>
                  </a:lnTo>
                  <a:lnTo>
                    <a:pt x="31" y="17"/>
                  </a:lnTo>
                  <a:lnTo>
                    <a:pt x="17" y="19"/>
                  </a:lnTo>
                  <a:lnTo>
                    <a:pt x="0" y="19"/>
                  </a:lnTo>
                  <a:lnTo>
                    <a:pt x="0" y="31"/>
                  </a:lnTo>
                  <a:lnTo>
                    <a:pt x="2" y="58"/>
                  </a:lnTo>
                  <a:lnTo>
                    <a:pt x="2" y="70"/>
                  </a:lnTo>
                  <a:lnTo>
                    <a:pt x="2" y="82"/>
                  </a:lnTo>
                  <a:lnTo>
                    <a:pt x="4" y="95"/>
                  </a:lnTo>
                  <a:lnTo>
                    <a:pt x="4" y="107"/>
                  </a:lnTo>
                  <a:lnTo>
                    <a:pt x="4" y="121"/>
                  </a:lnTo>
                  <a:lnTo>
                    <a:pt x="4" y="127"/>
                  </a:lnTo>
                  <a:lnTo>
                    <a:pt x="6" y="129"/>
                  </a:lnTo>
                  <a:lnTo>
                    <a:pt x="6" y="129"/>
                  </a:lnTo>
                  <a:lnTo>
                    <a:pt x="6" y="129"/>
                  </a:lnTo>
                  <a:lnTo>
                    <a:pt x="6" y="129"/>
                  </a:lnTo>
                  <a:lnTo>
                    <a:pt x="8" y="132"/>
                  </a:lnTo>
                  <a:lnTo>
                    <a:pt x="8" y="132"/>
                  </a:lnTo>
                  <a:lnTo>
                    <a:pt x="10" y="132"/>
                  </a:lnTo>
                  <a:lnTo>
                    <a:pt x="12" y="136"/>
                  </a:lnTo>
                  <a:lnTo>
                    <a:pt x="12" y="136"/>
                  </a:lnTo>
                  <a:lnTo>
                    <a:pt x="12" y="136"/>
                  </a:lnTo>
                  <a:lnTo>
                    <a:pt x="12" y="136"/>
                  </a:lnTo>
                  <a:lnTo>
                    <a:pt x="17" y="138"/>
                  </a:lnTo>
                  <a:lnTo>
                    <a:pt x="17" y="138"/>
                  </a:lnTo>
                  <a:lnTo>
                    <a:pt x="19" y="140"/>
                  </a:lnTo>
                  <a:lnTo>
                    <a:pt x="21" y="142"/>
                  </a:lnTo>
                  <a:lnTo>
                    <a:pt x="21" y="144"/>
                  </a:lnTo>
                  <a:lnTo>
                    <a:pt x="21" y="144"/>
                  </a:lnTo>
                  <a:lnTo>
                    <a:pt x="23" y="146"/>
                  </a:lnTo>
                  <a:lnTo>
                    <a:pt x="23" y="146"/>
                  </a:lnTo>
                  <a:lnTo>
                    <a:pt x="25" y="150"/>
                  </a:lnTo>
                  <a:lnTo>
                    <a:pt x="25" y="150"/>
                  </a:lnTo>
                  <a:lnTo>
                    <a:pt x="27" y="154"/>
                  </a:lnTo>
                  <a:lnTo>
                    <a:pt x="27" y="156"/>
                  </a:lnTo>
                  <a:lnTo>
                    <a:pt x="27" y="156"/>
                  </a:lnTo>
                  <a:lnTo>
                    <a:pt x="27" y="156"/>
                  </a:lnTo>
                  <a:lnTo>
                    <a:pt x="27" y="158"/>
                  </a:lnTo>
                  <a:lnTo>
                    <a:pt x="29" y="158"/>
                  </a:lnTo>
                  <a:lnTo>
                    <a:pt x="29" y="158"/>
                  </a:lnTo>
                  <a:lnTo>
                    <a:pt x="29" y="158"/>
                  </a:lnTo>
                  <a:lnTo>
                    <a:pt x="27" y="160"/>
                  </a:lnTo>
                  <a:lnTo>
                    <a:pt x="27" y="162"/>
                  </a:lnTo>
                  <a:lnTo>
                    <a:pt x="27" y="164"/>
                  </a:lnTo>
                  <a:lnTo>
                    <a:pt x="27" y="166"/>
                  </a:lnTo>
                  <a:lnTo>
                    <a:pt x="27" y="166"/>
                  </a:lnTo>
                  <a:lnTo>
                    <a:pt x="27" y="166"/>
                  </a:lnTo>
                  <a:lnTo>
                    <a:pt x="27" y="168"/>
                  </a:lnTo>
                  <a:lnTo>
                    <a:pt x="27" y="168"/>
                  </a:lnTo>
                  <a:lnTo>
                    <a:pt x="27" y="170"/>
                  </a:lnTo>
                  <a:lnTo>
                    <a:pt x="27" y="170"/>
                  </a:lnTo>
                  <a:lnTo>
                    <a:pt x="27" y="170"/>
                  </a:lnTo>
                  <a:lnTo>
                    <a:pt x="29" y="172"/>
                  </a:lnTo>
                  <a:lnTo>
                    <a:pt x="29" y="175"/>
                  </a:lnTo>
                  <a:lnTo>
                    <a:pt x="31" y="177"/>
                  </a:lnTo>
                  <a:lnTo>
                    <a:pt x="33" y="177"/>
                  </a:lnTo>
                  <a:lnTo>
                    <a:pt x="33" y="177"/>
                  </a:lnTo>
                  <a:lnTo>
                    <a:pt x="33" y="177"/>
                  </a:lnTo>
                  <a:lnTo>
                    <a:pt x="35" y="179"/>
                  </a:lnTo>
                  <a:lnTo>
                    <a:pt x="37" y="179"/>
                  </a:lnTo>
                  <a:lnTo>
                    <a:pt x="37" y="179"/>
                  </a:lnTo>
                  <a:lnTo>
                    <a:pt x="37" y="179"/>
                  </a:lnTo>
                  <a:lnTo>
                    <a:pt x="37" y="179"/>
                  </a:lnTo>
                  <a:lnTo>
                    <a:pt x="37" y="181"/>
                  </a:lnTo>
                  <a:lnTo>
                    <a:pt x="37" y="181"/>
                  </a:lnTo>
                  <a:lnTo>
                    <a:pt x="37" y="181"/>
                  </a:lnTo>
                  <a:lnTo>
                    <a:pt x="37" y="181"/>
                  </a:lnTo>
                  <a:lnTo>
                    <a:pt x="35" y="181"/>
                  </a:lnTo>
                  <a:lnTo>
                    <a:pt x="35" y="181"/>
                  </a:lnTo>
                  <a:lnTo>
                    <a:pt x="35" y="183"/>
                  </a:lnTo>
                  <a:lnTo>
                    <a:pt x="35" y="183"/>
                  </a:lnTo>
                  <a:lnTo>
                    <a:pt x="35" y="183"/>
                  </a:lnTo>
                  <a:lnTo>
                    <a:pt x="37" y="185"/>
                  </a:lnTo>
                  <a:lnTo>
                    <a:pt x="37" y="185"/>
                  </a:lnTo>
                  <a:lnTo>
                    <a:pt x="37" y="185"/>
                  </a:lnTo>
                  <a:lnTo>
                    <a:pt x="39" y="185"/>
                  </a:lnTo>
                  <a:lnTo>
                    <a:pt x="39" y="185"/>
                  </a:lnTo>
                  <a:lnTo>
                    <a:pt x="39" y="185"/>
                  </a:lnTo>
                  <a:lnTo>
                    <a:pt x="39" y="185"/>
                  </a:lnTo>
                  <a:lnTo>
                    <a:pt x="39" y="187"/>
                  </a:lnTo>
                  <a:lnTo>
                    <a:pt x="39" y="189"/>
                  </a:lnTo>
                  <a:lnTo>
                    <a:pt x="41" y="189"/>
                  </a:lnTo>
                  <a:lnTo>
                    <a:pt x="41" y="189"/>
                  </a:lnTo>
                  <a:lnTo>
                    <a:pt x="41" y="191"/>
                  </a:lnTo>
                  <a:lnTo>
                    <a:pt x="43" y="193"/>
                  </a:lnTo>
                  <a:lnTo>
                    <a:pt x="45" y="193"/>
                  </a:lnTo>
                  <a:lnTo>
                    <a:pt x="45" y="193"/>
                  </a:lnTo>
                  <a:lnTo>
                    <a:pt x="45" y="193"/>
                  </a:lnTo>
                  <a:lnTo>
                    <a:pt x="43" y="195"/>
                  </a:lnTo>
                  <a:lnTo>
                    <a:pt x="43" y="195"/>
                  </a:lnTo>
                  <a:lnTo>
                    <a:pt x="43" y="197"/>
                  </a:lnTo>
                  <a:lnTo>
                    <a:pt x="43" y="197"/>
                  </a:lnTo>
                  <a:lnTo>
                    <a:pt x="43" y="199"/>
                  </a:lnTo>
                  <a:lnTo>
                    <a:pt x="43" y="199"/>
                  </a:lnTo>
                  <a:lnTo>
                    <a:pt x="43" y="199"/>
                  </a:lnTo>
                  <a:lnTo>
                    <a:pt x="43" y="201"/>
                  </a:lnTo>
                  <a:lnTo>
                    <a:pt x="47" y="203"/>
                  </a:lnTo>
                  <a:lnTo>
                    <a:pt x="47" y="203"/>
                  </a:lnTo>
                  <a:lnTo>
                    <a:pt x="47" y="203"/>
                  </a:lnTo>
                  <a:lnTo>
                    <a:pt x="47" y="205"/>
                  </a:lnTo>
                  <a:lnTo>
                    <a:pt x="47" y="205"/>
                  </a:lnTo>
                  <a:lnTo>
                    <a:pt x="49" y="205"/>
                  </a:lnTo>
                  <a:lnTo>
                    <a:pt x="49" y="207"/>
                  </a:lnTo>
                  <a:lnTo>
                    <a:pt x="49" y="207"/>
                  </a:lnTo>
                  <a:lnTo>
                    <a:pt x="49" y="207"/>
                  </a:lnTo>
                  <a:lnTo>
                    <a:pt x="49" y="209"/>
                  </a:lnTo>
                  <a:lnTo>
                    <a:pt x="49" y="211"/>
                  </a:lnTo>
                  <a:lnTo>
                    <a:pt x="51" y="211"/>
                  </a:lnTo>
                  <a:lnTo>
                    <a:pt x="51" y="211"/>
                  </a:lnTo>
                  <a:lnTo>
                    <a:pt x="51" y="213"/>
                  </a:lnTo>
                  <a:lnTo>
                    <a:pt x="51" y="213"/>
                  </a:lnTo>
                  <a:lnTo>
                    <a:pt x="51" y="213"/>
                  </a:lnTo>
                  <a:lnTo>
                    <a:pt x="51" y="213"/>
                  </a:lnTo>
                  <a:lnTo>
                    <a:pt x="51" y="213"/>
                  </a:lnTo>
                  <a:lnTo>
                    <a:pt x="53" y="211"/>
                  </a:lnTo>
                  <a:lnTo>
                    <a:pt x="55" y="213"/>
                  </a:lnTo>
                  <a:lnTo>
                    <a:pt x="55" y="213"/>
                  </a:lnTo>
                  <a:lnTo>
                    <a:pt x="55" y="220"/>
                  </a:lnTo>
                  <a:lnTo>
                    <a:pt x="55" y="220"/>
                  </a:lnTo>
                  <a:lnTo>
                    <a:pt x="55" y="222"/>
                  </a:lnTo>
                  <a:lnTo>
                    <a:pt x="55" y="224"/>
                  </a:lnTo>
                  <a:lnTo>
                    <a:pt x="57" y="226"/>
                  </a:lnTo>
                  <a:lnTo>
                    <a:pt x="60" y="228"/>
                  </a:lnTo>
                  <a:lnTo>
                    <a:pt x="60" y="228"/>
                  </a:lnTo>
                  <a:lnTo>
                    <a:pt x="60" y="230"/>
                  </a:lnTo>
                  <a:lnTo>
                    <a:pt x="60" y="230"/>
                  </a:lnTo>
                  <a:lnTo>
                    <a:pt x="55" y="232"/>
                  </a:lnTo>
                  <a:lnTo>
                    <a:pt x="55" y="232"/>
                  </a:lnTo>
                  <a:lnTo>
                    <a:pt x="53" y="232"/>
                  </a:lnTo>
                  <a:lnTo>
                    <a:pt x="55" y="236"/>
                  </a:lnTo>
                  <a:lnTo>
                    <a:pt x="57" y="238"/>
                  </a:lnTo>
                  <a:lnTo>
                    <a:pt x="57" y="238"/>
                  </a:lnTo>
                  <a:lnTo>
                    <a:pt x="57" y="240"/>
                  </a:lnTo>
                  <a:lnTo>
                    <a:pt x="57" y="240"/>
                  </a:lnTo>
                  <a:lnTo>
                    <a:pt x="57" y="240"/>
                  </a:lnTo>
                  <a:lnTo>
                    <a:pt x="55" y="242"/>
                  </a:lnTo>
                  <a:lnTo>
                    <a:pt x="55" y="244"/>
                  </a:lnTo>
                  <a:lnTo>
                    <a:pt x="55" y="244"/>
                  </a:lnTo>
                  <a:lnTo>
                    <a:pt x="55" y="246"/>
                  </a:lnTo>
                  <a:lnTo>
                    <a:pt x="55" y="248"/>
                  </a:lnTo>
                  <a:lnTo>
                    <a:pt x="55" y="248"/>
                  </a:lnTo>
                  <a:lnTo>
                    <a:pt x="55" y="250"/>
                  </a:lnTo>
                  <a:lnTo>
                    <a:pt x="55" y="250"/>
                  </a:lnTo>
                  <a:lnTo>
                    <a:pt x="55" y="252"/>
                  </a:lnTo>
                  <a:lnTo>
                    <a:pt x="53" y="259"/>
                  </a:lnTo>
                  <a:lnTo>
                    <a:pt x="51" y="265"/>
                  </a:lnTo>
                  <a:lnTo>
                    <a:pt x="51" y="267"/>
                  </a:lnTo>
                  <a:lnTo>
                    <a:pt x="47" y="269"/>
                  </a:lnTo>
                  <a:lnTo>
                    <a:pt x="47" y="271"/>
                  </a:lnTo>
                  <a:lnTo>
                    <a:pt x="47" y="275"/>
                  </a:lnTo>
                  <a:lnTo>
                    <a:pt x="47" y="277"/>
                  </a:lnTo>
                  <a:lnTo>
                    <a:pt x="45" y="277"/>
                  </a:lnTo>
                  <a:lnTo>
                    <a:pt x="43" y="279"/>
                  </a:lnTo>
                  <a:lnTo>
                    <a:pt x="43" y="281"/>
                  </a:lnTo>
                  <a:lnTo>
                    <a:pt x="43" y="283"/>
                  </a:lnTo>
                  <a:lnTo>
                    <a:pt x="43" y="283"/>
                  </a:lnTo>
                  <a:lnTo>
                    <a:pt x="43" y="283"/>
                  </a:lnTo>
                  <a:lnTo>
                    <a:pt x="43" y="285"/>
                  </a:lnTo>
                  <a:lnTo>
                    <a:pt x="43" y="287"/>
                  </a:lnTo>
                  <a:lnTo>
                    <a:pt x="43" y="287"/>
                  </a:lnTo>
                  <a:lnTo>
                    <a:pt x="45" y="289"/>
                  </a:lnTo>
                  <a:lnTo>
                    <a:pt x="45" y="291"/>
                  </a:lnTo>
                  <a:lnTo>
                    <a:pt x="45" y="293"/>
                  </a:lnTo>
                  <a:lnTo>
                    <a:pt x="45" y="295"/>
                  </a:lnTo>
                  <a:lnTo>
                    <a:pt x="43" y="298"/>
                  </a:lnTo>
                  <a:lnTo>
                    <a:pt x="41" y="300"/>
                  </a:lnTo>
                  <a:lnTo>
                    <a:pt x="41" y="302"/>
                  </a:lnTo>
                  <a:lnTo>
                    <a:pt x="41" y="306"/>
                  </a:lnTo>
                  <a:lnTo>
                    <a:pt x="43" y="308"/>
                  </a:lnTo>
                  <a:lnTo>
                    <a:pt x="45" y="310"/>
                  </a:lnTo>
                  <a:lnTo>
                    <a:pt x="45" y="312"/>
                  </a:lnTo>
                  <a:lnTo>
                    <a:pt x="47" y="314"/>
                  </a:lnTo>
                  <a:lnTo>
                    <a:pt x="45" y="314"/>
                  </a:lnTo>
                  <a:lnTo>
                    <a:pt x="45" y="316"/>
                  </a:lnTo>
                  <a:lnTo>
                    <a:pt x="45" y="318"/>
                  </a:lnTo>
                  <a:lnTo>
                    <a:pt x="45" y="318"/>
                  </a:lnTo>
                  <a:lnTo>
                    <a:pt x="47" y="320"/>
                  </a:lnTo>
                  <a:lnTo>
                    <a:pt x="47" y="322"/>
                  </a:lnTo>
                  <a:lnTo>
                    <a:pt x="47" y="324"/>
                  </a:lnTo>
                  <a:lnTo>
                    <a:pt x="47" y="324"/>
                  </a:lnTo>
                  <a:lnTo>
                    <a:pt x="47" y="326"/>
                  </a:lnTo>
                  <a:lnTo>
                    <a:pt x="47" y="328"/>
                  </a:lnTo>
                  <a:lnTo>
                    <a:pt x="45" y="330"/>
                  </a:lnTo>
                  <a:lnTo>
                    <a:pt x="45" y="332"/>
                  </a:lnTo>
                  <a:lnTo>
                    <a:pt x="47" y="334"/>
                  </a:lnTo>
                  <a:lnTo>
                    <a:pt x="41" y="341"/>
                  </a:lnTo>
                  <a:lnTo>
                    <a:pt x="39" y="343"/>
                  </a:lnTo>
                  <a:lnTo>
                    <a:pt x="39" y="343"/>
                  </a:lnTo>
                  <a:lnTo>
                    <a:pt x="41" y="343"/>
                  </a:lnTo>
                  <a:lnTo>
                    <a:pt x="43" y="345"/>
                  </a:lnTo>
                  <a:lnTo>
                    <a:pt x="43" y="345"/>
                  </a:lnTo>
                  <a:lnTo>
                    <a:pt x="43" y="353"/>
                  </a:lnTo>
                  <a:lnTo>
                    <a:pt x="39" y="361"/>
                  </a:lnTo>
                  <a:lnTo>
                    <a:pt x="37" y="361"/>
                  </a:lnTo>
                  <a:lnTo>
                    <a:pt x="33" y="361"/>
                  </a:lnTo>
                  <a:lnTo>
                    <a:pt x="31" y="363"/>
                  </a:lnTo>
                  <a:lnTo>
                    <a:pt x="31" y="365"/>
                  </a:lnTo>
                  <a:lnTo>
                    <a:pt x="33" y="369"/>
                  </a:lnTo>
                  <a:lnTo>
                    <a:pt x="35" y="373"/>
                  </a:lnTo>
                  <a:lnTo>
                    <a:pt x="37" y="373"/>
                  </a:lnTo>
                  <a:lnTo>
                    <a:pt x="39" y="373"/>
                  </a:lnTo>
                  <a:lnTo>
                    <a:pt x="41" y="371"/>
                  </a:lnTo>
                  <a:lnTo>
                    <a:pt x="43" y="371"/>
                  </a:lnTo>
                  <a:lnTo>
                    <a:pt x="45" y="369"/>
                  </a:lnTo>
                  <a:lnTo>
                    <a:pt x="47" y="367"/>
                  </a:lnTo>
                  <a:lnTo>
                    <a:pt x="51" y="367"/>
                  </a:lnTo>
                  <a:lnTo>
                    <a:pt x="60" y="365"/>
                  </a:lnTo>
                  <a:lnTo>
                    <a:pt x="60" y="365"/>
                  </a:lnTo>
                  <a:lnTo>
                    <a:pt x="60" y="365"/>
                  </a:lnTo>
                  <a:lnTo>
                    <a:pt x="60" y="365"/>
                  </a:lnTo>
                  <a:lnTo>
                    <a:pt x="70" y="365"/>
                  </a:lnTo>
                  <a:lnTo>
                    <a:pt x="72" y="365"/>
                  </a:lnTo>
                  <a:lnTo>
                    <a:pt x="74" y="365"/>
                  </a:lnTo>
                  <a:lnTo>
                    <a:pt x="78" y="365"/>
                  </a:lnTo>
                  <a:lnTo>
                    <a:pt x="80" y="365"/>
                  </a:lnTo>
                  <a:lnTo>
                    <a:pt x="82" y="363"/>
                  </a:lnTo>
                  <a:lnTo>
                    <a:pt x="86" y="363"/>
                  </a:lnTo>
                  <a:lnTo>
                    <a:pt x="92" y="361"/>
                  </a:lnTo>
                  <a:lnTo>
                    <a:pt x="96" y="363"/>
                  </a:lnTo>
                  <a:lnTo>
                    <a:pt x="107" y="365"/>
                  </a:lnTo>
                  <a:lnTo>
                    <a:pt x="113" y="367"/>
                  </a:lnTo>
                  <a:lnTo>
                    <a:pt x="125" y="369"/>
                  </a:lnTo>
                  <a:lnTo>
                    <a:pt x="131" y="373"/>
                  </a:lnTo>
                  <a:lnTo>
                    <a:pt x="133" y="375"/>
                  </a:lnTo>
                  <a:lnTo>
                    <a:pt x="143" y="379"/>
                  </a:lnTo>
                  <a:lnTo>
                    <a:pt x="160" y="382"/>
                  </a:lnTo>
                  <a:lnTo>
                    <a:pt x="162" y="379"/>
                  </a:lnTo>
                  <a:lnTo>
                    <a:pt x="164" y="382"/>
                  </a:lnTo>
                  <a:lnTo>
                    <a:pt x="164" y="379"/>
                  </a:lnTo>
                  <a:lnTo>
                    <a:pt x="166" y="382"/>
                  </a:lnTo>
                  <a:lnTo>
                    <a:pt x="182" y="384"/>
                  </a:lnTo>
                  <a:lnTo>
                    <a:pt x="184" y="382"/>
                  </a:lnTo>
                  <a:lnTo>
                    <a:pt x="186" y="382"/>
                  </a:lnTo>
                  <a:lnTo>
                    <a:pt x="193" y="377"/>
                  </a:lnTo>
                  <a:lnTo>
                    <a:pt x="197" y="377"/>
                  </a:lnTo>
                  <a:lnTo>
                    <a:pt x="203" y="377"/>
                  </a:lnTo>
                  <a:lnTo>
                    <a:pt x="205" y="377"/>
                  </a:lnTo>
                  <a:lnTo>
                    <a:pt x="205" y="375"/>
                  </a:lnTo>
                  <a:lnTo>
                    <a:pt x="203" y="375"/>
                  </a:lnTo>
                  <a:lnTo>
                    <a:pt x="205" y="373"/>
                  </a:lnTo>
                  <a:lnTo>
                    <a:pt x="205" y="373"/>
                  </a:lnTo>
                  <a:lnTo>
                    <a:pt x="209" y="371"/>
                  </a:lnTo>
                  <a:lnTo>
                    <a:pt x="207" y="371"/>
                  </a:lnTo>
                  <a:lnTo>
                    <a:pt x="205" y="371"/>
                  </a:lnTo>
                  <a:lnTo>
                    <a:pt x="203" y="371"/>
                  </a:lnTo>
                  <a:lnTo>
                    <a:pt x="201" y="373"/>
                  </a:lnTo>
                  <a:lnTo>
                    <a:pt x="201" y="373"/>
                  </a:lnTo>
                  <a:lnTo>
                    <a:pt x="199" y="371"/>
                  </a:lnTo>
                  <a:lnTo>
                    <a:pt x="197" y="365"/>
                  </a:lnTo>
                  <a:lnTo>
                    <a:pt x="199" y="365"/>
                  </a:lnTo>
                  <a:lnTo>
                    <a:pt x="201" y="363"/>
                  </a:lnTo>
                  <a:lnTo>
                    <a:pt x="199" y="363"/>
                  </a:lnTo>
                  <a:lnTo>
                    <a:pt x="199" y="363"/>
                  </a:lnTo>
                  <a:lnTo>
                    <a:pt x="199" y="363"/>
                  </a:lnTo>
                  <a:lnTo>
                    <a:pt x="197" y="365"/>
                  </a:lnTo>
                  <a:lnTo>
                    <a:pt x="195" y="365"/>
                  </a:lnTo>
                  <a:lnTo>
                    <a:pt x="195" y="365"/>
                  </a:lnTo>
                  <a:lnTo>
                    <a:pt x="193" y="365"/>
                  </a:lnTo>
                  <a:lnTo>
                    <a:pt x="193" y="363"/>
                  </a:lnTo>
                  <a:lnTo>
                    <a:pt x="191" y="361"/>
                  </a:lnTo>
                  <a:lnTo>
                    <a:pt x="191" y="359"/>
                  </a:lnTo>
                  <a:lnTo>
                    <a:pt x="193" y="359"/>
                  </a:lnTo>
                  <a:lnTo>
                    <a:pt x="193" y="359"/>
                  </a:lnTo>
                  <a:lnTo>
                    <a:pt x="193" y="359"/>
                  </a:lnTo>
                  <a:lnTo>
                    <a:pt x="195" y="357"/>
                  </a:lnTo>
                  <a:lnTo>
                    <a:pt x="195" y="357"/>
                  </a:lnTo>
                  <a:lnTo>
                    <a:pt x="197" y="357"/>
                  </a:lnTo>
                  <a:lnTo>
                    <a:pt x="197" y="359"/>
                  </a:lnTo>
                  <a:lnTo>
                    <a:pt x="197" y="359"/>
                  </a:lnTo>
                  <a:lnTo>
                    <a:pt x="195" y="361"/>
                  </a:lnTo>
                  <a:lnTo>
                    <a:pt x="197" y="361"/>
                  </a:lnTo>
                  <a:lnTo>
                    <a:pt x="199" y="361"/>
                  </a:lnTo>
                  <a:lnTo>
                    <a:pt x="201" y="357"/>
                  </a:lnTo>
                  <a:lnTo>
                    <a:pt x="201" y="357"/>
                  </a:lnTo>
                  <a:lnTo>
                    <a:pt x="209" y="353"/>
                  </a:lnTo>
                  <a:lnTo>
                    <a:pt x="209" y="353"/>
                  </a:lnTo>
                  <a:lnTo>
                    <a:pt x="211" y="351"/>
                  </a:lnTo>
                  <a:lnTo>
                    <a:pt x="211" y="351"/>
                  </a:lnTo>
                  <a:lnTo>
                    <a:pt x="211" y="349"/>
                  </a:lnTo>
                  <a:lnTo>
                    <a:pt x="211" y="349"/>
                  </a:lnTo>
                  <a:lnTo>
                    <a:pt x="213" y="349"/>
                  </a:lnTo>
                  <a:lnTo>
                    <a:pt x="213" y="351"/>
                  </a:lnTo>
                  <a:lnTo>
                    <a:pt x="215" y="351"/>
                  </a:lnTo>
                  <a:lnTo>
                    <a:pt x="217" y="349"/>
                  </a:lnTo>
                  <a:lnTo>
                    <a:pt x="219" y="349"/>
                  </a:lnTo>
                  <a:lnTo>
                    <a:pt x="223" y="349"/>
                  </a:lnTo>
                  <a:lnTo>
                    <a:pt x="223" y="349"/>
                  </a:lnTo>
                  <a:lnTo>
                    <a:pt x="225" y="351"/>
                  </a:lnTo>
                  <a:lnTo>
                    <a:pt x="225" y="351"/>
                  </a:lnTo>
                  <a:lnTo>
                    <a:pt x="225" y="353"/>
                  </a:lnTo>
                  <a:lnTo>
                    <a:pt x="223" y="353"/>
                  </a:lnTo>
                  <a:lnTo>
                    <a:pt x="223" y="353"/>
                  </a:lnTo>
                  <a:lnTo>
                    <a:pt x="223" y="351"/>
                  </a:lnTo>
                  <a:lnTo>
                    <a:pt x="221" y="353"/>
                  </a:lnTo>
                  <a:lnTo>
                    <a:pt x="221" y="355"/>
                  </a:lnTo>
                  <a:lnTo>
                    <a:pt x="221" y="357"/>
                  </a:lnTo>
                  <a:lnTo>
                    <a:pt x="221" y="357"/>
                  </a:lnTo>
                  <a:lnTo>
                    <a:pt x="221" y="359"/>
                  </a:lnTo>
                  <a:lnTo>
                    <a:pt x="221" y="359"/>
                  </a:lnTo>
                  <a:lnTo>
                    <a:pt x="223" y="361"/>
                  </a:lnTo>
                  <a:lnTo>
                    <a:pt x="225" y="361"/>
                  </a:lnTo>
                  <a:lnTo>
                    <a:pt x="230" y="357"/>
                  </a:lnTo>
                  <a:lnTo>
                    <a:pt x="230" y="357"/>
                  </a:lnTo>
                  <a:lnTo>
                    <a:pt x="240" y="357"/>
                  </a:lnTo>
                  <a:lnTo>
                    <a:pt x="242" y="357"/>
                  </a:lnTo>
                  <a:lnTo>
                    <a:pt x="244" y="357"/>
                  </a:lnTo>
                  <a:lnTo>
                    <a:pt x="244" y="359"/>
                  </a:lnTo>
                  <a:lnTo>
                    <a:pt x="244" y="363"/>
                  </a:lnTo>
                  <a:lnTo>
                    <a:pt x="244" y="365"/>
                  </a:lnTo>
                  <a:lnTo>
                    <a:pt x="244" y="367"/>
                  </a:lnTo>
                  <a:lnTo>
                    <a:pt x="244" y="369"/>
                  </a:lnTo>
                  <a:lnTo>
                    <a:pt x="246" y="369"/>
                  </a:lnTo>
                  <a:lnTo>
                    <a:pt x="248" y="367"/>
                  </a:lnTo>
                  <a:lnTo>
                    <a:pt x="250" y="367"/>
                  </a:lnTo>
                  <a:lnTo>
                    <a:pt x="250" y="367"/>
                  </a:lnTo>
                  <a:lnTo>
                    <a:pt x="252" y="367"/>
                  </a:lnTo>
                  <a:lnTo>
                    <a:pt x="252" y="369"/>
                  </a:lnTo>
                  <a:lnTo>
                    <a:pt x="252" y="369"/>
                  </a:lnTo>
                  <a:lnTo>
                    <a:pt x="252" y="371"/>
                  </a:lnTo>
                  <a:lnTo>
                    <a:pt x="254" y="373"/>
                  </a:lnTo>
                  <a:lnTo>
                    <a:pt x="254" y="375"/>
                  </a:lnTo>
                  <a:lnTo>
                    <a:pt x="254" y="377"/>
                  </a:lnTo>
                  <a:lnTo>
                    <a:pt x="252" y="377"/>
                  </a:lnTo>
                  <a:lnTo>
                    <a:pt x="254" y="379"/>
                  </a:lnTo>
                  <a:lnTo>
                    <a:pt x="258" y="377"/>
                  </a:lnTo>
                  <a:lnTo>
                    <a:pt x="262" y="375"/>
                  </a:lnTo>
                  <a:lnTo>
                    <a:pt x="264" y="375"/>
                  </a:lnTo>
                  <a:lnTo>
                    <a:pt x="266" y="375"/>
                  </a:lnTo>
                  <a:lnTo>
                    <a:pt x="266" y="375"/>
                  </a:lnTo>
                  <a:lnTo>
                    <a:pt x="264" y="377"/>
                  </a:lnTo>
                  <a:lnTo>
                    <a:pt x="264" y="377"/>
                  </a:lnTo>
                  <a:lnTo>
                    <a:pt x="264" y="379"/>
                  </a:lnTo>
                  <a:lnTo>
                    <a:pt x="266" y="379"/>
                  </a:lnTo>
                  <a:lnTo>
                    <a:pt x="268" y="379"/>
                  </a:lnTo>
                  <a:lnTo>
                    <a:pt x="270" y="379"/>
                  </a:lnTo>
                  <a:lnTo>
                    <a:pt x="275" y="382"/>
                  </a:lnTo>
                  <a:lnTo>
                    <a:pt x="277" y="382"/>
                  </a:lnTo>
                  <a:lnTo>
                    <a:pt x="277" y="382"/>
                  </a:lnTo>
                  <a:lnTo>
                    <a:pt x="279" y="379"/>
                  </a:lnTo>
                  <a:lnTo>
                    <a:pt x="279" y="377"/>
                  </a:lnTo>
                  <a:lnTo>
                    <a:pt x="279" y="377"/>
                  </a:lnTo>
                  <a:lnTo>
                    <a:pt x="279" y="377"/>
                  </a:lnTo>
                  <a:lnTo>
                    <a:pt x="279" y="375"/>
                  </a:lnTo>
                  <a:lnTo>
                    <a:pt x="279" y="375"/>
                  </a:lnTo>
                  <a:lnTo>
                    <a:pt x="281" y="371"/>
                  </a:lnTo>
                  <a:lnTo>
                    <a:pt x="281" y="371"/>
                  </a:lnTo>
                  <a:lnTo>
                    <a:pt x="281" y="367"/>
                  </a:lnTo>
                  <a:lnTo>
                    <a:pt x="281" y="367"/>
                  </a:lnTo>
                  <a:lnTo>
                    <a:pt x="283" y="369"/>
                  </a:lnTo>
                  <a:lnTo>
                    <a:pt x="283" y="369"/>
                  </a:lnTo>
                  <a:lnTo>
                    <a:pt x="285" y="371"/>
                  </a:lnTo>
                  <a:lnTo>
                    <a:pt x="285" y="373"/>
                  </a:lnTo>
                  <a:lnTo>
                    <a:pt x="283" y="373"/>
                  </a:lnTo>
                  <a:lnTo>
                    <a:pt x="283" y="373"/>
                  </a:lnTo>
                  <a:lnTo>
                    <a:pt x="281" y="375"/>
                  </a:lnTo>
                  <a:lnTo>
                    <a:pt x="281" y="377"/>
                  </a:lnTo>
                  <a:lnTo>
                    <a:pt x="281" y="382"/>
                  </a:lnTo>
                  <a:lnTo>
                    <a:pt x="281" y="384"/>
                  </a:lnTo>
                  <a:lnTo>
                    <a:pt x="283" y="386"/>
                  </a:lnTo>
                  <a:lnTo>
                    <a:pt x="283" y="386"/>
                  </a:lnTo>
                  <a:lnTo>
                    <a:pt x="285" y="386"/>
                  </a:lnTo>
                  <a:lnTo>
                    <a:pt x="285" y="388"/>
                  </a:lnTo>
                  <a:lnTo>
                    <a:pt x="285" y="388"/>
                  </a:lnTo>
                  <a:lnTo>
                    <a:pt x="285" y="390"/>
                  </a:lnTo>
                  <a:lnTo>
                    <a:pt x="285" y="390"/>
                  </a:lnTo>
                  <a:lnTo>
                    <a:pt x="287" y="392"/>
                  </a:lnTo>
                  <a:lnTo>
                    <a:pt x="289" y="392"/>
                  </a:lnTo>
                  <a:lnTo>
                    <a:pt x="295" y="396"/>
                  </a:lnTo>
                  <a:lnTo>
                    <a:pt x="297" y="398"/>
                  </a:lnTo>
                  <a:lnTo>
                    <a:pt x="295" y="402"/>
                  </a:lnTo>
                  <a:lnTo>
                    <a:pt x="295" y="402"/>
                  </a:lnTo>
                  <a:lnTo>
                    <a:pt x="295" y="402"/>
                  </a:lnTo>
                  <a:lnTo>
                    <a:pt x="295" y="404"/>
                  </a:lnTo>
                  <a:lnTo>
                    <a:pt x="297" y="404"/>
                  </a:lnTo>
                  <a:lnTo>
                    <a:pt x="295" y="404"/>
                  </a:lnTo>
                  <a:lnTo>
                    <a:pt x="295" y="406"/>
                  </a:lnTo>
                  <a:lnTo>
                    <a:pt x="293" y="406"/>
                  </a:lnTo>
                  <a:lnTo>
                    <a:pt x="293" y="404"/>
                  </a:lnTo>
                  <a:lnTo>
                    <a:pt x="293" y="404"/>
                  </a:lnTo>
                  <a:lnTo>
                    <a:pt x="291" y="404"/>
                  </a:lnTo>
                  <a:lnTo>
                    <a:pt x="291" y="404"/>
                  </a:lnTo>
                  <a:lnTo>
                    <a:pt x="291" y="402"/>
                  </a:lnTo>
                  <a:lnTo>
                    <a:pt x="291" y="400"/>
                  </a:lnTo>
                  <a:lnTo>
                    <a:pt x="291" y="396"/>
                  </a:lnTo>
                  <a:lnTo>
                    <a:pt x="289" y="398"/>
                  </a:lnTo>
                  <a:lnTo>
                    <a:pt x="287" y="396"/>
                  </a:lnTo>
                  <a:lnTo>
                    <a:pt x="285" y="394"/>
                  </a:lnTo>
                  <a:lnTo>
                    <a:pt x="285" y="394"/>
                  </a:lnTo>
                  <a:lnTo>
                    <a:pt x="283" y="394"/>
                  </a:lnTo>
                  <a:lnTo>
                    <a:pt x="283" y="394"/>
                  </a:lnTo>
                  <a:lnTo>
                    <a:pt x="281" y="396"/>
                  </a:lnTo>
                  <a:lnTo>
                    <a:pt x="281" y="398"/>
                  </a:lnTo>
                  <a:lnTo>
                    <a:pt x="279" y="400"/>
                  </a:lnTo>
                  <a:lnTo>
                    <a:pt x="277" y="400"/>
                  </a:lnTo>
                  <a:lnTo>
                    <a:pt x="277" y="400"/>
                  </a:lnTo>
                  <a:lnTo>
                    <a:pt x="275" y="398"/>
                  </a:lnTo>
                  <a:lnTo>
                    <a:pt x="277" y="402"/>
                  </a:lnTo>
                  <a:lnTo>
                    <a:pt x="281" y="406"/>
                  </a:lnTo>
                  <a:lnTo>
                    <a:pt x="287" y="408"/>
                  </a:lnTo>
                  <a:lnTo>
                    <a:pt x="295" y="408"/>
                  </a:lnTo>
                  <a:lnTo>
                    <a:pt x="297" y="410"/>
                  </a:lnTo>
                  <a:lnTo>
                    <a:pt x="299" y="410"/>
                  </a:lnTo>
                  <a:lnTo>
                    <a:pt x="301" y="412"/>
                  </a:lnTo>
                  <a:lnTo>
                    <a:pt x="301" y="412"/>
                  </a:lnTo>
                  <a:lnTo>
                    <a:pt x="303" y="410"/>
                  </a:lnTo>
                  <a:lnTo>
                    <a:pt x="303" y="410"/>
                  </a:lnTo>
                  <a:lnTo>
                    <a:pt x="303" y="408"/>
                  </a:lnTo>
                  <a:lnTo>
                    <a:pt x="305" y="408"/>
                  </a:lnTo>
                  <a:lnTo>
                    <a:pt x="305" y="408"/>
                  </a:lnTo>
                  <a:lnTo>
                    <a:pt x="307" y="408"/>
                  </a:lnTo>
                  <a:lnTo>
                    <a:pt x="309" y="410"/>
                  </a:lnTo>
                  <a:lnTo>
                    <a:pt x="307" y="410"/>
                  </a:lnTo>
                  <a:lnTo>
                    <a:pt x="307" y="410"/>
                  </a:lnTo>
                  <a:lnTo>
                    <a:pt x="307" y="412"/>
                  </a:lnTo>
                  <a:lnTo>
                    <a:pt x="307" y="412"/>
                  </a:lnTo>
                  <a:lnTo>
                    <a:pt x="309" y="412"/>
                  </a:lnTo>
                  <a:lnTo>
                    <a:pt x="311" y="412"/>
                  </a:lnTo>
                  <a:lnTo>
                    <a:pt x="316" y="412"/>
                  </a:lnTo>
                  <a:lnTo>
                    <a:pt x="320" y="416"/>
                  </a:lnTo>
                  <a:lnTo>
                    <a:pt x="320" y="416"/>
                  </a:lnTo>
                  <a:lnTo>
                    <a:pt x="320" y="416"/>
                  </a:lnTo>
                  <a:lnTo>
                    <a:pt x="320" y="416"/>
                  </a:lnTo>
                  <a:lnTo>
                    <a:pt x="322" y="414"/>
                  </a:lnTo>
                  <a:lnTo>
                    <a:pt x="324" y="414"/>
                  </a:lnTo>
                  <a:lnTo>
                    <a:pt x="324" y="412"/>
                  </a:lnTo>
                  <a:lnTo>
                    <a:pt x="322" y="410"/>
                  </a:lnTo>
                  <a:lnTo>
                    <a:pt x="324" y="412"/>
                  </a:lnTo>
                  <a:lnTo>
                    <a:pt x="326" y="412"/>
                  </a:lnTo>
                  <a:lnTo>
                    <a:pt x="328" y="412"/>
                  </a:lnTo>
                  <a:lnTo>
                    <a:pt x="330" y="412"/>
                  </a:lnTo>
                  <a:lnTo>
                    <a:pt x="330" y="414"/>
                  </a:lnTo>
                  <a:lnTo>
                    <a:pt x="330" y="414"/>
                  </a:lnTo>
                  <a:lnTo>
                    <a:pt x="328" y="416"/>
                  </a:lnTo>
                  <a:lnTo>
                    <a:pt x="326" y="416"/>
                  </a:lnTo>
                  <a:lnTo>
                    <a:pt x="328" y="416"/>
                  </a:lnTo>
                  <a:lnTo>
                    <a:pt x="332" y="418"/>
                  </a:lnTo>
                  <a:lnTo>
                    <a:pt x="332" y="418"/>
                  </a:lnTo>
                  <a:lnTo>
                    <a:pt x="332" y="416"/>
                  </a:lnTo>
                  <a:lnTo>
                    <a:pt x="334" y="416"/>
                  </a:lnTo>
                  <a:lnTo>
                    <a:pt x="336" y="416"/>
                  </a:lnTo>
                  <a:lnTo>
                    <a:pt x="336" y="416"/>
                  </a:lnTo>
                  <a:lnTo>
                    <a:pt x="336" y="416"/>
                  </a:lnTo>
                  <a:lnTo>
                    <a:pt x="338" y="416"/>
                  </a:lnTo>
                  <a:lnTo>
                    <a:pt x="338" y="416"/>
                  </a:lnTo>
                  <a:lnTo>
                    <a:pt x="338" y="414"/>
                  </a:lnTo>
                  <a:lnTo>
                    <a:pt x="338" y="414"/>
                  </a:lnTo>
                  <a:lnTo>
                    <a:pt x="338" y="412"/>
                  </a:lnTo>
                  <a:lnTo>
                    <a:pt x="338" y="412"/>
                  </a:lnTo>
                  <a:lnTo>
                    <a:pt x="340" y="412"/>
                  </a:lnTo>
                  <a:lnTo>
                    <a:pt x="340" y="412"/>
                  </a:lnTo>
                  <a:lnTo>
                    <a:pt x="342" y="412"/>
                  </a:lnTo>
                  <a:lnTo>
                    <a:pt x="342" y="414"/>
                  </a:lnTo>
                  <a:lnTo>
                    <a:pt x="342" y="412"/>
                  </a:lnTo>
                  <a:lnTo>
                    <a:pt x="342" y="408"/>
                  </a:lnTo>
                  <a:lnTo>
                    <a:pt x="342" y="408"/>
                  </a:lnTo>
                  <a:lnTo>
                    <a:pt x="342" y="408"/>
                  </a:lnTo>
                  <a:lnTo>
                    <a:pt x="342" y="404"/>
                  </a:lnTo>
                  <a:lnTo>
                    <a:pt x="342" y="404"/>
                  </a:lnTo>
                  <a:lnTo>
                    <a:pt x="342" y="402"/>
                  </a:lnTo>
                  <a:lnTo>
                    <a:pt x="344" y="404"/>
                  </a:lnTo>
                  <a:lnTo>
                    <a:pt x="344" y="404"/>
                  </a:lnTo>
                  <a:lnTo>
                    <a:pt x="346" y="406"/>
                  </a:lnTo>
                  <a:lnTo>
                    <a:pt x="346" y="404"/>
                  </a:lnTo>
                  <a:lnTo>
                    <a:pt x="344" y="402"/>
                  </a:lnTo>
                  <a:lnTo>
                    <a:pt x="346" y="402"/>
                  </a:lnTo>
                  <a:lnTo>
                    <a:pt x="346" y="400"/>
                  </a:lnTo>
                  <a:lnTo>
                    <a:pt x="346" y="398"/>
                  </a:lnTo>
                  <a:lnTo>
                    <a:pt x="344" y="398"/>
                  </a:lnTo>
                  <a:lnTo>
                    <a:pt x="344" y="398"/>
                  </a:lnTo>
                  <a:lnTo>
                    <a:pt x="344" y="396"/>
                  </a:lnTo>
                  <a:lnTo>
                    <a:pt x="344" y="396"/>
                  </a:lnTo>
                  <a:lnTo>
                    <a:pt x="344" y="396"/>
                  </a:lnTo>
                  <a:lnTo>
                    <a:pt x="346" y="396"/>
                  </a:lnTo>
                  <a:lnTo>
                    <a:pt x="346" y="396"/>
                  </a:lnTo>
                  <a:lnTo>
                    <a:pt x="346" y="394"/>
                  </a:lnTo>
                  <a:lnTo>
                    <a:pt x="346" y="394"/>
                  </a:lnTo>
                  <a:lnTo>
                    <a:pt x="348" y="394"/>
                  </a:lnTo>
                  <a:lnTo>
                    <a:pt x="348" y="396"/>
                  </a:lnTo>
                  <a:lnTo>
                    <a:pt x="346" y="396"/>
                  </a:lnTo>
                  <a:lnTo>
                    <a:pt x="348" y="396"/>
                  </a:lnTo>
                  <a:lnTo>
                    <a:pt x="350" y="398"/>
                  </a:lnTo>
                  <a:lnTo>
                    <a:pt x="352" y="396"/>
                  </a:lnTo>
                  <a:lnTo>
                    <a:pt x="352" y="396"/>
                  </a:lnTo>
                  <a:lnTo>
                    <a:pt x="354" y="396"/>
                  </a:lnTo>
                  <a:lnTo>
                    <a:pt x="356" y="396"/>
                  </a:lnTo>
                  <a:lnTo>
                    <a:pt x="356" y="394"/>
                  </a:lnTo>
                  <a:lnTo>
                    <a:pt x="359" y="392"/>
                  </a:lnTo>
                  <a:lnTo>
                    <a:pt x="359" y="392"/>
                  </a:lnTo>
                  <a:lnTo>
                    <a:pt x="359" y="390"/>
                  </a:lnTo>
                  <a:lnTo>
                    <a:pt x="359" y="390"/>
                  </a:lnTo>
                  <a:lnTo>
                    <a:pt x="361" y="390"/>
                  </a:lnTo>
                  <a:lnTo>
                    <a:pt x="361" y="390"/>
                  </a:lnTo>
                  <a:lnTo>
                    <a:pt x="361" y="392"/>
                  </a:lnTo>
                  <a:lnTo>
                    <a:pt x="363" y="394"/>
                  </a:lnTo>
                  <a:lnTo>
                    <a:pt x="365" y="396"/>
                  </a:lnTo>
                  <a:lnTo>
                    <a:pt x="365" y="402"/>
                  </a:lnTo>
                  <a:lnTo>
                    <a:pt x="367" y="398"/>
                  </a:lnTo>
                  <a:lnTo>
                    <a:pt x="367" y="396"/>
                  </a:lnTo>
                  <a:lnTo>
                    <a:pt x="367" y="396"/>
                  </a:lnTo>
                  <a:lnTo>
                    <a:pt x="367" y="394"/>
                  </a:lnTo>
                  <a:lnTo>
                    <a:pt x="369" y="394"/>
                  </a:lnTo>
                  <a:lnTo>
                    <a:pt x="369" y="394"/>
                  </a:lnTo>
                  <a:lnTo>
                    <a:pt x="369" y="394"/>
                  </a:lnTo>
                  <a:lnTo>
                    <a:pt x="369" y="396"/>
                  </a:lnTo>
                  <a:lnTo>
                    <a:pt x="373" y="398"/>
                  </a:lnTo>
                  <a:lnTo>
                    <a:pt x="375" y="400"/>
                  </a:lnTo>
                  <a:lnTo>
                    <a:pt x="375" y="402"/>
                  </a:lnTo>
                  <a:lnTo>
                    <a:pt x="375" y="400"/>
                  </a:lnTo>
                  <a:lnTo>
                    <a:pt x="375" y="398"/>
                  </a:lnTo>
                  <a:lnTo>
                    <a:pt x="375" y="398"/>
                  </a:lnTo>
                  <a:lnTo>
                    <a:pt x="377" y="398"/>
                  </a:lnTo>
                  <a:lnTo>
                    <a:pt x="377" y="398"/>
                  </a:lnTo>
                  <a:lnTo>
                    <a:pt x="377" y="400"/>
                  </a:lnTo>
                  <a:lnTo>
                    <a:pt x="377" y="400"/>
                  </a:lnTo>
                  <a:lnTo>
                    <a:pt x="377" y="402"/>
                  </a:lnTo>
                  <a:lnTo>
                    <a:pt x="377" y="404"/>
                  </a:lnTo>
                  <a:lnTo>
                    <a:pt x="377" y="404"/>
                  </a:lnTo>
                  <a:lnTo>
                    <a:pt x="377" y="406"/>
                  </a:lnTo>
                  <a:lnTo>
                    <a:pt x="377" y="406"/>
                  </a:lnTo>
                  <a:lnTo>
                    <a:pt x="377" y="408"/>
                  </a:lnTo>
                  <a:lnTo>
                    <a:pt x="377" y="408"/>
                  </a:lnTo>
                  <a:lnTo>
                    <a:pt x="379" y="410"/>
                  </a:lnTo>
                  <a:lnTo>
                    <a:pt x="379" y="412"/>
                  </a:lnTo>
                  <a:lnTo>
                    <a:pt x="381" y="412"/>
                  </a:lnTo>
                  <a:lnTo>
                    <a:pt x="381" y="414"/>
                  </a:lnTo>
                  <a:lnTo>
                    <a:pt x="381" y="416"/>
                  </a:lnTo>
                  <a:lnTo>
                    <a:pt x="379" y="416"/>
                  </a:lnTo>
                  <a:lnTo>
                    <a:pt x="381" y="416"/>
                  </a:lnTo>
                  <a:lnTo>
                    <a:pt x="383" y="414"/>
                  </a:lnTo>
                  <a:lnTo>
                    <a:pt x="389" y="412"/>
                  </a:lnTo>
                  <a:lnTo>
                    <a:pt x="389" y="410"/>
                  </a:lnTo>
                  <a:lnTo>
                    <a:pt x="391" y="410"/>
                  </a:lnTo>
                  <a:lnTo>
                    <a:pt x="393" y="408"/>
                  </a:lnTo>
                  <a:lnTo>
                    <a:pt x="393" y="406"/>
                  </a:lnTo>
                  <a:lnTo>
                    <a:pt x="395" y="406"/>
                  </a:lnTo>
                  <a:lnTo>
                    <a:pt x="395" y="402"/>
                  </a:lnTo>
                  <a:lnTo>
                    <a:pt x="397" y="400"/>
                  </a:lnTo>
                  <a:lnTo>
                    <a:pt x="393" y="400"/>
                  </a:lnTo>
                  <a:lnTo>
                    <a:pt x="391" y="398"/>
                  </a:lnTo>
                  <a:lnTo>
                    <a:pt x="391" y="394"/>
                  </a:lnTo>
                  <a:lnTo>
                    <a:pt x="395" y="394"/>
                  </a:lnTo>
                  <a:lnTo>
                    <a:pt x="393" y="392"/>
                  </a:lnTo>
                  <a:lnTo>
                    <a:pt x="393" y="392"/>
                  </a:lnTo>
                  <a:lnTo>
                    <a:pt x="395" y="392"/>
                  </a:lnTo>
                  <a:lnTo>
                    <a:pt x="397" y="394"/>
                  </a:lnTo>
                  <a:lnTo>
                    <a:pt x="399" y="392"/>
                  </a:lnTo>
                  <a:lnTo>
                    <a:pt x="399" y="392"/>
                  </a:lnTo>
                  <a:lnTo>
                    <a:pt x="397" y="390"/>
                  </a:lnTo>
                  <a:lnTo>
                    <a:pt x="395" y="390"/>
                  </a:lnTo>
                  <a:lnTo>
                    <a:pt x="395" y="388"/>
                  </a:lnTo>
                  <a:lnTo>
                    <a:pt x="395" y="386"/>
                  </a:lnTo>
                  <a:lnTo>
                    <a:pt x="395" y="386"/>
                  </a:lnTo>
                  <a:lnTo>
                    <a:pt x="395" y="386"/>
                  </a:lnTo>
                  <a:lnTo>
                    <a:pt x="397" y="388"/>
                  </a:lnTo>
                  <a:lnTo>
                    <a:pt x="397" y="388"/>
                  </a:lnTo>
                  <a:lnTo>
                    <a:pt x="397" y="386"/>
                  </a:lnTo>
                  <a:lnTo>
                    <a:pt x="397" y="384"/>
                  </a:lnTo>
                  <a:lnTo>
                    <a:pt x="395" y="384"/>
                  </a:lnTo>
                  <a:lnTo>
                    <a:pt x="395" y="384"/>
                  </a:lnTo>
                  <a:lnTo>
                    <a:pt x="395" y="382"/>
                  </a:lnTo>
                  <a:lnTo>
                    <a:pt x="395" y="382"/>
                  </a:lnTo>
                  <a:lnTo>
                    <a:pt x="395" y="379"/>
                  </a:lnTo>
                  <a:lnTo>
                    <a:pt x="395" y="379"/>
                  </a:lnTo>
                  <a:lnTo>
                    <a:pt x="397" y="377"/>
                  </a:lnTo>
                  <a:lnTo>
                    <a:pt x="395" y="375"/>
                  </a:lnTo>
                  <a:lnTo>
                    <a:pt x="393" y="375"/>
                  </a:lnTo>
                  <a:lnTo>
                    <a:pt x="391" y="375"/>
                  </a:lnTo>
                  <a:lnTo>
                    <a:pt x="387" y="375"/>
                  </a:lnTo>
                  <a:lnTo>
                    <a:pt x="387" y="375"/>
                  </a:lnTo>
                  <a:lnTo>
                    <a:pt x="385" y="373"/>
                  </a:lnTo>
                  <a:lnTo>
                    <a:pt x="381" y="371"/>
                  </a:lnTo>
                  <a:lnTo>
                    <a:pt x="381" y="369"/>
                  </a:lnTo>
                  <a:lnTo>
                    <a:pt x="379" y="371"/>
                  </a:lnTo>
                  <a:lnTo>
                    <a:pt x="379" y="371"/>
                  </a:lnTo>
                  <a:lnTo>
                    <a:pt x="379" y="371"/>
                  </a:lnTo>
                  <a:lnTo>
                    <a:pt x="379" y="369"/>
                  </a:lnTo>
                  <a:lnTo>
                    <a:pt x="379" y="369"/>
                  </a:lnTo>
                  <a:lnTo>
                    <a:pt x="381" y="369"/>
                  </a:lnTo>
                  <a:lnTo>
                    <a:pt x="381" y="369"/>
                  </a:lnTo>
                  <a:lnTo>
                    <a:pt x="381" y="367"/>
                  </a:lnTo>
                  <a:lnTo>
                    <a:pt x="381" y="367"/>
                  </a:lnTo>
                  <a:lnTo>
                    <a:pt x="379" y="367"/>
                  </a:lnTo>
                  <a:lnTo>
                    <a:pt x="379" y="367"/>
                  </a:lnTo>
                  <a:lnTo>
                    <a:pt x="381" y="365"/>
                  </a:lnTo>
                  <a:lnTo>
                    <a:pt x="381" y="363"/>
                  </a:lnTo>
                  <a:lnTo>
                    <a:pt x="383" y="365"/>
                  </a:lnTo>
                  <a:lnTo>
                    <a:pt x="385" y="367"/>
                  </a:lnTo>
                  <a:lnTo>
                    <a:pt x="387" y="369"/>
                  </a:lnTo>
                  <a:lnTo>
                    <a:pt x="387" y="367"/>
                  </a:lnTo>
                  <a:lnTo>
                    <a:pt x="385" y="367"/>
                  </a:lnTo>
                  <a:lnTo>
                    <a:pt x="387" y="367"/>
                  </a:lnTo>
                  <a:lnTo>
                    <a:pt x="387" y="365"/>
                  </a:lnTo>
                  <a:lnTo>
                    <a:pt x="389" y="367"/>
                  </a:lnTo>
                  <a:lnTo>
                    <a:pt x="391" y="367"/>
                  </a:lnTo>
                  <a:lnTo>
                    <a:pt x="402" y="373"/>
                  </a:lnTo>
                  <a:lnTo>
                    <a:pt x="406" y="373"/>
                  </a:lnTo>
                  <a:lnTo>
                    <a:pt x="408" y="371"/>
                  </a:lnTo>
                  <a:lnTo>
                    <a:pt x="412" y="375"/>
                  </a:lnTo>
                  <a:lnTo>
                    <a:pt x="412" y="375"/>
                  </a:lnTo>
                  <a:lnTo>
                    <a:pt x="414" y="373"/>
                  </a:lnTo>
                  <a:lnTo>
                    <a:pt x="414" y="371"/>
                  </a:lnTo>
                  <a:lnTo>
                    <a:pt x="414" y="371"/>
                  </a:lnTo>
                  <a:lnTo>
                    <a:pt x="414" y="371"/>
                  </a:lnTo>
                  <a:lnTo>
                    <a:pt x="416" y="371"/>
                  </a:lnTo>
                  <a:lnTo>
                    <a:pt x="416" y="371"/>
                  </a:lnTo>
                  <a:lnTo>
                    <a:pt x="416" y="373"/>
                  </a:lnTo>
                  <a:lnTo>
                    <a:pt x="416" y="373"/>
                  </a:lnTo>
                  <a:lnTo>
                    <a:pt x="416" y="373"/>
                  </a:lnTo>
                  <a:lnTo>
                    <a:pt x="416" y="375"/>
                  </a:lnTo>
                  <a:lnTo>
                    <a:pt x="416" y="375"/>
                  </a:lnTo>
                  <a:lnTo>
                    <a:pt x="416" y="375"/>
                  </a:lnTo>
                  <a:lnTo>
                    <a:pt x="416" y="375"/>
                  </a:lnTo>
                  <a:lnTo>
                    <a:pt x="416" y="375"/>
                  </a:lnTo>
                  <a:lnTo>
                    <a:pt x="416" y="375"/>
                  </a:lnTo>
                  <a:lnTo>
                    <a:pt x="416" y="377"/>
                  </a:lnTo>
                  <a:lnTo>
                    <a:pt x="416" y="377"/>
                  </a:lnTo>
                  <a:lnTo>
                    <a:pt x="418" y="377"/>
                  </a:lnTo>
                  <a:lnTo>
                    <a:pt x="418" y="377"/>
                  </a:lnTo>
                  <a:lnTo>
                    <a:pt x="420" y="377"/>
                  </a:lnTo>
                  <a:lnTo>
                    <a:pt x="420" y="377"/>
                  </a:lnTo>
                  <a:lnTo>
                    <a:pt x="422" y="377"/>
                  </a:lnTo>
                  <a:lnTo>
                    <a:pt x="420" y="379"/>
                  </a:lnTo>
                  <a:lnTo>
                    <a:pt x="420" y="379"/>
                  </a:lnTo>
                  <a:lnTo>
                    <a:pt x="420" y="379"/>
                  </a:lnTo>
                  <a:lnTo>
                    <a:pt x="420" y="382"/>
                  </a:lnTo>
                  <a:lnTo>
                    <a:pt x="422" y="382"/>
                  </a:lnTo>
                  <a:lnTo>
                    <a:pt x="422" y="379"/>
                  </a:lnTo>
                  <a:lnTo>
                    <a:pt x="422" y="379"/>
                  </a:lnTo>
                  <a:lnTo>
                    <a:pt x="422" y="379"/>
                  </a:lnTo>
                  <a:lnTo>
                    <a:pt x="422" y="382"/>
                  </a:lnTo>
                  <a:lnTo>
                    <a:pt x="424" y="382"/>
                  </a:lnTo>
                  <a:lnTo>
                    <a:pt x="424" y="384"/>
                  </a:lnTo>
                  <a:lnTo>
                    <a:pt x="422" y="386"/>
                  </a:lnTo>
                  <a:lnTo>
                    <a:pt x="422" y="386"/>
                  </a:lnTo>
                  <a:lnTo>
                    <a:pt x="420" y="388"/>
                  </a:lnTo>
                  <a:lnTo>
                    <a:pt x="418" y="388"/>
                  </a:lnTo>
                  <a:lnTo>
                    <a:pt x="430" y="388"/>
                  </a:lnTo>
                  <a:lnTo>
                    <a:pt x="430" y="388"/>
                  </a:lnTo>
                  <a:lnTo>
                    <a:pt x="434" y="386"/>
                  </a:lnTo>
                  <a:lnTo>
                    <a:pt x="434" y="384"/>
                  </a:lnTo>
                  <a:lnTo>
                    <a:pt x="436" y="386"/>
                  </a:lnTo>
                  <a:lnTo>
                    <a:pt x="436" y="386"/>
                  </a:lnTo>
                  <a:lnTo>
                    <a:pt x="434" y="390"/>
                  </a:lnTo>
                  <a:lnTo>
                    <a:pt x="436" y="390"/>
                  </a:lnTo>
                  <a:lnTo>
                    <a:pt x="436" y="392"/>
                  </a:lnTo>
                  <a:lnTo>
                    <a:pt x="438" y="394"/>
                  </a:lnTo>
                  <a:lnTo>
                    <a:pt x="440" y="394"/>
                  </a:lnTo>
                  <a:lnTo>
                    <a:pt x="443" y="394"/>
                  </a:lnTo>
                  <a:lnTo>
                    <a:pt x="449" y="394"/>
                  </a:lnTo>
                  <a:lnTo>
                    <a:pt x="447" y="392"/>
                  </a:lnTo>
                  <a:lnTo>
                    <a:pt x="449" y="392"/>
                  </a:lnTo>
                  <a:lnTo>
                    <a:pt x="451" y="392"/>
                  </a:lnTo>
                  <a:lnTo>
                    <a:pt x="453" y="392"/>
                  </a:lnTo>
                  <a:lnTo>
                    <a:pt x="451" y="394"/>
                  </a:lnTo>
                  <a:lnTo>
                    <a:pt x="451" y="394"/>
                  </a:lnTo>
                  <a:lnTo>
                    <a:pt x="457" y="402"/>
                  </a:lnTo>
                  <a:lnTo>
                    <a:pt x="459" y="402"/>
                  </a:lnTo>
                  <a:lnTo>
                    <a:pt x="459" y="404"/>
                  </a:lnTo>
                  <a:lnTo>
                    <a:pt x="459" y="404"/>
                  </a:lnTo>
                  <a:lnTo>
                    <a:pt x="459" y="406"/>
                  </a:lnTo>
                  <a:lnTo>
                    <a:pt x="459" y="408"/>
                  </a:lnTo>
                  <a:lnTo>
                    <a:pt x="461" y="408"/>
                  </a:lnTo>
                  <a:lnTo>
                    <a:pt x="463" y="408"/>
                  </a:lnTo>
                  <a:lnTo>
                    <a:pt x="465" y="406"/>
                  </a:lnTo>
                  <a:lnTo>
                    <a:pt x="465" y="406"/>
                  </a:lnTo>
                  <a:lnTo>
                    <a:pt x="465" y="404"/>
                  </a:lnTo>
                  <a:lnTo>
                    <a:pt x="465" y="402"/>
                  </a:lnTo>
                  <a:lnTo>
                    <a:pt x="465" y="400"/>
                  </a:lnTo>
                  <a:lnTo>
                    <a:pt x="465" y="400"/>
                  </a:lnTo>
                  <a:lnTo>
                    <a:pt x="465" y="398"/>
                  </a:lnTo>
                  <a:lnTo>
                    <a:pt x="467" y="398"/>
                  </a:lnTo>
                  <a:lnTo>
                    <a:pt x="467" y="400"/>
                  </a:lnTo>
                  <a:lnTo>
                    <a:pt x="467" y="402"/>
                  </a:lnTo>
                  <a:lnTo>
                    <a:pt x="467" y="404"/>
                  </a:lnTo>
                  <a:lnTo>
                    <a:pt x="467" y="404"/>
                  </a:lnTo>
                  <a:lnTo>
                    <a:pt x="469" y="404"/>
                  </a:lnTo>
                  <a:lnTo>
                    <a:pt x="469" y="402"/>
                  </a:lnTo>
                  <a:lnTo>
                    <a:pt x="469" y="402"/>
                  </a:lnTo>
                  <a:lnTo>
                    <a:pt x="469" y="400"/>
                  </a:lnTo>
                  <a:lnTo>
                    <a:pt x="471" y="400"/>
                  </a:lnTo>
                  <a:lnTo>
                    <a:pt x="471" y="402"/>
                  </a:lnTo>
                  <a:lnTo>
                    <a:pt x="469" y="404"/>
                  </a:lnTo>
                  <a:lnTo>
                    <a:pt x="469" y="406"/>
                  </a:lnTo>
                  <a:lnTo>
                    <a:pt x="467" y="410"/>
                  </a:lnTo>
                  <a:lnTo>
                    <a:pt x="467" y="410"/>
                  </a:lnTo>
                  <a:lnTo>
                    <a:pt x="465" y="410"/>
                  </a:lnTo>
                  <a:lnTo>
                    <a:pt x="465" y="412"/>
                  </a:lnTo>
                  <a:lnTo>
                    <a:pt x="465" y="412"/>
                  </a:lnTo>
                  <a:lnTo>
                    <a:pt x="465" y="414"/>
                  </a:lnTo>
                  <a:lnTo>
                    <a:pt x="465" y="414"/>
                  </a:lnTo>
                  <a:lnTo>
                    <a:pt x="465" y="416"/>
                  </a:lnTo>
                  <a:lnTo>
                    <a:pt x="463" y="418"/>
                  </a:lnTo>
                  <a:lnTo>
                    <a:pt x="461" y="420"/>
                  </a:lnTo>
                  <a:lnTo>
                    <a:pt x="461" y="420"/>
                  </a:lnTo>
                  <a:lnTo>
                    <a:pt x="459" y="423"/>
                  </a:lnTo>
                  <a:lnTo>
                    <a:pt x="459" y="423"/>
                  </a:lnTo>
                  <a:lnTo>
                    <a:pt x="459" y="427"/>
                  </a:lnTo>
                  <a:lnTo>
                    <a:pt x="461" y="427"/>
                  </a:lnTo>
                  <a:lnTo>
                    <a:pt x="463" y="425"/>
                  </a:lnTo>
                  <a:lnTo>
                    <a:pt x="467" y="416"/>
                  </a:lnTo>
                  <a:lnTo>
                    <a:pt x="467" y="416"/>
                  </a:lnTo>
                  <a:lnTo>
                    <a:pt x="467" y="414"/>
                  </a:lnTo>
                  <a:lnTo>
                    <a:pt x="467" y="412"/>
                  </a:lnTo>
                  <a:lnTo>
                    <a:pt x="469" y="412"/>
                  </a:lnTo>
                  <a:lnTo>
                    <a:pt x="471" y="410"/>
                  </a:lnTo>
                  <a:lnTo>
                    <a:pt x="473" y="410"/>
                  </a:lnTo>
                  <a:lnTo>
                    <a:pt x="473" y="410"/>
                  </a:lnTo>
                  <a:lnTo>
                    <a:pt x="473" y="408"/>
                  </a:lnTo>
                  <a:lnTo>
                    <a:pt x="473" y="408"/>
                  </a:lnTo>
                  <a:lnTo>
                    <a:pt x="473" y="406"/>
                  </a:lnTo>
                  <a:lnTo>
                    <a:pt x="473" y="406"/>
                  </a:lnTo>
                  <a:lnTo>
                    <a:pt x="473" y="406"/>
                  </a:lnTo>
                  <a:lnTo>
                    <a:pt x="475" y="406"/>
                  </a:lnTo>
                  <a:lnTo>
                    <a:pt x="475" y="408"/>
                  </a:lnTo>
                  <a:lnTo>
                    <a:pt x="479" y="410"/>
                  </a:lnTo>
                  <a:lnTo>
                    <a:pt x="479" y="412"/>
                  </a:lnTo>
                  <a:lnTo>
                    <a:pt x="479" y="414"/>
                  </a:lnTo>
                  <a:lnTo>
                    <a:pt x="483" y="416"/>
                  </a:lnTo>
                  <a:lnTo>
                    <a:pt x="483" y="416"/>
                  </a:lnTo>
                  <a:lnTo>
                    <a:pt x="486" y="416"/>
                  </a:lnTo>
                  <a:lnTo>
                    <a:pt x="483" y="412"/>
                  </a:lnTo>
                  <a:lnTo>
                    <a:pt x="483" y="410"/>
                  </a:lnTo>
                  <a:lnTo>
                    <a:pt x="486" y="408"/>
                  </a:lnTo>
                  <a:lnTo>
                    <a:pt x="486" y="406"/>
                  </a:lnTo>
                  <a:lnTo>
                    <a:pt x="488" y="406"/>
                  </a:lnTo>
                  <a:lnTo>
                    <a:pt x="488" y="406"/>
                  </a:lnTo>
                  <a:lnTo>
                    <a:pt x="488" y="406"/>
                  </a:lnTo>
                  <a:lnTo>
                    <a:pt x="490" y="408"/>
                  </a:lnTo>
                  <a:lnTo>
                    <a:pt x="490" y="406"/>
                  </a:lnTo>
                  <a:lnTo>
                    <a:pt x="488" y="404"/>
                  </a:lnTo>
                  <a:lnTo>
                    <a:pt x="488" y="404"/>
                  </a:lnTo>
                  <a:lnTo>
                    <a:pt x="488" y="402"/>
                  </a:lnTo>
                  <a:lnTo>
                    <a:pt x="490" y="402"/>
                  </a:lnTo>
                  <a:lnTo>
                    <a:pt x="490" y="404"/>
                  </a:lnTo>
                  <a:lnTo>
                    <a:pt x="490" y="404"/>
                  </a:lnTo>
                  <a:lnTo>
                    <a:pt x="492" y="406"/>
                  </a:lnTo>
                  <a:lnTo>
                    <a:pt x="492" y="404"/>
                  </a:lnTo>
                  <a:lnTo>
                    <a:pt x="494" y="400"/>
                  </a:lnTo>
                  <a:lnTo>
                    <a:pt x="488" y="400"/>
                  </a:lnTo>
                  <a:lnTo>
                    <a:pt x="488" y="400"/>
                  </a:lnTo>
                  <a:lnTo>
                    <a:pt x="488" y="398"/>
                  </a:lnTo>
                  <a:lnTo>
                    <a:pt x="488" y="398"/>
                  </a:lnTo>
                  <a:lnTo>
                    <a:pt x="490" y="396"/>
                  </a:lnTo>
                  <a:lnTo>
                    <a:pt x="492" y="396"/>
                  </a:lnTo>
                  <a:lnTo>
                    <a:pt x="492" y="396"/>
                  </a:lnTo>
                  <a:lnTo>
                    <a:pt x="492" y="396"/>
                  </a:lnTo>
                  <a:close/>
                  <a:moveTo>
                    <a:pt x="449" y="336"/>
                  </a:moveTo>
                  <a:lnTo>
                    <a:pt x="449" y="334"/>
                  </a:lnTo>
                  <a:lnTo>
                    <a:pt x="447" y="334"/>
                  </a:lnTo>
                  <a:lnTo>
                    <a:pt x="447" y="334"/>
                  </a:lnTo>
                  <a:lnTo>
                    <a:pt x="447" y="334"/>
                  </a:lnTo>
                  <a:lnTo>
                    <a:pt x="445" y="332"/>
                  </a:lnTo>
                  <a:lnTo>
                    <a:pt x="443" y="334"/>
                  </a:lnTo>
                  <a:lnTo>
                    <a:pt x="443" y="336"/>
                  </a:lnTo>
                  <a:lnTo>
                    <a:pt x="445" y="341"/>
                  </a:lnTo>
                  <a:lnTo>
                    <a:pt x="445" y="338"/>
                  </a:lnTo>
                  <a:lnTo>
                    <a:pt x="447" y="336"/>
                  </a:lnTo>
                  <a:lnTo>
                    <a:pt x="447" y="336"/>
                  </a:lnTo>
                  <a:lnTo>
                    <a:pt x="447" y="336"/>
                  </a:lnTo>
                  <a:lnTo>
                    <a:pt x="449" y="338"/>
                  </a:lnTo>
                  <a:lnTo>
                    <a:pt x="449" y="338"/>
                  </a:lnTo>
                  <a:lnTo>
                    <a:pt x="451" y="338"/>
                  </a:lnTo>
                  <a:lnTo>
                    <a:pt x="449" y="338"/>
                  </a:lnTo>
                  <a:lnTo>
                    <a:pt x="449" y="336"/>
                  </a:lnTo>
                  <a:close/>
                  <a:moveTo>
                    <a:pt x="498" y="341"/>
                  </a:moveTo>
                  <a:lnTo>
                    <a:pt x="500" y="336"/>
                  </a:lnTo>
                  <a:lnTo>
                    <a:pt x="502" y="334"/>
                  </a:lnTo>
                  <a:lnTo>
                    <a:pt x="496" y="343"/>
                  </a:lnTo>
                  <a:lnTo>
                    <a:pt x="498" y="341"/>
                  </a:lnTo>
                  <a:close/>
                  <a:moveTo>
                    <a:pt x="412" y="388"/>
                  </a:moveTo>
                  <a:lnTo>
                    <a:pt x="412" y="388"/>
                  </a:lnTo>
                  <a:lnTo>
                    <a:pt x="412" y="388"/>
                  </a:lnTo>
                  <a:lnTo>
                    <a:pt x="412" y="388"/>
                  </a:lnTo>
                  <a:lnTo>
                    <a:pt x="410" y="388"/>
                  </a:lnTo>
                  <a:lnTo>
                    <a:pt x="410" y="388"/>
                  </a:lnTo>
                  <a:lnTo>
                    <a:pt x="410" y="388"/>
                  </a:lnTo>
                  <a:lnTo>
                    <a:pt x="410" y="390"/>
                  </a:lnTo>
                  <a:lnTo>
                    <a:pt x="412" y="390"/>
                  </a:lnTo>
                  <a:lnTo>
                    <a:pt x="412" y="390"/>
                  </a:lnTo>
                  <a:lnTo>
                    <a:pt x="412" y="390"/>
                  </a:lnTo>
                  <a:lnTo>
                    <a:pt x="412" y="390"/>
                  </a:lnTo>
                  <a:lnTo>
                    <a:pt x="412" y="390"/>
                  </a:lnTo>
                  <a:lnTo>
                    <a:pt x="414" y="388"/>
                  </a:lnTo>
                  <a:lnTo>
                    <a:pt x="414" y="388"/>
                  </a:lnTo>
                  <a:lnTo>
                    <a:pt x="412" y="388"/>
                  </a:lnTo>
                  <a:lnTo>
                    <a:pt x="412" y="388"/>
                  </a:lnTo>
                  <a:close/>
                  <a:moveTo>
                    <a:pt x="504" y="308"/>
                  </a:moveTo>
                  <a:lnTo>
                    <a:pt x="502" y="306"/>
                  </a:lnTo>
                  <a:lnTo>
                    <a:pt x="502" y="304"/>
                  </a:lnTo>
                  <a:lnTo>
                    <a:pt x="500" y="302"/>
                  </a:lnTo>
                  <a:lnTo>
                    <a:pt x="498" y="300"/>
                  </a:lnTo>
                  <a:lnTo>
                    <a:pt x="500" y="302"/>
                  </a:lnTo>
                  <a:lnTo>
                    <a:pt x="502" y="302"/>
                  </a:lnTo>
                  <a:lnTo>
                    <a:pt x="502" y="306"/>
                  </a:lnTo>
                  <a:lnTo>
                    <a:pt x="502" y="308"/>
                  </a:lnTo>
                  <a:lnTo>
                    <a:pt x="502" y="308"/>
                  </a:lnTo>
                  <a:lnTo>
                    <a:pt x="504" y="310"/>
                  </a:lnTo>
                  <a:lnTo>
                    <a:pt x="504" y="312"/>
                  </a:lnTo>
                  <a:lnTo>
                    <a:pt x="504" y="314"/>
                  </a:lnTo>
                  <a:lnTo>
                    <a:pt x="504" y="316"/>
                  </a:lnTo>
                  <a:lnTo>
                    <a:pt x="506" y="320"/>
                  </a:lnTo>
                  <a:lnTo>
                    <a:pt x="504" y="322"/>
                  </a:lnTo>
                  <a:lnTo>
                    <a:pt x="502" y="328"/>
                  </a:lnTo>
                  <a:lnTo>
                    <a:pt x="502" y="328"/>
                  </a:lnTo>
                  <a:lnTo>
                    <a:pt x="504" y="330"/>
                  </a:lnTo>
                  <a:lnTo>
                    <a:pt x="504" y="330"/>
                  </a:lnTo>
                  <a:lnTo>
                    <a:pt x="504" y="330"/>
                  </a:lnTo>
                  <a:lnTo>
                    <a:pt x="506" y="326"/>
                  </a:lnTo>
                  <a:lnTo>
                    <a:pt x="506" y="324"/>
                  </a:lnTo>
                  <a:lnTo>
                    <a:pt x="506" y="314"/>
                  </a:lnTo>
                  <a:lnTo>
                    <a:pt x="504" y="308"/>
                  </a:lnTo>
                  <a:close/>
                  <a:moveTo>
                    <a:pt x="371" y="412"/>
                  </a:moveTo>
                  <a:lnTo>
                    <a:pt x="369" y="412"/>
                  </a:lnTo>
                  <a:lnTo>
                    <a:pt x="369" y="412"/>
                  </a:lnTo>
                  <a:lnTo>
                    <a:pt x="369" y="412"/>
                  </a:lnTo>
                  <a:lnTo>
                    <a:pt x="369" y="414"/>
                  </a:lnTo>
                  <a:lnTo>
                    <a:pt x="369" y="414"/>
                  </a:lnTo>
                  <a:lnTo>
                    <a:pt x="367" y="414"/>
                  </a:lnTo>
                  <a:lnTo>
                    <a:pt x="365" y="416"/>
                  </a:lnTo>
                  <a:lnTo>
                    <a:pt x="365" y="416"/>
                  </a:lnTo>
                  <a:lnTo>
                    <a:pt x="365" y="416"/>
                  </a:lnTo>
                  <a:lnTo>
                    <a:pt x="371" y="414"/>
                  </a:lnTo>
                  <a:lnTo>
                    <a:pt x="371" y="414"/>
                  </a:lnTo>
                  <a:lnTo>
                    <a:pt x="371" y="412"/>
                  </a:lnTo>
                  <a:close/>
                  <a:moveTo>
                    <a:pt x="406" y="394"/>
                  </a:moveTo>
                  <a:lnTo>
                    <a:pt x="404" y="394"/>
                  </a:lnTo>
                  <a:lnTo>
                    <a:pt x="404" y="396"/>
                  </a:lnTo>
                  <a:lnTo>
                    <a:pt x="402" y="398"/>
                  </a:lnTo>
                  <a:lnTo>
                    <a:pt x="399" y="398"/>
                  </a:lnTo>
                  <a:lnTo>
                    <a:pt x="399" y="400"/>
                  </a:lnTo>
                  <a:lnTo>
                    <a:pt x="399" y="400"/>
                  </a:lnTo>
                  <a:lnTo>
                    <a:pt x="399" y="400"/>
                  </a:lnTo>
                  <a:lnTo>
                    <a:pt x="404" y="398"/>
                  </a:lnTo>
                  <a:lnTo>
                    <a:pt x="406" y="396"/>
                  </a:lnTo>
                  <a:lnTo>
                    <a:pt x="406" y="396"/>
                  </a:lnTo>
                  <a:lnTo>
                    <a:pt x="406" y="394"/>
                  </a:lnTo>
                  <a:close/>
                  <a:moveTo>
                    <a:pt x="408" y="392"/>
                  </a:moveTo>
                  <a:lnTo>
                    <a:pt x="408" y="392"/>
                  </a:lnTo>
                  <a:lnTo>
                    <a:pt x="408" y="394"/>
                  </a:lnTo>
                  <a:lnTo>
                    <a:pt x="408" y="394"/>
                  </a:lnTo>
                  <a:lnTo>
                    <a:pt x="410" y="392"/>
                  </a:lnTo>
                  <a:lnTo>
                    <a:pt x="410" y="392"/>
                  </a:lnTo>
                  <a:lnTo>
                    <a:pt x="408" y="392"/>
                  </a:lnTo>
                  <a:lnTo>
                    <a:pt x="408" y="392"/>
                  </a:lnTo>
                  <a:close/>
                  <a:moveTo>
                    <a:pt x="375" y="416"/>
                  </a:moveTo>
                  <a:lnTo>
                    <a:pt x="375" y="416"/>
                  </a:lnTo>
                  <a:lnTo>
                    <a:pt x="373" y="418"/>
                  </a:lnTo>
                  <a:lnTo>
                    <a:pt x="373" y="418"/>
                  </a:lnTo>
                  <a:lnTo>
                    <a:pt x="371" y="420"/>
                  </a:lnTo>
                  <a:lnTo>
                    <a:pt x="377" y="418"/>
                  </a:lnTo>
                  <a:lnTo>
                    <a:pt x="377" y="416"/>
                  </a:lnTo>
                  <a:lnTo>
                    <a:pt x="375" y="416"/>
                  </a:lnTo>
                  <a:close/>
                  <a:moveTo>
                    <a:pt x="393" y="373"/>
                  </a:moveTo>
                  <a:lnTo>
                    <a:pt x="393" y="373"/>
                  </a:lnTo>
                  <a:lnTo>
                    <a:pt x="393" y="375"/>
                  </a:lnTo>
                  <a:lnTo>
                    <a:pt x="395" y="375"/>
                  </a:lnTo>
                  <a:lnTo>
                    <a:pt x="395" y="375"/>
                  </a:lnTo>
                  <a:lnTo>
                    <a:pt x="395" y="373"/>
                  </a:lnTo>
                  <a:lnTo>
                    <a:pt x="395" y="375"/>
                  </a:lnTo>
                  <a:lnTo>
                    <a:pt x="397" y="375"/>
                  </a:lnTo>
                  <a:lnTo>
                    <a:pt x="397" y="375"/>
                  </a:lnTo>
                  <a:lnTo>
                    <a:pt x="397" y="375"/>
                  </a:lnTo>
                  <a:lnTo>
                    <a:pt x="399" y="375"/>
                  </a:lnTo>
                  <a:lnTo>
                    <a:pt x="399" y="375"/>
                  </a:lnTo>
                  <a:lnTo>
                    <a:pt x="399" y="375"/>
                  </a:lnTo>
                  <a:lnTo>
                    <a:pt x="399" y="375"/>
                  </a:lnTo>
                  <a:lnTo>
                    <a:pt x="399" y="375"/>
                  </a:lnTo>
                  <a:lnTo>
                    <a:pt x="399" y="375"/>
                  </a:lnTo>
                  <a:lnTo>
                    <a:pt x="399" y="375"/>
                  </a:lnTo>
                  <a:lnTo>
                    <a:pt x="399" y="373"/>
                  </a:lnTo>
                  <a:lnTo>
                    <a:pt x="399" y="373"/>
                  </a:lnTo>
                  <a:lnTo>
                    <a:pt x="399" y="373"/>
                  </a:lnTo>
                  <a:lnTo>
                    <a:pt x="399" y="375"/>
                  </a:lnTo>
                  <a:lnTo>
                    <a:pt x="397" y="375"/>
                  </a:lnTo>
                  <a:lnTo>
                    <a:pt x="397" y="375"/>
                  </a:lnTo>
                  <a:lnTo>
                    <a:pt x="397" y="373"/>
                  </a:lnTo>
                  <a:lnTo>
                    <a:pt x="395" y="373"/>
                  </a:lnTo>
                  <a:lnTo>
                    <a:pt x="397" y="373"/>
                  </a:lnTo>
                  <a:lnTo>
                    <a:pt x="397" y="373"/>
                  </a:lnTo>
                  <a:lnTo>
                    <a:pt x="397" y="371"/>
                  </a:lnTo>
                  <a:lnTo>
                    <a:pt x="395" y="371"/>
                  </a:lnTo>
                  <a:lnTo>
                    <a:pt x="395" y="371"/>
                  </a:lnTo>
                  <a:lnTo>
                    <a:pt x="393" y="371"/>
                  </a:lnTo>
                  <a:lnTo>
                    <a:pt x="393" y="371"/>
                  </a:lnTo>
                  <a:lnTo>
                    <a:pt x="393" y="369"/>
                  </a:lnTo>
                  <a:lnTo>
                    <a:pt x="391" y="369"/>
                  </a:lnTo>
                  <a:lnTo>
                    <a:pt x="389" y="369"/>
                  </a:lnTo>
                  <a:lnTo>
                    <a:pt x="389" y="369"/>
                  </a:lnTo>
                  <a:lnTo>
                    <a:pt x="387" y="369"/>
                  </a:lnTo>
                  <a:lnTo>
                    <a:pt x="387" y="371"/>
                  </a:lnTo>
                  <a:lnTo>
                    <a:pt x="387" y="371"/>
                  </a:lnTo>
                  <a:lnTo>
                    <a:pt x="389" y="373"/>
                  </a:lnTo>
                  <a:lnTo>
                    <a:pt x="391" y="373"/>
                  </a:lnTo>
                  <a:lnTo>
                    <a:pt x="391" y="373"/>
                  </a:lnTo>
                  <a:lnTo>
                    <a:pt x="393" y="373"/>
                  </a:lnTo>
                  <a:lnTo>
                    <a:pt x="393" y="373"/>
                  </a:lnTo>
                  <a:lnTo>
                    <a:pt x="393" y="373"/>
                  </a:lnTo>
                  <a:lnTo>
                    <a:pt x="393" y="373"/>
                  </a:lnTo>
                  <a:close/>
                  <a:moveTo>
                    <a:pt x="500" y="322"/>
                  </a:moveTo>
                  <a:lnTo>
                    <a:pt x="502" y="322"/>
                  </a:lnTo>
                  <a:lnTo>
                    <a:pt x="502" y="322"/>
                  </a:lnTo>
                  <a:lnTo>
                    <a:pt x="500" y="322"/>
                  </a:lnTo>
                  <a:close/>
                  <a:moveTo>
                    <a:pt x="498" y="320"/>
                  </a:moveTo>
                  <a:lnTo>
                    <a:pt x="498" y="320"/>
                  </a:lnTo>
                  <a:lnTo>
                    <a:pt x="496" y="320"/>
                  </a:lnTo>
                  <a:lnTo>
                    <a:pt x="496" y="322"/>
                  </a:lnTo>
                  <a:lnTo>
                    <a:pt x="496" y="322"/>
                  </a:lnTo>
                  <a:lnTo>
                    <a:pt x="498" y="320"/>
                  </a:lnTo>
                  <a:lnTo>
                    <a:pt x="498" y="320"/>
                  </a:lnTo>
                  <a:close/>
                  <a:moveTo>
                    <a:pt x="498" y="318"/>
                  </a:moveTo>
                  <a:lnTo>
                    <a:pt x="500" y="318"/>
                  </a:lnTo>
                  <a:lnTo>
                    <a:pt x="500" y="318"/>
                  </a:lnTo>
                  <a:lnTo>
                    <a:pt x="498" y="318"/>
                  </a:lnTo>
                  <a:lnTo>
                    <a:pt x="498" y="320"/>
                  </a:lnTo>
                  <a:lnTo>
                    <a:pt x="498" y="320"/>
                  </a:lnTo>
                  <a:lnTo>
                    <a:pt x="498" y="320"/>
                  </a:lnTo>
                  <a:lnTo>
                    <a:pt x="498" y="318"/>
                  </a:lnTo>
                  <a:close/>
                  <a:moveTo>
                    <a:pt x="500" y="318"/>
                  </a:moveTo>
                  <a:lnTo>
                    <a:pt x="500" y="318"/>
                  </a:lnTo>
                  <a:lnTo>
                    <a:pt x="500" y="320"/>
                  </a:lnTo>
                  <a:lnTo>
                    <a:pt x="500" y="320"/>
                  </a:lnTo>
                  <a:lnTo>
                    <a:pt x="500" y="318"/>
                  </a:lnTo>
                  <a:close/>
                  <a:moveTo>
                    <a:pt x="440" y="345"/>
                  </a:moveTo>
                  <a:lnTo>
                    <a:pt x="443" y="345"/>
                  </a:lnTo>
                  <a:lnTo>
                    <a:pt x="443" y="345"/>
                  </a:lnTo>
                  <a:lnTo>
                    <a:pt x="443" y="345"/>
                  </a:lnTo>
                  <a:lnTo>
                    <a:pt x="443" y="345"/>
                  </a:lnTo>
                  <a:lnTo>
                    <a:pt x="443" y="345"/>
                  </a:lnTo>
                  <a:lnTo>
                    <a:pt x="443" y="345"/>
                  </a:lnTo>
                  <a:lnTo>
                    <a:pt x="443" y="345"/>
                  </a:lnTo>
                  <a:lnTo>
                    <a:pt x="440" y="343"/>
                  </a:lnTo>
                  <a:lnTo>
                    <a:pt x="440" y="343"/>
                  </a:lnTo>
                  <a:lnTo>
                    <a:pt x="440" y="343"/>
                  </a:lnTo>
                  <a:lnTo>
                    <a:pt x="440" y="343"/>
                  </a:lnTo>
                  <a:lnTo>
                    <a:pt x="440" y="345"/>
                  </a:lnTo>
                  <a:lnTo>
                    <a:pt x="440" y="345"/>
                  </a:lnTo>
                  <a:lnTo>
                    <a:pt x="440" y="345"/>
                  </a:lnTo>
                  <a:lnTo>
                    <a:pt x="440" y="345"/>
                  </a:lnTo>
                  <a:lnTo>
                    <a:pt x="440" y="345"/>
                  </a:lnTo>
                  <a:lnTo>
                    <a:pt x="440" y="345"/>
                  </a:lnTo>
                  <a:lnTo>
                    <a:pt x="440" y="345"/>
                  </a:lnTo>
                  <a:close/>
                  <a:moveTo>
                    <a:pt x="492" y="328"/>
                  </a:moveTo>
                  <a:lnTo>
                    <a:pt x="492" y="328"/>
                  </a:lnTo>
                  <a:lnTo>
                    <a:pt x="492" y="326"/>
                  </a:lnTo>
                  <a:lnTo>
                    <a:pt x="492" y="326"/>
                  </a:lnTo>
                  <a:lnTo>
                    <a:pt x="492" y="328"/>
                  </a:lnTo>
                  <a:lnTo>
                    <a:pt x="492" y="330"/>
                  </a:lnTo>
                  <a:lnTo>
                    <a:pt x="492" y="330"/>
                  </a:lnTo>
                  <a:lnTo>
                    <a:pt x="492" y="328"/>
                  </a:lnTo>
                  <a:close/>
                  <a:moveTo>
                    <a:pt x="467" y="314"/>
                  </a:moveTo>
                  <a:lnTo>
                    <a:pt x="467" y="312"/>
                  </a:lnTo>
                  <a:lnTo>
                    <a:pt x="465" y="312"/>
                  </a:lnTo>
                  <a:lnTo>
                    <a:pt x="465" y="314"/>
                  </a:lnTo>
                  <a:lnTo>
                    <a:pt x="463" y="316"/>
                  </a:lnTo>
                  <a:lnTo>
                    <a:pt x="463" y="316"/>
                  </a:lnTo>
                  <a:lnTo>
                    <a:pt x="463" y="316"/>
                  </a:lnTo>
                  <a:lnTo>
                    <a:pt x="465" y="316"/>
                  </a:lnTo>
                  <a:lnTo>
                    <a:pt x="465" y="314"/>
                  </a:lnTo>
                  <a:lnTo>
                    <a:pt x="465" y="314"/>
                  </a:lnTo>
                  <a:lnTo>
                    <a:pt x="467" y="314"/>
                  </a:lnTo>
                  <a:close/>
                </a:path>
              </a:pathLst>
            </a:custGeom>
            <a:solidFill>
              <a:schemeClr val="accent1">
                <a:lumMod val="60000"/>
                <a:lumOff val="40000"/>
              </a:schemeClr>
            </a:solidFill>
            <a:ln w="3175" cap="rnd">
              <a:solidFill>
                <a:schemeClr val="bg1"/>
              </a:solidFill>
              <a:prstDash val="solid"/>
              <a:round/>
              <a:headEnd/>
              <a:tailEnd/>
            </a:ln>
          </p:spPr>
          <p:txBody>
            <a:bodyPr vert="horz" wrap="square" lIns="144000" tIns="0" rIns="0" bIns="240000" numCol="1" anchor="ctr"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LA</a:t>
              </a:r>
            </a:p>
          </p:txBody>
        </p:sp>
        <p:sp>
          <p:nvSpPr>
            <p:cNvPr id="223" name="Freeform 38">
              <a:extLst>
                <a:ext uri="{FF2B5EF4-FFF2-40B4-BE49-F238E27FC236}">
                  <a16:creationId xmlns:a16="http://schemas.microsoft.com/office/drawing/2014/main" id="{BE48699A-11D0-DE4B-8A0A-C448C2051AC5}"/>
                </a:ext>
              </a:extLst>
            </p:cNvPr>
            <p:cNvSpPr>
              <a:spLocks noEditPoints="1"/>
            </p:cNvSpPr>
            <p:nvPr/>
          </p:nvSpPr>
          <p:spPr bwMode="auto">
            <a:xfrm>
              <a:off x="3639" y="1125"/>
              <a:ext cx="641" cy="330"/>
            </a:xfrm>
            <a:custGeom>
              <a:avLst/>
              <a:gdLst>
                <a:gd name="T0" fmla="*/ 624 w 641"/>
                <a:gd name="T1" fmla="*/ 131 h 330"/>
                <a:gd name="T2" fmla="*/ 616 w 641"/>
                <a:gd name="T3" fmla="*/ 125 h 330"/>
                <a:gd name="T4" fmla="*/ 606 w 641"/>
                <a:gd name="T5" fmla="*/ 117 h 330"/>
                <a:gd name="T6" fmla="*/ 596 w 641"/>
                <a:gd name="T7" fmla="*/ 103 h 330"/>
                <a:gd name="T8" fmla="*/ 590 w 641"/>
                <a:gd name="T9" fmla="*/ 94 h 330"/>
                <a:gd name="T10" fmla="*/ 573 w 641"/>
                <a:gd name="T11" fmla="*/ 76 h 330"/>
                <a:gd name="T12" fmla="*/ 575 w 641"/>
                <a:gd name="T13" fmla="*/ 70 h 330"/>
                <a:gd name="T14" fmla="*/ 577 w 641"/>
                <a:gd name="T15" fmla="*/ 66 h 330"/>
                <a:gd name="T16" fmla="*/ 573 w 641"/>
                <a:gd name="T17" fmla="*/ 51 h 330"/>
                <a:gd name="T18" fmla="*/ 547 w 641"/>
                <a:gd name="T19" fmla="*/ 31 h 330"/>
                <a:gd name="T20" fmla="*/ 530 w 641"/>
                <a:gd name="T21" fmla="*/ 25 h 330"/>
                <a:gd name="T22" fmla="*/ 516 w 641"/>
                <a:gd name="T23" fmla="*/ 35 h 330"/>
                <a:gd name="T24" fmla="*/ 499 w 641"/>
                <a:gd name="T25" fmla="*/ 33 h 330"/>
                <a:gd name="T26" fmla="*/ 481 w 641"/>
                <a:gd name="T27" fmla="*/ 37 h 330"/>
                <a:gd name="T28" fmla="*/ 456 w 641"/>
                <a:gd name="T29" fmla="*/ 29 h 330"/>
                <a:gd name="T30" fmla="*/ 426 w 641"/>
                <a:gd name="T31" fmla="*/ 19 h 330"/>
                <a:gd name="T32" fmla="*/ 413 w 641"/>
                <a:gd name="T33" fmla="*/ 6 h 330"/>
                <a:gd name="T34" fmla="*/ 385 w 641"/>
                <a:gd name="T35" fmla="*/ 2 h 330"/>
                <a:gd name="T36" fmla="*/ 370 w 641"/>
                <a:gd name="T37" fmla="*/ 10 h 330"/>
                <a:gd name="T38" fmla="*/ 379 w 641"/>
                <a:gd name="T39" fmla="*/ 27 h 330"/>
                <a:gd name="T40" fmla="*/ 364 w 641"/>
                <a:gd name="T41" fmla="*/ 41 h 330"/>
                <a:gd name="T42" fmla="*/ 327 w 641"/>
                <a:gd name="T43" fmla="*/ 55 h 330"/>
                <a:gd name="T44" fmla="*/ 321 w 641"/>
                <a:gd name="T45" fmla="*/ 82 h 330"/>
                <a:gd name="T46" fmla="*/ 305 w 641"/>
                <a:gd name="T47" fmla="*/ 103 h 330"/>
                <a:gd name="T48" fmla="*/ 297 w 641"/>
                <a:gd name="T49" fmla="*/ 117 h 330"/>
                <a:gd name="T50" fmla="*/ 286 w 641"/>
                <a:gd name="T51" fmla="*/ 139 h 330"/>
                <a:gd name="T52" fmla="*/ 264 w 641"/>
                <a:gd name="T53" fmla="*/ 127 h 330"/>
                <a:gd name="T54" fmla="*/ 260 w 641"/>
                <a:gd name="T55" fmla="*/ 123 h 330"/>
                <a:gd name="T56" fmla="*/ 250 w 641"/>
                <a:gd name="T57" fmla="*/ 127 h 330"/>
                <a:gd name="T58" fmla="*/ 245 w 641"/>
                <a:gd name="T59" fmla="*/ 148 h 330"/>
                <a:gd name="T60" fmla="*/ 237 w 641"/>
                <a:gd name="T61" fmla="*/ 152 h 330"/>
                <a:gd name="T62" fmla="*/ 213 w 641"/>
                <a:gd name="T63" fmla="*/ 152 h 330"/>
                <a:gd name="T64" fmla="*/ 196 w 641"/>
                <a:gd name="T65" fmla="*/ 168 h 330"/>
                <a:gd name="T66" fmla="*/ 184 w 641"/>
                <a:gd name="T67" fmla="*/ 162 h 330"/>
                <a:gd name="T68" fmla="*/ 155 w 641"/>
                <a:gd name="T69" fmla="*/ 158 h 330"/>
                <a:gd name="T70" fmla="*/ 155 w 641"/>
                <a:gd name="T71" fmla="*/ 164 h 330"/>
                <a:gd name="T72" fmla="*/ 145 w 641"/>
                <a:gd name="T73" fmla="*/ 164 h 330"/>
                <a:gd name="T74" fmla="*/ 129 w 641"/>
                <a:gd name="T75" fmla="*/ 162 h 330"/>
                <a:gd name="T76" fmla="*/ 119 w 641"/>
                <a:gd name="T77" fmla="*/ 176 h 330"/>
                <a:gd name="T78" fmla="*/ 112 w 641"/>
                <a:gd name="T79" fmla="*/ 201 h 330"/>
                <a:gd name="T80" fmla="*/ 88 w 641"/>
                <a:gd name="T81" fmla="*/ 221 h 330"/>
                <a:gd name="T82" fmla="*/ 92 w 641"/>
                <a:gd name="T83" fmla="*/ 252 h 330"/>
                <a:gd name="T84" fmla="*/ 37 w 641"/>
                <a:gd name="T85" fmla="*/ 252 h 330"/>
                <a:gd name="T86" fmla="*/ 37 w 641"/>
                <a:gd name="T87" fmla="*/ 285 h 330"/>
                <a:gd name="T88" fmla="*/ 32 w 641"/>
                <a:gd name="T89" fmla="*/ 310 h 330"/>
                <a:gd name="T90" fmla="*/ 16 w 641"/>
                <a:gd name="T91" fmla="*/ 316 h 330"/>
                <a:gd name="T92" fmla="*/ 104 w 641"/>
                <a:gd name="T93" fmla="*/ 320 h 330"/>
                <a:gd name="T94" fmla="*/ 129 w 641"/>
                <a:gd name="T95" fmla="*/ 295 h 330"/>
                <a:gd name="T96" fmla="*/ 149 w 641"/>
                <a:gd name="T97" fmla="*/ 299 h 330"/>
                <a:gd name="T98" fmla="*/ 215 w 641"/>
                <a:gd name="T99" fmla="*/ 291 h 330"/>
                <a:gd name="T100" fmla="*/ 264 w 641"/>
                <a:gd name="T101" fmla="*/ 283 h 330"/>
                <a:gd name="T102" fmla="*/ 407 w 641"/>
                <a:gd name="T103" fmla="*/ 271 h 330"/>
                <a:gd name="T104" fmla="*/ 510 w 641"/>
                <a:gd name="T105" fmla="*/ 256 h 330"/>
                <a:gd name="T106" fmla="*/ 545 w 641"/>
                <a:gd name="T107" fmla="*/ 236 h 330"/>
                <a:gd name="T108" fmla="*/ 557 w 641"/>
                <a:gd name="T109" fmla="*/ 228 h 330"/>
                <a:gd name="T110" fmla="*/ 575 w 641"/>
                <a:gd name="T111" fmla="*/ 213 h 330"/>
                <a:gd name="T112" fmla="*/ 577 w 641"/>
                <a:gd name="T113" fmla="*/ 203 h 330"/>
                <a:gd name="T114" fmla="*/ 583 w 641"/>
                <a:gd name="T115" fmla="*/ 189 h 330"/>
                <a:gd name="T116" fmla="*/ 631 w 641"/>
                <a:gd name="T117" fmla="*/ 146 h 330"/>
                <a:gd name="T118" fmla="*/ 8 w 641"/>
                <a:gd name="T119" fmla="*/ 32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1" h="330">
                  <a:moveTo>
                    <a:pt x="639" y="133"/>
                  </a:moveTo>
                  <a:lnTo>
                    <a:pt x="639" y="133"/>
                  </a:lnTo>
                  <a:lnTo>
                    <a:pt x="635" y="135"/>
                  </a:lnTo>
                  <a:lnTo>
                    <a:pt x="635" y="135"/>
                  </a:lnTo>
                  <a:lnTo>
                    <a:pt x="626" y="133"/>
                  </a:lnTo>
                  <a:lnTo>
                    <a:pt x="626" y="133"/>
                  </a:lnTo>
                  <a:lnTo>
                    <a:pt x="624" y="133"/>
                  </a:lnTo>
                  <a:lnTo>
                    <a:pt x="624" y="131"/>
                  </a:lnTo>
                  <a:lnTo>
                    <a:pt x="624" y="131"/>
                  </a:lnTo>
                  <a:lnTo>
                    <a:pt x="624" y="131"/>
                  </a:lnTo>
                  <a:lnTo>
                    <a:pt x="624" y="131"/>
                  </a:lnTo>
                  <a:lnTo>
                    <a:pt x="624" y="129"/>
                  </a:lnTo>
                  <a:lnTo>
                    <a:pt x="624" y="129"/>
                  </a:lnTo>
                  <a:lnTo>
                    <a:pt x="620" y="127"/>
                  </a:lnTo>
                  <a:lnTo>
                    <a:pt x="620" y="127"/>
                  </a:lnTo>
                  <a:lnTo>
                    <a:pt x="620" y="127"/>
                  </a:lnTo>
                  <a:lnTo>
                    <a:pt x="618" y="127"/>
                  </a:lnTo>
                  <a:lnTo>
                    <a:pt x="618" y="127"/>
                  </a:lnTo>
                  <a:lnTo>
                    <a:pt x="616" y="125"/>
                  </a:lnTo>
                  <a:lnTo>
                    <a:pt x="616" y="125"/>
                  </a:lnTo>
                  <a:lnTo>
                    <a:pt x="616" y="125"/>
                  </a:lnTo>
                  <a:lnTo>
                    <a:pt x="614" y="125"/>
                  </a:lnTo>
                  <a:lnTo>
                    <a:pt x="610" y="123"/>
                  </a:lnTo>
                  <a:lnTo>
                    <a:pt x="610" y="123"/>
                  </a:lnTo>
                  <a:lnTo>
                    <a:pt x="610" y="123"/>
                  </a:lnTo>
                  <a:lnTo>
                    <a:pt x="610" y="121"/>
                  </a:lnTo>
                  <a:lnTo>
                    <a:pt x="608" y="119"/>
                  </a:lnTo>
                  <a:lnTo>
                    <a:pt x="608" y="117"/>
                  </a:lnTo>
                  <a:lnTo>
                    <a:pt x="608" y="117"/>
                  </a:lnTo>
                  <a:lnTo>
                    <a:pt x="606" y="117"/>
                  </a:lnTo>
                  <a:lnTo>
                    <a:pt x="606" y="115"/>
                  </a:lnTo>
                  <a:lnTo>
                    <a:pt x="598" y="111"/>
                  </a:lnTo>
                  <a:lnTo>
                    <a:pt x="598" y="109"/>
                  </a:lnTo>
                  <a:lnTo>
                    <a:pt x="598" y="109"/>
                  </a:lnTo>
                  <a:lnTo>
                    <a:pt x="598" y="109"/>
                  </a:lnTo>
                  <a:lnTo>
                    <a:pt x="598" y="105"/>
                  </a:lnTo>
                  <a:lnTo>
                    <a:pt x="596" y="105"/>
                  </a:lnTo>
                  <a:lnTo>
                    <a:pt x="596" y="103"/>
                  </a:lnTo>
                  <a:lnTo>
                    <a:pt x="596" y="103"/>
                  </a:lnTo>
                  <a:lnTo>
                    <a:pt x="596" y="103"/>
                  </a:lnTo>
                  <a:lnTo>
                    <a:pt x="594" y="103"/>
                  </a:lnTo>
                  <a:lnTo>
                    <a:pt x="590" y="101"/>
                  </a:lnTo>
                  <a:lnTo>
                    <a:pt x="590" y="99"/>
                  </a:lnTo>
                  <a:lnTo>
                    <a:pt x="590" y="99"/>
                  </a:lnTo>
                  <a:lnTo>
                    <a:pt x="590" y="99"/>
                  </a:lnTo>
                  <a:lnTo>
                    <a:pt x="590" y="96"/>
                  </a:lnTo>
                  <a:lnTo>
                    <a:pt x="592" y="96"/>
                  </a:lnTo>
                  <a:lnTo>
                    <a:pt x="592" y="96"/>
                  </a:lnTo>
                  <a:lnTo>
                    <a:pt x="590" y="94"/>
                  </a:lnTo>
                  <a:lnTo>
                    <a:pt x="590" y="94"/>
                  </a:lnTo>
                  <a:lnTo>
                    <a:pt x="590" y="94"/>
                  </a:lnTo>
                  <a:lnTo>
                    <a:pt x="590" y="94"/>
                  </a:lnTo>
                  <a:lnTo>
                    <a:pt x="583" y="90"/>
                  </a:lnTo>
                  <a:lnTo>
                    <a:pt x="583" y="90"/>
                  </a:lnTo>
                  <a:lnTo>
                    <a:pt x="583" y="88"/>
                  </a:lnTo>
                  <a:lnTo>
                    <a:pt x="581" y="86"/>
                  </a:lnTo>
                  <a:lnTo>
                    <a:pt x="581" y="86"/>
                  </a:lnTo>
                  <a:lnTo>
                    <a:pt x="573" y="78"/>
                  </a:lnTo>
                  <a:lnTo>
                    <a:pt x="573" y="78"/>
                  </a:lnTo>
                  <a:lnTo>
                    <a:pt x="573" y="76"/>
                  </a:lnTo>
                  <a:lnTo>
                    <a:pt x="573" y="76"/>
                  </a:lnTo>
                  <a:lnTo>
                    <a:pt x="573" y="76"/>
                  </a:lnTo>
                  <a:lnTo>
                    <a:pt x="573" y="76"/>
                  </a:lnTo>
                  <a:lnTo>
                    <a:pt x="573" y="76"/>
                  </a:lnTo>
                  <a:lnTo>
                    <a:pt x="575" y="74"/>
                  </a:lnTo>
                  <a:lnTo>
                    <a:pt x="575" y="74"/>
                  </a:lnTo>
                  <a:lnTo>
                    <a:pt x="575" y="72"/>
                  </a:lnTo>
                  <a:lnTo>
                    <a:pt x="575" y="72"/>
                  </a:lnTo>
                  <a:lnTo>
                    <a:pt x="575" y="72"/>
                  </a:lnTo>
                  <a:lnTo>
                    <a:pt x="575" y="70"/>
                  </a:lnTo>
                  <a:lnTo>
                    <a:pt x="575" y="70"/>
                  </a:lnTo>
                  <a:lnTo>
                    <a:pt x="575" y="70"/>
                  </a:lnTo>
                  <a:lnTo>
                    <a:pt x="575" y="68"/>
                  </a:lnTo>
                  <a:lnTo>
                    <a:pt x="575" y="68"/>
                  </a:lnTo>
                  <a:lnTo>
                    <a:pt x="577" y="68"/>
                  </a:lnTo>
                  <a:lnTo>
                    <a:pt x="577" y="68"/>
                  </a:lnTo>
                  <a:lnTo>
                    <a:pt x="577" y="68"/>
                  </a:lnTo>
                  <a:lnTo>
                    <a:pt x="577" y="68"/>
                  </a:lnTo>
                  <a:lnTo>
                    <a:pt x="577" y="66"/>
                  </a:lnTo>
                  <a:lnTo>
                    <a:pt x="577" y="66"/>
                  </a:lnTo>
                  <a:lnTo>
                    <a:pt x="577" y="64"/>
                  </a:lnTo>
                  <a:lnTo>
                    <a:pt x="577" y="62"/>
                  </a:lnTo>
                  <a:lnTo>
                    <a:pt x="577" y="62"/>
                  </a:lnTo>
                  <a:lnTo>
                    <a:pt x="575" y="60"/>
                  </a:lnTo>
                  <a:lnTo>
                    <a:pt x="575" y="60"/>
                  </a:lnTo>
                  <a:lnTo>
                    <a:pt x="573" y="55"/>
                  </a:lnTo>
                  <a:lnTo>
                    <a:pt x="573" y="55"/>
                  </a:lnTo>
                  <a:lnTo>
                    <a:pt x="573" y="55"/>
                  </a:lnTo>
                  <a:lnTo>
                    <a:pt x="573" y="53"/>
                  </a:lnTo>
                  <a:lnTo>
                    <a:pt x="573" y="51"/>
                  </a:lnTo>
                  <a:lnTo>
                    <a:pt x="573" y="49"/>
                  </a:lnTo>
                  <a:lnTo>
                    <a:pt x="573" y="49"/>
                  </a:lnTo>
                  <a:lnTo>
                    <a:pt x="571" y="49"/>
                  </a:lnTo>
                  <a:lnTo>
                    <a:pt x="569" y="45"/>
                  </a:lnTo>
                  <a:lnTo>
                    <a:pt x="569" y="43"/>
                  </a:lnTo>
                  <a:lnTo>
                    <a:pt x="561" y="39"/>
                  </a:lnTo>
                  <a:lnTo>
                    <a:pt x="559" y="37"/>
                  </a:lnTo>
                  <a:lnTo>
                    <a:pt x="555" y="37"/>
                  </a:lnTo>
                  <a:lnTo>
                    <a:pt x="551" y="35"/>
                  </a:lnTo>
                  <a:lnTo>
                    <a:pt x="547" y="31"/>
                  </a:lnTo>
                  <a:lnTo>
                    <a:pt x="545" y="25"/>
                  </a:lnTo>
                  <a:lnTo>
                    <a:pt x="542" y="23"/>
                  </a:lnTo>
                  <a:lnTo>
                    <a:pt x="542" y="21"/>
                  </a:lnTo>
                  <a:lnTo>
                    <a:pt x="542" y="19"/>
                  </a:lnTo>
                  <a:lnTo>
                    <a:pt x="540" y="19"/>
                  </a:lnTo>
                  <a:lnTo>
                    <a:pt x="538" y="19"/>
                  </a:lnTo>
                  <a:lnTo>
                    <a:pt x="534" y="23"/>
                  </a:lnTo>
                  <a:lnTo>
                    <a:pt x="532" y="23"/>
                  </a:lnTo>
                  <a:lnTo>
                    <a:pt x="530" y="25"/>
                  </a:lnTo>
                  <a:lnTo>
                    <a:pt x="530" y="25"/>
                  </a:lnTo>
                  <a:lnTo>
                    <a:pt x="528" y="27"/>
                  </a:lnTo>
                  <a:lnTo>
                    <a:pt x="528" y="29"/>
                  </a:lnTo>
                  <a:lnTo>
                    <a:pt x="526" y="29"/>
                  </a:lnTo>
                  <a:lnTo>
                    <a:pt x="524" y="31"/>
                  </a:lnTo>
                  <a:lnTo>
                    <a:pt x="524" y="31"/>
                  </a:lnTo>
                  <a:lnTo>
                    <a:pt x="524" y="33"/>
                  </a:lnTo>
                  <a:lnTo>
                    <a:pt x="524" y="35"/>
                  </a:lnTo>
                  <a:lnTo>
                    <a:pt x="522" y="35"/>
                  </a:lnTo>
                  <a:lnTo>
                    <a:pt x="520" y="37"/>
                  </a:lnTo>
                  <a:lnTo>
                    <a:pt x="516" y="35"/>
                  </a:lnTo>
                  <a:lnTo>
                    <a:pt x="514" y="37"/>
                  </a:lnTo>
                  <a:lnTo>
                    <a:pt x="514" y="37"/>
                  </a:lnTo>
                  <a:lnTo>
                    <a:pt x="512" y="39"/>
                  </a:lnTo>
                  <a:lnTo>
                    <a:pt x="510" y="39"/>
                  </a:lnTo>
                  <a:lnTo>
                    <a:pt x="508" y="39"/>
                  </a:lnTo>
                  <a:lnTo>
                    <a:pt x="508" y="39"/>
                  </a:lnTo>
                  <a:lnTo>
                    <a:pt x="506" y="35"/>
                  </a:lnTo>
                  <a:lnTo>
                    <a:pt x="504" y="35"/>
                  </a:lnTo>
                  <a:lnTo>
                    <a:pt x="504" y="35"/>
                  </a:lnTo>
                  <a:lnTo>
                    <a:pt x="499" y="33"/>
                  </a:lnTo>
                  <a:lnTo>
                    <a:pt x="499" y="33"/>
                  </a:lnTo>
                  <a:lnTo>
                    <a:pt x="495" y="33"/>
                  </a:lnTo>
                  <a:lnTo>
                    <a:pt x="495" y="33"/>
                  </a:lnTo>
                  <a:lnTo>
                    <a:pt x="493" y="33"/>
                  </a:lnTo>
                  <a:lnTo>
                    <a:pt x="491" y="31"/>
                  </a:lnTo>
                  <a:lnTo>
                    <a:pt x="489" y="31"/>
                  </a:lnTo>
                  <a:lnTo>
                    <a:pt x="489" y="31"/>
                  </a:lnTo>
                  <a:lnTo>
                    <a:pt x="483" y="35"/>
                  </a:lnTo>
                  <a:lnTo>
                    <a:pt x="481" y="35"/>
                  </a:lnTo>
                  <a:lnTo>
                    <a:pt x="481" y="37"/>
                  </a:lnTo>
                  <a:lnTo>
                    <a:pt x="481" y="39"/>
                  </a:lnTo>
                  <a:lnTo>
                    <a:pt x="479" y="41"/>
                  </a:lnTo>
                  <a:lnTo>
                    <a:pt x="479" y="41"/>
                  </a:lnTo>
                  <a:lnTo>
                    <a:pt x="475" y="41"/>
                  </a:lnTo>
                  <a:lnTo>
                    <a:pt x="471" y="39"/>
                  </a:lnTo>
                  <a:lnTo>
                    <a:pt x="465" y="35"/>
                  </a:lnTo>
                  <a:lnTo>
                    <a:pt x="463" y="33"/>
                  </a:lnTo>
                  <a:lnTo>
                    <a:pt x="461" y="31"/>
                  </a:lnTo>
                  <a:lnTo>
                    <a:pt x="461" y="29"/>
                  </a:lnTo>
                  <a:lnTo>
                    <a:pt x="456" y="29"/>
                  </a:lnTo>
                  <a:lnTo>
                    <a:pt x="452" y="29"/>
                  </a:lnTo>
                  <a:lnTo>
                    <a:pt x="450" y="29"/>
                  </a:lnTo>
                  <a:lnTo>
                    <a:pt x="442" y="31"/>
                  </a:lnTo>
                  <a:lnTo>
                    <a:pt x="440" y="31"/>
                  </a:lnTo>
                  <a:lnTo>
                    <a:pt x="432" y="29"/>
                  </a:lnTo>
                  <a:lnTo>
                    <a:pt x="430" y="27"/>
                  </a:lnTo>
                  <a:lnTo>
                    <a:pt x="428" y="25"/>
                  </a:lnTo>
                  <a:lnTo>
                    <a:pt x="428" y="23"/>
                  </a:lnTo>
                  <a:lnTo>
                    <a:pt x="428" y="21"/>
                  </a:lnTo>
                  <a:lnTo>
                    <a:pt x="426" y="19"/>
                  </a:lnTo>
                  <a:lnTo>
                    <a:pt x="426" y="19"/>
                  </a:lnTo>
                  <a:lnTo>
                    <a:pt x="424" y="17"/>
                  </a:lnTo>
                  <a:lnTo>
                    <a:pt x="424" y="17"/>
                  </a:lnTo>
                  <a:lnTo>
                    <a:pt x="422" y="14"/>
                  </a:lnTo>
                  <a:lnTo>
                    <a:pt x="422" y="12"/>
                  </a:lnTo>
                  <a:lnTo>
                    <a:pt x="420" y="12"/>
                  </a:lnTo>
                  <a:lnTo>
                    <a:pt x="420" y="10"/>
                  </a:lnTo>
                  <a:lnTo>
                    <a:pt x="420" y="8"/>
                  </a:lnTo>
                  <a:lnTo>
                    <a:pt x="418" y="6"/>
                  </a:lnTo>
                  <a:lnTo>
                    <a:pt x="413" y="6"/>
                  </a:lnTo>
                  <a:lnTo>
                    <a:pt x="411" y="4"/>
                  </a:lnTo>
                  <a:lnTo>
                    <a:pt x="409" y="4"/>
                  </a:lnTo>
                  <a:lnTo>
                    <a:pt x="409" y="4"/>
                  </a:lnTo>
                  <a:lnTo>
                    <a:pt x="407" y="2"/>
                  </a:lnTo>
                  <a:lnTo>
                    <a:pt x="405" y="0"/>
                  </a:lnTo>
                  <a:lnTo>
                    <a:pt x="403" y="0"/>
                  </a:lnTo>
                  <a:lnTo>
                    <a:pt x="401" y="0"/>
                  </a:lnTo>
                  <a:lnTo>
                    <a:pt x="393" y="6"/>
                  </a:lnTo>
                  <a:lnTo>
                    <a:pt x="391" y="6"/>
                  </a:lnTo>
                  <a:lnTo>
                    <a:pt x="385" y="2"/>
                  </a:lnTo>
                  <a:lnTo>
                    <a:pt x="385" y="2"/>
                  </a:lnTo>
                  <a:lnTo>
                    <a:pt x="383" y="0"/>
                  </a:lnTo>
                  <a:lnTo>
                    <a:pt x="383" y="0"/>
                  </a:lnTo>
                  <a:lnTo>
                    <a:pt x="381" y="0"/>
                  </a:lnTo>
                  <a:lnTo>
                    <a:pt x="381" y="0"/>
                  </a:lnTo>
                  <a:lnTo>
                    <a:pt x="379" y="0"/>
                  </a:lnTo>
                  <a:lnTo>
                    <a:pt x="379" y="2"/>
                  </a:lnTo>
                  <a:lnTo>
                    <a:pt x="375" y="6"/>
                  </a:lnTo>
                  <a:lnTo>
                    <a:pt x="372" y="6"/>
                  </a:lnTo>
                  <a:lnTo>
                    <a:pt x="370" y="10"/>
                  </a:lnTo>
                  <a:lnTo>
                    <a:pt x="370" y="12"/>
                  </a:lnTo>
                  <a:lnTo>
                    <a:pt x="375" y="14"/>
                  </a:lnTo>
                  <a:lnTo>
                    <a:pt x="375" y="17"/>
                  </a:lnTo>
                  <a:lnTo>
                    <a:pt x="377" y="19"/>
                  </a:lnTo>
                  <a:lnTo>
                    <a:pt x="375" y="21"/>
                  </a:lnTo>
                  <a:lnTo>
                    <a:pt x="372" y="25"/>
                  </a:lnTo>
                  <a:lnTo>
                    <a:pt x="372" y="25"/>
                  </a:lnTo>
                  <a:lnTo>
                    <a:pt x="372" y="27"/>
                  </a:lnTo>
                  <a:lnTo>
                    <a:pt x="375" y="27"/>
                  </a:lnTo>
                  <a:lnTo>
                    <a:pt x="379" y="27"/>
                  </a:lnTo>
                  <a:lnTo>
                    <a:pt x="381" y="27"/>
                  </a:lnTo>
                  <a:lnTo>
                    <a:pt x="381" y="29"/>
                  </a:lnTo>
                  <a:lnTo>
                    <a:pt x="379" y="31"/>
                  </a:lnTo>
                  <a:lnTo>
                    <a:pt x="379" y="31"/>
                  </a:lnTo>
                  <a:lnTo>
                    <a:pt x="379" y="35"/>
                  </a:lnTo>
                  <a:lnTo>
                    <a:pt x="381" y="37"/>
                  </a:lnTo>
                  <a:lnTo>
                    <a:pt x="379" y="39"/>
                  </a:lnTo>
                  <a:lnTo>
                    <a:pt x="372" y="39"/>
                  </a:lnTo>
                  <a:lnTo>
                    <a:pt x="368" y="39"/>
                  </a:lnTo>
                  <a:lnTo>
                    <a:pt x="364" y="41"/>
                  </a:lnTo>
                  <a:lnTo>
                    <a:pt x="352" y="51"/>
                  </a:lnTo>
                  <a:lnTo>
                    <a:pt x="350" y="53"/>
                  </a:lnTo>
                  <a:lnTo>
                    <a:pt x="348" y="51"/>
                  </a:lnTo>
                  <a:lnTo>
                    <a:pt x="344" y="49"/>
                  </a:lnTo>
                  <a:lnTo>
                    <a:pt x="342" y="47"/>
                  </a:lnTo>
                  <a:lnTo>
                    <a:pt x="338" y="49"/>
                  </a:lnTo>
                  <a:lnTo>
                    <a:pt x="327" y="51"/>
                  </a:lnTo>
                  <a:lnTo>
                    <a:pt x="325" y="51"/>
                  </a:lnTo>
                  <a:lnTo>
                    <a:pt x="327" y="53"/>
                  </a:lnTo>
                  <a:lnTo>
                    <a:pt x="327" y="55"/>
                  </a:lnTo>
                  <a:lnTo>
                    <a:pt x="327" y="58"/>
                  </a:lnTo>
                  <a:lnTo>
                    <a:pt x="329" y="64"/>
                  </a:lnTo>
                  <a:lnTo>
                    <a:pt x="332" y="68"/>
                  </a:lnTo>
                  <a:lnTo>
                    <a:pt x="332" y="70"/>
                  </a:lnTo>
                  <a:lnTo>
                    <a:pt x="332" y="72"/>
                  </a:lnTo>
                  <a:lnTo>
                    <a:pt x="327" y="76"/>
                  </a:lnTo>
                  <a:lnTo>
                    <a:pt x="325" y="78"/>
                  </a:lnTo>
                  <a:lnTo>
                    <a:pt x="325" y="80"/>
                  </a:lnTo>
                  <a:lnTo>
                    <a:pt x="323" y="80"/>
                  </a:lnTo>
                  <a:lnTo>
                    <a:pt x="321" y="82"/>
                  </a:lnTo>
                  <a:lnTo>
                    <a:pt x="319" y="82"/>
                  </a:lnTo>
                  <a:lnTo>
                    <a:pt x="317" y="84"/>
                  </a:lnTo>
                  <a:lnTo>
                    <a:pt x="315" y="94"/>
                  </a:lnTo>
                  <a:lnTo>
                    <a:pt x="315" y="99"/>
                  </a:lnTo>
                  <a:lnTo>
                    <a:pt x="311" y="101"/>
                  </a:lnTo>
                  <a:lnTo>
                    <a:pt x="311" y="103"/>
                  </a:lnTo>
                  <a:lnTo>
                    <a:pt x="307" y="105"/>
                  </a:lnTo>
                  <a:lnTo>
                    <a:pt x="307" y="105"/>
                  </a:lnTo>
                  <a:lnTo>
                    <a:pt x="305" y="103"/>
                  </a:lnTo>
                  <a:lnTo>
                    <a:pt x="305" y="103"/>
                  </a:lnTo>
                  <a:lnTo>
                    <a:pt x="305" y="103"/>
                  </a:lnTo>
                  <a:lnTo>
                    <a:pt x="303" y="103"/>
                  </a:lnTo>
                  <a:lnTo>
                    <a:pt x="301" y="103"/>
                  </a:lnTo>
                  <a:lnTo>
                    <a:pt x="301" y="105"/>
                  </a:lnTo>
                  <a:lnTo>
                    <a:pt x="299" y="109"/>
                  </a:lnTo>
                  <a:lnTo>
                    <a:pt x="299" y="109"/>
                  </a:lnTo>
                  <a:lnTo>
                    <a:pt x="297" y="111"/>
                  </a:lnTo>
                  <a:lnTo>
                    <a:pt x="297" y="113"/>
                  </a:lnTo>
                  <a:lnTo>
                    <a:pt x="297" y="115"/>
                  </a:lnTo>
                  <a:lnTo>
                    <a:pt x="297" y="117"/>
                  </a:lnTo>
                  <a:lnTo>
                    <a:pt x="297" y="127"/>
                  </a:lnTo>
                  <a:lnTo>
                    <a:pt x="297" y="131"/>
                  </a:lnTo>
                  <a:lnTo>
                    <a:pt x="295" y="131"/>
                  </a:lnTo>
                  <a:lnTo>
                    <a:pt x="295" y="133"/>
                  </a:lnTo>
                  <a:lnTo>
                    <a:pt x="295" y="133"/>
                  </a:lnTo>
                  <a:lnTo>
                    <a:pt x="293" y="133"/>
                  </a:lnTo>
                  <a:lnTo>
                    <a:pt x="289" y="135"/>
                  </a:lnTo>
                  <a:lnTo>
                    <a:pt x="289" y="135"/>
                  </a:lnTo>
                  <a:lnTo>
                    <a:pt x="286" y="137"/>
                  </a:lnTo>
                  <a:lnTo>
                    <a:pt x="286" y="139"/>
                  </a:lnTo>
                  <a:lnTo>
                    <a:pt x="284" y="137"/>
                  </a:lnTo>
                  <a:lnTo>
                    <a:pt x="280" y="135"/>
                  </a:lnTo>
                  <a:lnTo>
                    <a:pt x="278" y="135"/>
                  </a:lnTo>
                  <a:lnTo>
                    <a:pt x="274" y="135"/>
                  </a:lnTo>
                  <a:lnTo>
                    <a:pt x="272" y="133"/>
                  </a:lnTo>
                  <a:lnTo>
                    <a:pt x="270" y="133"/>
                  </a:lnTo>
                  <a:lnTo>
                    <a:pt x="268" y="131"/>
                  </a:lnTo>
                  <a:lnTo>
                    <a:pt x="266" y="131"/>
                  </a:lnTo>
                  <a:lnTo>
                    <a:pt x="264" y="129"/>
                  </a:lnTo>
                  <a:lnTo>
                    <a:pt x="264" y="127"/>
                  </a:lnTo>
                  <a:lnTo>
                    <a:pt x="264" y="123"/>
                  </a:lnTo>
                  <a:lnTo>
                    <a:pt x="264" y="121"/>
                  </a:lnTo>
                  <a:lnTo>
                    <a:pt x="258" y="119"/>
                  </a:lnTo>
                  <a:lnTo>
                    <a:pt x="258" y="119"/>
                  </a:lnTo>
                  <a:lnTo>
                    <a:pt x="256" y="119"/>
                  </a:lnTo>
                  <a:lnTo>
                    <a:pt x="254" y="119"/>
                  </a:lnTo>
                  <a:lnTo>
                    <a:pt x="256" y="121"/>
                  </a:lnTo>
                  <a:lnTo>
                    <a:pt x="258" y="123"/>
                  </a:lnTo>
                  <a:lnTo>
                    <a:pt x="260" y="123"/>
                  </a:lnTo>
                  <a:lnTo>
                    <a:pt x="260" y="123"/>
                  </a:lnTo>
                  <a:lnTo>
                    <a:pt x="258" y="125"/>
                  </a:lnTo>
                  <a:lnTo>
                    <a:pt x="256" y="127"/>
                  </a:lnTo>
                  <a:lnTo>
                    <a:pt x="254" y="127"/>
                  </a:lnTo>
                  <a:lnTo>
                    <a:pt x="252" y="127"/>
                  </a:lnTo>
                  <a:lnTo>
                    <a:pt x="252" y="127"/>
                  </a:lnTo>
                  <a:lnTo>
                    <a:pt x="252" y="125"/>
                  </a:lnTo>
                  <a:lnTo>
                    <a:pt x="250" y="125"/>
                  </a:lnTo>
                  <a:lnTo>
                    <a:pt x="250" y="125"/>
                  </a:lnTo>
                  <a:lnTo>
                    <a:pt x="250" y="127"/>
                  </a:lnTo>
                  <a:lnTo>
                    <a:pt x="250" y="127"/>
                  </a:lnTo>
                  <a:lnTo>
                    <a:pt x="252" y="129"/>
                  </a:lnTo>
                  <a:lnTo>
                    <a:pt x="252" y="131"/>
                  </a:lnTo>
                  <a:lnTo>
                    <a:pt x="252" y="133"/>
                  </a:lnTo>
                  <a:lnTo>
                    <a:pt x="250" y="133"/>
                  </a:lnTo>
                  <a:lnTo>
                    <a:pt x="248" y="135"/>
                  </a:lnTo>
                  <a:lnTo>
                    <a:pt x="245" y="135"/>
                  </a:lnTo>
                  <a:lnTo>
                    <a:pt x="245" y="137"/>
                  </a:lnTo>
                  <a:lnTo>
                    <a:pt x="245" y="139"/>
                  </a:lnTo>
                  <a:lnTo>
                    <a:pt x="245" y="146"/>
                  </a:lnTo>
                  <a:lnTo>
                    <a:pt x="245" y="148"/>
                  </a:lnTo>
                  <a:lnTo>
                    <a:pt x="245" y="148"/>
                  </a:lnTo>
                  <a:lnTo>
                    <a:pt x="241" y="150"/>
                  </a:lnTo>
                  <a:lnTo>
                    <a:pt x="241" y="152"/>
                  </a:lnTo>
                  <a:lnTo>
                    <a:pt x="241" y="154"/>
                  </a:lnTo>
                  <a:lnTo>
                    <a:pt x="241" y="156"/>
                  </a:lnTo>
                  <a:lnTo>
                    <a:pt x="239" y="158"/>
                  </a:lnTo>
                  <a:lnTo>
                    <a:pt x="237" y="158"/>
                  </a:lnTo>
                  <a:lnTo>
                    <a:pt x="235" y="156"/>
                  </a:lnTo>
                  <a:lnTo>
                    <a:pt x="235" y="156"/>
                  </a:lnTo>
                  <a:lnTo>
                    <a:pt x="237" y="152"/>
                  </a:lnTo>
                  <a:lnTo>
                    <a:pt x="235" y="152"/>
                  </a:lnTo>
                  <a:lnTo>
                    <a:pt x="231" y="154"/>
                  </a:lnTo>
                  <a:lnTo>
                    <a:pt x="229" y="154"/>
                  </a:lnTo>
                  <a:lnTo>
                    <a:pt x="225" y="152"/>
                  </a:lnTo>
                  <a:lnTo>
                    <a:pt x="223" y="150"/>
                  </a:lnTo>
                  <a:lnTo>
                    <a:pt x="223" y="146"/>
                  </a:lnTo>
                  <a:lnTo>
                    <a:pt x="221" y="144"/>
                  </a:lnTo>
                  <a:lnTo>
                    <a:pt x="217" y="146"/>
                  </a:lnTo>
                  <a:lnTo>
                    <a:pt x="215" y="150"/>
                  </a:lnTo>
                  <a:lnTo>
                    <a:pt x="213" y="152"/>
                  </a:lnTo>
                  <a:lnTo>
                    <a:pt x="213" y="152"/>
                  </a:lnTo>
                  <a:lnTo>
                    <a:pt x="207" y="152"/>
                  </a:lnTo>
                  <a:lnTo>
                    <a:pt x="205" y="154"/>
                  </a:lnTo>
                  <a:lnTo>
                    <a:pt x="205" y="154"/>
                  </a:lnTo>
                  <a:lnTo>
                    <a:pt x="205" y="156"/>
                  </a:lnTo>
                  <a:lnTo>
                    <a:pt x="202" y="158"/>
                  </a:lnTo>
                  <a:lnTo>
                    <a:pt x="200" y="164"/>
                  </a:lnTo>
                  <a:lnTo>
                    <a:pt x="200" y="168"/>
                  </a:lnTo>
                  <a:lnTo>
                    <a:pt x="198" y="170"/>
                  </a:lnTo>
                  <a:lnTo>
                    <a:pt x="196" y="168"/>
                  </a:lnTo>
                  <a:lnTo>
                    <a:pt x="196" y="168"/>
                  </a:lnTo>
                  <a:lnTo>
                    <a:pt x="194" y="166"/>
                  </a:lnTo>
                  <a:lnTo>
                    <a:pt x="194" y="166"/>
                  </a:lnTo>
                  <a:lnTo>
                    <a:pt x="194" y="164"/>
                  </a:lnTo>
                  <a:lnTo>
                    <a:pt x="192" y="164"/>
                  </a:lnTo>
                  <a:lnTo>
                    <a:pt x="192" y="164"/>
                  </a:lnTo>
                  <a:lnTo>
                    <a:pt x="190" y="164"/>
                  </a:lnTo>
                  <a:lnTo>
                    <a:pt x="188" y="164"/>
                  </a:lnTo>
                  <a:lnTo>
                    <a:pt x="188" y="162"/>
                  </a:lnTo>
                  <a:lnTo>
                    <a:pt x="184" y="162"/>
                  </a:lnTo>
                  <a:lnTo>
                    <a:pt x="178" y="160"/>
                  </a:lnTo>
                  <a:lnTo>
                    <a:pt x="178" y="158"/>
                  </a:lnTo>
                  <a:lnTo>
                    <a:pt x="176" y="158"/>
                  </a:lnTo>
                  <a:lnTo>
                    <a:pt x="174" y="156"/>
                  </a:lnTo>
                  <a:lnTo>
                    <a:pt x="172" y="156"/>
                  </a:lnTo>
                  <a:lnTo>
                    <a:pt x="170" y="156"/>
                  </a:lnTo>
                  <a:lnTo>
                    <a:pt x="166" y="158"/>
                  </a:lnTo>
                  <a:lnTo>
                    <a:pt x="164" y="160"/>
                  </a:lnTo>
                  <a:lnTo>
                    <a:pt x="159" y="160"/>
                  </a:lnTo>
                  <a:lnTo>
                    <a:pt x="155" y="158"/>
                  </a:lnTo>
                  <a:lnTo>
                    <a:pt x="155" y="156"/>
                  </a:lnTo>
                  <a:lnTo>
                    <a:pt x="155" y="156"/>
                  </a:lnTo>
                  <a:lnTo>
                    <a:pt x="155" y="154"/>
                  </a:lnTo>
                  <a:lnTo>
                    <a:pt x="153" y="154"/>
                  </a:lnTo>
                  <a:lnTo>
                    <a:pt x="153" y="154"/>
                  </a:lnTo>
                  <a:lnTo>
                    <a:pt x="153" y="156"/>
                  </a:lnTo>
                  <a:lnTo>
                    <a:pt x="153" y="156"/>
                  </a:lnTo>
                  <a:lnTo>
                    <a:pt x="153" y="158"/>
                  </a:lnTo>
                  <a:lnTo>
                    <a:pt x="155" y="162"/>
                  </a:lnTo>
                  <a:lnTo>
                    <a:pt x="155" y="164"/>
                  </a:lnTo>
                  <a:lnTo>
                    <a:pt x="155" y="166"/>
                  </a:lnTo>
                  <a:lnTo>
                    <a:pt x="153" y="170"/>
                  </a:lnTo>
                  <a:lnTo>
                    <a:pt x="151" y="170"/>
                  </a:lnTo>
                  <a:lnTo>
                    <a:pt x="149" y="170"/>
                  </a:lnTo>
                  <a:lnTo>
                    <a:pt x="149" y="168"/>
                  </a:lnTo>
                  <a:lnTo>
                    <a:pt x="149" y="164"/>
                  </a:lnTo>
                  <a:lnTo>
                    <a:pt x="149" y="164"/>
                  </a:lnTo>
                  <a:lnTo>
                    <a:pt x="147" y="162"/>
                  </a:lnTo>
                  <a:lnTo>
                    <a:pt x="147" y="162"/>
                  </a:lnTo>
                  <a:lnTo>
                    <a:pt x="145" y="164"/>
                  </a:lnTo>
                  <a:lnTo>
                    <a:pt x="145" y="164"/>
                  </a:lnTo>
                  <a:lnTo>
                    <a:pt x="143" y="164"/>
                  </a:lnTo>
                  <a:lnTo>
                    <a:pt x="141" y="166"/>
                  </a:lnTo>
                  <a:lnTo>
                    <a:pt x="139" y="166"/>
                  </a:lnTo>
                  <a:lnTo>
                    <a:pt x="137" y="166"/>
                  </a:lnTo>
                  <a:lnTo>
                    <a:pt x="135" y="166"/>
                  </a:lnTo>
                  <a:lnTo>
                    <a:pt x="133" y="164"/>
                  </a:lnTo>
                  <a:lnTo>
                    <a:pt x="133" y="164"/>
                  </a:lnTo>
                  <a:lnTo>
                    <a:pt x="131" y="162"/>
                  </a:lnTo>
                  <a:lnTo>
                    <a:pt x="129" y="162"/>
                  </a:lnTo>
                  <a:lnTo>
                    <a:pt x="127" y="162"/>
                  </a:lnTo>
                  <a:lnTo>
                    <a:pt x="127" y="166"/>
                  </a:lnTo>
                  <a:lnTo>
                    <a:pt x="127" y="166"/>
                  </a:lnTo>
                  <a:lnTo>
                    <a:pt x="131" y="172"/>
                  </a:lnTo>
                  <a:lnTo>
                    <a:pt x="127" y="178"/>
                  </a:lnTo>
                  <a:lnTo>
                    <a:pt x="127" y="178"/>
                  </a:lnTo>
                  <a:lnTo>
                    <a:pt x="125" y="178"/>
                  </a:lnTo>
                  <a:lnTo>
                    <a:pt x="123" y="176"/>
                  </a:lnTo>
                  <a:lnTo>
                    <a:pt x="121" y="176"/>
                  </a:lnTo>
                  <a:lnTo>
                    <a:pt x="119" y="176"/>
                  </a:lnTo>
                  <a:lnTo>
                    <a:pt x="119" y="178"/>
                  </a:lnTo>
                  <a:lnTo>
                    <a:pt x="119" y="180"/>
                  </a:lnTo>
                  <a:lnTo>
                    <a:pt x="119" y="183"/>
                  </a:lnTo>
                  <a:lnTo>
                    <a:pt x="116" y="185"/>
                  </a:lnTo>
                  <a:lnTo>
                    <a:pt x="112" y="189"/>
                  </a:lnTo>
                  <a:lnTo>
                    <a:pt x="110" y="191"/>
                  </a:lnTo>
                  <a:lnTo>
                    <a:pt x="110" y="193"/>
                  </a:lnTo>
                  <a:lnTo>
                    <a:pt x="110" y="195"/>
                  </a:lnTo>
                  <a:lnTo>
                    <a:pt x="110" y="197"/>
                  </a:lnTo>
                  <a:lnTo>
                    <a:pt x="112" y="201"/>
                  </a:lnTo>
                  <a:lnTo>
                    <a:pt x="112" y="201"/>
                  </a:lnTo>
                  <a:lnTo>
                    <a:pt x="116" y="203"/>
                  </a:lnTo>
                  <a:lnTo>
                    <a:pt x="119" y="207"/>
                  </a:lnTo>
                  <a:lnTo>
                    <a:pt x="119" y="211"/>
                  </a:lnTo>
                  <a:lnTo>
                    <a:pt x="114" y="213"/>
                  </a:lnTo>
                  <a:lnTo>
                    <a:pt x="100" y="217"/>
                  </a:lnTo>
                  <a:lnTo>
                    <a:pt x="96" y="221"/>
                  </a:lnTo>
                  <a:lnTo>
                    <a:pt x="94" y="221"/>
                  </a:lnTo>
                  <a:lnTo>
                    <a:pt x="90" y="221"/>
                  </a:lnTo>
                  <a:lnTo>
                    <a:pt x="88" y="221"/>
                  </a:lnTo>
                  <a:lnTo>
                    <a:pt x="86" y="224"/>
                  </a:lnTo>
                  <a:lnTo>
                    <a:pt x="86" y="224"/>
                  </a:lnTo>
                  <a:lnTo>
                    <a:pt x="86" y="226"/>
                  </a:lnTo>
                  <a:lnTo>
                    <a:pt x="84" y="230"/>
                  </a:lnTo>
                  <a:lnTo>
                    <a:pt x="84" y="234"/>
                  </a:lnTo>
                  <a:lnTo>
                    <a:pt x="86" y="238"/>
                  </a:lnTo>
                  <a:lnTo>
                    <a:pt x="88" y="242"/>
                  </a:lnTo>
                  <a:lnTo>
                    <a:pt x="90" y="246"/>
                  </a:lnTo>
                  <a:lnTo>
                    <a:pt x="92" y="248"/>
                  </a:lnTo>
                  <a:lnTo>
                    <a:pt x="92" y="252"/>
                  </a:lnTo>
                  <a:lnTo>
                    <a:pt x="92" y="256"/>
                  </a:lnTo>
                  <a:lnTo>
                    <a:pt x="90" y="258"/>
                  </a:lnTo>
                  <a:lnTo>
                    <a:pt x="86" y="260"/>
                  </a:lnTo>
                  <a:lnTo>
                    <a:pt x="82" y="258"/>
                  </a:lnTo>
                  <a:lnTo>
                    <a:pt x="76" y="256"/>
                  </a:lnTo>
                  <a:lnTo>
                    <a:pt x="51" y="246"/>
                  </a:lnTo>
                  <a:lnTo>
                    <a:pt x="47" y="246"/>
                  </a:lnTo>
                  <a:lnTo>
                    <a:pt x="43" y="248"/>
                  </a:lnTo>
                  <a:lnTo>
                    <a:pt x="39" y="250"/>
                  </a:lnTo>
                  <a:lnTo>
                    <a:pt x="37" y="252"/>
                  </a:lnTo>
                  <a:lnTo>
                    <a:pt x="37" y="254"/>
                  </a:lnTo>
                  <a:lnTo>
                    <a:pt x="32" y="258"/>
                  </a:lnTo>
                  <a:lnTo>
                    <a:pt x="30" y="262"/>
                  </a:lnTo>
                  <a:lnTo>
                    <a:pt x="28" y="267"/>
                  </a:lnTo>
                  <a:lnTo>
                    <a:pt x="30" y="269"/>
                  </a:lnTo>
                  <a:lnTo>
                    <a:pt x="30" y="271"/>
                  </a:lnTo>
                  <a:lnTo>
                    <a:pt x="35" y="275"/>
                  </a:lnTo>
                  <a:lnTo>
                    <a:pt x="35" y="277"/>
                  </a:lnTo>
                  <a:lnTo>
                    <a:pt x="35" y="281"/>
                  </a:lnTo>
                  <a:lnTo>
                    <a:pt x="37" y="285"/>
                  </a:lnTo>
                  <a:lnTo>
                    <a:pt x="37" y="285"/>
                  </a:lnTo>
                  <a:lnTo>
                    <a:pt x="35" y="287"/>
                  </a:lnTo>
                  <a:lnTo>
                    <a:pt x="35" y="287"/>
                  </a:lnTo>
                  <a:lnTo>
                    <a:pt x="35" y="289"/>
                  </a:lnTo>
                  <a:lnTo>
                    <a:pt x="35" y="289"/>
                  </a:lnTo>
                  <a:lnTo>
                    <a:pt x="35" y="291"/>
                  </a:lnTo>
                  <a:lnTo>
                    <a:pt x="37" y="295"/>
                  </a:lnTo>
                  <a:lnTo>
                    <a:pt x="37" y="297"/>
                  </a:lnTo>
                  <a:lnTo>
                    <a:pt x="37" y="301"/>
                  </a:lnTo>
                  <a:lnTo>
                    <a:pt x="32" y="310"/>
                  </a:lnTo>
                  <a:lnTo>
                    <a:pt x="32" y="316"/>
                  </a:lnTo>
                  <a:lnTo>
                    <a:pt x="30" y="318"/>
                  </a:lnTo>
                  <a:lnTo>
                    <a:pt x="28" y="320"/>
                  </a:lnTo>
                  <a:lnTo>
                    <a:pt x="24" y="318"/>
                  </a:lnTo>
                  <a:lnTo>
                    <a:pt x="22" y="318"/>
                  </a:lnTo>
                  <a:lnTo>
                    <a:pt x="20" y="314"/>
                  </a:lnTo>
                  <a:lnTo>
                    <a:pt x="18" y="314"/>
                  </a:lnTo>
                  <a:lnTo>
                    <a:pt x="16" y="314"/>
                  </a:lnTo>
                  <a:lnTo>
                    <a:pt x="16" y="314"/>
                  </a:lnTo>
                  <a:lnTo>
                    <a:pt x="16" y="316"/>
                  </a:lnTo>
                  <a:lnTo>
                    <a:pt x="14" y="320"/>
                  </a:lnTo>
                  <a:lnTo>
                    <a:pt x="14" y="322"/>
                  </a:lnTo>
                  <a:lnTo>
                    <a:pt x="14" y="328"/>
                  </a:lnTo>
                  <a:lnTo>
                    <a:pt x="14" y="328"/>
                  </a:lnTo>
                  <a:lnTo>
                    <a:pt x="28" y="326"/>
                  </a:lnTo>
                  <a:lnTo>
                    <a:pt x="43" y="326"/>
                  </a:lnTo>
                  <a:lnTo>
                    <a:pt x="59" y="324"/>
                  </a:lnTo>
                  <a:lnTo>
                    <a:pt x="73" y="322"/>
                  </a:lnTo>
                  <a:lnTo>
                    <a:pt x="88" y="322"/>
                  </a:lnTo>
                  <a:lnTo>
                    <a:pt x="104" y="320"/>
                  </a:lnTo>
                  <a:lnTo>
                    <a:pt x="119" y="318"/>
                  </a:lnTo>
                  <a:lnTo>
                    <a:pt x="133" y="316"/>
                  </a:lnTo>
                  <a:lnTo>
                    <a:pt x="133" y="314"/>
                  </a:lnTo>
                  <a:lnTo>
                    <a:pt x="133" y="310"/>
                  </a:lnTo>
                  <a:lnTo>
                    <a:pt x="133" y="308"/>
                  </a:lnTo>
                  <a:lnTo>
                    <a:pt x="131" y="303"/>
                  </a:lnTo>
                  <a:lnTo>
                    <a:pt x="129" y="297"/>
                  </a:lnTo>
                  <a:lnTo>
                    <a:pt x="129" y="297"/>
                  </a:lnTo>
                  <a:lnTo>
                    <a:pt x="129" y="295"/>
                  </a:lnTo>
                  <a:lnTo>
                    <a:pt x="129" y="295"/>
                  </a:lnTo>
                  <a:lnTo>
                    <a:pt x="129" y="295"/>
                  </a:lnTo>
                  <a:lnTo>
                    <a:pt x="135" y="295"/>
                  </a:lnTo>
                  <a:lnTo>
                    <a:pt x="141" y="295"/>
                  </a:lnTo>
                  <a:lnTo>
                    <a:pt x="147" y="295"/>
                  </a:lnTo>
                  <a:lnTo>
                    <a:pt x="147" y="295"/>
                  </a:lnTo>
                  <a:lnTo>
                    <a:pt x="147" y="297"/>
                  </a:lnTo>
                  <a:lnTo>
                    <a:pt x="149" y="297"/>
                  </a:lnTo>
                  <a:lnTo>
                    <a:pt x="149" y="299"/>
                  </a:lnTo>
                  <a:lnTo>
                    <a:pt x="149" y="299"/>
                  </a:lnTo>
                  <a:lnTo>
                    <a:pt x="149" y="299"/>
                  </a:lnTo>
                  <a:lnTo>
                    <a:pt x="153" y="297"/>
                  </a:lnTo>
                  <a:lnTo>
                    <a:pt x="155" y="297"/>
                  </a:lnTo>
                  <a:lnTo>
                    <a:pt x="157" y="297"/>
                  </a:lnTo>
                  <a:lnTo>
                    <a:pt x="164" y="297"/>
                  </a:lnTo>
                  <a:lnTo>
                    <a:pt x="170" y="295"/>
                  </a:lnTo>
                  <a:lnTo>
                    <a:pt x="178" y="295"/>
                  </a:lnTo>
                  <a:lnTo>
                    <a:pt x="186" y="293"/>
                  </a:lnTo>
                  <a:lnTo>
                    <a:pt x="196" y="293"/>
                  </a:lnTo>
                  <a:lnTo>
                    <a:pt x="205" y="291"/>
                  </a:lnTo>
                  <a:lnTo>
                    <a:pt x="215" y="291"/>
                  </a:lnTo>
                  <a:lnTo>
                    <a:pt x="225" y="289"/>
                  </a:lnTo>
                  <a:lnTo>
                    <a:pt x="233" y="289"/>
                  </a:lnTo>
                  <a:lnTo>
                    <a:pt x="241" y="287"/>
                  </a:lnTo>
                  <a:lnTo>
                    <a:pt x="248" y="287"/>
                  </a:lnTo>
                  <a:lnTo>
                    <a:pt x="252" y="285"/>
                  </a:lnTo>
                  <a:lnTo>
                    <a:pt x="256" y="285"/>
                  </a:lnTo>
                  <a:lnTo>
                    <a:pt x="258" y="285"/>
                  </a:lnTo>
                  <a:lnTo>
                    <a:pt x="260" y="285"/>
                  </a:lnTo>
                  <a:lnTo>
                    <a:pt x="264" y="283"/>
                  </a:lnTo>
                  <a:lnTo>
                    <a:pt x="264" y="283"/>
                  </a:lnTo>
                  <a:lnTo>
                    <a:pt x="268" y="283"/>
                  </a:lnTo>
                  <a:lnTo>
                    <a:pt x="270" y="283"/>
                  </a:lnTo>
                  <a:lnTo>
                    <a:pt x="278" y="283"/>
                  </a:lnTo>
                  <a:lnTo>
                    <a:pt x="291" y="281"/>
                  </a:lnTo>
                  <a:lnTo>
                    <a:pt x="305" y="279"/>
                  </a:lnTo>
                  <a:lnTo>
                    <a:pt x="321" y="279"/>
                  </a:lnTo>
                  <a:lnTo>
                    <a:pt x="342" y="277"/>
                  </a:lnTo>
                  <a:lnTo>
                    <a:pt x="362" y="275"/>
                  </a:lnTo>
                  <a:lnTo>
                    <a:pt x="385" y="273"/>
                  </a:lnTo>
                  <a:lnTo>
                    <a:pt x="407" y="271"/>
                  </a:lnTo>
                  <a:lnTo>
                    <a:pt x="428" y="267"/>
                  </a:lnTo>
                  <a:lnTo>
                    <a:pt x="446" y="265"/>
                  </a:lnTo>
                  <a:lnTo>
                    <a:pt x="465" y="265"/>
                  </a:lnTo>
                  <a:lnTo>
                    <a:pt x="479" y="262"/>
                  </a:lnTo>
                  <a:lnTo>
                    <a:pt x="491" y="260"/>
                  </a:lnTo>
                  <a:lnTo>
                    <a:pt x="497" y="260"/>
                  </a:lnTo>
                  <a:lnTo>
                    <a:pt x="502" y="260"/>
                  </a:lnTo>
                  <a:lnTo>
                    <a:pt x="506" y="258"/>
                  </a:lnTo>
                  <a:lnTo>
                    <a:pt x="508" y="258"/>
                  </a:lnTo>
                  <a:lnTo>
                    <a:pt x="510" y="256"/>
                  </a:lnTo>
                  <a:lnTo>
                    <a:pt x="514" y="252"/>
                  </a:lnTo>
                  <a:lnTo>
                    <a:pt x="516" y="252"/>
                  </a:lnTo>
                  <a:lnTo>
                    <a:pt x="516" y="252"/>
                  </a:lnTo>
                  <a:lnTo>
                    <a:pt x="522" y="248"/>
                  </a:lnTo>
                  <a:lnTo>
                    <a:pt x="530" y="246"/>
                  </a:lnTo>
                  <a:lnTo>
                    <a:pt x="532" y="244"/>
                  </a:lnTo>
                  <a:lnTo>
                    <a:pt x="532" y="244"/>
                  </a:lnTo>
                  <a:lnTo>
                    <a:pt x="534" y="244"/>
                  </a:lnTo>
                  <a:lnTo>
                    <a:pt x="536" y="240"/>
                  </a:lnTo>
                  <a:lnTo>
                    <a:pt x="545" y="236"/>
                  </a:lnTo>
                  <a:lnTo>
                    <a:pt x="553" y="234"/>
                  </a:lnTo>
                  <a:lnTo>
                    <a:pt x="555" y="234"/>
                  </a:lnTo>
                  <a:lnTo>
                    <a:pt x="555" y="234"/>
                  </a:lnTo>
                  <a:lnTo>
                    <a:pt x="555" y="232"/>
                  </a:lnTo>
                  <a:lnTo>
                    <a:pt x="555" y="232"/>
                  </a:lnTo>
                  <a:lnTo>
                    <a:pt x="555" y="232"/>
                  </a:lnTo>
                  <a:lnTo>
                    <a:pt x="555" y="230"/>
                  </a:lnTo>
                  <a:lnTo>
                    <a:pt x="555" y="230"/>
                  </a:lnTo>
                  <a:lnTo>
                    <a:pt x="555" y="230"/>
                  </a:lnTo>
                  <a:lnTo>
                    <a:pt x="557" y="228"/>
                  </a:lnTo>
                  <a:lnTo>
                    <a:pt x="557" y="224"/>
                  </a:lnTo>
                  <a:lnTo>
                    <a:pt x="559" y="221"/>
                  </a:lnTo>
                  <a:lnTo>
                    <a:pt x="559" y="221"/>
                  </a:lnTo>
                  <a:lnTo>
                    <a:pt x="559" y="221"/>
                  </a:lnTo>
                  <a:lnTo>
                    <a:pt x="563" y="221"/>
                  </a:lnTo>
                  <a:lnTo>
                    <a:pt x="567" y="217"/>
                  </a:lnTo>
                  <a:lnTo>
                    <a:pt x="573" y="215"/>
                  </a:lnTo>
                  <a:lnTo>
                    <a:pt x="573" y="215"/>
                  </a:lnTo>
                  <a:lnTo>
                    <a:pt x="575" y="213"/>
                  </a:lnTo>
                  <a:lnTo>
                    <a:pt x="575" y="213"/>
                  </a:lnTo>
                  <a:lnTo>
                    <a:pt x="575" y="213"/>
                  </a:lnTo>
                  <a:lnTo>
                    <a:pt x="575" y="211"/>
                  </a:lnTo>
                  <a:lnTo>
                    <a:pt x="575" y="211"/>
                  </a:lnTo>
                  <a:lnTo>
                    <a:pt x="575" y="209"/>
                  </a:lnTo>
                  <a:lnTo>
                    <a:pt x="575" y="209"/>
                  </a:lnTo>
                  <a:lnTo>
                    <a:pt x="575" y="209"/>
                  </a:lnTo>
                  <a:lnTo>
                    <a:pt x="573" y="207"/>
                  </a:lnTo>
                  <a:lnTo>
                    <a:pt x="575" y="205"/>
                  </a:lnTo>
                  <a:lnTo>
                    <a:pt x="575" y="205"/>
                  </a:lnTo>
                  <a:lnTo>
                    <a:pt x="577" y="203"/>
                  </a:lnTo>
                  <a:lnTo>
                    <a:pt x="583" y="197"/>
                  </a:lnTo>
                  <a:lnTo>
                    <a:pt x="585" y="197"/>
                  </a:lnTo>
                  <a:lnTo>
                    <a:pt x="585" y="197"/>
                  </a:lnTo>
                  <a:lnTo>
                    <a:pt x="585" y="197"/>
                  </a:lnTo>
                  <a:lnTo>
                    <a:pt x="585" y="195"/>
                  </a:lnTo>
                  <a:lnTo>
                    <a:pt x="585" y="195"/>
                  </a:lnTo>
                  <a:lnTo>
                    <a:pt x="585" y="195"/>
                  </a:lnTo>
                  <a:lnTo>
                    <a:pt x="585" y="193"/>
                  </a:lnTo>
                  <a:lnTo>
                    <a:pt x="585" y="191"/>
                  </a:lnTo>
                  <a:lnTo>
                    <a:pt x="583" y="189"/>
                  </a:lnTo>
                  <a:lnTo>
                    <a:pt x="585" y="189"/>
                  </a:lnTo>
                  <a:lnTo>
                    <a:pt x="585" y="187"/>
                  </a:lnTo>
                  <a:lnTo>
                    <a:pt x="590" y="183"/>
                  </a:lnTo>
                  <a:lnTo>
                    <a:pt x="598" y="176"/>
                  </a:lnTo>
                  <a:lnTo>
                    <a:pt x="604" y="172"/>
                  </a:lnTo>
                  <a:lnTo>
                    <a:pt x="610" y="168"/>
                  </a:lnTo>
                  <a:lnTo>
                    <a:pt x="612" y="168"/>
                  </a:lnTo>
                  <a:lnTo>
                    <a:pt x="618" y="160"/>
                  </a:lnTo>
                  <a:lnTo>
                    <a:pt x="626" y="152"/>
                  </a:lnTo>
                  <a:lnTo>
                    <a:pt x="631" y="146"/>
                  </a:lnTo>
                  <a:lnTo>
                    <a:pt x="637" y="139"/>
                  </a:lnTo>
                  <a:lnTo>
                    <a:pt x="641" y="133"/>
                  </a:lnTo>
                  <a:lnTo>
                    <a:pt x="639" y="133"/>
                  </a:lnTo>
                  <a:close/>
                  <a:moveTo>
                    <a:pt x="4" y="322"/>
                  </a:moveTo>
                  <a:lnTo>
                    <a:pt x="0" y="324"/>
                  </a:lnTo>
                  <a:lnTo>
                    <a:pt x="0" y="328"/>
                  </a:lnTo>
                  <a:lnTo>
                    <a:pt x="2" y="328"/>
                  </a:lnTo>
                  <a:lnTo>
                    <a:pt x="2" y="330"/>
                  </a:lnTo>
                  <a:lnTo>
                    <a:pt x="8" y="328"/>
                  </a:lnTo>
                  <a:lnTo>
                    <a:pt x="8" y="328"/>
                  </a:lnTo>
                  <a:lnTo>
                    <a:pt x="6" y="324"/>
                  </a:lnTo>
                  <a:lnTo>
                    <a:pt x="4" y="322"/>
                  </a:lnTo>
                  <a:close/>
                </a:path>
              </a:pathLst>
            </a:custGeom>
            <a:solidFill>
              <a:schemeClr val="accent1"/>
            </a:solidFill>
            <a:ln w="3175" cap="rnd">
              <a:solidFill>
                <a:schemeClr val="bg1"/>
              </a:solidFill>
              <a:prstDash val="solid"/>
              <a:round/>
              <a:headEnd/>
              <a:tailEnd/>
            </a:ln>
          </p:spPr>
          <p:txBody>
            <a:bodyPr vert="horz" wrap="square" lIns="144000" tIns="9600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KY</a:t>
              </a:r>
            </a:p>
          </p:txBody>
        </p:sp>
        <p:sp>
          <p:nvSpPr>
            <p:cNvPr id="224" name="Freeform 39">
              <a:extLst>
                <a:ext uri="{FF2B5EF4-FFF2-40B4-BE49-F238E27FC236}">
                  <a16:creationId xmlns:a16="http://schemas.microsoft.com/office/drawing/2014/main" id="{37FD9CCC-9882-B581-E311-8079D1AA68CF}"/>
                </a:ext>
              </a:extLst>
            </p:cNvPr>
            <p:cNvSpPr>
              <a:spLocks/>
            </p:cNvSpPr>
            <p:nvPr/>
          </p:nvSpPr>
          <p:spPr bwMode="auto">
            <a:xfrm>
              <a:off x="2551" y="1113"/>
              <a:ext cx="641" cy="330"/>
            </a:xfrm>
            <a:custGeom>
              <a:avLst/>
              <a:gdLst>
                <a:gd name="T0" fmla="*/ 582 w 641"/>
                <a:gd name="T1" fmla="*/ 322 h 330"/>
                <a:gd name="T2" fmla="*/ 502 w 641"/>
                <a:gd name="T3" fmla="*/ 326 h 330"/>
                <a:gd name="T4" fmla="*/ 420 w 641"/>
                <a:gd name="T5" fmla="*/ 328 h 330"/>
                <a:gd name="T6" fmla="*/ 340 w 641"/>
                <a:gd name="T7" fmla="*/ 330 h 330"/>
                <a:gd name="T8" fmla="*/ 260 w 641"/>
                <a:gd name="T9" fmla="*/ 330 h 330"/>
                <a:gd name="T10" fmla="*/ 181 w 641"/>
                <a:gd name="T11" fmla="*/ 330 h 330"/>
                <a:gd name="T12" fmla="*/ 101 w 641"/>
                <a:gd name="T13" fmla="*/ 330 h 330"/>
                <a:gd name="T14" fmla="*/ 21 w 641"/>
                <a:gd name="T15" fmla="*/ 330 h 330"/>
                <a:gd name="T16" fmla="*/ 0 w 641"/>
                <a:gd name="T17" fmla="*/ 299 h 330"/>
                <a:gd name="T18" fmla="*/ 2 w 641"/>
                <a:gd name="T19" fmla="*/ 258 h 330"/>
                <a:gd name="T20" fmla="*/ 2 w 641"/>
                <a:gd name="T21" fmla="*/ 219 h 330"/>
                <a:gd name="T22" fmla="*/ 2 w 641"/>
                <a:gd name="T23" fmla="*/ 178 h 330"/>
                <a:gd name="T24" fmla="*/ 2 w 641"/>
                <a:gd name="T25" fmla="*/ 137 h 330"/>
                <a:gd name="T26" fmla="*/ 4 w 641"/>
                <a:gd name="T27" fmla="*/ 98 h 330"/>
                <a:gd name="T28" fmla="*/ 4 w 641"/>
                <a:gd name="T29" fmla="*/ 57 h 330"/>
                <a:gd name="T30" fmla="*/ 4 w 641"/>
                <a:gd name="T31" fmla="*/ 18 h 330"/>
                <a:gd name="T32" fmla="*/ 58 w 641"/>
                <a:gd name="T33" fmla="*/ 8 h 330"/>
                <a:gd name="T34" fmla="*/ 127 w 641"/>
                <a:gd name="T35" fmla="*/ 8 h 330"/>
                <a:gd name="T36" fmla="*/ 199 w 641"/>
                <a:gd name="T37" fmla="*/ 8 h 330"/>
                <a:gd name="T38" fmla="*/ 269 w 641"/>
                <a:gd name="T39" fmla="*/ 8 h 330"/>
                <a:gd name="T40" fmla="*/ 338 w 641"/>
                <a:gd name="T41" fmla="*/ 8 h 330"/>
                <a:gd name="T42" fmla="*/ 410 w 641"/>
                <a:gd name="T43" fmla="*/ 6 h 330"/>
                <a:gd name="T44" fmla="*/ 480 w 641"/>
                <a:gd name="T45" fmla="*/ 4 h 330"/>
                <a:gd name="T46" fmla="*/ 549 w 641"/>
                <a:gd name="T47" fmla="*/ 2 h 330"/>
                <a:gd name="T48" fmla="*/ 574 w 641"/>
                <a:gd name="T49" fmla="*/ 6 h 330"/>
                <a:gd name="T50" fmla="*/ 578 w 641"/>
                <a:gd name="T51" fmla="*/ 8 h 330"/>
                <a:gd name="T52" fmla="*/ 580 w 641"/>
                <a:gd name="T53" fmla="*/ 10 h 330"/>
                <a:gd name="T54" fmla="*/ 586 w 641"/>
                <a:gd name="T55" fmla="*/ 14 h 330"/>
                <a:gd name="T56" fmla="*/ 594 w 641"/>
                <a:gd name="T57" fmla="*/ 10 h 330"/>
                <a:gd name="T58" fmla="*/ 598 w 641"/>
                <a:gd name="T59" fmla="*/ 12 h 330"/>
                <a:gd name="T60" fmla="*/ 605 w 641"/>
                <a:gd name="T61" fmla="*/ 16 h 330"/>
                <a:gd name="T62" fmla="*/ 605 w 641"/>
                <a:gd name="T63" fmla="*/ 22 h 330"/>
                <a:gd name="T64" fmla="*/ 607 w 641"/>
                <a:gd name="T65" fmla="*/ 26 h 330"/>
                <a:gd name="T66" fmla="*/ 598 w 641"/>
                <a:gd name="T67" fmla="*/ 26 h 330"/>
                <a:gd name="T68" fmla="*/ 596 w 641"/>
                <a:gd name="T69" fmla="*/ 33 h 330"/>
                <a:gd name="T70" fmla="*/ 590 w 641"/>
                <a:gd name="T71" fmla="*/ 39 h 330"/>
                <a:gd name="T72" fmla="*/ 590 w 641"/>
                <a:gd name="T73" fmla="*/ 45 h 330"/>
                <a:gd name="T74" fmla="*/ 586 w 641"/>
                <a:gd name="T75" fmla="*/ 49 h 330"/>
                <a:gd name="T76" fmla="*/ 592 w 641"/>
                <a:gd name="T77" fmla="*/ 53 h 330"/>
                <a:gd name="T78" fmla="*/ 596 w 641"/>
                <a:gd name="T79" fmla="*/ 59 h 330"/>
                <a:gd name="T80" fmla="*/ 602 w 641"/>
                <a:gd name="T81" fmla="*/ 63 h 330"/>
                <a:gd name="T82" fmla="*/ 607 w 641"/>
                <a:gd name="T83" fmla="*/ 76 h 330"/>
                <a:gd name="T84" fmla="*/ 613 w 641"/>
                <a:gd name="T85" fmla="*/ 82 h 330"/>
                <a:gd name="T86" fmla="*/ 621 w 641"/>
                <a:gd name="T87" fmla="*/ 86 h 330"/>
                <a:gd name="T88" fmla="*/ 627 w 641"/>
                <a:gd name="T89" fmla="*/ 86 h 330"/>
                <a:gd name="T90" fmla="*/ 629 w 641"/>
                <a:gd name="T91" fmla="*/ 88 h 330"/>
                <a:gd name="T92" fmla="*/ 629 w 641"/>
                <a:gd name="T93" fmla="*/ 90 h 330"/>
                <a:gd name="T94" fmla="*/ 631 w 641"/>
                <a:gd name="T95" fmla="*/ 92 h 330"/>
                <a:gd name="T96" fmla="*/ 633 w 641"/>
                <a:gd name="T97" fmla="*/ 141 h 330"/>
                <a:gd name="T98" fmla="*/ 635 w 641"/>
                <a:gd name="T99" fmla="*/ 197 h 330"/>
                <a:gd name="T100" fmla="*/ 637 w 641"/>
                <a:gd name="T101" fmla="*/ 250 h 330"/>
                <a:gd name="T102" fmla="*/ 641 w 641"/>
                <a:gd name="T103" fmla="*/ 30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1" h="330">
                  <a:moveTo>
                    <a:pt x="641" y="320"/>
                  </a:moveTo>
                  <a:lnTo>
                    <a:pt x="621" y="320"/>
                  </a:lnTo>
                  <a:lnTo>
                    <a:pt x="600" y="322"/>
                  </a:lnTo>
                  <a:lnTo>
                    <a:pt x="582" y="322"/>
                  </a:lnTo>
                  <a:lnTo>
                    <a:pt x="562" y="324"/>
                  </a:lnTo>
                  <a:lnTo>
                    <a:pt x="541" y="324"/>
                  </a:lnTo>
                  <a:lnTo>
                    <a:pt x="521" y="324"/>
                  </a:lnTo>
                  <a:lnTo>
                    <a:pt x="502" y="326"/>
                  </a:lnTo>
                  <a:lnTo>
                    <a:pt x="482" y="326"/>
                  </a:lnTo>
                  <a:lnTo>
                    <a:pt x="461" y="326"/>
                  </a:lnTo>
                  <a:lnTo>
                    <a:pt x="441" y="328"/>
                  </a:lnTo>
                  <a:lnTo>
                    <a:pt x="420" y="328"/>
                  </a:lnTo>
                  <a:lnTo>
                    <a:pt x="402" y="328"/>
                  </a:lnTo>
                  <a:lnTo>
                    <a:pt x="381" y="328"/>
                  </a:lnTo>
                  <a:lnTo>
                    <a:pt x="361" y="330"/>
                  </a:lnTo>
                  <a:lnTo>
                    <a:pt x="340" y="330"/>
                  </a:lnTo>
                  <a:lnTo>
                    <a:pt x="322" y="330"/>
                  </a:lnTo>
                  <a:lnTo>
                    <a:pt x="301" y="330"/>
                  </a:lnTo>
                  <a:lnTo>
                    <a:pt x="281" y="330"/>
                  </a:lnTo>
                  <a:lnTo>
                    <a:pt x="260" y="330"/>
                  </a:lnTo>
                  <a:lnTo>
                    <a:pt x="240" y="330"/>
                  </a:lnTo>
                  <a:lnTo>
                    <a:pt x="222" y="330"/>
                  </a:lnTo>
                  <a:lnTo>
                    <a:pt x="201" y="330"/>
                  </a:lnTo>
                  <a:lnTo>
                    <a:pt x="181" y="330"/>
                  </a:lnTo>
                  <a:lnTo>
                    <a:pt x="160" y="330"/>
                  </a:lnTo>
                  <a:lnTo>
                    <a:pt x="140" y="330"/>
                  </a:lnTo>
                  <a:lnTo>
                    <a:pt x="121" y="330"/>
                  </a:lnTo>
                  <a:lnTo>
                    <a:pt x="101" y="330"/>
                  </a:lnTo>
                  <a:lnTo>
                    <a:pt x="80" y="330"/>
                  </a:lnTo>
                  <a:lnTo>
                    <a:pt x="60" y="330"/>
                  </a:lnTo>
                  <a:lnTo>
                    <a:pt x="41" y="330"/>
                  </a:lnTo>
                  <a:lnTo>
                    <a:pt x="21" y="330"/>
                  </a:lnTo>
                  <a:lnTo>
                    <a:pt x="0" y="330"/>
                  </a:lnTo>
                  <a:lnTo>
                    <a:pt x="0" y="320"/>
                  </a:lnTo>
                  <a:lnTo>
                    <a:pt x="0" y="309"/>
                  </a:lnTo>
                  <a:lnTo>
                    <a:pt x="0" y="299"/>
                  </a:lnTo>
                  <a:lnTo>
                    <a:pt x="0" y="289"/>
                  </a:lnTo>
                  <a:lnTo>
                    <a:pt x="0" y="279"/>
                  </a:lnTo>
                  <a:lnTo>
                    <a:pt x="0" y="268"/>
                  </a:lnTo>
                  <a:lnTo>
                    <a:pt x="2" y="258"/>
                  </a:lnTo>
                  <a:lnTo>
                    <a:pt x="2" y="248"/>
                  </a:lnTo>
                  <a:lnTo>
                    <a:pt x="2" y="238"/>
                  </a:lnTo>
                  <a:lnTo>
                    <a:pt x="2" y="227"/>
                  </a:lnTo>
                  <a:lnTo>
                    <a:pt x="2" y="219"/>
                  </a:lnTo>
                  <a:lnTo>
                    <a:pt x="2" y="209"/>
                  </a:lnTo>
                  <a:lnTo>
                    <a:pt x="2" y="199"/>
                  </a:lnTo>
                  <a:lnTo>
                    <a:pt x="2" y="188"/>
                  </a:lnTo>
                  <a:lnTo>
                    <a:pt x="2" y="178"/>
                  </a:lnTo>
                  <a:lnTo>
                    <a:pt x="2" y="168"/>
                  </a:lnTo>
                  <a:lnTo>
                    <a:pt x="2" y="158"/>
                  </a:lnTo>
                  <a:lnTo>
                    <a:pt x="2" y="147"/>
                  </a:lnTo>
                  <a:lnTo>
                    <a:pt x="2" y="137"/>
                  </a:lnTo>
                  <a:lnTo>
                    <a:pt x="2" y="127"/>
                  </a:lnTo>
                  <a:lnTo>
                    <a:pt x="4" y="119"/>
                  </a:lnTo>
                  <a:lnTo>
                    <a:pt x="4" y="108"/>
                  </a:lnTo>
                  <a:lnTo>
                    <a:pt x="4" y="98"/>
                  </a:lnTo>
                  <a:lnTo>
                    <a:pt x="4" y="88"/>
                  </a:lnTo>
                  <a:lnTo>
                    <a:pt x="4" y="78"/>
                  </a:lnTo>
                  <a:lnTo>
                    <a:pt x="4" y="67"/>
                  </a:lnTo>
                  <a:lnTo>
                    <a:pt x="4" y="57"/>
                  </a:lnTo>
                  <a:lnTo>
                    <a:pt x="4" y="47"/>
                  </a:lnTo>
                  <a:lnTo>
                    <a:pt x="4" y="37"/>
                  </a:lnTo>
                  <a:lnTo>
                    <a:pt x="4" y="26"/>
                  </a:lnTo>
                  <a:lnTo>
                    <a:pt x="4" y="18"/>
                  </a:lnTo>
                  <a:lnTo>
                    <a:pt x="4" y="8"/>
                  </a:lnTo>
                  <a:lnTo>
                    <a:pt x="23" y="8"/>
                  </a:lnTo>
                  <a:lnTo>
                    <a:pt x="41" y="8"/>
                  </a:lnTo>
                  <a:lnTo>
                    <a:pt x="58" y="8"/>
                  </a:lnTo>
                  <a:lnTo>
                    <a:pt x="76" y="8"/>
                  </a:lnTo>
                  <a:lnTo>
                    <a:pt x="93" y="8"/>
                  </a:lnTo>
                  <a:lnTo>
                    <a:pt x="111" y="8"/>
                  </a:lnTo>
                  <a:lnTo>
                    <a:pt x="127" y="8"/>
                  </a:lnTo>
                  <a:lnTo>
                    <a:pt x="146" y="8"/>
                  </a:lnTo>
                  <a:lnTo>
                    <a:pt x="164" y="8"/>
                  </a:lnTo>
                  <a:lnTo>
                    <a:pt x="181" y="8"/>
                  </a:lnTo>
                  <a:lnTo>
                    <a:pt x="199" y="8"/>
                  </a:lnTo>
                  <a:lnTo>
                    <a:pt x="215" y="8"/>
                  </a:lnTo>
                  <a:lnTo>
                    <a:pt x="234" y="8"/>
                  </a:lnTo>
                  <a:lnTo>
                    <a:pt x="250" y="8"/>
                  </a:lnTo>
                  <a:lnTo>
                    <a:pt x="269" y="8"/>
                  </a:lnTo>
                  <a:lnTo>
                    <a:pt x="287" y="8"/>
                  </a:lnTo>
                  <a:lnTo>
                    <a:pt x="303" y="8"/>
                  </a:lnTo>
                  <a:lnTo>
                    <a:pt x="322" y="8"/>
                  </a:lnTo>
                  <a:lnTo>
                    <a:pt x="338" y="8"/>
                  </a:lnTo>
                  <a:lnTo>
                    <a:pt x="357" y="8"/>
                  </a:lnTo>
                  <a:lnTo>
                    <a:pt x="373" y="6"/>
                  </a:lnTo>
                  <a:lnTo>
                    <a:pt x="392" y="6"/>
                  </a:lnTo>
                  <a:lnTo>
                    <a:pt x="410" y="6"/>
                  </a:lnTo>
                  <a:lnTo>
                    <a:pt x="426" y="6"/>
                  </a:lnTo>
                  <a:lnTo>
                    <a:pt x="445" y="6"/>
                  </a:lnTo>
                  <a:lnTo>
                    <a:pt x="461" y="4"/>
                  </a:lnTo>
                  <a:lnTo>
                    <a:pt x="480" y="4"/>
                  </a:lnTo>
                  <a:lnTo>
                    <a:pt x="498" y="4"/>
                  </a:lnTo>
                  <a:lnTo>
                    <a:pt x="514" y="2"/>
                  </a:lnTo>
                  <a:lnTo>
                    <a:pt x="533" y="2"/>
                  </a:lnTo>
                  <a:lnTo>
                    <a:pt x="549" y="2"/>
                  </a:lnTo>
                  <a:lnTo>
                    <a:pt x="568" y="0"/>
                  </a:lnTo>
                  <a:lnTo>
                    <a:pt x="572" y="4"/>
                  </a:lnTo>
                  <a:lnTo>
                    <a:pt x="574" y="6"/>
                  </a:lnTo>
                  <a:lnTo>
                    <a:pt x="574" y="6"/>
                  </a:lnTo>
                  <a:lnTo>
                    <a:pt x="576" y="6"/>
                  </a:lnTo>
                  <a:lnTo>
                    <a:pt x="576" y="8"/>
                  </a:lnTo>
                  <a:lnTo>
                    <a:pt x="576" y="8"/>
                  </a:lnTo>
                  <a:lnTo>
                    <a:pt x="578" y="8"/>
                  </a:lnTo>
                  <a:lnTo>
                    <a:pt x="578" y="10"/>
                  </a:lnTo>
                  <a:lnTo>
                    <a:pt x="578" y="10"/>
                  </a:lnTo>
                  <a:lnTo>
                    <a:pt x="580" y="10"/>
                  </a:lnTo>
                  <a:lnTo>
                    <a:pt x="580" y="10"/>
                  </a:lnTo>
                  <a:lnTo>
                    <a:pt x="582" y="10"/>
                  </a:lnTo>
                  <a:lnTo>
                    <a:pt x="582" y="12"/>
                  </a:lnTo>
                  <a:lnTo>
                    <a:pt x="584" y="14"/>
                  </a:lnTo>
                  <a:lnTo>
                    <a:pt x="586" y="14"/>
                  </a:lnTo>
                  <a:lnTo>
                    <a:pt x="588" y="14"/>
                  </a:lnTo>
                  <a:lnTo>
                    <a:pt x="590" y="12"/>
                  </a:lnTo>
                  <a:lnTo>
                    <a:pt x="592" y="10"/>
                  </a:lnTo>
                  <a:lnTo>
                    <a:pt x="594" y="10"/>
                  </a:lnTo>
                  <a:lnTo>
                    <a:pt x="596" y="10"/>
                  </a:lnTo>
                  <a:lnTo>
                    <a:pt x="598" y="10"/>
                  </a:lnTo>
                  <a:lnTo>
                    <a:pt x="598" y="10"/>
                  </a:lnTo>
                  <a:lnTo>
                    <a:pt x="598" y="12"/>
                  </a:lnTo>
                  <a:lnTo>
                    <a:pt x="598" y="12"/>
                  </a:lnTo>
                  <a:lnTo>
                    <a:pt x="598" y="14"/>
                  </a:lnTo>
                  <a:lnTo>
                    <a:pt x="600" y="14"/>
                  </a:lnTo>
                  <a:lnTo>
                    <a:pt x="605" y="16"/>
                  </a:lnTo>
                  <a:lnTo>
                    <a:pt x="605" y="18"/>
                  </a:lnTo>
                  <a:lnTo>
                    <a:pt x="605" y="18"/>
                  </a:lnTo>
                  <a:lnTo>
                    <a:pt x="605" y="22"/>
                  </a:lnTo>
                  <a:lnTo>
                    <a:pt x="605" y="22"/>
                  </a:lnTo>
                  <a:lnTo>
                    <a:pt x="605" y="24"/>
                  </a:lnTo>
                  <a:lnTo>
                    <a:pt x="605" y="24"/>
                  </a:lnTo>
                  <a:lnTo>
                    <a:pt x="607" y="24"/>
                  </a:lnTo>
                  <a:lnTo>
                    <a:pt x="607" y="26"/>
                  </a:lnTo>
                  <a:lnTo>
                    <a:pt x="605" y="29"/>
                  </a:lnTo>
                  <a:lnTo>
                    <a:pt x="602" y="29"/>
                  </a:lnTo>
                  <a:lnTo>
                    <a:pt x="598" y="26"/>
                  </a:lnTo>
                  <a:lnTo>
                    <a:pt x="598" y="26"/>
                  </a:lnTo>
                  <a:lnTo>
                    <a:pt x="596" y="29"/>
                  </a:lnTo>
                  <a:lnTo>
                    <a:pt x="596" y="29"/>
                  </a:lnTo>
                  <a:lnTo>
                    <a:pt x="596" y="33"/>
                  </a:lnTo>
                  <a:lnTo>
                    <a:pt x="596" y="33"/>
                  </a:lnTo>
                  <a:lnTo>
                    <a:pt x="596" y="33"/>
                  </a:lnTo>
                  <a:lnTo>
                    <a:pt x="594" y="35"/>
                  </a:lnTo>
                  <a:lnTo>
                    <a:pt x="592" y="37"/>
                  </a:lnTo>
                  <a:lnTo>
                    <a:pt x="590" y="39"/>
                  </a:lnTo>
                  <a:lnTo>
                    <a:pt x="590" y="41"/>
                  </a:lnTo>
                  <a:lnTo>
                    <a:pt x="590" y="43"/>
                  </a:lnTo>
                  <a:lnTo>
                    <a:pt x="590" y="43"/>
                  </a:lnTo>
                  <a:lnTo>
                    <a:pt x="590" y="45"/>
                  </a:lnTo>
                  <a:lnTo>
                    <a:pt x="590" y="45"/>
                  </a:lnTo>
                  <a:lnTo>
                    <a:pt x="588" y="45"/>
                  </a:lnTo>
                  <a:lnTo>
                    <a:pt x="586" y="45"/>
                  </a:lnTo>
                  <a:lnTo>
                    <a:pt x="586" y="49"/>
                  </a:lnTo>
                  <a:lnTo>
                    <a:pt x="588" y="51"/>
                  </a:lnTo>
                  <a:lnTo>
                    <a:pt x="590" y="51"/>
                  </a:lnTo>
                  <a:lnTo>
                    <a:pt x="590" y="53"/>
                  </a:lnTo>
                  <a:lnTo>
                    <a:pt x="592" y="53"/>
                  </a:lnTo>
                  <a:lnTo>
                    <a:pt x="594" y="57"/>
                  </a:lnTo>
                  <a:lnTo>
                    <a:pt x="594" y="57"/>
                  </a:lnTo>
                  <a:lnTo>
                    <a:pt x="594" y="59"/>
                  </a:lnTo>
                  <a:lnTo>
                    <a:pt x="596" y="59"/>
                  </a:lnTo>
                  <a:lnTo>
                    <a:pt x="600" y="61"/>
                  </a:lnTo>
                  <a:lnTo>
                    <a:pt x="600" y="61"/>
                  </a:lnTo>
                  <a:lnTo>
                    <a:pt x="600" y="63"/>
                  </a:lnTo>
                  <a:lnTo>
                    <a:pt x="602" y="63"/>
                  </a:lnTo>
                  <a:lnTo>
                    <a:pt x="605" y="65"/>
                  </a:lnTo>
                  <a:lnTo>
                    <a:pt x="605" y="67"/>
                  </a:lnTo>
                  <a:lnTo>
                    <a:pt x="605" y="72"/>
                  </a:lnTo>
                  <a:lnTo>
                    <a:pt x="607" y="76"/>
                  </a:lnTo>
                  <a:lnTo>
                    <a:pt x="611" y="78"/>
                  </a:lnTo>
                  <a:lnTo>
                    <a:pt x="611" y="78"/>
                  </a:lnTo>
                  <a:lnTo>
                    <a:pt x="611" y="80"/>
                  </a:lnTo>
                  <a:lnTo>
                    <a:pt x="613" y="82"/>
                  </a:lnTo>
                  <a:lnTo>
                    <a:pt x="613" y="84"/>
                  </a:lnTo>
                  <a:lnTo>
                    <a:pt x="615" y="84"/>
                  </a:lnTo>
                  <a:lnTo>
                    <a:pt x="619" y="86"/>
                  </a:lnTo>
                  <a:lnTo>
                    <a:pt x="621" y="86"/>
                  </a:lnTo>
                  <a:lnTo>
                    <a:pt x="623" y="86"/>
                  </a:lnTo>
                  <a:lnTo>
                    <a:pt x="625" y="86"/>
                  </a:lnTo>
                  <a:lnTo>
                    <a:pt x="625" y="86"/>
                  </a:lnTo>
                  <a:lnTo>
                    <a:pt x="627" y="86"/>
                  </a:lnTo>
                  <a:lnTo>
                    <a:pt x="627" y="86"/>
                  </a:lnTo>
                  <a:lnTo>
                    <a:pt x="627" y="88"/>
                  </a:lnTo>
                  <a:lnTo>
                    <a:pt x="627" y="88"/>
                  </a:lnTo>
                  <a:lnTo>
                    <a:pt x="629" y="88"/>
                  </a:lnTo>
                  <a:lnTo>
                    <a:pt x="631" y="88"/>
                  </a:lnTo>
                  <a:lnTo>
                    <a:pt x="631" y="90"/>
                  </a:lnTo>
                  <a:lnTo>
                    <a:pt x="629" y="90"/>
                  </a:lnTo>
                  <a:lnTo>
                    <a:pt x="629" y="90"/>
                  </a:lnTo>
                  <a:lnTo>
                    <a:pt x="629" y="92"/>
                  </a:lnTo>
                  <a:lnTo>
                    <a:pt x="629" y="92"/>
                  </a:lnTo>
                  <a:lnTo>
                    <a:pt x="631" y="92"/>
                  </a:lnTo>
                  <a:lnTo>
                    <a:pt x="631" y="92"/>
                  </a:lnTo>
                  <a:lnTo>
                    <a:pt x="631" y="100"/>
                  </a:lnTo>
                  <a:lnTo>
                    <a:pt x="631" y="115"/>
                  </a:lnTo>
                  <a:lnTo>
                    <a:pt x="631" y="127"/>
                  </a:lnTo>
                  <a:lnTo>
                    <a:pt x="633" y="141"/>
                  </a:lnTo>
                  <a:lnTo>
                    <a:pt x="633" y="156"/>
                  </a:lnTo>
                  <a:lnTo>
                    <a:pt x="633" y="168"/>
                  </a:lnTo>
                  <a:lnTo>
                    <a:pt x="635" y="182"/>
                  </a:lnTo>
                  <a:lnTo>
                    <a:pt x="635" y="197"/>
                  </a:lnTo>
                  <a:lnTo>
                    <a:pt x="635" y="209"/>
                  </a:lnTo>
                  <a:lnTo>
                    <a:pt x="637" y="223"/>
                  </a:lnTo>
                  <a:lnTo>
                    <a:pt x="637" y="238"/>
                  </a:lnTo>
                  <a:lnTo>
                    <a:pt x="637" y="250"/>
                  </a:lnTo>
                  <a:lnTo>
                    <a:pt x="639" y="264"/>
                  </a:lnTo>
                  <a:lnTo>
                    <a:pt x="639" y="279"/>
                  </a:lnTo>
                  <a:lnTo>
                    <a:pt x="639" y="291"/>
                  </a:lnTo>
                  <a:lnTo>
                    <a:pt x="641" y="305"/>
                  </a:lnTo>
                  <a:lnTo>
                    <a:pt x="641" y="320"/>
                  </a:lnTo>
                  <a:lnTo>
                    <a:pt x="641" y="320"/>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KS</a:t>
              </a:r>
            </a:p>
          </p:txBody>
        </p:sp>
        <p:sp>
          <p:nvSpPr>
            <p:cNvPr id="225" name="Freeform 40">
              <a:extLst>
                <a:ext uri="{FF2B5EF4-FFF2-40B4-BE49-F238E27FC236}">
                  <a16:creationId xmlns:a16="http://schemas.microsoft.com/office/drawing/2014/main" id="{FA63A77E-C99C-AE34-75A6-A005CC734721}"/>
                </a:ext>
              </a:extLst>
            </p:cNvPr>
            <p:cNvSpPr>
              <a:spLocks/>
            </p:cNvSpPr>
            <p:nvPr/>
          </p:nvSpPr>
          <p:spPr bwMode="auto">
            <a:xfrm>
              <a:off x="3748" y="848"/>
              <a:ext cx="269" cy="455"/>
            </a:xfrm>
            <a:custGeom>
              <a:avLst/>
              <a:gdLst>
                <a:gd name="T0" fmla="*/ 260 w 269"/>
                <a:gd name="T1" fmla="*/ 302 h 455"/>
                <a:gd name="T2" fmla="*/ 258 w 269"/>
                <a:gd name="T3" fmla="*/ 287 h 455"/>
                <a:gd name="T4" fmla="*/ 256 w 269"/>
                <a:gd name="T5" fmla="*/ 240 h 455"/>
                <a:gd name="T6" fmla="*/ 248 w 269"/>
                <a:gd name="T7" fmla="*/ 179 h 455"/>
                <a:gd name="T8" fmla="*/ 240 w 269"/>
                <a:gd name="T9" fmla="*/ 119 h 455"/>
                <a:gd name="T10" fmla="*/ 234 w 269"/>
                <a:gd name="T11" fmla="*/ 58 h 455"/>
                <a:gd name="T12" fmla="*/ 220 w 269"/>
                <a:gd name="T13" fmla="*/ 3 h 455"/>
                <a:gd name="T14" fmla="*/ 174 w 269"/>
                <a:gd name="T15" fmla="*/ 9 h 455"/>
                <a:gd name="T16" fmla="*/ 125 w 269"/>
                <a:gd name="T17" fmla="*/ 15 h 455"/>
                <a:gd name="T18" fmla="*/ 74 w 269"/>
                <a:gd name="T19" fmla="*/ 21 h 455"/>
                <a:gd name="T20" fmla="*/ 17 w 269"/>
                <a:gd name="T21" fmla="*/ 39 h 455"/>
                <a:gd name="T22" fmla="*/ 4 w 269"/>
                <a:gd name="T23" fmla="*/ 33 h 455"/>
                <a:gd name="T24" fmla="*/ 15 w 269"/>
                <a:gd name="T25" fmla="*/ 125 h 455"/>
                <a:gd name="T26" fmla="*/ 27 w 269"/>
                <a:gd name="T27" fmla="*/ 248 h 455"/>
                <a:gd name="T28" fmla="*/ 25 w 269"/>
                <a:gd name="T29" fmla="*/ 291 h 455"/>
                <a:gd name="T30" fmla="*/ 25 w 269"/>
                <a:gd name="T31" fmla="*/ 312 h 455"/>
                <a:gd name="T32" fmla="*/ 35 w 269"/>
                <a:gd name="T33" fmla="*/ 324 h 455"/>
                <a:gd name="T34" fmla="*/ 39 w 269"/>
                <a:gd name="T35" fmla="*/ 343 h 455"/>
                <a:gd name="T36" fmla="*/ 33 w 269"/>
                <a:gd name="T37" fmla="*/ 357 h 455"/>
                <a:gd name="T38" fmla="*/ 31 w 269"/>
                <a:gd name="T39" fmla="*/ 365 h 455"/>
                <a:gd name="T40" fmla="*/ 31 w 269"/>
                <a:gd name="T41" fmla="*/ 373 h 455"/>
                <a:gd name="T42" fmla="*/ 29 w 269"/>
                <a:gd name="T43" fmla="*/ 378 h 455"/>
                <a:gd name="T44" fmla="*/ 23 w 269"/>
                <a:gd name="T45" fmla="*/ 388 h 455"/>
                <a:gd name="T46" fmla="*/ 17 w 269"/>
                <a:gd name="T47" fmla="*/ 396 h 455"/>
                <a:gd name="T48" fmla="*/ 15 w 269"/>
                <a:gd name="T49" fmla="*/ 398 h 455"/>
                <a:gd name="T50" fmla="*/ 11 w 269"/>
                <a:gd name="T51" fmla="*/ 400 h 455"/>
                <a:gd name="T52" fmla="*/ 7 w 269"/>
                <a:gd name="T53" fmla="*/ 406 h 455"/>
                <a:gd name="T54" fmla="*/ 9 w 269"/>
                <a:gd name="T55" fmla="*/ 412 h 455"/>
                <a:gd name="T56" fmla="*/ 7 w 269"/>
                <a:gd name="T57" fmla="*/ 421 h 455"/>
                <a:gd name="T58" fmla="*/ 7 w 269"/>
                <a:gd name="T59" fmla="*/ 427 h 455"/>
                <a:gd name="T60" fmla="*/ 4 w 269"/>
                <a:gd name="T61" fmla="*/ 435 h 455"/>
                <a:gd name="T62" fmla="*/ 4 w 269"/>
                <a:gd name="T63" fmla="*/ 443 h 455"/>
                <a:gd name="T64" fmla="*/ 7 w 269"/>
                <a:gd name="T65" fmla="*/ 451 h 455"/>
                <a:gd name="T66" fmla="*/ 4 w 269"/>
                <a:gd name="T67" fmla="*/ 453 h 455"/>
                <a:gd name="T68" fmla="*/ 19 w 269"/>
                <a:gd name="T69" fmla="*/ 449 h 455"/>
                <a:gd name="T70" fmla="*/ 21 w 269"/>
                <a:gd name="T71" fmla="*/ 441 h 455"/>
                <a:gd name="T72" fmla="*/ 33 w 269"/>
                <a:gd name="T73" fmla="*/ 441 h 455"/>
                <a:gd name="T74" fmla="*/ 39 w 269"/>
                <a:gd name="T75" fmla="*/ 447 h 455"/>
                <a:gd name="T76" fmla="*/ 41 w 269"/>
                <a:gd name="T77" fmla="*/ 433 h 455"/>
                <a:gd name="T78" fmla="*/ 47 w 269"/>
                <a:gd name="T79" fmla="*/ 437 h 455"/>
                <a:gd name="T80" fmla="*/ 66 w 269"/>
                <a:gd name="T81" fmla="*/ 435 h 455"/>
                <a:gd name="T82" fmla="*/ 80 w 269"/>
                <a:gd name="T83" fmla="*/ 441 h 455"/>
                <a:gd name="T84" fmla="*/ 88 w 269"/>
                <a:gd name="T85" fmla="*/ 445 h 455"/>
                <a:gd name="T86" fmla="*/ 101 w 269"/>
                <a:gd name="T87" fmla="*/ 429 h 455"/>
                <a:gd name="T88" fmla="*/ 113 w 269"/>
                <a:gd name="T89" fmla="*/ 429 h 455"/>
                <a:gd name="T90" fmla="*/ 125 w 269"/>
                <a:gd name="T91" fmla="*/ 435 h 455"/>
                <a:gd name="T92" fmla="*/ 133 w 269"/>
                <a:gd name="T93" fmla="*/ 425 h 455"/>
                <a:gd name="T94" fmla="*/ 140 w 269"/>
                <a:gd name="T95" fmla="*/ 410 h 455"/>
                <a:gd name="T96" fmla="*/ 140 w 269"/>
                <a:gd name="T97" fmla="*/ 402 h 455"/>
                <a:gd name="T98" fmla="*/ 148 w 269"/>
                <a:gd name="T99" fmla="*/ 400 h 455"/>
                <a:gd name="T100" fmla="*/ 152 w 269"/>
                <a:gd name="T101" fmla="*/ 398 h 455"/>
                <a:gd name="T102" fmla="*/ 160 w 269"/>
                <a:gd name="T103" fmla="*/ 410 h 455"/>
                <a:gd name="T104" fmla="*/ 177 w 269"/>
                <a:gd name="T105" fmla="*/ 412 h 455"/>
                <a:gd name="T106" fmla="*/ 185 w 269"/>
                <a:gd name="T107" fmla="*/ 404 h 455"/>
                <a:gd name="T108" fmla="*/ 189 w 269"/>
                <a:gd name="T109" fmla="*/ 382 h 455"/>
                <a:gd name="T110" fmla="*/ 195 w 269"/>
                <a:gd name="T111" fmla="*/ 382 h 455"/>
                <a:gd name="T112" fmla="*/ 209 w 269"/>
                <a:gd name="T113" fmla="*/ 359 h 455"/>
                <a:gd name="T114" fmla="*/ 220 w 269"/>
                <a:gd name="T115" fmla="*/ 345 h 455"/>
                <a:gd name="T116" fmla="*/ 226 w 269"/>
                <a:gd name="T117" fmla="*/ 326 h 455"/>
                <a:gd name="T118" fmla="*/ 256 w 269"/>
                <a:gd name="T119" fmla="*/ 316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455">
                  <a:moveTo>
                    <a:pt x="267" y="308"/>
                  </a:moveTo>
                  <a:lnTo>
                    <a:pt x="269" y="306"/>
                  </a:lnTo>
                  <a:lnTo>
                    <a:pt x="269" y="304"/>
                  </a:lnTo>
                  <a:lnTo>
                    <a:pt x="267" y="304"/>
                  </a:lnTo>
                  <a:lnTo>
                    <a:pt x="263" y="304"/>
                  </a:lnTo>
                  <a:lnTo>
                    <a:pt x="260" y="304"/>
                  </a:lnTo>
                  <a:lnTo>
                    <a:pt x="260" y="302"/>
                  </a:lnTo>
                  <a:lnTo>
                    <a:pt x="260" y="302"/>
                  </a:lnTo>
                  <a:lnTo>
                    <a:pt x="263" y="298"/>
                  </a:lnTo>
                  <a:lnTo>
                    <a:pt x="265" y="296"/>
                  </a:lnTo>
                  <a:lnTo>
                    <a:pt x="263" y="294"/>
                  </a:lnTo>
                  <a:lnTo>
                    <a:pt x="263" y="291"/>
                  </a:lnTo>
                  <a:lnTo>
                    <a:pt x="258" y="289"/>
                  </a:lnTo>
                  <a:lnTo>
                    <a:pt x="258" y="287"/>
                  </a:lnTo>
                  <a:lnTo>
                    <a:pt x="260" y="283"/>
                  </a:lnTo>
                  <a:lnTo>
                    <a:pt x="263" y="283"/>
                  </a:lnTo>
                  <a:lnTo>
                    <a:pt x="260" y="273"/>
                  </a:lnTo>
                  <a:lnTo>
                    <a:pt x="260" y="265"/>
                  </a:lnTo>
                  <a:lnTo>
                    <a:pt x="258" y="257"/>
                  </a:lnTo>
                  <a:lnTo>
                    <a:pt x="258" y="248"/>
                  </a:lnTo>
                  <a:lnTo>
                    <a:pt x="256" y="240"/>
                  </a:lnTo>
                  <a:lnTo>
                    <a:pt x="254" y="230"/>
                  </a:lnTo>
                  <a:lnTo>
                    <a:pt x="254" y="222"/>
                  </a:lnTo>
                  <a:lnTo>
                    <a:pt x="252" y="214"/>
                  </a:lnTo>
                  <a:lnTo>
                    <a:pt x="252" y="205"/>
                  </a:lnTo>
                  <a:lnTo>
                    <a:pt x="250" y="197"/>
                  </a:lnTo>
                  <a:lnTo>
                    <a:pt x="250" y="187"/>
                  </a:lnTo>
                  <a:lnTo>
                    <a:pt x="248" y="179"/>
                  </a:lnTo>
                  <a:lnTo>
                    <a:pt x="248" y="171"/>
                  </a:lnTo>
                  <a:lnTo>
                    <a:pt x="246" y="162"/>
                  </a:lnTo>
                  <a:lnTo>
                    <a:pt x="246" y="154"/>
                  </a:lnTo>
                  <a:lnTo>
                    <a:pt x="244" y="144"/>
                  </a:lnTo>
                  <a:lnTo>
                    <a:pt x="244" y="136"/>
                  </a:lnTo>
                  <a:lnTo>
                    <a:pt x="242" y="128"/>
                  </a:lnTo>
                  <a:lnTo>
                    <a:pt x="240" y="119"/>
                  </a:lnTo>
                  <a:lnTo>
                    <a:pt x="240" y="111"/>
                  </a:lnTo>
                  <a:lnTo>
                    <a:pt x="238" y="101"/>
                  </a:lnTo>
                  <a:lnTo>
                    <a:pt x="238" y="93"/>
                  </a:lnTo>
                  <a:lnTo>
                    <a:pt x="236" y="85"/>
                  </a:lnTo>
                  <a:lnTo>
                    <a:pt x="236" y="76"/>
                  </a:lnTo>
                  <a:lnTo>
                    <a:pt x="234" y="68"/>
                  </a:lnTo>
                  <a:lnTo>
                    <a:pt x="234" y="58"/>
                  </a:lnTo>
                  <a:lnTo>
                    <a:pt x="232" y="50"/>
                  </a:lnTo>
                  <a:lnTo>
                    <a:pt x="232" y="41"/>
                  </a:lnTo>
                  <a:lnTo>
                    <a:pt x="228" y="25"/>
                  </a:lnTo>
                  <a:lnTo>
                    <a:pt x="228" y="15"/>
                  </a:lnTo>
                  <a:lnTo>
                    <a:pt x="226" y="7"/>
                  </a:lnTo>
                  <a:lnTo>
                    <a:pt x="226" y="0"/>
                  </a:lnTo>
                  <a:lnTo>
                    <a:pt x="220" y="3"/>
                  </a:lnTo>
                  <a:lnTo>
                    <a:pt x="213" y="3"/>
                  </a:lnTo>
                  <a:lnTo>
                    <a:pt x="207" y="5"/>
                  </a:lnTo>
                  <a:lnTo>
                    <a:pt x="201" y="5"/>
                  </a:lnTo>
                  <a:lnTo>
                    <a:pt x="195" y="5"/>
                  </a:lnTo>
                  <a:lnTo>
                    <a:pt x="187" y="7"/>
                  </a:lnTo>
                  <a:lnTo>
                    <a:pt x="181" y="7"/>
                  </a:lnTo>
                  <a:lnTo>
                    <a:pt x="174" y="9"/>
                  </a:lnTo>
                  <a:lnTo>
                    <a:pt x="168" y="9"/>
                  </a:lnTo>
                  <a:lnTo>
                    <a:pt x="162" y="9"/>
                  </a:lnTo>
                  <a:lnTo>
                    <a:pt x="156" y="11"/>
                  </a:lnTo>
                  <a:lnTo>
                    <a:pt x="150" y="11"/>
                  </a:lnTo>
                  <a:lnTo>
                    <a:pt x="144" y="13"/>
                  </a:lnTo>
                  <a:lnTo>
                    <a:pt x="131" y="13"/>
                  </a:lnTo>
                  <a:lnTo>
                    <a:pt x="125" y="15"/>
                  </a:lnTo>
                  <a:lnTo>
                    <a:pt x="119" y="15"/>
                  </a:lnTo>
                  <a:lnTo>
                    <a:pt x="111" y="17"/>
                  </a:lnTo>
                  <a:lnTo>
                    <a:pt x="105" y="17"/>
                  </a:lnTo>
                  <a:lnTo>
                    <a:pt x="93" y="19"/>
                  </a:lnTo>
                  <a:lnTo>
                    <a:pt x="86" y="19"/>
                  </a:lnTo>
                  <a:lnTo>
                    <a:pt x="80" y="19"/>
                  </a:lnTo>
                  <a:lnTo>
                    <a:pt x="74" y="21"/>
                  </a:lnTo>
                  <a:lnTo>
                    <a:pt x="68" y="21"/>
                  </a:lnTo>
                  <a:lnTo>
                    <a:pt x="62" y="23"/>
                  </a:lnTo>
                  <a:lnTo>
                    <a:pt x="60" y="23"/>
                  </a:lnTo>
                  <a:lnTo>
                    <a:pt x="45" y="33"/>
                  </a:lnTo>
                  <a:lnTo>
                    <a:pt x="31" y="39"/>
                  </a:lnTo>
                  <a:lnTo>
                    <a:pt x="23" y="41"/>
                  </a:lnTo>
                  <a:lnTo>
                    <a:pt x="17" y="39"/>
                  </a:lnTo>
                  <a:lnTo>
                    <a:pt x="15" y="39"/>
                  </a:lnTo>
                  <a:lnTo>
                    <a:pt x="13" y="39"/>
                  </a:lnTo>
                  <a:lnTo>
                    <a:pt x="13" y="37"/>
                  </a:lnTo>
                  <a:lnTo>
                    <a:pt x="13" y="35"/>
                  </a:lnTo>
                  <a:lnTo>
                    <a:pt x="9" y="37"/>
                  </a:lnTo>
                  <a:lnTo>
                    <a:pt x="7" y="35"/>
                  </a:lnTo>
                  <a:lnTo>
                    <a:pt x="4" y="33"/>
                  </a:lnTo>
                  <a:lnTo>
                    <a:pt x="4" y="33"/>
                  </a:lnTo>
                  <a:lnTo>
                    <a:pt x="7" y="50"/>
                  </a:lnTo>
                  <a:lnTo>
                    <a:pt x="7" y="64"/>
                  </a:lnTo>
                  <a:lnTo>
                    <a:pt x="9" y="78"/>
                  </a:lnTo>
                  <a:lnTo>
                    <a:pt x="11" y="95"/>
                  </a:lnTo>
                  <a:lnTo>
                    <a:pt x="13" y="109"/>
                  </a:lnTo>
                  <a:lnTo>
                    <a:pt x="15" y="125"/>
                  </a:lnTo>
                  <a:lnTo>
                    <a:pt x="15" y="140"/>
                  </a:lnTo>
                  <a:lnTo>
                    <a:pt x="17" y="156"/>
                  </a:lnTo>
                  <a:lnTo>
                    <a:pt x="19" y="171"/>
                  </a:lnTo>
                  <a:lnTo>
                    <a:pt x="21" y="187"/>
                  </a:lnTo>
                  <a:lnTo>
                    <a:pt x="23" y="201"/>
                  </a:lnTo>
                  <a:lnTo>
                    <a:pt x="25" y="232"/>
                  </a:lnTo>
                  <a:lnTo>
                    <a:pt x="27" y="248"/>
                  </a:lnTo>
                  <a:lnTo>
                    <a:pt x="29" y="263"/>
                  </a:lnTo>
                  <a:lnTo>
                    <a:pt x="31" y="279"/>
                  </a:lnTo>
                  <a:lnTo>
                    <a:pt x="31" y="283"/>
                  </a:lnTo>
                  <a:lnTo>
                    <a:pt x="31" y="283"/>
                  </a:lnTo>
                  <a:lnTo>
                    <a:pt x="27" y="287"/>
                  </a:lnTo>
                  <a:lnTo>
                    <a:pt x="25" y="287"/>
                  </a:lnTo>
                  <a:lnTo>
                    <a:pt x="25" y="291"/>
                  </a:lnTo>
                  <a:lnTo>
                    <a:pt x="25" y="291"/>
                  </a:lnTo>
                  <a:lnTo>
                    <a:pt x="27" y="296"/>
                  </a:lnTo>
                  <a:lnTo>
                    <a:pt x="27" y="300"/>
                  </a:lnTo>
                  <a:lnTo>
                    <a:pt x="23" y="306"/>
                  </a:lnTo>
                  <a:lnTo>
                    <a:pt x="23" y="310"/>
                  </a:lnTo>
                  <a:lnTo>
                    <a:pt x="23" y="312"/>
                  </a:lnTo>
                  <a:lnTo>
                    <a:pt x="25" y="312"/>
                  </a:lnTo>
                  <a:lnTo>
                    <a:pt x="25" y="312"/>
                  </a:lnTo>
                  <a:lnTo>
                    <a:pt x="29" y="314"/>
                  </a:lnTo>
                  <a:lnTo>
                    <a:pt x="29" y="316"/>
                  </a:lnTo>
                  <a:lnTo>
                    <a:pt x="31" y="320"/>
                  </a:lnTo>
                  <a:lnTo>
                    <a:pt x="31" y="322"/>
                  </a:lnTo>
                  <a:lnTo>
                    <a:pt x="33" y="322"/>
                  </a:lnTo>
                  <a:lnTo>
                    <a:pt x="35" y="324"/>
                  </a:lnTo>
                  <a:lnTo>
                    <a:pt x="35" y="326"/>
                  </a:lnTo>
                  <a:lnTo>
                    <a:pt x="37" y="330"/>
                  </a:lnTo>
                  <a:lnTo>
                    <a:pt x="35" y="332"/>
                  </a:lnTo>
                  <a:lnTo>
                    <a:pt x="35" y="332"/>
                  </a:lnTo>
                  <a:lnTo>
                    <a:pt x="35" y="335"/>
                  </a:lnTo>
                  <a:lnTo>
                    <a:pt x="37" y="339"/>
                  </a:lnTo>
                  <a:lnTo>
                    <a:pt x="39" y="343"/>
                  </a:lnTo>
                  <a:lnTo>
                    <a:pt x="39" y="347"/>
                  </a:lnTo>
                  <a:lnTo>
                    <a:pt x="39" y="355"/>
                  </a:lnTo>
                  <a:lnTo>
                    <a:pt x="37" y="355"/>
                  </a:lnTo>
                  <a:lnTo>
                    <a:pt x="37" y="355"/>
                  </a:lnTo>
                  <a:lnTo>
                    <a:pt x="35" y="355"/>
                  </a:lnTo>
                  <a:lnTo>
                    <a:pt x="35" y="357"/>
                  </a:lnTo>
                  <a:lnTo>
                    <a:pt x="33" y="357"/>
                  </a:lnTo>
                  <a:lnTo>
                    <a:pt x="33" y="359"/>
                  </a:lnTo>
                  <a:lnTo>
                    <a:pt x="33" y="361"/>
                  </a:lnTo>
                  <a:lnTo>
                    <a:pt x="33" y="363"/>
                  </a:lnTo>
                  <a:lnTo>
                    <a:pt x="33" y="363"/>
                  </a:lnTo>
                  <a:lnTo>
                    <a:pt x="33" y="365"/>
                  </a:lnTo>
                  <a:lnTo>
                    <a:pt x="33" y="365"/>
                  </a:lnTo>
                  <a:lnTo>
                    <a:pt x="31" y="365"/>
                  </a:lnTo>
                  <a:lnTo>
                    <a:pt x="33" y="365"/>
                  </a:lnTo>
                  <a:lnTo>
                    <a:pt x="31" y="365"/>
                  </a:lnTo>
                  <a:lnTo>
                    <a:pt x="31" y="367"/>
                  </a:lnTo>
                  <a:lnTo>
                    <a:pt x="29" y="367"/>
                  </a:lnTo>
                  <a:lnTo>
                    <a:pt x="29" y="369"/>
                  </a:lnTo>
                  <a:lnTo>
                    <a:pt x="29" y="371"/>
                  </a:lnTo>
                  <a:lnTo>
                    <a:pt x="31" y="373"/>
                  </a:lnTo>
                  <a:lnTo>
                    <a:pt x="31" y="376"/>
                  </a:lnTo>
                  <a:lnTo>
                    <a:pt x="31" y="376"/>
                  </a:lnTo>
                  <a:lnTo>
                    <a:pt x="31" y="376"/>
                  </a:lnTo>
                  <a:lnTo>
                    <a:pt x="31" y="376"/>
                  </a:lnTo>
                  <a:lnTo>
                    <a:pt x="29" y="376"/>
                  </a:lnTo>
                  <a:lnTo>
                    <a:pt x="29" y="376"/>
                  </a:lnTo>
                  <a:lnTo>
                    <a:pt x="29" y="378"/>
                  </a:lnTo>
                  <a:lnTo>
                    <a:pt x="27" y="378"/>
                  </a:lnTo>
                  <a:lnTo>
                    <a:pt x="25" y="380"/>
                  </a:lnTo>
                  <a:lnTo>
                    <a:pt x="23" y="382"/>
                  </a:lnTo>
                  <a:lnTo>
                    <a:pt x="23" y="382"/>
                  </a:lnTo>
                  <a:lnTo>
                    <a:pt x="25" y="384"/>
                  </a:lnTo>
                  <a:lnTo>
                    <a:pt x="25" y="386"/>
                  </a:lnTo>
                  <a:lnTo>
                    <a:pt x="23" y="388"/>
                  </a:lnTo>
                  <a:lnTo>
                    <a:pt x="21" y="390"/>
                  </a:lnTo>
                  <a:lnTo>
                    <a:pt x="21" y="390"/>
                  </a:lnTo>
                  <a:lnTo>
                    <a:pt x="19" y="390"/>
                  </a:lnTo>
                  <a:lnTo>
                    <a:pt x="19" y="392"/>
                  </a:lnTo>
                  <a:lnTo>
                    <a:pt x="19" y="392"/>
                  </a:lnTo>
                  <a:lnTo>
                    <a:pt x="19" y="394"/>
                  </a:lnTo>
                  <a:lnTo>
                    <a:pt x="17" y="396"/>
                  </a:lnTo>
                  <a:lnTo>
                    <a:pt x="17" y="398"/>
                  </a:lnTo>
                  <a:lnTo>
                    <a:pt x="17" y="398"/>
                  </a:lnTo>
                  <a:lnTo>
                    <a:pt x="17" y="400"/>
                  </a:lnTo>
                  <a:lnTo>
                    <a:pt x="17" y="400"/>
                  </a:lnTo>
                  <a:lnTo>
                    <a:pt x="17" y="400"/>
                  </a:lnTo>
                  <a:lnTo>
                    <a:pt x="15" y="398"/>
                  </a:lnTo>
                  <a:lnTo>
                    <a:pt x="15" y="398"/>
                  </a:lnTo>
                  <a:lnTo>
                    <a:pt x="15" y="398"/>
                  </a:lnTo>
                  <a:lnTo>
                    <a:pt x="15" y="398"/>
                  </a:lnTo>
                  <a:lnTo>
                    <a:pt x="13" y="398"/>
                  </a:lnTo>
                  <a:lnTo>
                    <a:pt x="13" y="400"/>
                  </a:lnTo>
                  <a:lnTo>
                    <a:pt x="13" y="402"/>
                  </a:lnTo>
                  <a:lnTo>
                    <a:pt x="13" y="402"/>
                  </a:lnTo>
                  <a:lnTo>
                    <a:pt x="11" y="400"/>
                  </a:lnTo>
                  <a:lnTo>
                    <a:pt x="11" y="400"/>
                  </a:lnTo>
                  <a:lnTo>
                    <a:pt x="9" y="400"/>
                  </a:lnTo>
                  <a:lnTo>
                    <a:pt x="9" y="402"/>
                  </a:lnTo>
                  <a:lnTo>
                    <a:pt x="9" y="404"/>
                  </a:lnTo>
                  <a:lnTo>
                    <a:pt x="9" y="404"/>
                  </a:lnTo>
                  <a:lnTo>
                    <a:pt x="7" y="406"/>
                  </a:lnTo>
                  <a:lnTo>
                    <a:pt x="7" y="406"/>
                  </a:lnTo>
                  <a:lnTo>
                    <a:pt x="7" y="408"/>
                  </a:lnTo>
                  <a:lnTo>
                    <a:pt x="7" y="408"/>
                  </a:lnTo>
                  <a:lnTo>
                    <a:pt x="7" y="410"/>
                  </a:lnTo>
                  <a:lnTo>
                    <a:pt x="7" y="410"/>
                  </a:lnTo>
                  <a:lnTo>
                    <a:pt x="7" y="410"/>
                  </a:lnTo>
                  <a:lnTo>
                    <a:pt x="9" y="412"/>
                  </a:lnTo>
                  <a:lnTo>
                    <a:pt x="9" y="412"/>
                  </a:lnTo>
                  <a:lnTo>
                    <a:pt x="11" y="414"/>
                  </a:lnTo>
                  <a:lnTo>
                    <a:pt x="11" y="414"/>
                  </a:lnTo>
                  <a:lnTo>
                    <a:pt x="11" y="416"/>
                  </a:lnTo>
                  <a:lnTo>
                    <a:pt x="11" y="416"/>
                  </a:lnTo>
                  <a:lnTo>
                    <a:pt x="9" y="419"/>
                  </a:lnTo>
                  <a:lnTo>
                    <a:pt x="9" y="419"/>
                  </a:lnTo>
                  <a:lnTo>
                    <a:pt x="7" y="421"/>
                  </a:lnTo>
                  <a:lnTo>
                    <a:pt x="4" y="423"/>
                  </a:lnTo>
                  <a:lnTo>
                    <a:pt x="7" y="423"/>
                  </a:lnTo>
                  <a:lnTo>
                    <a:pt x="9" y="423"/>
                  </a:lnTo>
                  <a:lnTo>
                    <a:pt x="11" y="423"/>
                  </a:lnTo>
                  <a:lnTo>
                    <a:pt x="9" y="425"/>
                  </a:lnTo>
                  <a:lnTo>
                    <a:pt x="7" y="425"/>
                  </a:lnTo>
                  <a:lnTo>
                    <a:pt x="7" y="427"/>
                  </a:lnTo>
                  <a:lnTo>
                    <a:pt x="4" y="427"/>
                  </a:lnTo>
                  <a:lnTo>
                    <a:pt x="2" y="427"/>
                  </a:lnTo>
                  <a:lnTo>
                    <a:pt x="4" y="429"/>
                  </a:lnTo>
                  <a:lnTo>
                    <a:pt x="4" y="431"/>
                  </a:lnTo>
                  <a:lnTo>
                    <a:pt x="4" y="433"/>
                  </a:lnTo>
                  <a:lnTo>
                    <a:pt x="4" y="433"/>
                  </a:lnTo>
                  <a:lnTo>
                    <a:pt x="4" y="435"/>
                  </a:lnTo>
                  <a:lnTo>
                    <a:pt x="4" y="437"/>
                  </a:lnTo>
                  <a:lnTo>
                    <a:pt x="4" y="437"/>
                  </a:lnTo>
                  <a:lnTo>
                    <a:pt x="4" y="439"/>
                  </a:lnTo>
                  <a:lnTo>
                    <a:pt x="4" y="441"/>
                  </a:lnTo>
                  <a:lnTo>
                    <a:pt x="4" y="441"/>
                  </a:lnTo>
                  <a:lnTo>
                    <a:pt x="7" y="443"/>
                  </a:lnTo>
                  <a:lnTo>
                    <a:pt x="4" y="443"/>
                  </a:lnTo>
                  <a:lnTo>
                    <a:pt x="4" y="445"/>
                  </a:lnTo>
                  <a:lnTo>
                    <a:pt x="2" y="445"/>
                  </a:lnTo>
                  <a:lnTo>
                    <a:pt x="0" y="445"/>
                  </a:lnTo>
                  <a:lnTo>
                    <a:pt x="0" y="445"/>
                  </a:lnTo>
                  <a:lnTo>
                    <a:pt x="7" y="449"/>
                  </a:lnTo>
                  <a:lnTo>
                    <a:pt x="7" y="451"/>
                  </a:lnTo>
                  <a:lnTo>
                    <a:pt x="7" y="451"/>
                  </a:lnTo>
                  <a:lnTo>
                    <a:pt x="4" y="451"/>
                  </a:lnTo>
                  <a:lnTo>
                    <a:pt x="2" y="451"/>
                  </a:lnTo>
                  <a:lnTo>
                    <a:pt x="2" y="451"/>
                  </a:lnTo>
                  <a:lnTo>
                    <a:pt x="2" y="451"/>
                  </a:lnTo>
                  <a:lnTo>
                    <a:pt x="2" y="453"/>
                  </a:lnTo>
                  <a:lnTo>
                    <a:pt x="2" y="453"/>
                  </a:lnTo>
                  <a:lnTo>
                    <a:pt x="4" y="453"/>
                  </a:lnTo>
                  <a:lnTo>
                    <a:pt x="7" y="453"/>
                  </a:lnTo>
                  <a:lnTo>
                    <a:pt x="9" y="453"/>
                  </a:lnTo>
                  <a:lnTo>
                    <a:pt x="11" y="453"/>
                  </a:lnTo>
                  <a:lnTo>
                    <a:pt x="13" y="455"/>
                  </a:lnTo>
                  <a:lnTo>
                    <a:pt x="15" y="455"/>
                  </a:lnTo>
                  <a:lnTo>
                    <a:pt x="15" y="455"/>
                  </a:lnTo>
                  <a:lnTo>
                    <a:pt x="19" y="449"/>
                  </a:lnTo>
                  <a:lnTo>
                    <a:pt x="15" y="443"/>
                  </a:lnTo>
                  <a:lnTo>
                    <a:pt x="15" y="443"/>
                  </a:lnTo>
                  <a:lnTo>
                    <a:pt x="15" y="439"/>
                  </a:lnTo>
                  <a:lnTo>
                    <a:pt x="17" y="439"/>
                  </a:lnTo>
                  <a:lnTo>
                    <a:pt x="19" y="439"/>
                  </a:lnTo>
                  <a:lnTo>
                    <a:pt x="21" y="441"/>
                  </a:lnTo>
                  <a:lnTo>
                    <a:pt x="21" y="441"/>
                  </a:lnTo>
                  <a:lnTo>
                    <a:pt x="23" y="443"/>
                  </a:lnTo>
                  <a:lnTo>
                    <a:pt x="25" y="443"/>
                  </a:lnTo>
                  <a:lnTo>
                    <a:pt x="27" y="443"/>
                  </a:lnTo>
                  <a:lnTo>
                    <a:pt x="29" y="443"/>
                  </a:lnTo>
                  <a:lnTo>
                    <a:pt x="31" y="441"/>
                  </a:lnTo>
                  <a:lnTo>
                    <a:pt x="33" y="441"/>
                  </a:lnTo>
                  <a:lnTo>
                    <a:pt x="33" y="441"/>
                  </a:lnTo>
                  <a:lnTo>
                    <a:pt x="35" y="439"/>
                  </a:lnTo>
                  <a:lnTo>
                    <a:pt x="35" y="439"/>
                  </a:lnTo>
                  <a:lnTo>
                    <a:pt x="37" y="441"/>
                  </a:lnTo>
                  <a:lnTo>
                    <a:pt x="37" y="441"/>
                  </a:lnTo>
                  <a:lnTo>
                    <a:pt x="37" y="445"/>
                  </a:lnTo>
                  <a:lnTo>
                    <a:pt x="37" y="447"/>
                  </a:lnTo>
                  <a:lnTo>
                    <a:pt x="39" y="447"/>
                  </a:lnTo>
                  <a:lnTo>
                    <a:pt x="41" y="447"/>
                  </a:lnTo>
                  <a:lnTo>
                    <a:pt x="43" y="443"/>
                  </a:lnTo>
                  <a:lnTo>
                    <a:pt x="43" y="441"/>
                  </a:lnTo>
                  <a:lnTo>
                    <a:pt x="43" y="439"/>
                  </a:lnTo>
                  <a:lnTo>
                    <a:pt x="41" y="435"/>
                  </a:lnTo>
                  <a:lnTo>
                    <a:pt x="41" y="433"/>
                  </a:lnTo>
                  <a:lnTo>
                    <a:pt x="41" y="433"/>
                  </a:lnTo>
                  <a:lnTo>
                    <a:pt x="41" y="431"/>
                  </a:lnTo>
                  <a:lnTo>
                    <a:pt x="41" y="431"/>
                  </a:lnTo>
                  <a:lnTo>
                    <a:pt x="43" y="431"/>
                  </a:lnTo>
                  <a:lnTo>
                    <a:pt x="43" y="433"/>
                  </a:lnTo>
                  <a:lnTo>
                    <a:pt x="43" y="433"/>
                  </a:lnTo>
                  <a:lnTo>
                    <a:pt x="43" y="435"/>
                  </a:lnTo>
                  <a:lnTo>
                    <a:pt x="47" y="437"/>
                  </a:lnTo>
                  <a:lnTo>
                    <a:pt x="52" y="437"/>
                  </a:lnTo>
                  <a:lnTo>
                    <a:pt x="54" y="435"/>
                  </a:lnTo>
                  <a:lnTo>
                    <a:pt x="58" y="433"/>
                  </a:lnTo>
                  <a:lnTo>
                    <a:pt x="60" y="433"/>
                  </a:lnTo>
                  <a:lnTo>
                    <a:pt x="62" y="433"/>
                  </a:lnTo>
                  <a:lnTo>
                    <a:pt x="64" y="435"/>
                  </a:lnTo>
                  <a:lnTo>
                    <a:pt x="66" y="435"/>
                  </a:lnTo>
                  <a:lnTo>
                    <a:pt x="66" y="437"/>
                  </a:lnTo>
                  <a:lnTo>
                    <a:pt x="72" y="439"/>
                  </a:lnTo>
                  <a:lnTo>
                    <a:pt x="76" y="439"/>
                  </a:lnTo>
                  <a:lnTo>
                    <a:pt x="76" y="441"/>
                  </a:lnTo>
                  <a:lnTo>
                    <a:pt x="78" y="441"/>
                  </a:lnTo>
                  <a:lnTo>
                    <a:pt x="80" y="441"/>
                  </a:lnTo>
                  <a:lnTo>
                    <a:pt x="80" y="441"/>
                  </a:lnTo>
                  <a:lnTo>
                    <a:pt x="82" y="441"/>
                  </a:lnTo>
                  <a:lnTo>
                    <a:pt x="82" y="443"/>
                  </a:lnTo>
                  <a:lnTo>
                    <a:pt x="82" y="443"/>
                  </a:lnTo>
                  <a:lnTo>
                    <a:pt x="84" y="445"/>
                  </a:lnTo>
                  <a:lnTo>
                    <a:pt x="84" y="445"/>
                  </a:lnTo>
                  <a:lnTo>
                    <a:pt x="86" y="447"/>
                  </a:lnTo>
                  <a:lnTo>
                    <a:pt x="88" y="445"/>
                  </a:lnTo>
                  <a:lnTo>
                    <a:pt x="88" y="441"/>
                  </a:lnTo>
                  <a:lnTo>
                    <a:pt x="90" y="435"/>
                  </a:lnTo>
                  <a:lnTo>
                    <a:pt x="93" y="433"/>
                  </a:lnTo>
                  <a:lnTo>
                    <a:pt x="93" y="431"/>
                  </a:lnTo>
                  <a:lnTo>
                    <a:pt x="93" y="431"/>
                  </a:lnTo>
                  <a:lnTo>
                    <a:pt x="95" y="429"/>
                  </a:lnTo>
                  <a:lnTo>
                    <a:pt x="101" y="429"/>
                  </a:lnTo>
                  <a:lnTo>
                    <a:pt x="101" y="429"/>
                  </a:lnTo>
                  <a:lnTo>
                    <a:pt x="103" y="427"/>
                  </a:lnTo>
                  <a:lnTo>
                    <a:pt x="105" y="423"/>
                  </a:lnTo>
                  <a:lnTo>
                    <a:pt x="109" y="421"/>
                  </a:lnTo>
                  <a:lnTo>
                    <a:pt x="111" y="423"/>
                  </a:lnTo>
                  <a:lnTo>
                    <a:pt x="111" y="427"/>
                  </a:lnTo>
                  <a:lnTo>
                    <a:pt x="113" y="429"/>
                  </a:lnTo>
                  <a:lnTo>
                    <a:pt x="117" y="431"/>
                  </a:lnTo>
                  <a:lnTo>
                    <a:pt x="119" y="431"/>
                  </a:lnTo>
                  <a:lnTo>
                    <a:pt x="123" y="429"/>
                  </a:lnTo>
                  <a:lnTo>
                    <a:pt x="125" y="429"/>
                  </a:lnTo>
                  <a:lnTo>
                    <a:pt x="123" y="433"/>
                  </a:lnTo>
                  <a:lnTo>
                    <a:pt x="123" y="433"/>
                  </a:lnTo>
                  <a:lnTo>
                    <a:pt x="125" y="435"/>
                  </a:lnTo>
                  <a:lnTo>
                    <a:pt x="127" y="435"/>
                  </a:lnTo>
                  <a:lnTo>
                    <a:pt x="129" y="433"/>
                  </a:lnTo>
                  <a:lnTo>
                    <a:pt x="129" y="431"/>
                  </a:lnTo>
                  <a:lnTo>
                    <a:pt x="129" y="429"/>
                  </a:lnTo>
                  <a:lnTo>
                    <a:pt x="129" y="427"/>
                  </a:lnTo>
                  <a:lnTo>
                    <a:pt x="133" y="425"/>
                  </a:lnTo>
                  <a:lnTo>
                    <a:pt x="133" y="425"/>
                  </a:lnTo>
                  <a:lnTo>
                    <a:pt x="133" y="423"/>
                  </a:lnTo>
                  <a:lnTo>
                    <a:pt x="133" y="416"/>
                  </a:lnTo>
                  <a:lnTo>
                    <a:pt x="133" y="414"/>
                  </a:lnTo>
                  <a:lnTo>
                    <a:pt x="133" y="412"/>
                  </a:lnTo>
                  <a:lnTo>
                    <a:pt x="136" y="412"/>
                  </a:lnTo>
                  <a:lnTo>
                    <a:pt x="138" y="410"/>
                  </a:lnTo>
                  <a:lnTo>
                    <a:pt x="140" y="410"/>
                  </a:lnTo>
                  <a:lnTo>
                    <a:pt x="140" y="408"/>
                  </a:lnTo>
                  <a:lnTo>
                    <a:pt x="140" y="406"/>
                  </a:lnTo>
                  <a:lnTo>
                    <a:pt x="138" y="404"/>
                  </a:lnTo>
                  <a:lnTo>
                    <a:pt x="138" y="404"/>
                  </a:lnTo>
                  <a:lnTo>
                    <a:pt x="138" y="402"/>
                  </a:lnTo>
                  <a:lnTo>
                    <a:pt x="138" y="402"/>
                  </a:lnTo>
                  <a:lnTo>
                    <a:pt x="140" y="402"/>
                  </a:lnTo>
                  <a:lnTo>
                    <a:pt x="140" y="404"/>
                  </a:lnTo>
                  <a:lnTo>
                    <a:pt x="140" y="404"/>
                  </a:lnTo>
                  <a:lnTo>
                    <a:pt x="142" y="404"/>
                  </a:lnTo>
                  <a:lnTo>
                    <a:pt x="144" y="404"/>
                  </a:lnTo>
                  <a:lnTo>
                    <a:pt x="146" y="402"/>
                  </a:lnTo>
                  <a:lnTo>
                    <a:pt x="148" y="400"/>
                  </a:lnTo>
                  <a:lnTo>
                    <a:pt x="148" y="400"/>
                  </a:lnTo>
                  <a:lnTo>
                    <a:pt x="146" y="400"/>
                  </a:lnTo>
                  <a:lnTo>
                    <a:pt x="144" y="398"/>
                  </a:lnTo>
                  <a:lnTo>
                    <a:pt x="142" y="396"/>
                  </a:lnTo>
                  <a:lnTo>
                    <a:pt x="144" y="396"/>
                  </a:lnTo>
                  <a:lnTo>
                    <a:pt x="146" y="396"/>
                  </a:lnTo>
                  <a:lnTo>
                    <a:pt x="146" y="396"/>
                  </a:lnTo>
                  <a:lnTo>
                    <a:pt x="152" y="398"/>
                  </a:lnTo>
                  <a:lnTo>
                    <a:pt x="152" y="400"/>
                  </a:lnTo>
                  <a:lnTo>
                    <a:pt x="152" y="404"/>
                  </a:lnTo>
                  <a:lnTo>
                    <a:pt x="152" y="406"/>
                  </a:lnTo>
                  <a:lnTo>
                    <a:pt x="154" y="408"/>
                  </a:lnTo>
                  <a:lnTo>
                    <a:pt x="156" y="408"/>
                  </a:lnTo>
                  <a:lnTo>
                    <a:pt x="158" y="410"/>
                  </a:lnTo>
                  <a:lnTo>
                    <a:pt x="160" y="410"/>
                  </a:lnTo>
                  <a:lnTo>
                    <a:pt x="162" y="412"/>
                  </a:lnTo>
                  <a:lnTo>
                    <a:pt x="166" y="412"/>
                  </a:lnTo>
                  <a:lnTo>
                    <a:pt x="168" y="412"/>
                  </a:lnTo>
                  <a:lnTo>
                    <a:pt x="172" y="414"/>
                  </a:lnTo>
                  <a:lnTo>
                    <a:pt x="174" y="416"/>
                  </a:lnTo>
                  <a:lnTo>
                    <a:pt x="174" y="414"/>
                  </a:lnTo>
                  <a:lnTo>
                    <a:pt x="177" y="412"/>
                  </a:lnTo>
                  <a:lnTo>
                    <a:pt x="177" y="412"/>
                  </a:lnTo>
                  <a:lnTo>
                    <a:pt x="181" y="410"/>
                  </a:lnTo>
                  <a:lnTo>
                    <a:pt x="183" y="410"/>
                  </a:lnTo>
                  <a:lnTo>
                    <a:pt x="183" y="410"/>
                  </a:lnTo>
                  <a:lnTo>
                    <a:pt x="183" y="408"/>
                  </a:lnTo>
                  <a:lnTo>
                    <a:pt x="185" y="408"/>
                  </a:lnTo>
                  <a:lnTo>
                    <a:pt x="185" y="404"/>
                  </a:lnTo>
                  <a:lnTo>
                    <a:pt x="185" y="394"/>
                  </a:lnTo>
                  <a:lnTo>
                    <a:pt x="185" y="392"/>
                  </a:lnTo>
                  <a:lnTo>
                    <a:pt x="185" y="390"/>
                  </a:lnTo>
                  <a:lnTo>
                    <a:pt x="185" y="388"/>
                  </a:lnTo>
                  <a:lnTo>
                    <a:pt x="187" y="386"/>
                  </a:lnTo>
                  <a:lnTo>
                    <a:pt x="187" y="386"/>
                  </a:lnTo>
                  <a:lnTo>
                    <a:pt x="189" y="382"/>
                  </a:lnTo>
                  <a:lnTo>
                    <a:pt x="189" y="380"/>
                  </a:lnTo>
                  <a:lnTo>
                    <a:pt x="191" y="380"/>
                  </a:lnTo>
                  <a:lnTo>
                    <a:pt x="193" y="380"/>
                  </a:lnTo>
                  <a:lnTo>
                    <a:pt x="193" y="380"/>
                  </a:lnTo>
                  <a:lnTo>
                    <a:pt x="193" y="380"/>
                  </a:lnTo>
                  <a:lnTo>
                    <a:pt x="195" y="382"/>
                  </a:lnTo>
                  <a:lnTo>
                    <a:pt x="195" y="382"/>
                  </a:lnTo>
                  <a:lnTo>
                    <a:pt x="199" y="380"/>
                  </a:lnTo>
                  <a:lnTo>
                    <a:pt x="199" y="378"/>
                  </a:lnTo>
                  <a:lnTo>
                    <a:pt x="203" y="376"/>
                  </a:lnTo>
                  <a:lnTo>
                    <a:pt x="203" y="371"/>
                  </a:lnTo>
                  <a:lnTo>
                    <a:pt x="205" y="361"/>
                  </a:lnTo>
                  <a:lnTo>
                    <a:pt x="207" y="359"/>
                  </a:lnTo>
                  <a:lnTo>
                    <a:pt x="209" y="359"/>
                  </a:lnTo>
                  <a:lnTo>
                    <a:pt x="211" y="357"/>
                  </a:lnTo>
                  <a:lnTo>
                    <a:pt x="213" y="357"/>
                  </a:lnTo>
                  <a:lnTo>
                    <a:pt x="213" y="355"/>
                  </a:lnTo>
                  <a:lnTo>
                    <a:pt x="215" y="353"/>
                  </a:lnTo>
                  <a:lnTo>
                    <a:pt x="220" y="349"/>
                  </a:lnTo>
                  <a:lnTo>
                    <a:pt x="220" y="347"/>
                  </a:lnTo>
                  <a:lnTo>
                    <a:pt x="220" y="345"/>
                  </a:lnTo>
                  <a:lnTo>
                    <a:pt x="217" y="341"/>
                  </a:lnTo>
                  <a:lnTo>
                    <a:pt x="215" y="335"/>
                  </a:lnTo>
                  <a:lnTo>
                    <a:pt x="215" y="332"/>
                  </a:lnTo>
                  <a:lnTo>
                    <a:pt x="215" y="330"/>
                  </a:lnTo>
                  <a:lnTo>
                    <a:pt x="213" y="328"/>
                  </a:lnTo>
                  <a:lnTo>
                    <a:pt x="215" y="328"/>
                  </a:lnTo>
                  <a:lnTo>
                    <a:pt x="226" y="326"/>
                  </a:lnTo>
                  <a:lnTo>
                    <a:pt x="230" y="324"/>
                  </a:lnTo>
                  <a:lnTo>
                    <a:pt x="232" y="326"/>
                  </a:lnTo>
                  <a:lnTo>
                    <a:pt x="236" y="328"/>
                  </a:lnTo>
                  <a:lnTo>
                    <a:pt x="238" y="330"/>
                  </a:lnTo>
                  <a:lnTo>
                    <a:pt x="240" y="328"/>
                  </a:lnTo>
                  <a:lnTo>
                    <a:pt x="252" y="318"/>
                  </a:lnTo>
                  <a:lnTo>
                    <a:pt x="256" y="316"/>
                  </a:lnTo>
                  <a:lnTo>
                    <a:pt x="260" y="316"/>
                  </a:lnTo>
                  <a:lnTo>
                    <a:pt x="267" y="316"/>
                  </a:lnTo>
                  <a:lnTo>
                    <a:pt x="269" y="314"/>
                  </a:lnTo>
                  <a:lnTo>
                    <a:pt x="267" y="312"/>
                  </a:lnTo>
                  <a:lnTo>
                    <a:pt x="267" y="308"/>
                  </a:lnTo>
                  <a:lnTo>
                    <a:pt x="267" y="308"/>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N</a:t>
              </a:r>
            </a:p>
          </p:txBody>
        </p:sp>
        <p:sp>
          <p:nvSpPr>
            <p:cNvPr id="226" name="Freeform 41">
              <a:extLst>
                <a:ext uri="{FF2B5EF4-FFF2-40B4-BE49-F238E27FC236}">
                  <a16:creationId xmlns:a16="http://schemas.microsoft.com/office/drawing/2014/main" id="{6C6796A3-B086-8AAE-8AD6-53F70AFC0434}"/>
                </a:ext>
              </a:extLst>
            </p:cNvPr>
            <p:cNvSpPr>
              <a:spLocks/>
            </p:cNvSpPr>
            <p:nvPr/>
          </p:nvSpPr>
          <p:spPr bwMode="auto">
            <a:xfrm>
              <a:off x="3437" y="803"/>
              <a:ext cx="350" cy="597"/>
            </a:xfrm>
            <a:custGeom>
              <a:avLst/>
              <a:gdLst>
                <a:gd name="T0" fmla="*/ 342 w 350"/>
                <a:gd name="T1" fmla="*/ 367 h 597"/>
                <a:gd name="T2" fmla="*/ 338 w 350"/>
                <a:gd name="T3" fmla="*/ 345 h 597"/>
                <a:gd name="T4" fmla="*/ 340 w 350"/>
                <a:gd name="T5" fmla="*/ 308 h 597"/>
                <a:gd name="T6" fmla="*/ 324 w 350"/>
                <a:gd name="T7" fmla="*/ 154 h 597"/>
                <a:gd name="T8" fmla="*/ 305 w 350"/>
                <a:gd name="T9" fmla="*/ 60 h 597"/>
                <a:gd name="T10" fmla="*/ 293 w 350"/>
                <a:gd name="T11" fmla="*/ 39 h 597"/>
                <a:gd name="T12" fmla="*/ 283 w 350"/>
                <a:gd name="T13" fmla="*/ 15 h 597"/>
                <a:gd name="T14" fmla="*/ 240 w 350"/>
                <a:gd name="T15" fmla="*/ 5 h 597"/>
                <a:gd name="T16" fmla="*/ 111 w 350"/>
                <a:gd name="T17" fmla="*/ 15 h 597"/>
                <a:gd name="T18" fmla="*/ 53 w 350"/>
                <a:gd name="T19" fmla="*/ 19 h 597"/>
                <a:gd name="T20" fmla="*/ 53 w 350"/>
                <a:gd name="T21" fmla="*/ 19 h 597"/>
                <a:gd name="T22" fmla="*/ 74 w 350"/>
                <a:gd name="T23" fmla="*/ 39 h 597"/>
                <a:gd name="T24" fmla="*/ 90 w 350"/>
                <a:gd name="T25" fmla="*/ 54 h 597"/>
                <a:gd name="T26" fmla="*/ 98 w 350"/>
                <a:gd name="T27" fmla="*/ 68 h 597"/>
                <a:gd name="T28" fmla="*/ 88 w 350"/>
                <a:gd name="T29" fmla="*/ 97 h 597"/>
                <a:gd name="T30" fmla="*/ 86 w 350"/>
                <a:gd name="T31" fmla="*/ 111 h 597"/>
                <a:gd name="T32" fmla="*/ 66 w 350"/>
                <a:gd name="T33" fmla="*/ 125 h 597"/>
                <a:gd name="T34" fmla="*/ 27 w 350"/>
                <a:gd name="T35" fmla="*/ 150 h 597"/>
                <a:gd name="T36" fmla="*/ 41 w 350"/>
                <a:gd name="T37" fmla="*/ 175 h 597"/>
                <a:gd name="T38" fmla="*/ 31 w 350"/>
                <a:gd name="T39" fmla="*/ 209 h 597"/>
                <a:gd name="T40" fmla="*/ 6 w 350"/>
                <a:gd name="T41" fmla="*/ 230 h 597"/>
                <a:gd name="T42" fmla="*/ 10 w 350"/>
                <a:gd name="T43" fmla="*/ 244 h 597"/>
                <a:gd name="T44" fmla="*/ 0 w 350"/>
                <a:gd name="T45" fmla="*/ 273 h 597"/>
                <a:gd name="T46" fmla="*/ 8 w 350"/>
                <a:gd name="T47" fmla="*/ 302 h 597"/>
                <a:gd name="T48" fmla="*/ 14 w 350"/>
                <a:gd name="T49" fmla="*/ 316 h 597"/>
                <a:gd name="T50" fmla="*/ 66 w 350"/>
                <a:gd name="T51" fmla="*/ 359 h 597"/>
                <a:gd name="T52" fmla="*/ 76 w 350"/>
                <a:gd name="T53" fmla="*/ 380 h 597"/>
                <a:gd name="T54" fmla="*/ 80 w 350"/>
                <a:gd name="T55" fmla="*/ 392 h 597"/>
                <a:gd name="T56" fmla="*/ 107 w 350"/>
                <a:gd name="T57" fmla="*/ 396 h 597"/>
                <a:gd name="T58" fmla="*/ 127 w 350"/>
                <a:gd name="T59" fmla="*/ 414 h 597"/>
                <a:gd name="T60" fmla="*/ 115 w 350"/>
                <a:gd name="T61" fmla="*/ 457 h 597"/>
                <a:gd name="T62" fmla="*/ 123 w 350"/>
                <a:gd name="T63" fmla="*/ 480 h 597"/>
                <a:gd name="T64" fmla="*/ 141 w 350"/>
                <a:gd name="T65" fmla="*/ 494 h 597"/>
                <a:gd name="T66" fmla="*/ 172 w 350"/>
                <a:gd name="T67" fmla="*/ 509 h 597"/>
                <a:gd name="T68" fmla="*/ 193 w 350"/>
                <a:gd name="T69" fmla="*/ 529 h 597"/>
                <a:gd name="T70" fmla="*/ 203 w 350"/>
                <a:gd name="T71" fmla="*/ 554 h 597"/>
                <a:gd name="T72" fmla="*/ 201 w 350"/>
                <a:gd name="T73" fmla="*/ 572 h 597"/>
                <a:gd name="T74" fmla="*/ 219 w 350"/>
                <a:gd name="T75" fmla="*/ 595 h 597"/>
                <a:gd name="T76" fmla="*/ 219 w 350"/>
                <a:gd name="T77" fmla="*/ 587 h 597"/>
                <a:gd name="T78" fmla="*/ 227 w 350"/>
                <a:gd name="T79" fmla="*/ 595 h 597"/>
                <a:gd name="T80" fmla="*/ 229 w 350"/>
                <a:gd name="T81" fmla="*/ 591 h 597"/>
                <a:gd name="T82" fmla="*/ 250 w 350"/>
                <a:gd name="T83" fmla="*/ 568 h 597"/>
                <a:gd name="T84" fmla="*/ 287 w 350"/>
                <a:gd name="T85" fmla="*/ 564 h 597"/>
                <a:gd name="T86" fmla="*/ 293 w 350"/>
                <a:gd name="T87" fmla="*/ 543 h 597"/>
                <a:gd name="T88" fmla="*/ 309 w 350"/>
                <a:gd name="T89" fmla="*/ 519 h 597"/>
                <a:gd name="T90" fmla="*/ 318 w 350"/>
                <a:gd name="T91" fmla="*/ 498 h 597"/>
                <a:gd name="T92" fmla="*/ 318 w 350"/>
                <a:gd name="T93" fmla="*/ 496 h 597"/>
                <a:gd name="T94" fmla="*/ 315 w 350"/>
                <a:gd name="T95" fmla="*/ 486 h 597"/>
                <a:gd name="T96" fmla="*/ 313 w 350"/>
                <a:gd name="T97" fmla="*/ 472 h 597"/>
                <a:gd name="T98" fmla="*/ 318 w 350"/>
                <a:gd name="T99" fmla="*/ 466 h 597"/>
                <a:gd name="T100" fmla="*/ 318 w 350"/>
                <a:gd name="T101" fmla="*/ 455 h 597"/>
                <a:gd name="T102" fmla="*/ 320 w 350"/>
                <a:gd name="T103" fmla="*/ 447 h 597"/>
                <a:gd name="T104" fmla="*/ 326 w 350"/>
                <a:gd name="T105" fmla="*/ 443 h 597"/>
                <a:gd name="T106" fmla="*/ 330 w 350"/>
                <a:gd name="T107" fmla="*/ 439 h 597"/>
                <a:gd name="T108" fmla="*/ 334 w 350"/>
                <a:gd name="T109" fmla="*/ 427 h 597"/>
                <a:gd name="T110" fmla="*/ 342 w 350"/>
                <a:gd name="T111" fmla="*/ 421 h 597"/>
                <a:gd name="T112" fmla="*/ 342 w 350"/>
                <a:gd name="T113" fmla="*/ 410 h 597"/>
                <a:gd name="T114" fmla="*/ 346 w 350"/>
                <a:gd name="T115" fmla="*/ 40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597">
                  <a:moveTo>
                    <a:pt x="348" y="384"/>
                  </a:moveTo>
                  <a:lnTo>
                    <a:pt x="346" y="380"/>
                  </a:lnTo>
                  <a:lnTo>
                    <a:pt x="346" y="377"/>
                  </a:lnTo>
                  <a:lnTo>
                    <a:pt x="346" y="377"/>
                  </a:lnTo>
                  <a:lnTo>
                    <a:pt x="348" y="375"/>
                  </a:lnTo>
                  <a:lnTo>
                    <a:pt x="346" y="371"/>
                  </a:lnTo>
                  <a:lnTo>
                    <a:pt x="346" y="369"/>
                  </a:lnTo>
                  <a:lnTo>
                    <a:pt x="344" y="367"/>
                  </a:lnTo>
                  <a:lnTo>
                    <a:pt x="342" y="367"/>
                  </a:lnTo>
                  <a:lnTo>
                    <a:pt x="342" y="365"/>
                  </a:lnTo>
                  <a:lnTo>
                    <a:pt x="340" y="361"/>
                  </a:lnTo>
                  <a:lnTo>
                    <a:pt x="340" y="359"/>
                  </a:lnTo>
                  <a:lnTo>
                    <a:pt x="336" y="357"/>
                  </a:lnTo>
                  <a:lnTo>
                    <a:pt x="336" y="357"/>
                  </a:lnTo>
                  <a:lnTo>
                    <a:pt x="334" y="357"/>
                  </a:lnTo>
                  <a:lnTo>
                    <a:pt x="334" y="355"/>
                  </a:lnTo>
                  <a:lnTo>
                    <a:pt x="334" y="351"/>
                  </a:lnTo>
                  <a:lnTo>
                    <a:pt x="338" y="345"/>
                  </a:lnTo>
                  <a:lnTo>
                    <a:pt x="338" y="341"/>
                  </a:lnTo>
                  <a:lnTo>
                    <a:pt x="336" y="336"/>
                  </a:lnTo>
                  <a:lnTo>
                    <a:pt x="336" y="336"/>
                  </a:lnTo>
                  <a:lnTo>
                    <a:pt x="336" y="332"/>
                  </a:lnTo>
                  <a:lnTo>
                    <a:pt x="338" y="332"/>
                  </a:lnTo>
                  <a:lnTo>
                    <a:pt x="342" y="328"/>
                  </a:lnTo>
                  <a:lnTo>
                    <a:pt x="342" y="328"/>
                  </a:lnTo>
                  <a:lnTo>
                    <a:pt x="342" y="324"/>
                  </a:lnTo>
                  <a:lnTo>
                    <a:pt x="340" y="308"/>
                  </a:lnTo>
                  <a:lnTo>
                    <a:pt x="338" y="293"/>
                  </a:lnTo>
                  <a:lnTo>
                    <a:pt x="336" y="277"/>
                  </a:lnTo>
                  <a:lnTo>
                    <a:pt x="334" y="246"/>
                  </a:lnTo>
                  <a:lnTo>
                    <a:pt x="332" y="232"/>
                  </a:lnTo>
                  <a:lnTo>
                    <a:pt x="330" y="216"/>
                  </a:lnTo>
                  <a:lnTo>
                    <a:pt x="328" y="201"/>
                  </a:lnTo>
                  <a:lnTo>
                    <a:pt x="326" y="185"/>
                  </a:lnTo>
                  <a:lnTo>
                    <a:pt x="326" y="170"/>
                  </a:lnTo>
                  <a:lnTo>
                    <a:pt x="324" y="154"/>
                  </a:lnTo>
                  <a:lnTo>
                    <a:pt x="322" y="140"/>
                  </a:lnTo>
                  <a:lnTo>
                    <a:pt x="320" y="123"/>
                  </a:lnTo>
                  <a:lnTo>
                    <a:pt x="318" y="109"/>
                  </a:lnTo>
                  <a:lnTo>
                    <a:pt x="318" y="95"/>
                  </a:lnTo>
                  <a:lnTo>
                    <a:pt x="315" y="78"/>
                  </a:lnTo>
                  <a:lnTo>
                    <a:pt x="315" y="78"/>
                  </a:lnTo>
                  <a:lnTo>
                    <a:pt x="309" y="72"/>
                  </a:lnTo>
                  <a:lnTo>
                    <a:pt x="307" y="68"/>
                  </a:lnTo>
                  <a:lnTo>
                    <a:pt x="305" y="60"/>
                  </a:lnTo>
                  <a:lnTo>
                    <a:pt x="301" y="56"/>
                  </a:lnTo>
                  <a:lnTo>
                    <a:pt x="299" y="45"/>
                  </a:lnTo>
                  <a:lnTo>
                    <a:pt x="299" y="45"/>
                  </a:lnTo>
                  <a:lnTo>
                    <a:pt x="299" y="43"/>
                  </a:lnTo>
                  <a:lnTo>
                    <a:pt x="297" y="41"/>
                  </a:lnTo>
                  <a:lnTo>
                    <a:pt x="297" y="41"/>
                  </a:lnTo>
                  <a:lnTo>
                    <a:pt x="295" y="39"/>
                  </a:lnTo>
                  <a:lnTo>
                    <a:pt x="293" y="39"/>
                  </a:lnTo>
                  <a:lnTo>
                    <a:pt x="293" y="39"/>
                  </a:lnTo>
                  <a:lnTo>
                    <a:pt x="293" y="39"/>
                  </a:lnTo>
                  <a:lnTo>
                    <a:pt x="291" y="37"/>
                  </a:lnTo>
                  <a:lnTo>
                    <a:pt x="291" y="37"/>
                  </a:lnTo>
                  <a:lnTo>
                    <a:pt x="291" y="35"/>
                  </a:lnTo>
                  <a:lnTo>
                    <a:pt x="291" y="35"/>
                  </a:lnTo>
                  <a:lnTo>
                    <a:pt x="287" y="29"/>
                  </a:lnTo>
                  <a:lnTo>
                    <a:pt x="285" y="25"/>
                  </a:lnTo>
                  <a:lnTo>
                    <a:pt x="285" y="23"/>
                  </a:lnTo>
                  <a:lnTo>
                    <a:pt x="283" y="15"/>
                  </a:lnTo>
                  <a:lnTo>
                    <a:pt x="283" y="13"/>
                  </a:lnTo>
                  <a:lnTo>
                    <a:pt x="283" y="13"/>
                  </a:lnTo>
                  <a:lnTo>
                    <a:pt x="283" y="11"/>
                  </a:lnTo>
                  <a:lnTo>
                    <a:pt x="283" y="11"/>
                  </a:lnTo>
                  <a:lnTo>
                    <a:pt x="283" y="0"/>
                  </a:lnTo>
                  <a:lnTo>
                    <a:pt x="283" y="0"/>
                  </a:lnTo>
                  <a:lnTo>
                    <a:pt x="268" y="0"/>
                  </a:lnTo>
                  <a:lnTo>
                    <a:pt x="254" y="2"/>
                  </a:lnTo>
                  <a:lnTo>
                    <a:pt x="240" y="5"/>
                  </a:lnTo>
                  <a:lnTo>
                    <a:pt x="225" y="5"/>
                  </a:lnTo>
                  <a:lnTo>
                    <a:pt x="211" y="7"/>
                  </a:lnTo>
                  <a:lnTo>
                    <a:pt x="197" y="9"/>
                  </a:lnTo>
                  <a:lnTo>
                    <a:pt x="182" y="9"/>
                  </a:lnTo>
                  <a:lnTo>
                    <a:pt x="168" y="11"/>
                  </a:lnTo>
                  <a:lnTo>
                    <a:pt x="154" y="11"/>
                  </a:lnTo>
                  <a:lnTo>
                    <a:pt x="139" y="13"/>
                  </a:lnTo>
                  <a:lnTo>
                    <a:pt x="125" y="15"/>
                  </a:lnTo>
                  <a:lnTo>
                    <a:pt x="111" y="15"/>
                  </a:lnTo>
                  <a:lnTo>
                    <a:pt x="96" y="17"/>
                  </a:lnTo>
                  <a:lnTo>
                    <a:pt x="82" y="17"/>
                  </a:lnTo>
                  <a:lnTo>
                    <a:pt x="68"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1" y="23"/>
                  </a:lnTo>
                  <a:lnTo>
                    <a:pt x="53" y="23"/>
                  </a:lnTo>
                  <a:lnTo>
                    <a:pt x="55" y="25"/>
                  </a:lnTo>
                  <a:lnTo>
                    <a:pt x="57" y="25"/>
                  </a:lnTo>
                  <a:lnTo>
                    <a:pt x="57" y="27"/>
                  </a:lnTo>
                  <a:lnTo>
                    <a:pt x="62" y="29"/>
                  </a:lnTo>
                  <a:lnTo>
                    <a:pt x="68" y="33"/>
                  </a:lnTo>
                  <a:lnTo>
                    <a:pt x="72" y="35"/>
                  </a:lnTo>
                  <a:lnTo>
                    <a:pt x="74" y="39"/>
                  </a:lnTo>
                  <a:lnTo>
                    <a:pt x="74" y="37"/>
                  </a:lnTo>
                  <a:lnTo>
                    <a:pt x="74" y="43"/>
                  </a:lnTo>
                  <a:lnTo>
                    <a:pt x="74" y="45"/>
                  </a:lnTo>
                  <a:lnTo>
                    <a:pt x="78" y="48"/>
                  </a:lnTo>
                  <a:lnTo>
                    <a:pt x="80" y="50"/>
                  </a:lnTo>
                  <a:lnTo>
                    <a:pt x="80" y="50"/>
                  </a:lnTo>
                  <a:lnTo>
                    <a:pt x="82" y="50"/>
                  </a:lnTo>
                  <a:lnTo>
                    <a:pt x="88" y="54"/>
                  </a:lnTo>
                  <a:lnTo>
                    <a:pt x="90" y="54"/>
                  </a:lnTo>
                  <a:lnTo>
                    <a:pt x="92" y="58"/>
                  </a:lnTo>
                  <a:lnTo>
                    <a:pt x="92" y="58"/>
                  </a:lnTo>
                  <a:lnTo>
                    <a:pt x="94" y="58"/>
                  </a:lnTo>
                  <a:lnTo>
                    <a:pt x="94" y="58"/>
                  </a:lnTo>
                  <a:lnTo>
                    <a:pt x="94" y="60"/>
                  </a:lnTo>
                  <a:lnTo>
                    <a:pt x="94" y="62"/>
                  </a:lnTo>
                  <a:lnTo>
                    <a:pt x="96" y="62"/>
                  </a:lnTo>
                  <a:lnTo>
                    <a:pt x="98" y="66"/>
                  </a:lnTo>
                  <a:lnTo>
                    <a:pt x="98" y="68"/>
                  </a:lnTo>
                  <a:lnTo>
                    <a:pt x="98" y="72"/>
                  </a:lnTo>
                  <a:lnTo>
                    <a:pt x="96" y="76"/>
                  </a:lnTo>
                  <a:lnTo>
                    <a:pt x="96" y="82"/>
                  </a:lnTo>
                  <a:lnTo>
                    <a:pt x="96" y="89"/>
                  </a:lnTo>
                  <a:lnTo>
                    <a:pt x="94" y="91"/>
                  </a:lnTo>
                  <a:lnTo>
                    <a:pt x="94" y="91"/>
                  </a:lnTo>
                  <a:lnTo>
                    <a:pt x="92" y="93"/>
                  </a:lnTo>
                  <a:lnTo>
                    <a:pt x="90" y="95"/>
                  </a:lnTo>
                  <a:lnTo>
                    <a:pt x="88" y="97"/>
                  </a:lnTo>
                  <a:lnTo>
                    <a:pt x="88" y="99"/>
                  </a:lnTo>
                  <a:lnTo>
                    <a:pt x="86" y="101"/>
                  </a:lnTo>
                  <a:lnTo>
                    <a:pt x="86" y="103"/>
                  </a:lnTo>
                  <a:lnTo>
                    <a:pt x="86" y="105"/>
                  </a:lnTo>
                  <a:lnTo>
                    <a:pt x="84" y="107"/>
                  </a:lnTo>
                  <a:lnTo>
                    <a:pt x="84" y="107"/>
                  </a:lnTo>
                  <a:lnTo>
                    <a:pt x="86" y="109"/>
                  </a:lnTo>
                  <a:lnTo>
                    <a:pt x="86" y="109"/>
                  </a:lnTo>
                  <a:lnTo>
                    <a:pt x="86" y="111"/>
                  </a:lnTo>
                  <a:lnTo>
                    <a:pt x="86" y="113"/>
                  </a:lnTo>
                  <a:lnTo>
                    <a:pt x="86" y="113"/>
                  </a:lnTo>
                  <a:lnTo>
                    <a:pt x="84" y="115"/>
                  </a:lnTo>
                  <a:lnTo>
                    <a:pt x="80" y="117"/>
                  </a:lnTo>
                  <a:lnTo>
                    <a:pt x="80" y="117"/>
                  </a:lnTo>
                  <a:lnTo>
                    <a:pt x="80" y="119"/>
                  </a:lnTo>
                  <a:lnTo>
                    <a:pt x="78" y="121"/>
                  </a:lnTo>
                  <a:lnTo>
                    <a:pt x="74" y="121"/>
                  </a:lnTo>
                  <a:lnTo>
                    <a:pt x="66" y="125"/>
                  </a:lnTo>
                  <a:lnTo>
                    <a:pt x="66" y="125"/>
                  </a:lnTo>
                  <a:lnTo>
                    <a:pt x="62" y="130"/>
                  </a:lnTo>
                  <a:lnTo>
                    <a:pt x="62" y="132"/>
                  </a:lnTo>
                  <a:lnTo>
                    <a:pt x="57" y="132"/>
                  </a:lnTo>
                  <a:lnTo>
                    <a:pt x="33" y="136"/>
                  </a:lnTo>
                  <a:lnTo>
                    <a:pt x="31" y="138"/>
                  </a:lnTo>
                  <a:lnTo>
                    <a:pt x="29" y="142"/>
                  </a:lnTo>
                  <a:lnTo>
                    <a:pt x="27" y="146"/>
                  </a:lnTo>
                  <a:lnTo>
                    <a:pt x="27" y="150"/>
                  </a:lnTo>
                  <a:lnTo>
                    <a:pt x="27" y="156"/>
                  </a:lnTo>
                  <a:lnTo>
                    <a:pt x="27" y="158"/>
                  </a:lnTo>
                  <a:lnTo>
                    <a:pt x="27" y="160"/>
                  </a:lnTo>
                  <a:lnTo>
                    <a:pt x="29" y="162"/>
                  </a:lnTo>
                  <a:lnTo>
                    <a:pt x="31" y="162"/>
                  </a:lnTo>
                  <a:lnTo>
                    <a:pt x="31" y="164"/>
                  </a:lnTo>
                  <a:lnTo>
                    <a:pt x="35" y="166"/>
                  </a:lnTo>
                  <a:lnTo>
                    <a:pt x="39" y="170"/>
                  </a:lnTo>
                  <a:lnTo>
                    <a:pt x="41" y="175"/>
                  </a:lnTo>
                  <a:lnTo>
                    <a:pt x="41" y="179"/>
                  </a:lnTo>
                  <a:lnTo>
                    <a:pt x="41" y="183"/>
                  </a:lnTo>
                  <a:lnTo>
                    <a:pt x="39" y="187"/>
                  </a:lnTo>
                  <a:lnTo>
                    <a:pt x="33" y="197"/>
                  </a:lnTo>
                  <a:lnTo>
                    <a:pt x="31" y="199"/>
                  </a:lnTo>
                  <a:lnTo>
                    <a:pt x="31" y="201"/>
                  </a:lnTo>
                  <a:lnTo>
                    <a:pt x="31" y="203"/>
                  </a:lnTo>
                  <a:lnTo>
                    <a:pt x="31" y="207"/>
                  </a:lnTo>
                  <a:lnTo>
                    <a:pt x="31" y="209"/>
                  </a:lnTo>
                  <a:lnTo>
                    <a:pt x="29" y="216"/>
                  </a:lnTo>
                  <a:lnTo>
                    <a:pt x="27" y="218"/>
                  </a:lnTo>
                  <a:lnTo>
                    <a:pt x="25" y="220"/>
                  </a:lnTo>
                  <a:lnTo>
                    <a:pt x="21" y="222"/>
                  </a:lnTo>
                  <a:lnTo>
                    <a:pt x="18" y="222"/>
                  </a:lnTo>
                  <a:lnTo>
                    <a:pt x="14" y="224"/>
                  </a:lnTo>
                  <a:lnTo>
                    <a:pt x="12" y="226"/>
                  </a:lnTo>
                  <a:lnTo>
                    <a:pt x="8" y="228"/>
                  </a:lnTo>
                  <a:lnTo>
                    <a:pt x="6" y="230"/>
                  </a:lnTo>
                  <a:lnTo>
                    <a:pt x="6" y="230"/>
                  </a:lnTo>
                  <a:lnTo>
                    <a:pt x="6" y="232"/>
                  </a:lnTo>
                  <a:lnTo>
                    <a:pt x="6" y="232"/>
                  </a:lnTo>
                  <a:lnTo>
                    <a:pt x="6" y="234"/>
                  </a:lnTo>
                  <a:lnTo>
                    <a:pt x="8" y="234"/>
                  </a:lnTo>
                  <a:lnTo>
                    <a:pt x="10" y="236"/>
                  </a:lnTo>
                  <a:lnTo>
                    <a:pt x="10" y="238"/>
                  </a:lnTo>
                  <a:lnTo>
                    <a:pt x="10" y="242"/>
                  </a:lnTo>
                  <a:lnTo>
                    <a:pt x="10" y="244"/>
                  </a:lnTo>
                  <a:lnTo>
                    <a:pt x="10" y="246"/>
                  </a:lnTo>
                  <a:lnTo>
                    <a:pt x="10" y="248"/>
                  </a:lnTo>
                  <a:lnTo>
                    <a:pt x="10" y="248"/>
                  </a:lnTo>
                  <a:lnTo>
                    <a:pt x="6" y="250"/>
                  </a:lnTo>
                  <a:lnTo>
                    <a:pt x="2" y="252"/>
                  </a:lnTo>
                  <a:lnTo>
                    <a:pt x="2" y="259"/>
                  </a:lnTo>
                  <a:lnTo>
                    <a:pt x="0" y="265"/>
                  </a:lnTo>
                  <a:lnTo>
                    <a:pt x="0" y="269"/>
                  </a:lnTo>
                  <a:lnTo>
                    <a:pt x="0" y="273"/>
                  </a:lnTo>
                  <a:lnTo>
                    <a:pt x="4" y="291"/>
                  </a:lnTo>
                  <a:lnTo>
                    <a:pt x="4" y="291"/>
                  </a:lnTo>
                  <a:lnTo>
                    <a:pt x="6" y="293"/>
                  </a:lnTo>
                  <a:lnTo>
                    <a:pt x="8" y="296"/>
                  </a:lnTo>
                  <a:lnTo>
                    <a:pt x="8" y="296"/>
                  </a:lnTo>
                  <a:lnTo>
                    <a:pt x="8" y="298"/>
                  </a:lnTo>
                  <a:lnTo>
                    <a:pt x="8" y="298"/>
                  </a:lnTo>
                  <a:lnTo>
                    <a:pt x="8" y="300"/>
                  </a:lnTo>
                  <a:lnTo>
                    <a:pt x="8" y="302"/>
                  </a:lnTo>
                  <a:lnTo>
                    <a:pt x="8" y="304"/>
                  </a:lnTo>
                  <a:lnTo>
                    <a:pt x="8" y="306"/>
                  </a:lnTo>
                  <a:lnTo>
                    <a:pt x="10" y="306"/>
                  </a:lnTo>
                  <a:lnTo>
                    <a:pt x="10" y="308"/>
                  </a:lnTo>
                  <a:lnTo>
                    <a:pt x="10" y="310"/>
                  </a:lnTo>
                  <a:lnTo>
                    <a:pt x="14" y="310"/>
                  </a:lnTo>
                  <a:lnTo>
                    <a:pt x="14" y="312"/>
                  </a:lnTo>
                  <a:lnTo>
                    <a:pt x="14" y="314"/>
                  </a:lnTo>
                  <a:lnTo>
                    <a:pt x="14" y="316"/>
                  </a:lnTo>
                  <a:lnTo>
                    <a:pt x="16" y="318"/>
                  </a:lnTo>
                  <a:lnTo>
                    <a:pt x="18" y="322"/>
                  </a:lnTo>
                  <a:lnTo>
                    <a:pt x="41" y="339"/>
                  </a:lnTo>
                  <a:lnTo>
                    <a:pt x="43" y="341"/>
                  </a:lnTo>
                  <a:lnTo>
                    <a:pt x="43" y="343"/>
                  </a:lnTo>
                  <a:lnTo>
                    <a:pt x="43" y="345"/>
                  </a:lnTo>
                  <a:lnTo>
                    <a:pt x="45" y="347"/>
                  </a:lnTo>
                  <a:lnTo>
                    <a:pt x="45" y="347"/>
                  </a:lnTo>
                  <a:lnTo>
                    <a:pt x="66" y="359"/>
                  </a:lnTo>
                  <a:lnTo>
                    <a:pt x="68" y="361"/>
                  </a:lnTo>
                  <a:lnTo>
                    <a:pt x="70" y="363"/>
                  </a:lnTo>
                  <a:lnTo>
                    <a:pt x="74" y="367"/>
                  </a:lnTo>
                  <a:lnTo>
                    <a:pt x="74" y="369"/>
                  </a:lnTo>
                  <a:lnTo>
                    <a:pt x="76" y="371"/>
                  </a:lnTo>
                  <a:lnTo>
                    <a:pt x="76" y="373"/>
                  </a:lnTo>
                  <a:lnTo>
                    <a:pt x="76" y="375"/>
                  </a:lnTo>
                  <a:lnTo>
                    <a:pt x="76" y="377"/>
                  </a:lnTo>
                  <a:lnTo>
                    <a:pt x="76" y="380"/>
                  </a:lnTo>
                  <a:lnTo>
                    <a:pt x="78" y="382"/>
                  </a:lnTo>
                  <a:lnTo>
                    <a:pt x="78" y="382"/>
                  </a:lnTo>
                  <a:lnTo>
                    <a:pt x="78" y="384"/>
                  </a:lnTo>
                  <a:lnTo>
                    <a:pt x="78" y="384"/>
                  </a:lnTo>
                  <a:lnTo>
                    <a:pt x="78" y="386"/>
                  </a:lnTo>
                  <a:lnTo>
                    <a:pt x="78" y="388"/>
                  </a:lnTo>
                  <a:lnTo>
                    <a:pt x="78" y="388"/>
                  </a:lnTo>
                  <a:lnTo>
                    <a:pt x="80" y="390"/>
                  </a:lnTo>
                  <a:lnTo>
                    <a:pt x="80" y="392"/>
                  </a:lnTo>
                  <a:lnTo>
                    <a:pt x="80" y="394"/>
                  </a:lnTo>
                  <a:lnTo>
                    <a:pt x="84" y="400"/>
                  </a:lnTo>
                  <a:lnTo>
                    <a:pt x="86" y="404"/>
                  </a:lnTo>
                  <a:lnTo>
                    <a:pt x="90" y="404"/>
                  </a:lnTo>
                  <a:lnTo>
                    <a:pt x="94" y="402"/>
                  </a:lnTo>
                  <a:lnTo>
                    <a:pt x="98" y="396"/>
                  </a:lnTo>
                  <a:lnTo>
                    <a:pt x="102" y="394"/>
                  </a:lnTo>
                  <a:lnTo>
                    <a:pt x="105" y="394"/>
                  </a:lnTo>
                  <a:lnTo>
                    <a:pt x="107" y="396"/>
                  </a:lnTo>
                  <a:lnTo>
                    <a:pt x="109" y="396"/>
                  </a:lnTo>
                  <a:lnTo>
                    <a:pt x="111" y="396"/>
                  </a:lnTo>
                  <a:lnTo>
                    <a:pt x="115" y="398"/>
                  </a:lnTo>
                  <a:lnTo>
                    <a:pt x="125" y="402"/>
                  </a:lnTo>
                  <a:lnTo>
                    <a:pt x="127" y="404"/>
                  </a:lnTo>
                  <a:lnTo>
                    <a:pt x="129" y="406"/>
                  </a:lnTo>
                  <a:lnTo>
                    <a:pt x="129" y="408"/>
                  </a:lnTo>
                  <a:lnTo>
                    <a:pt x="127" y="412"/>
                  </a:lnTo>
                  <a:lnTo>
                    <a:pt x="127" y="414"/>
                  </a:lnTo>
                  <a:lnTo>
                    <a:pt x="125" y="414"/>
                  </a:lnTo>
                  <a:lnTo>
                    <a:pt x="125" y="416"/>
                  </a:lnTo>
                  <a:lnTo>
                    <a:pt x="125" y="418"/>
                  </a:lnTo>
                  <a:lnTo>
                    <a:pt x="125" y="423"/>
                  </a:lnTo>
                  <a:lnTo>
                    <a:pt x="125" y="429"/>
                  </a:lnTo>
                  <a:lnTo>
                    <a:pt x="125" y="431"/>
                  </a:lnTo>
                  <a:lnTo>
                    <a:pt x="121" y="439"/>
                  </a:lnTo>
                  <a:lnTo>
                    <a:pt x="117" y="451"/>
                  </a:lnTo>
                  <a:lnTo>
                    <a:pt x="115" y="457"/>
                  </a:lnTo>
                  <a:lnTo>
                    <a:pt x="113" y="461"/>
                  </a:lnTo>
                  <a:lnTo>
                    <a:pt x="113" y="466"/>
                  </a:lnTo>
                  <a:lnTo>
                    <a:pt x="115" y="470"/>
                  </a:lnTo>
                  <a:lnTo>
                    <a:pt x="115" y="472"/>
                  </a:lnTo>
                  <a:lnTo>
                    <a:pt x="115" y="474"/>
                  </a:lnTo>
                  <a:lnTo>
                    <a:pt x="117" y="474"/>
                  </a:lnTo>
                  <a:lnTo>
                    <a:pt x="117" y="476"/>
                  </a:lnTo>
                  <a:lnTo>
                    <a:pt x="121" y="478"/>
                  </a:lnTo>
                  <a:lnTo>
                    <a:pt x="123" y="480"/>
                  </a:lnTo>
                  <a:lnTo>
                    <a:pt x="125" y="482"/>
                  </a:lnTo>
                  <a:lnTo>
                    <a:pt x="125" y="482"/>
                  </a:lnTo>
                  <a:lnTo>
                    <a:pt x="127" y="484"/>
                  </a:lnTo>
                  <a:lnTo>
                    <a:pt x="127" y="486"/>
                  </a:lnTo>
                  <a:lnTo>
                    <a:pt x="131" y="486"/>
                  </a:lnTo>
                  <a:lnTo>
                    <a:pt x="133" y="488"/>
                  </a:lnTo>
                  <a:lnTo>
                    <a:pt x="135" y="492"/>
                  </a:lnTo>
                  <a:lnTo>
                    <a:pt x="139" y="494"/>
                  </a:lnTo>
                  <a:lnTo>
                    <a:pt x="141" y="494"/>
                  </a:lnTo>
                  <a:lnTo>
                    <a:pt x="148" y="498"/>
                  </a:lnTo>
                  <a:lnTo>
                    <a:pt x="148" y="498"/>
                  </a:lnTo>
                  <a:lnTo>
                    <a:pt x="152" y="498"/>
                  </a:lnTo>
                  <a:lnTo>
                    <a:pt x="152" y="498"/>
                  </a:lnTo>
                  <a:lnTo>
                    <a:pt x="156" y="498"/>
                  </a:lnTo>
                  <a:lnTo>
                    <a:pt x="158" y="500"/>
                  </a:lnTo>
                  <a:lnTo>
                    <a:pt x="164" y="505"/>
                  </a:lnTo>
                  <a:lnTo>
                    <a:pt x="166" y="507"/>
                  </a:lnTo>
                  <a:lnTo>
                    <a:pt x="172" y="509"/>
                  </a:lnTo>
                  <a:lnTo>
                    <a:pt x="174" y="511"/>
                  </a:lnTo>
                  <a:lnTo>
                    <a:pt x="176" y="513"/>
                  </a:lnTo>
                  <a:lnTo>
                    <a:pt x="178" y="519"/>
                  </a:lnTo>
                  <a:lnTo>
                    <a:pt x="180" y="521"/>
                  </a:lnTo>
                  <a:lnTo>
                    <a:pt x="191" y="523"/>
                  </a:lnTo>
                  <a:lnTo>
                    <a:pt x="193" y="525"/>
                  </a:lnTo>
                  <a:lnTo>
                    <a:pt x="193" y="527"/>
                  </a:lnTo>
                  <a:lnTo>
                    <a:pt x="193" y="527"/>
                  </a:lnTo>
                  <a:lnTo>
                    <a:pt x="193" y="529"/>
                  </a:lnTo>
                  <a:lnTo>
                    <a:pt x="193" y="531"/>
                  </a:lnTo>
                  <a:lnTo>
                    <a:pt x="193" y="533"/>
                  </a:lnTo>
                  <a:lnTo>
                    <a:pt x="193" y="535"/>
                  </a:lnTo>
                  <a:lnTo>
                    <a:pt x="193" y="537"/>
                  </a:lnTo>
                  <a:lnTo>
                    <a:pt x="193" y="539"/>
                  </a:lnTo>
                  <a:lnTo>
                    <a:pt x="197" y="543"/>
                  </a:lnTo>
                  <a:lnTo>
                    <a:pt x="199" y="546"/>
                  </a:lnTo>
                  <a:lnTo>
                    <a:pt x="201" y="550"/>
                  </a:lnTo>
                  <a:lnTo>
                    <a:pt x="203" y="554"/>
                  </a:lnTo>
                  <a:lnTo>
                    <a:pt x="201" y="558"/>
                  </a:lnTo>
                  <a:lnTo>
                    <a:pt x="199" y="562"/>
                  </a:lnTo>
                  <a:lnTo>
                    <a:pt x="197" y="564"/>
                  </a:lnTo>
                  <a:lnTo>
                    <a:pt x="197" y="568"/>
                  </a:lnTo>
                  <a:lnTo>
                    <a:pt x="197" y="570"/>
                  </a:lnTo>
                  <a:lnTo>
                    <a:pt x="199" y="570"/>
                  </a:lnTo>
                  <a:lnTo>
                    <a:pt x="199" y="570"/>
                  </a:lnTo>
                  <a:lnTo>
                    <a:pt x="201" y="570"/>
                  </a:lnTo>
                  <a:lnTo>
                    <a:pt x="201" y="572"/>
                  </a:lnTo>
                  <a:lnTo>
                    <a:pt x="201" y="574"/>
                  </a:lnTo>
                  <a:lnTo>
                    <a:pt x="203" y="576"/>
                  </a:lnTo>
                  <a:lnTo>
                    <a:pt x="205" y="578"/>
                  </a:lnTo>
                  <a:lnTo>
                    <a:pt x="209" y="584"/>
                  </a:lnTo>
                  <a:lnTo>
                    <a:pt x="209" y="587"/>
                  </a:lnTo>
                  <a:lnTo>
                    <a:pt x="209" y="591"/>
                  </a:lnTo>
                  <a:lnTo>
                    <a:pt x="211" y="591"/>
                  </a:lnTo>
                  <a:lnTo>
                    <a:pt x="215" y="595"/>
                  </a:lnTo>
                  <a:lnTo>
                    <a:pt x="219" y="595"/>
                  </a:lnTo>
                  <a:lnTo>
                    <a:pt x="221" y="595"/>
                  </a:lnTo>
                  <a:lnTo>
                    <a:pt x="221" y="595"/>
                  </a:lnTo>
                  <a:lnTo>
                    <a:pt x="221" y="593"/>
                  </a:lnTo>
                  <a:lnTo>
                    <a:pt x="219" y="593"/>
                  </a:lnTo>
                  <a:lnTo>
                    <a:pt x="219" y="591"/>
                  </a:lnTo>
                  <a:lnTo>
                    <a:pt x="217" y="591"/>
                  </a:lnTo>
                  <a:lnTo>
                    <a:pt x="217" y="589"/>
                  </a:lnTo>
                  <a:lnTo>
                    <a:pt x="217" y="587"/>
                  </a:lnTo>
                  <a:lnTo>
                    <a:pt x="219" y="587"/>
                  </a:lnTo>
                  <a:lnTo>
                    <a:pt x="221" y="587"/>
                  </a:lnTo>
                  <a:lnTo>
                    <a:pt x="221" y="587"/>
                  </a:lnTo>
                  <a:lnTo>
                    <a:pt x="221" y="589"/>
                  </a:lnTo>
                  <a:lnTo>
                    <a:pt x="223" y="591"/>
                  </a:lnTo>
                  <a:lnTo>
                    <a:pt x="223" y="591"/>
                  </a:lnTo>
                  <a:lnTo>
                    <a:pt x="225" y="593"/>
                  </a:lnTo>
                  <a:lnTo>
                    <a:pt x="225" y="593"/>
                  </a:lnTo>
                  <a:lnTo>
                    <a:pt x="227" y="595"/>
                  </a:lnTo>
                  <a:lnTo>
                    <a:pt x="227" y="595"/>
                  </a:lnTo>
                  <a:lnTo>
                    <a:pt x="227" y="597"/>
                  </a:lnTo>
                  <a:lnTo>
                    <a:pt x="227" y="597"/>
                  </a:lnTo>
                  <a:lnTo>
                    <a:pt x="229" y="597"/>
                  </a:lnTo>
                  <a:lnTo>
                    <a:pt x="229" y="597"/>
                  </a:lnTo>
                  <a:lnTo>
                    <a:pt x="231" y="597"/>
                  </a:lnTo>
                  <a:lnTo>
                    <a:pt x="231" y="597"/>
                  </a:lnTo>
                  <a:lnTo>
                    <a:pt x="234" y="597"/>
                  </a:lnTo>
                  <a:lnTo>
                    <a:pt x="229" y="593"/>
                  </a:lnTo>
                  <a:lnTo>
                    <a:pt x="229" y="591"/>
                  </a:lnTo>
                  <a:lnTo>
                    <a:pt x="227" y="589"/>
                  </a:lnTo>
                  <a:lnTo>
                    <a:pt x="229" y="584"/>
                  </a:lnTo>
                  <a:lnTo>
                    <a:pt x="231" y="580"/>
                  </a:lnTo>
                  <a:lnTo>
                    <a:pt x="236" y="576"/>
                  </a:lnTo>
                  <a:lnTo>
                    <a:pt x="236" y="574"/>
                  </a:lnTo>
                  <a:lnTo>
                    <a:pt x="238" y="572"/>
                  </a:lnTo>
                  <a:lnTo>
                    <a:pt x="242" y="570"/>
                  </a:lnTo>
                  <a:lnTo>
                    <a:pt x="246" y="568"/>
                  </a:lnTo>
                  <a:lnTo>
                    <a:pt x="250" y="568"/>
                  </a:lnTo>
                  <a:lnTo>
                    <a:pt x="275" y="578"/>
                  </a:lnTo>
                  <a:lnTo>
                    <a:pt x="281" y="580"/>
                  </a:lnTo>
                  <a:lnTo>
                    <a:pt x="285" y="582"/>
                  </a:lnTo>
                  <a:lnTo>
                    <a:pt x="289" y="580"/>
                  </a:lnTo>
                  <a:lnTo>
                    <a:pt x="291" y="578"/>
                  </a:lnTo>
                  <a:lnTo>
                    <a:pt x="291" y="574"/>
                  </a:lnTo>
                  <a:lnTo>
                    <a:pt x="291" y="570"/>
                  </a:lnTo>
                  <a:lnTo>
                    <a:pt x="289" y="568"/>
                  </a:lnTo>
                  <a:lnTo>
                    <a:pt x="287" y="564"/>
                  </a:lnTo>
                  <a:lnTo>
                    <a:pt x="285" y="560"/>
                  </a:lnTo>
                  <a:lnTo>
                    <a:pt x="283" y="556"/>
                  </a:lnTo>
                  <a:lnTo>
                    <a:pt x="283" y="552"/>
                  </a:lnTo>
                  <a:lnTo>
                    <a:pt x="285" y="548"/>
                  </a:lnTo>
                  <a:lnTo>
                    <a:pt x="285" y="546"/>
                  </a:lnTo>
                  <a:lnTo>
                    <a:pt x="285" y="546"/>
                  </a:lnTo>
                  <a:lnTo>
                    <a:pt x="287" y="543"/>
                  </a:lnTo>
                  <a:lnTo>
                    <a:pt x="289" y="543"/>
                  </a:lnTo>
                  <a:lnTo>
                    <a:pt x="293" y="543"/>
                  </a:lnTo>
                  <a:lnTo>
                    <a:pt x="295" y="543"/>
                  </a:lnTo>
                  <a:lnTo>
                    <a:pt x="299" y="539"/>
                  </a:lnTo>
                  <a:lnTo>
                    <a:pt x="313" y="535"/>
                  </a:lnTo>
                  <a:lnTo>
                    <a:pt x="318" y="533"/>
                  </a:lnTo>
                  <a:lnTo>
                    <a:pt x="318" y="529"/>
                  </a:lnTo>
                  <a:lnTo>
                    <a:pt x="315" y="525"/>
                  </a:lnTo>
                  <a:lnTo>
                    <a:pt x="311" y="523"/>
                  </a:lnTo>
                  <a:lnTo>
                    <a:pt x="311" y="523"/>
                  </a:lnTo>
                  <a:lnTo>
                    <a:pt x="309" y="519"/>
                  </a:lnTo>
                  <a:lnTo>
                    <a:pt x="309" y="517"/>
                  </a:lnTo>
                  <a:lnTo>
                    <a:pt x="309" y="515"/>
                  </a:lnTo>
                  <a:lnTo>
                    <a:pt x="309" y="513"/>
                  </a:lnTo>
                  <a:lnTo>
                    <a:pt x="311" y="511"/>
                  </a:lnTo>
                  <a:lnTo>
                    <a:pt x="315" y="507"/>
                  </a:lnTo>
                  <a:lnTo>
                    <a:pt x="318" y="505"/>
                  </a:lnTo>
                  <a:lnTo>
                    <a:pt x="318" y="502"/>
                  </a:lnTo>
                  <a:lnTo>
                    <a:pt x="318" y="500"/>
                  </a:lnTo>
                  <a:lnTo>
                    <a:pt x="318" y="498"/>
                  </a:lnTo>
                  <a:lnTo>
                    <a:pt x="315" y="498"/>
                  </a:lnTo>
                  <a:lnTo>
                    <a:pt x="313" y="498"/>
                  </a:lnTo>
                  <a:lnTo>
                    <a:pt x="313" y="498"/>
                  </a:lnTo>
                  <a:lnTo>
                    <a:pt x="313" y="496"/>
                  </a:lnTo>
                  <a:lnTo>
                    <a:pt x="313" y="496"/>
                  </a:lnTo>
                  <a:lnTo>
                    <a:pt x="313" y="496"/>
                  </a:lnTo>
                  <a:lnTo>
                    <a:pt x="315" y="496"/>
                  </a:lnTo>
                  <a:lnTo>
                    <a:pt x="318" y="496"/>
                  </a:lnTo>
                  <a:lnTo>
                    <a:pt x="318" y="496"/>
                  </a:lnTo>
                  <a:lnTo>
                    <a:pt x="318" y="494"/>
                  </a:lnTo>
                  <a:lnTo>
                    <a:pt x="311" y="490"/>
                  </a:lnTo>
                  <a:lnTo>
                    <a:pt x="311" y="490"/>
                  </a:lnTo>
                  <a:lnTo>
                    <a:pt x="313" y="490"/>
                  </a:lnTo>
                  <a:lnTo>
                    <a:pt x="315" y="490"/>
                  </a:lnTo>
                  <a:lnTo>
                    <a:pt x="315" y="488"/>
                  </a:lnTo>
                  <a:lnTo>
                    <a:pt x="318" y="488"/>
                  </a:lnTo>
                  <a:lnTo>
                    <a:pt x="315" y="486"/>
                  </a:lnTo>
                  <a:lnTo>
                    <a:pt x="315" y="486"/>
                  </a:lnTo>
                  <a:lnTo>
                    <a:pt x="315" y="484"/>
                  </a:lnTo>
                  <a:lnTo>
                    <a:pt x="315" y="482"/>
                  </a:lnTo>
                  <a:lnTo>
                    <a:pt x="315" y="482"/>
                  </a:lnTo>
                  <a:lnTo>
                    <a:pt x="315" y="480"/>
                  </a:lnTo>
                  <a:lnTo>
                    <a:pt x="315" y="478"/>
                  </a:lnTo>
                  <a:lnTo>
                    <a:pt x="315" y="478"/>
                  </a:lnTo>
                  <a:lnTo>
                    <a:pt x="315" y="476"/>
                  </a:lnTo>
                  <a:lnTo>
                    <a:pt x="315" y="474"/>
                  </a:lnTo>
                  <a:lnTo>
                    <a:pt x="313" y="472"/>
                  </a:lnTo>
                  <a:lnTo>
                    <a:pt x="315" y="472"/>
                  </a:lnTo>
                  <a:lnTo>
                    <a:pt x="318" y="472"/>
                  </a:lnTo>
                  <a:lnTo>
                    <a:pt x="318" y="470"/>
                  </a:lnTo>
                  <a:lnTo>
                    <a:pt x="320" y="470"/>
                  </a:lnTo>
                  <a:lnTo>
                    <a:pt x="322" y="468"/>
                  </a:lnTo>
                  <a:lnTo>
                    <a:pt x="320" y="468"/>
                  </a:lnTo>
                  <a:lnTo>
                    <a:pt x="318" y="468"/>
                  </a:lnTo>
                  <a:lnTo>
                    <a:pt x="315" y="468"/>
                  </a:lnTo>
                  <a:lnTo>
                    <a:pt x="318" y="466"/>
                  </a:lnTo>
                  <a:lnTo>
                    <a:pt x="320" y="464"/>
                  </a:lnTo>
                  <a:lnTo>
                    <a:pt x="320" y="464"/>
                  </a:lnTo>
                  <a:lnTo>
                    <a:pt x="322" y="461"/>
                  </a:lnTo>
                  <a:lnTo>
                    <a:pt x="322" y="461"/>
                  </a:lnTo>
                  <a:lnTo>
                    <a:pt x="322" y="459"/>
                  </a:lnTo>
                  <a:lnTo>
                    <a:pt x="322" y="459"/>
                  </a:lnTo>
                  <a:lnTo>
                    <a:pt x="320" y="457"/>
                  </a:lnTo>
                  <a:lnTo>
                    <a:pt x="320" y="457"/>
                  </a:lnTo>
                  <a:lnTo>
                    <a:pt x="318" y="455"/>
                  </a:lnTo>
                  <a:lnTo>
                    <a:pt x="318" y="455"/>
                  </a:lnTo>
                  <a:lnTo>
                    <a:pt x="318" y="455"/>
                  </a:lnTo>
                  <a:lnTo>
                    <a:pt x="318" y="453"/>
                  </a:lnTo>
                  <a:lnTo>
                    <a:pt x="318" y="453"/>
                  </a:lnTo>
                  <a:lnTo>
                    <a:pt x="318" y="451"/>
                  </a:lnTo>
                  <a:lnTo>
                    <a:pt x="318" y="451"/>
                  </a:lnTo>
                  <a:lnTo>
                    <a:pt x="320" y="449"/>
                  </a:lnTo>
                  <a:lnTo>
                    <a:pt x="320" y="449"/>
                  </a:lnTo>
                  <a:lnTo>
                    <a:pt x="320" y="447"/>
                  </a:lnTo>
                  <a:lnTo>
                    <a:pt x="320" y="445"/>
                  </a:lnTo>
                  <a:lnTo>
                    <a:pt x="322" y="445"/>
                  </a:lnTo>
                  <a:lnTo>
                    <a:pt x="322" y="445"/>
                  </a:lnTo>
                  <a:lnTo>
                    <a:pt x="324" y="447"/>
                  </a:lnTo>
                  <a:lnTo>
                    <a:pt x="324" y="447"/>
                  </a:lnTo>
                  <a:lnTo>
                    <a:pt x="324" y="445"/>
                  </a:lnTo>
                  <a:lnTo>
                    <a:pt x="324" y="443"/>
                  </a:lnTo>
                  <a:lnTo>
                    <a:pt x="326" y="443"/>
                  </a:lnTo>
                  <a:lnTo>
                    <a:pt x="326" y="443"/>
                  </a:lnTo>
                  <a:lnTo>
                    <a:pt x="326" y="443"/>
                  </a:lnTo>
                  <a:lnTo>
                    <a:pt x="326" y="443"/>
                  </a:lnTo>
                  <a:lnTo>
                    <a:pt x="328" y="445"/>
                  </a:lnTo>
                  <a:lnTo>
                    <a:pt x="328" y="445"/>
                  </a:lnTo>
                  <a:lnTo>
                    <a:pt x="328" y="445"/>
                  </a:lnTo>
                  <a:lnTo>
                    <a:pt x="328" y="443"/>
                  </a:lnTo>
                  <a:lnTo>
                    <a:pt x="328" y="443"/>
                  </a:lnTo>
                  <a:lnTo>
                    <a:pt x="328" y="441"/>
                  </a:lnTo>
                  <a:lnTo>
                    <a:pt x="330" y="439"/>
                  </a:lnTo>
                  <a:lnTo>
                    <a:pt x="330" y="437"/>
                  </a:lnTo>
                  <a:lnTo>
                    <a:pt x="330" y="437"/>
                  </a:lnTo>
                  <a:lnTo>
                    <a:pt x="330" y="435"/>
                  </a:lnTo>
                  <a:lnTo>
                    <a:pt x="332" y="435"/>
                  </a:lnTo>
                  <a:lnTo>
                    <a:pt x="332" y="435"/>
                  </a:lnTo>
                  <a:lnTo>
                    <a:pt x="334" y="433"/>
                  </a:lnTo>
                  <a:lnTo>
                    <a:pt x="336" y="431"/>
                  </a:lnTo>
                  <a:lnTo>
                    <a:pt x="336" y="429"/>
                  </a:lnTo>
                  <a:lnTo>
                    <a:pt x="334" y="427"/>
                  </a:lnTo>
                  <a:lnTo>
                    <a:pt x="334" y="427"/>
                  </a:lnTo>
                  <a:lnTo>
                    <a:pt x="336" y="425"/>
                  </a:lnTo>
                  <a:lnTo>
                    <a:pt x="338" y="423"/>
                  </a:lnTo>
                  <a:lnTo>
                    <a:pt x="340" y="423"/>
                  </a:lnTo>
                  <a:lnTo>
                    <a:pt x="340" y="421"/>
                  </a:lnTo>
                  <a:lnTo>
                    <a:pt x="340" y="421"/>
                  </a:lnTo>
                  <a:lnTo>
                    <a:pt x="342" y="421"/>
                  </a:lnTo>
                  <a:lnTo>
                    <a:pt x="342" y="421"/>
                  </a:lnTo>
                  <a:lnTo>
                    <a:pt x="342" y="421"/>
                  </a:lnTo>
                  <a:lnTo>
                    <a:pt x="342" y="421"/>
                  </a:lnTo>
                  <a:lnTo>
                    <a:pt x="342" y="418"/>
                  </a:lnTo>
                  <a:lnTo>
                    <a:pt x="340" y="416"/>
                  </a:lnTo>
                  <a:lnTo>
                    <a:pt x="340" y="414"/>
                  </a:lnTo>
                  <a:lnTo>
                    <a:pt x="340" y="412"/>
                  </a:lnTo>
                  <a:lnTo>
                    <a:pt x="342" y="412"/>
                  </a:lnTo>
                  <a:lnTo>
                    <a:pt x="342" y="410"/>
                  </a:lnTo>
                  <a:lnTo>
                    <a:pt x="344" y="410"/>
                  </a:lnTo>
                  <a:lnTo>
                    <a:pt x="342" y="410"/>
                  </a:lnTo>
                  <a:lnTo>
                    <a:pt x="344" y="410"/>
                  </a:lnTo>
                  <a:lnTo>
                    <a:pt x="344" y="410"/>
                  </a:lnTo>
                  <a:lnTo>
                    <a:pt x="344" y="408"/>
                  </a:lnTo>
                  <a:lnTo>
                    <a:pt x="344" y="408"/>
                  </a:lnTo>
                  <a:lnTo>
                    <a:pt x="344" y="406"/>
                  </a:lnTo>
                  <a:lnTo>
                    <a:pt x="344" y="404"/>
                  </a:lnTo>
                  <a:lnTo>
                    <a:pt x="344" y="402"/>
                  </a:lnTo>
                  <a:lnTo>
                    <a:pt x="346" y="402"/>
                  </a:lnTo>
                  <a:lnTo>
                    <a:pt x="346" y="400"/>
                  </a:lnTo>
                  <a:lnTo>
                    <a:pt x="348" y="400"/>
                  </a:lnTo>
                  <a:lnTo>
                    <a:pt x="348" y="400"/>
                  </a:lnTo>
                  <a:lnTo>
                    <a:pt x="350" y="400"/>
                  </a:lnTo>
                  <a:lnTo>
                    <a:pt x="350" y="392"/>
                  </a:lnTo>
                  <a:lnTo>
                    <a:pt x="350" y="388"/>
                  </a:lnTo>
                  <a:lnTo>
                    <a:pt x="348" y="384"/>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L</a:t>
              </a:r>
            </a:p>
          </p:txBody>
        </p:sp>
        <p:sp>
          <p:nvSpPr>
            <p:cNvPr id="227" name="Freeform 42">
              <a:extLst>
                <a:ext uri="{FF2B5EF4-FFF2-40B4-BE49-F238E27FC236}">
                  <a16:creationId xmlns:a16="http://schemas.microsoft.com/office/drawing/2014/main" id="{C3C55F26-73BB-C0D1-A49F-2FFA2153B50E}"/>
                </a:ext>
              </a:extLst>
            </p:cNvPr>
            <p:cNvSpPr>
              <a:spLocks/>
            </p:cNvSpPr>
            <p:nvPr/>
          </p:nvSpPr>
          <p:spPr bwMode="auto">
            <a:xfrm>
              <a:off x="1337" y="82"/>
              <a:ext cx="512" cy="783"/>
            </a:xfrm>
            <a:custGeom>
              <a:avLst/>
              <a:gdLst>
                <a:gd name="T0" fmla="*/ 487 w 512"/>
                <a:gd name="T1" fmla="*/ 766 h 783"/>
                <a:gd name="T2" fmla="*/ 258 w 512"/>
                <a:gd name="T3" fmla="*/ 756 h 783"/>
                <a:gd name="T4" fmla="*/ 16 w 512"/>
                <a:gd name="T5" fmla="*/ 723 h 783"/>
                <a:gd name="T6" fmla="*/ 26 w 512"/>
                <a:gd name="T7" fmla="*/ 557 h 783"/>
                <a:gd name="T8" fmla="*/ 39 w 512"/>
                <a:gd name="T9" fmla="*/ 512 h 783"/>
                <a:gd name="T10" fmla="*/ 45 w 512"/>
                <a:gd name="T11" fmla="*/ 494 h 783"/>
                <a:gd name="T12" fmla="*/ 33 w 512"/>
                <a:gd name="T13" fmla="*/ 482 h 783"/>
                <a:gd name="T14" fmla="*/ 24 w 512"/>
                <a:gd name="T15" fmla="*/ 465 h 783"/>
                <a:gd name="T16" fmla="*/ 41 w 512"/>
                <a:gd name="T17" fmla="*/ 441 h 783"/>
                <a:gd name="T18" fmla="*/ 63 w 512"/>
                <a:gd name="T19" fmla="*/ 408 h 783"/>
                <a:gd name="T20" fmla="*/ 98 w 512"/>
                <a:gd name="T21" fmla="*/ 359 h 783"/>
                <a:gd name="T22" fmla="*/ 82 w 512"/>
                <a:gd name="T23" fmla="*/ 324 h 783"/>
                <a:gd name="T24" fmla="*/ 72 w 512"/>
                <a:gd name="T25" fmla="*/ 273 h 783"/>
                <a:gd name="T26" fmla="*/ 98 w 512"/>
                <a:gd name="T27" fmla="*/ 80 h 783"/>
                <a:gd name="T28" fmla="*/ 176 w 512"/>
                <a:gd name="T29" fmla="*/ 70 h 783"/>
                <a:gd name="T30" fmla="*/ 180 w 512"/>
                <a:gd name="T31" fmla="*/ 127 h 783"/>
                <a:gd name="T32" fmla="*/ 190 w 512"/>
                <a:gd name="T33" fmla="*/ 143 h 783"/>
                <a:gd name="T34" fmla="*/ 186 w 512"/>
                <a:gd name="T35" fmla="*/ 160 h 783"/>
                <a:gd name="T36" fmla="*/ 190 w 512"/>
                <a:gd name="T37" fmla="*/ 170 h 783"/>
                <a:gd name="T38" fmla="*/ 201 w 512"/>
                <a:gd name="T39" fmla="*/ 187 h 783"/>
                <a:gd name="T40" fmla="*/ 217 w 512"/>
                <a:gd name="T41" fmla="*/ 203 h 783"/>
                <a:gd name="T42" fmla="*/ 231 w 512"/>
                <a:gd name="T43" fmla="*/ 225 h 783"/>
                <a:gd name="T44" fmla="*/ 239 w 512"/>
                <a:gd name="T45" fmla="*/ 240 h 783"/>
                <a:gd name="T46" fmla="*/ 250 w 512"/>
                <a:gd name="T47" fmla="*/ 254 h 783"/>
                <a:gd name="T48" fmla="*/ 260 w 512"/>
                <a:gd name="T49" fmla="*/ 256 h 783"/>
                <a:gd name="T50" fmla="*/ 268 w 512"/>
                <a:gd name="T51" fmla="*/ 264 h 783"/>
                <a:gd name="T52" fmla="*/ 282 w 512"/>
                <a:gd name="T53" fmla="*/ 266 h 783"/>
                <a:gd name="T54" fmla="*/ 278 w 512"/>
                <a:gd name="T55" fmla="*/ 279 h 783"/>
                <a:gd name="T56" fmla="*/ 276 w 512"/>
                <a:gd name="T57" fmla="*/ 285 h 783"/>
                <a:gd name="T58" fmla="*/ 268 w 512"/>
                <a:gd name="T59" fmla="*/ 301 h 783"/>
                <a:gd name="T60" fmla="*/ 268 w 512"/>
                <a:gd name="T61" fmla="*/ 314 h 783"/>
                <a:gd name="T62" fmla="*/ 264 w 512"/>
                <a:gd name="T63" fmla="*/ 322 h 783"/>
                <a:gd name="T64" fmla="*/ 266 w 512"/>
                <a:gd name="T65" fmla="*/ 334 h 783"/>
                <a:gd name="T66" fmla="*/ 264 w 512"/>
                <a:gd name="T67" fmla="*/ 348 h 783"/>
                <a:gd name="T68" fmla="*/ 254 w 512"/>
                <a:gd name="T69" fmla="*/ 355 h 783"/>
                <a:gd name="T70" fmla="*/ 256 w 512"/>
                <a:gd name="T71" fmla="*/ 367 h 783"/>
                <a:gd name="T72" fmla="*/ 252 w 512"/>
                <a:gd name="T73" fmla="*/ 377 h 783"/>
                <a:gd name="T74" fmla="*/ 268 w 512"/>
                <a:gd name="T75" fmla="*/ 387 h 783"/>
                <a:gd name="T76" fmla="*/ 278 w 512"/>
                <a:gd name="T77" fmla="*/ 383 h 783"/>
                <a:gd name="T78" fmla="*/ 291 w 512"/>
                <a:gd name="T79" fmla="*/ 375 h 783"/>
                <a:gd name="T80" fmla="*/ 295 w 512"/>
                <a:gd name="T81" fmla="*/ 369 h 783"/>
                <a:gd name="T82" fmla="*/ 309 w 512"/>
                <a:gd name="T83" fmla="*/ 383 h 783"/>
                <a:gd name="T84" fmla="*/ 311 w 512"/>
                <a:gd name="T85" fmla="*/ 396 h 783"/>
                <a:gd name="T86" fmla="*/ 311 w 512"/>
                <a:gd name="T87" fmla="*/ 412 h 783"/>
                <a:gd name="T88" fmla="*/ 319 w 512"/>
                <a:gd name="T89" fmla="*/ 426 h 783"/>
                <a:gd name="T90" fmla="*/ 325 w 512"/>
                <a:gd name="T91" fmla="*/ 437 h 783"/>
                <a:gd name="T92" fmla="*/ 325 w 512"/>
                <a:gd name="T93" fmla="*/ 453 h 783"/>
                <a:gd name="T94" fmla="*/ 336 w 512"/>
                <a:gd name="T95" fmla="*/ 469 h 783"/>
                <a:gd name="T96" fmla="*/ 352 w 512"/>
                <a:gd name="T97" fmla="*/ 478 h 783"/>
                <a:gd name="T98" fmla="*/ 356 w 512"/>
                <a:gd name="T99" fmla="*/ 488 h 783"/>
                <a:gd name="T100" fmla="*/ 358 w 512"/>
                <a:gd name="T101" fmla="*/ 498 h 783"/>
                <a:gd name="T102" fmla="*/ 362 w 512"/>
                <a:gd name="T103" fmla="*/ 510 h 783"/>
                <a:gd name="T104" fmla="*/ 371 w 512"/>
                <a:gd name="T105" fmla="*/ 510 h 783"/>
                <a:gd name="T106" fmla="*/ 399 w 512"/>
                <a:gd name="T107" fmla="*/ 510 h 783"/>
                <a:gd name="T108" fmla="*/ 412 w 512"/>
                <a:gd name="T109" fmla="*/ 504 h 783"/>
                <a:gd name="T110" fmla="*/ 430 w 512"/>
                <a:gd name="T111" fmla="*/ 506 h 783"/>
                <a:gd name="T112" fmla="*/ 450 w 512"/>
                <a:gd name="T113" fmla="*/ 510 h 783"/>
                <a:gd name="T114" fmla="*/ 477 w 512"/>
                <a:gd name="T115" fmla="*/ 510 h 783"/>
                <a:gd name="T116" fmla="*/ 477 w 512"/>
                <a:gd name="T117" fmla="*/ 504 h 783"/>
                <a:gd name="T118" fmla="*/ 481 w 512"/>
                <a:gd name="T119" fmla="*/ 496 h 783"/>
                <a:gd name="T120" fmla="*/ 493 w 512"/>
                <a:gd name="T121" fmla="*/ 496 h 783"/>
                <a:gd name="T122" fmla="*/ 502 w 512"/>
                <a:gd name="T123" fmla="*/ 51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783">
                  <a:moveTo>
                    <a:pt x="512" y="521"/>
                  </a:moveTo>
                  <a:lnTo>
                    <a:pt x="510" y="537"/>
                  </a:lnTo>
                  <a:lnTo>
                    <a:pt x="508" y="553"/>
                  </a:lnTo>
                  <a:lnTo>
                    <a:pt x="506" y="568"/>
                  </a:lnTo>
                  <a:lnTo>
                    <a:pt x="506" y="584"/>
                  </a:lnTo>
                  <a:lnTo>
                    <a:pt x="504" y="600"/>
                  </a:lnTo>
                  <a:lnTo>
                    <a:pt x="502" y="617"/>
                  </a:lnTo>
                  <a:lnTo>
                    <a:pt x="500" y="633"/>
                  </a:lnTo>
                  <a:lnTo>
                    <a:pt x="498" y="650"/>
                  </a:lnTo>
                  <a:lnTo>
                    <a:pt x="498" y="666"/>
                  </a:lnTo>
                  <a:lnTo>
                    <a:pt x="495" y="682"/>
                  </a:lnTo>
                  <a:lnTo>
                    <a:pt x="493" y="699"/>
                  </a:lnTo>
                  <a:lnTo>
                    <a:pt x="491" y="715"/>
                  </a:lnTo>
                  <a:lnTo>
                    <a:pt x="491" y="732"/>
                  </a:lnTo>
                  <a:lnTo>
                    <a:pt x="489" y="750"/>
                  </a:lnTo>
                  <a:lnTo>
                    <a:pt x="487" y="766"/>
                  </a:lnTo>
                  <a:lnTo>
                    <a:pt x="485" y="783"/>
                  </a:lnTo>
                  <a:lnTo>
                    <a:pt x="471" y="781"/>
                  </a:lnTo>
                  <a:lnTo>
                    <a:pt x="455" y="779"/>
                  </a:lnTo>
                  <a:lnTo>
                    <a:pt x="440" y="777"/>
                  </a:lnTo>
                  <a:lnTo>
                    <a:pt x="424" y="777"/>
                  </a:lnTo>
                  <a:lnTo>
                    <a:pt x="409" y="775"/>
                  </a:lnTo>
                  <a:lnTo>
                    <a:pt x="393" y="773"/>
                  </a:lnTo>
                  <a:lnTo>
                    <a:pt x="379" y="771"/>
                  </a:lnTo>
                  <a:lnTo>
                    <a:pt x="364" y="769"/>
                  </a:lnTo>
                  <a:lnTo>
                    <a:pt x="348" y="766"/>
                  </a:lnTo>
                  <a:lnTo>
                    <a:pt x="334" y="766"/>
                  </a:lnTo>
                  <a:lnTo>
                    <a:pt x="317" y="764"/>
                  </a:lnTo>
                  <a:lnTo>
                    <a:pt x="303" y="762"/>
                  </a:lnTo>
                  <a:lnTo>
                    <a:pt x="287" y="760"/>
                  </a:lnTo>
                  <a:lnTo>
                    <a:pt x="272" y="758"/>
                  </a:lnTo>
                  <a:lnTo>
                    <a:pt x="258" y="756"/>
                  </a:lnTo>
                  <a:lnTo>
                    <a:pt x="242" y="754"/>
                  </a:lnTo>
                  <a:lnTo>
                    <a:pt x="227" y="752"/>
                  </a:lnTo>
                  <a:lnTo>
                    <a:pt x="211" y="750"/>
                  </a:lnTo>
                  <a:lnTo>
                    <a:pt x="196" y="748"/>
                  </a:lnTo>
                  <a:lnTo>
                    <a:pt x="182" y="746"/>
                  </a:lnTo>
                  <a:lnTo>
                    <a:pt x="166" y="744"/>
                  </a:lnTo>
                  <a:lnTo>
                    <a:pt x="151" y="742"/>
                  </a:lnTo>
                  <a:lnTo>
                    <a:pt x="137" y="740"/>
                  </a:lnTo>
                  <a:lnTo>
                    <a:pt x="121" y="738"/>
                  </a:lnTo>
                  <a:lnTo>
                    <a:pt x="106" y="736"/>
                  </a:lnTo>
                  <a:lnTo>
                    <a:pt x="92" y="734"/>
                  </a:lnTo>
                  <a:lnTo>
                    <a:pt x="76" y="732"/>
                  </a:lnTo>
                  <a:lnTo>
                    <a:pt x="61" y="730"/>
                  </a:lnTo>
                  <a:lnTo>
                    <a:pt x="47" y="728"/>
                  </a:lnTo>
                  <a:lnTo>
                    <a:pt x="31" y="726"/>
                  </a:lnTo>
                  <a:lnTo>
                    <a:pt x="16" y="723"/>
                  </a:lnTo>
                  <a:lnTo>
                    <a:pt x="0" y="719"/>
                  </a:lnTo>
                  <a:lnTo>
                    <a:pt x="2" y="709"/>
                  </a:lnTo>
                  <a:lnTo>
                    <a:pt x="4" y="699"/>
                  </a:lnTo>
                  <a:lnTo>
                    <a:pt x="6" y="689"/>
                  </a:lnTo>
                  <a:lnTo>
                    <a:pt x="8" y="676"/>
                  </a:lnTo>
                  <a:lnTo>
                    <a:pt x="10" y="666"/>
                  </a:lnTo>
                  <a:lnTo>
                    <a:pt x="10" y="656"/>
                  </a:lnTo>
                  <a:lnTo>
                    <a:pt x="12" y="646"/>
                  </a:lnTo>
                  <a:lnTo>
                    <a:pt x="14" y="633"/>
                  </a:lnTo>
                  <a:lnTo>
                    <a:pt x="16" y="623"/>
                  </a:lnTo>
                  <a:lnTo>
                    <a:pt x="18" y="613"/>
                  </a:lnTo>
                  <a:lnTo>
                    <a:pt x="18" y="603"/>
                  </a:lnTo>
                  <a:lnTo>
                    <a:pt x="20" y="590"/>
                  </a:lnTo>
                  <a:lnTo>
                    <a:pt x="22" y="580"/>
                  </a:lnTo>
                  <a:lnTo>
                    <a:pt x="24" y="570"/>
                  </a:lnTo>
                  <a:lnTo>
                    <a:pt x="26" y="557"/>
                  </a:lnTo>
                  <a:lnTo>
                    <a:pt x="26" y="547"/>
                  </a:lnTo>
                  <a:lnTo>
                    <a:pt x="29" y="543"/>
                  </a:lnTo>
                  <a:lnTo>
                    <a:pt x="29" y="533"/>
                  </a:lnTo>
                  <a:lnTo>
                    <a:pt x="29" y="533"/>
                  </a:lnTo>
                  <a:lnTo>
                    <a:pt x="29" y="533"/>
                  </a:lnTo>
                  <a:lnTo>
                    <a:pt x="29" y="531"/>
                  </a:lnTo>
                  <a:lnTo>
                    <a:pt x="29" y="529"/>
                  </a:lnTo>
                  <a:lnTo>
                    <a:pt x="31" y="527"/>
                  </a:lnTo>
                  <a:lnTo>
                    <a:pt x="33" y="527"/>
                  </a:lnTo>
                  <a:lnTo>
                    <a:pt x="35" y="525"/>
                  </a:lnTo>
                  <a:lnTo>
                    <a:pt x="35" y="523"/>
                  </a:lnTo>
                  <a:lnTo>
                    <a:pt x="37" y="521"/>
                  </a:lnTo>
                  <a:lnTo>
                    <a:pt x="37" y="516"/>
                  </a:lnTo>
                  <a:lnTo>
                    <a:pt x="39" y="512"/>
                  </a:lnTo>
                  <a:lnTo>
                    <a:pt x="39" y="512"/>
                  </a:lnTo>
                  <a:lnTo>
                    <a:pt x="39" y="512"/>
                  </a:lnTo>
                  <a:lnTo>
                    <a:pt x="41" y="510"/>
                  </a:lnTo>
                  <a:lnTo>
                    <a:pt x="41" y="510"/>
                  </a:lnTo>
                  <a:lnTo>
                    <a:pt x="41" y="506"/>
                  </a:lnTo>
                  <a:lnTo>
                    <a:pt x="39" y="504"/>
                  </a:lnTo>
                  <a:lnTo>
                    <a:pt x="39" y="502"/>
                  </a:lnTo>
                  <a:lnTo>
                    <a:pt x="39" y="500"/>
                  </a:lnTo>
                  <a:lnTo>
                    <a:pt x="41" y="500"/>
                  </a:lnTo>
                  <a:lnTo>
                    <a:pt x="41" y="500"/>
                  </a:lnTo>
                  <a:lnTo>
                    <a:pt x="43" y="500"/>
                  </a:lnTo>
                  <a:lnTo>
                    <a:pt x="43" y="500"/>
                  </a:lnTo>
                  <a:lnTo>
                    <a:pt x="43" y="498"/>
                  </a:lnTo>
                  <a:lnTo>
                    <a:pt x="45" y="498"/>
                  </a:lnTo>
                  <a:lnTo>
                    <a:pt x="45" y="496"/>
                  </a:lnTo>
                  <a:lnTo>
                    <a:pt x="45" y="496"/>
                  </a:lnTo>
                  <a:lnTo>
                    <a:pt x="45" y="496"/>
                  </a:lnTo>
                  <a:lnTo>
                    <a:pt x="45" y="494"/>
                  </a:lnTo>
                  <a:lnTo>
                    <a:pt x="45" y="494"/>
                  </a:lnTo>
                  <a:lnTo>
                    <a:pt x="45" y="492"/>
                  </a:lnTo>
                  <a:lnTo>
                    <a:pt x="43" y="490"/>
                  </a:lnTo>
                  <a:lnTo>
                    <a:pt x="41" y="490"/>
                  </a:lnTo>
                  <a:lnTo>
                    <a:pt x="41" y="490"/>
                  </a:lnTo>
                  <a:lnTo>
                    <a:pt x="41" y="488"/>
                  </a:lnTo>
                  <a:lnTo>
                    <a:pt x="41" y="486"/>
                  </a:lnTo>
                  <a:lnTo>
                    <a:pt x="41" y="486"/>
                  </a:lnTo>
                  <a:lnTo>
                    <a:pt x="41" y="484"/>
                  </a:lnTo>
                  <a:lnTo>
                    <a:pt x="41" y="484"/>
                  </a:lnTo>
                  <a:lnTo>
                    <a:pt x="39" y="484"/>
                  </a:lnTo>
                  <a:lnTo>
                    <a:pt x="37" y="484"/>
                  </a:lnTo>
                  <a:lnTo>
                    <a:pt x="35" y="484"/>
                  </a:lnTo>
                  <a:lnTo>
                    <a:pt x="33" y="484"/>
                  </a:lnTo>
                  <a:lnTo>
                    <a:pt x="33" y="482"/>
                  </a:lnTo>
                  <a:lnTo>
                    <a:pt x="33" y="482"/>
                  </a:lnTo>
                  <a:lnTo>
                    <a:pt x="33" y="480"/>
                  </a:lnTo>
                  <a:lnTo>
                    <a:pt x="31" y="480"/>
                  </a:lnTo>
                  <a:lnTo>
                    <a:pt x="31" y="480"/>
                  </a:lnTo>
                  <a:lnTo>
                    <a:pt x="29" y="482"/>
                  </a:lnTo>
                  <a:lnTo>
                    <a:pt x="29" y="482"/>
                  </a:lnTo>
                  <a:lnTo>
                    <a:pt x="29" y="482"/>
                  </a:lnTo>
                  <a:lnTo>
                    <a:pt x="24" y="480"/>
                  </a:lnTo>
                  <a:lnTo>
                    <a:pt x="24" y="478"/>
                  </a:lnTo>
                  <a:lnTo>
                    <a:pt x="24" y="475"/>
                  </a:lnTo>
                  <a:lnTo>
                    <a:pt x="24" y="475"/>
                  </a:lnTo>
                  <a:lnTo>
                    <a:pt x="24" y="473"/>
                  </a:lnTo>
                  <a:lnTo>
                    <a:pt x="24" y="473"/>
                  </a:lnTo>
                  <a:lnTo>
                    <a:pt x="24" y="471"/>
                  </a:lnTo>
                  <a:lnTo>
                    <a:pt x="24" y="469"/>
                  </a:lnTo>
                  <a:lnTo>
                    <a:pt x="24" y="467"/>
                  </a:lnTo>
                  <a:lnTo>
                    <a:pt x="24" y="465"/>
                  </a:lnTo>
                  <a:lnTo>
                    <a:pt x="26" y="463"/>
                  </a:lnTo>
                  <a:lnTo>
                    <a:pt x="26" y="461"/>
                  </a:lnTo>
                  <a:lnTo>
                    <a:pt x="26" y="459"/>
                  </a:lnTo>
                  <a:lnTo>
                    <a:pt x="26" y="459"/>
                  </a:lnTo>
                  <a:lnTo>
                    <a:pt x="29" y="457"/>
                  </a:lnTo>
                  <a:lnTo>
                    <a:pt x="29" y="457"/>
                  </a:lnTo>
                  <a:lnTo>
                    <a:pt x="29" y="457"/>
                  </a:lnTo>
                  <a:lnTo>
                    <a:pt x="29" y="455"/>
                  </a:lnTo>
                  <a:lnTo>
                    <a:pt x="31" y="455"/>
                  </a:lnTo>
                  <a:lnTo>
                    <a:pt x="31" y="455"/>
                  </a:lnTo>
                  <a:lnTo>
                    <a:pt x="33" y="455"/>
                  </a:lnTo>
                  <a:lnTo>
                    <a:pt x="35" y="453"/>
                  </a:lnTo>
                  <a:lnTo>
                    <a:pt x="35" y="451"/>
                  </a:lnTo>
                  <a:lnTo>
                    <a:pt x="37" y="447"/>
                  </a:lnTo>
                  <a:lnTo>
                    <a:pt x="37" y="445"/>
                  </a:lnTo>
                  <a:lnTo>
                    <a:pt x="41" y="441"/>
                  </a:lnTo>
                  <a:lnTo>
                    <a:pt x="43" y="437"/>
                  </a:lnTo>
                  <a:lnTo>
                    <a:pt x="45" y="435"/>
                  </a:lnTo>
                  <a:lnTo>
                    <a:pt x="45" y="435"/>
                  </a:lnTo>
                  <a:lnTo>
                    <a:pt x="51" y="432"/>
                  </a:lnTo>
                  <a:lnTo>
                    <a:pt x="53" y="430"/>
                  </a:lnTo>
                  <a:lnTo>
                    <a:pt x="53" y="428"/>
                  </a:lnTo>
                  <a:lnTo>
                    <a:pt x="59" y="424"/>
                  </a:lnTo>
                  <a:lnTo>
                    <a:pt x="61" y="420"/>
                  </a:lnTo>
                  <a:lnTo>
                    <a:pt x="61" y="418"/>
                  </a:lnTo>
                  <a:lnTo>
                    <a:pt x="63" y="414"/>
                  </a:lnTo>
                  <a:lnTo>
                    <a:pt x="63" y="412"/>
                  </a:lnTo>
                  <a:lnTo>
                    <a:pt x="63" y="412"/>
                  </a:lnTo>
                  <a:lnTo>
                    <a:pt x="63" y="410"/>
                  </a:lnTo>
                  <a:lnTo>
                    <a:pt x="63" y="410"/>
                  </a:lnTo>
                  <a:lnTo>
                    <a:pt x="63" y="408"/>
                  </a:lnTo>
                  <a:lnTo>
                    <a:pt x="63" y="408"/>
                  </a:lnTo>
                  <a:lnTo>
                    <a:pt x="65" y="406"/>
                  </a:lnTo>
                  <a:lnTo>
                    <a:pt x="76" y="396"/>
                  </a:lnTo>
                  <a:lnTo>
                    <a:pt x="78" y="391"/>
                  </a:lnTo>
                  <a:lnTo>
                    <a:pt x="80" y="385"/>
                  </a:lnTo>
                  <a:lnTo>
                    <a:pt x="82" y="383"/>
                  </a:lnTo>
                  <a:lnTo>
                    <a:pt x="82" y="383"/>
                  </a:lnTo>
                  <a:lnTo>
                    <a:pt x="82" y="379"/>
                  </a:lnTo>
                  <a:lnTo>
                    <a:pt x="84" y="377"/>
                  </a:lnTo>
                  <a:lnTo>
                    <a:pt x="84" y="375"/>
                  </a:lnTo>
                  <a:lnTo>
                    <a:pt x="88" y="371"/>
                  </a:lnTo>
                  <a:lnTo>
                    <a:pt x="90" y="369"/>
                  </a:lnTo>
                  <a:lnTo>
                    <a:pt x="94" y="365"/>
                  </a:lnTo>
                  <a:lnTo>
                    <a:pt x="94" y="363"/>
                  </a:lnTo>
                  <a:lnTo>
                    <a:pt x="94" y="361"/>
                  </a:lnTo>
                  <a:lnTo>
                    <a:pt x="96" y="359"/>
                  </a:lnTo>
                  <a:lnTo>
                    <a:pt x="98" y="359"/>
                  </a:lnTo>
                  <a:lnTo>
                    <a:pt x="100" y="357"/>
                  </a:lnTo>
                  <a:lnTo>
                    <a:pt x="102" y="355"/>
                  </a:lnTo>
                  <a:lnTo>
                    <a:pt x="102" y="353"/>
                  </a:lnTo>
                  <a:lnTo>
                    <a:pt x="102" y="350"/>
                  </a:lnTo>
                  <a:lnTo>
                    <a:pt x="102" y="348"/>
                  </a:lnTo>
                  <a:lnTo>
                    <a:pt x="100" y="342"/>
                  </a:lnTo>
                  <a:lnTo>
                    <a:pt x="100" y="338"/>
                  </a:lnTo>
                  <a:lnTo>
                    <a:pt x="98" y="336"/>
                  </a:lnTo>
                  <a:lnTo>
                    <a:pt x="98" y="334"/>
                  </a:lnTo>
                  <a:lnTo>
                    <a:pt x="96" y="334"/>
                  </a:lnTo>
                  <a:lnTo>
                    <a:pt x="94" y="332"/>
                  </a:lnTo>
                  <a:lnTo>
                    <a:pt x="90" y="330"/>
                  </a:lnTo>
                  <a:lnTo>
                    <a:pt x="88" y="328"/>
                  </a:lnTo>
                  <a:lnTo>
                    <a:pt x="88" y="326"/>
                  </a:lnTo>
                  <a:lnTo>
                    <a:pt x="82" y="324"/>
                  </a:lnTo>
                  <a:lnTo>
                    <a:pt x="82" y="324"/>
                  </a:lnTo>
                  <a:lnTo>
                    <a:pt x="82" y="322"/>
                  </a:lnTo>
                  <a:lnTo>
                    <a:pt x="78" y="316"/>
                  </a:lnTo>
                  <a:lnTo>
                    <a:pt x="76" y="309"/>
                  </a:lnTo>
                  <a:lnTo>
                    <a:pt x="76" y="307"/>
                  </a:lnTo>
                  <a:lnTo>
                    <a:pt x="76" y="305"/>
                  </a:lnTo>
                  <a:lnTo>
                    <a:pt x="76" y="301"/>
                  </a:lnTo>
                  <a:lnTo>
                    <a:pt x="72" y="295"/>
                  </a:lnTo>
                  <a:lnTo>
                    <a:pt x="72" y="295"/>
                  </a:lnTo>
                  <a:lnTo>
                    <a:pt x="74" y="293"/>
                  </a:lnTo>
                  <a:lnTo>
                    <a:pt x="76" y="291"/>
                  </a:lnTo>
                  <a:lnTo>
                    <a:pt x="76" y="289"/>
                  </a:lnTo>
                  <a:lnTo>
                    <a:pt x="76" y="287"/>
                  </a:lnTo>
                  <a:lnTo>
                    <a:pt x="76" y="285"/>
                  </a:lnTo>
                  <a:lnTo>
                    <a:pt x="76" y="279"/>
                  </a:lnTo>
                  <a:lnTo>
                    <a:pt x="74" y="277"/>
                  </a:lnTo>
                  <a:lnTo>
                    <a:pt x="72" y="273"/>
                  </a:lnTo>
                  <a:lnTo>
                    <a:pt x="69" y="266"/>
                  </a:lnTo>
                  <a:lnTo>
                    <a:pt x="69" y="266"/>
                  </a:lnTo>
                  <a:lnTo>
                    <a:pt x="69" y="264"/>
                  </a:lnTo>
                  <a:lnTo>
                    <a:pt x="72" y="260"/>
                  </a:lnTo>
                  <a:lnTo>
                    <a:pt x="72" y="258"/>
                  </a:lnTo>
                  <a:lnTo>
                    <a:pt x="74" y="242"/>
                  </a:lnTo>
                  <a:lnTo>
                    <a:pt x="78" y="225"/>
                  </a:lnTo>
                  <a:lnTo>
                    <a:pt x="80" y="209"/>
                  </a:lnTo>
                  <a:lnTo>
                    <a:pt x="82" y="193"/>
                  </a:lnTo>
                  <a:lnTo>
                    <a:pt x="84" y="176"/>
                  </a:lnTo>
                  <a:lnTo>
                    <a:pt x="86" y="160"/>
                  </a:lnTo>
                  <a:lnTo>
                    <a:pt x="88" y="143"/>
                  </a:lnTo>
                  <a:lnTo>
                    <a:pt x="92" y="127"/>
                  </a:lnTo>
                  <a:lnTo>
                    <a:pt x="94" y="113"/>
                  </a:lnTo>
                  <a:lnTo>
                    <a:pt x="96" y="96"/>
                  </a:lnTo>
                  <a:lnTo>
                    <a:pt x="98" y="80"/>
                  </a:lnTo>
                  <a:lnTo>
                    <a:pt x="100" y="64"/>
                  </a:lnTo>
                  <a:lnTo>
                    <a:pt x="104" y="47"/>
                  </a:lnTo>
                  <a:lnTo>
                    <a:pt x="106" y="31"/>
                  </a:lnTo>
                  <a:lnTo>
                    <a:pt x="108" y="16"/>
                  </a:lnTo>
                  <a:lnTo>
                    <a:pt x="110" y="0"/>
                  </a:lnTo>
                  <a:lnTo>
                    <a:pt x="119" y="0"/>
                  </a:lnTo>
                  <a:lnTo>
                    <a:pt x="135" y="4"/>
                  </a:lnTo>
                  <a:lnTo>
                    <a:pt x="151" y="6"/>
                  </a:lnTo>
                  <a:lnTo>
                    <a:pt x="168" y="8"/>
                  </a:lnTo>
                  <a:lnTo>
                    <a:pt x="184" y="10"/>
                  </a:lnTo>
                  <a:lnTo>
                    <a:pt x="184" y="10"/>
                  </a:lnTo>
                  <a:lnTo>
                    <a:pt x="182" y="23"/>
                  </a:lnTo>
                  <a:lnTo>
                    <a:pt x="180" y="35"/>
                  </a:lnTo>
                  <a:lnTo>
                    <a:pt x="180" y="47"/>
                  </a:lnTo>
                  <a:lnTo>
                    <a:pt x="178" y="57"/>
                  </a:lnTo>
                  <a:lnTo>
                    <a:pt x="176" y="70"/>
                  </a:lnTo>
                  <a:lnTo>
                    <a:pt x="174" y="82"/>
                  </a:lnTo>
                  <a:lnTo>
                    <a:pt x="172" y="94"/>
                  </a:lnTo>
                  <a:lnTo>
                    <a:pt x="170" y="107"/>
                  </a:lnTo>
                  <a:lnTo>
                    <a:pt x="170" y="111"/>
                  </a:lnTo>
                  <a:lnTo>
                    <a:pt x="170" y="111"/>
                  </a:lnTo>
                  <a:lnTo>
                    <a:pt x="170" y="113"/>
                  </a:lnTo>
                  <a:lnTo>
                    <a:pt x="172" y="115"/>
                  </a:lnTo>
                  <a:lnTo>
                    <a:pt x="174" y="117"/>
                  </a:lnTo>
                  <a:lnTo>
                    <a:pt x="174" y="119"/>
                  </a:lnTo>
                  <a:lnTo>
                    <a:pt x="176" y="121"/>
                  </a:lnTo>
                  <a:lnTo>
                    <a:pt x="176" y="123"/>
                  </a:lnTo>
                  <a:lnTo>
                    <a:pt x="176" y="123"/>
                  </a:lnTo>
                  <a:lnTo>
                    <a:pt x="178" y="123"/>
                  </a:lnTo>
                  <a:lnTo>
                    <a:pt x="178" y="125"/>
                  </a:lnTo>
                  <a:lnTo>
                    <a:pt x="178" y="125"/>
                  </a:lnTo>
                  <a:lnTo>
                    <a:pt x="180" y="127"/>
                  </a:lnTo>
                  <a:lnTo>
                    <a:pt x="180" y="127"/>
                  </a:lnTo>
                  <a:lnTo>
                    <a:pt x="182" y="129"/>
                  </a:lnTo>
                  <a:lnTo>
                    <a:pt x="182" y="129"/>
                  </a:lnTo>
                  <a:lnTo>
                    <a:pt x="182" y="129"/>
                  </a:lnTo>
                  <a:lnTo>
                    <a:pt x="182" y="131"/>
                  </a:lnTo>
                  <a:lnTo>
                    <a:pt x="184" y="135"/>
                  </a:lnTo>
                  <a:lnTo>
                    <a:pt x="184" y="137"/>
                  </a:lnTo>
                  <a:lnTo>
                    <a:pt x="184" y="137"/>
                  </a:lnTo>
                  <a:lnTo>
                    <a:pt x="186" y="139"/>
                  </a:lnTo>
                  <a:lnTo>
                    <a:pt x="186" y="139"/>
                  </a:lnTo>
                  <a:lnTo>
                    <a:pt x="186" y="139"/>
                  </a:lnTo>
                  <a:lnTo>
                    <a:pt x="186" y="141"/>
                  </a:lnTo>
                  <a:lnTo>
                    <a:pt x="186" y="141"/>
                  </a:lnTo>
                  <a:lnTo>
                    <a:pt x="188" y="141"/>
                  </a:lnTo>
                  <a:lnTo>
                    <a:pt x="190" y="143"/>
                  </a:lnTo>
                  <a:lnTo>
                    <a:pt x="190" y="143"/>
                  </a:lnTo>
                  <a:lnTo>
                    <a:pt x="190" y="146"/>
                  </a:lnTo>
                  <a:lnTo>
                    <a:pt x="190" y="146"/>
                  </a:lnTo>
                  <a:lnTo>
                    <a:pt x="190" y="148"/>
                  </a:lnTo>
                  <a:lnTo>
                    <a:pt x="190" y="150"/>
                  </a:lnTo>
                  <a:lnTo>
                    <a:pt x="190" y="150"/>
                  </a:lnTo>
                  <a:lnTo>
                    <a:pt x="192" y="154"/>
                  </a:lnTo>
                  <a:lnTo>
                    <a:pt x="192" y="154"/>
                  </a:lnTo>
                  <a:lnTo>
                    <a:pt x="192" y="156"/>
                  </a:lnTo>
                  <a:lnTo>
                    <a:pt x="192" y="156"/>
                  </a:lnTo>
                  <a:lnTo>
                    <a:pt x="190" y="158"/>
                  </a:lnTo>
                  <a:lnTo>
                    <a:pt x="190" y="158"/>
                  </a:lnTo>
                  <a:lnTo>
                    <a:pt x="190" y="158"/>
                  </a:lnTo>
                  <a:lnTo>
                    <a:pt x="190" y="158"/>
                  </a:lnTo>
                  <a:lnTo>
                    <a:pt x="188" y="158"/>
                  </a:lnTo>
                  <a:lnTo>
                    <a:pt x="188" y="160"/>
                  </a:lnTo>
                  <a:lnTo>
                    <a:pt x="186" y="160"/>
                  </a:lnTo>
                  <a:lnTo>
                    <a:pt x="186" y="160"/>
                  </a:lnTo>
                  <a:lnTo>
                    <a:pt x="188" y="160"/>
                  </a:lnTo>
                  <a:lnTo>
                    <a:pt x="190" y="162"/>
                  </a:lnTo>
                  <a:lnTo>
                    <a:pt x="190" y="162"/>
                  </a:lnTo>
                  <a:lnTo>
                    <a:pt x="190" y="164"/>
                  </a:lnTo>
                  <a:lnTo>
                    <a:pt x="190" y="166"/>
                  </a:lnTo>
                  <a:lnTo>
                    <a:pt x="190" y="166"/>
                  </a:lnTo>
                  <a:lnTo>
                    <a:pt x="190" y="166"/>
                  </a:lnTo>
                  <a:lnTo>
                    <a:pt x="192" y="168"/>
                  </a:lnTo>
                  <a:lnTo>
                    <a:pt x="192" y="168"/>
                  </a:lnTo>
                  <a:lnTo>
                    <a:pt x="192" y="168"/>
                  </a:lnTo>
                  <a:lnTo>
                    <a:pt x="192" y="170"/>
                  </a:lnTo>
                  <a:lnTo>
                    <a:pt x="192" y="170"/>
                  </a:lnTo>
                  <a:lnTo>
                    <a:pt x="192" y="170"/>
                  </a:lnTo>
                  <a:lnTo>
                    <a:pt x="192" y="170"/>
                  </a:lnTo>
                  <a:lnTo>
                    <a:pt x="190" y="170"/>
                  </a:lnTo>
                  <a:lnTo>
                    <a:pt x="188" y="170"/>
                  </a:lnTo>
                  <a:lnTo>
                    <a:pt x="186" y="170"/>
                  </a:lnTo>
                  <a:lnTo>
                    <a:pt x="186" y="170"/>
                  </a:lnTo>
                  <a:lnTo>
                    <a:pt x="186" y="170"/>
                  </a:lnTo>
                  <a:lnTo>
                    <a:pt x="186" y="170"/>
                  </a:lnTo>
                  <a:lnTo>
                    <a:pt x="186" y="170"/>
                  </a:lnTo>
                  <a:lnTo>
                    <a:pt x="186" y="172"/>
                  </a:lnTo>
                  <a:lnTo>
                    <a:pt x="186" y="172"/>
                  </a:lnTo>
                  <a:lnTo>
                    <a:pt x="188" y="172"/>
                  </a:lnTo>
                  <a:lnTo>
                    <a:pt x="190" y="174"/>
                  </a:lnTo>
                  <a:lnTo>
                    <a:pt x="196" y="178"/>
                  </a:lnTo>
                  <a:lnTo>
                    <a:pt x="196" y="178"/>
                  </a:lnTo>
                  <a:lnTo>
                    <a:pt x="199" y="182"/>
                  </a:lnTo>
                  <a:lnTo>
                    <a:pt x="199" y="184"/>
                  </a:lnTo>
                  <a:lnTo>
                    <a:pt x="201" y="187"/>
                  </a:lnTo>
                  <a:lnTo>
                    <a:pt x="201" y="187"/>
                  </a:lnTo>
                  <a:lnTo>
                    <a:pt x="201" y="189"/>
                  </a:lnTo>
                  <a:lnTo>
                    <a:pt x="201" y="189"/>
                  </a:lnTo>
                  <a:lnTo>
                    <a:pt x="203" y="189"/>
                  </a:lnTo>
                  <a:lnTo>
                    <a:pt x="207" y="191"/>
                  </a:lnTo>
                  <a:lnTo>
                    <a:pt x="213" y="193"/>
                  </a:lnTo>
                  <a:lnTo>
                    <a:pt x="213" y="195"/>
                  </a:lnTo>
                  <a:lnTo>
                    <a:pt x="213" y="195"/>
                  </a:lnTo>
                  <a:lnTo>
                    <a:pt x="215" y="197"/>
                  </a:lnTo>
                  <a:lnTo>
                    <a:pt x="215" y="197"/>
                  </a:lnTo>
                  <a:lnTo>
                    <a:pt x="215" y="199"/>
                  </a:lnTo>
                  <a:lnTo>
                    <a:pt x="215" y="199"/>
                  </a:lnTo>
                  <a:lnTo>
                    <a:pt x="217" y="199"/>
                  </a:lnTo>
                  <a:lnTo>
                    <a:pt x="217" y="199"/>
                  </a:lnTo>
                  <a:lnTo>
                    <a:pt x="217" y="201"/>
                  </a:lnTo>
                  <a:lnTo>
                    <a:pt x="217" y="201"/>
                  </a:lnTo>
                  <a:lnTo>
                    <a:pt x="217" y="203"/>
                  </a:lnTo>
                  <a:lnTo>
                    <a:pt x="217" y="203"/>
                  </a:lnTo>
                  <a:lnTo>
                    <a:pt x="219" y="203"/>
                  </a:lnTo>
                  <a:lnTo>
                    <a:pt x="219" y="203"/>
                  </a:lnTo>
                  <a:lnTo>
                    <a:pt x="219" y="205"/>
                  </a:lnTo>
                  <a:lnTo>
                    <a:pt x="219" y="205"/>
                  </a:lnTo>
                  <a:lnTo>
                    <a:pt x="221" y="207"/>
                  </a:lnTo>
                  <a:lnTo>
                    <a:pt x="223" y="207"/>
                  </a:lnTo>
                  <a:lnTo>
                    <a:pt x="223" y="211"/>
                  </a:lnTo>
                  <a:lnTo>
                    <a:pt x="225" y="213"/>
                  </a:lnTo>
                  <a:lnTo>
                    <a:pt x="231" y="221"/>
                  </a:lnTo>
                  <a:lnTo>
                    <a:pt x="231" y="221"/>
                  </a:lnTo>
                  <a:lnTo>
                    <a:pt x="231" y="223"/>
                  </a:lnTo>
                  <a:lnTo>
                    <a:pt x="231" y="223"/>
                  </a:lnTo>
                  <a:lnTo>
                    <a:pt x="231" y="223"/>
                  </a:lnTo>
                  <a:lnTo>
                    <a:pt x="231" y="225"/>
                  </a:lnTo>
                  <a:lnTo>
                    <a:pt x="231" y="225"/>
                  </a:lnTo>
                  <a:lnTo>
                    <a:pt x="233" y="225"/>
                  </a:lnTo>
                  <a:lnTo>
                    <a:pt x="235" y="225"/>
                  </a:lnTo>
                  <a:lnTo>
                    <a:pt x="235" y="228"/>
                  </a:lnTo>
                  <a:lnTo>
                    <a:pt x="235" y="228"/>
                  </a:lnTo>
                  <a:lnTo>
                    <a:pt x="237" y="230"/>
                  </a:lnTo>
                  <a:lnTo>
                    <a:pt x="237" y="232"/>
                  </a:lnTo>
                  <a:lnTo>
                    <a:pt x="237" y="232"/>
                  </a:lnTo>
                  <a:lnTo>
                    <a:pt x="239" y="234"/>
                  </a:lnTo>
                  <a:lnTo>
                    <a:pt x="239" y="234"/>
                  </a:lnTo>
                  <a:lnTo>
                    <a:pt x="239" y="234"/>
                  </a:lnTo>
                  <a:lnTo>
                    <a:pt x="239" y="234"/>
                  </a:lnTo>
                  <a:lnTo>
                    <a:pt x="239" y="236"/>
                  </a:lnTo>
                  <a:lnTo>
                    <a:pt x="239" y="236"/>
                  </a:lnTo>
                  <a:lnTo>
                    <a:pt x="239" y="236"/>
                  </a:lnTo>
                  <a:lnTo>
                    <a:pt x="239" y="238"/>
                  </a:lnTo>
                  <a:lnTo>
                    <a:pt x="239" y="240"/>
                  </a:lnTo>
                  <a:lnTo>
                    <a:pt x="239" y="240"/>
                  </a:lnTo>
                  <a:lnTo>
                    <a:pt x="239" y="242"/>
                  </a:lnTo>
                  <a:lnTo>
                    <a:pt x="239" y="242"/>
                  </a:lnTo>
                  <a:lnTo>
                    <a:pt x="242" y="244"/>
                  </a:lnTo>
                  <a:lnTo>
                    <a:pt x="244" y="244"/>
                  </a:lnTo>
                  <a:lnTo>
                    <a:pt x="244" y="246"/>
                  </a:lnTo>
                  <a:lnTo>
                    <a:pt x="246" y="246"/>
                  </a:lnTo>
                  <a:lnTo>
                    <a:pt x="246" y="248"/>
                  </a:lnTo>
                  <a:lnTo>
                    <a:pt x="248" y="248"/>
                  </a:lnTo>
                  <a:lnTo>
                    <a:pt x="250" y="250"/>
                  </a:lnTo>
                  <a:lnTo>
                    <a:pt x="250" y="250"/>
                  </a:lnTo>
                  <a:lnTo>
                    <a:pt x="250" y="250"/>
                  </a:lnTo>
                  <a:lnTo>
                    <a:pt x="250" y="250"/>
                  </a:lnTo>
                  <a:lnTo>
                    <a:pt x="250" y="252"/>
                  </a:lnTo>
                  <a:lnTo>
                    <a:pt x="250" y="252"/>
                  </a:lnTo>
                  <a:lnTo>
                    <a:pt x="250" y="254"/>
                  </a:lnTo>
                  <a:lnTo>
                    <a:pt x="250" y="254"/>
                  </a:lnTo>
                  <a:lnTo>
                    <a:pt x="250" y="256"/>
                  </a:lnTo>
                  <a:lnTo>
                    <a:pt x="250" y="256"/>
                  </a:lnTo>
                  <a:lnTo>
                    <a:pt x="250" y="256"/>
                  </a:lnTo>
                  <a:lnTo>
                    <a:pt x="250" y="256"/>
                  </a:lnTo>
                  <a:lnTo>
                    <a:pt x="252" y="256"/>
                  </a:lnTo>
                  <a:lnTo>
                    <a:pt x="254" y="254"/>
                  </a:lnTo>
                  <a:lnTo>
                    <a:pt x="254" y="254"/>
                  </a:lnTo>
                  <a:lnTo>
                    <a:pt x="256" y="254"/>
                  </a:lnTo>
                  <a:lnTo>
                    <a:pt x="256" y="254"/>
                  </a:lnTo>
                  <a:lnTo>
                    <a:pt x="256" y="254"/>
                  </a:lnTo>
                  <a:lnTo>
                    <a:pt x="256" y="254"/>
                  </a:lnTo>
                  <a:lnTo>
                    <a:pt x="258" y="254"/>
                  </a:lnTo>
                  <a:lnTo>
                    <a:pt x="260" y="256"/>
                  </a:lnTo>
                  <a:lnTo>
                    <a:pt x="260" y="256"/>
                  </a:lnTo>
                  <a:lnTo>
                    <a:pt x="260" y="256"/>
                  </a:lnTo>
                  <a:lnTo>
                    <a:pt x="260" y="258"/>
                  </a:lnTo>
                  <a:lnTo>
                    <a:pt x="260" y="258"/>
                  </a:lnTo>
                  <a:lnTo>
                    <a:pt x="258" y="260"/>
                  </a:lnTo>
                  <a:lnTo>
                    <a:pt x="258" y="260"/>
                  </a:lnTo>
                  <a:lnTo>
                    <a:pt x="258" y="260"/>
                  </a:lnTo>
                  <a:lnTo>
                    <a:pt x="258" y="260"/>
                  </a:lnTo>
                  <a:lnTo>
                    <a:pt x="258" y="262"/>
                  </a:lnTo>
                  <a:lnTo>
                    <a:pt x="258" y="262"/>
                  </a:lnTo>
                  <a:lnTo>
                    <a:pt x="260" y="262"/>
                  </a:lnTo>
                  <a:lnTo>
                    <a:pt x="262" y="264"/>
                  </a:lnTo>
                  <a:lnTo>
                    <a:pt x="262" y="264"/>
                  </a:lnTo>
                  <a:lnTo>
                    <a:pt x="264" y="266"/>
                  </a:lnTo>
                  <a:lnTo>
                    <a:pt x="264" y="266"/>
                  </a:lnTo>
                  <a:lnTo>
                    <a:pt x="266" y="266"/>
                  </a:lnTo>
                  <a:lnTo>
                    <a:pt x="268" y="264"/>
                  </a:lnTo>
                  <a:lnTo>
                    <a:pt x="268" y="264"/>
                  </a:lnTo>
                  <a:lnTo>
                    <a:pt x="268" y="264"/>
                  </a:lnTo>
                  <a:lnTo>
                    <a:pt x="270" y="266"/>
                  </a:lnTo>
                  <a:lnTo>
                    <a:pt x="270" y="266"/>
                  </a:lnTo>
                  <a:lnTo>
                    <a:pt x="270" y="266"/>
                  </a:lnTo>
                  <a:lnTo>
                    <a:pt x="272" y="266"/>
                  </a:lnTo>
                  <a:lnTo>
                    <a:pt x="272" y="266"/>
                  </a:lnTo>
                  <a:lnTo>
                    <a:pt x="274" y="264"/>
                  </a:lnTo>
                  <a:lnTo>
                    <a:pt x="274" y="264"/>
                  </a:lnTo>
                  <a:lnTo>
                    <a:pt x="280" y="264"/>
                  </a:lnTo>
                  <a:lnTo>
                    <a:pt x="280" y="264"/>
                  </a:lnTo>
                  <a:lnTo>
                    <a:pt x="280" y="264"/>
                  </a:lnTo>
                  <a:lnTo>
                    <a:pt x="282" y="264"/>
                  </a:lnTo>
                  <a:lnTo>
                    <a:pt x="282" y="264"/>
                  </a:lnTo>
                  <a:lnTo>
                    <a:pt x="282" y="266"/>
                  </a:lnTo>
                  <a:lnTo>
                    <a:pt x="282" y="266"/>
                  </a:lnTo>
                  <a:lnTo>
                    <a:pt x="282" y="266"/>
                  </a:lnTo>
                  <a:lnTo>
                    <a:pt x="282" y="269"/>
                  </a:lnTo>
                  <a:lnTo>
                    <a:pt x="282" y="271"/>
                  </a:lnTo>
                  <a:lnTo>
                    <a:pt x="280" y="271"/>
                  </a:lnTo>
                  <a:lnTo>
                    <a:pt x="280" y="273"/>
                  </a:lnTo>
                  <a:lnTo>
                    <a:pt x="280" y="273"/>
                  </a:lnTo>
                  <a:lnTo>
                    <a:pt x="280" y="273"/>
                  </a:lnTo>
                  <a:lnTo>
                    <a:pt x="280" y="273"/>
                  </a:lnTo>
                  <a:lnTo>
                    <a:pt x="280" y="275"/>
                  </a:lnTo>
                  <a:lnTo>
                    <a:pt x="280" y="275"/>
                  </a:lnTo>
                  <a:lnTo>
                    <a:pt x="280" y="275"/>
                  </a:lnTo>
                  <a:lnTo>
                    <a:pt x="278" y="277"/>
                  </a:lnTo>
                  <a:lnTo>
                    <a:pt x="278" y="277"/>
                  </a:lnTo>
                  <a:lnTo>
                    <a:pt x="278" y="277"/>
                  </a:lnTo>
                  <a:lnTo>
                    <a:pt x="278" y="277"/>
                  </a:lnTo>
                  <a:lnTo>
                    <a:pt x="278" y="279"/>
                  </a:lnTo>
                  <a:lnTo>
                    <a:pt x="278" y="279"/>
                  </a:lnTo>
                  <a:lnTo>
                    <a:pt x="280" y="279"/>
                  </a:lnTo>
                  <a:lnTo>
                    <a:pt x="278" y="279"/>
                  </a:lnTo>
                  <a:lnTo>
                    <a:pt x="278" y="281"/>
                  </a:lnTo>
                  <a:lnTo>
                    <a:pt x="278" y="281"/>
                  </a:lnTo>
                  <a:lnTo>
                    <a:pt x="278" y="281"/>
                  </a:lnTo>
                  <a:lnTo>
                    <a:pt x="278" y="281"/>
                  </a:lnTo>
                  <a:lnTo>
                    <a:pt x="274" y="281"/>
                  </a:lnTo>
                  <a:lnTo>
                    <a:pt x="274" y="281"/>
                  </a:lnTo>
                  <a:lnTo>
                    <a:pt x="274" y="281"/>
                  </a:lnTo>
                  <a:lnTo>
                    <a:pt x="274" y="283"/>
                  </a:lnTo>
                  <a:lnTo>
                    <a:pt x="274" y="283"/>
                  </a:lnTo>
                  <a:lnTo>
                    <a:pt x="274" y="283"/>
                  </a:lnTo>
                  <a:lnTo>
                    <a:pt x="274" y="283"/>
                  </a:lnTo>
                  <a:lnTo>
                    <a:pt x="276" y="285"/>
                  </a:lnTo>
                  <a:lnTo>
                    <a:pt x="276" y="285"/>
                  </a:lnTo>
                  <a:lnTo>
                    <a:pt x="276" y="285"/>
                  </a:lnTo>
                  <a:lnTo>
                    <a:pt x="276" y="285"/>
                  </a:lnTo>
                  <a:lnTo>
                    <a:pt x="276" y="287"/>
                  </a:lnTo>
                  <a:lnTo>
                    <a:pt x="276" y="287"/>
                  </a:lnTo>
                  <a:lnTo>
                    <a:pt x="276" y="287"/>
                  </a:lnTo>
                  <a:lnTo>
                    <a:pt x="276" y="289"/>
                  </a:lnTo>
                  <a:lnTo>
                    <a:pt x="272" y="291"/>
                  </a:lnTo>
                  <a:lnTo>
                    <a:pt x="272" y="293"/>
                  </a:lnTo>
                  <a:lnTo>
                    <a:pt x="272" y="293"/>
                  </a:lnTo>
                  <a:lnTo>
                    <a:pt x="272" y="295"/>
                  </a:lnTo>
                  <a:lnTo>
                    <a:pt x="272" y="297"/>
                  </a:lnTo>
                  <a:lnTo>
                    <a:pt x="272" y="297"/>
                  </a:lnTo>
                  <a:lnTo>
                    <a:pt x="272" y="297"/>
                  </a:lnTo>
                  <a:lnTo>
                    <a:pt x="272" y="297"/>
                  </a:lnTo>
                  <a:lnTo>
                    <a:pt x="270" y="299"/>
                  </a:lnTo>
                  <a:lnTo>
                    <a:pt x="268" y="301"/>
                  </a:lnTo>
                  <a:lnTo>
                    <a:pt x="268" y="301"/>
                  </a:lnTo>
                  <a:lnTo>
                    <a:pt x="268" y="303"/>
                  </a:lnTo>
                  <a:lnTo>
                    <a:pt x="268" y="303"/>
                  </a:lnTo>
                  <a:lnTo>
                    <a:pt x="268" y="303"/>
                  </a:lnTo>
                  <a:lnTo>
                    <a:pt x="268" y="303"/>
                  </a:lnTo>
                  <a:lnTo>
                    <a:pt x="268" y="305"/>
                  </a:lnTo>
                  <a:lnTo>
                    <a:pt x="266" y="305"/>
                  </a:lnTo>
                  <a:lnTo>
                    <a:pt x="266" y="305"/>
                  </a:lnTo>
                  <a:lnTo>
                    <a:pt x="266" y="305"/>
                  </a:lnTo>
                  <a:lnTo>
                    <a:pt x="268" y="307"/>
                  </a:lnTo>
                  <a:lnTo>
                    <a:pt x="268" y="307"/>
                  </a:lnTo>
                  <a:lnTo>
                    <a:pt x="268" y="309"/>
                  </a:lnTo>
                  <a:lnTo>
                    <a:pt x="268" y="309"/>
                  </a:lnTo>
                  <a:lnTo>
                    <a:pt x="268" y="312"/>
                  </a:lnTo>
                  <a:lnTo>
                    <a:pt x="268" y="312"/>
                  </a:lnTo>
                  <a:lnTo>
                    <a:pt x="268" y="314"/>
                  </a:lnTo>
                  <a:lnTo>
                    <a:pt x="268" y="314"/>
                  </a:lnTo>
                  <a:lnTo>
                    <a:pt x="268" y="314"/>
                  </a:lnTo>
                  <a:lnTo>
                    <a:pt x="266" y="314"/>
                  </a:lnTo>
                  <a:lnTo>
                    <a:pt x="266" y="314"/>
                  </a:lnTo>
                  <a:lnTo>
                    <a:pt x="266" y="314"/>
                  </a:lnTo>
                  <a:lnTo>
                    <a:pt x="264" y="314"/>
                  </a:lnTo>
                  <a:lnTo>
                    <a:pt x="262" y="314"/>
                  </a:lnTo>
                  <a:lnTo>
                    <a:pt x="262" y="316"/>
                  </a:lnTo>
                  <a:lnTo>
                    <a:pt x="262" y="316"/>
                  </a:lnTo>
                  <a:lnTo>
                    <a:pt x="262" y="316"/>
                  </a:lnTo>
                  <a:lnTo>
                    <a:pt x="262" y="316"/>
                  </a:lnTo>
                  <a:lnTo>
                    <a:pt x="262" y="316"/>
                  </a:lnTo>
                  <a:lnTo>
                    <a:pt x="262" y="318"/>
                  </a:lnTo>
                  <a:lnTo>
                    <a:pt x="264" y="320"/>
                  </a:lnTo>
                  <a:lnTo>
                    <a:pt x="264" y="322"/>
                  </a:lnTo>
                  <a:lnTo>
                    <a:pt x="264" y="322"/>
                  </a:lnTo>
                  <a:lnTo>
                    <a:pt x="264" y="322"/>
                  </a:lnTo>
                  <a:lnTo>
                    <a:pt x="264" y="324"/>
                  </a:lnTo>
                  <a:lnTo>
                    <a:pt x="264" y="324"/>
                  </a:lnTo>
                  <a:lnTo>
                    <a:pt x="264" y="324"/>
                  </a:lnTo>
                  <a:lnTo>
                    <a:pt x="262" y="326"/>
                  </a:lnTo>
                  <a:lnTo>
                    <a:pt x="262" y="326"/>
                  </a:lnTo>
                  <a:lnTo>
                    <a:pt x="262" y="328"/>
                  </a:lnTo>
                  <a:lnTo>
                    <a:pt x="262" y="328"/>
                  </a:lnTo>
                  <a:lnTo>
                    <a:pt x="262" y="328"/>
                  </a:lnTo>
                  <a:lnTo>
                    <a:pt x="262" y="330"/>
                  </a:lnTo>
                  <a:lnTo>
                    <a:pt x="262" y="330"/>
                  </a:lnTo>
                  <a:lnTo>
                    <a:pt x="262" y="330"/>
                  </a:lnTo>
                  <a:lnTo>
                    <a:pt x="262" y="332"/>
                  </a:lnTo>
                  <a:lnTo>
                    <a:pt x="262" y="332"/>
                  </a:lnTo>
                  <a:lnTo>
                    <a:pt x="262" y="332"/>
                  </a:lnTo>
                  <a:lnTo>
                    <a:pt x="264" y="334"/>
                  </a:lnTo>
                  <a:lnTo>
                    <a:pt x="266" y="334"/>
                  </a:lnTo>
                  <a:lnTo>
                    <a:pt x="266" y="334"/>
                  </a:lnTo>
                  <a:lnTo>
                    <a:pt x="268" y="336"/>
                  </a:lnTo>
                  <a:lnTo>
                    <a:pt x="268" y="336"/>
                  </a:lnTo>
                  <a:lnTo>
                    <a:pt x="266" y="336"/>
                  </a:lnTo>
                  <a:lnTo>
                    <a:pt x="266" y="338"/>
                  </a:lnTo>
                  <a:lnTo>
                    <a:pt x="266" y="338"/>
                  </a:lnTo>
                  <a:lnTo>
                    <a:pt x="266" y="340"/>
                  </a:lnTo>
                  <a:lnTo>
                    <a:pt x="266" y="340"/>
                  </a:lnTo>
                  <a:lnTo>
                    <a:pt x="266" y="340"/>
                  </a:lnTo>
                  <a:lnTo>
                    <a:pt x="266" y="340"/>
                  </a:lnTo>
                  <a:lnTo>
                    <a:pt x="266" y="342"/>
                  </a:lnTo>
                  <a:lnTo>
                    <a:pt x="266" y="344"/>
                  </a:lnTo>
                  <a:lnTo>
                    <a:pt x="266" y="344"/>
                  </a:lnTo>
                  <a:lnTo>
                    <a:pt x="266" y="346"/>
                  </a:lnTo>
                  <a:lnTo>
                    <a:pt x="266" y="346"/>
                  </a:lnTo>
                  <a:lnTo>
                    <a:pt x="264" y="348"/>
                  </a:lnTo>
                  <a:lnTo>
                    <a:pt x="264" y="348"/>
                  </a:lnTo>
                  <a:lnTo>
                    <a:pt x="264" y="348"/>
                  </a:lnTo>
                  <a:lnTo>
                    <a:pt x="262" y="348"/>
                  </a:lnTo>
                  <a:lnTo>
                    <a:pt x="260" y="348"/>
                  </a:lnTo>
                  <a:lnTo>
                    <a:pt x="260" y="348"/>
                  </a:lnTo>
                  <a:lnTo>
                    <a:pt x="258" y="348"/>
                  </a:lnTo>
                  <a:lnTo>
                    <a:pt x="258" y="348"/>
                  </a:lnTo>
                  <a:lnTo>
                    <a:pt x="258" y="348"/>
                  </a:lnTo>
                  <a:lnTo>
                    <a:pt x="258" y="348"/>
                  </a:lnTo>
                  <a:lnTo>
                    <a:pt x="258" y="350"/>
                  </a:lnTo>
                  <a:lnTo>
                    <a:pt x="256" y="350"/>
                  </a:lnTo>
                  <a:lnTo>
                    <a:pt x="256" y="353"/>
                  </a:lnTo>
                  <a:lnTo>
                    <a:pt x="256" y="353"/>
                  </a:lnTo>
                  <a:lnTo>
                    <a:pt x="254" y="353"/>
                  </a:lnTo>
                  <a:lnTo>
                    <a:pt x="254" y="353"/>
                  </a:lnTo>
                  <a:lnTo>
                    <a:pt x="254" y="355"/>
                  </a:lnTo>
                  <a:lnTo>
                    <a:pt x="254" y="355"/>
                  </a:lnTo>
                  <a:lnTo>
                    <a:pt x="252" y="355"/>
                  </a:lnTo>
                  <a:lnTo>
                    <a:pt x="254" y="357"/>
                  </a:lnTo>
                  <a:lnTo>
                    <a:pt x="254" y="357"/>
                  </a:lnTo>
                  <a:lnTo>
                    <a:pt x="254" y="359"/>
                  </a:lnTo>
                  <a:lnTo>
                    <a:pt x="254" y="359"/>
                  </a:lnTo>
                  <a:lnTo>
                    <a:pt x="254" y="359"/>
                  </a:lnTo>
                  <a:lnTo>
                    <a:pt x="256" y="361"/>
                  </a:lnTo>
                  <a:lnTo>
                    <a:pt x="256" y="363"/>
                  </a:lnTo>
                  <a:lnTo>
                    <a:pt x="256" y="363"/>
                  </a:lnTo>
                  <a:lnTo>
                    <a:pt x="256" y="365"/>
                  </a:lnTo>
                  <a:lnTo>
                    <a:pt x="256" y="365"/>
                  </a:lnTo>
                  <a:lnTo>
                    <a:pt x="256" y="365"/>
                  </a:lnTo>
                  <a:lnTo>
                    <a:pt x="256" y="367"/>
                  </a:lnTo>
                  <a:lnTo>
                    <a:pt x="256" y="367"/>
                  </a:lnTo>
                  <a:lnTo>
                    <a:pt x="256" y="367"/>
                  </a:lnTo>
                  <a:lnTo>
                    <a:pt x="256" y="367"/>
                  </a:lnTo>
                  <a:lnTo>
                    <a:pt x="256" y="367"/>
                  </a:lnTo>
                  <a:lnTo>
                    <a:pt x="254" y="369"/>
                  </a:lnTo>
                  <a:lnTo>
                    <a:pt x="252" y="369"/>
                  </a:lnTo>
                  <a:lnTo>
                    <a:pt x="252" y="371"/>
                  </a:lnTo>
                  <a:lnTo>
                    <a:pt x="252" y="371"/>
                  </a:lnTo>
                  <a:lnTo>
                    <a:pt x="252" y="371"/>
                  </a:lnTo>
                  <a:lnTo>
                    <a:pt x="252" y="373"/>
                  </a:lnTo>
                  <a:lnTo>
                    <a:pt x="252" y="373"/>
                  </a:lnTo>
                  <a:lnTo>
                    <a:pt x="252" y="373"/>
                  </a:lnTo>
                  <a:lnTo>
                    <a:pt x="252" y="375"/>
                  </a:lnTo>
                  <a:lnTo>
                    <a:pt x="252" y="375"/>
                  </a:lnTo>
                  <a:lnTo>
                    <a:pt x="250" y="375"/>
                  </a:lnTo>
                  <a:lnTo>
                    <a:pt x="250" y="377"/>
                  </a:lnTo>
                  <a:lnTo>
                    <a:pt x="250" y="377"/>
                  </a:lnTo>
                  <a:lnTo>
                    <a:pt x="252" y="377"/>
                  </a:lnTo>
                  <a:lnTo>
                    <a:pt x="254" y="377"/>
                  </a:lnTo>
                  <a:lnTo>
                    <a:pt x="256" y="379"/>
                  </a:lnTo>
                  <a:lnTo>
                    <a:pt x="258" y="379"/>
                  </a:lnTo>
                  <a:lnTo>
                    <a:pt x="260" y="381"/>
                  </a:lnTo>
                  <a:lnTo>
                    <a:pt x="260" y="381"/>
                  </a:lnTo>
                  <a:lnTo>
                    <a:pt x="260" y="381"/>
                  </a:lnTo>
                  <a:lnTo>
                    <a:pt x="260" y="383"/>
                  </a:lnTo>
                  <a:lnTo>
                    <a:pt x="260" y="383"/>
                  </a:lnTo>
                  <a:lnTo>
                    <a:pt x="262" y="383"/>
                  </a:lnTo>
                  <a:lnTo>
                    <a:pt x="264" y="385"/>
                  </a:lnTo>
                  <a:lnTo>
                    <a:pt x="264" y="387"/>
                  </a:lnTo>
                  <a:lnTo>
                    <a:pt x="264" y="387"/>
                  </a:lnTo>
                  <a:lnTo>
                    <a:pt x="266" y="387"/>
                  </a:lnTo>
                  <a:lnTo>
                    <a:pt x="266" y="387"/>
                  </a:lnTo>
                  <a:lnTo>
                    <a:pt x="268" y="387"/>
                  </a:lnTo>
                  <a:lnTo>
                    <a:pt x="268" y="387"/>
                  </a:lnTo>
                  <a:lnTo>
                    <a:pt x="268" y="387"/>
                  </a:lnTo>
                  <a:lnTo>
                    <a:pt x="270" y="387"/>
                  </a:lnTo>
                  <a:lnTo>
                    <a:pt x="272" y="387"/>
                  </a:lnTo>
                  <a:lnTo>
                    <a:pt x="272" y="387"/>
                  </a:lnTo>
                  <a:lnTo>
                    <a:pt x="272" y="387"/>
                  </a:lnTo>
                  <a:lnTo>
                    <a:pt x="272" y="385"/>
                  </a:lnTo>
                  <a:lnTo>
                    <a:pt x="274" y="383"/>
                  </a:lnTo>
                  <a:lnTo>
                    <a:pt x="274" y="383"/>
                  </a:lnTo>
                  <a:lnTo>
                    <a:pt x="274" y="383"/>
                  </a:lnTo>
                  <a:lnTo>
                    <a:pt x="274" y="383"/>
                  </a:lnTo>
                  <a:lnTo>
                    <a:pt x="274" y="383"/>
                  </a:lnTo>
                  <a:lnTo>
                    <a:pt x="276" y="383"/>
                  </a:lnTo>
                  <a:lnTo>
                    <a:pt x="276" y="383"/>
                  </a:lnTo>
                  <a:lnTo>
                    <a:pt x="278" y="383"/>
                  </a:lnTo>
                  <a:lnTo>
                    <a:pt x="278" y="383"/>
                  </a:lnTo>
                  <a:lnTo>
                    <a:pt x="278" y="383"/>
                  </a:lnTo>
                  <a:lnTo>
                    <a:pt x="280" y="381"/>
                  </a:lnTo>
                  <a:lnTo>
                    <a:pt x="285" y="381"/>
                  </a:lnTo>
                  <a:lnTo>
                    <a:pt x="285" y="381"/>
                  </a:lnTo>
                  <a:lnTo>
                    <a:pt x="285" y="381"/>
                  </a:lnTo>
                  <a:lnTo>
                    <a:pt x="285" y="379"/>
                  </a:lnTo>
                  <a:lnTo>
                    <a:pt x="285" y="379"/>
                  </a:lnTo>
                  <a:lnTo>
                    <a:pt x="287" y="379"/>
                  </a:lnTo>
                  <a:lnTo>
                    <a:pt x="287" y="379"/>
                  </a:lnTo>
                  <a:lnTo>
                    <a:pt x="287" y="377"/>
                  </a:lnTo>
                  <a:lnTo>
                    <a:pt x="289" y="377"/>
                  </a:lnTo>
                  <a:lnTo>
                    <a:pt x="289" y="377"/>
                  </a:lnTo>
                  <a:lnTo>
                    <a:pt x="289" y="377"/>
                  </a:lnTo>
                  <a:lnTo>
                    <a:pt x="289" y="375"/>
                  </a:lnTo>
                  <a:lnTo>
                    <a:pt x="289" y="375"/>
                  </a:lnTo>
                  <a:lnTo>
                    <a:pt x="291" y="375"/>
                  </a:lnTo>
                  <a:lnTo>
                    <a:pt x="291" y="375"/>
                  </a:lnTo>
                  <a:lnTo>
                    <a:pt x="291" y="375"/>
                  </a:lnTo>
                  <a:lnTo>
                    <a:pt x="291" y="373"/>
                  </a:lnTo>
                  <a:lnTo>
                    <a:pt x="293" y="373"/>
                  </a:lnTo>
                  <a:lnTo>
                    <a:pt x="295" y="373"/>
                  </a:lnTo>
                  <a:lnTo>
                    <a:pt x="295" y="373"/>
                  </a:lnTo>
                  <a:lnTo>
                    <a:pt x="295" y="373"/>
                  </a:lnTo>
                  <a:lnTo>
                    <a:pt x="295" y="373"/>
                  </a:lnTo>
                  <a:lnTo>
                    <a:pt x="295" y="371"/>
                  </a:lnTo>
                  <a:lnTo>
                    <a:pt x="295" y="371"/>
                  </a:lnTo>
                  <a:lnTo>
                    <a:pt x="295" y="371"/>
                  </a:lnTo>
                  <a:lnTo>
                    <a:pt x="295" y="371"/>
                  </a:lnTo>
                  <a:lnTo>
                    <a:pt x="295" y="369"/>
                  </a:lnTo>
                  <a:lnTo>
                    <a:pt x="295" y="369"/>
                  </a:lnTo>
                  <a:lnTo>
                    <a:pt x="295" y="369"/>
                  </a:lnTo>
                  <a:lnTo>
                    <a:pt x="295" y="369"/>
                  </a:lnTo>
                  <a:lnTo>
                    <a:pt x="295" y="369"/>
                  </a:lnTo>
                  <a:lnTo>
                    <a:pt x="297" y="369"/>
                  </a:lnTo>
                  <a:lnTo>
                    <a:pt x="297" y="369"/>
                  </a:lnTo>
                  <a:lnTo>
                    <a:pt x="301" y="371"/>
                  </a:lnTo>
                  <a:lnTo>
                    <a:pt x="303" y="373"/>
                  </a:lnTo>
                  <a:lnTo>
                    <a:pt x="303" y="375"/>
                  </a:lnTo>
                  <a:lnTo>
                    <a:pt x="303" y="375"/>
                  </a:lnTo>
                  <a:lnTo>
                    <a:pt x="303" y="375"/>
                  </a:lnTo>
                  <a:lnTo>
                    <a:pt x="303" y="377"/>
                  </a:lnTo>
                  <a:lnTo>
                    <a:pt x="303" y="377"/>
                  </a:lnTo>
                  <a:lnTo>
                    <a:pt x="307" y="379"/>
                  </a:lnTo>
                  <a:lnTo>
                    <a:pt x="309" y="379"/>
                  </a:lnTo>
                  <a:lnTo>
                    <a:pt x="309" y="379"/>
                  </a:lnTo>
                  <a:lnTo>
                    <a:pt x="309" y="381"/>
                  </a:lnTo>
                  <a:lnTo>
                    <a:pt x="309" y="381"/>
                  </a:lnTo>
                  <a:lnTo>
                    <a:pt x="309" y="381"/>
                  </a:lnTo>
                  <a:lnTo>
                    <a:pt x="309" y="383"/>
                  </a:lnTo>
                  <a:lnTo>
                    <a:pt x="309" y="383"/>
                  </a:lnTo>
                  <a:lnTo>
                    <a:pt x="309" y="383"/>
                  </a:lnTo>
                  <a:lnTo>
                    <a:pt x="309" y="385"/>
                  </a:lnTo>
                  <a:lnTo>
                    <a:pt x="307" y="385"/>
                  </a:lnTo>
                  <a:lnTo>
                    <a:pt x="307" y="387"/>
                  </a:lnTo>
                  <a:lnTo>
                    <a:pt x="307" y="387"/>
                  </a:lnTo>
                  <a:lnTo>
                    <a:pt x="307" y="387"/>
                  </a:lnTo>
                  <a:lnTo>
                    <a:pt x="307" y="389"/>
                  </a:lnTo>
                  <a:lnTo>
                    <a:pt x="311" y="389"/>
                  </a:lnTo>
                  <a:lnTo>
                    <a:pt x="311" y="391"/>
                  </a:lnTo>
                  <a:lnTo>
                    <a:pt x="311" y="391"/>
                  </a:lnTo>
                  <a:lnTo>
                    <a:pt x="311" y="391"/>
                  </a:lnTo>
                  <a:lnTo>
                    <a:pt x="311" y="391"/>
                  </a:lnTo>
                  <a:lnTo>
                    <a:pt x="311" y="394"/>
                  </a:lnTo>
                  <a:lnTo>
                    <a:pt x="311" y="396"/>
                  </a:lnTo>
                  <a:lnTo>
                    <a:pt x="311" y="396"/>
                  </a:lnTo>
                  <a:lnTo>
                    <a:pt x="309" y="396"/>
                  </a:lnTo>
                  <a:lnTo>
                    <a:pt x="309" y="398"/>
                  </a:lnTo>
                  <a:lnTo>
                    <a:pt x="309" y="398"/>
                  </a:lnTo>
                  <a:lnTo>
                    <a:pt x="309" y="398"/>
                  </a:lnTo>
                  <a:lnTo>
                    <a:pt x="309" y="398"/>
                  </a:lnTo>
                  <a:lnTo>
                    <a:pt x="309" y="400"/>
                  </a:lnTo>
                  <a:lnTo>
                    <a:pt x="309" y="400"/>
                  </a:lnTo>
                  <a:lnTo>
                    <a:pt x="309" y="402"/>
                  </a:lnTo>
                  <a:lnTo>
                    <a:pt x="311" y="404"/>
                  </a:lnTo>
                  <a:lnTo>
                    <a:pt x="313" y="404"/>
                  </a:lnTo>
                  <a:lnTo>
                    <a:pt x="313" y="404"/>
                  </a:lnTo>
                  <a:lnTo>
                    <a:pt x="313" y="406"/>
                  </a:lnTo>
                  <a:lnTo>
                    <a:pt x="311" y="408"/>
                  </a:lnTo>
                  <a:lnTo>
                    <a:pt x="311" y="410"/>
                  </a:lnTo>
                  <a:lnTo>
                    <a:pt x="311" y="410"/>
                  </a:lnTo>
                  <a:lnTo>
                    <a:pt x="311" y="412"/>
                  </a:lnTo>
                  <a:lnTo>
                    <a:pt x="311" y="412"/>
                  </a:lnTo>
                  <a:lnTo>
                    <a:pt x="311" y="412"/>
                  </a:lnTo>
                  <a:lnTo>
                    <a:pt x="313" y="412"/>
                  </a:lnTo>
                  <a:lnTo>
                    <a:pt x="313" y="414"/>
                  </a:lnTo>
                  <a:lnTo>
                    <a:pt x="315" y="414"/>
                  </a:lnTo>
                  <a:lnTo>
                    <a:pt x="315" y="416"/>
                  </a:lnTo>
                  <a:lnTo>
                    <a:pt x="315" y="416"/>
                  </a:lnTo>
                  <a:lnTo>
                    <a:pt x="315" y="418"/>
                  </a:lnTo>
                  <a:lnTo>
                    <a:pt x="315" y="418"/>
                  </a:lnTo>
                  <a:lnTo>
                    <a:pt x="315" y="418"/>
                  </a:lnTo>
                  <a:lnTo>
                    <a:pt x="317" y="420"/>
                  </a:lnTo>
                  <a:lnTo>
                    <a:pt x="317" y="422"/>
                  </a:lnTo>
                  <a:lnTo>
                    <a:pt x="319" y="422"/>
                  </a:lnTo>
                  <a:lnTo>
                    <a:pt x="319" y="424"/>
                  </a:lnTo>
                  <a:lnTo>
                    <a:pt x="319" y="424"/>
                  </a:lnTo>
                  <a:lnTo>
                    <a:pt x="319" y="426"/>
                  </a:lnTo>
                  <a:lnTo>
                    <a:pt x="321" y="426"/>
                  </a:lnTo>
                  <a:lnTo>
                    <a:pt x="321" y="426"/>
                  </a:lnTo>
                  <a:lnTo>
                    <a:pt x="321" y="428"/>
                  </a:lnTo>
                  <a:lnTo>
                    <a:pt x="321" y="428"/>
                  </a:lnTo>
                  <a:lnTo>
                    <a:pt x="321" y="428"/>
                  </a:lnTo>
                  <a:lnTo>
                    <a:pt x="321" y="430"/>
                  </a:lnTo>
                  <a:lnTo>
                    <a:pt x="321" y="430"/>
                  </a:lnTo>
                  <a:lnTo>
                    <a:pt x="321" y="430"/>
                  </a:lnTo>
                  <a:lnTo>
                    <a:pt x="321" y="432"/>
                  </a:lnTo>
                  <a:lnTo>
                    <a:pt x="321" y="432"/>
                  </a:lnTo>
                  <a:lnTo>
                    <a:pt x="323" y="432"/>
                  </a:lnTo>
                  <a:lnTo>
                    <a:pt x="325" y="432"/>
                  </a:lnTo>
                  <a:lnTo>
                    <a:pt x="325" y="432"/>
                  </a:lnTo>
                  <a:lnTo>
                    <a:pt x="325" y="435"/>
                  </a:lnTo>
                  <a:lnTo>
                    <a:pt x="325" y="437"/>
                  </a:lnTo>
                  <a:lnTo>
                    <a:pt x="325" y="437"/>
                  </a:lnTo>
                  <a:lnTo>
                    <a:pt x="328" y="441"/>
                  </a:lnTo>
                  <a:lnTo>
                    <a:pt x="330" y="441"/>
                  </a:lnTo>
                  <a:lnTo>
                    <a:pt x="330" y="445"/>
                  </a:lnTo>
                  <a:lnTo>
                    <a:pt x="330" y="445"/>
                  </a:lnTo>
                  <a:lnTo>
                    <a:pt x="330" y="447"/>
                  </a:lnTo>
                  <a:lnTo>
                    <a:pt x="330" y="447"/>
                  </a:lnTo>
                  <a:lnTo>
                    <a:pt x="330" y="447"/>
                  </a:lnTo>
                  <a:lnTo>
                    <a:pt x="330" y="449"/>
                  </a:lnTo>
                  <a:lnTo>
                    <a:pt x="330" y="451"/>
                  </a:lnTo>
                  <a:lnTo>
                    <a:pt x="328" y="451"/>
                  </a:lnTo>
                  <a:lnTo>
                    <a:pt x="328" y="451"/>
                  </a:lnTo>
                  <a:lnTo>
                    <a:pt x="328" y="451"/>
                  </a:lnTo>
                  <a:lnTo>
                    <a:pt x="325" y="453"/>
                  </a:lnTo>
                  <a:lnTo>
                    <a:pt x="325" y="453"/>
                  </a:lnTo>
                  <a:lnTo>
                    <a:pt x="325" y="453"/>
                  </a:lnTo>
                  <a:lnTo>
                    <a:pt x="325" y="453"/>
                  </a:lnTo>
                  <a:lnTo>
                    <a:pt x="325" y="453"/>
                  </a:lnTo>
                  <a:lnTo>
                    <a:pt x="325" y="455"/>
                  </a:lnTo>
                  <a:lnTo>
                    <a:pt x="325" y="455"/>
                  </a:lnTo>
                  <a:lnTo>
                    <a:pt x="328" y="455"/>
                  </a:lnTo>
                  <a:lnTo>
                    <a:pt x="328" y="457"/>
                  </a:lnTo>
                  <a:lnTo>
                    <a:pt x="328" y="459"/>
                  </a:lnTo>
                  <a:lnTo>
                    <a:pt x="328" y="461"/>
                  </a:lnTo>
                  <a:lnTo>
                    <a:pt x="328" y="461"/>
                  </a:lnTo>
                  <a:lnTo>
                    <a:pt x="330" y="463"/>
                  </a:lnTo>
                  <a:lnTo>
                    <a:pt x="334" y="465"/>
                  </a:lnTo>
                  <a:lnTo>
                    <a:pt x="334" y="465"/>
                  </a:lnTo>
                  <a:lnTo>
                    <a:pt x="334" y="465"/>
                  </a:lnTo>
                  <a:lnTo>
                    <a:pt x="334" y="467"/>
                  </a:lnTo>
                  <a:lnTo>
                    <a:pt x="334" y="469"/>
                  </a:lnTo>
                  <a:lnTo>
                    <a:pt x="336" y="469"/>
                  </a:lnTo>
                  <a:lnTo>
                    <a:pt x="336" y="469"/>
                  </a:lnTo>
                  <a:lnTo>
                    <a:pt x="338" y="469"/>
                  </a:lnTo>
                  <a:lnTo>
                    <a:pt x="338" y="469"/>
                  </a:lnTo>
                  <a:lnTo>
                    <a:pt x="338" y="469"/>
                  </a:lnTo>
                  <a:lnTo>
                    <a:pt x="340" y="467"/>
                  </a:lnTo>
                  <a:lnTo>
                    <a:pt x="340" y="467"/>
                  </a:lnTo>
                  <a:lnTo>
                    <a:pt x="342" y="467"/>
                  </a:lnTo>
                  <a:lnTo>
                    <a:pt x="342" y="467"/>
                  </a:lnTo>
                  <a:lnTo>
                    <a:pt x="344" y="467"/>
                  </a:lnTo>
                  <a:lnTo>
                    <a:pt x="346" y="467"/>
                  </a:lnTo>
                  <a:lnTo>
                    <a:pt x="346" y="469"/>
                  </a:lnTo>
                  <a:lnTo>
                    <a:pt x="348" y="471"/>
                  </a:lnTo>
                  <a:lnTo>
                    <a:pt x="350" y="473"/>
                  </a:lnTo>
                  <a:lnTo>
                    <a:pt x="350" y="473"/>
                  </a:lnTo>
                  <a:lnTo>
                    <a:pt x="350" y="475"/>
                  </a:lnTo>
                  <a:lnTo>
                    <a:pt x="352" y="475"/>
                  </a:lnTo>
                  <a:lnTo>
                    <a:pt x="352" y="478"/>
                  </a:lnTo>
                  <a:lnTo>
                    <a:pt x="352" y="478"/>
                  </a:lnTo>
                  <a:lnTo>
                    <a:pt x="352" y="478"/>
                  </a:lnTo>
                  <a:lnTo>
                    <a:pt x="352" y="478"/>
                  </a:lnTo>
                  <a:lnTo>
                    <a:pt x="352" y="480"/>
                  </a:lnTo>
                  <a:lnTo>
                    <a:pt x="352" y="480"/>
                  </a:lnTo>
                  <a:lnTo>
                    <a:pt x="352" y="480"/>
                  </a:lnTo>
                  <a:lnTo>
                    <a:pt x="354" y="480"/>
                  </a:lnTo>
                  <a:lnTo>
                    <a:pt x="354" y="482"/>
                  </a:lnTo>
                  <a:lnTo>
                    <a:pt x="354" y="482"/>
                  </a:lnTo>
                  <a:lnTo>
                    <a:pt x="354" y="482"/>
                  </a:lnTo>
                  <a:lnTo>
                    <a:pt x="354" y="484"/>
                  </a:lnTo>
                  <a:lnTo>
                    <a:pt x="354" y="484"/>
                  </a:lnTo>
                  <a:lnTo>
                    <a:pt x="356" y="486"/>
                  </a:lnTo>
                  <a:lnTo>
                    <a:pt x="356" y="486"/>
                  </a:lnTo>
                  <a:lnTo>
                    <a:pt x="356" y="488"/>
                  </a:lnTo>
                  <a:lnTo>
                    <a:pt x="356" y="488"/>
                  </a:lnTo>
                  <a:lnTo>
                    <a:pt x="356" y="488"/>
                  </a:lnTo>
                  <a:lnTo>
                    <a:pt x="356" y="488"/>
                  </a:lnTo>
                  <a:lnTo>
                    <a:pt x="356" y="490"/>
                  </a:lnTo>
                  <a:lnTo>
                    <a:pt x="354" y="490"/>
                  </a:lnTo>
                  <a:lnTo>
                    <a:pt x="354" y="490"/>
                  </a:lnTo>
                  <a:lnTo>
                    <a:pt x="354" y="490"/>
                  </a:lnTo>
                  <a:lnTo>
                    <a:pt x="354" y="490"/>
                  </a:lnTo>
                  <a:lnTo>
                    <a:pt x="354" y="492"/>
                  </a:lnTo>
                  <a:lnTo>
                    <a:pt x="354" y="492"/>
                  </a:lnTo>
                  <a:lnTo>
                    <a:pt x="356" y="494"/>
                  </a:lnTo>
                  <a:lnTo>
                    <a:pt x="356" y="494"/>
                  </a:lnTo>
                  <a:lnTo>
                    <a:pt x="356" y="496"/>
                  </a:lnTo>
                  <a:lnTo>
                    <a:pt x="356" y="496"/>
                  </a:lnTo>
                  <a:lnTo>
                    <a:pt x="356" y="496"/>
                  </a:lnTo>
                  <a:lnTo>
                    <a:pt x="356" y="498"/>
                  </a:lnTo>
                  <a:lnTo>
                    <a:pt x="358" y="498"/>
                  </a:lnTo>
                  <a:lnTo>
                    <a:pt x="358" y="498"/>
                  </a:lnTo>
                  <a:lnTo>
                    <a:pt x="358" y="500"/>
                  </a:lnTo>
                  <a:lnTo>
                    <a:pt x="358" y="500"/>
                  </a:lnTo>
                  <a:lnTo>
                    <a:pt x="358" y="502"/>
                  </a:lnTo>
                  <a:lnTo>
                    <a:pt x="356" y="502"/>
                  </a:lnTo>
                  <a:lnTo>
                    <a:pt x="356" y="502"/>
                  </a:lnTo>
                  <a:lnTo>
                    <a:pt x="356" y="504"/>
                  </a:lnTo>
                  <a:lnTo>
                    <a:pt x="358" y="504"/>
                  </a:lnTo>
                  <a:lnTo>
                    <a:pt x="358" y="504"/>
                  </a:lnTo>
                  <a:lnTo>
                    <a:pt x="358" y="506"/>
                  </a:lnTo>
                  <a:lnTo>
                    <a:pt x="358" y="506"/>
                  </a:lnTo>
                  <a:lnTo>
                    <a:pt x="358" y="508"/>
                  </a:lnTo>
                  <a:lnTo>
                    <a:pt x="360" y="508"/>
                  </a:lnTo>
                  <a:lnTo>
                    <a:pt x="360" y="508"/>
                  </a:lnTo>
                  <a:lnTo>
                    <a:pt x="360" y="508"/>
                  </a:lnTo>
                  <a:lnTo>
                    <a:pt x="362" y="510"/>
                  </a:lnTo>
                  <a:lnTo>
                    <a:pt x="362" y="510"/>
                  </a:lnTo>
                  <a:lnTo>
                    <a:pt x="362" y="512"/>
                  </a:lnTo>
                  <a:lnTo>
                    <a:pt x="366" y="512"/>
                  </a:lnTo>
                  <a:lnTo>
                    <a:pt x="366" y="514"/>
                  </a:lnTo>
                  <a:lnTo>
                    <a:pt x="366" y="514"/>
                  </a:lnTo>
                  <a:lnTo>
                    <a:pt x="369" y="516"/>
                  </a:lnTo>
                  <a:lnTo>
                    <a:pt x="369" y="516"/>
                  </a:lnTo>
                  <a:lnTo>
                    <a:pt x="371" y="516"/>
                  </a:lnTo>
                  <a:lnTo>
                    <a:pt x="371" y="516"/>
                  </a:lnTo>
                  <a:lnTo>
                    <a:pt x="371" y="516"/>
                  </a:lnTo>
                  <a:lnTo>
                    <a:pt x="371" y="516"/>
                  </a:lnTo>
                  <a:lnTo>
                    <a:pt x="371" y="512"/>
                  </a:lnTo>
                  <a:lnTo>
                    <a:pt x="371" y="512"/>
                  </a:lnTo>
                  <a:lnTo>
                    <a:pt x="371" y="512"/>
                  </a:lnTo>
                  <a:lnTo>
                    <a:pt x="371" y="512"/>
                  </a:lnTo>
                  <a:lnTo>
                    <a:pt x="371" y="510"/>
                  </a:lnTo>
                  <a:lnTo>
                    <a:pt x="371" y="510"/>
                  </a:lnTo>
                  <a:lnTo>
                    <a:pt x="373" y="510"/>
                  </a:lnTo>
                  <a:lnTo>
                    <a:pt x="377" y="506"/>
                  </a:lnTo>
                  <a:lnTo>
                    <a:pt x="377" y="506"/>
                  </a:lnTo>
                  <a:lnTo>
                    <a:pt x="379" y="506"/>
                  </a:lnTo>
                  <a:lnTo>
                    <a:pt x="381" y="506"/>
                  </a:lnTo>
                  <a:lnTo>
                    <a:pt x="381" y="504"/>
                  </a:lnTo>
                  <a:lnTo>
                    <a:pt x="383" y="504"/>
                  </a:lnTo>
                  <a:lnTo>
                    <a:pt x="383" y="504"/>
                  </a:lnTo>
                  <a:lnTo>
                    <a:pt x="385" y="506"/>
                  </a:lnTo>
                  <a:lnTo>
                    <a:pt x="395" y="508"/>
                  </a:lnTo>
                  <a:lnTo>
                    <a:pt x="395" y="508"/>
                  </a:lnTo>
                  <a:lnTo>
                    <a:pt x="395" y="508"/>
                  </a:lnTo>
                  <a:lnTo>
                    <a:pt x="397" y="510"/>
                  </a:lnTo>
                  <a:lnTo>
                    <a:pt x="397" y="510"/>
                  </a:lnTo>
                  <a:lnTo>
                    <a:pt x="399" y="510"/>
                  </a:lnTo>
                  <a:lnTo>
                    <a:pt x="401" y="510"/>
                  </a:lnTo>
                  <a:lnTo>
                    <a:pt x="401" y="510"/>
                  </a:lnTo>
                  <a:lnTo>
                    <a:pt x="403" y="510"/>
                  </a:lnTo>
                  <a:lnTo>
                    <a:pt x="403" y="512"/>
                  </a:lnTo>
                  <a:lnTo>
                    <a:pt x="403" y="512"/>
                  </a:lnTo>
                  <a:lnTo>
                    <a:pt x="403" y="512"/>
                  </a:lnTo>
                  <a:lnTo>
                    <a:pt x="405" y="512"/>
                  </a:lnTo>
                  <a:lnTo>
                    <a:pt x="405" y="512"/>
                  </a:lnTo>
                  <a:lnTo>
                    <a:pt x="407" y="512"/>
                  </a:lnTo>
                  <a:lnTo>
                    <a:pt x="407" y="512"/>
                  </a:lnTo>
                  <a:lnTo>
                    <a:pt x="407" y="512"/>
                  </a:lnTo>
                  <a:lnTo>
                    <a:pt x="409" y="508"/>
                  </a:lnTo>
                  <a:lnTo>
                    <a:pt x="409" y="506"/>
                  </a:lnTo>
                  <a:lnTo>
                    <a:pt x="412" y="506"/>
                  </a:lnTo>
                  <a:lnTo>
                    <a:pt x="412" y="504"/>
                  </a:lnTo>
                  <a:lnTo>
                    <a:pt x="412" y="504"/>
                  </a:lnTo>
                  <a:lnTo>
                    <a:pt x="414" y="504"/>
                  </a:lnTo>
                  <a:lnTo>
                    <a:pt x="414" y="504"/>
                  </a:lnTo>
                  <a:lnTo>
                    <a:pt x="416" y="504"/>
                  </a:lnTo>
                  <a:lnTo>
                    <a:pt x="416" y="504"/>
                  </a:lnTo>
                  <a:lnTo>
                    <a:pt x="418" y="504"/>
                  </a:lnTo>
                  <a:lnTo>
                    <a:pt x="418" y="502"/>
                  </a:lnTo>
                  <a:lnTo>
                    <a:pt x="418" y="502"/>
                  </a:lnTo>
                  <a:lnTo>
                    <a:pt x="420" y="502"/>
                  </a:lnTo>
                  <a:lnTo>
                    <a:pt x="420" y="502"/>
                  </a:lnTo>
                  <a:lnTo>
                    <a:pt x="422" y="504"/>
                  </a:lnTo>
                  <a:lnTo>
                    <a:pt x="422" y="504"/>
                  </a:lnTo>
                  <a:lnTo>
                    <a:pt x="422" y="504"/>
                  </a:lnTo>
                  <a:lnTo>
                    <a:pt x="424" y="504"/>
                  </a:lnTo>
                  <a:lnTo>
                    <a:pt x="426" y="504"/>
                  </a:lnTo>
                  <a:lnTo>
                    <a:pt x="428" y="506"/>
                  </a:lnTo>
                  <a:lnTo>
                    <a:pt x="430" y="506"/>
                  </a:lnTo>
                  <a:lnTo>
                    <a:pt x="430" y="506"/>
                  </a:lnTo>
                  <a:lnTo>
                    <a:pt x="438" y="506"/>
                  </a:lnTo>
                  <a:lnTo>
                    <a:pt x="440" y="506"/>
                  </a:lnTo>
                  <a:lnTo>
                    <a:pt x="440" y="506"/>
                  </a:lnTo>
                  <a:lnTo>
                    <a:pt x="442" y="506"/>
                  </a:lnTo>
                  <a:lnTo>
                    <a:pt x="442" y="506"/>
                  </a:lnTo>
                  <a:lnTo>
                    <a:pt x="442" y="506"/>
                  </a:lnTo>
                  <a:lnTo>
                    <a:pt x="444" y="506"/>
                  </a:lnTo>
                  <a:lnTo>
                    <a:pt x="444" y="506"/>
                  </a:lnTo>
                  <a:lnTo>
                    <a:pt x="448" y="506"/>
                  </a:lnTo>
                  <a:lnTo>
                    <a:pt x="448" y="506"/>
                  </a:lnTo>
                  <a:lnTo>
                    <a:pt x="450" y="508"/>
                  </a:lnTo>
                  <a:lnTo>
                    <a:pt x="450" y="508"/>
                  </a:lnTo>
                  <a:lnTo>
                    <a:pt x="450" y="508"/>
                  </a:lnTo>
                  <a:lnTo>
                    <a:pt x="450" y="510"/>
                  </a:lnTo>
                  <a:lnTo>
                    <a:pt x="450" y="510"/>
                  </a:lnTo>
                  <a:lnTo>
                    <a:pt x="452" y="510"/>
                  </a:lnTo>
                  <a:lnTo>
                    <a:pt x="452" y="510"/>
                  </a:lnTo>
                  <a:lnTo>
                    <a:pt x="452" y="510"/>
                  </a:lnTo>
                  <a:lnTo>
                    <a:pt x="455" y="510"/>
                  </a:lnTo>
                  <a:lnTo>
                    <a:pt x="455" y="510"/>
                  </a:lnTo>
                  <a:lnTo>
                    <a:pt x="457" y="510"/>
                  </a:lnTo>
                  <a:lnTo>
                    <a:pt x="459" y="510"/>
                  </a:lnTo>
                  <a:lnTo>
                    <a:pt x="459" y="510"/>
                  </a:lnTo>
                  <a:lnTo>
                    <a:pt x="463" y="508"/>
                  </a:lnTo>
                  <a:lnTo>
                    <a:pt x="463" y="508"/>
                  </a:lnTo>
                  <a:lnTo>
                    <a:pt x="473" y="508"/>
                  </a:lnTo>
                  <a:lnTo>
                    <a:pt x="473" y="508"/>
                  </a:lnTo>
                  <a:lnTo>
                    <a:pt x="475" y="510"/>
                  </a:lnTo>
                  <a:lnTo>
                    <a:pt x="477" y="510"/>
                  </a:lnTo>
                  <a:lnTo>
                    <a:pt x="477" y="510"/>
                  </a:lnTo>
                  <a:lnTo>
                    <a:pt x="477" y="510"/>
                  </a:lnTo>
                  <a:lnTo>
                    <a:pt x="479" y="510"/>
                  </a:lnTo>
                  <a:lnTo>
                    <a:pt x="479" y="510"/>
                  </a:lnTo>
                  <a:lnTo>
                    <a:pt x="481" y="510"/>
                  </a:lnTo>
                  <a:lnTo>
                    <a:pt x="481" y="510"/>
                  </a:lnTo>
                  <a:lnTo>
                    <a:pt x="481" y="510"/>
                  </a:lnTo>
                  <a:lnTo>
                    <a:pt x="479" y="510"/>
                  </a:lnTo>
                  <a:lnTo>
                    <a:pt x="477" y="508"/>
                  </a:lnTo>
                  <a:lnTo>
                    <a:pt x="477" y="508"/>
                  </a:lnTo>
                  <a:lnTo>
                    <a:pt x="477" y="508"/>
                  </a:lnTo>
                  <a:lnTo>
                    <a:pt x="477" y="508"/>
                  </a:lnTo>
                  <a:lnTo>
                    <a:pt x="477" y="508"/>
                  </a:lnTo>
                  <a:lnTo>
                    <a:pt x="477" y="506"/>
                  </a:lnTo>
                  <a:lnTo>
                    <a:pt x="477" y="506"/>
                  </a:lnTo>
                  <a:lnTo>
                    <a:pt x="477" y="506"/>
                  </a:lnTo>
                  <a:lnTo>
                    <a:pt x="477" y="504"/>
                  </a:lnTo>
                  <a:lnTo>
                    <a:pt x="477" y="504"/>
                  </a:lnTo>
                  <a:lnTo>
                    <a:pt x="477" y="504"/>
                  </a:lnTo>
                  <a:lnTo>
                    <a:pt x="477" y="502"/>
                  </a:lnTo>
                  <a:lnTo>
                    <a:pt x="477" y="502"/>
                  </a:lnTo>
                  <a:lnTo>
                    <a:pt x="479" y="500"/>
                  </a:lnTo>
                  <a:lnTo>
                    <a:pt x="479" y="500"/>
                  </a:lnTo>
                  <a:lnTo>
                    <a:pt x="479" y="500"/>
                  </a:lnTo>
                  <a:lnTo>
                    <a:pt x="481" y="500"/>
                  </a:lnTo>
                  <a:lnTo>
                    <a:pt x="481" y="500"/>
                  </a:lnTo>
                  <a:lnTo>
                    <a:pt x="481" y="498"/>
                  </a:lnTo>
                  <a:lnTo>
                    <a:pt x="481" y="498"/>
                  </a:lnTo>
                  <a:lnTo>
                    <a:pt x="481" y="498"/>
                  </a:lnTo>
                  <a:lnTo>
                    <a:pt x="481" y="498"/>
                  </a:lnTo>
                  <a:lnTo>
                    <a:pt x="481" y="496"/>
                  </a:lnTo>
                  <a:lnTo>
                    <a:pt x="481" y="496"/>
                  </a:lnTo>
                  <a:lnTo>
                    <a:pt x="481" y="496"/>
                  </a:lnTo>
                  <a:lnTo>
                    <a:pt x="481" y="496"/>
                  </a:lnTo>
                  <a:lnTo>
                    <a:pt x="481" y="494"/>
                  </a:lnTo>
                  <a:lnTo>
                    <a:pt x="481" y="494"/>
                  </a:lnTo>
                  <a:lnTo>
                    <a:pt x="481" y="494"/>
                  </a:lnTo>
                  <a:lnTo>
                    <a:pt x="483" y="494"/>
                  </a:lnTo>
                  <a:lnTo>
                    <a:pt x="483" y="492"/>
                  </a:lnTo>
                  <a:lnTo>
                    <a:pt x="483" y="492"/>
                  </a:lnTo>
                  <a:lnTo>
                    <a:pt x="485" y="492"/>
                  </a:lnTo>
                  <a:lnTo>
                    <a:pt x="487" y="492"/>
                  </a:lnTo>
                  <a:lnTo>
                    <a:pt x="487" y="492"/>
                  </a:lnTo>
                  <a:lnTo>
                    <a:pt x="489" y="490"/>
                  </a:lnTo>
                  <a:lnTo>
                    <a:pt x="489" y="490"/>
                  </a:lnTo>
                  <a:lnTo>
                    <a:pt x="489" y="490"/>
                  </a:lnTo>
                  <a:lnTo>
                    <a:pt x="491" y="490"/>
                  </a:lnTo>
                  <a:lnTo>
                    <a:pt x="493" y="492"/>
                  </a:lnTo>
                  <a:lnTo>
                    <a:pt x="493" y="494"/>
                  </a:lnTo>
                  <a:lnTo>
                    <a:pt x="493" y="496"/>
                  </a:lnTo>
                  <a:lnTo>
                    <a:pt x="498" y="500"/>
                  </a:lnTo>
                  <a:lnTo>
                    <a:pt x="498" y="502"/>
                  </a:lnTo>
                  <a:lnTo>
                    <a:pt x="498" y="502"/>
                  </a:lnTo>
                  <a:lnTo>
                    <a:pt x="500" y="502"/>
                  </a:lnTo>
                  <a:lnTo>
                    <a:pt x="500" y="502"/>
                  </a:lnTo>
                  <a:lnTo>
                    <a:pt x="500" y="504"/>
                  </a:lnTo>
                  <a:lnTo>
                    <a:pt x="500" y="504"/>
                  </a:lnTo>
                  <a:lnTo>
                    <a:pt x="500" y="504"/>
                  </a:lnTo>
                  <a:lnTo>
                    <a:pt x="500" y="506"/>
                  </a:lnTo>
                  <a:lnTo>
                    <a:pt x="500" y="506"/>
                  </a:lnTo>
                  <a:lnTo>
                    <a:pt x="500" y="508"/>
                  </a:lnTo>
                  <a:lnTo>
                    <a:pt x="500" y="508"/>
                  </a:lnTo>
                  <a:lnTo>
                    <a:pt x="500" y="508"/>
                  </a:lnTo>
                  <a:lnTo>
                    <a:pt x="500" y="508"/>
                  </a:lnTo>
                  <a:lnTo>
                    <a:pt x="502" y="510"/>
                  </a:lnTo>
                  <a:lnTo>
                    <a:pt x="502" y="510"/>
                  </a:lnTo>
                  <a:lnTo>
                    <a:pt x="504" y="510"/>
                  </a:lnTo>
                  <a:lnTo>
                    <a:pt x="504" y="512"/>
                  </a:lnTo>
                  <a:lnTo>
                    <a:pt x="506" y="514"/>
                  </a:lnTo>
                  <a:lnTo>
                    <a:pt x="508" y="516"/>
                  </a:lnTo>
                  <a:lnTo>
                    <a:pt x="508" y="519"/>
                  </a:lnTo>
                  <a:lnTo>
                    <a:pt x="512" y="521"/>
                  </a:lnTo>
                  <a:lnTo>
                    <a:pt x="512" y="521"/>
                  </a:lnTo>
                  <a:close/>
                </a:path>
              </a:pathLst>
            </a:custGeom>
            <a:solidFill>
              <a:schemeClr val="bg1">
                <a:lumMod val="50000"/>
              </a:schemeClr>
            </a:solidFill>
            <a:ln w="3175" cap="rnd">
              <a:solidFill>
                <a:schemeClr val="bg1"/>
              </a:solidFill>
              <a:prstDash val="solid"/>
              <a:round/>
              <a:headEnd/>
              <a:tailEnd/>
            </a:ln>
          </p:spPr>
          <p:txBody>
            <a:bodyPr vert="horz" wrap="square" lIns="0" tIns="0" rIns="0" bIns="240000" numCol="1" anchor="b"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ID</a:t>
              </a:r>
            </a:p>
          </p:txBody>
        </p:sp>
        <p:sp>
          <p:nvSpPr>
            <p:cNvPr id="228" name="Freeform 43">
              <a:extLst>
                <a:ext uri="{FF2B5EF4-FFF2-40B4-BE49-F238E27FC236}">
                  <a16:creationId xmlns:a16="http://schemas.microsoft.com/office/drawing/2014/main" id="{B5F413EE-F714-EB06-8355-3A05A15D4EA6}"/>
                </a:ext>
              </a:extLst>
            </p:cNvPr>
            <p:cNvSpPr>
              <a:spLocks/>
            </p:cNvSpPr>
            <p:nvPr/>
          </p:nvSpPr>
          <p:spPr bwMode="auto">
            <a:xfrm>
              <a:off x="3001" y="723"/>
              <a:ext cx="534" cy="330"/>
            </a:xfrm>
            <a:custGeom>
              <a:avLst/>
              <a:gdLst>
                <a:gd name="T0" fmla="*/ 504 w 534"/>
                <a:gd name="T1" fmla="*/ 113 h 330"/>
                <a:gd name="T2" fmla="*/ 516 w 534"/>
                <a:gd name="T3" fmla="*/ 130 h 330"/>
                <a:gd name="T4" fmla="*/ 530 w 534"/>
                <a:gd name="T5" fmla="*/ 140 h 330"/>
                <a:gd name="T6" fmla="*/ 532 w 534"/>
                <a:gd name="T7" fmla="*/ 169 h 330"/>
                <a:gd name="T8" fmla="*/ 522 w 534"/>
                <a:gd name="T9" fmla="*/ 183 h 330"/>
                <a:gd name="T10" fmla="*/ 522 w 534"/>
                <a:gd name="T11" fmla="*/ 193 h 330"/>
                <a:gd name="T12" fmla="*/ 502 w 534"/>
                <a:gd name="T13" fmla="*/ 205 h 330"/>
                <a:gd name="T14" fmla="*/ 463 w 534"/>
                <a:gd name="T15" fmla="*/ 230 h 330"/>
                <a:gd name="T16" fmla="*/ 475 w 534"/>
                <a:gd name="T17" fmla="*/ 250 h 330"/>
                <a:gd name="T18" fmla="*/ 467 w 534"/>
                <a:gd name="T19" fmla="*/ 283 h 330"/>
                <a:gd name="T20" fmla="*/ 450 w 534"/>
                <a:gd name="T21" fmla="*/ 304 h 330"/>
                <a:gd name="T22" fmla="*/ 444 w 534"/>
                <a:gd name="T23" fmla="*/ 314 h 330"/>
                <a:gd name="T24" fmla="*/ 442 w 534"/>
                <a:gd name="T25" fmla="*/ 330 h 330"/>
                <a:gd name="T26" fmla="*/ 432 w 534"/>
                <a:gd name="T27" fmla="*/ 322 h 330"/>
                <a:gd name="T28" fmla="*/ 428 w 534"/>
                <a:gd name="T29" fmla="*/ 318 h 330"/>
                <a:gd name="T30" fmla="*/ 422 w 534"/>
                <a:gd name="T31" fmla="*/ 314 h 330"/>
                <a:gd name="T32" fmla="*/ 416 w 534"/>
                <a:gd name="T33" fmla="*/ 308 h 330"/>
                <a:gd name="T34" fmla="*/ 303 w 534"/>
                <a:gd name="T35" fmla="*/ 316 h 330"/>
                <a:gd name="T36" fmla="*/ 141 w 534"/>
                <a:gd name="T37" fmla="*/ 324 h 330"/>
                <a:gd name="T38" fmla="*/ 80 w 534"/>
                <a:gd name="T39" fmla="*/ 328 h 330"/>
                <a:gd name="T40" fmla="*/ 80 w 534"/>
                <a:gd name="T41" fmla="*/ 328 h 330"/>
                <a:gd name="T42" fmla="*/ 74 w 534"/>
                <a:gd name="T43" fmla="*/ 320 h 330"/>
                <a:gd name="T44" fmla="*/ 74 w 534"/>
                <a:gd name="T45" fmla="*/ 310 h 330"/>
                <a:gd name="T46" fmla="*/ 74 w 534"/>
                <a:gd name="T47" fmla="*/ 296 h 330"/>
                <a:gd name="T48" fmla="*/ 69 w 534"/>
                <a:gd name="T49" fmla="*/ 283 h 330"/>
                <a:gd name="T50" fmla="*/ 69 w 534"/>
                <a:gd name="T51" fmla="*/ 279 h 330"/>
                <a:gd name="T52" fmla="*/ 69 w 534"/>
                <a:gd name="T53" fmla="*/ 267 h 330"/>
                <a:gd name="T54" fmla="*/ 67 w 534"/>
                <a:gd name="T55" fmla="*/ 253 h 330"/>
                <a:gd name="T56" fmla="*/ 63 w 534"/>
                <a:gd name="T57" fmla="*/ 236 h 330"/>
                <a:gd name="T58" fmla="*/ 57 w 534"/>
                <a:gd name="T59" fmla="*/ 230 h 330"/>
                <a:gd name="T60" fmla="*/ 51 w 534"/>
                <a:gd name="T61" fmla="*/ 228 h 330"/>
                <a:gd name="T62" fmla="*/ 49 w 534"/>
                <a:gd name="T63" fmla="*/ 214 h 330"/>
                <a:gd name="T64" fmla="*/ 51 w 534"/>
                <a:gd name="T65" fmla="*/ 201 h 330"/>
                <a:gd name="T66" fmla="*/ 45 w 534"/>
                <a:gd name="T67" fmla="*/ 187 h 330"/>
                <a:gd name="T68" fmla="*/ 33 w 534"/>
                <a:gd name="T69" fmla="*/ 166 h 330"/>
                <a:gd name="T70" fmla="*/ 26 w 534"/>
                <a:gd name="T71" fmla="*/ 152 h 330"/>
                <a:gd name="T72" fmla="*/ 20 w 534"/>
                <a:gd name="T73" fmla="*/ 130 h 330"/>
                <a:gd name="T74" fmla="*/ 12 w 534"/>
                <a:gd name="T75" fmla="*/ 119 h 330"/>
                <a:gd name="T76" fmla="*/ 10 w 534"/>
                <a:gd name="T77" fmla="*/ 115 h 330"/>
                <a:gd name="T78" fmla="*/ 10 w 534"/>
                <a:gd name="T79" fmla="*/ 111 h 330"/>
                <a:gd name="T80" fmla="*/ 0 w 534"/>
                <a:gd name="T81" fmla="*/ 103 h 330"/>
                <a:gd name="T82" fmla="*/ 4 w 534"/>
                <a:gd name="T83" fmla="*/ 95 h 330"/>
                <a:gd name="T84" fmla="*/ 6 w 534"/>
                <a:gd name="T85" fmla="*/ 91 h 330"/>
                <a:gd name="T86" fmla="*/ 8 w 534"/>
                <a:gd name="T87" fmla="*/ 85 h 330"/>
                <a:gd name="T88" fmla="*/ 10 w 534"/>
                <a:gd name="T89" fmla="*/ 76 h 330"/>
                <a:gd name="T90" fmla="*/ 10 w 534"/>
                <a:gd name="T91" fmla="*/ 72 h 330"/>
                <a:gd name="T92" fmla="*/ 14 w 534"/>
                <a:gd name="T93" fmla="*/ 62 h 330"/>
                <a:gd name="T94" fmla="*/ 10 w 534"/>
                <a:gd name="T95" fmla="*/ 52 h 330"/>
                <a:gd name="T96" fmla="*/ 4 w 534"/>
                <a:gd name="T97" fmla="*/ 52 h 330"/>
                <a:gd name="T98" fmla="*/ 4 w 534"/>
                <a:gd name="T99" fmla="*/ 48 h 330"/>
                <a:gd name="T100" fmla="*/ 8 w 534"/>
                <a:gd name="T101" fmla="*/ 44 h 330"/>
                <a:gd name="T102" fmla="*/ 2 w 534"/>
                <a:gd name="T103" fmla="*/ 31 h 330"/>
                <a:gd name="T104" fmla="*/ 2 w 534"/>
                <a:gd name="T105" fmla="*/ 23 h 330"/>
                <a:gd name="T106" fmla="*/ 170 w 534"/>
                <a:gd name="T107" fmla="*/ 17 h 330"/>
                <a:gd name="T108" fmla="*/ 379 w 534"/>
                <a:gd name="T109" fmla="*/ 5 h 330"/>
                <a:gd name="T110" fmla="*/ 434 w 534"/>
                <a:gd name="T111" fmla="*/ 7 h 330"/>
                <a:gd name="T112" fmla="*/ 446 w 534"/>
                <a:gd name="T113" fmla="*/ 21 h 330"/>
                <a:gd name="T114" fmla="*/ 444 w 534"/>
                <a:gd name="T115" fmla="*/ 52 h 330"/>
                <a:gd name="T116" fmla="*/ 450 w 534"/>
                <a:gd name="T117" fmla="*/ 72 h 330"/>
                <a:gd name="T118" fmla="*/ 483 w 534"/>
                <a:gd name="T119" fmla="*/ 85 h 330"/>
                <a:gd name="T120" fmla="*/ 489 w 534"/>
                <a:gd name="T121" fmla="*/ 99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4" h="330">
                  <a:moveTo>
                    <a:pt x="489" y="99"/>
                  </a:moveTo>
                  <a:lnTo>
                    <a:pt x="487" y="103"/>
                  </a:lnTo>
                  <a:lnTo>
                    <a:pt x="489" y="103"/>
                  </a:lnTo>
                  <a:lnTo>
                    <a:pt x="491" y="105"/>
                  </a:lnTo>
                  <a:lnTo>
                    <a:pt x="493" y="105"/>
                  </a:lnTo>
                  <a:lnTo>
                    <a:pt x="493" y="107"/>
                  </a:lnTo>
                  <a:lnTo>
                    <a:pt x="498" y="109"/>
                  </a:lnTo>
                  <a:lnTo>
                    <a:pt x="504" y="113"/>
                  </a:lnTo>
                  <a:lnTo>
                    <a:pt x="508" y="115"/>
                  </a:lnTo>
                  <a:lnTo>
                    <a:pt x="510" y="119"/>
                  </a:lnTo>
                  <a:lnTo>
                    <a:pt x="510" y="117"/>
                  </a:lnTo>
                  <a:lnTo>
                    <a:pt x="510" y="123"/>
                  </a:lnTo>
                  <a:lnTo>
                    <a:pt x="510" y="125"/>
                  </a:lnTo>
                  <a:lnTo>
                    <a:pt x="514" y="128"/>
                  </a:lnTo>
                  <a:lnTo>
                    <a:pt x="516" y="130"/>
                  </a:lnTo>
                  <a:lnTo>
                    <a:pt x="516" y="130"/>
                  </a:lnTo>
                  <a:lnTo>
                    <a:pt x="518" y="130"/>
                  </a:lnTo>
                  <a:lnTo>
                    <a:pt x="524" y="134"/>
                  </a:lnTo>
                  <a:lnTo>
                    <a:pt x="526" y="134"/>
                  </a:lnTo>
                  <a:lnTo>
                    <a:pt x="528" y="138"/>
                  </a:lnTo>
                  <a:lnTo>
                    <a:pt x="528" y="138"/>
                  </a:lnTo>
                  <a:lnTo>
                    <a:pt x="530" y="138"/>
                  </a:lnTo>
                  <a:lnTo>
                    <a:pt x="530" y="138"/>
                  </a:lnTo>
                  <a:lnTo>
                    <a:pt x="530" y="140"/>
                  </a:lnTo>
                  <a:lnTo>
                    <a:pt x="530" y="142"/>
                  </a:lnTo>
                  <a:lnTo>
                    <a:pt x="532" y="142"/>
                  </a:lnTo>
                  <a:lnTo>
                    <a:pt x="534" y="146"/>
                  </a:lnTo>
                  <a:lnTo>
                    <a:pt x="534" y="148"/>
                  </a:lnTo>
                  <a:lnTo>
                    <a:pt x="534" y="152"/>
                  </a:lnTo>
                  <a:lnTo>
                    <a:pt x="532" y="156"/>
                  </a:lnTo>
                  <a:lnTo>
                    <a:pt x="532" y="162"/>
                  </a:lnTo>
                  <a:lnTo>
                    <a:pt x="532" y="169"/>
                  </a:lnTo>
                  <a:lnTo>
                    <a:pt x="530" y="171"/>
                  </a:lnTo>
                  <a:lnTo>
                    <a:pt x="530" y="171"/>
                  </a:lnTo>
                  <a:lnTo>
                    <a:pt x="528" y="173"/>
                  </a:lnTo>
                  <a:lnTo>
                    <a:pt x="526" y="175"/>
                  </a:lnTo>
                  <a:lnTo>
                    <a:pt x="524" y="177"/>
                  </a:lnTo>
                  <a:lnTo>
                    <a:pt x="524" y="179"/>
                  </a:lnTo>
                  <a:lnTo>
                    <a:pt x="522" y="181"/>
                  </a:lnTo>
                  <a:lnTo>
                    <a:pt x="522" y="183"/>
                  </a:lnTo>
                  <a:lnTo>
                    <a:pt x="522" y="185"/>
                  </a:lnTo>
                  <a:lnTo>
                    <a:pt x="520" y="187"/>
                  </a:lnTo>
                  <a:lnTo>
                    <a:pt x="520" y="187"/>
                  </a:lnTo>
                  <a:lnTo>
                    <a:pt x="522" y="189"/>
                  </a:lnTo>
                  <a:lnTo>
                    <a:pt x="522" y="189"/>
                  </a:lnTo>
                  <a:lnTo>
                    <a:pt x="522" y="191"/>
                  </a:lnTo>
                  <a:lnTo>
                    <a:pt x="522" y="193"/>
                  </a:lnTo>
                  <a:lnTo>
                    <a:pt x="522" y="193"/>
                  </a:lnTo>
                  <a:lnTo>
                    <a:pt x="520" y="195"/>
                  </a:lnTo>
                  <a:lnTo>
                    <a:pt x="516" y="197"/>
                  </a:lnTo>
                  <a:lnTo>
                    <a:pt x="516" y="197"/>
                  </a:lnTo>
                  <a:lnTo>
                    <a:pt x="516" y="199"/>
                  </a:lnTo>
                  <a:lnTo>
                    <a:pt x="514" y="201"/>
                  </a:lnTo>
                  <a:lnTo>
                    <a:pt x="510" y="201"/>
                  </a:lnTo>
                  <a:lnTo>
                    <a:pt x="502" y="205"/>
                  </a:lnTo>
                  <a:lnTo>
                    <a:pt x="502" y="205"/>
                  </a:lnTo>
                  <a:lnTo>
                    <a:pt x="498" y="210"/>
                  </a:lnTo>
                  <a:lnTo>
                    <a:pt x="498" y="212"/>
                  </a:lnTo>
                  <a:lnTo>
                    <a:pt x="493" y="212"/>
                  </a:lnTo>
                  <a:lnTo>
                    <a:pt x="469" y="216"/>
                  </a:lnTo>
                  <a:lnTo>
                    <a:pt x="467" y="218"/>
                  </a:lnTo>
                  <a:lnTo>
                    <a:pt x="465" y="222"/>
                  </a:lnTo>
                  <a:lnTo>
                    <a:pt x="463" y="226"/>
                  </a:lnTo>
                  <a:lnTo>
                    <a:pt x="463" y="230"/>
                  </a:lnTo>
                  <a:lnTo>
                    <a:pt x="463" y="236"/>
                  </a:lnTo>
                  <a:lnTo>
                    <a:pt x="463" y="238"/>
                  </a:lnTo>
                  <a:lnTo>
                    <a:pt x="463" y="240"/>
                  </a:lnTo>
                  <a:lnTo>
                    <a:pt x="465" y="242"/>
                  </a:lnTo>
                  <a:lnTo>
                    <a:pt x="467" y="242"/>
                  </a:lnTo>
                  <a:lnTo>
                    <a:pt x="467" y="244"/>
                  </a:lnTo>
                  <a:lnTo>
                    <a:pt x="471" y="246"/>
                  </a:lnTo>
                  <a:lnTo>
                    <a:pt x="475" y="250"/>
                  </a:lnTo>
                  <a:lnTo>
                    <a:pt x="477" y="255"/>
                  </a:lnTo>
                  <a:lnTo>
                    <a:pt x="477" y="259"/>
                  </a:lnTo>
                  <a:lnTo>
                    <a:pt x="477" y="263"/>
                  </a:lnTo>
                  <a:lnTo>
                    <a:pt x="475" y="267"/>
                  </a:lnTo>
                  <a:lnTo>
                    <a:pt x="469" y="277"/>
                  </a:lnTo>
                  <a:lnTo>
                    <a:pt x="467" y="279"/>
                  </a:lnTo>
                  <a:lnTo>
                    <a:pt x="467" y="281"/>
                  </a:lnTo>
                  <a:lnTo>
                    <a:pt x="467" y="283"/>
                  </a:lnTo>
                  <a:lnTo>
                    <a:pt x="467" y="287"/>
                  </a:lnTo>
                  <a:lnTo>
                    <a:pt x="467" y="289"/>
                  </a:lnTo>
                  <a:lnTo>
                    <a:pt x="465" y="296"/>
                  </a:lnTo>
                  <a:lnTo>
                    <a:pt x="463" y="298"/>
                  </a:lnTo>
                  <a:lnTo>
                    <a:pt x="461" y="300"/>
                  </a:lnTo>
                  <a:lnTo>
                    <a:pt x="457" y="302"/>
                  </a:lnTo>
                  <a:lnTo>
                    <a:pt x="454" y="302"/>
                  </a:lnTo>
                  <a:lnTo>
                    <a:pt x="450" y="304"/>
                  </a:lnTo>
                  <a:lnTo>
                    <a:pt x="448" y="306"/>
                  </a:lnTo>
                  <a:lnTo>
                    <a:pt x="444" y="308"/>
                  </a:lnTo>
                  <a:lnTo>
                    <a:pt x="442" y="310"/>
                  </a:lnTo>
                  <a:lnTo>
                    <a:pt x="442" y="310"/>
                  </a:lnTo>
                  <a:lnTo>
                    <a:pt x="442" y="312"/>
                  </a:lnTo>
                  <a:lnTo>
                    <a:pt x="442" y="312"/>
                  </a:lnTo>
                  <a:lnTo>
                    <a:pt x="442" y="314"/>
                  </a:lnTo>
                  <a:lnTo>
                    <a:pt x="444" y="314"/>
                  </a:lnTo>
                  <a:lnTo>
                    <a:pt x="446" y="316"/>
                  </a:lnTo>
                  <a:lnTo>
                    <a:pt x="446" y="318"/>
                  </a:lnTo>
                  <a:lnTo>
                    <a:pt x="446" y="322"/>
                  </a:lnTo>
                  <a:lnTo>
                    <a:pt x="446" y="324"/>
                  </a:lnTo>
                  <a:lnTo>
                    <a:pt x="446" y="326"/>
                  </a:lnTo>
                  <a:lnTo>
                    <a:pt x="446" y="328"/>
                  </a:lnTo>
                  <a:lnTo>
                    <a:pt x="446" y="328"/>
                  </a:lnTo>
                  <a:lnTo>
                    <a:pt x="442" y="330"/>
                  </a:lnTo>
                  <a:lnTo>
                    <a:pt x="440" y="330"/>
                  </a:lnTo>
                  <a:lnTo>
                    <a:pt x="438" y="330"/>
                  </a:lnTo>
                  <a:lnTo>
                    <a:pt x="436" y="328"/>
                  </a:lnTo>
                  <a:lnTo>
                    <a:pt x="434" y="326"/>
                  </a:lnTo>
                  <a:lnTo>
                    <a:pt x="432" y="324"/>
                  </a:lnTo>
                  <a:lnTo>
                    <a:pt x="432" y="324"/>
                  </a:lnTo>
                  <a:lnTo>
                    <a:pt x="432" y="324"/>
                  </a:lnTo>
                  <a:lnTo>
                    <a:pt x="432" y="322"/>
                  </a:lnTo>
                  <a:lnTo>
                    <a:pt x="432" y="322"/>
                  </a:lnTo>
                  <a:lnTo>
                    <a:pt x="432" y="322"/>
                  </a:lnTo>
                  <a:lnTo>
                    <a:pt x="430" y="320"/>
                  </a:lnTo>
                  <a:lnTo>
                    <a:pt x="428" y="320"/>
                  </a:lnTo>
                  <a:lnTo>
                    <a:pt x="428" y="320"/>
                  </a:lnTo>
                  <a:lnTo>
                    <a:pt x="428" y="320"/>
                  </a:lnTo>
                  <a:lnTo>
                    <a:pt x="428" y="318"/>
                  </a:lnTo>
                  <a:lnTo>
                    <a:pt x="428" y="318"/>
                  </a:lnTo>
                  <a:lnTo>
                    <a:pt x="426" y="318"/>
                  </a:lnTo>
                  <a:lnTo>
                    <a:pt x="426" y="318"/>
                  </a:lnTo>
                  <a:lnTo>
                    <a:pt x="426" y="318"/>
                  </a:lnTo>
                  <a:lnTo>
                    <a:pt x="426" y="318"/>
                  </a:lnTo>
                  <a:lnTo>
                    <a:pt x="426" y="316"/>
                  </a:lnTo>
                  <a:lnTo>
                    <a:pt x="424" y="316"/>
                  </a:lnTo>
                  <a:lnTo>
                    <a:pt x="422" y="314"/>
                  </a:lnTo>
                  <a:lnTo>
                    <a:pt x="422" y="314"/>
                  </a:lnTo>
                  <a:lnTo>
                    <a:pt x="420" y="314"/>
                  </a:lnTo>
                  <a:lnTo>
                    <a:pt x="420" y="314"/>
                  </a:lnTo>
                  <a:lnTo>
                    <a:pt x="420" y="312"/>
                  </a:lnTo>
                  <a:lnTo>
                    <a:pt x="418" y="312"/>
                  </a:lnTo>
                  <a:lnTo>
                    <a:pt x="418" y="310"/>
                  </a:lnTo>
                  <a:lnTo>
                    <a:pt x="418" y="310"/>
                  </a:lnTo>
                  <a:lnTo>
                    <a:pt x="416" y="308"/>
                  </a:lnTo>
                  <a:lnTo>
                    <a:pt x="416" y="308"/>
                  </a:lnTo>
                  <a:lnTo>
                    <a:pt x="416" y="306"/>
                  </a:lnTo>
                  <a:lnTo>
                    <a:pt x="411" y="308"/>
                  </a:lnTo>
                  <a:lnTo>
                    <a:pt x="403" y="308"/>
                  </a:lnTo>
                  <a:lnTo>
                    <a:pt x="383" y="310"/>
                  </a:lnTo>
                  <a:lnTo>
                    <a:pt x="364" y="310"/>
                  </a:lnTo>
                  <a:lnTo>
                    <a:pt x="344" y="312"/>
                  </a:lnTo>
                  <a:lnTo>
                    <a:pt x="323" y="314"/>
                  </a:lnTo>
                  <a:lnTo>
                    <a:pt x="303" y="316"/>
                  </a:lnTo>
                  <a:lnTo>
                    <a:pt x="282" y="316"/>
                  </a:lnTo>
                  <a:lnTo>
                    <a:pt x="262" y="318"/>
                  </a:lnTo>
                  <a:lnTo>
                    <a:pt x="241" y="320"/>
                  </a:lnTo>
                  <a:lnTo>
                    <a:pt x="223" y="320"/>
                  </a:lnTo>
                  <a:lnTo>
                    <a:pt x="203" y="322"/>
                  </a:lnTo>
                  <a:lnTo>
                    <a:pt x="182" y="322"/>
                  </a:lnTo>
                  <a:lnTo>
                    <a:pt x="162" y="324"/>
                  </a:lnTo>
                  <a:lnTo>
                    <a:pt x="141" y="324"/>
                  </a:lnTo>
                  <a:lnTo>
                    <a:pt x="121" y="326"/>
                  </a:lnTo>
                  <a:lnTo>
                    <a:pt x="100" y="326"/>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6"/>
                  </a:lnTo>
                  <a:lnTo>
                    <a:pt x="80" y="324"/>
                  </a:lnTo>
                  <a:lnTo>
                    <a:pt x="80" y="322"/>
                  </a:lnTo>
                  <a:lnTo>
                    <a:pt x="78" y="320"/>
                  </a:lnTo>
                  <a:lnTo>
                    <a:pt x="74" y="320"/>
                  </a:lnTo>
                  <a:lnTo>
                    <a:pt x="72" y="318"/>
                  </a:lnTo>
                  <a:lnTo>
                    <a:pt x="72" y="316"/>
                  </a:lnTo>
                  <a:lnTo>
                    <a:pt x="72" y="316"/>
                  </a:lnTo>
                  <a:lnTo>
                    <a:pt x="72" y="314"/>
                  </a:lnTo>
                  <a:lnTo>
                    <a:pt x="72" y="314"/>
                  </a:lnTo>
                  <a:lnTo>
                    <a:pt x="72" y="312"/>
                  </a:lnTo>
                  <a:lnTo>
                    <a:pt x="72" y="312"/>
                  </a:lnTo>
                  <a:lnTo>
                    <a:pt x="74" y="310"/>
                  </a:lnTo>
                  <a:lnTo>
                    <a:pt x="74" y="308"/>
                  </a:lnTo>
                  <a:lnTo>
                    <a:pt x="74" y="308"/>
                  </a:lnTo>
                  <a:lnTo>
                    <a:pt x="74" y="306"/>
                  </a:lnTo>
                  <a:lnTo>
                    <a:pt x="74" y="304"/>
                  </a:lnTo>
                  <a:lnTo>
                    <a:pt x="74" y="302"/>
                  </a:lnTo>
                  <a:lnTo>
                    <a:pt x="74" y="300"/>
                  </a:lnTo>
                  <a:lnTo>
                    <a:pt x="74" y="298"/>
                  </a:lnTo>
                  <a:lnTo>
                    <a:pt x="74" y="296"/>
                  </a:lnTo>
                  <a:lnTo>
                    <a:pt x="74" y="291"/>
                  </a:lnTo>
                  <a:lnTo>
                    <a:pt x="72" y="291"/>
                  </a:lnTo>
                  <a:lnTo>
                    <a:pt x="74" y="289"/>
                  </a:lnTo>
                  <a:lnTo>
                    <a:pt x="74" y="287"/>
                  </a:lnTo>
                  <a:lnTo>
                    <a:pt x="72" y="287"/>
                  </a:lnTo>
                  <a:lnTo>
                    <a:pt x="72" y="285"/>
                  </a:lnTo>
                  <a:lnTo>
                    <a:pt x="69" y="285"/>
                  </a:lnTo>
                  <a:lnTo>
                    <a:pt x="69" y="283"/>
                  </a:lnTo>
                  <a:lnTo>
                    <a:pt x="69" y="283"/>
                  </a:lnTo>
                  <a:lnTo>
                    <a:pt x="69" y="281"/>
                  </a:lnTo>
                  <a:lnTo>
                    <a:pt x="69" y="281"/>
                  </a:lnTo>
                  <a:lnTo>
                    <a:pt x="69" y="281"/>
                  </a:lnTo>
                  <a:lnTo>
                    <a:pt x="69" y="279"/>
                  </a:lnTo>
                  <a:lnTo>
                    <a:pt x="69" y="279"/>
                  </a:lnTo>
                  <a:lnTo>
                    <a:pt x="69" y="279"/>
                  </a:lnTo>
                  <a:lnTo>
                    <a:pt x="69" y="279"/>
                  </a:lnTo>
                  <a:lnTo>
                    <a:pt x="69" y="279"/>
                  </a:lnTo>
                  <a:lnTo>
                    <a:pt x="69" y="277"/>
                  </a:lnTo>
                  <a:lnTo>
                    <a:pt x="69" y="275"/>
                  </a:lnTo>
                  <a:lnTo>
                    <a:pt x="69" y="273"/>
                  </a:lnTo>
                  <a:lnTo>
                    <a:pt x="69" y="269"/>
                  </a:lnTo>
                  <a:lnTo>
                    <a:pt x="69" y="269"/>
                  </a:lnTo>
                  <a:lnTo>
                    <a:pt x="72" y="267"/>
                  </a:lnTo>
                  <a:lnTo>
                    <a:pt x="69" y="267"/>
                  </a:lnTo>
                  <a:lnTo>
                    <a:pt x="65" y="265"/>
                  </a:lnTo>
                  <a:lnTo>
                    <a:pt x="65" y="265"/>
                  </a:lnTo>
                  <a:lnTo>
                    <a:pt x="65" y="263"/>
                  </a:lnTo>
                  <a:lnTo>
                    <a:pt x="65" y="259"/>
                  </a:lnTo>
                  <a:lnTo>
                    <a:pt x="65" y="257"/>
                  </a:lnTo>
                  <a:lnTo>
                    <a:pt x="67" y="255"/>
                  </a:lnTo>
                  <a:lnTo>
                    <a:pt x="69" y="253"/>
                  </a:lnTo>
                  <a:lnTo>
                    <a:pt x="67" y="253"/>
                  </a:lnTo>
                  <a:lnTo>
                    <a:pt x="67" y="253"/>
                  </a:lnTo>
                  <a:lnTo>
                    <a:pt x="63" y="250"/>
                  </a:lnTo>
                  <a:lnTo>
                    <a:pt x="61" y="250"/>
                  </a:lnTo>
                  <a:lnTo>
                    <a:pt x="63" y="244"/>
                  </a:lnTo>
                  <a:lnTo>
                    <a:pt x="63" y="242"/>
                  </a:lnTo>
                  <a:lnTo>
                    <a:pt x="63" y="238"/>
                  </a:lnTo>
                  <a:lnTo>
                    <a:pt x="63" y="236"/>
                  </a:lnTo>
                  <a:lnTo>
                    <a:pt x="63" y="236"/>
                  </a:lnTo>
                  <a:lnTo>
                    <a:pt x="61" y="236"/>
                  </a:lnTo>
                  <a:lnTo>
                    <a:pt x="59" y="236"/>
                  </a:lnTo>
                  <a:lnTo>
                    <a:pt x="57" y="236"/>
                  </a:lnTo>
                  <a:lnTo>
                    <a:pt x="57" y="234"/>
                  </a:lnTo>
                  <a:lnTo>
                    <a:pt x="57" y="234"/>
                  </a:lnTo>
                  <a:lnTo>
                    <a:pt x="57" y="232"/>
                  </a:lnTo>
                  <a:lnTo>
                    <a:pt x="57" y="230"/>
                  </a:lnTo>
                  <a:lnTo>
                    <a:pt x="57" y="230"/>
                  </a:lnTo>
                  <a:lnTo>
                    <a:pt x="57" y="230"/>
                  </a:lnTo>
                  <a:lnTo>
                    <a:pt x="57" y="228"/>
                  </a:lnTo>
                  <a:lnTo>
                    <a:pt x="57" y="228"/>
                  </a:lnTo>
                  <a:lnTo>
                    <a:pt x="55" y="228"/>
                  </a:lnTo>
                  <a:lnTo>
                    <a:pt x="55" y="228"/>
                  </a:lnTo>
                  <a:lnTo>
                    <a:pt x="53" y="230"/>
                  </a:lnTo>
                  <a:lnTo>
                    <a:pt x="53" y="230"/>
                  </a:lnTo>
                  <a:lnTo>
                    <a:pt x="51" y="228"/>
                  </a:lnTo>
                  <a:lnTo>
                    <a:pt x="51" y="226"/>
                  </a:lnTo>
                  <a:lnTo>
                    <a:pt x="51" y="224"/>
                  </a:lnTo>
                  <a:lnTo>
                    <a:pt x="51" y="224"/>
                  </a:lnTo>
                  <a:lnTo>
                    <a:pt x="49" y="222"/>
                  </a:lnTo>
                  <a:lnTo>
                    <a:pt x="49" y="220"/>
                  </a:lnTo>
                  <a:lnTo>
                    <a:pt x="49" y="218"/>
                  </a:lnTo>
                  <a:lnTo>
                    <a:pt x="49" y="214"/>
                  </a:lnTo>
                  <a:lnTo>
                    <a:pt x="49" y="214"/>
                  </a:lnTo>
                  <a:lnTo>
                    <a:pt x="49" y="212"/>
                  </a:lnTo>
                  <a:lnTo>
                    <a:pt x="49" y="212"/>
                  </a:lnTo>
                  <a:lnTo>
                    <a:pt x="49" y="210"/>
                  </a:lnTo>
                  <a:lnTo>
                    <a:pt x="49" y="210"/>
                  </a:lnTo>
                  <a:lnTo>
                    <a:pt x="49" y="207"/>
                  </a:lnTo>
                  <a:lnTo>
                    <a:pt x="49" y="205"/>
                  </a:lnTo>
                  <a:lnTo>
                    <a:pt x="51" y="203"/>
                  </a:lnTo>
                  <a:lnTo>
                    <a:pt x="51" y="201"/>
                  </a:lnTo>
                  <a:lnTo>
                    <a:pt x="49" y="199"/>
                  </a:lnTo>
                  <a:lnTo>
                    <a:pt x="45" y="195"/>
                  </a:lnTo>
                  <a:lnTo>
                    <a:pt x="45" y="195"/>
                  </a:lnTo>
                  <a:lnTo>
                    <a:pt x="43" y="191"/>
                  </a:lnTo>
                  <a:lnTo>
                    <a:pt x="43" y="191"/>
                  </a:lnTo>
                  <a:lnTo>
                    <a:pt x="43" y="189"/>
                  </a:lnTo>
                  <a:lnTo>
                    <a:pt x="43" y="187"/>
                  </a:lnTo>
                  <a:lnTo>
                    <a:pt x="45" y="187"/>
                  </a:lnTo>
                  <a:lnTo>
                    <a:pt x="43" y="183"/>
                  </a:lnTo>
                  <a:lnTo>
                    <a:pt x="39" y="179"/>
                  </a:lnTo>
                  <a:lnTo>
                    <a:pt x="37" y="179"/>
                  </a:lnTo>
                  <a:lnTo>
                    <a:pt x="35" y="175"/>
                  </a:lnTo>
                  <a:lnTo>
                    <a:pt x="33" y="173"/>
                  </a:lnTo>
                  <a:lnTo>
                    <a:pt x="33" y="171"/>
                  </a:lnTo>
                  <a:lnTo>
                    <a:pt x="33" y="169"/>
                  </a:lnTo>
                  <a:lnTo>
                    <a:pt x="33" y="166"/>
                  </a:lnTo>
                  <a:lnTo>
                    <a:pt x="31" y="164"/>
                  </a:lnTo>
                  <a:lnTo>
                    <a:pt x="28" y="164"/>
                  </a:lnTo>
                  <a:lnTo>
                    <a:pt x="26" y="162"/>
                  </a:lnTo>
                  <a:lnTo>
                    <a:pt x="26" y="160"/>
                  </a:lnTo>
                  <a:lnTo>
                    <a:pt x="26" y="158"/>
                  </a:lnTo>
                  <a:lnTo>
                    <a:pt x="26" y="156"/>
                  </a:lnTo>
                  <a:lnTo>
                    <a:pt x="26" y="154"/>
                  </a:lnTo>
                  <a:lnTo>
                    <a:pt x="26" y="152"/>
                  </a:lnTo>
                  <a:lnTo>
                    <a:pt x="26" y="150"/>
                  </a:lnTo>
                  <a:lnTo>
                    <a:pt x="24" y="148"/>
                  </a:lnTo>
                  <a:lnTo>
                    <a:pt x="24" y="148"/>
                  </a:lnTo>
                  <a:lnTo>
                    <a:pt x="24" y="146"/>
                  </a:lnTo>
                  <a:lnTo>
                    <a:pt x="20" y="142"/>
                  </a:lnTo>
                  <a:lnTo>
                    <a:pt x="22" y="138"/>
                  </a:lnTo>
                  <a:lnTo>
                    <a:pt x="22" y="134"/>
                  </a:lnTo>
                  <a:lnTo>
                    <a:pt x="20" y="130"/>
                  </a:lnTo>
                  <a:lnTo>
                    <a:pt x="20" y="128"/>
                  </a:lnTo>
                  <a:lnTo>
                    <a:pt x="18" y="128"/>
                  </a:lnTo>
                  <a:lnTo>
                    <a:pt x="14" y="128"/>
                  </a:lnTo>
                  <a:lnTo>
                    <a:pt x="14" y="123"/>
                  </a:lnTo>
                  <a:lnTo>
                    <a:pt x="14" y="121"/>
                  </a:lnTo>
                  <a:lnTo>
                    <a:pt x="12" y="121"/>
                  </a:lnTo>
                  <a:lnTo>
                    <a:pt x="12" y="121"/>
                  </a:lnTo>
                  <a:lnTo>
                    <a:pt x="12" y="119"/>
                  </a:lnTo>
                  <a:lnTo>
                    <a:pt x="12" y="119"/>
                  </a:lnTo>
                  <a:lnTo>
                    <a:pt x="12" y="119"/>
                  </a:lnTo>
                  <a:lnTo>
                    <a:pt x="12" y="117"/>
                  </a:lnTo>
                  <a:lnTo>
                    <a:pt x="12" y="117"/>
                  </a:lnTo>
                  <a:lnTo>
                    <a:pt x="12" y="117"/>
                  </a:lnTo>
                  <a:lnTo>
                    <a:pt x="10" y="117"/>
                  </a:lnTo>
                  <a:lnTo>
                    <a:pt x="10" y="115"/>
                  </a:lnTo>
                  <a:lnTo>
                    <a:pt x="10" y="115"/>
                  </a:lnTo>
                  <a:lnTo>
                    <a:pt x="8" y="115"/>
                  </a:lnTo>
                  <a:lnTo>
                    <a:pt x="8" y="115"/>
                  </a:lnTo>
                  <a:lnTo>
                    <a:pt x="10" y="115"/>
                  </a:lnTo>
                  <a:lnTo>
                    <a:pt x="10" y="113"/>
                  </a:lnTo>
                  <a:lnTo>
                    <a:pt x="10" y="113"/>
                  </a:lnTo>
                  <a:lnTo>
                    <a:pt x="10" y="113"/>
                  </a:lnTo>
                  <a:lnTo>
                    <a:pt x="10" y="113"/>
                  </a:lnTo>
                  <a:lnTo>
                    <a:pt x="10" y="111"/>
                  </a:lnTo>
                  <a:lnTo>
                    <a:pt x="10" y="111"/>
                  </a:lnTo>
                  <a:lnTo>
                    <a:pt x="8" y="111"/>
                  </a:lnTo>
                  <a:lnTo>
                    <a:pt x="4" y="107"/>
                  </a:lnTo>
                  <a:lnTo>
                    <a:pt x="4" y="107"/>
                  </a:lnTo>
                  <a:lnTo>
                    <a:pt x="2" y="107"/>
                  </a:lnTo>
                  <a:lnTo>
                    <a:pt x="2" y="105"/>
                  </a:lnTo>
                  <a:lnTo>
                    <a:pt x="2" y="103"/>
                  </a:lnTo>
                  <a:lnTo>
                    <a:pt x="0" y="103"/>
                  </a:lnTo>
                  <a:lnTo>
                    <a:pt x="2" y="101"/>
                  </a:lnTo>
                  <a:lnTo>
                    <a:pt x="2" y="101"/>
                  </a:lnTo>
                  <a:lnTo>
                    <a:pt x="2" y="99"/>
                  </a:lnTo>
                  <a:lnTo>
                    <a:pt x="4" y="97"/>
                  </a:lnTo>
                  <a:lnTo>
                    <a:pt x="4" y="97"/>
                  </a:lnTo>
                  <a:lnTo>
                    <a:pt x="4" y="95"/>
                  </a:lnTo>
                  <a:lnTo>
                    <a:pt x="4" y="95"/>
                  </a:lnTo>
                  <a:lnTo>
                    <a:pt x="4" y="95"/>
                  </a:lnTo>
                  <a:lnTo>
                    <a:pt x="4" y="95"/>
                  </a:lnTo>
                  <a:lnTo>
                    <a:pt x="4" y="93"/>
                  </a:lnTo>
                  <a:lnTo>
                    <a:pt x="4" y="93"/>
                  </a:lnTo>
                  <a:lnTo>
                    <a:pt x="4" y="93"/>
                  </a:lnTo>
                  <a:lnTo>
                    <a:pt x="6" y="93"/>
                  </a:lnTo>
                  <a:lnTo>
                    <a:pt x="6" y="93"/>
                  </a:lnTo>
                  <a:lnTo>
                    <a:pt x="6" y="93"/>
                  </a:lnTo>
                  <a:lnTo>
                    <a:pt x="6" y="91"/>
                  </a:lnTo>
                  <a:lnTo>
                    <a:pt x="6" y="91"/>
                  </a:lnTo>
                  <a:lnTo>
                    <a:pt x="6" y="89"/>
                  </a:lnTo>
                  <a:lnTo>
                    <a:pt x="8" y="89"/>
                  </a:lnTo>
                  <a:lnTo>
                    <a:pt x="8" y="89"/>
                  </a:lnTo>
                  <a:lnTo>
                    <a:pt x="8" y="89"/>
                  </a:lnTo>
                  <a:lnTo>
                    <a:pt x="8" y="89"/>
                  </a:lnTo>
                  <a:lnTo>
                    <a:pt x="8" y="87"/>
                  </a:lnTo>
                  <a:lnTo>
                    <a:pt x="8" y="85"/>
                  </a:lnTo>
                  <a:lnTo>
                    <a:pt x="8" y="82"/>
                  </a:lnTo>
                  <a:lnTo>
                    <a:pt x="8" y="82"/>
                  </a:lnTo>
                  <a:lnTo>
                    <a:pt x="10" y="80"/>
                  </a:lnTo>
                  <a:lnTo>
                    <a:pt x="10" y="80"/>
                  </a:lnTo>
                  <a:lnTo>
                    <a:pt x="10" y="80"/>
                  </a:lnTo>
                  <a:lnTo>
                    <a:pt x="10" y="78"/>
                  </a:lnTo>
                  <a:lnTo>
                    <a:pt x="10" y="76"/>
                  </a:lnTo>
                  <a:lnTo>
                    <a:pt x="10" y="76"/>
                  </a:lnTo>
                  <a:lnTo>
                    <a:pt x="10" y="76"/>
                  </a:lnTo>
                  <a:lnTo>
                    <a:pt x="10" y="76"/>
                  </a:lnTo>
                  <a:lnTo>
                    <a:pt x="10" y="74"/>
                  </a:lnTo>
                  <a:lnTo>
                    <a:pt x="12" y="74"/>
                  </a:lnTo>
                  <a:lnTo>
                    <a:pt x="10" y="74"/>
                  </a:lnTo>
                  <a:lnTo>
                    <a:pt x="10" y="72"/>
                  </a:lnTo>
                  <a:lnTo>
                    <a:pt x="10" y="72"/>
                  </a:lnTo>
                  <a:lnTo>
                    <a:pt x="10" y="72"/>
                  </a:lnTo>
                  <a:lnTo>
                    <a:pt x="10" y="72"/>
                  </a:lnTo>
                  <a:lnTo>
                    <a:pt x="10" y="70"/>
                  </a:lnTo>
                  <a:lnTo>
                    <a:pt x="12" y="68"/>
                  </a:lnTo>
                  <a:lnTo>
                    <a:pt x="14" y="68"/>
                  </a:lnTo>
                  <a:lnTo>
                    <a:pt x="14" y="68"/>
                  </a:lnTo>
                  <a:lnTo>
                    <a:pt x="14" y="62"/>
                  </a:lnTo>
                  <a:lnTo>
                    <a:pt x="14" y="62"/>
                  </a:lnTo>
                  <a:lnTo>
                    <a:pt x="14" y="62"/>
                  </a:lnTo>
                  <a:lnTo>
                    <a:pt x="14" y="60"/>
                  </a:lnTo>
                  <a:lnTo>
                    <a:pt x="14" y="60"/>
                  </a:lnTo>
                  <a:lnTo>
                    <a:pt x="12" y="56"/>
                  </a:lnTo>
                  <a:lnTo>
                    <a:pt x="12" y="54"/>
                  </a:lnTo>
                  <a:lnTo>
                    <a:pt x="12" y="54"/>
                  </a:lnTo>
                  <a:lnTo>
                    <a:pt x="12" y="54"/>
                  </a:lnTo>
                  <a:lnTo>
                    <a:pt x="12" y="52"/>
                  </a:lnTo>
                  <a:lnTo>
                    <a:pt x="10" y="52"/>
                  </a:lnTo>
                  <a:lnTo>
                    <a:pt x="10" y="54"/>
                  </a:lnTo>
                  <a:lnTo>
                    <a:pt x="10" y="54"/>
                  </a:lnTo>
                  <a:lnTo>
                    <a:pt x="8" y="52"/>
                  </a:lnTo>
                  <a:lnTo>
                    <a:pt x="6" y="52"/>
                  </a:lnTo>
                  <a:lnTo>
                    <a:pt x="6" y="52"/>
                  </a:lnTo>
                  <a:lnTo>
                    <a:pt x="6" y="52"/>
                  </a:lnTo>
                  <a:lnTo>
                    <a:pt x="4" y="52"/>
                  </a:lnTo>
                  <a:lnTo>
                    <a:pt x="4" y="52"/>
                  </a:lnTo>
                  <a:lnTo>
                    <a:pt x="4" y="52"/>
                  </a:lnTo>
                  <a:lnTo>
                    <a:pt x="4" y="50"/>
                  </a:lnTo>
                  <a:lnTo>
                    <a:pt x="6" y="50"/>
                  </a:lnTo>
                  <a:lnTo>
                    <a:pt x="6" y="50"/>
                  </a:lnTo>
                  <a:lnTo>
                    <a:pt x="6" y="50"/>
                  </a:lnTo>
                  <a:lnTo>
                    <a:pt x="6" y="48"/>
                  </a:lnTo>
                  <a:lnTo>
                    <a:pt x="4" y="48"/>
                  </a:lnTo>
                  <a:lnTo>
                    <a:pt x="4" y="48"/>
                  </a:lnTo>
                  <a:lnTo>
                    <a:pt x="4" y="46"/>
                  </a:lnTo>
                  <a:lnTo>
                    <a:pt x="4" y="46"/>
                  </a:lnTo>
                  <a:lnTo>
                    <a:pt x="4" y="46"/>
                  </a:lnTo>
                  <a:lnTo>
                    <a:pt x="6" y="46"/>
                  </a:lnTo>
                  <a:lnTo>
                    <a:pt x="6" y="46"/>
                  </a:lnTo>
                  <a:lnTo>
                    <a:pt x="6" y="46"/>
                  </a:lnTo>
                  <a:lnTo>
                    <a:pt x="6" y="46"/>
                  </a:lnTo>
                  <a:lnTo>
                    <a:pt x="8" y="44"/>
                  </a:lnTo>
                  <a:lnTo>
                    <a:pt x="8" y="41"/>
                  </a:lnTo>
                  <a:lnTo>
                    <a:pt x="8" y="35"/>
                  </a:lnTo>
                  <a:lnTo>
                    <a:pt x="6" y="35"/>
                  </a:lnTo>
                  <a:lnTo>
                    <a:pt x="6" y="35"/>
                  </a:lnTo>
                  <a:lnTo>
                    <a:pt x="6" y="33"/>
                  </a:lnTo>
                  <a:lnTo>
                    <a:pt x="4" y="33"/>
                  </a:lnTo>
                  <a:lnTo>
                    <a:pt x="4" y="31"/>
                  </a:lnTo>
                  <a:lnTo>
                    <a:pt x="2" y="31"/>
                  </a:lnTo>
                  <a:lnTo>
                    <a:pt x="2" y="29"/>
                  </a:lnTo>
                  <a:lnTo>
                    <a:pt x="2" y="29"/>
                  </a:lnTo>
                  <a:lnTo>
                    <a:pt x="2" y="27"/>
                  </a:lnTo>
                  <a:lnTo>
                    <a:pt x="2" y="27"/>
                  </a:lnTo>
                  <a:lnTo>
                    <a:pt x="2" y="25"/>
                  </a:lnTo>
                  <a:lnTo>
                    <a:pt x="2" y="25"/>
                  </a:lnTo>
                  <a:lnTo>
                    <a:pt x="2" y="25"/>
                  </a:lnTo>
                  <a:lnTo>
                    <a:pt x="2" y="23"/>
                  </a:lnTo>
                  <a:lnTo>
                    <a:pt x="2" y="23"/>
                  </a:lnTo>
                  <a:lnTo>
                    <a:pt x="14" y="23"/>
                  </a:lnTo>
                  <a:lnTo>
                    <a:pt x="39" y="23"/>
                  </a:lnTo>
                  <a:lnTo>
                    <a:pt x="65" y="21"/>
                  </a:lnTo>
                  <a:lnTo>
                    <a:pt x="92" y="21"/>
                  </a:lnTo>
                  <a:lnTo>
                    <a:pt x="119" y="19"/>
                  </a:lnTo>
                  <a:lnTo>
                    <a:pt x="143" y="17"/>
                  </a:lnTo>
                  <a:lnTo>
                    <a:pt x="170" y="17"/>
                  </a:lnTo>
                  <a:lnTo>
                    <a:pt x="196" y="15"/>
                  </a:lnTo>
                  <a:lnTo>
                    <a:pt x="223" y="13"/>
                  </a:lnTo>
                  <a:lnTo>
                    <a:pt x="248" y="13"/>
                  </a:lnTo>
                  <a:lnTo>
                    <a:pt x="274" y="11"/>
                  </a:lnTo>
                  <a:lnTo>
                    <a:pt x="301" y="9"/>
                  </a:lnTo>
                  <a:lnTo>
                    <a:pt x="328" y="7"/>
                  </a:lnTo>
                  <a:lnTo>
                    <a:pt x="352" y="5"/>
                  </a:lnTo>
                  <a:lnTo>
                    <a:pt x="379" y="5"/>
                  </a:lnTo>
                  <a:lnTo>
                    <a:pt x="405" y="3"/>
                  </a:lnTo>
                  <a:lnTo>
                    <a:pt x="432" y="0"/>
                  </a:lnTo>
                  <a:lnTo>
                    <a:pt x="432" y="0"/>
                  </a:lnTo>
                  <a:lnTo>
                    <a:pt x="432" y="0"/>
                  </a:lnTo>
                  <a:lnTo>
                    <a:pt x="432" y="3"/>
                  </a:lnTo>
                  <a:lnTo>
                    <a:pt x="432" y="5"/>
                  </a:lnTo>
                  <a:lnTo>
                    <a:pt x="432" y="5"/>
                  </a:lnTo>
                  <a:lnTo>
                    <a:pt x="434" y="7"/>
                  </a:lnTo>
                  <a:lnTo>
                    <a:pt x="434" y="9"/>
                  </a:lnTo>
                  <a:lnTo>
                    <a:pt x="434" y="9"/>
                  </a:lnTo>
                  <a:lnTo>
                    <a:pt x="434" y="13"/>
                  </a:lnTo>
                  <a:lnTo>
                    <a:pt x="436" y="13"/>
                  </a:lnTo>
                  <a:lnTo>
                    <a:pt x="436" y="13"/>
                  </a:lnTo>
                  <a:lnTo>
                    <a:pt x="444" y="15"/>
                  </a:lnTo>
                  <a:lnTo>
                    <a:pt x="446" y="17"/>
                  </a:lnTo>
                  <a:lnTo>
                    <a:pt x="446" y="21"/>
                  </a:lnTo>
                  <a:lnTo>
                    <a:pt x="444" y="25"/>
                  </a:lnTo>
                  <a:lnTo>
                    <a:pt x="442" y="31"/>
                  </a:lnTo>
                  <a:lnTo>
                    <a:pt x="440" y="35"/>
                  </a:lnTo>
                  <a:lnTo>
                    <a:pt x="442" y="41"/>
                  </a:lnTo>
                  <a:lnTo>
                    <a:pt x="442" y="46"/>
                  </a:lnTo>
                  <a:lnTo>
                    <a:pt x="442" y="50"/>
                  </a:lnTo>
                  <a:lnTo>
                    <a:pt x="442" y="52"/>
                  </a:lnTo>
                  <a:lnTo>
                    <a:pt x="444" y="52"/>
                  </a:lnTo>
                  <a:lnTo>
                    <a:pt x="444" y="58"/>
                  </a:lnTo>
                  <a:lnTo>
                    <a:pt x="444" y="60"/>
                  </a:lnTo>
                  <a:lnTo>
                    <a:pt x="446" y="60"/>
                  </a:lnTo>
                  <a:lnTo>
                    <a:pt x="448" y="64"/>
                  </a:lnTo>
                  <a:lnTo>
                    <a:pt x="448" y="64"/>
                  </a:lnTo>
                  <a:lnTo>
                    <a:pt x="450" y="66"/>
                  </a:lnTo>
                  <a:lnTo>
                    <a:pt x="450" y="72"/>
                  </a:lnTo>
                  <a:lnTo>
                    <a:pt x="450" y="72"/>
                  </a:lnTo>
                  <a:lnTo>
                    <a:pt x="454" y="78"/>
                  </a:lnTo>
                  <a:lnTo>
                    <a:pt x="454" y="80"/>
                  </a:lnTo>
                  <a:lnTo>
                    <a:pt x="457" y="80"/>
                  </a:lnTo>
                  <a:lnTo>
                    <a:pt x="461" y="82"/>
                  </a:lnTo>
                  <a:lnTo>
                    <a:pt x="475" y="82"/>
                  </a:lnTo>
                  <a:lnTo>
                    <a:pt x="479" y="85"/>
                  </a:lnTo>
                  <a:lnTo>
                    <a:pt x="481" y="85"/>
                  </a:lnTo>
                  <a:lnTo>
                    <a:pt x="483" y="85"/>
                  </a:lnTo>
                  <a:lnTo>
                    <a:pt x="483" y="87"/>
                  </a:lnTo>
                  <a:lnTo>
                    <a:pt x="485" y="91"/>
                  </a:lnTo>
                  <a:lnTo>
                    <a:pt x="487" y="93"/>
                  </a:lnTo>
                  <a:lnTo>
                    <a:pt x="489" y="95"/>
                  </a:lnTo>
                  <a:lnTo>
                    <a:pt x="489" y="97"/>
                  </a:lnTo>
                  <a:lnTo>
                    <a:pt x="489" y="97"/>
                  </a:lnTo>
                  <a:lnTo>
                    <a:pt x="489" y="99"/>
                  </a:lnTo>
                  <a:lnTo>
                    <a:pt x="489" y="99"/>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IA</a:t>
              </a:r>
            </a:p>
          </p:txBody>
        </p:sp>
        <p:sp>
          <p:nvSpPr>
            <p:cNvPr id="229" name="Freeform 44">
              <a:extLst>
                <a:ext uri="{FF2B5EF4-FFF2-40B4-BE49-F238E27FC236}">
                  <a16:creationId xmlns:a16="http://schemas.microsoft.com/office/drawing/2014/main" id="{CB2B31BA-7C77-9FCC-5409-53857CABD952}"/>
                </a:ext>
              </a:extLst>
            </p:cNvPr>
            <p:cNvSpPr>
              <a:spLocks noEditPoints="1"/>
            </p:cNvSpPr>
            <p:nvPr/>
          </p:nvSpPr>
          <p:spPr bwMode="auto">
            <a:xfrm>
              <a:off x="3435" y="2477"/>
              <a:ext cx="645" cy="391"/>
            </a:xfrm>
            <a:custGeom>
              <a:avLst/>
              <a:gdLst>
                <a:gd name="T0" fmla="*/ 485 w 645"/>
                <a:gd name="T1" fmla="*/ 161 h 391"/>
                <a:gd name="T2" fmla="*/ 471 w 645"/>
                <a:gd name="T3" fmla="*/ 153 h 391"/>
                <a:gd name="T4" fmla="*/ 457 w 645"/>
                <a:gd name="T5" fmla="*/ 155 h 391"/>
                <a:gd name="T6" fmla="*/ 438 w 645"/>
                <a:gd name="T7" fmla="*/ 147 h 391"/>
                <a:gd name="T8" fmla="*/ 426 w 645"/>
                <a:gd name="T9" fmla="*/ 143 h 391"/>
                <a:gd name="T10" fmla="*/ 426 w 645"/>
                <a:gd name="T11" fmla="*/ 168 h 391"/>
                <a:gd name="T12" fmla="*/ 440 w 645"/>
                <a:gd name="T13" fmla="*/ 170 h 391"/>
                <a:gd name="T14" fmla="*/ 448 w 645"/>
                <a:gd name="T15" fmla="*/ 190 h 391"/>
                <a:gd name="T16" fmla="*/ 469 w 645"/>
                <a:gd name="T17" fmla="*/ 194 h 391"/>
                <a:gd name="T18" fmla="*/ 502 w 645"/>
                <a:gd name="T19" fmla="*/ 180 h 391"/>
                <a:gd name="T20" fmla="*/ 422 w 645"/>
                <a:gd name="T21" fmla="*/ 204 h 391"/>
                <a:gd name="T22" fmla="*/ 635 w 645"/>
                <a:gd name="T23" fmla="*/ 313 h 391"/>
                <a:gd name="T24" fmla="*/ 612 w 645"/>
                <a:gd name="T25" fmla="*/ 295 h 391"/>
                <a:gd name="T26" fmla="*/ 561 w 645"/>
                <a:gd name="T27" fmla="*/ 252 h 391"/>
                <a:gd name="T28" fmla="*/ 545 w 645"/>
                <a:gd name="T29" fmla="*/ 245 h 391"/>
                <a:gd name="T30" fmla="*/ 522 w 645"/>
                <a:gd name="T31" fmla="*/ 233 h 391"/>
                <a:gd name="T32" fmla="*/ 524 w 645"/>
                <a:gd name="T33" fmla="*/ 262 h 391"/>
                <a:gd name="T34" fmla="*/ 504 w 645"/>
                <a:gd name="T35" fmla="*/ 284 h 391"/>
                <a:gd name="T36" fmla="*/ 506 w 645"/>
                <a:gd name="T37" fmla="*/ 309 h 391"/>
                <a:gd name="T38" fmla="*/ 512 w 645"/>
                <a:gd name="T39" fmla="*/ 325 h 391"/>
                <a:gd name="T40" fmla="*/ 514 w 645"/>
                <a:gd name="T41" fmla="*/ 370 h 391"/>
                <a:gd name="T42" fmla="*/ 526 w 645"/>
                <a:gd name="T43" fmla="*/ 381 h 391"/>
                <a:gd name="T44" fmla="*/ 547 w 645"/>
                <a:gd name="T45" fmla="*/ 387 h 391"/>
                <a:gd name="T46" fmla="*/ 575 w 645"/>
                <a:gd name="T47" fmla="*/ 358 h 391"/>
                <a:gd name="T48" fmla="*/ 608 w 645"/>
                <a:gd name="T49" fmla="*/ 348 h 391"/>
                <a:gd name="T50" fmla="*/ 643 w 645"/>
                <a:gd name="T51" fmla="*/ 323 h 391"/>
                <a:gd name="T52" fmla="*/ 410 w 645"/>
                <a:gd name="T53" fmla="*/ 127 h 391"/>
                <a:gd name="T54" fmla="*/ 389 w 645"/>
                <a:gd name="T55" fmla="*/ 123 h 391"/>
                <a:gd name="T56" fmla="*/ 362 w 645"/>
                <a:gd name="T57" fmla="*/ 123 h 391"/>
                <a:gd name="T58" fmla="*/ 354 w 645"/>
                <a:gd name="T59" fmla="*/ 123 h 391"/>
                <a:gd name="T60" fmla="*/ 354 w 645"/>
                <a:gd name="T61" fmla="*/ 137 h 391"/>
                <a:gd name="T62" fmla="*/ 403 w 645"/>
                <a:gd name="T63" fmla="*/ 139 h 391"/>
                <a:gd name="T64" fmla="*/ 111 w 645"/>
                <a:gd name="T65" fmla="*/ 8 h 391"/>
                <a:gd name="T66" fmla="*/ 98 w 645"/>
                <a:gd name="T67" fmla="*/ 2 h 391"/>
                <a:gd name="T68" fmla="*/ 72 w 645"/>
                <a:gd name="T69" fmla="*/ 6 h 391"/>
                <a:gd name="T70" fmla="*/ 53 w 645"/>
                <a:gd name="T71" fmla="*/ 22 h 391"/>
                <a:gd name="T72" fmla="*/ 68 w 645"/>
                <a:gd name="T73" fmla="*/ 34 h 391"/>
                <a:gd name="T74" fmla="*/ 94 w 645"/>
                <a:gd name="T75" fmla="*/ 45 h 391"/>
                <a:gd name="T76" fmla="*/ 108 w 645"/>
                <a:gd name="T77" fmla="*/ 26 h 391"/>
                <a:gd name="T78" fmla="*/ 12 w 645"/>
                <a:gd name="T79" fmla="*/ 32 h 391"/>
                <a:gd name="T80" fmla="*/ 4 w 645"/>
                <a:gd name="T81" fmla="*/ 53 h 391"/>
                <a:gd name="T82" fmla="*/ 16 w 645"/>
                <a:gd name="T83" fmla="*/ 41 h 391"/>
                <a:gd name="T84" fmla="*/ 301 w 645"/>
                <a:gd name="T85" fmla="*/ 104 h 391"/>
                <a:gd name="T86" fmla="*/ 293 w 645"/>
                <a:gd name="T87" fmla="*/ 92 h 391"/>
                <a:gd name="T88" fmla="*/ 285 w 645"/>
                <a:gd name="T89" fmla="*/ 90 h 391"/>
                <a:gd name="T90" fmla="*/ 278 w 645"/>
                <a:gd name="T91" fmla="*/ 75 h 391"/>
                <a:gd name="T92" fmla="*/ 268 w 645"/>
                <a:gd name="T93" fmla="*/ 63 h 391"/>
                <a:gd name="T94" fmla="*/ 252 w 645"/>
                <a:gd name="T95" fmla="*/ 75 h 391"/>
                <a:gd name="T96" fmla="*/ 233 w 645"/>
                <a:gd name="T97" fmla="*/ 79 h 391"/>
                <a:gd name="T98" fmla="*/ 246 w 645"/>
                <a:gd name="T99" fmla="*/ 100 h 391"/>
                <a:gd name="T100" fmla="*/ 256 w 645"/>
                <a:gd name="T101" fmla="*/ 112 h 391"/>
                <a:gd name="T102" fmla="*/ 264 w 645"/>
                <a:gd name="T103" fmla="*/ 102 h 391"/>
                <a:gd name="T104" fmla="*/ 272 w 645"/>
                <a:gd name="T105" fmla="*/ 102 h 391"/>
                <a:gd name="T106" fmla="*/ 278 w 645"/>
                <a:gd name="T107" fmla="*/ 108 h 391"/>
                <a:gd name="T108" fmla="*/ 293 w 645"/>
                <a:gd name="T109" fmla="*/ 114 h 391"/>
                <a:gd name="T110" fmla="*/ 401 w 645"/>
                <a:gd name="T111" fmla="*/ 161 h 391"/>
                <a:gd name="T112" fmla="*/ 385 w 645"/>
                <a:gd name="T113" fmla="*/ 170 h 391"/>
                <a:gd name="T114" fmla="*/ 407 w 645"/>
                <a:gd name="T115" fmla="*/ 166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5" h="391">
                  <a:moveTo>
                    <a:pt x="502" y="180"/>
                  </a:moveTo>
                  <a:lnTo>
                    <a:pt x="504" y="174"/>
                  </a:lnTo>
                  <a:lnTo>
                    <a:pt x="502" y="170"/>
                  </a:lnTo>
                  <a:lnTo>
                    <a:pt x="496" y="168"/>
                  </a:lnTo>
                  <a:lnTo>
                    <a:pt x="494" y="166"/>
                  </a:lnTo>
                  <a:lnTo>
                    <a:pt x="487" y="166"/>
                  </a:lnTo>
                  <a:lnTo>
                    <a:pt x="487" y="164"/>
                  </a:lnTo>
                  <a:lnTo>
                    <a:pt x="485" y="161"/>
                  </a:lnTo>
                  <a:lnTo>
                    <a:pt x="485" y="161"/>
                  </a:lnTo>
                  <a:lnTo>
                    <a:pt x="481" y="159"/>
                  </a:lnTo>
                  <a:lnTo>
                    <a:pt x="479" y="159"/>
                  </a:lnTo>
                  <a:lnTo>
                    <a:pt x="477" y="157"/>
                  </a:lnTo>
                  <a:lnTo>
                    <a:pt x="477" y="157"/>
                  </a:lnTo>
                  <a:lnTo>
                    <a:pt x="475" y="155"/>
                  </a:lnTo>
                  <a:lnTo>
                    <a:pt x="473" y="153"/>
                  </a:lnTo>
                  <a:lnTo>
                    <a:pt x="471" y="155"/>
                  </a:lnTo>
                  <a:lnTo>
                    <a:pt x="471" y="153"/>
                  </a:lnTo>
                  <a:lnTo>
                    <a:pt x="471" y="153"/>
                  </a:lnTo>
                  <a:lnTo>
                    <a:pt x="471" y="153"/>
                  </a:lnTo>
                  <a:lnTo>
                    <a:pt x="471" y="153"/>
                  </a:lnTo>
                  <a:lnTo>
                    <a:pt x="469" y="153"/>
                  </a:lnTo>
                  <a:lnTo>
                    <a:pt x="467" y="153"/>
                  </a:lnTo>
                  <a:lnTo>
                    <a:pt x="465" y="153"/>
                  </a:lnTo>
                  <a:lnTo>
                    <a:pt x="463" y="153"/>
                  </a:lnTo>
                  <a:lnTo>
                    <a:pt x="461" y="153"/>
                  </a:lnTo>
                  <a:lnTo>
                    <a:pt x="457" y="155"/>
                  </a:lnTo>
                  <a:lnTo>
                    <a:pt x="457" y="155"/>
                  </a:lnTo>
                  <a:lnTo>
                    <a:pt x="453" y="157"/>
                  </a:lnTo>
                  <a:lnTo>
                    <a:pt x="451" y="157"/>
                  </a:lnTo>
                  <a:lnTo>
                    <a:pt x="448" y="157"/>
                  </a:lnTo>
                  <a:lnTo>
                    <a:pt x="446" y="157"/>
                  </a:lnTo>
                  <a:lnTo>
                    <a:pt x="446" y="159"/>
                  </a:lnTo>
                  <a:lnTo>
                    <a:pt x="444" y="157"/>
                  </a:lnTo>
                  <a:lnTo>
                    <a:pt x="440" y="149"/>
                  </a:lnTo>
                  <a:lnTo>
                    <a:pt x="440" y="149"/>
                  </a:lnTo>
                  <a:lnTo>
                    <a:pt x="438" y="147"/>
                  </a:lnTo>
                  <a:lnTo>
                    <a:pt x="434" y="143"/>
                  </a:lnTo>
                  <a:lnTo>
                    <a:pt x="432" y="143"/>
                  </a:lnTo>
                  <a:lnTo>
                    <a:pt x="432" y="141"/>
                  </a:lnTo>
                  <a:lnTo>
                    <a:pt x="430" y="141"/>
                  </a:lnTo>
                  <a:lnTo>
                    <a:pt x="430" y="141"/>
                  </a:lnTo>
                  <a:lnTo>
                    <a:pt x="430" y="143"/>
                  </a:lnTo>
                  <a:lnTo>
                    <a:pt x="428" y="143"/>
                  </a:lnTo>
                  <a:lnTo>
                    <a:pt x="428" y="143"/>
                  </a:lnTo>
                  <a:lnTo>
                    <a:pt x="426" y="143"/>
                  </a:lnTo>
                  <a:lnTo>
                    <a:pt x="426" y="143"/>
                  </a:lnTo>
                  <a:lnTo>
                    <a:pt x="426" y="145"/>
                  </a:lnTo>
                  <a:lnTo>
                    <a:pt x="426" y="145"/>
                  </a:lnTo>
                  <a:lnTo>
                    <a:pt x="426" y="145"/>
                  </a:lnTo>
                  <a:lnTo>
                    <a:pt x="424" y="145"/>
                  </a:lnTo>
                  <a:lnTo>
                    <a:pt x="424" y="145"/>
                  </a:lnTo>
                  <a:lnTo>
                    <a:pt x="422" y="147"/>
                  </a:lnTo>
                  <a:lnTo>
                    <a:pt x="418" y="155"/>
                  </a:lnTo>
                  <a:lnTo>
                    <a:pt x="426" y="168"/>
                  </a:lnTo>
                  <a:lnTo>
                    <a:pt x="426" y="168"/>
                  </a:lnTo>
                  <a:lnTo>
                    <a:pt x="428" y="168"/>
                  </a:lnTo>
                  <a:lnTo>
                    <a:pt x="430" y="168"/>
                  </a:lnTo>
                  <a:lnTo>
                    <a:pt x="432" y="170"/>
                  </a:lnTo>
                  <a:lnTo>
                    <a:pt x="436" y="172"/>
                  </a:lnTo>
                  <a:lnTo>
                    <a:pt x="438" y="172"/>
                  </a:lnTo>
                  <a:lnTo>
                    <a:pt x="438" y="172"/>
                  </a:lnTo>
                  <a:lnTo>
                    <a:pt x="440" y="172"/>
                  </a:lnTo>
                  <a:lnTo>
                    <a:pt x="440" y="170"/>
                  </a:lnTo>
                  <a:lnTo>
                    <a:pt x="444" y="170"/>
                  </a:lnTo>
                  <a:lnTo>
                    <a:pt x="444" y="172"/>
                  </a:lnTo>
                  <a:lnTo>
                    <a:pt x="446" y="172"/>
                  </a:lnTo>
                  <a:lnTo>
                    <a:pt x="446" y="174"/>
                  </a:lnTo>
                  <a:lnTo>
                    <a:pt x="446" y="176"/>
                  </a:lnTo>
                  <a:lnTo>
                    <a:pt x="446" y="176"/>
                  </a:lnTo>
                  <a:lnTo>
                    <a:pt x="448" y="178"/>
                  </a:lnTo>
                  <a:lnTo>
                    <a:pt x="448" y="180"/>
                  </a:lnTo>
                  <a:lnTo>
                    <a:pt x="448" y="190"/>
                  </a:lnTo>
                  <a:lnTo>
                    <a:pt x="451" y="194"/>
                  </a:lnTo>
                  <a:lnTo>
                    <a:pt x="453" y="196"/>
                  </a:lnTo>
                  <a:lnTo>
                    <a:pt x="459" y="196"/>
                  </a:lnTo>
                  <a:lnTo>
                    <a:pt x="461" y="194"/>
                  </a:lnTo>
                  <a:lnTo>
                    <a:pt x="463" y="194"/>
                  </a:lnTo>
                  <a:lnTo>
                    <a:pt x="463" y="194"/>
                  </a:lnTo>
                  <a:lnTo>
                    <a:pt x="463" y="194"/>
                  </a:lnTo>
                  <a:lnTo>
                    <a:pt x="465" y="194"/>
                  </a:lnTo>
                  <a:lnTo>
                    <a:pt x="469" y="194"/>
                  </a:lnTo>
                  <a:lnTo>
                    <a:pt x="475" y="190"/>
                  </a:lnTo>
                  <a:lnTo>
                    <a:pt x="477" y="190"/>
                  </a:lnTo>
                  <a:lnTo>
                    <a:pt x="481" y="190"/>
                  </a:lnTo>
                  <a:lnTo>
                    <a:pt x="483" y="190"/>
                  </a:lnTo>
                  <a:lnTo>
                    <a:pt x="485" y="190"/>
                  </a:lnTo>
                  <a:lnTo>
                    <a:pt x="487" y="190"/>
                  </a:lnTo>
                  <a:lnTo>
                    <a:pt x="496" y="186"/>
                  </a:lnTo>
                  <a:lnTo>
                    <a:pt x="500" y="184"/>
                  </a:lnTo>
                  <a:lnTo>
                    <a:pt x="502" y="180"/>
                  </a:lnTo>
                  <a:close/>
                  <a:moveTo>
                    <a:pt x="436" y="194"/>
                  </a:moveTo>
                  <a:lnTo>
                    <a:pt x="434" y="192"/>
                  </a:lnTo>
                  <a:lnTo>
                    <a:pt x="432" y="194"/>
                  </a:lnTo>
                  <a:lnTo>
                    <a:pt x="430" y="194"/>
                  </a:lnTo>
                  <a:lnTo>
                    <a:pt x="426" y="196"/>
                  </a:lnTo>
                  <a:lnTo>
                    <a:pt x="422" y="198"/>
                  </a:lnTo>
                  <a:lnTo>
                    <a:pt x="420" y="200"/>
                  </a:lnTo>
                  <a:lnTo>
                    <a:pt x="420" y="202"/>
                  </a:lnTo>
                  <a:lnTo>
                    <a:pt x="422" y="204"/>
                  </a:lnTo>
                  <a:lnTo>
                    <a:pt x="424" y="204"/>
                  </a:lnTo>
                  <a:lnTo>
                    <a:pt x="428" y="202"/>
                  </a:lnTo>
                  <a:lnTo>
                    <a:pt x="428" y="202"/>
                  </a:lnTo>
                  <a:lnTo>
                    <a:pt x="434" y="202"/>
                  </a:lnTo>
                  <a:lnTo>
                    <a:pt x="436" y="202"/>
                  </a:lnTo>
                  <a:lnTo>
                    <a:pt x="438" y="200"/>
                  </a:lnTo>
                  <a:lnTo>
                    <a:pt x="436" y="200"/>
                  </a:lnTo>
                  <a:lnTo>
                    <a:pt x="436" y="194"/>
                  </a:lnTo>
                  <a:close/>
                  <a:moveTo>
                    <a:pt x="635" y="313"/>
                  </a:moveTo>
                  <a:lnTo>
                    <a:pt x="629" y="311"/>
                  </a:lnTo>
                  <a:lnTo>
                    <a:pt x="625" y="307"/>
                  </a:lnTo>
                  <a:lnTo>
                    <a:pt x="625" y="305"/>
                  </a:lnTo>
                  <a:lnTo>
                    <a:pt x="623" y="299"/>
                  </a:lnTo>
                  <a:lnTo>
                    <a:pt x="623" y="297"/>
                  </a:lnTo>
                  <a:lnTo>
                    <a:pt x="620" y="295"/>
                  </a:lnTo>
                  <a:lnTo>
                    <a:pt x="618" y="295"/>
                  </a:lnTo>
                  <a:lnTo>
                    <a:pt x="612" y="297"/>
                  </a:lnTo>
                  <a:lnTo>
                    <a:pt x="612" y="295"/>
                  </a:lnTo>
                  <a:lnTo>
                    <a:pt x="610" y="293"/>
                  </a:lnTo>
                  <a:lnTo>
                    <a:pt x="610" y="284"/>
                  </a:lnTo>
                  <a:lnTo>
                    <a:pt x="610" y="280"/>
                  </a:lnTo>
                  <a:lnTo>
                    <a:pt x="610" y="278"/>
                  </a:lnTo>
                  <a:lnTo>
                    <a:pt x="600" y="268"/>
                  </a:lnTo>
                  <a:lnTo>
                    <a:pt x="596" y="266"/>
                  </a:lnTo>
                  <a:lnTo>
                    <a:pt x="580" y="258"/>
                  </a:lnTo>
                  <a:lnTo>
                    <a:pt x="567" y="254"/>
                  </a:lnTo>
                  <a:lnTo>
                    <a:pt x="561" y="252"/>
                  </a:lnTo>
                  <a:lnTo>
                    <a:pt x="557" y="250"/>
                  </a:lnTo>
                  <a:lnTo>
                    <a:pt x="555" y="248"/>
                  </a:lnTo>
                  <a:lnTo>
                    <a:pt x="555" y="250"/>
                  </a:lnTo>
                  <a:lnTo>
                    <a:pt x="553" y="250"/>
                  </a:lnTo>
                  <a:lnTo>
                    <a:pt x="551" y="250"/>
                  </a:lnTo>
                  <a:lnTo>
                    <a:pt x="551" y="250"/>
                  </a:lnTo>
                  <a:lnTo>
                    <a:pt x="549" y="248"/>
                  </a:lnTo>
                  <a:lnTo>
                    <a:pt x="547" y="248"/>
                  </a:lnTo>
                  <a:lnTo>
                    <a:pt x="545" y="245"/>
                  </a:lnTo>
                  <a:lnTo>
                    <a:pt x="543" y="243"/>
                  </a:lnTo>
                  <a:lnTo>
                    <a:pt x="534" y="241"/>
                  </a:lnTo>
                  <a:lnTo>
                    <a:pt x="534" y="239"/>
                  </a:lnTo>
                  <a:lnTo>
                    <a:pt x="534" y="239"/>
                  </a:lnTo>
                  <a:lnTo>
                    <a:pt x="534" y="237"/>
                  </a:lnTo>
                  <a:lnTo>
                    <a:pt x="534" y="237"/>
                  </a:lnTo>
                  <a:lnTo>
                    <a:pt x="532" y="237"/>
                  </a:lnTo>
                  <a:lnTo>
                    <a:pt x="530" y="235"/>
                  </a:lnTo>
                  <a:lnTo>
                    <a:pt x="522" y="233"/>
                  </a:lnTo>
                  <a:lnTo>
                    <a:pt x="518" y="233"/>
                  </a:lnTo>
                  <a:lnTo>
                    <a:pt x="516" y="235"/>
                  </a:lnTo>
                  <a:lnTo>
                    <a:pt x="514" y="239"/>
                  </a:lnTo>
                  <a:lnTo>
                    <a:pt x="514" y="243"/>
                  </a:lnTo>
                  <a:lnTo>
                    <a:pt x="514" y="248"/>
                  </a:lnTo>
                  <a:lnTo>
                    <a:pt x="516" y="252"/>
                  </a:lnTo>
                  <a:lnTo>
                    <a:pt x="522" y="260"/>
                  </a:lnTo>
                  <a:lnTo>
                    <a:pt x="524" y="260"/>
                  </a:lnTo>
                  <a:lnTo>
                    <a:pt x="524" y="262"/>
                  </a:lnTo>
                  <a:lnTo>
                    <a:pt x="524" y="264"/>
                  </a:lnTo>
                  <a:lnTo>
                    <a:pt x="524" y="266"/>
                  </a:lnTo>
                  <a:lnTo>
                    <a:pt x="520" y="268"/>
                  </a:lnTo>
                  <a:lnTo>
                    <a:pt x="518" y="268"/>
                  </a:lnTo>
                  <a:lnTo>
                    <a:pt x="514" y="276"/>
                  </a:lnTo>
                  <a:lnTo>
                    <a:pt x="514" y="276"/>
                  </a:lnTo>
                  <a:lnTo>
                    <a:pt x="510" y="280"/>
                  </a:lnTo>
                  <a:lnTo>
                    <a:pt x="506" y="282"/>
                  </a:lnTo>
                  <a:lnTo>
                    <a:pt x="504" y="284"/>
                  </a:lnTo>
                  <a:lnTo>
                    <a:pt x="504" y="286"/>
                  </a:lnTo>
                  <a:lnTo>
                    <a:pt x="502" y="286"/>
                  </a:lnTo>
                  <a:lnTo>
                    <a:pt x="500" y="289"/>
                  </a:lnTo>
                  <a:lnTo>
                    <a:pt x="498" y="291"/>
                  </a:lnTo>
                  <a:lnTo>
                    <a:pt x="496" y="295"/>
                  </a:lnTo>
                  <a:lnTo>
                    <a:pt x="498" y="299"/>
                  </a:lnTo>
                  <a:lnTo>
                    <a:pt x="500" y="303"/>
                  </a:lnTo>
                  <a:lnTo>
                    <a:pt x="502" y="305"/>
                  </a:lnTo>
                  <a:lnTo>
                    <a:pt x="506" y="309"/>
                  </a:lnTo>
                  <a:lnTo>
                    <a:pt x="506" y="313"/>
                  </a:lnTo>
                  <a:lnTo>
                    <a:pt x="506" y="315"/>
                  </a:lnTo>
                  <a:lnTo>
                    <a:pt x="508" y="317"/>
                  </a:lnTo>
                  <a:lnTo>
                    <a:pt x="508" y="319"/>
                  </a:lnTo>
                  <a:lnTo>
                    <a:pt x="508" y="321"/>
                  </a:lnTo>
                  <a:lnTo>
                    <a:pt x="510" y="325"/>
                  </a:lnTo>
                  <a:lnTo>
                    <a:pt x="510" y="325"/>
                  </a:lnTo>
                  <a:lnTo>
                    <a:pt x="512" y="325"/>
                  </a:lnTo>
                  <a:lnTo>
                    <a:pt x="512" y="325"/>
                  </a:lnTo>
                  <a:lnTo>
                    <a:pt x="512" y="325"/>
                  </a:lnTo>
                  <a:lnTo>
                    <a:pt x="512" y="327"/>
                  </a:lnTo>
                  <a:lnTo>
                    <a:pt x="512" y="327"/>
                  </a:lnTo>
                  <a:lnTo>
                    <a:pt x="514" y="338"/>
                  </a:lnTo>
                  <a:lnTo>
                    <a:pt x="516" y="340"/>
                  </a:lnTo>
                  <a:lnTo>
                    <a:pt x="516" y="342"/>
                  </a:lnTo>
                  <a:lnTo>
                    <a:pt x="516" y="342"/>
                  </a:lnTo>
                  <a:lnTo>
                    <a:pt x="514" y="362"/>
                  </a:lnTo>
                  <a:lnTo>
                    <a:pt x="514" y="370"/>
                  </a:lnTo>
                  <a:lnTo>
                    <a:pt x="514" y="375"/>
                  </a:lnTo>
                  <a:lnTo>
                    <a:pt x="516" y="375"/>
                  </a:lnTo>
                  <a:lnTo>
                    <a:pt x="516" y="375"/>
                  </a:lnTo>
                  <a:lnTo>
                    <a:pt x="516" y="377"/>
                  </a:lnTo>
                  <a:lnTo>
                    <a:pt x="518" y="379"/>
                  </a:lnTo>
                  <a:lnTo>
                    <a:pt x="518" y="379"/>
                  </a:lnTo>
                  <a:lnTo>
                    <a:pt x="518" y="381"/>
                  </a:lnTo>
                  <a:lnTo>
                    <a:pt x="522" y="379"/>
                  </a:lnTo>
                  <a:lnTo>
                    <a:pt x="526" y="381"/>
                  </a:lnTo>
                  <a:lnTo>
                    <a:pt x="532" y="383"/>
                  </a:lnTo>
                  <a:lnTo>
                    <a:pt x="537" y="385"/>
                  </a:lnTo>
                  <a:lnTo>
                    <a:pt x="539" y="387"/>
                  </a:lnTo>
                  <a:lnTo>
                    <a:pt x="541" y="391"/>
                  </a:lnTo>
                  <a:lnTo>
                    <a:pt x="541" y="391"/>
                  </a:lnTo>
                  <a:lnTo>
                    <a:pt x="543" y="391"/>
                  </a:lnTo>
                  <a:lnTo>
                    <a:pt x="545" y="389"/>
                  </a:lnTo>
                  <a:lnTo>
                    <a:pt x="547" y="389"/>
                  </a:lnTo>
                  <a:lnTo>
                    <a:pt x="547" y="387"/>
                  </a:lnTo>
                  <a:lnTo>
                    <a:pt x="553" y="381"/>
                  </a:lnTo>
                  <a:lnTo>
                    <a:pt x="555" y="375"/>
                  </a:lnTo>
                  <a:lnTo>
                    <a:pt x="555" y="373"/>
                  </a:lnTo>
                  <a:lnTo>
                    <a:pt x="561" y="366"/>
                  </a:lnTo>
                  <a:lnTo>
                    <a:pt x="563" y="366"/>
                  </a:lnTo>
                  <a:lnTo>
                    <a:pt x="569" y="364"/>
                  </a:lnTo>
                  <a:lnTo>
                    <a:pt x="569" y="362"/>
                  </a:lnTo>
                  <a:lnTo>
                    <a:pt x="573" y="360"/>
                  </a:lnTo>
                  <a:lnTo>
                    <a:pt x="575" y="358"/>
                  </a:lnTo>
                  <a:lnTo>
                    <a:pt x="577" y="358"/>
                  </a:lnTo>
                  <a:lnTo>
                    <a:pt x="577" y="358"/>
                  </a:lnTo>
                  <a:lnTo>
                    <a:pt x="582" y="354"/>
                  </a:lnTo>
                  <a:lnTo>
                    <a:pt x="586" y="352"/>
                  </a:lnTo>
                  <a:lnTo>
                    <a:pt x="586" y="350"/>
                  </a:lnTo>
                  <a:lnTo>
                    <a:pt x="588" y="350"/>
                  </a:lnTo>
                  <a:lnTo>
                    <a:pt x="598" y="350"/>
                  </a:lnTo>
                  <a:lnTo>
                    <a:pt x="600" y="350"/>
                  </a:lnTo>
                  <a:lnTo>
                    <a:pt x="608" y="348"/>
                  </a:lnTo>
                  <a:lnTo>
                    <a:pt x="612" y="346"/>
                  </a:lnTo>
                  <a:lnTo>
                    <a:pt x="614" y="346"/>
                  </a:lnTo>
                  <a:lnTo>
                    <a:pt x="616" y="344"/>
                  </a:lnTo>
                  <a:lnTo>
                    <a:pt x="618" y="344"/>
                  </a:lnTo>
                  <a:lnTo>
                    <a:pt x="631" y="336"/>
                  </a:lnTo>
                  <a:lnTo>
                    <a:pt x="631" y="334"/>
                  </a:lnTo>
                  <a:lnTo>
                    <a:pt x="641" y="329"/>
                  </a:lnTo>
                  <a:lnTo>
                    <a:pt x="641" y="327"/>
                  </a:lnTo>
                  <a:lnTo>
                    <a:pt x="643" y="323"/>
                  </a:lnTo>
                  <a:lnTo>
                    <a:pt x="643" y="321"/>
                  </a:lnTo>
                  <a:lnTo>
                    <a:pt x="645" y="319"/>
                  </a:lnTo>
                  <a:lnTo>
                    <a:pt x="635" y="313"/>
                  </a:lnTo>
                  <a:close/>
                  <a:moveTo>
                    <a:pt x="418" y="127"/>
                  </a:moveTo>
                  <a:lnTo>
                    <a:pt x="414" y="127"/>
                  </a:lnTo>
                  <a:lnTo>
                    <a:pt x="412" y="127"/>
                  </a:lnTo>
                  <a:lnTo>
                    <a:pt x="412" y="127"/>
                  </a:lnTo>
                  <a:lnTo>
                    <a:pt x="410" y="127"/>
                  </a:lnTo>
                  <a:lnTo>
                    <a:pt x="410" y="127"/>
                  </a:lnTo>
                  <a:lnTo>
                    <a:pt x="410" y="127"/>
                  </a:lnTo>
                  <a:lnTo>
                    <a:pt x="407" y="127"/>
                  </a:lnTo>
                  <a:lnTo>
                    <a:pt x="407" y="127"/>
                  </a:lnTo>
                  <a:lnTo>
                    <a:pt x="405" y="127"/>
                  </a:lnTo>
                  <a:lnTo>
                    <a:pt x="405" y="127"/>
                  </a:lnTo>
                  <a:lnTo>
                    <a:pt x="397" y="127"/>
                  </a:lnTo>
                  <a:lnTo>
                    <a:pt x="395" y="127"/>
                  </a:lnTo>
                  <a:lnTo>
                    <a:pt x="393" y="127"/>
                  </a:lnTo>
                  <a:lnTo>
                    <a:pt x="389" y="123"/>
                  </a:lnTo>
                  <a:lnTo>
                    <a:pt x="387" y="123"/>
                  </a:lnTo>
                  <a:lnTo>
                    <a:pt x="387" y="123"/>
                  </a:lnTo>
                  <a:lnTo>
                    <a:pt x="387" y="125"/>
                  </a:lnTo>
                  <a:lnTo>
                    <a:pt x="387" y="125"/>
                  </a:lnTo>
                  <a:lnTo>
                    <a:pt x="385" y="125"/>
                  </a:lnTo>
                  <a:lnTo>
                    <a:pt x="381" y="125"/>
                  </a:lnTo>
                  <a:lnTo>
                    <a:pt x="379" y="123"/>
                  </a:lnTo>
                  <a:lnTo>
                    <a:pt x="362" y="123"/>
                  </a:lnTo>
                  <a:lnTo>
                    <a:pt x="362" y="123"/>
                  </a:lnTo>
                  <a:lnTo>
                    <a:pt x="360" y="120"/>
                  </a:lnTo>
                  <a:lnTo>
                    <a:pt x="358" y="120"/>
                  </a:lnTo>
                  <a:lnTo>
                    <a:pt x="358" y="120"/>
                  </a:lnTo>
                  <a:lnTo>
                    <a:pt x="356" y="120"/>
                  </a:lnTo>
                  <a:lnTo>
                    <a:pt x="356" y="120"/>
                  </a:lnTo>
                  <a:lnTo>
                    <a:pt x="354" y="120"/>
                  </a:lnTo>
                  <a:lnTo>
                    <a:pt x="354" y="120"/>
                  </a:lnTo>
                  <a:lnTo>
                    <a:pt x="354" y="123"/>
                  </a:lnTo>
                  <a:lnTo>
                    <a:pt x="354" y="123"/>
                  </a:lnTo>
                  <a:lnTo>
                    <a:pt x="354" y="125"/>
                  </a:lnTo>
                  <a:lnTo>
                    <a:pt x="350" y="127"/>
                  </a:lnTo>
                  <a:lnTo>
                    <a:pt x="350" y="129"/>
                  </a:lnTo>
                  <a:lnTo>
                    <a:pt x="348" y="131"/>
                  </a:lnTo>
                  <a:lnTo>
                    <a:pt x="348" y="133"/>
                  </a:lnTo>
                  <a:lnTo>
                    <a:pt x="348" y="135"/>
                  </a:lnTo>
                  <a:lnTo>
                    <a:pt x="350" y="135"/>
                  </a:lnTo>
                  <a:lnTo>
                    <a:pt x="352" y="137"/>
                  </a:lnTo>
                  <a:lnTo>
                    <a:pt x="354" y="137"/>
                  </a:lnTo>
                  <a:lnTo>
                    <a:pt x="356" y="135"/>
                  </a:lnTo>
                  <a:lnTo>
                    <a:pt x="358" y="135"/>
                  </a:lnTo>
                  <a:lnTo>
                    <a:pt x="367" y="135"/>
                  </a:lnTo>
                  <a:lnTo>
                    <a:pt x="377" y="135"/>
                  </a:lnTo>
                  <a:lnTo>
                    <a:pt x="379" y="135"/>
                  </a:lnTo>
                  <a:lnTo>
                    <a:pt x="389" y="139"/>
                  </a:lnTo>
                  <a:lnTo>
                    <a:pt x="395" y="141"/>
                  </a:lnTo>
                  <a:lnTo>
                    <a:pt x="399" y="141"/>
                  </a:lnTo>
                  <a:lnTo>
                    <a:pt x="403" y="139"/>
                  </a:lnTo>
                  <a:lnTo>
                    <a:pt x="407" y="139"/>
                  </a:lnTo>
                  <a:lnTo>
                    <a:pt x="414" y="135"/>
                  </a:lnTo>
                  <a:lnTo>
                    <a:pt x="416" y="133"/>
                  </a:lnTo>
                  <a:lnTo>
                    <a:pt x="418" y="127"/>
                  </a:lnTo>
                  <a:lnTo>
                    <a:pt x="418" y="127"/>
                  </a:lnTo>
                  <a:close/>
                  <a:moveTo>
                    <a:pt x="113" y="10"/>
                  </a:moveTo>
                  <a:lnTo>
                    <a:pt x="111" y="10"/>
                  </a:lnTo>
                  <a:lnTo>
                    <a:pt x="111" y="10"/>
                  </a:lnTo>
                  <a:lnTo>
                    <a:pt x="111" y="8"/>
                  </a:lnTo>
                  <a:lnTo>
                    <a:pt x="111" y="6"/>
                  </a:lnTo>
                  <a:lnTo>
                    <a:pt x="108" y="6"/>
                  </a:lnTo>
                  <a:lnTo>
                    <a:pt x="106" y="4"/>
                  </a:lnTo>
                  <a:lnTo>
                    <a:pt x="104" y="2"/>
                  </a:lnTo>
                  <a:lnTo>
                    <a:pt x="102" y="2"/>
                  </a:lnTo>
                  <a:lnTo>
                    <a:pt x="100" y="2"/>
                  </a:lnTo>
                  <a:lnTo>
                    <a:pt x="100" y="0"/>
                  </a:lnTo>
                  <a:lnTo>
                    <a:pt x="98" y="2"/>
                  </a:lnTo>
                  <a:lnTo>
                    <a:pt x="98" y="2"/>
                  </a:lnTo>
                  <a:lnTo>
                    <a:pt x="96" y="2"/>
                  </a:lnTo>
                  <a:lnTo>
                    <a:pt x="88" y="4"/>
                  </a:lnTo>
                  <a:lnTo>
                    <a:pt x="86" y="4"/>
                  </a:lnTo>
                  <a:lnTo>
                    <a:pt x="86" y="2"/>
                  </a:lnTo>
                  <a:lnTo>
                    <a:pt x="84" y="2"/>
                  </a:lnTo>
                  <a:lnTo>
                    <a:pt x="82" y="2"/>
                  </a:lnTo>
                  <a:lnTo>
                    <a:pt x="80" y="2"/>
                  </a:lnTo>
                  <a:lnTo>
                    <a:pt x="78" y="2"/>
                  </a:lnTo>
                  <a:lnTo>
                    <a:pt x="72" y="6"/>
                  </a:lnTo>
                  <a:lnTo>
                    <a:pt x="61" y="12"/>
                  </a:lnTo>
                  <a:lnTo>
                    <a:pt x="61" y="12"/>
                  </a:lnTo>
                  <a:lnTo>
                    <a:pt x="61" y="12"/>
                  </a:lnTo>
                  <a:lnTo>
                    <a:pt x="61" y="12"/>
                  </a:lnTo>
                  <a:lnTo>
                    <a:pt x="61" y="14"/>
                  </a:lnTo>
                  <a:lnTo>
                    <a:pt x="59" y="14"/>
                  </a:lnTo>
                  <a:lnTo>
                    <a:pt x="55" y="20"/>
                  </a:lnTo>
                  <a:lnTo>
                    <a:pt x="55" y="22"/>
                  </a:lnTo>
                  <a:lnTo>
                    <a:pt x="53" y="22"/>
                  </a:lnTo>
                  <a:lnTo>
                    <a:pt x="55" y="26"/>
                  </a:lnTo>
                  <a:lnTo>
                    <a:pt x="55" y="28"/>
                  </a:lnTo>
                  <a:lnTo>
                    <a:pt x="57" y="28"/>
                  </a:lnTo>
                  <a:lnTo>
                    <a:pt x="57" y="30"/>
                  </a:lnTo>
                  <a:lnTo>
                    <a:pt x="59" y="30"/>
                  </a:lnTo>
                  <a:lnTo>
                    <a:pt x="61" y="32"/>
                  </a:lnTo>
                  <a:lnTo>
                    <a:pt x="63" y="32"/>
                  </a:lnTo>
                  <a:lnTo>
                    <a:pt x="65" y="34"/>
                  </a:lnTo>
                  <a:lnTo>
                    <a:pt x="68" y="34"/>
                  </a:lnTo>
                  <a:lnTo>
                    <a:pt x="70" y="34"/>
                  </a:lnTo>
                  <a:lnTo>
                    <a:pt x="72" y="36"/>
                  </a:lnTo>
                  <a:lnTo>
                    <a:pt x="76" y="41"/>
                  </a:lnTo>
                  <a:lnTo>
                    <a:pt x="76" y="41"/>
                  </a:lnTo>
                  <a:lnTo>
                    <a:pt x="78" y="41"/>
                  </a:lnTo>
                  <a:lnTo>
                    <a:pt x="80" y="41"/>
                  </a:lnTo>
                  <a:lnTo>
                    <a:pt x="86" y="41"/>
                  </a:lnTo>
                  <a:lnTo>
                    <a:pt x="90" y="43"/>
                  </a:lnTo>
                  <a:lnTo>
                    <a:pt x="94" y="45"/>
                  </a:lnTo>
                  <a:lnTo>
                    <a:pt x="100" y="41"/>
                  </a:lnTo>
                  <a:lnTo>
                    <a:pt x="106" y="34"/>
                  </a:lnTo>
                  <a:lnTo>
                    <a:pt x="106" y="32"/>
                  </a:lnTo>
                  <a:lnTo>
                    <a:pt x="106" y="32"/>
                  </a:lnTo>
                  <a:lnTo>
                    <a:pt x="106" y="32"/>
                  </a:lnTo>
                  <a:lnTo>
                    <a:pt x="108" y="32"/>
                  </a:lnTo>
                  <a:lnTo>
                    <a:pt x="108" y="30"/>
                  </a:lnTo>
                  <a:lnTo>
                    <a:pt x="108" y="28"/>
                  </a:lnTo>
                  <a:lnTo>
                    <a:pt x="108" y="26"/>
                  </a:lnTo>
                  <a:lnTo>
                    <a:pt x="106" y="24"/>
                  </a:lnTo>
                  <a:lnTo>
                    <a:pt x="111" y="18"/>
                  </a:lnTo>
                  <a:lnTo>
                    <a:pt x="113" y="12"/>
                  </a:lnTo>
                  <a:lnTo>
                    <a:pt x="113" y="12"/>
                  </a:lnTo>
                  <a:lnTo>
                    <a:pt x="113" y="10"/>
                  </a:lnTo>
                  <a:close/>
                  <a:moveTo>
                    <a:pt x="18" y="26"/>
                  </a:moveTo>
                  <a:lnTo>
                    <a:pt x="16" y="28"/>
                  </a:lnTo>
                  <a:lnTo>
                    <a:pt x="16" y="28"/>
                  </a:lnTo>
                  <a:lnTo>
                    <a:pt x="12" y="32"/>
                  </a:lnTo>
                  <a:lnTo>
                    <a:pt x="12" y="32"/>
                  </a:lnTo>
                  <a:lnTo>
                    <a:pt x="10" y="34"/>
                  </a:lnTo>
                  <a:lnTo>
                    <a:pt x="10" y="36"/>
                  </a:lnTo>
                  <a:lnTo>
                    <a:pt x="6" y="36"/>
                  </a:lnTo>
                  <a:lnTo>
                    <a:pt x="2" y="43"/>
                  </a:lnTo>
                  <a:lnTo>
                    <a:pt x="0" y="45"/>
                  </a:lnTo>
                  <a:lnTo>
                    <a:pt x="0" y="49"/>
                  </a:lnTo>
                  <a:lnTo>
                    <a:pt x="0" y="51"/>
                  </a:lnTo>
                  <a:lnTo>
                    <a:pt x="4" y="53"/>
                  </a:lnTo>
                  <a:lnTo>
                    <a:pt x="4" y="53"/>
                  </a:lnTo>
                  <a:lnTo>
                    <a:pt x="6" y="53"/>
                  </a:lnTo>
                  <a:lnTo>
                    <a:pt x="6" y="51"/>
                  </a:lnTo>
                  <a:lnTo>
                    <a:pt x="8" y="49"/>
                  </a:lnTo>
                  <a:lnTo>
                    <a:pt x="8" y="47"/>
                  </a:lnTo>
                  <a:lnTo>
                    <a:pt x="12" y="43"/>
                  </a:lnTo>
                  <a:lnTo>
                    <a:pt x="12" y="43"/>
                  </a:lnTo>
                  <a:lnTo>
                    <a:pt x="16" y="43"/>
                  </a:lnTo>
                  <a:lnTo>
                    <a:pt x="16" y="41"/>
                  </a:lnTo>
                  <a:lnTo>
                    <a:pt x="18" y="41"/>
                  </a:lnTo>
                  <a:lnTo>
                    <a:pt x="20" y="38"/>
                  </a:lnTo>
                  <a:lnTo>
                    <a:pt x="20" y="36"/>
                  </a:lnTo>
                  <a:lnTo>
                    <a:pt x="20" y="32"/>
                  </a:lnTo>
                  <a:lnTo>
                    <a:pt x="22" y="30"/>
                  </a:lnTo>
                  <a:lnTo>
                    <a:pt x="25" y="28"/>
                  </a:lnTo>
                  <a:lnTo>
                    <a:pt x="22" y="26"/>
                  </a:lnTo>
                  <a:lnTo>
                    <a:pt x="18" y="26"/>
                  </a:lnTo>
                  <a:close/>
                  <a:moveTo>
                    <a:pt x="301" y="104"/>
                  </a:moveTo>
                  <a:lnTo>
                    <a:pt x="301" y="102"/>
                  </a:lnTo>
                  <a:lnTo>
                    <a:pt x="301" y="100"/>
                  </a:lnTo>
                  <a:lnTo>
                    <a:pt x="301" y="98"/>
                  </a:lnTo>
                  <a:lnTo>
                    <a:pt x="299" y="98"/>
                  </a:lnTo>
                  <a:lnTo>
                    <a:pt x="297" y="98"/>
                  </a:lnTo>
                  <a:lnTo>
                    <a:pt x="297" y="96"/>
                  </a:lnTo>
                  <a:lnTo>
                    <a:pt x="297" y="94"/>
                  </a:lnTo>
                  <a:lnTo>
                    <a:pt x="299" y="92"/>
                  </a:lnTo>
                  <a:lnTo>
                    <a:pt x="293" y="92"/>
                  </a:lnTo>
                  <a:lnTo>
                    <a:pt x="291" y="92"/>
                  </a:lnTo>
                  <a:lnTo>
                    <a:pt x="295" y="96"/>
                  </a:lnTo>
                  <a:lnTo>
                    <a:pt x="293" y="96"/>
                  </a:lnTo>
                  <a:lnTo>
                    <a:pt x="291" y="96"/>
                  </a:lnTo>
                  <a:lnTo>
                    <a:pt x="291" y="96"/>
                  </a:lnTo>
                  <a:lnTo>
                    <a:pt x="291" y="96"/>
                  </a:lnTo>
                  <a:lnTo>
                    <a:pt x="287" y="92"/>
                  </a:lnTo>
                  <a:lnTo>
                    <a:pt x="285" y="92"/>
                  </a:lnTo>
                  <a:lnTo>
                    <a:pt x="285" y="90"/>
                  </a:lnTo>
                  <a:lnTo>
                    <a:pt x="283" y="86"/>
                  </a:lnTo>
                  <a:lnTo>
                    <a:pt x="283" y="86"/>
                  </a:lnTo>
                  <a:lnTo>
                    <a:pt x="283" y="86"/>
                  </a:lnTo>
                  <a:lnTo>
                    <a:pt x="285" y="86"/>
                  </a:lnTo>
                  <a:lnTo>
                    <a:pt x="285" y="84"/>
                  </a:lnTo>
                  <a:lnTo>
                    <a:pt x="285" y="82"/>
                  </a:lnTo>
                  <a:lnTo>
                    <a:pt x="283" y="82"/>
                  </a:lnTo>
                  <a:lnTo>
                    <a:pt x="281" y="79"/>
                  </a:lnTo>
                  <a:lnTo>
                    <a:pt x="278" y="75"/>
                  </a:lnTo>
                  <a:lnTo>
                    <a:pt x="276" y="73"/>
                  </a:lnTo>
                  <a:lnTo>
                    <a:pt x="276" y="71"/>
                  </a:lnTo>
                  <a:lnTo>
                    <a:pt x="274" y="69"/>
                  </a:lnTo>
                  <a:lnTo>
                    <a:pt x="272" y="67"/>
                  </a:lnTo>
                  <a:lnTo>
                    <a:pt x="272" y="65"/>
                  </a:lnTo>
                  <a:lnTo>
                    <a:pt x="270" y="65"/>
                  </a:lnTo>
                  <a:lnTo>
                    <a:pt x="268" y="63"/>
                  </a:lnTo>
                  <a:lnTo>
                    <a:pt x="268" y="63"/>
                  </a:lnTo>
                  <a:lnTo>
                    <a:pt x="268" y="63"/>
                  </a:lnTo>
                  <a:lnTo>
                    <a:pt x="268" y="63"/>
                  </a:lnTo>
                  <a:lnTo>
                    <a:pt x="262" y="65"/>
                  </a:lnTo>
                  <a:lnTo>
                    <a:pt x="260" y="67"/>
                  </a:lnTo>
                  <a:lnTo>
                    <a:pt x="258" y="69"/>
                  </a:lnTo>
                  <a:lnTo>
                    <a:pt x="258" y="71"/>
                  </a:lnTo>
                  <a:lnTo>
                    <a:pt x="256" y="71"/>
                  </a:lnTo>
                  <a:lnTo>
                    <a:pt x="256" y="71"/>
                  </a:lnTo>
                  <a:lnTo>
                    <a:pt x="252" y="73"/>
                  </a:lnTo>
                  <a:lnTo>
                    <a:pt x="252" y="75"/>
                  </a:lnTo>
                  <a:lnTo>
                    <a:pt x="252" y="75"/>
                  </a:lnTo>
                  <a:lnTo>
                    <a:pt x="252" y="77"/>
                  </a:lnTo>
                  <a:lnTo>
                    <a:pt x="250" y="77"/>
                  </a:lnTo>
                  <a:lnTo>
                    <a:pt x="248" y="77"/>
                  </a:lnTo>
                  <a:lnTo>
                    <a:pt x="246" y="77"/>
                  </a:lnTo>
                  <a:lnTo>
                    <a:pt x="240" y="75"/>
                  </a:lnTo>
                  <a:lnTo>
                    <a:pt x="238" y="77"/>
                  </a:lnTo>
                  <a:lnTo>
                    <a:pt x="235" y="77"/>
                  </a:lnTo>
                  <a:lnTo>
                    <a:pt x="233" y="79"/>
                  </a:lnTo>
                  <a:lnTo>
                    <a:pt x="238" y="84"/>
                  </a:lnTo>
                  <a:lnTo>
                    <a:pt x="238" y="86"/>
                  </a:lnTo>
                  <a:lnTo>
                    <a:pt x="235" y="88"/>
                  </a:lnTo>
                  <a:lnTo>
                    <a:pt x="238" y="90"/>
                  </a:lnTo>
                  <a:lnTo>
                    <a:pt x="240" y="92"/>
                  </a:lnTo>
                  <a:lnTo>
                    <a:pt x="242" y="92"/>
                  </a:lnTo>
                  <a:lnTo>
                    <a:pt x="242" y="94"/>
                  </a:lnTo>
                  <a:lnTo>
                    <a:pt x="244" y="98"/>
                  </a:lnTo>
                  <a:lnTo>
                    <a:pt x="246" y="100"/>
                  </a:lnTo>
                  <a:lnTo>
                    <a:pt x="248" y="102"/>
                  </a:lnTo>
                  <a:lnTo>
                    <a:pt x="250" y="102"/>
                  </a:lnTo>
                  <a:lnTo>
                    <a:pt x="250" y="102"/>
                  </a:lnTo>
                  <a:lnTo>
                    <a:pt x="250" y="104"/>
                  </a:lnTo>
                  <a:lnTo>
                    <a:pt x="252" y="112"/>
                  </a:lnTo>
                  <a:lnTo>
                    <a:pt x="254" y="112"/>
                  </a:lnTo>
                  <a:lnTo>
                    <a:pt x="254" y="112"/>
                  </a:lnTo>
                  <a:lnTo>
                    <a:pt x="254" y="112"/>
                  </a:lnTo>
                  <a:lnTo>
                    <a:pt x="256" y="112"/>
                  </a:lnTo>
                  <a:lnTo>
                    <a:pt x="258" y="110"/>
                  </a:lnTo>
                  <a:lnTo>
                    <a:pt x="262" y="110"/>
                  </a:lnTo>
                  <a:lnTo>
                    <a:pt x="266" y="110"/>
                  </a:lnTo>
                  <a:lnTo>
                    <a:pt x="268" y="110"/>
                  </a:lnTo>
                  <a:lnTo>
                    <a:pt x="268" y="106"/>
                  </a:lnTo>
                  <a:lnTo>
                    <a:pt x="266" y="106"/>
                  </a:lnTo>
                  <a:lnTo>
                    <a:pt x="264" y="104"/>
                  </a:lnTo>
                  <a:lnTo>
                    <a:pt x="262" y="102"/>
                  </a:lnTo>
                  <a:lnTo>
                    <a:pt x="264" y="102"/>
                  </a:lnTo>
                  <a:lnTo>
                    <a:pt x="266" y="104"/>
                  </a:lnTo>
                  <a:lnTo>
                    <a:pt x="268" y="104"/>
                  </a:lnTo>
                  <a:lnTo>
                    <a:pt x="266" y="100"/>
                  </a:lnTo>
                  <a:lnTo>
                    <a:pt x="268" y="102"/>
                  </a:lnTo>
                  <a:lnTo>
                    <a:pt x="270" y="102"/>
                  </a:lnTo>
                  <a:lnTo>
                    <a:pt x="270" y="100"/>
                  </a:lnTo>
                  <a:lnTo>
                    <a:pt x="270" y="100"/>
                  </a:lnTo>
                  <a:lnTo>
                    <a:pt x="272" y="102"/>
                  </a:lnTo>
                  <a:lnTo>
                    <a:pt x="272" y="102"/>
                  </a:lnTo>
                  <a:lnTo>
                    <a:pt x="272" y="104"/>
                  </a:lnTo>
                  <a:lnTo>
                    <a:pt x="272" y="104"/>
                  </a:lnTo>
                  <a:lnTo>
                    <a:pt x="270" y="104"/>
                  </a:lnTo>
                  <a:lnTo>
                    <a:pt x="270" y="106"/>
                  </a:lnTo>
                  <a:lnTo>
                    <a:pt x="270" y="108"/>
                  </a:lnTo>
                  <a:lnTo>
                    <a:pt x="272" y="108"/>
                  </a:lnTo>
                  <a:lnTo>
                    <a:pt x="274" y="108"/>
                  </a:lnTo>
                  <a:lnTo>
                    <a:pt x="276" y="106"/>
                  </a:lnTo>
                  <a:lnTo>
                    <a:pt x="278" y="108"/>
                  </a:lnTo>
                  <a:lnTo>
                    <a:pt x="281" y="108"/>
                  </a:lnTo>
                  <a:lnTo>
                    <a:pt x="281" y="110"/>
                  </a:lnTo>
                  <a:lnTo>
                    <a:pt x="281" y="110"/>
                  </a:lnTo>
                  <a:lnTo>
                    <a:pt x="283" y="112"/>
                  </a:lnTo>
                  <a:lnTo>
                    <a:pt x="285" y="114"/>
                  </a:lnTo>
                  <a:lnTo>
                    <a:pt x="287" y="114"/>
                  </a:lnTo>
                  <a:lnTo>
                    <a:pt x="289" y="116"/>
                  </a:lnTo>
                  <a:lnTo>
                    <a:pt x="291" y="116"/>
                  </a:lnTo>
                  <a:lnTo>
                    <a:pt x="293" y="114"/>
                  </a:lnTo>
                  <a:lnTo>
                    <a:pt x="295" y="114"/>
                  </a:lnTo>
                  <a:lnTo>
                    <a:pt x="299" y="112"/>
                  </a:lnTo>
                  <a:lnTo>
                    <a:pt x="301" y="116"/>
                  </a:lnTo>
                  <a:lnTo>
                    <a:pt x="301" y="114"/>
                  </a:lnTo>
                  <a:lnTo>
                    <a:pt x="307" y="110"/>
                  </a:lnTo>
                  <a:lnTo>
                    <a:pt x="307" y="108"/>
                  </a:lnTo>
                  <a:lnTo>
                    <a:pt x="301" y="104"/>
                  </a:lnTo>
                  <a:close/>
                  <a:moveTo>
                    <a:pt x="403" y="161"/>
                  </a:moveTo>
                  <a:lnTo>
                    <a:pt x="401" y="161"/>
                  </a:lnTo>
                  <a:lnTo>
                    <a:pt x="399" y="161"/>
                  </a:lnTo>
                  <a:lnTo>
                    <a:pt x="393" y="155"/>
                  </a:lnTo>
                  <a:lnTo>
                    <a:pt x="381" y="155"/>
                  </a:lnTo>
                  <a:lnTo>
                    <a:pt x="377" y="157"/>
                  </a:lnTo>
                  <a:lnTo>
                    <a:pt x="379" y="161"/>
                  </a:lnTo>
                  <a:lnTo>
                    <a:pt x="383" y="164"/>
                  </a:lnTo>
                  <a:lnTo>
                    <a:pt x="385" y="166"/>
                  </a:lnTo>
                  <a:lnTo>
                    <a:pt x="385" y="168"/>
                  </a:lnTo>
                  <a:lnTo>
                    <a:pt x="385" y="170"/>
                  </a:lnTo>
                  <a:lnTo>
                    <a:pt x="385" y="174"/>
                  </a:lnTo>
                  <a:lnTo>
                    <a:pt x="387" y="176"/>
                  </a:lnTo>
                  <a:lnTo>
                    <a:pt x="389" y="178"/>
                  </a:lnTo>
                  <a:lnTo>
                    <a:pt x="393" y="178"/>
                  </a:lnTo>
                  <a:lnTo>
                    <a:pt x="399" y="176"/>
                  </a:lnTo>
                  <a:lnTo>
                    <a:pt x="403" y="174"/>
                  </a:lnTo>
                  <a:lnTo>
                    <a:pt x="405" y="170"/>
                  </a:lnTo>
                  <a:lnTo>
                    <a:pt x="407" y="168"/>
                  </a:lnTo>
                  <a:lnTo>
                    <a:pt x="407" y="166"/>
                  </a:lnTo>
                  <a:lnTo>
                    <a:pt x="405" y="166"/>
                  </a:lnTo>
                  <a:lnTo>
                    <a:pt x="403" y="161"/>
                  </a:lnTo>
                  <a:close/>
                </a:path>
              </a:pathLst>
            </a:custGeom>
            <a:solidFill>
              <a:schemeClr val="accent1">
                <a:lumMod val="60000"/>
                <a:lumOff val="40000"/>
              </a:schemeClr>
            </a:solidFill>
            <a:ln w="3175" cap="flat">
              <a:solidFill>
                <a:schemeClr val="bg1"/>
              </a:solidFill>
              <a:prstDash val="solid"/>
              <a:miter lim="800000"/>
              <a:headEnd/>
              <a:tailEnd/>
            </a:ln>
          </p:spPr>
          <p:txBody>
            <a:bodyPr vert="horz" wrap="square" lIns="0" tIns="0" rIns="72000" bIns="72000" numCol="1" anchor="b"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HI</a:t>
              </a:r>
            </a:p>
          </p:txBody>
        </p:sp>
        <p:sp>
          <p:nvSpPr>
            <p:cNvPr id="230" name="Freeform 45">
              <a:extLst>
                <a:ext uri="{FF2B5EF4-FFF2-40B4-BE49-F238E27FC236}">
                  <a16:creationId xmlns:a16="http://schemas.microsoft.com/office/drawing/2014/main" id="{83C0B20A-A71F-845C-C501-958361614514}"/>
                </a:ext>
              </a:extLst>
            </p:cNvPr>
            <p:cNvSpPr>
              <a:spLocks noEditPoints="1"/>
            </p:cNvSpPr>
            <p:nvPr/>
          </p:nvSpPr>
          <p:spPr bwMode="auto">
            <a:xfrm>
              <a:off x="4002" y="1545"/>
              <a:ext cx="475" cy="480"/>
            </a:xfrm>
            <a:custGeom>
              <a:avLst/>
              <a:gdLst>
                <a:gd name="T0" fmla="*/ 437 w 475"/>
                <a:gd name="T1" fmla="*/ 416 h 480"/>
                <a:gd name="T2" fmla="*/ 471 w 475"/>
                <a:gd name="T3" fmla="*/ 283 h 480"/>
                <a:gd name="T4" fmla="*/ 451 w 475"/>
                <a:gd name="T5" fmla="*/ 281 h 480"/>
                <a:gd name="T6" fmla="*/ 443 w 475"/>
                <a:gd name="T7" fmla="*/ 269 h 480"/>
                <a:gd name="T8" fmla="*/ 434 w 475"/>
                <a:gd name="T9" fmla="*/ 246 h 480"/>
                <a:gd name="T10" fmla="*/ 424 w 475"/>
                <a:gd name="T11" fmla="*/ 234 h 480"/>
                <a:gd name="T12" fmla="*/ 412 w 475"/>
                <a:gd name="T13" fmla="*/ 222 h 480"/>
                <a:gd name="T14" fmla="*/ 408 w 475"/>
                <a:gd name="T15" fmla="*/ 209 h 480"/>
                <a:gd name="T16" fmla="*/ 389 w 475"/>
                <a:gd name="T17" fmla="*/ 185 h 480"/>
                <a:gd name="T18" fmla="*/ 363 w 475"/>
                <a:gd name="T19" fmla="*/ 166 h 480"/>
                <a:gd name="T20" fmla="*/ 353 w 475"/>
                <a:gd name="T21" fmla="*/ 158 h 480"/>
                <a:gd name="T22" fmla="*/ 340 w 475"/>
                <a:gd name="T23" fmla="*/ 138 h 480"/>
                <a:gd name="T24" fmla="*/ 310 w 475"/>
                <a:gd name="T25" fmla="*/ 115 h 480"/>
                <a:gd name="T26" fmla="*/ 283 w 475"/>
                <a:gd name="T27" fmla="*/ 97 h 480"/>
                <a:gd name="T28" fmla="*/ 267 w 475"/>
                <a:gd name="T29" fmla="*/ 82 h 480"/>
                <a:gd name="T30" fmla="*/ 232 w 475"/>
                <a:gd name="T31" fmla="*/ 51 h 480"/>
                <a:gd name="T32" fmla="*/ 203 w 475"/>
                <a:gd name="T33" fmla="*/ 29 h 480"/>
                <a:gd name="T34" fmla="*/ 211 w 475"/>
                <a:gd name="T35" fmla="*/ 13 h 480"/>
                <a:gd name="T36" fmla="*/ 207 w 475"/>
                <a:gd name="T37" fmla="*/ 2 h 480"/>
                <a:gd name="T38" fmla="*/ 121 w 475"/>
                <a:gd name="T39" fmla="*/ 17 h 480"/>
                <a:gd name="T40" fmla="*/ 23 w 475"/>
                <a:gd name="T41" fmla="*/ 29 h 480"/>
                <a:gd name="T42" fmla="*/ 15 w 475"/>
                <a:gd name="T43" fmla="*/ 80 h 480"/>
                <a:gd name="T44" fmla="*/ 49 w 475"/>
                <a:gd name="T45" fmla="*/ 193 h 480"/>
                <a:gd name="T46" fmla="*/ 66 w 475"/>
                <a:gd name="T47" fmla="*/ 246 h 480"/>
                <a:gd name="T48" fmla="*/ 76 w 475"/>
                <a:gd name="T49" fmla="*/ 267 h 480"/>
                <a:gd name="T50" fmla="*/ 92 w 475"/>
                <a:gd name="T51" fmla="*/ 293 h 480"/>
                <a:gd name="T52" fmla="*/ 94 w 475"/>
                <a:gd name="T53" fmla="*/ 308 h 480"/>
                <a:gd name="T54" fmla="*/ 101 w 475"/>
                <a:gd name="T55" fmla="*/ 316 h 480"/>
                <a:gd name="T56" fmla="*/ 94 w 475"/>
                <a:gd name="T57" fmla="*/ 326 h 480"/>
                <a:gd name="T58" fmla="*/ 92 w 475"/>
                <a:gd name="T59" fmla="*/ 347 h 480"/>
                <a:gd name="T60" fmla="*/ 99 w 475"/>
                <a:gd name="T61" fmla="*/ 386 h 480"/>
                <a:gd name="T62" fmla="*/ 101 w 475"/>
                <a:gd name="T63" fmla="*/ 412 h 480"/>
                <a:gd name="T64" fmla="*/ 107 w 475"/>
                <a:gd name="T65" fmla="*/ 439 h 480"/>
                <a:gd name="T66" fmla="*/ 115 w 475"/>
                <a:gd name="T67" fmla="*/ 455 h 480"/>
                <a:gd name="T68" fmla="*/ 135 w 475"/>
                <a:gd name="T69" fmla="*/ 480 h 480"/>
                <a:gd name="T70" fmla="*/ 219 w 475"/>
                <a:gd name="T71" fmla="*/ 474 h 480"/>
                <a:gd name="T72" fmla="*/ 336 w 475"/>
                <a:gd name="T73" fmla="*/ 463 h 480"/>
                <a:gd name="T74" fmla="*/ 373 w 475"/>
                <a:gd name="T75" fmla="*/ 463 h 480"/>
                <a:gd name="T76" fmla="*/ 377 w 475"/>
                <a:gd name="T77" fmla="*/ 474 h 480"/>
                <a:gd name="T78" fmla="*/ 389 w 475"/>
                <a:gd name="T79" fmla="*/ 480 h 480"/>
                <a:gd name="T80" fmla="*/ 394 w 475"/>
                <a:gd name="T81" fmla="*/ 457 h 480"/>
                <a:gd name="T82" fmla="*/ 389 w 475"/>
                <a:gd name="T83" fmla="*/ 443 h 480"/>
                <a:gd name="T84" fmla="*/ 391 w 475"/>
                <a:gd name="T85" fmla="*/ 433 h 480"/>
                <a:gd name="T86" fmla="*/ 396 w 475"/>
                <a:gd name="T87" fmla="*/ 429 h 480"/>
                <a:gd name="T88" fmla="*/ 414 w 475"/>
                <a:gd name="T89" fmla="*/ 433 h 480"/>
                <a:gd name="T90" fmla="*/ 432 w 475"/>
                <a:gd name="T91" fmla="*/ 435 h 480"/>
                <a:gd name="T92" fmla="*/ 434 w 475"/>
                <a:gd name="T93" fmla="*/ 420 h 480"/>
                <a:gd name="T94" fmla="*/ 434 w 475"/>
                <a:gd name="T95" fmla="*/ 414 h 480"/>
                <a:gd name="T96" fmla="*/ 437 w 475"/>
                <a:gd name="T97" fmla="*/ 398 h 480"/>
                <a:gd name="T98" fmla="*/ 439 w 475"/>
                <a:gd name="T99" fmla="*/ 394 h 480"/>
                <a:gd name="T100" fmla="*/ 437 w 475"/>
                <a:gd name="T101" fmla="*/ 377 h 480"/>
                <a:gd name="T102" fmla="*/ 449 w 475"/>
                <a:gd name="T103" fmla="*/ 369 h 480"/>
                <a:gd name="T104" fmla="*/ 443 w 475"/>
                <a:gd name="T105" fmla="*/ 365 h 480"/>
                <a:gd name="T106" fmla="*/ 443 w 475"/>
                <a:gd name="T107" fmla="*/ 355 h 480"/>
                <a:gd name="T108" fmla="*/ 451 w 475"/>
                <a:gd name="T109" fmla="*/ 340 h 480"/>
                <a:gd name="T110" fmla="*/ 439 w 475"/>
                <a:gd name="T111" fmla="*/ 340 h 480"/>
                <a:gd name="T112" fmla="*/ 449 w 475"/>
                <a:gd name="T113" fmla="*/ 330 h 480"/>
                <a:gd name="T114" fmla="*/ 451 w 475"/>
                <a:gd name="T115" fmla="*/ 324 h 480"/>
                <a:gd name="T116" fmla="*/ 443 w 475"/>
                <a:gd name="T117" fmla="*/ 318 h 480"/>
                <a:gd name="T118" fmla="*/ 459 w 475"/>
                <a:gd name="T119" fmla="*/ 308 h 480"/>
                <a:gd name="T120" fmla="*/ 455 w 475"/>
                <a:gd name="T121" fmla="*/ 302 h 480"/>
                <a:gd name="T122" fmla="*/ 465 w 475"/>
                <a:gd name="T123" fmla="*/ 291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5" h="480">
                  <a:moveTo>
                    <a:pt x="441" y="424"/>
                  </a:moveTo>
                  <a:lnTo>
                    <a:pt x="441" y="424"/>
                  </a:lnTo>
                  <a:lnTo>
                    <a:pt x="443" y="420"/>
                  </a:lnTo>
                  <a:lnTo>
                    <a:pt x="443" y="416"/>
                  </a:lnTo>
                  <a:lnTo>
                    <a:pt x="443" y="412"/>
                  </a:lnTo>
                  <a:lnTo>
                    <a:pt x="443" y="410"/>
                  </a:lnTo>
                  <a:lnTo>
                    <a:pt x="443" y="406"/>
                  </a:lnTo>
                  <a:lnTo>
                    <a:pt x="441" y="404"/>
                  </a:lnTo>
                  <a:lnTo>
                    <a:pt x="441" y="404"/>
                  </a:lnTo>
                  <a:lnTo>
                    <a:pt x="441" y="408"/>
                  </a:lnTo>
                  <a:lnTo>
                    <a:pt x="437" y="412"/>
                  </a:lnTo>
                  <a:lnTo>
                    <a:pt x="437" y="416"/>
                  </a:lnTo>
                  <a:lnTo>
                    <a:pt x="437" y="416"/>
                  </a:lnTo>
                  <a:lnTo>
                    <a:pt x="439" y="418"/>
                  </a:lnTo>
                  <a:lnTo>
                    <a:pt x="439" y="420"/>
                  </a:lnTo>
                  <a:lnTo>
                    <a:pt x="439" y="420"/>
                  </a:lnTo>
                  <a:lnTo>
                    <a:pt x="439" y="422"/>
                  </a:lnTo>
                  <a:lnTo>
                    <a:pt x="441" y="431"/>
                  </a:lnTo>
                  <a:lnTo>
                    <a:pt x="443" y="431"/>
                  </a:lnTo>
                  <a:lnTo>
                    <a:pt x="443" y="431"/>
                  </a:lnTo>
                  <a:lnTo>
                    <a:pt x="443" y="429"/>
                  </a:lnTo>
                  <a:lnTo>
                    <a:pt x="441" y="424"/>
                  </a:lnTo>
                  <a:close/>
                  <a:moveTo>
                    <a:pt x="473" y="283"/>
                  </a:moveTo>
                  <a:lnTo>
                    <a:pt x="471" y="283"/>
                  </a:lnTo>
                  <a:lnTo>
                    <a:pt x="471" y="283"/>
                  </a:lnTo>
                  <a:lnTo>
                    <a:pt x="469" y="283"/>
                  </a:lnTo>
                  <a:lnTo>
                    <a:pt x="469" y="283"/>
                  </a:lnTo>
                  <a:lnTo>
                    <a:pt x="469" y="283"/>
                  </a:lnTo>
                  <a:lnTo>
                    <a:pt x="467" y="283"/>
                  </a:lnTo>
                  <a:lnTo>
                    <a:pt x="465" y="283"/>
                  </a:lnTo>
                  <a:lnTo>
                    <a:pt x="465" y="283"/>
                  </a:lnTo>
                  <a:lnTo>
                    <a:pt x="463" y="281"/>
                  </a:lnTo>
                  <a:lnTo>
                    <a:pt x="463" y="281"/>
                  </a:lnTo>
                  <a:lnTo>
                    <a:pt x="459" y="279"/>
                  </a:lnTo>
                  <a:lnTo>
                    <a:pt x="457" y="279"/>
                  </a:lnTo>
                  <a:lnTo>
                    <a:pt x="451" y="281"/>
                  </a:lnTo>
                  <a:lnTo>
                    <a:pt x="451" y="281"/>
                  </a:lnTo>
                  <a:lnTo>
                    <a:pt x="449" y="277"/>
                  </a:lnTo>
                  <a:lnTo>
                    <a:pt x="447" y="277"/>
                  </a:lnTo>
                  <a:lnTo>
                    <a:pt x="447" y="277"/>
                  </a:lnTo>
                  <a:lnTo>
                    <a:pt x="447" y="277"/>
                  </a:lnTo>
                  <a:lnTo>
                    <a:pt x="445" y="275"/>
                  </a:lnTo>
                  <a:lnTo>
                    <a:pt x="445" y="275"/>
                  </a:lnTo>
                  <a:lnTo>
                    <a:pt x="445" y="275"/>
                  </a:lnTo>
                  <a:lnTo>
                    <a:pt x="445" y="275"/>
                  </a:lnTo>
                  <a:lnTo>
                    <a:pt x="443" y="271"/>
                  </a:lnTo>
                  <a:lnTo>
                    <a:pt x="443" y="271"/>
                  </a:lnTo>
                  <a:lnTo>
                    <a:pt x="443" y="269"/>
                  </a:lnTo>
                  <a:lnTo>
                    <a:pt x="443" y="267"/>
                  </a:lnTo>
                  <a:lnTo>
                    <a:pt x="443" y="267"/>
                  </a:lnTo>
                  <a:lnTo>
                    <a:pt x="443" y="265"/>
                  </a:lnTo>
                  <a:lnTo>
                    <a:pt x="443" y="263"/>
                  </a:lnTo>
                  <a:lnTo>
                    <a:pt x="443" y="263"/>
                  </a:lnTo>
                  <a:lnTo>
                    <a:pt x="443" y="261"/>
                  </a:lnTo>
                  <a:lnTo>
                    <a:pt x="443" y="258"/>
                  </a:lnTo>
                  <a:lnTo>
                    <a:pt x="443" y="256"/>
                  </a:lnTo>
                  <a:lnTo>
                    <a:pt x="443" y="254"/>
                  </a:lnTo>
                  <a:lnTo>
                    <a:pt x="441" y="254"/>
                  </a:lnTo>
                  <a:lnTo>
                    <a:pt x="439" y="254"/>
                  </a:lnTo>
                  <a:lnTo>
                    <a:pt x="434" y="246"/>
                  </a:lnTo>
                  <a:lnTo>
                    <a:pt x="434" y="242"/>
                  </a:lnTo>
                  <a:lnTo>
                    <a:pt x="434" y="240"/>
                  </a:lnTo>
                  <a:lnTo>
                    <a:pt x="432" y="240"/>
                  </a:lnTo>
                  <a:lnTo>
                    <a:pt x="430" y="240"/>
                  </a:lnTo>
                  <a:lnTo>
                    <a:pt x="430" y="238"/>
                  </a:lnTo>
                  <a:lnTo>
                    <a:pt x="430" y="238"/>
                  </a:lnTo>
                  <a:lnTo>
                    <a:pt x="428" y="236"/>
                  </a:lnTo>
                  <a:lnTo>
                    <a:pt x="428" y="236"/>
                  </a:lnTo>
                  <a:lnTo>
                    <a:pt x="426" y="236"/>
                  </a:lnTo>
                  <a:lnTo>
                    <a:pt x="426" y="236"/>
                  </a:lnTo>
                  <a:lnTo>
                    <a:pt x="426" y="236"/>
                  </a:lnTo>
                  <a:lnTo>
                    <a:pt x="424" y="234"/>
                  </a:lnTo>
                  <a:lnTo>
                    <a:pt x="424" y="234"/>
                  </a:lnTo>
                  <a:lnTo>
                    <a:pt x="422" y="232"/>
                  </a:lnTo>
                  <a:lnTo>
                    <a:pt x="422" y="232"/>
                  </a:lnTo>
                  <a:lnTo>
                    <a:pt x="418" y="232"/>
                  </a:lnTo>
                  <a:lnTo>
                    <a:pt x="416" y="232"/>
                  </a:lnTo>
                  <a:lnTo>
                    <a:pt x="416" y="232"/>
                  </a:lnTo>
                  <a:lnTo>
                    <a:pt x="414" y="230"/>
                  </a:lnTo>
                  <a:lnTo>
                    <a:pt x="412" y="228"/>
                  </a:lnTo>
                  <a:lnTo>
                    <a:pt x="412" y="228"/>
                  </a:lnTo>
                  <a:lnTo>
                    <a:pt x="412" y="226"/>
                  </a:lnTo>
                  <a:lnTo>
                    <a:pt x="412" y="224"/>
                  </a:lnTo>
                  <a:lnTo>
                    <a:pt x="412" y="222"/>
                  </a:lnTo>
                  <a:lnTo>
                    <a:pt x="412" y="222"/>
                  </a:lnTo>
                  <a:lnTo>
                    <a:pt x="412" y="222"/>
                  </a:lnTo>
                  <a:lnTo>
                    <a:pt x="410" y="222"/>
                  </a:lnTo>
                  <a:lnTo>
                    <a:pt x="410" y="220"/>
                  </a:lnTo>
                  <a:lnTo>
                    <a:pt x="410" y="220"/>
                  </a:lnTo>
                  <a:lnTo>
                    <a:pt x="410" y="217"/>
                  </a:lnTo>
                  <a:lnTo>
                    <a:pt x="410" y="217"/>
                  </a:lnTo>
                  <a:lnTo>
                    <a:pt x="410" y="215"/>
                  </a:lnTo>
                  <a:lnTo>
                    <a:pt x="410" y="213"/>
                  </a:lnTo>
                  <a:lnTo>
                    <a:pt x="408" y="213"/>
                  </a:lnTo>
                  <a:lnTo>
                    <a:pt x="408" y="211"/>
                  </a:lnTo>
                  <a:lnTo>
                    <a:pt x="408" y="209"/>
                  </a:lnTo>
                  <a:lnTo>
                    <a:pt x="408" y="207"/>
                  </a:lnTo>
                  <a:lnTo>
                    <a:pt x="406" y="205"/>
                  </a:lnTo>
                  <a:lnTo>
                    <a:pt x="400" y="197"/>
                  </a:lnTo>
                  <a:lnTo>
                    <a:pt x="398" y="197"/>
                  </a:lnTo>
                  <a:lnTo>
                    <a:pt x="398" y="195"/>
                  </a:lnTo>
                  <a:lnTo>
                    <a:pt x="398" y="191"/>
                  </a:lnTo>
                  <a:lnTo>
                    <a:pt x="398" y="189"/>
                  </a:lnTo>
                  <a:lnTo>
                    <a:pt x="396" y="187"/>
                  </a:lnTo>
                  <a:lnTo>
                    <a:pt x="396" y="187"/>
                  </a:lnTo>
                  <a:lnTo>
                    <a:pt x="394" y="185"/>
                  </a:lnTo>
                  <a:lnTo>
                    <a:pt x="391" y="185"/>
                  </a:lnTo>
                  <a:lnTo>
                    <a:pt x="389" y="185"/>
                  </a:lnTo>
                  <a:lnTo>
                    <a:pt x="387" y="183"/>
                  </a:lnTo>
                  <a:lnTo>
                    <a:pt x="383" y="181"/>
                  </a:lnTo>
                  <a:lnTo>
                    <a:pt x="375" y="179"/>
                  </a:lnTo>
                  <a:lnTo>
                    <a:pt x="371" y="176"/>
                  </a:lnTo>
                  <a:lnTo>
                    <a:pt x="371" y="176"/>
                  </a:lnTo>
                  <a:lnTo>
                    <a:pt x="369" y="172"/>
                  </a:lnTo>
                  <a:lnTo>
                    <a:pt x="369" y="170"/>
                  </a:lnTo>
                  <a:lnTo>
                    <a:pt x="367" y="170"/>
                  </a:lnTo>
                  <a:lnTo>
                    <a:pt x="365" y="170"/>
                  </a:lnTo>
                  <a:lnTo>
                    <a:pt x="363" y="170"/>
                  </a:lnTo>
                  <a:lnTo>
                    <a:pt x="361" y="168"/>
                  </a:lnTo>
                  <a:lnTo>
                    <a:pt x="363" y="166"/>
                  </a:lnTo>
                  <a:lnTo>
                    <a:pt x="363" y="166"/>
                  </a:lnTo>
                  <a:lnTo>
                    <a:pt x="363" y="164"/>
                  </a:lnTo>
                  <a:lnTo>
                    <a:pt x="361" y="164"/>
                  </a:lnTo>
                  <a:lnTo>
                    <a:pt x="361" y="162"/>
                  </a:lnTo>
                  <a:lnTo>
                    <a:pt x="361" y="162"/>
                  </a:lnTo>
                  <a:lnTo>
                    <a:pt x="361" y="162"/>
                  </a:lnTo>
                  <a:lnTo>
                    <a:pt x="359" y="160"/>
                  </a:lnTo>
                  <a:lnTo>
                    <a:pt x="359" y="162"/>
                  </a:lnTo>
                  <a:lnTo>
                    <a:pt x="359" y="162"/>
                  </a:lnTo>
                  <a:lnTo>
                    <a:pt x="359" y="162"/>
                  </a:lnTo>
                  <a:lnTo>
                    <a:pt x="357" y="162"/>
                  </a:lnTo>
                  <a:lnTo>
                    <a:pt x="353" y="158"/>
                  </a:lnTo>
                  <a:lnTo>
                    <a:pt x="353" y="156"/>
                  </a:lnTo>
                  <a:lnTo>
                    <a:pt x="353" y="156"/>
                  </a:lnTo>
                  <a:lnTo>
                    <a:pt x="350" y="154"/>
                  </a:lnTo>
                  <a:lnTo>
                    <a:pt x="350" y="152"/>
                  </a:lnTo>
                  <a:lnTo>
                    <a:pt x="353" y="152"/>
                  </a:lnTo>
                  <a:lnTo>
                    <a:pt x="353" y="150"/>
                  </a:lnTo>
                  <a:lnTo>
                    <a:pt x="350" y="150"/>
                  </a:lnTo>
                  <a:lnTo>
                    <a:pt x="350" y="148"/>
                  </a:lnTo>
                  <a:lnTo>
                    <a:pt x="350" y="146"/>
                  </a:lnTo>
                  <a:lnTo>
                    <a:pt x="346" y="144"/>
                  </a:lnTo>
                  <a:lnTo>
                    <a:pt x="344" y="142"/>
                  </a:lnTo>
                  <a:lnTo>
                    <a:pt x="340" y="138"/>
                  </a:lnTo>
                  <a:lnTo>
                    <a:pt x="336" y="138"/>
                  </a:lnTo>
                  <a:lnTo>
                    <a:pt x="336" y="136"/>
                  </a:lnTo>
                  <a:lnTo>
                    <a:pt x="330" y="136"/>
                  </a:lnTo>
                  <a:lnTo>
                    <a:pt x="328" y="136"/>
                  </a:lnTo>
                  <a:lnTo>
                    <a:pt x="326" y="133"/>
                  </a:lnTo>
                  <a:lnTo>
                    <a:pt x="324" y="133"/>
                  </a:lnTo>
                  <a:lnTo>
                    <a:pt x="322" y="129"/>
                  </a:lnTo>
                  <a:lnTo>
                    <a:pt x="322" y="127"/>
                  </a:lnTo>
                  <a:lnTo>
                    <a:pt x="320" y="125"/>
                  </a:lnTo>
                  <a:lnTo>
                    <a:pt x="318" y="121"/>
                  </a:lnTo>
                  <a:lnTo>
                    <a:pt x="316" y="119"/>
                  </a:lnTo>
                  <a:lnTo>
                    <a:pt x="310" y="115"/>
                  </a:lnTo>
                  <a:lnTo>
                    <a:pt x="305" y="113"/>
                  </a:lnTo>
                  <a:lnTo>
                    <a:pt x="301" y="111"/>
                  </a:lnTo>
                  <a:lnTo>
                    <a:pt x="299" y="111"/>
                  </a:lnTo>
                  <a:lnTo>
                    <a:pt x="295" y="109"/>
                  </a:lnTo>
                  <a:lnTo>
                    <a:pt x="293" y="107"/>
                  </a:lnTo>
                  <a:lnTo>
                    <a:pt x="291" y="105"/>
                  </a:lnTo>
                  <a:lnTo>
                    <a:pt x="289" y="103"/>
                  </a:lnTo>
                  <a:lnTo>
                    <a:pt x="289" y="103"/>
                  </a:lnTo>
                  <a:lnTo>
                    <a:pt x="287" y="103"/>
                  </a:lnTo>
                  <a:lnTo>
                    <a:pt x="285" y="103"/>
                  </a:lnTo>
                  <a:lnTo>
                    <a:pt x="285" y="101"/>
                  </a:lnTo>
                  <a:lnTo>
                    <a:pt x="283" y="97"/>
                  </a:lnTo>
                  <a:lnTo>
                    <a:pt x="281" y="95"/>
                  </a:lnTo>
                  <a:lnTo>
                    <a:pt x="281" y="95"/>
                  </a:lnTo>
                  <a:lnTo>
                    <a:pt x="279" y="92"/>
                  </a:lnTo>
                  <a:lnTo>
                    <a:pt x="277" y="90"/>
                  </a:lnTo>
                  <a:lnTo>
                    <a:pt x="277" y="88"/>
                  </a:lnTo>
                  <a:lnTo>
                    <a:pt x="275" y="88"/>
                  </a:lnTo>
                  <a:lnTo>
                    <a:pt x="275" y="86"/>
                  </a:lnTo>
                  <a:lnTo>
                    <a:pt x="273" y="86"/>
                  </a:lnTo>
                  <a:lnTo>
                    <a:pt x="271" y="84"/>
                  </a:lnTo>
                  <a:lnTo>
                    <a:pt x="269" y="84"/>
                  </a:lnTo>
                  <a:lnTo>
                    <a:pt x="269" y="82"/>
                  </a:lnTo>
                  <a:lnTo>
                    <a:pt x="267" y="82"/>
                  </a:lnTo>
                  <a:lnTo>
                    <a:pt x="264" y="72"/>
                  </a:lnTo>
                  <a:lnTo>
                    <a:pt x="262" y="70"/>
                  </a:lnTo>
                  <a:lnTo>
                    <a:pt x="256" y="64"/>
                  </a:lnTo>
                  <a:lnTo>
                    <a:pt x="256" y="62"/>
                  </a:lnTo>
                  <a:lnTo>
                    <a:pt x="254" y="60"/>
                  </a:lnTo>
                  <a:lnTo>
                    <a:pt x="252" y="56"/>
                  </a:lnTo>
                  <a:lnTo>
                    <a:pt x="252" y="54"/>
                  </a:lnTo>
                  <a:lnTo>
                    <a:pt x="248" y="51"/>
                  </a:lnTo>
                  <a:lnTo>
                    <a:pt x="242" y="54"/>
                  </a:lnTo>
                  <a:lnTo>
                    <a:pt x="238" y="54"/>
                  </a:lnTo>
                  <a:lnTo>
                    <a:pt x="234" y="54"/>
                  </a:lnTo>
                  <a:lnTo>
                    <a:pt x="232" y="51"/>
                  </a:lnTo>
                  <a:lnTo>
                    <a:pt x="232" y="49"/>
                  </a:lnTo>
                  <a:lnTo>
                    <a:pt x="230" y="47"/>
                  </a:lnTo>
                  <a:lnTo>
                    <a:pt x="226" y="45"/>
                  </a:lnTo>
                  <a:lnTo>
                    <a:pt x="224" y="45"/>
                  </a:lnTo>
                  <a:lnTo>
                    <a:pt x="221" y="43"/>
                  </a:lnTo>
                  <a:lnTo>
                    <a:pt x="221" y="41"/>
                  </a:lnTo>
                  <a:lnTo>
                    <a:pt x="221" y="41"/>
                  </a:lnTo>
                  <a:lnTo>
                    <a:pt x="219" y="43"/>
                  </a:lnTo>
                  <a:lnTo>
                    <a:pt x="215" y="41"/>
                  </a:lnTo>
                  <a:lnTo>
                    <a:pt x="207" y="37"/>
                  </a:lnTo>
                  <a:lnTo>
                    <a:pt x="203" y="35"/>
                  </a:lnTo>
                  <a:lnTo>
                    <a:pt x="203" y="29"/>
                  </a:lnTo>
                  <a:lnTo>
                    <a:pt x="205" y="27"/>
                  </a:lnTo>
                  <a:lnTo>
                    <a:pt x="205" y="27"/>
                  </a:lnTo>
                  <a:lnTo>
                    <a:pt x="205" y="25"/>
                  </a:lnTo>
                  <a:lnTo>
                    <a:pt x="205" y="25"/>
                  </a:lnTo>
                  <a:lnTo>
                    <a:pt x="205" y="25"/>
                  </a:lnTo>
                  <a:lnTo>
                    <a:pt x="205" y="23"/>
                  </a:lnTo>
                  <a:lnTo>
                    <a:pt x="207" y="21"/>
                  </a:lnTo>
                  <a:lnTo>
                    <a:pt x="207" y="21"/>
                  </a:lnTo>
                  <a:lnTo>
                    <a:pt x="209" y="19"/>
                  </a:lnTo>
                  <a:lnTo>
                    <a:pt x="209" y="19"/>
                  </a:lnTo>
                  <a:lnTo>
                    <a:pt x="209" y="17"/>
                  </a:lnTo>
                  <a:lnTo>
                    <a:pt x="211" y="13"/>
                  </a:lnTo>
                  <a:lnTo>
                    <a:pt x="211" y="10"/>
                  </a:lnTo>
                  <a:lnTo>
                    <a:pt x="211" y="10"/>
                  </a:lnTo>
                  <a:lnTo>
                    <a:pt x="215" y="6"/>
                  </a:lnTo>
                  <a:lnTo>
                    <a:pt x="215" y="6"/>
                  </a:lnTo>
                  <a:lnTo>
                    <a:pt x="219" y="4"/>
                  </a:lnTo>
                  <a:lnTo>
                    <a:pt x="219" y="4"/>
                  </a:lnTo>
                  <a:lnTo>
                    <a:pt x="219" y="2"/>
                  </a:lnTo>
                  <a:lnTo>
                    <a:pt x="219" y="2"/>
                  </a:lnTo>
                  <a:lnTo>
                    <a:pt x="219" y="0"/>
                  </a:lnTo>
                  <a:lnTo>
                    <a:pt x="219" y="0"/>
                  </a:lnTo>
                  <a:lnTo>
                    <a:pt x="213" y="0"/>
                  </a:lnTo>
                  <a:lnTo>
                    <a:pt x="207" y="2"/>
                  </a:lnTo>
                  <a:lnTo>
                    <a:pt x="201" y="2"/>
                  </a:lnTo>
                  <a:lnTo>
                    <a:pt x="193" y="4"/>
                  </a:lnTo>
                  <a:lnTo>
                    <a:pt x="187" y="4"/>
                  </a:lnTo>
                  <a:lnTo>
                    <a:pt x="181" y="6"/>
                  </a:lnTo>
                  <a:lnTo>
                    <a:pt x="174" y="8"/>
                  </a:lnTo>
                  <a:lnTo>
                    <a:pt x="168" y="8"/>
                  </a:lnTo>
                  <a:lnTo>
                    <a:pt x="160" y="10"/>
                  </a:lnTo>
                  <a:lnTo>
                    <a:pt x="148" y="13"/>
                  </a:lnTo>
                  <a:lnTo>
                    <a:pt x="142" y="13"/>
                  </a:lnTo>
                  <a:lnTo>
                    <a:pt x="133" y="15"/>
                  </a:lnTo>
                  <a:lnTo>
                    <a:pt x="127" y="15"/>
                  </a:lnTo>
                  <a:lnTo>
                    <a:pt x="121" y="17"/>
                  </a:lnTo>
                  <a:lnTo>
                    <a:pt x="115" y="17"/>
                  </a:lnTo>
                  <a:lnTo>
                    <a:pt x="107" y="19"/>
                  </a:lnTo>
                  <a:lnTo>
                    <a:pt x="99" y="19"/>
                  </a:lnTo>
                  <a:lnTo>
                    <a:pt x="92" y="19"/>
                  </a:lnTo>
                  <a:lnTo>
                    <a:pt x="90" y="19"/>
                  </a:lnTo>
                  <a:lnTo>
                    <a:pt x="88" y="19"/>
                  </a:lnTo>
                  <a:lnTo>
                    <a:pt x="78" y="21"/>
                  </a:lnTo>
                  <a:lnTo>
                    <a:pt x="66" y="23"/>
                  </a:lnTo>
                  <a:lnTo>
                    <a:pt x="56" y="25"/>
                  </a:lnTo>
                  <a:lnTo>
                    <a:pt x="43" y="25"/>
                  </a:lnTo>
                  <a:lnTo>
                    <a:pt x="33" y="27"/>
                  </a:lnTo>
                  <a:lnTo>
                    <a:pt x="23" y="29"/>
                  </a:lnTo>
                  <a:lnTo>
                    <a:pt x="11" y="29"/>
                  </a:lnTo>
                  <a:lnTo>
                    <a:pt x="0" y="31"/>
                  </a:lnTo>
                  <a:lnTo>
                    <a:pt x="0" y="31"/>
                  </a:lnTo>
                  <a:lnTo>
                    <a:pt x="0" y="33"/>
                  </a:lnTo>
                  <a:lnTo>
                    <a:pt x="2" y="37"/>
                  </a:lnTo>
                  <a:lnTo>
                    <a:pt x="2" y="41"/>
                  </a:lnTo>
                  <a:lnTo>
                    <a:pt x="4" y="45"/>
                  </a:lnTo>
                  <a:lnTo>
                    <a:pt x="6" y="51"/>
                  </a:lnTo>
                  <a:lnTo>
                    <a:pt x="8" y="58"/>
                  </a:lnTo>
                  <a:lnTo>
                    <a:pt x="11" y="64"/>
                  </a:lnTo>
                  <a:lnTo>
                    <a:pt x="13" y="72"/>
                  </a:lnTo>
                  <a:lnTo>
                    <a:pt x="15" y="80"/>
                  </a:lnTo>
                  <a:lnTo>
                    <a:pt x="19" y="88"/>
                  </a:lnTo>
                  <a:lnTo>
                    <a:pt x="21" y="99"/>
                  </a:lnTo>
                  <a:lnTo>
                    <a:pt x="23" y="107"/>
                  </a:lnTo>
                  <a:lnTo>
                    <a:pt x="27" y="117"/>
                  </a:lnTo>
                  <a:lnTo>
                    <a:pt x="29" y="127"/>
                  </a:lnTo>
                  <a:lnTo>
                    <a:pt x="33" y="138"/>
                  </a:lnTo>
                  <a:lnTo>
                    <a:pt x="35" y="146"/>
                  </a:lnTo>
                  <a:lnTo>
                    <a:pt x="39" y="156"/>
                  </a:lnTo>
                  <a:lnTo>
                    <a:pt x="41" y="166"/>
                  </a:lnTo>
                  <a:lnTo>
                    <a:pt x="45" y="174"/>
                  </a:lnTo>
                  <a:lnTo>
                    <a:pt x="47" y="185"/>
                  </a:lnTo>
                  <a:lnTo>
                    <a:pt x="49" y="193"/>
                  </a:lnTo>
                  <a:lnTo>
                    <a:pt x="54" y="201"/>
                  </a:lnTo>
                  <a:lnTo>
                    <a:pt x="56" y="209"/>
                  </a:lnTo>
                  <a:lnTo>
                    <a:pt x="58" y="215"/>
                  </a:lnTo>
                  <a:lnTo>
                    <a:pt x="60" y="222"/>
                  </a:lnTo>
                  <a:lnTo>
                    <a:pt x="62" y="228"/>
                  </a:lnTo>
                  <a:lnTo>
                    <a:pt x="62" y="234"/>
                  </a:lnTo>
                  <a:lnTo>
                    <a:pt x="64" y="236"/>
                  </a:lnTo>
                  <a:lnTo>
                    <a:pt x="66" y="240"/>
                  </a:lnTo>
                  <a:lnTo>
                    <a:pt x="66" y="242"/>
                  </a:lnTo>
                  <a:lnTo>
                    <a:pt x="66" y="242"/>
                  </a:lnTo>
                  <a:lnTo>
                    <a:pt x="66" y="246"/>
                  </a:lnTo>
                  <a:lnTo>
                    <a:pt x="66" y="246"/>
                  </a:lnTo>
                  <a:lnTo>
                    <a:pt x="70" y="254"/>
                  </a:lnTo>
                  <a:lnTo>
                    <a:pt x="70" y="258"/>
                  </a:lnTo>
                  <a:lnTo>
                    <a:pt x="72" y="258"/>
                  </a:lnTo>
                  <a:lnTo>
                    <a:pt x="72" y="258"/>
                  </a:lnTo>
                  <a:lnTo>
                    <a:pt x="72" y="261"/>
                  </a:lnTo>
                  <a:lnTo>
                    <a:pt x="72" y="261"/>
                  </a:lnTo>
                  <a:lnTo>
                    <a:pt x="74" y="263"/>
                  </a:lnTo>
                  <a:lnTo>
                    <a:pt x="76" y="263"/>
                  </a:lnTo>
                  <a:lnTo>
                    <a:pt x="74" y="265"/>
                  </a:lnTo>
                  <a:lnTo>
                    <a:pt x="76" y="265"/>
                  </a:lnTo>
                  <a:lnTo>
                    <a:pt x="76" y="267"/>
                  </a:lnTo>
                  <a:lnTo>
                    <a:pt x="76" y="267"/>
                  </a:lnTo>
                  <a:lnTo>
                    <a:pt x="78" y="271"/>
                  </a:lnTo>
                  <a:lnTo>
                    <a:pt x="80" y="273"/>
                  </a:lnTo>
                  <a:lnTo>
                    <a:pt x="80" y="275"/>
                  </a:lnTo>
                  <a:lnTo>
                    <a:pt x="80" y="277"/>
                  </a:lnTo>
                  <a:lnTo>
                    <a:pt x="80" y="277"/>
                  </a:lnTo>
                  <a:lnTo>
                    <a:pt x="82" y="277"/>
                  </a:lnTo>
                  <a:lnTo>
                    <a:pt x="82" y="279"/>
                  </a:lnTo>
                  <a:lnTo>
                    <a:pt x="82" y="279"/>
                  </a:lnTo>
                  <a:lnTo>
                    <a:pt x="88" y="287"/>
                  </a:lnTo>
                  <a:lnTo>
                    <a:pt x="90" y="289"/>
                  </a:lnTo>
                  <a:lnTo>
                    <a:pt x="90" y="289"/>
                  </a:lnTo>
                  <a:lnTo>
                    <a:pt x="92" y="293"/>
                  </a:lnTo>
                  <a:lnTo>
                    <a:pt x="92" y="295"/>
                  </a:lnTo>
                  <a:lnTo>
                    <a:pt x="94" y="297"/>
                  </a:lnTo>
                  <a:lnTo>
                    <a:pt x="94" y="297"/>
                  </a:lnTo>
                  <a:lnTo>
                    <a:pt x="94" y="299"/>
                  </a:lnTo>
                  <a:lnTo>
                    <a:pt x="94" y="299"/>
                  </a:lnTo>
                  <a:lnTo>
                    <a:pt x="94" y="299"/>
                  </a:lnTo>
                  <a:lnTo>
                    <a:pt x="94" y="299"/>
                  </a:lnTo>
                  <a:lnTo>
                    <a:pt x="94" y="302"/>
                  </a:lnTo>
                  <a:lnTo>
                    <a:pt x="94" y="302"/>
                  </a:lnTo>
                  <a:lnTo>
                    <a:pt x="94" y="304"/>
                  </a:lnTo>
                  <a:lnTo>
                    <a:pt x="94" y="304"/>
                  </a:lnTo>
                  <a:lnTo>
                    <a:pt x="94" y="308"/>
                  </a:lnTo>
                  <a:lnTo>
                    <a:pt x="94" y="308"/>
                  </a:lnTo>
                  <a:lnTo>
                    <a:pt x="97" y="310"/>
                  </a:lnTo>
                  <a:lnTo>
                    <a:pt x="101" y="312"/>
                  </a:lnTo>
                  <a:lnTo>
                    <a:pt x="103" y="312"/>
                  </a:lnTo>
                  <a:lnTo>
                    <a:pt x="103" y="314"/>
                  </a:lnTo>
                  <a:lnTo>
                    <a:pt x="103" y="314"/>
                  </a:lnTo>
                  <a:lnTo>
                    <a:pt x="103" y="314"/>
                  </a:lnTo>
                  <a:lnTo>
                    <a:pt x="105" y="314"/>
                  </a:lnTo>
                  <a:lnTo>
                    <a:pt x="103" y="316"/>
                  </a:lnTo>
                  <a:lnTo>
                    <a:pt x="103" y="316"/>
                  </a:lnTo>
                  <a:lnTo>
                    <a:pt x="103" y="316"/>
                  </a:lnTo>
                  <a:lnTo>
                    <a:pt x="101" y="316"/>
                  </a:lnTo>
                  <a:lnTo>
                    <a:pt x="103" y="318"/>
                  </a:lnTo>
                  <a:lnTo>
                    <a:pt x="103" y="320"/>
                  </a:lnTo>
                  <a:lnTo>
                    <a:pt x="101" y="320"/>
                  </a:lnTo>
                  <a:lnTo>
                    <a:pt x="101" y="320"/>
                  </a:lnTo>
                  <a:lnTo>
                    <a:pt x="99" y="320"/>
                  </a:lnTo>
                  <a:lnTo>
                    <a:pt x="99" y="320"/>
                  </a:lnTo>
                  <a:lnTo>
                    <a:pt x="99" y="322"/>
                  </a:lnTo>
                  <a:lnTo>
                    <a:pt x="99" y="322"/>
                  </a:lnTo>
                  <a:lnTo>
                    <a:pt x="99" y="324"/>
                  </a:lnTo>
                  <a:lnTo>
                    <a:pt x="97" y="324"/>
                  </a:lnTo>
                  <a:lnTo>
                    <a:pt x="94" y="324"/>
                  </a:lnTo>
                  <a:lnTo>
                    <a:pt x="94" y="326"/>
                  </a:lnTo>
                  <a:lnTo>
                    <a:pt x="94" y="326"/>
                  </a:lnTo>
                  <a:lnTo>
                    <a:pt x="92" y="326"/>
                  </a:lnTo>
                  <a:lnTo>
                    <a:pt x="92" y="330"/>
                  </a:lnTo>
                  <a:lnTo>
                    <a:pt x="92" y="332"/>
                  </a:lnTo>
                  <a:lnTo>
                    <a:pt x="92" y="334"/>
                  </a:lnTo>
                  <a:lnTo>
                    <a:pt x="92" y="336"/>
                  </a:lnTo>
                  <a:lnTo>
                    <a:pt x="92" y="338"/>
                  </a:lnTo>
                  <a:lnTo>
                    <a:pt x="92" y="340"/>
                  </a:lnTo>
                  <a:lnTo>
                    <a:pt x="92" y="342"/>
                  </a:lnTo>
                  <a:lnTo>
                    <a:pt x="92" y="345"/>
                  </a:lnTo>
                  <a:lnTo>
                    <a:pt x="92" y="345"/>
                  </a:lnTo>
                  <a:lnTo>
                    <a:pt x="92" y="347"/>
                  </a:lnTo>
                  <a:lnTo>
                    <a:pt x="92" y="349"/>
                  </a:lnTo>
                  <a:lnTo>
                    <a:pt x="90" y="353"/>
                  </a:lnTo>
                  <a:lnTo>
                    <a:pt x="88" y="357"/>
                  </a:lnTo>
                  <a:lnTo>
                    <a:pt x="88" y="361"/>
                  </a:lnTo>
                  <a:lnTo>
                    <a:pt x="88" y="361"/>
                  </a:lnTo>
                  <a:lnTo>
                    <a:pt x="88" y="363"/>
                  </a:lnTo>
                  <a:lnTo>
                    <a:pt x="88" y="363"/>
                  </a:lnTo>
                  <a:lnTo>
                    <a:pt x="88" y="365"/>
                  </a:lnTo>
                  <a:lnTo>
                    <a:pt x="88" y="367"/>
                  </a:lnTo>
                  <a:lnTo>
                    <a:pt x="92" y="379"/>
                  </a:lnTo>
                  <a:lnTo>
                    <a:pt x="94" y="381"/>
                  </a:lnTo>
                  <a:lnTo>
                    <a:pt x="99" y="386"/>
                  </a:lnTo>
                  <a:lnTo>
                    <a:pt x="99" y="386"/>
                  </a:lnTo>
                  <a:lnTo>
                    <a:pt x="99" y="388"/>
                  </a:lnTo>
                  <a:lnTo>
                    <a:pt x="99" y="392"/>
                  </a:lnTo>
                  <a:lnTo>
                    <a:pt x="101" y="392"/>
                  </a:lnTo>
                  <a:lnTo>
                    <a:pt x="101" y="394"/>
                  </a:lnTo>
                  <a:lnTo>
                    <a:pt x="101" y="396"/>
                  </a:lnTo>
                  <a:lnTo>
                    <a:pt x="101" y="398"/>
                  </a:lnTo>
                  <a:lnTo>
                    <a:pt x="101" y="400"/>
                  </a:lnTo>
                  <a:lnTo>
                    <a:pt x="101" y="402"/>
                  </a:lnTo>
                  <a:lnTo>
                    <a:pt x="101" y="404"/>
                  </a:lnTo>
                  <a:lnTo>
                    <a:pt x="101" y="408"/>
                  </a:lnTo>
                  <a:lnTo>
                    <a:pt x="101" y="412"/>
                  </a:lnTo>
                  <a:lnTo>
                    <a:pt x="101" y="420"/>
                  </a:lnTo>
                  <a:lnTo>
                    <a:pt x="101" y="420"/>
                  </a:lnTo>
                  <a:lnTo>
                    <a:pt x="99" y="422"/>
                  </a:lnTo>
                  <a:lnTo>
                    <a:pt x="99" y="424"/>
                  </a:lnTo>
                  <a:lnTo>
                    <a:pt x="99" y="424"/>
                  </a:lnTo>
                  <a:lnTo>
                    <a:pt x="101" y="427"/>
                  </a:lnTo>
                  <a:lnTo>
                    <a:pt x="101" y="429"/>
                  </a:lnTo>
                  <a:lnTo>
                    <a:pt x="101" y="433"/>
                  </a:lnTo>
                  <a:lnTo>
                    <a:pt x="101" y="433"/>
                  </a:lnTo>
                  <a:lnTo>
                    <a:pt x="103" y="435"/>
                  </a:lnTo>
                  <a:lnTo>
                    <a:pt x="105" y="435"/>
                  </a:lnTo>
                  <a:lnTo>
                    <a:pt x="107" y="439"/>
                  </a:lnTo>
                  <a:lnTo>
                    <a:pt x="111" y="443"/>
                  </a:lnTo>
                  <a:lnTo>
                    <a:pt x="113" y="447"/>
                  </a:lnTo>
                  <a:lnTo>
                    <a:pt x="113" y="449"/>
                  </a:lnTo>
                  <a:lnTo>
                    <a:pt x="113" y="449"/>
                  </a:lnTo>
                  <a:lnTo>
                    <a:pt x="113" y="451"/>
                  </a:lnTo>
                  <a:lnTo>
                    <a:pt x="113" y="451"/>
                  </a:lnTo>
                  <a:lnTo>
                    <a:pt x="113" y="451"/>
                  </a:lnTo>
                  <a:lnTo>
                    <a:pt x="113" y="453"/>
                  </a:lnTo>
                  <a:lnTo>
                    <a:pt x="113" y="453"/>
                  </a:lnTo>
                  <a:lnTo>
                    <a:pt x="113" y="453"/>
                  </a:lnTo>
                  <a:lnTo>
                    <a:pt x="115" y="455"/>
                  </a:lnTo>
                  <a:lnTo>
                    <a:pt x="115" y="455"/>
                  </a:lnTo>
                  <a:lnTo>
                    <a:pt x="117" y="457"/>
                  </a:lnTo>
                  <a:lnTo>
                    <a:pt x="117" y="459"/>
                  </a:lnTo>
                  <a:lnTo>
                    <a:pt x="119" y="459"/>
                  </a:lnTo>
                  <a:lnTo>
                    <a:pt x="119" y="463"/>
                  </a:lnTo>
                  <a:lnTo>
                    <a:pt x="121" y="465"/>
                  </a:lnTo>
                  <a:lnTo>
                    <a:pt x="121" y="470"/>
                  </a:lnTo>
                  <a:lnTo>
                    <a:pt x="123" y="476"/>
                  </a:lnTo>
                  <a:lnTo>
                    <a:pt x="129" y="480"/>
                  </a:lnTo>
                  <a:lnTo>
                    <a:pt x="129" y="480"/>
                  </a:lnTo>
                  <a:lnTo>
                    <a:pt x="131" y="480"/>
                  </a:lnTo>
                  <a:lnTo>
                    <a:pt x="133" y="480"/>
                  </a:lnTo>
                  <a:lnTo>
                    <a:pt x="135" y="480"/>
                  </a:lnTo>
                  <a:lnTo>
                    <a:pt x="138" y="480"/>
                  </a:lnTo>
                  <a:lnTo>
                    <a:pt x="142" y="480"/>
                  </a:lnTo>
                  <a:lnTo>
                    <a:pt x="146" y="480"/>
                  </a:lnTo>
                  <a:lnTo>
                    <a:pt x="152" y="478"/>
                  </a:lnTo>
                  <a:lnTo>
                    <a:pt x="158" y="478"/>
                  </a:lnTo>
                  <a:lnTo>
                    <a:pt x="164" y="478"/>
                  </a:lnTo>
                  <a:lnTo>
                    <a:pt x="172" y="478"/>
                  </a:lnTo>
                  <a:lnTo>
                    <a:pt x="181" y="476"/>
                  </a:lnTo>
                  <a:lnTo>
                    <a:pt x="191" y="476"/>
                  </a:lnTo>
                  <a:lnTo>
                    <a:pt x="199" y="476"/>
                  </a:lnTo>
                  <a:lnTo>
                    <a:pt x="209" y="474"/>
                  </a:lnTo>
                  <a:lnTo>
                    <a:pt x="219" y="474"/>
                  </a:lnTo>
                  <a:lnTo>
                    <a:pt x="230" y="474"/>
                  </a:lnTo>
                  <a:lnTo>
                    <a:pt x="240" y="472"/>
                  </a:lnTo>
                  <a:lnTo>
                    <a:pt x="250" y="472"/>
                  </a:lnTo>
                  <a:lnTo>
                    <a:pt x="260" y="470"/>
                  </a:lnTo>
                  <a:lnTo>
                    <a:pt x="271" y="470"/>
                  </a:lnTo>
                  <a:lnTo>
                    <a:pt x="281" y="467"/>
                  </a:lnTo>
                  <a:lnTo>
                    <a:pt x="291" y="467"/>
                  </a:lnTo>
                  <a:lnTo>
                    <a:pt x="301" y="467"/>
                  </a:lnTo>
                  <a:lnTo>
                    <a:pt x="310" y="465"/>
                  </a:lnTo>
                  <a:lnTo>
                    <a:pt x="320" y="465"/>
                  </a:lnTo>
                  <a:lnTo>
                    <a:pt x="328" y="465"/>
                  </a:lnTo>
                  <a:lnTo>
                    <a:pt x="336" y="463"/>
                  </a:lnTo>
                  <a:lnTo>
                    <a:pt x="344" y="463"/>
                  </a:lnTo>
                  <a:lnTo>
                    <a:pt x="350" y="463"/>
                  </a:lnTo>
                  <a:lnTo>
                    <a:pt x="357" y="461"/>
                  </a:lnTo>
                  <a:lnTo>
                    <a:pt x="361" y="461"/>
                  </a:lnTo>
                  <a:lnTo>
                    <a:pt x="367" y="461"/>
                  </a:lnTo>
                  <a:lnTo>
                    <a:pt x="369" y="461"/>
                  </a:lnTo>
                  <a:lnTo>
                    <a:pt x="373" y="461"/>
                  </a:lnTo>
                  <a:lnTo>
                    <a:pt x="373" y="461"/>
                  </a:lnTo>
                  <a:lnTo>
                    <a:pt x="373" y="461"/>
                  </a:lnTo>
                  <a:lnTo>
                    <a:pt x="373" y="461"/>
                  </a:lnTo>
                  <a:lnTo>
                    <a:pt x="373" y="463"/>
                  </a:lnTo>
                  <a:lnTo>
                    <a:pt x="373" y="463"/>
                  </a:lnTo>
                  <a:lnTo>
                    <a:pt x="373" y="463"/>
                  </a:lnTo>
                  <a:lnTo>
                    <a:pt x="373" y="463"/>
                  </a:lnTo>
                  <a:lnTo>
                    <a:pt x="373" y="463"/>
                  </a:lnTo>
                  <a:lnTo>
                    <a:pt x="377" y="467"/>
                  </a:lnTo>
                  <a:lnTo>
                    <a:pt x="377" y="467"/>
                  </a:lnTo>
                  <a:lnTo>
                    <a:pt x="377" y="467"/>
                  </a:lnTo>
                  <a:lnTo>
                    <a:pt x="377" y="470"/>
                  </a:lnTo>
                  <a:lnTo>
                    <a:pt x="377" y="470"/>
                  </a:lnTo>
                  <a:lnTo>
                    <a:pt x="377" y="470"/>
                  </a:lnTo>
                  <a:lnTo>
                    <a:pt x="377" y="470"/>
                  </a:lnTo>
                  <a:lnTo>
                    <a:pt x="377" y="472"/>
                  </a:lnTo>
                  <a:lnTo>
                    <a:pt x="377" y="474"/>
                  </a:lnTo>
                  <a:lnTo>
                    <a:pt x="377" y="474"/>
                  </a:lnTo>
                  <a:lnTo>
                    <a:pt x="377" y="474"/>
                  </a:lnTo>
                  <a:lnTo>
                    <a:pt x="379" y="476"/>
                  </a:lnTo>
                  <a:lnTo>
                    <a:pt x="381" y="480"/>
                  </a:lnTo>
                  <a:lnTo>
                    <a:pt x="381" y="480"/>
                  </a:lnTo>
                  <a:lnTo>
                    <a:pt x="381" y="480"/>
                  </a:lnTo>
                  <a:lnTo>
                    <a:pt x="381" y="480"/>
                  </a:lnTo>
                  <a:lnTo>
                    <a:pt x="383" y="480"/>
                  </a:lnTo>
                  <a:lnTo>
                    <a:pt x="383" y="480"/>
                  </a:lnTo>
                  <a:lnTo>
                    <a:pt x="387" y="480"/>
                  </a:lnTo>
                  <a:lnTo>
                    <a:pt x="387" y="480"/>
                  </a:lnTo>
                  <a:lnTo>
                    <a:pt x="389" y="480"/>
                  </a:lnTo>
                  <a:lnTo>
                    <a:pt x="391" y="480"/>
                  </a:lnTo>
                  <a:lnTo>
                    <a:pt x="391" y="480"/>
                  </a:lnTo>
                  <a:lnTo>
                    <a:pt x="394" y="478"/>
                  </a:lnTo>
                  <a:lnTo>
                    <a:pt x="394" y="478"/>
                  </a:lnTo>
                  <a:lnTo>
                    <a:pt x="394" y="478"/>
                  </a:lnTo>
                  <a:lnTo>
                    <a:pt x="394" y="478"/>
                  </a:lnTo>
                  <a:lnTo>
                    <a:pt x="394" y="476"/>
                  </a:lnTo>
                  <a:lnTo>
                    <a:pt x="394" y="474"/>
                  </a:lnTo>
                  <a:lnTo>
                    <a:pt x="394" y="472"/>
                  </a:lnTo>
                  <a:lnTo>
                    <a:pt x="394" y="472"/>
                  </a:lnTo>
                  <a:lnTo>
                    <a:pt x="394" y="463"/>
                  </a:lnTo>
                  <a:lnTo>
                    <a:pt x="394" y="457"/>
                  </a:lnTo>
                  <a:lnTo>
                    <a:pt x="394" y="455"/>
                  </a:lnTo>
                  <a:lnTo>
                    <a:pt x="394" y="455"/>
                  </a:lnTo>
                  <a:lnTo>
                    <a:pt x="394" y="453"/>
                  </a:lnTo>
                  <a:lnTo>
                    <a:pt x="394" y="453"/>
                  </a:lnTo>
                  <a:lnTo>
                    <a:pt x="391" y="451"/>
                  </a:lnTo>
                  <a:lnTo>
                    <a:pt x="389" y="451"/>
                  </a:lnTo>
                  <a:lnTo>
                    <a:pt x="389" y="449"/>
                  </a:lnTo>
                  <a:lnTo>
                    <a:pt x="389" y="449"/>
                  </a:lnTo>
                  <a:lnTo>
                    <a:pt x="389" y="447"/>
                  </a:lnTo>
                  <a:lnTo>
                    <a:pt x="389" y="447"/>
                  </a:lnTo>
                  <a:lnTo>
                    <a:pt x="389" y="445"/>
                  </a:lnTo>
                  <a:lnTo>
                    <a:pt x="389" y="443"/>
                  </a:lnTo>
                  <a:lnTo>
                    <a:pt x="389" y="443"/>
                  </a:lnTo>
                  <a:lnTo>
                    <a:pt x="389" y="441"/>
                  </a:lnTo>
                  <a:lnTo>
                    <a:pt x="389" y="439"/>
                  </a:lnTo>
                  <a:lnTo>
                    <a:pt x="389" y="439"/>
                  </a:lnTo>
                  <a:lnTo>
                    <a:pt x="389" y="439"/>
                  </a:lnTo>
                  <a:lnTo>
                    <a:pt x="389" y="437"/>
                  </a:lnTo>
                  <a:lnTo>
                    <a:pt x="389" y="437"/>
                  </a:lnTo>
                  <a:lnTo>
                    <a:pt x="389" y="437"/>
                  </a:lnTo>
                  <a:lnTo>
                    <a:pt x="389" y="435"/>
                  </a:lnTo>
                  <a:lnTo>
                    <a:pt x="389" y="435"/>
                  </a:lnTo>
                  <a:lnTo>
                    <a:pt x="389" y="435"/>
                  </a:lnTo>
                  <a:lnTo>
                    <a:pt x="391" y="433"/>
                  </a:lnTo>
                  <a:lnTo>
                    <a:pt x="391" y="433"/>
                  </a:lnTo>
                  <a:lnTo>
                    <a:pt x="391" y="433"/>
                  </a:lnTo>
                  <a:lnTo>
                    <a:pt x="394" y="433"/>
                  </a:lnTo>
                  <a:lnTo>
                    <a:pt x="394" y="433"/>
                  </a:lnTo>
                  <a:lnTo>
                    <a:pt x="394" y="433"/>
                  </a:lnTo>
                  <a:lnTo>
                    <a:pt x="394" y="433"/>
                  </a:lnTo>
                  <a:lnTo>
                    <a:pt x="394" y="431"/>
                  </a:lnTo>
                  <a:lnTo>
                    <a:pt x="394" y="431"/>
                  </a:lnTo>
                  <a:lnTo>
                    <a:pt x="394" y="431"/>
                  </a:lnTo>
                  <a:lnTo>
                    <a:pt x="394" y="431"/>
                  </a:lnTo>
                  <a:lnTo>
                    <a:pt x="394" y="429"/>
                  </a:lnTo>
                  <a:lnTo>
                    <a:pt x="396" y="429"/>
                  </a:lnTo>
                  <a:lnTo>
                    <a:pt x="396" y="429"/>
                  </a:lnTo>
                  <a:lnTo>
                    <a:pt x="398" y="429"/>
                  </a:lnTo>
                  <a:lnTo>
                    <a:pt x="398" y="429"/>
                  </a:lnTo>
                  <a:lnTo>
                    <a:pt x="398" y="429"/>
                  </a:lnTo>
                  <a:lnTo>
                    <a:pt x="400" y="429"/>
                  </a:lnTo>
                  <a:lnTo>
                    <a:pt x="400" y="429"/>
                  </a:lnTo>
                  <a:lnTo>
                    <a:pt x="402" y="429"/>
                  </a:lnTo>
                  <a:lnTo>
                    <a:pt x="404" y="431"/>
                  </a:lnTo>
                  <a:lnTo>
                    <a:pt x="412" y="433"/>
                  </a:lnTo>
                  <a:lnTo>
                    <a:pt x="412" y="433"/>
                  </a:lnTo>
                  <a:lnTo>
                    <a:pt x="414" y="433"/>
                  </a:lnTo>
                  <a:lnTo>
                    <a:pt x="414" y="433"/>
                  </a:lnTo>
                  <a:lnTo>
                    <a:pt x="416" y="433"/>
                  </a:lnTo>
                  <a:lnTo>
                    <a:pt x="416" y="433"/>
                  </a:lnTo>
                  <a:lnTo>
                    <a:pt x="418" y="433"/>
                  </a:lnTo>
                  <a:lnTo>
                    <a:pt x="418" y="433"/>
                  </a:lnTo>
                  <a:lnTo>
                    <a:pt x="424" y="435"/>
                  </a:lnTo>
                  <a:lnTo>
                    <a:pt x="424" y="435"/>
                  </a:lnTo>
                  <a:lnTo>
                    <a:pt x="426" y="435"/>
                  </a:lnTo>
                  <a:lnTo>
                    <a:pt x="426" y="435"/>
                  </a:lnTo>
                  <a:lnTo>
                    <a:pt x="428" y="435"/>
                  </a:lnTo>
                  <a:lnTo>
                    <a:pt x="428" y="435"/>
                  </a:lnTo>
                  <a:lnTo>
                    <a:pt x="432" y="435"/>
                  </a:lnTo>
                  <a:lnTo>
                    <a:pt x="432" y="435"/>
                  </a:lnTo>
                  <a:lnTo>
                    <a:pt x="437" y="433"/>
                  </a:lnTo>
                  <a:lnTo>
                    <a:pt x="439" y="433"/>
                  </a:lnTo>
                  <a:lnTo>
                    <a:pt x="439" y="433"/>
                  </a:lnTo>
                  <a:lnTo>
                    <a:pt x="439" y="433"/>
                  </a:lnTo>
                  <a:lnTo>
                    <a:pt x="439" y="429"/>
                  </a:lnTo>
                  <a:lnTo>
                    <a:pt x="439" y="427"/>
                  </a:lnTo>
                  <a:lnTo>
                    <a:pt x="437" y="427"/>
                  </a:lnTo>
                  <a:lnTo>
                    <a:pt x="437" y="424"/>
                  </a:lnTo>
                  <a:lnTo>
                    <a:pt x="437" y="424"/>
                  </a:lnTo>
                  <a:lnTo>
                    <a:pt x="434" y="422"/>
                  </a:lnTo>
                  <a:lnTo>
                    <a:pt x="434" y="420"/>
                  </a:lnTo>
                  <a:lnTo>
                    <a:pt x="434" y="420"/>
                  </a:lnTo>
                  <a:lnTo>
                    <a:pt x="432" y="420"/>
                  </a:lnTo>
                  <a:lnTo>
                    <a:pt x="432" y="418"/>
                  </a:lnTo>
                  <a:lnTo>
                    <a:pt x="434" y="418"/>
                  </a:lnTo>
                  <a:lnTo>
                    <a:pt x="434" y="418"/>
                  </a:lnTo>
                  <a:lnTo>
                    <a:pt x="437" y="418"/>
                  </a:lnTo>
                  <a:lnTo>
                    <a:pt x="437" y="418"/>
                  </a:lnTo>
                  <a:lnTo>
                    <a:pt x="437" y="418"/>
                  </a:lnTo>
                  <a:lnTo>
                    <a:pt x="437" y="416"/>
                  </a:lnTo>
                  <a:lnTo>
                    <a:pt x="434" y="416"/>
                  </a:lnTo>
                  <a:lnTo>
                    <a:pt x="434" y="416"/>
                  </a:lnTo>
                  <a:lnTo>
                    <a:pt x="434" y="414"/>
                  </a:lnTo>
                  <a:lnTo>
                    <a:pt x="434" y="414"/>
                  </a:lnTo>
                  <a:lnTo>
                    <a:pt x="434" y="412"/>
                  </a:lnTo>
                  <a:lnTo>
                    <a:pt x="434" y="412"/>
                  </a:lnTo>
                  <a:lnTo>
                    <a:pt x="439" y="408"/>
                  </a:lnTo>
                  <a:lnTo>
                    <a:pt x="439" y="406"/>
                  </a:lnTo>
                  <a:lnTo>
                    <a:pt x="437" y="406"/>
                  </a:lnTo>
                  <a:lnTo>
                    <a:pt x="434" y="406"/>
                  </a:lnTo>
                  <a:lnTo>
                    <a:pt x="432" y="406"/>
                  </a:lnTo>
                  <a:lnTo>
                    <a:pt x="432" y="404"/>
                  </a:lnTo>
                  <a:lnTo>
                    <a:pt x="437" y="404"/>
                  </a:lnTo>
                  <a:lnTo>
                    <a:pt x="437" y="402"/>
                  </a:lnTo>
                  <a:lnTo>
                    <a:pt x="437" y="400"/>
                  </a:lnTo>
                  <a:lnTo>
                    <a:pt x="437" y="398"/>
                  </a:lnTo>
                  <a:lnTo>
                    <a:pt x="432" y="396"/>
                  </a:lnTo>
                  <a:lnTo>
                    <a:pt x="430" y="394"/>
                  </a:lnTo>
                  <a:lnTo>
                    <a:pt x="432" y="394"/>
                  </a:lnTo>
                  <a:lnTo>
                    <a:pt x="434" y="396"/>
                  </a:lnTo>
                  <a:lnTo>
                    <a:pt x="439" y="398"/>
                  </a:lnTo>
                  <a:lnTo>
                    <a:pt x="439" y="400"/>
                  </a:lnTo>
                  <a:lnTo>
                    <a:pt x="441" y="400"/>
                  </a:lnTo>
                  <a:lnTo>
                    <a:pt x="441" y="392"/>
                  </a:lnTo>
                  <a:lnTo>
                    <a:pt x="441" y="388"/>
                  </a:lnTo>
                  <a:lnTo>
                    <a:pt x="439" y="390"/>
                  </a:lnTo>
                  <a:lnTo>
                    <a:pt x="439" y="392"/>
                  </a:lnTo>
                  <a:lnTo>
                    <a:pt x="439" y="394"/>
                  </a:lnTo>
                  <a:lnTo>
                    <a:pt x="437" y="394"/>
                  </a:lnTo>
                  <a:lnTo>
                    <a:pt x="434" y="392"/>
                  </a:lnTo>
                  <a:lnTo>
                    <a:pt x="432" y="390"/>
                  </a:lnTo>
                  <a:lnTo>
                    <a:pt x="432" y="390"/>
                  </a:lnTo>
                  <a:lnTo>
                    <a:pt x="432" y="388"/>
                  </a:lnTo>
                  <a:lnTo>
                    <a:pt x="437" y="390"/>
                  </a:lnTo>
                  <a:lnTo>
                    <a:pt x="437" y="388"/>
                  </a:lnTo>
                  <a:lnTo>
                    <a:pt x="434" y="386"/>
                  </a:lnTo>
                  <a:lnTo>
                    <a:pt x="434" y="381"/>
                  </a:lnTo>
                  <a:lnTo>
                    <a:pt x="434" y="379"/>
                  </a:lnTo>
                  <a:lnTo>
                    <a:pt x="434" y="379"/>
                  </a:lnTo>
                  <a:lnTo>
                    <a:pt x="437" y="377"/>
                  </a:lnTo>
                  <a:lnTo>
                    <a:pt x="437" y="379"/>
                  </a:lnTo>
                  <a:lnTo>
                    <a:pt x="439" y="386"/>
                  </a:lnTo>
                  <a:lnTo>
                    <a:pt x="439" y="386"/>
                  </a:lnTo>
                  <a:lnTo>
                    <a:pt x="439" y="386"/>
                  </a:lnTo>
                  <a:lnTo>
                    <a:pt x="441" y="386"/>
                  </a:lnTo>
                  <a:lnTo>
                    <a:pt x="443" y="383"/>
                  </a:lnTo>
                  <a:lnTo>
                    <a:pt x="445" y="381"/>
                  </a:lnTo>
                  <a:lnTo>
                    <a:pt x="447" y="375"/>
                  </a:lnTo>
                  <a:lnTo>
                    <a:pt x="449" y="375"/>
                  </a:lnTo>
                  <a:lnTo>
                    <a:pt x="449" y="375"/>
                  </a:lnTo>
                  <a:lnTo>
                    <a:pt x="449" y="371"/>
                  </a:lnTo>
                  <a:lnTo>
                    <a:pt x="449" y="369"/>
                  </a:lnTo>
                  <a:lnTo>
                    <a:pt x="447" y="369"/>
                  </a:lnTo>
                  <a:lnTo>
                    <a:pt x="443" y="367"/>
                  </a:lnTo>
                  <a:lnTo>
                    <a:pt x="443" y="367"/>
                  </a:lnTo>
                  <a:lnTo>
                    <a:pt x="439" y="367"/>
                  </a:lnTo>
                  <a:lnTo>
                    <a:pt x="434" y="367"/>
                  </a:lnTo>
                  <a:lnTo>
                    <a:pt x="430" y="365"/>
                  </a:lnTo>
                  <a:lnTo>
                    <a:pt x="428" y="363"/>
                  </a:lnTo>
                  <a:lnTo>
                    <a:pt x="428" y="363"/>
                  </a:lnTo>
                  <a:lnTo>
                    <a:pt x="428" y="363"/>
                  </a:lnTo>
                  <a:lnTo>
                    <a:pt x="430" y="363"/>
                  </a:lnTo>
                  <a:lnTo>
                    <a:pt x="432" y="365"/>
                  </a:lnTo>
                  <a:lnTo>
                    <a:pt x="443" y="365"/>
                  </a:lnTo>
                  <a:lnTo>
                    <a:pt x="447" y="365"/>
                  </a:lnTo>
                  <a:lnTo>
                    <a:pt x="447" y="363"/>
                  </a:lnTo>
                  <a:lnTo>
                    <a:pt x="447" y="361"/>
                  </a:lnTo>
                  <a:lnTo>
                    <a:pt x="445" y="359"/>
                  </a:lnTo>
                  <a:lnTo>
                    <a:pt x="443" y="357"/>
                  </a:lnTo>
                  <a:lnTo>
                    <a:pt x="441" y="355"/>
                  </a:lnTo>
                  <a:lnTo>
                    <a:pt x="441" y="355"/>
                  </a:lnTo>
                  <a:lnTo>
                    <a:pt x="441" y="355"/>
                  </a:lnTo>
                  <a:lnTo>
                    <a:pt x="443" y="353"/>
                  </a:lnTo>
                  <a:lnTo>
                    <a:pt x="443" y="353"/>
                  </a:lnTo>
                  <a:lnTo>
                    <a:pt x="443" y="353"/>
                  </a:lnTo>
                  <a:lnTo>
                    <a:pt x="443" y="355"/>
                  </a:lnTo>
                  <a:lnTo>
                    <a:pt x="445" y="355"/>
                  </a:lnTo>
                  <a:lnTo>
                    <a:pt x="445" y="357"/>
                  </a:lnTo>
                  <a:lnTo>
                    <a:pt x="445" y="357"/>
                  </a:lnTo>
                  <a:lnTo>
                    <a:pt x="447" y="357"/>
                  </a:lnTo>
                  <a:lnTo>
                    <a:pt x="447" y="359"/>
                  </a:lnTo>
                  <a:lnTo>
                    <a:pt x="447" y="357"/>
                  </a:lnTo>
                  <a:lnTo>
                    <a:pt x="449" y="357"/>
                  </a:lnTo>
                  <a:lnTo>
                    <a:pt x="447" y="357"/>
                  </a:lnTo>
                  <a:lnTo>
                    <a:pt x="447" y="355"/>
                  </a:lnTo>
                  <a:lnTo>
                    <a:pt x="453" y="345"/>
                  </a:lnTo>
                  <a:lnTo>
                    <a:pt x="453" y="340"/>
                  </a:lnTo>
                  <a:lnTo>
                    <a:pt x="451" y="340"/>
                  </a:lnTo>
                  <a:lnTo>
                    <a:pt x="447" y="342"/>
                  </a:lnTo>
                  <a:lnTo>
                    <a:pt x="443" y="347"/>
                  </a:lnTo>
                  <a:lnTo>
                    <a:pt x="443" y="347"/>
                  </a:lnTo>
                  <a:lnTo>
                    <a:pt x="445" y="345"/>
                  </a:lnTo>
                  <a:lnTo>
                    <a:pt x="445" y="342"/>
                  </a:lnTo>
                  <a:lnTo>
                    <a:pt x="443" y="342"/>
                  </a:lnTo>
                  <a:lnTo>
                    <a:pt x="443" y="342"/>
                  </a:lnTo>
                  <a:lnTo>
                    <a:pt x="441" y="342"/>
                  </a:lnTo>
                  <a:lnTo>
                    <a:pt x="441" y="342"/>
                  </a:lnTo>
                  <a:lnTo>
                    <a:pt x="439" y="342"/>
                  </a:lnTo>
                  <a:lnTo>
                    <a:pt x="439" y="340"/>
                  </a:lnTo>
                  <a:lnTo>
                    <a:pt x="439" y="340"/>
                  </a:lnTo>
                  <a:lnTo>
                    <a:pt x="441" y="340"/>
                  </a:lnTo>
                  <a:lnTo>
                    <a:pt x="441" y="338"/>
                  </a:lnTo>
                  <a:lnTo>
                    <a:pt x="443" y="338"/>
                  </a:lnTo>
                  <a:lnTo>
                    <a:pt x="445" y="338"/>
                  </a:lnTo>
                  <a:lnTo>
                    <a:pt x="447" y="338"/>
                  </a:lnTo>
                  <a:lnTo>
                    <a:pt x="449" y="338"/>
                  </a:lnTo>
                  <a:lnTo>
                    <a:pt x="451" y="334"/>
                  </a:lnTo>
                  <a:lnTo>
                    <a:pt x="449" y="334"/>
                  </a:lnTo>
                  <a:lnTo>
                    <a:pt x="447" y="332"/>
                  </a:lnTo>
                  <a:lnTo>
                    <a:pt x="445" y="330"/>
                  </a:lnTo>
                  <a:lnTo>
                    <a:pt x="447" y="330"/>
                  </a:lnTo>
                  <a:lnTo>
                    <a:pt x="449" y="330"/>
                  </a:lnTo>
                  <a:lnTo>
                    <a:pt x="451" y="332"/>
                  </a:lnTo>
                  <a:lnTo>
                    <a:pt x="451" y="332"/>
                  </a:lnTo>
                  <a:lnTo>
                    <a:pt x="453" y="336"/>
                  </a:lnTo>
                  <a:lnTo>
                    <a:pt x="453" y="338"/>
                  </a:lnTo>
                  <a:lnTo>
                    <a:pt x="453" y="336"/>
                  </a:lnTo>
                  <a:lnTo>
                    <a:pt x="455" y="336"/>
                  </a:lnTo>
                  <a:lnTo>
                    <a:pt x="455" y="328"/>
                  </a:lnTo>
                  <a:lnTo>
                    <a:pt x="455" y="326"/>
                  </a:lnTo>
                  <a:lnTo>
                    <a:pt x="455" y="324"/>
                  </a:lnTo>
                  <a:lnTo>
                    <a:pt x="453" y="322"/>
                  </a:lnTo>
                  <a:lnTo>
                    <a:pt x="451" y="324"/>
                  </a:lnTo>
                  <a:lnTo>
                    <a:pt x="451" y="324"/>
                  </a:lnTo>
                  <a:lnTo>
                    <a:pt x="453" y="326"/>
                  </a:lnTo>
                  <a:lnTo>
                    <a:pt x="453" y="326"/>
                  </a:lnTo>
                  <a:lnTo>
                    <a:pt x="447" y="328"/>
                  </a:lnTo>
                  <a:lnTo>
                    <a:pt x="445" y="328"/>
                  </a:lnTo>
                  <a:lnTo>
                    <a:pt x="449" y="324"/>
                  </a:lnTo>
                  <a:lnTo>
                    <a:pt x="449" y="322"/>
                  </a:lnTo>
                  <a:lnTo>
                    <a:pt x="445" y="320"/>
                  </a:lnTo>
                  <a:lnTo>
                    <a:pt x="443" y="320"/>
                  </a:lnTo>
                  <a:lnTo>
                    <a:pt x="441" y="320"/>
                  </a:lnTo>
                  <a:lnTo>
                    <a:pt x="441" y="318"/>
                  </a:lnTo>
                  <a:lnTo>
                    <a:pt x="441" y="318"/>
                  </a:lnTo>
                  <a:lnTo>
                    <a:pt x="443" y="318"/>
                  </a:lnTo>
                  <a:lnTo>
                    <a:pt x="443" y="318"/>
                  </a:lnTo>
                  <a:lnTo>
                    <a:pt x="445" y="318"/>
                  </a:lnTo>
                  <a:lnTo>
                    <a:pt x="447" y="320"/>
                  </a:lnTo>
                  <a:lnTo>
                    <a:pt x="451" y="320"/>
                  </a:lnTo>
                  <a:lnTo>
                    <a:pt x="455" y="318"/>
                  </a:lnTo>
                  <a:lnTo>
                    <a:pt x="455" y="318"/>
                  </a:lnTo>
                  <a:lnTo>
                    <a:pt x="457" y="316"/>
                  </a:lnTo>
                  <a:lnTo>
                    <a:pt x="459" y="312"/>
                  </a:lnTo>
                  <a:lnTo>
                    <a:pt x="459" y="310"/>
                  </a:lnTo>
                  <a:lnTo>
                    <a:pt x="459" y="308"/>
                  </a:lnTo>
                  <a:lnTo>
                    <a:pt x="459" y="308"/>
                  </a:lnTo>
                  <a:lnTo>
                    <a:pt x="459" y="308"/>
                  </a:lnTo>
                  <a:lnTo>
                    <a:pt x="455" y="306"/>
                  </a:lnTo>
                  <a:lnTo>
                    <a:pt x="455" y="306"/>
                  </a:lnTo>
                  <a:lnTo>
                    <a:pt x="451" y="306"/>
                  </a:lnTo>
                  <a:lnTo>
                    <a:pt x="451" y="306"/>
                  </a:lnTo>
                  <a:lnTo>
                    <a:pt x="455" y="304"/>
                  </a:lnTo>
                  <a:lnTo>
                    <a:pt x="455" y="302"/>
                  </a:lnTo>
                  <a:lnTo>
                    <a:pt x="453" y="302"/>
                  </a:lnTo>
                  <a:lnTo>
                    <a:pt x="451" y="299"/>
                  </a:lnTo>
                  <a:lnTo>
                    <a:pt x="453" y="299"/>
                  </a:lnTo>
                  <a:lnTo>
                    <a:pt x="453" y="299"/>
                  </a:lnTo>
                  <a:lnTo>
                    <a:pt x="455" y="299"/>
                  </a:lnTo>
                  <a:lnTo>
                    <a:pt x="455" y="302"/>
                  </a:lnTo>
                  <a:lnTo>
                    <a:pt x="455" y="302"/>
                  </a:lnTo>
                  <a:lnTo>
                    <a:pt x="457" y="302"/>
                  </a:lnTo>
                  <a:lnTo>
                    <a:pt x="461" y="302"/>
                  </a:lnTo>
                  <a:lnTo>
                    <a:pt x="463" y="304"/>
                  </a:lnTo>
                  <a:lnTo>
                    <a:pt x="465" y="304"/>
                  </a:lnTo>
                  <a:lnTo>
                    <a:pt x="467" y="302"/>
                  </a:lnTo>
                  <a:lnTo>
                    <a:pt x="469" y="297"/>
                  </a:lnTo>
                  <a:lnTo>
                    <a:pt x="467" y="297"/>
                  </a:lnTo>
                  <a:lnTo>
                    <a:pt x="465" y="295"/>
                  </a:lnTo>
                  <a:lnTo>
                    <a:pt x="465" y="293"/>
                  </a:lnTo>
                  <a:lnTo>
                    <a:pt x="465" y="293"/>
                  </a:lnTo>
                  <a:lnTo>
                    <a:pt x="465" y="291"/>
                  </a:lnTo>
                  <a:lnTo>
                    <a:pt x="465" y="291"/>
                  </a:lnTo>
                  <a:lnTo>
                    <a:pt x="467" y="289"/>
                  </a:lnTo>
                  <a:lnTo>
                    <a:pt x="467" y="289"/>
                  </a:lnTo>
                  <a:lnTo>
                    <a:pt x="467" y="289"/>
                  </a:lnTo>
                  <a:lnTo>
                    <a:pt x="469" y="291"/>
                  </a:lnTo>
                  <a:lnTo>
                    <a:pt x="469" y="291"/>
                  </a:lnTo>
                  <a:lnTo>
                    <a:pt x="469" y="293"/>
                  </a:lnTo>
                  <a:lnTo>
                    <a:pt x="473" y="289"/>
                  </a:lnTo>
                  <a:lnTo>
                    <a:pt x="475" y="285"/>
                  </a:lnTo>
                  <a:lnTo>
                    <a:pt x="473" y="283"/>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GA</a:t>
              </a:r>
            </a:p>
          </p:txBody>
        </p:sp>
        <p:sp>
          <p:nvSpPr>
            <p:cNvPr id="231" name="Freeform 46">
              <a:extLst>
                <a:ext uri="{FF2B5EF4-FFF2-40B4-BE49-F238E27FC236}">
                  <a16:creationId xmlns:a16="http://schemas.microsoft.com/office/drawing/2014/main" id="{83E95A2A-B24C-2E89-6FA1-31212A3C8C2A}"/>
                </a:ext>
              </a:extLst>
            </p:cNvPr>
            <p:cNvSpPr>
              <a:spLocks noEditPoints="1"/>
            </p:cNvSpPr>
            <p:nvPr/>
          </p:nvSpPr>
          <p:spPr bwMode="auto">
            <a:xfrm>
              <a:off x="3875" y="1974"/>
              <a:ext cx="807" cy="705"/>
            </a:xfrm>
            <a:custGeom>
              <a:avLst/>
              <a:gdLst>
                <a:gd name="T0" fmla="*/ 248 w 807"/>
                <a:gd name="T1" fmla="*/ 164 h 705"/>
                <a:gd name="T2" fmla="*/ 95 w 807"/>
                <a:gd name="T3" fmla="*/ 104 h 705"/>
                <a:gd name="T4" fmla="*/ 574 w 807"/>
                <a:gd name="T5" fmla="*/ 461 h 705"/>
                <a:gd name="T6" fmla="*/ 768 w 807"/>
                <a:gd name="T7" fmla="*/ 379 h 705"/>
                <a:gd name="T8" fmla="*/ 670 w 807"/>
                <a:gd name="T9" fmla="*/ 207 h 705"/>
                <a:gd name="T10" fmla="*/ 695 w 807"/>
                <a:gd name="T11" fmla="*/ 245 h 705"/>
                <a:gd name="T12" fmla="*/ 594 w 807"/>
                <a:gd name="T13" fmla="*/ 73 h 705"/>
                <a:gd name="T14" fmla="*/ 572 w 807"/>
                <a:gd name="T15" fmla="*/ 6 h 705"/>
                <a:gd name="T16" fmla="*/ 518 w 807"/>
                <a:gd name="T17" fmla="*/ 4 h 705"/>
                <a:gd name="T18" fmla="*/ 508 w 807"/>
                <a:gd name="T19" fmla="*/ 51 h 705"/>
                <a:gd name="T20" fmla="*/ 326 w 807"/>
                <a:gd name="T21" fmla="*/ 47 h 705"/>
                <a:gd name="T22" fmla="*/ 2 w 807"/>
                <a:gd name="T23" fmla="*/ 53 h 705"/>
                <a:gd name="T24" fmla="*/ 27 w 807"/>
                <a:gd name="T25" fmla="*/ 120 h 705"/>
                <a:gd name="T26" fmla="*/ 47 w 807"/>
                <a:gd name="T27" fmla="*/ 92 h 705"/>
                <a:gd name="T28" fmla="*/ 72 w 807"/>
                <a:gd name="T29" fmla="*/ 104 h 705"/>
                <a:gd name="T30" fmla="*/ 117 w 807"/>
                <a:gd name="T31" fmla="*/ 98 h 705"/>
                <a:gd name="T32" fmla="*/ 127 w 807"/>
                <a:gd name="T33" fmla="*/ 100 h 705"/>
                <a:gd name="T34" fmla="*/ 185 w 807"/>
                <a:gd name="T35" fmla="*/ 110 h 705"/>
                <a:gd name="T36" fmla="*/ 207 w 807"/>
                <a:gd name="T37" fmla="*/ 125 h 705"/>
                <a:gd name="T38" fmla="*/ 224 w 807"/>
                <a:gd name="T39" fmla="*/ 145 h 705"/>
                <a:gd name="T40" fmla="*/ 271 w 807"/>
                <a:gd name="T41" fmla="*/ 157 h 705"/>
                <a:gd name="T42" fmla="*/ 312 w 807"/>
                <a:gd name="T43" fmla="*/ 123 h 705"/>
                <a:gd name="T44" fmla="*/ 371 w 807"/>
                <a:gd name="T45" fmla="*/ 118 h 705"/>
                <a:gd name="T46" fmla="*/ 434 w 807"/>
                <a:gd name="T47" fmla="*/ 176 h 705"/>
                <a:gd name="T48" fmla="*/ 480 w 807"/>
                <a:gd name="T49" fmla="*/ 204 h 705"/>
                <a:gd name="T50" fmla="*/ 494 w 807"/>
                <a:gd name="T51" fmla="*/ 270 h 705"/>
                <a:gd name="T52" fmla="*/ 500 w 807"/>
                <a:gd name="T53" fmla="*/ 340 h 705"/>
                <a:gd name="T54" fmla="*/ 502 w 807"/>
                <a:gd name="T55" fmla="*/ 309 h 705"/>
                <a:gd name="T56" fmla="*/ 525 w 807"/>
                <a:gd name="T57" fmla="*/ 344 h 705"/>
                <a:gd name="T58" fmla="*/ 523 w 807"/>
                <a:gd name="T59" fmla="*/ 373 h 705"/>
                <a:gd name="T60" fmla="*/ 568 w 807"/>
                <a:gd name="T61" fmla="*/ 430 h 705"/>
                <a:gd name="T62" fmla="*/ 586 w 807"/>
                <a:gd name="T63" fmla="*/ 407 h 705"/>
                <a:gd name="T64" fmla="*/ 607 w 807"/>
                <a:gd name="T65" fmla="*/ 438 h 705"/>
                <a:gd name="T66" fmla="*/ 615 w 807"/>
                <a:gd name="T67" fmla="*/ 481 h 705"/>
                <a:gd name="T68" fmla="*/ 639 w 807"/>
                <a:gd name="T69" fmla="*/ 512 h 705"/>
                <a:gd name="T70" fmla="*/ 686 w 807"/>
                <a:gd name="T71" fmla="*/ 547 h 705"/>
                <a:gd name="T72" fmla="*/ 697 w 807"/>
                <a:gd name="T73" fmla="*/ 586 h 705"/>
                <a:gd name="T74" fmla="*/ 750 w 807"/>
                <a:gd name="T75" fmla="*/ 575 h 705"/>
                <a:gd name="T76" fmla="*/ 768 w 807"/>
                <a:gd name="T77" fmla="*/ 561 h 705"/>
                <a:gd name="T78" fmla="*/ 682 w 807"/>
                <a:gd name="T79" fmla="*/ 217 h 705"/>
                <a:gd name="T80" fmla="*/ 738 w 807"/>
                <a:gd name="T81" fmla="*/ 334 h 705"/>
                <a:gd name="T82" fmla="*/ 799 w 807"/>
                <a:gd name="T83" fmla="*/ 698 h 705"/>
                <a:gd name="T84" fmla="*/ 490 w 807"/>
                <a:gd name="T85" fmla="*/ 233 h 705"/>
                <a:gd name="T86" fmla="*/ 486 w 807"/>
                <a:gd name="T87" fmla="*/ 219 h 705"/>
                <a:gd name="T88" fmla="*/ 473 w 807"/>
                <a:gd name="T89" fmla="*/ 194 h 705"/>
                <a:gd name="T90" fmla="*/ 647 w 807"/>
                <a:gd name="T91" fmla="*/ 664 h 705"/>
                <a:gd name="T92" fmla="*/ 615 w 807"/>
                <a:gd name="T93" fmla="*/ 668 h 705"/>
                <a:gd name="T94" fmla="*/ 662 w 807"/>
                <a:gd name="T95" fmla="*/ 520 h 705"/>
                <a:gd name="T96" fmla="*/ 654 w 807"/>
                <a:gd name="T97" fmla="*/ 520 h 705"/>
                <a:gd name="T98" fmla="*/ 541 w 807"/>
                <a:gd name="T99" fmla="*/ 672 h 705"/>
                <a:gd name="T100" fmla="*/ 584 w 807"/>
                <a:gd name="T101" fmla="*/ 463 h 705"/>
                <a:gd name="T102" fmla="*/ 668 w 807"/>
                <a:gd name="T103" fmla="*/ 645 h 705"/>
                <a:gd name="T104" fmla="*/ 662 w 807"/>
                <a:gd name="T105" fmla="*/ 657 h 705"/>
                <a:gd name="T106" fmla="*/ 713 w 807"/>
                <a:gd name="T107" fmla="*/ 575 h 705"/>
                <a:gd name="T108" fmla="*/ 516 w 807"/>
                <a:gd name="T109" fmla="*/ 358 h 705"/>
                <a:gd name="T110" fmla="*/ 676 w 807"/>
                <a:gd name="T111" fmla="*/ 647 h 705"/>
                <a:gd name="T112" fmla="*/ 742 w 807"/>
                <a:gd name="T113" fmla="*/ 584 h 705"/>
                <a:gd name="T114" fmla="*/ 766 w 807"/>
                <a:gd name="T115" fmla="*/ 580 h 705"/>
                <a:gd name="T116" fmla="*/ 781 w 807"/>
                <a:gd name="T117" fmla="*/ 561 h 705"/>
                <a:gd name="T118" fmla="*/ 680 w 807"/>
                <a:gd name="T119" fmla="*/ 637 h 705"/>
                <a:gd name="T120" fmla="*/ 738 w 807"/>
                <a:gd name="T121" fmla="*/ 606 h 705"/>
                <a:gd name="T122" fmla="*/ 717 w 807"/>
                <a:gd name="T123" fmla="*/ 631 h 705"/>
                <a:gd name="T124" fmla="*/ 764 w 807"/>
                <a:gd name="T125" fmla="*/ 5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7" h="705">
                  <a:moveTo>
                    <a:pt x="295" y="143"/>
                  </a:moveTo>
                  <a:lnTo>
                    <a:pt x="293" y="145"/>
                  </a:lnTo>
                  <a:lnTo>
                    <a:pt x="289" y="147"/>
                  </a:lnTo>
                  <a:lnTo>
                    <a:pt x="289" y="149"/>
                  </a:lnTo>
                  <a:lnTo>
                    <a:pt x="293" y="147"/>
                  </a:lnTo>
                  <a:lnTo>
                    <a:pt x="295" y="145"/>
                  </a:lnTo>
                  <a:lnTo>
                    <a:pt x="297" y="143"/>
                  </a:lnTo>
                  <a:lnTo>
                    <a:pt x="295" y="143"/>
                  </a:lnTo>
                  <a:lnTo>
                    <a:pt x="295" y="143"/>
                  </a:lnTo>
                  <a:close/>
                  <a:moveTo>
                    <a:pt x="285" y="151"/>
                  </a:moveTo>
                  <a:lnTo>
                    <a:pt x="285" y="153"/>
                  </a:lnTo>
                  <a:lnTo>
                    <a:pt x="283" y="155"/>
                  </a:lnTo>
                  <a:lnTo>
                    <a:pt x="283" y="155"/>
                  </a:lnTo>
                  <a:lnTo>
                    <a:pt x="283" y="155"/>
                  </a:lnTo>
                  <a:lnTo>
                    <a:pt x="281" y="155"/>
                  </a:lnTo>
                  <a:lnTo>
                    <a:pt x="281" y="155"/>
                  </a:lnTo>
                  <a:lnTo>
                    <a:pt x="281" y="157"/>
                  </a:lnTo>
                  <a:lnTo>
                    <a:pt x="281" y="157"/>
                  </a:lnTo>
                  <a:lnTo>
                    <a:pt x="281" y="157"/>
                  </a:lnTo>
                  <a:lnTo>
                    <a:pt x="279" y="157"/>
                  </a:lnTo>
                  <a:lnTo>
                    <a:pt x="260" y="170"/>
                  </a:lnTo>
                  <a:lnTo>
                    <a:pt x="258" y="172"/>
                  </a:lnTo>
                  <a:lnTo>
                    <a:pt x="256" y="172"/>
                  </a:lnTo>
                  <a:lnTo>
                    <a:pt x="252" y="172"/>
                  </a:lnTo>
                  <a:lnTo>
                    <a:pt x="250" y="172"/>
                  </a:lnTo>
                  <a:lnTo>
                    <a:pt x="254" y="172"/>
                  </a:lnTo>
                  <a:lnTo>
                    <a:pt x="256" y="172"/>
                  </a:lnTo>
                  <a:lnTo>
                    <a:pt x="260" y="172"/>
                  </a:lnTo>
                  <a:lnTo>
                    <a:pt x="262" y="172"/>
                  </a:lnTo>
                  <a:lnTo>
                    <a:pt x="269" y="168"/>
                  </a:lnTo>
                  <a:lnTo>
                    <a:pt x="271" y="166"/>
                  </a:lnTo>
                  <a:lnTo>
                    <a:pt x="279" y="159"/>
                  </a:lnTo>
                  <a:lnTo>
                    <a:pt x="283" y="155"/>
                  </a:lnTo>
                  <a:lnTo>
                    <a:pt x="285" y="153"/>
                  </a:lnTo>
                  <a:lnTo>
                    <a:pt x="285" y="153"/>
                  </a:lnTo>
                  <a:lnTo>
                    <a:pt x="287" y="151"/>
                  </a:lnTo>
                  <a:lnTo>
                    <a:pt x="287" y="151"/>
                  </a:lnTo>
                  <a:lnTo>
                    <a:pt x="287" y="151"/>
                  </a:lnTo>
                  <a:lnTo>
                    <a:pt x="285" y="151"/>
                  </a:lnTo>
                  <a:close/>
                  <a:moveTo>
                    <a:pt x="252" y="166"/>
                  </a:moveTo>
                  <a:lnTo>
                    <a:pt x="252" y="164"/>
                  </a:lnTo>
                  <a:lnTo>
                    <a:pt x="250" y="164"/>
                  </a:lnTo>
                  <a:lnTo>
                    <a:pt x="250" y="164"/>
                  </a:lnTo>
                  <a:lnTo>
                    <a:pt x="248" y="164"/>
                  </a:lnTo>
                  <a:lnTo>
                    <a:pt x="246" y="164"/>
                  </a:lnTo>
                  <a:lnTo>
                    <a:pt x="244" y="166"/>
                  </a:lnTo>
                  <a:lnTo>
                    <a:pt x="244" y="166"/>
                  </a:lnTo>
                  <a:lnTo>
                    <a:pt x="240" y="166"/>
                  </a:lnTo>
                  <a:lnTo>
                    <a:pt x="240" y="166"/>
                  </a:lnTo>
                  <a:lnTo>
                    <a:pt x="242" y="168"/>
                  </a:lnTo>
                  <a:lnTo>
                    <a:pt x="244" y="168"/>
                  </a:lnTo>
                  <a:lnTo>
                    <a:pt x="244" y="168"/>
                  </a:lnTo>
                  <a:lnTo>
                    <a:pt x="244" y="170"/>
                  </a:lnTo>
                  <a:lnTo>
                    <a:pt x="246" y="170"/>
                  </a:lnTo>
                  <a:lnTo>
                    <a:pt x="246" y="170"/>
                  </a:lnTo>
                  <a:lnTo>
                    <a:pt x="248" y="170"/>
                  </a:lnTo>
                  <a:lnTo>
                    <a:pt x="250" y="170"/>
                  </a:lnTo>
                  <a:lnTo>
                    <a:pt x="250" y="170"/>
                  </a:lnTo>
                  <a:lnTo>
                    <a:pt x="250" y="168"/>
                  </a:lnTo>
                  <a:lnTo>
                    <a:pt x="250" y="168"/>
                  </a:lnTo>
                  <a:lnTo>
                    <a:pt x="250" y="166"/>
                  </a:lnTo>
                  <a:lnTo>
                    <a:pt x="252" y="166"/>
                  </a:lnTo>
                  <a:close/>
                  <a:moveTo>
                    <a:pt x="95" y="104"/>
                  </a:moveTo>
                  <a:lnTo>
                    <a:pt x="92" y="106"/>
                  </a:lnTo>
                  <a:lnTo>
                    <a:pt x="92" y="106"/>
                  </a:lnTo>
                  <a:lnTo>
                    <a:pt x="90" y="106"/>
                  </a:lnTo>
                  <a:lnTo>
                    <a:pt x="80" y="110"/>
                  </a:lnTo>
                  <a:lnTo>
                    <a:pt x="76" y="110"/>
                  </a:lnTo>
                  <a:lnTo>
                    <a:pt x="74" y="110"/>
                  </a:lnTo>
                  <a:lnTo>
                    <a:pt x="72" y="110"/>
                  </a:lnTo>
                  <a:lnTo>
                    <a:pt x="72" y="112"/>
                  </a:lnTo>
                  <a:lnTo>
                    <a:pt x="68" y="112"/>
                  </a:lnTo>
                  <a:lnTo>
                    <a:pt x="62" y="114"/>
                  </a:lnTo>
                  <a:lnTo>
                    <a:pt x="58" y="116"/>
                  </a:lnTo>
                  <a:lnTo>
                    <a:pt x="47" y="118"/>
                  </a:lnTo>
                  <a:lnTo>
                    <a:pt x="39" y="120"/>
                  </a:lnTo>
                  <a:lnTo>
                    <a:pt x="37" y="120"/>
                  </a:lnTo>
                  <a:lnTo>
                    <a:pt x="43" y="120"/>
                  </a:lnTo>
                  <a:lnTo>
                    <a:pt x="105" y="106"/>
                  </a:lnTo>
                  <a:lnTo>
                    <a:pt x="105" y="106"/>
                  </a:lnTo>
                  <a:lnTo>
                    <a:pt x="105" y="106"/>
                  </a:lnTo>
                  <a:lnTo>
                    <a:pt x="105" y="106"/>
                  </a:lnTo>
                  <a:lnTo>
                    <a:pt x="105" y="106"/>
                  </a:lnTo>
                  <a:lnTo>
                    <a:pt x="107" y="106"/>
                  </a:lnTo>
                  <a:lnTo>
                    <a:pt x="107" y="106"/>
                  </a:lnTo>
                  <a:lnTo>
                    <a:pt x="109" y="104"/>
                  </a:lnTo>
                  <a:lnTo>
                    <a:pt x="99" y="104"/>
                  </a:lnTo>
                  <a:lnTo>
                    <a:pt x="95" y="104"/>
                  </a:lnTo>
                  <a:close/>
                  <a:moveTo>
                    <a:pt x="783" y="516"/>
                  </a:moveTo>
                  <a:lnTo>
                    <a:pt x="783" y="518"/>
                  </a:lnTo>
                  <a:lnTo>
                    <a:pt x="783" y="518"/>
                  </a:lnTo>
                  <a:lnTo>
                    <a:pt x="783" y="518"/>
                  </a:lnTo>
                  <a:lnTo>
                    <a:pt x="785" y="518"/>
                  </a:lnTo>
                  <a:lnTo>
                    <a:pt x="785" y="516"/>
                  </a:lnTo>
                  <a:lnTo>
                    <a:pt x="785" y="510"/>
                  </a:lnTo>
                  <a:lnTo>
                    <a:pt x="785" y="510"/>
                  </a:lnTo>
                  <a:lnTo>
                    <a:pt x="785" y="510"/>
                  </a:lnTo>
                  <a:lnTo>
                    <a:pt x="783" y="510"/>
                  </a:lnTo>
                  <a:lnTo>
                    <a:pt x="783" y="512"/>
                  </a:lnTo>
                  <a:lnTo>
                    <a:pt x="783" y="512"/>
                  </a:lnTo>
                  <a:lnTo>
                    <a:pt x="783" y="512"/>
                  </a:lnTo>
                  <a:lnTo>
                    <a:pt x="783" y="514"/>
                  </a:lnTo>
                  <a:lnTo>
                    <a:pt x="783" y="514"/>
                  </a:lnTo>
                  <a:lnTo>
                    <a:pt x="783" y="514"/>
                  </a:lnTo>
                  <a:lnTo>
                    <a:pt x="783" y="514"/>
                  </a:lnTo>
                  <a:lnTo>
                    <a:pt x="783" y="514"/>
                  </a:lnTo>
                  <a:lnTo>
                    <a:pt x="783" y="514"/>
                  </a:lnTo>
                  <a:lnTo>
                    <a:pt x="783" y="514"/>
                  </a:lnTo>
                  <a:lnTo>
                    <a:pt x="783" y="514"/>
                  </a:lnTo>
                  <a:lnTo>
                    <a:pt x="783" y="514"/>
                  </a:lnTo>
                  <a:lnTo>
                    <a:pt x="783" y="516"/>
                  </a:lnTo>
                  <a:lnTo>
                    <a:pt x="783" y="516"/>
                  </a:lnTo>
                  <a:close/>
                  <a:moveTo>
                    <a:pt x="592" y="467"/>
                  </a:moveTo>
                  <a:lnTo>
                    <a:pt x="590" y="465"/>
                  </a:lnTo>
                  <a:lnTo>
                    <a:pt x="588" y="465"/>
                  </a:lnTo>
                  <a:lnTo>
                    <a:pt x="588" y="465"/>
                  </a:lnTo>
                  <a:lnTo>
                    <a:pt x="588" y="465"/>
                  </a:lnTo>
                  <a:lnTo>
                    <a:pt x="586" y="467"/>
                  </a:lnTo>
                  <a:lnTo>
                    <a:pt x="584" y="467"/>
                  </a:lnTo>
                  <a:lnTo>
                    <a:pt x="582" y="467"/>
                  </a:lnTo>
                  <a:lnTo>
                    <a:pt x="582" y="467"/>
                  </a:lnTo>
                  <a:lnTo>
                    <a:pt x="580" y="467"/>
                  </a:lnTo>
                  <a:lnTo>
                    <a:pt x="578" y="465"/>
                  </a:lnTo>
                  <a:lnTo>
                    <a:pt x="576" y="463"/>
                  </a:lnTo>
                  <a:lnTo>
                    <a:pt x="576" y="461"/>
                  </a:lnTo>
                  <a:lnTo>
                    <a:pt x="576" y="461"/>
                  </a:lnTo>
                  <a:lnTo>
                    <a:pt x="574" y="459"/>
                  </a:lnTo>
                  <a:lnTo>
                    <a:pt x="574" y="459"/>
                  </a:lnTo>
                  <a:lnTo>
                    <a:pt x="574" y="459"/>
                  </a:lnTo>
                  <a:lnTo>
                    <a:pt x="574" y="459"/>
                  </a:lnTo>
                  <a:lnTo>
                    <a:pt x="572" y="459"/>
                  </a:lnTo>
                  <a:lnTo>
                    <a:pt x="574" y="461"/>
                  </a:lnTo>
                  <a:lnTo>
                    <a:pt x="576" y="465"/>
                  </a:lnTo>
                  <a:lnTo>
                    <a:pt x="576" y="467"/>
                  </a:lnTo>
                  <a:lnTo>
                    <a:pt x="578" y="467"/>
                  </a:lnTo>
                  <a:lnTo>
                    <a:pt x="578" y="467"/>
                  </a:lnTo>
                  <a:lnTo>
                    <a:pt x="584" y="471"/>
                  </a:lnTo>
                  <a:lnTo>
                    <a:pt x="584" y="471"/>
                  </a:lnTo>
                  <a:lnTo>
                    <a:pt x="584" y="471"/>
                  </a:lnTo>
                  <a:lnTo>
                    <a:pt x="586" y="471"/>
                  </a:lnTo>
                  <a:lnTo>
                    <a:pt x="588" y="469"/>
                  </a:lnTo>
                  <a:lnTo>
                    <a:pt x="590" y="467"/>
                  </a:lnTo>
                  <a:lnTo>
                    <a:pt x="592" y="467"/>
                  </a:lnTo>
                  <a:lnTo>
                    <a:pt x="592" y="467"/>
                  </a:lnTo>
                  <a:lnTo>
                    <a:pt x="592" y="467"/>
                  </a:lnTo>
                  <a:close/>
                  <a:moveTo>
                    <a:pt x="781" y="473"/>
                  </a:moveTo>
                  <a:lnTo>
                    <a:pt x="781" y="471"/>
                  </a:lnTo>
                  <a:lnTo>
                    <a:pt x="781" y="471"/>
                  </a:lnTo>
                  <a:lnTo>
                    <a:pt x="781" y="467"/>
                  </a:lnTo>
                  <a:lnTo>
                    <a:pt x="781" y="450"/>
                  </a:lnTo>
                  <a:lnTo>
                    <a:pt x="781" y="448"/>
                  </a:lnTo>
                  <a:lnTo>
                    <a:pt x="781" y="446"/>
                  </a:lnTo>
                  <a:lnTo>
                    <a:pt x="781" y="444"/>
                  </a:lnTo>
                  <a:lnTo>
                    <a:pt x="779" y="442"/>
                  </a:lnTo>
                  <a:lnTo>
                    <a:pt x="779" y="440"/>
                  </a:lnTo>
                  <a:lnTo>
                    <a:pt x="781" y="436"/>
                  </a:lnTo>
                  <a:lnTo>
                    <a:pt x="779" y="422"/>
                  </a:lnTo>
                  <a:lnTo>
                    <a:pt x="779" y="422"/>
                  </a:lnTo>
                  <a:lnTo>
                    <a:pt x="779" y="418"/>
                  </a:lnTo>
                  <a:lnTo>
                    <a:pt x="777" y="405"/>
                  </a:lnTo>
                  <a:lnTo>
                    <a:pt x="777" y="401"/>
                  </a:lnTo>
                  <a:lnTo>
                    <a:pt x="774" y="401"/>
                  </a:lnTo>
                  <a:lnTo>
                    <a:pt x="774" y="399"/>
                  </a:lnTo>
                  <a:lnTo>
                    <a:pt x="774" y="397"/>
                  </a:lnTo>
                  <a:lnTo>
                    <a:pt x="774" y="395"/>
                  </a:lnTo>
                  <a:lnTo>
                    <a:pt x="770" y="385"/>
                  </a:lnTo>
                  <a:lnTo>
                    <a:pt x="770" y="385"/>
                  </a:lnTo>
                  <a:lnTo>
                    <a:pt x="768" y="383"/>
                  </a:lnTo>
                  <a:lnTo>
                    <a:pt x="766" y="383"/>
                  </a:lnTo>
                  <a:lnTo>
                    <a:pt x="764" y="383"/>
                  </a:lnTo>
                  <a:lnTo>
                    <a:pt x="764" y="383"/>
                  </a:lnTo>
                  <a:lnTo>
                    <a:pt x="766" y="381"/>
                  </a:lnTo>
                  <a:lnTo>
                    <a:pt x="766" y="381"/>
                  </a:lnTo>
                  <a:lnTo>
                    <a:pt x="768" y="381"/>
                  </a:lnTo>
                  <a:lnTo>
                    <a:pt x="768" y="379"/>
                  </a:lnTo>
                  <a:lnTo>
                    <a:pt x="768" y="379"/>
                  </a:lnTo>
                  <a:lnTo>
                    <a:pt x="766" y="375"/>
                  </a:lnTo>
                  <a:lnTo>
                    <a:pt x="762" y="368"/>
                  </a:lnTo>
                  <a:lnTo>
                    <a:pt x="760" y="364"/>
                  </a:lnTo>
                  <a:lnTo>
                    <a:pt x="758" y="364"/>
                  </a:lnTo>
                  <a:lnTo>
                    <a:pt x="758" y="362"/>
                  </a:lnTo>
                  <a:lnTo>
                    <a:pt x="754" y="360"/>
                  </a:lnTo>
                  <a:lnTo>
                    <a:pt x="754" y="360"/>
                  </a:lnTo>
                  <a:lnTo>
                    <a:pt x="750" y="356"/>
                  </a:lnTo>
                  <a:lnTo>
                    <a:pt x="750" y="356"/>
                  </a:lnTo>
                  <a:lnTo>
                    <a:pt x="748" y="358"/>
                  </a:lnTo>
                  <a:lnTo>
                    <a:pt x="746" y="358"/>
                  </a:lnTo>
                  <a:lnTo>
                    <a:pt x="744" y="356"/>
                  </a:lnTo>
                  <a:lnTo>
                    <a:pt x="744" y="356"/>
                  </a:lnTo>
                  <a:lnTo>
                    <a:pt x="742" y="354"/>
                  </a:lnTo>
                  <a:lnTo>
                    <a:pt x="740" y="354"/>
                  </a:lnTo>
                  <a:lnTo>
                    <a:pt x="742" y="354"/>
                  </a:lnTo>
                  <a:lnTo>
                    <a:pt x="742" y="354"/>
                  </a:lnTo>
                  <a:lnTo>
                    <a:pt x="744" y="354"/>
                  </a:lnTo>
                  <a:lnTo>
                    <a:pt x="744" y="354"/>
                  </a:lnTo>
                  <a:lnTo>
                    <a:pt x="746" y="356"/>
                  </a:lnTo>
                  <a:lnTo>
                    <a:pt x="750" y="356"/>
                  </a:lnTo>
                  <a:lnTo>
                    <a:pt x="752" y="356"/>
                  </a:lnTo>
                  <a:lnTo>
                    <a:pt x="752" y="358"/>
                  </a:lnTo>
                  <a:lnTo>
                    <a:pt x="752" y="356"/>
                  </a:lnTo>
                  <a:lnTo>
                    <a:pt x="731" y="325"/>
                  </a:lnTo>
                  <a:lnTo>
                    <a:pt x="725" y="311"/>
                  </a:lnTo>
                  <a:lnTo>
                    <a:pt x="684" y="250"/>
                  </a:lnTo>
                  <a:lnTo>
                    <a:pt x="682" y="245"/>
                  </a:lnTo>
                  <a:lnTo>
                    <a:pt x="678" y="241"/>
                  </a:lnTo>
                  <a:lnTo>
                    <a:pt x="676" y="235"/>
                  </a:lnTo>
                  <a:lnTo>
                    <a:pt x="674" y="233"/>
                  </a:lnTo>
                  <a:lnTo>
                    <a:pt x="670" y="223"/>
                  </a:lnTo>
                  <a:lnTo>
                    <a:pt x="670" y="219"/>
                  </a:lnTo>
                  <a:lnTo>
                    <a:pt x="668" y="217"/>
                  </a:lnTo>
                  <a:lnTo>
                    <a:pt x="666" y="213"/>
                  </a:lnTo>
                  <a:lnTo>
                    <a:pt x="666" y="211"/>
                  </a:lnTo>
                  <a:lnTo>
                    <a:pt x="666" y="211"/>
                  </a:lnTo>
                  <a:lnTo>
                    <a:pt x="664" y="209"/>
                  </a:lnTo>
                  <a:lnTo>
                    <a:pt x="660" y="198"/>
                  </a:lnTo>
                  <a:lnTo>
                    <a:pt x="662" y="198"/>
                  </a:lnTo>
                  <a:lnTo>
                    <a:pt x="666" y="202"/>
                  </a:lnTo>
                  <a:lnTo>
                    <a:pt x="670" y="202"/>
                  </a:lnTo>
                  <a:lnTo>
                    <a:pt x="672" y="204"/>
                  </a:lnTo>
                  <a:lnTo>
                    <a:pt x="670" y="207"/>
                  </a:lnTo>
                  <a:lnTo>
                    <a:pt x="670" y="209"/>
                  </a:lnTo>
                  <a:lnTo>
                    <a:pt x="670" y="207"/>
                  </a:lnTo>
                  <a:lnTo>
                    <a:pt x="670" y="209"/>
                  </a:lnTo>
                  <a:lnTo>
                    <a:pt x="670" y="211"/>
                  </a:lnTo>
                  <a:lnTo>
                    <a:pt x="670" y="213"/>
                  </a:lnTo>
                  <a:lnTo>
                    <a:pt x="670" y="215"/>
                  </a:lnTo>
                  <a:lnTo>
                    <a:pt x="672" y="217"/>
                  </a:lnTo>
                  <a:lnTo>
                    <a:pt x="674" y="217"/>
                  </a:lnTo>
                  <a:lnTo>
                    <a:pt x="680" y="217"/>
                  </a:lnTo>
                  <a:lnTo>
                    <a:pt x="680" y="217"/>
                  </a:lnTo>
                  <a:lnTo>
                    <a:pt x="682" y="217"/>
                  </a:lnTo>
                  <a:lnTo>
                    <a:pt x="682" y="215"/>
                  </a:lnTo>
                  <a:lnTo>
                    <a:pt x="680" y="215"/>
                  </a:lnTo>
                  <a:lnTo>
                    <a:pt x="680" y="213"/>
                  </a:lnTo>
                  <a:lnTo>
                    <a:pt x="682" y="213"/>
                  </a:lnTo>
                  <a:lnTo>
                    <a:pt x="682" y="213"/>
                  </a:lnTo>
                  <a:lnTo>
                    <a:pt x="682" y="215"/>
                  </a:lnTo>
                  <a:lnTo>
                    <a:pt x="682" y="215"/>
                  </a:lnTo>
                  <a:lnTo>
                    <a:pt x="684" y="213"/>
                  </a:lnTo>
                  <a:lnTo>
                    <a:pt x="686" y="215"/>
                  </a:lnTo>
                  <a:lnTo>
                    <a:pt x="688" y="215"/>
                  </a:lnTo>
                  <a:lnTo>
                    <a:pt x="688" y="217"/>
                  </a:lnTo>
                  <a:lnTo>
                    <a:pt x="690" y="221"/>
                  </a:lnTo>
                  <a:lnTo>
                    <a:pt x="690" y="225"/>
                  </a:lnTo>
                  <a:lnTo>
                    <a:pt x="690" y="239"/>
                  </a:lnTo>
                  <a:lnTo>
                    <a:pt x="693" y="258"/>
                  </a:lnTo>
                  <a:lnTo>
                    <a:pt x="695" y="262"/>
                  </a:lnTo>
                  <a:lnTo>
                    <a:pt x="699" y="268"/>
                  </a:lnTo>
                  <a:lnTo>
                    <a:pt x="707" y="278"/>
                  </a:lnTo>
                  <a:lnTo>
                    <a:pt x="707" y="282"/>
                  </a:lnTo>
                  <a:lnTo>
                    <a:pt x="711" y="284"/>
                  </a:lnTo>
                  <a:lnTo>
                    <a:pt x="711" y="284"/>
                  </a:lnTo>
                  <a:lnTo>
                    <a:pt x="713" y="286"/>
                  </a:lnTo>
                  <a:lnTo>
                    <a:pt x="715" y="291"/>
                  </a:lnTo>
                  <a:lnTo>
                    <a:pt x="715" y="286"/>
                  </a:lnTo>
                  <a:lnTo>
                    <a:pt x="705" y="276"/>
                  </a:lnTo>
                  <a:lnTo>
                    <a:pt x="703" y="270"/>
                  </a:lnTo>
                  <a:lnTo>
                    <a:pt x="701" y="270"/>
                  </a:lnTo>
                  <a:lnTo>
                    <a:pt x="699" y="266"/>
                  </a:lnTo>
                  <a:lnTo>
                    <a:pt x="695" y="256"/>
                  </a:lnTo>
                  <a:lnTo>
                    <a:pt x="695" y="250"/>
                  </a:lnTo>
                  <a:lnTo>
                    <a:pt x="695" y="248"/>
                  </a:lnTo>
                  <a:lnTo>
                    <a:pt x="693" y="248"/>
                  </a:lnTo>
                  <a:lnTo>
                    <a:pt x="695" y="245"/>
                  </a:lnTo>
                  <a:lnTo>
                    <a:pt x="693" y="235"/>
                  </a:lnTo>
                  <a:lnTo>
                    <a:pt x="693" y="235"/>
                  </a:lnTo>
                  <a:lnTo>
                    <a:pt x="693" y="235"/>
                  </a:lnTo>
                  <a:lnTo>
                    <a:pt x="693" y="233"/>
                  </a:lnTo>
                  <a:lnTo>
                    <a:pt x="695" y="233"/>
                  </a:lnTo>
                  <a:lnTo>
                    <a:pt x="695" y="231"/>
                  </a:lnTo>
                  <a:lnTo>
                    <a:pt x="695" y="231"/>
                  </a:lnTo>
                  <a:lnTo>
                    <a:pt x="697" y="229"/>
                  </a:lnTo>
                  <a:lnTo>
                    <a:pt x="697" y="227"/>
                  </a:lnTo>
                  <a:lnTo>
                    <a:pt x="695" y="225"/>
                  </a:lnTo>
                  <a:lnTo>
                    <a:pt x="690" y="219"/>
                  </a:lnTo>
                  <a:lnTo>
                    <a:pt x="684" y="211"/>
                  </a:lnTo>
                  <a:lnTo>
                    <a:pt x="678" y="204"/>
                  </a:lnTo>
                  <a:lnTo>
                    <a:pt x="670" y="194"/>
                  </a:lnTo>
                  <a:lnTo>
                    <a:pt x="654" y="176"/>
                  </a:lnTo>
                  <a:lnTo>
                    <a:pt x="654" y="174"/>
                  </a:lnTo>
                  <a:lnTo>
                    <a:pt x="652" y="172"/>
                  </a:lnTo>
                  <a:lnTo>
                    <a:pt x="650" y="172"/>
                  </a:lnTo>
                  <a:lnTo>
                    <a:pt x="650" y="170"/>
                  </a:lnTo>
                  <a:lnTo>
                    <a:pt x="650" y="168"/>
                  </a:lnTo>
                  <a:lnTo>
                    <a:pt x="637" y="153"/>
                  </a:lnTo>
                  <a:lnTo>
                    <a:pt x="629" y="137"/>
                  </a:lnTo>
                  <a:lnTo>
                    <a:pt x="621" y="127"/>
                  </a:lnTo>
                  <a:lnTo>
                    <a:pt x="615" y="118"/>
                  </a:lnTo>
                  <a:lnTo>
                    <a:pt x="615" y="118"/>
                  </a:lnTo>
                  <a:lnTo>
                    <a:pt x="615" y="116"/>
                  </a:lnTo>
                  <a:lnTo>
                    <a:pt x="613" y="114"/>
                  </a:lnTo>
                  <a:lnTo>
                    <a:pt x="613" y="112"/>
                  </a:lnTo>
                  <a:lnTo>
                    <a:pt x="609" y="106"/>
                  </a:lnTo>
                  <a:lnTo>
                    <a:pt x="607" y="100"/>
                  </a:lnTo>
                  <a:lnTo>
                    <a:pt x="604" y="100"/>
                  </a:lnTo>
                  <a:lnTo>
                    <a:pt x="604" y="98"/>
                  </a:lnTo>
                  <a:lnTo>
                    <a:pt x="602" y="94"/>
                  </a:lnTo>
                  <a:lnTo>
                    <a:pt x="602" y="92"/>
                  </a:lnTo>
                  <a:lnTo>
                    <a:pt x="602" y="92"/>
                  </a:lnTo>
                  <a:lnTo>
                    <a:pt x="602" y="92"/>
                  </a:lnTo>
                  <a:lnTo>
                    <a:pt x="600" y="90"/>
                  </a:lnTo>
                  <a:lnTo>
                    <a:pt x="600" y="90"/>
                  </a:lnTo>
                  <a:lnTo>
                    <a:pt x="600" y="90"/>
                  </a:lnTo>
                  <a:lnTo>
                    <a:pt x="600" y="88"/>
                  </a:lnTo>
                  <a:lnTo>
                    <a:pt x="600" y="88"/>
                  </a:lnTo>
                  <a:lnTo>
                    <a:pt x="598" y="88"/>
                  </a:lnTo>
                  <a:lnTo>
                    <a:pt x="598" y="86"/>
                  </a:lnTo>
                  <a:lnTo>
                    <a:pt x="594" y="73"/>
                  </a:lnTo>
                  <a:lnTo>
                    <a:pt x="592" y="65"/>
                  </a:lnTo>
                  <a:lnTo>
                    <a:pt x="592" y="63"/>
                  </a:lnTo>
                  <a:lnTo>
                    <a:pt x="588" y="59"/>
                  </a:lnTo>
                  <a:lnTo>
                    <a:pt x="588" y="59"/>
                  </a:lnTo>
                  <a:lnTo>
                    <a:pt x="582" y="47"/>
                  </a:lnTo>
                  <a:lnTo>
                    <a:pt x="582" y="43"/>
                  </a:lnTo>
                  <a:lnTo>
                    <a:pt x="582" y="38"/>
                  </a:lnTo>
                  <a:lnTo>
                    <a:pt x="582" y="36"/>
                  </a:lnTo>
                  <a:lnTo>
                    <a:pt x="580" y="36"/>
                  </a:lnTo>
                  <a:lnTo>
                    <a:pt x="580" y="36"/>
                  </a:lnTo>
                  <a:lnTo>
                    <a:pt x="580" y="34"/>
                  </a:lnTo>
                  <a:lnTo>
                    <a:pt x="580" y="32"/>
                  </a:lnTo>
                  <a:lnTo>
                    <a:pt x="578" y="30"/>
                  </a:lnTo>
                  <a:lnTo>
                    <a:pt x="578" y="30"/>
                  </a:lnTo>
                  <a:lnTo>
                    <a:pt x="578" y="28"/>
                  </a:lnTo>
                  <a:lnTo>
                    <a:pt x="576" y="28"/>
                  </a:lnTo>
                  <a:lnTo>
                    <a:pt x="576" y="28"/>
                  </a:lnTo>
                  <a:lnTo>
                    <a:pt x="576" y="28"/>
                  </a:lnTo>
                  <a:lnTo>
                    <a:pt x="574" y="26"/>
                  </a:lnTo>
                  <a:lnTo>
                    <a:pt x="574" y="26"/>
                  </a:lnTo>
                  <a:lnTo>
                    <a:pt x="572" y="24"/>
                  </a:lnTo>
                  <a:lnTo>
                    <a:pt x="572" y="24"/>
                  </a:lnTo>
                  <a:lnTo>
                    <a:pt x="570" y="22"/>
                  </a:lnTo>
                  <a:lnTo>
                    <a:pt x="568" y="22"/>
                  </a:lnTo>
                  <a:lnTo>
                    <a:pt x="568" y="20"/>
                  </a:lnTo>
                  <a:lnTo>
                    <a:pt x="568" y="18"/>
                  </a:lnTo>
                  <a:lnTo>
                    <a:pt x="568" y="16"/>
                  </a:lnTo>
                  <a:lnTo>
                    <a:pt x="568" y="14"/>
                  </a:lnTo>
                  <a:lnTo>
                    <a:pt x="568" y="14"/>
                  </a:lnTo>
                  <a:lnTo>
                    <a:pt x="570" y="14"/>
                  </a:lnTo>
                  <a:lnTo>
                    <a:pt x="570" y="16"/>
                  </a:lnTo>
                  <a:lnTo>
                    <a:pt x="570" y="16"/>
                  </a:lnTo>
                  <a:lnTo>
                    <a:pt x="572" y="16"/>
                  </a:lnTo>
                  <a:lnTo>
                    <a:pt x="572" y="20"/>
                  </a:lnTo>
                  <a:lnTo>
                    <a:pt x="572" y="22"/>
                  </a:lnTo>
                  <a:lnTo>
                    <a:pt x="574" y="22"/>
                  </a:lnTo>
                  <a:lnTo>
                    <a:pt x="574" y="24"/>
                  </a:lnTo>
                  <a:lnTo>
                    <a:pt x="574" y="20"/>
                  </a:lnTo>
                  <a:lnTo>
                    <a:pt x="572" y="12"/>
                  </a:lnTo>
                  <a:lnTo>
                    <a:pt x="572" y="8"/>
                  </a:lnTo>
                  <a:lnTo>
                    <a:pt x="572" y="6"/>
                  </a:lnTo>
                  <a:lnTo>
                    <a:pt x="572" y="6"/>
                  </a:lnTo>
                  <a:lnTo>
                    <a:pt x="572" y="6"/>
                  </a:lnTo>
                  <a:lnTo>
                    <a:pt x="572" y="6"/>
                  </a:lnTo>
                  <a:lnTo>
                    <a:pt x="572" y="6"/>
                  </a:lnTo>
                  <a:lnTo>
                    <a:pt x="570" y="6"/>
                  </a:lnTo>
                  <a:lnTo>
                    <a:pt x="570" y="6"/>
                  </a:lnTo>
                  <a:lnTo>
                    <a:pt x="568" y="6"/>
                  </a:lnTo>
                  <a:lnTo>
                    <a:pt x="568" y="6"/>
                  </a:lnTo>
                  <a:lnTo>
                    <a:pt x="566" y="6"/>
                  </a:lnTo>
                  <a:lnTo>
                    <a:pt x="566" y="4"/>
                  </a:lnTo>
                  <a:lnTo>
                    <a:pt x="566" y="4"/>
                  </a:lnTo>
                  <a:lnTo>
                    <a:pt x="564" y="4"/>
                  </a:lnTo>
                  <a:lnTo>
                    <a:pt x="559" y="6"/>
                  </a:lnTo>
                  <a:lnTo>
                    <a:pt x="559" y="6"/>
                  </a:lnTo>
                  <a:lnTo>
                    <a:pt x="555" y="6"/>
                  </a:lnTo>
                  <a:lnTo>
                    <a:pt x="555" y="6"/>
                  </a:lnTo>
                  <a:lnTo>
                    <a:pt x="553" y="6"/>
                  </a:lnTo>
                  <a:lnTo>
                    <a:pt x="553" y="6"/>
                  </a:lnTo>
                  <a:lnTo>
                    <a:pt x="551" y="6"/>
                  </a:lnTo>
                  <a:lnTo>
                    <a:pt x="551" y="6"/>
                  </a:lnTo>
                  <a:lnTo>
                    <a:pt x="545" y="4"/>
                  </a:lnTo>
                  <a:lnTo>
                    <a:pt x="545" y="4"/>
                  </a:lnTo>
                  <a:lnTo>
                    <a:pt x="543" y="4"/>
                  </a:lnTo>
                  <a:lnTo>
                    <a:pt x="543" y="4"/>
                  </a:lnTo>
                  <a:lnTo>
                    <a:pt x="541" y="4"/>
                  </a:lnTo>
                  <a:lnTo>
                    <a:pt x="541" y="4"/>
                  </a:lnTo>
                  <a:lnTo>
                    <a:pt x="539" y="4"/>
                  </a:lnTo>
                  <a:lnTo>
                    <a:pt x="539" y="4"/>
                  </a:lnTo>
                  <a:lnTo>
                    <a:pt x="531" y="2"/>
                  </a:lnTo>
                  <a:lnTo>
                    <a:pt x="529" y="0"/>
                  </a:lnTo>
                  <a:lnTo>
                    <a:pt x="527" y="0"/>
                  </a:lnTo>
                  <a:lnTo>
                    <a:pt x="527" y="0"/>
                  </a:lnTo>
                  <a:lnTo>
                    <a:pt x="525" y="0"/>
                  </a:lnTo>
                  <a:lnTo>
                    <a:pt x="525" y="0"/>
                  </a:lnTo>
                  <a:lnTo>
                    <a:pt x="525" y="0"/>
                  </a:lnTo>
                  <a:lnTo>
                    <a:pt x="523" y="0"/>
                  </a:lnTo>
                  <a:lnTo>
                    <a:pt x="523" y="0"/>
                  </a:lnTo>
                  <a:lnTo>
                    <a:pt x="521" y="0"/>
                  </a:lnTo>
                  <a:lnTo>
                    <a:pt x="521" y="2"/>
                  </a:lnTo>
                  <a:lnTo>
                    <a:pt x="521" y="2"/>
                  </a:lnTo>
                  <a:lnTo>
                    <a:pt x="521" y="2"/>
                  </a:lnTo>
                  <a:lnTo>
                    <a:pt x="521" y="2"/>
                  </a:lnTo>
                  <a:lnTo>
                    <a:pt x="521" y="4"/>
                  </a:lnTo>
                  <a:lnTo>
                    <a:pt x="521" y="4"/>
                  </a:lnTo>
                  <a:lnTo>
                    <a:pt x="521" y="4"/>
                  </a:lnTo>
                  <a:lnTo>
                    <a:pt x="521" y="4"/>
                  </a:lnTo>
                  <a:lnTo>
                    <a:pt x="518" y="4"/>
                  </a:lnTo>
                  <a:lnTo>
                    <a:pt x="518" y="4"/>
                  </a:lnTo>
                  <a:lnTo>
                    <a:pt x="518" y="4"/>
                  </a:lnTo>
                  <a:lnTo>
                    <a:pt x="516" y="6"/>
                  </a:lnTo>
                  <a:lnTo>
                    <a:pt x="516" y="6"/>
                  </a:lnTo>
                  <a:lnTo>
                    <a:pt x="516" y="6"/>
                  </a:lnTo>
                  <a:lnTo>
                    <a:pt x="516" y="8"/>
                  </a:lnTo>
                  <a:lnTo>
                    <a:pt x="516" y="8"/>
                  </a:lnTo>
                  <a:lnTo>
                    <a:pt x="516" y="8"/>
                  </a:lnTo>
                  <a:lnTo>
                    <a:pt x="516" y="10"/>
                  </a:lnTo>
                  <a:lnTo>
                    <a:pt x="516" y="10"/>
                  </a:lnTo>
                  <a:lnTo>
                    <a:pt x="516" y="10"/>
                  </a:lnTo>
                  <a:lnTo>
                    <a:pt x="516" y="12"/>
                  </a:lnTo>
                  <a:lnTo>
                    <a:pt x="516" y="14"/>
                  </a:lnTo>
                  <a:lnTo>
                    <a:pt x="516" y="14"/>
                  </a:lnTo>
                  <a:lnTo>
                    <a:pt x="516" y="16"/>
                  </a:lnTo>
                  <a:lnTo>
                    <a:pt x="516" y="18"/>
                  </a:lnTo>
                  <a:lnTo>
                    <a:pt x="516" y="18"/>
                  </a:lnTo>
                  <a:lnTo>
                    <a:pt x="516" y="20"/>
                  </a:lnTo>
                  <a:lnTo>
                    <a:pt x="516" y="20"/>
                  </a:lnTo>
                  <a:lnTo>
                    <a:pt x="516" y="22"/>
                  </a:lnTo>
                  <a:lnTo>
                    <a:pt x="518" y="22"/>
                  </a:lnTo>
                  <a:lnTo>
                    <a:pt x="521" y="24"/>
                  </a:lnTo>
                  <a:lnTo>
                    <a:pt x="521" y="24"/>
                  </a:lnTo>
                  <a:lnTo>
                    <a:pt x="521" y="26"/>
                  </a:lnTo>
                  <a:lnTo>
                    <a:pt x="521" y="26"/>
                  </a:lnTo>
                  <a:lnTo>
                    <a:pt x="521" y="28"/>
                  </a:lnTo>
                  <a:lnTo>
                    <a:pt x="521" y="34"/>
                  </a:lnTo>
                  <a:lnTo>
                    <a:pt x="521" y="43"/>
                  </a:lnTo>
                  <a:lnTo>
                    <a:pt x="521" y="43"/>
                  </a:lnTo>
                  <a:lnTo>
                    <a:pt x="521" y="45"/>
                  </a:lnTo>
                  <a:lnTo>
                    <a:pt x="521" y="47"/>
                  </a:lnTo>
                  <a:lnTo>
                    <a:pt x="521" y="49"/>
                  </a:lnTo>
                  <a:lnTo>
                    <a:pt x="521" y="49"/>
                  </a:lnTo>
                  <a:lnTo>
                    <a:pt x="521" y="49"/>
                  </a:lnTo>
                  <a:lnTo>
                    <a:pt x="521" y="49"/>
                  </a:lnTo>
                  <a:lnTo>
                    <a:pt x="518" y="51"/>
                  </a:lnTo>
                  <a:lnTo>
                    <a:pt x="518" y="51"/>
                  </a:lnTo>
                  <a:lnTo>
                    <a:pt x="516" y="51"/>
                  </a:lnTo>
                  <a:lnTo>
                    <a:pt x="514" y="51"/>
                  </a:lnTo>
                  <a:lnTo>
                    <a:pt x="514" y="51"/>
                  </a:lnTo>
                  <a:lnTo>
                    <a:pt x="510" y="51"/>
                  </a:lnTo>
                  <a:lnTo>
                    <a:pt x="510" y="51"/>
                  </a:lnTo>
                  <a:lnTo>
                    <a:pt x="508" y="51"/>
                  </a:lnTo>
                  <a:lnTo>
                    <a:pt x="508" y="51"/>
                  </a:lnTo>
                  <a:lnTo>
                    <a:pt x="508" y="51"/>
                  </a:lnTo>
                  <a:lnTo>
                    <a:pt x="508" y="51"/>
                  </a:lnTo>
                  <a:lnTo>
                    <a:pt x="506" y="47"/>
                  </a:lnTo>
                  <a:lnTo>
                    <a:pt x="504" y="45"/>
                  </a:lnTo>
                  <a:lnTo>
                    <a:pt x="504" y="45"/>
                  </a:lnTo>
                  <a:lnTo>
                    <a:pt x="504" y="45"/>
                  </a:lnTo>
                  <a:lnTo>
                    <a:pt x="504" y="43"/>
                  </a:lnTo>
                  <a:lnTo>
                    <a:pt x="504" y="41"/>
                  </a:lnTo>
                  <a:lnTo>
                    <a:pt x="504" y="41"/>
                  </a:lnTo>
                  <a:lnTo>
                    <a:pt x="504" y="41"/>
                  </a:lnTo>
                  <a:lnTo>
                    <a:pt x="504" y="41"/>
                  </a:lnTo>
                  <a:lnTo>
                    <a:pt x="504" y="38"/>
                  </a:lnTo>
                  <a:lnTo>
                    <a:pt x="504" y="38"/>
                  </a:lnTo>
                  <a:lnTo>
                    <a:pt x="504" y="38"/>
                  </a:lnTo>
                  <a:lnTo>
                    <a:pt x="500" y="34"/>
                  </a:lnTo>
                  <a:lnTo>
                    <a:pt x="500" y="34"/>
                  </a:lnTo>
                  <a:lnTo>
                    <a:pt x="500" y="34"/>
                  </a:lnTo>
                  <a:lnTo>
                    <a:pt x="500" y="34"/>
                  </a:lnTo>
                  <a:lnTo>
                    <a:pt x="500" y="34"/>
                  </a:lnTo>
                  <a:lnTo>
                    <a:pt x="500" y="32"/>
                  </a:lnTo>
                  <a:lnTo>
                    <a:pt x="500" y="32"/>
                  </a:lnTo>
                  <a:lnTo>
                    <a:pt x="500" y="32"/>
                  </a:lnTo>
                  <a:lnTo>
                    <a:pt x="500" y="32"/>
                  </a:lnTo>
                  <a:lnTo>
                    <a:pt x="496" y="32"/>
                  </a:lnTo>
                  <a:lnTo>
                    <a:pt x="494" y="32"/>
                  </a:lnTo>
                  <a:lnTo>
                    <a:pt x="488" y="32"/>
                  </a:lnTo>
                  <a:lnTo>
                    <a:pt x="484" y="32"/>
                  </a:lnTo>
                  <a:lnTo>
                    <a:pt x="477" y="34"/>
                  </a:lnTo>
                  <a:lnTo>
                    <a:pt x="471" y="34"/>
                  </a:lnTo>
                  <a:lnTo>
                    <a:pt x="463" y="34"/>
                  </a:lnTo>
                  <a:lnTo>
                    <a:pt x="455" y="36"/>
                  </a:lnTo>
                  <a:lnTo>
                    <a:pt x="447" y="36"/>
                  </a:lnTo>
                  <a:lnTo>
                    <a:pt x="437" y="36"/>
                  </a:lnTo>
                  <a:lnTo>
                    <a:pt x="428" y="38"/>
                  </a:lnTo>
                  <a:lnTo>
                    <a:pt x="418" y="38"/>
                  </a:lnTo>
                  <a:lnTo>
                    <a:pt x="408" y="38"/>
                  </a:lnTo>
                  <a:lnTo>
                    <a:pt x="398" y="41"/>
                  </a:lnTo>
                  <a:lnTo>
                    <a:pt x="387" y="41"/>
                  </a:lnTo>
                  <a:lnTo>
                    <a:pt x="377" y="43"/>
                  </a:lnTo>
                  <a:lnTo>
                    <a:pt x="367" y="43"/>
                  </a:lnTo>
                  <a:lnTo>
                    <a:pt x="357" y="45"/>
                  </a:lnTo>
                  <a:lnTo>
                    <a:pt x="346" y="45"/>
                  </a:lnTo>
                  <a:lnTo>
                    <a:pt x="336" y="45"/>
                  </a:lnTo>
                  <a:lnTo>
                    <a:pt x="326" y="47"/>
                  </a:lnTo>
                  <a:lnTo>
                    <a:pt x="318" y="47"/>
                  </a:lnTo>
                  <a:lnTo>
                    <a:pt x="308" y="47"/>
                  </a:lnTo>
                  <a:lnTo>
                    <a:pt x="299" y="49"/>
                  </a:lnTo>
                  <a:lnTo>
                    <a:pt x="291" y="49"/>
                  </a:lnTo>
                  <a:lnTo>
                    <a:pt x="285" y="49"/>
                  </a:lnTo>
                  <a:lnTo>
                    <a:pt x="279" y="49"/>
                  </a:lnTo>
                  <a:lnTo>
                    <a:pt x="273" y="51"/>
                  </a:lnTo>
                  <a:lnTo>
                    <a:pt x="269" y="51"/>
                  </a:lnTo>
                  <a:lnTo>
                    <a:pt x="265" y="51"/>
                  </a:lnTo>
                  <a:lnTo>
                    <a:pt x="262" y="51"/>
                  </a:lnTo>
                  <a:lnTo>
                    <a:pt x="260" y="51"/>
                  </a:lnTo>
                  <a:lnTo>
                    <a:pt x="258" y="51"/>
                  </a:lnTo>
                  <a:lnTo>
                    <a:pt x="256" y="51"/>
                  </a:lnTo>
                  <a:lnTo>
                    <a:pt x="256" y="51"/>
                  </a:lnTo>
                  <a:lnTo>
                    <a:pt x="250" y="47"/>
                  </a:lnTo>
                  <a:lnTo>
                    <a:pt x="248" y="41"/>
                  </a:lnTo>
                  <a:lnTo>
                    <a:pt x="248" y="36"/>
                  </a:lnTo>
                  <a:lnTo>
                    <a:pt x="246" y="34"/>
                  </a:lnTo>
                  <a:lnTo>
                    <a:pt x="246" y="30"/>
                  </a:lnTo>
                  <a:lnTo>
                    <a:pt x="244" y="30"/>
                  </a:lnTo>
                  <a:lnTo>
                    <a:pt x="244" y="28"/>
                  </a:lnTo>
                  <a:lnTo>
                    <a:pt x="242" y="26"/>
                  </a:lnTo>
                  <a:lnTo>
                    <a:pt x="242" y="26"/>
                  </a:lnTo>
                  <a:lnTo>
                    <a:pt x="240" y="24"/>
                  </a:lnTo>
                  <a:lnTo>
                    <a:pt x="240" y="24"/>
                  </a:lnTo>
                  <a:lnTo>
                    <a:pt x="240" y="24"/>
                  </a:lnTo>
                  <a:lnTo>
                    <a:pt x="240" y="22"/>
                  </a:lnTo>
                  <a:lnTo>
                    <a:pt x="226" y="24"/>
                  </a:lnTo>
                  <a:lnTo>
                    <a:pt x="211" y="26"/>
                  </a:lnTo>
                  <a:lnTo>
                    <a:pt x="195" y="28"/>
                  </a:lnTo>
                  <a:lnTo>
                    <a:pt x="181" y="30"/>
                  </a:lnTo>
                  <a:lnTo>
                    <a:pt x="166" y="32"/>
                  </a:lnTo>
                  <a:lnTo>
                    <a:pt x="152" y="34"/>
                  </a:lnTo>
                  <a:lnTo>
                    <a:pt x="138" y="36"/>
                  </a:lnTo>
                  <a:lnTo>
                    <a:pt x="123" y="38"/>
                  </a:lnTo>
                  <a:lnTo>
                    <a:pt x="109" y="41"/>
                  </a:lnTo>
                  <a:lnTo>
                    <a:pt x="95" y="43"/>
                  </a:lnTo>
                  <a:lnTo>
                    <a:pt x="78" y="43"/>
                  </a:lnTo>
                  <a:lnTo>
                    <a:pt x="64" y="45"/>
                  </a:lnTo>
                  <a:lnTo>
                    <a:pt x="49" y="47"/>
                  </a:lnTo>
                  <a:lnTo>
                    <a:pt x="35" y="49"/>
                  </a:lnTo>
                  <a:lnTo>
                    <a:pt x="21" y="51"/>
                  </a:lnTo>
                  <a:lnTo>
                    <a:pt x="6" y="53"/>
                  </a:lnTo>
                  <a:lnTo>
                    <a:pt x="2" y="53"/>
                  </a:lnTo>
                  <a:lnTo>
                    <a:pt x="2" y="55"/>
                  </a:lnTo>
                  <a:lnTo>
                    <a:pt x="2" y="59"/>
                  </a:lnTo>
                  <a:lnTo>
                    <a:pt x="2" y="59"/>
                  </a:lnTo>
                  <a:lnTo>
                    <a:pt x="0" y="63"/>
                  </a:lnTo>
                  <a:lnTo>
                    <a:pt x="0" y="65"/>
                  </a:lnTo>
                  <a:lnTo>
                    <a:pt x="0" y="65"/>
                  </a:lnTo>
                  <a:lnTo>
                    <a:pt x="0" y="67"/>
                  </a:lnTo>
                  <a:lnTo>
                    <a:pt x="0" y="67"/>
                  </a:lnTo>
                  <a:lnTo>
                    <a:pt x="0" y="67"/>
                  </a:lnTo>
                  <a:lnTo>
                    <a:pt x="2" y="69"/>
                  </a:lnTo>
                  <a:lnTo>
                    <a:pt x="2" y="71"/>
                  </a:lnTo>
                  <a:lnTo>
                    <a:pt x="8" y="75"/>
                  </a:lnTo>
                  <a:lnTo>
                    <a:pt x="8" y="75"/>
                  </a:lnTo>
                  <a:lnTo>
                    <a:pt x="11" y="79"/>
                  </a:lnTo>
                  <a:lnTo>
                    <a:pt x="13" y="79"/>
                  </a:lnTo>
                  <a:lnTo>
                    <a:pt x="15" y="82"/>
                  </a:lnTo>
                  <a:lnTo>
                    <a:pt x="23" y="86"/>
                  </a:lnTo>
                  <a:lnTo>
                    <a:pt x="23" y="86"/>
                  </a:lnTo>
                  <a:lnTo>
                    <a:pt x="23" y="86"/>
                  </a:lnTo>
                  <a:lnTo>
                    <a:pt x="23" y="88"/>
                  </a:lnTo>
                  <a:lnTo>
                    <a:pt x="23" y="88"/>
                  </a:lnTo>
                  <a:lnTo>
                    <a:pt x="23" y="92"/>
                  </a:lnTo>
                  <a:lnTo>
                    <a:pt x="23" y="96"/>
                  </a:lnTo>
                  <a:lnTo>
                    <a:pt x="21" y="98"/>
                  </a:lnTo>
                  <a:lnTo>
                    <a:pt x="21" y="100"/>
                  </a:lnTo>
                  <a:lnTo>
                    <a:pt x="21" y="100"/>
                  </a:lnTo>
                  <a:lnTo>
                    <a:pt x="23" y="102"/>
                  </a:lnTo>
                  <a:lnTo>
                    <a:pt x="25" y="106"/>
                  </a:lnTo>
                  <a:lnTo>
                    <a:pt x="25" y="106"/>
                  </a:lnTo>
                  <a:lnTo>
                    <a:pt x="25" y="106"/>
                  </a:lnTo>
                  <a:lnTo>
                    <a:pt x="27" y="108"/>
                  </a:lnTo>
                  <a:lnTo>
                    <a:pt x="27" y="108"/>
                  </a:lnTo>
                  <a:lnTo>
                    <a:pt x="29" y="108"/>
                  </a:lnTo>
                  <a:lnTo>
                    <a:pt x="31" y="108"/>
                  </a:lnTo>
                  <a:lnTo>
                    <a:pt x="31" y="108"/>
                  </a:lnTo>
                  <a:lnTo>
                    <a:pt x="31" y="110"/>
                  </a:lnTo>
                  <a:lnTo>
                    <a:pt x="31" y="110"/>
                  </a:lnTo>
                  <a:lnTo>
                    <a:pt x="31" y="112"/>
                  </a:lnTo>
                  <a:lnTo>
                    <a:pt x="29" y="112"/>
                  </a:lnTo>
                  <a:lnTo>
                    <a:pt x="27" y="114"/>
                  </a:lnTo>
                  <a:lnTo>
                    <a:pt x="25" y="118"/>
                  </a:lnTo>
                  <a:lnTo>
                    <a:pt x="25" y="118"/>
                  </a:lnTo>
                  <a:lnTo>
                    <a:pt x="27" y="118"/>
                  </a:lnTo>
                  <a:lnTo>
                    <a:pt x="27" y="120"/>
                  </a:lnTo>
                  <a:lnTo>
                    <a:pt x="25" y="120"/>
                  </a:lnTo>
                  <a:lnTo>
                    <a:pt x="25" y="123"/>
                  </a:lnTo>
                  <a:lnTo>
                    <a:pt x="23" y="123"/>
                  </a:lnTo>
                  <a:lnTo>
                    <a:pt x="21" y="123"/>
                  </a:lnTo>
                  <a:lnTo>
                    <a:pt x="21" y="125"/>
                  </a:lnTo>
                  <a:lnTo>
                    <a:pt x="23" y="125"/>
                  </a:lnTo>
                  <a:lnTo>
                    <a:pt x="23" y="125"/>
                  </a:lnTo>
                  <a:lnTo>
                    <a:pt x="21" y="125"/>
                  </a:lnTo>
                  <a:lnTo>
                    <a:pt x="19" y="127"/>
                  </a:lnTo>
                  <a:lnTo>
                    <a:pt x="19" y="127"/>
                  </a:lnTo>
                  <a:lnTo>
                    <a:pt x="19" y="127"/>
                  </a:lnTo>
                  <a:lnTo>
                    <a:pt x="17" y="129"/>
                  </a:lnTo>
                  <a:lnTo>
                    <a:pt x="17" y="129"/>
                  </a:lnTo>
                  <a:lnTo>
                    <a:pt x="17" y="129"/>
                  </a:lnTo>
                  <a:lnTo>
                    <a:pt x="17" y="129"/>
                  </a:lnTo>
                  <a:lnTo>
                    <a:pt x="19" y="129"/>
                  </a:lnTo>
                  <a:lnTo>
                    <a:pt x="21" y="129"/>
                  </a:lnTo>
                  <a:lnTo>
                    <a:pt x="21" y="127"/>
                  </a:lnTo>
                  <a:lnTo>
                    <a:pt x="35" y="123"/>
                  </a:lnTo>
                  <a:lnTo>
                    <a:pt x="37" y="120"/>
                  </a:lnTo>
                  <a:lnTo>
                    <a:pt x="35" y="120"/>
                  </a:lnTo>
                  <a:lnTo>
                    <a:pt x="37" y="118"/>
                  </a:lnTo>
                  <a:lnTo>
                    <a:pt x="39" y="118"/>
                  </a:lnTo>
                  <a:lnTo>
                    <a:pt x="39" y="118"/>
                  </a:lnTo>
                  <a:lnTo>
                    <a:pt x="39" y="116"/>
                  </a:lnTo>
                  <a:lnTo>
                    <a:pt x="39" y="114"/>
                  </a:lnTo>
                  <a:lnTo>
                    <a:pt x="39" y="112"/>
                  </a:lnTo>
                  <a:lnTo>
                    <a:pt x="41" y="112"/>
                  </a:lnTo>
                  <a:lnTo>
                    <a:pt x="43" y="112"/>
                  </a:lnTo>
                  <a:lnTo>
                    <a:pt x="45" y="110"/>
                  </a:lnTo>
                  <a:lnTo>
                    <a:pt x="45" y="108"/>
                  </a:lnTo>
                  <a:lnTo>
                    <a:pt x="45" y="108"/>
                  </a:lnTo>
                  <a:lnTo>
                    <a:pt x="45" y="108"/>
                  </a:lnTo>
                  <a:lnTo>
                    <a:pt x="45" y="108"/>
                  </a:lnTo>
                  <a:lnTo>
                    <a:pt x="47" y="108"/>
                  </a:lnTo>
                  <a:lnTo>
                    <a:pt x="49" y="104"/>
                  </a:lnTo>
                  <a:lnTo>
                    <a:pt x="49" y="102"/>
                  </a:lnTo>
                  <a:lnTo>
                    <a:pt x="47" y="100"/>
                  </a:lnTo>
                  <a:lnTo>
                    <a:pt x="45" y="98"/>
                  </a:lnTo>
                  <a:lnTo>
                    <a:pt x="45" y="98"/>
                  </a:lnTo>
                  <a:lnTo>
                    <a:pt x="45" y="94"/>
                  </a:lnTo>
                  <a:lnTo>
                    <a:pt x="45" y="92"/>
                  </a:lnTo>
                  <a:lnTo>
                    <a:pt x="45" y="92"/>
                  </a:lnTo>
                  <a:lnTo>
                    <a:pt x="47" y="92"/>
                  </a:lnTo>
                  <a:lnTo>
                    <a:pt x="47" y="94"/>
                  </a:lnTo>
                  <a:lnTo>
                    <a:pt x="49" y="94"/>
                  </a:lnTo>
                  <a:lnTo>
                    <a:pt x="49" y="94"/>
                  </a:lnTo>
                  <a:lnTo>
                    <a:pt x="49" y="96"/>
                  </a:lnTo>
                  <a:lnTo>
                    <a:pt x="49" y="96"/>
                  </a:lnTo>
                  <a:lnTo>
                    <a:pt x="49" y="98"/>
                  </a:lnTo>
                  <a:lnTo>
                    <a:pt x="52" y="98"/>
                  </a:lnTo>
                  <a:lnTo>
                    <a:pt x="54" y="98"/>
                  </a:lnTo>
                  <a:lnTo>
                    <a:pt x="54" y="100"/>
                  </a:lnTo>
                  <a:lnTo>
                    <a:pt x="54" y="102"/>
                  </a:lnTo>
                  <a:lnTo>
                    <a:pt x="54" y="104"/>
                  </a:lnTo>
                  <a:lnTo>
                    <a:pt x="54" y="104"/>
                  </a:lnTo>
                  <a:lnTo>
                    <a:pt x="56" y="106"/>
                  </a:lnTo>
                  <a:lnTo>
                    <a:pt x="56" y="106"/>
                  </a:lnTo>
                  <a:lnTo>
                    <a:pt x="58" y="104"/>
                  </a:lnTo>
                  <a:lnTo>
                    <a:pt x="58" y="100"/>
                  </a:lnTo>
                  <a:lnTo>
                    <a:pt x="58" y="98"/>
                  </a:lnTo>
                  <a:lnTo>
                    <a:pt x="60" y="92"/>
                  </a:lnTo>
                  <a:lnTo>
                    <a:pt x="60" y="92"/>
                  </a:lnTo>
                  <a:lnTo>
                    <a:pt x="60" y="90"/>
                  </a:lnTo>
                  <a:lnTo>
                    <a:pt x="58" y="88"/>
                  </a:lnTo>
                  <a:lnTo>
                    <a:pt x="60" y="90"/>
                  </a:lnTo>
                  <a:lnTo>
                    <a:pt x="62" y="92"/>
                  </a:lnTo>
                  <a:lnTo>
                    <a:pt x="64" y="94"/>
                  </a:lnTo>
                  <a:lnTo>
                    <a:pt x="64" y="92"/>
                  </a:lnTo>
                  <a:lnTo>
                    <a:pt x="66" y="92"/>
                  </a:lnTo>
                  <a:lnTo>
                    <a:pt x="66" y="92"/>
                  </a:lnTo>
                  <a:lnTo>
                    <a:pt x="66" y="94"/>
                  </a:lnTo>
                  <a:lnTo>
                    <a:pt x="62" y="94"/>
                  </a:lnTo>
                  <a:lnTo>
                    <a:pt x="62" y="96"/>
                  </a:lnTo>
                  <a:lnTo>
                    <a:pt x="62" y="98"/>
                  </a:lnTo>
                  <a:lnTo>
                    <a:pt x="62" y="98"/>
                  </a:lnTo>
                  <a:lnTo>
                    <a:pt x="62" y="100"/>
                  </a:lnTo>
                  <a:lnTo>
                    <a:pt x="62" y="100"/>
                  </a:lnTo>
                  <a:lnTo>
                    <a:pt x="64" y="100"/>
                  </a:lnTo>
                  <a:lnTo>
                    <a:pt x="64" y="100"/>
                  </a:lnTo>
                  <a:lnTo>
                    <a:pt x="66" y="102"/>
                  </a:lnTo>
                  <a:lnTo>
                    <a:pt x="66" y="102"/>
                  </a:lnTo>
                  <a:lnTo>
                    <a:pt x="68" y="102"/>
                  </a:lnTo>
                  <a:lnTo>
                    <a:pt x="70" y="102"/>
                  </a:lnTo>
                  <a:lnTo>
                    <a:pt x="72" y="102"/>
                  </a:lnTo>
                  <a:lnTo>
                    <a:pt x="74" y="104"/>
                  </a:lnTo>
                  <a:lnTo>
                    <a:pt x="74" y="106"/>
                  </a:lnTo>
                  <a:lnTo>
                    <a:pt x="72" y="104"/>
                  </a:lnTo>
                  <a:lnTo>
                    <a:pt x="70" y="104"/>
                  </a:lnTo>
                  <a:lnTo>
                    <a:pt x="68" y="104"/>
                  </a:lnTo>
                  <a:lnTo>
                    <a:pt x="64" y="110"/>
                  </a:lnTo>
                  <a:lnTo>
                    <a:pt x="62" y="110"/>
                  </a:lnTo>
                  <a:lnTo>
                    <a:pt x="58" y="110"/>
                  </a:lnTo>
                  <a:lnTo>
                    <a:pt x="52" y="112"/>
                  </a:lnTo>
                  <a:lnTo>
                    <a:pt x="47" y="114"/>
                  </a:lnTo>
                  <a:lnTo>
                    <a:pt x="47" y="114"/>
                  </a:lnTo>
                  <a:lnTo>
                    <a:pt x="47" y="116"/>
                  </a:lnTo>
                  <a:lnTo>
                    <a:pt x="47" y="116"/>
                  </a:lnTo>
                  <a:lnTo>
                    <a:pt x="52" y="116"/>
                  </a:lnTo>
                  <a:lnTo>
                    <a:pt x="60" y="112"/>
                  </a:lnTo>
                  <a:lnTo>
                    <a:pt x="74" y="108"/>
                  </a:lnTo>
                  <a:lnTo>
                    <a:pt x="80" y="108"/>
                  </a:lnTo>
                  <a:lnTo>
                    <a:pt x="82" y="106"/>
                  </a:lnTo>
                  <a:lnTo>
                    <a:pt x="84" y="106"/>
                  </a:lnTo>
                  <a:lnTo>
                    <a:pt x="86" y="106"/>
                  </a:lnTo>
                  <a:lnTo>
                    <a:pt x="92" y="104"/>
                  </a:lnTo>
                  <a:lnTo>
                    <a:pt x="101" y="104"/>
                  </a:lnTo>
                  <a:lnTo>
                    <a:pt x="101" y="104"/>
                  </a:lnTo>
                  <a:lnTo>
                    <a:pt x="101" y="102"/>
                  </a:lnTo>
                  <a:lnTo>
                    <a:pt x="101" y="102"/>
                  </a:lnTo>
                  <a:lnTo>
                    <a:pt x="103" y="102"/>
                  </a:lnTo>
                  <a:lnTo>
                    <a:pt x="105" y="100"/>
                  </a:lnTo>
                  <a:lnTo>
                    <a:pt x="105" y="98"/>
                  </a:lnTo>
                  <a:lnTo>
                    <a:pt x="107" y="98"/>
                  </a:lnTo>
                  <a:lnTo>
                    <a:pt x="107" y="98"/>
                  </a:lnTo>
                  <a:lnTo>
                    <a:pt x="109" y="98"/>
                  </a:lnTo>
                  <a:lnTo>
                    <a:pt x="109" y="98"/>
                  </a:lnTo>
                  <a:lnTo>
                    <a:pt x="111" y="96"/>
                  </a:lnTo>
                  <a:lnTo>
                    <a:pt x="111" y="96"/>
                  </a:lnTo>
                  <a:lnTo>
                    <a:pt x="111" y="92"/>
                  </a:lnTo>
                  <a:lnTo>
                    <a:pt x="109" y="92"/>
                  </a:lnTo>
                  <a:lnTo>
                    <a:pt x="111" y="92"/>
                  </a:lnTo>
                  <a:lnTo>
                    <a:pt x="111" y="94"/>
                  </a:lnTo>
                  <a:lnTo>
                    <a:pt x="113" y="94"/>
                  </a:lnTo>
                  <a:lnTo>
                    <a:pt x="113" y="92"/>
                  </a:lnTo>
                  <a:lnTo>
                    <a:pt x="113" y="92"/>
                  </a:lnTo>
                  <a:lnTo>
                    <a:pt x="115" y="92"/>
                  </a:lnTo>
                  <a:lnTo>
                    <a:pt x="117" y="92"/>
                  </a:lnTo>
                  <a:lnTo>
                    <a:pt x="115" y="94"/>
                  </a:lnTo>
                  <a:lnTo>
                    <a:pt x="115" y="96"/>
                  </a:lnTo>
                  <a:lnTo>
                    <a:pt x="117" y="98"/>
                  </a:lnTo>
                  <a:lnTo>
                    <a:pt x="117" y="98"/>
                  </a:lnTo>
                  <a:lnTo>
                    <a:pt x="119" y="96"/>
                  </a:lnTo>
                  <a:lnTo>
                    <a:pt x="119" y="96"/>
                  </a:lnTo>
                  <a:lnTo>
                    <a:pt x="121" y="94"/>
                  </a:lnTo>
                  <a:lnTo>
                    <a:pt x="123" y="94"/>
                  </a:lnTo>
                  <a:lnTo>
                    <a:pt x="127" y="92"/>
                  </a:lnTo>
                  <a:lnTo>
                    <a:pt x="129" y="92"/>
                  </a:lnTo>
                  <a:lnTo>
                    <a:pt x="133" y="92"/>
                  </a:lnTo>
                  <a:lnTo>
                    <a:pt x="135" y="92"/>
                  </a:lnTo>
                  <a:lnTo>
                    <a:pt x="135" y="90"/>
                  </a:lnTo>
                  <a:lnTo>
                    <a:pt x="138" y="94"/>
                  </a:lnTo>
                  <a:lnTo>
                    <a:pt x="140" y="94"/>
                  </a:lnTo>
                  <a:lnTo>
                    <a:pt x="140" y="94"/>
                  </a:lnTo>
                  <a:lnTo>
                    <a:pt x="142" y="92"/>
                  </a:lnTo>
                  <a:lnTo>
                    <a:pt x="144" y="94"/>
                  </a:lnTo>
                  <a:lnTo>
                    <a:pt x="142" y="94"/>
                  </a:lnTo>
                  <a:lnTo>
                    <a:pt x="142" y="94"/>
                  </a:lnTo>
                  <a:lnTo>
                    <a:pt x="142" y="96"/>
                  </a:lnTo>
                  <a:lnTo>
                    <a:pt x="146" y="100"/>
                  </a:lnTo>
                  <a:lnTo>
                    <a:pt x="146" y="100"/>
                  </a:lnTo>
                  <a:lnTo>
                    <a:pt x="146" y="100"/>
                  </a:lnTo>
                  <a:lnTo>
                    <a:pt x="146" y="102"/>
                  </a:lnTo>
                  <a:lnTo>
                    <a:pt x="146" y="102"/>
                  </a:lnTo>
                  <a:lnTo>
                    <a:pt x="144" y="102"/>
                  </a:lnTo>
                  <a:lnTo>
                    <a:pt x="144" y="102"/>
                  </a:lnTo>
                  <a:lnTo>
                    <a:pt x="138" y="100"/>
                  </a:lnTo>
                  <a:lnTo>
                    <a:pt x="135" y="98"/>
                  </a:lnTo>
                  <a:lnTo>
                    <a:pt x="133" y="98"/>
                  </a:lnTo>
                  <a:lnTo>
                    <a:pt x="133" y="98"/>
                  </a:lnTo>
                  <a:lnTo>
                    <a:pt x="131" y="98"/>
                  </a:lnTo>
                  <a:lnTo>
                    <a:pt x="131" y="100"/>
                  </a:lnTo>
                  <a:lnTo>
                    <a:pt x="133" y="100"/>
                  </a:lnTo>
                  <a:lnTo>
                    <a:pt x="135" y="100"/>
                  </a:lnTo>
                  <a:lnTo>
                    <a:pt x="135" y="100"/>
                  </a:lnTo>
                  <a:lnTo>
                    <a:pt x="135" y="102"/>
                  </a:lnTo>
                  <a:lnTo>
                    <a:pt x="135" y="102"/>
                  </a:lnTo>
                  <a:lnTo>
                    <a:pt x="133" y="102"/>
                  </a:lnTo>
                  <a:lnTo>
                    <a:pt x="129" y="102"/>
                  </a:lnTo>
                  <a:lnTo>
                    <a:pt x="129" y="102"/>
                  </a:lnTo>
                  <a:lnTo>
                    <a:pt x="127" y="100"/>
                  </a:lnTo>
                  <a:lnTo>
                    <a:pt x="127" y="98"/>
                  </a:lnTo>
                  <a:lnTo>
                    <a:pt x="127" y="98"/>
                  </a:lnTo>
                  <a:lnTo>
                    <a:pt x="127" y="98"/>
                  </a:lnTo>
                  <a:lnTo>
                    <a:pt x="127" y="98"/>
                  </a:lnTo>
                  <a:lnTo>
                    <a:pt x="127" y="100"/>
                  </a:lnTo>
                  <a:lnTo>
                    <a:pt x="125" y="102"/>
                  </a:lnTo>
                  <a:lnTo>
                    <a:pt x="125" y="102"/>
                  </a:lnTo>
                  <a:lnTo>
                    <a:pt x="125" y="104"/>
                  </a:lnTo>
                  <a:lnTo>
                    <a:pt x="119" y="102"/>
                  </a:lnTo>
                  <a:lnTo>
                    <a:pt x="111" y="104"/>
                  </a:lnTo>
                  <a:lnTo>
                    <a:pt x="109" y="104"/>
                  </a:lnTo>
                  <a:lnTo>
                    <a:pt x="109" y="104"/>
                  </a:lnTo>
                  <a:lnTo>
                    <a:pt x="109" y="104"/>
                  </a:lnTo>
                  <a:lnTo>
                    <a:pt x="109" y="104"/>
                  </a:lnTo>
                  <a:lnTo>
                    <a:pt x="111" y="106"/>
                  </a:lnTo>
                  <a:lnTo>
                    <a:pt x="123" y="106"/>
                  </a:lnTo>
                  <a:lnTo>
                    <a:pt x="140" y="108"/>
                  </a:lnTo>
                  <a:lnTo>
                    <a:pt x="152" y="110"/>
                  </a:lnTo>
                  <a:lnTo>
                    <a:pt x="162" y="114"/>
                  </a:lnTo>
                  <a:lnTo>
                    <a:pt x="172" y="116"/>
                  </a:lnTo>
                  <a:lnTo>
                    <a:pt x="185" y="125"/>
                  </a:lnTo>
                  <a:lnTo>
                    <a:pt x="187" y="125"/>
                  </a:lnTo>
                  <a:lnTo>
                    <a:pt x="185" y="123"/>
                  </a:lnTo>
                  <a:lnTo>
                    <a:pt x="185" y="123"/>
                  </a:lnTo>
                  <a:lnTo>
                    <a:pt x="185" y="123"/>
                  </a:lnTo>
                  <a:lnTo>
                    <a:pt x="187" y="123"/>
                  </a:lnTo>
                  <a:lnTo>
                    <a:pt x="187" y="123"/>
                  </a:lnTo>
                  <a:lnTo>
                    <a:pt x="185" y="120"/>
                  </a:lnTo>
                  <a:lnTo>
                    <a:pt x="183" y="120"/>
                  </a:lnTo>
                  <a:lnTo>
                    <a:pt x="183" y="118"/>
                  </a:lnTo>
                  <a:lnTo>
                    <a:pt x="185" y="116"/>
                  </a:lnTo>
                  <a:lnTo>
                    <a:pt x="183" y="114"/>
                  </a:lnTo>
                  <a:lnTo>
                    <a:pt x="181" y="114"/>
                  </a:lnTo>
                  <a:lnTo>
                    <a:pt x="181" y="114"/>
                  </a:lnTo>
                  <a:lnTo>
                    <a:pt x="178" y="112"/>
                  </a:lnTo>
                  <a:lnTo>
                    <a:pt x="176" y="114"/>
                  </a:lnTo>
                  <a:lnTo>
                    <a:pt x="174" y="114"/>
                  </a:lnTo>
                  <a:lnTo>
                    <a:pt x="174" y="114"/>
                  </a:lnTo>
                  <a:lnTo>
                    <a:pt x="172" y="114"/>
                  </a:lnTo>
                  <a:lnTo>
                    <a:pt x="172" y="112"/>
                  </a:lnTo>
                  <a:lnTo>
                    <a:pt x="172" y="110"/>
                  </a:lnTo>
                  <a:lnTo>
                    <a:pt x="174" y="108"/>
                  </a:lnTo>
                  <a:lnTo>
                    <a:pt x="176" y="108"/>
                  </a:lnTo>
                  <a:lnTo>
                    <a:pt x="178" y="108"/>
                  </a:lnTo>
                  <a:lnTo>
                    <a:pt x="178" y="106"/>
                  </a:lnTo>
                  <a:lnTo>
                    <a:pt x="181" y="104"/>
                  </a:lnTo>
                  <a:lnTo>
                    <a:pt x="183" y="106"/>
                  </a:lnTo>
                  <a:lnTo>
                    <a:pt x="183" y="108"/>
                  </a:lnTo>
                  <a:lnTo>
                    <a:pt x="185" y="110"/>
                  </a:lnTo>
                  <a:lnTo>
                    <a:pt x="185" y="112"/>
                  </a:lnTo>
                  <a:lnTo>
                    <a:pt x="185" y="112"/>
                  </a:lnTo>
                  <a:lnTo>
                    <a:pt x="187" y="110"/>
                  </a:lnTo>
                  <a:lnTo>
                    <a:pt x="187" y="110"/>
                  </a:lnTo>
                  <a:lnTo>
                    <a:pt x="187" y="108"/>
                  </a:lnTo>
                  <a:lnTo>
                    <a:pt x="189" y="108"/>
                  </a:lnTo>
                  <a:lnTo>
                    <a:pt x="191" y="108"/>
                  </a:lnTo>
                  <a:lnTo>
                    <a:pt x="191" y="108"/>
                  </a:lnTo>
                  <a:lnTo>
                    <a:pt x="191" y="108"/>
                  </a:lnTo>
                  <a:lnTo>
                    <a:pt x="193" y="108"/>
                  </a:lnTo>
                  <a:lnTo>
                    <a:pt x="195" y="102"/>
                  </a:lnTo>
                  <a:lnTo>
                    <a:pt x="195" y="102"/>
                  </a:lnTo>
                  <a:lnTo>
                    <a:pt x="197" y="102"/>
                  </a:lnTo>
                  <a:lnTo>
                    <a:pt x="197" y="104"/>
                  </a:lnTo>
                  <a:lnTo>
                    <a:pt x="199" y="106"/>
                  </a:lnTo>
                  <a:lnTo>
                    <a:pt x="197" y="106"/>
                  </a:lnTo>
                  <a:lnTo>
                    <a:pt x="195" y="110"/>
                  </a:lnTo>
                  <a:lnTo>
                    <a:pt x="191" y="110"/>
                  </a:lnTo>
                  <a:lnTo>
                    <a:pt x="191" y="110"/>
                  </a:lnTo>
                  <a:lnTo>
                    <a:pt x="187" y="116"/>
                  </a:lnTo>
                  <a:lnTo>
                    <a:pt x="185" y="118"/>
                  </a:lnTo>
                  <a:lnTo>
                    <a:pt x="187" y="118"/>
                  </a:lnTo>
                  <a:lnTo>
                    <a:pt x="187" y="118"/>
                  </a:lnTo>
                  <a:lnTo>
                    <a:pt x="187" y="120"/>
                  </a:lnTo>
                  <a:lnTo>
                    <a:pt x="191" y="120"/>
                  </a:lnTo>
                  <a:lnTo>
                    <a:pt x="193" y="120"/>
                  </a:lnTo>
                  <a:lnTo>
                    <a:pt x="193" y="123"/>
                  </a:lnTo>
                  <a:lnTo>
                    <a:pt x="195" y="123"/>
                  </a:lnTo>
                  <a:lnTo>
                    <a:pt x="197" y="123"/>
                  </a:lnTo>
                  <a:lnTo>
                    <a:pt x="199" y="125"/>
                  </a:lnTo>
                  <a:lnTo>
                    <a:pt x="201" y="125"/>
                  </a:lnTo>
                  <a:lnTo>
                    <a:pt x="201" y="125"/>
                  </a:lnTo>
                  <a:lnTo>
                    <a:pt x="201" y="125"/>
                  </a:lnTo>
                  <a:lnTo>
                    <a:pt x="201" y="123"/>
                  </a:lnTo>
                  <a:lnTo>
                    <a:pt x="201" y="123"/>
                  </a:lnTo>
                  <a:lnTo>
                    <a:pt x="203" y="123"/>
                  </a:lnTo>
                  <a:lnTo>
                    <a:pt x="203" y="123"/>
                  </a:lnTo>
                  <a:lnTo>
                    <a:pt x="205" y="120"/>
                  </a:lnTo>
                  <a:lnTo>
                    <a:pt x="207" y="120"/>
                  </a:lnTo>
                  <a:lnTo>
                    <a:pt x="207" y="120"/>
                  </a:lnTo>
                  <a:lnTo>
                    <a:pt x="205" y="123"/>
                  </a:lnTo>
                  <a:lnTo>
                    <a:pt x="205" y="125"/>
                  </a:lnTo>
                  <a:lnTo>
                    <a:pt x="207" y="125"/>
                  </a:lnTo>
                  <a:lnTo>
                    <a:pt x="207" y="125"/>
                  </a:lnTo>
                  <a:lnTo>
                    <a:pt x="209" y="127"/>
                  </a:lnTo>
                  <a:lnTo>
                    <a:pt x="209" y="129"/>
                  </a:lnTo>
                  <a:lnTo>
                    <a:pt x="209" y="131"/>
                  </a:lnTo>
                  <a:lnTo>
                    <a:pt x="211" y="131"/>
                  </a:lnTo>
                  <a:lnTo>
                    <a:pt x="211" y="131"/>
                  </a:lnTo>
                  <a:lnTo>
                    <a:pt x="213" y="129"/>
                  </a:lnTo>
                  <a:lnTo>
                    <a:pt x="213" y="127"/>
                  </a:lnTo>
                  <a:lnTo>
                    <a:pt x="213" y="129"/>
                  </a:lnTo>
                  <a:lnTo>
                    <a:pt x="213" y="129"/>
                  </a:lnTo>
                  <a:lnTo>
                    <a:pt x="213" y="129"/>
                  </a:lnTo>
                  <a:lnTo>
                    <a:pt x="215" y="129"/>
                  </a:lnTo>
                  <a:lnTo>
                    <a:pt x="217" y="129"/>
                  </a:lnTo>
                  <a:lnTo>
                    <a:pt x="217" y="129"/>
                  </a:lnTo>
                  <a:lnTo>
                    <a:pt x="217" y="131"/>
                  </a:lnTo>
                  <a:lnTo>
                    <a:pt x="217" y="131"/>
                  </a:lnTo>
                  <a:lnTo>
                    <a:pt x="215" y="131"/>
                  </a:lnTo>
                  <a:lnTo>
                    <a:pt x="215" y="133"/>
                  </a:lnTo>
                  <a:lnTo>
                    <a:pt x="213" y="133"/>
                  </a:lnTo>
                  <a:lnTo>
                    <a:pt x="209" y="133"/>
                  </a:lnTo>
                  <a:lnTo>
                    <a:pt x="207" y="131"/>
                  </a:lnTo>
                  <a:lnTo>
                    <a:pt x="205" y="129"/>
                  </a:lnTo>
                  <a:lnTo>
                    <a:pt x="203" y="127"/>
                  </a:lnTo>
                  <a:lnTo>
                    <a:pt x="197" y="127"/>
                  </a:lnTo>
                  <a:lnTo>
                    <a:pt x="197" y="125"/>
                  </a:lnTo>
                  <a:lnTo>
                    <a:pt x="191" y="123"/>
                  </a:lnTo>
                  <a:lnTo>
                    <a:pt x="189" y="125"/>
                  </a:lnTo>
                  <a:lnTo>
                    <a:pt x="191" y="125"/>
                  </a:lnTo>
                  <a:lnTo>
                    <a:pt x="197" y="129"/>
                  </a:lnTo>
                  <a:lnTo>
                    <a:pt x="197" y="129"/>
                  </a:lnTo>
                  <a:lnTo>
                    <a:pt x="211" y="137"/>
                  </a:lnTo>
                  <a:lnTo>
                    <a:pt x="209" y="137"/>
                  </a:lnTo>
                  <a:lnTo>
                    <a:pt x="207" y="137"/>
                  </a:lnTo>
                  <a:lnTo>
                    <a:pt x="203" y="135"/>
                  </a:lnTo>
                  <a:lnTo>
                    <a:pt x="203" y="133"/>
                  </a:lnTo>
                  <a:lnTo>
                    <a:pt x="201" y="133"/>
                  </a:lnTo>
                  <a:lnTo>
                    <a:pt x="203" y="135"/>
                  </a:lnTo>
                  <a:lnTo>
                    <a:pt x="203" y="135"/>
                  </a:lnTo>
                  <a:lnTo>
                    <a:pt x="203" y="135"/>
                  </a:lnTo>
                  <a:lnTo>
                    <a:pt x="203" y="137"/>
                  </a:lnTo>
                  <a:lnTo>
                    <a:pt x="207" y="139"/>
                  </a:lnTo>
                  <a:lnTo>
                    <a:pt x="217" y="141"/>
                  </a:lnTo>
                  <a:lnTo>
                    <a:pt x="219" y="143"/>
                  </a:lnTo>
                  <a:lnTo>
                    <a:pt x="221" y="145"/>
                  </a:lnTo>
                  <a:lnTo>
                    <a:pt x="224" y="145"/>
                  </a:lnTo>
                  <a:lnTo>
                    <a:pt x="224" y="147"/>
                  </a:lnTo>
                  <a:lnTo>
                    <a:pt x="226" y="149"/>
                  </a:lnTo>
                  <a:lnTo>
                    <a:pt x="228" y="153"/>
                  </a:lnTo>
                  <a:lnTo>
                    <a:pt x="230" y="155"/>
                  </a:lnTo>
                  <a:lnTo>
                    <a:pt x="230" y="164"/>
                  </a:lnTo>
                  <a:lnTo>
                    <a:pt x="230" y="164"/>
                  </a:lnTo>
                  <a:lnTo>
                    <a:pt x="232" y="164"/>
                  </a:lnTo>
                  <a:lnTo>
                    <a:pt x="230" y="166"/>
                  </a:lnTo>
                  <a:lnTo>
                    <a:pt x="230" y="166"/>
                  </a:lnTo>
                  <a:lnTo>
                    <a:pt x="228" y="168"/>
                  </a:lnTo>
                  <a:lnTo>
                    <a:pt x="228" y="168"/>
                  </a:lnTo>
                  <a:lnTo>
                    <a:pt x="226" y="168"/>
                  </a:lnTo>
                  <a:lnTo>
                    <a:pt x="224" y="164"/>
                  </a:lnTo>
                  <a:lnTo>
                    <a:pt x="221" y="161"/>
                  </a:lnTo>
                  <a:lnTo>
                    <a:pt x="221" y="159"/>
                  </a:lnTo>
                  <a:lnTo>
                    <a:pt x="221" y="157"/>
                  </a:lnTo>
                  <a:lnTo>
                    <a:pt x="219" y="149"/>
                  </a:lnTo>
                  <a:lnTo>
                    <a:pt x="219" y="149"/>
                  </a:lnTo>
                  <a:lnTo>
                    <a:pt x="219" y="151"/>
                  </a:lnTo>
                  <a:lnTo>
                    <a:pt x="219" y="155"/>
                  </a:lnTo>
                  <a:lnTo>
                    <a:pt x="221" y="166"/>
                  </a:lnTo>
                  <a:lnTo>
                    <a:pt x="224" y="166"/>
                  </a:lnTo>
                  <a:lnTo>
                    <a:pt x="226" y="168"/>
                  </a:lnTo>
                  <a:lnTo>
                    <a:pt x="228" y="168"/>
                  </a:lnTo>
                  <a:lnTo>
                    <a:pt x="230" y="166"/>
                  </a:lnTo>
                  <a:lnTo>
                    <a:pt x="232" y="166"/>
                  </a:lnTo>
                  <a:lnTo>
                    <a:pt x="234" y="166"/>
                  </a:lnTo>
                  <a:lnTo>
                    <a:pt x="236" y="166"/>
                  </a:lnTo>
                  <a:lnTo>
                    <a:pt x="248" y="161"/>
                  </a:lnTo>
                  <a:lnTo>
                    <a:pt x="250" y="159"/>
                  </a:lnTo>
                  <a:lnTo>
                    <a:pt x="258" y="159"/>
                  </a:lnTo>
                  <a:lnTo>
                    <a:pt x="260" y="159"/>
                  </a:lnTo>
                  <a:lnTo>
                    <a:pt x="260" y="155"/>
                  </a:lnTo>
                  <a:lnTo>
                    <a:pt x="262" y="155"/>
                  </a:lnTo>
                  <a:lnTo>
                    <a:pt x="265" y="153"/>
                  </a:lnTo>
                  <a:lnTo>
                    <a:pt x="267" y="151"/>
                  </a:lnTo>
                  <a:lnTo>
                    <a:pt x="267" y="151"/>
                  </a:lnTo>
                  <a:lnTo>
                    <a:pt x="269" y="149"/>
                  </a:lnTo>
                  <a:lnTo>
                    <a:pt x="269" y="149"/>
                  </a:lnTo>
                  <a:lnTo>
                    <a:pt x="271" y="149"/>
                  </a:lnTo>
                  <a:lnTo>
                    <a:pt x="269" y="155"/>
                  </a:lnTo>
                  <a:lnTo>
                    <a:pt x="269" y="155"/>
                  </a:lnTo>
                  <a:lnTo>
                    <a:pt x="269" y="157"/>
                  </a:lnTo>
                  <a:lnTo>
                    <a:pt x="271" y="157"/>
                  </a:lnTo>
                  <a:lnTo>
                    <a:pt x="271" y="155"/>
                  </a:lnTo>
                  <a:lnTo>
                    <a:pt x="273" y="155"/>
                  </a:lnTo>
                  <a:lnTo>
                    <a:pt x="275" y="153"/>
                  </a:lnTo>
                  <a:lnTo>
                    <a:pt x="275" y="153"/>
                  </a:lnTo>
                  <a:lnTo>
                    <a:pt x="277" y="151"/>
                  </a:lnTo>
                  <a:lnTo>
                    <a:pt x="279" y="149"/>
                  </a:lnTo>
                  <a:lnTo>
                    <a:pt x="281" y="149"/>
                  </a:lnTo>
                  <a:lnTo>
                    <a:pt x="283" y="149"/>
                  </a:lnTo>
                  <a:lnTo>
                    <a:pt x="287" y="143"/>
                  </a:lnTo>
                  <a:lnTo>
                    <a:pt x="289" y="141"/>
                  </a:lnTo>
                  <a:lnTo>
                    <a:pt x="293" y="139"/>
                  </a:lnTo>
                  <a:lnTo>
                    <a:pt x="297" y="135"/>
                  </a:lnTo>
                  <a:lnTo>
                    <a:pt x="301" y="131"/>
                  </a:lnTo>
                  <a:lnTo>
                    <a:pt x="303" y="133"/>
                  </a:lnTo>
                  <a:lnTo>
                    <a:pt x="303" y="133"/>
                  </a:lnTo>
                  <a:lnTo>
                    <a:pt x="305" y="131"/>
                  </a:lnTo>
                  <a:lnTo>
                    <a:pt x="308" y="131"/>
                  </a:lnTo>
                  <a:lnTo>
                    <a:pt x="312" y="131"/>
                  </a:lnTo>
                  <a:lnTo>
                    <a:pt x="316" y="131"/>
                  </a:lnTo>
                  <a:lnTo>
                    <a:pt x="316" y="133"/>
                  </a:lnTo>
                  <a:lnTo>
                    <a:pt x="316" y="133"/>
                  </a:lnTo>
                  <a:lnTo>
                    <a:pt x="314" y="133"/>
                  </a:lnTo>
                  <a:lnTo>
                    <a:pt x="316" y="131"/>
                  </a:lnTo>
                  <a:lnTo>
                    <a:pt x="318" y="129"/>
                  </a:lnTo>
                  <a:lnTo>
                    <a:pt x="316" y="127"/>
                  </a:lnTo>
                  <a:lnTo>
                    <a:pt x="314" y="127"/>
                  </a:lnTo>
                  <a:lnTo>
                    <a:pt x="308" y="127"/>
                  </a:lnTo>
                  <a:lnTo>
                    <a:pt x="308" y="127"/>
                  </a:lnTo>
                  <a:lnTo>
                    <a:pt x="305" y="125"/>
                  </a:lnTo>
                  <a:lnTo>
                    <a:pt x="305" y="125"/>
                  </a:lnTo>
                  <a:lnTo>
                    <a:pt x="303" y="125"/>
                  </a:lnTo>
                  <a:lnTo>
                    <a:pt x="305" y="123"/>
                  </a:lnTo>
                  <a:lnTo>
                    <a:pt x="308" y="123"/>
                  </a:lnTo>
                  <a:lnTo>
                    <a:pt x="310" y="123"/>
                  </a:lnTo>
                  <a:lnTo>
                    <a:pt x="312" y="125"/>
                  </a:lnTo>
                  <a:lnTo>
                    <a:pt x="314" y="125"/>
                  </a:lnTo>
                  <a:lnTo>
                    <a:pt x="316" y="125"/>
                  </a:lnTo>
                  <a:lnTo>
                    <a:pt x="316" y="125"/>
                  </a:lnTo>
                  <a:lnTo>
                    <a:pt x="314" y="123"/>
                  </a:lnTo>
                  <a:lnTo>
                    <a:pt x="314" y="120"/>
                  </a:lnTo>
                  <a:lnTo>
                    <a:pt x="314" y="123"/>
                  </a:lnTo>
                  <a:lnTo>
                    <a:pt x="312" y="123"/>
                  </a:lnTo>
                  <a:lnTo>
                    <a:pt x="312" y="123"/>
                  </a:lnTo>
                  <a:lnTo>
                    <a:pt x="312" y="123"/>
                  </a:lnTo>
                  <a:lnTo>
                    <a:pt x="312" y="120"/>
                  </a:lnTo>
                  <a:lnTo>
                    <a:pt x="312" y="120"/>
                  </a:lnTo>
                  <a:lnTo>
                    <a:pt x="312" y="120"/>
                  </a:lnTo>
                  <a:lnTo>
                    <a:pt x="312" y="120"/>
                  </a:lnTo>
                  <a:lnTo>
                    <a:pt x="312" y="118"/>
                  </a:lnTo>
                  <a:lnTo>
                    <a:pt x="312" y="118"/>
                  </a:lnTo>
                  <a:lnTo>
                    <a:pt x="312" y="118"/>
                  </a:lnTo>
                  <a:lnTo>
                    <a:pt x="312" y="118"/>
                  </a:lnTo>
                  <a:lnTo>
                    <a:pt x="312" y="118"/>
                  </a:lnTo>
                  <a:lnTo>
                    <a:pt x="312" y="116"/>
                  </a:lnTo>
                  <a:lnTo>
                    <a:pt x="314" y="116"/>
                  </a:lnTo>
                  <a:lnTo>
                    <a:pt x="316" y="114"/>
                  </a:lnTo>
                  <a:lnTo>
                    <a:pt x="318" y="114"/>
                  </a:lnTo>
                  <a:lnTo>
                    <a:pt x="320" y="114"/>
                  </a:lnTo>
                  <a:lnTo>
                    <a:pt x="320" y="112"/>
                  </a:lnTo>
                  <a:lnTo>
                    <a:pt x="320" y="112"/>
                  </a:lnTo>
                  <a:lnTo>
                    <a:pt x="322" y="110"/>
                  </a:lnTo>
                  <a:lnTo>
                    <a:pt x="322" y="110"/>
                  </a:lnTo>
                  <a:lnTo>
                    <a:pt x="322" y="110"/>
                  </a:lnTo>
                  <a:lnTo>
                    <a:pt x="322" y="110"/>
                  </a:lnTo>
                  <a:lnTo>
                    <a:pt x="324" y="110"/>
                  </a:lnTo>
                  <a:lnTo>
                    <a:pt x="322" y="110"/>
                  </a:lnTo>
                  <a:lnTo>
                    <a:pt x="324" y="110"/>
                  </a:lnTo>
                  <a:lnTo>
                    <a:pt x="326" y="110"/>
                  </a:lnTo>
                  <a:lnTo>
                    <a:pt x="326" y="108"/>
                  </a:lnTo>
                  <a:lnTo>
                    <a:pt x="326" y="108"/>
                  </a:lnTo>
                  <a:lnTo>
                    <a:pt x="326" y="108"/>
                  </a:lnTo>
                  <a:lnTo>
                    <a:pt x="328" y="108"/>
                  </a:lnTo>
                  <a:lnTo>
                    <a:pt x="328" y="108"/>
                  </a:lnTo>
                  <a:lnTo>
                    <a:pt x="328" y="108"/>
                  </a:lnTo>
                  <a:lnTo>
                    <a:pt x="328" y="108"/>
                  </a:lnTo>
                  <a:lnTo>
                    <a:pt x="328" y="110"/>
                  </a:lnTo>
                  <a:lnTo>
                    <a:pt x="330" y="110"/>
                  </a:lnTo>
                  <a:lnTo>
                    <a:pt x="330" y="110"/>
                  </a:lnTo>
                  <a:lnTo>
                    <a:pt x="332" y="108"/>
                  </a:lnTo>
                  <a:lnTo>
                    <a:pt x="338" y="108"/>
                  </a:lnTo>
                  <a:lnTo>
                    <a:pt x="342" y="106"/>
                  </a:lnTo>
                  <a:lnTo>
                    <a:pt x="344" y="106"/>
                  </a:lnTo>
                  <a:lnTo>
                    <a:pt x="351" y="110"/>
                  </a:lnTo>
                  <a:lnTo>
                    <a:pt x="361" y="114"/>
                  </a:lnTo>
                  <a:lnTo>
                    <a:pt x="365" y="116"/>
                  </a:lnTo>
                  <a:lnTo>
                    <a:pt x="367" y="114"/>
                  </a:lnTo>
                  <a:lnTo>
                    <a:pt x="369" y="116"/>
                  </a:lnTo>
                  <a:lnTo>
                    <a:pt x="371" y="118"/>
                  </a:lnTo>
                  <a:lnTo>
                    <a:pt x="373" y="118"/>
                  </a:lnTo>
                  <a:lnTo>
                    <a:pt x="373" y="118"/>
                  </a:lnTo>
                  <a:lnTo>
                    <a:pt x="377" y="120"/>
                  </a:lnTo>
                  <a:lnTo>
                    <a:pt x="379" y="123"/>
                  </a:lnTo>
                  <a:lnTo>
                    <a:pt x="379" y="123"/>
                  </a:lnTo>
                  <a:lnTo>
                    <a:pt x="383" y="127"/>
                  </a:lnTo>
                  <a:lnTo>
                    <a:pt x="385" y="129"/>
                  </a:lnTo>
                  <a:lnTo>
                    <a:pt x="385" y="129"/>
                  </a:lnTo>
                  <a:lnTo>
                    <a:pt x="387" y="129"/>
                  </a:lnTo>
                  <a:lnTo>
                    <a:pt x="387" y="129"/>
                  </a:lnTo>
                  <a:lnTo>
                    <a:pt x="387" y="131"/>
                  </a:lnTo>
                  <a:lnTo>
                    <a:pt x="389" y="133"/>
                  </a:lnTo>
                  <a:lnTo>
                    <a:pt x="389" y="135"/>
                  </a:lnTo>
                  <a:lnTo>
                    <a:pt x="389" y="137"/>
                  </a:lnTo>
                  <a:lnTo>
                    <a:pt x="391" y="137"/>
                  </a:lnTo>
                  <a:lnTo>
                    <a:pt x="394" y="139"/>
                  </a:lnTo>
                  <a:lnTo>
                    <a:pt x="396" y="141"/>
                  </a:lnTo>
                  <a:lnTo>
                    <a:pt x="400" y="141"/>
                  </a:lnTo>
                  <a:lnTo>
                    <a:pt x="400" y="141"/>
                  </a:lnTo>
                  <a:lnTo>
                    <a:pt x="402" y="143"/>
                  </a:lnTo>
                  <a:lnTo>
                    <a:pt x="402" y="143"/>
                  </a:lnTo>
                  <a:lnTo>
                    <a:pt x="404" y="143"/>
                  </a:lnTo>
                  <a:lnTo>
                    <a:pt x="406" y="143"/>
                  </a:lnTo>
                  <a:lnTo>
                    <a:pt x="408" y="143"/>
                  </a:lnTo>
                  <a:lnTo>
                    <a:pt x="408" y="145"/>
                  </a:lnTo>
                  <a:lnTo>
                    <a:pt x="410" y="147"/>
                  </a:lnTo>
                  <a:lnTo>
                    <a:pt x="410" y="149"/>
                  </a:lnTo>
                  <a:lnTo>
                    <a:pt x="410" y="151"/>
                  </a:lnTo>
                  <a:lnTo>
                    <a:pt x="408" y="153"/>
                  </a:lnTo>
                  <a:lnTo>
                    <a:pt x="410" y="155"/>
                  </a:lnTo>
                  <a:lnTo>
                    <a:pt x="410" y="155"/>
                  </a:lnTo>
                  <a:lnTo>
                    <a:pt x="410" y="157"/>
                  </a:lnTo>
                  <a:lnTo>
                    <a:pt x="410" y="159"/>
                  </a:lnTo>
                  <a:lnTo>
                    <a:pt x="412" y="159"/>
                  </a:lnTo>
                  <a:lnTo>
                    <a:pt x="414" y="159"/>
                  </a:lnTo>
                  <a:lnTo>
                    <a:pt x="414" y="159"/>
                  </a:lnTo>
                  <a:lnTo>
                    <a:pt x="420" y="166"/>
                  </a:lnTo>
                  <a:lnTo>
                    <a:pt x="422" y="166"/>
                  </a:lnTo>
                  <a:lnTo>
                    <a:pt x="426" y="166"/>
                  </a:lnTo>
                  <a:lnTo>
                    <a:pt x="428" y="168"/>
                  </a:lnTo>
                  <a:lnTo>
                    <a:pt x="430" y="170"/>
                  </a:lnTo>
                  <a:lnTo>
                    <a:pt x="432" y="172"/>
                  </a:lnTo>
                  <a:lnTo>
                    <a:pt x="434" y="176"/>
                  </a:lnTo>
                  <a:lnTo>
                    <a:pt x="434" y="176"/>
                  </a:lnTo>
                  <a:lnTo>
                    <a:pt x="437" y="178"/>
                  </a:lnTo>
                  <a:lnTo>
                    <a:pt x="437" y="178"/>
                  </a:lnTo>
                  <a:lnTo>
                    <a:pt x="437" y="180"/>
                  </a:lnTo>
                  <a:lnTo>
                    <a:pt x="437" y="180"/>
                  </a:lnTo>
                  <a:lnTo>
                    <a:pt x="439" y="180"/>
                  </a:lnTo>
                  <a:lnTo>
                    <a:pt x="441" y="182"/>
                  </a:lnTo>
                  <a:lnTo>
                    <a:pt x="443" y="182"/>
                  </a:lnTo>
                  <a:lnTo>
                    <a:pt x="445" y="182"/>
                  </a:lnTo>
                  <a:lnTo>
                    <a:pt x="445" y="182"/>
                  </a:lnTo>
                  <a:lnTo>
                    <a:pt x="447" y="184"/>
                  </a:lnTo>
                  <a:lnTo>
                    <a:pt x="447" y="184"/>
                  </a:lnTo>
                  <a:lnTo>
                    <a:pt x="445" y="186"/>
                  </a:lnTo>
                  <a:lnTo>
                    <a:pt x="447" y="188"/>
                  </a:lnTo>
                  <a:lnTo>
                    <a:pt x="447" y="188"/>
                  </a:lnTo>
                  <a:lnTo>
                    <a:pt x="449" y="188"/>
                  </a:lnTo>
                  <a:lnTo>
                    <a:pt x="449" y="188"/>
                  </a:lnTo>
                  <a:lnTo>
                    <a:pt x="449" y="190"/>
                  </a:lnTo>
                  <a:lnTo>
                    <a:pt x="449" y="190"/>
                  </a:lnTo>
                  <a:lnTo>
                    <a:pt x="451" y="190"/>
                  </a:lnTo>
                  <a:lnTo>
                    <a:pt x="453" y="190"/>
                  </a:lnTo>
                  <a:lnTo>
                    <a:pt x="453" y="190"/>
                  </a:lnTo>
                  <a:lnTo>
                    <a:pt x="455" y="190"/>
                  </a:lnTo>
                  <a:lnTo>
                    <a:pt x="455" y="190"/>
                  </a:lnTo>
                  <a:lnTo>
                    <a:pt x="459" y="188"/>
                  </a:lnTo>
                  <a:lnTo>
                    <a:pt x="459" y="188"/>
                  </a:lnTo>
                  <a:lnTo>
                    <a:pt x="461" y="188"/>
                  </a:lnTo>
                  <a:lnTo>
                    <a:pt x="463" y="190"/>
                  </a:lnTo>
                  <a:lnTo>
                    <a:pt x="465" y="190"/>
                  </a:lnTo>
                  <a:lnTo>
                    <a:pt x="467" y="188"/>
                  </a:lnTo>
                  <a:lnTo>
                    <a:pt x="467" y="188"/>
                  </a:lnTo>
                  <a:lnTo>
                    <a:pt x="469" y="190"/>
                  </a:lnTo>
                  <a:lnTo>
                    <a:pt x="469" y="190"/>
                  </a:lnTo>
                  <a:lnTo>
                    <a:pt x="469" y="188"/>
                  </a:lnTo>
                  <a:lnTo>
                    <a:pt x="471" y="188"/>
                  </a:lnTo>
                  <a:lnTo>
                    <a:pt x="471" y="190"/>
                  </a:lnTo>
                  <a:lnTo>
                    <a:pt x="473" y="192"/>
                  </a:lnTo>
                  <a:lnTo>
                    <a:pt x="473" y="192"/>
                  </a:lnTo>
                  <a:lnTo>
                    <a:pt x="475" y="194"/>
                  </a:lnTo>
                  <a:lnTo>
                    <a:pt x="473" y="194"/>
                  </a:lnTo>
                  <a:lnTo>
                    <a:pt x="475" y="196"/>
                  </a:lnTo>
                  <a:lnTo>
                    <a:pt x="480" y="198"/>
                  </a:lnTo>
                  <a:lnTo>
                    <a:pt x="480" y="198"/>
                  </a:lnTo>
                  <a:lnTo>
                    <a:pt x="480" y="202"/>
                  </a:lnTo>
                  <a:lnTo>
                    <a:pt x="480" y="204"/>
                  </a:lnTo>
                  <a:lnTo>
                    <a:pt x="480" y="204"/>
                  </a:lnTo>
                  <a:lnTo>
                    <a:pt x="480" y="204"/>
                  </a:lnTo>
                  <a:lnTo>
                    <a:pt x="482" y="207"/>
                  </a:lnTo>
                  <a:lnTo>
                    <a:pt x="482" y="207"/>
                  </a:lnTo>
                  <a:lnTo>
                    <a:pt x="482" y="209"/>
                  </a:lnTo>
                  <a:lnTo>
                    <a:pt x="482" y="211"/>
                  </a:lnTo>
                  <a:lnTo>
                    <a:pt x="488" y="215"/>
                  </a:lnTo>
                  <a:lnTo>
                    <a:pt x="488" y="215"/>
                  </a:lnTo>
                  <a:lnTo>
                    <a:pt x="488" y="215"/>
                  </a:lnTo>
                  <a:lnTo>
                    <a:pt x="490" y="215"/>
                  </a:lnTo>
                  <a:lnTo>
                    <a:pt x="492" y="215"/>
                  </a:lnTo>
                  <a:lnTo>
                    <a:pt x="492" y="217"/>
                  </a:lnTo>
                  <a:lnTo>
                    <a:pt x="492" y="217"/>
                  </a:lnTo>
                  <a:lnTo>
                    <a:pt x="494" y="223"/>
                  </a:lnTo>
                  <a:lnTo>
                    <a:pt x="494" y="223"/>
                  </a:lnTo>
                  <a:lnTo>
                    <a:pt x="494" y="227"/>
                  </a:lnTo>
                  <a:lnTo>
                    <a:pt x="492" y="225"/>
                  </a:lnTo>
                  <a:lnTo>
                    <a:pt x="490" y="223"/>
                  </a:lnTo>
                  <a:lnTo>
                    <a:pt x="490" y="225"/>
                  </a:lnTo>
                  <a:lnTo>
                    <a:pt x="490" y="227"/>
                  </a:lnTo>
                  <a:lnTo>
                    <a:pt x="492" y="229"/>
                  </a:lnTo>
                  <a:lnTo>
                    <a:pt x="492" y="229"/>
                  </a:lnTo>
                  <a:lnTo>
                    <a:pt x="492" y="231"/>
                  </a:lnTo>
                  <a:lnTo>
                    <a:pt x="494" y="231"/>
                  </a:lnTo>
                  <a:lnTo>
                    <a:pt x="494" y="231"/>
                  </a:lnTo>
                  <a:lnTo>
                    <a:pt x="494" y="231"/>
                  </a:lnTo>
                  <a:lnTo>
                    <a:pt x="496" y="235"/>
                  </a:lnTo>
                  <a:lnTo>
                    <a:pt x="496" y="235"/>
                  </a:lnTo>
                  <a:lnTo>
                    <a:pt x="496" y="237"/>
                  </a:lnTo>
                  <a:lnTo>
                    <a:pt x="496" y="237"/>
                  </a:lnTo>
                  <a:lnTo>
                    <a:pt x="496" y="239"/>
                  </a:lnTo>
                  <a:lnTo>
                    <a:pt x="496" y="239"/>
                  </a:lnTo>
                  <a:lnTo>
                    <a:pt x="496" y="239"/>
                  </a:lnTo>
                  <a:lnTo>
                    <a:pt x="496" y="241"/>
                  </a:lnTo>
                  <a:lnTo>
                    <a:pt x="496" y="241"/>
                  </a:lnTo>
                  <a:lnTo>
                    <a:pt x="496" y="243"/>
                  </a:lnTo>
                  <a:lnTo>
                    <a:pt x="496" y="254"/>
                  </a:lnTo>
                  <a:lnTo>
                    <a:pt x="496" y="256"/>
                  </a:lnTo>
                  <a:lnTo>
                    <a:pt x="496" y="258"/>
                  </a:lnTo>
                  <a:lnTo>
                    <a:pt x="496" y="264"/>
                  </a:lnTo>
                  <a:lnTo>
                    <a:pt x="496" y="268"/>
                  </a:lnTo>
                  <a:lnTo>
                    <a:pt x="496" y="268"/>
                  </a:lnTo>
                  <a:lnTo>
                    <a:pt x="496" y="268"/>
                  </a:lnTo>
                  <a:lnTo>
                    <a:pt x="494" y="270"/>
                  </a:lnTo>
                  <a:lnTo>
                    <a:pt x="492" y="280"/>
                  </a:lnTo>
                  <a:lnTo>
                    <a:pt x="494" y="278"/>
                  </a:lnTo>
                  <a:lnTo>
                    <a:pt x="494" y="278"/>
                  </a:lnTo>
                  <a:lnTo>
                    <a:pt x="494" y="278"/>
                  </a:lnTo>
                  <a:lnTo>
                    <a:pt x="494" y="280"/>
                  </a:lnTo>
                  <a:lnTo>
                    <a:pt x="494" y="282"/>
                  </a:lnTo>
                  <a:lnTo>
                    <a:pt x="492" y="284"/>
                  </a:lnTo>
                  <a:lnTo>
                    <a:pt x="492" y="289"/>
                  </a:lnTo>
                  <a:lnTo>
                    <a:pt x="492" y="289"/>
                  </a:lnTo>
                  <a:lnTo>
                    <a:pt x="490" y="291"/>
                  </a:lnTo>
                  <a:lnTo>
                    <a:pt x="490" y="291"/>
                  </a:lnTo>
                  <a:lnTo>
                    <a:pt x="490" y="293"/>
                  </a:lnTo>
                  <a:lnTo>
                    <a:pt x="490" y="295"/>
                  </a:lnTo>
                  <a:lnTo>
                    <a:pt x="490" y="295"/>
                  </a:lnTo>
                  <a:lnTo>
                    <a:pt x="492" y="299"/>
                  </a:lnTo>
                  <a:lnTo>
                    <a:pt x="492" y="301"/>
                  </a:lnTo>
                  <a:lnTo>
                    <a:pt x="494" y="301"/>
                  </a:lnTo>
                  <a:lnTo>
                    <a:pt x="492" y="303"/>
                  </a:lnTo>
                  <a:lnTo>
                    <a:pt x="492" y="303"/>
                  </a:lnTo>
                  <a:lnTo>
                    <a:pt x="492" y="307"/>
                  </a:lnTo>
                  <a:lnTo>
                    <a:pt x="492" y="317"/>
                  </a:lnTo>
                  <a:lnTo>
                    <a:pt x="490" y="325"/>
                  </a:lnTo>
                  <a:lnTo>
                    <a:pt x="490" y="323"/>
                  </a:lnTo>
                  <a:lnTo>
                    <a:pt x="490" y="321"/>
                  </a:lnTo>
                  <a:lnTo>
                    <a:pt x="490" y="321"/>
                  </a:lnTo>
                  <a:lnTo>
                    <a:pt x="490" y="319"/>
                  </a:lnTo>
                  <a:lnTo>
                    <a:pt x="490" y="319"/>
                  </a:lnTo>
                  <a:lnTo>
                    <a:pt x="488" y="321"/>
                  </a:lnTo>
                  <a:lnTo>
                    <a:pt x="488" y="323"/>
                  </a:lnTo>
                  <a:lnTo>
                    <a:pt x="488" y="325"/>
                  </a:lnTo>
                  <a:lnTo>
                    <a:pt x="488" y="327"/>
                  </a:lnTo>
                  <a:lnTo>
                    <a:pt x="490" y="329"/>
                  </a:lnTo>
                  <a:lnTo>
                    <a:pt x="490" y="332"/>
                  </a:lnTo>
                  <a:lnTo>
                    <a:pt x="492" y="334"/>
                  </a:lnTo>
                  <a:lnTo>
                    <a:pt x="498" y="340"/>
                  </a:lnTo>
                  <a:lnTo>
                    <a:pt x="500" y="342"/>
                  </a:lnTo>
                  <a:lnTo>
                    <a:pt x="502" y="344"/>
                  </a:lnTo>
                  <a:lnTo>
                    <a:pt x="502" y="346"/>
                  </a:lnTo>
                  <a:lnTo>
                    <a:pt x="504" y="348"/>
                  </a:lnTo>
                  <a:lnTo>
                    <a:pt x="504" y="348"/>
                  </a:lnTo>
                  <a:lnTo>
                    <a:pt x="504" y="346"/>
                  </a:lnTo>
                  <a:lnTo>
                    <a:pt x="504" y="344"/>
                  </a:lnTo>
                  <a:lnTo>
                    <a:pt x="502" y="342"/>
                  </a:lnTo>
                  <a:lnTo>
                    <a:pt x="500" y="340"/>
                  </a:lnTo>
                  <a:lnTo>
                    <a:pt x="494" y="334"/>
                  </a:lnTo>
                  <a:lnTo>
                    <a:pt x="492" y="334"/>
                  </a:lnTo>
                  <a:lnTo>
                    <a:pt x="494" y="332"/>
                  </a:lnTo>
                  <a:lnTo>
                    <a:pt x="496" y="332"/>
                  </a:lnTo>
                  <a:lnTo>
                    <a:pt x="500" y="336"/>
                  </a:lnTo>
                  <a:lnTo>
                    <a:pt x="502" y="336"/>
                  </a:lnTo>
                  <a:lnTo>
                    <a:pt x="504" y="340"/>
                  </a:lnTo>
                  <a:lnTo>
                    <a:pt x="504" y="340"/>
                  </a:lnTo>
                  <a:lnTo>
                    <a:pt x="506" y="340"/>
                  </a:lnTo>
                  <a:lnTo>
                    <a:pt x="506" y="340"/>
                  </a:lnTo>
                  <a:lnTo>
                    <a:pt x="506" y="342"/>
                  </a:lnTo>
                  <a:lnTo>
                    <a:pt x="508" y="344"/>
                  </a:lnTo>
                  <a:lnTo>
                    <a:pt x="508" y="344"/>
                  </a:lnTo>
                  <a:lnTo>
                    <a:pt x="508" y="344"/>
                  </a:lnTo>
                  <a:lnTo>
                    <a:pt x="510" y="344"/>
                  </a:lnTo>
                  <a:lnTo>
                    <a:pt x="512" y="342"/>
                  </a:lnTo>
                  <a:lnTo>
                    <a:pt x="512" y="340"/>
                  </a:lnTo>
                  <a:lnTo>
                    <a:pt x="512" y="338"/>
                  </a:lnTo>
                  <a:lnTo>
                    <a:pt x="512" y="338"/>
                  </a:lnTo>
                  <a:lnTo>
                    <a:pt x="512" y="334"/>
                  </a:lnTo>
                  <a:lnTo>
                    <a:pt x="512" y="334"/>
                  </a:lnTo>
                  <a:lnTo>
                    <a:pt x="512" y="332"/>
                  </a:lnTo>
                  <a:lnTo>
                    <a:pt x="514" y="329"/>
                  </a:lnTo>
                  <a:lnTo>
                    <a:pt x="514" y="329"/>
                  </a:lnTo>
                  <a:lnTo>
                    <a:pt x="514" y="327"/>
                  </a:lnTo>
                  <a:lnTo>
                    <a:pt x="512" y="325"/>
                  </a:lnTo>
                  <a:lnTo>
                    <a:pt x="512" y="325"/>
                  </a:lnTo>
                  <a:lnTo>
                    <a:pt x="514" y="323"/>
                  </a:lnTo>
                  <a:lnTo>
                    <a:pt x="516" y="321"/>
                  </a:lnTo>
                  <a:lnTo>
                    <a:pt x="512" y="323"/>
                  </a:lnTo>
                  <a:lnTo>
                    <a:pt x="508" y="321"/>
                  </a:lnTo>
                  <a:lnTo>
                    <a:pt x="504" y="319"/>
                  </a:lnTo>
                  <a:lnTo>
                    <a:pt x="500" y="319"/>
                  </a:lnTo>
                  <a:lnTo>
                    <a:pt x="502" y="317"/>
                  </a:lnTo>
                  <a:lnTo>
                    <a:pt x="506" y="315"/>
                  </a:lnTo>
                  <a:lnTo>
                    <a:pt x="506" y="313"/>
                  </a:lnTo>
                  <a:lnTo>
                    <a:pt x="504" y="315"/>
                  </a:lnTo>
                  <a:lnTo>
                    <a:pt x="502" y="315"/>
                  </a:lnTo>
                  <a:lnTo>
                    <a:pt x="502" y="313"/>
                  </a:lnTo>
                  <a:lnTo>
                    <a:pt x="502" y="313"/>
                  </a:lnTo>
                  <a:lnTo>
                    <a:pt x="502" y="313"/>
                  </a:lnTo>
                  <a:lnTo>
                    <a:pt x="502" y="311"/>
                  </a:lnTo>
                  <a:lnTo>
                    <a:pt x="502" y="311"/>
                  </a:lnTo>
                  <a:lnTo>
                    <a:pt x="502" y="309"/>
                  </a:lnTo>
                  <a:lnTo>
                    <a:pt x="502" y="309"/>
                  </a:lnTo>
                  <a:lnTo>
                    <a:pt x="502" y="307"/>
                  </a:lnTo>
                  <a:lnTo>
                    <a:pt x="506" y="311"/>
                  </a:lnTo>
                  <a:lnTo>
                    <a:pt x="506" y="309"/>
                  </a:lnTo>
                  <a:lnTo>
                    <a:pt x="506" y="309"/>
                  </a:lnTo>
                  <a:lnTo>
                    <a:pt x="506" y="309"/>
                  </a:lnTo>
                  <a:lnTo>
                    <a:pt x="506" y="309"/>
                  </a:lnTo>
                  <a:lnTo>
                    <a:pt x="508" y="311"/>
                  </a:lnTo>
                  <a:lnTo>
                    <a:pt x="510" y="311"/>
                  </a:lnTo>
                  <a:lnTo>
                    <a:pt x="510" y="313"/>
                  </a:lnTo>
                  <a:lnTo>
                    <a:pt x="510" y="313"/>
                  </a:lnTo>
                  <a:lnTo>
                    <a:pt x="510" y="315"/>
                  </a:lnTo>
                  <a:lnTo>
                    <a:pt x="512" y="313"/>
                  </a:lnTo>
                  <a:lnTo>
                    <a:pt x="514" y="313"/>
                  </a:lnTo>
                  <a:lnTo>
                    <a:pt x="516" y="315"/>
                  </a:lnTo>
                  <a:lnTo>
                    <a:pt x="518" y="317"/>
                  </a:lnTo>
                  <a:lnTo>
                    <a:pt x="518" y="323"/>
                  </a:lnTo>
                  <a:lnTo>
                    <a:pt x="518" y="325"/>
                  </a:lnTo>
                  <a:lnTo>
                    <a:pt x="521" y="327"/>
                  </a:lnTo>
                  <a:lnTo>
                    <a:pt x="521" y="327"/>
                  </a:lnTo>
                  <a:lnTo>
                    <a:pt x="525" y="327"/>
                  </a:lnTo>
                  <a:lnTo>
                    <a:pt x="525" y="325"/>
                  </a:lnTo>
                  <a:lnTo>
                    <a:pt x="525" y="325"/>
                  </a:lnTo>
                  <a:lnTo>
                    <a:pt x="525" y="323"/>
                  </a:lnTo>
                  <a:lnTo>
                    <a:pt x="523" y="319"/>
                  </a:lnTo>
                  <a:lnTo>
                    <a:pt x="523" y="317"/>
                  </a:lnTo>
                  <a:lnTo>
                    <a:pt x="525" y="317"/>
                  </a:lnTo>
                  <a:lnTo>
                    <a:pt x="527" y="315"/>
                  </a:lnTo>
                  <a:lnTo>
                    <a:pt x="527" y="315"/>
                  </a:lnTo>
                  <a:lnTo>
                    <a:pt x="529" y="315"/>
                  </a:lnTo>
                  <a:lnTo>
                    <a:pt x="531" y="321"/>
                  </a:lnTo>
                  <a:lnTo>
                    <a:pt x="533" y="325"/>
                  </a:lnTo>
                  <a:lnTo>
                    <a:pt x="533" y="327"/>
                  </a:lnTo>
                  <a:lnTo>
                    <a:pt x="533" y="329"/>
                  </a:lnTo>
                  <a:lnTo>
                    <a:pt x="531" y="332"/>
                  </a:lnTo>
                  <a:lnTo>
                    <a:pt x="531" y="334"/>
                  </a:lnTo>
                  <a:lnTo>
                    <a:pt x="527" y="336"/>
                  </a:lnTo>
                  <a:lnTo>
                    <a:pt x="527" y="338"/>
                  </a:lnTo>
                  <a:lnTo>
                    <a:pt x="527" y="340"/>
                  </a:lnTo>
                  <a:lnTo>
                    <a:pt x="527" y="340"/>
                  </a:lnTo>
                  <a:lnTo>
                    <a:pt x="525" y="342"/>
                  </a:lnTo>
                  <a:lnTo>
                    <a:pt x="525" y="342"/>
                  </a:lnTo>
                  <a:lnTo>
                    <a:pt x="525" y="344"/>
                  </a:lnTo>
                  <a:lnTo>
                    <a:pt x="525" y="344"/>
                  </a:lnTo>
                  <a:lnTo>
                    <a:pt x="523" y="346"/>
                  </a:lnTo>
                  <a:lnTo>
                    <a:pt x="521" y="348"/>
                  </a:lnTo>
                  <a:lnTo>
                    <a:pt x="521" y="352"/>
                  </a:lnTo>
                  <a:lnTo>
                    <a:pt x="521" y="354"/>
                  </a:lnTo>
                  <a:lnTo>
                    <a:pt x="518" y="354"/>
                  </a:lnTo>
                  <a:lnTo>
                    <a:pt x="518" y="356"/>
                  </a:lnTo>
                  <a:lnTo>
                    <a:pt x="518" y="356"/>
                  </a:lnTo>
                  <a:lnTo>
                    <a:pt x="518" y="358"/>
                  </a:lnTo>
                  <a:lnTo>
                    <a:pt x="518" y="356"/>
                  </a:lnTo>
                  <a:lnTo>
                    <a:pt x="521" y="356"/>
                  </a:lnTo>
                  <a:lnTo>
                    <a:pt x="521" y="358"/>
                  </a:lnTo>
                  <a:lnTo>
                    <a:pt x="518" y="358"/>
                  </a:lnTo>
                  <a:lnTo>
                    <a:pt x="516" y="360"/>
                  </a:lnTo>
                  <a:lnTo>
                    <a:pt x="514" y="360"/>
                  </a:lnTo>
                  <a:lnTo>
                    <a:pt x="516" y="360"/>
                  </a:lnTo>
                  <a:lnTo>
                    <a:pt x="518" y="362"/>
                  </a:lnTo>
                  <a:lnTo>
                    <a:pt x="518" y="362"/>
                  </a:lnTo>
                  <a:lnTo>
                    <a:pt x="521" y="362"/>
                  </a:lnTo>
                  <a:lnTo>
                    <a:pt x="518" y="362"/>
                  </a:lnTo>
                  <a:lnTo>
                    <a:pt x="514" y="362"/>
                  </a:lnTo>
                  <a:lnTo>
                    <a:pt x="512" y="362"/>
                  </a:lnTo>
                  <a:lnTo>
                    <a:pt x="512" y="364"/>
                  </a:lnTo>
                  <a:lnTo>
                    <a:pt x="512" y="364"/>
                  </a:lnTo>
                  <a:lnTo>
                    <a:pt x="512" y="364"/>
                  </a:lnTo>
                  <a:lnTo>
                    <a:pt x="514" y="364"/>
                  </a:lnTo>
                  <a:lnTo>
                    <a:pt x="514" y="364"/>
                  </a:lnTo>
                  <a:lnTo>
                    <a:pt x="514" y="364"/>
                  </a:lnTo>
                  <a:lnTo>
                    <a:pt x="514" y="364"/>
                  </a:lnTo>
                  <a:lnTo>
                    <a:pt x="514" y="366"/>
                  </a:lnTo>
                  <a:lnTo>
                    <a:pt x="514" y="366"/>
                  </a:lnTo>
                  <a:lnTo>
                    <a:pt x="514" y="368"/>
                  </a:lnTo>
                  <a:lnTo>
                    <a:pt x="512" y="366"/>
                  </a:lnTo>
                  <a:lnTo>
                    <a:pt x="510" y="366"/>
                  </a:lnTo>
                  <a:lnTo>
                    <a:pt x="508" y="366"/>
                  </a:lnTo>
                  <a:lnTo>
                    <a:pt x="508" y="364"/>
                  </a:lnTo>
                  <a:lnTo>
                    <a:pt x="506" y="362"/>
                  </a:lnTo>
                  <a:lnTo>
                    <a:pt x="506" y="362"/>
                  </a:lnTo>
                  <a:lnTo>
                    <a:pt x="506" y="364"/>
                  </a:lnTo>
                  <a:lnTo>
                    <a:pt x="508" y="368"/>
                  </a:lnTo>
                  <a:lnTo>
                    <a:pt x="510" y="368"/>
                  </a:lnTo>
                  <a:lnTo>
                    <a:pt x="512" y="370"/>
                  </a:lnTo>
                  <a:lnTo>
                    <a:pt x="516" y="370"/>
                  </a:lnTo>
                  <a:lnTo>
                    <a:pt x="521" y="373"/>
                  </a:lnTo>
                  <a:lnTo>
                    <a:pt x="523" y="373"/>
                  </a:lnTo>
                  <a:lnTo>
                    <a:pt x="523" y="375"/>
                  </a:lnTo>
                  <a:lnTo>
                    <a:pt x="525" y="379"/>
                  </a:lnTo>
                  <a:lnTo>
                    <a:pt x="527" y="383"/>
                  </a:lnTo>
                  <a:lnTo>
                    <a:pt x="529" y="385"/>
                  </a:lnTo>
                  <a:lnTo>
                    <a:pt x="527" y="385"/>
                  </a:lnTo>
                  <a:lnTo>
                    <a:pt x="527" y="385"/>
                  </a:lnTo>
                  <a:lnTo>
                    <a:pt x="527" y="385"/>
                  </a:lnTo>
                  <a:lnTo>
                    <a:pt x="527" y="385"/>
                  </a:lnTo>
                  <a:lnTo>
                    <a:pt x="527" y="385"/>
                  </a:lnTo>
                  <a:lnTo>
                    <a:pt x="527" y="387"/>
                  </a:lnTo>
                  <a:lnTo>
                    <a:pt x="529" y="389"/>
                  </a:lnTo>
                  <a:lnTo>
                    <a:pt x="529" y="391"/>
                  </a:lnTo>
                  <a:lnTo>
                    <a:pt x="531" y="393"/>
                  </a:lnTo>
                  <a:lnTo>
                    <a:pt x="533" y="393"/>
                  </a:lnTo>
                  <a:lnTo>
                    <a:pt x="531" y="391"/>
                  </a:lnTo>
                  <a:lnTo>
                    <a:pt x="533" y="391"/>
                  </a:lnTo>
                  <a:lnTo>
                    <a:pt x="533" y="393"/>
                  </a:lnTo>
                  <a:lnTo>
                    <a:pt x="535" y="393"/>
                  </a:lnTo>
                  <a:lnTo>
                    <a:pt x="535" y="395"/>
                  </a:lnTo>
                  <a:lnTo>
                    <a:pt x="535" y="395"/>
                  </a:lnTo>
                  <a:lnTo>
                    <a:pt x="533" y="395"/>
                  </a:lnTo>
                  <a:lnTo>
                    <a:pt x="533" y="393"/>
                  </a:lnTo>
                  <a:lnTo>
                    <a:pt x="533" y="395"/>
                  </a:lnTo>
                  <a:lnTo>
                    <a:pt x="537" y="399"/>
                  </a:lnTo>
                  <a:lnTo>
                    <a:pt x="539" y="403"/>
                  </a:lnTo>
                  <a:lnTo>
                    <a:pt x="549" y="420"/>
                  </a:lnTo>
                  <a:lnTo>
                    <a:pt x="551" y="422"/>
                  </a:lnTo>
                  <a:lnTo>
                    <a:pt x="551" y="422"/>
                  </a:lnTo>
                  <a:lnTo>
                    <a:pt x="551" y="422"/>
                  </a:lnTo>
                  <a:lnTo>
                    <a:pt x="553" y="422"/>
                  </a:lnTo>
                  <a:lnTo>
                    <a:pt x="551" y="422"/>
                  </a:lnTo>
                  <a:lnTo>
                    <a:pt x="551" y="418"/>
                  </a:lnTo>
                  <a:lnTo>
                    <a:pt x="549" y="418"/>
                  </a:lnTo>
                  <a:lnTo>
                    <a:pt x="553" y="420"/>
                  </a:lnTo>
                  <a:lnTo>
                    <a:pt x="557" y="428"/>
                  </a:lnTo>
                  <a:lnTo>
                    <a:pt x="559" y="430"/>
                  </a:lnTo>
                  <a:lnTo>
                    <a:pt x="561" y="430"/>
                  </a:lnTo>
                  <a:lnTo>
                    <a:pt x="561" y="430"/>
                  </a:lnTo>
                  <a:lnTo>
                    <a:pt x="564" y="430"/>
                  </a:lnTo>
                  <a:lnTo>
                    <a:pt x="564" y="430"/>
                  </a:lnTo>
                  <a:lnTo>
                    <a:pt x="566" y="430"/>
                  </a:lnTo>
                  <a:lnTo>
                    <a:pt x="566" y="430"/>
                  </a:lnTo>
                  <a:lnTo>
                    <a:pt x="566" y="430"/>
                  </a:lnTo>
                  <a:lnTo>
                    <a:pt x="568" y="430"/>
                  </a:lnTo>
                  <a:lnTo>
                    <a:pt x="568" y="430"/>
                  </a:lnTo>
                  <a:lnTo>
                    <a:pt x="568" y="430"/>
                  </a:lnTo>
                  <a:lnTo>
                    <a:pt x="568" y="430"/>
                  </a:lnTo>
                  <a:lnTo>
                    <a:pt x="570" y="430"/>
                  </a:lnTo>
                  <a:lnTo>
                    <a:pt x="570" y="432"/>
                  </a:lnTo>
                  <a:lnTo>
                    <a:pt x="570" y="430"/>
                  </a:lnTo>
                  <a:lnTo>
                    <a:pt x="570" y="430"/>
                  </a:lnTo>
                  <a:lnTo>
                    <a:pt x="570" y="428"/>
                  </a:lnTo>
                  <a:lnTo>
                    <a:pt x="570" y="428"/>
                  </a:lnTo>
                  <a:lnTo>
                    <a:pt x="572" y="430"/>
                  </a:lnTo>
                  <a:lnTo>
                    <a:pt x="572" y="432"/>
                  </a:lnTo>
                  <a:lnTo>
                    <a:pt x="574" y="432"/>
                  </a:lnTo>
                  <a:lnTo>
                    <a:pt x="574" y="430"/>
                  </a:lnTo>
                  <a:lnTo>
                    <a:pt x="574" y="428"/>
                  </a:lnTo>
                  <a:lnTo>
                    <a:pt x="572" y="424"/>
                  </a:lnTo>
                  <a:lnTo>
                    <a:pt x="570" y="420"/>
                  </a:lnTo>
                  <a:lnTo>
                    <a:pt x="570" y="420"/>
                  </a:lnTo>
                  <a:lnTo>
                    <a:pt x="568" y="420"/>
                  </a:lnTo>
                  <a:lnTo>
                    <a:pt x="566" y="416"/>
                  </a:lnTo>
                  <a:lnTo>
                    <a:pt x="566" y="416"/>
                  </a:lnTo>
                  <a:lnTo>
                    <a:pt x="564" y="416"/>
                  </a:lnTo>
                  <a:lnTo>
                    <a:pt x="564" y="416"/>
                  </a:lnTo>
                  <a:lnTo>
                    <a:pt x="559" y="411"/>
                  </a:lnTo>
                  <a:lnTo>
                    <a:pt x="559" y="411"/>
                  </a:lnTo>
                  <a:lnTo>
                    <a:pt x="557" y="409"/>
                  </a:lnTo>
                  <a:lnTo>
                    <a:pt x="559" y="409"/>
                  </a:lnTo>
                  <a:lnTo>
                    <a:pt x="561" y="411"/>
                  </a:lnTo>
                  <a:lnTo>
                    <a:pt x="564" y="414"/>
                  </a:lnTo>
                  <a:lnTo>
                    <a:pt x="566" y="414"/>
                  </a:lnTo>
                  <a:lnTo>
                    <a:pt x="568" y="414"/>
                  </a:lnTo>
                  <a:lnTo>
                    <a:pt x="568" y="414"/>
                  </a:lnTo>
                  <a:lnTo>
                    <a:pt x="568" y="416"/>
                  </a:lnTo>
                  <a:lnTo>
                    <a:pt x="570" y="416"/>
                  </a:lnTo>
                  <a:lnTo>
                    <a:pt x="572" y="418"/>
                  </a:lnTo>
                  <a:lnTo>
                    <a:pt x="572" y="418"/>
                  </a:lnTo>
                  <a:lnTo>
                    <a:pt x="572" y="416"/>
                  </a:lnTo>
                  <a:lnTo>
                    <a:pt x="574" y="416"/>
                  </a:lnTo>
                  <a:lnTo>
                    <a:pt x="574" y="416"/>
                  </a:lnTo>
                  <a:lnTo>
                    <a:pt x="574" y="414"/>
                  </a:lnTo>
                  <a:lnTo>
                    <a:pt x="576" y="414"/>
                  </a:lnTo>
                  <a:lnTo>
                    <a:pt x="578" y="414"/>
                  </a:lnTo>
                  <a:lnTo>
                    <a:pt x="580" y="411"/>
                  </a:lnTo>
                  <a:lnTo>
                    <a:pt x="584" y="409"/>
                  </a:lnTo>
                  <a:lnTo>
                    <a:pt x="586" y="407"/>
                  </a:lnTo>
                  <a:lnTo>
                    <a:pt x="586" y="407"/>
                  </a:lnTo>
                  <a:lnTo>
                    <a:pt x="586" y="411"/>
                  </a:lnTo>
                  <a:lnTo>
                    <a:pt x="586" y="411"/>
                  </a:lnTo>
                  <a:lnTo>
                    <a:pt x="584" y="411"/>
                  </a:lnTo>
                  <a:lnTo>
                    <a:pt x="582" y="414"/>
                  </a:lnTo>
                  <a:lnTo>
                    <a:pt x="578" y="416"/>
                  </a:lnTo>
                  <a:lnTo>
                    <a:pt x="576" y="418"/>
                  </a:lnTo>
                  <a:lnTo>
                    <a:pt x="578" y="420"/>
                  </a:lnTo>
                  <a:lnTo>
                    <a:pt x="580" y="422"/>
                  </a:lnTo>
                  <a:lnTo>
                    <a:pt x="580" y="422"/>
                  </a:lnTo>
                  <a:lnTo>
                    <a:pt x="582" y="422"/>
                  </a:lnTo>
                  <a:lnTo>
                    <a:pt x="582" y="426"/>
                  </a:lnTo>
                  <a:lnTo>
                    <a:pt x="582" y="428"/>
                  </a:lnTo>
                  <a:lnTo>
                    <a:pt x="582" y="440"/>
                  </a:lnTo>
                  <a:lnTo>
                    <a:pt x="582" y="442"/>
                  </a:lnTo>
                  <a:lnTo>
                    <a:pt x="582" y="444"/>
                  </a:lnTo>
                  <a:lnTo>
                    <a:pt x="586" y="448"/>
                  </a:lnTo>
                  <a:lnTo>
                    <a:pt x="586" y="448"/>
                  </a:lnTo>
                  <a:lnTo>
                    <a:pt x="586" y="452"/>
                  </a:lnTo>
                  <a:lnTo>
                    <a:pt x="586" y="452"/>
                  </a:lnTo>
                  <a:lnTo>
                    <a:pt x="586" y="455"/>
                  </a:lnTo>
                  <a:lnTo>
                    <a:pt x="588" y="457"/>
                  </a:lnTo>
                  <a:lnTo>
                    <a:pt x="588" y="459"/>
                  </a:lnTo>
                  <a:lnTo>
                    <a:pt x="590" y="459"/>
                  </a:lnTo>
                  <a:lnTo>
                    <a:pt x="592" y="457"/>
                  </a:lnTo>
                  <a:lnTo>
                    <a:pt x="592" y="455"/>
                  </a:lnTo>
                  <a:lnTo>
                    <a:pt x="594" y="457"/>
                  </a:lnTo>
                  <a:lnTo>
                    <a:pt x="594" y="457"/>
                  </a:lnTo>
                  <a:lnTo>
                    <a:pt x="596" y="455"/>
                  </a:lnTo>
                  <a:lnTo>
                    <a:pt x="596" y="455"/>
                  </a:lnTo>
                  <a:lnTo>
                    <a:pt x="596" y="455"/>
                  </a:lnTo>
                  <a:lnTo>
                    <a:pt x="598" y="446"/>
                  </a:lnTo>
                  <a:lnTo>
                    <a:pt x="600" y="444"/>
                  </a:lnTo>
                  <a:lnTo>
                    <a:pt x="602" y="440"/>
                  </a:lnTo>
                  <a:lnTo>
                    <a:pt x="604" y="438"/>
                  </a:lnTo>
                  <a:lnTo>
                    <a:pt x="604" y="436"/>
                  </a:lnTo>
                  <a:lnTo>
                    <a:pt x="607" y="436"/>
                  </a:lnTo>
                  <a:lnTo>
                    <a:pt x="609" y="434"/>
                  </a:lnTo>
                  <a:lnTo>
                    <a:pt x="611" y="434"/>
                  </a:lnTo>
                  <a:lnTo>
                    <a:pt x="611" y="436"/>
                  </a:lnTo>
                  <a:lnTo>
                    <a:pt x="611" y="436"/>
                  </a:lnTo>
                  <a:lnTo>
                    <a:pt x="609" y="438"/>
                  </a:lnTo>
                  <a:lnTo>
                    <a:pt x="609" y="438"/>
                  </a:lnTo>
                  <a:lnTo>
                    <a:pt x="607" y="438"/>
                  </a:lnTo>
                  <a:lnTo>
                    <a:pt x="607" y="438"/>
                  </a:lnTo>
                  <a:lnTo>
                    <a:pt x="607" y="440"/>
                  </a:lnTo>
                  <a:lnTo>
                    <a:pt x="604" y="440"/>
                  </a:lnTo>
                  <a:lnTo>
                    <a:pt x="602" y="444"/>
                  </a:lnTo>
                  <a:lnTo>
                    <a:pt x="600" y="446"/>
                  </a:lnTo>
                  <a:lnTo>
                    <a:pt x="602" y="448"/>
                  </a:lnTo>
                  <a:lnTo>
                    <a:pt x="600" y="452"/>
                  </a:lnTo>
                  <a:lnTo>
                    <a:pt x="598" y="455"/>
                  </a:lnTo>
                  <a:lnTo>
                    <a:pt x="596" y="459"/>
                  </a:lnTo>
                  <a:lnTo>
                    <a:pt x="596" y="459"/>
                  </a:lnTo>
                  <a:lnTo>
                    <a:pt x="596" y="459"/>
                  </a:lnTo>
                  <a:lnTo>
                    <a:pt x="594" y="459"/>
                  </a:lnTo>
                  <a:lnTo>
                    <a:pt x="594" y="459"/>
                  </a:lnTo>
                  <a:lnTo>
                    <a:pt x="592" y="459"/>
                  </a:lnTo>
                  <a:lnTo>
                    <a:pt x="592" y="459"/>
                  </a:lnTo>
                  <a:lnTo>
                    <a:pt x="592" y="459"/>
                  </a:lnTo>
                  <a:lnTo>
                    <a:pt x="592" y="461"/>
                  </a:lnTo>
                  <a:lnTo>
                    <a:pt x="592" y="463"/>
                  </a:lnTo>
                  <a:lnTo>
                    <a:pt x="592" y="463"/>
                  </a:lnTo>
                  <a:lnTo>
                    <a:pt x="594" y="463"/>
                  </a:lnTo>
                  <a:lnTo>
                    <a:pt x="594" y="463"/>
                  </a:lnTo>
                  <a:lnTo>
                    <a:pt x="594" y="463"/>
                  </a:lnTo>
                  <a:lnTo>
                    <a:pt x="596" y="463"/>
                  </a:lnTo>
                  <a:lnTo>
                    <a:pt x="600" y="465"/>
                  </a:lnTo>
                  <a:lnTo>
                    <a:pt x="602" y="463"/>
                  </a:lnTo>
                  <a:lnTo>
                    <a:pt x="604" y="463"/>
                  </a:lnTo>
                  <a:lnTo>
                    <a:pt x="604" y="465"/>
                  </a:lnTo>
                  <a:lnTo>
                    <a:pt x="604" y="465"/>
                  </a:lnTo>
                  <a:lnTo>
                    <a:pt x="604" y="465"/>
                  </a:lnTo>
                  <a:lnTo>
                    <a:pt x="607" y="463"/>
                  </a:lnTo>
                  <a:lnTo>
                    <a:pt x="604" y="461"/>
                  </a:lnTo>
                  <a:lnTo>
                    <a:pt x="604" y="459"/>
                  </a:lnTo>
                  <a:lnTo>
                    <a:pt x="604" y="461"/>
                  </a:lnTo>
                  <a:lnTo>
                    <a:pt x="609" y="463"/>
                  </a:lnTo>
                  <a:lnTo>
                    <a:pt x="609" y="465"/>
                  </a:lnTo>
                  <a:lnTo>
                    <a:pt x="611" y="467"/>
                  </a:lnTo>
                  <a:lnTo>
                    <a:pt x="611" y="473"/>
                  </a:lnTo>
                  <a:lnTo>
                    <a:pt x="611" y="473"/>
                  </a:lnTo>
                  <a:lnTo>
                    <a:pt x="611" y="473"/>
                  </a:lnTo>
                  <a:lnTo>
                    <a:pt x="609" y="473"/>
                  </a:lnTo>
                  <a:lnTo>
                    <a:pt x="611" y="475"/>
                  </a:lnTo>
                  <a:lnTo>
                    <a:pt x="615" y="479"/>
                  </a:lnTo>
                  <a:lnTo>
                    <a:pt x="615" y="479"/>
                  </a:lnTo>
                  <a:lnTo>
                    <a:pt x="615" y="481"/>
                  </a:lnTo>
                  <a:lnTo>
                    <a:pt x="615" y="483"/>
                  </a:lnTo>
                  <a:lnTo>
                    <a:pt x="617" y="491"/>
                  </a:lnTo>
                  <a:lnTo>
                    <a:pt x="619" y="500"/>
                  </a:lnTo>
                  <a:lnTo>
                    <a:pt x="621" y="500"/>
                  </a:lnTo>
                  <a:lnTo>
                    <a:pt x="619" y="498"/>
                  </a:lnTo>
                  <a:lnTo>
                    <a:pt x="619" y="498"/>
                  </a:lnTo>
                  <a:lnTo>
                    <a:pt x="619" y="495"/>
                  </a:lnTo>
                  <a:lnTo>
                    <a:pt x="621" y="495"/>
                  </a:lnTo>
                  <a:lnTo>
                    <a:pt x="623" y="502"/>
                  </a:lnTo>
                  <a:lnTo>
                    <a:pt x="625" y="506"/>
                  </a:lnTo>
                  <a:lnTo>
                    <a:pt x="627" y="506"/>
                  </a:lnTo>
                  <a:lnTo>
                    <a:pt x="627" y="508"/>
                  </a:lnTo>
                  <a:lnTo>
                    <a:pt x="627" y="510"/>
                  </a:lnTo>
                  <a:lnTo>
                    <a:pt x="629" y="510"/>
                  </a:lnTo>
                  <a:lnTo>
                    <a:pt x="629" y="510"/>
                  </a:lnTo>
                  <a:lnTo>
                    <a:pt x="631" y="510"/>
                  </a:lnTo>
                  <a:lnTo>
                    <a:pt x="633" y="510"/>
                  </a:lnTo>
                  <a:lnTo>
                    <a:pt x="635" y="510"/>
                  </a:lnTo>
                  <a:lnTo>
                    <a:pt x="635" y="512"/>
                  </a:lnTo>
                  <a:lnTo>
                    <a:pt x="633" y="512"/>
                  </a:lnTo>
                  <a:lnTo>
                    <a:pt x="633" y="514"/>
                  </a:lnTo>
                  <a:lnTo>
                    <a:pt x="633" y="514"/>
                  </a:lnTo>
                  <a:lnTo>
                    <a:pt x="631" y="514"/>
                  </a:lnTo>
                  <a:lnTo>
                    <a:pt x="629" y="514"/>
                  </a:lnTo>
                  <a:lnTo>
                    <a:pt x="629" y="512"/>
                  </a:lnTo>
                  <a:lnTo>
                    <a:pt x="627" y="514"/>
                  </a:lnTo>
                  <a:lnTo>
                    <a:pt x="629" y="516"/>
                  </a:lnTo>
                  <a:lnTo>
                    <a:pt x="629" y="518"/>
                  </a:lnTo>
                  <a:lnTo>
                    <a:pt x="631" y="518"/>
                  </a:lnTo>
                  <a:lnTo>
                    <a:pt x="631" y="518"/>
                  </a:lnTo>
                  <a:lnTo>
                    <a:pt x="631" y="518"/>
                  </a:lnTo>
                  <a:lnTo>
                    <a:pt x="631" y="518"/>
                  </a:lnTo>
                  <a:lnTo>
                    <a:pt x="631" y="518"/>
                  </a:lnTo>
                  <a:lnTo>
                    <a:pt x="631" y="518"/>
                  </a:lnTo>
                  <a:lnTo>
                    <a:pt x="633" y="516"/>
                  </a:lnTo>
                  <a:lnTo>
                    <a:pt x="633" y="516"/>
                  </a:lnTo>
                  <a:lnTo>
                    <a:pt x="633" y="516"/>
                  </a:lnTo>
                  <a:lnTo>
                    <a:pt x="633" y="516"/>
                  </a:lnTo>
                  <a:lnTo>
                    <a:pt x="635" y="516"/>
                  </a:lnTo>
                  <a:lnTo>
                    <a:pt x="635" y="516"/>
                  </a:lnTo>
                  <a:lnTo>
                    <a:pt x="637" y="516"/>
                  </a:lnTo>
                  <a:lnTo>
                    <a:pt x="637" y="516"/>
                  </a:lnTo>
                  <a:lnTo>
                    <a:pt x="637" y="514"/>
                  </a:lnTo>
                  <a:lnTo>
                    <a:pt x="639" y="512"/>
                  </a:lnTo>
                  <a:lnTo>
                    <a:pt x="639" y="514"/>
                  </a:lnTo>
                  <a:lnTo>
                    <a:pt x="641" y="514"/>
                  </a:lnTo>
                  <a:lnTo>
                    <a:pt x="641" y="514"/>
                  </a:lnTo>
                  <a:lnTo>
                    <a:pt x="643" y="514"/>
                  </a:lnTo>
                  <a:lnTo>
                    <a:pt x="643" y="516"/>
                  </a:lnTo>
                  <a:lnTo>
                    <a:pt x="643" y="516"/>
                  </a:lnTo>
                  <a:lnTo>
                    <a:pt x="643" y="516"/>
                  </a:lnTo>
                  <a:lnTo>
                    <a:pt x="643" y="516"/>
                  </a:lnTo>
                  <a:lnTo>
                    <a:pt x="643" y="516"/>
                  </a:lnTo>
                  <a:lnTo>
                    <a:pt x="645" y="516"/>
                  </a:lnTo>
                  <a:lnTo>
                    <a:pt x="645" y="514"/>
                  </a:lnTo>
                  <a:lnTo>
                    <a:pt x="645" y="514"/>
                  </a:lnTo>
                  <a:lnTo>
                    <a:pt x="647" y="516"/>
                  </a:lnTo>
                  <a:lnTo>
                    <a:pt x="650" y="516"/>
                  </a:lnTo>
                  <a:lnTo>
                    <a:pt x="652" y="516"/>
                  </a:lnTo>
                  <a:lnTo>
                    <a:pt x="652" y="518"/>
                  </a:lnTo>
                  <a:lnTo>
                    <a:pt x="654" y="516"/>
                  </a:lnTo>
                  <a:lnTo>
                    <a:pt x="654" y="516"/>
                  </a:lnTo>
                  <a:lnTo>
                    <a:pt x="656" y="518"/>
                  </a:lnTo>
                  <a:lnTo>
                    <a:pt x="658" y="518"/>
                  </a:lnTo>
                  <a:lnTo>
                    <a:pt x="658" y="518"/>
                  </a:lnTo>
                  <a:lnTo>
                    <a:pt x="662" y="518"/>
                  </a:lnTo>
                  <a:lnTo>
                    <a:pt x="662" y="520"/>
                  </a:lnTo>
                  <a:lnTo>
                    <a:pt x="666" y="520"/>
                  </a:lnTo>
                  <a:lnTo>
                    <a:pt x="668" y="522"/>
                  </a:lnTo>
                  <a:lnTo>
                    <a:pt x="670" y="524"/>
                  </a:lnTo>
                  <a:lnTo>
                    <a:pt x="670" y="526"/>
                  </a:lnTo>
                  <a:lnTo>
                    <a:pt x="668" y="528"/>
                  </a:lnTo>
                  <a:lnTo>
                    <a:pt x="668" y="528"/>
                  </a:lnTo>
                  <a:lnTo>
                    <a:pt x="670" y="530"/>
                  </a:lnTo>
                  <a:lnTo>
                    <a:pt x="670" y="530"/>
                  </a:lnTo>
                  <a:lnTo>
                    <a:pt x="672" y="532"/>
                  </a:lnTo>
                  <a:lnTo>
                    <a:pt x="672" y="532"/>
                  </a:lnTo>
                  <a:lnTo>
                    <a:pt x="674" y="532"/>
                  </a:lnTo>
                  <a:lnTo>
                    <a:pt x="676" y="532"/>
                  </a:lnTo>
                  <a:lnTo>
                    <a:pt x="676" y="534"/>
                  </a:lnTo>
                  <a:lnTo>
                    <a:pt x="678" y="536"/>
                  </a:lnTo>
                  <a:lnTo>
                    <a:pt x="678" y="536"/>
                  </a:lnTo>
                  <a:lnTo>
                    <a:pt x="678" y="539"/>
                  </a:lnTo>
                  <a:lnTo>
                    <a:pt x="680" y="541"/>
                  </a:lnTo>
                  <a:lnTo>
                    <a:pt x="682" y="547"/>
                  </a:lnTo>
                  <a:lnTo>
                    <a:pt x="684" y="547"/>
                  </a:lnTo>
                  <a:lnTo>
                    <a:pt x="684" y="547"/>
                  </a:lnTo>
                  <a:lnTo>
                    <a:pt x="686" y="547"/>
                  </a:lnTo>
                  <a:lnTo>
                    <a:pt x="688" y="547"/>
                  </a:lnTo>
                  <a:lnTo>
                    <a:pt x="688" y="547"/>
                  </a:lnTo>
                  <a:lnTo>
                    <a:pt x="688" y="549"/>
                  </a:lnTo>
                  <a:lnTo>
                    <a:pt x="688" y="549"/>
                  </a:lnTo>
                  <a:lnTo>
                    <a:pt x="686" y="551"/>
                  </a:lnTo>
                  <a:lnTo>
                    <a:pt x="686" y="553"/>
                  </a:lnTo>
                  <a:lnTo>
                    <a:pt x="690" y="555"/>
                  </a:lnTo>
                  <a:lnTo>
                    <a:pt x="693" y="559"/>
                  </a:lnTo>
                  <a:lnTo>
                    <a:pt x="693" y="561"/>
                  </a:lnTo>
                  <a:lnTo>
                    <a:pt x="695" y="563"/>
                  </a:lnTo>
                  <a:lnTo>
                    <a:pt x="695" y="563"/>
                  </a:lnTo>
                  <a:lnTo>
                    <a:pt x="695" y="565"/>
                  </a:lnTo>
                  <a:lnTo>
                    <a:pt x="701" y="567"/>
                  </a:lnTo>
                  <a:lnTo>
                    <a:pt x="705" y="567"/>
                  </a:lnTo>
                  <a:lnTo>
                    <a:pt x="705" y="567"/>
                  </a:lnTo>
                  <a:lnTo>
                    <a:pt x="707" y="567"/>
                  </a:lnTo>
                  <a:lnTo>
                    <a:pt x="711" y="567"/>
                  </a:lnTo>
                  <a:lnTo>
                    <a:pt x="713" y="569"/>
                  </a:lnTo>
                  <a:lnTo>
                    <a:pt x="719" y="573"/>
                  </a:lnTo>
                  <a:lnTo>
                    <a:pt x="719" y="575"/>
                  </a:lnTo>
                  <a:lnTo>
                    <a:pt x="719" y="577"/>
                  </a:lnTo>
                  <a:lnTo>
                    <a:pt x="717" y="580"/>
                  </a:lnTo>
                  <a:lnTo>
                    <a:pt x="715" y="580"/>
                  </a:lnTo>
                  <a:lnTo>
                    <a:pt x="713" y="582"/>
                  </a:lnTo>
                  <a:lnTo>
                    <a:pt x="711" y="580"/>
                  </a:lnTo>
                  <a:lnTo>
                    <a:pt x="711" y="580"/>
                  </a:lnTo>
                  <a:lnTo>
                    <a:pt x="713" y="580"/>
                  </a:lnTo>
                  <a:lnTo>
                    <a:pt x="713" y="580"/>
                  </a:lnTo>
                  <a:lnTo>
                    <a:pt x="713" y="580"/>
                  </a:lnTo>
                  <a:lnTo>
                    <a:pt x="713" y="577"/>
                  </a:lnTo>
                  <a:lnTo>
                    <a:pt x="705" y="575"/>
                  </a:lnTo>
                  <a:lnTo>
                    <a:pt x="705" y="575"/>
                  </a:lnTo>
                  <a:lnTo>
                    <a:pt x="703" y="575"/>
                  </a:lnTo>
                  <a:lnTo>
                    <a:pt x="701" y="571"/>
                  </a:lnTo>
                  <a:lnTo>
                    <a:pt x="701" y="571"/>
                  </a:lnTo>
                  <a:lnTo>
                    <a:pt x="699" y="571"/>
                  </a:lnTo>
                  <a:lnTo>
                    <a:pt x="699" y="569"/>
                  </a:lnTo>
                  <a:lnTo>
                    <a:pt x="697" y="569"/>
                  </a:lnTo>
                  <a:lnTo>
                    <a:pt x="697" y="569"/>
                  </a:lnTo>
                  <a:lnTo>
                    <a:pt x="697" y="569"/>
                  </a:lnTo>
                  <a:lnTo>
                    <a:pt x="695" y="573"/>
                  </a:lnTo>
                  <a:lnTo>
                    <a:pt x="695" y="577"/>
                  </a:lnTo>
                  <a:lnTo>
                    <a:pt x="695" y="582"/>
                  </a:lnTo>
                  <a:lnTo>
                    <a:pt x="697" y="586"/>
                  </a:lnTo>
                  <a:lnTo>
                    <a:pt x="699" y="588"/>
                  </a:lnTo>
                  <a:lnTo>
                    <a:pt x="705" y="592"/>
                  </a:lnTo>
                  <a:lnTo>
                    <a:pt x="705" y="592"/>
                  </a:lnTo>
                  <a:lnTo>
                    <a:pt x="711" y="590"/>
                  </a:lnTo>
                  <a:lnTo>
                    <a:pt x="713" y="588"/>
                  </a:lnTo>
                  <a:lnTo>
                    <a:pt x="717" y="588"/>
                  </a:lnTo>
                  <a:lnTo>
                    <a:pt x="721" y="586"/>
                  </a:lnTo>
                  <a:lnTo>
                    <a:pt x="723" y="586"/>
                  </a:lnTo>
                  <a:lnTo>
                    <a:pt x="723" y="584"/>
                  </a:lnTo>
                  <a:lnTo>
                    <a:pt x="725" y="584"/>
                  </a:lnTo>
                  <a:lnTo>
                    <a:pt x="727" y="582"/>
                  </a:lnTo>
                  <a:lnTo>
                    <a:pt x="729" y="582"/>
                  </a:lnTo>
                  <a:lnTo>
                    <a:pt x="731" y="582"/>
                  </a:lnTo>
                  <a:lnTo>
                    <a:pt x="731" y="584"/>
                  </a:lnTo>
                  <a:lnTo>
                    <a:pt x="731" y="584"/>
                  </a:lnTo>
                  <a:lnTo>
                    <a:pt x="731" y="584"/>
                  </a:lnTo>
                  <a:lnTo>
                    <a:pt x="734" y="584"/>
                  </a:lnTo>
                  <a:lnTo>
                    <a:pt x="734" y="584"/>
                  </a:lnTo>
                  <a:lnTo>
                    <a:pt x="734" y="582"/>
                  </a:lnTo>
                  <a:lnTo>
                    <a:pt x="734" y="584"/>
                  </a:lnTo>
                  <a:lnTo>
                    <a:pt x="734" y="584"/>
                  </a:lnTo>
                  <a:lnTo>
                    <a:pt x="736" y="584"/>
                  </a:lnTo>
                  <a:lnTo>
                    <a:pt x="736" y="584"/>
                  </a:lnTo>
                  <a:lnTo>
                    <a:pt x="736" y="584"/>
                  </a:lnTo>
                  <a:lnTo>
                    <a:pt x="736" y="584"/>
                  </a:lnTo>
                  <a:lnTo>
                    <a:pt x="736" y="582"/>
                  </a:lnTo>
                  <a:lnTo>
                    <a:pt x="736" y="582"/>
                  </a:lnTo>
                  <a:lnTo>
                    <a:pt x="738" y="584"/>
                  </a:lnTo>
                  <a:lnTo>
                    <a:pt x="740" y="584"/>
                  </a:lnTo>
                  <a:lnTo>
                    <a:pt x="740" y="584"/>
                  </a:lnTo>
                  <a:lnTo>
                    <a:pt x="742" y="582"/>
                  </a:lnTo>
                  <a:lnTo>
                    <a:pt x="744" y="580"/>
                  </a:lnTo>
                  <a:lnTo>
                    <a:pt x="744" y="580"/>
                  </a:lnTo>
                  <a:lnTo>
                    <a:pt x="746" y="580"/>
                  </a:lnTo>
                  <a:lnTo>
                    <a:pt x="746" y="580"/>
                  </a:lnTo>
                  <a:lnTo>
                    <a:pt x="748" y="580"/>
                  </a:lnTo>
                  <a:lnTo>
                    <a:pt x="746" y="580"/>
                  </a:lnTo>
                  <a:lnTo>
                    <a:pt x="746" y="577"/>
                  </a:lnTo>
                  <a:lnTo>
                    <a:pt x="746" y="577"/>
                  </a:lnTo>
                  <a:lnTo>
                    <a:pt x="746" y="577"/>
                  </a:lnTo>
                  <a:lnTo>
                    <a:pt x="750" y="575"/>
                  </a:lnTo>
                  <a:lnTo>
                    <a:pt x="750" y="575"/>
                  </a:lnTo>
                  <a:lnTo>
                    <a:pt x="750" y="575"/>
                  </a:lnTo>
                  <a:lnTo>
                    <a:pt x="750" y="575"/>
                  </a:lnTo>
                  <a:lnTo>
                    <a:pt x="750" y="575"/>
                  </a:lnTo>
                  <a:lnTo>
                    <a:pt x="750" y="575"/>
                  </a:lnTo>
                  <a:lnTo>
                    <a:pt x="752" y="575"/>
                  </a:lnTo>
                  <a:lnTo>
                    <a:pt x="752" y="571"/>
                  </a:lnTo>
                  <a:lnTo>
                    <a:pt x="752" y="569"/>
                  </a:lnTo>
                  <a:lnTo>
                    <a:pt x="754" y="569"/>
                  </a:lnTo>
                  <a:lnTo>
                    <a:pt x="758" y="569"/>
                  </a:lnTo>
                  <a:lnTo>
                    <a:pt x="758" y="567"/>
                  </a:lnTo>
                  <a:lnTo>
                    <a:pt x="760" y="569"/>
                  </a:lnTo>
                  <a:lnTo>
                    <a:pt x="760" y="569"/>
                  </a:lnTo>
                  <a:lnTo>
                    <a:pt x="760" y="569"/>
                  </a:lnTo>
                  <a:lnTo>
                    <a:pt x="758" y="569"/>
                  </a:lnTo>
                  <a:lnTo>
                    <a:pt x="758" y="569"/>
                  </a:lnTo>
                  <a:lnTo>
                    <a:pt x="758" y="571"/>
                  </a:lnTo>
                  <a:lnTo>
                    <a:pt x="758" y="571"/>
                  </a:lnTo>
                  <a:lnTo>
                    <a:pt x="758" y="571"/>
                  </a:lnTo>
                  <a:lnTo>
                    <a:pt x="760" y="571"/>
                  </a:lnTo>
                  <a:lnTo>
                    <a:pt x="760" y="573"/>
                  </a:lnTo>
                  <a:lnTo>
                    <a:pt x="760" y="573"/>
                  </a:lnTo>
                  <a:lnTo>
                    <a:pt x="762" y="571"/>
                  </a:lnTo>
                  <a:lnTo>
                    <a:pt x="764" y="571"/>
                  </a:lnTo>
                  <a:lnTo>
                    <a:pt x="766" y="573"/>
                  </a:lnTo>
                  <a:lnTo>
                    <a:pt x="766" y="575"/>
                  </a:lnTo>
                  <a:lnTo>
                    <a:pt x="766" y="575"/>
                  </a:lnTo>
                  <a:lnTo>
                    <a:pt x="766" y="573"/>
                  </a:lnTo>
                  <a:lnTo>
                    <a:pt x="764" y="571"/>
                  </a:lnTo>
                  <a:lnTo>
                    <a:pt x="762" y="571"/>
                  </a:lnTo>
                  <a:lnTo>
                    <a:pt x="760" y="571"/>
                  </a:lnTo>
                  <a:lnTo>
                    <a:pt x="762" y="569"/>
                  </a:lnTo>
                  <a:lnTo>
                    <a:pt x="764" y="567"/>
                  </a:lnTo>
                  <a:lnTo>
                    <a:pt x="764" y="567"/>
                  </a:lnTo>
                  <a:lnTo>
                    <a:pt x="764" y="569"/>
                  </a:lnTo>
                  <a:lnTo>
                    <a:pt x="766" y="569"/>
                  </a:lnTo>
                  <a:lnTo>
                    <a:pt x="768" y="571"/>
                  </a:lnTo>
                  <a:lnTo>
                    <a:pt x="770" y="573"/>
                  </a:lnTo>
                  <a:lnTo>
                    <a:pt x="770" y="571"/>
                  </a:lnTo>
                  <a:lnTo>
                    <a:pt x="768" y="571"/>
                  </a:lnTo>
                  <a:lnTo>
                    <a:pt x="768" y="569"/>
                  </a:lnTo>
                  <a:lnTo>
                    <a:pt x="768" y="567"/>
                  </a:lnTo>
                  <a:lnTo>
                    <a:pt x="768" y="567"/>
                  </a:lnTo>
                  <a:lnTo>
                    <a:pt x="768" y="563"/>
                  </a:lnTo>
                  <a:lnTo>
                    <a:pt x="768" y="563"/>
                  </a:lnTo>
                  <a:lnTo>
                    <a:pt x="768" y="563"/>
                  </a:lnTo>
                  <a:lnTo>
                    <a:pt x="768" y="561"/>
                  </a:lnTo>
                  <a:lnTo>
                    <a:pt x="772" y="555"/>
                  </a:lnTo>
                  <a:lnTo>
                    <a:pt x="777" y="553"/>
                  </a:lnTo>
                  <a:lnTo>
                    <a:pt x="777" y="551"/>
                  </a:lnTo>
                  <a:lnTo>
                    <a:pt x="774" y="551"/>
                  </a:lnTo>
                  <a:lnTo>
                    <a:pt x="772" y="549"/>
                  </a:lnTo>
                  <a:lnTo>
                    <a:pt x="772" y="549"/>
                  </a:lnTo>
                  <a:lnTo>
                    <a:pt x="772" y="547"/>
                  </a:lnTo>
                  <a:lnTo>
                    <a:pt x="772" y="545"/>
                  </a:lnTo>
                  <a:lnTo>
                    <a:pt x="772" y="545"/>
                  </a:lnTo>
                  <a:lnTo>
                    <a:pt x="772" y="545"/>
                  </a:lnTo>
                  <a:lnTo>
                    <a:pt x="772" y="543"/>
                  </a:lnTo>
                  <a:lnTo>
                    <a:pt x="770" y="541"/>
                  </a:lnTo>
                  <a:lnTo>
                    <a:pt x="770" y="539"/>
                  </a:lnTo>
                  <a:lnTo>
                    <a:pt x="770" y="536"/>
                  </a:lnTo>
                  <a:lnTo>
                    <a:pt x="772" y="534"/>
                  </a:lnTo>
                  <a:lnTo>
                    <a:pt x="772" y="532"/>
                  </a:lnTo>
                  <a:lnTo>
                    <a:pt x="772" y="528"/>
                  </a:lnTo>
                  <a:lnTo>
                    <a:pt x="772" y="526"/>
                  </a:lnTo>
                  <a:lnTo>
                    <a:pt x="774" y="522"/>
                  </a:lnTo>
                  <a:lnTo>
                    <a:pt x="774" y="518"/>
                  </a:lnTo>
                  <a:lnTo>
                    <a:pt x="774" y="514"/>
                  </a:lnTo>
                  <a:lnTo>
                    <a:pt x="774" y="514"/>
                  </a:lnTo>
                  <a:lnTo>
                    <a:pt x="777" y="512"/>
                  </a:lnTo>
                  <a:lnTo>
                    <a:pt x="777" y="512"/>
                  </a:lnTo>
                  <a:lnTo>
                    <a:pt x="779" y="512"/>
                  </a:lnTo>
                  <a:lnTo>
                    <a:pt x="779" y="512"/>
                  </a:lnTo>
                  <a:lnTo>
                    <a:pt x="781" y="510"/>
                  </a:lnTo>
                  <a:lnTo>
                    <a:pt x="779" y="506"/>
                  </a:lnTo>
                  <a:lnTo>
                    <a:pt x="781" y="502"/>
                  </a:lnTo>
                  <a:lnTo>
                    <a:pt x="781" y="498"/>
                  </a:lnTo>
                  <a:lnTo>
                    <a:pt x="783" y="493"/>
                  </a:lnTo>
                  <a:lnTo>
                    <a:pt x="783" y="493"/>
                  </a:lnTo>
                  <a:lnTo>
                    <a:pt x="783" y="493"/>
                  </a:lnTo>
                  <a:lnTo>
                    <a:pt x="785" y="498"/>
                  </a:lnTo>
                  <a:lnTo>
                    <a:pt x="785" y="502"/>
                  </a:lnTo>
                  <a:lnTo>
                    <a:pt x="785" y="506"/>
                  </a:lnTo>
                  <a:lnTo>
                    <a:pt x="787" y="506"/>
                  </a:lnTo>
                  <a:lnTo>
                    <a:pt x="783" y="475"/>
                  </a:lnTo>
                  <a:lnTo>
                    <a:pt x="781" y="473"/>
                  </a:lnTo>
                  <a:close/>
                  <a:moveTo>
                    <a:pt x="686" y="221"/>
                  </a:moveTo>
                  <a:lnTo>
                    <a:pt x="686" y="219"/>
                  </a:lnTo>
                  <a:lnTo>
                    <a:pt x="684" y="215"/>
                  </a:lnTo>
                  <a:lnTo>
                    <a:pt x="684" y="215"/>
                  </a:lnTo>
                  <a:lnTo>
                    <a:pt x="682" y="217"/>
                  </a:lnTo>
                  <a:lnTo>
                    <a:pt x="680" y="219"/>
                  </a:lnTo>
                  <a:lnTo>
                    <a:pt x="678" y="219"/>
                  </a:lnTo>
                  <a:lnTo>
                    <a:pt x="678" y="221"/>
                  </a:lnTo>
                  <a:lnTo>
                    <a:pt x="678" y="223"/>
                  </a:lnTo>
                  <a:lnTo>
                    <a:pt x="676" y="223"/>
                  </a:lnTo>
                  <a:lnTo>
                    <a:pt x="676" y="225"/>
                  </a:lnTo>
                  <a:lnTo>
                    <a:pt x="676" y="229"/>
                  </a:lnTo>
                  <a:lnTo>
                    <a:pt x="678" y="231"/>
                  </a:lnTo>
                  <a:lnTo>
                    <a:pt x="680" y="239"/>
                  </a:lnTo>
                  <a:lnTo>
                    <a:pt x="680" y="241"/>
                  </a:lnTo>
                  <a:lnTo>
                    <a:pt x="682" y="243"/>
                  </a:lnTo>
                  <a:lnTo>
                    <a:pt x="688" y="254"/>
                  </a:lnTo>
                  <a:lnTo>
                    <a:pt x="690" y="256"/>
                  </a:lnTo>
                  <a:lnTo>
                    <a:pt x="688" y="254"/>
                  </a:lnTo>
                  <a:lnTo>
                    <a:pt x="688" y="252"/>
                  </a:lnTo>
                  <a:lnTo>
                    <a:pt x="686" y="250"/>
                  </a:lnTo>
                  <a:lnTo>
                    <a:pt x="686" y="250"/>
                  </a:lnTo>
                  <a:lnTo>
                    <a:pt x="686" y="248"/>
                  </a:lnTo>
                  <a:lnTo>
                    <a:pt x="686" y="245"/>
                  </a:lnTo>
                  <a:lnTo>
                    <a:pt x="684" y="233"/>
                  </a:lnTo>
                  <a:lnTo>
                    <a:pt x="684" y="229"/>
                  </a:lnTo>
                  <a:lnTo>
                    <a:pt x="686" y="221"/>
                  </a:lnTo>
                  <a:close/>
                  <a:moveTo>
                    <a:pt x="690" y="258"/>
                  </a:moveTo>
                  <a:lnTo>
                    <a:pt x="693" y="258"/>
                  </a:lnTo>
                  <a:lnTo>
                    <a:pt x="693" y="260"/>
                  </a:lnTo>
                  <a:lnTo>
                    <a:pt x="693" y="260"/>
                  </a:lnTo>
                  <a:lnTo>
                    <a:pt x="693" y="260"/>
                  </a:lnTo>
                  <a:lnTo>
                    <a:pt x="693" y="260"/>
                  </a:lnTo>
                  <a:lnTo>
                    <a:pt x="693" y="258"/>
                  </a:lnTo>
                  <a:lnTo>
                    <a:pt x="690" y="256"/>
                  </a:lnTo>
                  <a:lnTo>
                    <a:pt x="690" y="256"/>
                  </a:lnTo>
                  <a:lnTo>
                    <a:pt x="690" y="256"/>
                  </a:lnTo>
                  <a:lnTo>
                    <a:pt x="690" y="258"/>
                  </a:lnTo>
                  <a:close/>
                  <a:moveTo>
                    <a:pt x="721" y="301"/>
                  </a:moveTo>
                  <a:lnTo>
                    <a:pt x="723" y="303"/>
                  </a:lnTo>
                  <a:lnTo>
                    <a:pt x="723" y="305"/>
                  </a:lnTo>
                  <a:lnTo>
                    <a:pt x="725" y="305"/>
                  </a:lnTo>
                  <a:lnTo>
                    <a:pt x="725" y="307"/>
                  </a:lnTo>
                  <a:lnTo>
                    <a:pt x="727" y="311"/>
                  </a:lnTo>
                  <a:lnTo>
                    <a:pt x="727" y="313"/>
                  </a:lnTo>
                  <a:lnTo>
                    <a:pt x="729" y="313"/>
                  </a:lnTo>
                  <a:lnTo>
                    <a:pt x="729" y="315"/>
                  </a:lnTo>
                  <a:lnTo>
                    <a:pt x="736" y="332"/>
                  </a:lnTo>
                  <a:lnTo>
                    <a:pt x="738" y="334"/>
                  </a:lnTo>
                  <a:lnTo>
                    <a:pt x="740" y="336"/>
                  </a:lnTo>
                  <a:lnTo>
                    <a:pt x="740" y="336"/>
                  </a:lnTo>
                  <a:lnTo>
                    <a:pt x="740" y="336"/>
                  </a:lnTo>
                  <a:lnTo>
                    <a:pt x="742" y="338"/>
                  </a:lnTo>
                  <a:lnTo>
                    <a:pt x="742" y="338"/>
                  </a:lnTo>
                  <a:lnTo>
                    <a:pt x="750" y="350"/>
                  </a:lnTo>
                  <a:lnTo>
                    <a:pt x="752" y="354"/>
                  </a:lnTo>
                  <a:lnTo>
                    <a:pt x="754" y="356"/>
                  </a:lnTo>
                  <a:lnTo>
                    <a:pt x="756" y="358"/>
                  </a:lnTo>
                  <a:lnTo>
                    <a:pt x="756" y="358"/>
                  </a:lnTo>
                  <a:lnTo>
                    <a:pt x="756" y="358"/>
                  </a:lnTo>
                  <a:lnTo>
                    <a:pt x="754" y="356"/>
                  </a:lnTo>
                  <a:lnTo>
                    <a:pt x="731" y="315"/>
                  </a:lnTo>
                  <a:lnTo>
                    <a:pt x="729" y="313"/>
                  </a:lnTo>
                  <a:lnTo>
                    <a:pt x="729" y="311"/>
                  </a:lnTo>
                  <a:lnTo>
                    <a:pt x="729" y="309"/>
                  </a:lnTo>
                  <a:lnTo>
                    <a:pt x="727" y="307"/>
                  </a:lnTo>
                  <a:lnTo>
                    <a:pt x="721" y="301"/>
                  </a:lnTo>
                  <a:lnTo>
                    <a:pt x="719" y="297"/>
                  </a:lnTo>
                  <a:lnTo>
                    <a:pt x="717" y="293"/>
                  </a:lnTo>
                  <a:lnTo>
                    <a:pt x="717" y="291"/>
                  </a:lnTo>
                  <a:lnTo>
                    <a:pt x="717" y="291"/>
                  </a:lnTo>
                  <a:lnTo>
                    <a:pt x="717" y="291"/>
                  </a:lnTo>
                  <a:lnTo>
                    <a:pt x="717" y="291"/>
                  </a:lnTo>
                  <a:lnTo>
                    <a:pt x="717" y="291"/>
                  </a:lnTo>
                  <a:lnTo>
                    <a:pt x="717" y="291"/>
                  </a:lnTo>
                  <a:lnTo>
                    <a:pt x="717" y="291"/>
                  </a:lnTo>
                  <a:lnTo>
                    <a:pt x="715" y="291"/>
                  </a:lnTo>
                  <a:lnTo>
                    <a:pt x="715" y="291"/>
                  </a:lnTo>
                  <a:lnTo>
                    <a:pt x="717" y="295"/>
                  </a:lnTo>
                  <a:lnTo>
                    <a:pt x="721" y="301"/>
                  </a:lnTo>
                  <a:close/>
                  <a:moveTo>
                    <a:pt x="787" y="705"/>
                  </a:moveTo>
                  <a:lnTo>
                    <a:pt x="789" y="705"/>
                  </a:lnTo>
                  <a:lnTo>
                    <a:pt x="789" y="705"/>
                  </a:lnTo>
                  <a:lnTo>
                    <a:pt x="789" y="705"/>
                  </a:lnTo>
                  <a:lnTo>
                    <a:pt x="787" y="705"/>
                  </a:lnTo>
                  <a:close/>
                  <a:moveTo>
                    <a:pt x="797" y="700"/>
                  </a:moveTo>
                  <a:lnTo>
                    <a:pt x="797" y="698"/>
                  </a:lnTo>
                  <a:lnTo>
                    <a:pt x="797" y="698"/>
                  </a:lnTo>
                  <a:lnTo>
                    <a:pt x="797" y="700"/>
                  </a:lnTo>
                  <a:close/>
                  <a:moveTo>
                    <a:pt x="799" y="698"/>
                  </a:moveTo>
                  <a:lnTo>
                    <a:pt x="799" y="698"/>
                  </a:lnTo>
                  <a:lnTo>
                    <a:pt x="799" y="698"/>
                  </a:lnTo>
                  <a:lnTo>
                    <a:pt x="799" y="698"/>
                  </a:lnTo>
                  <a:close/>
                  <a:moveTo>
                    <a:pt x="803" y="694"/>
                  </a:moveTo>
                  <a:lnTo>
                    <a:pt x="805" y="694"/>
                  </a:lnTo>
                  <a:lnTo>
                    <a:pt x="803" y="694"/>
                  </a:lnTo>
                  <a:lnTo>
                    <a:pt x="803" y="694"/>
                  </a:lnTo>
                  <a:close/>
                  <a:moveTo>
                    <a:pt x="807" y="694"/>
                  </a:moveTo>
                  <a:lnTo>
                    <a:pt x="807" y="694"/>
                  </a:lnTo>
                  <a:lnTo>
                    <a:pt x="807" y="694"/>
                  </a:lnTo>
                  <a:lnTo>
                    <a:pt x="807" y="694"/>
                  </a:lnTo>
                  <a:close/>
                  <a:moveTo>
                    <a:pt x="494" y="243"/>
                  </a:moveTo>
                  <a:lnTo>
                    <a:pt x="494" y="243"/>
                  </a:lnTo>
                  <a:lnTo>
                    <a:pt x="494" y="243"/>
                  </a:lnTo>
                  <a:lnTo>
                    <a:pt x="494" y="243"/>
                  </a:lnTo>
                  <a:lnTo>
                    <a:pt x="494" y="243"/>
                  </a:lnTo>
                  <a:lnTo>
                    <a:pt x="494" y="243"/>
                  </a:lnTo>
                  <a:lnTo>
                    <a:pt x="494" y="243"/>
                  </a:lnTo>
                  <a:lnTo>
                    <a:pt x="494" y="243"/>
                  </a:lnTo>
                  <a:lnTo>
                    <a:pt x="494" y="243"/>
                  </a:lnTo>
                  <a:lnTo>
                    <a:pt x="494" y="243"/>
                  </a:lnTo>
                  <a:close/>
                  <a:moveTo>
                    <a:pt x="492" y="219"/>
                  </a:moveTo>
                  <a:lnTo>
                    <a:pt x="492" y="219"/>
                  </a:lnTo>
                  <a:lnTo>
                    <a:pt x="492" y="219"/>
                  </a:lnTo>
                  <a:lnTo>
                    <a:pt x="492" y="219"/>
                  </a:lnTo>
                  <a:lnTo>
                    <a:pt x="492" y="219"/>
                  </a:lnTo>
                  <a:lnTo>
                    <a:pt x="492" y="219"/>
                  </a:lnTo>
                  <a:lnTo>
                    <a:pt x="492" y="219"/>
                  </a:lnTo>
                  <a:lnTo>
                    <a:pt x="492" y="217"/>
                  </a:lnTo>
                  <a:lnTo>
                    <a:pt x="492" y="217"/>
                  </a:lnTo>
                  <a:lnTo>
                    <a:pt x="490" y="217"/>
                  </a:lnTo>
                  <a:lnTo>
                    <a:pt x="490" y="217"/>
                  </a:lnTo>
                  <a:lnTo>
                    <a:pt x="490" y="217"/>
                  </a:lnTo>
                  <a:lnTo>
                    <a:pt x="490" y="219"/>
                  </a:lnTo>
                  <a:lnTo>
                    <a:pt x="492" y="219"/>
                  </a:lnTo>
                  <a:close/>
                  <a:moveTo>
                    <a:pt x="492" y="231"/>
                  </a:moveTo>
                  <a:lnTo>
                    <a:pt x="492" y="231"/>
                  </a:lnTo>
                  <a:lnTo>
                    <a:pt x="492" y="231"/>
                  </a:lnTo>
                  <a:lnTo>
                    <a:pt x="494" y="231"/>
                  </a:lnTo>
                  <a:lnTo>
                    <a:pt x="494" y="231"/>
                  </a:lnTo>
                  <a:lnTo>
                    <a:pt x="492" y="231"/>
                  </a:lnTo>
                  <a:close/>
                  <a:moveTo>
                    <a:pt x="490" y="233"/>
                  </a:moveTo>
                  <a:lnTo>
                    <a:pt x="490" y="233"/>
                  </a:lnTo>
                  <a:lnTo>
                    <a:pt x="490" y="233"/>
                  </a:lnTo>
                  <a:lnTo>
                    <a:pt x="490" y="233"/>
                  </a:lnTo>
                  <a:lnTo>
                    <a:pt x="490" y="233"/>
                  </a:lnTo>
                  <a:lnTo>
                    <a:pt x="490" y="233"/>
                  </a:lnTo>
                  <a:lnTo>
                    <a:pt x="490" y="233"/>
                  </a:lnTo>
                  <a:lnTo>
                    <a:pt x="490" y="233"/>
                  </a:lnTo>
                  <a:lnTo>
                    <a:pt x="490" y="233"/>
                  </a:lnTo>
                  <a:lnTo>
                    <a:pt x="490" y="235"/>
                  </a:lnTo>
                  <a:lnTo>
                    <a:pt x="490" y="235"/>
                  </a:lnTo>
                  <a:lnTo>
                    <a:pt x="492" y="235"/>
                  </a:lnTo>
                  <a:lnTo>
                    <a:pt x="492" y="235"/>
                  </a:lnTo>
                  <a:lnTo>
                    <a:pt x="492" y="235"/>
                  </a:lnTo>
                  <a:lnTo>
                    <a:pt x="492" y="233"/>
                  </a:lnTo>
                  <a:lnTo>
                    <a:pt x="492" y="233"/>
                  </a:lnTo>
                  <a:lnTo>
                    <a:pt x="492" y="233"/>
                  </a:lnTo>
                  <a:lnTo>
                    <a:pt x="490" y="233"/>
                  </a:lnTo>
                  <a:close/>
                  <a:moveTo>
                    <a:pt x="492" y="237"/>
                  </a:moveTo>
                  <a:lnTo>
                    <a:pt x="492" y="235"/>
                  </a:lnTo>
                  <a:lnTo>
                    <a:pt x="492" y="237"/>
                  </a:lnTo>
                  <a:lnTo>
                    <a:pt x="492" y="237"/>
                  </a:lnTo>
                  <a:lnTo>
                    <a:pt x="492" y="237"/>
                  </a:lnTo>
                  <a:close/>
                  <a:moveTo>
                    <a:pt x="490" y="227"/>
                  </a:moveTo>
                  <a:lnTo>
                    <a:pt x="490" y="227"/>
                  </a:lnTo>
                  <a:lnTo>
                    <a:pt x="488" y="227"/>
                  </a:lnTo>
                  <a:lnTo>
                    <a:pt x="488" y="229"/>
                  </a:lnTo>
                  <a:lnTo>
                    <a:pt x="488" y="229"/>
                  </a:lnTo>
                  <a:lnTo>
                    <a:pt x="490" y="229"/>
                  </a:lnTo>
                  <a:lnTo>
                    <a:pt x="490" y="229"/>
                  </a:lnTo>
                  <a:lnTo>
                    <a:pt x="488" y="229"/>
                  </a:lnTo>
                  <a:lnTo>
                    <a:pt x="488" y="231"/>
                  </a:lnTo>
                  <a:lnTo>
                    <a:pt x="490" y="231"/>
                  </a:lnTo>
                  <a:lnTo>
                    <a:pt x="490" y="231"/>
                  </a:lnTo>
                  <a:lnTo>
                    <a:pt x="490" y="229"/>
                  </a:lnTo>
                  <a:lnTo>
                    <a:pt x="490" y="229"/>
                  </a:lnTo>
                  <a:lnTo>
                    <a:pt x="490" y="227"/>
                  </a:lnTo>
                  <a:close/>
                  <a:moveTo>
                    <a:pt x="492" y="241"/>
                  </a:moveTo>
                  <a:lnTo>
                    <a:pt x="492" y="241"/>
                  </a:lnTo>
                  <a:lnTo>
                    <a:pt x="492" y="239"/>
                  </a:lnTo>
                  <a:lnTo>
                    <a:pt x="492" y="241"/>
                  </a:lnTo>
                  <a:close/>
                  <a:moveTo>
                    <a:pt x="486" y="219"/>
                  </a:moveTo>
                  <a:lnTo>
                    <a:pt x="484" y="219"/>
                  </a:lnTo>
                  <a:lnTo>
                    <a:pt x="484" y="219"/>
                  </a:lnTo>
                  <a:lnTo>
                    <a:pt x="486" y="219"/>
                  </a:lnTo>
                  <a:lnTo>
                    <a:pt x="486" y="219"/>
                  </a:lnTo>
                  <a:lnTo>
                    <a:pt x="486" y="219"/>
                  </a:lnTo>
                  <a:lnTo>
                    <a:pt x="486" y="219"/>
                  </a:lnTo>
                  <a:lnTo>
                    <a:pt x="486" y="219"/>
                  </a:lnTo>
                  <a:lnTo>
                    <a:pt x="486" y="219"/>
                  </a:lnTo>
                  <a:lnTo>
                    <a:pt x="486" y="219"/>
                  </a:lnTo>
                  <a:lnTo>
                    <a:pt x="486" y="219"/>
                  </a:lnTo>
                  <a:lnTo>
                    <a:pt x="486" y="219"/>
                  </a:lnTo>
                  <a:close/>
                  <a:moveTo>
                    <a:pt x="486" y="225"/>
                  </a:moveTo>
                  <a:lnTo>
                    <a:pt x="486" y="225"/>
                  </a:lnTo>
                  <a:lnTo>
                    <a:pt x="484" y="225"/>
                  </a:lnTo>
                  <a:lnTo>
                    <a:pt x="486" y="225"/>
                  </a:lnTo>
                  <a:lnTo>
                    <a:pt x="486" y="225"/>
                  </a:lnTo>
                  <a:lnTo>
                    <a:pt x="486" y="225"/>
                  </a:lnTo>
                  <a:lnTo>
                    <a:pt x="486" y="225"/>
                  </a:lnTo>
                  <a:lnTo>
                    <a:pt x="486" y="225"/>
                  </a:lnTo>
                  <a:lnTo>
                    <a:pt x="488" y="225"/>
                  </a:lnTo>
                  <a:lnTo>
                    <a:pt x="486" y="225"/>
                  </a:lnTo>
                  <a:lnTo>
                    <a:pt x="486" y="225"/>
                  </a:lnTo>
                  <a:close/>
                  <a:moveTo>
                    <a:pt x="484" y="221"/>
                  </a:moveTo>
                  <a:lnTo>
                    <a:pt x="484" y="221"/>
                  </a:lnTo>
                  <a:lnTo>
                    <a:pt x="484" y="221"/>
                  </a:lnTo>
                  <a:lnTo>
                    <a:pt x="484" y="221"/>
                  </a:lnTo>
                  <a:lnTo>
                    <a:pt x="484" y="221"/>
                  </a:lnTo>
                  <a:close/>
                  <a:moveTo>
                    <a:pt x="490" y="219"/>
                  </a:moveTo>
                  <a:lnTo>
                    <a:pt x="490" y="219"/>
                  </a:lnTo>
                  <a:lnTo>
                    <a:pt x="490" y="219"/>
                  </a:lnTo>
                  <a:lnTo>
                    <a:pt x="490" y="219"/>
                  </a:lnTo>
                  <a:lnTo>
                    <a:pt x="488" y="219"/>
                  </a:lnTo>
                  <a:lnTo>
                    <a:pt x="488" y="219"/>
                  </a:lnTo>
                  <a:lnTo>
                    <a:pt x="488" y="219"/>
                  </a:lnTo>
                  <a:lnTo>
                    <a:pt x="488" y="219"/>
                  </a:lnTo>
                  <a:lnTo>
                    <a:pt x="488" y="219"/>
                  </a:lnTo>
                  <a:lnTo>
                    <a:pt x="488" y="219"/>
                  </a:lnTo>
                  <a:lnTo>
                    <a:pt x="490" y="219"/>
                  </a:lnTo>
                  <a:close/>
                  <a:moveTo>
                    <a:pt x="484" y="229"/>
                  </a:moveTo>
                  <a:lnTo>
                    <a:pt x="484" y="229"/>
                  </a:lnTo>
                  <a:lnTo>
                    <a:pt x="484" y="227"/>
                  </a:lnTo>
                  <a:lnTo>
                    <a:pt x="484" y="227"/>
                  </a:lnTo>
                  <a:lnTo>
                    <a:pt x="484" y="229"/>
                  </a:lnTo>
                  <a:close/>
                  <a:moveTo>
                    <a:pt x="473" y="194"/>
                  </a:moveTo>
                  <a:lnTo>
                    <a:pt x="471" y="196"/>
                  </a:lnTo>
                  <a:lnTo>
                    <a:pt x="471" y="196"/>
                  </a:lnTo>
                  <a:lnTo>
                    <a:pt x="471" y="196"/>
                  </a:lnTo>
                  <a:lnTo>
                    <a:pt x="471" y="196"/>
                  </a:lnTo>
                  <a:lnTo>
                    <a:pt x="473" y="196"/>
                  </a:lnTo>
                  <a:lnTo>
                    <a:pt x="473" y="196"/>
                  </a:lnTo>
                  <a:lnTo>
                    <a:pt x="473" y="196"/>
                  </a:lnTo>
                  <a:lnTo>
                    <a:pt x="473" y="194"/>
                  </a:lnTo>
                  <a:close/>
                  <a:moveTo>
                    <a:pt x="451" y="194"/>
                  </a:moveTo>
                  <a:lnTo>
                    <a:pt x="449" y="194"/>
                  </a:lnTo>
                  <a:lnTo>
                    <a:pt x="449" y="194"/>
                  </a:lnTo>
                  <a:lnTo>
                    <a:pt x="449" y="194"/>
                  </a:lnTo>
                  <a:lnTo>
                    <a:pt x="449" y="196"/>
                  </a:lnTo>
                  <a:lnTo>
                    <a:pt x="449" y="196"/>
                  </a:lnTo>
                  <a:lnTo>
                    <a:pt x="451" y="194"/>
                  </a:lnTo>
                  <a:lnTo>
                    <a:pt x="451" y="194"/>
                  </a:lnTo>
                  <a:lnTo>
                    <a:pt x="451" y="194"/>
                  </a:lnTo>
                  <a:lnTo>
                    <a:pt x="451" y="194"/>
                  </a:lnTo>
                  <a:close/>
                  <a:moveTo>
                    <a:pt x="488" y="217"/>
                  </a:moveTo>
                  <a:lnTo>
                    <a:pt x="488" y="217"/>
                  </a:lnTo>
                  <a:lnTo>
                    <a:pt x="490" y="217"/>
                  </a:lnTo>
                  <a:lnTo>
                    <a:pt x="490" y="217"/>
                  </a:lnTo>
                  <a:lnTo>
                    <a:pt x="490" y="217"/>
                  </a:lnTo>
                  <a:lnTo>
                    <a:pt x="488" y="217"/>
                  </a:lnTo>
                  <a:lnTo>
                    <a:pt x="488" y="215"/>
                  </a:lnTo>
                  <a:lnTo>
                    <a:pt x="488" y="215"/>
                  </a:lnTo>
                  <a:lnTo>
                    <a:pt x="488" y="215"/>
                  </a:lnTo>
                  <a:lnTo>
                    <a:pt x="488" y="217"/>
                  </a:lnTo>
                  <a:lnTo>
                    <a:pt x="488" y="217"/>
                  </a:lnTo>
                  <a:lnTo>
                    <a:pt x="488" y="217"/>
                  </a:lnTo>
                  <a:close/>
                  <a:moveTo>
                    <a:pt x="488" y="235"/>
                  </a:moveTo>
                  <a:lnTo>
                    <a:pt x="488" y="235"/>
                  </a:lnTo>
                  <a:lnTo>
                    <a:pt x="488" y="235"/>
                  </a:lnTo>
                  <a:lnTo>
                    <a:pt x="488" y="235"/>
                  </a:lnTo>
                  <a:lnTo>
                    <a:pt x="488" y="235"/>
                  </a:lnTo>
                  <a:lnTo>
                    <a:pt x="488" y="235"/>
                  </a:lnTo>
                  <a:lnTo>
                    <a:pt x="488" y="235"/>
                  </a:lnTo>
                  <a:close/>
                  <a:moveTo>
                    <a:pt x="652" y="661"/>
                  </a:moveTo>
                  <a:lnTo>
                    <a:pt x="652" y="659"/>
                  </a:lnTo>
                  <a:lnTo>
                    <a:pt x="652" y="659"/>
                  </a:lnTo>
                  <a:lnTo>
                    <a:pt x="652" y="659"/>
                  </a:lnTo>
                  <a:lnTo>
                    <a:pt x="652" y="659"/>
                  </a:lnTo>
                  <a:lnTo>
                    <a:pt x="652" y="659"/>
                  </a:lnTo>
                  <a:lnTo>
                    <a:pt x="650" y="661"/>
                  </a:lnTo>
                  <a:lnTo>
                    <a:pt x="647" y="664"/>
                  </a:lnTo>
                  <a:lnTo>
                    <a:pt x="647" y="664"/>
                  </a:lnTo>
                  <a:lnTo>
                    <a:pt x="645" y="664"/>
                  </a:lnTo>
                  <a:lnTo>
                    <a:pt x="645" y="664"/>
                  </a:lnTo>
                  <a:lnTo>
                    <a:pt x="645" y="666"/>
                  </a:lnTo>
                  <a:lnTo>
                    <a:pt x="645" y="664"/>
                  </a:lnTo>
                  <a:lnTo>
                    <a:pt x="645" y="666"/>
                  </a:lnTo>
                  <a:lnTo>
                    <a:pt x="647" y="664"/>
                  </a:lnTo>
                  <a:lnTo>
                    <a:pt x="650" y="664"/>
                  </a:lnTo>
                  <a:lnTo>
                    <a:pt x="650"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4" y="661"/>
                  </a:lnTo>
                  <a:lnTo>
                    <a:pt x="654" y="661"/>
                  </a:lnTo>
                  <a:lnTo>
                    <a:pt x="652" y="661"/>
                  </a:lnTo>
                  <a:close/>
                  <a:moveTo>
                    <a:pt x="645" y="518"/>
                  </a:moveTo>
                  <a:lnTo>
                    <a:pt x="645" y="518"/>
                  </a:lnTo>
                  <a:lnTo>
                    <a:pt x="645" y="518"/>
                  </a:lnTo>
                  <a:lnTo>
                    <a:pt x="645" y="518"/>
                  </a:lnTo>
                  <a:lnTo>
                    <a:pt x="645" y="520"/>
                  </a:lnTo>
                  <a:lnTo>
                    <a:pt x="645" y="520"/>
                  </a:lnTo>
                  <a:lnTo>
                    <a:pt x="645" y="520"/>
                  </a:lnTo>
                  <a:lnTo>
                    <a:pt x="645" y="518"/>
                  </a:lnTo>
                  <a:close/>
                  <a:moveTo>
                    <a:pt x="615" y="664"/>
                  </a:moveTo>
                  <a:lnTo>
                    <a:pt x="613" y="664"/>
                  </a:lnTo>
                  <a:lnTo>
                    <a:pt x="613" y="664"/>
                  </a:lnTo>
                  <a:lnTo>
                    <a:pt x="613" y="666"/>
                  </a:lnTo>
                  <a:lnTo>
                    <a:pt x="613" y="664"/>
                  </a:lnTo>
                  <a:lnTo>
                    <a:pt x="613" y="664"/>
                  </a:lnTo>
                  <a:lnTo>
                    <a:pt x="615" y="666"/>
                  </a:lnTo>
                  <a:lnTo>
                    <a:pt x="615" y="666"/>
                  </a:lnTo>
                  <a:lnTo>
                    <a:pt x="617" y="666"/>
                  </a:lnTo>
                  <a:lnTo>
                    <a:pt x="617" y="668"/>
                  </a:lnTo>
                  <a:lnTo>
                    <a:pt x="617" y="666"/>
                  </a:lnTo>
                  <a:lnTo>
                    <a:pt x="615" y="666"/>
                  </a:lnTo>
                  <a:lnTo>
                    <a:pt x="615" y="664"/>
                  </a:lnTo>
                  <a:close/>
                  <a:moveTo>
                    <a:pt x="615" y="668"/>
                  </a:moveTo>
                  <a:lnTo>
                    <a:pt x="615" y="670"/>
                  </a:lnTo>
                  <a:lnTo>
                    <a:pt x="615" y="668"/>
                  </a:lnTo>
                  <a:lnTo>
                    <a:pt x="617" y="668"/>
                  </a:lnTo>
                  <a:lnTo>
                    <a:pt x="615" y="668"/>
                  </a:lnTo>
                  <a:lnTo>
                    <a:pt x="615" y="668"/>
                  </a:lnTo>
                  <a:close/>
                  <a:moveTo>
                    <a:pt x="613" y="670"/>
                  </a:moveTo>
                  <a:lnTo>
                    <a:pt x="613" y="670"/>
                  </a:lnTo>
                  <a:lnTo>
                    <a:pt x="613" y="670"/>
                  </a:lnTo>
                  <a:lnTo>
                    <a:pt x="613" y="670"/>
                  </a:lnTo>
                  <a:lnTo>
                    <a:pt x="613" y="670"/>
                  </a:lnTo>
                  <a:lnTo>
                    <a:pt x="613" y="670"/>
                  </a:lnTo>
                  <a:lnTo>
                    <a:pt x="613" y="670"/>
                  </a:lnTo>
                  <a:lnTo>
                    <a:pt x="613" y="670"/>
                  </a:lnTo>
                  <a:lnTo>
                    <a:pt x="613" y="670"/>
                  </a:lnTo>
                  <a:close/>
                  <a:moveTo>
                    <a:pt x="660" y="655"/>
                  </a:moveTo>
                  <a:lnTo>
                    <a:pt x="660" y="655"/>
                  </a:lnTo>
                  <a:lnTo>
                    <a:pt x="660" y="655"/>
                  </a:lnTo>
                  <a:lnTo>
                    <a:pt x="658" y="657"/>
                  </a:lnTo>
                  <a:lnTo>
                    <a:pt x="656" y="657"/>
                  </a:lnTo>
                  <a:lnTo>
                    <a:pt x="656" y="657"/>
                  </a:lnTo>
                  <a:lnTo>
                    <a:pt x="656" y="657"/>
                  </a:lnTo>
                  <a:lnTo>
                    <a:pt x="656" y="657"/>
                  </a:lnTo>
                  <a:lnTo>
                    <a:pt x="654" y="657"/>
                  </a:lnTo>
                  <a:lnTo>
                    <a:pt x="654" y="657"/>
                  </a:lnTo>
                  <a:lnTo>
                    <a:pt x="654" y="659"/>
                  </a:lnTo>
                  <a:lnTo>
                    <a:pt x="654" y="659"/>
                  </a:lnTo>
                  <a:lnTo>
                    <a:pt x="656" y="659"/>
                  </a:lnTo>
                  <a:lnTo>
                    <a:pt x="656" y="659"/>
                  </a:lnTo>
                  <a:lnTo>
                    <a:pt x="654" y="661"/>
                  </a:lnTo>
                  <a:lnTo>
                    <a:pt x="654" y="661"/>
                  </a:lnTo>
                  <a:lnTo>
                    <a:pt x="654" y="661"/>
                  </a:lnTo>
                  <a:lnTo>
                    <a:pt x="654" y="661"/>
                  </a:lnTo>
                  <a:lnTo>
                    <a:pt x="660" y="657"/>
                  </a:lnTo>
                  <a:lnTo>
                    <a:pt x="660" y="657"/>
                  </a:lnTo>
                  <a:lnTo>
                    <a:pt x="660" y="655"/>
                  </a:lnTo>
                  <a:close/>
                  <a:moveTo>
                    <a:pt x="664" y="526"/>
                  </a:moveTo>
                  <a:lnTo>
                    <a:pt x="664" y="526"/>
                  </a:lnTo>
                  <a:lnTo>
                    <a:pt x="664" y="526"/>
                  </a:lnTo>
                  <a:lnTo>
                    <a:pt x="664" y="524"/>
                  </a:lnTo>
                  <a:lnTo>
                    <a:pt x="664" y="524"/>
                  </a:lnTo>
                  <a:lnTo>
                    <a:pt x="664" y="524"/>
                  </a:lnTo>
                  <a:lnTo>
                    <a:pt x="666" y="524"/>
                  </a:lnTo>
                  <a:lnTo>
                    <a:pt x="666" y="524"/>
                  </a:lnTo>
                  <a:lnTo>
                    <a:pt x="666" y="522"/>
                  </a:lnTo>
                  <a:lnTo>
                    <a:pt x="664" y="522"/>
                  </a:lnTo>
                  <a:lnTo>
                    <a:pt x="664" y="522"/>
                  </a:lnTo>
                  <a:lnTo>
                    <a:pt x="662" y="520"/>
                  </a:lnTo>
                  <a:lnTo>
                    <a:pt x="662" y="520"/>
                  </a:lnTo>
                  <a:lnTo>
                    <a:pt x="660" y="520"/>
                  </a:lnTo>
                  <a:lnTo>
                    <a:pt x="658" y="520"/>
                  </a:lnTo>
                  <a:lnTo>
                    <a:pt x="658" y="522"/>
                  </a:lnTo>
                  <a:lnTo>
                    <a:pt x="660" y="522"/>
                  </a:lnTo>
                  <a:lnTo>
                    <a:pt x="660" y="524"/>
                  </a:lnTo>
                  <a:lnTo>
                    <a:pt x="660" y="524"/>
                  </a:lnTo>
                  <a:lnTo>
                    <a:pt x="660" y="524"/>
                  </a:lnTo>
                  <a:lnTo>
                    <a:pt x="662" y="524"/>
                  </a:lnTo>
                  <a:lnTo>
                    <a:pt x="662" y="526"/>
                  </a:lnTo>
                  <a:lnTo>
                    <a:pt x="664" y="526"/>
                  </a:lnTo>
                  <a:close/>
                  <a:moveTo>
                    <a:pt x="666" y="524"/>
                  </a:moveTo>
                  <a:lnTo>
                    <a:pt x="664" y="524"/>
                  </a:lnTo>
                  <a:lnTo>
                    <a:pt x="664" y="526"/>
                  </a:lnTo>
                  <a:lnTo>
                    <a:pt x="666" y="526"/>
                  </a:lnTo>
                  <a:lnTo>
                    <a:pt x="668" y="526"/>
                  </a:lnTo>
                  <a:lnTo>
                    <a:pt x="668" y="524"/>
                  </a:lnTo>
                  <a:lnTo>
                    <a:pt x="668" y="524"/>
                  </a:lnTo>
                  <a:lnTo>
                    <a:pt x="666" y="524"/>
                  </a:lnTo>
                  <a:lnTo>
                    <a:pt x="666" y="524"/>
                  </a:lnTo>
                  <a:lnTo>
                    <a:pt x="666" y="524"/>
                  </a:lnTo>
                  <a:lnTo>
                    <a:pt x="666" y="524"/>
                  </a:lnTo>
                  <a:lnTo>
                    <a:pt x="666" y="524"/>
                  </a:lnTo>
                  <a:close/>
                  <a:moveTo>
                    <a:pt x="611" y="668"/>
                  </a:moveTo>
                  <a:lnTo>
                    <a:pt x="613" y="668"/>
                  </a:lnTo>
                  <a:lnTo>
                    <a:pt x="611" y="668"/>
                  </a:lnTo>
                  <a:lnTo>
                    <a:pt x="611" y="668"/>
                  </a:lnTo>
                  <a:close/>
                  <a:moveTo>
                    <a:pt x="647" y="516"/>
                  </a:moveTo>
                  <a:lnTo>
                    <a:pt x="647" y="516"/>
                  </a:lnTo>
                  <a:lnTo>
                    <a:pt x="645" y="516"/>
                  </a:lnTo>
                  <a:lnTo>
                    <a:pt x="645" y="518"/>
                  </a:lnTo>
                  <a:lnTo>
                    <a:pt x="645" y="518"/>
                  </a:lnTo>
                  <a:lnTo>
                    <a:pt x="647" y="518"/>
                  </a:lnTo>
                  <a:lnTo>
                    <a:pt x="647" y="518"/>
                  </a:lnTo>
                  <a:lnTo>
                    <a:pt x="647" y="520"/>
                  </a:lnTo>
                  <a:lnTo>
                    <a:pt x="647" y="522"/>
                  </a:lnTo>
                  <a:lnTo>
                    <a:pt x="647" y="522"/>
                  </a:lnTo>
                  <a:lnTo>
                    <a:pt x="650" y="520"/>
                  </a:lnTo>
                  <a:lnTo>
                    <a:pt x="650" y="518"/>
                  </a:lnTo>
                  <a:lnTo>
                    <a:pt x="647" y="518"/>
                  </a:lnTo>
                  <a:lnTo>
                    <a:pt x="647" y="518"/>
                  </a:lnTo>
                  <a:lnTo>
                    <a:pt x="647" y="518"/>
                  </a:lnTo>
                  <a:lnTo>
                    <a:pt x="647" y="518"/>
                  </a:lnTo>
                  <a:lnTo>
                    <a:pt x="647" y="516"/>
                  </a:lnTo>
                  <a:close/>
                  <a:moveTo>
                    <a:pt x="654" y="520"/>
                  </a:moveTo>
                  <a:lnTo>
                    <a:pt x="654" y="522"/>
                  </a:lnTo>
                  <a:lnTo>
                    <a:pt x="654" y="520"/>
                  </a:lnTo>
                  <a:lnTo>
                    <a:pt x="656" y="522"/>
                  </a:lnTo>
                  <a:lnTo>
                    <a:pt x="656" y="522"/>
                  </a:lnTo>
                  <a:lnTo>
                    <a:pt x="656" y="522"/>
                  </a:lnTo>
                  <a:lnTo>
                    <a:pt x="658" y="524"/>
                  </a:lnTo>
                  <a:lnTo>
                    <a:pt x="658" y="522"/>
                  </a:lnTo>
                  <a:lnTo>
                    <a:pt x="658" y="522"/>
                  </a:lnTo>
                  <a:lnTo>
                    <a:pt x="658" y="522"/>
                  </a:lnTo>
                  <a:lnTo>
                    <a:pt x="658" y="522"/>
                  </a:lnTo>
                  <a:lnTo>
                    <a:pt x="656" y="520"/>
                  </a:lnTo>
                  <a:lnTo>
                    <a:pt x="656" y="518"/>
                  </a:lnTo>
                  <a:lnTo>
                    <a:pt x="656" y="518"/>
                  </a:lnTo>
                  <a:lnTo>
                    <a:pt x="654" y="518"/>
                  </a:lnTo>
                  <a:lnTo>
                    <a:pt x="654" y="520"/>
                  </a:lnTo>
                  <a:lnTo>
                    <a:pt x="652" y="520"/>
                  </a:lnTo>
                  <a:lnTo>
                    <a:pt x="652" y="520"/>
                  </a:lnTo>
                  <a:lnTo>
                    <a:pt x="652" y="522"/>
                  </a:lnTo>
                  <a:lnTo>
                    <a:pt x="652" y="522"/>
                  </a:lnTo>
                  <a:lnTo>
                    <a:pt x="652" y="522"/>
                  </a:lnTo>
                  <a:lnTo>
                    <a:pt x="652" y="522"/>
                  </a:lnTo>
                  <a:lnTo>
                    <a:pt x="652" y="522"/>
                  </a:lnTo>
                  <a:lnTo>
                    <a:pt x="652" y="522"/>
                  </a:lnTo>
                  <a:lnTo>
                    <a:pt x="652" y="522"/>
                  </a:lnTo>
                  <a:lnTo>
                    <a:pt x="652" y="520"/>
                  </a:lnTo>
                  <a:lnTo>
                    <a:pt x="652" y="520"/>
                  </a:lnTo>
                  <a:lnTo>
                    <a:pt x="654" y="520"/>
                  </a:lnTo>
                  <a:close/>
                  <a:moveTo>
                    <a:pt x="635" y="518"/>
                  </a:moveTo>
                  <a:lnTo>
                    <a:pt x="633" y="518"/>
                  </a:lnTo>
                  <a:lnTo>
                    <a:pt x="633" y="520"/>
                  </a:lnTo>
                  <a:lnTo>
                    <a:pt x="631" y="520"/>
                  </a:lnTo>
                  <a:lnTo>
                    <a:pt x="631" y="520"/>
                  </a:lnTo>
                  <a:lnTo>
                    <a:pt x="631" y="520"/>
                  </a:lnTo>
                  <a:lnTo>
                    <a:pt x="633" y="522"/>
                  </a:lnTo>
                  <a:lnTo>
                    <a:pt x="633" y="522"/>
                  </a:lnTo>
                  <a:lnTo>
                    <a:pt x="633" y="522"/>
                  </a:lnTo>
                  <a:lnTo>
                    <a:pt x="633" y="522"/>
                  </a:lnTo>
                  <a:lnTo>
                    <a:pt x="633" y="522"/>
                  </a:lnTo>
                  <a:lnTo>
                    <a:pt x="635" y="522"/>
                  </a:lnTo>
                  <a:lnTo>
                    <a:pt x="635" y="522"/>
                  </a:lnTo>
                  <a:lnTo>
                    <a:pt x="637" y="520"/>
                  </a:lnTo>
                  <a:lnTo>
                    <a:pt x="635" y="518"/>
                  </a:lnTo>
                  <a:lnTo>
                    <a:pt x="635" y="518"/>
                  </a:lnTo>
                  <a:close/>
                  <a:moveTo>
                    <a:pt x="541" y="672"/>
                  </a:moveTo>
                  <a:lnTo>
                    <a:pt x="541" y="672"/>
                  </a:lnTo>
                  <a:lnTo>
                    <a:pt x="541" y="672"/>
                  </a:lnTo>
                  <a:lnTo>
                    <a:pt x="541" y="672"/>
                  </a:lnTo>
                  <a:close/>
                  <a:moveTo>
                    <a:pt x="541" y="672"/>
                  </a:moveTo>
                  <a:lnTo>
                    <a:pt x="541" y="672"/>
                  </a:lnTo>
                  <a:lnTo>
                    <a:pt x="541" y="672"/>
                  </a:lnTo>
                  <a:lnTo>
                    <a:pt x="541" y="672"/>
                  </a:lnTo>
                  <a:close/>
                  <a:moveTo>
                    <a:pt x="541" y="672"/>
                  </a:moveTo>
                  <a:lnTo>
                    <a:pt x="541" y="672"/>
                  </a:lnTo>
                  <a:lnTo>
                    <a:pt x="541" y="672"/>
                  </a:lnTo>
                  <a:lnTo>
                    <a:pt x="541" y="672"/>
                  </a:lnTo>
                  <a:close/>
                  <a:moveTo>
                    <a:pt x="535" y="672"/>
                  </a:moveTo>
                  <a:lnTo>
                    <a:pt x="535" y="672"/>
                  </a:lnTo>
                  <a:lnTo>
                    <a:pt x="535" y="672"/>
                  </a:lnTo>
                  <a:lnTo>
                    <a:pt x="535" y="672"/>
                  </a:lnTo>
                  <a:close/>
                  <a:moveTo>
                    <a:pt x="523" y="381"/>
                  </a:moveTo>
                  <a:lnTo>
                    <a:pt x="518" y="377"/>
                  </a:lnTo>
                  <a:lnTo>
                    <a:pt x="514" y="373"/>
                  </a:lnTo>
                  <a:lnTo>
                    <a:pt x="514" y="373"/>
                  </a:lnTo>
                  <a:lnTo>
                    <a:pt x="514" y="373"/>
                  </a:lnTo>
                  <a:lnTo>
                    <a:pt x="512" y="370"/>
                  </a:lnTo>
                  <a:lnTo>
                    <a:pt x="512" y="373"/>
                  </a:lnTo>
                  <a:lnTo>
                    <a:pt x="514" y="375"/>
                  </a:lnTo>
                  <a:lnTo>
                    <a:pt x="514" y="375"/>
                  </a:lnTo>
                  <a:lnTo>
                    <a:pt x="516" y="377"/>
                  </a:lnTo>
                  <a:lnTo>
                    <a:pt x="521" y="381"/>
                  </a:lnTo>
                  <a:lnTo>
                    <a:pt x="523" y="381"/>
                  </a:lnTo>
                  <a:lnTo>
                    <a:pt x="523" y="381"/>
                  </a:lnTo>
                  <a:lnTo>
                    <a:pt x="523" y="381"/>
                  </a:lnTo>
                  <a:lnTo>
                    <a:pt x="523" y="381"/>
                  </a:lnTo>
                  <a:close/>
                  <a:moveTo>
                    <a:pt x="578" y="444"/>
                  </a:moveTo>
                  <a:lnTo>
                    <a:pt x="576" y="442"/>
                  </a:lnTo>
                  <a:lnTo>
                    <a:pt x="574" y="442"/>
                  </a:lnTo>
                  <a:lnTo>
                    <a:pt x="574" y="442"/>
                  </a:lnTo>
                  <a:lnTo>
                    <a:pt x="574" y="442"/>
                  </a:lnTo>
                  <a:lnTo>
                    <a:pt x="572" y="442"/>
                  </a:lnTo>
                  <a:lnTo>
                    <a:pt x="574" y="444"/>
                  </a:lnTo>
                  <a:lnTo>
                    <a:pt x="576" y="448"/>
                  </a:lnTo>
                  <a:lnTo>
                    <a:pt x="578" y="450"/>
                  </a:lnTo>
                  <a:lnTo>
                    <a:pt x="578" y="452"/>
                  </a:lnTo>
                  <a:lnTo>
                    <a:pt x="580" y="455"/>
                  </a:lnTo>
                  <a:lnTo>
                    <a:pt x="582" y="461"/>
                  </a:lnTo>
                  <a:lnTo>
                    <a:pt x="584" y="463"/>
                  </a:lnTo>
                  <a:lnTo>
                    <a:pt x="584" y="463"/>
                  </a:lnTo>
                  <a:lnTo>
                    <a:pt x="584" y="463"/>
                  </a:lnTo>
                  <a:lnTo>
                    <a:pt x="586" y="463"/>
                  </a:lnTo>
                  <a:lnTo>
                    <a:pt x="586" y="461"/>
                  </a:lnTo>
                  <a:lnTo>
                    <a:pt x="584" y="455"/>
                  </a:lnTo>
                  <a:lnTo>
                    <a:pt x="582" y="455"/>
                  </a:lnTo>
                  <a:lnTo>
                    <a:pt x="580" y="452"/>
                  </a:lnTo>
                  <a:lnTo>
                    <a:pt x="580" y="450"/>
                  </a:lnTo>
                  <a:lnTo>
                    <a:pt x="580" y="446"/>
                  </a:lnTo>
                  <a:lnTo>
                    <a:pt x="578" y="444"/>
                  </a:lnTo>
                  <a:close/>
                  <a:moveTo>
                    <a:pt x="611" y="670"/>
                  </a:moveTo>
                  <a:lnTo>
                    <a:pt x="611" y="670"/>
                  </a:lnTo>
                  <a:lnTo>
                    <a:pt x="611" y="670"/>
                  </a:lnTo>
                  <a:lnTo>
                    <a:pt x="611" y="670"/>
                  </a:lnTo>
                  <a:lnTo>
                    <a:pt x="611" y="670"/>
                  </a:lnTo>
                  <a:close/>
                  <a:moveTo>
                    <a:pt x="543" y="670"/>
                  </a:moveTo>
                  <a:lnTo>
                    <a:pt x="543" y="670"/>
                  </a:lnTo>
                  <a:lnTo>
                    <a:pt x="541" y="670"/>
                  </a:lnTo>
                  <a:lnTo>
                    <a:pt x="543" y="670"/>
                  </a:lnTo>
                  <a:lnTo>
                    <a:pt x="543" y="670"/>
                  </a:lnTo>
                  <a:lnTo>
                    <a:pt x="543" y="670"/>
                  </a:lnTo>
                  <a:lnTo>
                    <a:pt x="543" y="670"/>
                  </a:lnTo>
                  <a:lnTo>
                    <a:pt x="543" y="670"/>
                  </a:lnTo>
                  <a:lnTo>
                    <a:pt x="543" y="670"/>
                  </a:lnTo>
                  <a:close/>
                  <a:moveTo>
                    <a:pt x="611" y="668"/>
                  </a:moveTo>
                  <a:lnTo>
                    <a:pt x="611" y="668"/>
                  </a:lnTo>
                  <a:lnTo>
                    <a:pt x="611" y="668"/>
                  </a:lnTo>
                  <a:lnTo>
                    <a:pt x="611" y="668"/>
                  </a:lnTo>
                  <a:close/>
                  <a:moveTo>
                    <a:pt x="570" y="450"/>
                  </a:moveTo>
                  <a:lnTo>
                    <a:pt x="568" y="446"/>
                  </a:lnTo>
                  <a:lnTo>
                    <a:pt x="566" y="444"/>
                  </a:lnTo>
                  <a:lnTo>
                    <a:pt x="566" y="442"/>
                  </a:lnTo>
                  <a:lnTo>
                    <a:pt x="566" y="442"/>
                  </a:lnTo>
                  <a:lnTo>
                    <a:pt x="566" y="442"/>
                  </a:lnTo>
                  <a:lnTo>
                    <a:pt x="566" y="442"/>
                  </a:lnTo>
                  <a:lnTo>
                    <a:pt x="568" y="448"/>
                  </a:lnTo>
                  <a:lnTo>
                    <a:pt x="568" y="450"/>
                  </a:lnTo>
                  <a:lnTo>
                    <a:pt x="570" y="452"/>
                  </a:lnTo>
                  <a:lnTo>
                    <a:pt x="570" y="452"/>
                  </a:lnTo>
                  <a:lnTo>
                    <a:pt x="570" y="452"/>
                  </a:lnTo>
                  <a:lnTo>
                    <a:pt x="570" y="450"/>
                  </a:lnTo>
                  <a:close/>
                  <a:moveTo>
                    <a:pt x="670" y="645"/>
                  </a:moveTo>
                  <a:lnTo>
                    <a:pt x="668" y="645"/>
                  </a:lnTo>
                  <a:lnTo>
                    <a:pt x="668" y="645"/>
                  </a:lnTo>
                  <a:lnTo>
                    <a:pt x="668" y="645"/>
                  </a:lnTo>
                  <a:lnTo>
                    <a:pt x="668" y="645"/>
                  </a:lnTo>
                  <a:lnTo>
                    <a:pt x="668" y="645"/>
                  </a:lnTo>
                  <a:lnTo>
                    <a:pt x="668" y="645"/>
                  </a:lnTo>
                  <a:lnTo>
                    <a:pt x="668" y="645"/>
                  </a:lnTo>
                  <a:lnTo>
                    <a:pt x="668" y="645"/>
                  </a:lnTo>
                  <a:lnTo>
                    <a:pt x="668" y="645"/>
                  </a:lnTo>
                  <a:lnTo>
                    <a:pt x="668" y="645"/>
                  </a:lnTo>
                  <a:lnTo>
                    <a:pt x="668" y="647"/>
                  </a:lnTo>
                  <a:lnTo>
                    <a:pt x="668" y="647"/>
                  </a:lnTo>
                  <a:lnTo>
                    <a:pt x="668" y="647"/>
                  </a:lnTo>
                  <a:lnTo>
                    <a:pt x="668" y="647"/>
                  </a:lnTo>
                  <a:lnTo>
                    <a:pt x="668" y="647"/>
                  </a:lnTo>
                  <a:lnTo>
                    <a:pt x="668" y="647"/>
                  </a:lnTo>
                  <a:lnTo>
                    <a:pt x="668" y="647"/>
                  </a:lnTo>
                  <a:lnTo>
                    <a:pt x="668" y="649"/>
                  </a:lnTo>
                  <a:lnTo>
                    <a:pt x="668" y="649"/>
                  </a:lnTo>
                  <a:lnTo>
                    <a:pt x="668" y="649"/>
                  </a:lnTo>
                  <a:lnTo>
                    <a:pt x="670" y="649"/>
                  </a:lnTo>
                  <a:lnTo>
                    <a:pt x="672" y="649"/>
                  </a:lnTo>
                  <a:lnTo>
                    <a:pt x="672" y="649"/>
                  </a:lnTo>
                  <a:lnTo>
                    <a:pt x="672" y="651"/>
                  </a:lnTo>
                  <a:lnTo>
                    <a:pt x="672" y="651"/>
                  </a:lnTo>
                  <a:lnTo>
                    <a:pt x="670" y="649"/>
                  </a:lnTo>
                  <a:lnTo>
                    <a:pt x="670" y="649"/>
                  </a:lnTo>
                  <a:lnTo>
                    <a:pt x="670" y="649"/>
                  </a:lnTo>
                  <a:lnTo>
                    <a:pt x="666" y="649"/>
                  </a:lnTo>
                  <a:lnTo>
                    <a:pt x="666" y="649"/>
                  </a:lnTo>
                  <a:lnTo>
                    <a:pt x="666" y="649"/>
                  </a:lnTo>
                  <a:lnTo>
                    <a:pt x="666" y="649"/>
                  </a:lnTo>
                  <a:lnTo>
                    <a:pt x="666" y="649"/>
                  </a:lnTo>
                  <a:lnTo>
                    <a:pt x="668" y="651"/>
                  </a:lnTo>
                  <a:lnTo>
                    <a:pt x="670" y="651"/>
                  </a:lnTo>
                  <a:lnTo>
                    <a:pt x="668" y="651"/>
                  </a:lnTo>
                  <a:lnTo>
                    <a:pt x="668" y="653"/>
                  </a:lnTo>
                  <a:lnTo>
                    <a:pt x="668" y="653"/>
                  </a:lnTo>
                  <a:lnTo>
                    <a:pt x="668" y="653"/>
                  </a:lnTo>
                  <a:lnTo>
                    <a:pt x="666" y="655"/>
                  </a:lnTo>
                  <a:lnTo>
                    <a:pt x="664" y="653"/>
                  </a:lnTo>
                  <a:lnTo>
                    <a:pt x="664" y="653"/>
                  </a:lnTo>
                  <a:lnTo>
                    <a:pt x="664" y="653"/>
                  </a:lnTo>
                  <a:lnTo>
                    <a:pt x="664" y="655"/>
                  </a:lnTo>
                  <a:lnTo>
                    <a:pt x="662" y="657"/>
                  </a:lnTo>
                  <a:lnTo>
                    <a:pt x="662" y="657"/>
                  </a:lnTo>
                  <a:lnTo>
                    <a:pt x="662" y="657"/>
                  </a:lnTo>
                  <a:lnTo>
                    <a:pt x="662" y="657"/>
                  </a:lnTo>
                  <a:lnTo>
                    <a:pt x="668" y="653"/>
                  </a:lnTo>
                  <a:lnTo>
                    <a:pt x="672" y="653"/>
                  </a:lnTo>
                  <a:lnTo>
                    <a:pt x="674" y="649"/>
                  </a:lnTo>
                  <a:lnTo>
                    <a:pt x="674" y="649"/>
                  </a:lnTo>
                  <a:lnTo>
                    <a:pt x="670" y="645"/>
                  </a:lnTo>
                  <a:close/>
                  <a:moveTo>
                    <a:pt x="564" y="434"/>
                  </a:moveTo>
                  <a:lnTo>
                    <a:pt x="561" y="432"/>
                  </a:lnTo>
                  <a:lnTo>
                    <a:pt x="561" y="432"/>
                  </a:lnTo>
                  <a:lnTo>
                    <a:pt x="561" y="432"/>
                  </a:lnTo>
                  <a:lnTo>
                    <a:pt x="561" y="432"/>
                  </a:lnTo>
                  <a:lnTo>
                    <a:pt x="561" y="432"/>
                  </a:lnTo>
                  <a:lnTo>
                    <a:pt x="561" y="432"/>
                  </a:lnTo>
                  <a:lnTo>
                    <a:pt x="561" y="434"/>
                  </a:lnTo>
                  <a:lnTo>
                    <a:pt x="564" y="440"/>
                  </a:lnTo>
                  <a:lnTo>
                    <a:pt x="564" y="442"/>
                  </a:lnTo>
                  <a:lnTo>
                    <a:pt x="564" y="442"/>
                  </a:lnTo>
                  <a:lnTo>
                    <a:pt x="564" y="442"/>
                  </a:lnTo>
                  <a:lnTo>
                    <a:pt x="564" y="438"/>
                  </a:lnTo>
                  <a:lnTo>
                    <a:pt x="564" y="436"/>
                  </a:lnTo>
                  <a:lnTo>
                    <a:pt x="564" y="434"/>
                  </a:lnTo>
                  <a:close/>
                  <a:moveTo>
                    <a:pt x="701" y="571"/>
                  </a:moveTo>
                  <a:lnTo>
                    <a:pt x="701" y="571"/>
                  </a:lnTo>
                  <a:lnTo>
                    <a:pt x="701" y="571"/>
                  </a:lnTo>
                  <a:lnTo>
                    <a:pt x="703" y="569"/>
                  </a:lnTo>
                  <a:lnTo>
                    <a:pt x="703" y="569"/>
                  </a:lnTo>
                  <a:lnTo>
                    <a:pt x="703" y="569"/>
                  </a:lnTo>
                  <a:lnTo>
                    <a:pt x="701" y="569"/>
                  </a:lnTo>
                  <a:lnTo>
                    <a:pt x="701" y="569"/>
                  </a:lnTo>
                  <a:lnTo>
                    <a:pt x="699" y="569"/>
                  </a:lnTo>
                  <a:lnTo>
                    <a:pt x="699" y="569"/>
                  </a:lnTo>
                  <a:lnTo>
                    <a:pt x="699" y="569"/>
                  </a:lnTo>
                  <a:lnTo>
                    <a:pt x="699" y="569"/>
                  </a:lnTo>
                  <a:lnTo>
                    <a:pt x="699" y="569"/>
                  </a:lnTo>
                  <a:lnTo>
                    <a:pt x="701" y="571"/>
                  </a:lnTo>
                  <a:close/>
                  <a:moveTo>
                    <a:pt x="713" y="575"/>
                  </a:moveTo>
                  <a:lnTo>
                    <a:pt x="715" y="575"/>
                  </a:lnTo>
                  <a:lnTo>
                    <a:pt x="715" y="575"/>
                  </a:lnTo>
                  <a:lnTo>
                    <a:pt x="715" y="575"/>
                  </a:lnTo>
                  <a:lnTo>
                    <a:pt x="713" y="575"/>
                  </a:lnTo>
                  <a:lnTo>
                    <a:pt x="713" y="575"/>
                  </a:lnTo>
                  <a:lnTo>
                    <a:pt x="713" y="575"/>
                  </a:lnTo>
                  <a:lnTo>
                    <a:pt x="713" y="575"/>
                  </a:lnTo>
                  <a:lnTo>
                    <a:pt x="713" y="575"/>
                  </a:lnTo>
                  <a:lnTo>
                    <a:pt x="713" y="575"/>
                  </a:lnTo>
                  <a:close/>
                  <a:moveTo>
                    <a:pt x="715" y="580"/>
                  </a:moveTo>
                  <a:lnTo>
                    <a:pt x="717" y="580"/>
                  </a:lnTo>
                  <a:lnTo>
                    <a:pt x="717" y="580"/>
                  </a:lnTo>
                  <a:lnTo>
                    <a:pt x="717" y="577"/>
                  </a:lnTo>
                  <a:lnTo>
                    <a:pt x="717" y="577"/>
                  </a:lnTo>
                  <a:lnTo>
                    <a:pt x="717" y="577"/>
                  </a:lnTo>
                  <a:lnTo>
                    <a:pt x="717" y="577"/>
                  </a:lnTo>
                  <a:lnTo>
                    <a:pt x="717" y="577"/>
                  </a:lnTo>
                  <a:lnTo>
                    <a:pt x="717" y="577"/>
                  </a:lnTo>
                  <a:lnTo>
                    <a:pt x="717" y="577"/>
                  </a:lnTo>
                  <a:lnTo>
                    <a:pt x="717" y="577"/>
                  </a:lnTo>
                  <a:lnTo>
                    <a:pt x="717" y="577"/>
                  </a:lnTo>
                  <a:lnTo>
                    <a:pt x="715" y="580"/>
                  </a:lnTo>
                  <a:close/>
                  <a:moveTo>
                    <a:pt x="705" y="571"/>
                  </a:moveTo>
                  <a:lnTo>
                    <a:pt x="707" y="569"/>
                  </a:lnTo>
                  <a:lnTo>
                    <a:pt x="707" y="569"/>
                  </a:lnTo>
                  <a:lnTo>
                    <a:pt x="705" y="569"/>
                  </a:lnTo>
                  <a:lnTo>
                    <a:pt x="705" y="569"/>
                  </a:lnTo>
                  <a:lnTo>
                    <a:pt x="703" y="569"/>
                  </a:lnTo>
                  <a:lnTo>
                    <a:pt x="705" y="571"/>
                  </a:lnTo>
                  <a:lnTo>
                    <a:pt x="705" y="571"/>
                  </a:lnTo>
                  <a:lnTo>
                    <a:pt x="705" y="571"/>
                  </a:lnTo>
                  <a:close/>
                  <a:moveTo>
                    <a:pt x="703" y="571"/>
                  </a:moveTo>
                  <a:lnTo>
                    <a:pt x="703" y="573"/>
                  </a:lnTo>
                  <a:lnTo>
                    <a:pt x="705" y="575"/>
                  </a:lnTo>
                  <a:lnTo>
                    <a:pt x="705" y="575"/>
                  </a:lnTo>
                  <a:lnTo>
                    <a:pt x="707" y="573"/>
                  </a:lnTo>
                  <a:lnTo>
                    <a:pt x="707" y="573"/>
                  </a:lnTo>
                  <a:lnTo>
                    <a:pt x="707" y="571"/>
                  </a:lnTo>
                  <a:lnTo>
                    <a:pt x="707" y="571"/>
                  </a:lnTo>
                  <a:lnTo>
                    <a:pt x="707" y="571"/>
                  </a:lnTo>
                  <a:lnTo>
                    <a:pt x="705" y="571"/>
                  </a:lnTo>
                  <a:lnTo>
                    <a:pt x="703" y="571"/>
                  </a:lnTo>
                  <a:lnTo>
                    <a:pt x="703" y="571"/>
                  </a:lnTo>
                  <a:close/>
                  <a:moveTo>
                    <a:pt x="703" y="567"/>
                  </a:moveTo>
                  <a:lnTo>
                    <a:pt x="703" y="567"/>
                  </a:lnTo>
                  <a:lnTo>
                    <a:pt x="701" y="567"/>
                  </a:lnTo>
                  <a:lnTo>
                    <a:pt x="699" y="567"/>
                  </a:lnTo>
                  <a:lnTo>
                    <a:pt x="699" y="567"/>
                  </a:lnTo>
                  <a:lnTo>
                    <a:pt x="699" y="567"/>
                  </a:lnTo>
                  <a:lnTo>
                    <a:pt x="699" y="567"/>
                  </a:lnTo>
                  <a:lnTo>
                    <a:pt x="703" y="567"/>
                  </a:lnTo>
                  <a:close/>
                  <a:moveTo>
                    <a:pt x="516" y="358"/>
                  </a:moveTo>
                  <a:lnTo>
                    <a:pt x="516" y="358"/>
                  </a:lnTo>
                  <a:lnTo>
                    <a:pt x="516" y="358"/>
                  </a:lnTo>
                  <a:lnTo>
                    <a:pt x="516" y="358"/>
                  </a:lnTo>
                  <a:lnTo>
                    <a:pt x="516" y="358"/>
                  </a:lnTo>
                  <a:lnTo>
                    <a:pt x="516" y="358"/>
                  </a:lnTo>
                  <a:lnTo>
                    <a:pt x="516" y="358"/>
                  </a:lnTo>
                  <a:lnTo>
                    <a:pt x="518" y="358"/>
                  </a:lnTo>
                  <a:lnTo>
                    <a:pt x="518" y="358"/>
                  </a:lnTo>
                  <a:lnTo>
                    <a:pt x="518" y="358"/>
                  </a:lnTo>
                  <a:lnTo>
                    <a:pt x="518" y="358"/>
                  </a:lnTo>
                  <a:lnTo>
                    <a:pt x="518" y="358"/>
                  </a:lnTo>
                  <a:lnTo>
                    <a:pt x="518" y="358"/>
                  </a:lnTo>
                  <a:lnTo>
                    <a:pt x="518" y="358"/>
                  </a:lnTo>
                  <a:lnTo>
                    <a:pt x="518" y="358"/>
                  </a:lnTo>
                  <a:lnTo>
                    <a:pt x="516" y="358"/>
                  </a:lnTo>
                  <a:close/>
                  <a:moveTo>
                    <a:pt x="717" y="575"/>
                  </a:moveTo>
                  <a:lnTo>
                    <a:pt x="719" y="575"/>
                  </a:lnTo>
                  <a:lnTo>
                    <a:pt x="719" y="577"/>
                  </a:lnTo>
                  <a:lnTo>
                    <a:pt x="719" y="577"/>
                  </a:lnTo>
                  <a:lnTo>
                    <a:pt x="719" y="575"/>
                  </a:lnTo>
                  <a:lnTo>
                    <a:pt x="719" y="575"/>
                  </a:lnTo>
                  <a:lnTo>
                    <a:pt x="719" y="573"/>
                  </a:lnTo>
                  <a:lnTo>
                    <a:pt x="717" y="573"/>
                  </a:lnTo>
                  <a:lnTo>
                    <a:pt x="717" y="573"/>
                  </a:lnTo>
                  <a:lnTo>
                    <a:pt x="717" y="575"/>
                  </a:lnTo>
                  <a:lnTo>
                    <a:pt x="717" y="575"/>
                  </a:lnTo>
                  <a:lnTo>
                    <a:pt x="717" y="575"/>
                  </a:lnTo>
                  <a:close/>
                  <a:moveTo>
                    <a:pt x="674" y="645"/>
                  </a:moveTo>
                  <a:lnTo>
                    <a:pt x="674" y="643"/>
                  </a:lnTo>
                  <a:lnTo>
                    <a:pt x="674" y="643"/>
                  </a:lnTo>
                  <a:lnTo>
                    <a:pt x="674" y="643"/>
                  </a:lnTo>
                  <a:lnTo>
                    <a:pt x="672" y="643"/>
                  </a:lnTo>
                  <a:lnTo>
                    <a:pt x="672" y="643"/>
                  </a:lnTo>
                  <a:lnTo>
                    <a:pt x="672" y="643"/>
                  </a:lnTo>
                  <a:lnTo>
                    <a:pt x="672" y="645"/>
                  </a:lnTo>
                  <a:lnTo>
                    <a:pt x="672" y="645"/>
                  </a:lnTo>
                  <a:lnTo>
                    <a:pt x="672" y="647"/>
                  </a:lnTo>
                  <a:lnTo>
                    <a:pt x="672" y="647"/>
                  </a:lnTo>
                  <a:lnTo>
                    <a:pt x="672" y="647"/>
                  </a:lnTo>
                  <a:lnTo>
                    <a:pt x="674" y="647"/>
                  </a:lnTo>
                  <a:lnTo>
                    <a:pt x="674" y="647"/>
                  </a:lnTo>
                  <a:lnTo>
                    <a:pt x="674" y="647"/>
                  </a:lnTo>
                  <a:lnTo>
                    <a:pt x="674" y="647"/>
                  </a:lnTo>
                  <a:lnTo>
                    <a:pt x="676" y="647"/>
                  </a:lnTo>
                  <a:lnTo>
                    <a:pt x="676" y="647"/>
                  </a:lnTo>
                  <a:lnTo>
                    <a:pt x="676" y="647"/>
                  </a:lnTo>
                  <a:lnTo>
                    <a:pt x="676" y="645"/>
                  </a:lnTo>
                  <a:lnTo>
                    <a:pt x="674" y="645"/>
                  </a:lnTo>
                  <a:close/>
                  <a:moveTo>
                    <a:pt x="496" y="254"/>
                  </a:moveTo>
                  <a:lnTo>
                    <a:pt x="496" y="254"/>
                  </a:lnTo>
                  <a:lnTo>
                    <a:pt x="496" y="254"/>
                  </a:lnTo>
                  <a:lnTo>
                    <a:pt x="496" y="254"/>
                  </a:lnTo>
                  <a:lnTo>
                    <a:pt x="496" y="252"/>
                  </a:lnTo>
                  <a:lnTo>
                    <a:pt x="496" y="252"/>
                  </a:lnTo>
                  <a:lnTo>
                    <a:pt x="496" y="252"/>
                  </a:lnTo>
                  <a:lnTo>
                    <a:pt x="496" y="252"/>
                  </a:lnTo>
                  <a:lnTo>
                    <a:pt x="496" y="254"/>
                  </a:lnTo>
                  <a:close/>
                  <a:moveTo>
                    <a:pt x="758" y="575"/>
                  </a:moveTo>
                  <a:lnTo>
                    <a:pt x="758" y="575"/>
                  </a:lnTo>
                  <a:lnTo>
                    <a:pt x="758" y="575"/>
                  </a:lnTo>
                  <a:lnTo>
                    <a:pt x="756" y="575"/>
                  </a:lnTo>
                  <a:lnTo>
                    <a:pt x="756" y="575"/>
                  </a:lnTo>
                  <a:lnTo>
                    <a:pt x="756" y="575"/>
                  </a:lnTo>
                  <a:lnTo>
                    <a:pt x="758" y="575"/>
                  </a:lnTo>
                  <a:lnTo>
                    <a:pt x="758" y="575"/>
                  </a:lnTo>
                  <a:close/>
                  <a:moveTo>
                    <a:pt x="746" y="586"/>
                  </a:moveTo>
                  <a:lnTo>
                    <a:pt x="746" y="584"/>
                  </a:lnTo>
                  <a:lnTo>
                    <a:pt x="744" y="584"/>
                  </a:lnTo>
                  <a:lnTo>
                    <a:pt x="744" y="586"/>
                  </a:lnTo>
                  <a:lnTo>
                    <a:pt x="746" y="586"/>
                  </a:lnTo>
                  <a:lnTo>
                    <a:pt x="746" y="586"/>
                  </a:lnTo>
                  <a:close/>
                  <a:moveTo>
                    <a:pt x="748" y="608"/>
                  </a:moveTo>
                  <a:lnTo>
                    <a:pt x="748" y="608"/>
                  </a:lnTo>
                  <a:lnTo>
                    <a:pt x="748" y="608"/>
                  </a:lnTo>
                  <a:lnTo>
                    <a:pt x="748" y="608"/>
                  </a:lnTo>
                  <a:close/>
                  <a:moveTo>
                    <a:pt x="748" y="586"/>
                  </a:moveTo>
                  <a:lnTo>
                    <a:pt x="748" y="586"/>
                  </a:lnTo>
                  <a:lnTo>
                    <a:pt x="748" y="586"/>
                  </a:lnTo>
                  <a:lnTo>
                    <a:pt x="748" y="586"/>
                  </a:lnTo>
                  <a:lnTo>
                    <a:pt x="748" y="586"/>
                  </a:lnTo>
                  <a:lnTo>
                    <a:pt x="748" y="586"/>
                  </a:lnTo>
                  <a:lnTo>
                    <a:pt x="748" y="588"/>
                  </a:lnTo>
                  <a:lnTo>
                    <a:pt x="748" y="588"/>
                  </a:lnTo>
                  <a:lnTo>
                    <a:pt x="748" y="586"/>
                  </a:lnTo>
                  <a:lnTo>
                    <a:pt x="748" y="586"/>
                  </a:lnTo>
                  <a:lnTo>
                    <a:pt x="748" y="586"/>
                  </a:lnTo>
                  <a:close/>
                  <a:moveTo>
                    <a:pt x="742" y="584"/>
                  </a:moveTo>
                  <a:lnTo>
                    <a:pt x="742" y="584"/>
                  </a:lnTo>
                  <a:lnTo>
                    <a:pt x="742" y="584"/>
                  </a:lnTo>
                  <a:lnTo>
                    <a:pt x="742" y="584"/>
                  </a:lnTo>
                  <a:close/>
                  <a:moveTo>
                    <a:pt x="746" y="612"/>
                  </a:moveTo>
                  <a:lnTo>
                    <a:pt x="746" y="612"/>
                  </a:lnTo>
                  <a:lnTo>
                    <a:pt x="744" y="614"/>
                  </a:lnTo>
                  <a:lnTo>
                    <a:pt x="744" y="614"/>
                  </a:lnTo>
                  <a:lnTo>
                    <a:pt x="746" y="614"/>
                  </a:lnTo>
                  <a:lnTo>
                    <a:pt x="746" y="612"/>
                  </a:lnTo>
                  <a:lnTo>
                    <a:pt x="748" y="612"/>
                  </a:lnTo>
                  <a:lnTo>
                    <a:pt x="748" y="610"/>
                  </a:lnTo>
                  <a:lnTo>
                    <a:pt x="748" y="610"/>
                  </a:lnTo>
                  <a:lnTo>
                    <a:pt x="746" y="612"/>
                  </a:lnTo>
                  <a:close/>
                  <a:moveTo>
                    <a:pt x="754" y="602"/>
                  </a:moveTo>
                  <a:lnTo>
                    <a:pt x="754" y="604"/>
                  </a:lnTo>
                  <a:lnTo>
                    <a:pt x="752" y="608"/>
                  </a:lnTo>
                  <a:lnTo>
                    <a:pt x="752" y="606"/>
                  </a:lnTo>
                  <a:lnTo>
                    <a:pt x="754" y="604"/>
                  </a:lnTo>
                  <a:lnTo>
                    <a:pt x="754" y="604"/>
                  </a:lnTo>
                  <a:lnTo>
                    <a:pt x="754" y="602"/>
                  </a:lnTo>
                  <a:lnTo>
                    <a:pt x="754" y="602"/>
                  </a:lnTo>
                  <a:close/>
                  <a:moveTo>
                    <a:pt x="750" y="586"/>
                  </a:moveTo>
                  <a:lnTo>
                    <a:pt x="750" y="586"/>
                  </a:lnTo>
                  <a:lnTo>
                    <a:pt x="750" y="584"/>
                  </a:lnTo>
                  <a:lnTo>
                    <a:pt x="748" y="582"/>
                  </a:lnTo>
                  <a:lnTo>
                    <a:pt x="748" y="582"/>
                  </a:lnTo>
                  <a:lnTo>
                    <a:pt x="748" y="584"/>
                  </a:lnTo>
                  <a:lnTo>
                    <a:pt x="748" y="584"/>
                  </a:lnTo>
                  <a:lnTo>
                    <a:pt x="750" y="586"/>
                  </a:lnTo>
                  <a:close/>
                  <a:moveTo>
                    <a:pt x="781" y="553"/>
                  </a:moveTo>
                  <a:lnTo>
                    <a:pt x="779" y="555"/>
                  </a:lnTo>
                  <a:lnTo>
                    <a:pt x="777" y="559"/>
                  </a:lnTo>
                  <a:lnTo>
                    <a:pt x="774" y="559"/>
                  </a:lnTo>
                  <a:lnTo>
                    <a:pt x="772" y="561"/>
                  </a:lnTo>
                  <a:lnTo>
                    <a:pt x="772" y="561"/>
                  </a:lnTo>
                  <a:lnTo>
                    <a:pt x="772" y="563"/>
                  </a:lnTo>
                  <a:lnTo>
                    <a:pt x="772" y="563"/>
                  </a:lnTo>
                  <a:lnTo>
                    <a:pt x="774" y="563"/>
                  </a:lnTo>
                  <a:lnTo>
                    <a:pt x="774" y="565"/>
                  </a:lnTo>
                  <a:lnTo>
                    <a:pt x="774" y="567"/>
                  </a:lnTo>
                  <a:lnTo>
                    <a:pt x="770" y="571"/>
                  </a:lnTo>
                  <a:lnTo>
                    <a:pt x="770" y="577"/>
                  </a:lnTo>
                  <a:lnTo>
                    <a:pt x="766" y="577"/>
                  </a:lnTo>
                  <a:lnTo>
                    <a:pt x="766" y="580"/>
                  </a:lnTo>
                  <a:lnTo>
                    <a:pt x="766" y="580"/>
                  </a:lnTo>
                  <a:lnTo>
                    <a:pt x="766" y="580"/>
                  </a:lnTo>
                  <a:lnTo>
                    <a:pt x="766" y="577"/>
                  </a:lnTo>
                  <a:lnTo>
                    <a:pt x="766" y="577"/>
                  </a:lnTo>
                  <a:lnTo>
                    <a:pt x="768" y="580"/>
                  </a:lnTo>
                  <a:lnTo>
                    <a:pt x="768" y="580"/>
                  </a:lnTo>
                  <a:lnTo>
                    <a:pt x="768" y="582"/>
                  </a:lnTo>
                  <a:lnTo>
                    <a:pt x="768" y="580"/>
                  </a:lnTo>
                  <a:lnTo>
                    <a:pt x="768" y="580"/>
                  </a:lnTo>
                  <a:lnTo>
                    <a:pt x="768" y="580"/>
                  </a:lnTo>
                  <a:lnTo>
                    <a:pt x="768" y="580"/>
                  </a:lnTo>
                  <a:lnTo>
                    <a:pt x="768" y="582"/>
                  </a:lnTo>
                  <a:lnTo>
                    <a:pt x="768" y="582"/>
                  </a:lnTo>
                  <a:lnTo>
                    <a:pt x="768" y="584"/>
                  </a:lnTo>
                  <a:lnTo>
                    <a:pt x="766" y="584"/>
                  </a:lnTo>
                  <a:lnTo>
                    <a:pt x="764" y="584"/>
                  </a:lnTo>
                  <a:lnTo>
                    <a:pt x="764" y="586"/>
                  </a:lnTo>
                  <a:lnTo>
                    <a:pt x="764" y="588"/>
                  </a:lnTo>
                  <a:lnTo>
                    <a:pt x="762" y="590"/>
                  </a:lnTo>
                  <a:lnTo>
                    <a:pt x="762" y="592"/>
                  </a:lnTo>
                  <a:lnTo>
                    <a:pt x="760" y="594"/>
                  </a:lnTo>
                  <a:lnTo>
                    <a:pt x="760" y="594"/>
                  </a:lnTo>
                  <a:lnTo>
                    <a:pt x="760" y="594"/>
                  </a:lnTo>
                  <a:lnTo>
                    <a:pt x="758" y="598"/>
                  </a:lnTo>
                  <a:lnTo>
                    <a:pt x="758" y="598"/>
                  </a:lnTo>
                  <a:lnTo>
                    <a:pt x="756" y="600"/>
                  </a:lnTo>
                  <a:lnTo>
                    <a:pt x="756" y="600"/>
                  </a:lnTo>
                  <a:lnTo>
                    <a:pt x="756" y="602"/>
                  </a:lnTo>
                  <a:lnTo>
                    <a:pt x="756" y="602"/>
                  </a:lnTo>
                  <a:lnTo>
                    <a:pt x="756" y="602"/>
                  </a:lnTo>
                  <a:lnTo>
                    <a:pt x="758" y="600"/>
                  </a:lnTo>
                  <a:lnTo>
                    <a:pt x="760" y="598"/>
                  </a:lnTo>
                  <a:lnTo>
                    <a:pt x="762" y="594"/>
                  </a:lnTo>
                  <a:lnTo>
                    <a:pt x="764" y="590"/>
                  </a:lnTo>
                  <a:lnTo>
                    <a:pt x="766" y="588"/>
                  </a:lnTo>
                  <a:lnTo>
                    <a:pt x="766" y="586"/>
                  </a:lnTo>
                  <a:lnTo>
                    <a:pt x="766" y="586"/>
                  </a:lnTo>
                  <a:lnTo>
                    <a:pt x="768" y="586"/>
                  </a:lnTo>
                  <a:lnTo>
                    <a:pt x="768" y="584"/>
                  </a:lnTo>
                  <a:lnTo>
                    <a:pt x="774" y="575"/>
                  </a:lnTo>
                  <a:lnTo>
                    <a:pt x="774" y="575"/>
                  </a:lnTo>
                  <a:lnTo>
                    <a:pt x="774" y="573"/>
                  </a:lnTo>
                  <a:lnTo>
                    <a:pt x="774" y="569"/>
                  </a:lnTo>
                  <a:lnTo>
                    <a:pt x="777" y="565"/>
                  </a:lnTo>
                  <a:lnTo>
                    <a:pt x="781" y="561"/>
                  </a:lnTo>
                  <a:lnTo>
                    <a:pt x="781" y="559"/>
                  </a:lnTo>
                  <a:lnTo>
                    <a:pt x="781" y="559"/>
                  </a:lnTo>
                  <a:lnTo>
                    <a:pt x="781" y="557"/>
                  </a:lnTo>
                  <a:lnTo>
                    <a:pt x="781" y="557"/>
                  </a:lnTo>
                  <a:lnTo>
                    <a:pt x="781" y="555"/>
                  </a:lnTo>
                  <a:lnTo>
                    <a:pt x="781" y="555"/>
                  </a:lnTo>
                  <a:lnTo>
                    <a:pt x="783" y="555"/>
                  </a:lnTo>
                  <a:lnTo>
                    <a:pt x="783" y="555"/>
                  </a:lnTo>
                  <a:lnTo>
                    <a:pt x="783" y="553"/>
                  </a:lnTo>
                  <a:lnTo>
                    <a:pt x="781" y="553"/>
                  </a:lnTo>
                  <a:lnTo>
                    <a:pt x="781" y="553"/>
                  </a:lnTo>
                  <a:close/>
                  <a:moveTo>
                    <a:pt x="754" y="577"/>
                  </a:moveTo>
                  <a:lnTo>
                    <a:pt x="752" y="577"/>
                  </a:lnTo>
                  <a:lnTo>
                    <a:pt x="752" y="577"/>
                  </a:lnTo>
                  <a:lnTo>
                    <a:pt x="752" y="577"/>
                  </a:lnTo>
                  <a:lnTo>
                    <a:pt x="752" y="580"/>
                  </a:lnTo>
                  <a:lnTo>
                    <a:pt x="752" y="580"/>
                  </a:lnTo>
                  <a:lnTo>
                    <a:pt x="754" y="577"/>
                  </a:lnTo>
                  <a:close/>
                  <a:moveTo>
                    <a:pt x="748" y="588"/>
                  </a:moveTo>
                  <a:lnTo>
                    <a:pt x="750" y="590"/>
                  </a:lnTo>
                  <a:lnTo>
                    <a:pt x="750" y="588"/>
                  </a:lnTo>
                  <a:lnTo>
                    <a:pt x="750" y="588"/>
                  </a:lnTo>
                  <a:lnTo>
                    <a:pt x="748" y="588"/>
                  </a:lnTo>
                  <a:close/>
                  <a:moveTo>
                    <a:pt x="742" y="598"/>
                  </a:moveTo>
                  <a:lnTo>
                    <a:pt x="744" y="598"/>
                  </a:lnTo>
                  <a:lnTo>
                    <a:pt x="742" y="598"/>
                  </a:lnTo>
                  <a:lnTo>
                    <a:pt x="742" y="598"/>
                  </a:lnTo>
                  <a:close/>
                  <a:moveTo>
                    <a:pt x="746" y="586"/>
                  </a:moveTo>
                  <a:lnTo>
                    <a:pt x="746" y="586"/>
                  </a:lnTo>
                  <a:lnTo>
                    <a:pt x="748" y="588"/>
                  </a:lnTo>
                  <a:lnTo>
                    <a:pt x="746" y="586"/>
                  </a:lnTo>
                  <a:close/>
                  <a:moveTo>
                    <a:pt x="697" y="641"/>
                  </a:moveTo>
                  <a:lnTo>
                    <a:pt x="695" y="643"/>
                  </a:lnTo>
                  <a:lnTo>
                    <a:pt x="697" y="643"/>
                  </a:lnTo>
                  <a:lnTo>
                    <a:pt x="697" y="643"/>
                  </a:lnTo>
                  <a:lnTo>
                    <a:pt x="697" y="643"/>
                  </a:lnTo>
                  <a:lnTo>
                    <a:pt x="697" y="641"/>
                  </a:lnTo>
                  <a:lnTo>
                    <a:pt x="697" y="641"/>
                  </a:lnTo>
                  <a:close/>
                  <a:moveTo>
                    <a:pt x="684" y="639"/>
                  </a:moveTo>
                  <a:lnTo>
                    <a:pt x="680" y="637"/>
                  </a:lnTo>
                  <a:lnTo>
                    <a:pt x="680" y="637"/>
                  </a:lnTo>
                  <a:lnTo>
                    <a:pt x="680" y="637"/>
                  </a:lnTo>
                  <a:lnTo>
                    <a:pt x="680" y="637"/>
                  </a:lnTo>
                  <a:lnTo>
                    <a:pt x="680" y="637"/>
                  </a:lnTo>
                  <a:lnTo>
                    <a:pt x="678" y="637"/>
                  </a:lnTo>
                  <a:lnTo>
                    <a:pt x="680" y="637"/>
                  </a:lnTo>
                  <a:lnTo>
                    <a:pt x="680" y="637"/>
                  </a:lnTo>
                  <a:lnTo>
                    <a:pt x="678" y="637"/>
                  </a:lnTo>
                  <a:lnTo>
                    <a:pt x="686" y="645"/>
                  </a:lnTo>
                  <a:lnTo>
                    <a:pt x="688" y="647"/>
                  </a:lnTo>
                  <a:lnTo>
                    <a:pt x="688" y="647"/>
                  </a:lnTo>
                  <a:lnTo>
                    <a:pt x="688" y="647"/>
                  </a:lnTo>
                  <a:lnTo>
                    <a:pt x="690" y="645"/>
                  </a:lnTo>
                  <a:lnTo>
                    <a:pt x="688" y="641"/>
                  </a:lnTo>
                  <a:lnTo>
                    <a:pt x="684" y="639"/>
                  </a:lnTo>
                  <a:close/>
                  <a:moveTo>
                    <a:pt x="678" y="643"/>
                  </a:moveTo>
                  <a:lnTo>
                    <a:pt x="678" y="645"/>
                  </a:lnTo>
                  <a:lnTo>
                    <a:pt x="678" y="645"/>
                  </a:lnTo>
                  <a:lnTo>
                    <a:pt x="678" y="645"/>
                  </a:lnTo>
                  <a:lnTo>
                    <a:pt x="678" y="645"/>
                  </a:lnTo>
                  <a:lnTo>
                    <a:pt x="678" y="645"/>
                  </a:lnTo>
                  <a:lnTo>
                    <a:pt x="678" y="645"/>
                  </a:lnTo>
                  <a:lnTo>
                    <a:pt x="678" y="647"/>
                  </a:lnTo>
                  <a:lnTo>
                    <a:pt x="678" y="647"/>
                  </a:lnTo>
                  <a:lnTo>
                    <a:pt x="680" y="647"/>
                  </a:lnTo>
                  <a:lnTo>
                    <a:pt x="680" y="645"/>
                  </a:lnTo>
                  <a:lnTo>
                    <a:pt x="678" y="645"/>
                  </a:lnTo>
                  <a:lnTo>
                    <a:pt x="678" y="643"/>
                  </a:lnTo>
                  <a:close/>
                  <a:moveTo>
                    <a:pt x="680" y="647"/>
                  </a:moveTo>
                  <a:lnTo>
                    <a:pt x="682" y="647"/>
                  </a:lnTo>
                  <a:lnTo>
                    <a:pt x="682" y="647"/>
                  </a:lnTo>
                  <a:lnTo>
                    <a:pt x="682" y="645"/>
                  </a:lnTo>
                  <a:lnTo>
                    <a:pt x="682" y="645"/>
                  </a:lnTo>
                  <a:lnTo>
                    <a:pt x="680" y="647"/>
                  </a:lnTo>
                  <a:close/>
                  <a:moveTo>
                    <a:pt x="690" y="639"/>
                  </a:moveTo>
                  <a:lnTo>
                    <a:pt x="688" y="639"/>
                  </a:lnTo>
                  <a:lnTo>
                    <a:pt x="688" y="641"/>
                  </a:lnTo>
                  <a:lnTo>
                    <a:pt x="688" y="641"/>
                  </a:lnTo>
                  <a:lnTo>
                    <a:pt x="688" y="641"/>
                  </a:lnTo>
                  <a:lnTo>
                    <a:pt x="690" y="641"/>
                  </a:lnTo>
                  <a:lnTo>
                    <a:pt x="690" y="643"/>
                  </a:lnTo>
                  <a:lnTo>
                    <a:pt x="690" y="641"/>
                  </a:lnTo>
                  <a:lnTo>
                    <a:pt x="690" y="641"/>
                  </a:lnTo>
                  <a:lnTo>
                    <a:pt x="690" y="639"/>
                  </a:lnTo>
                  <a:close/>
                  <a:moveTo>
                    <a:pt x="738" y="606"/>
                  </a:moveTo>
                  <a:lnTo>
                    <a:pt x="738" y="606"/>
                  </a:lnTo>
                  <a:lnTo>
                    <a:pt x="738" y="606"/>
                  </a:lnTo>
                  <a:lnTo>
                    <a:pt x="738" y="606"/>
                  </a:lnTo>
                  <a:close/>
                  <a:moveTo>
                    <a:pt x="740" y="616"/>
                  </a:moveTo>
                  <a:lnTo>
                    <a:pt x="740" y="616"/>
                  </a:lnTo>
                  <a:lnTo>
                    <a:pt x="740" y="616"/>
                  </a:lnTo>
                  <a:lnTo>
                    <a:pt x="740" y="618"/>
                  </a:lnTo>
                  <a:lnTo>
                    <a:pt x="740" y="618"/>
                  </a:lnTo>
                  <a:lnTo>
                    <a:pt x="740" y="618"/>
                  </a:lnTo>
                  <a:lnTo>
                    <a:pt x="738" y="616"/>
                  </a:lnTo>
                  <a:lnTo>
                    <a:pt x="738" y="616"/>
                  </a:lnTo>
                  <a:lnTo>
                    <a:pt x="738" y="616"/>
                  </a:lnTo>
                  <a:lnTo>
                    <a:pt x="738" y="616"/>
                  </a:lnTo>
                  <a:lnTo>
                    <a:pt x="736" y="620"/>
                  </a:lnTo>
                  <a:lnTo>
                    <a:pt x="734" y="620"/>
                  </a:lnTo>
                  <a:lnTo>
                    <a:pt x="734" y="620"/>
                  </a:lnTo>
                  <a:lnTo>
                    <a:pt x="734" y="620"/>
                  </a:lnTo>
                  <a:lnTo>
                    <a:pt x="738" y="620"/>
                  </a:lnTo>
                  <a:lnTo>
                    <a:pt x="740" y="620"/>
                  </a:lnTo>
                  <a:lnTo>
                    <a:pt x="740" y="618"/>
                  </a:lnTo>
                  <a:lnTo>
                    <a:pt x="740" y="618"/>
                  </a:lnTo>
                  <a:lnTo>
                    <a:pt x="740" y="618"/>
                  </a:lnTo>
                  <a:lnTo>
                    <a:pt x="740" y="616"/>
                  </a:lnTo>
                  <a:lnTo>
                    <a:pt x="740" y="616"/>
                  </a:lnTo>
                  <a:close/>
                  <a:moveTo>
                    <a:pt x="729" y="598"/>
                  </a:moveTo>
                  <a:lnTo>
                    <a:pt x="729" y="598"/>
                  </a:lnTo>
                  <a:lnTo>
                    <a:pt x="729" y="598"/>
                  </a:lnTo>
                  <a:lnTo>
                    <a:pt x="729" y="598"/>
                  </a:lnTo>
                  <a:close/>
                  <a:moveTo>
                    <a:pt x="717" y="631"/>
                  </a:moveTo>
                  <a:lnTo>
                    <a:pt x="717" y="631"/>
                  </a:lnTo>
                  <a:lnTo>
                    <a:pt x="715" y="633"/>
                  </a:lnTo>
                  <a:lnTo>
                    <a:pt x="711" y="635"/>
                  </a:lnTo>
                  <a:lnTo>
                    <a:pt x="709" y="637"/>
                  </a:lnTo>
                  <a:lnTo>
                    <a:pt x="709" y="637"/>
                  </a:lnTo>
                  <a:lnTo>
                    <a:pt x="709" y="637"/>
                  </a:lnTo>
                  <a:lnTo>
                    <a:pt x="711" y="635"/>
                  </a:lnTo>
                  <a:lnTo>
                    <a:pt x="713" y="635"/>
                  </a:lnTo>
                  <a:lnTo>
                    <a:pt x="713" y="637"/>
                  </a:lnTo>
                  <a:lnTo>
                    <a:pt x="713" y="637"/>
                  </a:lnTo>
                  <a:lnTo>
                    <a:pt x="713" y="637"/>
                  </a:lnTo>
                  <a:lnTo>
                    <a:pt x="713" y="637"/>
                  </a:lnTo>
                  <a:lnTo>
                    <a:pt x="713" y="637"/>
                  </a:lnTo>
                  <a:lnTo>
                    <a:pt x="715" y="635"/>
                  </a:lnTo>
                  <a:lnTo>
                    <a:pt x="715" y="635"/>
                  </a:lnTo>
                  <a:lnTo>
                    <a:pt x="717" y="633"/>
                  </a:lnTo>
                  <a:lnTo>
                    <a:pt x="717" y="633"/>
                  </a:lnTo>
                  <a:lnTo>
                    <a:pt x="717" y="631"/>
                  </a:lnTo>
                  <a:lnTo>
                    <a:pt x="717" y="631"/>
                  </a:lnTo>
                  <a:close/>
                  <a:moveTo>
                    <a:pt x="727" y="625"/>
                  </a:moveTo>
                  <a:lnTo>
                    <a:pt x="727" y="625"/>
                  </a:lnTo>
                  <a:lnTo>
                    <a:pt x="725" y="627"/>
                  </a:lnTo>
                  <a:lnTo>
                    <a:pt x="717" y="633"/>
                  </a:lnTo>
                  <a:lnTo>
                    <a:pt x="719" y="633"/>
                  </a:lnTo>
                  <a:lnTo>
                    <a:pt x="719" y="633"/>
                  </a:lnTo>
                  <a:lnTo>
                    <a:pt x="725" y="629"/>
                  </a:lnTo>
                  <a:lnTo>
                    <a:pt x="725" y="627"/>
                  </a:lnTo>
                  <a:lnTo>
                    <a:pt x="727" y="627"/>
                  </a:lnTo>
                  <a:lnTo>
                    <a:pt x="727" y="627"/>
                  </a:lnTo>
                  <a:lnTo>
                    <a:pt x="727" y="627"/>
                  </a:lnTo>
                  <a:lnTo>
                    <a:pt x="727" y="625"/>
                  </a:lnTo>
                  <a:lnTo>
                    <a:pt x="727" y="625"/>
                  </a:lnTo>
                  <a:close/>
                  <a:moveTo>
                    <a:pt x="740" y="596"/>
                  </a:moveTo>
                  <a:lnTo>
                    <a:pt x="740" y="594"/>
                  </a:lnTo>
                  <a:lnTo>
                    <a:pt x="740" y="594"/>
                  </a:lnTo>
                  <a:lnTo>
                    <a:pt x="740" y="596"/>
                  </a:lnTo>
                  <a:lnTo>
                    <a:pt x="740" y="596"/>
                  </a:lnTo>
                  <a:close/>
                  <a:moveTo>
                    <a:pt x="785" y="536"/>
                  </a:moveTo>
                  <a:lnTo>
                    <a:pt x="785" y="536"/>
                  </a:lnTo>
                  <a:lnTo>
                    <a:pt x="785" y="536"/>
                  </a:lnTo>
                  <a:lnTo>
                    <a:pt x="785" y="536"/>
                  </a:lnTo>
                  <a:lnTo>
                    <a:pt x="785" y="545"/>
                  </a:lnTo>
                  <a:lnTo>
                    <a:pt x="783" y="545"/>
                  </a:lnTo>
                  <a:lnTo>
                    <a:pt x="783" y="547"/>
                  </a:lnTo>
                  <a:lnTo>
                    <a:pt x="783" y="547"/>
                  </a:lnTo>
                  <a:lnTo>
                    <a:pt x="783" y="547"/>
                  </a:lnTo>
                  <a:lnTo>
                    <a:pt x="783" y="547"/>
                  </a:lnTo>
                  <a:lnTo>
                    <a:pt x="783" y="547"/>
                  </a:lnTo>
                  <a:lnTo>
                    <a:pt x="783" y="547"/>
                  </a:lnTo>
                  <a:lnTo>
                    <a:pt x="783" y="547"/>
                  </a:lnTo>
                  <a:lnTo>
                    <a:pt x="783" y="547"/>
                  </a:lnTo>
                  <a:lnTo>
                    <a:pt x="785" y="545"/>
                  </a:lnTo>
                  <a:lnTo>
                    <a:pt x="785" y="543"/>
                  </a:lnTo>
                  <a:lnTo>
                    <a:pt x="785" y="541"/>
                  </a:lnTo>
                  <a:lnTo>
                    <a:pt x="785" y="539"/>
                  </a:lnTo>
                  <a:lnTo>
                    <a:pt x="785" y="539"/>
                  </a:lnTo>
                  <a:lnTo>
                    <a:pt x="785" y="536"/>
                  </a:lnTo>
                  <a:lnTo>
                    <a:pt x="785" y="536"/>
                  </a:lnTo>
                  <a:lnTo>
                    <a:pt x="785" y="536"/>
                  </a:lnTo>
                  <a:close/>
                  <a:moveTo>
                    <a:pt x="764" y="582"/>
                  </a:moveTo>
                  <a:lnTo>
                    <a:pt x="764" y="582"/>
                  </a:lnTo>
                  <a:lnTo>
                    <a:pt x="764" y="582"/>
                  </a:lnTo>
                  <a:lnTo>
                    <a:pt x="764" y="582"/>
                  </a:lnTo>
                  <a:lnTo>
                    <a:pt x="764" y="584"/>
                  </a:lnTo>
                  <a:lnTo>
                    <a:pt x="762" y="584"/>
                  </a:lnTo>
                  <a:lnTo>
                    <a:pt x="762" y="584"/>
                  </a:lnTo>
                  <a:lnTo>
                    <a:pt x="764" y="584"/>
                  </a:lnTo>
                  <a:lnTo>
                    <a:pt x="764" y="582"/>
                  </a:lnTo>
                  <a:lnTo>
                    <a:pt x="764" y="582"/>
                  </a:lnTo>
                  <a:close/>
                </a:path>
              </a:pathLst>
            </a:custGeom>
            <a:solidFill>
              <a:schemeClr val="bg1">
                <a:lumMod val="50000"/>
              </a:schemeClr>
            </a:solidFill>
            <a:ln w="3175" cap="rnd">
              <a:solidFill>
                <a:schemeClr val="bg1"/>
              </a:solidFill>
              <a:prstDash val="solid"/>
              <a:round/>
              <a:headEnd/>
              <a:tailEnd/>
            </a:ln>
          </p:spPr>
          <p:txBody>
            <a:bodyPr vert="horz" wrap="square" lIns="0" tIns="0" rIns="192000" bIns="0" numCol="1" anchor="ctr"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FL</a:t>
              </a:r>
            </a:p>
          </p:txBody>
        </p:sp>
        <p:sp>
          <p:nvSpPr>
            <p:cNvPr id="232" name="Freeform 47">
              <a:extLst>
                <a:ext uri="{FF2B5EF4-FFF2-40B4-BE49-F238E27FC236}">
                  <a16:creationId xmlns:a16="http://schemas.microsoft.com/office/drawing/2014/main" id="{8F203EA3-5E29-B641-CDA2-1B1725570C1D}"/>
                </a:ext>
              </a:extLst>
            </p:cNvPr>
            <p:cNvSpPr>
              <a:spLocks/>
            </p:cNvSpPr>
            <p:nvPr/>
          </p:nvSpPr>
          <p:spPr bwMode="auto">
            <a:xfrm>
              <a:off x="4750" y="912"/>
              <a:ext cx="92" cy="150"/>
            </a:xfrm>
            <a:custGeom>
              <a:avLst/>
              <a:gdLst>
                <a:gd name="T0" fmla="*/ 26 w 92"/>
                <a:gd name="T1" fmla="*/ 6 h 150"/>
                <a:gd name="T2" fmla="*/ 24 w 92"/>
                <a:gd name="T3" fmla="*/ 12 h 150"/>
                <a:gd name="T4" fmla="*/ 18 w 92"/>
                <a:gd name="T5" fmla="*/ 21 h 150"/>
                <a:gd name="T6" fmla="*/ 18 w 92"/>
                <a:gd name="T7" fmla="*/ 25 h 150"/>
                <a:gd name="T8" fmla="*/ 20 w 92"/>
                <a:gd name="T9" fmla="*/ 29 h 150"/>
                <a:gd name="T10" fmla="*/ 24 w 92"/>
                <a:gd name="T11" fmla="*/ 33 h 150"/>
                <a:gd name="T12" fmla="*/ 22 w 92"/>
                <a:gd name="T13" fmla="*/ 39 h 150"/>
                <a:gd name="T14" fmla="*/ 26 w 92"/>
                <a:gd name="T15" fmla="*/ 43 h 150"/>
                <a:gd name="T16" fmla="*/ 35 w 92"/>
                <a:gd name="T17" fmla="*/ 51 h 150"/>
                <a:gd name="T18" fmla="*/ 37 w 92"/>
                <a:gd name="T19" fmla="*/ 51 h 150"/>
                <a:gd name="T20" fmla="*/ 43 w 92"/>
                <a:gd name="T21" fmla="*/ 59 h 150"/>
                <a:gd name="T22" fmla="*/ 47 w 92"/>
                <a:gd name="T23" fmla="*/ 72 h 150"/>
                <a:gd name="T24" fmla="*/ 49 w 92"/>
                <a:gd name="T25" fmla="*/ 76 h 150"/>
                <a:gd name="T26" fmla="*/ 51 w 92"/>
                <a:gd name="T27" fmla="*/ 80 h 150"/>
                <a:gd name="T28" fmla="*/ 57 w 92"/>
                <a:gd name="T29" fmla="*/ 88 h 150"/>
                <a:gd name="T30" fmla="*/ 59 w 92"/>
                <a:gd name="T31" fmla="*/ 92 h 150"/>
                <a:gd name="T32" fmla="*/ 74 w 92"/>
                <a:gd name="T33" fmla="*/ 102 h 150"/>
                <a:gd name="T34" fmla="*/ 80 w 92"/>
                <a:gd name="T35" fmla="*/ 100 h 150"/>
                <a:gd name="T36" fmla="*/ 86 w 92"/>
                <a:gd name="T37" fmla="*/ 117 h 150"/>
                <a:gd name="T38" fmla="*/ 82 w 92"/>
                <a:gd name="T39" fmla="*/ 111 h 150"/>
                <a:gd name="T40" fmla="*/ 80 w 92"/>
                <a:gd name="T41" fmla="*/ 117 h 150"/>
                <a:gd name="T42" fmla="*/ 78 w 92"/>
                <a:gd name="T43" fmla="*/ 117 h 150"/>
                <a:gd name="T44" fmla="*/ 78 w 92"/>
                <a:gd name="T45" fmla="*/ 117 h 150"/>
                <a:gd name="T46" fmla="*/ 82 w 92"/>
                <a:gd name="T47" fmla="*/ 119 h 150"/>
                <a:gd name="T48" fmla="*/ 76 w 92"/>
                <a:gd name="T49" fmla="*/ 123 h 150"/>
                <a:gd name="T50" fmla="*/ 76 w 92"/>
                <a:gd name="T51" fmla="*/ 125 h 150"/>
                <a:gd name="T52" fmla="*/ 76 w 92"/>
                <a:gd name="T53" fmla="*/ 127 h 150"/>
                <a:gd name="T54" fmla="*/ 82 w 92"/>
                <a:gd name="T55" fmla="*/ 123 h 150"/>
                <a:gd name="T56" fmla="*/ 84 w 92"/>
                <a:gd name="T57" fmla="*/ 125 h 150"/>
                <a:gd name="T58" fmla="*/ 86 w 92"/>
                <a:gd name="T59" fmla="*/ 121 h 150"/>
                <a:gd name="T60" fmla="*/ 86 w 92"/>
                <a:gd name="T61" fmla="*/ 119 h 150"/>
                <a:gd name="T62" fmla="*/ 88 w 92"/>
                <a:gd name="T63" fmla="*/ 127 h 150"/>
                <a:gd name="T64" fmla="*/ 92 w 92"/>
                <a:gd name="T65" fmla="*/ 133 h 150"/>
                <a:gd name="T66" fmla="*/ 90 w 92"/>
                <a:gd name="T67" fmla="*/ 137 h 150"/>
                <a:gd name="T68" fmla="*/ 88 w 92"/>
                <a:gd name="T69" fmla="*/ 137 h 150"/>
                <a:gd name="T70" fmla="*/ 82 w 92"/>
                <a:gd name="T71" fmla="*/ 139 h 150"/>
                <a:gd name="T72" fmla="*/ 63 w 92"/>
                <a:gd name="T73" fmla="*/ 143 h 150"/>
                <a:gd name="T74" fmla="*/ 43 w 92"/>
                <a:gd name="T75" fmla="*/ 148 h 150"/>
                <a:gd name="T76" fmla="*/ 35 w 92"/>
                <a:gd name="T77" fmla="*/ 139 h 150"/>
                <a:gd name="T78" fmla="*/ 28 w 92"/>
                <a:gd name="T79" fmla="*/ 117 h 150"/>
                <a:gd name="T80" fmla="*/ 22 w 92"/>
                <a:gd name="T81" fmla="*/ 94 h 150"/>
                <a:gd name="T82" fmla="*/ 16 w 92"/>
                <a:gd name="T83" fmla="*/ 72 h 150"/>
                <a:gd name="T84" fmla="*/ 8 w 92"/>
                <a:gd name="T85" fmla="*/ 47 h 150"/>
                <a:gd name="T86" fmla="*/ 2 w 92"/>
                <a:gd name="T87" fmla="*/ 25 h 150"/>
                <a:gd name="T88" fmla="*/ 2 w 92"/>
                <a:gd name="T89" fmla="*/ 18 h 150"/>
                <a:gd name="T90" fmla="*/ 6 w 92"/>
                <a:gd name="T91" fmla="*/ 6 h 150"/>
                <a:gd name="T92" fmla="*/ 10 w 92"/>
                <a:gd name="T93" fmla="*/ 2 h 150"/>
                <a:gd name="T94" fmla="*/ 16 w 92"/>
                <a:gd name="T95" fmla="*/ 0 h 150"/>
                <a:gd name="T96" fmla="*/ 26 w 92"/>
                <a:gd name="T97" fmla="*/ 0 h 150"/>
                <a:gd name="T98" fmla="*/ 28 w 92"/>
                <a:gd name="T99" fmla="*/ 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150">
                  <a:moveTo>
                    <a:pt x="28" y="2"/>
                  </a:moveTo>
                  <a:lnTo>
                    <a:pt x="28" y="2"/>
                  </a:lnTo>
                  <a:lnTo>
                    <a:pt x="26" y="6"/>
                  </a:lnTo>
                  <a:lnTo>
                    <a:pt x="24" y="6"/>
                  </a:lnTo>
                  <a:lnTo>
                    <a:pt x="24" y="10"/>
                  </a:lnTo>
                  <a:lnTo>
                    <a:pt x="24" y="12"/>
                  </a:lnTo>
                  <a:lnTo>
                    <a:pt x="22" y="18"/>
                  </a:lnTo>
                  <a:lnTo>
                    <a:pt x="20" y="18"/>
                  </a:lnTo>
                  <a:lnTo>
                    <a:pt x="18" y="21"/>
                  </a:lnTo>
                  <a:lnTo>
                    <a:pt x="18" y="23"/>
                  </a:lnTo>
                  <a:lnTo>
                    <a:pt x="18" y="23"/>
                  </a:lnTo>
                  <a:lnTo>
                    <a:pt x="18" y="25"/>
                  </a:lnTo>
                  <a:lnTo>
                    <a:pt x="18" y="25"/>
                  </a:lnTo>
                  <a:lnTo>
                    <a:pt x="18" y="27"/>
                  </a:lnTo>
                  <a:lnTo>
                    <a:pt x="20" y="29"/>
                  </a:lnTo>
                  <a:lnTo>
                    <a:pt x="22" y="29"/>
                  </a:lnTo>
                  <a:lnTo>
                    <a:pt x="24" y="31"/>
                  </a:lnTo>
                  <a:lnTo>
                    <a:pt x="24" y="33"/>
                  </a:lnTo>
                  <a:lnTo>
                    <a:pt x="24" y="35"/>
                  </a:lnTo>
                  <a:lnTo>
                    <a:pt x="22" y="37"/>
                  </a:lnTo>
                  <a:lnTo>
                    <a:pt x="22" y="39"/>
                  </a:lnTo>
                  <a:lnTo>
                    <a:pt x="24" y="41"/>
                  </a:lnTo>
                  <a:lnTo>
                    <a:pt x="26" y="43"/>
                  </a:lnTo>
                  <a:lnTo>
                    <a:pt x="26" y="43"/>
                  </a:lnTo>
                  <a:lnTo>
                    <a:pt x="28" y="45"/>
                  </a:lnTo>
                  <a:lnTo>
                    <a:pt x="33" y="51"/>
                  </a:lnTo>
                  <a:lnTo>
                    <a:pt x="35" y="51"/>
                  </a:lnTo>
                  <a:lnTo>
                    <a:pt x="35" y="51"/>
                  </a:lnTo>
                  <a:lnTo>
                    <a:pt x="37" y="51"/>
                  </a:lnTo>
                  <a:lnTo>
                    <a:pt x="37" y="51"/>
                  </a:lnTo>
                  <a:lnTo>
                    <a:pt x="39" y="53"/>
                  </a:lnTo>
                  <a:lnTo>
                    <a:pt x="43" y="57"/>
                  </a:lnTo>
                  <a:lnTo>
                    <a:pt x="43" y="59"/>
                  </a:lnTo>
                  <a:lnTo>
                    <a:pt x="45" y="61"/>
                  </a:lnTo>
                  <a:lnTo>
                    <a:pt x="45" y="70"/>
                  </a:lnTo>
                  <a:lnTo>
                    <a:pt x="47" y="72"/>
                  </a:lnTo>
                  <a:lnTo>
                    <a:pt x="47" y="72"/>
                  </a:lnTo>
                  <a:lnTo>
                    <a:pt x="47" y="74"/>
                  </a:lnTo>
                  <a:lnTo>
                    <a:pt x="49" y="76"/>
                  </a:lnTo>
                  <a:lnTo>
                    <a:pt x="49" y="78"/>
                  </a:lnTo>
                  <a:lnTo>
                    <a:pt x="49" y="78"/>
                  </a:lnTo>
                  <a:lnTo>
                    <a:pt x="51" y="80"/>
                  </a:lnTo>
                  <a:lnTo>
                    <a:pt x="53" y="82"/>
                  </a:lnTo>
                  <a:lnTo>
                    <a:pt x="57" y="86"/>
                  </a:lnTo>
                  <a:lnTo>
                    <a:pt x="57" y="88"/>
                  </a:lnTo>
                  <a:lnTo>
                    <a:pt x="59" y="90"/>
                  </a:lnTo>
                  <a:lnTo>
                    <a:pt x="59" y="92"/>
                  </a:lnTo>
                  <a:lnTo>
                    <a:pt x="59" y="92"/>
                  </a:lnTo>
                  <a:lnTo>
                    <a:pt x="65" y="96"/>
                  </a:lnTo>
                  <a:lnTo>
                    <a:pt x="72" y="100"/>
                  </a:lnTo>
                  <a:lnTo>
                    <a:pt x="74" y="102"/>
                  </a:lnTo>
                  <a:lnTo>
                    <a:pt x="78" y="102"/>
                  </a:lnTo>
                  <a:lnTo>
                    <a:pt x="80" y="102"/>
                  </a:lnTo>
                  <a:lnTo>
                    <a:pt x="80" y="100"/>
                  </a:lnTo>
                  <a:lnTo>
                    <a:pt x="82" y="102"/>
                  </a:lnTo>
                  <a:lnTo>
                    <a:pt x="86" y="113"/>
                  </a:lnTo>
                  <a:lnTo>
                    <a:pt x="86" y="117"/>
                  </a:lnTo>
                  <a:lnTo>
                    <a:pt x="86" y="117"/>
                  </a:lnTo>
                  <a:lnTo>
                    <a:pt x="84" y="113"/>
                  </a:lnTo>
                  <a:lnTo>
                    <a:pt x="82" y="111"/>
                  </a:lnTo>
                  <a:lnTo>
                    <a:pt x="78" y="113"/>
                  </a:lnTo>
                  <a:lnTo>
                    <a:pt x="78" y="113"/>
                  </a:lnTo>
                  <a:lnTo>
                    <a:pt x="80" y="117"/>
                  </a:lnTo>
                  <a:lnTo>
                    <a:pt x="80" y="117"/>
                  </a:lnTo>
                  <a:lnTo>
                    <a:pt x="80" y="117"/>
                  </a:lnTo>
                  <a:lnTo>
                    <a:pt x="78" y="117"/>
                  </a:lnTo>
                  <a:lnTo>
                    <a:pt x="78" y="117"/>
                  </a:lnTo>
                  <a:lnTo>
                    <a:pt x="78" y="117"/>
                  </a:lnTo>
                  <a:lnTo>
                    <a:pt x="78" y="117"/>
                  </a:lnTo>
                  <a:lnTo>
                    <a:pt x="80" y="117"/>
                  </a:lnTo>
                  <a:lnTo>
                    <a:pt x="80" y="119"/>
                  </a:lnTo>
                  <a:lnTo>
                    <a:pt x="82" y="119"/>
                  </a:lnTo>
                  <a:lnTo>
                    <a:pt x="84" y="119"/>
                  </a:lnTo>
                  <a:lnTo>
                    <a:pt x="82" y="121"/>
                  </a:lnTo>
                  <a:lnTo>
                    <a:pt x="76" y="123"/>
                  </a:lnTo>
                  <a:lnTo>
                    <a:pt x="76" y="125"/>
                  </a:lnTo>
                  <a:lnTo>
                    <a:pt x="78" y="125"/>
                  </a:lnTo>
                  <a:lnTo>
                    <a:pt x="76" y="125"/>
                  </a:lnTo>
                  <a:lnTo>
                    <a:pt x="76" y="127"/>
                  </a:lnTo>
                  <a:lnTo>
                    <a:pt x="76" y="127"/>
                  </a:lnTo>
                  <a:lnTo>
                    <a:pt x="76" y="127"/>
                  </a:lnTo>
                  <a:lnTo>
                    <a:pt x="78" y="127"/>
                  </a:lnTo>
                  <a:lnTo>
                    <a:pt x="80" y="125"/>
                  </a:lnTo>
                  <a:lnTo>
                    <a:pt x="82" y="123"/>
                  </a:lnTo>
                  <a:lnTo>
                    <a:pt x="82" y="125"/>
                  </a:lnTo>
                  <a:lnTo>
                    <a:pt x="84" y="125"/>
                  </a:lnTo>
                  <a:lnTo>
                    <a:pt x="84" y="125"/>
                  </a:lnTo>
                  <a:lnTo>
                    <a:pt x="86" y="125"/>
                  </a:lnTo>
                  <a:lnTo>
                    <a:pt x="86" y="123"/>
                  </a:lnTo>
                  <a:lnTo>
                    <a:pt x="86" y="121"/>
                  </a:lnTo>
                  <a:lnTo>
                    <a:pt x="86" y="121"/>
                  </a:lnTo>
                  <a:lnTo>
                    <a:pt x="86" y="121"/>
                  </a:lnTo>
                  <a:lnTo>
                    <a:pt x="86" y="119"/>
                  </a:lnTo>
                  <a:lnTo>
                    <a:pt x="88" y="121"/>
                  </a:lnTo>
                  <a:lnTo>
                    <a:pt x="88" y="121"/>
                  </a:lnTo>
                  <a:lnTo>
                    <a:pt x="88" y="127"/>
                  </a:lnTo>
                  <a:lnTo>
                    <a:pt x="90" y="129"/>
                  </a:lnTo>
                  <a:lnTo>
                    <a:pt x="90" y="131"/>
                  </a:lnTo>
                  <a:lnTo>
                    <a:pt x="92" y="133"/>
                  </a:lnTo>
                  <a:lnTo>
                    <a:pt x="92" y="137"/>
                  </a:lnTo>
                  <a:lnTo>
                    <a:pt x="90" y="137"/>
                  </a:lnTo>
                  <a:lnTo>
                    <a:pt x="90" y="137"/>
                  </a:lnTo>
                  <a:lnTo>
                    <a:pt x="90" y="135"/>
                  </a:lnTo>
                  <a:lnTo>
                    <a:pt x="90" y="135"/>
                  </a:lnTo>
                  <a:lnTo>
                    <a:pt x="88" y="137"/>
                  </a:lnTo>
                  <a:lnTo>
                    <a:pt x="88" y="137"/>
                  </a:lnTo>
                  <a:lnTo>
                    <a:pt x="86" y="137"/>
                  </a:lnTo>
                  <a:lnTo>
                    <a:pt x="82" y="139"/>
                  </a:lnTo>
                  <a:lnTo>
                    <a:pt x="76" y="139"/>
                  </a:lnTo>
                  <a:lnTo>
                    <a:pt x="69" y="141"/>
                  </a:lnTo>
                  <a:lnTo>
                    <a:pt x="63" y="143"/>
                  </a:lnTo>
                  <a:lnTo>
                    <a:pt x="57" y="143"/>
                  </a:lnTo>
                  <a:lnTo>
                    <a:pt x="49" y="146"/>
                  </a:lnTo>
                  <a:lnTo>
                    <a:pt x="43" y="148"/>
                  </a:lnTo>
                  <a:lnTo>
                    <a:pt x="37" y="150"/>
                  </a:lnTo>
                  <a:lnTo>
                    <a:pt x="35" y="143"/>
                  </a:lnTo>
                  <a:lnTo>
                    <a:pt x="35" y="139"/>
                  </a:lnTo>
                  <a:lnTo>
                    <a:pt x="33" y="131"/>
                  </a:lnTo>
                  <a:lnTo>
                    <a:pt x="31" y="123"/>
                  </a:lnTo>
                  <a:lnTo>
                    <a:pt x="28" y="117"/>
                  </a:lnTo>
                  <a:lnTo>
                    <a:pt x="26" y="109"/>
                  </a:lnTo>
                  <a:lnTo>
                    <a:pt x="24" y="100"/>
                  </a:lnTo>
                  <a:lnTo>
                    <a:pt x="22" y="94"/>
                  </a:lnTo>
                  <a:lnTo>
                    <a:pt x="20" y="86"/>
                  </a:lnTo>
                  <a:lnTo>
                    <a:pt x="18" y="78"/>
                  </a:lnTo>
                  <a:lnTo>
                    <a:pt x="16" y="72"/>
                  </a:lnTo>
                  <a:lnTo>
                    <a:pt x="14" y="64"/>
                  </a:lnTo>
                  <a:lnTo>
                    <a:pt x="12" y="55"/>
                  </a:lnTo>
                  <a:lnTo>
                    <a:pt x="8" y="47"/>
                  </a:lnTo>
                  <a:lnTo>
                    <a:pt x="6" y="41"/>
                  </a:lnTo>
                  <a:lnTo>
                    <a:pt x="4" y="33"/>
                  </a:lnTo>
                  <a:lnTo>
                    <a:pt x="2" y="25"/>
                  </a:lnTo>
                  <a:lnTo>
                    <a:pt x="0" y="18"/>
                  </a:lnTo>
                  <a:lnTo>
                    <a:pt x="2" y="18"/>
                  </a:lnTo>
                  <a:lnTo>
                    <a:pt x="2" y="18"/>
                  </a:lnTo>
                  <a:lnTo>
                    <a:pt x="2" y="14"/>
                  </a:lnTo>
                  <a:lnTo>
                    <a:pt x="4" y="10"/>
                  </a:lnTo>
                  <a:lnTo>
                    <a:pt x="6" y="6"/>
                  </a:lnTo>
                  <a:lnTo>
                    <a:pt x="6" y="6"/>
                  </a:lnTo>
                  <a:lnTo>
                    <a:pt x="8" y="4"/>
                  </a:lnTo>
                  <a:lnTo>
                    <a:pt x="10" y="2"/>
                  </a:lnTo>
                  <a:lnTo>
                    <a:pt x="12" y="2"/>
                  </a:lnTo>
                  <a:lnTo>
                    <a:pt x="14" y="0"/>
                  </a:lnTo>
                  <a:lnTo>
                    <a:pt x="16" y="0"/>
                  </a:lnTo>
                  <a:lnTo>
                    <a:pt x="20" y="0"/>
                  </a:lnTo>
                  <a:lnTo>
                    <a:pt x="24" y="0"/>
                  </a:lnTo>
                  <a:lnTo>
                    <a:pt x="26" y="0"/>
                  </a:lnTo>
                  <a:lnTo>
                    <a:pt x="28" y="2"/>
                  </a:lnTo>
                  <a:lnTo>
                    <a:pt x="28" y="2"/>
                  </a:lnTo>
                  <a:lnTo>
                    <a:pt x="28" y="2"/>
                  </a:lnTo>
                  <a:close/>
                </a:path>
              </a:pathLst>
            </a:custGeom>
            <a:solidFill>
              <a:schemeClr val="bg1">
                <a:lumMod val="50000"/>
              </a:schemeClr>
            </a:solidFill>
            <a:ln w="3175" cap="rnd">
              <a:solidFill>
                <a:schemeClr val="bg1"/>
              </a:solidFill>
              <a:prstDash val="solid"/>
              <a:round/>
              <a:headEnd/>
              <a:tailEnd/>
            </a:ln>
          </p:spPr>
          <p:txBody>
            <a:bodyPr vert="horz" wrap="square" lIns="0" tIns="19200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 b="0" i="0" u="none" strike="noStrike" kern="1200" cap="none" spc="0" normalizeH="0" baseline="0" noProof="0">
                  <a:ln>
                    <a:noFill/>
                  </a:ln>
                  <a:solidFill>
                    <a:schemeClr val="bg1"/>
                  </a:solidFill>
                  <a:effectLst/>
                  <a:uLnTx/>
                  <a:uFillTx/>
                  <a:latin typeface="Arial" panose="020B0604020202020204" pitchFamily="34" charset="0"/>
                  <a:ea typeface="+mn-ea"/>
                  <a:cs typeface="+mn-cs"/>
                </a:rPr>
                <a:t>DE</a:t>
              </a:r>
            </a:p>
          </p:txBody>
        </p:sp>
        <p:sp>
          <p:nvSpPr>
            <p:cNvPr id="233" name="Freeform 48">
              <a:extLst>
                <a:ext uri="{FF2B5EF4-FFF2-40B4-BE49-F238E27FC236}">
                  <a16:creationId xmlns:a16="http://schemas.microsoft.com/office/drawing/2014/main" id="{0AAFA5D6-190F-9123-B0C3-9DDBBEBAF27F}"/>
                </a:ext>
              </a:extLst>
            </p:cNvPr>
            <p:cNvSpPr>
              <a:spLocks/>
            </p:cNvSpPr>
            <p:nvPr/>
          </p:nvSpPr>
          <p:spPr bwMode="auto">
            <a:xfrm>
              <a:off x="4658" y="1027"/>
              <a:ext cx="16" cy="20"/>
            </a:xfrm>
            <a:custGeom>
              <a:avLst/>
              <a:gdLst>
                <a:gd name="T0" fmla="*/ 12 w 16"/>
                <a:gd name="T1" fmla="*/ 20 h 20"/>
                <a:gd name="T2" fmla="*/ 10 w 16"/>
                <a:gd name="T3" fmla="*/ 18 h 20"/>
                <a:gd name="T4" fmla="*/ 10 w 16"/>
                <a:gd name="T5" fmla="*/ 12 h 20"/>
                <a:gd name="T6" fmla="*/ 6 w 16"/>
                <a:gd name="T7" fmla="*/ 10 h 20"/>
                <a:gd name="T8" fmla="*/ 6 w 16"/>
                <a:gd name="T9" fmla="*/ 10 h 20"/>
                <a:gd name="T10" fmla="*/ 4 w 16"/>
                <a:gd name="T11" fmla="*/ 10 h 20"/>
                <a:gd name="T12" fmla="*/ 2 w 16"/>
                <a:gd name="T13" fmla="*/ 8 h 20"/>
                <a:gd name="T14" fmla="*/ 0 w 16"/>
                <a:gd name="T15" fmla="*/ 8 h 20"/>
                <a:gd name="T16" fmla="*/ 6 w 16"/>
                <a:gd name="T17" fmla="*/ 0 h 20"/>
                <a:gd name="T18" fmla="*/ 16 w 16"/>
                <a:gd name="T19" fmla="*/ 10 h 20"/>
                <a:gd name="T20" fmla="*/ 12 w 16"/>
                <a:gd name="T21" fmla="*/ 20 h 20"/>
                <a:gd name="T22" fmla="*/ 12 w 16"/>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0">
                  <a:moveTo>
                    <a:pt x="12" y="20"/>
                  </a:moveTo>
                  <a:lnTo>
                    <a:pt x="10" y="18"/>
                  </a:lnTo>
                  <a:lnTo>
                    <a:pt x="10" y="12"/>
                  </a:lnTo>
                  <a:lnTo>
                    <a:pt x="6" y="10"/>
                  </a:lnTo>
                  <a:lnTo>
                    <a:pt x="6" y="10"/>
                  </a:lnTo>
                  <a:lnTo>
                    <a:pt x="4" y="10"/>
                  </a:lnTo>
                  <a:lnTo>
                    <a:pt x="2" y="8"/>
                  </a:lnTo>
                  <a:lnTo>
                    <a:pt x="0" y="8"/>
                  </a:lnTo>
                  <a:lnTo>
                    <a:pt x="6" y="0"/>
                  </a:lnTo>
                  <a:lnTo>
                    <a:pt x="16" y="10"/>
                  </a:lnTo>
                  <a:lnTo>
                    <a:pt x="12" y="20"/>
                  </a:lnTo>
                  <a:lnTo>
                    <a:pt x="12" y="20"/>
                  </a:lnTo>
                  <a:close/>
                </a:path>
              </a:pathLst>
            </a:custGeom>
            <a:solidFill>
              <a:srgbClr val="FFFFFF"/>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4" name="Freeform 49">
              <a:extLst>
                <a:ext uri="{FF2B5EF4-FFF2-40B4-BE49-F238E27FC236}">
                  <a16:creationId xmlns:a16="http://schemas.microsoft.com/office/drawing/2014/main" id="{B6A2D5CB-4984-92D3-A359-92D3510C1980}"/>
                </a:ext>
              </a:extLst>
            </p:cNvPr>
            <p:cNvSpPr>
              <a:spLocks/>
            </p:cNvSpPr>
            <p:nvPr/>
          </p:nvSpPr>
          <p:spPr bwMode="auto">
            <a:xfrm>
              <a:off x="4881" y="615"/>
              <a:ext cx="149" cy="141"/>
            </a:xfrm>
            <a:custGeom>
              <a:avLst/>
              <a:gdLst>
                <a:gd name="T0" fmla="*/ 139 w 149"/>
                <a:gd name="T1" fmla="*/ 18 h 141"/>
                <a:gd name="T2" fmla="*/ 145 w 149"/>
                <a:gd name="T3" fmla="*/ 41 h 141"/>
                <a:gd name="T4" fmla="*/ 149 w 149"/>
                <a:gd name="T5" fmla="*/ 61 h 141"/>
                <a:gd name="T6" fmla="*/ 149 w 149"/>
                <a:gd name="T7" fmla="*/ 70 h 141"/>
                <a:gd name="T8" fmla="*/ 147 w 149"/>
                <a:gd name="T9" fmla="*/ 72 h 141"/>
                <a:gd name="T10" fmla="*/ 143 w 149"/>
                <a:gd name="T11" fmla="*/ 70 h 141"/>
                <a:gd name="T12" fmla="*/ 129 w 149"/>
                <a:gd name="T13" fmla="*/ 74 h 141"/>
                <a:gd name="T14" fmla="*/ 127 w 149"/>
                <a:gd name="T15" fmla="*/ 80 h 141"/>
                <a:gd name="T16" fmla="*/ 119 w 149"/>
                <a:gd name="T17" fmla="*/ 82 h 141"/>
                <a:gd name="T18" fmla="*/ 110 w 149"/>
                <a:gd name="T19" fmla="*/ 84 h 141"/>
                <a:gd name="T20" fmla="*/ 108 w 149"/>
                <a:gd name="T21" fmla="*/ 82 h 141"/>
                <a:gd name="T22" fmla="*/ 106 w 149"/>
                <a:gd name="T23" fmla="*/ 78 h 141"/>
                <a:gd name="T24" fmla="*/ 108 w 149"/>
                <a:gd name="T25" fmla="*/ 82 h 141"/>
                <a:gd name="T26" fmla="*/ 108 w 149"/>
                <a:gd name="T27" fmla="*/ 88 h 141"/>
                <a:gd name="T28" fmla="*/ 100 w 149"/>
                <a:gd name="T29" fmla="*/ 90 h 141"/>
                <a:gd name="T30" fmla="*/ 96 w 149"/>
                <a:gd name="T31" fmla="*/ 92 h 141"/>
                <a:gd name="T32" fmla="*/ 94 w 149"/>
                <a:gd name="T33" fmla="*/ 92 h 141"/>
                <a:gd name="T34" fmla="*/ 84 w 149"/>
                <a:gd name="T35" fmla="*/ 94 h 141"/>
                <a:gd name="T36" fmla="*/ 82 w 149"/>
                <a:gd name="T37" fmla="*/ 96 h 141"/>
                <a:gd name="T38" fmla="*/ 76 w 149"/>
                <a:gd name="T39" fmla="*/ 96 h 141"/>
                <a:gd name="T40" fmla="*/ 72 w 149"/>
                <a:gd name="T41" fmla="*/ 98 h 141"/>
                <a:gd name="T42" fmla="*/ 65 w 149"/>
                <a:gd name="T43" fmla="*/ 96 h 141"/>
                <a:gd name="T44" fmla="*/ 63 w 149"/>
                <a:gd name="T45" fmla="*/ 98 h 141"/>
                <a:gd name="T46" fmla="*/ 57 w 149"/>
                <a:gd name="T47" fmla="*/ 106 h 141"/>
                <a:gd name="T48" fmla="*/ 53 w 149"/>
                <a:gd name="T49" fmla="*/ 111 h 141"/>
                <a:gd name="T50" fmla="*/ 51 w 149"/>
                <a:gd name="T51" fmla="*/ 113 h 141"/>
                <a:gd name="T52" fmla="*/ 47 w 149"/>
                <a:gd name="T53" fmla="*/ 115 h 141"/>
                <a:gd name="T54" fmla="*/ 43 w 149"/>
                <a:gd name="T55" fmla="*/ 117 h 141"/>
                <a:gd name="T56" fmla="*/ 43 w 149"/>
                <a:gd name="T57" fmla="*/ 117 h 141"/>
                <a:gd name="T58" fmla="*/ 41 w 149"/>
                <a:gd name="T59" fmla="*/ 119 h 141"/>
                <a:gd name="T60" fmla="*/ 39 w 149"/>
                <a:gd name="T61" fmla="*/ 121 h 141"/>
                <a:gd name="T62" fmla="*/ 35 w 149"/>
                <a:gd name="T63" fmla="*/ 123 h 141"/>
                <a:gd name="T64" fmla="*/ 33 w 149"/>
                <a:gd name="T65" fmla="*/ 127 h 141"/>
                <a:gd name="T66" fmla="*/ 24 w 149"/>
                <a:gd name="T67" fmla="*/ 133 h 141"/>
                <a:gd name="T68" fmla="*/ 20 w 149"/>
                <a:gd name="T69" fmla="*/ 137 h 141"/>
                <a:gd name="T70" fmla="*/ 14 w 149"/>
                <a:gd name="T71" fmla="*/ 137 h 141"/>
                <a:gd name="T72" fmla="*/ 12 w 149"/>
                <a:gd name="T73" fmla="*/ 139 h 141"/>
                <a:gd name="T74" fmla="*/ 10 w 149"/>
                <a:gd name="T75" fmla="*/ 139 h 141"/>
                <a:gd name="T76" fmla="*/ 4 w 149"/>
                <a:gd name="T77" fmla="*/ 133 h 141"/>
                <a:gd name="T78" fmla="*/ 16 w 149"/>
                <a:gd name="T79" fmla="*/ 121 h 141"/>
                <a:gd name="T80" fmla="*/ 16 w 149"/>
                <a:gd name="T81" fmla="*/ 113 h 141"/>
                <a:gd name="T82" fmla="*/ 12 w 149"/>
                <a:gd name="T83" fmla="*/ 102 h 141"/>
                <a:gd name="T84" fmla="*/ 8 w 149"/>
                <a:gd name="T85" fmla="*/ 82 h 141"/>
                <a:gd name="T86" fmla="*/ 6 w 149"/>
                <a:gd name="T87" fmla="*/ 63 h 141"/>
                <a:gd name="T88" fmla="*/ 2 w 149"/>
                <a:gd name="T89" fmla="*/ 45 h 141"/>
                <a:gd name="T90" fmla="*/ 10 w 149"/>
                <a:gd name="T91" fmla="*/ 27 h 141"/>
                <a:gd name="T92" fmla="*/ 45 w 149"/>
                <a:gd name="T93" fmla="*/ 20 h 141"/>
                <a:gd name="T94" fmla="*/ 57 w 149"/>
                <a:gd name="T95" fmla="*/ 20 h 141"/>
                <a:gd name="T96" fmla="*/ 72 w 149"/>
                <a:gd name="T97" fmla="*/ 14 h 141"/>
                <a:gd name="T98" fmla="*/ 90 w 149"/>
                <a:gd name="T99" fmla="*/ 10 h 141"/>
                <a:gd name="T100" fmla="*/ 133 w 149"/>
                <a:gd name="T10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 h="141">
                  <a:moveTo>
                    <a:pt x="133" y="0"/>
                  </a:moveTo>
                  <a:lnTo>
                    <a:pt x="135" y="6"/>
                  </a:lnTo>
                  <a:lnTo>
                    <a:pt x="137" y="12"/>
                  </a:lnTo>
                  <a:lnTo>
                    <a:pt x="139" y="18"/>
                  </a:lnTo>
                  <a:lnTo>
                    <a:pt x="141" y="24"/>
                  </a:lnTo>
                  <a:lnTo>
                    <a:pt x="141" y="31"/>
                  </a:lnTo>
                  <a:lnTo>
                    <a:pt x="143" y="37"/>
                  </a:lnTo>
                  <a:lnTo>
                    <a:pt x="145" y="41"/>
                  </a:lnTo>
                  <a:lnTo>
                    <a:pt x="147" y="47"/>
                  </a:lnTo>
                  <a:lnTo>
                    <a:pt x="147" y="51"/>
                  </a:lnTo>
                  <a:lnTo>
                    <a:pt x="147" y="55"/>
                  </a:lnTo>
                  <a:lnTo>
                    <a:pt x="149" y="61"/>
                  </a:lnTo>
                  <a:lnTo>
                    <a:pt x="149" y="61"/>
                  </a:lnTo>
                  <a:lnTo>
                    <a:pt x="147" y="63"/>
                  </a:lnTo>
                  <a:lnTo>
                    <a:pt x="147" y="65"/>
                  </a:lnTo>
                  <a:lnTo>
                    <a:pt x="149" y="70"/>
                  </a:lnTo>
                  <a:lnTo>
                    <a:pt x="149" y="72"/>
                  </a:lnTo>
                  <a:lnTo>
                    <a:pt x="147" y="74"/>
                  </a:lnTo>
                  <a:lnTo>
                    <a:pt x="145" y="72"/>
                  </a:lnTo>
                  <a:lnTo>
                    <a:pt x="147" y="72"/>
                  </a:lnTo>
                  <a:lnTo>
                    <a:pt x="147" y="72"/>
                  </a:lnTo>
                  <a:lnTo>
                    <a:pt x="145" y="72"/>
                  </a:lnTo>
                  <a:lnTo>
                    <a:pt x="145" y="70"/>
                  </a:lnTo>
                  <a:lnTo>
                    <a:pt x="143" y="70"/>
                  </a:lnTo>
                  <a:lnTo>
                    <a:pt x="139" y="72"/>
                  </a:lnTo>
                  <a:lnTo>
                    <a:pt x="137" y="72"/>
                  </a:lnTo>
                  <a:lnTo>
                    <a:pt x="133" y="76"/>
                  </a:lnTo>
                  <a:lnTo>
                    <a:pt x="129" y="74"/>
                  </a:lnTo>
                  <a:lnTo>
                    <a:pt x="129" y="76"/>
                  </a:lnTo>
                  <a:lnTo>
                    <a:pt x="129" y="78"/>
                  </a:lnTo>
                  <a:lnTo>
                    <a:pt x="129" y="78"/>
                  </a:lnTo>
                  <a:lnTo>
                    <a:pt x="127" y="80"/>
                  </a:lnTo>
                  <a:lnTo>
                    <a:pt x="123" y="78"/>
                  </a:lnTo>
                  <a:lnTo>
                    <a:pt x="121" y="80"/>
                  </a:lnTo>
                  <a:lnTo>
                    <a:pt x="121" y="82"/>
                  </a:lnTo>
                  <a:lnTo>
                    <a:pt x="119" y="82"/>
                  </a:lnTo>
                  <a:lnTo>
                    <a:pt x="115" y="86"/>
                  </a:lnTo>
                  <a:lnTo>
                    <a:pt x="113" y="84"/>
                  </a:lnTo>
                  <a:lnTo>
                    <a:pt x="110" y="84"/>
                  </a:lnTo>
                  <a:lnTo>
                    <a:pt x="110" y="84"/>
                  </a:lnTo>
                  <a:lnTo>
                    <a:pt x="108" y="84"/>
                  </a:lnTo>
                  <a:lnTo>
                    <a:pt x="108" y="84"/>
                  </a:lnTo>
                  <a:lnTo>
                    <a:pt x="108" y="82"/>
                  </a:lnTo>
                  <a:lnTo>
                    <a:pt x="108" y="82"/>
                  </a:lnTo>
                  <a:lnTo>
                    <a:pt x="108" y="80"/>
                  </a:lnTo>
                  <a:lnTo>
                    <a:pt x="108" y="80"/>
                  </a:lnTo>
                  <a:lnTo>
                    <a:pt x="106" y="80"/>
                  </a:lnTo>
                  <a:lnTo>
                    <a:pt x="106" y="78"/>
                  </a:lnTo>
                  <a:lnTo>
                    <a:pt x="104" y="78"/>
                  </a:lnTo>
                  <a:lnTo>
                    <a:pt x="104" y="80"/>
                  </a:lnTo>
                  <a:lnTo>
                    <a:pt x="106" y="82"/>
                  </a:lnTo>
                  <a:lnTo>
                    <a:pt x="108" y="82"/>
                  </a:lnTo>
                  <a:lnTo>
                    <a:pt x="108" y="86"/>
                  </a:lnTo>
                  <a:lnTo>
                    <a:pt x="108" y="86"/>
                  </a:lnTo>
                  <a:lnTo>
                    <a:pt x="108" y="86"/>
                  </a:lnTo>
                  <a:lnTo>
                    <a:pt x="108" y="88"/>
                  </a:lnTo>
                  <a:lnTo>
                    <a:pt x="106" y="88"/>
                  </a:lnTo>
                  <a:lnTo>
                    <a:pt x="102" y="88"/>
                  </a:lnTo>
                  <a:lnTo>
                    <a:pt x="100" y="88"/>
                  </a:lnTo>
                  <a:lnTo>
                    <a:pt x="100" y="90"/>
                  </a:lnTo>
                  <a:lnTo>
                    <a:pt x="98" y="90"/>
                  </a:lnTo>
                  <a:lnTo>
                    <a:pt x="98" y="92"/>
                  </a:lnTo>
                  <a:lnTo>
                    <a:pt x="96" y="92"/>
                  </a:lnTo>
                  <a:lnTo>
                    <a:pt x="96" y="92"/>
                  </a:lnTo>
                  <a:lnTo>
                    <a:pt x="96" y="92"/>
                  </a:lnTo>
                  <a:lnTo>
                    <a:pt x="96" y="92"/>
                  </a:lnTo>
                  <a:lnTo>
                    <a:pt x="96" y="92"/>
                  </a:lnTo>
                  <a:lnTo>
                    <a:pt x="94" y="92"/>
                  </a:lnTo>
                  <a:lnTo>
                    <a:pt x="92" y="92"/>
                  </a:lnTo>
                  <a:lnTo>
                    <a:pt x="90" y="92"/>
                  </a:lnTo>
                  <a:lnTo>
                    <a:pt x="84" y="94"/>
                  </a:lnTo>
                  <a:lnTo>
                    <a:pt x="84" y="94"/>
                  </a:lnTo>
                  <a:lnTo>
                    <a:pt x="84" y="96"/>
                  </a:lnTo>
                  <a:lnTo>
                    <a:pt x="84" y="96"/>
                  </a:lnTo>
                  <a:lnTo>
                    <a:pt x="82" y="96"/>
                  </a:lnTo>
                  <a:lnTo>
                    <a:pt x="82" y="96"/>
                  </a:lnTo>
                  <a:lnTo>
                    <a:pt x="80" y="96"/>
                  </a:lnTo>
                  <a:lnTo>
                    <a:pt x="80" y="96"/>
                  </a:lnTo>
                  <a:lnTo>
                    <a:pt x="78" y="96"/>
                  </a:lnTo>
                  <a:lnTo>
                    <a:pt x="76" y="96"/>
                  </a:lnTo>
                  <a:lnTo>
                    <a:pt x="76" y="96"/>
                  </a:lnTo>
                  <a:lnTo>
                    <a:pt x="74" y="98"/>
                  </a:lnTo>
                  <a:lnTo>
                    <a:pt x="74" y="98"/>
                  </a:lnTo>
                  <a:lnTo>
                    <a:pt x="72" y="98"/>
                  </a:lnTo>
                  <a:lnTo>
                    <a:pt x="67" y="100"/>
                  </a:lnTo>
                  <a:lnTo>
                    <a:pt x="65" y="98"/>
                  </a:lnTo>
                  <a:lnTo>
                    <a:pt x="65" y="98"/>
                  </a:lnTo>
                  <a:lnTo>
                    <a:pt x="65" y="96"/>
                  </a:lnTo>
                  <a:lnTo>
                    <a:pt x="63" y="96"/>
                  </a:lnTo>
                  <a:lnTo>
                    <a:pt x="63" y="96"/>
                  </a:lnTo>
                  <a:lnTo>
                    <a:pt x="63" y="98"/>
                  </a:lnTo>
                  <a:lnTo>
                    <a:pt x="63" y="98"/>
                  </a:lnTo>
                  <a:lnTo>
                    <a:pt x="61" y="102"/>
                  </a:lnTo>
                  <a:lnTo>
                    <a:pt x="59" y="104"/>
                  </a:lnTo>
                  <a:lnTo>
                    <a:pt x="59" y="106"/>
                  </a:lnTo>
                  <a:lnTo>
                    <a:pt x="57" y="106"/>
                  </a:lnTo>
                  <a:lnTo>
                    <a:pt x="55" y="106"/>
                  </a:lnTo>
                  <a:lnTo>
                    <a:pt x="55" y="108"/>
                  </a:lnTo>
                  <a:lnTo>
                    <a:pt x="55" y="108"/>
                  </a:lnTo>
                  <a:lnTo>
                    <a:pt x="53" y="111"/>
                  </a:lnTo>
                  <a:lnTo>
                    <a:pt x="53" y="111"/>
                  </a:lnTo>
                  <a:lnTo>
                    <a:pt x="51" y="113"/>
                  </a:lnTo>
                  <a:lnTo>
                    <a:pt x="51" y="113"/>
                  </a:lnTo>
                  <a:lnTo>
                    <a:pt x="51" y="113"/>
                  </a:lnTo>
                  <a:lnTo>
                    <a:pt x="51" y="115"/>
                  </a:lnTo>
                  <a:lnTo>
                    <a:pt x="49" y="115"/>
                  </a:lnTo>
                  <a:lnTo>
                    <a:pt x="49" y="115"/>
                  </a:lnTo>
                  <a:lnTo>
                    <a:pt x="47" y="115"/>
                  </a:lnTo>
                  <a:lnTo>
                    <a:pt x="47" y="113"/>
                  </a:lnTo>
                  <a:lnTo>
                    <a:pt x="47" y="115"/>
                  </a:lnTo>
                  <a:lnTo>
                    <a:pt x="45" y="117"/>
                  </a:lnTo>
                  <a:lnTo>
                    <a:pt x="43" y="117"/>
                  </a:lnTo>
                  <a:lnTo>
                    <a:pt x="43" y="117"/>
                  </a:lnTo>
                  <a:lnTo>
                    <a:pt x="43" y="117"/>
                  </a:lnTo>
                  <a:lnTo>
                    <a:pt x="43" y="117"/>
                  </a:lnTo>
                  <a:lnTo>
                    <a:pt x="43" y="117"/>
                  </a:lnTo>
                  <a:lnTo>
                    <a:pt x="43" y="117"/>
                  </a:lnTo>
                  <a:lnTo>
                    <a:pt x="43" y="117"/>
                  </a:lnTo>
                  <a:lnTo>
                    <a:pt x="43" y="119"/>
                  </a:lnTo>
                  <a:lnTo>
                    <a:pt x="41" y="119"/>
                  </a:lnTo>
                  <a:lnTo>
                    <a:pt x="41" y="121"/>
                  </a:lnTo>
                  <a:lnTo>
                    <a:pt x="41" y="121"/>
                  </a:lnTo>
                  <a:lnTo>
                    <a:pt x="39" y="121"/>
                  </a:lnTo>
                  <a:lnTo>
                    <a:pt x="39" y="121"/>
                  </a:lnTo>
                  <a:lnTo>
                    <a:pt x="37" y="121"/>
                  </a:lnTo>
                  <a:lnTo>
                    <a:pt x="37" y="121"/>
                  </a:lnTo>
                  <a:lnTo>
                    <a:pt x="37" y="123"/>
                  </a:lnTo>
                  <a:lnTo>
                    <a:pt x="35" y="123"/>
                  </a:lnTo>
                  <a:lnTo>
                    <a:pt x="35" y="123"/>
                  </a:lnTo>
                  <a:lnTo>
                    <a:pt x="33" y="125"/>
                  </a:lnTo>
                  <a:lnTo>
                    <a:pt x="33" y="125"/>
                  </a:lnTo>
                  <a:lnTo>
                    <a:pt x="33" y="127"/>
                  </a:lnTo>
                  <a:lnTo>
                    <a:pt x="29" y="129"/>
                  </a:lnTo>
                  <a:lnTo>
                    <a:pt x="29" y="129"/>
                  </a:lnTo>
                  <a:lnTo>
                    <a:pt x="24" y="133"/>
                  </a:lnTo>
                  <a:lnTo>
                    <a:pt x="24" y="133"/>
                  </a:lnTo>
                  <a:lnTo>
                    <a:pt x="22" y="133"/>
                  </a:lnTo>
                  <a:lnTo>
                    <a:pt x="22" y="135"/>
                  </a:lnTo>
                  <a:lnTo>
                    <a:pt x="20" y="135"/>
                  </a:lnTo>
                  <a:lnTo>
                    <a:pt x="20" y="137"/>
                  </a:lnTo>
                  <a:lnTo>
                    <a:pt x="18" y="137"/>
                  </a:lnTo>
                  <a:lnTo>
                    <a:pt x="18" y="139"/>
                  </a:lnTo>
                  <a:lnTo>
                    <a:pt x="16" y="137"/>
                  </a:lnTo>
                  <a:lnTo>
                    <a:pt x="14" y="137"/>
                  </a:lnTo>
                  <a:lnTo>
                    <a:pt x="14" y="139"/>
                  </a:lnTo>
                  <a:lnTo>
                    <a:pt x="14" y="139"/>
                  </a:lnTo>
                  <a:lnTo>
                    <a:pt x="12" y="141"/>
                  </a:lnTo>
                  <a:lnTo>
                    <a:pt x="12" y="139"/>
                  </a:lnTo>
                  <a:lnTo>
                    <a:pt x="12" y="139"/>
                  </a:lnTo>
                  <a:lnTo>
                    <a:pt x="10" y="139"/>
                  </a:lnTo>
                  <a:lnTo>
                    <a:pt x="10" y="139"/>
                  </a:lnTo>
                  <a:lnTo>
                    <a:pt x="10" y="139"/>
                  </a:lnTo>
                  <a:lnTo>
                    <a:pt x="10" y="137"/>
                  </a:lnTo>
                  <a:lnTo>
                    <a:pt x="8" y="135"/>
                  </a:lnTo>
                  <a:lnTo>
                    <a:pt x="4" y="133"/>
                  </a:lnTo>
                  <a:lnTo>
                    <a:pt x="4" y="133"/>
                  </a:lnTo>
                  <a:lnTo>
                    <a:pt x="4" y="131"/>
                  </a:lnTo>
                  <a:lnTo>
                    <a:pt x="8" y="129"/>
                  </a:lnTo>
                  <a:lnTo>
                    <a:pt x="12" y="125"/>
                  </a:lnTo>
                  <a:lnTo>
                    <a:pt x="16" y="121"/>
                  </a:lnTo>
                  <a:lnTo>
                    <a:pt x="18" y="117"/>
                  </a:lnTo>
                  <a:lnTo>
                    <a:pt x="20" y="117"/>
                  </a:lnTo>
                  <a:lnTo>
                    <a:pt x="18" y="115"/>
                  </a:lnTo>
                  <a:lnTo>
                    <a:pt x="16" y="113"/>
                  </a:lnTo>
                  <a:lnTo>
                    <a:pt x="16" y="111"/>
                  </a:lnTo>
                  <a:lnTo>
                    <a:pt x="14" y="108"/>
                  </a:lnTo>
                  <a:lnTo>
                    <a:pt x="12" y="106"/>
                  </a:lnTo>
                  <a:lnTo>
                    <a:pt x="12" y="102"/>
                  </a:lnTo>
                  <a:lnTo>
                    <a:pt x="12" y="98"/>
                  </a:lnTo>
                  <a:lnTo>
                    <a:pt x="10" y="92"/>
                  </a:lnTo>
                  <a:lnTo>
                    <a:pt x="10" y="88"/>
                  </a:lnTo>
                  <a:lnTo>
                    <a:pt x="8" y="82"/>
                  </a:lnTo>
                  <a:lnTo>
                    <a:pt x="8" y="78"/>
                  </a:lnTo>
                  <a:lnTo>
                    <a:pt x="8" y="74"/>
                  </a:lnTo>
                  <a:lnTo>
                    <a:pt x="6" y="67"/>
                  </a:lnTo>
                  <a:lnTo>
                    <a:pt x="6" y="63"/>
                  </a:lnTo>
                  <a:lnTo>
                    <a:pt x="4" y="59"/>
                  </a:lnTo>
                  <a:lnTo>
                    <a:pt x="4" y="53"/>
                  </a:lnTo>
                  <a:lnTo>
                    <a:pt x="2" y="49"/>
                  </a:lnTo>
                  <a:lnTo>
                    <a:pt x="2" y="45"/>
                  </a:lnTo>
                  <a:lnTo>
                    <a:pt x="2" y="39"/>
                  </a:lnTo>
                  <a:lnTo>
                    <a:pt x="0" y="35"/>
                  </a:lnTo>
                  <a:lnTo>
                    <a:pt x="0" y="29"/>
                  </a:lnTo>
                  <a:lnTo>
                    <a:pt x="10" y="27"/>
                  </a:lnTo>
                  <a:lnTo>
                    <a:pt x="18" y="24"/>
                  </a:lnTo>
                  <a:lnTo>
                    <a:pt x="29" y="22"/>
                  </a:lnTo>
                  <a:lnTo>
                    <a:pt x="39" y="20"/>
                  </a:lnTo>
                  <a:lnTo>
                    <a:pt x="45" y="20"/>
                  </a:lnTo>
                  <a:lnTo>
                    <a:pt x="49" y="18"/>
                  </a:lnTo>
                  <a:lnTo>
                    <a:pt x="53" y="18"/>
                  </a:lnTo>
                  <a:lnTo>
                    <a:pt x="55" y="20"/>
                  </a:lnTo>
                  <a:lnTo>
                    <a:pt x="57" y="20"/>
                  </a:lnTo>
                  <a:lnTo>
                    <a:pt x="57" y="18"/>
                  </a:lnTo>
                  <a:lnTo>
                    <a:pt x="67" y="14"/>
                  </a:lnTo>
                  <a:lnTo>
                    <a:pt x="70" y="14"/>
                  </a:lnTo>
                  <a:lnTo>
                    <a:pt x="72" y="14"/>
                  </a:lnTo>
                  <a:lnTo>
                    <a:pt x="72" y="14"/>
                  </a:lnTo>
                  <a:lnTo>
                    <a:pt x="74" y="14"/>
                  </a:lnTo>
                  <a:lnTo>
                    <a:pt x="78" y="12"/>
                  </a:lnTo>
                  <a:lnTo>
                    <a:pt x="90" y="10"/>
                  </a:lnTo>
                  <a:lnTo>
                    <a:pt x="100" y="6"/>
                  </a:lnTo>
                  <a:lnTo>
                    <a:pt x="113" y="4"/>
                  </a:lnTo>
                  <a:lnTo>
                    <a:pt x="125" y="2"/>
                  </a:lnTo>
                  <a:lnTo>
                    <a:pt x="133" y="0"/>
                  </a:lnTo>
                  <a:lnTo>
                    <a:pt x="133" y="0"/>
                  </a:lnTo>
                  <a:lnTo>
                    <a:pt x="133" y="0"/>
                  </a:lnTo>
                  <a:close/>
                </a:path>
              </a:pathLst>
            </a:custGeom>
            <a:solidFill>
              <a:schemeClr val="bg1">
                <a:lumMod val="50000"/>
              </a:schemeClr>
            </a:solidFill>
            <a:ln w="3175" cap="rnd">
              <a:solidFill>
                <a:schemeClr val="bg1"/>
              </a:solidFill>
              <a:prstDash val="solid"/>
              <a:round/>
              <a:headEnd/>
              <a:tailEnd/>
            </a:ln>
          </p:spPr>
          <p:txBody>
            <a:bodyPr vert="horz" wrap="square" lIns="0" tIns="0" rIns="0" bIns="48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chemeClr val="bg1"/>
                  </a:solidFill>
                  <a:effectLst/>
                  <a:uLnTx/>
                  <a:uFillTx/>
                  <a:latin typeface="Arial" panose="020B0604020202020204" pitchFamily="34" charset="0"/>
                  <a:ea typeface="+mn-ea"/>
                  <a:cs typeface="+mn-cs"/>
                </a:rPr>
                <a:t>CT</a:t>
              </a:r>
            </a:p>
          </p:txBody>
        </p:sp>
        <p:sp>
          <p:nvSpPr>
            <p:cNvPr id="235" name="Freeform 50">
              <a:extLst>
                <a:ext uri="{FF2B5EF4-FFF2-40B4-BE49-F238E27FC236}">
                  <a16:creationId xmlns:a16="http://schemas.microsoft.com/office/drawing/2014/main" id="{245BBCBF-872E-D397-174D-E8EA78F2086F}"/>
                </a:ext>
              </a:extLst>
            </p:cNvPr>
            <p:cNvSpPr>
              <a:spLocks/>
            </p:cNvSpPr>
            <p:nvPr/>
          </p:nvSpPr>
          <p:spPr bwMode="auto">
            <a:xfrm>
              <a:off x="1943" y="986"/>
              <a:ext cx="614" cy="457"/>
            </a:xfrm>
            <a:custGeom>
              <a:avLst/>
              <a:gdLst>
                <a:gd name="T0" fmla="*/ 612 w 614"/>
                <a:gd name="T1" fmla="*/ 153 h 457"/>
                <a:gd name="T2" fmla="*/ 612 w 614"/>
                <a:gd name="T3" fmla="*/ 184 h 457"/>
                <a:gd name="T4" fmla="*/ 612 w 614"/>
                <a:gd name="T5" fmla="*/ 215 h 457"/>
                <a:gd name="T6" fmla="*/ 612 w 614"/>
                <a:gd name="T7" fmla="*/ 246 h 457"/>
                <a:gd name="T8" fmla="*/ 610 w 614"/>
                <a:gd name="T9" fmla="*/ 274 h 457"/>
                <a:gd name="T10" fmla="*/ 610 w 614"/>
                <a:gd name="T11" fmla="*/ 305 h 457"/>
                <a:gd name="T12" fmla="*/ 610 w 614"/>
                <a:gd name="T13" fmla="*/ 336 h 457"/>
                <a:gd name="T14" fmla="*/ 610 w 614"/>
                <a:gd name="T15" fmla="*/ 365 h 457"/>
                <a:gd name="T16" fmla="*/ 608 w 614"/>
                <a:gd name="T17" fmla="*/ 395 h 457"/>
                <a:gd name="T18" fmla="*/ 608 w 614"/>
                <a:gd name="T19" fmla="*/ 426 h 457"/>
                <a:gd name="T20" fmla="*/ 608 w 614"/>
                <a:gd name="T21" fmla="*/ 457 h 457"/>
                <a:gd name="T22" fmla="*/ 576 w 614"/>
                <a:gd name="T23" fmla="*/ 455 h 457"/>
                <a:gd name="T24" fmla="*/ 545 w 614"/>
                <a:gd name="T25" fmla="*/ 455 h 457"/>
                <a:gd name="T26" fmla="*/ 506 w 614"/>
                <a:gd name="T27" fmla="*/ 453 h 457"/>
                <a:gd name="T28" fmla="*/ 457 w 614"/>
                <a:gd name="T29" fmla="*/ 453 h 457"/>
                <a:gd name="T30" fmla="*/ 408 w 614"/>
                <a:gd name="T31" fmla="*/ 451 h 457"/>
                <a:gd name="T32" fmla="*/ 358 w 614"/>
                <a:gd name="T33" fmla="*/ 449 h 457"/>
                <a:gd name="T34" fmla="*/ 309 w 614"/>
                <a:gd name="T35" fmla="*/ 447 h 457"/>
                <a:gd name="T36" fmla="*/ 260 w 614"/>
                <a:gd name="T37" fmla="*/ 442 h 457"/>
                <a:gd name="T38" fmla="*/ 211 w 614"/>
                <a:gd name="T39" fmla="*/ 440 h 457"/>
                <a:gd name="T40" fmla="*/ 162 w 614"/>
                <a:gd name="T41" fmla="*/ 438 h 457"/>
                <a:gd name="T42" fmla="*/ 113 w 614"/>
                <a:gd name="T43" fmla="*/ 434 h 457"/>
                <a:gd name="T44" fmla="*/ 66 w 614"/>
                <a:gd name="T45" fmla="*/ 430 h 457"/>
                <a:gd name="T46" fmla="*/ 16 w 614"/>
                <a:gd name="T47" fmla="*/ 426 h 457"/>
                <a:gd name="T48" fmla="*/ 2 w 614"/>
                <a:gd name="T49" fmla="*/ 399 h 457"/>
                <a:gd name="T50" fmla="*/ 4 w 614"/>
                <a:gd name="T51" fmla="*/ 358 h 457"/>
                <a:gd name="T52" fmla="*/ 8 w 614"/>
                <a:gd name="T53" fmla="*/ 319 h 457"/>
                <a:gd name="T54" fmla="*/ 10 w 614"/>
                <a:gd name="T55" fmla="*/ 278 h 457"/>
                <a:gd name="T56" fmla="*/ 14 w 614"/>
                <a:gd name="T57" fmla="*/ 238 h 457"/>
                <a:gd name="T58" fmla="*/ 19 w 614"/>
                <a:gd name="T59" fmla="*/ 199 h 457"/>
                <a:gd name="T60" fmla="*/ 21 w 614"/>
                <a:gd name="T61" fmla="*/ 158 h 457"/>
                <a:gd name="T62" fmla="*/ 25 w 614"/>
                <a:gd name="T63" fmla="*/ 119 h 457"/>
                <a:gd name="T64" fmla="*/ 27 w 614"/>
                <a:gd name="T65" fmla="*/ 78 h 457"/>
                <a:gd name="T66" fmla="*/ 31 w 614"/>
                <a:gd name="T67" fmla="*/ 39 h 457"/>
                <a:gd name="T68" fmla="*/ 35 w 614"/>
                <a:gd name="T69" fmla="*/ 0 h 457"/>
                <a:gd name="T70" fmla="*/ 74 w 614"/>
                <a:gd name="T71" fmla="*/ 2 h 457"/>
                <a:gd name="T72" fmla="*/ 113 w 614"/>
                <a:gd name="T73" fmla="*/ 4 h 457"/>
                <a:gd name="T74" fmla="*/ 152 w 614"/>
                <a:gd name="T75" fmla="*/ 8 h 457"/>
                <a:gd name="T76" fmla="*/ 191 w 614"/>
                <a:gd name="T77" fmla="*/ 10 h 457"/>
                <a:gd name="T78" fmla="*/ 229 w 614"/>
                <a:gd name="T79" fmla="*/ 12 h 457"/>
                <a:gd name="T80" fmla="*/ 268 w 614"/>
                <a:gd name="T81" fmla="*/ 14 h 457"/>
                <a:gd name="T82" fmla="*/ 307 w 614"/>
                <a:gd name="T83" fmla="*/ 16 h 457"/>
                <a:gd name="T84" fmla="*/ 346 w 614"/>
                <a:gd name="T85" fmla="*/ 18 h 457"/>
                <a:gd name="T86" fmla="*/ 385 w 614"/>
                <a:gd name="T87" fmla="*/ 20 h 457"/>
                <a:gd name="T88" fmla="*/ 424 w 614"/>
                <a:gd name="T89" fmla="*/ 22 h 457"/>
                <a:gd name="T90" fmla="*/ 459 w 614"/>
                <a:gd name="T91" fmla="*/ 24 h 457"/>
                <a:gd name="T92" fmla="*/ 490 w 614"/>
                <a:gd name="T93" fmla="*/ 24 h 457"/>
                <a:gd name="T94" fmla="*/ 518 w 614"/>
                <a:gd name="T95" fmla="*/ 26 h 457"/>
                <a:gd name="T96" fmla="*/ 549 w 614"/>
                <a:gd name="T97" fmla="*/ 26 h 457"/>
                <a:gd name="T98" fmla="*/ 578 w 614"/>
                <a:gd name="T99" fmla="*/ 26 h 457"/>
                <a:gd name="T100" fmla="*/ 608 w 614"/>
                <a:gd name="T101" fmla="*/ 28 h 457"/>
                <a:gd name="T102" fmla="*/ 614 w 614"/>
                <a:gd name="T103" fmla="*/ 41 h 457"/>
                <a:gd name="T104" fmla="*/ 614 w 614"/>
                <a:gd name="T105" fmla="*/ 61 h 457"/>
                <a:gd name="T106" fmla="*/ 614 w 614"/>
                <a:gd name="T107" fmla="*/ 82 h 457"/>
                <a:gd name="T108" fmla="*/ 614 w 614"/>
                <a:gd name="T109" fmla="*/ 100 h 457"/>
                <a:gd name="T110" fmla="*/ 612 w 614"/>
                <a:gd name="T111" fmla="*/ 121 h 457"/>
                <a:gd name="T112" fmla="*/ 612 w 614"/>
                <a:gd name="T113" fmla="*/ 135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 h="457">
                  <a:moveTo>
                    <a:pt x="612" y="135"/>
                  </a:moveTo>
                  <a:lnTo>
                    <a:pt x="612" y="145"/>
                  </a:lnTo>
                  <a:lnTo>
                    <a:pt x="612" y="153"/>
                  </a:lnTo>
                  <a:lnTo>
                    <a:pt x="612" y="164"/>
                  </a:lnTo>
                  <a:lnTo>
                    <a:pt x="612" y="174"/>
                  </a:lnTo>
                  <a:lnTo>
                    <a:pt x="612" y="184"/>
                  </a:lnTo>
                  <a:lnTo>
                    <a:pt x="612" y="194"/>
                  </a:lnTo>
                  <a:lnTo>
                    <a:pt x="612" y="205"/>
                  </a:lnTo>
                  <a:lnTo>
                    <a:pt x="612" y="215"/>
                  </a:lnTo>
                  <a:lnTo>
                    <a:pt x="612" y="225"/>
                  </a:lnTo>
                  <a:lnTo>
                    <a:pt x="612" y="235"/>
                  </a:lnTo>
                  <a:lnTo>
                    <a:pt x="612" y="246"/>
                  </a:lnTo>
                  <a:lnTo>
                    <a:pt x="610" y="254"/>
                  </a:lnTo>
                  <a:lnTo>
                    <a:pt x="610" y="264"/>
                  </a:lnTo>
                  <a:lnTo>
                    <a:pt x="610" y="274"/>
                  </a:lnTo>
                  <a:lnTo>
                    <a:pt x="610" y="285"/>
                  </a:lnTo>
                  <a:lnTo>
                    <a:pt x="610" y="295"/>
                  </a:lnTo>
                  <a:lnTo>
                    <a:pt x="610" y="305"/>
                  </a:lnTo>
                  <a:lnTo>
                    <a:pt x="610" y="315"/>
                  </a:lnTo>
                  <a:lnTo>
                    <a:pt x="610" y="326"/>
                  </a:lnTo>
                  <a:lnTo>
                    <a:pt x="610" y="336"/>
                  </a:lnTo>
                  <a:lnTo>
                    <a:pt x="610" y="346"/>
                  </a:lnTo>
                  <a:lnTo>
                    <a:pt x="610" y="354"/>
                  </a:lnTo>
                  <a:lnTo>
                    <a:pt x="610" y="365"/>
                  </a:lnTo>
                  <a:lnTo>
                    <a:pt x="610" y="375"/>
                  </a:lnTo>
                  <a:lnTo>
                    <a:pt x="610" y="385"/>
                  </a:lnTo>
                  <a:lnTo>
                    <a:pt x="608" y="395"/>
                  </a:lnTo>
                  <a:lnTo>
                    <a:pt x="608" y="406"/>
                  </a:lnTo>
                  <a:lnTo>
                    <a:pt x="608" y="416"/>
                  </a:lnTo>
                  <a:lnTo>
                    <a:pt x="608" y="426"/>
                  </a:lnTo>
                  <a:lnTo>
                    <a:pt x="608" y="436"/>
                  </a:lnTo>
                  <a:lnTo>
                    <a:pt x="608" y="447"/>
                  </a:lnTo>
                  <a:lnTo>
                    <a:pt x="608" y="457"/>
                  </a:lnTo>
                  <a:lnTo>
                    <a:pt x="598" y="457"/>
                  </a:lnTo>
                  <a:lnTo>
                    <a:pt x="588" y="455"/>
                  </a:lnTo>
                  <a:lnTo>
                    <a:pt x="576" y="455"/>
                  </a:lnTo>
                  <a:lnTo>
                    <a:pt x="565" y="455"/>
                  </a:lnTo>
                  <a:lnTo>
                    <a:pt x="555" y="455"/>
                  </a:lnTo>
                  <a:lnTo>
                    <a:pt x="545" y="455"/>
                  </a:lnTo>
                  <a:lnTo>
                    <a:pt x="533" y="455"/>
                  </a:lnTo>
                  <a:lnTo>
                    <a:pt x="522" y="455"/>
                  </a:lnTo>
                  <a:lnTo>
                    <a:pt x="506" y="453"/>
                  </a:lnTo>
                  <a:lnTo>
                    <a:pt x="490" y="453"/>
                  </a:lnTo>
                  <a:lnTo>
                    <a:pt x="473" y="453"/>
                  </a:lnTo>
                  <a:lnTo>
                    <a:pt x="457" y="453"/>
                  </a:lnTo>
                  <a:lnTo>
                    <a:pt x="440" y="451"/>
                  </a:lnTo>
                  <a:lnTo>
                    <a:pt x="424" y="451"/>
                  </a:lnTo>
                  <a:lnTo>
                    <a:pt x="408" y="451"/>
                  </a:lnTo>
                  <a:lnTo>
                    <a:pt x="391" y="449"/>
                  </a:lnTo>
                  <a:lnTo>
                    <a:pt x="375" y="449"/>
                  </a:lnTo>
                  <a:lnTo>
                    <a:pt x="358" y="449"/>
                  </a:lnTo>
                  <a:lnTo>
                    <a:pt x="342" y="447"/>
                  </a:lnTo>
                  <a:lnTo>
                    <a:pt x="326" y="447"/>
                  </a:lnTo>
                  <a:lnTo>
                    <a:pt x="309" y="447"/>
                  </a:lnTo>
                  <a:lnTo>
                    <a:pt x="293" y="444"/>
                  </a:lnTo>
                  <a:lnTo>
                    <a:pt x="277" y="444"/>
                  </a:lnTo>
                  <a:lnTo>
                    <a:pt x="260" y="442"/>
                  </a:lnTo>
                  <a:lnTo>
                    <a:pt x="244" y="442"/>
                  </a:lnTo>
                  <a:lnTo>
                    <a:pt x="227" y="442"/>
                  </a:lnTo>
                  <a:lnTo>
                    <a:pt x="211" y="440"/>
                  </a:lnTo>
                  <a:lnTo>
                    <a:pt x="195" y="440"/>
                  </a:lnTo>
                  <a:lnTo>
                    <a:pt x="178" y="438"/>
                  </a:lnTo>
                  <a:lnTo>
                    <a:pt x="162" y="438"/>
                  </a:lnTo>
                  <a:lnTo>
                    <a:pt x="145" y="436"/>
                  </a:lnTo>
                  <a:lnTo>
                    <a:pt x="129" y="436"/>
                  </a:lnTo>
                  <a:lnTo>
                    <a:pt x="113" y="434"/>
                  </a:lnTo>
                  <a:lnTo>
                    <a:pt x="96" y="432"/>
                  </a:lnTo>
                  <a:lnTo>
                    <a:pt x="80" y="432"/>
                  </a:lnTo>
                  <a:lnTo>
                    <a:pt x="66" y="430"/>
                  </a:lnTo>
                  <a:lnTo>
                    <a:pt x="49" y="430"/>
                  </a:lnTo>
                  <a:lnTo>
                    <a:pt x="33" y="428"/>
                  </a:lnTo>
                  <a:lnTo>
                    <a:pt x="16" y="426"/>
                  </a:lnTo>
                  <a:lnTo>
                    <a:pt x="0" y="426"/>
                  </a:lnTo>
                  <a:lnTo>
                    <a:pt x="0" y="412"/>
                  </a:lnTo>
                  <a:lnTo>
                    <a:pt x="2" y="399"/>
                  </a:lnTo>
                  <a:lnTo>
                    <a:pt x="2" y="385"/>
                  </a:lnTo>
                  <a:lnTo>
                    <a:pt x="4" y="373"/>
                  </a:lnTo>
                  <a:lnTo>
                    <a:pt x="4" y="358"/>
                  </a:lnTo>
                  <a:lnTo>
                    <a:pt x="6" y="346"/>
                  </a:lnTo>
                  <a:lnTo>
                    <a:pt x="6" y="332"/>
                  </a:lnTo>
                  <a:lnTo>
                    <a:pt x="8" y="319"/>
                  </a:lnTo>
                  <a:lnTo>
                    <a:pt x="8" y="305"/>
                  </a:lnTo>
                  <a:lnTo>
                    <a:pt x="10" y="291"/>
                  </a:lnTo>
                  <a:lnTo>
                    <a:pt x="10" y="278"/>
                  </a:lnTo>
                  <a:lnTo>
                    <a:pt x="12" y="264"/>
                  </a:lnTo>
                  <a:lnTo>
                    <a:pt x="14" y="252"/>
                  </a:lnTo>
                  <a:lnTo>
                    <a:pt x="14" y="238"/>
                  </a:lnTo>
                  <a:lnTo>
                    <a:pt x="16" y="225"/>
                  </a:lnTo>
                  <a:lnTo>
                    <a:pt x="16" y="211"/>
                  </a:lnTo>
                  <a:lnTo>
                    <a:pt x="19" y="199"/>
                  </a:lnTo>
                  <a:lnTo>
                    <a:pt x="19" y="184"/>
                  </a:lnTo>
                  <a:lnTo>
                    <a:pt x="21" y="172"/>
                  </a:lnTo>
                  <a:lnTo>
                    <a:pt x="21" y="158"/>
                  </a:lnTo>
                  <a:lnTo>
                    <a:pt x="23" y="145"/>
                  </a:lnTo>
                  <a:lnTo>
                    <a:pt x="23" y="131"/>
                  </a:lnTo>
                  <a:lnTo>
                    <a:pt x="25" y="119"/>
                  </a:lnTo>
                  <a:lnTo>
                    <a:pt x="25" y="104"/>
                  </a:lnTo>
                  <a:lnTo>
                    <a:pt x="27" y="92"/>
                  </a:lnTo>
                  <a:lnTo>
                    <a:pt x="27" y="78"/>
                  </a:lnTo>
                  <a:lnTo>
                    <a:pt x="29" y="65"/>
                  </a:lnTo>
                  <a:lnTo>
                    <a:pt x="31" y="51"/>
                  </a:lnTo>
                  <a:lnTo>
                    <a:pt x="31" y="39"/>
                  </a:lnTo>
                  <a:lnTo>
                    <a:pt x="33" y="24"/>
                  </a:lnTo>
                  <a:lnTo>
                    <a:pt x="33" y="12"/>
                  </a:lnTo>
                  <a:lnTo>
                    <a:pt x="35" y="0"/>
                  </a:lnTo>
                  <a:lnTo>
                    <a:pt x="47" y="0"/>
                  </a:lnTo>
                  <a:lnTo>
                    <a:pt x="59" y="2"/>
                  </a:lnTo>
                  <a:lnTo>
                    <a:pt x="74" y="2"/>
                  </a:lnTo>
                  <a:lnTo>
                    <a:pt x="86" y="4"/>
                  </a:lnTo>
                  <a:lnTo>
                    <a:pt x="98" y="4"/>
                  </a:lnTo>
                  <a:lnTo>
                    <a:pt x="113" y="4"/>
                  </a:lnTo>
                  <a:lnTo>
                    <a:pt x="125" y="6"/>
                  </a:lnTo>
                  <a:lnTo>
                    <a:pt x="137" y="6"/>
                  </a:lnTo>
                  <a:lnTo>
                    <a:pt x="152" y="8"/>
                  </a:lnTo>
                  <a:lnTo>
                    <a:pt x="164" y="8"/>
                  </a:lnTo>
                  <a:lnTo>
                    <a:pt x="176" y="10"/>
                  </a:lnTo>
                  <a:lnTo>
                    <a:pt x="191" y="10"/>
                  </a:lnTo>
                  <a:lnTo>
                    <a:pt x="203" y="12"/>
                  </a:lnTo>
                  <a:lnTo>
                    <a:pt x="215" y="12"/>
                  </a:lnTo>
                  <a:lnTo>
                    <a:pt x="229" y="12"/>
                  </a:lnTo>
                  <a:lnTo>
                    <a:pt x="242" y="14"/>
                  </a:lnTo>
                  <a:lnTo>
                    <a:pt x="254" y="14"/>
                  </a:lnTo>
                  <a:lnTo>
                    <a:pt x="268" y="14"/>
                  </a:lnTo>
                  <a:lnTo>
                    <a:pt x="281" y="16"/>
                  </a:lnTo>
                  <a:lnTo>
                    <a:pt x="293" y="16"/>
                  </a:lnTo>
                  <a:lnTo>
                    <a:pt x="307" y="16"/>
                  </a:lnTo>
                  <a:lnTo>
                    <a:pt x="320" y="18"/>
                  </a:lnTo>
                  <a:lnTo>
                    <a:pt x="332" y="18"/>
                  </a:lnTo>
                  <a:lnTo>
                    <a:pt x="346" y="18"/>
                  </a:lnTo>
                  <a:lnTo>
                    <a:pt x="358" y="20"/>
                  </a:lnTo>
                  <a:lnTo>
                    <a:pt x="371" y="20"/>
                  </a:lnTo>
                  <a:lnTo>
                    <a:pt x="385" y="20"/>
                  </a:lnTo>
                  <a:lnTo>
                    <a:pt x="397" y="22"/>
                  </a:lnTo>
                  <a:lnTo>
                    <a:pt x="412" y="22"/>
                  </a:lnTo>
                  <a:lnTo>
                    <a:pt x="424" y="22"/>
                  </a:lnTo>
                  <a:lnTo>
                    <a:pt x="436" y="22"/>
                  </a:lnTo>
                  <a:lnTo>
                    <a:pt x="451" y="24"/>
                  </a:lnTo>
                  <a:lnTo>
                    <a:pt x="459" y="24"/>
                  </a:lnTo>
                  <a:lnTo>
                    <a:pt x="469" y="24"/>
                  </a:lnTo>
                  <a:lnTo>
                    <a:pt x="479" y="24"/>
                  </a:lnTo>
                  <a:lnTo>
                    <a:pt x="490" y="24"/>
                  </a:lnTo>
                  <a:lnTo>
                    <a:pt x="500" y="24"/>
                  </a:lnTo>
                  <a:lnTo>
                    <a:pt x="508" y="24"/>
                  </a:lnTo>
                  <a:lnTo>
                    <a:pt x="518" y="26"/>
                  </a:lnTo>
                  <a:lnTo>
                    <a:pt x="528" y="26"/>
                  </a:lnTo>
                  <a:lnTo>
                    <a:pt x="539" y="26"/>
                  </a:lnTo>
                  <a:lnTo>
                    <a:pt x="549" y="26"/>
                  </a:lnTo>
                  <a:lnTo>
                    <a:pt x="557" y="26"/>
                  </a:lnTo>
                  <a:lnTo>
                    <a:pt x="567" y="26"/>
                  </a:lnTo>
                  <a:lnTo>
                    <a:pt x="578" y="26"/>
                  </a:lnTo>
                  <a:lnTo>
                    <a:pt x="588" y="26"/>
                  </a:lnTo>
                  <a:lnTo>
                    <a:pt x="598" y="28"/>
                  </a:lnTo>
                  <a:lnTo>
                    <a:pt x="608" y="28"/>
                  </a:lnTo>
                  <a:lnTo>
                    <a:pt x="614" y="28"/>
                  </a:lnTo>
                  <a:lnTo>
                    <a:pt x="614" y="35"/>
                  </a:lnTo>
                  <a:lnTo>
                    <a:pt x="614" y="41"/>
                  </a:lnTo>
                  <a:lnTo>
                    <a:pt x="614" y="47"/>
                  </a:lnTo>
                  <a:lnTo>
                    <a:pt x="614" y="55"/>
                  </a:lnTo>
                  <a:lnTo>
                    <a:pt x="614" y="61"/>
                  </a:lnTo>
                  <a:lnTo>
                    <a:pt x="614" y="67"/>
                  </a:lnTo>
                  <a:lnTo>
                    <a:pt x="614" y="74"/>
                  </a:lnTo>
                  <a:lnTo>
                    <a:pt x="614" y="82"/>
                  </a:lnTo>
                  <a:lnTo>
                    <a:pt x="614" y="88"/>
                  </a:lnTo>
                  <a:lnTo>
                    <a:pt x="614" y="94"/>
                  </a:lnTo>
                  <a:lnTo>
                    <a:pt x="614" y="100"/>
                  </a:lnTo>
                  <a:lnTo>
                    <a:pt x="614" y="108"/>
                  </a:lnTo>
                  <a:lnTo>
                    <a:pt x="614" y="115"/>
                  </a:lnTo>
                  <a:lnTo>
                    <a:pt x="612" y="121"/>
                  </a:lnTo>
                  <a:lnTo>
                    <a:pt x="612" y="127"/>
                  </a:lnTo>
                  <a:lnTo>
                    <a:pt x="612" y="135"/>
                  </a:lnTo>
                  <a:lnTo>
                    <a:pt x="612" y="135"/>
                  </a:lnTo>
                  <a:close/>
                </a:path>
              </a:pathLst>
            </a:custGeom>
            <a:solidFill>
              <a:schemeClr val="bg1">
                <a:lumMod val="5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CO</a:t>
              </a:r>
            </a:p>
          </p:txBody>
        </p:sp>
        <p:sp>
          <p:nvSpPr>
            <p:cNvPr id="236" name="Freeform 51">
              <a:extLst>
                <a:ext uri="{FF2B5EF4-FFF2-40B4-BE49-F238E27FC236}">
                  <a16:creationId xmlns:a16="http://schemas.microsoft.com/office/drawing/2014/main" id="{2037683D-F756-355F-AA24-53D97BD908B1}"/>
                </a:ext>
              </a:extLst>
            </p:cNvPr>
            <p:cNvSpPr>
              <a:spLocks noEditPoints="1"/>
            </p:cNvSpPr>
            <p:nvPr/>
          </p:nvSpPr>
          <p:spPr bwMode="auto">
            <a:xfrm>
              <a:off x="711" y="693"/>
              <a:ext cx="760" cy="1125"/>
            </a:xfrm>
            <a:custGeom>
              <a:avLst/>
              <a:gdLst>
                <a:gd name="T0" fmla="*/ 350 w 760"/>
                <a:gd name="T1" fmla="*/ 1061 h 1125"/>
                <a:gd name="T2" fmla="*/ 260 w 760"/>
                <a:gd name="T3" fmla="*/ 998 h 1125"/>
                <a:gd name="T4" fmla="*/ 359 w 760"/>
                <a:gd name="T5" fmla="*/ 1004 h 1125"/>
                <a:gd name="T6" fmla="*/ 223 w 760"/>
                <a:gd name="T7" fmla="*/ 908 h 1125"/>
                <a:gd name="T8" fmla="*/ 234 w 760"/>
                <a:gd name="T9" fmla="*/ 918 h 1125"/>
                <a:gd name="T10" fmla="*/ 201 w 760"/>
                <a:gd name="T11" fmla="*/ 903 h 1125"/>
                <a:gd name="T12" fmla="*/ 242 w 760"/>
                <a:gd name="T13" fmla="*/ 906 h 1125"/>
                <a:gd name="T14" fmla="*/ 756 w 760"/>
                <a:gd name="T15" fmla="*/ 955 h 1125"/>
                <a:gd name="T16" fmla="*/ 741 w 760"/>
                <a:gd name="T17" fmla="*/ 934 h 1125"/>
                <a:gd name="T18" fmla="*/ 725 w 760"/>
                <a:gd name="T19" fmla="*/ 895 h 1125"/>
                <a:gd name="T20" fmla="*/ 518 w 760"/>
                <a:gd name="T21" fmla="*/ 617 h 1125"/>
                <a:gd name="T22" fmla="*/ 354 w 760"/>
                <a:gd name="T23" fmla="*/ 260 h 1125"/>
                <a:gd name="T24" fmla="*/ 178 w 760"/>
                <a:gd name="T25" fmla="*/ 28 h 1125"/>
                <a:gd name="T26" fmla="*/ 49 w 760"/>
                <a:gd name="T27" fmla="*/ 35 h 1125"/>
                <a:gd name="T28" fmla="*/ 37 w 760"/>
                <a:gd name="T29" fmla="*/ 90 h 1125"/>
                <a:gd name="T30" fmla="*/ 33 w 760"/>
                <a:gd name="T31" fmla="*/ 125 h 1125"/>
                <a:gd name="T32" fmla="*/ 12 w 760"/>
                <a:gd name="T33" fmla="*/ 139 h 1125"/>
                <a:gd name="T34" fmla="*/ 2 w 760"/>
                <a:gd name="T35" fmla="*/ 180 h 1125"/>
                <a:gd name="T36" fmla="*/ 33 w 760"/>
                <a:gd name="T37" fmla="*/ 246 h 1125"/>
                <a:gd name="T38" fmla="*/ 27 w 760"/>
                <a:gd name="T39" fmla="*/ 311 h 1125"/>
                <a:gd name="T40" fmla="*/ 57 w 760"/>
                <a:gd name="T41" fmla="*/ 387 h 1125"/>
                <a:gd name="T42" fmla="*/ 72 w 760"/>
                <a:gd name="T43" fmla="*/ 428 h 1125"/>
                <a:gd name="T44" fmla="*/ 66 w 760"/>
                <a:gd name="T45" fmla="*/ 434 h 1125"/>
                <a:gd name="T46" fmla="*/ 84 w 760"/>
                <a:gd name="T47" fmla="*/ 453 h 1125"/>
                <a:gd name="T48" fmla="*/ 100 w 760"/>
                <a:gd name="T49" fmla="*/ 455 h 1125"/>
                <a:gd name="T50" fmla="*/ 125 w 760"/>
                <a:gd name="T51" fmla="*/ 444 h 1125"/>
                <a:gd name="T52" fmla="*/ 152 w 760"/>
                <a:gd name="T53" fmla="*/ 451 h 1125"/>
                <a:gd name="T54" fmla="*/ 166 w 760"/>
                <a:gd name="T55" fmla="*/ 453 h 1125"/>
                <a:gd name="T56" fmla="*/ 178 w 760"/>
                <a:gd name="T57" fmla="*/ 451 h 1125"/>
                <a:gd name="T58" fmla="*/ 178 w 760"/>
                <a:gd name="T59" fmla="*/ 453 h 1125"/>
                <a:gd name="T60" fmla="*/ 164 w 760"/>
                <a:gd name="T61" fmla="*/ 457 h 1125"/>
                <a:gd name="T62" fmla="*/ 109 w 760"/>
                <a:gd name="T63" fmla="*/ 455 h 1125"/>
                <a:gd name="T64" fmla="*/ 123 w 760"/>
                <a:gd name="T65" fmla="*/ 490 h 1125"/>
                <a:gd name="T66" fmla="*/ 121 w 760"/>
                <a:gd name="T67" fmla="*/ 506 h 1125"/>
                <a:gd name="T68" fmla="*/ 105 w 760"/>
                <a:gd name="T69" fmla="*/ 492 h 1125"/>
                <a:gd name="T70" fmla="*/ 94 w 760"/>
                <a:gd name="T71" fmla="*/ 473 h 1125"/>
                <a:gd name="T72" fmla="*/ 94 w 760"/>
                <a:gd name="T73" fmla="*/ 528 h 1125"/>
                <a:gd name="T74" fmla="*/ 133 w 760"/>
                <a:gd name="T75" fmla="*/ 571 h 1125"/>
                <a:gd name="T76" fmla="*/ 125 w 760"/>
                <a:gd name="T77" fmla="*/ 604 h 1125"/>
                <a:gd name="T78" fmla="*/ 119 w 760"/>
                <a:gd name="T79" fmla="*/ 635 h 1125"/>
                <a:gd name="T80" fmla="*/ 143 w 760"/>
                <a:gd name="T81" fmla="*/ 676 h 1125"/>
                <a:gd name="T82" fmla="*/ 172 w 760"/>
                <a:gd name="T83" fmla="*/ 733 h 1125"/>
                <a:gd name="T84" fmla="*/ 182 w 760"/>
                <a:gd name="T85" fmla="*/ 768 h 1125"/>
                <a:gd name="T86" fmla="*/ 197 w 760"/>
                <a:gd name="T87" fmla="*/ 809 h 1125"/>
                <a:gd name="T88" fmla="*/ 195 w 760"/>
                <a:gd name="T89" fmla="*/ 844 h 1125"/>
                <a:gd name="T90" fmla="*/ 266 w 760"/>
                <a:gd name="T91" fmla="*/ 875 h 1125"/>
                <a:gd name="T92" fmla="*/ 305 w 760"/>
                <a:gd name="T93" fmla="*/ 899 h 1125"/>
                <a:gd name="T94" fmla="*/ 332 w 760"/>
                <a:gd name="T95" fmla="*/ 924 h 1125"/>
                <a:gd name="T96" fmla="*/ 373 w 760"/>
                <a:gd name="T97" fmla="*/ 959 h 1125"/>
                <a:gd name="T98" fmla="*/ 383 w 760"/>
                <a:gd name="T99" fmla="*/ 965 h 1125"/>
                <a:gd name="T100" fmla="*/ 445 w 760"/>
                <a:gd name="T101" fmla="*/ 1020 h 1125"/>
                <a:gd name="T102" fmla="*/ 459 w 760"/>
                <a:gd name="T103" fmla="*/ 1092 h 1125"/>
                <a:gd name="T104" fmla="*/ 459 w 760"/>
                <a:gd name="T105" fmla="*/ 1094 h 1125"/>
                <a:gd name="T106" fmla="*/ 533 w 760"/>
                <a:gd name="T107" fmla="*/ 1117 h 1125"/>
                <a:gd name="T108" fmla="*/ 674 w 760"/>
                <a:gd name="T109" fmla="*/ 1123 h 1125"/>
                <a:gd name="T110" fmla="*/ 711 w 760"/>
                <a:gd name="T111" fmla="*/ 1098 h 1125"/>
                <a:gd name="T112" fmla="*/ 694 w 760"/>
                <a:gd name="T113" fmla="*/ 1049 h 1125"/>
                <a:gd name="T114" fmla="*/ 719 w 760"/>
                <a:gd name="T115" fmla="*/ 1018 h 1125"/>
                <a:gd name="T116" fmla="*/ 725 w 760"/>
                <a:gd name="T117" fmla="*/ 990 h 1125"/>
                <a:gd name="T118" fmla="*/ 53 w 760"/>
                <a:gd name="T119" fmla="*/ 471 h 1125"/>
                <a:gd name="T120" fmla="*/ 109 w 760"/>
                <a:gd name="T121" fmla="*/ 469 h 1125"/>
                <a:gd name="T122" fmla="*/ 289 w 760"/>
                <a:gd name="T123" fmla="*/ 922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1125">
                  <a:moveTo>
                    <a:pt x="354" y="1057"/>
                  </a:moveTo>
                  <a:lnTo>
                    <a:pt x="352" y="1053"/>
                  </a:lnTo>
                  <a:lnTo>
                    <a:pt x="348" y="1049"/>
                  </a:lnTo>
                  <a:lnTo>
                    <a:pt x="346" y="1047"/>
                  </a:lnTo>
                  <a:lnTo>
                    <a:pt x="346" y="1043"/>
                  </a:lnTo>
                  <a:lnTo>
                    <a:pt x="346" y="1043"/>
                  </a:lnTo>
                  <a:lnTo>
                    <a:pt x="346" y="1041"/>
                  </a:lnTo>
                  <a:lnTo>
                    <a:pt x="344" y="1041"/>
                  </a:lnTo>
                  <a:lnTo>
                    <a:pt x="344" y="1039"/>
                  </a:lnTo>
                  <a:lnTo>
                    <a:pt x="344" y="1039"/>
                  </a:lnTo>
                  <a:lnTo>
                    <a:pt x="344" y="1037"/>
                  </a:lnTo>
                  <a:lnTo>
                    <a:pt x="342" y="1037"/>
                  </a:lnTo>
                  <a:lnTo>
                    <a:pt x="342" y="1037"/>
                  </a:lnTo>
                  <a:lnTo>
                    <a:pt x="340" y="1039"/>
                  </a:lnTo>
                  <a:lnTo>
                    <a:pt x="342" y="1043"/>
                  </a:lnTo>
                  <a:lnTo>
                    <a:pt x="344" y="1045"/>
                  </a:lnTo>
                  <a:lnTo>
                    <a:pt x="344" y="1049"/>
                  </a:lnTo>
                  <a:lnTo>
                    <a:pt x="346" y="1055"/>
                  </a:lnTo>
                  <a:lnTo>
                    <a:pt x="348" y="1059"/>
                  </a:lnTo>
                  <a:lnTo>
                    <a:pt x="350" y="1061"/>
                  </a:lnTo>
                  <a:lnTo>
                    <a:pt x="352" y="1061"/>
                  </a:lnTo>
                  <a:lnTo>
                    <a:pt x="352" y="1063"/>
                  </a:lnTo>
                  <a:lnTo>
                    <a:pt x="354" y="1063"/>
                  </a:lnTo>
                  <a:lnTo>
                    <a:pt x="354" y="1063"/>
                  </a:lnTo>
                  <a:lnTo>
                    <a:pt x="354" y="1063"/>
                  </a:lnTo>
                  <a:lnTo>
                    <a:pt x="356" y="1063"/>
                  </a:lnTo>
                  <a:lnTo>
                    <a:pt x="359" y="1063"/>
                  </a:lnTo>
                  <a:lnTo>
                    <a:pt x="359" y="1063"/>
                  </a:lnTo>
                  <a:lnTo>
                    <a:pt x="361" y="1063"/>
                  </a:lnTo>
                  <a:lnTo>
                    <a:pt x="356" y="1059"/>
                  </a:lnTo>
                  <a:lnTo>
                    <a:pt x="354" y="1057"/>
                  </a:lnTo>
                  <a:close/>
                  <a:moveTo>
                    <a:pt x="268" y="1000"/>
                  </a:moveTo>
                  <a:lnTo>
                    <a:pt x="264" y="998"/>
                  </a:lnTo>
                  <a:lnTo>
                    <a:pt x="264" y="998"/>
                  </a:lnTo>
                  <a:lnTo>
                    <a:pt x="264" y="996"/>
                  </a:lnTo>
                  <a:lnTo>
                    <a:pt x="262" y="996"/>
                  </a:lnTo>
                  <a:lnTo>
                    <a:pt x="262" y="996"/>
                  </a:lnTo>
                  <a:lnTo>
                    <a:pt x="260" y="996"/>
                  </a:lnTo>
                  <a:lnTo>
                    <a:pt x="258" y="996"/>
                  </a:lnTo>
                  <a:lnTo>
                    <a:pt x="260" y="998"/>
                  </a:lnTo>
                  <a:lnTo>
                    <a:pt x="262" y="1002"/>
                  </a:lnTo>
                  <a:lnTo>
                    <a:pt x="264" y="1004"/>
                  </a:lnTo>
                  <a:lnTo>
                    <a:pt x="266" y="1004"/>
                  </a:lnTo>
                  <a:lnTo>
                    <a:pt x="270" y="1004"/>
                  </a:lnTo>
                  <a:lnTo>
                    <a:pt x="270" y="1002"/>
                  </a:lnTo>
                  <a:lnTo>
                    <a:pt x="268" y="1000"/>
                  </a:lnTo>
                  <a:close/>
                  <a:moveTo>
                    <a:pt x="369" y="1000"/>
                  </a:moveTo>
                  <a:lnTo>
                    <a:pt x="361" y="996"/>
                  </a:lnTo>
                  <a:lnTo>
                    <a:pt x="361" y="996"/>
                  </a:lnTo>
                  <a:lnTo>
                    <a:pt x="354" y="992"/>
                  </a:lnTo>
                  <a:lnTo>
                    <a:pt x="352" y="990"/>
                  </a:lnTo>
                  <a:lnTo>
                    <a:pt x="350" y="990"/>
                  </a:lnTo>
                  <a:lnTo>
                    <a:pt x="350" y="992"/>
                  </a:lnTo>
                  <a:lnTo>
                    <a:pt x="350" y="994"/>
                  </a:lnTo>
                  <a:lnTo>
                    <a:pt x="352" y="994"/>
                  </a:lnTo>
                  <a:lnTo>
                    <a:pt x="354" y="996"/>
                  </a:lnTo>
                  <a:lnTo>
                    <a:pt x="356" y="996"/>
                  </a:lnTo>
                  <a:lnTo>
                    <a:pt x="359" y="998"/>
                  </a:lnTo>
                  <a:lnTo>
                    <a:pt x="359" y="1000"/>
                  </a:lnTo>
                  <a:lnTo>
                    <a:pt x="359" y="1004"/>
                  </a:lnTo>
                  <a:lnTo>
                    <a:pt x="359" y="1006"/>
                  </a:lnTo>
                  <a:lnTo>
                    <a:pt x="359" y="1008"/>
                  </a:lnTo>
                  <a:lnTo>
                    <a:pt x="361" y="1010"/>
                  </a:lnTo>
                  <a:lnTo>
                    <a:pt x="363" y="1010"/>
                  </a:lnTo>
                  <a:lnTo>
                    <a:pt x="363" y="1010"/>
                  </a:lnTo>
                  <a:lnTo>
                    <a:pt x="365" y="1010"/>
                  </a:lnTo>
                  <a:lnTo>
                    <a:pt x="367" y="1010"/>
                  </a:lnTo>
                  <a:lnTo>
                    <a:pt x="367" y="1010"/>
                  </a:lnTo>
                  <a:lnTo>
                    <a:pt x="369" y="1012"/>
                  </a:lnTo>
                  <a:lnTo>
                    <a:pt x="371" y="1012"/>
                  </a:lnTo>
                  <a:lnTo>
                    <a:pt x="373" y="1012"/>
                  </a:lnTo>
                  <a:lnTo>
                    <a:pt x="373" y="1010"/>
                  </a:lnTo>
                  <a:lnTo>
                    <a:pt x="369" y="1002"/>
                  </a:lnTo>
                  <a:lnTo>
                    <a:pt x="369" y="1000"/>
                  </a:lnTo>
                  <a:close/>
                  <a:moveTo>
                    <a:pt x="232" y="912"/>
                  </a:moveTo>
                  <a:lnTo>
                    <a:pt x="232" y="910"/>
                  </a:lnTo>
                  <a:lnTo>
                    <a:pt x="232" y="908"/>
                  </a:lnTo>
                  <a:lnTo>
                    <a:pt x="229" y="908"/>
                  </a:lnTo>
                  <a:lnTo>
                    <a:pt x="229" y="908"/>
                  </a:lnTo>
                  <a:lnTo>
                    <a:pt x="223" y="908"/>
                  </a:lnTo>
                  <a:lnTo>
                    <a:pt x="221" y="908"/>
                  </a:lnTo>
                  <a:lnTo>
                    <a:pt x="221" y="908"/>
                  </a:lnTo>
                  <a:lnTo>
                    <a:pt x="219" y="908"/>
                  </a:lnTo>
                  <a:lnTo>
                    <a:pt x="217" y="908"/>
                  </a:lnTo>
                  <a:lnTo>
                    <a:pt x="215" y="906"/>
                  </a:lnTo>
                  <a:lnTo>
                    <a:pt x="213" y="908"/>
                  </a:lnTo>
                  <a:lnTo>
                    <a:pt x="213" y="910"/>
                  </a:lnTo>
                  <a:lnTo>
                    <a:pt x="215" y="912"/>
                  </a:lnTo>
                  <a:lnTo>
                    <a:pt x="217" y="914"/>
                  </a:lnTo>
                  <a:lnTo>
                    <a:pt x="217" y="916"/>
                  </a:lnTo>
                  <a:lnTo>
                    <a:pt x="217" y="918"/>
                  </a:lnTo>
                  <a:lnTo>
                    <a:pt x="219" y="920"/>
                  </a:lnTo>
                  <a:lnTo>
                    <a:pt x="221" y="920"/>
                  </a:lnTo>
                  <a:lnTo>
                    <a:pt x="223" y="920"/>
                  </a:lnTo>
                  <a:lnTo>
                    <a:pt x="223" y="920"/>
                  </a:lnTo>
                  <a:lnTo>
                    <a:pt x="225" y="920"/>
                  </a:lnTo>
                  <a:lnTo>
                    <a:pt x="225" y="920"/>
                  </a:lnTo>
                  <a:lnTo>
                    <a:pt x="227" y="920"/>
                  </a:lnTo>
                  <a:lnTo>
                    <a:pt x="227" y="920"/>
                  </a:lnTo>
                  <a:lnTo>
                    <a:pt x="234" y="918"/>
                  </a:lnTo>
                  <a:lnTo>
                    <a:pt x="236" y="918"/>
                  </a:lnTo>
                  <a:lnTo>
                    <a:pt x="236" y="916"/>
                  </a:lnTo>
                  <a:lnTo>
                    <a:pt x="236" y="914"/>
                  </a:lnTo>
                  <a:lnTo>
                    <a:pt x="234" y="914"/>
                  </a:lnTo>
                  <a:lnTo>
                    <a:pt x="232" y="912"/>
                  </a:lnTo>
                  <a:close/>
                  <a:moveTo>
                    <a:pt x="207" y="903"/>
                  </a:moveTo>
                  <a:lnTo>
                    <a:pt x="207" y="901"/>
                  </a:lnTo>
                  <a:lnTo>
                    <a:pt x="207" y="901"/>
                  </a:lnTo>
                  <a:lnTo>
                    <a:pt x="205" y="901"/>
                  </a:lnTo>
                  <a:lnTo>
                    <a:pt x="205" y="899"/>
                  </a:lnTo>
                  <a:lnTo>
                    <a:pt x="205" y="899"/>
                  </a:lnTo>
                  <a:lnTo>
                    <a:pt x="203" y="897"/>
                  </a:lnTo>
                  <a:lnTo>
                    <a:pt x="203" y="899"/>
                  </a:lnTo>
                  <a:lnTo>
                    <a:pt x="201" y="899"/>
                  </a:lnTo>
                  <a:lnTo>
                    <a:pt x="199" y="899"/>
                  </a:lnTo>
                  <a:lnTo>
                    <a:pt x="197" y="901"/>
                  </a:lnTo>
                  <a:lnTo>
                    <a:pt x="197" y="901"/>
                  </a:lnTo>
                  <a:lnTo>
                    <a:pt x="197" y="901"/>
                  </a:lnTo>
                  <a:lnTo>
                    <a:pt x="199" y="901"/>
                  </a:lnTo>
                  <a:lnTo>
                    <a:pt x="201" y="903"/>
                  </a:lnTo>
                  <a:lnTo>
                    <a:pt x="203" y="903"/>
                  </a:lnTo>
                  <a:lnTo>
                    <a:pt x="209" y="906"/>
                  </a:lnTo>
                  <a:lnTo>
                    <a:pt x="209" y="903"/>
                  </a:lnTo>
                  <a:lnTo>
                    <a:pt x="207" y="903"/>
                  </a:lnTo>
                  <a:close/>
                  <a:moveTo>
                    <a:pt x="275" y="914"/>
                  </a:moveTo>
                  <a:lnTo>
                    <a:pt x="275" y="914"/>
                  </a:lnTo>
                  <a:lnTo>
                    <a:pt x="272" y="912"/>
                  </a:lnTo>
                  <a:lnTo>
                    <a:pt x="270" y="914"/>
                  </a:lnTo>
                  <a:lnTo>
                    <a:pt x="266" y="916"/>
                  </a:lnTo>
                  <a:lnTo>
                    <a:pt x="266" y="916"/>
                  </a:lnTo>
                  <a:lnTo>
                    <a:pt x="266" y="916"/>
                  </a:lnTo>
                  <a:lnTo>
                    <a:pt x="258" y="912"/>
                  </a:lnTo>
                  <a:lnTo>
                    <a:pt x="256" y="910"/>
                  </a:lnTo>
                  <a:lnTo>
                    <a:pt x="252" y="910"/>
                  </a:lnTo>
                  <a:lnTo>
                    <a:pt x="252" y="910"/>
                  </a:lnTo>
                  <a:lnTo>
                    <a:pt x="248" y="906"/>
                  </a:lnTo>
                  <a:lnTo>
                    <a:pt x="244" y="906"/>
                  </a:lnTo>
                  <a:lnTo>
                    <a:pt x="244" y="906"/>
                  </a:lnTo>
                  <a:lnTo>
                    <a:pt x="244" y="906"/>
                  </a:lnTo>
                  <a:lnTo>
                    <a:pt x="242" y="906"/>
                  </a:lnTo>
                  <a:lnTo>
                    <a:pt x="242" y="908"/>
                  </a:lnTo>
                  <a:lnTo>
                    <a:pt x="242" y="908"/>
                  </a:lnTo>
                  <a:lnTo>
                    <a:pt x="244" y="908"/>
                  </a:lnTo>
                  <a:lnTo>
                    <a:pt x="244" y="910"/>
                  </a:lnTo>
                  <a:lnTo>
                    <a:pt x="246" y="910"/>
                  </a:lnTo>
                  <a:lnTo>
                    <a:pt x="246" y="912"/>
                  </a:lnTo>
                  <a:lnTo>
                    <a:pt x="244" y="914"/>
                  </a:lnTo>
                  <a:lnTo>
                    <a:pt x="246" y="916"/>
                  </a:lnTo>
                  <a:lnTo>
                    <a:pt x="250" y="918"/>
                  </a:lnTo>
                  <a:lnTo>
                    <a:pt x="252" y="920"/>
                  </a:lnTo>
                  <a:lnTo>
                    <a:pt x="272" y="920"/>
                  </a:lnTo>
                  <a:lnTo>
                    <a:pt x="275" y="918"/>
                  </a:lnTo>
                  <a:lnTo>
                    <a:pt x="277" y="918"/>
                  </a:lnTo>
                  <a:lnTo>
                    <a:pt x="277" y="916"/>
                  </a:lnTo>
                  <a:lnTo>
                    <a:pt x="277" y="916"/>
                  </a:lnTo>
                  <a:lnTo>
                    <a:pt x="275" y="914"/>
                  </a:lnTo>
                  <a:close/>
                  <a:moveTo>
                    <a:pt x="760" y="959"/>
                  </a:moveTo>
                  <a:lnTo>
                    <a:pt x="760" y="959"/>
                  </a:lnTo>
                  <a:lnTo>
                    <a:pt x="758" y="957"/>
                  </a:lnTo>
                  <a:lnTo>
                    <a:pt x="756" y="955"/>
                  </a:lnTo>
                  <a:lnTo>
                    <a:pt x="756" y="953"/>
                  </a:lnTo>
                  <a:lnTo>
                    <a:pt x="754" y="953"/>
                  </a:lnTo>
                  <a:lnTo>
                    <a:pt x="748" y="947"/>
                  </a:lnTo>
                  <a:lnTo>
                    <a:pt x="746" y="944"/>
                  </a:lnTo>
                  <a:lnTo>
                    <a:pt x="746" y="944"/>
                  </a:lnTo>
                  <a:lnTo>
                    <a:pt x="744" y="942"/>
                  </a:lnTo>
                  <a:lnTo>
                    <a:pt x="744" y="942"/>
                  </a:lnTo>
                  <a:lnTo>
                    <a:pt x="744" y="942"/>
                  </a:lnTo>
                  <a:lnTo>
                    <a:pt x="744" y="940"/>
                  </a:lnTo>
                  <a:lnTo>
                    <a:pt x="744" y="940"/>
                  </a:lnTo>
                  <a:lnTo>
                    <a:pt x="741" y="940"/>
                  </a:lnTo>
                  <a:lnTo>
                    <a:pt x="741" y="940"/>
                  </a:lnTo>
                  <a:lnTo>
                    <a:pt x="741" y="940"/>
                  </a:lnTo>
                  <a:lnTo>
                    <a:pt x="739" y="940"/>
                  </a:lnTo>
                  <a:lnTo>
                    <a:pt x="739" y="938"/>
                  </a:lnTo>
                  <a:lnTo>
                    <a:pt x="739" y="938"/>
                  </a:lnTo>
                  <a:lnTo>
                    <a:pt x="739" y="936"/>
                  </a:lnTo>
                  <a:lnTo>
                    <a:pt x="739" y="936"/>
                  </a:lnTo>
                  <a:lnTo>
                    <a:pt x="739" y="934"/>
                  </a:lnTo>
                  <a:lnTo>
                    <a:pt x="741" y="934"/>
                  </a:lnTo>
                  <a:lnTo>
                    <a:pt x="739" y="932"/>
                  </a:lnTo>
                  <a:lnTo>
                    <a:pt x="739" y="932"/>
                  </a:lnTo>
                  <a:lnTo>
                    <a:pt x="739" y="930"/>
                  </a:lnTo>
                  <a:lnTo>
                    <a:pt x="739" y="928"/>
                  </a:lnTo>
                  <a:lnTo>
                    <a:pt x="737" y="928"/>
                  </a:lnTo>
                  <a:lnTo>
                    <a:pt x="737" y="926"/>
                  </a:lnTo>
                  <a:lnTo>
                    <a:pt x="737" y="926"/>
                  </a:lnTo>
                  <a:lnTo>
                    <a:pt x="737" y="922"/>
                  </a:lnTo>
                  <a:lnTo>
                    <a:pt x="737" y="922"/>
                  </a:lnTo>
                  <a:lnTo>
                    <a:pt x="737" y="922"/>
                  </a:lnTo>
                  <a:lnTo>
                    <a:pt x="737" y="920"/>
                  </a:lnTo>
                  <a:lnTo>
                    <a:pt x="733" y="908"/>
                  </a:lnTo>
                  <a:lnTo>
                    <a:pt x="731" y="908"/>
                  </a:lnTo>
                  <a:lnTo>
                    <a:pt x="729" y="906"/>
                  </a:lnTo>
                  <a:lnTo>
                    <a:pt x="727" y="903"/>
                  </a:lnTo>
                  <a:lnTo>
                    <a:pt x="729" y="901"/>
                  </a:lnTo>
                  <a:lnTo>
                    <a:pt x="727" y="899"/>
                  </a:lnTo>
                  <a:lnTo>
                    <a:pt x="727" y="897"/>
                  </a:lnTo>
                  <a:lnTo>
                    <a:pt x="727" y="895"/>
                  </a:lnTo>
                  <a:lnTo>
                    <a:pt x="725" y="895"/>
                  </a:lnTo>
                  <a:lnTo>
                    <a:pt x="725" y="895"/>
                  </a:lnTo>
                  <a:lnTo>
                    <a:pt x="723" y="893"/>
                  </a:lnTo>
                  <a:lnTo>
                    <a:pt x="725" y="881"/>
                  </a:lnTo>
                  <a:lnTo>
                    <a:pt x="725" y="879"/>
                  </a:lnTo>
                  <a:lnTo>
                    <a:pt x="711" y="862"/>
                  </a:lnTo>
                  <a:lnTo>
                    <a:pt x="696" y="844"/>
                  </a:lnTo>
                  <a:lnTo>
                    <a:pt x="682" y="828"/>
                  </a:lnTo>
                  <a:lnTo>
                    <a:pt x="668" y="809"/>
                  </a:lnTo>
                  <a:lnTo>
                    <a:pt x="655" y="795"/>
                  </a:lnTo>
                  <a:lnTo>
                    <a:pt x="643" y="778"/>
                  </a:lnTo>
                  <a:lnTo>
                    <a:pt x="631" y="764"/>
                  </a:lnTo>
                  <a:lnTo>
                    <a:pt x="619" y="748"/>
                  </a:lnTo>
                  <a:lnTo>
                    <a:pt x="608" y="731"/>
                  </a:lnTo>
                  <a:lnTo>
                    <a:pt x="596" y="717"/>
                  </a:lnTo>
                  <a:lnTo>
                    <a:pt x="584" y="701"/>
                  </a:lnTo>
                  <a:lnTo>
                    <a:pt x="572" y="686"/>
                  </a:lnTo>
                  <a:lnTo>
                    <a:pt x="559" y="668"/>
                  </a:lnTo>
                  <a:lnTo>
                    <a:pt x="545" y="651"/>
                  </a:lnTo>
                  <a:lnTo>
                    <a:pt x="531" y="635"/>
                  </a:lnTo>
                  <a:lnTo>
                    <a:pt x="518" y="617"/>
                  </a:lnTo>
                  <a:lnTo>
                    <a:pt x="504" y="600"/>
                  </a:lnTo>
                  <a:lnTo>
                    <a:pt x="492" y="584"/>
                  </a:lnTo>
                  <a:lnTo>
                    <a:pt x="477" y="565"/>
                  </a:lnTo>
                  <a:lnTo>
                    <a:pt x="465" y="549"/>
                  </a:lnTo>
                  <a:lnTo>
                    <a:pt x="449" y="528"/>
                  </a:lnTo>
                  <a:lnTo>
                    <a:pt x="432" y="508"/>
                  </a:lnTo>
                  <a:lnTo>
                    <a:pt x="414" y="487"/>
                  </a:lnTo>
                  <a:lnTo>
                    <a:pt x="397" y="467"/>
                  </a:lnTo>
                  <a:lnTo>
                    <a:pt x="381" y="446"/>
                  </a:lnTo>
                  <a:lnTo>
                    <a:pt x="365" y="424"/>
                  </a:lnTo>
                  <a:lnTo>
                    <a:pt x="348" y="403"/>
                  </a:lnTo>
                  <a:lnTo>
                    <a:pt x="332" y="383"/>
                  </a:lnTo>
                  <a:lnTo>
                    <a:pt x="332" y="381"/>
                  </a:lnTo>
                  <a:lnTo>
                    <a:pt x="332" y="377"/>
                  </a:lnTo>
                  <a:lnTo>
                    <a:pt x="336" y="356"/>
                  </a:lnTo>
                  <a:lnTo>
                    <a:pt x="340" y="338"/>
                  </a:lnTo>
                  <a:lnTo>
                    <a:pt x="344" y="317"/>
                  </a:lnTo>
                  <a:lnTo>
                    <a:pt x="346" y="299"/>
                  </a:lnTo>
                  <a:lnTo>
                    <a:pt x="350" y="280"/>
                  </a:lnTo>
                  <a:lnTo>
                    <a:pt x="354" y="260"/>
                  </a:lnTo>
                  <a:lnTo>
                    <a:pt x="356" y="242"/>
                  </a:lnTo>
                  <a:lnTo>
                    <a:pt x="361" y="221"/>
                  </a:lnTo>
                  <a:lnTo>
                    <a:pt x="365" y="203"/>
                  </a:lnTo>
                  <a:lnTo>
                    <a:pt x="369" y="184"/>
                  </a:lnTo>
                  <a:lnTo>
                    <a:pt x="371" y="164"/>
                  </a:lnTo>
                  <a:lnTo>
                    <a:pt x="375" y="145"/>
                  </a:lnTo>
                  <a:lnTo>
                    <a:pt x="379" y="127"/>
                  </a:lnTo>
                  <a:lnTo>
                    <a:pt x="381" y="106"/>
                  </a:lnTo>
                  <a:lnTo>
                    <a:pt x="385" y="88"/>
                  </a:lnTo>
                  <a:lnTo>
                    <a:pt x="389" y="69"/>
                  </a:lnTo>
                  <a:lnTo>
                    <a:pt x="369" y="65"/>
                  </a:lnTo>
                  <a:lnTo>
                    <a:pt x="346" y="61"/>
                  </a:lnTo>
                  <a:lnTo>
                    <a:pt x="326" y="57"/>
                  </a:lnTo>
                  <a:lnTo>
                    <a:pt x="305" y="53"/>
                  </a:lnTo>
                  <a:lnTo>
                    <a:pt x="283" y="49"/>
                  </a:lnTo>
                  <a:lnTo>
                    <a:pt x="262" y="45"/>
                  </a:lnTo>
                  <a:lnTo>
                    <a:pt x="242" y="41"/>
                  </a:lnTo>
                  <a:lnTo>
                    <a:pt x="221" y="37"/>
                  </a:lnTo>
                  <a:lnTo>
                    <a:pt x="199" y="33"/>
                  </a:lnTo>
                  <a:lnTo>
                    <a:pt x="178" y="28"/>
                  </a:lnTo>
                  <a:lnTo>
                    <a:pt x="158" y="22"/>
                  </a:lnTo>
                  <a:lnTo>
                    <a:pt x="137" y="18"/>
                  </a:lnTo>
                  <a:lnTo>
                    <a:pt x="115" y="14"/>
                  </a:lnTo>
                  <a:lnTo>
                    <a:pt x="94" y="10"/>
                  </a:lnTo>
                  <a:lnTo>
                    <a:pt x="74" y="6"/>
                  </a:lnTo>
                  <a:lnTo>
                    <a:pt x="53" y="0"/>
                  </a:lnTo>
                  <a:lnTo>
                    <a:pt x="53" y="0"/>
                  </a:lnTo>
                  <a:lnTo>
                    <a:pt x="51" y="0"/>
                  </a:lnTo>
                  <a:lnTo>
                    <a:pt x="51" y="2"/>
                  </a:lnTo>
                  <a:lnTo>
                    <a:pt x="51" y="4"/>
                  </a:lnTo>
                  <a:lnTo>
                    <a:pt x="51" y="4"/>
                  </a:lnTo>
                  <a:lnTo>
                    <a:pt x="49" y="14"/>
                  </a:lnTo>
                  <a:lnTo>
                    <a:pt x="47" y="16"/>
                  </a:lnTo>
                  <a:lnTo>
                    <a:pt x="45" y="18"/>
                  </a:lnTo>
                  <a:lnTo>
                    <a:pt x="41" y="22"/>
                  </a:lnTo>
                  <a:lnTo>
                    <a:pt x="41" y="22"/>
                  </a:lnTo>
                  <a:lnTo>
                    <a:pt x="43" y="24"/>
                  </a:lnTo>
                  <a:lnTo>
                    <a:pt x="47" y="26"/>
                  </a:lnTo>
                  <a:lnTo>
                    <a:pt x="49" y="33"/>
                  </a:lnTo>
                  <a:lnTo>
                    <a:pt x="49" y="35"/>
                  </a:lnTo>
                  <a:lnTo>
                    <a:pt x="49" y="37"/>
                  </a:lnTo>
                  <a:lnTo>
                    <a:pt x="49" y="39"/>
                  </a:lnTo>
                  <a:lnTo>
                    <a:pt x="49" y="41"/>
                  </a:lnTo>
                  <a:lnTo>
                    <a:pt x="51" y="43"/>
                  </a:lnTo>
                  <a:lnTo>
                    <a:pt x="51" y="43"/>
                  </a:lnTo>
                  <a:lnTo>
                    <a:pt x="49" y="47"/>
                  </a:lnTo>
                  <a:lnTo>
                    <a:pt x="49" y="47"/>
                  </a:lnTo>
                  <a:lnTo>
                    <a:pt x="49" y="49"/>
                  </a:lnTo>
                  <a:lnTo>
                    <a:pt x="51" y="49"/>
                  </a:lnTo>
                  <a:lnTo>
                    <a:pt x="51" y="49"/>
                  </a:lnTo>
                  <a:lnTo>
                    <a:pt x="51" y="51"/>
                  </a:lnTo>
                  <a:lnTo>
                    <a:pt x="51" y="51"/>
                  </a:lnTo>
                  <a:lnTo>
                    <a:pt x="49" y="55"/>
                  </a:lnTo>
                  <a:lnTo>
                    <a:pt x="49" y="61"/>
                  </a:lnTo>
                  <a:lnTo>
                    <a:pt x="49" y="65"/>
                  </a:lnTo>
                  <a:lnTo>
                    <a:pt x="45" y="71"/>
                  </a:lnTo>
                  <a:lnTo>
                    <a:pt x="45" y="76"/>
                  </a:lnTo>
                  <a:lnTo>
                    <a:pt x="41" y="82"/>
                  </a:lnTo>
                  <a:lnTo>
                    <a:pt x="39" y="86"/>
                  </a:lnTo>
                  <a:lnTo>
                    <a:pt x="37" y="90"/>
                  </a:lnTo>
                  <a:lnTo>
                    <a:pt x="35" y="90"/>
                  </a:lnTo>
                  <a:lnTo>
                    <a:pt x="35" y="92"/>
                  </a:lnTo>
                  <a:lnTo>
                    <a:pt x="35" y="94"/>
                  </a:lnTo>
                  <a:lnTo>
                    <a:pt x="35" y="96"/>
                  </a:lnTo>
                  <a:lnTo>
                    <a:pt x="33" y="98"/>
                  </a:lnTo>
                  <a:lnTo>
                    <a:pt x="35" y="102"/>
                  </a:lnTo>
                  <a:lnTo>
                    <a:pt x="37" y="104"/>
                  </a:lnTo>
                  <a:lnTo>
                    <a:pt x="35" y="106"/>
                  </a:lnTo>
                  <a:lnTo>
                    <a:pt x="27" y="121"/>
                  </a:lnTo>
                  <a:lnTo>
                    <a:pt x="23" y="127"/>
                  </a:lnTo>
                  <a:lnTo>
                    <a:pt x="21" y="129"/>
                  </a:lnTo>
                  <a:lnTo>
                    <a:pt x="23" y="127"/>
                  </a:lnTo>
                  <a:lnTo>
                    <a:pt x="25" y="127"/>
                  </a:lnTo>
                  <a:lnTo>
                    <a:pt x="29" y="121"/>
                  </a:lnTo>
                  <a:lnTo>
                    <a:pt x="29" y="121"/>
                  </a:lnTo>
                  <a:lnTo>
                    <a:pt x="33" y="121"/>
                  </a:lnTo>
                  <a:lnTo>
                    <a:pt x="35" y="121"/>
                  </a:lnTo>
                  <a:lnTo>
                    <a:pt x="35" y="123"/>
                  </a:lnTo>
                  <a:lnTo>
                    <a:pt x="35" y="123"/>
                  </a:lnTo>
                  <a:lnTo>
                    <a:pt x="33" y="125"/>
                  </a:lnTo>
                  <a:lnTo>
                    <a:pt x="31" y="125"/>
                  </a:lnTo>
                  <a:lnTo>
                    <a:pt x="29" y="125"/>
                  </a:lnTo>
                  <a:lnTo>
                    <a:pt x="27" y="125"/>
                  </a:lnTo>
                  <a:lnTo>
                    <a:pt x="27" y="127"/>
                  </a:lnTo>
                  <a:lnTo>
                    <a:pt x="23" y="129"/>
                  </a:lnTo>
                  <a:lnTo>
                    <a:pt x="23" y="131"/>
                  </a:lnTo>
                  <a:lnTo>
                    <a:pt x="21" y="135"/>
                  </a:lnTo>
                  <a:lnTo>
                    <a:pt x="19" y="137"/>
                  </a:lnTo>
                  <a:lnTo>
                    <a:pt x="19" y="135"/>
                  </a:lnTo>
                  <a:lnTo>
                    <a:pt x="16" y="133"/>
                  </a:lnTo>
                  <a:lnTo>
                    <a:pt x="16" y="133"/>
                  </a:lnTo>
                  <a:lnTo>
                    <a:pt x="19" y="131"/>
                  </a:lnTo>
                  <a:lnTo>
                    <a:pt x="19" y="131"/>
                  </a:lnTo>
                  <a:lnTo>
                    <a:pt x="14" y="133"/>
                  </a:lnTo>
                  <a:lnTo>
                    <a:pt x="12" y="135"/>
                  </a:lnTo>
                  <a:lnTo>
                    <a:pt x="12" y="139"/>
                  </a:lnTo>
                  <a:lnTo>
                    <a:pt x="12" y="139"/>
                  </a:lnTo>
                  <a:lnTo>
                    <a:pt x="12" y="139"/>
                  </a:lnTo>
                  <a:lnTo>
                    <a:pt x="12" y="139"/>
                  </a:lnTo>
                  <a:lnTo>
                    <a:pt x="12" y="139"/>
                  </a:lnTo>
                  <a:lnTo>
                    <a:pt x="10" y="139"/>
                  </a:lnTo>
                  <a:lnTo>
                    <a:pt x="10" y="139"/>
                  </a:lnTo>
                  <a:lnTo>
                    <a:pt x="10" y="141"/>
                  </a:lnTo>
                  <a:lnTo>
                    <a:pt x="10" y="141"/>
                  </a:lnTo>
                  <a:lnTo>
                    <a:pt x="6" y="145"/>
                  </a:lnTo>
                  <a:lnTo>
                    <a:pt x="6" y="147"/>
                  </a:lnTo>
                  <a:lnTo>
                    <a:pt x="4" y="149"/>
                  </a:lnTo>
                  <a:lnTo>
                    <a:pt x="2" y="151"/>
                  </a:lnTo>
                  <a:lnTo>
                    <a:pt x="2" y="153"/>
                  </a:lnTo>
                  <a:lnTo>
                    <a:pt x="2" y="155"/>
                  </a:lnTo>
                  <a:lnTo>
                    <a:pt x="0" y="158"/>
                  </a:lnTo>
                  <a:lnTo>
                    <a:pt x="0" y="158"/>
                  </a:lnTo>
                  <a:lnTo>
                    <a:pt x="0" y="160"/>
                  </a:lnTo>
                  <a:lnTo>
                    <a:pt x="0" y="162"/>
                  </a:lnTo>
                  <a:lnTo>
                    <a:pt x="2" y="170"/>
                  </a:lnTo>
                  <a:lnTo>
                    <a:pt x="2" y="172"/>
                  </a:lnTo>
                  <a:lnTo>
                    <a:pt x="0" y="176"/>
                  </a:lnTo>
                  <a:lnTo>
                    <a:pt x="0" y="178"/>
                  </a:lnTo>
                  <a:lnTo>
                    <a:pt x="0" y="180"/>
                  </a:lnTo>
                  <a:lnTo>
                    <a:pt x="2" y="180"/>
                  </a:lnTo>
                  <a:lnTo>
                    <a:pt x="10" y="192"/>
                  </a:lnTo>
                  <a:lnTo>
                    <a:pt x="14" y="196"/>
                  </a:lnTo>
                  <a:lnTo>
                    <a:pt x="14" y="199"/>
                  </a:lnTo>
                  <a:lnTo>
                    <a:pt x="16" y="205"/>
                  </a:lnTo>
                  <a:lnTo>
                    <a:pt x="16" y="205"/>
                  </a:lnTo>
                  <a:lnTo>
                    <a:pt x="16" y="207"/>
                  </a:lnTo>
                  <a:lnTo>
                    <a:pt x="16" y="209"/>
                  </a:lnTo>
                  <a:lnTo>
                    <a:pt x="19" y="209"/>
                  </a:lnTo>
                  <a:lnTo>
                    <a:pt x="19" y="209"/>
                  </a:lnTo>
                  <a:lnTo>
                    <a:pt x="21" y="211"/>
                  </a:lnTo>
                  <a:lnTo>
                    <a:pt x="23" y="213"/>
                  </a:lnTo>
                  <a:lnTo>
                    <a:pt x="31" y="233"/>
                  </a:lnTo>
                  <a:lnTo>
                    <a:pt x="31" y="235"/>
                  </a:lnTo>
                  <a:lnTo>
                    <a:pt x="29" y="240"/>
                  </a:lnTo>
                  <a:lnTo>
                    <a:pt x="31" y="242"/>
                  </a:lnTo>
                  <a:lnTo>
                    <a:pt x="31" y="244"/>
                  </a:lnTo>
                  <a:lnTo>
                    <a:pt x="31" y="244"/>
                  </a:lnTo>
                  <a:lnTo>
                    <a:pt x="31" y="244"/>
                  </a:lnTo>
                  <a:lnTo>
                    <a:pt x="33" y="246"/>
                  </a:lnTo>
                  <a:lnTo>
                    <a:pt x="33" y="246"/>
                  </a:lnTo>
                  <a:lnTo>
                    <a:pt x="33" y="248"/>
                  </a:lnTo>
                  <a:lnTo>
                    <a:pt x="33" y="250"/>
                  </a:lnTo>
                  <a:lnTo>
                    <a:pt x="31" y="256"/>
                  </a:lnTo>
                  <a:lnTo>
                    <a:pt x="31" y="264"/>
                  </a:lnTo>
                  <a:lnTo>
                    <a:pt x="31" y="264"/>
                  </a:lnTo>
                  <a:lnTo>
                    <a:pt x="29" y="264"/>
                  </a:lnTo>
                  <a:lnTo>
                    <a:pt x="29" y="266"/>
                  </a:lnTo>
                  <a:lnTo>
                    <a:pt x="27" y="272"/>
                  </a:lnTo>
                  <a:lnTo>
                    <a:pt x="25" y="278"/>
                  </a:lnTo>
                  <a:lnTo>
                    <a:pt x="23" y="283"/>
                  </a:lnTo>
                  <a:lnTo>
                    <a:pt x="23" y="287"/>
                  </a:lnTo>
                  <a:lnTo>
                    <a:pt x="23" y="289"/>
                  </a:lnTo>
                  <a:lnTo>
                    <a:pt x="23" y="289"/>
                  </a:lnTo>
                  <a:lnTo>
                    <a:pt x="23" y="291"/>
                  </a:lnTo>
                  <a:lnTo>
                    <a:pt x="23" y="293"/>
                  </a:lnTo>
                  <a:lnTo>
                    <a:pt x="23" y="299"/>
                  </a:lnTo>
                  <a:lnTo>
                    <a:pt x="23" y="301"/>
                  </a:lnTo>
                  <a:lnTo>
                    <a:pt x="25" y="301"/>
                  </a:lnTo>
                  <a:lnTo>
                    <a:pt x="27" y="309"/>
                  </a:lnTo>
                  <a:lnTo>
                    <a:pt x="27" y="311"/>
                  </a:lnTo>
                  <a:lnTo>
                    <a:pt x="25" y="313"/>
                  </a:lnTo>
                  <a:lnTo>
                    <a:pt x="25" y="315"/>
                  </a:lnTo>
                  <a:lnTo>
                    <a:pt x="25" y="317"/>
                  </a:lnTo>
                  <a:lnTo>
                    <a:pt x="25" y="319"/>
                  </a:lnTo>
                  <a:lnTo>
                    <a:pt x="25" y="321"/>
                  </a:lnTo>
                  <a:lnTo>
                    <a:pt x="23" y="324"/>
                  </a:lnTo>
                  <a:lnTo>
                    <a:pt x="23" y="324"/>
                  </a:lnTo>
                  <a:lnTo>
                    <a:pt x="21" y="326"/>
                  </a:lnTo>
                  <a:lnTo>
                    <a:pt x="21" y="328"/>
                  </a:lnTo>
                  <a:lnTo>
                    <a:pt x="23" y="332"/>
                  </a:lnTo>
                  <a:lnTo>
                    <a:pt x="27" y="340"/>
                  </a:lnTo>
                  <a:lnTo>
                    <a:pt x="31" y="344"/>
                  </a:lnTo>
                  <a:lnTo>
                    <a:pt x="31" y="346"/>
                  </a:lnTo>
                  <a:lnTo>
                    <a:pt x="31" y="346"/>
                  </a:lnTo>
                  <a:lnTo>
                    <a:pt x="33" y="348"/>
                  </a:lnTo>
                  <a:lnTo>
                    <a:pt x="35" y="352"/>
                  </a:lnTo>
                  <a:lnTo>
                    <a:pt x="37" y="354"/>
                  </a:lnTo>
                  <a:lnTo>
                    <a:pt x="47" y="377"/>
                  </a:lnTo>
                  <a:lnTo>
                    <a:pt x="49" y="381"/>
                  </a:lnTo>
                  <a:lnTo>
                    <a:pt x="57" y="387"/>
                  </a:lnTo>
                  <a:lnTo>
                    <a:pt x="59" y="391"/>
                  </a:lnTo>
                  <a:lnTo>
                    <a:pt x="62" y="397"/>
                  </a:lnTo>
                  <a:lnTo>
                    <a:pt x="64" y="399"/>
                  </a:lnTo>
                  <a:lnTo>
                    <a:pt x="62" y="406"/>
                  </a:lnTo>
                  <a:lnTo>
                    <a:pt x="62" y="408"/>
                  </a:lnTo>
                  <a:lnTo>
                    <a:pt x="62" y="406"/>
                  </a:lnTo>
                  <a:lnTo>
                    <a:pt x="64" y="403"/>
                  </a:lnTo>
                  <a:lnTo>
                    <a:pt x="68" y="408"/>
                  </a:lnTo>
                  <a:lnTo>
                    <a:pt x="68" y="410"/>
                  </a:lnTo>
                  <a:lnTo>
                    <a:pt x="68" y="412"/>
                  </a:lnTo>
                  <a:lnTo>
                    <a:pt x="68" y="414"/>
                  </a:lnTo>
                  <a:lnTo>
                    <a:pt x="68" y="414"/>
                  </a:lnTo>
                  <a:lnTo>
                    <a:pt x="70" y="418"/>
                  </a:lnTo>
                  <a:lnTo>
                    <a:pt x="72" y="424"/>
                  </a:lnTo>
                  <a:lnTo>
                    <a:pt x="76" y="430"/>
                  </a:lnTo>
                  <a:lnTo>
                    <a:pt x="76" y="432"/>
                  </a:lnTo>
                  <a:lnTo>
                    <a:pt x="76" y="434"/>
                  </a:lnTo>
                  <a:lnTo>
                    <a:pt x="76" y="432"/>
                  </a:lnTo>
                  <a:lnTo>
                    <a:pt x="74" y="430"/>
                  </a:lnTo>
                  <a:lnTo>
                    <a:pt x="72" y="428"/>
                  </a:lnTo>
                  <a:lnTo>
                    <a:pt x="72" y="424"/>
                  </a:lnTo>
                  <a:lnTo>
                    <a:pt x="72" y="422"/>
                  </a:lnTo>
                  <a:lnTo>
                    <a:pt x="68" y="418"/>
                  </a:lnTo>
                  <a:lnTo>
                    <a:pt x="66" y="416"/>
                  </a:lnTo>
                  <a:lnTo>
                    <a:pt x="68" y="422"/>
                  </a:lnTo>
                  <a:lnTo>
                    <a:pt x="68" y="424"/>
                  </a:lnTo>
                  <a:lnTo>
                    <a:pt x="62" y="434"/>
                  </a:lnTo>
                  <a:lnTo>
                    <a:pt x="59" y="438"/>
                  </a:lnTo>
                  <a:lnTo>
                    <a:pt x="57" y="440"/>
                  </a:lnTo>
                  <a:lnTo>
                    <a:pt x="59" y="440"/>
                  </a:lnTo>
                  <a:lnTo>
                    <a:pt x="62" y="440"/>
                  </a:lnTo>
                  <a:lnTo>
                    <a:pt x="62" y="440"/>
                  </a:lnTo>
                  <a:lnTo>
                    <a:pt x="62" y="440"/>
                  </a:lnTo>
                  <a:lnTo>
                    <a:pt x="62" y="440"/>
                  </a:lnTo>
                  <a:lnTo>
                    <a:pt x="64" y="438"/>
                  </a:lnTo>
                  <a:lnTo>
                    <a:pt x="64" y="438"/>
                  </a:lnTo>
                  <a:lnTo>
                    <a:pt x="66" y="436"/>
                  </a:lnTo>
                  <a:lnTo>
                    <a:pt x="66" y="436"/>
                  </a:lnTo>
                  <a:lnTo>
                    <a:pt x="66" y="436"/>
                  </a:lnTo>
                  <a:lnTo>
                    <a:pt x="66" y="434"/>
                  </a:lnTo>
                  <a:lnTo>
                    <a:pt x="66" y="434"/>
                  </a:lnTo>
                  <a:lnTo>
                    <a:pt x="66" y="434"/>
                  </a:lnTo>
                  <a:lnTo>
                    <a:pt x="66" y="432"/>
                  </a:lnTo>
                  <a:lnTo>
                    <a:pt x="68" y="432"/>
                  </a:lnTo>
                  <a:lnTo>
                    <a:pt x="68" y="432"/>
                  </a:lnTo>
                  <a:lnTo>
                    <a:pt x="68" y="436"/>
                  </a:lnTo>
                  <a:lnTo>
                    <a:pt x="70" y="438"/>
                  </a:lnTo>
                  <a:lnTo>
                    <a:pt x="76" y="442"/>
                  </a:lnTo>
                  <a:lnTo>
                    <a:pt x="76" y="442"/>
                  </a:lnTo>
                  <a:lnTo>
                    <a:pt x="76" y="442"/>
                  </a:lnTo>
                  <a:lnTo>
                    <a:pt x="78" y="444"/>
                  </a:lnTo>
                  <a:lnTo>
                    <a:pt x="78" y="449"/>
                  </a:lnTo>
                  <a:lnTo>
                    <a:pt x="78" y="449"/>
                  </a:lnTo>
                  <a:lnTo>
                    <a:pt x="80" y="451"/>
                  </a:lnTo>
                  <a:lnTo>
                    <a:pt x="80" y="451"/>
                  </a:lnTo>
                  <a:lnTo>
                    <a:pt x="82" y="455"/>
                  </a:lnTo>
                  <a:lnTo>
                    <a:pt x="84" y="455"/>
                  </a:lnTo>
                  <a:lnTo>
                    <a:pt x="84" y="455"/>
                  </a:lnTo>
                  <a:lnTo>
                    <a:pt x="84" y="455"/>
                  </a:lnTo>
                  <a:lnTo>
                    <a:pt x="84" y="453"/>
                  </a:lnTo>
                  <a:lnTo>
                    <a:pt x="88" y="457"/>
                  </a:lnTo>
                  <a:lnTo>
                    <a:pt x="90" y="461"/>
                  </a:lnTo>
                  <a:lnTo>
                    <a:pt x="92" y="463"/>
                  </a:lnTo>
                  <a:lnTo>
                    <a:pt x="94" y="465"/>
                  </a:lnTo>
                  <a:lnTo>
                    <a:pt x="96" y="465"/>
                  </a:lnTo>
                  <a:lnTo>
                    <a:pt x="96" y="467"/>
                  </a:lnTo>
                  <a:lnTo>
                    <a:pt x="98" y="467"/>
                  </a:lnTo>
                  <a:lnTo>
                    <a:pt x="100" y="465"/>
                  </a:lnTo>
                  <a:lnTo>
                    <a:pt x="100" y="465"/>
                  </a:lnTo>
                  <a:lnTo>
                    <a:pt x="100" y="463"/>
                  </a:lnTo>
                  <a:lnTo>
                    <a:pt x="100" y="461"/>
                  </a:lnTo>
                  <a:lnTo>
                    <a:pt x="100" y="461"/>
                  </a:lnTo>
                  <a:lnTo>
                    <a:pt x="102" y="461"/>
                  </a:lnTo>
                  <a:lnTo>
                    <a:pt x="102" y="463"/>
                  </a:lnTo>
                  <a:lnTo>
                    <a:pt x="102" y="463"/>
                  </a:lnTo>
                  <a:lnTo>
                    <a:pt x="105" y="461"/>
                  </a:lnTo>
                  <a:lnTo>
                    <a:pt x="102" y="459"/>
                  </a:lnTo>
                  <a:lnTo>
                    <a:pt x="100" y="457"/>
                  </a:lnTo>
                  <a:lnTo>
                    <a:pt x="100" y="455"/>
                  </a:lnTo>
                  <a:lnTo>
                    <a:pt x="100" y="455"/>
                  </a:lnTo>
                  <a:lnTo>
                    <a:pt x="102" y="453"/>
                  </a:lnTo>
                  <a:lnTo>
                    <a:pt x="102" y="453"/>
                  </a:lnTo>
                  <a:lnTo>
                    <a:pt x="100" y="453"/>
                  </a:lnTo>
                  <a:lnTo>
                    <a:pt x="102" y="451"/>
                  </a:lnTo>
                  <a:lnTo>
                    <a:pt x="102" y="451"/>
                  </a:lnTo>
                  <a:lnTo>
                    <a:pt x="105" y="451"/>
                  </a:lnTo>
                  <a:lnTo>
                    <a:pt x="105" y="449"/>
                  </a:lnTo>
                  <a:lnTo>
                    <a:pt x="102" y="446"/>
                  </a:lnTo>
                  <a:lnTo>
                    <a:pt x="102" y="444"/>
                  </a:lnTo>
                  <a:lnTo>
                    <a:pt x="105" y="438"/>
                  </a:lnTo>
                  <a:lnTo>
                    <a:pt x="105" y="436"/>
                  </a:lnTo>
                  <a:lnTo>
                    <a:pt x="107" y="436"/>
                  </a:lnTo>
                  <a:lnTo>
                    <a:pt x="109" y="436"/>
                  </a:lnTo>
                  <a:lnTo>
                    <a:pt x="111" y="434"/>
                  </a:lnTo>
                  <a:lnTo>
                    <a:pt x="113" y="432"/>
                  </a:lnTo>
                  <a:lnTo>
                    <a:pt x="121" y="438"/>
                  </a:lnTo>
                  <a:lnTo>
                    <a:pt x="123" y="440"/>
                  </a:lnTo>
                  <a:lnTo>
                    <a:pt x="123" y="442"/>
                  </a:lnTo>
                  <a:lnTo>
                    <a:pt x="123" y="442"/>
                  </a:lnTo>
                  <a:lnTo>
                    <a:pt x="125" y="444"/>
                  </a:lnTo>
                  <a:lnTo>
                    <a:pt x="127" y="444"/>
                  </a:lnTo>
                  <a:lnTo>
                    <a:pt x="131" y="449"/>
                  </a:lnTo>
                  <a:lnTo>
                    <a:pt x="133" y="449"/>
                  </a:lnTo>
                  <a:lnTo>
                    <a:pt x="133" y="449"/>
                  </a:lnTo>
                  <a:lnTo>
                    <a:pt x="135" y="449"/>
                  </a:lnTo>
                  <a:lnTo>
                    <a:pt x="139" y="446"/>
                  </a:lnTo>
                  <a:lnTo>
                    <a:pt x="139" y="444"/>
                  </a:lnTo>
                  <a:lnTo>
                    <a:pt x="139" y="444"/>
                  </a:lnTo>
                  <a:lnTo>
                    <a:pt x="141" y="442"/>
                  </a:lnTo>
                  <a:lnTo>
                    <a:pt x="141" y="442"/>
                  </a:lnTo>
                  <a:lnTo>
                    <a:pt x="141" y="440"/>
                  </a:lnTo>
                  <a:lnTo>
                    <a:pt x="143" y="440"/>
                  </a:lnTo>
                  <a:lnTo>
                    <a:pt x="146" y="440"/>
                  </a:lnTo>
                  <a:lnTo>
                    <a:pt x="148" y="440"/>
                  </a:lnTo>
                  <a:lnTo>
                    <a:pt x="148" y="442"/>
                  </a:lnTo>
                  <a:lnTo>
                    <a:pt x="148" y="442"/>
                  </a:lnTo>
                  <a:lnTo>
                    <a:pt x="146" y="446"/>
                  </a:lnTo>
                  <a:lnTo>
                    <a:pt x="150" y="449"/>
                  </a:lnTo>
                  <a:lnTo>
                    <a:pt x="154" y="449"/>
                  </a:lnTo>
                  <a:lnTo>
                    <a:pt x="152" y="451"/>
                  </a:lnTo>
                  <a:lnTo>
                    <a:pt x="152" y="451"/>
                  </a:lnTo>
                  <a:lnTo>
                    <a:pt x="152" y="451"/>
                  </a:lnTo>
                  <a:lnTo>
                    <a:pt x="152" y="453"/>
                  </a:lnTo>
                  <a:lnTo>
                    <a:pt x="154" y="453"/>
                  </a:lnTo>
                  <a:lnTo>
                    <a:pt x="156" y="453"/>
                  </a:lnTo>
                  <a:lnTo>
                    <a:pt x="156" y="453"/>
                  </a:lnTo>
                  <a:lnTo>
                    <a:pt x="156" y="451"/>
                  </a:lnTo>
                  <a:lnTo>
                    <a:pt x="158" y="451"/>
                  </a:lnTo>
                  <a:lnTo>
                    <a:pt x="160" y="453"/>
                  </a:lnTo>
                  <a:lnTo>
                    <a:pt x="162" y="453"/>
                  </a:lnTo>
                  <a:lnTo>
                    <a:pt x="166" y="453"/>
                  </a:lnTo>
                  <a:lnTo>
                    <a:pt x="166" y="451"/>
                  </a:lnTo>
                  <a:lnTo>
                    <a:pt x="170" y="449"/>
                  </a:lnTo>
                  <a:lnTo>
                    <a:pt x="172" y="446"/>
                  </a:lnTo>
                  <a:lnTo>
                    <a:pt x="172" y="446"/>
                  </a:lnTo>
                  <a:lnTo>
                    <a:pt x="172" y="449"/>
                  </a:lnTo>
                  <a:lnTo>
                    <a:pt x="170" y="451"/>
                  </a:lnTo>
                  <a:lnTo>
                    <a:pt x="170" y="451"/>
                  </a:lnTo>
                  <a:lnTo>
                    <a:pt x="168" y="453"/>
                  </a:lnTo>
                  <a:lnTo>
                    <a:pt x="166" y="453"/>
                  </a:lnTo>
                  <a:lnTo>
                    <a:pt x="166" y="453"/>
                  </a:lnTo>
                  <a:lnTo>
                    <a:pt x="164" y="453"/>
                  </a:lnTo>
                  <a:lnTo>
                    <a:pt x="164" y="453"/>
                  </a:lnTo>
                  <a:lnTo>
                    <a:pt x="164" y="455"/>
                  </a:lnTo>
                  <a:lnTo>
                    <a:pt x="164" y="455"/>
                  </a:lnTo>
                  <a:lnTo>
                    <a:pt x="164" y="455"/>
                  </a:lnTo>
                  <a:lnTo>
                    <a:pt x="164" y="457"/>
                  </a:lnTo>
                  <a:lnTo>
                    <a:pt x="168" y="457"/>
                  </a:lnTo>
                  <a:lnTo>
                    <a:pt x="170" y="457"/>
                  </a:lnTo>
                  <a:lnTo>
                    <a:pt x="172" y="455"/>
                  </a:lnTo>
                  <a:lnTo>
                    <a:pt x="172" y="453"/>
                  </a:lnTo>
                  <a:lnTo>
                    <a:pt x="172" y="453"/>
                  </a:lnTo>
                  <a:lnTo>
                    <a:pt x="174" y="451"/>
                  </a:lnTo>
                  <a:lnTo>
                    <a:pt x="174" y="451"/>
                  </a:lnTo>
                  <a:lnTo>
                    <a:pt x="174" y="453"/>
                  </a:lnTo>
                  <a:lnTo>
                    <a:pt x="174" y="453"/>
                  </a:lnTo>
                  <a:lnTo>
                    <a:pt x="176" y="453"/>
                  </a:lnTo>
                  <a:lnTo>
                    <a:pt x="176" y="453"/>
                  </a:lnTo>
                  <a:lnTo>
                    <a:pt x="176" y="451"/>
                  </a:lnTo>
                  <a:lnTo>
                    <a:pt x="178" y="451"/>
                  </a:lnTo>
                  <a:lnTo>
                    <a:pt x="180" y="453"/>
                  </a:lnTo>
                  <a:lnTo>
                    <a:pt x="180" y="453"/>
                  </a:lnTo>
                  <a:lnTo>
                    <a:pt x="182" y="453"/>
                  </a:lnTo>
                  <a:lnTo>
                    <a:pt x="186" y="459"/>
                  </a:lnTo>
                  <a:lnTo>
                    <a:pt x="189" y="461"/>
                  </a:lnTo>
                  <a:lnTo>
                    <a:pt x="189" y="461"/>
                  </a:lnTo>
                  <a:lnTo>
                    <a:pt x="191" y="463"/>
                  </a:lnTo>
                  <a:lnTo>
                    <a:pt x="191" y="465"/>
                  </a:lnTo>
                  <a:lnTo>
                    <a:pt x="191" y="465"/>
                  </a:lnTo>
                  <a:lnTo>
                    <a:pt x="189" y="465"/>
                  </a:lnTo>
                  <a:lnTo>
                    <a:pt x="189" y="463"/>
                  </a:lnTo>
                  <a:lnTo>
                    <a:pt x="186" y="461"/>
                  </a:lnTo>
                  <a:lnTo>
                    <a:pt x="186" y="459"/>
                  </a:lnTo>
                  <a:lnTo>
                    <a:pt x="184" y="459"/>
                  </a:lnTo>
                  <a:lnTo>
                    <a:pt x="182" y="459"/>
                  </a:lnTo>
                  <a:lnTo>
                    <a:pt x="180" y="455"/>
                  </a:lnTo>
                  <a:lnTo>
                    <a:pt x="180" y="455"/>
                  </a:lnTo>
                  <a:lnTo>
                    <a:pt x="180" y="455"/>
                  </a:lnTo>
                  <a:lnTo>
                    <a:pt x="180" y="453"/>
                  </a:lnTo>
                  <a:lnTo>
                    <a:pt x="178" y="453"/>
                  </a:lnTo>
                  <a:lnTo>
                    <a:pt x="178" y="453"/>
                  </a:lnTo>
                  <a:lnTo>
                    <a:pt x="178" y="453"/>
                  </a:lnTo>
                  <a:lnTo>
                    <a:pt x="176" y="453"/>
                  </a:lnTo>
                  <a:lnTo>
                    <a:pt x="176" y="453"/>
                  </a:lnTo>
                  <a:lnTo>
                    <a:pt x="174" y="453"/>
                  </a:lnTo>
                  <a:lnTo>
                    <a:pt x="174" y="453"/>
                  </a:lnTo>
                  <a:lnTo>
                    <a:pt x="172" y="455"/>
                  </a:lnTo>
                  <a:lnTo>
                    <a:pt x="172" y="455"/>
                  </a:lnTo>
                  <a:lnTo>
                    <a:pt x="172" y="455"/>
                  </a:lnTo>
                  <a:lnTo>
                    <a:pt x="172" y="457"/>
                  </a:lnTo>
                  <a:lnTo>
                    <a:pt x="172" y="457"/>
                  </a:lnTo>
                  <a:lnTo>
                    <a:pt x="170" y="457"/>
                  </a:lnTo>
                  <a:lnTo>
                    <a:pt x="170" y="457"/>
                  </a:lnTo>
                  <a:lnTo>
                    <a:pt x="168" y="457"/>
                  </a:lnTo>
                  <a:lnTo>
                    <a:pt x="168" y="459"/>
                  </a:lnTo>
                  <a:lnTo>
                    <a:pt x="168" y="459"/>
                  </a:lnTo>
                  <a:lnTo>
                    <a:pt x="170" y="459"/>
                  </a:lnTo>
                  <a:lnTo>
                    <a:pt x="170" y="461"/>
                  </a:lnTo>
                  <a:lnTo>
                    <a:pt x="168" y="459"/>
                  </a:lnTo>
                  <a:lnTo>
                    <a:pt x="164" y="457"/>
                  </a:lnTo>
                  <a:lnTo>
                    <a:pt x="154" y="455"/>
                  </a:lnTo>
                  <a:lnTo>
                    <a:pt x="150" y="453"/>
                  </a:lnTo>
                  <a:lnTo>
                    <a:pt x="139" y="449"/>
                  </a:lnTo>
                  <a:lnTo>
                    <a:pt x="139" y="449"/>
                  </a:lnTo>
                  <a:lnTo>
                    <a:pt x="133" y="451"/>
                  </a:lnTo>
                  <a:lnTo>
                    <a:pt x="131" y="451"/>
                  </a:lnTo>
                  <a:lnTo>
                    <a:pt x="131" y="451"/>
                  </a:lnTo>
                  <a:lnTo>
                    <a:pt x="127" y="446"/>
                  </a:lnTo>
                  <a:lnTo>
                    <a:pt x="125" y="446"/>
                  </a:lnTo>
                  <a:lnTo>
                    <a:pt x="125" y="446"/>
                  </a:lnTo>
                  <a:lnTo>
                    <a:pt x="123" y="446"/>
                  </a:lnTo>
                  <a:lnTo>
                    <a:pt x="117" y="451"/>
                  </a:lnTo>
                  <a:lnTo>
                    <a:pt x="117" y="451"/>
                  </a:lnTo>
                  <a:lnTo>
                    <a:pt x="115" y="451"/>
                  </a:lnTo>
                  <a:lnTo>
                    <a:pt x="115" y="451"/>
                  </a:lnTo>
                  <a:lnTo>
                    <a:pt x="115" y="449"/>
                  </a:lnTo>
                  <a:lnTo>
                    <a:pt x="113" y="449"/>
                  </a:lnTo>
                  <a:lnTo>
                    <a:pt x="113" y="451"/>
                  </a:lnTo>
                  <a:lnTo>
                    <a:pt x="111" y="453"/>
                  </a:lnTo>
                  <a:lnTo>
                    <a:pt x="109" y="455"/>
                  </a:lnTo>
                  <a:lnTo>
                    <a:pt x="109" y="455"/>
                  </a:lnTo>
                  <a:lnTo>
                    <a:pt x="109" y="459"/>
                  </a:lnTo>
                  <a:lnTo>
                    <a:pt x="113" y="461"/>
                  </a:lnTo>
                  <a:lnTo>
                    <a:pt x="115" y="463"/>
                  </a:lnTo>
                  <a:lnTo>
                    <a:pt x="115" y="467"/>
                  </a:lnTo>
                  <a:lnTo>
                    <a:pt x="113" y="471"/>
                  </a:lnTo>
                  <a:lnTo>
                    <a:pt x="113" y="473"/>
                  </a:lnTo>
                  <a:lnTo>
                    <a:pt x="113" y="475"/>
                  </a:lnTo>
                  <a:lnTo>
                    <a:pt x="115" y="475"/>
                  </a:lnTo>
                  <a:lnTo>
                    <a:pt x="119" y="479"/>
                  </a:lnTo>
                  <a:lnTo>
                    <a:pt x="121" y="479"/>
                  </a:lnTo>
                  <a:lnTo>
                    <a:pt x="117" y="481"/>
                  </a:lnTo>
                  <a:lnTo>
                    <a:pt x="117" y="481"/>
                  </a:lnTo>
                  <a:lnTo>
                    <a:pt x="119" y="481"/>
                  </a:lnTo>
                  <a:lnTo>
                    <a:pt x="117" y="483"/>
                  </a:lnTo>
                  <a:lnTo>
                    <a:pt x="119" y="483"/>
                  </a:lnTo>
                  <a:lnTo>
                    <a:pt x="121" y="483"/>
                  </a:lnTo>
                  <a:lnTo>
                    <a:pt x="121" y="483"/>
                  </a:lnTo>
                  <a:lnTo>
                    <a:pt x="121" y="485"/>
                  </a:lnTo>
                  <a:lnTo>
                    <a:pt x="123" y="490"/>
                  </a:lnTo>
                  <a:lnTo>
                    <a:pt x="123" y="502"/>
                  </a:lnTo>
                  <a:lnTo>
                    <a:pt x="125" y="506"/>
                  </a:lnTo>
                  <a:lnTo>
                    <a:pt x="125" y="506"/>
                  </a:lnTo>
                  <a:lnTo>
                    <a:pt x="127" y="508"/>
                  </a:lnTo>
                  <a:lnTo>
                    <a:pt x="127" y="508"/>
                  </a:lnTo>
                  <a:lnTo>
                    <a:pt x="129" y="508"/>
                  </a:lnTo>
                  <a:lnTo>
                    <a:pt x="129" y="510"/>
                  </a:lnTo>
                  <a:lnTo>
                    <a:pt x="129" y="510"/>
                  </a:lnTo>
                  <a:lnTo>
                    <a:pt x="129" y="510"/>
                  </a:lnTo>
                  <a:lnTo>
                    <a:pt x="129" y="510"/>
                  </a:lnTo>
                  <a:lnTo>
                    <a:pt x="129" y="512"/>
                  </a:lnTo>
                  <a:lnTo>
                    <a:pt x="129" y="512"/>
                  </a:lnTo>
                  <a:lnTo>
                    <a:pt x="131" y="512"/>
                  </a:lnTo>
                  <a:lnTo>
                    <a:pt x="129" y="514"/>
                  </a:lnTo>
                  <a:lnTo>
                    <a:pt x="127" y="514"/>
                  </a:lnTo>
                  <a:lnTo>
                    <a:pt x="125" y="512"/>
                  </a:lnTo>
                  <a:lnTo>
                    <a:pt x="123" y="512"/>
                  </a:lnTo>
                  <a:lnTo>
                    <a:pt x="123" y="510"/>
                  </a:lnTo>
                  <a:lnTo>
                    <a:pt x="123" y="508"/>
                  </a:lnTo>
                  <a:lnTo>
                    <a:pt x="121" y="506"/>
                  </a:lnTo>
                  <a:lnTo>
                    <a:pt x="121" y="506"/>
                  </a:lnTo>
                  <a:lnTo>
                    <a:pt x="119" y="506"/>
                  </a:lnTo>
                  <a:lnTo>
                    <a:pt x="119" y="504"/>
                  </a:lnTo>
                  <a:lnTo>
                    <a:pt x="119" y="504"/>
                  </a:lnTo>
                  <a:lnTo>
                    <a:pt x="117" y="504"/>
                  </a:lnTo>
                  <a:lnTo>
                    <a:pt x="117" y="504"/>
                  </a:lnTo>
                  <a:lnTo>
                    <a:pt x="117" y="502"/>
                  </a:lnTo>
                  <a:lnTo>
                    <a:pt x="115" y="502"/>
                  </a:lnTo>
                  <a:lnTo>
                    <a:pt x="115" y="500"/>
                  </a:lnTo>
                  <a:lnTo>
                    <a:pt x="115" y="500"/>
                  </a:lnTo>
                  <a:lnTo>
                    <a:pt x="113" y="500"/>
                  </a:lnTo>
                  <a:lnTo>
                    <a:pt x="113" y="498"/>
                  </a:lnTo>
                  <a:lnTo>
                    <a:pt x="113" y="498"/>
                  </a:lnTo>
                  <a:lnTo>
                    <a:pt x="111" y="498"/>
                  </a:lnTo>
                  <a:lnTo>
                    <a:pt x="109" y="496"/>
                  </a:lnTo>
                  <a:lnTo>
                    <a:pt x="109" y="494"/>
                  </a:lnTo>
                  <a:lnTo>
                    <a:pt x="109" y="494"/>
                  </a:lnTo>
                  <a:lnTo>
                    <a:pt x="107" y="494"/>
                  </a:lnTo>
                  <a:lnTo>
                    <a:pt x="105" y="494"/>
                  </a:lnTo>
                  <a:lnTo>
                    <a:pt x="105" y="492"/>
                  </a:lnTo>
                  <a:lnTo>
                    <a:pt x="105" y="492"/>
                  </a:lnTo>
                  <a:lnTo>
                    <a:pt x="105" y="490"/>
                  </a:lnTo>
                  <a:lnTo>
                    <a:pt x="105" y="490"/>
                  </a:lnTo>
                  <a:lnTo>
                    <a:pt x="105" y="487"/>
                  </a:lnTo>
                  <a:lnTo>
                    <a:pt x="105" y="487"/>
                  </a:lnTo>
                  <a:lnTo>
                    <a:pt x="107" y="479"/>
                  </a:lnTo>
                  <a:lnTo>
                    <a:pt x="107" y="479"/>
                  </a:lnTo>
                  <a:lnTo>
                    <a:pt x="107" y="479"/>
                  </a:lnTo>
                  <a:lnTo>
                    <a:pt x="109" y="479"/>
                  </a:lnTo>
                  <a:lnTo>
                    <a:pt x="107" y="479"/>
                  </a:lnTo>
                  <a:lnTo>
                    <a:pt x="107" y="477"/>
                  </a:lnTo>
                  <a:lnTo>
                    <a:pt x="107" y="477"/>
                  </a:lnTo>
                  <a:lnTo>
                    <a:pt x="107" y="475"/>
                  </a:lnTo>
                  <a:lnTo>
                    <a:pt x="107" y="471"/>
                  </a:lnTo>
                  <a:lnTo>
                    <a:pt x="107" y="471"/>
                  </a:lnTo>
                  <a:lnTo>
                    <a:pt x="105" y="469"/>
                  </a:lnTo>
                  <a:lnTo>
                    <a:pt x="100" y="469"/>
                  </a:lnTo>
                  <a:lnTo>
                    <a:pt x="98" y="469"/>
                  </a:lnTo>
                  <a:lnTo>
                    <a:pt x="98" y="469"/>
                  </a:lnTo>
                  <a:lnTo>
                    <a:pt x="94" y="473"/>
                  </a:lnTo>
                  <a:lnTo>
                    <a:pt x="94" y="477"/>
                  </a:lnTo>
                  <a:lnTo>
                    <a:pt x="94" y="483"/>
                  </a:lnTo>
                  <a:lnTo>
                    <a:pt x="94" y="487"/>
                  </a:lnTo>
                  <a:lnTo>
                    <a:pt x="94" y="490"/>
                  </a:lnTo>
                  <a:lnTo>
                    <a:pt x="92" y="492"/>
                  </a:lnTo>
                  <a:lnTo>
                    <a:pt x="90" y="494"/>
                  </a:lnTo>
                  <a:lnTo>
                    <a:pt x="90" y="500"/>
                  </a:lnTo>
                  <a:lnTo>
                    <a:pt x="90" y="500"/>
                  </a:lnTo>
                  <a:lnTo>
                    <a:pt x="92" y="500"/>
                  </a:lnTo>
                  <a:lnTo>
                    <a:pt x="92" y="500"/>
                  </a:lnTo>
                  <a:lnTo>
                    <a:pt x="94" y="502"/>
                  </a:lnTo>
                  <a:lnTo>
                    <a:pt x="94" y="504"/>
                  </a:lnTo>
                  <a:lnTo>
                    <a:pt x="94" y="508"/>
                  </a:lnTo>
                  <a:lnTo>
                    <a:pt x="96" y="510"/>
                  </a:lnTo>
                  <a:lnTo>
                    <a:pt x="96" y="512"/>
                  </a:lnTo>
                  <a:lnTo>
                    <a:pt x="96" y="514"/>
                  </a:lnTo>
                  <a:lnTo>
                    <a:pt x="96" y="516"/>
                  </a:lnTo>
                  <a:lnTo>
                    <a:pt x="96" y="518"/>
                  </a:lnTo>
                  <a:lnTo>
                    <a:pt x="94" y="524"/>
                  </a:lnTo>
                  <a:lnTo>
                    <a:pt x="94" y="528"/>
                  </a:lnTo>
                  <a:lnTo>
                    <a:pt x="92" y="531"/>
                  </a:lnTo>
                  <a:lnTo>
                    <a:pt x="94" y="537"/>
                  </a:lnTo>
                  <a:lnTo>
                    <a:pt x="96" y="539"/>
                  </a:lnTo>
                  <a:lnTo>
                    <a:pt x="96" y="541"/>
                  </a:lnTo>
                  <a:lnTo>
                    <a:pt x="96" y="543"/>
                  </a:lnTo>
                  <a:lnTo>
                    <a:pt x="96" y="543"/>
                  </a:lnTo>
                  <a:lnTo>
                    <a:pt x="102" y="549"/>
                  </a:lnTo>
                  <a:lnTo>
                    <a:pt x="105" y="555"/>
                  </a:lnTo>
                  <a:lnTo>
                    <a:pt x="107" y="559"/>
                  </a:lnTo>
                  <a:lnTo>
                    <a:pt x="113" y="565"/>
                  </a:lnTo>
                  <a:lnTo>
                    <a:pt x="115" y="565"/>
                  </a:lnTo>
                  <a:lnTo>
                    <a:pt x="117" y="565"/>
                  </a:lnTo>
                  <a:lnTo>
                    <a:pt x="119" y="565"/>
                  </a:lnTo>
                  <a:lnTo>
                    <a:pt x="121" y="565"/>
                  </a:lnTo>
                  <a:lnTo>
                    <a:pt x="123" y="565"/>
                  </a:lnTo>
                  <a:lnTo>
                    <a:pt x="123" y="567"/>
                  </a:lnTo>
                  <a:lnTo>
                    <a:pt x="127" y="565"/>
                  </a:lnTo>
                  <a:lnTo>
                    <a:pt x="129" y="567"/>
                  </a:lnTo>
                  <a:lnTo>
                    <a:pt x="131" y="567"/>
                  </a:lnTo>
                  <a:lnTo>
                    <a:pt x="133" y="571"/>
                  </a:lnTo>
                  <a:lnTo>
                    <a:pt x="135" y="582"/>
                  </a:lnTo>
                  <a:lnTo>
                    <a:pt x="137" y="586"/>
                  </a:lnTo>
                  <a:lnTo>
                    <a:pt x="135" y="592"/>
                  </a:lnTo>
                  <a:lnTo>
                    <a:pt x="135" y="592"/>
                  </a:lnTo>
                  <a:lnTo>
                    <a:pt x="135" y="592"/>
                  </a:lnTo>
                  <a:lnTo>
                    <a:pt x="137" y="592"/>
                  </a:lnTo>
                  <a:lnTo>
                    <a:pt x="137" y="592"/>
                  </a:lnTo>
                  <a:lnTo>
                    <a:pt x="137" y="592"/>
                  </a:lnTo>
                  <a:lnTo>
                    <a:pt x="137" y="594"/>
                  </a:lnTo>
                  <a:lnTo>
                    <a:pt x="137" y="594"/>
                  </a:lnTo>
                  <a:lnTo>
                    <a:pt x="137" y="594"/>
                  </a:lnTo>
                  <a:lnTo>
                    <a:pt x="135" y="594"/>
                  </a:lnTo>
                  <a:lnTo>
                    <a:pt x="133" y="594"/>
                  </a:lnTo>
                  <a:lnTo>
                    <a:pt x="133" y="594"/>
                  </a:lnTo>
                  <a:lnTo>
                    <a:pt x="131" y="600"/>
                  </a:lnTo>
                  <a:lnTo>
                    <a:pt x="131" y="602"/>
                  </a:lnTo>
                  <a:lnTo>
                    <a:pt x="129" y="602"/>
                  </a:lnTo>
                  <a:lnTo>
                    <a:pt x="127" y="604"/>
                  </a:lnTo>
                  <a:lnTo>
                    <a:pt x="125" y="604"/>
                  </a:lnTo>
                  <a:lnTo>
                    <a:pt x="125" y="604"/>
                  </a:lnTo>
                  <a:lnTo>
                    <a:pt x="123" y="602"/>
                  </a:lnTo>
                  <a:lnTo>
                    <a:pt x="121" y="602"/>
                  </a:lnTo>
                  <a:lnTo>
                    <a:pt x="121" y="602"/>
                  </a:lnTo>
                  <a:lnTo>
                    <a:pt x="119" y="604"/>
                  </a:lnTo>
                  <a:lnTo>
                    <a:pt x="117" y="606"/>
                  </a:lnTo>
                  <a:lnTo>
                    <a:pt x="117" y="608"/>
                  </a:lnTo>
                  <a:lnTo>
                    <a:pt x="119" y="608"/>
                  </a:lnTo>
                  <a:lnTo>
                    <a:pt x="119" y="610"/>
                  </a:lnTo>
                  <a:lnTo>
                    <a:pt x="121" y="610"/>
                  </a:lnTo>
                  <a:lnTo>
                    <a:pt x="121" y="612"/>
                  </a:lnTo>
                  <a:lnTo>
                    <a:pt x="119" y="612"/>
                  </a:lnTo>
                  <a:lnTo>
                    <a:pt x="117" y="612"/>
                  </a:lnTo>
                  <a:lnTo>
                    <a:pt x="117" y="615"/>
                  </a:lnTo>
                  <a:lnTo>
                    <a:pt x="117" y="617"/>
                  </a:lnTo>
                  <a:lnTo>
                    <a:pt x="119" y="621"/>
                  </a:lnTo>
                  <a:lnTo>
                    <a:pt x="119" y="627"/>
                  </a:lnTo>
                  <a:lnTo>
                    <a:pt x="117" y="631"/>
                  </a:lnTo>
                  <a:lnTo>
                    <a:pt x="117" y="631"/>
                  </a:lnTo>
                  <a:lnTo>
                    <a:pt x="119" y="635"/>
                  </a:lnTo>
                  <a:lnTo>
                    <a:pt x="119" y="635"/>
                  </a:lnTo>
                  <a:lnTo>
                    <a:pt x="119" y="637"/>
                  </a:lnTo>
                  <a:lnTo>
                    <a:pt x="119" y="637"/>
                  </a:lnTo>
                  <a:lnTo>
                    <a:pt x="119" y="639"/>
                  </a:lnTo>
                  <a:lnTo>
                    <a:pt x="119" y="639"/>
                  </a:lnTo>
                  <a:lnTo>
                    <a:pt x="121" y="639"/>
                  </a:lnTo>
                  <a:lnTo>
                    <a:pt x="121" y="641"/>
                  </a:lnTo>
                  <a:lnTo>
                    <a:pt x="121" y="643"/>
                  </a:lnTo>
                  <a:lnTo>
                    <a:pt x="121" y="643"/>
                  </a:lnTo>
                  <a:lnTo>
                    <a:pt x="121" y="645"/>
                  </a:lnTo>
                  <a:lnTo>
                    <a:pt x="123" y="645"/>
                  </a:lnTo>
                  <a:lnTo>
                    <a:pt x="125" y="647"/>
                  </a:lnTo>
                  <a:lnTo>
                    <a:pt x="131" y="653"/>
                  </a:lnTo>
                  <a:lnTo>
                    <a:pt x="133" y="658"/>
                  </a:lnTo>
                  <a:lnTo>
                    <a:pt x="137" y="666"/>
                  </a:lnTo>
                  <a:lnTo>
                    <a:pt x="137" y="670"/>
                  </a:lnTo>
                  <a:lnTo>
                    <a:pt x="137" y="672"/>
                  </a:lnTo>
                  <a:lnTo>
                    <a:pt x="139" y="672"/>
                  </a:lnTo>
                  <a:lnTo>
                    <a:pt x="141" y="674"/>
                  </a:lnTo>
                  <a:lnTo>
                    <a:pt x="143" y="674"/>
                  </a:lnTo>
                  <a:lnTo>
                    <a:pt x="143" y="676"/>
                  </a:lnTo>
                  <a:lnTo>
                    <a:pt x="146" y="678"/>
                  </a:lnTo>
                  <a:lnTo>
                    <a:pt x="146" y="680"/>
                  </a:lnTo>
                  <a:lnTo>
                    <a:pt x="146" y="682"/>
                  </a:lnTo>
                  <a:lnTo>
                    <a:pt x="146" y="684"/>
                  </a:lnTo>
                  <a:lnTo>
                    <a:pt x="146" y="686"/>
                  </a:lnTo>
                  <a:lnTo>
                    <a:pt x="146" y="688"/>
                  </a:lnTo>
                  <a:lnTo>
                    <a:pt x="148" y="690"/>
                  </a:lnTo>
                  <a:lnTo>
                    <a:pt x="150" y="694"/>
                  </a:lnTo>
                  <a:lnTo>
                    <a:pt x="150" y="697"/>
                  </a:lnTo>
                  <a:lnTo>
                    <a:pt x="152" y="699"/>
                  </a:lnTo>
                  <a:lnTo>
                    <a:pt x="154" y="701"/>
                  </a:lnTo>
                  <a:lnTo>
                    <a:pt x="156" y="703"/>
                  </a:lnTo>
                  <a:lnTo>
                    <a:pt x="156" y="709"/>
                  </a:lnTo>
                  <a:lnTo>
                    <a:pt x="158" y="715"/>
                  </a:lnTo>
                  <a:lnTo>
                    <a:pt x="158" y="717"/>
                  </a:lnTo>
                  <a:lnTo>
                    <a:pt x="164" y="719"/>
                  </a:lnTo>
                  <a:lnTo>
                    <a:pt x="166" y="721"/>
                  </a:lnTo>
                  <a:lnTo>
                    <a:pt x="168" y="723"/>
                  </a:lnTo>
                  <a:lnTo>
                    <a:pt x="170" y="729"/>
                  </a:lnTo>
                  <a:lnTo>
                    <a:pt x="172" y="733"/>
                  </a:lnTo>
                  <a:lnTo>
                    <a:pt x="174" y="737"/>
                  </a:lnTo>
                  <a:lnTo>
                    <a:pt x="176" y="740"/>
                  </a:lnTo>
                  <a:lnTo>
                    <a:pt x="178" y="742"/>
                  </a:lnTo>
                  <a:lnTo>
                    <a:pt x="184" y="744"/>
                  </a:lnTo>
                  <a:lnTo>
                    <a:pt x="186" y="746"/>
                  </a:lnTo>
                  <a:lnTo>
                    <a:pt x="186" y="748"/>
                  </a:lnTo>
                  <a:lnTo>
                    <a:pt x="186" y="750"/>
                  </a:lnTo>
                  <a:lnTo>
                    <a:pt x="186" y="752"/>
                  </a:lnTo>
                  <a:lnTo>
                    <a:pt x="186" y="754"/>
                  </a:lnTo>
                  <a:lnTo>
                    <a:pt x="189" y="756"/>
                  </a:lnTo>
                  <a:lnTo>
                    <a:pt x="189" y="758"/>
                  </a:lnTo>
                  <a:lnTo>
                    <a:pt x="189" y="758"/>
                  </a:lnTo>
                  <a:lnTo>
                    <a:pt x="186" y="758"/>
                  </a:lnTo>
                  <a:lnTo>
                    <a:pt x="186" y="758"/>
                  </a:lnTo>
                  <a:lnTo>
                    <a:pt x="186" y="756"/>
                  </a:lnTo>
                  <a:lnTo>
                    <a:pt x="186" y="754"/>
                  </a:lnTo>
                  <a:lnTo>
                    <a:pt x="182" y="762"/>
                  </a:lnTo>
                  <a:lnTo>
                    <a:pt x="182" y="764"/>
                  </a:lnTo>
                  <a:lnTo>
                    <a:pt x="182" y="766"/>
                  </a:lnTo>
                  <a:lnTo>
                    <a:pt x="182" y="768"/>
                  </a:lnTo>
                  <a:lnTo>
                    <a:pt x="184" y="770"/>
                  </a:lnTo>
                  <a:lnTo>
                    <a:pt x="189" y="774"/>
                  </a:lnTo>
                  <a:lnTo>
                    <a:pt x="191" y="776"/>
                  </a:lnTo>
                  <a:lnTo>
                    <a:pt x="191" y="776"/>
                  </a:lnTo>
                  <a:lnTo>
                    <a:pt x="193" y="776"/>
                  </a:lnTo>
                  <a:lnTo>
                    <a:pt x="195" y="776"/>
                  </a:lnTo>
                  <a:lnTo>
                    <a:pt x="197" y="776"/>
                  </a:lnTo>
                  <a:lnTo>
                    <a:pt x="197" y="776"/>
                  </a:lnTo>
                  <a:lnTo>
                    <a:pt x="199" y="778"/>
                  </a:lnTo>
                  <a:lnTo>
                    <a:pt x="199" y="778"/>
                  </a:lnTo>
                  <a:lnTo>
                    <a:pt x="201" y="781"/>
                  </a:lnTo>
                  <a:lnTo>
                    <a:pt x="201" y="781"/>
                  </a:lnTo>
                  <a:lnTo>
                    <a:pt x="201" y="785"/>
                  </a:lnTo>
                  <a:lnTo>
                    <a:pt x="201" y="789"/>
                  </a:lnTo>
                  <a:lnTo>
                    <a:pt x="199" y="793"/>
                  </a:lnTo>
                  <a:lnTo>
                    <a:pt x="199" y="797"/>
                  </a:lnTo>
                  <a:lnTo>
                    <a:pt x="195" y="803"/>
                  </a:lnTo>
                  <a:lnTo>
                    <a:pt x="193" y="805"/>
                  </a:lnTo>
                  <a:lnTo>
                    <a:pt x="195" y="805"/>
                  </a:lnTo>
                  <a:lnTo>
                    <a:pt x="197" y="809"/>
                  </a:lnTo>
                  <a:lnTo>
                    <a:pt x="197" y="809"/>
                  </a:lnTo>
                  <a:lnTo>
                    <a:pt x="197" y="811"/>
                  </a:lnTo>
                  <a:lnTo>
                    <a:pt x="197" y="811"/>
                  </a:lnTo>
                  <a:lnTo>
                    <a:pt x="197" y="813"/>
                  </a:lnTo>
                  <a:lnTo>
                    <a:pt x="197" y="815"/>
                  </a:lnTo>
                  <a:lnTo>
                    <a:pt x="195" y="819"/>
                  </a:lnTo>
                  <a:lnTo>
                    <a:pt x="193" y="822"/>
                  </a:lnTo>
                  <a:lnTo>
                    <a:pt x="195" y="824"/>
                  </a:lnTo>
                  <a:lnTo>
                    <a:pt x="195" y="826"/>
                  </a:lnTo>
                  <a:lnTo>
                    <a:pt x="195" y="828"/>
                  </a:lnTo>
                  <a:lnTo>
                    <a:pt x="195" y="830"/>
                  </a:lnTo>
                  <a:lnTo>
                    <a:pt x="193" y="832"/>
                  </a:lnTo>
                  <a:lnTo>
                    <a:pt x="193" y="834"/>
                  </a:lnTo>
                  <a:lnTo>
                    <a:pt x="191" y="834"/>
                  </a:lnTo>
                  <a:lnTo>
                    <a:pt x="191" y="838"/>
                  </a:lnTo>
                  <a:lnTo>
                    <a:pt x="189" y="840"/>
                  </a:lnTo>
                  <a:lnTo>
                    <a:pt x="189" y="840"/>
                  </a:lnTo>
                  <a:lnTo>
                    <a:pt x="191" y="842"/>
                  </a:lnTo>
                  <a:lnTo>
                    <a:pt x="193" y="844"/>
                  </a:lnTo>
                  <a:lnTo>
                    <a:pt x="195" y="844"/>
                  </a:lnTo>
                  <a:lnTo>
                    <a:pt x="197" y="844"/>
                  </a:lnTo>
                  <a:lnTo>
                    <a:pt x="199" y="848"/>
                  </a:lnTo>
                  <a:lnTo>
                    <a:pt x="201" y="852"/>
                  </a:lnTo>
                  <a:lnTo>
                    <a:pt x="203" y="856"/>
                  </a:lnTo>
                  <a:lnTo>
                    <a:pt x="207" y="856"/>
                  </a:lnTo>
                  <a:lnTo>
                    <a:pt x="215" y="856"/>
                  </a:lnTo>
                  <a:lnTo>
                    <a:pt x="227" y="858"/>
                  </a:lnTo>
                  <a:lnTo>
                    <a:pt x="232" y="860"/>
                  </a:lnTo>
                  <a:lnTo>
                    <a:pt x="236" y="862"/>
                  </a:lnTo>
                  <a:lnTo>
                    <a:pt x="240" y="862"/>
                  </a:lnTo>
                  <a:lnTo>
                    <a:pt x="246" y="865"/>
                  </a:lnTo>
                  <a:lnTo>
                    <a:pt x="254" y="871"/>
                  </a:lnTo>
                  <a:lnTo>
                    <a:pt x="256" y="871"/>
                  </a:lnTo>
                  <a:lnTo>
                    <a:pt x="258" y="871"/>
                  </a:lnTo>
                  <a:lnTo>
                    <a:pt x="260" y="871"/>
                  </a:lnTo>
                  <a:lnTo>
                    <a:pt x="260" y="871"/>
                  </a:lnTo>
                  <a:lnTo>
                    <a:pt x="262" y="873"/>
                  </a:lnTo>
                  <a:lnTo>
                    <a:pt x="264" y="873"/>
                  </a:lnTo>
                  <a:lnTo>
                    <a:pt x="266" y="875"/>
                  </a:lnTo>
                  <a:lnTo>
                    <a:pt x="266" y="875"/>
                  </a:lnTo>
                  <a:lnTo>
                    <a:pt x="268" y="875"/>
                  </a:lnTo>
                  <a:lnTo>
                    <a:pt x="268" y="875"/>
                  </a:lnTo>
                  <a:lnTo>
                    <a:pt x="270" y="873"/>
                  </a:lnTo>
                  <a:lnTo>
                    <a:pt x="275" y="873"/>
                  </a:lnTo>
                  <a:lnTo>
                    <a:pt x="277" y="875"/>
                  </a:lnTo>
                  <a:lnTo>
                    <a:pt x="279" y="875"/>
                  </a:lnTo>
                  <a:lnTo>
                    <a:pt x="279" y="875"/>
                  </a:lnTo>
                  <a:lnTo>
                    <a:pt x="281" y="875"/>
                  </a:lnTo>
                  <a:lnTo>
                    <a:pt x="283" y="877"/>
                  </a:lnTo>
                  <a:lnTo>
                    <a:pt x="287" y="881"/>
                  </a:lnTo>
                  <a:lnTo>
                    <a:pt x="291" y="883"/>
                  </a:lnTo>
                  <a:lnTo>
                    <a:pt x="299" y="893"/>
                  </a:lnTo>
                  <a:lnTo>
                    <a:pt x="301" y="895"/>
                  </a:lnTo>
                  <a:lnTo>
                    <a:pt x="303" y="895"/>
                  </a:lnTo>
                  <a:lnTo>
                    <a:pt x="303" y="895"/>
                  </a:lnTo>
                  <a:lnTo>
                    <a:pt x="303" y="895"/>
                  </a:lnTo>
                  <a:lnTo>
                    <a:pt x="305" y="897"/>
                  </a:lnTo>
                  <a:lnTo>
                    <a:pt x="303" y="897"/>
                  </a:lnTo>
                  <a:lnTo>
                    <a:pt x="303" y="899"/>
                  </a:lnTo>
                  <a:lnTo>
                    <a:pt x="305" y="899"/>
                  </a:lnTo>
                  <a:lnTo>
                    <a:pt x="305" y="901"/>
                  </a:lnTo>
                  <a:lnTo>
                    <a:pt x="305" y="901"/>
                  </a:lnTo>
                  <a:lnTo>
                    <a:pt x="305" y="903"/>
                  </a:lnTo>
                  <a:lnTo>
                    <a:pt x="305" y="906"/>
                  </a:lnTo>
                  <a:lnTo>
                    <a:pt x="305" y="906"/>
                  </a:lnTo>
                  <a:lnTo>
                    <a:pt x="305" y="908"/>
                  </a:lnTo>
                  <a:lnTo>
                    <a:pt x="307" y="908"/>
                  </a:lnTo>
                  <a:lnTo>
                    <a:pt x="307" y="908"/>
                  </a:lnTo>
                  <a:lnTo>
                    <a:pt x="307" y="910"/>
                  </a:lnTo>
                  <a:lnTo>
                    <a:pt x="307" y="910"/>
                  </a:lnTo>
                  <a:lnTo>
                    <a:pt x="311" y="914"/>
                  </a:lnTo>
                  <a:lnTo>
                    <a:pt x="313" y="916"/>
                  </a:lnTo>
                  <a:lnTo>
                    <a:pt x="315" y="916"/>
                  </a:lnTo>
                  <a:lnTo>
                    <a:pt x="315" y="916"/>
                  </a:lnTo>
                  <a:lnTo>
                    <a:pt x="313" y="916"/>
                  </a:lnTo>
                  <a:lnTo>
                    <a:pt x="313" y="916"/>
                  </a:lnTo>
                  <a:lnTo>
                    <a:pt x="313" y="914"/>
                  </a:lnTo>
                  <a:lnTo>
                    <a:pt x="315" y="916"/>
                  </a:lnTo>
                  <a:lnTo>
                    <a:pt x="324" y="920"/>
                  </a:lnTo>
                  <a:lnTo>
                    <a:pt x="332" y="924"/>
                  </a:lnTo>
                  <a:lnTo>
                    <a:pt x="336" y="926"/>
                  </a:lnTo>
                  <a:lnTo>
                    <a:pt x="338" y="928"/>
                  </a:lnTo>
                  <a:lnTo>
                    <a:pt x="340" y="930"/>
                  </a:lnTo>
                  <a:lnTo>
                    <a:pt x="342" y="930"/>
                  </a:lnTo>
                  <a:lnTo>
                    <a:pt x="344" y="928"/>
                  </a:lnTo>
                  <a:lnTo>
                    <a:pt x="356" y="930"/>
                  </a:lnTo>
                  <a:lnTo>
                    <a:pt x="359" y="930"/>
                  </a:lnTo>
                  <a:lnTo>
                    <a:pt x="359" y="930"/>
                  </a:lnTo>
                  <a:lnTo>
                    <a:pt x="359" y="930"/>
                  </a:lnTo>
                  <a:lnTo>
                    <a:pt x="361" y="930"/>
                  </a:lnTo>
                  <a:lnTo>
                    <a:pt x="363" y="930"/>
                  </a:lnTo>
                  <a:lnTo>
                    <a:pt x="365" y="930"/>
                  </a:lnTo>
                  <a:lnTo>
                    <a:pt x="367" y="932"/>
                  </a:lnTo>
                  <a:lnTo>
                    <a:pt x="369" y="936"/>
                  </a:lnTo>
                  <a:lnTo>
                    <a:pt x="371" y="942"/>
                  </a:lnTo>
                  <a:lnTo>
                    <a:pt x="373" y="947"/>
                  </a:lnTo>
                  <a:lnTo>
                    <a:pt x="373" y="951"/>
                  </a:lnTo>
                  <a:lnTo>
                    <a:pt x="375" y="953"/>
                  </a:lnTo>
                  <a:lnTo>
                    <a:pt x="373" y="955"/>
                  </a:lnTo>
                  <a:lnTo>
                    <a:pt x="373" y="959"/>
                  </a:lnTo>
                  <a:lnTo>
                    <a:pt x="373" y="959"/>
                  </a:lnTo>
                  <a:lnTo>
                    <a:pt x="371" y="961"/>
                  </a:lnTo>
                  <a:lnTo>
                    <a:pt x="371" y="963"/>
                  </a:lnTo>
                  <a:lnTo>
                    <a:pt x="371" y="965"/>
                  </a:lnTo>
                  <a:lnTo>
                    <a:pt x="373" y="965"/>
                  </a:lnTo>
                  <a:lnTo>
                    <a:pt x="373" y="967"/>
                  </a:lnTo>
                  <a:lnTo>
                    <a:pt x="373" y="967"/>
                  </a:lnTo>
                  <a:lnTo>
                    <a:pt x="375" y="967"/>
                  </a:lnTo>
                  <a:lnTo>
                    <a:pt x="375" y="965"/>
                  </a:lnTo>
                  <a:lnTo>
                    <a:pt x="377" y="967"/>
                  </a:lnTo>
                  <a:lnTo>
                    <a:pt x="377" y="969"/>
                  </a:lnTo>
                  <a:lnTo>
                    <a:pt x="377" y="969"/>
                  </a:lnTo>
                  <a:lnTo>
                    <a:pt x="379" y="969"/>
                  </a:lnTo>
                  <a:lnTo>
                    <a:pt x="379" y="971"/>
                  </a:lnTo>
                  <a:lnTo>
                    <a:pt x="381" y="971"/>
                  </a:lnTo>
                  <a:lnTo>
                    <a:pt x="381" y="971"/>
                  </a:lnTo>
                  <a:lnTo>
                    <a:pt x="383" y="969"/>
                  </a:lnTo>
                  <a:lnTo>
                    <a:pt x="383" y="969"/>
                  </a:lnTo>
                  <a:lnTo>
                    <a:pt x="383" y="969"/>
                  </a:lnTo>
                  <a:lnTo>
                    <a:pt x="383" y="965"/>
                  </a:lnTo>
                  <a:lnTo>
                    <a:pt x="385" y="965"/>
                  </a:lnTo>
                  <a:lnTo>
                    <a:pt x="385" y="965"/>
                  </a:lnTo>
                  <a:lnTo>
                    <a:pt x="387" y="965"/>
                  </a:lnTo>
                  <a:lnTo>
                    <a:pt x="387" y="965"/>
                  </a:lnTo>
                  <a:lnTo>
                    <a:pt x="387" y="965"/>
                  </a:lnTo>
                  <a:lnTo>
                    <a:pt x="389" y="965"/>
                  </a:lnTo>
                  <a:lnTo>
                    <a:pt x="391" y="967"/>
                  </a:lnTo>
                  <a:lnTo>
                    <a:pt x="393" y="967"/>
                  </a:lnTo>
                  <a:lnTo>
                    <a:pt x="395" y="967"/>
                  </a:lnTo>
                  <a:lnTo>
                    <a:pt x="397" y="967"/>
                  </a:lnTo>
                  <a:lnTo>
                    <a:pt x="408" y="981"/>
                  </a:lnTo>
                  <a:lnTo>
                    <a:pt x="410" y="985"/>
                  </a:lnTo>
                  <a:lnTo>
                    <a:pt x="420" y="992"/>
                  </a:lnTo>
                  <a:lnTo>
                    <a:pt x="424" y="996"/>
                  </a:lnTo>
                  <a:lnTo>
                    <a:pt x="426" y="1002"/>
                  </a:lnTo>
                  <a:lnTo>
                    <a:pt x="428" y="1002"/>
                  </a:lnTo>
                  <a:lnTo>
                    <a:pt x="432" y="1006"/>
                  </a:lnTo>
                  <a:lnTo>
                    <a:pt x="432" y="1008"/>
                  </a:lnTo>
                  <a:lnTo>
                    <a:pt x="436" y="1014"/>
                  </a:lnTo>
                  <a:lnTo>
                    <a:pt x="445" y="1020"/>
                  </a:lnTo>
                  <a:lnTo>
                    <a:pt x="455" y="1041"/>
                  </a:lnTo>
                  <a:lnTo>
                    <a:pt x="457" y="1051"/>
                  </a:lnTo>
                  <a:lnTo>
                    <a:pt x="459" y="1057"/>
                  </a:lnTo>
                  <a:lnTo>
                    <a:pt x="459" y="1059"/>
                  </a:lnTo>
                  <a:lnTo>
                    <a:pt x="459" y="1061"/>
                  </a:lnTo>
                  <a:lnTo>
                    <a:pt x="459" y="1072"/>
                  </a:lnTo>
                  <a:lnTo>
                    <a:pt x="459" y="1074"/>
                  </a:lnTo>
                  <a:lnTo>
                    <a:pt x="459" y="1076"/>
                  </a:lnTo>
                  <a:lnTo>
                    <a:pt x="457" y="1076"/>
                  </a:lnTo>
                  <a:lnTo>
                    <a:pt x="457" y="1078"/>
                  </a:lnTo>
                  <a:lnTo>
                    <a:pt x="455" y="1080"/>
                  </a:lnTo>
                  <a:lnTo>
                    <a:pt x="457" y="1084"/>
                  </a:lnTo>
                  <a:lnTo>
                    <a:pt x="457" y="1086"/>
                  </a:lnTo>
                  <a:lnTo>
                    <a:pt x="457" y="1088"/>
                  </a:lnTo>
                  <a:lnTo>
                    <a:pt x="455" y="1092"/>
                  </a:lnTo>
                  <a:lnTo>
                    <a:pt x="455" y="1092"/>
                  </a:lnTo>
                  <a:lnTo>
                    <a:pt x="457" y="1094"/>
                  </a:lnTo>
                  <a:lnTo>
                    <a:pt x="457" y="1096"/>
                  </a:lnTo>
                  <a:lnTo>
                    <a:pt x="457" y="1096"/>
                  </a:lnTo>
                  <a:lnTo>
                    <a:pt x="459" y="1092"/>
                  </a:lnTo>
                  <a:lnTo>
                    <a:pt x="459" y="1092"/>
                  </a:lnTo>
                  <a:lnTo>
                    <a:pt x="461" y="1090"/>
                  </a:lnTo>
                  <a:lnTo>
                    <a:pt x="461" y="1090"/>
                  </a:lnTo>
                  <a:lnTo>
                    <a:pt x="463" y="1092"/>
                  </a:lnTo>
                  <a:lnTo>
                    <a:pt x="463" y="1092"/>
                  </a:lnTo>
                  <a:lnTo>
                    <a:pt x="465" y="1094"/>
                  </a:lnTo>
                  <a:lnTo>
                    <a:pt x="467" y="1094"/>
                  </a:lnTo>
                  <a:lnTo>
                    <a:pt x="467" y="1098"/>
                  </a:lnTo>
                  <a:lnTo>
                    <a:pt x="469" y="1100"/>
                  </a:lnTo>
                  <a:lnTo>
                    <a:pt x="469" y="1102"/>
                  </a:lnTo>
                  <a:lnTo>
                    <a:pt x="467" y="1102"/>
                  </a:lnTo>
                  <a:lnTo>
                    <a:pt x="467" y="1102"/>
                  </a:lnTo>
                  <a:lnTo>
                    <a:pt x="467" y="1100"/>
                  </a:lnTo>
                  <a:lnTo>
                    <a:pt x="465" y="1098"/>
                  </a:lnTo>
                  <a:lnTo>
                    <a:pt x="465" y="1096"/>
                  </a:lnTo>
                  <a:lnTo>
                    <a:pt x="463" y="1094"/>
                  </a:lnTo>
                  <a:lnTo>
                    <a:pt x="463" y="1094"/>
                  </a:lnTo>
                  <a:lnTo>
                    <a:pt x="463" y="1092"/>
                  </a:lnTo>
                  <a:lnTo>
                    <a:pt x="461" y="1092"/>
                  </a:lnTo>
                  <a:lnTo>
                    <a:pt x="459" y="1094"/>
                  </a:lnTo>
                  <a:lnTo>
                    <a:pt x="459" y="1094"/>
                  </a:lnTo>
                  <a:lnTo>
                    <a:pt x="461" y="1094"/>
                  </a:lnTo>
                  <a:lnTo>
                    <a:pt x="463" y="1096"/>
                  </a:lnTo>
                  <a:lnTo>
                    <a:pt x="465" y="1100"/>
                  </a:lnTo>
                  <a:lnTo>
                    <a:pt x="465" y="1102"/>
                  </a:lnTo>
                  <a:lnTo>
                    <a:pt x="465" y="1106"/>
                  </a:lnTo>
                  <a:lnTo>
                    <a:pt x="465" y="1108"/>
                  </a:lnTo>
                  <a:lnTo>
                    <a:pt x="465" y="1110"/>
                  </a:lnTo>
                  <a:lnTo>
                    <a:pt x="465" y="1113"/>
                  </a:lnTo>
                  <a:lnTo>
                    <a:pt x="465" y="1113"/>
                  </a:lnTo>
                  <a:lnTo>
                    <a:pt x="471" y="1113"/>
                  </a:lnTo>
                  <a:lnTo>
                    <a:pt x="479" y="1113"/>
                  </a:lnTo>
                  <a:lnTo>
                    <a:pt x="485" y="1113"/>
                  </a:lnTo>
                  <a:lnTo>
                    <a:pt x="492" y="1115"/>
                  </a:lnTo>
                  <a:lnTo>
                    <a:pt x="498" y="1115"/>
                  </a:lnTo>
                  <a:lnTo>
                    <a:pt x="506" y="1115"/>
                  </a:lnTo>
                  <a:lnTo>
                    <a:pt x="512" y="1115"/>
                  </a:lnTo>
                  <a:lnTo>
                    <a:pt x="518" y="1115"/>
                  </a:lnTo>
                  <a:lnTo>
                    <a:pt x="526" y="1117"/>
                  </a:lnTo>
                  <a:lnTo>
                    <a:pt x="533" y="1117"/>
                  </a:lnTo>
                  <a:lnTo>
                    <a:pt x="539" y="1117"/>
                  </a:lnTo>
                  <a:lnTo>
                    <a:pt x="545" y="1117"/>
                  </a:lnTo>
                  <a:lnTo>
                    <a:pt x="553" y="1117"/>
                  </a:lnTo>
                  <a:lnTo>
                    <a:pt x="559" y="1117"/>
                  </a:lnTo>
                  <a:lnTo>
                    <a:pt x="565" y="1119"/>
                  </a:lnTo>
                  <a:lnTo>
                    <a:pt x="580" y="1119"/>
                  </a:lnTo>
                  <a:lnTo>
                    <a:pt x="586" y="1119"/>
                  </a:lnTo>
                  <a:lnTo>
                    <a:pt x="592" y="1119"/>
                  </a:lnTo>
                  <a:lnTo>
                    <a:pt x="600" y="1121"/>
                  </a:lnTo>
                  <a:lnTo>
                    <a:pt x="606" y="1121"/>
                  </a:lnTo>
                  <a:lnTo>
                    <a:pt x="612" y="1121"/>
                  </a:lnTo>
                  <a:lnTo>
                    <a:pt x="619" y="1121"/>
                  </a:lnTo>
                  <a:lnTo>
                    <a:pt x="627" y="1121"/>
                  </a:lnTo>
                  <a:lnTo>
                    <a:pt x="633" y="1121"/>
                  </a:lnTo>
                  <a:lnTo>
                    <a:pt x="639" y="1123"/>
                  </a:lnTo>
                  <a:lnTo>
                    <a:pt x="647" y="1123"/>
                  </a:lnTo>
                  <a:lnTo>
                    <a:pt x="653" y="1123"/>
                  </a:lnTo>
                  <a:lnTo>
                    <a:pt x="660" y="1123"/>
                  </a:lnTo>
                  <a:lnTo>
                    <a:pt x="666" y="1123"/>
                  </a:lnTo>
                  <a:lnTo>
                    <a:pt x="674" y="1123"/>
                  </a:lnTo>
                  <a:lnTo>
                    <a:pt x="680" y="1123"/>
                  </a:lnTo>
                  <a:lnTo>
                    <a:pt x="684" y="1123"/>
                  </a:lnTo>
                  <a:lnTo>
                    <a:pt x="684" y="1125"/>
                  </a:lnTo>
                  <a:lnTo>
                    <a:pt x="684" y="1123"/>
                  </a:lnTo>
                  <a:lnTo>
                    <a:pt x="688" y="1121"/>
                  </a:lnTo>
                  <a:lnTo>
                    <a:pt x="696" y="1123"/>
                  </a:lnTo>
                  <a:lnTo>
                    <a:pt x="701" y="1123"/>
                  </a:lnTo>
                  <a:lnTo>
                    <a:pt x="703" y="1123"/>
                  </a:lnTo>
                  <a:lnTo>
                    <a:pt x="703" y="1121"/>
                  </a:lnTo>
                  <a:lnTo>
                    <a:pt x="703" y="1119"/>
                  </a:lnTo>
                  <a:lnTo>
                    <a:pt x="703" y="1117"/>
                  </a:lnTo>
                  <a:lnTo>
                    <a:pt x="705" y="1115"/>
                  </a:lnTo>
                  <a:lnTo>
                    <a:pt x="709" y="1113"/>
                  </a:lnTo>
                  <a:lnTo>
                    <a:pt x="709" y="1113"/>
                  </a:lnTo>
                  <a:lnTo>
                    <a:pt x="711" y="1110"/>
                  </a:lnTo>
                  <a:lnTo>
                    <a:pt x="709" y="1102"/>
                  </a:lnTo>
                  <a:lnTo>
                    <a:pt x="709" y="1100"/>
                  </a:lnTo>
                  <a:lnTo>
                    <a:pt x="711" y="1100"/>
                  </a:lnTo>
                  <a:lnTo>
                    <a:pt x="711" y="1098"/>
                  </a:lnTo>
                  <a:lnTo>
                    <a:pt x="711" y="1098"/>
                  </a:lnTo>
                  <a:lnTo>
                    <a:pt x="709" y="1094"/>
                  </a:lnTo>
                  <a:lnTo>
                    <a:pt x="705" y="1092"/>
                  </a:lnTo>
                  <a:lnTo>
                    <a:pt x="696" y="1090"/>
                  </a:lnTo>
                  <a:lnTo>
                    <a:pt x="694" y="1088"/>
                  </a:lnTo>
                  <a:lnTo>
                    <a:pt x="692" y="1084"/>
                  </a:lnTo>
                  <a:lnTo>
                    <a:pt x="692" y="1080"/>
                  </a:lnTo>
                  <a:lnTo>
                    <a:pt x="694" y="1076"/>
                  </a:lnTo>
                  <a:lnTo>
                    <a:pt x="694" y="1072"/>
                  </a:lnTo>
                  <a:lnTo>
                    <a:pt x="694" y="1065"/>
                  </a:lnTo>
                  <a:lnTo>
                    <a:pt x="694" y="1063"/>
                  </a:lnTo>
                  <a:lnTo>
                    <a:pt x="692" y="1061"/>
                  </a:lnTo>
                  <a:lnTo>
                    <a:pt x="692" y="1059"/>
                  </a:lnTo>
                  <a:lnTo>
                    <a:pt x="694" y="1055"/>
                  </a:lnTo>
                  <a:lnTo>
                    <a:pt x="694" y="1055"/>
                  </a:lnTo>
                  <a:lnTo>
                    <a:pt x="694" y="1053"/>
                  </a:lnTo>
                  <a:lnTo>
                    <a:pt x="694" y="1053"/>
                  </a:lnTo>
                  <a:lnTo>
                    <a:pt x="694" y="1051"/>
                  </a:lnTo>
                  <a:lnTo>
                    <a:pt x="694" y="1051"/>
                  </a:lnTo>
                  <a:lnTo>
                    <a:pt x="692" y="1049"/>
                  </a:lnTo>
                  <a:lnTo>
                    <a:pt x="694" y="1049"/>
                  </a:lnTo>
                  <a:lnTo>
                    <a:pt x="698" y="1049"/>
                  </a:lnTo>
                  <a:lnTo>
                    <a:pt x="701" y="1049"/>
                  </a:lnTo>
                  <a:lnTo>
                    <a:pt x="703" y="1047"/>
                  </a:lnTo>
                  <a:lnTo>
                    <a:pt x="707" y="1041"/>
                  </a:lnTo>
                  <a:lnTo>
                    <a:pt x="709" y="1039"/>
                  </a:lnTo>
                  <a:lnTo>
                    <a:pt x="709" y="1039"/>
                  </a:lnTo>
                  <a:lnTo>
                    <a:pt x="711" y="1037"/>
                  </a:lnTo>
                  <a:lnTo>
                    <a:pt x="713" y="1035"/>
                  </a:lnTo>
                  <a:lnTo>
                    <a:pt x="713" y="1035"/>
                  </a:lnTo>
                  <a:lnTo>
                    <a:pt x="713" y="1033"/>
                  </a:lnTo>
                  <a:lnTo>
                    <a:pt x="713" y="1031"/>
                  </a:lnTo>
                  <a:lnTo>
                    <a:pt x="713" y="1028"/>
                  </a:lnTo>
                  <a:lnTo>
                    <a:pt x="715" y="1028"/>
                  </a:lnTo>
                  <a:lnTo>
                    <a:pt x="715" y="1028"/>
                  </a:lnTo>
                  <a:lnTo>
                    <a:pt x="715" y="1026"/>
                  </a:lnTo>
                  <a:lnTo>
                    <a:pt x="715" y="1024"/>
                  </a:lnTo>
                  <a:lnTo>
                    <a:pt x="715" y="1022"/>
                  </a:lnTo>
                  <a:lnTo>
                    <a:pt x="717" y="1020"/>
                  </a:lnTo>
                  <a:lnTo>
                    <a:pt x="719" y="1020"/>
                  </a:lnTo>
                  <a:lnTo>
                    <a:pt x="719" y="1018"/>
                  </a:lnTo>
                  <a:lnTo>
                    <a:pt x="719" y="1016"/>
                  </a:lnTo>
                  <a:lnTo>
                    <a:pt x="719" y="1014"/>
                  </a:lnTo>
                  <a:lnTo>
                    <a:pt x="719" y="1014"/>
                  </a:lnTo>
                  <a:lnTo>
                    <a:pt x="719" y="1014"/>
                  </a:lnTo>
                  <a:lnTo>
                    <a:pt x="719" y="1012"/>
                  </a:lnTo>
                  <a:lnTo>
                    <a:pt x="719" y="1012"/>
                  </a:lnTo>
                  <a:lnTo>
                    <a:pt x="719" y="1010"/>
                  </a:lnTo>
                  <a:lnTo>
                    <a:pt x="719" y="1010"/>
                  </a:lnTo>
                  <a:lnTo>
                    <a:pt x="719" y="1006"/>
                  </a:lnTo>
                  <a:lnTo>
                    <a:pt x="719" y="1004"/>
                  </a:lnTo>
                  <a:lnTo>
                    <a:pt x="719" y="1002"/>
                  </a:lnTo>
                  <a:lnTo>
                    <a:pt x="721" y="1002"/>
                  </a:lnTo>
                  <a:lnTo>
                    <a:pt x="721" y="1000"/>
                  </a:lnTo>
                  <a:lnTo>
                    <a:pt x="721" y="1000"/>
                  </a:lnTo>
                  <a:lnTo>
                    <a:pt x="719" y="998"/>
                  </a:lnTo>
                  <a:lnTo>
                    <a:pt x="719" y="996"/>
                  </a:lnTo>
                  <a:lnTo>
                    <a:pt x="719" y="996"/>
                  </a:lnTo>
                  <a:lnTo>
                    <a:pt x="719" y="992"/>
                  </a:lnTo>
                  <a:lnTo>
                    <a:pt x="721" y="992"/>
                  </a:lnTo>
                  <a:lnTo>
                    <a:pt x="725" y="990"/>
                  </a:lnTo>
                  <a:lnTo>
                    <a:pt x="727" y="988"/>
                  </a:lnTo>
                  <a:lnTo>
                    <a:pt x="729" y="988"/>
                  </a:lnTo>
                  <a:lnTo>
                    <a:pt x="729" y="985"/>
                  </a:lnTo>
                  <a:lnTo>
                    <a:pt x="731" y="979"/>
                  </a:lnTo>
                  <a:lnTo>
                    <a:pt x="733" y="977"/>
                  </a:lnTo>
                  <a:lnTo>
                    <a:pt x="733" y="977"/>
                  </a:lnTo>
                  <a:lnTo>
                    <a:pt x="737" y="977"/>
                  </a:lnTo>
                  <a:lnTo>
                    <a:pt x="748" y="971"/>
                  </a:lnTo>
                  <a:lnTo>
                    <a:pt x="750" y="971"/>
                  </a:lnTo>
                  <a:lnTo>
                    <a:pt x="752" y="967"/>
                  </a:lnTo>
                  <a:lnTo>
                    <a:pt x="756" y="965"/>
                  </a:lnTo>
                  <a:lnTo>
                    <a:pt x="758" y="963"/>
                  </a:lnTo>
                  <a:lnTo>
                    <a:pt x="760" y="961"/>
                  </a:lnTo>
                  <a:lnTo>
                    <a:pt x="760" y="959"/>
                  </a:lnTo>
                  <a:close/>
                  <a:moveTo>
                    <a:pt x="53" y="471"/>
                  </a:moveTo>
                  <a:lnTo>
                    <a:pt x="53" y="471"/>
                  </a:lnTo>
                  <a:lnTo>
                    <a:pt x="53" y="471"/>
                  </a:lnTo>
                  <a:lnTo>
                    <a:pt x="53" y="471"/>
                  </a:lnTo>
                  <a:lnTo>
                    <a:pt x="53" y="471"/>
                  </a:lnTo>
                  <a:lnTo>
                    <a:pt x="53" y="471"/>
                  </a:lnTo>
                  <a:lnTo>
                    <a:pt x="53" y="471"/>
                  </a:lnTo>
                  <a:lnTo>
                    <a:pt x="53" y="471"/>
                  </a:lnTo>
                  <a:lnTo>
                    <a:pt x="53" y="471"/>
                  </a:lnTo>
                  <a:lnTo>
                    <a:pt x="53" y="471"/>
                  </a:lnTo>
                  <a:close/>
                  <a:moveTo>
                    <a:pt x="105" y="463"/>
                  </a:moveTo>
                  <a:lnTo>
                    <a:pt x="105" y="463"/>
                  </a:lnTo>
                  <a:lnTo>
                    <a:pt x="105" y="463"/>
                  </a:lnTo>
                  <a:lnTo>
                    <a:pt x="105" y="463"/>
                  </a:lnTo>
                  <a:lnTo>
                    <a:pt x="102" y="463"/>
                  </a:lnTo>
                  <a:lnTo>
                    <a:pt x="102" y="463"/>
                  </a:lnTo>
                  <a:lnTo>
                    <a:pt x="102" y="463"/>
                  </a:lnTo>
                  <a:lnTo>
                    <a:pt x="105" y="465"/>
                  </a:lnTo>
                  <a:lnTo>
                    <a:pt x="105" y="465"/>
                  </a:lnTo>
                  <a:lnTo>
                    <a:pt x="105" y="463"/>
                  </a:lnTo>
                  <a:lnTo>
                    <a:pt x="105" y="463"/>
                  </a:lnTo>
                  <a:lnTo>
                    <a:pt x="105" y="463"/>
                  </a:lnTo>
                  <a:lnTo>
                    <a:pt x="105" y="463"/>
                  </a:lnTo>
                  <a:close/>
                  <a:moveTo>
                    <a:pt x="109" y="467"/>
                  </a:moveTo>
                  <a:lnTo>
                    <a:pt x="109" y="469"/>
                  </a:lnTo>
                  <a:lnTo>
                    <a:pt x="109" y="469"/>
                  </a:lnTo>
                  <a:lnTo>
                    <a:pt x="109" y="471"/>
                  </a:lnTo>
                  <a:lnTo>
                    <a:pt x="109" y="469"/>
                  </a:lnTo>
                  <a:lnTo>
                    <a:pt x="109" y="469"/>
                  </a:lnTo>
                  <a:lnTo>
                    <a:pt x="109" y="469"/>
                  </a:lnTo>
                  <a:lnTo>
                    <a:pt x="109" y="469"/>
                  </a:lnTo>
                  <a:lnTo>
                    <a:pt x="109" y="467"/>
                  </a:lnTo>
                  <a:lnTo>
                    <a:pt x="109" y="467"/>
                  </a:lnTo>
                  <a:lnTo>
                    <a:pt x="109" y="467"/>
                  </a:lnTo>
                  <a:lnTo>
                    <a:pt x="109" y="467"/>
                  </a:lnTo>
                  <a:close/>
                  <a:moveTo>
                    <a:pt x="289" y="920"/>
                  </a:moveTo>
                  <a:lnTo>
                    <a:pt x="287" y="920"/>
                  </a:lnTo>
                  <a:lnTo>
                    <a:pt x="287" y="920"/>
                  </a:lnTo>
                  <a:lnTo>
                    <a:pt x="285" y="920"/>
                  </a:lnTo>
                  <a:lnTo>
                    <a:pt x="285" y="920"/>
                  </a:lnTo>
                  <a:lnTo>
                    <a:pt x="285" y="920"/>
                  </a:lnTo>
                  <a:lnTo>
                    <a:pt x="285" y="920"/>
                  </a:lnTo>
                  <a:lnTo>
                    <a:pt x="287" y="920"/>
                  </a:lnTo>
                  <a:lnTo>
                    <a:pt x="287" y="920"/>
                  </a:lnTo>
                  <a:lnTo>
                    <a:pt x="289" y="922"/>
                  </a:lnTo>
                  <a:lnTo>
                    <a:pt x="289" y="922"/>
                  </a:lnTo>
                  <a:lnTo>
                    <a:pt x="289" y="920"/>
                  </a:lnTo>
                  <a:lnTo>
                    <a:pt x="289" y="920"/>
                  </a:lnTo>
                  <a:close/>
                  <a:moveTo>
                    <a:pt x="311" y="981"/>
                  </a:moveTo>
                  <a:lnTo>
                    <a:pt x="311" y="981"/>
                  </a:lnTo>
                  <a:lnTo>
                    <a:pt x="309" y="981"/>
                  </a:lnTo>
                  <a:lnTo>
                    <a:pt x="309" y="981"/>
                  </a:lnTo>
                  <a:lnTo>
                    <a:pt x="309" y="983"/>
                  </a:lnTo>
                  <a:lnTo>
                    <a:pt x="309" y="983"/>
                  </a:lnTo>
                  <a:lnTo>
                    <a:pt x="309" y="983"/>
                  </a:lnTo>
                  <a:lnTo>
                    <a:pt x="309" y="983"/>
                  </a:lnTo>
                  <a:lnTo>
                    <a:pt x="309" y="983"/>
                  </a:lnTo>
                  <a:lnTo>
                    <a:pt x="311" y="983"/>
                  </a:lnTo>
                  <a:lnTo>
                    <a:pt x="311" y="981"/>
                  </a:lnTo>
                  <a:lnTo>
                    <a:pt x="311" y="981"/>
                  </a:lnTo>
                  <a:lnTo>
                    <a:pt x="311" y="981"/>
                  </a:lnTo>
                  <a:close/>
                </a:path>
              </a:pathLst>
            </a:custGeom>
            <a:solidFill>
              <a:schemeClr val="bg1">
                <a:lumMod val="50000"/>
              </a:schemeClr>
            </a:solidFill>
            <a:ln w="3175" cap="rnd">
              <a:solidFill>
                <a:schemeClr val="bg1"/>
              </a:solidFill>
              <a:prstDash val="solid"/>
              <a:round/>
              <a:headEnd/>
              <a:tailEnd/>
            </a:ln>
          </p:spPr>
          <p:txBody>
            <a:bodyPr vert="horz" wrap="square" lIns="0" tIns="0" rIns="288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CA</a:t>
              </a:r>
            </a:p>
          </p:txBody>
        </p:sp>
        <p:sp>
          <p:nvSpPr>
            <p:cNvPr id="237" name="Freeform 52">
              <a:extLst>
                <a:ext uri="{FF2B5EF4-FFF2-40B4-BE49-F238E27FC236}">
                  <a16:creationId xmlns:a16="http://schemas.microsoft.com/office/drawing/2014/main" id="{92AA4C75-F5D0-D3C5-4C95-CA7D9CACF9A3}"/>
                </a:ext>
              </a:extLst>
            </p:cNvPr>
            <p:cNvSpPr>
              <a:spLocks/>
            </p:cNvSpPr>
            <p:nvPr/>
          </p:nvSpPr>
          <p:spPr bwMode="auto">
            <a:xfrm>
              <a:off x="1380" y="1367"/>
              <a:ext cx="563" cy="654"/>
            </a:xfrm>
            <a:custGeom>
              <a:avLst/>
              <a:gdLst>
                <a:gd name="T0" fmla="*/ 545 w 563"/>
                <a:gd name="T1" fmla="*/ 254 h 654"/>
                <a:gd name="T2" fmla="*/ 534 w 563"/>
                <a:gd name="T3" fmla="*/ 387 h 654"/>
                <a:gd name="T4" fmla="*/ 524 w 563"/>
                <a:gd name="T5" fmla="*/ 520 h 654"/>
                <a:gd name="T6" fmla="*/ 512 w 563"/>
                <a:gd name="T7" fmla="*/ 654 h 654"/>
                <a:gd name="T8" fmla="*/ 512 w 563"/>
                <a:gd name="T9" fmla="*/ 654 h 654"/>
                <a:gd name="T10" fmla="*/ 512 w 563"/>
                <a:gd name="T11" fmla="*/ 654 h 654"/>
                <a:gd name="T12" fmla="*/ 512 w 563"/>
                <a:gd name="T13" fmla="*/ 654 h 654"/>
                <a:gd name="T14" fmla="*/ 512 w 563"/>
                <a:gd name="T15" fmla="*/ 654 h 654"/>
                <a:gd name="T16" fmla="*/ 502 w 563"/>
                <a:gd name="T17" fmla="*/ 654 h 654"/>
                <a:gd name="T18" fmla="*/ 475 w 563"/>
                <a:gd name="T19" fmla="*/ 652 h 654"/>
                <a:gd name="T20" fmla="*/ 448 w 563"/>
                <a:gd name="T21" fmla="*/ 650 h 654"/>
                <a:gd name="T22" fmla="*/ 420 w 563"/>
                <a:gd name="T23" fmla="*/ 645 h 654"/>
                <a:gd name="T24" fmla="*/ 393 w 563"/>
                <a:gd name="T25" fmla="*/ 643 h 654"/>
                <a:gd name="T26" fmla="*/ 364 w 563"/>
                <a:gd name="T27" fmla="*/ 641 h 654"/>
                <a:gd name="T28" fmla="*/ 338 w 563"/>
                <a:gd name="T29" fmla="*/ 639 h 654"/>
                <a:gd name="T30" fmla="*/ 307 w 563"/>
                <a:gd name="T31" fmla="*/ 627 h 654"/>
                <a:gd name="T32" fmla="*/ 180 w 563"/>
                <a:gd name="T33" fmla="*/ 564 h 654"/>
                <a:gd name="T34" fmla="*/ 0 w 563"/>
                <a:gd name="T35" fmla="*/ 471 h 654"/>
                <a:gd name="T36" fmla="*/ 4 w 563"/>
                <a:gd name="T37" fmla="*/ 459 h 654"/>
                <a:gd name="T38" fmla="*/ 10 w 563"/>
                <a:gd name="T39" fmla="*/ 453 h 654"/>
                <a:gd name="T40" fmla="*/ 31 w 563"/>
                <a:gd name="T41" fmla="*/ 447 h 654"/>
                <a:gd name="T42" fmla="*/ 37 w 563"/>
                <a:gd name="T43" fmla="*/ 428 h 654"/>
                <a:gd name="T44" fmla="*/ 24 w 563"/>
                <a:gd name="T45" fmla="*/ 416 h 654"/>
                <a:gd name="T46" fmla="*/ 22 w 563"/>
                <a:gd name="T47" fmla="*/ 389 h 654"/>
                <a:gd name="T48" fmla="*/ 22 w 563"/>
                <a:gd name="T49" fmla="*/ 377 h 654"/>
                <a:gd name="T50" fmla="*/ 35 w 563"/>
                <a:gd name="T51" fmla="*/ 367 h 654"/>
                <a:gd name="T52" fmla="*/ 41 w 563"/>
                <a:gd name="T53" fmla="*/ 357 h 654"/>
                <a:gd name="T54" fmla="*/ 45 w 563"/>
                <a:gd name="T55" fmla="*/ 346 h 654"/>
                <a:gd name="T56" fmla="*/ 47 w 563"/>
                <a:gd name="T57" fmla="*/ 338 h 654"/>
                <a:gd name="T58" fmla="*/ 49 w 563"/>
                <a:gd name="T59" fmla="*/ 328 h 654"/>
                <a:gd name="T60" fmla="*/ 49 w 563"/>
                <a:gd name="T61" fmla="*/ 318 h 654"/>
                <a:gd name="T62" fmla="*/ 61 w 563"/>
                <a:gd name="T63" fmla="*/ 303 h 654"/>
                <a:gd name="T64" fmla="*/ 88 w 563"/>
                <a:gd name="T65" fmla="*/ 287 h 654"/>
                <a:gd name="T66" fmla="*/ 76 w 563"/>
                <a:gd name="T67" fmla="*/ 273 h 654"/>
                <a:gd name="T68" fmla="*/ 72 w 563"/>
                <a:gd name="T69" fmla="*/ 266 h 654"/>
                <a:gd name="T70" fmla="*/ 67 w 563"/>
                <a:gd name="T71" fmla="*/ 262 h 654"/>
                <a:gd name="T72" fmla="*/ 67 w 563"/>
                <a:gd name="T73" fmla="*/ 254 h 654"/>
                <a:gd name="T74" fmla="*/ 65 w 563"/>
                <a:gd name="T75" fmla="*/ 246 h 654"/>
                <a:gd name="T76" fmla="*/ 55 w 563"/>
                <a:gd name="T77" fmla="*/ 223 h 654"/>
                <a:gd name="T78" fmla="*/ 53 w 563"/>
                <a:gd name="T79" fmla="*/ 205 h 654"/>
                <a:gd name="T80" fmla="*/ 53 w 563"/>
                <a:gd name="T81" fmla="*/ 191 h 654"/>
                <a:gd name="T82" fmla="*/ 61 w 563"/>
                <a:gd name="T83" fmla="*/ 184 h 654"/>
                <a:gd name="T84" fmla="*/ 57 w 563"/>
                <a:gd name="T85" fmla="*/ 156 h 654"/>
                <a:gd name="T86" fmla="*/ 57 w 563"/>
                <a:gd name="T87" fmla="*/ 127 h 654"/>
                <a:gd name="T88" fmla="*/ 61 w 563"/>
                <a:gd name="T89" fmla="*/ 111 h 654"/>
                <a:gd name="T90" fmla="*/ 59 w 563"/>
                <a:gd name="T91" fmla="*/ 92 h 654"/>
                <a:gd name="T92" fmla="*/ 61 w 563"/>
                <a:gd name="T93" fmla="*/ 86 h 654"/>
                <a:gd name="T94" fmla="*/ 82 w 563"/>
                <a:gd name="T95" fmla="*/ 86 h 654"/>
                <a:gd name="T96" fmla="*/ 86 w 563"/>
                <a:gd name="T97" fmla="*/ 88 h 654"/>
                <a:gd name="T98" fmla="*/ 92 w 563"/>
                <a:gd name="T99" fmla="*/ 86 h 654"/>
                <a:gd name="T100" fmla="*/ 96 w 563"/>
                <a:gd name="T101" fmla="*/ 96 h 654"/>
                <a:gd name="T102" fmla="*/ 110 w 563"/>
                <a:gd name="T103" fmla="*/ 100 h 654"/>
                <a:gd name="T104" fmla="*/ 121 w 563"/>
                <a:gd name="T105" fmla="*/ 82 h 654"/>
                <a:gd name="T106" fmla="*/ 125 w 563"/>
                <a:gd name="T107" fmla="*/ 53 h 654"/>
                <a:gd name="T108" fmla="*/ 131 w 563"/>
                <a:gd name="T109" fmla="*/ 6 h 654"/>
                <a:gd name="T110" fmla="*/ 186 w 563"/>
                <a:gd name="T111" fmla="*/ 6 h 654"/>
                <a:gd name="T112" fmla="*/ 280 w 563"/>
                <a:gd name="T113" fmla="*/ 16 h 654"/>
                <a:gd name="T114" fmla="*/ 373 w 563"/>
                <a:gd name="T115" fmla="*/ 27 h 654"/>
                <a:gd name="T116" fmla="*/ 469 w 563"/>
                <a:gd name="T117" fmla="*/ 37 h 654"/>
                <a:gd name="T118" fmla="*/ 563 w 563"/>
                <a:gd name="T119" fmla="*/ 45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3" h="654">
                  <a:moveTo>
                    <a:pt x="555" y="139"/>
                  </a:moveTo>
                  <a:lnTo>
                    <a:pt x="553" y="158"/>
                  </a:lnTo>
                  <a:lnTo>
                    <a:pt x="551" y="178"/>
                  </a:lnTo>
                  <a:lnTo>
                    <a:pt x="551" y="197"/>
                  </a:lnTo>
                  <a:lnTo>
                    <a:pt x="549" y="215"/>
                  </a:lnTo>
                  <a:lnTo>
                    <a:pt x="547" y="236"/>
                  </a:lnTo>
                  <a:lnTo>
                    <a:pt x="545" y="254"/>
                  </a:lnTo>
                  <a:lnTo>
                    <a:pt x="543" y="273"/>
                  </a:lnTo>
                  <a:lnTo>
                    <a:pt x="543" y="291"/>
                  </a:lnTo>
                  <a:lnTo>
                    <a:pt x="541" y="311"/>
                  </a:lnTo>
                  <a:lnTo>
                    <a:pt x="538" y="330"/>
                  </a:lnTo>
                  <a:lnTo>
                    <a:pt x="536" y="348"/>
                  </a:lnTo>
                  <a:lnTo>
                    <a:pt x="536" y="369"/>
                  </a:lnTo>
                  <a:lnTo>
                    <a:pt x="534" y="387"/>
                  </a:lnTo>
                  <a:lnTo>
                    <a:pt x="532" y="406"/>
                  </a:lnTo>
                  <a:lnTo>
                    <a:pt x="530" y="424"/>
                  </a:lnTo>
                  <a:lnTo>
                    <a:pt x="530" y="445"/>
                  </a:lnTo>
                  <a:lnTo>
                    <a:pt x="528" y="463"/>
                  </a:lnTo>
                  <a:lnTo>
                    <a:pt x="526" y="482"/>
                  </a:lnTo>
                  <a:lnTo>
                    <a:pt x="524" y="502"/>
                  </a:lnTo>
                  <a:lnTo>
                    <a:pt x="524" y="520"/>
                  </a:lnTo>
                  <a:lnTo>
                    <a:pt x="522" y="539"/>
                  </a:lnTo>
                  <a:lnTo>
                    <a:pt x="520" y="557"/>
                  </a:lnTo>
                  <a:lnTo>
                    <a:pt x="518" y="578"/>
                  </a:lnTo>
                  <a:lnTo>
                    <a:pt x="518" y="596"/>
                  </a:lnTo>
                  <a:lnTo>
                    <a:pt x="516" y="615"/>
                  </a:lnTo>
                  <a:lnTo>
                    <a:pt x="514" y="635"/>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0" y="654"/>
                  </a:lnTo>
                  <a:lnTo>
                    <a:pt x="506" y="654"/>
                  </a:lnTo>
                  <a:lnTo>
                    <a:pt x="502" y="654"/>
                  </a:lnTo>
                  <a:lnTo>
                    <a:pt x="498" y="654"/>
                  </a:lnTo>
                  <a:lnTo>
                    <a:pt x="495" y="654"/>
                  </a:lnTo>
                  <a:lnTo>
                    <a:pt x="491" y="652"/>
                  </a:lnTo>
                  <a:lnTo>
                    <a:pt x="487" y="652"/>
                  </a:lnTo>
                  <a:lnTo>
                    <a:pt x="483" y="652"/>
                  </a:lnTo>
                  <a:lnTo>
                    <a:pt x="479" y="652"/>
                  </a:lnTo>
                  <a:lnTo>
                    <a:pt x="475" y="652"/>
                  </a:lnTo>
                  <a:lnTo>
                    <a:pt x="471" y="652"/>
                  </a:lnTo>
                  <a:lnTo>
                    <a:pt x="467" y="650"/>
                  </a:lnTo>
                  <a:lnTo>
                    <a:pt x="463" y="650"/>
                  </a:lnTo>
                  <a:lnTo>
                    <a:pt x="459" y="650"/>
                  </a:lnTo>
                  <a:lnTo>
                    <a:pt x="455" y="650"/>
                  </a:lnTo>
                  <a:lnTo>
                    <a:pt x="450" y="650"/>
                  </a:lnTo>
                  <a:lnTo>
                    <a:pt x="448" y="650"/>
                  </a:lnTo>
                  <a:lnTo>
                    <a:pt x="444" y="648"/>
                  </a:lnTo>
                  <a:lnTo>
                    <a:pt x="440" y="648"/>
                  </a:lnTo>
                  <a:lnTo>
                    <a:pt x="436" y="648"/>
                  </a:lnTo>
                  <a:lnTo>
                    <a:pt x="432" y="648"/>
                  </a:lnTo>
                  <a:lnTo>
                    <a:pt x="428" y="648"/>
                  </a:lnTo>
                  <a:lnTo>
                    <a:pt x="424" y="648"/>
                  </a:lnTo>
                  <a:lnTo>
                    <a:pt x="420" y="645"/>
                  </a:lnTo>
                  <a:lnTo>
                    <a:pt x="416" y="645"/>
                  </a:lnTo>
                  <a:lnTo>
                    <a:pt x="412" y="645"/>
                  </a:lnTo>
                  <a:lnTo>
                    <a:pt x="407" y="645"/>
                  </a:lnTo>
                  <a:lnTo>
                    <a:pt x="403" y="645"/>
                  </a:lnTo>
                  <a:lnTo>
                    <a:pt x="399" y="643"/>
                  </a:lnTo>
                  <a:lnTo>
                    <a:pt x="397" y="643"/>
                  </a:lnTo>
                  <a:lnTo>
                    <a:pt x="393" y="643"/>
                  </a:lnTo>
                  <a:lnTo>
                    <a:pt x="389" y="643"/>
                  </a:lnTo>
                  <a:lnTo>
                    <a:pt x="385" y="643"/>
                  </a:lnTo>
                  <a:lnTo>
                    <a:pt x="381" y="643"/>
                  </a:lnTo>
                  <a:lnTo>
                    <a:pt x="377" y="641"/>
                  </a:lnTo>
                  <a:lnTo>
                    <a:pt x="373" y="641"/>
                  </a:lnTo>
                  <a:lnTo>
                    <a:pt x="369" y="641"/>
                  </a:lnTo>
                  <a:lnTo>
                    <a:pt x="364" y="641"/>
                  </a:lnTo>
                  <a:lnTo>
                    <a:pt x="360" y="641"/>
                  </a:lnTo>
                  <a:lnTo>
                    <a:pt x="356" y="639"/>
                  </a:lnTo>
                  <a:lnTo>
                    <a:pt x="354" y="639"/>
                  </a:lnTo>
                  <a:lnTo>
                    <a:pt x="350" y="639"/>
                  </a:lnTo>
                  <a:lnTo>
                    <a:pt x="346" y="639"/>
                  </a:lnTo>
                  <a:lnTo>
                    <a:pt x="342" y="639"/>
                  </a:lnTo>
                  <a:lnTo>
                    <a:pt x="338" y="639"/>
                  </a:lnTo>
                  <a:lnTo>
                    <a:pt x="332" y="637"/>
                  </a:lnTo>
                  <a:lnTo>
                    <a:pt x="328" y="637"/>
                  </a:lnTo>
                  <a:lnTo>
                    <a:pt x="323" y="635"/>
                  </a:lnTo>
                  <a:lnTo>
                    <a:pt x="319" y="633"/>
                  </a:lnTo>
                  <a:lnTo>
                    <a:pt x="315" y="631"/>
                  </a:lnTo>
                  <a:lnTo>
                    <a:pt x="311" y="629"/>
                  </a:lnTo>
                  <a:lnTo>
                    <a:pt x="307" y="627"/>
                  </a:lnTo>
                  <a:lnTo>
                    <a:pt x="301" y="625"/>
                  </a:lnTo>
                  <a:lnTo>
                    <a:pt x="297" y="621"/>
                  </a:lnTo>
                  <a:lnTo>
                    <a:pt x="293" y="619"/>
                  </a:lnTo>
                  <a:lnTo>
                    <a:pt x="289" y="617"/>
                  </a:lnTo>
                  <a:lnTo>
                    <a:pt x="252" y="600"/>
                  </a:lnTo>
                  <a:lnTo>
                    <a:pt x="217" y="582"/>
                  </a:lnTo>
                  <a:lnTo>
                    <a:pt x="180" y="564"/>
                  </a:lnTo>
                  <a:lnTo>
                    <a:pt x="145" y="547"/>
                  </a:lnTo>
                  <a:lnTo>
                    <a:pt x="108" y="529"/>
                  </a:lnTo>
                  <a:lnTo>
                    <a:pt x="74" y="510"/>
                  </a:lnTo>
                  <a:lnTo>
                    <a:pt x="39" y="492"/>
                  </a:lnTo>
                  <a:lnTo>
                    <a:pt x="4" y="473"/>
                  </a:lnTo>
                  <a:lnTo>
                    <a:pt x="0" y="471"/>
                  </a:lnTo>
                  <a:lnTo>
                    <a:pt x="0" y="471"/>
                  </a:lnTo>
                  <a:lnTo>
                    <a:pt x="0" y="471"/>
                  </a:lnTo>
                  <a:lnTo>
                    <a:pt x="0" y="471"/>
                  </a:lnTo>
                  <a:lnTo>
                    <a:pt x="0" y="471"/>
                  </a:lnTo>
                  <a:lnTo>
                    <a:pt x="2" y="465"/>
                  </a:lnTo>
                  <a:lnTo>
                    <a:pt x="4" y="463"/>
                  </a:lnTo>
                  <a:lnTo>
                    <a:pt x="2" y="461"/>
                  </a:lnTo>
                  <a:lnTo>
                    <a:pt x="4" y="459"/>
                  </a:lnTo>
                  <a:lnTo>
                    <a:pt x="6" y="459"/>
                  </a:lnTo>
                  <a:lnTo>
                    <a:pt x="6" y="459"/>
                  </a:lnTo>
                  <a:lnTo>
                    <a:pt x="8" y="457"/>
                  </a:lnTo>
                  <a:lnTo>
                    <a:pt x="8" y="457"/>
                  </a:lnTo>
                  <a:lnTo>
                    <a:pt x="8" y="457"/>
                  </a:lnTo>
                  <a:lnTo>
                    <a:pt x="10" y="455"/>
                  </a:lnTo>
                  <a:lnTo>
                    <a:pt x="10" y="453"/>
                  </a:lnTo>
                  <a:lnTo>
                    <a:pt x="12" y="451"/>
                  </a:lnTo>
                  <a:lnTo>
                    <a:pt x="12" y="449"/>
                  </a:lnTo>
                  <a:lnTo>
                    <a:pt x="16" y="447"/>
                  </a:lnTo>
                  <a:lnTo>
                    <a:pt x="24" y="449"/>
                  </a:lnTo>
                  <a:lnTo>
                    <a:pt x="29" y="449"/>
                  </a:lnTo>
                  <a:lnTo>
                    <a:pt x="31" y="449"/>
                  </a:lnTo>
                  <a:lnTo>
                    <a:pt x="31" y="447"/>
                  </a:lnTo>
                  <a:lnTo>
                    <a:pt x="31" y="445"/>
                  </a:lnTo>
                  <a:lnTo>
                    <a:pt x="31" y="443"/>
                  </a:lnTo>
                  <a:lnTo>
                    <a:pt x="33" y="441"/>
                  </a:lnTo>
                  <a:lnTo>
                    <a:pt x="37" y="439"/>
                  </a:lnTo>
                  <a:lnTo>
                    <a:pt x="37" y="439"/>
                  </a:lnTo>
                  <a:lnTo>
                    <a:pt x="39" y="436"/>
                  </a:lnTo>
                  <a:lnTo>
                    <a:pt x="37" y="428"/>
                  </a:lnTo>
                  <a:lnTo>
                    <a:pt x="37" y="426"/>
                  </a:lnTo>
                  <a:lnTo>
                    <a:pt x="39" y="426"/>
                  </a:lnTo>
                  <a:lnTo>
                    <a:pt x="39" y="424"/>
                  </a:lnTo>
                  <a:lnTo>
                    <a:pt x="39" y="424"/>
                  </a:lnTo>
                  <a:lnTo>
                    <a:pt x="37" y="420"/>
                  </a:lnTo>
                  <a:lnTo>
                    <a:pt x="33" y="418"/>
                  </a:lnTo>
                  <a:lnTo>
                    <a:pt x="24" y="416"/>
                  </a:lnTo>
                  <a:lnTo>
                    <a:pt x="22" y="414"/>
                  </a:lnTo>
                  <a:lnTo>
                    <a:pt x="20" y="410"/>
                  </a:lnTo>
                  <a:lnTo>
                    <a:pt x="20" y="406"/>
                  </a:lnTo>
                  <a:lnTo>
                    <a:pt x="22" y="402"/>
                  </a:lnTo>
                  <a:lnTo>
                    <a:pt x="22" y="398"/>
                  </a:lnTo>
                  <a:lnTo>
                    <a:pt x="22" y="391"/>
                  </a:lnTo>
                  <a:lnTo>
                    <a:pt x="22" y="389"/>
                  </a:lnTo>
                  <a:lnTo>
                    <a:pt x="20" y="387"/>
                  </a:lnTo>
                  <a:lnTo>
                    <a:pt x="20" y="385"/>
                  </a:lnTo>
                  <a:lnTo>
                    <a:pt x="22" y="381"/>
                  </a:lnTo>
                  <a:lnTo>
                    <a:pt x="22" y="381"/>
                  </a:lnTo>
                  <a:lnTo>
                    <a:pt x="22" y="379"/>
                  </a:lnTo>
                  <a:lnTo>
                    <a:pt x="22" y="379"/>
                  </a:lnTo>
                  <a:lnTo>
                    <a:pt x="22" y="377"/>
                  </a:lnTo>
                  <a:lnTo>
                    <a:pt x="22" y="377"/>
                  </a:lnTo>
                  <a:lnTo>
                    <a:pt x="20" y="375"/>
                  </a:lnTo>
                  <a:lnTo>
                    <a:pt x="22" y="375"/>
                  </a:lnTo>
                  <a:lnTo>
                    <a:pt x="26" y="375"/>
                  </a:lnTo>
                  <a:lnTo>
                    <a:pt x="29" y="375"/>
                  </a:lnTo>
                  <a:lnTo>
                    <a:pt x="31" y="373"/>
                  </a:lnTo>
                  <a:lnTo>
                    <a:pt x="35" y="367"/>
                  </a:lnTo>
                  <a:lnTo>
                    <a:pt x="37" y="365"/>
                  </a:lnTo>
                  <a:lnTo>
                    <a:pt x="37" y="365"/>
                  </a:lnTo>
                  <a:lnTo>
                    <a:pt x="39" y="363"/>
                  </a:lnTo>
                  <a:lnTo>
                    <a:pt x="41" y="361"/>
                  </a:lnTo>
                  <a:lnTo>
                    <a:pt x="41" y="361"/>
                  </a:lnTo>
                  <a:lnTo>
                    <a:pt x="41" y="359"/>
                  </a:lnTo>
                  <a:lnTo>
                    <a:pt x="41" y="357"/>
                  </a:lnTo>
                  <a:lnTo>
                    <a:pt x="41" y="354"/>
                  </a:lnTo>
                  <a:lnTo>
                    <a:pt x="43" y="354"/>
                  </a:lnTo>
                  <a:lnTo>
                    <a:pt x="43" y="354"/>
                  </a:lnTo>
                  <a:lnTo>
                    <a:pt x="43" y="352"/>
                  </a:lnTo>
                  <a:lnTo>
                    <a:pt x="43" y="350"/>
                  </a:lnTo>
                  <a:lnTo>
                    <a:pt x="43" y="348"/>
                  </a:lnTo>
                  <a:lnTo>
                    <a:pt x="45" y="346"/>
                  </a:lnTo>
                  <a:lnTo>
                    <a:pt x="47" y="346"/>
                  </a:lnTo>
                  <a:lnTo>
                    <a:pt x="47" y="344"/>
                  </a:lnTo>
                  <a:lnTo>
                    <a:pt x="47" y="342"/>
                  </a:lnTo>
                  <a:lnTo>
                    <a:pt x="47" y="340"/>
                  </a:lnTo>
                  <a:lnTo>
                    <a:pt x="47" y="340"/>
                  </a:lnTo>
                  <a:lnTo>
                    <a:pt x="47" y="340"/>
                  </a:lnTo>
                  <a:lnTo>
                    <a:pt x="47" y="338"/>
                  </a:lnTo>
                  <a:lnTo>
                    <a:pt x="47" y="338"/>
                  </a:lnTo>
                  <a:lnTo>
                    <a:pt x="47" y="336"/>
                  </a:lnTo>
                  <a:lnTo>
                    <a:pt x="47" y="336"/>
                  </a:lnTo>
                  <a:lnTo>
                    <a:pt x="47" y="332"/>
                  </a:lnTo>
                  <a:lnTo>
                    <a:pt x="47" y="330"/>
                  </a:lnTo>
                  <a:lnTo>
                    <a:pt x="47" y="328"/>
                  </a:lnTo>
                  <a:lnTo>
                    <a:pt x="49" y="328"/>
                  </a:lnTo>
                  <a:lnTo>
                    <a:pt x="49" y="326"/>
                  </a:lnTo>
                  <a:lnTo>
                    <a:pt x="49" y="326"/>
                  </a:lnTo>
                  <a:lnTo>
                    <a:pt x="47" y="324"/>
                  </a:lnTo>
                  <a:lnTo>
                    <a:pt x="47" y="322"/>
                  </a:lnTo>
                  <a:lnTo>
                    <a:pt x="47" y="322"/>
                  </a:lnTo>
                  <a:lnTo>
                    <a:pt x="47" y="318"/>
                  </a:lnTo>
                  <a:lnTo>
                    <a:pt x="49" y="318"/>
                  </a:lnTo>
                  <a:lnTo>
                    <a:pt x="53" y="316"/>
                  </a:lnTo>
                  <a:lnTo>
                    <a:pt x="55" y="314"/>
                  </a:lnTo>
                  <a:lnTo>
                    <a:pt x="57" y="314"/>
                  </a:lnTo>
                  <a:lnTo>
                    <a:pt x="57" y="311"/>
                  </a:lnTo>
                  <a:lnTo>
                    <a:pt x="59" y="305"/>
                  </a:lnTo>
                  <a:lnTo>
                    <a:pt x="61" y="303"/>
                  </a:lnTo>
                  <a:lnTo>
                    <a:pt x="61" y="303"/>
                  </a:lnTo>
                  <a:lnTo>
                    <a:pt x="65" y="303"/>
                  </a:lnTo>
                  <a:lnTo>
                    <a:pt x="76" y="297"/>
                  </a:lnTo>
                  <a:lnTo>
                    <a:pt x="78" y="297"/>
                  </a:lnTo>
                  <a:lnTo>
                    <a:pt x="80" y="293"/>
                  </a:lnTo>
                  <a:lnTo>
                    <a:pt x="84" y="291"/>
                  </a:lnTo>
                  <a:lnTo>
                    <a:pt x="86" y="289"/>
                  </a:lnTo>
                  <a:lnTo>
                    <a:pt x="88" y="287"/>
                  </a:lnTo>
                  <a:lnTo>
                    <a:pt x="88" y="285"/>
                  </a:lnTo>
                  <a:lnTo>
                    <a:pt x="88" y="285"/>
                  </a:lnTo>
                  <a:lnTo>
                    <a:pt x="86" y="283"/>
                  </a:lnTo>
                  <a:lnTo>
                    <a:pt x="84" y="281"/>
                  </a:lnTo>
                  <a:lnTo>
                    <a:pt x="84" y="279"/>
                  </a:lnTo>
                  <a:lnTo>
                    <a:pt x="82" y="279"/>
                  </a:lnTo>
                  <a:lnTo>
                    <a:pt x="76" y="273"/>
                  </a:lnTo>
                  <a:lnTo>
                    <a:pt x="74" y="270"/>
                  </a:lnTo>
                  <a:lnTo>
                    <a:pt x="74" y="270"/>
                  </a:lnTo>
                  <a:lnTo>
                    <a:pt x="72" y="268"/>
                  </a:lnTo>
                  <a:lnTo>
                    <a:pt x="72" y="268"/>
                  </a:lnTo>
                  <a:lnTo>
                    <a:pt x="72" y="268"/>
                  </a:lnTo>
                  <a:lnTo>
                    <a:pt x="72" y="266"/>
                  </a:lnTo>
                  <a:lnTo>
                    <a:pt x="72" y="266"/>
                  </a:lnTo>
                  <a:lnTo>
                    <a:pt x="69" y="266"/>
                  </a:lnTo>
                  <a:lnTo>
                    <a:pt x="69" y="266"/>
                  </a:lnTo>
                  <a:lnTo>
                    <a:pt x="69" y="266"/>
                  </a:lnTo>
                  <a:lnTo>
                    <a:pt x="67" y="266"/>
                  </a:lnTo>
                  <a:lnTo>
                    <a:pt x="67" y="264"/>
                  </a:lnTo>
                  <a:lnTo>
                    <a:pt x="67" y="264"/>
                  </a:lnTo>
                  <a:lnTo>
                    <a:pt x="67" y="262"/>
                  </a:lnTo>
                  <a:lnTo>
                    <a:pt x="67" y="262"/>
                  </a:lnTo>
                  <a:lnTo>
                    <a:pt x="67" y="260"/>
                  </a:lnTo>
                  <a:lnTo>
                    <a:pt x="69" y="260"/>
                  </a:lnTo>
                  <a:lnTo>
                    <a:pt x="67" y="258"/>
                  </a:lnTo>
                  <a:lnTo>
                    <a:pt x="67" y="258"/>
                  </a:lnTo>
                  <a:lnTo>
                    <a:pt x="67" y="256"/>
                  </a:lnTo>
                  <a:lnTo>
                    <a:pt x="67" y="254"/>
                  </a:lnTo>
                  <a:lnTo>
                    <a:pt x="65" y="254"/>
                  </a:lnTo>
                  <a:lnTo>
                    <a:pt x="65" y="252"/>
                  </a:lnTo>
                  <a:lnTo>
                    <a:pt x="65" y="252"/>
                  </a:lnTo>
                  <a:lnTo>
                    <a:pt x="65" y="248"/>
                  </a:lnTo>
                  <a:lnTo>
                    <a:pt x="65" y="248"/>
                  </a:lnTo>
                  <a:lnTo>
                    <a:pt x="65" y="248"/>
                  </a:lnTo>
                  <a:lnTo>
                    <a:pt x="65" y="246"/>
                  </a:lnTo>
                  <a:lnTo>
                    <a:pt x="61" y="234"/>
                  </a:lnTo>
                  <a:lnTo>
                    <a:pt x="59" y="234"/>
                  </a:lnTo>
                  <a:lnTo>
                    <a:pt x="57" y="232"/>
                  </a:lnTo>
                  <a:lnTo>
                    <a:pt x="55" y="229"/>
                  </a:lnTo>
                  <a:lnTo>
                    <a:pt x="57" y="227"/>
                  </a:lnTo>
                  <a:lnTo>
                    <a:pt x="55" y="225"/>
                  </a:lnTo>
                  <a:lnTo>
                    <a:pt x="55" y="223"/>
                  </a:lnTo>
                  <a:lnTo>
                    <a:pt x="55" y="221"/>
                  </a:lnTo>
                  <a:lnTo>
                    <a:pt x="53" y="221"/>
                  </a:lnTo>
                  <a:lnTo>
                    <a:pt x="53" y="221"/>
                  </a:lnTo>
                  <a:lnTo>
                    <a:pt x="51" y="219"/>
                  </a:lnTo>
                  <a:lnTo>
                    <a:pt x="53" y="207"/>
                  </a:lnTo>
                  <a:lnTo>
                    <a:pt x="53" y="205"/>
                  </a:lnTo>
                  <a:lnTo>
                    <a:pt x="53" y="205"/>
                  </a:lnTo>
                  <a:lnTo>
                    <a:pt x="53" y="201"/>
                  </a:lnTo>
                  <a:lnTo>
                    <a:pt x="55" y="199"/>
                  </a:lnTo>
                  <a:lnTo>
                    <a:pt x="55" y="197"/>
                  </a:lnTo>
                  <a:lnTo>
                    <a:pt x="55" y="197"/>
                  </a:lnTo>
                  <a:lnTo>
                    <a:pt x="53" y="195"/>
                  </a:lnTo>
                  <a:lnTo>
                    <a:pt x="53" y="193"/>
                  </a:lnTo>
                  <a:lnTo>
                    <a:pt x="53" y="191"/>
                  </a:lnTo>
                  <a:lnTo>
                    <a:pt x="55" y="191"/>
                  </a:lnTo>
                  <a:lnTo>
                    <a:pt x="55" y="191"/>
                  </a:lnTo>
                  <a:lnTo>
                    <a:pt x="57" y="191"/>
                  </a:lnTo>
                  <a:lnTo>
                    <a:pt x="59" y="191"/>
                  </a:lnTo>
                  <a:lnTo>
                    <a:pt x="59" y="191"/>
                  </a:lnTo>
                  <a:lnTo>
                    <a:pt x="59" y="186"/>
                  </a:lnTo>
                  <a:lnTo>
                    <a:pt x="61" y="184"/>
                  </a:lnTo>
                  <a:lnTo>
                    <a:pt x="61" y="180"/>
                  </a:lnTo>
                  <a:lnTo>
                    <a:pt x="59" y="174"/>
                  </a:lnTo>
                  <a:lnTo>
                    <a:pt x="61" y="172"/>
                  </a:lnTo>
                  <a:lnTo>
                    <a:pt x="61" y="168"/>
                  </a:lnTo>
                  <a:lnTo>
                    <a:pt x="61" y="166"/>
                  </a:lnTo>
                  <a:lnTo>
                    <a:pt x="59" y="160"/>
                  </a:lnTo>
                  <a:lnTo>
                    <a:pt x="57" y="156"/>
                  </a:lnTo>
                  <a:lnTo>
                    <a:pt x="57" y="152"/>
                  </a:lnTo>
                  <a:lnTo>
                    <a:pt x="59" y="145"/>
                  </a:lnTo>
                  <a:lnTo>
                    <a:pt x="59" y="141"/>
                  </a:lnTo>
                  <a:lnTo>
                    <a:pt x="59" y="139"/>
                  </a:lnTo>
                  <a:lnTo>
                    <a:pt x="59" y="137"/>
                  </a:lnTo>
                  <a:lnTo>
                    <a:pt x="57" y="129"/>
                  </a:lnTo>
                  <a:lnTo>
                    <a:pt x="57" y="127"/>
                  </a:lnTo>
                  <a:lnTo>
                    <a:pt x="57" y="123"/>
                  </a:lnTo>
                  <a:lnTo>
                    <a:pt x="59" y="117"/>
                  </a:lnTo>
                  <a:lnTo>
                    <a:pt x="59" y="117"/>
                  </a:lnTo>
                  <a:lnTo>
                    <a:pt x="61" y="113"/>
                  </a:lnTo>
                  <a:lnTo>
                    <a:pt x="61" y="113"/>
                  </a:lnTo>
                  <a:lnTo>
                    <a:pt x="61" y="111"/>
                  </a:lnTo>
                  <a:lnTo>
                    <a:pt x="61" y="111"/>
                  </a:lnTo>
                  <a:lnTo>
                    <a:pt x="59" y="104"/>
                  </a:lnTo>
                  <a:lnTo>
                    <a:pt x="57" y="102"/>
                  </a:lnTo>
                  <a:lnTo>
                    <a:pt x="57" y="100"/>
                  </a:lnTo>
                  <a:lnTo>
                    <a:pt x="57" y="96"/>
                  </a:lnTo>
                  <a:lnTo>
                    <a:pt x="59" y="96"/>
                  </a:lnTo>
                  <a:lnTo>
                    <a:pt x="59" y="94"/>
                  </a:lnTo>
                  <a:lnTo>
                    <a:pt x="59" y="92"/>
                  </a:lnTo>
                  <a:lnTo>
                    <a:pt x="59" y="90"/>
                  </a:lnTo>
                  <a:lnTo>
                    <a:pt x="59" y="90"/>
                  </a:lnTo>
                  <a:lnTo>
                    <a:pt x="59" y="88"/>
                  </a:lnTo>
                  <a:lnTo>
                    <a:pt x="61" y="88"/>
                  </a:lnTo>
                  <a:lnTo>
                    <a:pt x="61" y="88"/>
                  </a:lnTo>
                  <a:lnTo>
                    <a:pt x="61" y="86"/>
                  </a:lnTo>
                  <a:lnTo>
                    <a:pt x="61" y="86"/>
                  </a:lnTo>
                  <a:lnTo>
                    <a:pt x="65" y="86"/>
                  </a:lnTo>
                  <a:lnTo>
                    <a:pt x="67" y="84"/>
                  </a:lnTo>
                  <a:lnTo>
                    <a:pt x="74" y="84"/>
                  </a:lnTo>
                  <a:lnTo>
                    <a:pt x="76" y="84"/>
                  </a:lnTo>
                  <a:lnTo>
                    <a:pt x="76" y="84"/>
                  </a:lnTo>
                  <a:lnTo>
                    <a:pt x="76" y="84"/>
                  </a:lnTo>
                  <a:lnTo>
                    <a:pt x="82" y="86"/>
                  </a:lnTo>
                  <a:lnTo>
                    <a:pt x="82" y="86"/>
                  </a:lnTo>
                  <a:lnTo>
                    <a:pt x="82" y="86"/>
                  </a:lnTo>
                  <a:lnTo>
                    <a:pt x="82" y="86"/>
                  </a:lnTo>
                  <a:lnTo>
                    <a:pt x="84" y="88"/>
                  </a:lnTo>
                  <a:lnTo>
                    <a:pt x="84" y="88"/>
                  </a:lnTo>
                  <a:lnTo>
                    <a:pt x="84" y="88"/>
                  </a:lnTo>
                  <a:lnTo>
                    <a:pt x="86" y="88"/>
                  </a:lnTo>
                  <a:lnTo>
                    <a:pt x="86" y="88"/>
                  </a:lnTo>
                  <a:lnTo>
                    <a:pt x="86" y="88"/>
                  </a:lnTo>
                  <a:lnTo>
                    <a:pt x="90" y="86"/>
                  </a:lnTo>
                  <a:lnTo>
                    <a:pt x="90" y="86"/>
                  </a:lnTo>
                  <a:lnTo>
                    <a:pt x="90" y="86"/>
                  </a:lnTo>
                  <a:lnTo>
                    <a:pt x="90" y="86"/>
                  </a:lnTo>
                  <a:lnTo>
                    <a:pt x="92" y="86"/>
                  </a:lnTo>
                  <a:lnTo>
                    <a:pt x="92" y="86"/>
                  </a:lnTo>
                  <a:lnTo>
                    <a:pt x="92" y="88"/>
                  </a:lnTo>
                  <a:lnTo>
                    <a:pt x="94" y="88"/>
                  </a:lnTo>
                  <a:lnTo>
                    <a:pt x="94" y="88"/>
                  </a:lnTo>
                  <a:lnTo>
                    <a:pt x="94" y="90"/>
                  </a:lnTo>
                  <a:lnTo>
                    <a:pt x="96" y="90"/>
                  </a:lnTo>
                  <a:lnTo>
                    <a:pt x="96" y="96"/>
                  </a:lnTo>
                  <a:lnTo>
                    <a:pt x="98" y="96"/>
                  </a:lnTo>
                  <a:lnTo>
                    <a:pt x="98" y="98"/>
                  </a:lnTo>
                  <a:lnTo>
                    <a:pt x="100" y="100"/>
                  </a:lnTo>
                  <a:lnTo>
                    <a:pt x="102" y="102"/>
                  </a:lnTo>
                  <a:lnTo>
                    <a:pt x="104" y="102"/>
                  </a:lnTo>
                  <a:lnTo>
                    <a:pt x="108" y="102"/>
                  </a:lnTo>
                  <a:lnTo>
                    <a:pt x="110" y="100"/>
                  </a:lnTo>
                  <a:lnTo>
                    <a:pt x="113" y="96"/>
                  </a:lnTo>
                  <a:lnTo>
                    <a:pt x="115" y="92"/>
                  </a:lnTo>
                  <a:lnTo>
                    <a:pt x="117" y="88"/>
                  </a:lnTo>
                  <a:lnTo>
                    <a:pt x="119" y="86"/>
                  </a:lnTo>
                  <a:lnTo>
                    <a:pt x="121" y="84"/>
                  </a:lnTo>
                  <a:lnTo>
                    <a:pt x="121" y="84"/>
                  </a:lnTo>
                  <a:lnTo>
                    <a:pt x="121" y="82"/>
                  </a:lnTo>
                  <a:lnTo>
                    <a:pt x="121" y="78"/>
                  </a:lnTo>
                  <a:lnTo>
                    <a:pt x="121" y="78"/>
                  </a:lnTo>
                  <a:lnTo>
                    <a:pt x="123" y="76"/>
                  </a:lnTo>
                  <a:lnTo>
                    <a:pt x="123" y="72"/>
                  </a:lnTo>
                  <a:lnTo>
                    <a:pt x="123" y="66"/>
                  </a:lnTo>
                  <a:lnTo>
                    <a:pt x="125" y="59"/>
                  </a:lnTo>
                  <a:lnTo>
                    <a:pt x="125" y="53"/>
                  </a:lnTo>
                  <a:lnTo>
                    <a:pt x="125" y="45"/>
                  </a:lnTo>
                  <a:lnTo>
                    <a:pt x="127" y="39"/>
                  </a:lnTo>
                  <a:lnTo>
                    <a:pt x="127" y="31"/>
                  </a:lnTo>
                  <a:lnTo>
                    <a:pt x="129" y="25"/>
                  </a:lnTo>
                  <a:lnTo>
                    <a:pt x="129" y="18"/>
                  </a:lnTo>
                  <a:lnTo>
                    <a:pt x="131" y="12"/>
                  </a:lnTo>
                  <a:lnTo>
                    <a:pt x="131" y="6"/>
                  </a:lnTo>
                  <a:lnTo>
                    <a:pt x="131" y="2"/>
                  </a:lnTo>
                  <a:lnTo>
                    <a:pt x="131" y="0"/>
                  </a:lnTo>
                  <a:lnTo>
                    <a:pt x="131" y="0"/>
                  </a:lnTo>
                  <a:lnTo>
                    <a:pt x="145" y="0"/>
                  </a:lnTo>
                  <a:lnTo>
                    <a:pt x="158" y="2"/>
                  </a:lnTo>
                  <a:lnTo>
                    <a:pt x="172" y="4"/>
                  </a:lnTo>
                  <a:lnTo>
                    <a:pt x="186" y="6"/>
                  </a:lnTo>
                  <a:lnTo>
                    <a:pt x="199" y="8"/>
                  </a:lnTo>
                  <a:lnTo>
                    <a:pt x="213" y="8"/>
                  </a:lnTo>
                  <a:lnTo>
                    <a:pt x="225" y="10"/>
                  </a:lnTo>
                  <a:lnTo>
                    <a:pt x="239" y="12"/>
                  </a:lnTo>
                  <a:lnTo>
                    <a:pt x="252" y="14"/>
                  </a:lnTo>
                  <a:lnTo>
                    <a:pt x="266" y="16"/>
                  </a:lnTo>
                  <a:lnTo>
                    <a:pt x="280" y="16"/>
                  </a:lnTo>
                  <a:lnTo>
                    <a:pt x="293" y="18"/>
                  </a:lnTo>
                  <a:lnTo>
                    <a:pt x="307" y="20"/>
                  </a:lnTo>
                  <a:lnTo>
                    <a:pt x="319" y="20"/>
                  </a:lnTo>
                  <a:lnTo>
                    <a:pt x="334" y="23"/>
                  </a:lnTo>
                  <a:lnTo>
                    <a:pt x="346" y="25"/>
                  </a:lnTo>
                  <a:lnTo>
                    <a:pt x="360" y="27"/>
                  </a:lnTo>
                  <a:lnTo>
                    <a:pt x="373" y="27"/>
                  </a:lnTo>
                  <a:lnTo>
                    <a:pt x="387" y="29"/>
                  </a:lnTo>
                  <a:lnTo>
                    <a:pt x="401" y="31"/>
                  </a:lnTo>
                  <a:lnTo>
                    <a:pt x="414" y="31"/>
                  </a:lnTo>
                  <a:lnTo>
                    <a:pt x="428" y="33"/>
                  </a:lnTo>
                  <a:lnTo>
                    <a:pt x="440" y="33"/>
                  </a:lnTo>
                  <a:lnTo>
                    <a:pt x="455" y="35"/>
                  </a:lnTo>
                  <a:lnTo>
                    <a:pt x="469" y="37"/>
                  </a:lnTo>
                  <a:lnTo>
                    <a:pt x="481" y="37"/>
                  </a:lnTo>
                  <a:lnTo>
                    <a:pt x="495" y="39"/>
                  </a:lnTo>
                  <a:lnTo>
                    <a:pt x="508" y="39"/>
                  </a:lnTo>
                  <a:lnTo>
                    <a:pt x="522" y="41"/>
                  </a:lnTo>
                  <a:lnTo>
                    <a:pt x="534" y="43"/>
                  </a:lnTo>
                  <a:lnTo>
                    <a:pt x="549" y="43"/>
                  </a:lnTo>
                  <a:lnTo>
                    <a:pt x="563" y="45"/>
                  </a:lnTo>
                  <a:lnTo>
                    <a:pt x="561" y="63"/>
                  </a:lnTo>
                  <a:lnTo>
                    <a:pt x="559" y="82"/>
                  </a:lnTo>
                  <a:lnTo>
                    <a:pt x="557" y="102"/>
                  </a:lnTo>
                  <a:lnTo>
                    <a:pt x="557" y="121"/>
                  </a:lnTo>
                  <a:lnTo>
                    <a:pt x="555" y="139"/>
                  </a:lnTo>
                  <a:lnTo>
                    <a:pt x="555" y="139"/>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Z</a:t>
              </a:r>
            </a:p>
          </p:txBody>
        </p:sp>
        <p:sp>
          <p:nvSpPr>
            <p:cNvPr id="238" name="Freeform 53">
              <a:extLst>
                <a:ext uri="{FF2B5EF4-FFF2-40B4-BE49-F238E27FC236}">
                  <a16:creationId xmlns:a16="http://schemas.microsoft.com/office/drawing/2014/main" id="{C2EC59F0-DDEF-59AA-C321-135E2747A4C2}"/>
                </a:ext>
              </a:extLst>
            </p:cNvPr>
            <p:cNvSpPr>
              <a:spLocks/>
            </p:cNvSpPr>
            <p:nvPr/>
          </p:nvSpPr>
          <p:spPr bwMode="auto">
            <a:xfrm>
              <a:off x="3200" y="1459"/>
              <a:ext cx="437" cy="400"/>
            </a:xfrm>
            <a:custGeom>
              <a:avLst/>
              <a:gdLst>
                <a:gd name="T0" fmla="*/ 437 w 437"/>
                <a:gd name="T1" fmla="*/ 62 h 400"/>
                <a:gd name="T2" fmla="*/ 428 w 437"/>
                <a:gd name="T3" fmla="*/ 64 h 400"/>
                <a:gd name="T4" fmla="*/ 414 w 437"/>
                <a:gd name="T5" fmla="*/ 82 h 400"/>
                <a:gd name="T6" fmla="*/ 416 w 437"/>
                <a:gd name="T7" fmla="*/ 94 h 400"/>
                <a:gd name="T8" fmla="*/ 416 w 437"/>
                <a:gd name="T9" fmla="*/ 103 h 400"/>
                <a:gd name="T10" fmla="*/ 410 w 437"/>
                <a:gd name="T11" fmla="*/ 111 h 400"/>
                <a:gd name="T12" fmla="*/ 404 w 437"/>
                <a:gd name="T13" fmla="*/ 129 h 400"/>
                <a:gd name="T14" fmla="*/ 404 w 437"/>
                <a:gd name="T15" fmla="*/ 148 h 400"/>
                <a:gd name="T16" fmla="*/ 398 w 437"/>
                <a:gd name="T17" fmla="*/ 156 h 400"/>
                <a:gd name="T18" fmla="*/ 390 w 437"/>
                <a:gd name="T19" fmla="*/ 162 h 400"/>
                <a:gd name="T20" fmla="*/ 377 w 437"/>
                <a:gd name="T21" fmla="*/ 183 h 400"/>
                <a:gd name="T22" fmla="*/ 377 w 437"/>
                <a:gd name="T23" fmla="*/ 193 h 400"/>
                <a:gd name="T24" fmla="*/ 369 w 437"/>
                <a:gd name="T25" fmla="*/ 199 h 400"/>
                <a:gd name="T26" fmla="*/ 367 w 437"/>
                <a:gd name="T27" fmla="*/ 230 h 400"/>
                <a:gd name="T28" fmla="*/ 355 w 437"/>
                <a:gd name="T29" fmla="*/ 232 h 400"/>
                <a:gd name="T30" fmla="*/ 357 w 437"/>
                <a:gd name="T31" fmla="*/ 240 h 400"/>
                <a:gd name="T32" fmla="*/ 351 w 437"/>
                <a:gd name="T33" fmla="*/ 242 h 400"/>
                <a:gd name="T34" fmla="*/ 340 w 437"/>
                <a:gd name="T35" fmla="*/ 256 h 400"/>
                <a:gd name="T36" fmla="*/ 345 w 437"/>
                <a:gd name="T37" fmla="*/ 271 h 400"/>
                <a:gd name="T38" fmla="*/ 330 w 437"/>
                <a:gd name="T39" fmla="*/ 277 h 400"/>
                <a:gd name="T40" fmla="*/ 334 w 437"/>
                <a:gd name="T41" fmla="*/ 285 h 400"/>
                <a:gd name="T42" fmla="*/ 334 w 437"/>
                <a:gd name="T43" fmla="*/ 297 h 400"/>
                <a:gd name="T44" fmla="*/ 326 w 437"/>
                <a:gd name="T45" fmla="*/ 303 h 400"/>
                <a:gd name="T46" fmla="*/ 326 w 437"/>
                <a:gd name="T47" fmla="*/ 314 h 400"/>
                <a:gd name="T48" fmla="*/ 322 w 437"/>
                <a:gd name="T49" fmla="*/ 322 h 400"/>
                <a:gd name="T50" fmla="*/ 328 w 437"/>
                <a:gd name="T51" fmla="*/ 330 h 400"/>
                <a:gd name="T52" fmla="*/ 328 w 437"/>
                <a:gd name="T53" fmla="*/ 347 h 400"/>
                <a:gd name="T54" fmla="*/ 334 w 437"/>
                <a:gd name="T55" fmla="*/ 355 h 400"/>
                <a:gd name="T56" fmla="*/ 332 w 437"/>
                <a:gd name="T57" fmla="*/ 369 h 400"/>
                <a:gd name="T58" fmla="*/ 297 w 437"/>
                <a:gd name="T59" fmla="*/ 385 h 400"/>
                <a:gd name="T60" fmla="*/ 201 w 437"/>
                <a:gd name="T61" fmla="*/ 392 h 400"/>
                <a:gd name="T62" fmla="*/ 103 w 437"/>
                <a:gd name="T63" fmla="*/ 398 h 400"/>
                <a:gd name="T64" fmla="*/ 68 w 437"/>
                <a:gd name="T65" fmla="*/ 349 h 400"/>
                <a:gd name="T66" fmla="*/ 62 w 437"/>
                <a:gd name="T67" fmla="*/ 340 h 400"/>
                <a:gd name="T68" fmla="*/ 52 w 437"/>
                <a:gd name="T69" fmla="*/ 340 h 400"/>
                <a:gd name="T70" fmla="*/ 41 w 437"/>
                <a:gd name="T71" fmla="*/ 342 h 400"/>
                <a:gd name="T72" fmla="*/ 35 w 437"/>
                <a:gd name="T73" fmla="*/ 340 h 400"/>
                <a:gd name="T74" fmla="*/ 27 w 437"/>
                <a:gd name="T75" fmla="*/ 310 h 400"/>
                <a:gd name="T76" fmla="*/ 23 w 437"/>
                <a:gd name="T77" fmla="*/ 170 h 400"/>
                <a:gd name="T78" fmla="*/ 9 w 437"/>
                <a:gd name="T79" fmla="*/ 72 h 400"/>
                <a:gd name="T80" fmla="*/ 72 w 437"/>
                <a:gd name="T81" fmla="*/ 23 h 400"/>
                <a:gd name="T82" fmla="*/ 215 w 437"/>
                <a:gd name="T83" fmla="*/ 15 h 400"/>
                <a:gd name="T84" fmla="*/ 359 w 437"/>
                <a:gd name="T85" fmla="*/ 2 h 400"/>
                <a:gd name="T86" fmla="*/ 390 w 437"/>
                <a:gd name="T87" fmla="*/ 4 h 400"/>
                <a:gd name="T88" fmla="*/ 392 w 437"/>
                <a:gd name="T89" fmla="*/ 6 h 400"/>
                <a:gd name="T90" fmla="*/ 396 w 437"/>
                <a:gd name="T91" fmla="*/ 10 h 400"/>
                <a:gd name="T92" fmla="*/ 398 w 437"/>
                <a:gd name="T93" fmla="*/ 15 h 400"/>
                <a:gd name="T94" fmla="*/ 400 w 437"/>
                <a:gd name="T95" fmla="*/ 23 h 400"/>
                <a:gd name="T96" fmla="*/ 398 w 437"/>
                <a:gd name="T97" fmla="*/ 25 h 400"/>
                <a:gd name="T98" fmla="*/ 394 w 437"/>
                <a:gd name="T99" fmla="*/ 29 h 400"/>
                <a:gd name="T100" fmla="*/ 390 w 437"/>
                <a:gd name="T101" fmla="*/ 33 h 400"/>
                <a:gd name="T102" fmla="*/ 385 w 437"/>
                <a:gd name="T103" fmla="*/ 37 h 400"/>
                <a:gd name="T104" fmla="*/ 385 w 437"/>
                <a:gd name="T105" fmla="*/ 41 h 400"/>
                <a:gd name="T106" fmla="*/ 381 w 437"/>
                <a:gd name="T107" fmla="*/ 43 h 400"/>
                <a:gd name="T108" fmla="*/ 375 w 437"/>
                <a:gd name="T109" fmla="*/ 56 h 400"/>
                <a:gd name="T110" fmla="*/ 394 w 437"/>
                <a:gd name="T111" fmla="*/ 56 h 400"/>
                <a:gd name="T112" fmla="*/ 431 w 437"/>
                <a:gd name="T113" fmla="*/ 4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7" h="400">
                  <a:moveTo>
                    <a:pt x="433" y="49"/>
                  </a:moveTo>
                  <a:lnTo>
                    <a:pt x="433" y="51"/>
                  </a:lnTo>
                  <a:lnTo>
                    <a:pt x="433" y="53"/>
                  </a:lnTo>
                  <a:lnTo>
                    <a:pt x="437" y="56"/>
                  </a:lnTo>
                  <a:lnTo>
                    <a:pt x="437" y="60"/>
                  </a:lnTo>
                  <a:lnTo>
                    <a:pt x="437" y="62"/>
                  </a:lnTo>
                  <a:lnTo>
                    <a:pt x="437" y="62"/>
                  </a:lnTo>
                  <a:lnTo>
                    <a:pt x="433" y="60"/>
                  </a:lnTo>
                  <a:lnTo>
                    <a:pt x="431" y="60"/>
                  </a:lnTo>
                  <a:lnTo>
                    <a:pt x="428" y="60"/>
                  </a:lnTo>
                  <a:lnTo>
                    <a:pt x="428" y="62"/>
                  </a:lnTo>
                  <a:lnTo>
                    <a:pt x="428" y="64"/>
                  </a:lnTo>
                  <a:lnTo>
                    <a:pt x="431" y="66"/>
                  </a:lnTo>
                  <a:lnTo>
                    <a:pt x="433" y="66"/>
                  </a:lnTo>
                  <a:lnTo>
                    <a:pt x="433" y="68"/>
                  </a:lnTo>
                  <a:lnTo>
                    <a:pt x="428" y="74"/>
                  </a:lnTo>
                  <a:lnTo>
                    <a:pt x="416" y="80"/>
                  </a:lnTo>
                  <a:lnTo>
                    <a:pt x="414" y="82"/>
                  </a:lnTo>
                  <a:lnTo>
                    <a:pt x="414" y="84"/>
                  </a:lnTo>
                  <a:lnTo>
                    <a:pt x="416" y="86"/>
                  </a:lnTo>
                  <a:lnTo>
                    <a:pt x="418" y="88"/>
                  </a:lnTo>
                  <a:lnTo>
                    <a:pt x="418" y="90"/>
                  </a:lnTo>
                  <a:lnTo>
                    <a:pt x="418" y="92"/>
                  </a:lnTo>
                  <a:lnTo>
                    <a:pt x="416" y="94"/>
                  </a:lnTo>
                  <a:lnTo>
                    <a:pt x="416" y="94"/>
                  </a:lnTo>
                  <a:lnTo>
                    <a:pt x="416" y="96"/>
                  </a:lnTo>
                  <a:lnTo>
                    <a:pt x="418" y="99"/>
                  </a:lnTo>
                  <a:lnTo>
                    <a:pt x="418" y="101"/>
                  </a:lnTo>
                  <a:lnTo>
                    <a:pt x="418" y="103"/>
                  </a:lnTo>
                  <a:lnTo>
                    <a:pt x="416" y="103"/>
                  </a:lnTo>
                  <a:lnTo>
                    <a:pt x="414" y="103"/>
                  </a:lnTo>
                  <a:lnTo>
                    <a:pt x="412" y="105"/>
                  </a:lnTo>
                  <a:lnTo>
                    <a:pt x="412" y="105"/>
                  </a:lnTo>
                  <a:lnTo>
                    <a:pt x="410" y="107"/>
                  </a:lnTo>
                  <a:lnTo>
                    <a:pt x="412" y="109"/>
                  </a:lnTo>
                  <a:lnTo>
                    <a:pt x="410" y="111"/>
                  </a:lnTo>
                  <a:lnTo>
                    <a:pt x="410" y="113"/>
                  </a:lnTo>
                  <a:lnTo>
                    <a:pt x="408" y="115"/>
                  </a:lnTo>
                  <a:lnTo>
                    <a:pt x="404" y="119"/>
                  </a:lnTo>
                  <a:lnTo>
                    <a:pt x="404" y="121"/>
                  </a:lnTo>
                  <a:lnTo>
                    <a:pt x="404" y="123"/>
                  </a:lnTo>
                  <a:lnTo>
                    <a:pt x="404" y="129"/>
                  </a:lnTo>
                  <a:lnTo>
                    <a:pt x="404" y="131"/>
                  </a:lnTo>
                  <a:lnTo>
                    <a:pt x="406" y="135"/>
                  </a:lnTo>
                  <a:lnTo>
                    <a:pt x="408" y="140"/>
                  </a:lnTo>
                  <a:lnTo>
                    <a:pt x="408" y="144"/>
                  </a:lnTo>
                  <a:lnTo>
                    <a:pt x="406" y="148"/>
                  </a:lnTo>
                  <a:lnTo>
                    <a:pt x="404" y="148"/>
                  </a:lnTo>
                  <a:lnTo>
                    <a:pt x="402" y="148"/>
                  </a:lnTo>
                  <a:lnTo>
                    <a:pt x="400" y="148"/>
                  </a:lnTo>
                  <a:lnTo>
                    <a:pt x="400" y="150"/>
                  </a:lnTo>
                  <a:lnTo>
                    <a:pt x="400" y="152"/>
                  </a:lnTo>
                  <a:lnTo>
                    <a:pt x="400" y="154"/>
                  </a:lnTo>
                  <a:lnTo>
                    <a:pt x="398" y="156"/>
                  </a:lnTo>
                  <a:lnTo>
                    <a:pt x="398" y="156"/>
                  </a:lnTo>
                  <a:lnTo>
                    <a:pt x="394" y="158"/>
                  </a:lnTo>
                  <a:lnTo>
                    <a:pt x="392" y="160"/>
                  </a:lnTo>
                  <a:lnTo>
                    <a:pt x="390" y="160"/>
                  </a:lnTo>
                  <a:lnTo>
                    <a:pt x="390" y="162"/>
                  </a:lnTo>
                  <a:lnTo>
                    <a:pt x="390" y="162"/>
                  </a:lnTo>
                  <a:lnTo>
                    <a:pt x="392" y="162"/>
                  </a:lnTo>
                  <a:lnTo>
                    <a:pt x="394" y="166"/>
                  </a:lnTo>
                  <a:lnTo>
                    <a:pt x="394" y="170"/>
                  </a:lnTo>
                  <a:lnTo>
                    <a:pt x="392" y="174"/>
                  </a:lnTo>
                  <a:lnTo>
                    <a:pt x="388" y="176"/>
                  </a:lnTo>
                  <a:lnTo>
                    <a:pt x="377" y="183"/>
                  </a:lnTo>
                  <a:lnTo>
                    <a:pt x="377" y="183"/>
                  </a:lnTo>
                  <a:lnTo>
                    <a:pt x="377" y="185"/>
                  </a:lnTo>
                  <a:lnTo>
                    <a:pt x="379" y="187"/>
                  </a:lnTo>
                  <a:lnTo>
                    <a:pt x="379" y="189"/>
                  </a:lnTo>
                  <a:lnTo>
                    <a:pt x="377" y="191"/>
                  </a:lnTo>
                  <a:lnTo>
                    <a:pt x="377" y="193"/>
                  </a:lnTo>
                  <a:lnTo>
                    <a:pt x="375" y="193"/>
                  </a:lnTo>
                  <a:lnTo>
                    <a:pt x="373" y="193"/>
                  </a:lnTo>
                  <a:lnTo>
                    <a:pt x="371" y="191"/>
                  </a:lnTo>
                  <a:lnTo>
                    <a:pt x="371" y="193"/>
                  </a:lnTo>
                  <a:lnTo>
                    <a:pt x="369" y="195"/>
                  </a:lnTo>
                  <a:lnTo>
                    <a:pt x="369" y="199"/>
                  </a:lnTo>
                  <a:lnTo>
                    <a:pt x="369" y="203"/>
                  </a:lnTo>
                  <a:lnTo>
                    <a:pt x="371" y="209"/>
                  </a:lnTo>
                  <a:lnTo>
                    <a:pt x="371" y="219"/>
                  </a:lnTo>
                  <a:lnTo>
                    <a:pt x="371" y="224"/>
                  </a:lnTo>
                  <a:lnTo>
                    <a:pt x="371" y="226"/>
                  </a:lnTo>
                  <a:lnTo>
                    <a:pt x="367" y="230"/>
                  </a:lnTo>
                  <a:lnTo>
                    <a:pt x="365" y="232"/>
                  </a:lnTo>
                  <a:lnTo>
                    <a:pt x="363" y="232"/>
                  </a:lnTo>
                  <a:lnTo>
                    <a:pt x="359" y="234"/>
                  </a:lnTo>
                  <a:lnTo>
                    <a:pt x="357" y="234"/>
                  </a:lnTo>
                  <a:lnTo>
                    <a:pt x="357" y="234"/>
                  </a:lnTo>
                  <a:lnTo>
                    <a:pt x="355" y="232"/>
                  </a:lnTo>
                  <a:lnTo>
                    <a:pt x="355" y="234"/>
                  </a:lnTo>
                  <a:lnTo>
                    <a:pt x="355" y="234"/>
                  </a:lnTo>
                  <a:lnTo>
                    <a:pt x="357" y="236"/>
                  </a:lnTo>
                  <a:lnTo>
                    <a:pt x="357" y="238"/>
                  </a:lnTo>
                  <a:lnTo>
                    <a:pt x="357" y="238"/>
                  </a:lnTo>
                  <a:lnTo>
                    <a:pt x="357" y="240"/>
                  </a:lnTo>
                  <a:lnTo>
                    <a:pt x="357" y="242"/>
                  </a:lnTo>
                  <a:lnTo>
                    <a:pt x="355" y="242"/>
                  </a:lnTo>
                  <a:lnTo>
                    <a:pt x="355" y="244"/>
                  </a:lnTo>
                  <a:lnTo>
                    <a:pt x="355" y="244"/>
                  </a:lnTo>
                  <a:lnTo>
                    <a:pt x="353" y="242"/>
                  </a:lnTo>
                  <a:lnTo>
                    <a:pt x="351" y="242"/>
                  </a:lnTo>
                  <a:lnTo>
                    <a:pt x="351" y="242"/>
                  </a:lnTo>
                  <a:lnTo>
                    <a:pt x="351" y="244"/>
                  </a:lnTo>
                  <a:lnTo>
                    <a:pt x="349" y="252"/>
                  </a:lnTo>
                  <a:lnTo>
                    <a:pt x="347" y="252"/>
                  </a:lnTo>
                  <a:lnTo>
                    <a:pt x="347" y="254"/>
                  </a:lnTo>
                  <a:lnTo>
                    <a:pt x="340" y="256"/>
                  </a:lnTo>
                  <a:lnTo>
                    <a:pt x="340" y="258"/>
                  </a:lnTo>
                  <a:lnTo>
                    <a:pt x="340" y="260"/>
                  </a:lnTo>
                  <a:lnTo>
                    <a:pt x="347" y="262"/>
                  </a:lnTo>
                  <a:lnTo>
                    <a:pt x="349" y="267"/>
                  </a:lnTo>
                  <a:lnTo>
                    <a:pt x="347" y="269"/>
                  </a:lnTo>
                  <a:lnTo>
                    <a:pt x="345" y="271"/>
                  </a:lnTo>
                  <a:lnTo>
                    <a:pt x="345" y="271"/>
                  </a:lnTo>
                  <a:lnTo>
                    <a:pt x="342" y="271"/>
                  </a:lnTo>
                  <a:lnTo>
                    <a:pt x="340" y="271"/>
                  </a:lnTo>
                  <a:lnTo>
                    <a:pt x="334" y="275"/>
                  </a:lnTo>
                  <a:lnTo>
                    <a:pt x="330" y="277"/>
                  </a:lnTo>
                  <a:lnTo>
                    <a:pt x="330" y="277"/>
                  </a:lnTo>
                  <a:lnTo>
                    <a:pt x="330" y="279"/>
                  </a:lnTo>
                  <a:lnTo>
                    <a:pt x="330" y="279"/>
                  </a:lnTo>
                  <a:lnTo>
                    <a:pt x="332" y="279"/>
                  </a:lnTo>
                  <a:lnTo>
                    <a:pt x="334" y="281"/>
                  </a:lnTo>
                  <a:lnTo>
                    <a:pt x="334" y="283"/>
                  </a:lnTo>
                  <a:lnTo>
                    <a:pt x="334" y="285"/>
                  </a:lnTo>
                  <a:lnTo>
                    <a:pt x="332" y="287"/>
                  </a:lnTo>
                  <a:lnTo>
                    <a:pt x="334" y="291"/>
                  </a:lnTo>
                  <a:lnTo>
                    <a:pt x="334" y="293"/>
                  </a:lnTo>
                  <a:lnTo>
                    <a:pt x="334" y="295"/>
                  </a:lnTo>
                  <a:lnTo>
                    <a:pt x="334" y="297"/>
                  </a:lnTo>
                  <a:lnTo>
                    <a:pt x="334" y="297"/>
                  </a:lnTo>
                  <a:lnTo>
                    <a:pt x="330" y="299"/>
                  </a:lnTo>
                  <a:lnTo>
                    <a:pt x="330" y="299"/>
                  </a:lnTo>
                  <a:lnTo>
                    <a:pt x="330" y="299"/>
                  </a:lnTo>
                  <a:lnTo>
                    <a:pt x="328" y="301"/>
                  </a:lnTo>
                  <a:lnTo>
                    <a:pt x="326" y="301"/>
                  </a:lnTo>
                  <a:lnTo>
                    <a:pt x="326" y="303"/>
                  </a:lnTo>
                  <a:lnTo>
                    <a:pt x="324" y="308"/>
                  </a:lnTo>
                  <a:lnTo>
                    <a:pt x="322" y="310"/>
                  </a:lnTo>
                  <a:lnTo>
                    <a:pt x="320" y="310"/>
                  </a:lnTo>
                  <a:lnTo>
                    <a:pt x="320" y="312"/>
                  </a:lnTo>
                  <a:lnTo>
                    <a:pt x="322" y="314"/>
                  </a:lnTo>
                  <a:lnTo>
                    <a:pt x="326" y="314"/>
                  </a:lnTo>
                  <a:lnTo>
                    <a:pt x="328" y="316"/>
                  </a:lnTo>
                  <a:lnTo>
                    <a:pt x="328" y="318"/>
                  </a:lnTo>
                  <a:lnTo>
                    <a:pt x="328" y="320"/>
                  </a:lnTo>
                  <a:lnTo>
                    <a:pt x="326" y="322"/>
                  </a:lnTo>
                  <a:lnTo>
                    <a:pt x="324" y="322"/>
                  </a:lnTo>
                  <a:lnTo>
                    <a:pt x="322" y="322"/>
                  </a:lnTo>
                  <a:lnTo>
                    <a:pt x="320" y="324"/>
                  </a:lnTo>
                  <a:lnTo>
                    <a:pt x="320" y="326"/>
                  </a:lnTo>
                  <a:lnTo>
                    <a:pt x="322" y="326"/>
                  </a:lnTo>
                  <a:lnTo>
                    <a:pt x="324" y="328"/>
                  </a:lnTo>
                  <a:lnTo>
                    <a:pt x="326" y="328"/>
                  </a:lnTo>
                  <a:lnTo>
                    <a:pt x="328" y="330"/>
                  </a:lnTo>
                  <a:lnTo>
                    <a:pt x="330" y="332"/>
                  </a:lnTo>
                  <a:lnTo>
                    <a:pt x="330" y="334"/>
                  </a:lnTo>
                  <a:lnTo>
                    <a:pt x="332" y="336"/>
                  </a:lnTo>
                  <a:lnTo>
                    <a:pt x="332" y="340"/>
                  </a:lnTo>
                  <a:lnTo>
                    <a:pt x="330" y="342"/>
                  </a:lnTo>
                  <a:lnTo>
                    <a:pt x="328" y="347"/>
                  </a:lnTo>
                  <a:lnTo>
                    <a:pt x="328" y="349"/>
                  </a:lnTo>
                  <a:lnTo>
                    <a:pt x="328" y="351"/>
                  </a:lnTo>
                  <a:lnTo>
                    <a:pt x="330" y="351"/>
                  </a:lnTo>
                  <a:lnTo>
                    <a:pt x="332" y="353"/>
                  </a:lnTo>
                  <a:lnTo>
                    <a:pt x="334" y="353"/>
                  </a:lnTo>
                  <a:lnTo>
                    <a:pt x="334" y="355"/>
                  </a:lnTo>
                  <a:lnTo>
                    <a:pt x="334" y="361"/>
                  </a:lnTo>
                  <a:lnTo>
                    <a:pt x="336" y="363"/>
                  </a:lnTo>
                  <a:lnTo>
                    <a:pt x="336" y="365"/>
                  </a:lnTo>
                  <a:lnTo>
                    <a:pt x="336" y="367"/>
                  </a:lnTo>
                  <a:lnTo>
                    <a:pt x="334" y="369"/>
                  </a:lnTo>
                  <a:lnTo>
                    <a:pt x="332" y="369"/>
                  </a:lnTo>
                  <a:lnTo>
                    <a:pt x="332" y="369"/>
                  </a:lnTo>
                  <a:lnTo>
                    <a:pt x="330" y="371"/>
                  </a:lnTo>
                  <a:lnTo>
                    <a:pt x="332" y="381"/>
                  </a:lnTo>
                  <a:lnTo>
                    <a:pt x="330" y="383"/>
                  </a:lnTo>
                  <a:lnTo>
                    <a:pt x="314" y="383"/>
                  </a:lnTo>
                  <a:lnTo>
                    <a:pt x="297" y="385"/>
                  </a:lnTo>
                  <a:lnTo>
                    <a:pt x="281" y="385"/>
                  </a:lnTo>
                  <a:lnTo>
                    <a:pt x="265" y="388"/>
                  </a:lnTo>
                  <a:lnTo>
                    <a:pt x="250" y="390"/>
                  </a:lnTo>
                  <a:lnTo>
                    <a:pt x="234" y="390"/>
                  </a:lnTo>
                  <a:lnTo>
                    <a:pt x="218" y="392"/>
                  </a:lnTo>
                  <a:lnTo>
                    <a:pt x="201" y="392"/>
                  </a:lnTo>
                  <a:lnTo>
                    <a:pt x="185" y="394"/>
                  </a:lnTo>
                  <a:lnTo>
                    <a:pt x="168" y="394"/>
                  </a:lnTo>
                  <a:lnTo>
                    <a:pt x="152" y="396"/>
                  </a:lnTo>
                  <a:lnTo>
                    <a:pt x="136" y="396"/>
                  </a:lnTo>
                  <a:lnTo>
                    <a:pt x="119" y="398"/>
                  </a:lnTo>
                  <a:lnTo>
                    <a:pt x="103" y="398"/>
                  </a:lnTo>
                  <a:lnTo>
                    <a:pt x="89" y="400"/>
                  </a:lnTo>
                  <a:lnTo>
                    <a:pt x="72" y="400"/>
                  </a:lnTo>
                  <a:lnTo>
                    <a:pt x="70" y="388"/>
                  </a:lnTo>
                  <a:lnTo>
                    <a:pt x="70" y="375"/>
                  </a:lnTo>
                  <a:lnTo>
                    <a:pt x="68" y="361"/>
                  </a:lnTo>
                  <a:lnTo>
                    <a:pt x="68" y="349"/>
                  </a:lnTo>
                  <a:lnTo>
                    <a:pt x="68" y="342"/>
                  </a:lnTo>
                  <a:lnTo>
                    <a:pt x="68" y="342"/>
                  </a:lnTo>
                  <a:lnTo>
                    <a:pt x="66" y="340"/>
                  </a:lnTo>
                  <a:lnTo>
                    <a:pt x="66" y="340"/>
                  </a:lnTo>
                  <a:lnTo>
                    <a:pt x="62" y="338"/>
                  </a:lnTo>
                  <a:lnTo>
                    <a:pt x="62" y="340"/>
                  </a:lnTo>
                  <a:lnTo>
                    <a:pt x="60" y="340"/>
                  </a:lnTo>
                  <a:lnTo>
                    <a:pt x="58" y="340"/>
                  </a:lnTo>
                  <a:lnTo>
                    <a:pt x="54" y="338"/>
                  </a:lnTo>
                  <a:lnTo>
                    <a:pt x="54" y="338"/>
                  </a:lnTo>
                  <a:lnTo>
                    <a:pt x="52" y="340"/>
                  </a:lnTo>
                  <a:lnTo>
                    <a:pt x="52" y="340"/>
                  </a:lnTo>
                  <a:lnTo>
                    <a:pt x="45" y="338"/>
                  </a:lnTo>
                  <a:lnTo>
                    <a:pt x="45" y="338"/>
                  </a:lnTo>
                  <a:lnTo>
                    <a:pt x="43" y="340"/>
                  </a:lnTo>
                  <a:lnTo>
                    <a:pt x="43" y="342"/>
                  </a:lnTo>
                  <a:lnTo>
                    <a:pt x="43" y="342"/>
                  </a:lnTo>
                  <a:lnTo>
                    <a:pt x="41" y="342"/>
                  </a:lnTo>
                  <a:lnTo>
                    <a:pt x="39" y="342"/>
                  </a:lnTo>
                  <a:lnTo>
                    <a:pt x="37" y="342"/>
                  </a:lnTo>
                  <a:lnTo>
                    <a:pt x="37" y="340"/>
                  </a:lnTo>
                  <a:lnTo>
                    <a:pt x="37" y="340"/>
                  </a:lnTo>
                  <a:lnTo>
                    <a:pt x="37" y="340"/>
                  </a:lnTo>
                  <a:lnTo>
                    <a:pt x="35" y="340"/>
                  </a:lnTo>
                  <a:lnTo>
                    <a:pt x="33" y="338"/>
                  </a:lnTo>
                  <a:lnTo>
                    <a:pt x="31" y="338"/>
                  </a:lnTo>
                  <a:lnTo>
                    <a:pt x="31" y="336"/>
                  </a:lnTo>
                  <a:lnTo>
                    <a:pt x="29" y="334"/>
                  </a:lnTo>
                  <a:lnTo>
                    <a:pt x="27" y="334"/>
                  </a:lnTo>
                  <a:lnTo>
                    <a:pt x="27" y="310"/>
                  </a:lnTo>
                  <a:lnTo>
                    <a:pt x="27" y="287"/>
                  </a:lnTo>
                  <a:lnTo>
                    <a:pt x="25" y="262"/>
                  </a:lnTo>
                  <a:lnTo>
                    <a:pt x="25" y="240"/>
                  </a:lnTo>
                  <a:lnTo>
                    <a:pt x="25" y="215"/>
                  </a:lnTo>
                  <a:lnTo>
                    <a:pt x="23" y="193"/>
                  </a:lnTo>
                  <a:lnTo>
                    <a:pt x="23" y="170"/>
                  </a:lnTo>
                  <a:lnTo>
                    <a:pt x="23" y="146"/>
                  </a:lnTo>
                  <a:lnTo>
                    <a:pt x="19" y="131"/>
                  </a:lnTo>
                  <a:lnTo>
                    <a:pt x="17" y="117"/>
                  </a:lnTo>
                  <a:lnTo>
                    <a:pt x="15" y="101"/>
                  </a:lnTo>
                  <a:lnTo>
                    <a:pt x="13" y="86"/>
                  </a:lnTo>
                  <a:lnTo>
                    <a:pt x="9" y="72"/>
                  </a:lnTo>
                  <a:lnTo>
                    <a:pt x="7" y="58"/>
                  </a:lnTo>
                  <a:lnTo>
                    <a:pt x="5" y="41"/>
                  </a:lnTo>
                  <a:lnTo>
                    <a:pt x="0" y="27"/>
                  </a:lnTo>
                  <a:lnTo>
                    <a:pt x="25" y="25"/>
                  </a:lnTo>
                  <a:lnTo>
                    <a:pt x="50" y="25"/>
                  </a:lnTo>
                  <a:lnTo>
                    <a:pt x="72" y="23"/>
                  </a:lnTo>
                  <a:lnTo>
                    <a:pt x="97" y="23"/>
                  </a:lnTo>
                  <a:lnTo>
                    <a:pt x="121" y="21"/>
                  </a:lnTo>
                  <a:lnTo>
                    <a:pt x="144" y="19"/>
                  </a:lnTo>
                  <a:lnTo>
                    <a:pt x="168" y="17"/>
                  </a:lnTo>
                  <a:lnTo>
                    <a:pt x="193" y="17"/>
                  </a:lnTo>
                  <a:lnTo>
                    <a:pt x="215" y="15"/>
                  </a:lnTo>
                  <a:lnTo>
                    <a:pt x="240" y="12"/>
                  </a:lnTo>
                  <a:lnTo>
                    <a:pt x="263" y="10"/>
                  </a:lnTo>
                  <a:lnTo>
                    <a:pt x="287" y="8"/>
                  </a:lnTo>
                  <a:lnTo>
                    <a:pt x="312" y="6"/>
                  </a:lnTo>
                  <a:lnTo>
                    <a:pt x="334" y="4"/>
                  </a:lnTo>
                  <a:lnTo>
                    <a:pt x="359" y="2"/>
                  </a:lnTo>
                  <a:lnTo>
                    <a:pt x="383" y="0"/>
                  </a:lnTo>
                  <a:lnTo>
                    <a:pt x="390" y="0"/>
                  </a:lnTo>
                  <a:lnTo>
                    <a:pt x="390" y="0"/>
                  </a:lnTo>
                  <a:lnTo>
                    <a:pt x="390" y="0"/>
                  </a:lnTo>
                  <a:lnTo>
                    <a:pt x="390" y="2"/>
                  </a:lnTo>
                  <a:lnTo>
                    <a:pt x="390" y="4"/>
                  </a:lnTo>
                  <a:lnTo>
                    <a:pt x="392" y="4"/>
                  </a:lnTo>
                  <a:lnTo>
                    <a:pt x="392" y="4"/>
                  </a:lnTo>
                  <a:lnTo>
                    <a:pt x="392" y="4"/>
                  </a:lnTo>
                  <a:lnTo>
                    <a:pt x="392" y="4"/>
                  </a:lnTo>
                  <a:lnTo>
                    <a:pt x="392" y="6"/>
                  </a:lnTo>
                  <a:lnTo>
                    <a:pt x="392" y="6"/>
                  </a:lnTo>
                  <a:lnTo>
                    <a:pt x="392" y="8"/>
                  </a:lnTo>
                  <a:lnTo>
                    <a:pt x="394" y="8"/>
                  </a:lnTo>
                  <a:lnTo>
                    <a:pt x="394" y="8"/>
                  </a:lnTo>
                  <a:lnTo>
                    <a:pt x="394" y="8"/>
                  </a:lnTo>
                  <a:lnTo>
                    <a:pt x="394" y="10"/>
                  </a:lnTo>
                  <a:lnTo>
                    <a:pt x="396" y="10"/>
                  </a:lnTo>
                  <a:lnTo>
                    <a:pt x="398" y="10"/>
                  </a:lnTo>
                  <a:lnTo>
                    <a:pt x="398" y="12"/>
                  </a:lnTo>
                  <a:lnTo>
                    <a:pt x="398" y="12"/>
                  </a:lnTo>
                  <a:lnTo>
                    <a:pt x="398" y="12"/>
                  </a:lnTo>
                  <a:lnTo>
                    <a:pt x="398" y="12"/>
                  </a:lnTo>
                  <a:lnTo>
                    <a:pt x="398" y="15"/>
                  </a:lnTo>
                  <a:lnTo>
                    <a:pt x="398" y="15"/>
                  </a:lnTo>
                  <a:lnTo>
                    <a:pt x="398" y="15"/>
                  </a:lnTo>
                  <a:lnTo>
                    <a:pt x="398" y="17"/>
                  </a:lnTo>
                  <a:lnTo>
                    <a:pt x="398" y="19"/>
                  </a:lnTo>
                  <a:lnTo>
                    <a:pt x="400" y="21"/>
                  </a:lnTo>
                  <a:lnTo>
                    <a:pt x="400" y="23"/>
                  </a:lnTo>
                  <a:lnTo>
                    <a:pt x="400" y="23"/>
                  </a:lnTo>
                  <a:lnTo>
                    <a:pt x="398" y="23"/>
                  </a:lnTo>
                  <a:lnTo>
                    <a:pt x="398" y="23"/>
                  </a:lnTo>
                  <a:lnTo>
                    <a:pt x="398" y="25"/>
                  </a:lnTo>
                  <a:lnTo>
                    <a:pt x="398" y="25"/>
                  </a:lnTo>
                  <a:lnTo>
                    <a:pt x="398" y="25"/>
                  </a:lnTo>
                  <a:lnTo>
                    <a:pt x="398" y="25"/>
                  </a:lnTo>
                  <a:lnTo>
                    <a:pt x="396" y="25"/>
                  </a:lnTo>
                  <a:lnTo>
                    <a:pt x="394" y="27"/>
                  </a:lnTo>
                  <a:lnTo>
                    <a:pt x="394" y="27"/>
                  </a:lnTo>
                  <a:lnTo>
                    <a:pt x="394" y="27"/>
                  </a:lnTo>
                  <a:lnTo>
                    <a:pt x="394" y="29"/>
                  </a:lnTo>
                  <a:lnTo>
                    <a:pt x="394" y="29"/>
                  </a:lnTo>
                  <a:lnTo>
                    <a:pt x="394" y="31"/>
                  </a:lnTo>
                  <a:lnTo>
                    <a:pt x="394" y="31"/>
                  </a:lnTo>
                  <a:lnTo>
                    <a:pt x="394" y="31"/>
                  </a:lnTo>
                  <a:lnTo>
                    <a:pt x="390" y="33"/>
                  </a:lnTo>
                  <a:lnTo>
                    <a:pt x="390" y="33"/>
                  </a:lnTo>
                  <a:lnTo>
                    <a:pt x="388" y="35"/>
                  </a:lnTo>
                  <a:lnTo>
                    <a:pt x="388" y="35"/>
                  </a:lnTo>
                  <a:lnTo>
                    <a:pt x="385" y="35"/>
                  </a:lnTo>
                  <a:lnTo>
                    <a:pt x="385" y="35"/>
                  </a:lnTo>
                  <a:lnTo>
                    <a:pt x="385" y="35"/>
                  </a:lnTo>
                  <a:lnTo>
                    <a:pt x="385" y="37"/>
                  </a:lnTo>
                  <a:lnTo>
                    <a:pt x="385" y="37"/>
                  </a:lnTo>
                  <a:lnTo>
                    <a:pt x="385" y="39"/>
                  </a:lnTo>
                  <a:lnTo>
                    <a:pt x="385" y="39"/>
                  </a:lnTo>
                  <a:lnTo>
                    <a:pt x="385" y="39"/>
                  </a:lnTo>
                  <a:lnTo>
                    <a:pt x="385" y="39"/>
                  </a:lnTo>
                  <a:lnTo>
                    <a:pt x="385" y="41"/>
                  </a:lnTo>
                  <a:lnTo>
                    <a:pt x="383" y="41"/>
                  </a:lnTo>
                  <a:lnTo>
                    <a:pt x="383" y="41"/>
                  </a:lnTo>
                  <a:lnTo>
                    <a:pt x="383" y="41"/>
                  </a:lnTo>
                  <a:lnTo>
                    <a:pt x="381" y="41"/>
                  </a:lnTo>
                  <a:lnTo>
                    <a:pt x="381" y="41"/>
                  </a:lnTo>
                  <a:lnTo>
                    <a:pt x="381" y="43"/>
                  </a:lnTo>
                  <a:lnTo>
                    <a:pt x="381" y="43"/>
                  </a:lnTo>
                  <a:lnTo>
                    <a:pt x="379" y="43"/>
                  </a:lnTo>
                  <a:lnTo>
                    <a:pt x="379" y="45"/>
                  </a:lnTo>
                  <a:lnTo>
                    <a:pt x="377" y="47"/>
                  </a:lnTo>
                  <a:lnTo>
                    <a:pt x="377" y="49"/>
                  </a:lnTo>
                  <a:lnTo>
                    <a:pt x="375" y="56"/>
                  </a:lnTo>
                  <a:lnTo>
                    <a:pt x="375" y="56"/>
                  </a:lnTo>
                  <a:lnTo>
                    <a:pt x="375" y="56"/>
                  </a:lnTo>
                  <a:lnTo>
                    <a:pt x="375" y="58"/>
                  </a:lnTo>
                  <a:lnTo>
                    <a:pt x="375" y="58"/>
                  </a:lnTo>
                  <a:lnTo>
                    <a:pt x="381" y="56"/>
                  </a:lnTo>
                  <a:lnTo>
                    <a:pt x="394" y="56"/>
                  </a:lnTo>
                  <a:lnTo>
                    <a:pt x="406" y="53"/>
                  </a:lnTo>
                  <a:lnTo>
                    <a:pt x="418" y="51"/>
                  </a:lnTo>
                  <a:lnTo>
                    <a:pt x="431" y="51"/>
                  </a:lnTo>
                  <a:lnTo>
                    <a:pt x="431" y="51"/>
                  </a:lnTo>
                  <a:lnTo>
                    <a:pt x="431" y="49"/>
                  </a:lnTo>
                  <a:lnTo>
                    <a:pt x="431" y="49"/>
                  </a:lnTo>
                  <a:lnTo>
                    <a:pt x="433" y="49"/>
                  </a:lnTo>
                  <a:lnTo>
                    <a:pt x="433" y="49"/>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R</a:t>
              </a:r>
            </a:p>
          </p:txBody>
        </p:sp>
        <p:sp>
          <p:nvSpPr>
            <p:cNvPr id="239" name="Freeform 54">
              <a:extLst>
                <a:ext uri="{FF2B5EF4-FFF2-40B4-BE49-F238E27FC236}">
                  <a16:creationId xmlns:a16="http://schemas.microsoft.com/office/drawing/2014/main" id="{1F16AC26-5E1B-8087-F355-03F66DFC6015}"/>
                </a:ext>
              </a:extLst>
            </p:cNvPr>
            <p:cNvSpPr>
              <a:spLocks noEditPoints="1"/>
            </p:cNvSpPr>
            <p:nvPr/>
          </p:nvSpPr>
          <p:spPr bwMode="auto">
            <a:xfrm>
              <a:off x="3776" y="1576"/>
              <a:ext cx="340" cy="539"/>
            </a:xfrm>
            <a:custGeom>
              <a:avLst/>
              <a:gdLst>
                <a:gd name="T0" fmla="*/ 45 w 340"/>
                <a:gd name="T1" fmla="*/ 539 h 539"/>
                <a:gd name="T2" fmla="*/ 340 w 340"/>
                <a:gd name="T3" fmla="*/ 418 h 539"/>
                <a:gd name="T4" fmla="*/ 328 w 340"/>
                <a:gd name="T5" fmla="*/ 402 h 539"/>
                <a:gd name="T6" fmla="*/ 328 w 340"/>
                <a:gd name="T7" fmla="*/ 389 h 539"/>
                <a:gd name="T8" fmla="*/ 328 w 340"/>
                <a:gd name="T9" fmla="*/ 365 h 539"/>
                <a:gd name="T10" fmla="*/ 321 w 340"/>
                <a:gd name="T11" fmla="*/ 350 h 539"/>
                <a:gd name="T12" fmla="*/ 315 w 340"/>
                <a:gd name="T13" fmla="*/ 330 h 539"/>
                <a:gd name="T14" fmla="*/ 319 w 340"/>
                <a:gd name="T15" fmla="*/ 311 h 539"/>
                <a:gd name="T16" fmla="*/ 319 w 340"/>
                <a:gd name="T17" fmla="*/ 295 h 539"/>
                <a:gd name="T18" fmla="*/ 326 w 340"/>
                <a:gd name="T19" fmla="*/ 291 h 539"/>
                <a:gd name="T20" fmla="*/ 328 w 340"/>
                <a:gd name="T21" fmla="*/ 285 h 539"/>
                <a:gd name="T22" fmla="*/ 330 w 340"/>
                <a:gd name="T23" fmla="*/ 283 h 539"/>
                <a:gd name="T24" fmla="*/ 321 w 340"/>
                <a:gd name="T25" fmla="*/ 273 h 539"/>
                <a:gd name="T26" fmla="*/ 319 w 340"/>
                <a:gd name="T27" fmla="*/ 262 h 539"/>
                <a:gd name="T28" fmla="*/ 307 w 340"/>
                <a:gd name="T29" fmla="*/ 246 h 539"/>
                <a:gd name="T30" fmla="*/ 303 w 340"/>
                <a:gd name="T31" fmla="*/ 234 h 539"/>
                <a:gd name="T32" fmla="*/ 299 w 340"/>
                <a:gd name="T33" fmla="*/ 227 h 539"/>
                <a:gd name="T34" fmla="*/ 293 w 340"/>
                <a:gd name="T35" fmla="*/ 209 h 539"/>
                <a:gd name="T36" fmla="*/ 281 w 340"/>
                <a:gd name="T37" fmla="*/ 170 h 539"/>
                <a:gd name="T38" fmla="*/ 260 w 340"/>
                <a:gd name="T39" fmla="*/ 107 h 539"/>
                <a:gd name="T40" fmla="*/ 240 w 340"/>
                <a:gd name="T41" fmla="*/ 41 h 539"/>
                <a:gd name="T42" fmla="*/ 227 w 340"/>
                <a:gd name="T43" fmla="*/ 2 h 539"/>
                <a:gd name="T44" fmla="*/ 158 w 340"/>
                <a:gd name="T45" fmla="*/ 8 h 539"/>
                <a:gd name="T46" fmla="*/ 59 w 340"/>
                <a:gd name="T47" fmla="*/ 18 h 539"/>
                <a:gd name="T48" fmla="*/ 2 w 340"/>
                <a:gd name="T49" fmla="*/ 27 h 539"/>
                <a:gd name="T50" fmla="*/ 10 w 340"/>
                <a:gd name="T51" fmla="*/ 45 h 539"/>
                <a:gd name="T52" fmla="*/ 10 w 340"/>
                <a:gd name="T53" fmla="*/ 117 h 539"/>
                <a:gd name="T54" fmla="*/ 10 w 340"/>
                <a:gd name="T55" fmla="*/ 234 h 539"/>
                <a:gd name="T56" fmla="*/ 10 w 340"/>
                <a:gd name="T57" fmla="*/ 324 h 539"/>
                <a:gd name="T58" fmla="*/ 10 w 340"/>
                <a:gd name="T59" fmla="*/ 365 h 539"/>
                <a:gd name="T60" fmla="*/ 22 w 340"/>
                <a:gd name="T61" fmla="*/ 445 h 539"/>
                <a:gd name="T62" fmla="*/ 35 w 340"/>
                <a:gd name="T63" fmla="*/ 525 h 539"/>
                <a:gd name="T64" fmla="*/ 43 w 340"/>
                <a:gd name="T65" fmla="*/ 523 h 539"/>
                <a:gd name="T66" fmla="*/ 53 w 340"/>
                <a:gd name="T67" fmla="*/ 527 h 539"/>
                <a:gd name="T68" fmla="*/ 59 w 340"/>
                <a:gd name="T69" fmla="*/ 529 h 539"/>
                <a:gd name="T70" fmla="*/ 61 w 340"/>
                <a:gd name="T71" fmla="*/ 506 h 539"/>
                <a:gd name="T72" fmla="*/ 63 w 340"/>
                <a:gd name="T73" fmla="*/ 498 h 539"/>
                <a:gd name="T74" fmla="*/ 63 w 340"/>
                <a:gd name="T75" fmla="*/ 488 h 539"/>
                <a:gd name="T76" fmla="*/ 68 w 340"/>
                <a:gd name="T77" fmla="*/ 486 h 539"/>
                <a:gd name="T78" fmla="*/ 74 w 340"/>
                <a:gd name="T79" fmla="*/ 490 h 539"/>
                <a:gd name="T80" fmla="*/ 76 w 340"/>
                <a:gd name="T81" fmla="*/ 510 h 539"/>
                <a:gd name="T82" fmla="*/ 80 w 340"/>
                <a:gd name="T83" fmla="*/ 516 h 539"/>
                <a:gd name="T84" fmla="*/ 86 w 340"/>
                <a:gd name="T85" fmla="*/ 518 h 539"/>
                <a:gd name="T86" fmla="*/ 88 w 340"/>
                <a:gd name="T87" fmla="*/ 521 h 539"/>
                <a:gd name="T88" fmla="*/ 84 w 340"/>
                <a:gd name="T89" fmla="*/ 535 h 539"/>
                <a:gd name="T90" fmla="*/ 72 w 340"/>
                <a:gd name="T91" fmla="*/ 537 h 539"/>
                <a:gd name="T92" fmla="*/ 113 w 340"/>
                <a:gd name="T93" fmla="*/ 525 h 539"/>
                <a:gd name="T94" fmla="*/ 108 w 340"/>
                <a:gd name="T95" fmla="*/ 521 h 539"/>
                <a:gd name="T96" fmla="*/ 113 w 340"/>
                <a:gd name="T97" fmla="*/ 523 h 539"/>
                <a:gd name="T98" fmla="*/ 121 w 340"/>
                <a:gd name="T99" fmla="*/ 516 h 539"/>
                <a:gd name="T100" fmla="*/ 125 w 340"/>
                <a:gd name="T101" fmla="*/ 506 h 539"/>
                <a:gd name="T102" fmla="*/ 121 w 340"/>
                <a:gd name="T103" fmla="*/ 498 h 539"/>
                <a:gd name="T104" fmla="*/ 123 w 340"/>
                <a:gd name="T105" fmla="*/ 484 h 539"/>
                <a:gd name="T106" fmla="*/ 108 w 340"/>
                <a:gd name="T107" fmla="*/ 473 h 539"/>
                <a:gd name="T108" fmla="*/ 100 w 340"/>
                <a:gd name="T109" fmla="*/ 463 h 539"/>
                <a:gd name="T110" fmla="*/ 121 w 340"/>
                <a:gd name="T111" fmla="*/ 449 h 539"/>
                <a:gd name="T112" fmla="*/ 223 w 340"/>
                <a:gd name="T113" fmla="*/ 436 h 539"/>
                <a:gd name="T114" fmla="*/ 326 w 340"/>
                <a:gd name="T115" fmla="*/ 42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539">
                  <a:moveTo>
                    <a:pt x="63" y="533"/>
                  </a:moveTo>
                  <a:lnTo>
                    <a:pt x="61" y="535"/>
                  </a:lnTo>
                  <a:lnTo>
                    <a:pt x="61" y="535"/>
                  </a:lnTo>
                  <a:lnTo>
                    <a:pt x="61" y="535"/>
                  </a:lnTo>
                  <a:lnTo>
                    <a:pt x="59" y="535"/>
                  </a:lnTo>
                  <a:lnTo>
                    <a:pt x="53" y="537"/>
                  </a:lnTo>
                  <a:lnTo>
                    <a:pt x="45" y="539"/>
                  </a:lnTo>
                  <a:lnTo>
                    <a:pt x="45" y="539"/>
                  </a:lnTo>
                  <a:lnTo>
                    <a:pt x="65" y="537"/>
                  </a:lnTo>
                  <a:lnTo>
                    <a:pt x="65" y="537"/>
                  </a:lnTo>
                  <a:lnTo>
                    <a:pt x="68" y="535"/>
                  </a:lnTo>
                  <a:lnTo>
                    <a:pt x="68" y="535"/>
                  </a:lnTo>
                  <a:lnTo>
                    <a:pt x="63" y="533"/>
                  </a:lnTo>
                  <a:close/>
                  <a:moveTo>
                    <a:pt x="340" y="418"/>
                  </a:moveTo>
                  <a:lnTo>
                    <a:pt x="340" y="416"/>
                  </a:lnTo>
                  <a:lnTo>
                    <a:pt x="338" y="412"/>
                  </a:lnTo>
                  <a:lnTo>
                    <a:pt x="334" y="408"/>
                  </a:lnTo>
                  <a:lnTo>
                    <a:pt x="332" y="404"/>
                  </a:lnTo>
                  <a:lnTo>
                    <a:pt x="330" y="404"/>
                  </a:lnTo>
                  <a:lnTo>
                    <a:pt x="328" y="402"/>
                  </a:lnTo>
                  <a:lnTo>
                    <a:pt x="328" y="402"/>
                  </a:lnTo>
                  <a:lnTo>
                    <a:pt x="328" y="398"/>
                  </a:lnTo>
                  <a:lnTo>
                    <a:pt x="328" y="396"/>
                  </a:lnTo>
                  <a:lnTo>
                    <a:pt x="326" y="393"/>
                  </a:lnTo>
                  <a:lnTo>
                    <a:pt x="326" y="393"/>
                  </a:lnTo>
                  <a:lnTo>
                    <a:pt x="326" y="391"/>
                  </a:lnTo>
                  <a:lnTo>
                    <a:pt x="328" y="389"/>
                  </a:lnTo>
                  <a:lnTo>
                    <a:pt x="328" y="389"/>
                  </a:lnTo>
                  <a:lnTo>
                    <a:pt x="328" y="381"/>
                  </a:lnTo>
                  <a:lnTo>
                    <a:pt x="328" y="377"/>
                  </a:lnTo>
                  <a:lnTo>
                    <a:pt x="328" y="373"/>
                  </a:lnTo>
                  <a:lnTo>
                    <a:pt x="328" y="371"/>
                  </a:lnTo>
                  <a:lnTo>
                    <a:pt x="328" y="369"/>
                  </a:lnTo>
                  <a:lnTo>
                    <a:pt x="328" y="367"/>
                  </a:lnTo>
                  <a:lnTo>
                    <a:pt x="328" y="365"/>
                  </a:lnTo>
                  <a:lnTo>
                    <a:pt x="328" y="363"/>
                  </a:lnTo>
                  <a:lnTo>
                    <a:pt x="328" y="361"/>
                  </a:lnTo>
                  <a:lnTo>
                    <a:pt x="326" y="361"/>
                  </a:lnTo>
                  <a:lnTo>
                    <a:pt x="326" y="357"/>
                  </a:lnTo>
                  <a:lnTo>
                    <a:pt x="326" y="355"/>
                  </a:lnTo>
                  <a:lnTo>
                    <a:pt x="326" y="355"/>
                  </a:lnTo>
                  <a:lnTo>
                    <a:pt x="321" y="350"/>
                  </a:lnTo>
                  <a:lnTo>
                    <a:pt x="319" y="348"/>
                  </a:lnTo>
                  <a:lnTo>
                    <a:pt x="315" y="336"/>
                  </a:lnTo>
                  <a:lnTo>
                    <a:pt x="315" y="334"/>
                  </a:lnTo>
                  <a:lnTo>
                    <a:pt x="315" y="332"/>
                  </a:lnTo>
                  <a:lnTo>
                    <a:pt x="315" y="332"/>
                  </a:lnTo>
                  <a:lnTo>
                    <a:pt x="315" y="330"/>
                  </a:lnTo>
                  <a:lnTo>
                    <a:pt x="315" y="330"/>
                  </a:lnTo>
                  <a:lnTo>
                    <a:pt x="315" y="326"/>
                  </a:lnTo>
                  <a:lnTo>
                    <a:pt x="317" y="322"/>
                  </a:lnTo>
                  <a:lnTo>
                    <a:pt x="319" y="318"/>
                  </a:lnTo>
                  <a:lnTo>
                    <a:pt x="319" y="316"/>
                  </a:lnTo>
                  <a:lnTo>
                    <a:pt x="319" y="314"/>
                  </a:lnTo>
                  <a:lnTo>
                    <a:pt x="319" y="314"/>
                  </a:lnTo>
                  <a:lnTo>
                    <a:pt x="319" y="311"/>
                  </a:lnTo>
                  <a:lnTo>
                    <a:pt x="319" y="309"/>
                  </a:lnTo>
                  <a:lnTo>
                    <a:pt x="319" y="307"/>
                  </a:lnTo>
                  <a:lnTo>
                    <a:pt x="319" y="305"/>
                  </a:lnTo>
                  <a:lnTo>
                    <a:pt x="319" y="303"/>
                  </a:lnTo>
                  <a:lnTo>
                    <a:pt x="319" y="301"/>
                  </a:lnTo>
                  <a:lnTo>
                    <a:pt x="319" y="299"/>
                  </a:lnTo>
                  <a:lnTo>
                    <a:pt x="319" y="295"/>
                  </a:lnTo>
                  <a:lnTo>
                    <a:pt x="321" y="295"/>
                  </a:lnTo>
                  <a:lnTo>
                    <a:pt x="321" y="295"/>
                  </a:lnTo>
                  <a:lnTo>
                    <a:pt x="321" y="293"/>
                  </a:lnTo>
                  <a:lnTo>
                    <a:pt x="324" y="293"/>
                  </a:lnTo>
                  <a:lnTo>
                    <a:pt x="326" y="293"/>
                  </a:lnTo>
                  <a:lnTo>
                    <a:pt x="326" y="291"/>
                  </a:lnTo>
                  <a:lnTo>
                    <a:pt x="326" y="291"/>
                  </a:lnTo>
                  <a:lnTo>
                    <a:pt x="326" y="289"/>
                  </a:lnTo>
                  <a:lnTo>
                    <a:pt x="326" y="289"/>
                  </a:lnTo>
                  <a:lnTo>
                    <a:pt x="328" y="289"/>
                  </a:lnTo>
                  <a:lnTo>
                    <a:pt x="328" y="289"/>
                  </a:lnTo>
                  <a:lnTo>
                    <a:pt x="330" y="289"/>
                  </a:lnTo>
                  <a:lnTo>
                    <a:pt x="330" y="287"/>
                  </a:lnTo>
                  <a:lnTo>
                    <a:pt x="328" y="285"/>
                  </a:lnTo>
                  <a:lnTo>
                    <a:pt x="330" y="285"/>
                  </a:lnTo>
                  <a:lnTo>
                    <a:pt x="330" y="285"/>
                  </a:lnTo>
                  <a:lnTo>
                    <a:pt x="330" y="285"/>
                  </a:lnTo>
                  <a:lnTo>
                    <a:pt x="332" y="283"/>
                  </a:lnTo>
                  <a:lnTo>
                    <a:pt x="330" y="283"/>
                  </a:lnTo>
                  <a:lnTo>
                    <a:pt x="330" y="283"/>
                  </a:lnTo>
                  <a:lnTo>
                    <a:pt x="330" y="283"/>
                  </a:lnTo>
                  <a:lnTo>
                    <a:pt x="330" y="281"/>
                  </a:lnTo>
                  <a:lnTo>
                    <a:pt x="328" y="281"/>
                  </a:lnTo>
                  <a:lnTo>
                    <a:pt x="324" y="279"/>
                  </a:lnTo>
                  <a:lnTo>
                    <a:pt x="321" y="277"/>
                  </a:lnTo>
                  <a:lnTo>
                    <a:pt x="321" y="277"/>
                  </a:lnTo>
                  <a:lnTo>
                    <a:pt x="321" y="273"/>
                  </a:lnTo>
                  <a:lnTo>
                    <a:pt x="321" y="273"/>
                  </a:lnTo>
                  <a:lnTo>
                    <a:pt x="321" y="271"/>
                  </a:lnTo>
                  <a:lnTo>
                    <a:pt x="321" y="271"/>
                  </a:lnTo>
                  <a:lnTo>
                    <a:pt x="321" y="268"/>
                  </a:lnTo>
                  <a:lnTo>
                    <a:pt x="321" y="266"/>
                  </a:lnTo>
                  <a:lnTo>
                    <a:pt x="321" y="266"/>
                  </a:lnTo>
                  <a:lnTo>
                    <a:pt x="319" y="264"/>
                  </a:lnTo>
                  <a:lnTo>
                    <a:pt x="319" y="262"/>
                  </a:lnTo>
                  <a:lnTo>
                    <a:pt x="317" y="258"/>
                  </a:lnTo>
                  <a:lnTo>
                    <a:pt x="317" y="258"/>
                  </a:lnTo>
                  <a:lnTo>
                    <a:pt x="315" y="256"/>
                  </a:lnTo>
                  <a:lnTo>
                    <a:pt x="309" y="248"/>
                  </a:lnTo>
                  <a:lnTo>
                    <a:pt x="309" y="248"/>
                  </a:lnTo>
                  <a:lnTo>
                    <a:pt x="309" y="246"/>
                  </a:lnTo>
                  <a:lnTo>
                    <a:pt x="307" y="246"/>
                  </a:lnTo>
                  <a:lnTo>
                    <a:pt x="307" y="246"/>
                  </a:lnTo>
                  <a:lnTo>
                    <a:pt x="307" y="244"/>
                  </a:lnTo>
                  <a:lnTo>
                    <a:pt x="307" y="242"/>
                  </a:lnTo>
                  <a:lnTo>
                    <a:pt x="305" y="240"/>
                  </a:lnTo>
                  <a:lnTo>
                    <a:pt x="303" y="236"/>
                  </a:lnTo>
                  <a:lnTo>
                    <a:pt x="303" y="236"/>
                  </a:lnTo>
                  <a:lnTo>
                    <a:pt x="303" y="234"/>
                  </a:lnTo>
                  <a:lnTo>
                    <a:pt x="301" y="234"/>
                  </a:lnTo>
                  <a:lnTo>
                    <a:pt x="303" y="232"/>
                  </a:lnTo>
                  <a:lnTo>
                    <a:pt x="301" y="232"/>
                  </a:lnTo>
                  <a:lnTo>
                    <a:pt x="299" y="230"/>
                  </a:lnTo>
                  <a:lnTo>
                    <a:pt x="299" y="230"/>
                  </a:lnTo>
                  <a:lnTo>
                    <a:pt x="299" y="227"/>
                  </a:lnTo>
                  <a:lnTo>
                    <a:pt x="299" y="227"/>
                  </a:lnTo>
                  <a:lnTo>
                    <a:pt x="297" y="227"/>
                  </a:lnTo>
                  <a:lnTo>
                    <a:pt x="297" y="223"/>
                  </a:lnTo>
                  <a:lnTo>
                    <a:pt x="293" y="215"/>
                  </a:lnTo>
                  <a:lnTo>
                    <a:pt x="293" y="215"/>
                  </a:lnTo>
                  <a:lnTo>
                    <a:pt x="293" y="211"/>
                  </a:lnTo>
                  <a:lnTo>
                    <a:pt x="293" y="211"/>
                  </a:lnTo>
                  <a:lnTo>
                    <a:pt x="293" y="209"/>
                  </a:lnTo>
                  <a:lnTo>
                    <a:pt x="291" y="205"/>
                  </a:lnTo>
                  <a:lnTo>
                    <a:pt x="289" y="203"/>
                  </a:lnTo>
                  <a:lnTo>
                    <a:pt x="289" y="197"/>
                  </a:lnTo>
                  <a:lnTo>
                    <a:pt x="287" y="191"/>
                  </a:lnTo>
                  <a:lnTo>
                    <a:pt x="285" y="184"/>
                  </a:lnTo>
                  <a:lnTo>
                    <a:pt x="283" y="178"/>
                  </a:lnTo>
                  <a:lnTo>
                    <a:pt x="281" y="170"/>
                  </a:lnTo>
                  <a:lnTo>
                    <a:pt x="276" y="162"/>
                  </a:lnTo>
                  <a:lnTo>
                    <a:pt x="274" y="154"/>
                  </a:lnTo>
                  <a:lnTo>
                    <a:pt x="272" y="143"/>
                  </a:lnTo>
                  <a:lnTo>
                    <a:pt x="268" y="135"/>
                  </a:lnTo>
                  <a:lnTo>
                    <a:pt x="266" y="125"/>
                  </a:lnTo>
                  <a:lnTo>
                    <a:pt x="262" y="115"/>
                  </a:lnTo>
                  <a:lnTo>
                    <a:pt x="260" y="107"/>
                  </a:lnTo>
                  <a:lnTo>
                    <a:pt x="256" y="96"/>
                  </a:lnTo>
                  <a:lnTo>
                    <a:pt x="254" y="86"/>
                  </a:lnTo>
                  <a:lnTo>
                    <a:pt x="250" y="76"/>
                  </a:lnTo>
                  <a:lnTo>
                    <a:pt x="248" y="68"/>
                  </a:lnTo>
                  <a:lnTo>
                    <a:pt x="246" y="57"/>
                  </a:lnTo>
                  <a:lnTo>
                    <a:pt x="242" y="49"/>
                  </a:lnTo>
                  <a:lnTo>
                    <a:pt x="240" y="41"/>
                  </a:lnTo>
                  <a:lnTo>
                    <a:pt x="238" y="33"/>
                  </a:lnTo>
                  <a:lnTo>
                    <a:pt x="235" y="27"/>
                  </a:lnTo>
                  <a:lnTo>
                    <a:pt x="233" y="20"/>
                  </a:lnTo>
                  <a:lnTo>
                    <a:pt x="231" y="14"/>
                  </a:lnTo>
                  <a:lnTo>
                    <a:pt x="229" y="10"/>
                  </a:lnTo>
                  <a:lnTo>
                    <a:pt x="229" y="6"/>
                  </a:lnTo>
                  <a:lnTo>
                    <a:pt x="227" y="2"/>
                  </a:lnTo>
                  <a:lnTo>
                    <a:pt x="227" y="0"/>
                  </a:lnTo>
                  <a:lnTo>
                    <a:pt x="227" y="0"/>
                  </a:lnTo>
                  <a:lnTo>
                    <a:pt x="213" y="2"/>
                  </a:lnTo>
                  <a:lnTo>
                    <a:pt x="199" y="4"/>
                  </a:lnTo>
                  <a:lnTo>
                    <a:pt x="186" y="4"/>
                  </a:lnTo>
                  <a:lnTo>
                    <a:pt x="172" y="6"/>
                  </a:lnTo>
                  <a:lnTo>
                    <a:pt x="158" y="8"/>
                  </a:lnTo>
                  <a:lnTo>
                    <a:pt x="143" y="10"/>
                  </a:lnTo>
                  <a:lnTo>
                    <a:pt x="129" y="12"/>
                  </a:lnTo>
                  <a:lnTo>
                    <a:pt x="117" y="12"/>
                  </a:lnTo>
                  <a:lnTo>
                    <a:pt x="102" y="14"/>
                  </a:lnTo>
                  <a:lnTo>
                    <a:pt x="88" y="16"/>
                  </a:lnTo>
                  <a:lnTo>
                    <a:pt x="74" y="16"/>
                  </a:lnTo>
                  <a:lnTo>
                    <a:pt x="59" y="18"/>
                  </a:lnTo>
                  <a:lnTo>
                    <a:pt x="47" y="20"/>
                  </a:lnTo>
                  <a:lnTo>
                    <a:pt x="33" y="20"/>
                  </a:lnTo>
                  <a:lnTo>
                    <a:pt x="18" y="23"/>
                  </a:lnTo>
                  <a:lnTo>
                    <a:pt x="4" y="25"/>
                  </a:lnTo>
                  <a:lnTo>
                    <a:pt x="2" y="25"/>
                  </a:lnTo>
                  <a:lnTo>
                    <a:pt x="0" y="25"/>
                  </a:lnTo>
                  <a:lnTo>
                    <a:pt x="2" y="27"/>
                  </a:lnTo>
                  <a:lnTo>
                    <a:pt x="4" y="31"/>
                  </a:lnTo>
                  <a:lnTo>
                    <a:pt x="6" y="35"/>
                  </a:lnTo>
                  <a:lnTo>
                    <a:pt x="10" y="37"/>
                  </a:lnTo>
                  <a:lnTo>
                    <a:pt x="10" y="37"/>
                  </a:lnTo>
                  <a:lnTo>
                    <a:pt x="10" y="37"/>
                  </a:lnTo>
                  <a:lnTo>
                    <a:pt x="10" y="43"/>
                  </a:lnTo>
                  <a:lnTo>
                    <a:pt x="10" y="45"/>
                  </a:lnTo>
                  <a:lnTo>
                    <a:pt x="10" y="55"/>
                  </a:lnTo>
                  <a:lnTo>
                    <a:pt x="10" y="64"/>
                  </a:lnTo>
                  <a:lnTo>
                    <a:pt x="10" y="72"/>
                  </a:lnTo>
                  <a:lnTo>
                    <a:pt x="10" y="82"/>
                  </a:lnTo>
                  <a:lnTo>
                    <a:pt x="10" y="92"/>
                  </a:lnTo>
                  <a:lnTo>
                    <a:pt x="10" y="105"/>
                  </a:lnTo>
                  <a:lnTo>
                    <a:pt x="10" y="117"/>
                  </a:lnTo>
                  <a:lnTo>
                    <a:pt x="10" y="129"/>
                  </a:lnTo>
                  <a:lnTo>
                    <a:pt x="10" y="143"/>
                  </a:lnTo>
                  <a:lnTo>
                    <a:pt x="10" y="158"/>
                  </a:lnTo>
                  <a:lnTo>
                    <a:pt x="10" y="172"/>
                  </a:lnTo>
                  <a:lnTo>
                    <a:pt x="10" y="189"/>
                  </a:lnTo>
                  <a:lnTo>
                    <a:pt x="10" y="217"/>
                  </a:lnTo>
                  <a:lnTo>
                    <a:pt x="10" y="234"/>
                  </a:lnTo>
                  <a:lnTo>
                    <a:pt x="10" y="248"/>
                  </a:lnTo>
                  <a:lnTo>
                    <a:pt x="10" y="262"/>
                  </a:lnTo>
                  <a:lnTo>
                    <a:pt x="10" y="277"/>
                  </a:lnTo>
                  <a:lnTo>
                    <a:pt x="10" y="289"/>
                  </a:lnTo>
                  <a:lnTo>
                    <a:pt x="10" y="301"/>
                  </a:lnTo>
                  <a:lnTo>
                    <a:pt x="10" y="314"/>
                  </a:lnTo>
                  <a:lnTo>
                    <a:pt x="10" y="324"/>
                  </a:lnTo>
                  <a:lnTo>
                    <a:pt x="10" y="334"/>
                  </a:lnTo>
                  <a:lnTo>
                    <a:pt x="10" y="342"/>
                  </a:lnTo>
                  <a:lnTo>
                    <a:pt x="10" y="350"/>
                  </a:lnTo>
                  <a:lnTo>
                    <a:pt x="10" y="357"/>
                  </a:lnTo>
                  <a:lnTo>
                    <a:pt x="10" y="361"/>
                  </a:lnTo>
                  <a:lnTo>
                    <a:pt x="10" y="363"/>
                  </a:lnTo>
                  <a:lnTo>
                    <a:pt x="10" y="365"/>
                  </a:lnTo>
                  <a:lnTo>
                    <a:pt x="12" y="373"/>
                  </a:lnTo>
                  <a:lnTo>
                    <a:pt x="12" y="383"/>
                  </a:lnTo>
                  <a:lnTo>
                    <a:pt x="14" y="393"/>
                  </a:lnTo>
                  <a:lnTo>
                    <a:pt x="16" y="404"/>
                  </a:lnTo>
                  <a:lnTo>
                    <a:pt x="18" y="414"/>
                  </a:lnTo>
                  <a:lnTo>
                    <a:pt x="18" y="424"/>
                  </a:lnTo>
                  <a:lnTo>
                    <a:pt x="22" y="445"/>
                  </a:lnTo>
                  <a:lnTo>
                    <a:pt x="22" y="455"/>
                  </a:lnTo>
                  <a:lnTo>
                    <a:pt x="25" y="463"/>
                  </a:lnTo>
                  <a:lnTo>
                    <a:pt x="27" y="473"/>
                  </a:lnTo>
                  <a:lnTo>
                    <a:pt x="29" y="484"/>
                  </a:lnTo>
                  <a:lnTo>
                    <a:pt x="31" y="494"/>
                  </a:lnTo>
                  <a:lnTo>
                    <a:pt x="31" y="504"/>
                  </a:lnTo>
                  <a:lnTo>
                    <a:pt x="35" y="525"/>
                  </a:lnTo>
                  <a:lnTo>
                    <a:pt x="37" y="523"/>
                  </a:lnTo>
                  <a:lnTo>
                    <a:pt x="39" y="523"/>
                  </a:lnTo>
                  <a:lnTo>
                    <a:pt x="41" y="523"/>
                  </a:lnTo>
                  <a:lnTo>
                    <a:pt x="43" y="525"/>
                  </a:lnTo>
                  <a:lnTo>
                    <a:pt x="43" y="525"/>
                  </a:lnTo>
                  <a:lnTo>
                    <a:pt x="43" y="523"/>
                  </a:lnTo>
                  <a:lnTo>
                    <a:pt x="43" y="523"/>
                  </a:lnTo>
                  <a:lnTo>
                    <a:pt x="43" y="523"/>
                  </a:lnTo>
                  <a:lnTo>
                    <a:pt x="43" y="523"/>
                  </a:lnTo>
                  <a:lnTo>
                    <a:pt x="45" y="523"/>
                  </a:lnTo>
                  <a:lnTo>
                    <a:pt x="51" y="523"/>
                  </a:lnTo>
                  <a:lnTo>
                    <a:pt x="55" y="525"/>
                  </a:lnTo>
                  <a:lnTo>
                    <a:pt x="53" y="527"/>
                  </a:lnTo>
                  <a:lnTo>
                    <a:pt x="53" y="527"/>
                  </a:lnTo>
                  <a:lnTo>
                    <a:pt x="55" y="529"/>
                  </a:lnTo>
                  <a:lnTo>
                    <a:pt x="57" y="529"/>
                  </a:lnTo>
                  <a:lnTo>
                    <a:pt x="57" y="529"/>
                  </a:lnTo>
                  <a:lnTo>
                    <a:pt x="59" y="527"/>
                  </a:lnTo>
                  <a:lnTo>
                    <a:pt x="59" y="529"/>
                  </a:lnTo>
                  <a:lnTo>
                    <a:pt x="59" y="529"/>
                  </a:lnTo>
                  <a:lnTo>
                    <a:pt x="59" y="529"/>
                  </a:lnTo>
                  <a:lnTo>
                    <a:pt x="61" y="529"/>
                  </a:lnTo>
                  <a:lnTo>
                    <a:pt x="61" y="527"/>
                  </a:lnTo>
                  <a:lnTo>
                    <a:pt x="61" y="518"/>
                  </a:lnTo>
                  <a:lnTo>
                    <a:pt x="61" y="514"/>
                  </a:lnTo>
                  <a:lnTo>
                    <a:pt x="61" y="512"/>
                  </a:lnTo>
                  <a:lnTo>
                    <a:pt x="61" y="508"/>
                  </a:lnTo>
                  <a:lnTo>
                    <a:pt x="61" y="506"/>
                  </a:lnTo>
                  <a:lnTo>
                    <a:pt x="61" y="506"/>
                  </a:lnTo>
                  <a:lnTo>
                    <a:pt x="61" y="504"/>
                  </a:lnTo>
                  <a:lnTo>
                    <a:pt x="61" y="504"/>
                  </a:lnTo>
                  <a:lnTo>
                    <a:pt x="61" y="502"/>
                  </a:lnTo>
                  <a:lnTo>
                    <a:pt x="61" y="500"/>
                  </a:lnTo>
                  <a:lnTo>
                    <a:pt x="61" y="500"/>
                  </a:lnTo>
                  <a:lnTo>
                    <a:pt x="63" y="498"/>
                  </a:lnTo>
                  <a:lnTo>
                    <a:pt x="63" y="498"/>
                  </a:lnTo>
                  <a:lnTo>
                    <a:pt x="63" y="496"/>
                  </a:lnTo>
                  <a:lnTo>
                    <a:pt x="63" y="494"/>
                  </a:lnTo>
                  <a:lnTo>
                    <a:pt x="63" y="492"/>
                  </a:lnTo>
                  <a:lnTo>
                    <a:pt x="63" y="492"/>
                  </a:lnTo>
                  <a:lnTo>
                    <a:pt x="65" y="490"/>
                  </a:lnTo>
                  <a:lnTo>
                    <a:pt x="63" y="488"/>
                  </a:lnTo>
                  <a:lnTo>
                    <a:pt x="65" y="488"/>
                  </a:lnTo>
                  <a:lnTo>
                    <a:pt x="65" y="486"/>
                  </a:lnTo>
                  <a:lnTo>
                    <a:pt x="65" y="484"/>
                  </a:lnTo>
                  <a:lnTo>
                    <a:pt x="65" y="484"/>
                  </a:lnTo>
                  <a:lnTo>
                    <a:pt x="65" y="484"/>
                  </a:lnTo>
                  <a:lnTo>
                    <a:pt x="68" y="484"/>
                  </a:lnTo>
                  <a:lnTo>
                    <a:pt x="68" y="486"/>
                  </a:lnTo>
                  <a:lnTo>
                    <a:pt x="68" y="488"/>
                  </a:lnTo>
                  <a:lnTo>
                    <a:pt x="68" y="488"/>
                  </a:lnTo>
                  <a:lnTo>
                    <a:pt x="68" y="488"/>
                  </a:lnTo>
                  <a:lnTo>
                    <a:pt x="70" y="488"/>
                  </a:lnTo>
                  <a:lnTo>
                    <a:pt x="70" y="488"/>
                  </a:lnTo>
                  <a:lnTo>
                    <a:pt x="72" y="490"/>
                  </a:lnTo>
                  <a:lnTo>
                    <a:pt x="74" y="490"/>
                  </a:lnTo>
                  <a:lnTo>
                    <a:pt x="78" y="498"/>
                  </a:lnTo>
                  <a:lnTo>
                    <a:pt x="78" y="500"/>
                  </a:lnTo>
                  <a:lnTo>
                    <a:pt x="78" y="502"/>
                  </a:lnTo>
                  <a:lnTo>
                    <a:pt x="78" y="504"/>
                  </a:lnTo>
                  <a:lnTo>
                    <a:pt x="76" y="506"/>
                  </a:lnTo>
                  <a:lnTo>
                    <a:pt x="76" y="508"/>
                  </a:lnTo>
                  <a:lnTo>
                    <a:pt x="76" y="510"/>
                  </a:lnTo>
                  <a:lnTo>
                    <a:pt x="76" y="510"/>
                  </a:lnTo>
                  <a:lnTo>
                    <a:pt x="78" y="510"/>
                  </a:lnTo>
                  <a:lnTo>
                    <a:pt x="78" y="512"/>
                  </a:lnTo>
                  <a:lnTo>
                    <a:pt x="78" y="512"/>
                  </a:lnTo>
                  <a:lnTo>
                    <a:pt x="78" y="514"/>
                  </a:lnTo>
                  <a:lnTo>
                    <a:pt x="80" y="516"/>
                  </a:lnTo>
                  <a:lnTo>
                    <a:pt x="80" y="516"/>
                  </a:lnTo>
                  <a:lnTo>
                    <a:pt x="80" y="518"/>
                  </a:lnTo>
                  <a:lnTo>
                    <a:pt x="82" y="518"/>
                  </a:lnTo>
                  <a:lnTo>
                    <a:pt x="82" y="518"/>
                  </a:lnTo>
                  <a:lnTo>
                    <a:pt x="84" y="518"/>
                  </a:lnTo>
                  <a:lnTo>
                    <a:pt x="84" y="518"/>
                  </a:lnTo>
                  <a:lnTo>
                    <a:pt x="86" y="518"/>
                  </a:lnTo>
                  <a:lnTo>
                    <a:pt x="86" y="518"/>
                  </a:lnTo>
                  <a:lnTo>
                    <a:pt x="86" y="518"/>
                  </a:lnTo>
                  <a:lnTo>
                    <a:pt x="86" y="516"/>
                  </a:lnTo>
                  <a:lnTo>
                    <a:pt x="86" y="516"/>
                  </a:lnTo>
                  <a:lnTo>
                    <a:pt x="88" y="516"/>
                  </a:lnTo>
                  <a:lnTo>
                    <a:pt x="88" y="516"/>
                  </a:lnTo>
                  <a:lnTo>
                    <a:pt x="88" y="516"/>
                  </a:lnTo>
                  <a:lnTo>
                    <a:pt x="88" y="521"/>
                  </a:lnTo>
                  <a:lnTo>
                    <a:pt x="88" y="521"/>
                  </a:lnTo>
                  <a:lnTo>
                    <a:pt x="88" y="523"/>
                  </a:lnTo>
                  <a:lnTo>
                    <a:pt x="94" y="527"/>
                  </a:lnTo>
                  <a:lnTo>
                    <a:pt x="94" y="529"/>
                  </a:lnTo>
                  <a:lnTo>
                    <a:pt x="92" y="531"/>
                  </a:lnTo>
                  <a:lnTo>
                    <a:pt x="88" y="533"/>
                  </a:lnTo>
                  <a:lnTo>
                    <a:pt x="84" y="535"/>
                  </a:lnTo>
                  <a:lnTo>
                    <a:pt x="82" y="535"/>
                  </a:lnTo>
                  <a:lnTo>
                    <a:pt x="80" y="533"/>
                  </a:lnTo>
                  <a:lnTo>
                    <a:pt x="78" y="533"/>
                  </a:lnTo>
                  <a:lnTo>
                    <a:pt x="78" y="535"/>
                  </a:lnTo>
                  <a:lnTo>
                    <a:pt x="78" y="535"/>
                  </a:lnTo>
                  <a:lnTo>
                    <a:pt x="74" y="535"/>
                  </a:lnTo>
                  <a:lnTo>
                    <a:pt x="72" y="537"/>
                  </a:lnTo>
                  <a:lnTo>
                    <a:pt x="72" y="539"/>
                  </a:lnTo>
                  <a:lnTo>
                    <a:pt x="74" y="537"/>
                  </a:lnTo>
                  <a:lnTo>
                    <a:pt x="82" y="535"/>
                  </a:lnTo>
                  <a:lnTo>
                    <a:pt x="94" y="535"/>
                  </a:lnTo>
                  <a:lnTo>
                    <a:pt x="104" y="531"/>
                  </a:lnTo>
                  <a:lnTo>
                    <a:pt x="111" y="529"/>
                  </a:lnTo>
                  <a:lnTo>
                    <a:pt x="113" y="525"/>
                  </a:lnTo>
                  <a:lnTo>
                    <a:pt x="113" y="525"/>
                  </a:lnTo>
                  <a:lnTo>
                    <a:pt x="111" y="525"/>
                  </a:lnTo>
                  <a:lnTo>
                    <a:pt x="111" y="525"/>
                  </a:lnTo>
                  <a:lnTo>
                    <a:pt x="108" y="525"/>
                  </a:lnTo>
                  <a:lnTo>
                    <a:pt x="108" y="523"/>
                  </a:lnTo>
                  <a:lnTo>
                    <a:pt x="108" y="523"/>
                  </a:lnTo>
                  <a:lnTo>
                    <a:pt x="108" y="521"/>
                  </a:lnTo>
                  <a:lnTo>
                    <a:pt x="108" y="518"/>
                  </a:lnTo>
                  <a:lnTo>
                    <a:pt x="108" y="518"/>
                  </a:lnTo>
                  <a:lnTo>
                    <a:pt x="108" y="521"/>
                  </a:lnTo>
                  <a:lnTo>
                    <a:pt x="111" y="521"/>
                  </a:lnTo>
                  <a:lnTo>
                    <a:pt x="111" y="523"/>
                  </a:lnTo>
                  <a:lnTo>
                    <a:pt x="111" y="523"/>
                  </a:lnTo>
                  <a:lnTo>
                    <a:pt x="113" y="523"/>
                  </a:lnTo>
                  <a:lnTo>
                    <a:pt x="113" y="523"/>
                  </a:lnTo>
                  <a:lnTo>
                    <a:pt x="115" y="523"/>
                  </a:lnTo>
                  <a:lnTo>
                    <a:pt x="117" y="521"/>
                  </a:lnTo>
                  <a:lnTo>
                    <a:pt x="117" y="518"/>
                  </a:lnTo>
                  <a:lnTo>
                    <a:pt x="119" y="518"/>
                  </a:lnTo>
                  <a:lnTo>
                    <a:pt x="121" y="518"/>
                  </a:lnTo>
                  <a:lnTo>
                    <a:pt x="121" y="516"/>
                  </a:lnTo>
                  <a:lnTo>
                    <a:pt x="123" y="514"/>
                  </a:lnTo>
                  <a:lnTo>
                    <a:pt x="123" y="512"/>
                  </a:lnTo>
                  <a:lnTo>
                    <a:pt x="127" y="508"/>
                  </a:lnTo>
                  <a:lnTo>
                    <a:pt x="127" y="508"/>
                  </a:lnTo>
                  <a:lnTo>
                    <a:pt x="127" y="508"/>
                  </a:lnTo>
                  <a:lnTo>
                    <a:pt x="127" y="506"/>
                  </a:lnTo>
                  <a:lnTo>
                    <a:pt x="125" y="506"/>
                  </a:lnTo>
                  <a:lnTo>
                    <a:pt x="125" y="506"/>
                  </a:lnTo>
                  <a:lnTo>
                    <a:pt x="123" y="504"/>
                  </a:lnTo>
                  <a:lnTo>
                    <a:pt x="123" y="504"/>
                  </a:lnTo>
                  <a:lnTo>
                    <a:pt x="125" y="504"/>
                  </a:lnTo>
                  <a:lnTo>
                    <a:pt x="125" y="504"/>
                  </a:lnTo>
                  <a:lnTo>
                    <a:pt x="123" y="500"/>
                  </a:lnTo>
                  <a:lnTo>
                    <a:pt x="121" y="498"/>
                  </a:lnTo>
                  <a:lnTo>
                    <a:pt x="121" y="498"/>
                  </a:lnTo>
                  <a:lnTo>
                    <a:pt x="121" y="496"/>
                  </a:lnTo>
                  <a:lnTo>
                    <a:pt x="123" y="494"/>
                  </a:lnTo>
                  <a:lnTo>
                    <a:pt x="123" y="490"/>
                  </a:lnTo>
                  <a:lnTo>
                    <a:pt x="123" y="486"/>
                  </a:lnTo>
                  <a:lnTo>
                    <a:pt x="123" y="486"/>
                  </a:lnTo>
                  <a:lnTo>
                    <a:pt x="123" y="484"/>
                  </a:lnTo>
                  <a:lnTo>
                    <a:pt x="123" y="484"/>
                  </a:lnTo>
                  <a:lnTo>
                    <a:pt x="123" y="484"/>
                  </a:lnTo>
                  <a:lnTo>
                    <a:pt x="115" y="480"/>
                  </a:lnTo>
                  <a:lnTo>
                    <a:pt x="113" y="477"/>
                  </a:lnTo>
                  <a:lnTo>
                    <a:pt x="111" y="477"/>
                  </a:lnTo>
                  <a:lnTo>
                    <a:pt x="108" y="473"/>
                  </a:lnTo>
                  <a:lnTo>
                    <a:pt x="108" y="473"/>
                  </a:lnTo>
                  <a:lnTo>
                    <a:pt x="102" y="469"/>
                  </a:lnTo>
                  <a:lnTo>
                    <a:pt x="102" y="467"/>
                  </a:lnTo>
                  <a:lnTo>
                    <a:pt x="100" y="465"/>
                  </a:lnTo>
                  <a:lnTo>
                    <a:pt x="100" y="465"/>
                  </a:lnTo>
                  <a:lnTo>
                    <a:pt x="100" y="465"/>
                  </a:lnTo>
                  <a:lnTo>
                    <a:pt x="100" y="463"/>
                  </a:lnTo>
                  <a:lnTo>
                    <a:pt x="100" y="463"/>
                  </a:lnTo>
                  <a:lnTo>
                    <a:pt x="100" y="461"/>
                  </a:lnTo>
                  <a:lnTo>
                    <a:pt x="102" y="457"/>
                  </a:lnTo>
                  <a:lnTo>
                    <a:pt x="102" y="457"/>
                  </a:lnTo>
                  <a:lnTo>
                    <a:pt x="102" y="453"/>
                  </a:lnTo>
                  <a:lnTo>
                    <a:pt x="102" y="451"/>
                  </a:lnTo>
                  <a:lnTo>
                    <a:pt x="106" y="451"/>
                  </a:lnTo>
                  <a:lnTo>
                    <a:pt x="121" y="449"/>
                  </a:lnTo>
                  <a:lnTo>
                    <a:pt x="135" y="447"/>
                  </a:lnTo>
                  <a:lnTo>
                    <a:pt x="149" y="445"/>
                  </a:lnTo>
                  <a:lnTo>
                    <a:pt x="164" y="443"/>
                  </a:lnTo>
                  <a:lnTo>
                    <a:pt x="178" y="441"/>
                  </a:lnTo>
                  <a:lnTo>
                    <a:pt x="195" y="441"/>
                  </a:lnTo>
                  <a:lnTo>
                    <a:pt x="209" y="439"/>
                  </a:lnTo>
                  <a:lnTo>
                    <a:pt x="223" y="436"/>
                  </a:lnTo>
                  <a:lnTo>
                    <a:pt x="238" y="434"/>
                  </a:lnTo>
                  <a:lnTo>
                    <a:pt x="252" y="432"/>
                  </a:lnTo>
                  <a:lnTo>
                    <a:pt x="266" y="430"/>
                  </a:lnTo>
                  <a:lnTo>
                    <a:pt x="281" y="428"/>
                  </a:lnTo>
                  <a:lnTo>
                    <a:pt x="295" y="426"/>
                  </a:lnTo>
                  <a:lnTo>
                    <a:pt x="311" y="424"/>
                  </a:lnTo>
                  <a:lnTo>
                    <a:pt x="326" y="422"/>
                  </a:lnTo>
                  <a:lnTo>
                    <a:pt x="340" y="420"/>
                  </a:lnTo>
                  <a:lnTo>
                    <a:pt x="340" y="420"/>
                  </a:lnTo>
                  <a:lnTo>
                    <a:pt x="340" y="420"/>
                  </a:lnTo>
                  <a:lnTo>
                    <a:pt x="340" y="418"/>
                  </a:lnTo>
                  <a:lnTo>
                    <a:pt x="340" y="418"/>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L</a:t>
              </a:r>
            </a:p>
          </p:txBody>
        </p:sp>
        <p:sp>
          <p:nvSpPr>
            <p:cNvPr id="240" name="Freeform 55">
              <a:extLst>
                <a:ext uri="{FF2B5EF4-FFF2-40B4-BE49-F238E27FC236}">
                  <a16:creationId xmlns:a16="http://schemas.microsoft.com/office/drawing/2014/main" id="{E9CB4DFE-7095-CDCC-82AD-7AE0E39C5D02}"/>
                </a:ext>
              </a:extLst>
            </p:cNvPr>
            <p:cNvSpPr>
              <a:spLocks noEditPoints="1"/>
            </p:cNvSpPr>
            <p:nvPr/>
          </p:nvSpPr>
          <p:spPr bwMode="auto">
            <a:xfrm>
              <a:off x="-261" y="2004"/>
              <a:ext cx="1708" cy="918"/>
            </a:xfrm>
            <a:custGeom>
              <a:avLst/>
              <a:gdLst>
                <a:gd name="T0" fmla="*/ 672 w 1708"/>
                <a:gd name="T1" fmla="*/ 871 h 918"/>
                <a:gd name="T2" fmla="*/ 649 w 1708"/>
                <a:gd name="T3" fmla="*/ 369 h 918"/>
                <a:gd name="T4" fmla="*/ 614 w 1708"/>
                <a:gd name="T5" fmla="*/ 879 h 918"/>
                <a:gd name="T6" fmla="*/ 789 w 1708"/>
                <a:gd name="T7" fmla="*/ 838 h 918"/>
                <a:gd name="T8" fmla="*/ 854 w 1708"/>
                <a:gd name="T9" fmla="*/ 850 h 918"/>
                <a:gd name="T10" fmla="*/ 729 w 1708"/>
                <a:gd name="T11" fmla="*/ 832 h 918"/>
                <a:gd name="T12" fmla="*/ 229 w 1708"/>
                <a:gd name="T13" fmla="*/ 883 h 918"/>
                <a:gd name="T14" fmla="*/ 295 w 1708"/>
                <a:gd name="T15" fmla="*/ 896 h 918"/>
                <a:gd name="T16" fmla="*/ 6 w 1708"/>
                <a:gd name="T17" fmla="*/ 711 h 918"/>
                <a:gd name="T18" fmla="*/ 522 w 1708"/>
                <a:gd name="T19" fmla="*/ 908 h 918"/>
                <a:gd name="T20" fmla="*/ 561 w 1708"/>
                <a:gd name="T21" fmla="*/ 910 h 918"/>
                <a:gd name="T22" fmla="*/ 387 w 1708"/>
                <a:gd name="T23" fmla="*/ 914 h 918"/>
                <a:gd name="T24" fmla="*/ 1624 w 1708"/>
                <a:gd name="T25" fmla="*/ 682 h 918"/>
                <a:gd name="T26" fmla="*/ 1221 w 1708"/>
                <a:gd name="T27" fmla="*/ 57 h 918"/>
                <a:gd name="T28" fmla="*/ 1040 w 1708"/>
                <a:gd name="T29" fmla="*/ 37 h 918"/>
                <a:gd name="T30" fmla="*/ 922 w 1708"/>
                <a:gd name="T31" fmla="*/ 31 h 918"/>
                <a:gd name="T32" fmla="*/ 846 w 1708"/>
                <a:gd name="T33" fmla="*/ 84 h 918"/>
                <a:gd name="T34" fmla="*/ 862 w 1708"/>
                <a:gd name="T35" fmla="*/ 244 h 918"/>
                <a:gd name="T36" fmla="*/ 782 w 1708"/>
                <a:gd name="T37" fmla="*/ 238 h 918"/>
                <a:gd name="T38" fmla="*/ 813 w 1708"/>
                <a:gd name="T39" fmla="*/ 344 h 918"/>
                <a:gd name="T40" fmla="*/ 770 w 1708"/>
                <a:gd name="T41" fmla="*/ 416 h 918"/>
                <a:gd name="T42" fmla="*/ 748 w 1708"/>
                <a:gd name="T43" fmla="*/ 488 h 918"/>
                <a:gd name="T44" fmla="*/ 733 w 1708"/>
                <a:gd name="T45" fmla="*/ 541 h 918"/>
                <a:gd name="T46" fmla="*/ 803 w 1708"/>
                <a:gd name="T47" fmla="*/ 629 h 918"/>
                <a:gd name="T48" fmla="*/ 881 w 1708"/>
                <a:gd name="T49" fmla="*/ 654 h 918"/>
                <a:gd name="T50" fmla="*/ 897 w 1708"/>
                <a:gd name="T51" fmla="*/ 725 h 918"/>
                <a:gd name="T52" fmla="*/ 739 w 1708"/>
                <a:gd name="T53" fmla="*/ 840 h 918"/>
                <a:gd name="T54" fmla="*/ 834 w 1708"/>
                <a:gd name="T55" fmla="*/ 807 h 918"/>
                <a:gd name="T56" fmla="*/ 885 w 1708"/>
                <a:gd name="T57" fmla="*/ 785 h 918"/>
                <a:gd name="T58" fmla="*/ 963 w 1708"/>
                <a:gd name="T59" fmla="*/ 719 h 918"/>
                <a:gd name="T60" fmla="*/ 1012 w 1708"/>
                <a:gd name="T61" fmla="*/ 627 h 918"/>
                <a:gd name="T62" fmla="*/ 1116 w 1708"/>
                <a:gd name="T63" fmla="*/ 514 h 918"/>
                <a:gd name="T64" fmla="*/ 1106 w 1708"/>
                <a:gd name="T65" fmla="*/ 615 h 918"/>
                <a:gd name="T66" fmla="*/ 1159 w 1708"/>
                <a:gd name="T67" fmla="*/ 572 h 918"/>
                <a:gd name="T68" fmla="*/ 1163 w 1708"/>
                <a:gd name="T69" fmla="*/ 535 h 918"/>
                <a:gd name="T70" fmla="*/ 1212 w 1708"/>
                <a:gd name="T71" fmla="*/ 541 h 918"/>
                <a:gd name="T72" fmla="*/ 1380 w 1708"/>
                <a:gd name="T73" fmla="*/ 559 h 918"/>
                <a:gd name="T74" fmla="*/ 1485 w 1708"/>
                <a:gd name="T75" fmla="*/ 619 h 918"/>
                <a:gd name="T76" fmla="*/ 1491 w 1708"/>
                <a:gd name="T77" fmla="*/ 586 h 918"/>
                <a:gd name="T78" fmla="*/ 1548 w 1708"/>
                <a:gd name="T79" fmla="*/ 594 h 918"/>
                <a:gd name="T80" fmla="*/ 1600 w 1708"/>
                <a:gd name="T81" fmla="*/ 652 h 918"/>
                <a:gd name="T82" fmla="*/ 1690 w 1708"/>
                <a:gd name="T83" fmla="*/ 728 h 918"/>
                <a:gd name="T84" fmla="*/ 840 w 1708"/>
                <a:gd name="T85" fmla="*/ 654 h 918"/>
                <a:gd name="T86" fmla="*/ 1602 w 1708"/>
                <a:gd name="T87" fmla="*/ 725 h 918"/>
                <a:gd name="T88" fmla="*/ 1606 w 1708"/>
                <a:gd name="T89" fmla="*/ 744 h 918"/>
                <a:gd name="T90" fmla="*/ 1636 w 1708"/>
                <a:gd name="T91" fmla="*/ 723 h 918"/>
                <a:gd name="T92" fmla="*/ 1630 w 1708"/>
                <a:gd name="T93" fmla="*/ 740 h 918"/>
                <a:gd name="T94" fmla="*/ 1636 w 1708"/>
                <a:gd name="T95" fmla="*/ 766 h 918"/>
                <a:gd name="T96" fmla="*/ 723 w 1708"/>
                <a:gd name="T97" fmla="*/ 459 h 918"/>
                <a:gd name="T98" fmla="*/ 1634 w 1708"/>
                <a:gd name="T99" fmla="*/ 695 h 918"/>
                <a:gd name="T100" fmla="*/ 1053 w 1708"/>
                <a:gd name="T101" fmla="*/ 691 h 918"/>
                <a:gd name="T102" fmla="*/ 1165 w 1708"/>
                <a:gd name="T103" fmla="*/ 539 h 918"/>
                <a:gd name="T104" fmla="*/ 1030 w 1708"/>
                <a:gd name="T105" fmla="*/ 705 h 918"/>
                <a:gd name="T106" fmla="*/ 1028 w 1708"/>
                <a:gd name="T107" fmla="*/ 709 h 918"/>
                <a:gd name="T108" fmla="*/ 1014 w 1708"/>
                <a:gd name="T109" fmla="*/ 754 h 918"/>
                <a:gd name="T110" fmla="*/ 1491 w 1708"/>
                <a:gd name="T111" fmla="*/ 639 h 918"/>
                <a:gd name="T112" fmla="*/ 1497 w 1708"/>
                <a:gd name="T113" fmla="*/ 621 h 918"/>
                <a:gd name="T114" fmla="*/ 1557 w 1708"/>
                <a:gd name="T115" fmla="*/ 652 h 918"/>
                <a:gd name="T116" fmla="*/ 1579 w 1708"/>
                <a:gd name="T117" fmla="*/ 725 h 918"/>
                <a:gd name="T118" fmla="*/ 1577 w 1708"/>
                <a:gd name="T119" fmla="*/ 674 h 918"/>
                <a:gd name="T120" fmla="*/ 1524 w 1708"/>
                <a:gd name="T121" fmla="*/ 666 h 918"/>
                <a:gd name="T122" fmla="*/ 1542 w 1708"/>
                <a:gd name="T123" fmla="*/ 689 h 918"/>
                <a:gd name="T124" fmla="*/ 1178 w 1708"/>
                <a:gd name="T125" fmla="*/ 594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8" h="918">
                  <a:moveTo>
                    <a:pt x="694" y="258"/>
                  </a:moveTo>
                  <a:lnTo>
                    <a:pt x="696" y="258"/>
                  </a:lnTo>
                  <a:lnTo>
                    <a:pt x="696" y="258"/>
                  </a:lnTo>
                  <a:lnTo>
                    <a:pt x="696" y="256"/>
                  </a:lnTo>
                  <a:lnTo>
                    <a:pt x="696" y="256"/>
                  </a:lnTo>
                  <a:lnTo>
                    <a:pt x="696" y="256"/>
                  </a:lnTo>
                  <a:lnTo>
                    <a:pt x="694" y="256"/>
                  </a:lnTo>
                  <a:lnTo>
                    <a:pt x="694" y="256"/>
                  </a:lnTo>
                  <a:lnTo>
                    <a:pt x="694" y="258"/>
                  </a:lnTo>
                  <a:lnTo>
                    <a:pt x="694" y="258"/>
                  </a:lnTo>
                  <a:close/>
                  <a:moveTo>
                    <a:pt x="684" y="568"/>
                  </a:moveTo>
                  <a:lnTo>
                    <a:pt x="684" y="568"/>
                  </a:lnTo>
                  <a:lnTo>
                    <a:pt x="684" y="568"/>
                  </a:lnTo>
                  <a:lnTo>
                    <a:pt x="686" y="570"/>
                  </a:lnTo>
                  <a:lnTo>
                    <a:pt x="686" y="570"/>
                  </a:lnTo>
                  <a:lnTo>
                    <a:pt x="686" y="570"/>
                  </a:lnTo>
                  <a:lnTo>
                    <a:pt x="688" y="570"/>
                  </a:lnTo>
                  <a:lnTo>
                    <a:pt x="688" y="570"/>
                  </a:lnTo>
                  <a:lnTo>
                    <a:pt x="688" y="570"/>
                  </a:lnTo>
                  <a:lnTo>
                    <a:pt x="690" y="570"/>
                  </a:lnTo>
                  <a:lnTo>
                    <a:pt x="690" y="570"/>
                  </a:lnTo>
                  <a:lnTo>
                    <a:pt x="690" y="570"/>
                  </a:lnTo>
                  <a:lnTo>
                    <a:pt x="692" y="572"/>
                  </a:lnTo>
                  <a:lnTo>
                    <a:pt x="692" y="572"/>
                  </a:lnTo>
                  <a:lnTo>
                    <a:pt x="694" y="572"/>
                  </a:lnTo>
                  <a:lnTo>
                    <a:pt x="694" y="574"/>
                  </a:lnTo>
                  <a:lnTo>
                    <a:pt x="694" y="574"/>
                  </a:lnTo>
                  <a:lnTo>
                    <a:pt x="694" y="574"/>
                  </a:lnTo>
                  <a:lnTo>
                    <a:pt x="696" y="576"/>
                  </a:lnTo>
                  <a:lnTo>
                    <a:pt x="696" y="576"/>
                  </a:lnTo>
                  <a:lnTo>
                    <a:pt x="696" y="576"/>
                  </a:lnTo>
                  <a:lnTo>
                    <a:pt x="696" y="576"/>
                  </a:lnTo>
                  <a:lnTo>
                    <a:pt x="698" y="576"/>
                  </a:lnTo>
                  <a:lnTo>
                    <a:pt x="698" y="576"/>
                  </a:lnTo>
                  <a:lnTo>
                    <a:pt x="698" y="576"/>
                  </a:lnTo>
                  <a:lnTo>
                    <a:pt x="698" y="574"/>
                  </a:lnTo>
                  <a:lnTo>
                    <a:pt x="698" y="574"/>
                  </a:lnTo>
                  <a:lnTo>
                    <a:pt x="696" y="574"/>
                  </a:lnTo>
                  <a:lnTo>
                    <a:pt x="696" y="574"/>
                  </a:lnTo>
                  <a:lnTo>
                    <a:pt x="694" y="572"/>
                  </a:lnTo>
                  <a:lnTo>
                    <a:pt x="694" y="572"/>
                  </a:lnTo>
                  <a:lnTo>
                    <a:pt x="694" y="572"/>
                  </a:lnTo>
                  <a:lnTo>
                    <a:pt x="696" y="572"/>
                  </a:lnTo>
                  <a:lnTo>
                    <a:pt x="698" y="572"/>
                  </a:lnTo>
                  <a:lnTo>
                    <a:pt x="698" y="572"/>
                  </a:lnTo>
                  <a:lnTo>
                    <a:pt x="700" y="572"/>
                  </a:lnTo>
                  <a:lnTo>
                    <a:pt x="700" y="572"/>
                  </a:lnTo>
                  <a:lnTo>
                    <a:pt x="700" y="572"/>
                  </a:lnTo>
                  <a:lnTo>
                    <a:pt x="703" y="572"/>
                  </a:lnTo>
                  <a:lnTo>
                    <a:pt x="703" y="572"/>
                  </a:lnTo>
                  <a:lnTo>
                    <a:pt x="703" y="570"/>
                  </a:lnTo>
                  <a:lnTo>
                    <a:pt x="703" y="570"/>
                  </a:lnTo>
                  <a:lnTo>
                    <a:pt x="703" y="570"/>
                  </a:lnTo>
                  <a:lnTo>
                    <a:pt x="703" y="572"/>
                  </a:lnTo>
                  <a:lnTo>
                    <a:pt x="703" y="572"/>
                  </a:lnTo>
                  <a:lnTo>
                    <a:pt x="705" y="572"/>
                  </a:lnTo>
                  <a:lnTo>
                    <a:pt x="705" y="572"/>
                  </a:lnTo>
                  <a:lnTo>
                    <a:pt x="709" y="572"/>
                  </a:lnTo>
                  <a:lnTo>
                    <a:pt x="709" y="570"/>
                  </a:lnTo>
                  <a:lnTo>
                    <a:pt x="709" y="570"/>
                  </a:lnTo>
                  <a:lnTo>
                    <a:pt x="709" y="570"/>
                  </a:lnTo>
                  <a:lnTo>
                    <a:pt x="709" y="570"/>
                  </a:lnTo>
                  <a:lnTo>
                    <a:pt x="709" y="572"/>
                  </a:lnTo>
                  <a:lnTo>
                    <a:pt x="711" y="572"/>
                  </a:lnTo>
                  <a:lnTo>
                    <a:pt x="713" y="572"/>
                  </a:lnTo>
                  <a:lnTo>
                    <a:pt x="713" y="572"/>
                  </a:lnTo>
                  <a:lnTo>
                    <a:pt x="713" y="572"/>
                  </a:lnTo>
                  <a:lnTo>
                    <a:pt x="713" y="570"/>
                  </a:lnTo>
                  <a:lnTo>
                    <a:pt x="713" y="570"/>
                  </a:lnTo>
                  <a:lnTo>
                    <a:pt x="713" y="570"/>
                  </a:lnTo>
                  <a:lnTo>
                    <a:pt x="713" y="570"/>
                  </a:lnTo>
                  <a:lnTo>
                    <a:pt x="713" y="570"/>
                  </a:lnTo>
                  <a:lnTo>
                    <a:pt x="713" y="570"/>
                  </a:lnTo>
                  <a:lnTo>
                    <a:pt x="713" y="570"/>
                  </a:lnTo>
                  <a:lnTo>
                    <a:pt x="713" y="568"/>
                  </a:lnTo>
                  <a:lnTo>
                    <a:pt x="715" y="568"/>
                  </a:lnTo>
                  <a:lnTo>
                    <a:pt x="715" y="568"/>
                  </a:lnTo>
                  <a:lnTo>
                    <a:pt x="715" y="568"/>
                  </a:lnTo>
                  <a:lnTo>
                    <a:pt x="713" y="568"/>
                  </a:lnTo>
                  <a:lnTo>
                    <a:pt x="713" y="568"/>
                  </a:lnTo>
                  <a:lnTo>
                    <a:pt x="713" y="568"/>
                  </a:lnTo>
                  <a:lnTo>
                    <a:pt x="713" y="568"/>
                  </a:lnTo>
                  <a:lnTo>
                    <a:pt x="713" y="568"/>
                  </a:lnTo>
                  <a:lnTo>
                    <a:pt x="713" y="566"/>
                  </a:lnTo>
                  <a:lnTo>
                    <a:pt x="713" y="566"/>
                  </a:lnTo>
                  <a:lnTo>
                    <a:pt x="713" y="566"/>
                  </a:lnTo>
                  <a:lnTo>
                    <a:pt x="713" y="566"/>
                  </a:lnTo>
                  <a:lnTo>
                    <a:pt x="713" y="566"/>
                  </a:lnTo>
                  <a:lnTo>
                    <a:pt x="711" y="564"/>
                  </a:lnTo>
                  <a:lnTo>
                    <a:pt x="711" y="564"/>
                  </a:lnTo>
                  <a:lnTo>
                    <a:pt x="711" y="564"/>
                  </a:lnTo>
                  <a:lnTo>
                    <a:pt x="711" y="564"/>
                  </a:lnTo>
                  <a:lnTo>
                    <a:pt x="711" y="562"/>
                  </a:lnTo>
                  <a:lnTo>
                    <a:pt x="713" y="562"/>
                  </a:lnTo>
                  <a:lnTo>
                    <a:pt x="713" y="559"/>
                  </a:lnTo>
                  <a:lnTo>
                    <a:pt x="713" y="559"/>
                  </a:lnTo>
                  <a:lnTo>
                    <a:pt x="713" y="559"/>
                  </a:lnTo>
                  <a:lnTo>
                    <a:pt x="713" y="559"/>
                  </a:lnTo>
                  <a:lnTo>
                    <a:pt x="713" y="559"/>
                  </a:lnTo>
                  <a:lnTo>
                    <a:pt x="713" y="559"/>
                  </a:lnTo>
                  <a:lnTo>
                    <a:pt x="713" y="559"/>
                  </a:lnTo>
                  <a:lnTo>
                    <a:pt x="713" y="559"/>
                  </a:lnTo>
                  <a:lnTo>
                    <a:pt x="713" y="557"/>
                  </a:lnTo>
                  <a:lnTo>
                    <a:pt x="713" y="557"/>
                  </a:lnTo>
                  <a:lnTo>
                    <a:pt x="711" y="557"/>
                  </a:lnTo>
                  <a:lnTo>
                    <a:pt x="711" y="557"/>
                  </a:lnTo>
                  <a:lnTo>
                    <a:pt x="711" y="557"/>
                  </a:lnTo>
                  <a:lnTo>
                    <a:pt x="711" y="557"/>
                  </a:lnTo>
                  <a:lnTo>
                    <a:pt x="713" y="555"/>
                  </a:lnTo>
                  <a:lnTo>
                    <a:pt x="713" y="555"/>
                  </a:lnTo>
                  <a:lnTo>
                    <a:pt x="713" y="553"/>
                  </a:lnTo>
                  <a:lnTo>
                    <a:pt x="713" y="553"/>
                  </a:lnTo>
                  <a:lnTo>
                    <a:pt x="713" y="553"/>
                  </a:lnTo>
                  <a:lnTo>
                    <a:pt x="713" y="553"/>
                  </a:lnTo>
                  <a:lnTo>
                    <a:pt x="713" y="551"/>
                  </a:lnTo>
                  <a:lnTo>
                    <a:pt x="713" y="551"/>
                  </a:lnTo>
                  <a:lnTo>
                    <a:pt x="713" y="551"/>
                  </a:lnTo>
                  <a:lnTo>
                    <a:pt x="713" y="551"/>
                  </a:lnTo>
                  <a:lnTo>
                    <a:pt x="713" y="551"/>
                  </a:lnTo>
                  <a:lnTo>
                    <a:pt x="713" y="551"/>
                  </a:lnTo>
                  <a:lnTo>
                    <a:pt x="713" y="549"/>
                  </a:lnTo>
                  <a:lnTo>
                    <a:pt x="713" y="549"/>
                  </a:lnTo>
                  <a:lnTo>
                    <a:pt x="713" y="549"/>
                  </a:lnTo>
                  <a:lnTo>
                    <a:pt x="713" y="549"/>
                  </a:lnTo>
                  <a:lnTo>
                    <a:pt x="711" y="549"/>
                  </a:lnTo>
                  <a:lnTo>
                    <a:pt x="711" y="549"/>
                  </a:lnTo>
                  <a:lnTo>
                    <a:pt x="711" y="549"/>
                  </a:lnTo>
                  <a:lnTo>
                    <a:pt x="711" y="547"/>
                  </a:lnTo>
                  <a:lnTo>
                    <a:pt x="709" y="547"/>
                  </a:lnTo>
                  <a:lnTo>
                    <a:pt x="709" y="547"/>
                  </a:lnTo>
                  <a:lnTo>
                    <a:pt x="709" y="549"/>
                  </a:lnTo>
                  <a:lnTo>
                    <a:pt x="707" y="549"/>
                  </a:lnTo>
                  <a:lnTo>
                    <a:pt x="705" y="547"/>
                  </a:lnTo>
                  <a:lnTo>
                    <a:pt x="705" y="547"/>
                  </a:lnTo>
                  <a:lnTo>
                    <a:pt x="705" y="547"/>
                  </a:lnTo>
                  <a:lnTo>
                    <a:pt x="705" y="547"/>
                  </a:lnTo>
                  <a:lnTo>
                    <a:pt x="705" y="547"/>
                  </a:lnTo>
                  <a:lnTo>
                    <a:pt x="705" y="547"/>
                  </a:lnTo>
                  <a:lnTo>
                    <a:pt x="705" y="545"/>
                  </a:lnTo>
                  <a:lnTo>
                    <a:pt x="705" y="545"/>
                  </a:lnTo>
                  <a:lnTo>
                    <a:pt x="705" y="545"/>
                  </a:lnTo>
                  <a:lnTo>
                    <a:pt x="705" y="543"/>
                  </a:lnTo>
                  <a:lnTo>
                    <a:pt x="705" y="543"/>
                  </a:lnTo>
                  <a:lnTo>
                    <a:pt x="705" y="543"/>
                  </a:lnTo>
                  <a:lnTo>
                    <a:pt x="703" y="543"/>
                  </a:lnTo>
                  <a:lnTo>
                    <a:pt x="703" y="541"/>
                  </a:lnTo>
                  <a:lnTo>
                    <a:pt x="703" y="543"/>
                  </a:lnTo>
                  <a:lnTo>
                    <a:pt x="703" y="543"/>
                  </a:lnTo>
                  <a:lnTo>
                    <a:pt x="703" y="545"/>
                  </a:lnTo>
                  <a:lnTo>
                    <a:pt x="703" y="545"/>
                  </a:lnTo>
                  <a:lnTo>
                    <a:pt x="703" y="545"/>
                  </a:lnTo>
                  <a:lnTo>
                    <a:pt x="703" y="545"/>
                  </a:lnTo>
                  <a:lnTo>
                    <a:pt x="703" y="543"/>
                  </a:lnTo>
                  <a:lnTo>
                    <a:pt x="698" y="543"/>
                  </a:lnTo>
                  <a:lnTo>
                    <a:pt x="696" y="545"/>
                  </a:lnTo>
                  <a:lnTo>
                    <a:pt x="696" y="545"/>
                  </a:lnTo>
                  <a:lnTo>
                    <a:pt x="696" y="545"/>
                  </a:lnTo>
                  <a:lnTo>
                    <a:pt x="696" y="545"/>
                  </a:lnTo>
                  <a:lnTo>
                    <a:pt x="696" y="545"/>
                  </a:lnTo>
                  <a:lnTo>
                    <a:pt x="696" y="543"/>
                  </a:lnTo>
                  <a:lnTo>
                    <a:pt x="694" y="543"/>
                  </a:lnTo>
                  <a:lnTo>
                    <a:pt x="692" y="543"/>
                  </a:lnTo>
                  <a:lnTo>
                    <a:pt x="692" y="545"/>
                  </a:lnTo>
                  <a:lnTo>
                    <a:pt x="692" y="545"/>
                  </a:lnTo>
                  <a:lnTo>
                    <a:pt x="690" y="545"/>
                  </a:lnTo>
                  <a:lnTo>
                    <a:pt x="690" y="545"/>
                  </a:lnTo>
                  <a:lnTo>
                    <a:pt x="690" y="545"/>
                  </a:lnTo>
                  <a:lnTo>
                    <a:pt x="688" y="545"/>
                  </a:lnTo>
                  <a:lnTo>
                    <a:pt x="688" y="545"/>
                  </a:lnTo>
                  <a:lnTo>
                    <a:pt x="686" y="545"/>
                  </a:lnTo>
                  <a:lnTo>
                    <a:pt x="686" y="547"/>
                  </a:lnTo>
                  <a:lnTo>
                    <a:pt x="686" y="547"/>
                  </a:lnTo>
                  <a:lnTo>
                    <a:pt x="684" y="547"/>
                  </a:lnTo>
                  <a:lnTo>
                    <a:pt x="684" y="547"/>
                  </a:lnTo>
                  <a:lnTo>
                    <a:pt x="684" y="547"/>
                  </a:lnTo>
                  <a:lnTo>
                    <a:pt x="684" y="547"/>
                  </a:lnTo>
                  <a:lnTo>
                    <a:pt x="684" y="549"/>
                  </a:lnTo>
                  <a:lnTo>
                    <a:pt x="682" y="549"/>
                  </a:lnTo>
                  <a:lnTo>
                    <a:pt x="676" y="547"/>
                  </a:lnTo>
                  <a:lnTo>
                    <a:pt x="674" y="547"/>
                  </a:lnTo>
                  <a:lnTo>
                    <a:pt x="674" y="547"/>
                  </a:lnTo>
                  <a:lnTo>
                    <a:pt x="672" y="547"/>
                  </a:lnTo>
                  <a:lnTo>
                    <a:pt x="672" y="547"/>
                  </a:lnTo>
                  <a:lnTo>
                    <a:pt x="672" y="547"/>
                  </a:lnTo>
                  <a:lnTo>
                    <a:pt x="672" y="547"/>
                  </a:lnTo>
                  <a:lnTo>
                    <a:pt x="672" y="547"/>
                  </a:lnTo>
                  <a:lnTo>
                    <a:pt x="672" y="547"/>
                  </a:lnTo>
                  <a:lnTo>
                    <a:pt x="670" y="547"/>
                  </a:lnTo>
                  <a:lnTo>
                    <a:pt x="668" y="547"/>
                  </a:lnTo>
                  <a:lnTo>
                    <a:pt x="668" y="547"/>
                  </a:lnTo>
                  <a:lnTo>
                    <a:pt x="668" y="547"/>
                  </a:lnTo>
                  <a:lnTo>
                    <a:pt x="670" y="551"/>
                  </a:lnTo>
                  <a:lnTo>
                    <a:pt x="670" y="551"/>
                  </a:lnTo>
                  <a:lnTo>
                    <a:pt x="670" y="551"/>
                  </a:lnTo>
                  <a:lnTo>
                    <a:pt x="670" y="553"/>
                  </a:lnTo>
                  <a:lnTo>
                    <a:pt x="670" y="553"/>
                  </a:lnTo>
                  <a:lnTo>
                    <a:pt x="670" y="553"/>
                  </a:lnTo>
                  <a:lnTo>
                    <a:pt x="670" y="555"/>
                  </a:lnTo>
                  <a:lnTo>
                    <a:pt x="670" y="555"/>
                  </a:lnTo>
                  <a:lnTo>
                    <a:pt x="672" y="555"/>
                  </a:lnTo>
                  <a:lnTo>
                    <a:pt x="672" y="553"/>
                  </a:lnTo>
                  <a:lnTo>
                    <a:pt x="672" y="553"/>
                  </a:lnTo>
                  <a:lnTo>
                    <a:pt x="672" y="555"/>
                  </a:lnTo>
                  <a:lnTo>
                    <a:pt x="672" y="557"/>
                  </a:lnTo>
                  <a:lnTo>
                    <a:pt x="672" y="557"/>
                  </a:lnTo>
                  <a:lnTo>
                    <a:pt x="674" y="557"/>
                  </a:lnTo>
                  <a:lnTo>
                    <a:pt x="674" y="559"/>
                  </a:lnTo>
                  <a:lnTo>
                    <a:pt x="674" y="559"/>
                  </a:lnTo>
                  <a:lnTo>
                    <a:pt x="674" y="559"/>
                  </a:lnTo>
                  <a:lnTo>
                    <a:pt x="676" y="559"/>
                  </a:lnTo>
                  <a:lnTo>
                    <a:pt x="676" y="559"/>
                  </a:lnTo>
                  <a:lnTo>
                    <a:pt x="676" y="559"/>
                  </a:lnTo>
                  <a:lnTo>
                    <a:pt x="676" y="559"/>
                  </a:lnTo>
                  <a:lnTo>
                    <a:pt x="676" y="559"/>
                  </a:lnTo>
                  <a:lnTo>
                    <a:pt x="676" y="559"/>
                  </a:lnTo>
                  <a:lnTo>
                    <a:pt x="676" y="559"/>
                  </a:lnTo>
                  <a:lnTo>
                    <a:pt x="676" y="559"/>
                  </a:lnTo>
                  <a:lnTo>
                    <a:pt x="676" y="559"/>
                  </a:lnTo>
                  <a:lnTo>
                    <a:pt x="676" y="559"/>
                  </a:lnTo>
                  <a:lnTo>
                    <a:pt x="678" y="559"/>
                  </a:lnTo>
                  <a:lnTo>
                    <a:pt x="678" y="559"/>
                  </a:lnTo>
                  <a:lnTo>
                    <a:pt x="678" y="559"/>
                  </a:lnTo>
                  <a:lnTo>
                    <a:pt x="676" y="559"/>
                  </a:lnTo>
                  <a:lnTo>
                    <a:pt x="682" y="566"/>
                  </a:lnTo>
                  <a:lnTo>
                    <a:pt x="682" y="566"/>
                  </a:lnTo>
                  <a:lnTo>
                    <a:pt x="684" y="568"/>
                  </a:lnTo>
                  <a:close/>
                  <a:moveTo>
                    <a:pt x="655" y="867"/>
                  </a:moveTo>
                  <a:lnTo>
                    <a:pt x="653" y="867"/>
                  </a:lnTo>
                  <a:lnTo>
                    <a:pt x="653" y="867"/>
                  </a:lnTo>
                  <a:lnTo>
                    <a:pt x="653" y="867"/>
                  </a:lnTo>
                  <a:lnTo>
                    <a:pt x="653" y="867"/>
                  </a:lnTo>
                  <a:lnTo>
                    <a:pt x="655" y="867"/>
                  </a:lnTo>
                  <a:lnTo>
                    <a:pt x="655" y="867"/>
                  </a:lnTo>
                  <a:lnTo>
                    <a:pt x="655" y="865"/>
                  </a:lnTo>
                  <a:lnTo>
                    <a:pt x="653" y="865"/>
                  </a:lnTo>
                  <a:lnTo>
                    <a:pt x="653" y="865"/>
                  </a:lnTo>
                  <a:lnTo>
                    <a:pt x="653" y="865"/>
                  </a:lnTo>
                  <a:lnTo>
                    <a:pt x="653" y="865"/>
                  </a:lnTo>
                  <a:lnTo>
                    <a:pt x="651" y="865"/>
                  </a:lnTo>
                  <a:lnTo>
                    <a:pt x="651" y="863"/>
                  </a:lnTo>
                  <a:lnTo>
                    <a:pt x="651" y="863"/>
                  </a:lnTo>
                  <a:lnTo>
                    <a:pt x="651" y="863"/>
                  </a:lnTo>
                  <a:lnTo>
                    <a:pt x="651" y="863"/>
                  </a:lnTo>
                  <a:lnTo>
                    <a:pt x="651" y="863"/>
                  </a:lnTo>
                  <a:lnTo>
                    <a:pt x="651" y="861"/>
                  </a:lnTo>
                  <a:lnTo>
                    <a:pt x="649" y="861"/>
                  </a:lnTo>
                  <a:lnTo>
                    <a:pt x="649" y="861"/>
                  </a:lnTo>
                  <a:lnTo>
                    <a:pt x="647" y="863"/>
                  </a:lnTo>
                  <a:lnTo>
                    <a:pt x="645" y="863"/>
                  </a:lnTo>
                  <a:lnTo>
                    <a:pt x="645" y="863"/>
                  </a:lnTo>
                  <a:lnTo>
                    <a:pt x="645" y="863"/>
                  </a:lnTo>
                  <a:lnTo>
                    <a:pt x="645" y="865"/>
                  </a:lnTo>
                  <a:lnTo>
                    <a:pt x="645" y="865"/>
                  </a:lnTo>
                  <a:lnTo>
                    <a:pt x="645" y="865"/>
                  </a:lnTo>
                  <a:lnTo>
                    <a:pt x="643" y="865"/>
                  </a:lnTo>
                  <a:lnTo>
                    <a:pt x="645" y="867"/>
                  </a:lnTo>
                  <a:lnTo>
                    <a:pt x="645" y="869"/>
                  </a:lnTo>
                  <a:lnTo>
                    <a:pt x="645" y="869"/>
                  </a:lnTo>
                  <a:lnTo>
                    <a:pt x="645" y="871"/>
                  </a:lnTo>
                  <a:lnTo>
                    <a:pt x="647" y="871"/>
                  </a:lnTo>
                  <a:lnTo>
                    <a:pt x="647" y="869"/>
                  </a:lnTo>
                  <a:lnTo>
                    <a:pt x="647" y="869"/>
                  </a:lnTo>
                  <a:lnTo>
                    <a:pt x="647" y="869"/>
                  </a:lnTo>
                  <a:lnTo>
                    <a:pt x="649" y="869"/>
                  </a:lnTo>
                  <a:lnTo>
                    <a:pt x="649" y="869"/>
                  </a:lnTo>
                  <a:lnTo>
                    <a:pt x="649" y="869"/>
                  </a:lnTo>
                  <a:lnTo>
                    <a:pt x="649" y="871"/>
                  </a:lnTo>
                  <a:lnTo>
                    <a:pt x="649" y="871"/>
                  </a:lnTo>
                  <a:lnTo>
                    <a:pt x="649" y="871"/>
                  </a:lnTo>
                  <a:lnTo>
                    <a:pt x="651" y="871"/>
                  </a:lnTo>
                  <a:lnTo>
                    <a:pt x="651" y="869"/>
                  </a:lnTo>
                  <a:lnTo>
                    <a:pt x="651" y="869"/>
                  </a:lnTo>
                  <a:lnTo>
                    <a:pt x="653" y="869"/>
                  </a:lnTo>
                  <a:lnTo>
                    <a:pt x="653" y="871"/>
                  </a:lnTo>
                  <a:lnTo>
                    <a:pt x="653" y="871"/>
                  </a:lnTo>
                  <a:lnTo>
                    <a:pt x="653" y="871"/>
                  </a:lnTo>
                  <a:lnTo>
                    <a:pt x="657" y="869"/>
                  </a:lnTo>
                  <a:lnTo>
                    <a:pt x="657" y="869"/>
                  </a:lnTo>
                  <a:lnTo>
                    <a:pt x="657" y="869"/>
                  </a:lnTo>
                  <a:lnTo>
                    <a:pt x="657" y="869"/>
                  </a:lnTo>
                  <a:lnTo>
                    <a:pt x="657" y="867"/>
                  </a:lnTo>
                  <a:lnTo>
                    <a:pt x="655" y="867"/>
                  </a:lnTo>
                  <a:close/>
                  <a:moveTo>
                    <a:pt x="680" y="871"/>
                  </a:moveTo>
                  <a:lnTo>
                    <a:pt x="680" y="871"/>
                  </a:lnTo>
                  <a:lnTo>
                    <a:pt x="680" y="871"/>
                  </a:lnTo>
                  <a:lnTo>
                    <a:pt x="678" y="871"/>
                  </a:lnTo>
                  <a:lnTo>
                    <a:pt x="678" y="871"/>
                  </a:lnTo>
                  <a:lnTo>
                    <a:pt x="678" y="871"/>
                  </a:lnTo>
                  <a:lnTo>
                    <a:pt x="676" y="871"/>
                  </a:lnTo>
                  <a:lnTo>
                    <a:pt x="676" y="873"/>
                  </a:lnTo>
                  <a:lnTo>
                    <a:pt x="676" y="871"/>
                  </a:lnTo>
                  <a:lnTo>
                    <a:pt x="676" y="871"/>
                  </a:lnTo>
                  <a:lnTo>
                    <a:pt x="676" y="871"/>
                  </a:lnTo>
                  <a:lnTo>
                    <a:pt x="676" y="871"/>
                  </a:lnTo>
                  <a:lnTo>
                    <a:pt x="676" y="871"/>
                  </a:lnTo>
                  <a:lnTo>
                    <a:pt x="674" y="871"/>
                  </a:lnTo>
                  <a:lnTo>
                    <a:pt x="674" y="871"/>
                  </a:lnTo>
                  <a:lnTo>
                    <a:pt x="674" y="871"/>
                  </a:lnTo>
                  <a:lnTo>
                    <a:pt x="674" y="871"/>
                  </a:lnTo>
                  <a:lnTo>
                    <a:pt x="674" y="871"/>
                  </a:lnTo>
                  <a:lnTo>
                    <a:pt x="674" y="871"/>
                  </a:lnTo>
                  <a:lnTo>
                    <a:pt x="674" y="871"/>
                  </a:lnTo>
                  <a:lnTo>
                    <a:pt x="674" y="871"/>
                  </a:lnTo>
                  <a:lnTo>
                    <a:pt x="672" y="871"/>
                  </a:lnTo>
                  <a:lnTo>
                    <a:pt x="672" y="871"/>
                  </a:lnTo>
                  <a:lnTo>
                    <a:pt x="672" y="871"/>
                  </a:lnTo>
                  <a:lnTo>
                    <a:pt x="672" y="871"/>
                  </a:lnTo>
                  <a:lnTo>
                    <a:pt x="672" y="871"/>
                  </a:lnTo>
                  <a:lnTo>
                    <a:pt x="672" y="871"/>
                  </a:lnTo>
                  <a:lnTo>
                    <a:pt x="672" y="871"/>
                  </a:lnTo>
                  <a:lnTo>
                    <a:pt x="670" y="873"/>
                  </a:lnTo>
                  <a:lnTo>
                    <a:pt x="672" y="873"/>
                  </a:lnTo>
                  <a:lnTo>
                    <a:pt x="674" y="873"/>
                  </a:lnTo>
                  <a:lnTo>
                    <a:pt x="674" y="873"/>
                  </a:lnTo>
                  <a:lnTo>
                    <a:pt x="674" y="873"/>
                  </a:lnTo>
                  <a:lnTo>
                    <a:pt x="674" y="873"/>
                  </a:lnTo>
                  <a:lnTo>
                    <a:pt x="674" y="873"/>
                  </a:lnTo>
                  <a:lnTo>
                    <a:pt x="674" y="873"/>
                  </a:lnTo>
                  <a:lnTo>
                    <a:pt x="674" y="873"/>
                  </a:lnTo>
                  <a:lnTo>
                    <a:pt x="676" y="873"/>
                  </a:lnTo>
                  <a:lnTo>
                    <a:pt x="678" y="875"/>
                  </a:lnTo>
                  <a:lnTo>
                    <a:pt x="678" y="873"/>
                  </a:lnTo>
                  <a:lnTo>
                    <a:pt x="678" y="873"/>
                  </a:lnTo>
                  <a:lnTo>
                    <a:pt x="680" y="873"/>
                  </a:lnTo>
                  <a:lnTo>
                    <a:pt x="680" y="873"/>
                  </a:lnTo>
                  <a:lnTo>
                    <a:pt x="680" y="871"/>
                  </a:lnTo>
                  <a:lnTo>
                    <a:pt x="680" y="871"/>
                  </a:lnTo>
                  <a:close/>
                  <a:moveTo>
                    <a:pt x="662" y="873"/>
                  </a:moveTo>
                  <a:lnTo>
                    <a:pt x="662" y="873"/>
                  </a:lnTo>
                  <a:lnTo>
                    <a:pt x="662" y="871"/>
                  </a:lnTo>
                  <a:lnTo>
                    <a:pt x="662" y="871"/>
                  </a:lnTo>
                  <a:lnTo>
                    <a:pt x="662" y="871"/>
                  </a:lnTo>
                  <a:lnTo>
                    <a:pt x="660" y="873"/>
                  </a:lnTo>
                  <a:lnTo>
                    <a:pt x="660" y="873"/>
                  </a:lnTo>
                  <a:lnTo>
                    <a:pt x="660" y="873"/>
                  </a:lnTo>
                  <a:lnTo>
                    <a:pt x="660" y="873"/>
                  </a:lnTo>
                  <a:lnTo>
                    <a:pt x="662" y="873"/>
                  </a:lnTo>
                  <a:lnTo>
                    <a:pt x="662" y="873"/>
                  </a:lnTo>
                  <a:lnTo>
                    <a:pt x="662" y="873"/>
                  </a:lnTo>
                  <a:lnTo>
                    <a:pt x="662" y="873"/>
                  </a:lnTo>
                  <a:lnTo>
                    <a:pt x="662" y="873"/>
                  </a:lnTo>
                  <a:close/>
                  <a:moveTo>
                    <a:pt x="662" y="869"/>
                  </a:moveTo>
                  <a:lnTo>
                    <a:pt x="662" y="869"/>
                  </a:lnTo>
                  <a:lnTo>
                    <a:pt x="662" y="867"/>
                  </a:lnTo>
                  <a:lnTo>
                    <a:pt x="662" y="867"/>
                  </a:lnTo>
                  <a:lnTo>
                    <a:pt x="662" y="867"/>
                  </a:lnTo>
                  <a:lnTo>
                    <a:pt x="662" y="867"/>
                  </a:lnTo>
                  <a:lnTo>
                    <a:pt x="664" y="867"/>
                  </a:lnTo>
                  <a:lnTo>
                    <a:pt x="664" y="867"/>
                  </a:lnTo>
                  <a:lnTo>
                    <a:pt x="664" y="867"/>
                  </a:lnTo>
                  <a:lnTo>
                    <a:pt x="664" y="867"/>
                  </a:lnTo>
                  <a:lnTo>
                    <a:pt x="664" y="867"/>
                  </a:lnTo>
                  <a:lnTo>
                    <a:pt x="664" y="867"/>
                  </a:lnTo>
                  <a:lnTo>
                    <a:pt x="666" y="867"/>
                  </a:lnTo>
                  <a:lnTo>
                    <a:pt x="666" y="867"/>
                  </a:lnTo>
                  <a:lnTo>
                    <a:pt x="666" y="865"/>
                  </a:lnTo>
                  <a:lnTo>
                    <a:pt x="666" y="865"/>
                  </a:lnTo>
                  <a:lnTo>
                    <a:pt x="662" y="863"/>
                  </a:lnTo>
                  <a:lnTo>
                    <a:pt x="662" y="863"/>
                  </a:lnTo>
                  <a:lnTo>
                    <a:pt x="664" y="863"/>
                  </a:lnTo>
                  <a:lnTo>
                    <a:pt x="662" y="863"/>
                  </a:lnTo>
                  <a:lnTo>
                    <a:pt x="662" y="863"/>
                  </a:lnTo>
                  <a:lnTo>
                    <a:pt x="662" y="863"/>
                  </a:lnTo>
                  <a:lnTo>
                    <a:pt x="662" y="863"/>
                  </a:lnTo>
                  <a:lnTo>
                    <a:pt x="664" y="861"/>
                  </a:lnTo>
                  <a:lnTo>
                    <a:pt x="664" y="861"/>
                  </a:lnTo>
                  <a:lnTo>
                    <a:pt x="664" y="861"/>
                  </a:lnTo>
                  <a:lnTo>
                    <a:pt x="664" y="861"/>
                  </a:lnTo>
                  <a:lnTo>
                    <a:pt x="664" y="861"/>
                  </a:lnTo>
                  <a:lnTo>
                    <a:pt x="664" y="861"/>
                  </a:lnTo>
                  <a:lnTo>
                    <a:pt x="664" y="861"/>
                  </a:lnTo>
                  <a:lnTo>
                    <a:pt x="664" y="861"/>
                  </a:lnTo>
                  <a:lnTo>
                    <a:pt x="662" y="861"/>
                  </a:lnTo>
                  <a:lnTo>
                    <a:pt x="662" y="861"/>
                  </a:lnTo>
                  <a:lnTo>
                    <a:pt x="662" y="861"/>
                  </a:lnTo>
                  <a:lnTo>
                    <a:pt x="662" y="861"/>
                  </a:lnTo>
                  <a:lnTo>
                    <a:pt x="662" y="861"/>
                  </a:lnTo>
                  <a:lnTo>
                    <a:pt x="662" y="861"/>
                  </a:lnTo>
                  <a:lnTo>
                    <a:pt x="662" y="861"/>
                  </a:lnTo>
                  <a:lnTo>
                    <a:pt x="662" y="861"/>
                  </a:lnTo>
                  <a:lnTo>
                    <a:pt x="662" y="859"/>
                  </a:lnTo>
                  <a:lnTo>
                    <a:pt x="662" y="859"/>
                  </a:lnTo>
                  <a:lnTo>
                    <a:pt x="660" y="859"/>
                  </a:lnTo>
                  <a:lnTo>
                    <a:pt x="660" y="861"/>
                  </a:lnTo>
                  <a:lnTo>
                    <a:pt x="660" y="861"/>
                  </a:lnTo>
                  <a:lnTo>
                    <a:pt x="660" y="861"/>
                  </a:lnTo>
                  <a:lnTo>
                    <a:pt x="660" y="861"/>
                  </a:lnTo>
                  <a:lnTo>
                    <a:pt x="660" y="861"/>
                  </a:lnTo>
                  <a:lnTo>
                    <a:pt x="660" y="861"/>
                  </a:lnTo>
                  <a:lnTo>
                    <a:pt x="657" y="863"/>
                  </a:lnTo>
                  <a:lnTo>
                    <a:pt x="662" y="863"/>
                  </a:lnTo>
                  <a:lnTo>
                    <a:pt x="662" y="863"/>
                  </a:lnTo>
                  <a:lnTo>
                    <a:pt x="662" y="863"/>
                  </a:lnTo>
                  <a:lnTo>
                    <a:pt x="660" y="865"/>
                  </a:lnTo>
                  <a:lnTo>
                    <a:pt x="660" y="865"/>
                  </a:lnTo>
                  <a:lnTo>
                    <a:pt x="660" y="865"/>
                  </a:lnTo>
                  <a:lnTo>
                    <a:pt x="660" y="867"/>
                  </a:lnTo>
                  <a:lnTo>
                    <a:pt x="660" y="867"/>
                  </a:lnTo>
                  <a:lnTo>
                    <a:pt x="660" y="867"/>
                  </a:lnTo>
                  <a:lnTo>
                    <a:pt x="660" y="869"/>
                  </a:lnTo>
                  <a:lnTo>
                    <a:pt x="660" y="869"/>
                  </a:lnTo>
                  <a:lnTo>
                    <a:pt x="662" y="869"/>
                  </a:lnTo>
                  <a:close/>
                  <a:moveTo>
                    <a:pt x="670" y="873"/>
                  </a:moveTo>
                  <a:lnTo>
                    <a:pt x="670" y="871"/>
                  </a:lnTo>
                  <a:lnTo>
                    <a:pt x="666" y="871"/>
                  </a:lnTo>
                  <a:lnTo>
                    <a:pt x="664" y="871"/>
                  </a:lnTo>
                  <a:lnTo>
                    <a:pt x="664" y="871"/>
                  </a:lnTo>
                  <a:lnTo>
                    <a:pt x="666" y="871"/>
                  </a:lnTo>
                  <a:lnTo>
                    <a:pt x="666" y="873"/>
                  </a:lnTo>
                  <a:lnTo>
                    <a:pt x="668" y="873"/>
                  </a:lnTo>
                  <a:lnTo>
                    <a:pt x="668" y="873"/>
                  </a:lnTo>
                  <a:lnTo>
                    <a:pt x="668" y="873"/>
                  </a:lnTo>
                  <a:lnTo>
                    <a:pt x="668" y="875"/>
                  </a:lnTo>
                  <a:lnTo>
                    <a:pt x="668" y="873"/>
                  </a:lnTo>
                  <a:lnTo>
                    <a:pt x="668" y="873"/>
                  </a:lnTo>
                  <a:lnTo>
                    <a:pt x="670" y="873"/>
                  </a:lnTo>
                  <a:lnTo>
                    <a:pt x="670" y="873"/>
                  </a:lnTo>
                  <a:lnTo>
                    <a:pt x="670" y="873"/>
                  </a:lnTo>
                  <a:lnTo>
                    <a:pt x="670" y="873"/>
                  </a:lnTo>
                  <a:lnTo>
                    <a:pt x="670" y="873"/>
                  </a:lnTo>
                  <a:lnTo>
                    <a:pt x="670" y="873"/>
                  </a:lnTo>
                  <a:lnTo>
                    <a:pt x="670" y="873"/>
                  </a:lnTo>
                  <a:close/>
                  <a:moveTo>
                    <a:pt x="643" y="873"/>
                  </a:moveTo>
                  <a:lnTo>
                    <a:pt x="643" y="873"/>
                  </a:lnTo>
                  <a:lnTo>
                    <a:pt x="641" y="871"/>
                  </a:lnTo>
                  <a:lnTo>
                    <a:pt x="641" y="873"/>
                  </a:lnTo>
                  <a:lnTo>
                    <a:pt x="641" y="873"/>
                  </a:lnTo>
                  <a:lnTo>
                    <a:pt x="641" y="873"/>
                  </a:lnTo>
                  <a:lnTo>
                    <a:pt x="641" y="873"/>
                  </a:lnTo>
                  <a:lnTo>
                    <a:pt x="641" y="873"/>
                  </a:lnTo>
                  <a:lnTo>
                    <a:pt x="641" y="873"/>
                  </a:lnTo>
                  <a:lnTo>
                    <a:pt x="643" y="875"/>
                  </a:lnTo>
                  <a:lnTo>
                    <a:pt x="643" y="873"/>
                  </a:lnTo>
                  <a:lnTo>
                    <a:pt x="643" y="873"/>
                  </a:lnTo>
                  <a:lnTo>
                    <a:pt x="643" y="873"/>
                  </a:lnTo>
                  <a:lnTo>
                    <a:pt x="643" y="873"/>
                  </a:lnTo>
                  <a:close/>
                  <a:moveTo>
                    <a:pt x="627" y="367"/>
                  </a:moveTo>
                  <a:lnTo>
                    <a:pt x="633" y="371"/>
                  </a:lnTo>
                  <a:lnTo>
                    <a:pt x="633" y="375"/>
                  </a:lnTo>
                  <a:lnTo>
                    <a:pt x="635" y="377"/>
                  </a:lnTo>
                  <a:lnTo>
                    <a:pt x="633" y="373"/>
                  </a:lnTo>
                  <a:lnTo>
                    <a:pt x="633" y="371"/>
                  </a:lnTo>
                  <a:lnTo>
                    <a:pt x="627" y="367"/>
                  </a:lnTo>
                  <a:close/>
                  <a:moveTo>
                    <a:pt x="641" y="385"/>
                  </a:moveTo>
                  <a:lnTo>
                    <a:pt x="643" y="385"/>
                  </a:lnTo>
                  <a:lnTo>
                    <a:pt x="643" y="387"/>
                  </a:lnTo>
                  <a:lnTo>
                    <a:pt x="643" y="389"/>
                  </a:lnTo>
                  <a:lnTo>
                    <a:pt x="643" y="387"/>
                  </a:lnTo>
                  <a:lnTo>
                    <a:pt x="641" y="385"/>
                  </a:lnTo>
                  <a:close/>
                  <a:moveTo>
                    <a:pt x="602" y="359"/>
                  </a:moveTo>
                  <a:lnTo>
                    <a:pt x="604" y="361"/>
                  </a:lnTo>
                  <a:lnTo>
                    <a:pt x="604" y="363"/>
                  </a:lnTo>
                  <a:lnTo>
                    <a:pt x="604" y="363"/>
                  </a:lnTo>
                  <a:lnTo>
                    <a:pt x="606" y="363"/>
                  </a:lnTo>
                  <a:lnTo>
                    <a:pt x="606" y="365"/>
                  </a:lnTo>
                  <a:lnTo>
                    <a:pt x="606" y="365"/>
                  </a:lnTo>
                  <a:lnTo>
                    <a:pt x="606" y="365"/>
                  </a:lnTo>
                  <a:lnTo>
                    <a:pt x="608" y="365"/>
                  </a:lnTo>
                  <a:lnTo>
                    <a:pt x="608" y="365"/>
                  </a:lnTo>
                  <a:lnTo>
                    <a:pt x="608" y="365"/>
                  </a:lnTo>
                  <a:lnTo>
                    <a:pt x="608" y="365"/>
                  </a:lnTo>
                  <a:lnTo>
                    <a:pt x="610" y="367"/>
                  </a:lnTo>
                  <a:lnTo>
                    <a:pt x="610" y="367"/>
                  </a:lnTo>
                  <a:lnTo>
                    <a:pt x="612" y="367"/>
                  </a:lnTo>
                  <a:lnTo>
                    <a:pt x="612" y="365"/>
                  </a:lnTo>
                  <a:lnTo>
                    <a:pt x="612" y="365"/>
                  </a:lnTo>
                  <a:lnTo>
                    <a:pt x="614" y="365"/>
                  </a:lnTo>
                  <a:lnTo>
                    <a:pt x="614" y="365"/>
                  </a:lnTo>
                  <a:lnTo>
                    <a:pt x="614" y="365"/>
                  </a:lnTo>
                  <a:lnTo>
                    <a:pt x="614" y="365"/>
                  </a:lnTo>
                  <a:lnTo>
                    <a:pt x="617" y="365"/>
                  </a:lnTo>
                  <a:lnTo>
                    <a:pt x="619" y="363"/>
                  </a:lnTo>
                  <a:lnTo>
                    <a:pt x="619" y="363"/>
                  </a:lnTo>
                  <a:lnTo>
                    <a:pt x="619" y="363"/>
                  </a:lnTo>
                  <a:lnTo>
                    <a:pt x="621" y="363"/>
                  </a:lnTo>
                  <a:lnTo>
                    <a:pt x="621" y="363"/>
                  </a:lnTo>
                  <a:lnTo>
                    <a:pt x="621" y="363"/>
                  </a:lnTo>
                  <a:lnTo>
                    <a:pt x="621" y="363"/>
                  </a:lnTo>
                  <a:lnTo>
                    <a:pt x="625" y="363"/>
                  </a:lnTo>
                  <a:lnTo>
                    <a:pt x="625" y="363"/>
                  </a:lnTo>
                  <a:lnTo>
                    <a:pt x="625" y="363"/>
                  </a:lnTo>
                  <a:lnTo>
                    <a:pt x="625" y="365"/>
                  </a:lnTo>
                  <a:lnTo>
                    <a:pt x="627" y="365"/>
                  </a:lnTo>
                  <a:lnTo>
                    <a:pt x="627" y="365"/>
                  </a:lnTo>
                  <a:lnTo>
                    <a:pt x="627" y="365"/>
                  </a:lnTo>
                  <a:lnTo>
                    <a:pt x="629" y="367"/>
                  </a:lnTo>
                  <a:lnTo>
                    <a:pt x="629" y="367"/>
                  </a:lnTo>
                  <a:lnTo>
                    <a:pt x="629" y="367"/>
                  </a:lnTo>
                  <a:lnTo>
                    <a:pt x="629" y="367"/>
                  </a:lnTo>
                  <a:lnTo>
                    <a:pt x="629" y="367"/>
                  </a:lnTo>
                  <a:lnTo>
                    <a:pt x="631" y="367"/>
                  </a:lnTo>
                  <a:lnTo>
                    <a:pt x="633" y="371"/>
                  </a:lnTo>
                  <a:lnTo>
                    <a:pt x="633" y="371"/>
                  </a:lnTo>
                  <a:lnTo>
                    <a:pt x="635" y="373"/>
                  </a:lnTo>
                  <a:lnTo>
                    <a:pt x="637" y="375"/>
                  </a:lnTo>
                  <a:lnTo>
                    <a:pt x="637" y="375"/>
                  </a:lnTo>
                  <a:lnTo>
                    <a:pt x="637" y="375"/>
                  </a:lnTo>
                  <a:lnTo>
                    <a:pt x="637" y="375"/>
                  </a:lnTo>
                  <a:lnTo>
                    <a:pt x="637" y="377"/>
                  </a:lnTo>
                  <a:lnTo>
                    <a:pt x="637" y="377"/>
                  </a:lnTo>
                  <a:lnTo>
                    <a:pt x="637" y="377"/>
                  </a:lnTo>
                  <a:lnTo>
                    <a:pt x="637" y="379"/>
                  </a:lnTo>
                  <a:lnTo>
                    <a:pt x="637" y="379"/>
                  </a:lnTo>
                  <a:lnTo>
                    <a:pt x="637" y="379"/>
                  </a:lnTo>
                  <a:lnTo>
                    <a:pt x="635" y="379"/>
                  </a:lnTo>
                  <a:lnTo>
                    <a:pt x="635" y="379"/>
                  </a:lnTo>
                  <a:lnTo>
                    <a:pt x="635" y="379"/>
                  </a:lnTo>
                  <a:lnTo>
                    <a:pt x="635" y="379"/>
                  </a:lnTo>
                  <a:lnTo>
                    <a:pt x="637" y="381"/>
                  </a:lnTo>
                  <a:lnTo>
                    <a:pt x="637" y="381"/>
                  </a:lnTo>
                  <a:lnTo>
                    <a:pt x="637" y="381"/>
                  </a:lnTo>
                  <a:lnTo>
                    <a:pt x="639" y="381"/>
                  </a:lnTo>
                  <a:lnTo>
                    <a:pt x="639" y="379"/>
                  </a:lnTo>
                  <a:lnTo>
                    <a:pt x="639" y="381"/>
                  </a:lnTo>
                  <a:lnTo>
                    <a:pt x="639" y="381"/>
                  </a:lnTo>
                  <a:lnTo>
                    <a:pt x="639" y="381"/>
                  </a:lnTo>
                  <a:lnTo>
                    <a:pt x="639" y="381"/>
                  </a:lnTo>
                  <a:lnTo>
                    <a:pt x="639" y="381"/>
                  </a:lnTo>
                  <a:lnTo>
                    <a:pt x="639" y="381"/>
                  </a:lnTo>
                  <a:lnTo>
                    <a:pt x="639" y="381"/>
                  </a:lnTo>
                  <a:lnTo>
                    <a:pt x="641" y="383"/>
                  </a:lnTo>
                  <a:lnTo>
                    <a:pt x="641" y="383"/>
                  </a:lnTo>
                  <a:lnTo>
                    <a:pt x="641" y="383"/>
                  </a:lnTo>
                  <a:lnTo>
                    <a:pt x="643" y="385"/>
                  </a:lnTo>
                  <a:lnTo>
                    <a:pt x="645" y="385"/>
                  </a:lnTo>
                  <a:lnTo>
                    <a:pt x="645" y="387"/>
                  </a:lnTo>
                  <a:lnTo>
                    <a:pt x="645" y="389"/>
                  </a:lnTo>
                  <a:lnTo>
                    <a:pt x="645" y="389"/>
                  </a:lnTo>
                  <a:lnTo>
                    <a:pt x="645" y="389"/>
                  </a:lnTo>
                  <a:lnTo>
                    <a:pt x="645" y="389"/>
                  </a:lnTo>
                  <a:lnTo>
                    <a:pt x="645" y="391"/>
                  </a:lnTo>
                  <a:lnTo>
                    <a:pt x="645" y="391"/>
                  </a:lnTo>
                  <a:lnTo>
                    <a:pt x="645" y="391"/>
                  </a:lnTo>
                  <a:lnTo>
                    <a:pt x="645" y="391"/>
                  </a:lnTo>
                  <a:lnTo>
                    <a:pt x="645" y="391"/>
                  </a:lnTo>
                  <a:lnTo>
                    <a:pt x="645" y="393"/>
                  </a:lnTo>
                  <a:lnTo>
                    <a:pt x="645" y="393"/>
                  </a:lnTo>
                  <a:lnTo>
                    <a:pt x="643" y="393"/>
                  </a:lnTo>
                  <a:lnTo>
                    <a:pt x="645" y="393"/>
                  </a:lnTo>
                  <a:lnTo>
                    <a:pt x="645" y="396"/>
                  </a:lnTo>
                  <a:lnTo>
                    <a:pt x="645" y="396"/>
                  </a:lnTo>
                  <a:lnTo>
                    <a:pt x="645" y="396"/>
                  </a:lnTo>
                  <a:lnTo>
                    <a:pt x="647" y="396"/>
                  </a:lnTo>
                  <a:lnTo>
                    <a:pt x="647" y="393"/>
                  </a:lnTo>
                  <a:lnTo>
                    <a:pt x="647" y="393"/>
                  </a:lnTo>
                  <a:lnTo>
                    <a:pt x="649" y="393"/>
                  </a:lnTo>
                  <a:lnTo>
                    <a:pt x="649" y="393"/>
                  </a:lnTo>
                  <a:lnTo>
                    <a:pt x="649" y="393"/>
                  </a:lnTo>
                  <a:lnTo>
                    <a:pt x="649" y="391"/>
                  </a:lnTo>
                  <a:lnTo>
                    <a:pt x="649" y="391"/>
                  </a:lnTo>
                  <a:lnTo>
                    <a:pt x="649" y="391"/>
                  </a:lnTo>
                  <a:lnTo>
                    <a:pt x="649" y="389"/>
                  </a:lnTo>
                  <a:lnTo>
                    <a:pt x="649" y="389"/>
                  </a:lnTo>
                  <a:lnTo>
                    <a:pt x="651" y="389"/>
                  </a:lnTo>
                  <a:lnTo>
                    <a:pt x="651" y="389"/>
                  </a:lnTo>
                  <a:lnTo>
                    <a:pt x="653" y="389"/>
                  </a:lnTo>
                  <a:lnTo>
                    <a:pt x="653" y="387"/>
                  </a:lnTo>
                  <a:lnTo>
                    <a:pt x="653" y="387"/>
                  </a:lnTo>
                  <a:lnTo>
                    <a:pt x="653" y="387"/>
                  </a:lnTo>
                  <a:lnTo>
                    <a:pt x="653" y="387"/>
                  </a:lnTo>
                  <a:lnTo>
                    <a:pt x="655" y="385"/>
                  </a:lnTo>
                  <a:lnTo>
                    <a:pt x="657" y="385"/>
                  </a:lnTo>
                  <a:lnTo>
                    <a:pt x="662" y="385"/>
                  </a:lnTo>
                  <a:lnTo>
                    <a:pt x="660" y="385"/>
                  </a:lnTo>
                  <a:lnTo>
                    <a:pt x="660" y="385"/>
                  </a:lnTo>
                  <a:lnTo>
                    <a:pt x="657" y="385"/>
                  </a:lnTo>
                  <a:lnTo>
                    <a:pt x="657" y="385"/>
                  </a:lnTo>
                  <a:lnTo>
                    <a:pt x="655" y="387"/>
                  </a:lnTo>
                  <a:lnTo>
                    <a:pt x="657" y="385"/>
                  </a:lnTo>
                  <a:lnTo>
                    <a:pt x="664" y="387"/>
                  </a:lnTo>
                  <a:lnTo>
                    <a:pt x="664" y="387"/>
                  </a:lnTo>
                  <a:lnTo>
                    <a:pt x="664" y="387"/>
                  </a:lnTo>
                  <a:lnTo>
                    <a:pt x="664" y="387"/>
                  </a:lnTo>
                  <a:lnTo>
                    <a:pt x="668" y="389"/>
                  </a:lnTo>
                  <a:lnTo>
                    <a:pt x="668" y="389"/>
                  </a:lnTo>
                  <a:lnTo>
                    <a:pt x="670" y="387"/>
                  </a:lnTo>
                  <a:lnTo>
                    <a:pt x="670" y="385"/>
                  </a:lnTo>
                  <a:lnTo>
                    <a:pt x="672" y="385"/>
                  </a:lnTo>
                  <a:lnTo>
                    <a:pt x="670" y="383"/>
                  </a:lnTo>
                  <a:lnTo>
                    <a:pt x="672" y="383"/>
                  </a:lnTo>
                  <a:lnTo>
                    <a:pt x="672" y="383"/>
                  </a:lnTo>
                  <a:lnTo>
                    <a:pt x="672" y="383"/>
                  </a:lnTo>
                  <a:lnTo>
                    <a:pt x="672" y="381"/>
                  </a:lnTo>
                  <a:lnTo>
                    <a:pt x="666" y="379"/>
                  </a:lnTo>
                  <a:lnTo>
                    <a:pt x="666" y="379"/>
                  </a:lnTo>
                  <a:lnTo>
                    <a:pt x="666" y="379"/>
                  </a:lnTo>
                  <a:lnTo>
                    <a:pt x="664" y="379"/>
                  </a:lnTo>
                  <a:lnTo>
                    <a:pt x="662" y="377"/>
                  </a:lnTo>
                  <a:lnTo>
                    <a:pt x="662" y="377"/>
                  </a:lnTo>
                  <a:lnTo>
                    <a:pt x="662" y="379"/>
                  </a:lnTo>
                  <a:lnTo>
                    <a:pt x="664" y="379"/>
                  </a:lnTo>
                  <a:lnTo>
                    <a:pt x="664" y="379"/>
                  </a:lnTo>
                  <a:lnTo>
                    <a:pt x="664" y="381"/>
                  </a:lnTo>
                  <a:lnTo>
                    <a:pt x="662" y="381"/>
                  </a:lnTo>
                  <a:lnTo>
                    <a:pt x="662" y="381"/>
                  </a:lnTo>
                  <a:lnTo>
                    <a:pt x="660" y="379"/>
                  </a:lnTo>
                  <a:lnTo>
                    <a:pt x="660" y="377"/>
                  </a:lnTo>
                  <a:lnTo>
                    <a:pt x="660" y="377"/>
                  </a:lnTo>
                  <a:lnTo>
                    <a:pt x="657" y="377"/>
                  </a:lnTo>
                  <a:lnTo>
                    <a:pt x="655" y="375"/>
                  </a:lnTo>
                  <a:lnTo>
                    <a:pt x="655" y="375"/>
                  </a:lnTo>
                  <a:lnTo>
                    <a:pt x="655" y="377"/>
                  </a:lnTo>
                  <a:lnTo>
                    <a:pt x="655" y="377"/>
                  </a:lnTo>
                  <a:lnTo>
                    <a:pt x="655" y="377"/>
                  </a:lnTo>
                  <a:lnTo>
                    <a:pt x="653" y="375"/>
                  </a:lnTo>
                  <a:lnTo>
                    <a:pt x="653" y="375"/>
                  </a:lnTo>
                  <a:lnTo>
                    <a:pt x="653" y="375"/>
                  </a:lnTo>
                  <a:lnTo>
                    <a:pt x="653" y="373"/>
                  </a:lnTo>
                  <a:lnTo>
                    <a:pt x="653" y="371"/>
                  </a:lnTo>
                  <a:lnTo>
                    <a:pt x="651" y="371"/>
                  </a:lnTo>
                  <a:lnTo>
                    <a:pt x="649" y="371"/>
                  </a:lnTo>
                  <a:lnTo>
                    <a:pt x="647" y="369"/>
                  </a:lnTo>
                  <a:lnTo>
                    <a:pt x="649" y="369"/>
                  </a:lnTo>
                  <a:lnTo>
                    <a:pt x="649" y="369"/>
                  </a:lnTo>
                  <a:lnTo>
                    <a:pt x="649" y="369"/>
                  </a:lnTo>
                  <a:lnTo>
                    <a:pt x="647" y="369"/>
                  </a:lnTo>
                  <a:lnTo>
                    <a:pt x="647" y="369"/>
                  </a:lnTo>
                  <a:lnTo>
                    <a:pt x="645" y="367"/>
                  </a:lnTo>
                  <a:lnTo>
                    <a:pt x="643" y="365"/>
                  </a:lnTo>
                  <a:lnTo>
                    <a:pt x="643" y="365"/>
                  </a:lnTo>
                  <a:lnTo>
                    <a:pt x="643" y="367"/>
                  </a:lnTo>
                  <a:lnTo>
                    <a:pt x="643" y="365"/>
                  </a:lnTo>
                  <a:lnTo>
                    <a:pt x="643" y="365"/>
                  </a:lnTo>
                  <a:lnTo>
                    <a:pt x="645" y="365"/>
                  </a:lnTo>
                  <a:lnTo>
                    <a:pt x="645" y="363"/>
                  </a:lnTo>
                  <a:lnTo>
                    <a:pt x="645" y="363"/>
                  </a:lnTo>
                  <a:lnTo>
                    <a:pt x="645" y="363"/>
                  </a:lnTo>
                  <a:lnTo>
                    <a:pt x="645" y="363"/>
                  </a:lnTo>
                  <a:lnTo>
                    <a:pt x="645" y="363"/>
                  </a:lnTo>
                  <a:lnTo>
                    <a:pt x="645" y="361"/>
                  </a:lnTo>
                  <a:lnTo>
                    <a:pt x="645" y="361"/>
                  </a:lnTo>
                  <a:lnTo>
                    <a:pt x="645" y="359"/>
                  </a:lnTo>
                  <a:lnTo>
                    <a:pt x="643" y="359"/>
                  </a:lnTo>
                  <a:lnTo>
                    <a:pt x="643" y="359"/>
                  </a:lnTo>
                  <a:lnTo>
                    <a:pt x="643" y="359"/>
                  </a:lnTo>
                  <a:lnTo>
                    <a:pt x="641" y="357"/>
                  </a:lnTo>
                  <a:lnTo>
                    <a:pt x="641" y="355"/>
                  </a:lnTo>
                  <a:lnTo>
                    <a:pt x="641" y="355"/>
                  </a:lnTo>
                  <a:lnTo>
                    <a:pt x="641" y="355"/>
                  </a:lnTo>
                  <a:lnTo>
                    <a:pt x="641" y="355"/>
                  </a:lnTo>
                  <a:lnTo>
                    <a:pt x="641" y="355"/>
                  </a:lnTo>
                  <a:lnTo>
                    <a:pt x="639" y="355"/>
                  </a:lnTo>
                  <a:lnTo>
                    <a:pt x="639" y="355"/>
                  </a:lnTo>
                  <a:lnTo>
                    <a:pt x="639" y="355"/>
                  </a:lnTo>
                  <a:lnTo>
                    <a:pt x="637" y="352"/>
                  </a:lnTo>
                  <a:lnTo>
                    <a:pt x="637" y="352"/>
                  </a:lnTo>
                  <a:lnTo>
                    <a:pt x="637" y="352"/>
                  </a:lnTo>
                  <a:lnTo>
                    <a:pt x="637" y="352"/>
                  </a:lnTo>
                  <a:lnTo>
                    <a:pt x="633" y="355"/>
                  </a:lnTo>
                  <a:lnTo>
                    <a:pt x="633" y="355"/>
                  </a:lnTo>
                  <a:lnTo>
                    <a:pt x="633" y="352"/>
                  </a:lnTo>
                  <a:lnTo>
                    <a:pt x="633" y="352"/>
                  </a:lnTo>
                  <a:lnTo>
                    <a:pt x="631" y="355"/>
                  </a:lnTo>
                  <a:lnTo>
                    <a:pt x="629" y="355"/>
                  </a:lnTo>
                  <a:lnTo>
                    <a:pt x="627" y="357"/>
                  </a:lnTo>
                  <a:lnTo>
                    <a:pt x="627" y="357"/>
                  </a:lnTo>
                  <a:lnTo>
                    <a:pt x="625" y="357"/>
                  </a:lnTo>
                  <a:lnTo>
                    <a:pt x="625" y="357"/>
                  </a:lnTo>
                  <a:lnTo>
                    <a:pt x="625" y="357"/>
                  </a:lnTo>
                  <a:lnTo>
                    <a:pt x="625" y="357"/>
                  </a:lnTo>
                  <a:lnTo>
                    <a:pt x="625" y="357"/>
                  </a:lnTo>
                  <a:lnTo>
                    <a:pt x="621" y="355"/>
                  </a:lnTo>
                  <a:lnTo>
                    <a:pt x="621" y="355"/>
                  </a:lnTo>
                  <a:lnTo>
                    <a:pt x="621" y="355"/>
                  </a:lnTo>
                  <a:lnTo>
                    <a:pt x="621" y="355"/>
                  </a:lnTo>
                  <a:lnTo>
                    <a:pt x="621" y="355"/>
                  </a:lnTo>
                  <a:lnTo>
                    <a:pt x="621" y="355"/>
                  </a:lnTo>
                  <a:lnTo>
                    <a:pt x="621" y="355"/>
                  </a:lnTo>
                  <a:lnTo>
                    <a:pt x="621" y="355"/>
                  </a:lnTo>
                  <a:lnTo>
                    <a:pt x="621" y="355"/>
                  </a:lnTo>
                  <a:lnTo>
                    <a:pt x="617" y="350"/>
                  </a:lnTo>
                  <a:lnTo>
                    <a:pt x="617" y="350"/>
                  </a:lnTo>
                  <a:lnTo>
                    <a:pt x="617" y="350"/>
                  </a:lnTo>
                  <a:lnTo>
                    <a:pt x="617" y="352"/>
                  </a:lnTo>
                  <a:lnTo>
                    <a:pt x="617" y="352"/>
                  </a:lnTo>
                  <a:lnTo>
                    <a:pt x="617" y="352"/>
                  </a:lnTo>
                  <a:lnTo>
                    <a:pt x="612" y="352"/>
                  </a:lnTo>
                  <a:lnTo>
                    <a:pt x="612" y="352"/>
                  </a:lnTo>
                  <a:lnTo>
                    <a:pt x="612" y="350"/>
                  </a:lnTo>
                  <a:lnTo>
                    <a:pt x="612" y="350"/>
                  </a:lnTo>
                  <a:lnTo>
                    <a:pt x="612" y="350"/>
                  </a:lnTo>
                  <a:lnTo>
                    <a:pt x="612" y="350"/>
                  </a:lnTo>
                  <a:lnTo>
                    <a:pt x="612" y="350"/>
                  </a:lnTo>
                  <a:lnTo>
                    <a:pt x="612" y="350"/>
                  </a:lnTo>
                  <a:lnTo>
                    <a:pt x="612" y="348"/>
                  </a:lnTo>
                  <a:lnTo>
                    <a:pt x="614" y="348"/>
                  </a:lnTo>
                  <a:lnTo>
                    <a:pt x="614" y="350"/>
                  </a:lnTo>
                  <a:lnTo>
                    <a:pt x="614" y="350"/>
                  </a:lnTo>
                  <a:lnTo>
                    <a:pt x="614" y="350"/>
                  </a:lnTo>
                  <a:lnTo>
                    <a:pt x="614" y="348"/>
                  </a:lnTo>
                  <a:lnTo>
                    <a:pt x="610" y="346"/>
                  </a:lnTo>
                  <a:lnTo>
                    <a:pt x="610" y="346"/>
                  </a:lnTo>
                  <a:lnTo>
                    <a:pt x="610" y="346"/>
                  </a:lnTo>
                  <a:lnTo>
                    <a:pt x="610" y="344"/>
                  </a:lnTo>
                  <a:lnTo>
                    <a:pt x="610" y="344"/>
                  </a:lnTo>
                  <a:lnTo>
                    <a:pt x="612" y="344"/>
                  </a:lnTo>
                  <a:lnTo>
                    <a:pt x="612" y="342"/>
                  </a:lnTo>
                  <a:lnTo>
                    <a:pt x="612" y="342"/>
                  </a:lnTo>
                  <a:lnTo>
                    <a:pt x="612" y="342"/>
                  </a:lnTo>
                  <a:lnTo>
                    <a:pt x="610" y="340"/>
                  </a:lnTo>
                  <a:lnTo>
                    <a:pt x="610" y="342"/>
                  </a:lnTo>
                  <a:lnTo>
                    <a:pt x="610" y="340"/>
                  </a:lnTo>
                  <a:lnTo>
                    <a:pt x="610" y="340"/>
                  </a:lnTo>
                  <a:lnTo>
                    <a:pt x="610" y="340"/>
                  </a:lnTo>
                  <a:lnTo>
                    <a:pt x="610" y="340"/>
                  </a:lnTo>
                  <a:lnTo>
                    <a:pt x="610" y="342"/>
                  </a:lnTo>
                  <a:lnTo>
                    <a:pt x="610" y="342"/>
                  </a:lnTo>
                  <a:lnTo>
                    <a:pt x="610" y="342"/>
                  </a:lnTo>
                  <a:lnTo>
                    <a:pt x="610" y="342"/>
                  </a:lnTo>
                  <a:lnTo>
                    <a:pt x="610" y="342"/>
                  </a:lnTo>
                  <a:lnTo>
                    <a:pt x="608" y="344"/>
                  </a:lnTo>
                  <a:lnTo>
                    <a:pt x="608" y="344"/>
                  </a:lnTo>
                  <a:lnTo>
                    <a:pt x="608" y="346"/>
                  </a:lnTo>
                  <a:lnTo>
                    <a:pt x="608" y="346"/>
                  </a:lnTo>
                  <a:lnTo>
                    <a:pt x="608" y="346"/>
                  </a:lnTo>
                  <a:lnTo>
                    <a:pt x="606" y="348"/>
                  </a:lnTo>
                  <a:lnTo>
                    <a:pt x="606" y="348"/>
                  </a:lnTo>
                  <a:lnTo>
                    <a:pt x="606" y="348"/>
                  </a:lnTo>
                  <a:lnTo>
                    <a:pt x="606" y="348"/>
                  </a:lnTo>
                  <a:lnTo>
                    <a:pt x="606" y="348"/>
                  </a:lnTo>
                  <a:lnTo>
                    <a:pt x="606" y="348"/>
                  </a:lnTo>
                  <a:lnTo>
                    <a:pt x="606" y="348"/>
                  </a:lnTo>
                  <a:lnTo>
                    <a:pt x="606" y="348"/>
                  </a:lnTo>
                  <a:lnTo>
                    <a:pt x="606" y="350"/>
                  </a:lnTo>
                  <a:lnTo>
                    <a:pt x="606" y="350"/>
                  </a:lnTo>
                  <a:lnTo>
                    <a:pt x="606" y="350"/>
                  </a:lnTo>
                  <a:lnTo>
                    <a:pt x="604" y="350"/>
                  </a:lnTo>
                  <a:lnTo>
                    <a:pt x="604" y="350"/>
                  </a:lnTo>
                  <a:lnTo>
                    <a:pt x="604" y="350"/>
                  </a:lnTo>
                  <a:lnTo>
                    <a:pt x="604" y="352"/>
                  </a:lnTo>
                  <a:lnTo>
                    <a:pt x="604" y="352"/>
                  </a:lnTo>
                  <a:lnTo>
                    <a:pt x="604" y="352"/>
                  </a:lnTo>
                  <a:lnTo>
                    <a:pt x="604" y="355"/>
                  </a:lnTo>
                  <a:lnTo>
                    <a:pt x="604" y="355"/>
                  </a:lnTo>
                  <a:lnTo>
                    <a:pt x="604" y="355"/>
                  </a:lnTo>
                  <a:lnTo>
                    <a:pt x="604" y="355"/>
                  </a:lnTo>
                  <a:lnTo>
                    <a:pt x="604" y="355"/>
                  </a:lnTo>
                  <a:lnTo>
                    <a:pt x="604" y="355"/>
                  </a:lnTo>
                  <a:lnTo>
                    <a:pt x="604" y="357"/>
                  </a:lnTo>
                  <a:lnTo>
                    <a:pt x="604" y="357"/>
                  </a:lnTo>
                  <a:lnTo>
                    <a:pt x="602" y="357"/>
                  </a:lnTo>
                  <a:lnTo>
                    <a:pt x="602" y="359"/>
                  </a:lnTo>
                  <a:close/>
                  <a:moveTo>
                    <a:pt x="623" y="363"/>
                  </a:moveTo>
                  <a:lnTo>
                    <a:pt x="627" y="367"/>
                  </a:lnTo>
                  <a:lnTo>
                    <a:pt x="621" y="363"/>
                  </a:lnTo>
                  <a:lnTo>
                    <a:pt x="621" y="363"/>
                  </a:lnTo>
                  <a:lnTo>
                    <a:pt x="621" y="363"/>
                  </a:lnTo>
                  <a:lnTo>
                    <a:pt x="623" y="363"/>
                  </a:lnTo>
                  <a:close/>
                  <a:moveTo>
                    <a:pt x="623" y="355"/>
                  </a:moveTo>
                  <a:lnTo>
                    <a:pt x="623" y="355"/>
                  </a:lnTo>
                  <a:lnTo>
                    <a:pt x="623" y="355"/>
                  </a:lnTo>
                  <a:lnTo>
                    <a:pt x="623" y="355"/>
                  </a:lnTo>
                  <a:close/>
                  <a:moveTo>
                    <a:pt x="621" y="355"/>
                  </a:moveTo>
                  <a:lnTo>
                    <a:pt x="621" y="355"/>
                  </a:lnTo>
                  <a:lnTo>
                    <a:pt x="623" y="355"/>
                  </a:lnTo>
                  <a:lnTo>
                    <a:pt x="621" y="355"/>
                  </a:lnTo>
                  <a:close/>
                  <a:moveTo>
                    <a:pt x="653" y="375"/>
                  </a:moveTo>
                  <a:lnTo>
                    <a:pt x="653" y="375"/>
                  </a:lnTo>
                  <a:lnTo>
                    <a:pt x="655" y="375"/>
                  </a:lnTo>
                  <a:lnTo>
                    <a:pt x="655" y="375"/>
                  </a:lnTo>
                  <a:lnTo>
                    <a:pt x="655" y="375"/>
                  </a:lnTo>
                  <a:lnTo>
                    <a:pt x="653" y="375"/>
                  </a:lnTo>
                  <a:close/>
                  <a:moveTo>
                    <a:pt x="635" y="885"/>
                  </a:moveTo>
                  <a:lnTo>
                    <a:pt x="635" y="883"/>
                  </a:lnTo>
                  <a:lnTo>
                    <a:pt x="635" y="883"/>
                  </a:lnTo>
                  <a:lnTo>
                    <a:pt x="635" y="883"/>
                  </a:lnTo>
                  <a:lnTo>
                    <a:pt x="635" y="881"/>
                  </a:lnTo>
                  <a:lnTo>
                    <a:pt x="635" y="881"/>
                  </a:lnTo>
                  <a:lnTo>
                    <a:pt x="635" y="881"/>
                  </a:lnTo>
                  <a:lnTo>
                    <a:pt x="633" y="881"/>
                  </a:lnTo>
                  <a:lnTo>
                    <a:pt x="633" y="883"/>
                  </a:lnTo>
                  <a:lnTo>
                    <a:pt x="633" y="883"/>
                  </a:lnTo>
                  <a:lnTo>
                    <a:pt x="633" y="885"/>
                  </a:lnTo>
                  <a:lnTo>
                    <a:pt x="633" y="883"/>
                  </a:lnTo>
                  <a:lnTo>
                    <a:pt x="633" y="883"/>
                  </a:lnTo>
                  <a:lnTo>
                    <a:pt x="633" y="883"/>
                  </a:lnTo>
                  <a:lnTo>
                    <a:pt x="633" y="883"/>
                  </a:lnTo>
                  <a:lnTo>
                    <a:pt x="633" y="883"/>
                  </a:lnTo>
                  <a:lnTo>
                    <a:pt x="631" y="883"/>
                  </a:lnTo>
                  <a:lnTo>
                    <a:pt x="631" y="883"/>
                  </a:lnTo>
                  <a:lnTo>
                    <a:pt x="631" y="883"/>
                  </a:lnTo>
                  <a:lnTo>
                    <a:pt x="631" y="883"/>
                  </a:lnTo>
                  <a:lnTo>
                    <a:pt x="631" y="883"/>
                  </a:lnTo>
                  <a:lnTo>
                    <a:pt x="629" y="883"/>
                  </a:lnTo>
                  <a:lnTo>
                    <a:pt x="629" y="883"/>
                  </a:lnTo>
                  <a:lnTo>
                    <a:pt x="629" y="885"/>
                  </a:lnTo>
                  <a:lnTo>
                    <a:pt x="629" y="885"/>
                  </a:lnTo>
                  <a:lnTo>
                    <a:pt x="629" y="885"/>
                  </a:lnTo>
                  <a:lnTo>
                    <a:pt x="629" y="885"/>
                  </a:lnTo>
                  <a:lnTo>
                    <a:pt x="629" y="883"/>
                  </a:lnTo>
                  <a:lnTo>
                    <a:pt x="629" y="883"/>
                  </a:lnTo>
                  <a:lnTo>
                    <a:pt x="629" y="883"/>
                  </a:lnTo>
                  <a:lnTo>
                    <a:pt x="627" y="885"/>
                  </a:lnTo>
                  <a:lnTo>
                    <a:pt x="627" y="885"/>
                  </a:lnTo>
                  <a:lnTo>
                    <a:pt x="627" y="885"/>
                  </a:lnTo>
                  <a:lnTo>
                    <a:pt x="627" y="883"/>
                  </a:lnTo>
                  <a:lnTo>
                    <a:pt x="627" y="883"/>
                  </a:lnTo>
                  <a:lnTo>
                    <a:pt x="627" y="883"/>
                  </a:lnTo>
                  <a:lnTo>
                    <a:pt x="629" y="881"/>
                  </a:lnTo>
                  <a:lnTo>
                    <a:pt x="629" y="881"/>
                  </a:lnTo>
                  <a:lnTo>
                    <a:pt x="629" y="881"/>
                  </a:lnTo>
                  <a:lnTo>
                    <a:pt x="629" y="881"/>
                  </a:lnTo>
                  <a:lnTo>
                    <a:pt x="629" y="881"/>
                  </a:lnTo>
                  <a:lnTo>
                    <a:pt x="629" y="881"/>
                  </a:lnTo>
                  <a:lnTo>
                    <a:pt x="629" y="879"/>
                  </a:lnTo>
                  <a:lnTo>
                    <a:pt x="629" y="881"/>
                  </a:lnTo>
                  <a:lnTo>
                    <a:pt x="633" y="879"/>
                  </a:lnTo>
                  <a:lnTo>
                    <a:pt x="633" y="879"/>
                  </a:lnTo>
                  <a:lnTo>
                    <a:pt x="633" y="879"/>
                  </a:lnTo>
                  <a:lnTo>
                    <a:pt x="633" y="879"/>
                  </a:lnTo>
                  <a:lnTo>
                    <a:pt x="633" y="879"/>
                  </a:lnTo>
                  <a:lnTo>
                    <a:pt x="633" y="879"/>
                  </a:lnTo>
                  <a:lnTo>
                    <a:pt x="635" y="877"/>
                  </a:lnTo>
                  <a:lnTo>
                    <a:pt x="635" y="877"/>
                  </a:lnTo>
                  <a:lnTo>
                    <a:pt x="635" y="877"/>
                  </a:lnTo>
                  <a:lnTo>
                    <a:pt x="635" y="877"/>
                  </a:lnTo>
                  <a:lnTo>
                    <a:pt x="635" y="877"/>
                  </a:lnTo>
                  <a:lnTo>
                    <a:pt x="635" y="877"/>
                  </a:lnTo>
                  <a:lnTo>
                    <a:pt x="635" y="877"/>
                  </a:lnTo>
                  <a:lnTo>
                    <a:pt x="635" y="877"/>
                  </a:lnTo>
                  <a:lnTo>
                    <a:pt x="637" y="877"/>
                  </a:lnTo>
                  <a:lnTo>
                    <a:pt x="637" y="877"/>
                  </a:lnTo>
                  <a:lnTo>
                    <a:pt x="637" y="877"/>
                  </a:lnTo>
                  <a:lnTo>
                    <a:pt x="639" y="877"/>
                  </a:lnTo>
                  <a:lnTo>
                    <a:pt x="639" y="877"/>
                  </a:lnTo>
                  <a:lnTo>
                    <a:pt x="639" y="875"/>
                  </a:lnTo>
                  <a:lnTo>
                    <a:pt x="639" y="875"/>
                  </a:lnTo>
                  <a:lnTo>
                    <a:pt x="639" y="875"/>
                  </a:lnTo>
                  <a:lnTo>
                    <a:pt x="639" y="875"/>
                  </a:lnTo>
                  <a:lnTo>
                    <a:pt x="639" y="875"/>
                  </a:lnTo>
                  <a:lnTo>
                    <a:pt x="637" y="875"/>
                  </a:lnTo>
                  <a:lnTo>
                    <a:pt x="639" y="875"/>
                  </a:lnTo>
                  <a:lnTo>
                    <a:pt x="639" y="875"/>
                  </a:lnTo>
                  <a:lnTo>
                    <a:pt x="639" y="873"/>
                  </a:lnTo>
                  <a:lnTo>
                    <a:pt x="639" y="873"/>
                  </a:lnTo>
                  <a:lnTo>
                    <a:pt x="637" y="873"/>
                  </a:lnTo>
                  <a:lnTo>
                    <a:pt x="637" y="873"/>
                  </a:lnTo>
                  <a:lnTo>
                    <a:pt x="637" y="873"/>
                  </a:lnTo>
                  <a:lnTo>
                    <a:pt x="635" y="873"/>
                  </a:lnTo>
                  <a:lnTo>
                    <a:pt x="635" y="873"/>
                  </a:lnTo>
                  <a:lnTo>
                    <a:pt x="635" y="871"/>
                  </a:lnTo>
                  <a:lnTo>
                    <a:pt x="635" y="871"/>
                  </a:lnTo>
                  <a:lnTo>
                    <a:pt x="635" y="871"/>
                  </a:lnTo>
                  <a:lnTo>
                    <a:pt x="635" y="871"/>
                  </a:lnTo>
                  <a:lnTo>
                    <a:pt x="635" y="871"/>
                  </a:lnTo>
                  <a:lnTo>
                    <a:pt x="633" y="873"/>
                  </a:lnTo>
                  <a:lnTo>
                    <a:pt x="633" y="873"/>
                  </a:lnTo>
                  <a:lnTo>
                    <a:pt x="633" y="873"/>
                  </a:lnTo>
                  <a:lnTo>
                    <a:pt x="633" y="873"/>
                  </a:lnTo>
                  <a:lnTo>
                    <a:pt x="633" y="873"/>
                  </a:lnTo>
                  <a:lnTo>
                    <a:pt x="633" y="873"/>
                  </a:lnTo>
                  <a:lnTo>
                    <a:pt x="631" y="875"/>
                  </a:lnTo>
                  <a:lnTo>
                    <a:pt x="631" y="875"/>
                  </a:lnTo>
                  <a:lnTo>
                    <a:pt x="631" y="875"/>
                  </a:lnTo>
                  <a:lnTo>
                    <a:pt x="631" y="875"/>
                  </a:lnTo>
                  <a:lnTo>
                    <a:pt x="627" y="877"/>
                  </a:lnTo>
                  <a:lnTo>
                    <a:pt x="627" y="877"/>
                  </a:lnTo>
                  <a:lnTo>
                    <a:pt x="627" y="877"/>
                  </a:lnTo>
                  <a:lnTo>
                    <a:pt x="629" y="875"/>
                  </a:lnTo>
                  <a:lnTo>
                    <a:pt x="627" y="875"/>
                  </a:lnTo>
                  <a:lnTo>
                    <a:pt x="627" y="875"/>
                  </a:lnTo>
                  <a:lnTo>
                    <a:pt x="627" y="875"/>
                  </a:lnTo>
                  <a:lnTo>
                    <a:pt x="627" y="875"/>
                  </a:lnTo>
                  <a:lnTo>
                    <a:pt x="627" y="875"/>
                  </a:lnTo>
                  <a:lnTo>
                    <a:pt x="627" y="873"/>
                  </a:lnTo>
                  <a:lnTo>
                    <a:pt x="627" y="873"/>
                  </a:lnTo>
                  <a:lnTo>
                    <a:pt x="627" y="873"/>
                  </a:lnTo>
                  <a:lnTo>
                    <a:pt x="627" y="873"/>
                  </a:lnTo>
                  <a:lnTo>
                    <a:pt x="627" y="873"/>
                  </a:lnTo>
                  <a:lnTo>
                    <a:pt x="627" y="873"/>
                  </a:lnTo>
                  <a:lnTo>
                    <a:pt x="627" y="873"/>
                  </a:lnTo>
                  <a:lnTo>
                    <a:pt x="627" y="871"/>
                  </a:lnTo>
                  <a:lnTo>
                    <a:pt x="627" y="871"/>
                  </a:lnTo>
                  <a:lnTo>
                    <a:pt x="627" y="871"/>
                  </a:lnTo>
                  <a:lnTo>
                    <a:pt x="629" y="871"/>
                  </a:lnTo>
                  <a:lnTo>
                    <a:pt x="629" y="869"/>
                  </a:lnTo>
                  <a:lnTo>
                    <a:pt x="627" y="869"/>
                  </a:lnTo>
                  <a:lnTo>
                    <a:pt x="627" y="869"/>
                  </a:lnTo>
                  <a:lnTo>
                    <a:pt x="625" y="869"/>
                  </a:lnTo>
                  <a:lnTo>
                    <a:pt x="625" y="869"/>
                  </a:lnTo>
                  <a:lnTo>
                    <a:pt x="625" y="869"/>
                  </a:lnTo>
                  <a:lnTo>
                    <a:pt x="625" y="869"/>
                  </a:lnTo>
                  <a:lnTo>
                    <a:pt x="625" y="869"/>
                  </a:lnTo>
                  <a:lnTo>
                    <a:pt x="625" y="869"/>
                  </a:lnTo>
                  <a:lnTo>
                    <a:pt x="625" y="869"/>
                  </a:lnTo>
                  <a:lnTo>
                    <a:pt x="625" y="869"/>
                  </a:lnTo>
                  <a:lnTo>
                    <a:pt x="625" y="867"/>
                  </a:lnTo>
                  <a:lnTo>
                    <a:pt x="623" y="869"/>
                  </a:lnTo>
                  <a:lnTo>
                    <a:pt x="621" y="869"/>
                  </a:lnTo>
                  <a:lnTo>
                    <a:pt x="621" y="869"/>
                  </a:lnTo>
                  <a:lnTo>
                    <a:pt x="621" y="869"/>
                  </a:lnTo>
                  <a:lnTo>
                    <a:pt x="619" y="869"/>
                  </a:lnTo>
                  <a:lnTo>
                    <a:pt x="619" y="869"/>
                  </a:lnTo>
                  <a:lnTo>
                    <a:pt x="619" y="869"/>
                  </a:lnTo>
                  <a:lnTo>
                    <a:pt x="617" y="869"/>
                  </a:lnTo>
                  <a:lnTo>
                    <a:pt x="617" y="869"/>
                  </a:lnTo>
                  <a:lnTo>
                    <a:pt x="614" y="869"/>
                  </a:lnTo>
                  <a:lnTo>
                    <a:pt x="614" y="869"/>
                  </a:lnTo>
                  <a:lnTo>
                    <a:pt x="614" y="869"/>
                  </a:lnTo>
                  <a:lnTo>
                    <a:pt x="612" y="871"/>
                  </a:lnTo>
                  <a:lnTo>
                    <a:pt x="612" y="871"/>
                  </a:lnTo>
                  <a:lnTo>
                    <a:pt x="612" y="873"/>
                  </a:lnTo>
                  <a:lnTo>
                    <a:pt x="610" y="873"/>
                  </a:lnTo>
                  <a:lnTo>
                    <a:pt x="610" y="873"/>
                  </a:lnTo>
                  <a:lnTo>
                    <a:pt x="610" y="873"/>
                  </a:lnTo>
                  <a:lnTo>
                    <a:pt x="610" y="873"/>
                  </a:lnTo>
                  <a:lnTo>
                    <a:pt x="610" y="873"/>
                  </a:lnTo>
                  <a:lnTo>
                    <a:pt x="610" y="873"/>
                  </a:lnTo>
                  <a:lnTo>
                    <a:pt x="610" y="875"/>
                  </a:lnTo>
                  <a:lnTo>
                    <a:pt x="610" y="875"/>
                  </a:lnTo>
                  <a:lnTo>
                    <a:pt x="610" y="875"/>
                  </a:lnTo>
                  <a:lnTo>
                    <a:pt x="610" y="875"/>
                  </a:lnTo>
                  <a:lnTo>
                    <a:pt x="610" y="875"/>
                  </a:lnTo>
                  <a:lnTo>
                    <a:pt x="612" y="875"/>
                  </a:lnTo>
                  <a:lnTo>
                    <a:pt x="612" y="875"/>
                  </a:lnTo>
                  <a:lnTo>
                    <a:pt x="612" y="875"/>
                  </a:lnTo>
                  <a:lnTo>
                    <a:pt x="612" y="875"/>
                  </a:lnTo>
                  <a:lnTo>
                    <a:pt x="612" y="875"/>
                  </a:lnTo>
                  <a:lnTo>
                    <a:pt x="610" y="877"/>
                  </a:lnTo>
                  <a:lnTo>
                    <a:pt x="612" y="879"/>
                  </a:lnTo>
                  <a:lnTo>
                    <a:pt x="614" y="879"/>
                  </a:lnTo>
                  <a:lnTo>
                    <a:pt x="614" y="879"/>
                  </a:lnTo>
                  <a:lnTo>
                    <a:pt x="614" y="879"/>
                  </a:lnTo>
                  <a:lnTo>
                    <a:pt x="617" y="879"/>
                  </a:lnTo>
                  <a:lnTo>
                    <a:pt x="617" y="879"/>
                  </a:lnTo>
                  <a:lnTo>
                    <a:pt x="617" y="879"/>
                  </a:lnTo>
                  <a:lnTo>
                    <a:pt x="619" y="881"/>
                  </a:lnTo>
                  <a:lnTo>
                    <a:pt x="623" y="883"/>
                  </a:lnTo>
                  <a:lnTo>
                    <a:pt x="623" y="883"/>
                  </a:lnTo>
                  <a:lnTo>
                    <a:pt x="623" y="883"/>
                  </a:lnTo>
                  <a:lnTo>
                    <a:pt x="621" y="883"/>
                  </a:lnTo>
                  <a:lnTo>
                    <a:pt x="621" y="883"/>
                  </a:lnTo>
                  <a:lnTo>
                    <a:pt x="621" y="883"/>
                  </a:lnTo>
                  <a:lnTo>
                    <a:pt x="621" y="883"/>
                  </a:lnTo>
                  <a:lnTo>
                    <a:pt x="621" y="883"/>
                  </a:lnTo>
                  <a:lnTo>
                    <a:pt x="621" y="883"/>
                  </a:lnTo>
                  <a:lnTo>
                    <a:pt x="621" y="883"/>
                  </a:lnTo>
                  <a:lnTo>
                    <a:pt x="621" y="883"/>
                  </a:lnTo>
                  <a:lnTo>
                    <a:pt x="619" y="883"/>
                  </a:lnTo>
                  <a:lnTo>
                    <a:pt x="619" y="883"/>
                  </a:lnTo>
                  <a:lnTo>
                    <a:pt x="619" y="887"/>
                  </a:lnTo>
                  <a:lnTo>
                    <a:pt x="619" y="885"/>
                  </a:lnTo>
                  <a:lnTo>
                    <a:pt x="619" y="885"/>
                  </a:lnTo>
                  <a:lnTo>
                    <a:pt x="617" y="885"/>
                  </a:lnTo>
                  <a:lnTo>
                    <a:pt x="617" y="885"/>
                  </a:lnTo>
                  <a:lnTo>
                    <a:pt x="617" y="887"/>
                  </a:lnTo>
                  <a:lnTo>
                    <a:pt x="617" y="885"/>
                  </a:lnTo>
                  <a:lnTo>
                    <a:pt x="617" y="885"/>
                  </a:lnTo>
                  <a:lnTo>
                    <a:pt x="617" y="883"/>
                  </a:lnTo>
                  <a:lnTo>
                    <a:pt x="617" y="883"/>
                  </a:lnTo>
                  <a:lnTo>
                    <a:pt x="617" y="881"/>
                  </a:lnTo>
                  <a:lnTo>
                    <a:pt x="614" y="881"/>
                  </a:lnTo>
                  <a:lnTo>
                    <a:pt x="612" y="881"/>
                  </a:lnTo>
                  <a:lnTo>
                    <a:pt x="612" y="881"/>
                  </a:lnTo>
                  <a:lnTo>
                    <a:pt x="610" y="883"/>
                  </a:lnTo>
                  <a:lnTo>
                    <a:pt x="610" y="883"/>
                  </a:lnTo>
                  <a:lnTo>
                    <a:pt x="612" y="883"/>
                  </a:lnTo>
                  <a:lnTo>
                    <a:pt x="612" y="885"/>
                  </a:lnTo>
                  <a:lnTo>
                    <a:pt x="612" y="885"/>
                  </a:lnTo>
                  <a:lnTo>
                    <a:pt x="612" y="885"/>
                  </a:lnTo>
                  <a:lnTo>
                    <a:pt x="610" y="885"/>
                  </a:lnTo>
                  <a:lnTo>
                    <a:pt x="610" y="885"/>
                  </a:lnTo>
                  <a:lnTo>
                    <a:pt x="610" y="887"/>
                  </a:lnTo>
                  <a:lnTo>
                    <a:pt x="610" y="887"/>
                  </a:lnTo>
                  <a:lnTo>
                    <a:pt x="610" y="887"/>
                  </a:lnTo>
                  <a:lnTo>
                    <a:pt x="610" y="887"/>
                  </a:lnTo>
                  <a:lnTo>
                    <a:pt x="610" y="887"/>
                  </a:lnTo>
                  <a:lnTo>
                    <a:pt x="610" y="887"/>
                  </a:lnTo>
                  <a:lnTo>
                    <a:pt x="610" y="885"/>
                  </a:lnTo>
                  <a:lnTo>
                    <a:pt x="610" y="885"/>
                  </a:lnTo>
                  <a:lnTo>
                    <a:pt x="610" y="885"/>
                  </a:lnTo>
                  <a:lnTo>
                    <a:pt x="608" y="885"/>
                  </a:lnTo>
                  <a:lnTo>
                    <a:pt x="608" y="885"/>
                  </a:lnTo>
                  <a:lnTo>
                    <a:pt x="608" y="885"/>
                  </a:lnTo>
                  <a:lnTo>
                    <a:pt x="608" y="887"/>
                  </a:lnTo>
                  <a:lnTo>
                    <a:pt x="608" y="887"/>
                  </a:lnTo>
                  <a:lnTo>
                    <a:pt x="608" y="887"/>
                  </a:lnTo>
                  <a:lnTo>
                    <a:pt x="608" y="887"/>
                  </a:lnTo>
                  <a:lnTo>
                    <a:pt x="608" y="887"/>
                  </a:lnTo>
                  <a:lnTo>
                    <a:pt x="608" y="889"/>
                  </a:lnTo>
                  <a:lnTo>
                    <a:pt x="608" y="889"/>
                  </a:lnTo>
                  <a:lnTo>
                    <a:pt x="608" y="889"/>
                  </a:lnTo>
                  <a:lnTo>
                    <a:pt x="610" y="889"/>
                  </a:lnTo>
                  <a:lnTo>
                    <a:pt x="612" y="889"/>
                  </a:lnTo>
                  <a:lnTo>
                    <a:pt x="612" y="889"/>
                  </a:lnTo>
                  <a:lnTo>
                    <a:pt x="612" y="891"/>
                  </a:lnTo>
                  <a:lnTo>
                    <a:pt x="612" y="891"/>
                  </a:lnTo>
                  <a:lnTo>
                    <a:pt x="610" y="891"/>
                  </a:lnTo>
                  <a:lnTo>
                    <a:pt x="608" y="891"/>
                  </a:lnTo>
                  <a:lnTo>
                    <a:pt x="606" y="889"/>
                  </a:lnTo>
                  <a:lnTo>
                    <a:pt x="606" y="889"/>
                  </a:lnTo>
                  <a:lnTo>
                    <a:pt x="606" y="889"/>
                  </a:lnTo>
                  <a:lnTo>
                    <a:pt x="606" y="891"/>
                  </a:lnTo>
                  <a:lnTo>
                    <a:pt x="606" y="891"/>
                  </a:lnTo>
                  <a:lnTo>
                    <a:pt x="606" y="891"/>
                  </a:lnTo>
                  <a:lnTo>
                    <a:pt x="606" y="891"/>
                  </a:lnTo>
                  <a:lnTo>
                    <a:pt x="606" y="891"/>
                  </a:lnTo>
                  <a:lnTo>
                    <a:pt x="606" y="891"/>
                  </a:lnTo>
                  <a:lnTo>
                    <a:pt x="606" y="891"/>
                  </a:lnTo>
                  <a:lnTo>
                    <a:pt x="606" y="891"/>
                  </a:lnTo>
                  <a:lnTo>
                    <a:pt x="606" y="891"/>
                  </a:lnTo>
                  <a:lnTo>
                    <a:pt x="606" y="894"/>
                  </a:lnTo>
                  <a:lnTo>
                    <a:pt x="604" y="894"/>
                  </a:lnTo>
                  <a:lnTo>
                    <a:pt x="604" y="894"/>
                  </a:lnTo>
                  <a:lnTo>
                    <a:pt x="602" y="891"/>
                  </a:lnTo>
                  <a:lnTo>
                    <a:pt x="602" y="891"/>
                  </a:lnTo>
                  <a:lnTo>
                    <a:pt x="602" y="894"/>
                  </a:lnTo>
                  <a:lnTo>
                    <a:pt x="602" y="894"/>
                  </a:lnTo>
                  <a:lnTo>
                    <a:pt x="602" y="894"/>
                  </a:lnTo>
                  <a:lnTo>
                    <a:pt x="600" y="894"/>
                  </a:lnTo>
                  <a:lnTo>
                    <a:pt x="600" y="894"/>
                  </a:lnTo>
                  <a:lnTo>
                    <a:pt x="600" y="894"/>
                  </a:lnTo>
                  <a:lnTo>
                    <a:pt x="600" y="894"/>
                  </a:lnTo>
                  <a:lnTo>
                    <a:pt x="598" y="894"/>
                  </a:lnTo>
                  <a:lnTo>
                    <a:pt x="598" y="894"/>
                  </a:lnTo>
                  <a:lnTo>
                    <a:pt x="598" y="894"/>
                  </a:lnTo>
                  <a:lnTo>
                    <a:pt x="598" y="894"/>
                  </a:lnTo>
                  <a:lnTo>
                    <a:pt x="598" y="894"/>
                  </a:lnTo>
                  <a:lnTo>
                    <a:pt x="598" y="894"/>
                  </a:lnTo>
                  <a:lnTo>
                    <a:pt x="596" y="894"/>
                  </a:lnTo>
                  <a:lnTo>
                    <a:pt x="596" y="894"/>
                  </a:lnTo>
                  <a:lnTo>
                    <a:pt x="596" y="894"/>
                  </a:lnTo>
                  <a:lnTo>
                    <a:pt x="596" y="894"/>
                  </a:lnTo>
                  <a:lnTo>
                    <a:pt x="596" y="894"/>
                  </a:lnTo>
                  <a:lnTo>
                    <a:pt x="594" y="894"/>
                  </a:lnTo>
                  <a:lnTo>
                    <a:pt x="594" y="894"/>
                  </a:lnTo>
                  <a:lnTo>
                    <a:pt x="596" y="896"/>
                  </a:lnTo>
                  <a:lnTo>
                    <a:pt x="596" y="896"/>
                  </a:lnTo>
                  <a:lnTo>
                    <a:pt x="594" y="896"/>
                  </a:lnTo>
                  <a:lnTo>
                    <a:pt x="594" y="894"/>
                  </a:lnTo>
                  <a:lnTo>
                    <a:pt x="592" y="894"/>
                  </a:lnTo>
                  <a:lnTo>
                    <a:pt x="592" y="896"/>
                  </a:lnTo>
                  <a:lnTo>
                    <a:pt x="592" y="896"/>
                  </a:lnTo>
                  <a:lnTo>
                    <a:pt x="590" y="894"/>
                  </a:lnTo>
                  <a:lnTo>
                    <a:pt x="590" y="896"/>
                  </a:lnTo>
                  <a:lnTo>
                    <a:pt x="590" y="894"/>
                  </a:lnTo>
                  <a:lnTo>
                    <a:pt x="590" y="894"/>
                  </a:lnTo>
                  <a:lnTo>
                    <a:pt x="588" y="894"/>
                  </a:lnTo>
                  <a:lnTo>
                    <a:pt x="588" y="894"/>
                  </a:lnTo>
                  <a:lnTo>
                    <a:pt x="584" y="898"/>
                  </a:lnTo>
                  <a:lnTo>
                    <a:pt x="584" y="898"/>
                  </a:lnTo>
                  <a:lnTo>
                    <a:pt x="584" y="898"/>
                  </a:lnTo>
                  <a:lnTo>
                    <a:pt x="584" y="898"/>
                  </a:lnTo>
                  <a:lnTo>
                    <a:pt x="584" y="898"/>
                  </a:lnTo>
                  <a:lnTo>
                    <a:pt x="584" y="898"/>
                  </a:lnTo>
                  <a:lnTo>
                    <a:pt x="584" y="898"/>
                  </a:lnTo>
                  <a:lnTo>
                    <a:pt x="586" y="898"/>
                  </a:lnTo>
                  <a:lnTo>
                    <a:pt x="586" y="898"/>
                  </a:lnTo>
                  <a:lnTo>
                    <a:pt x="586" y="900"/>
                  </a:lnTo>
                  <a:lnTo>
                    <a:pt x="588" y="900"/>
                  </a:lnTo>
                  <a:lnTo>
                    <a:pt x="588" y="900"/>
                  </a:lnTo>
                  <a:lnTo>
                    <a:pt x="588" y="902"/>
                  </a:lnTo>
                  <a:lnTo>
                    <a:pt x="590" y="900"/>
                  </a:lnTo>
                  <a:lnTo>
                    <a:pt x="590" y="900"/>
                  </a:lnTo>
                  <a:lnTo>
                    <a:pt x="590" y="900"/>
                  </a:lnTo>
                  <a:lnTo>
                    <a:pt x="590" y="900"/>
                  </a:lnTo>
                  <a:lnTo>
                    <a:pt x="590" y="900"/>
                  </a:lnTo>
                  <a:lnTo>
                    <a:pt x="592" y="900"/>
                  </a:lnTo>
                  <a:lnTo>
                    <a:pt x="592" y="900"/>
                  </a:lnTo>
                  <a:lnTo>
                    <a:pt x="592" y="900"/>
                  </a:lnTo>
                  <a:lnTo>
                    <a:pt x="594" y="900"/>
                  </a:lnTo>
                  <a:lnTo>
                    <a:pt x="594" y="902"/>
                  </a:lnTo>
                  <a:lnTo>
                    <a:pt x="594" y="902"/>
                  </a:lnTo>
                  <a:lnTo>
                    <a:pt x="594" y="902"/>
                  </a:lnTo>
                  <a:lnTo>
                    <a:pt x="594" y="900"/>
                  </a:lnTo>
                  <a:lnTo>
                    <a:pt x="594" y="900"/>
                  </a:lnTo>
                  <a:lnTo>
                    <a:pt x="596" y="900"/>
                  </a:lnTo>
                  <a:lnTo>
                    <a:pt x="596" y="900"/>
                  </a:lnTo>
                  <a:lnTo>
                    <a:pt x="596" y="900"/>
                  </a:lnTo>
                  <a:lnTo>
                    <a:pt x="596" y="898"/>
                  </a:lnTo>
                  <a:lnTo>
                    <a:pt x="596" y="898"/>
                  </a:lnTo>
                  <a:lnTo>
                    <a:pt x="598" y="898"/>
                  </a:lnTo>
                  <a:lnTo>
                    <a:pt x="598" y="898"/>
                  </a:lnTo>
                  <a:lnTo>
                    <a:pt x="600" y="900"/>
                  </a:lnTo>
                  <a:lnTo>
                    <a:pt x="600" y="898"/>
                  </a:lnTo>
                  <a:lnTo>
                    <a:pt x="600" y="898"/>
                  </a:lnTo>
                  <a:lnTo>
                    <a:pt x="602" y="898"/>
                  </a:lnTo>
                  <a:lnTo>
                    <a:pt x="602" y="898"/>
                  </a:lnTo>
                  <a:lnTo>
                    <a:pt x="602" y="898"/>
                  </a:lnTo>
                  <a:lnTo>
                    <a:pt x="604" y="898"/>
                  </a:lnTo>
                  <a:lnTo>
                    <a:pt x="606" y="896"/>
                  </a:lnTo>
                  <a:lnTo>
                    <a:pt x="606" y="896"/>
                  </a:lnTo>
                  <a:lnTo>
                    <a:pt x="608" y="896"/>
                  </a:lnTo>
                  <a:lnTo>
                    <a:pt x="608" y="896"/>
                  </a:lnTo>
                  <a:lnTo>
                    <a:pt x="610" y="896"/>
                  </a:lnTo>
                  <a:lnTo>
                    <a:pt x="612" y="896"/>
                  </a:lnTo>
                  <a:lnTo>
                    <a:pt x="610" y="896"/>
                  </a:lnTo>
                  <a:lnTo>
                    <a:pt x="610" y="896"/>
                  </a:lnTo>
                  <a:lnTo>
                    <a:pt x="612" y="896"/>
                  </a:lnTo>
                  <a:lnTo>
                    <a:pt x="612" y="896"/>
                  </a:lnTo>
                  <a:lnTo>
                    <a:pt x="612" y="896"/>
                  </a:lnTo>
                  <a:lnTo>
                    <a:pt x="612" y="894"/>
                  </a:lnTo>
                  <a:lnTo>
                    <a:pt x="612" y="894"/>
                  </a:lnTo>
                  <a:lnTo>
                    <a:pt x="612" y="896"/>
                  </a:lnTo>
                  <a:lnTo>
                    <a:pt x="612" y="896"/>
                  </a:lnTo>
                  <a:lnTo>
                    <a:pt x="612" y="896"/>
                  </a:lnTo>
                  <a:lnTo>
                    <a:pt x="614" y="896"/>
                  </a:lnTo>
                  <a:lnTo>
                    <a:pt x="614" y="894"/>
                  </a:lnTo>
                  <a:lnTo>
                    <a:pt x="614" y="894"/>
                  </a:lnTo>
                  <a:lnTo>
                    <a:pt x="614" y="894"/>
                  </a:lnTo>
                  <a:lnTo>
                    <a:pt x="617" y="896"/>
                  </a:lnTo>
                  <a:lnTo>
                    <a:pt x="617" y="896"/>
                  </a:lnTo>
                  <a:lnTo>
                    <a:pt x="617" y="896"/>
                  </a:lnTo>
                  <a:lnTo>
                    <a:pt x="617" y="896"/>
                  </a:lnTo>
                  <a:lnTo>
                    <a:pt x="617" y="896"/>
                  </a:lnTo>
                  <a:lnTo>
                    <a:pt x="617" y="896"/>
                  </a:lnTo>
                  <a:lnTo>
                    <a:pt x="617" y="896"/>
                  </a:lnTo>
                  <a:lnTo>
                    <a:pt x="617" y="896"/>
                  </a:lnTo>
                  <a:lnTo>
                    <a:pt x="619" y="896"/>
                  </a:lnTo>
                  <a:lnTo>
                    <a:pt x="619" y="896"/>
                  </a:lnTo>
                  <a:lnTo>
                    <a:pt x="619" y="896"/>
                  </a:lnTo>
                  <a:lnTo>
                    <a:pt x="619" y="896"/>
                  </a:lnTo>
                  <a:lnTo>
                    <a:pt x="619" y="894"/>
                  </a:lnTo>
                  <a:lnTo>
                    <a:pt x="619" y="891"/>
                  </a:lnTo>
                  <a:lnTo>
                    <a:pt x="619" y="891"/>
                  </a:lnTo>
                  <a:lnTo>
                    <a:pt x="619" y="889"/>
                  </a:lnTo>
                  <a:lnTo>
                    <a:pt x="619" y="891"/>
                  </a:lnTo>
                  <a:lnTo>
                    <a:pt x="619" y="891"/>
                  </a:lnTo>
                  <a:lnTo>
                    <a:pt x="619" y="894"/>
                  </a:lnTo>
                  <a:lnTo>
                    <a:pt x="621" y="894"/>
                  </a:lnTo>
                  <a:lnTo>
                    <a:pt x="621" y="894"/>
                  </a:lnTo>
                  <a:lnTo>
                    <a:pt x="621" y="894"/>
                  </a:lnTo>
                  <a:lnTo>
                    <a:pt x="621" y="894"/>
                  </a:lnTo>
                  <a:lnTo>
                    <a:pt x="621" y="896"/>
                  </a:lnTo>
                  <a:lnTo>
                    <a:pt x="623" y="896"/>
                  </a:lnTo>
                  <a:lnTo>
                    <a:pt x="623" y="894"/>
                  </a:lnTo>
                  <a:lnTo>
                    <a:pt x="623" y="894"/>
                  </a:lnTo>
                  <a:lnTo>
                    <a:pt x="621" y="894"/>
                  </a:lnTo>
                  <a:lnTo>
                    <a:pt x="621" y="894"/>
                  </a:lnTo>
                  <a:lnTo>
                    <a:pt x="621" y="891"/>
                  </a:lnTo>
                  <a:lnTo>
                    <a:pt x="621" y="891"/>
                  </a:lnTo>
                  <a:lnTo>
                    <a:pt x="623" y="894"/>
                  </a:lnTo>
                  <a:lnTo>
                    <a:pt x="623" y="894"/>
                  </a:lnTo>
                  <a:lnTo>
                    <a:pt x="623" y="891"/>
                  </a:lnTo>
                  <a:lnTo>
                    <a:pt x="623" y="889"/>
                  </a:lnTo>
                  <a:lnTo>
                    <a:pt x="623" y="889"/>
                  </a:lnTo>
                  <a:lnTo>
                    <a:pt x="625" y="891"/>
                  </a:lnTo>
                  <a:lnTo>
                    <a:pt x="625" y="894"/>
                  </a:lnTo>
                  <a:lnTo>
                    <a:pt x="625" y="891"/>
                  </a:lnTo>
                  <a:lnTo>
                    <a:pt x="625" y="889"/>
                  </a:lnTo>
                  <a:lnTo>
                    <a:pt x="627" y="889"/>
                  </a:lnTo>
                  <a:lnTo>
                    <a:pt x="627" y="891"/>
                  </a:lnTo>
                  <a:lnTo>
                    <a:pt x="627" y="889"/>
                  </a:lnTo>
                  <a:lnTo>
                    <a:pt x="627" y="889"/>
                  </a:lnTo>
                  <a:lnTo>
                    <a:pt x="627" y="889"/>
                  </a:lnTo>
                  <a:lnTo>
                    <a:pt x="627" y="889"/>
                  </a:lnTo>
                  <a:lnTo>
                    <a:pt x="627" y="889"/>
                  </a:lnTo>
                  <a:lnTo>
                    <a:pt x="629" y="887"/>
                  </a:lnTo>
                  <a:lnTo>
                    <a:pt x="629" y="887"/>
                  </a:lnTo>
                  <a:lnTo>
                    <a:pt x="629" y="887"/>
                  </a:lnTo>
                  <a:lnTo>
                    <a:pt x="631" y="887"/>
                  </a:lnTo>
                  <a:lnTo>
                    <a:pt x="631" y="887"/>
                  </a:lnTo>
                  <a:lnTo>
                    <a:pt x="631" y="887"/>
                  </a:lnTo>
                  <a:lnTo>
                    <a:pt x="631" y="887"/>
                  </a:lnTo>
                  <a:lnTo>
                    <a:pt x="631" y="887"/>
                  </a:lnTo>
                  <a:lnTo>
                    <a:pt x="633" y="887"/>
                  </a:lnTo>
                  <a:lnTo>
                    <a:pt x="635" y="887"/>
                  </a:lnTo>
                  <a:lnTo>
                    <a:pt x="635" y="887"/>
                  </a:lnTo>
                  <a:lnTo>
                    <a:pt x="635" y="885"/>
                  </a:lnTo>
                  <a:lnTo>
                    <a:pt x="635" y="885"/>
                  </a:lnTo>
                  <a:lnTo>
                    <a:pt x="635" y="885"/>
                  </a:lnTo>
                  <a:lnTo>
                    <a:pt x="635" y="885"/>
                  </a:lnTo>
                  <a:lnTo>
                    <a:pt x="635" y="885"/>
                  </a:lnTo>
                  <a:close/>
                  <a:moveTo>
                    <a:pt x="643" y="389"/>
                  </a:moveTo>
                  <a:lnTo>
                    <a:pt x="643" y="389"/>
                  </a:lnTo>
                  <a:lnTo>
                    <a:pt x="645" y="391"/>
                  </a:lnTo>
                  <a:lnTo>
                    <a:pt x="643" y="389"/>
                  </a:lnTo>
                  <a:lnTo>
                    <a:pt x="643" y="389"/>
                  </a:lnTo>
                  <a:close/>
                  <a:moveTo>
                    <a:pt x="641" y="879"/>
                  </a:moveTo>
                  <a:lnTo>
                    <a:pt x="641" y="879"/>
                  </a:lnTo>
                  <a:lnTo>
                    <a:pt x="641" y="879"/>
                  </a:lnTo>
                  <a:lnTo>
                    <a:pt x="641" y="879"/>
                  </a:lnTo>
                  <a:lnTo>
                    <a:pt x="641" y="879"/>
                  </a:lnTo>
                  <a:lnTo>
                    <a:pt x="639" y="879"/>
                  </a:lnTo>
                  <a:lnTo>
                    <a:pt x="639" y="879"/>
                  </a:lnTo>
                  <a:lnTo>
                    <a:pt x="639" y="879"/>
                  </a:lnTo>
                  <a:lnTo>
                    <a:pt x="639" y="881"/>
                  </a:lnTo>
                  <a:lnTo>
                    <a:pt x="637" y="883"/>
                  </a:lnTo>
                  <a:lnTo>
                    <a:pt x="637" y="883"/>
                  </a:lnTo>
                  <a:lnTo>
                    <a:pt x="637" y="881"/>
                  </a:lnTo>
                  <a:lnTo>
                    <a:pt x="637" y="881"/>
                  </a:lnTo>
                  <a:lnTo>
                    <a:pt x="637" y="881"/>
                  </a:lnTo>
                  <a:lnTo>
                    <a:pt x="637" y="881"/>
                  </a:lnTo>
                  <a:lnTo>
                    <a:pt x="637" y="881"/>
                  </a:lnTo>
                  <a:lnTo>
                    <a:pt x="637" y="881"/>
                  </a:lnTo>
                  <a:lnTo>
                    <a:pt x="637" y="881"/>
                  </a:lnTo>
                  <a:lnTo>
                    <a:pt x="635" y="881"/>
                  </a:lnTo>
                  <a:lnTo>
                    <a:pt x="635" y="881"/>
                  </a:lnTo>
                  <a:lnTo>
                    <a:pt x="635" y="883"/>
                  </a:lnTo>
                  <a:lnTo>
                    <a:pt x="635" y="883"/>
                  </a:lnTo>
                  <a:lnTo>
                    <a:pt x="635" y="883"/>
                  </a:lnTo>
                  <a:lnTo>
                    <a:pt x="637" y="885"/>
                  </a:lnTo>
                  <a:lnTo>
                    <a:pt x="637" y="885"/>
                  </a:lnTo>
                  <a:lnTo>
                    <a:pt x="637" y="885"/>
                  </a:lnTo>
                  <a:lnTo>
                    <a:pt x="637" y="885"/>
                  </a:lnTo>
                  <a:lnTo>
                    <a:pt x="639" y="885"/>
                  </a:lnTo>
                  <a:lnTo>
                    <a:pt x="639" y="885"/>
                  </a:lnTo>
                  <a:lnTo>
                    <a:pt x="639" y="885"/>
                  </a:lnTo>
                  <a:lnTo>
                    <a:pt x="639" y="883"/>
                  </a:lnTo>
                  <a:lnTo>
                    <a:pt x="639" y="883"/>
                  </a:lnTo>
                  <a:lnTo>
                    <a:pt x="639" y="883"/>
                  </a:lnTo>
                  <a:lnTo>
                    <a:pt x="641" y="883"/>
                  </a:lnTo>
                  <a:lnTo>
                    <a:pt x="641" y="883"/>
                  </a:lnTo>
                  <a:lnTo>
                    <a:pt x="641" y="883"/>
                  </a:lnTo>
                  <a:lnTo>
                    <a:pt x="641" y="883"/>
                  </a:lnTo>
                  <a:lnTo>
                    <a:pt x="641" y="881"/>
                  </a:lnTo>
                  <a:lnTo>
                    <a:pt x="641" y="881"/>
                  </a:lnTo>
                  <a:lnTo>
                    <a:pt x="641" y="881"/>
                  </a:lnTo>
                  <a:lnTo>
                    <a:pt x="641" y="881"/>
                  </a:lnTo>
                  <a:lnTo>
                    <a:pt x="641" y="881"/>
                  </a:lnTo>
                  <a:lnTo>
                    <a:pt x="641" y="881"/>
                  </a:lnTo>
                  <a:lnTo>
                    <a:pt x="641" y="881"/>
                  </a:lnTo>
                  <a:lnTo>
                    <a:pt x="643" y="879"/>
                  </a:lnTo>
                  <a:lnTo>
                    <a:pt x="641" y="879"/>
                  </a:lnTo>
                  <a:lnTo>
                    <a:pt x="641" y="879"/>
                  </a:lnTo>
                  <a:close/>
                  <a:moveTo>
                    <a:pt x="786" y="836"/>
                  </a:moveTo>
                  <a:lnTo>
                    <a:pt x="786" y="834"/>
                  </a:lnTo>
                  <a:lnTo>
                    <a:pt x="786" y="834"/>
                  </a:lnTo>
                  <a:lnTo>
                    <a:pt x="786" y="836"/>
                  </a:lnTo>
                  <a:lnTo>
                    <a:pt x="786" y="836"/>
                  </a:lnTo>
                  <a:lnTo>
                    <a:pt x="786" y="836"/>
                  </a:lnTo>
                  <a:lnTo>
                    <a:pt x="786" y="836"/>
                  </a:lnTo>
                  <a:lnTo>
                    <a:pt x="786" y="836"/>
                  </a:lnTo>
                  <a:lnTo>
                    <a:pt x="786" y="836"/>
                  </a:lnTo>
                  <a:lnTo>
                    <a:pt x="786" y="838"/>
                  </a:lnTo>
                  <a:lnTo>
                    <a:pt x="786" y="838"/>
                  </a:lnTo>
                  <a:lnTo>
                    <a:pt x="789" y="838"/>
                  </a:lnTo>
                  <a:lnTo>
                    <a:pt x="789" y="838"/>
                  </a:lnTo>
                  <a:lnTo>
                    <a:pt x="789" y="836"/>
                  </a:lnTo>
                  <a:lnTo>
                    <a:pt x="789" y="836"/>
                  </a:lnTo>
                  <a:lnTo>
                    <a:pt x="786" y="836"/>
                  </a:lnTo>
                  <a:close/>
                  <a:moveTo>
                    <a:pt x="834" y="830"/>
                  </a:moveTo>
                  <a:lnTo>
                    <a:pt x="834" y="830"/>
                  </a:lnTo>
                  <a:lnTo>
                    <a:pt x="834" y="830"/>
                  </a:lnTo>
                  <a:lnTo>
                    <a:pt x="834" y="828"/>
                  </a:lnTo>
                  <a:lnTo>
                    <a:pt x="834" y="828"/>
                  </a:lnTo>
                  <a:lnTo>
                    <a:pt x="834" y="828"/>
                  </a:lnTo>
                  <a:lnTo>
                    <a:pt x="834" y="828"/>
                  </a:lnTo>
                  <a:lnTo>
                    <a:pt x="834" y="828"/>
                  </a:lnTo>
                  <a:lnTo>
                    <a:pt x="834" y="828"/>
                  </a:lnTo>
                  <a:lnTo>
                    <a:pt x="832" y="828"/>
                  </a:lnTo>
                  <a:lnTo>
                    <a:pt x="832" y="828"/>
                  </a:lnTo>
                  <a:lnTo>
                    <a:pt x="832" y="828"/>
                  </a:lnTo>
                  <a:lnTo>
                    <a:pt x="832" y="828"/>
                  </a:lnTo>
                  <a:lnTo>
                    <a:pt x="832" y="830"/>
                  </a:lnTo>
                  <a:lnTo>
                    <a:pt x="834" y="830"/>
                  </a:lnTo>
                  <a:close/>
                  <a:moveTo>
                    <a:pt x="827" y="824"/>
                  </a:moveTo>
                  <a:lnTo>
                    <a:pt x="827" y="824"/>
                  </a:lnTo>
                  <a:lnTo>
                    <a:pt x="827" y="824"/>
                  </a:lnTo>
                  <a:lnTo>
                    <a:pt x="827" y="824"/>
                  </a:lnTo>
                  <a:lnTo>
                    <a:pt x="827" y="824"/>
                  </a:lnTo>
                  <a:lnTo>
                    <a:pt x="830" y="824"/>
                  </a:lnTo>
                  <a:lnTo>
                    <a:pt x="830" y="824"/>
                  </a:lnTo>
                  <a:lnTo>
                    <a:pt x="830" y="824"/>
                  </a:lnTo>
                  <a:lnTo>
                    <a:pt x="830" y="826"/>
                  </a:lnTo>
                  <a:lnTo>
                    <a:pt x="830" y="826"/>
                  </a:lnTo>
                  <a:lnTo>
                    <a:pt x="832" y="826"/>
                  </a:lnTo>
                  <a:lnTo>
                    <a:pt x="832" y="824"/>
                  </a:lnTo>
                  <a:lnTo>
                    <a:pt x="832" y="824"/>
                  </a:lnTo>
                  <a:lnTo>
                    <a:pt x="832" y="824"/>
                  </a:lnTo>
                  <a:lnTo>
                    <a:pt x="832" y="822"/>
                  </a:lnTo>
                  <a:lnTo>
                    <a:pt x="832" y="822"/>
                  </a:lnTo>
                  <a:lnTo>
                    <a:pt x="830" y="822"/>
                  </a:lnTo>
                  <a:lnTo>
                    <a:pt x="830" y="822"/>
                  </a:lnTo>
                  <a:lnTo>
                    <a:pt x="830" y="822"/>
                  </a:lnTo>
                  <a:lnTo>
                    <a:pt x="830" y="822"/>
                  </a:lnTo>
                  <a:lnTo>
                    <a:pt x="830" y="822"/>
                  </a:lnTo>
                  <a:lnTo>
                    <a:pt x="830" y="822"/>
                  </a:lnTo>
                  <a:lnTo>
                    <a:pt x="830" y="822"/>
                  </a:lnTo>
                  <a:lnTo>
                    <a:pt x="827" y="822"/>
                  </a:lnTo>
                  <a:lnTo>
                    <a:pt x="827" y="822"/>
                  </a:lnTo>
                  <a:lnTo>
                    <a:pt x="827" y="822"/>
                  </a:lnTo>
                  <a:lnTo>
                    <a:pt x="825" y="822"/>
                  </a:lnTo>
                  <a:lnTo>
                    <a:pt x="825" y="824"/>
                  </a:lnTo>
                  <a:lnTo>
                    <a:pt x="825" y="824"/>
                  </a:lnTo>
                  <a:lnTo>
                    <a:pt x="825" y="824"/>
                  </a:lnTo>
                  <a:lnTo>
                    <a:pt x="825" y="824"/>
                  </a:lnTo>
                  <a:lnTo>
                    <a:pt x="827" y="824"/>
                  </a:lnTo>
                  <a:close/>
                  <a:moveTo>
                    <a:pt x="789" y="828"/>
                  </a:moveTo>
                  <a:lnTo>
                    <a:pt x="786" y="828"/>
                  </a:lnTo>
                  <a:lnTo>
                    <a:pt x="786" y="828"/>
                  </a:lnTo>
                  <a:lnTo>
                    <a:pt x="784" y="828"/>
                  </a:lnTo>
                  <a:lnTo>
                    <a:pt x="784" y="830"/>
                  </a:lnTo>
                  <a:lnTo>
                    <a:pt x="784" y="830"/>
                  </a:lnTo>
                  <a:lnTo>
                    <a:pt x="784" y="830"/>
                  </a:lnTo>
                  <a:lnTo>
                    <a:pt x="786" y="830"/>
                  </a:lnTo>
                  <a:lnTo>
                    <a:pt x="786" y="830"/>
                  </a:lnTo>
                  <a:lnTo>
                    <a:pt x="786" y="830"/>
                  </a:lnTo>
                  <a:lnTo>
                    <a:pt x="789" y="830"/>
                  </a:lnTo>
                  <a:lnTo>
                    <a:pt x="789" y="830"/>
                  </a:lnTo>
                  <a:lnTo>
                    <a:pt x="789" y="830"/>
                  </a:lnTo>
                  <a:lnTo>
                    <a:pt x="789" y="828"/>
                  </a:lnTo>
                  <a:lnTo>
                    <a:pt x="789" y="828"/>
                  </a:lnTo>
                  <a:lnTo>
                    <a:pt x="789" y="828"/>
                  </a:lnTo>
                  <a:close/>
                  <a:moveTo>
                    <a:pt x="825" y="826"/>
                  </a:moveTo>
                  <a:lnTo>
                    <a:pt x="823" y="826"/>
                  </a:lnTo>
                  <a:lnTo>
                    <a:pt x="823" y="826"/>
                  </a:lnTo>
                  <a:lnTo>
                    <a:pt x="821" y="826"/>
                  </a:lnTo>
                  <a:lnTo>
                    <a:pt x="821" y="826"/>
                  </a:lnTo>
                  <a:lnTo>
                    <a:pt x="821" y="826"/>
                  </a:lnTo>
                  <a:lnTo>
                    <a:pt x="819" y="826"/>
                  </a:lnTo>
                  <a:lnTo>
                    <a:pt x="819" y="826"/>
                  </a:lnTo>
                  <a:lnTo>
                    <a:pt x="819" y="828"/>
                  </a:lnTo>
                  <a:lnTo>
                    <a:pt x="819" y="828"/>
                  </a:lnTo>
                  <a:lnTo>
                    <a:pt x="819" y="828"/>
                  </a:lnTo>
                  <a:lnTo>
                    <a:pt x="819" y="828"/>
                  </a:lnTo>
                  <a:lnTo>
                    <a:pt x="823" y="830"/>
                  </a:lnTo>
                  <a:lnTo>
                    <a:pt x="823" y="832"/>
                  </a:lnTo>
                  <a:lnTo>
                    <a:pt x="823" y="832"/>
                  </a:lnTo>
                  <a:lnTo>
                    <a:pt x="823" y="832"/>
                  </a:lnTo>
                  <a:lnTo>
                    <a:pt x="825" y="832"/>
                  </a:lnTo>
                  <a:lnTo>
                    <a:pt x="825" y="830"/>
                  </a:lnTo>
                  <a:lnTo>
                    <a:pt x="825" y="830"/>
                  </a:lnTo>
                  <a:lnTo>
                    <a:pt x="825" y="828"/>
                  </a:lnTo>
                  <a:lnTo>
                    <a:pt x="825" y="826"/>
                  </a:lnTo>
                  <a:lnTo>
                    <a:pt x="825" y="826"/>
                  </a:lnTo>
                  <a:lnTo>
                    <a:pt x="825" y="826"/>
                  </a:lnTo>
                  <a:close/>
                  <a:moveTo>
                    <a:pt x="795" y="832"/>
                  </a:moveTo>
                  <a:lnTo>
                    <a:pt x="795" y="830"/>
                  </a:lnTo>
                  <a:lnTo>
                    <a:pt x="795" y="830"/>
                  </a:lnTo>
                  <a:lnTo>
                    <a:pt x="795" y="830"/>
                  </a:lnTo>
                  <a:lnTo>
                    <a:pt x="795" y="830"/>
                  </a:lnTo>
                  <a:lnTo>
                    <a:pt x="795" y="830"/>
                  </a:lnTo>
                  <a:lnTo>
                    <a:pt x="793" y="830"/>
                  </a:lnTo>
                  <a:lnTo>
                    <a:pt x="793" y="830"/>
                  </a:lnTo>
                  <a:lnTo>
                    <a:pt x="793" y="830"/>
                  </a:lnTo>
                  <a:lnTo>
                    <a:pt x="793" y="832"/>
                  </a:lnTo>
                  <a:lnTo>
                    <a:pt x="793" y="832"/>
                  </a:lnTo>
                  <a:lnTo>
                    <a:pt x="795" y="832"/>
                  </a:lnTo>
                  <a:lnTo>
                    <a:pt x="795" y="834"/>
                  </a:lnTo>
                  <a:lnTo>
                    <a:pt x="795" y="834"/>
                  </a:lnTo>
                  <a:lnTo>
                    <a:pt x="795" y="832"/>
                  </a:lnTo>
                  <a:lnTo>
                    <a:pt x="795" y="832"/>
                  </a:lnTo>
                  <a:lnTo>
                    <a:pt x="795" y="832"/>
                  </a:lnTo>
                  <a:lnTo>
                    <a:pt x="795" y="832"/>
                  </a:lnTo>
                  <a:lnTo>
                    <a:pt x="795" y="832"/>
                  </a:lnTo>
                  <a:close/>
                  <a:moveTo>
                    <a:pt x="819" y="834"/>
                  </a:moveTo>
                  <a:lnTo>
                    <a:pt x="819" y="834"/>
                  </a:lnTo>
                  <a:lnTo>
                    <a:pt x="819" y="834"/>
                  </a:lnTo>
                  <a:lnTo>
                    <a:pt x="819" y="834"/>
                  </a:lnTo>
                  <a:lnTo>
                    <a:pt x="819" y="832"/>
                  </a:lnTo>
                  <a:lnTo>
                    <a:pt x="819" y="832"/>
                  </a:lnTo>
                  <a:lnTo>
                    <a:pt x="819" y="832"/>
                  </a:lnTo>
                  <a:lnTo>
                    <a:pt x="817" y="832"/>
                  </a:lnTo>
                  <a:lnTo>
                    <a:pt x="817" y="832"/>
                  </a:lnTo>
                  <a:lnTo>
                    <a:pt x="819" y="832"/>
                  </a:lnTo>
                  <a:lnTo>
                    <a:pt x="819" y="832"/>
                  </a:lnTo>
                  <a:lnTo>
                    <a:pt x="819" y="830"/>
                  </a:lnTo>
                  <a:lnTo>
                    <a:pt x="817" y="830"/>
                  </a:lnTo>
                  <a:lnTo>
                    <a:pt x="817" y="830"/>
                  </a:lnTo>
                  <a:lnTo>
                    <a:pt x="817" y="830"/>
                  </a:lnTo>
                  <a:lnTo>
                    <a:pt x="817" y="828"/>
                  </a:lnTo>
                  <a:lnTo>
                    <a:pt x="817" y="828"/>
                  </a:lnTo>
                  <a:lnTo>
                    <a:pt x="819" y="826"/>
                  </a:lnTo>
                  <a:lnTo>
                    <a:pt x="819" y="826"/>
                  </a:lnTo>
                  <a:lnTo>
                    <a:pt x="819" y="824"/>
                  </a:lnTo>
                  <a:lnTo>
                    <a:pt x="819" y="824"/>
                  </a:lnTo>
                  <a:lnTo>
                    <a:pt x="819" y="824"/>
                  </a:lnTo>
                  <a:lnTo>
                    <a:pt x="817" y="824"/>
                  </a:lnTo>
                  <a:lnTo>
                    <a:pt x="817" y="824"/>
                  </a:lnTo>
                  <a:lnTo>
                    <a:pt x="817" y="826"/>
                  </a:lnTo>
                  <a:lnTo>
                    <a:pt x="817" y="826"/>
                  </a:lnTo>
                  <a:lnTo>
                    <a:pt x="817" y="828"/>
                  </a:lnTo>
                  <a:lnTo>
                    <a:pt x="817" y="828"/>
                  </a:lnTo>
                  <a:lnTo>
                    <a:pt x="817" y="826"/>
                  </a:lnTo>
                  <a:lnTo>
                    <a:pt x="815" y="826"/>
                  </a:lnTo>
                  <a:lnTo>
                    <a:pt x="815" y="826"/>
                  </a:lnTo>
                  <a:lnTo>
                    <a:pt x="815" y="828"/>
                  </a:lnTo>
                  <a:lnTo>
                    <a:pt x="815" y="828"/>
                  </a:lnTo>
                  <a:lnTo>
                    <a:pt x="815" y="828"/>
                  </a:lnTo>
                  <a:lnTo>
                    <a:pt x="815" y="828"/>
                  </a:lnTo>
                  <a:lnTo>
                    <a:pt x="815" y="828"/>
                  </a:lnTo>
                  <a:lnTo>
                    <a:pt x="815" y="828"/>
                  </a:lnTo>
                  <a:lnTo>
                    <a:pt x="815" y="826"/>
                  </a:lnTo>
                  <a:lnTo>
                    <a:pt x="815" y="826"/>
                  </a:lnTo>
                  <a:lnTo>
                    <a:pt x="815" y="824"/>
                  </a:lnTo>
                  <a:lnTo>
                    <a:pt x="815" y="822"/>
                  </a:lnTo>
                  <a:lnTo>
                    <a:pt x="813" y="822"/>
                  </a:lnTo>
                  <a:lnTo>
                    <a:pt x="813" y="824"/>
                  </a:lnTo>
                  <a:lnTo>
                    <a:pt x="811" y="824"/>
                  </a:lnTo>
                  <a:lnTo>
                    <a:pt x="809" y="826"/>
                  </a:lnTo>
                  <a:lnTo>
                    <a:pt x="809" y="826"/>
                  </a:lnTo>
                  <a:lnTo>
                    <a:pt x="809" y="828"/>
                  </a:lnTo>
                  <a:lnTo>
                    <a:pt x="809" y="828"/>
                  </a:lnTo>
                  <a:lnTo>
                    <a:pt x="809" y="830"/>
                  </a:lnTo>
                  <a:lnTo>
                    <a:pt x="809" y="830"/>
                  </a:lnTo>
                  <a:lnTo>
                    <a:pt x="809" y="830"/>
                  </a:lnTo>
                  <a:lnTo>
                    <a:pt x="809" y="830"/>
                  </a:lnTo>
                  <a:lnTo>
                    <a:pt x="809" y="830"/>
                  </a:lnTo>
                  <a:lnTo>
                    <a:pt x="809" y="832"/>
                  </a:lnTo>
                  <a:lnTo>
                    <a:pt x="809" y="832"/>
                  </a:lnTo>
                  <a:lnTo>
                    <a:pt x="809" y="832"/>
                  </a:lnTo>
                  <a:lnTo>
                    <a:pt x="809" y="832"/>
                  </a:lnTo>
                  <a:lnTo>
                    <a:pt x="811" y="834"/>
                  </a:lnTo>
                  <a:lnTo>
                    <a:pt x="811" y="834"/>
                  </a:lnTo>
                  <a:lnTo>
                    <a:pt x="809" y="836"/>
                  </a:lnTo>
                  <a:lnTo>
                    <a:pt x="809" y="836"/>
                  </a:lnTo>
                  <a:lnTo>
                    <a:pt x="811" y="836"/>
                  </a:lnTo>
                  <a:lnTo>
                    <a:pt x="811" y="834"/>
                  </a:lnTo>
                  <a:lnTo>
                    <a:pt x="811" y="834"/>
                  </a:lnTo>
                  <a:lnTo>
                    <a:pt x="811" y="834"/>
                  </a:lnTo>
                  <a:lnTo>
                    <a:pt x="813" y="834"/>
                  </a:lnTo>
                  <a:lnTo>
                    <a:pt x="813" y="834"/>
                  </a:lnTo>
                  <a:lnTo>
                    <a:pt x="813" y="834"/>
                  </a:lnTo>
                  <a:lnTo>
                    <a:pt x="813" y="834"/>
                  </a:lnTo>
                  <a:lnTo>
                    <a:pt x="813" y="832"/>
                  </a:lnTo>
                  <a:lnTo>
                    <a:pt x="815" y="832"/>
                  </a:lnTo>
                  <a:lnTo>
                    <a:pt x="815" y="834"/>
                  </a:lnTo>
                  <a:lnTo>
                    <a:pt x="815" y="834"/>
                  </a:lnTo>
                  <a:lnTo>
                    <a:pt x="813" y="834"/>
                  </a:lnTo>
                  <a:lnTo>
                    <a:pt x="813" y="834"/>
                  </a:lnTo>
                  <a:lnTo>
                    <a:pt x="815" y="834"/>
                  </a:lnTo>
                  <a:lnTo>
                    <a:pt x="815" y="836"/>
                  </a:lnTo>
                  <a:lnTo>
                    <a:pt x="815" y="836"/>
                  </a:lnTo>
                  <a:lnTo>
                    <a:pt x="815" y="836"/>
                  </a:lnTo>
                  <a:lnTo>
                    <a:pt x="817" y="836"/>
                  </a:lnTo>
                  <a:lnTo>
                    <a:pt x="817" y="836"/>
                  </a:lnTo>
                  <a:lnTo>
                    <a:pt x="817" y="838"/>
                  </a:lnTo>
                  <a:lnTo>
                    <a:pt x="819" y="836"/>
                  </a:lnTo>
                  <a:lnTo>
                    <a:pt x="819" y="836"/>
                  </a:lnTo>
                  <a:lnTo>
                    <a:pt x="819" y="834"/>
                  </a:lnTo>
                  <a:lnTo>
                    <a:pt x="817" y="834"/>
                  </a:lnTo>
                  <a:lnTo>
                    <a:pt x="819" y="834"/>
                  </a:lnTo>
                  <a:lnTo>
                    <a:pt x="819" y="834"/>
                  </a:lnTo>
                  <a:lnTo>
                    <a:pt x="821" y="834"/>
                  </a:lnTo>
                  <a:lnTo>
                    <a:pt x="821" y="834"/>
                  </a:lnTo>
                  <a:lnTo>
                    <a:pt x="819" y="834"/>
                  </a:lnTo>
                  <a:close/>
                  <a:moveTo>
                    <a:pt x="838" y="836"/>
                  </a:moveTo>
                  <a:lnTo>
                    <a:pt x="838" y="838"/>
                  </a:lnTo>
                  <a:lnTo>
                    <a:pt x="838" y="838"/>
                  </a:lnTo>
                  <a:lnTo>
                    <a:pt x="836" y="838"/>
                  </a:lnTo>
                  <a:lnTo>
                    <a:pt x="838" y="836"/>
                  </a:lnTo>
                  <a:lnTo>
                    <a:pt x="838" y="834"/>
                  </a:lnTo>
                  <a:lnTo>
                    <a:pt x="838" y="834"/>
                  </a:lnTo>
                  <a:lnTo>
                    <a:pt x="838" y="834"/>
                  </a:lnTo>
                  <a:lnTo>
                    <a:pt x="838" y="832"/>
                  </a:lnTo>
                  <a:lnTo>
                    <a:pt x="838" y="832"/>
                  </a:lnTo>
                  <a:lnTo>
                    <a:pt x="838" y="832"/>
                  </a:lnTo>
                  <a:lnTo>
                    <a:pt x="838" y="830"/>
                  </a:lnTo>
                  <a:lnTo>
                    <a:pt x="838" y="832"/>
                  </a:lnTo>
                  <a:lnTo>
                    <a:pt x="836" y="832"/>
                  </a:lnTo>
                  <a:lnTo>
                    <a:pt x="836" y="832"/>
                  </a:lnTo>
                  <a:lnTo>
                    <a:pt x="836" y="834"/>
                  </a:lnTo>
                  <a:lnTo>
                    <a:pt x="836" y="834"/>
                  </a:lnTo>
                  <a:lnTo>
                    <a:pt x="836" y="834"/>
                  </a:lnTo>
                  <a:lnTo>
                    <a:pt x="836" y="834"/>
                  </a:lnTo>
                  <a:lnTo>
                    <a:pt x="836" y="834"/>
                  </a:lnTo>
                  <a:lnTo>
                    <a:pt x="836" y="834"/>
                  </a:lnTo>
                  <a:lnTo>
                    <a:pt x="836" y="834"/>
                  </a:lnTo>
                  <a:lnTo>
                    <a:pt x="836" y="834"/>
                  </a:lnTo>
                  <a:lnTo>
                    <a:pt x="836" y="836"/>
                  </a:lnTo>
                  <a:lnTo>
                    <a:pt x="836" y="836"/>
                  </a:lnTo>
                  <a:lnTo>
                    <a:pt x="832" y="834"/>
                  </a:lnTo>
                  <a:lnTo>
                    <a:pt x="834" y="836"/>
                  </a:lnTo>
                  <a:lnTo>
                    <a:pt x="834" y="838"/>
                  </a:lnTo>
                  <a:lnTo>
                    <a:pt x="834" y="840"/>
                  </a:lnTo>
                  <a:lnTo>
                    <a:pt x="834" y="840"/>
                  </a:lnTo>
                  <a:lnTo>
                    <a:pt x="834" y="840"/>
                  </a:lnTo>
                  <a:lnTo>
                    <a:pt x="834" y="840"/>
                  </a:lnTo>
                  <a:lnTo>
                    <a:pt x="834" y="840"/>
                  </a:lnTo>
                  <a:lnTo>
                    <a:pt x="834" y="840"/>
                  </a:lnTo>
                  <a:lnTo>
                    <a:pt x="834" y="840"/>
                  </a:lnTo>
                  <a:lnTo>
                    <a:pt x="832" y="840"/>
                  </a:lnTo>
                  <a:lnTo>
                    <a:pt x="832" y="838"/>
                  </a:lnTo>
                  <a:lnTo>
                    <a:pt x="832" y="838"/>
                  </a:lnTo>
                  <a:lnTo>
                    <a:pt x="832" y="838"/>
                  </a:lnTo>
                  <a:lnTo>
                    <a:pt x="832" y="838"/>
                  </a:lnTo>
                  <a:lnTo>
                    <a:pt x="832" y="838"/>
                  </a:lnTo>
                  <a:lnTo>
                    <a:pt x="832" y="836"/>
                  </a:lnTo>
                  <a:lnTo>
                    <a:pt x="830" y="838"/>
                  </a:lnTo>
                  <a:lnTo>
                    <a:pt x="832" y="838"/>
                  </a:lnTo>
                  <a:lnTo>
                    <a:pt x="832" y="840"/>
                  </a:lnTo>
                  <a:lnTo>
                    <a:pt x="832" y="840"/>
                  </a:lnTo>
                  <a:lnTo>
                    <a:pt x="832" y="840"/>
                  </a:lnTo>
                  <a:lnTo>
                    <a:pt x="830" y="838"/>
                  </a:lnTo>
                  <a:lnTo>
                    <a:pt x="830" y="838"/>
                  </a:lnTo>
                  <a:lnTo>
                    <a:pt x="827" y="838"/>
                  </a:lnTo>
                  <a:lnTo>
                    <a:pt x="827" y="840"/>
                  </a:lnTo>
                  <a:lnTo>
                    <a:pt x="830" y="840"/>
                  </a:lnTo>
                  <a:lnTo>
                    <a:pt x="830" y="840"/>
                  </a:lnTo>
                  <a:lnTo>
                    <a:pt x="830" y="840"/>
                  </a:lnTo>
                  <a:lnTo>
                    <a:pt x="830" y="840"/>
                  </a:lnTo>
                  <a:lnTo>
                    <a:pt x="830" y="842"/>
                  </a:lnTo>
                  <a:lnTo>
                    <a:pt x="830" y="842"/>
                  </a:lnTo>
                  <a:lnTo>
                    <a:pt x="830" y="842"/>
                  </a:lnTo>
                  <a:lnTo>
                    <a:pt x="830" y="842"/>
                  </a:lnTo>
                  <a:lnTo>
                    <a:pt x="830" y="842"/>
                  </a:lnTo>
                  <a:lnTo>
                    <a:pt x="832" y="842"/>
                  </a:lnTo>
                  <a:lnTo>
                    <a:pt x="832" y="844"/>
                  </a:lnTo>
                  <a:lnTo>
                    <a:pt x="830" y="844"/>
                  </a:lnTo>
                  <a:lnTo>
                    <a:pt x="830" y="844"/>
                  </a:lnTo>
                  <a:lnTo>
                    <a:pt x="830" y="844"/>
                  </a:lnTo>
                  <a:lnTo>
                    <a:pt x="827" y="848"/>
                  </a:lnTo>
                  <a:lnTo>
                    <a:pt x="827" y="848"/>
                  </a:lnTo>
                  <a:lnTo>
                    <a:pt x="825" y="848"/>
                  </a:lnTo>
                  <a:lnTo>
                    <a:pt x="825" y="848"/>
                  </a:lnTo>
                  <a:lnTo>
                    <a:pt x="825" y="850"/>
                  </a:lnTo>
                  <a:lnTo>
                    <a:pt x="825" y="850"/>
                  </a:lnTo>
                  <a:lnTo>
                    <a:pt x="825" y="850"/>
                  </a:lnTo>
                  <a:lnTo>
                    <a:pt x="827" y="853"/>
                  </a:lnTo>
                  <a:lnTo>
                    <a:pt x="827" y="850"/>
                  </a:lnTo>
                  <a:lnTo>
                    <a:pt x="827" y="848"/>
                  </a:lnTo>
                  <a:lnTo>
                    <a:pt x="830" y="848"/>
                  </a:lnTo>
                  <a:lnTo>
                    <a:pt x="830" y="846"/>
                  </a:lnTo>
                  <a:lnTo>
                    <a:pt x="832" y="846"/>
                  </a:lnTo>
                  <a:lnTo>
                    <a:pt x="832" y="844"/>
                  </a:lnTo>
                  <a:lnTo>
                    <a:pt x="834" y="842"/>
                  </a:lnTo>
                  <a:lnTo>
                    <a:pt x="834" y="842"/>
                  </a:lnTo>
                  <a:lnTo>
                    <a:pt x="834" y="842"/>
                  </a:lnTo>
                  <a:lnTo>
                    <a:pt x="834" y="842"/>
                  </a:lnTo>
                  <a:lnTo>
                    <a:pt x="836" y="842"/>
                  </a:lnTo>
                  <a:lnTo>
                    <a:pt x="836" y="842"/>
                  </a:lnTo>
                  <a:lnTo>
                    <a:pt x="836" y="842"/>
                  </a:lnTo>
                  <a:lnTo>
                    <a:pt x="834" y="840"/>
                  </a:lnTo>
                  <a:lnTo>
                    <a:pt x="836" y="840"/>
                  </a:lnTo>
                  <a:lnTo>
                    <a:pt x="836" y="838"/>
                  </a:lnTo>
                  <a:lnTo>
                    <a:pt x="836" y="838"/>
                  </a:lnTo>
                  <a:lnTo>
                    <a:pt x="836" y="840"/>
                  </a:lnTo>
                  <a:lnTo>
                    <a:pt x="836" y="840"/>
                  </a:lnTo>
                  <a:lnTo>
                    <a:pt x="838" y="840"/>
                  </a:lnTo>
                  <a:lnTo>
                    <a:pt x="838" y="840"/>
                  </a:lnTo>
                  <a:lnTo>
                    <a:pt x="838" y="840"/>
                  </a:lnTo>
                  <a:lnTo>
                    <a:pt x="838" y="840"/>
                  </a:lnTo>
                  <a:lnTo>
                    <a:pt x="838" y="840"/>
                  </a:lnTo>
                  <a:lnTo>
                    <a:pt x="838" y="840"/>
                  </a:lnTo>
                  <a:lnTo>
                    <a:pt x="838" y="838"/>
                  </a:lnTo>
                  <a:lnTo>
                    <a:pt x="838" y="838"/>
                  </a:lnTo>
                  <a:lnTo>
                    <a:pt x="840" y="838"/>
                  </a:lnTo>
                  <a:lnTo>
                    <a:pt x="840" y="838"/>
                  </a:lnTo>
                  <a:lnTo>
                    <a:pt x="840" y="836"/>
                  </a:lnTo>
                  <a:lnTo>
                    <a:pt x="838" y="836"/>
                  </a:lnTo>
                  <a:lnTo>
                    <a:pt x="838" y="836"/>
                  </a:lnTo>
                  <a:close/>
                  <a:moveTo>
                    <a:pt x="856" y="850"/>
                  </a:moveTo>
                  <a:lnTo>
                    <a:pt x="856" y="850"/>
                  </a:lnTo>
                  <a:lnTo>
                    <a:pt x="854" y="850"/>
                  </a:lnTo>
                  <a:lnTo>
                    <a:pt x="854" y="850"/>
                  </a:lnTo>
                  <a:lnTo>
                    <a:pt x="854" y="850"/>
                  </a:lnTo>
                  <a:lnTo>
                    <a:pt x="854" y="850"/>
                  </a:lnTo>
                  <a:lnTo>
                    <a:pt x="854" y="850"/>
                  </a:lnTo>
                  <a:lnTo>
                    <a:pt x="854" y="850"/>
                  </a:lnTo>
                  <a:lnTo>
                    <a:pt x="852" y="850"/>
                  </a:lnTo>
                  <a:lnTo>
                    <a:pt x="854" y="850"/>
                  </a:lnTo>
                  <a:lnTo>
                    <a:pt x="854" y="850"/>
                  </a:lnTo>
                  <a:lnTo>
                    <a:pt x="854" y="850"/>
                  </a:lnTo>
                  <a:lnTo>
                    <a:pt x="854" y="853"/>
                  </a:lnTo>
                  <a:lnTo>
                    <a:pt x="854" y="853"/>
                  </a:lnTo>
                  <a:lnTo>
                    <a:pt x="854" y="853"/>
                  </a:lnTo>
                  <a:lnTo>
                    <a:pt x="854" y="855"/>
                  </a:lnTo>
                  <a:lnTo>
                    <a:pt x="856" y="853"/>
                  </a:lnTo>
                  <a:lnTo>
                    <a:pt x="856" y="853"/>
                  </a:lnTo>
                  <a:lnTo>
                    <a:pt x="856" y="853"/>
                  </a:lnTo>
                  <a:lnTo>
                    <a:pt x="856" y="850"/>
                  </a:lnTo>
                  <a:lnTo>
                    <a:pt x="856" y="850"/>
                  </a:lnTo>
                  <a:close/>
                  <a:moveTo>
                    <a:pt x="858" y="805"/>
                  </a:moveTo>
                  <a:lnTo>
                    <a:pt x="856" y="805"/>
                  </a:lnTo>
                  <a:lnTo>
                    <a:pt x="856" y="805"/>
                  </a:lnTo>
                  <a:lnTo>
                    <a:pt x="856" y="807"/>
                  </a:lnTo>
                  <a:lnTo>
                    <a:pt x="856" y="807"/>
                  </a:lnTo>
                  <a:lnTo>
                    <a:pt x="856" y="807"/>
                  </a:lnTo>
                  <a:lnTo>
                    <a:pt x="856" y="807"/>
                  </a:lnTo>
                  <a:lnTo>
                    <a:pt x="858" y="807"/>
                  </a:lnTo>
                  <a:lnTo>
                    <a:pt x="858" y="807"/>
                  </a:lnTo>
                  <a:lnTo>
                    <a:pt x="858" y="807"/>
                  </a:lnTo>
                  <a:lnTo>
                    <a:pt x="858" y="805"/>
                  </a:lnTo>
                  <a:lnTo>
                    <a:pt x="858" y="805"/>
                  </a:lnTo>
                  <a:close/>
                  <a:moveTo>
                    <a:pt x="875" y="803"/>
                  </a:moveTo>
                  <a:lnTo>
                    <a:pt x="875" y="803"/>
                  </a:lnTo>
                  <a:lnTo>
                    <a:pt x="875" y="803"/>
                  </a:lnTo>
                  <a:lnTo>
                    <a:pt x="873" y="803"/>
                  </a:lnTo>
                  <a:lnTo>
                    <a:pt x="873" y="803"/>
                  </a:lnTo>
                  <a:lnTo>
                    <a:pt x="873" y="801"/>
                  </a:lnTo>
                  <a:lnTo>
                    <a:pt x="870" y="801"/>
                  </a:lnTo>
                  <a:lnTo>
                    <a:pt x="870" y="803"/>
                  </a:lnTo>
                  <a:lnTo>
                    <a:pt x="870" y="803"/>
                  </a:lnTo>
                  <a:lnTo>
                    <a:pt x="868" y="805"/>
                  </a:lnTo>
                  <a:lnTo>
                    <a:pt x="868" y="805"/>
                  </a:lnTo>
                  <a:lnTo>
                    <a:pt x="868" y="805"/>
                  </a:lnTo>
                  <a:lnTo>
                    <a:pt x="870" y="807"/>
                  </a:lnTo>
                  <a:lnTo>
                    <a:pt x="870" y="807"/>
                  </a:lnTo>
                  <a:lnTo>
                    <a:pt x="870" y="805"/>
                  </a:lnTo>
                  <a:lnTo>
                    <a:pt x="870" y="805"/>
                  </a:lnTo>
                  <a:lnTo>
                    <a:pt x="870" y="805"/>
                  </a:lnTo>
                  <a:lnTo>
                    <a:pt x="870" y="805"/>
                  </a:lnTo>
                  <a:lnTo>
                    <a:pt x="870" y="805"/>
                  </a:lnTo>
                  <a:lnTo>
                    <a:pt x="870" y="803"/>
                  </a:lnTo>
                  <a:lnTo>
                    <a:pt x="873" y="803"/>
                  </a:lnTo>
                  <a:lnTo>
                    <a:pt x="875" y="805"/>
                  </a:lnTo>
                  <a:lnTo>
                    <a:pt x="875" y="805"/>
                  </a:lnTo>
                  <a:lnTo>
                    <a:pt x="875" y="803"/>
                  </a:lnTo>
                  <a:close/>
                  <a:moveTo>
                    <a:pt x="852" y="846"/>
                  </a:moveTo>
                  <a:lnTo>
                    <a:pt x="852" y="846"/>
                  </a:lnTo>
                  <a:lnTo>
                    <a:pt x="852" y="846"/>
                  </a:lnTo>
                  <a:lnTo>
                    <a:pt x="852" y="846"/>
                  </a:lnTo>
                  <a:lnTo>
                    <a:pt x="852" y="846"/>
                  </a:lnTo>
                  <a:lnTo>
                    <a:pt x="852" y="846"/>
                  </a:lnTo>
                  <a:lnTo>
                    <a:pt x="852" y="844"/>
                  </a:lnTo>
                  <a:lnTo>
                    <a:pt x="852" y="846"/>
                  </a:lnTo>
                  <a:lnTo>
                    <a:pt x="852" y="844"/>
                  </a:lnTo>
                  <a:lnTo>
                    <a:pt x="852" y="844"/>
                  </a:lnTo>
                  <a:lnTo>
                    <a:pt x="854" y="844"/>
                  </a:lnTo>
                  <a:lnTo>
                    <a:pt x="852" y="844"/>
                  </a:lnTo>
                  <a:lnTo>
                    <a:pt x="852" y="844"/>
                  </a:lnTo>
                  <a:lnTo>
                    <a:pt x="850" y="844"/>
                  </a:lnTo>
                  <a:lnTo>
                    <a:pt x="850" y="844"/>
                  </a:lnTo>
                  <a:lnTo>
                    <a:pt x="850" y="844"/>
                  </a:lnTo>
                  <a:lnTo>
                    <a:pt x="850" y="844"/>
                  </a:lnTo>
                  <a:lnTo>
                    <a:pt x="850" y="844"/>
                  </a:lnTo>
                  <a:lnTo>
                    <a:pt x="848" y="846"/>
                  </a:lnTo>
                  <a:lnTo>
                    <a:pt x="850" y="846"/>
                  </a:lnTo>
                  <a:lnTo>
                    <a:pt x="850" y="846"/>
                  </a:lnTo>
                  <a:lnTo>
                    <a:pt x="850" y="848"/>
                  </a:lnTo>
                  <a:lnTo>
                    <a:pt x="850" y="848"/>
                  </a:lnTo>
                  <a:lnTo>
                    <a:pt x="850" y="848"/>
                  </a:lnTo>
                  <a:lnTo>
                    <a:pt x="850" y="848"/>
                  </a:lnTo>
                  <a:lnTo>
                    <a:pt x="850" y="848"/>
                  </a:lnTo>
                  <a:lnTo>
                    <a:pt x="850" y="848"/>
                  </a:lnTo>
                  <a:lnTo>
                    <a:pt x="850" y="848"/>
                  </a:lnTo>
                  <a:lnTo>
                    <a:pt x="850" y="848"/>
                  </a:lnTo>
                  <a:lnTo>
                    <a:pt x="850" y="850"/>
                  </a:lnTo>
                  <a:lnTo>
                    <a:pt x="850" y="850"/>
                  </a:lnTo>
                  <a:lnTo>
                    <a:pt x="852" y="850"/>
                  </a:lnTo>
                  <a:lnTo>
                    <a:pt x="852" y="848"/>
                  </a:lnTo>
                  <a:lnTo>
                    <a:pt x="852" y="846"/>
                  </a:lnTo>
                  <a:close/>
                  <a:moveTo>
                    <a:pt x="846" y="857"/>
                  </a:moveTo>
                  <a:lnTo>
                    <a:pt x="846" y="857"/>
                  </a:lnTo>
                  <a:lnTo>
                    <a:pt x="846" y="857"/>
                  </a:lnTo>
                  <a:lnTo>
                    <a:pt x="846" y="857"/>
                  </a:lnTo>
                  <a:lnTo>
                    <a:pt x="846" y="857"/>
                  </a:lnTo>
                  <a:lnTo>
                    <a:pt x="846" y="857"/>
                  </a:lnTo>
                  <a:lnTo>
                    <a:pt x="844" y="857"/>
                  </a:lnTo>
                  <a:lnTo>
                    <a:pt x="844" y="857"/>
                  </a:lnTo>
                  <a:lnTo>
                    <a:pt x="844" y="857"/>
                  </a:lnTo>
                  <a:lnTo>
                    <a:pt x="844" y="857"/>
                  </a:lnTo>
                  <a:lnTo>
                    <a:pt x="844" y="859"/>
                  </a:lnTo>
                  <a:lnTo>
                    <a:pt x="844" y="859"/>
                  </a:lnTo>
                  <a:lnTo>
                    <a:pt x="844" y="859"/>
                  </a:lnTo>
                  <a:lnTo>
                    <a:pt x="844" y="859"/>
                  </a:lnTo>
                  <a:lnTo>
                    <a:pt x="846" y="859"/>
                  </a:lnTo>
                  <a:lnTo>
                    <a:pt x="846" y="859"/>
                  </a:lnTo>
                  <a:lnTo>
                    <a:pt x="846" y="859"/>
                  </a:lnTo>
                  <a:lnTo>
                    <a:pt x="846" y="859"/>
                  </a:lnTo>
                  <a:lnTo>
                    <a:pt x="848" y="859"/>
                  </a:lnTo>
                  <a:lnTo>
                    <a:pt x="848" y="859"/>
                  </a:lnTo>
                  <a:lnTo>
                    <a:pt x="846" y="857"/>
                  </a:lnTo>
                  <a:close/>
                  <a:moveTo>
                    <a:pt x="705" y="301"/>
                  </a:moveTo>
                  <a:lnTo>
                    <a:pt x="705" y="301"/>
                  </a:lnTo>
                  <a:lnTo>
                    <a:pt x="705" y="301"/>
                  </a:lnTo>
                  <a:lnTo>
                    <a:pt x="705" y="301"/>
                  </a:lnTo>
                  <a:lnTo>
                    <a:pt x="705" y="299"/>
                  </a:lnTo>
                  <a:lnTo>
                    <a:pt x="705" y="301"/>
                  </a:lnTo>
                  <a:lnTo>
                    <a:pt x="705" y="301"/>
                  </a:lnTo>
                  <a:lnTo>
                    <a:pt x="705" y="301"/>
                  </a:lnTo>
                  <a:lnTo>
                    <a:pt x="705" y="301"/>
                  </a:lnTo>
                  <a:close/>
                  <a:moveTo>
                    <a:pt x="848" y="842"/>
                  </a:moveTo>
                  <a:lnTo>
                    <a:pt x="848" y="842"/>
                  </a:lnTo>
                  <a:lnTo>
                    <a:pt x="848" y="840"/>
                  </a:lnTo>
                  <a:lnTo>
                    <a:pt x="848" y="838"/>
                  </a:lnTo>
                  <a:lnTo>
                    <a:pt x="848" y="838"/>
                  </a:lnTo>
                  <a:lnTo>
                    <a:pt x="848" y="838"/>
                  </a:lnTo>
                  <a:lnTo>
                    <a:pt x="848" y="838"/>
                  </a:lnTo>
                  <a:lnTo>
                    <a:pt x="848" y="838"/>
                  </a:lnTo>
                  <a:lnTo>
                    <a:pt x="848" y="836"/>
                  </a:lnTo>
                  <a:lnTo>
                    <a:pt x="848" y="836"/>
                  </a:lnTo>
                  <a:lnTo>
                    <a:pt x="848" y="836"/>
                  </a:lnTo>
                  <a:lnTo>
                    <a:pt x="848" y="836"/>
                  </a:lnTo>
                  <a:lnTo>
                    <a:pt x="848" y="834"/>
                  </a:lnTo>
                  <a:lnTo>
                    <a:pt x="848" y="834"/>
                  </a:lnTo>
                  <a:lnTo>
                    <a:pt x="848" y="834"/>
                  </a:lnTo>
                  <a:lnTo>
                    <a:pt x="848" y="834"/>
                  </a:lnTo>
                  <a:lnTo>
                    <a:pt x="848" y="834"/>
                  </a:lnTo>
                  <a:lnTo>
                    <a:pt x="848" y="836"/>
                  </a:lnTo>
                  <a:lnTo>
                    <a:pt x="848" y="836"/>
                  </a:lnTo>
                  <a:lnTo>
                    <a:pt x="848" y="836"/>
                  </a:lnTo>
                  <a:lnTo>
                    <a:pt x="848" y="836"/>
                  </a:lnTo>
                  <a:lnTo>
                    <a:pt x="846" y="836"/>
                  </a:lnTo>
                  <a:lnTo>
                    <a:pt x="846" y="836"/>
                  </a:lnTo>
                  <a:lnTo>
                    <a:pt x="846" y="838"/>
                  </a:lnTo>
                  <a:lnTo>
                    <a:pt x="846" y="838"/>
                  </a:lnTo>
                  <a:lnTo>
                    <a:pt x="846" y="838"/>
                  </a:lnTo>
                  <a:lnTo>
                    <a:pt x="848" y="838"/>
                  </a:lnTo>
                  <a:lnTo>
                    <a:pt x="848" y="838"/>
                  </a:lnTo>
                  <a:lnTo>
                    <a:pt x="848" y="840"/>
                  </a:lnTo>
                  <a:lnTo>
                    <a:pt x="846" y="840"/>
                  </a:lnTo>
                  <a:lnTo>
                    <a:pt x="846" y="840"/>
                  </a:lnTo>
                  <a:lnTo>
                    <a:pt x="846" y="840"/>
                  </a:lnTo>
                  <a:lnTo>
                    <a:pt x="846" y="840"/>
                  </a:lnTo>
                  <a:lnTo>
                    <a:pt x="846" y="840"/>
                  </a:lnTo>
                  <a:lnTo>
                    <a:pt x="844" y="840"/>
                  </a:lnTo>
                  <a:lnTo>
                    <a:pt x="844" y="840"/>
                  </a:lnTo>
                  <a:lnTo>
                    <a:pt x="844" y="840"/>
                  </a:lnTo>
                  <a:lnTo>
                    <a:pt x="846" y="840"/>
                  </a:lnTo>
                  <a:lnTo>
                    <a:pt x="846" y="840"/>
                  </a:lnTo>
                  <a:lnTo>
                    <a:pt x="846" y="842"/>
                  </a:lnTo>
                  <a:lnTo>
                    <a:pt x="846" y="842"/>
                  </a:lnTo>
                  <a:lnTo>
                    <a:pt x="846" y="842"/>
                  </a:lnTo>
                  <a:lnTo>
                    <a:pt x="846" y="842"/>
                  </a:lnTo>
                  <a:lnTo>
                    <a:pt x="846" y="842"/>
                  </a:lnTo>
                  <a:lnTo>
                    <a:pt x="846" y="842"/>
                  </a:lnTo>
                  <a:lnTo>
                    <a:pt x="844" y="842"/>
                  </a:lnTo>
                  <a:lnTo>
                    <a:pt x="844" y="842"/>
                  </a:lnTo>
                  <a:lnTo>
                    <a:pt x="844" y="842"/>
                  </a:lnTo>
                  <a:lnTo>
                    <a:pt x="844" y="844"/>
                  </a:lnTo>
                  <a:lnTo>
                    <a:pt x="844" y="844"/>
                  </a:lnTo>
                  <a:lnTo>
                    <a:pt x="844" y="844"/>
                  </a:lnTo>
                  <a:lnTo>
                    <a:pt x="844" y="844"/>
                  </a:lnTo>
                  <a:lnTo>
                    <a:pt x="844" y="844"/>
                  </a:lnTo>
                  <a:lnTo>
                    <a:pt x="846" y="844"/>
                  </a:lnTo>
                  <a:lnTo>
                    <a:pt x="846" y="844"/>
                  </a:lnTo>
                  <a:lnTo>
                    <a:pt x="846" y="844"/>
                  </a:lnTo>
                  <a:lnTo>
                    <a:pt x="846" y="844"/>
                  </a:lnTo>
                  <a:lnTo>
                    <a:pt x="846" y="842"/>
                  </a:lnTo>
                  <a:lnTo>
                    <a:pt x="846" y="842"/>
                  </a:lnTo>
                  <a:lnTo>
                    <a:pt x="846" y="842"/>
                  </a:lnTo>
                  <a:lnTo>
                    <a:pt x="846" y="842"/>
                  </a:lnTo>
                  <a:lnTo>
                    <a:pt x="848" y="842"/>
                  </a:lnTo>
                  <a:lnTo>
                    <a:pt x="848" y="844"/>
                  </a:lnTo>
                  <a:lnTo>
                    <a:pt x="848" y="844"/>
                  </a:lnTo>
                  <a:lnTo>
                    <a:pt x="848" y="844"/>
                  </a:lnTo>
                  <a:lnTo>
                    <a:pt x="848" y="844"/>
                  </a:lnTo>
                  <a:lnTo>
                    <a:pt x="848" y="844"/>
                  </a:lnTo>
                  <a:lnTo>
                    <a:pt x="848" y="844"/>
                  </a:lnTo>
                  <a:lnTo>
                    <a:pt x="848" y="842"/>
                  </a:lnTo>
                  <a:close/>
                  <a:moveTo>
                    <a:pt x="754" y="867"/>
                  </a:moveTo>
                  <a:lnTo>
                    <a:pt x="754" y="865"/>
                  </a:lnTo>
                  <a:lnTo>
                    <a:pt x="754" y="865"/>
                  </a:lnTo>
                  <a:lnTo>
                    <a:pt x="754" y="865"/>
                  </a:lnTo>
                  <a:lnTo>
                    <a:pt x="754" y="865"/>
                  </a:lnTo>
                  <a:lnTo>
                    <a:pt x="752" y="865"/>
                  </a:lnTo>
                  <a:lnTo>
                    <a:pt x="752" y="865"/>
                  </a:lnTo>
                  <a:lnTo>
                    <a:pt x="752" y="865"/>
                  </a:lnTo>
                  <a:lnTo>
                    <a:pt x="752" y="865"/>
                  </a:lnTo>
                  <a:lnTo>
                    <a:pt x="750" y="865"/>
                  </a:lnTo>
                  <a:lnTo>
                    <a:pt x="750" y="863"/>
                  </a:lnTo>
                  <a:lnTo>
                    <a:pt x="748" y="863"/>
                  </a:lnTo>
                  <a:lnTo>
                    <a:pt x="748" y="863"/>
                  </a:lnTo>
                  <a:lnTo>
                    <a:pt x="746" y="863"/>
                  </a:lnTo>
                  <a:lnTo>
                    <a:pt x="746" y="863"/>
                  </a:lnTo>
                  <a:lnTo>
                    <a:pt x="746" y="863"/>
                  </a:lnTo>
                  <a:lnTo>
                    <a:pt x="746" y="863"/>
                  </a:lnTo>
                  <a:lnTo>
                    <a:pt x="746" y="865"/>
                  </a:lnTo>
                  <a:lnTo>
                    <a:pt x="746" y="865"/>
                  </a:lnTo>
                  <a:lnTo>
                    <a:pt x="746" y="867"/>
                  </a:lnTo>
                  <a:lnTo>
                    <a:pt x="748" y="867"/>
                  </a:lnTo>
                  <a:lnTo>
                    <a:pt x="748" y="867"/>
                  </a:lnTo>
                  <a:lnTo>
                    <a:pt x="748" y="867"/>
                  </a:lnTo>
                  <a:lnTo>
                    <a:pt x="750" y="869"/>
                  </a:lnTo>
                  <a:lnTo>
                    <a:pt x="750" y="869"/>
                  </a:lnTo>
                  <a:lnTo>
                    <a:pt x="752" y="869"/>
                  </a:lnTo>
                  <a:lnTo>
                    <a:pt x="752" y="869"/>
                  </a:lnTo>
                  <a:lnTo>
                    <a:pt x="752" y="869"/>
                  </a:lnTo>
                  <a:lnTo>
                    <a:pt x="752" y="869"/>
                  </a:lnTo>
                  <a:lnTo>
                    <a:pt x="752" y="869"/>
                  </a:lnTo>
                  <a:lnTo>
                    <a:pt x="752" y="869"/>
                  </a:lnTo>
                  <a:lnTo>
                    <a:pt x="750" y="869"/>
                  </a:lnTo>
                  <a:lnTo>
                    <a:pt x="754" y="869"/>
                  </a:lnTo>
                  <a:lnTo>
                    <a:pt x="754" y="869"/>
                  </a:lnTo>
                  <a:lnTo>
                    <a:pt x="754" y="869"/>
                  </a:lnTo>
                  <a:lnTo>
                    <a:pt x="754" y="867"/>
                  </a:lnTo>
                  <a:lnTo>
                    <a:pt x="754" y="867"/>
                  </a:lnTo>
                  <a:lnTo>
                    <a:pt x="754" y="867"/>
                  </a:lnTo>
                  <a:close/>
                  <a:moveTo>
                    <a:pt x="733" y="830"/>
                  </a:moveTo>
                  <a:lnTo>
                    <a:pt x="733" y="830"/>
                  </a:lnTo>
                  <a:lnTo>
                    <a:pt x="733" y="830"/>
                  </a:lnTo>
                  <a:lnTo>
                    <a:pt x="731" y="830"/>
                  </a:lnTo>
                  <a:lnTo>
                    <a:pt x="731" y="830"/>
                  </a:lnTo>
                  <a:lnTo>
                    <a:pt x="731" y="830"/>
                  </a:lnTo>
                  <a:lnTo>
                    <a:pt x="733" y="830"/>
                  </a:lnTo>
                  <a:lnTo>
                    <a:pt x="733" y="830"/>
                  </a:lnTo>
                  <a:lnTo>
                    <a:pt x="733" y="830"/>
                  </a:lnTo>
                  <a:lnTo>
                    <a:pt x="733" y="830"/>
                  </a:lnTo>
                  <a:lnTo>
                    <a:pt x="733" y="830"/>
                  </a:lnTo>
                  <a:lnTo>
                    <a:pt x="733" y="830"/>
                  </a:lnTo>
                  <a:lnTo>
                    <a:pt x="733" y="830"/>
                  </a:lnTo>
                  <a:lnTo>
                    <a:pt x="731" y="830"/>
                  </a:lnTo>
                  <a:lnTo>
                    <a:pt x="731" y="830"/>
                  </a:lnTo>
                  <a:lnTo>
                    <a:pt x="733" y="830"/>
                  </a:lnTo>
                  <a:close/>
                  <a:moveTo>
                    <a:pt x="586" y="865"/>
                  </a:moveTo>
                  <a:lnTo>
                    <a:pt x="584" y="863"/>
                  </a:lnTo>
                  <a:lnTo>
                    <a:pt x="584" y="863"/>
                  </a:lnTo>
                  <a:lnTo>
                    <a:pt x="584" y="865"/>
                  </a:lnTo>
                  <a:lnTo>
                    <a:pt x="586" y="865"/>
                  </a:lnTo>
                  <a:close/>
                  <a:moveTo>
                    <a:pt x="758" y="869"/>
                  </a:moveTo>
                  <a:lnTo>
                    <a:pt x="758" y="869"/>
                  </a:lnTo>
                  <a:lnTo>
                    <a:pt x="758" y="869"/>
                  </a:lnTo>
                  <a:lnTo>
                    <a:pt x="758" y="869"/>
                  </a:lnTo>
                  <a:lnTo>
                    <a:pt x="756" y="867"/>
                  </a:lnTo>
                  <a:lnTo>
                    <a:pt x="756" y="867"/>
                  </a:lnTo>
                  <a:lnTo>
                    <a:pt x="756" y="867"/>
                  </a:lnTo>
                  <a:lnTo>
                    <a:pt x="756" y="867"/>
                  </a:lnTo>
                  <a:lnTo>
                    <a:pt x="756" y="869"/>
                  </a:lnTo>
                  <a:lnTo>
                    <a:pt x="756" y="869"/>
                  </a:lnTo>
                  <a:lnTo>
                    <a:pt x="756" y="869"/>
                  </a:lnTo>
                  <a:lnTo>
                    <a:pt x="758" y="871"/>
                  </a:lnTo>
                  <a:lnTo>
                    <a:pt x="758" y="871"/>
                  </a:lnTo>
                  <a:lnTo>
                    <a:pt x="760" y="869"/>
                  </a:lnTo>
                  <a:lnTo>
                    <a:pt x="760" y="869"/>
                  </a:lnTo>
                  <a:lnTo>
                    <a:pt x="758" y="869"/>
                  </a:lnTo>
                  <a:lnTo>
                    <a:pt x="758" y="869"/>
                  </a:lnTo>
                  <a:close/>
                  <a:moveTo>
                    <a:pt x="684" y="867"/>
                  </a:moveTo>
                  <a:lnTo>
                    <a:pt x="684" y="867"/>
                  </a:lnTo>
                  <a:lnTo>
                    <a:pt x="682" y="869"/>
                  </a:lnTo>
                  <a:lnTo>
                    <a:pt x="682" y="869"/>
                  </a:lnTo>
                  <a:lnTo>
                    <a:pt x="682" y="869"/>
                  </a:lnTo>
                  <a:lnTo>
                    <a:pt x="684" y="869"/>
                  </a:lnTo>
                  <a:lnTo>
                    <a:pt x="686" y="869"/>
                  </a:lnTo>
                  <a:lnTo>
                    <a:pt x="686" y="869"/>
                  </a:lnTo>
                  <a:lnTo>
                    <a:pt x="686" y="867"/>
                  </a:lnTo>
                  <a:lnTo>
                    <a:pt x="684" y="867"/>
                  </a:lnTo>
                  <a:close/>
                  <a:moveTo>
                    <a:pt x="739" y="853"/>
                  </a:moveTo>
                  <a:lnTo>
                    <a:pt x="739" y="850"/>
                  </a:lnTo>
                  <a:lnTo>
                    <a:pt x="739" y="850"/>
                  </a:lnTo>
                  <a:lnTo>
                    <a:pt x="739" y="850"/>
                  </a:lnTo>
                  <a:lnTo>
                    <a:pt x="739" y="850"/>
                  </a:lnTo>
                  <a:lnTo>
                    <a:pt x="739" y="850"/>
                  </a:lnTo>
                  <a:lnTo>
                    <a:pt x="739" y="848"/>
                  </a:lnTo>
                  <a:lnTo>
                    <a:pt x="739" y="846"/>
                  </a:lnTo>
                  <a:lnTo>
                    <a:pt x="737" y="846"/>
                  </a:lnTo>
                  <a:lnTo>
                    <a:pt x="737" y="846"/>
                  </a:lnTo>
                  <a:lnTo>
                    <a:pt x="737" y="846"/>
                  </a:lnTo>
                  <a:lnTo>
                    <a:pt x="737" y="846"/>
                  </a:lnTo>
                  <a:lnTo>
                    <a:pt x="737" y="846"/>
                  </a:lnTo>
                  <a:lnTo>
                    <a:pt x="737" y="846"/>
                  </a:lnTo>
                  <a:lnTo>
                    <a:pt x="735" y="846"/>
                  </a:lnTo>
                  <a:lnTo>
                    <a:pt x="735" y="846"/>
                  </a:lnTo>
                  <a:lnTo>
                    <a:pt x="733" y="846"/>
                  </a:lnTo>
                  <a:lnTo>
                    <a:pt x="733" y="846"/>
                  </a:lnTo>
                  <a:lnTo>
                    <a:pt x="733" y="846"/>
                  </a:lnTo>
                  <a:lnTo>
                    <a:pt x="731" y="844"/>
                  </a:lnTo>
                  <a:lnTo>
                    <a:pt x="731" y="842"/>
                  </a:lnTo>
                  <a:lnTo>
                    <a:pt x="731" y="840"/>
                  </a:lnTo>
                  <a:lnTo>
                    <a:pt x="731" y="838"/>
                  </a:lnTo>
                  <a:lnTo>
                    <a:pt x="731" y="836"/>
                  </a:lnTo>
                  <a:lnTo>
                    <a:pt x="731" y="836"/>
                  </a:lnTo>
                  <a:lnTo>
                    <a:pt x="731" y="836"/>
                  </a:lnTo>
                  <a:lnTo>
                    <a:pt x="729" y="834"/>
                  </a:lnTo>
                  <a:lnTo>
                    <a:pt x="729" y="834"/>
                  </a:lnTo>
                  <a:lnTo>
                    <a:pt x="729" y="832"/>
                  </a:lnTo>
                  <a:lnTo>
                    <a:pt x="729" y="832"/>
                  </a:lnTo>
                  <a:lnTo>
                    <a:pt x="729" y="832"/>
                  </a:lnTo>
                  <a:lnTo>
                    <a:pt x="729" y="832"/>
                  </a:lnTo>
                  <a:lnTo>
                    <a:pt x="729" y="832"/>
                  </a:lnTo>
                  <a:lnTo>
                    <a:pt x="729" y="832"/>
                  </a:lnTo>
                  <a:lnTo>
                    <a:pt x="727" y="830"/>
                  </a:lnTo>
                  <a:lnTo>
                    <a:pt x="725" y="830"/>
                  </a:lnTo>
                  <a:lnTo>
                    <a:pt x="723" y="830"/>
                  </a:lnTo>
                  <a:lnTo>
                    <a:pt x="721" y="830"/>
                  </a:lnTo>
                  <a:lnTo>
                    <a:pt x="721" y="830"/>
                  </a:lnTo>
                  <a:lnTo>
                    <a:pt x="721" y="830"/>
                  </a:lnTo>
                  <a:lnTo>
                    <a:pt x="717" y="830"/>
                  </a:lnTo>
                  <a:lnTo>
                    <a:pt x="717" y="830"/>
                  </a:lnTo>
                  <a:lnTo>
                    <a:pt x="715" y="832"/>
                  </a:lnTo>
                  <a:lnTo>
                    <a:pt x="715" y="832"/>
                  </a:lnTo>
                  <a:lnTo>
                    <a:pt x="713" y="832"/>
                  </a:lnTo>
                  <a:lnTo>
                    <a:pt x="711" y="832"/>
                  </a:lnTo>
                  <a:lnTo>
                    <a:pt x="711" y="832"/>
                  </a:lnTo>
                  <a:lnTo>
                    <a:pt x="709" y="834"/>
                  </a:lnTo>
                  <a:lnTo>
                    <a:pt x="707" y="834"/>
                  </a:lnTo>
                  <a:lnTo>
                    <a:pt x="709" y="834"/>
                  </a:lnTo>
                  <a:lnTo>
                    <a:pt x="709" y="836"/>
                  </a:lnTo>
                  <a:lnTo>
                    <a:pt x="707" y="836"/>
                  </a:lnTo>
                  <a:lnTo>
                    <a:pt x="705" y="836"/>
                  </a:lnTo>
                  <a:lnTo>
                    <a:pt x="705" y="834"/>
                  </a:lnTo>
                  <a:lnTo>
                    <a:pt x="703" y="834"/>
                  </a:lnTo>
                  <a:lnTo>
                    <a:pt x="703" y="834"/>
                  </a:lnTo>
                  <a:lnTo>
                    <a:pt x="700" y="832"/>
                  </a:lnTo>
                  <a:lnTo>
                    <a:pt x="700" y="834"/>
                  </a:lnTo>
                  <a:lnTo>
                    <a:pt x="698" y="834"/>
                  </a:lnTo>
                  <a:lnTo>
                    <a:pt x="698" y="834"/>
                  </a:lnTo>
                  <a:lnTo>
                    <a:pt x="696" y="836"/>
                  </a:lnTo>
                  <a:lnTo>
                    <a:pt x="696" y="836"/>
                  </a:lnTo>
                  <a:lnTo>
                    <a:pt x="692" y="844"/>
                  </a:lnTo>
                  <a:lnTo>
                    <a:pt x="690" y="846"/>
                  </a:lnTo>
                  <a:lnTo>
                    <a:pt x="688" y="846"/>
                  </a:lnTo>
                  <a:lnTo>
                    <a:pt x="686" y="846"/>
                  </a:lnTo>
                  <a:lnTo>
                    <a:pt x="684" y="846"/>
                  </a:lnTo>
                  <a:lnTo>
                    <a:pt x="684" y="848"/>
                  </a:lnTo>
                  <a:lnTo>
                    <a:pt x="682" y="848"/>
                  </a:lnTo>
                  <a:lnTo>
                    <a:pt x="684" y="850"/>
                  </a:lnTo>
                  <a:lnTo>
                    <a:pt x="684" y="850"/>
                  </a:lnTo>
                  <a:lnTo>
                    <a:pt x="684" y="850"/>
                  </a:lnTo>
                  <a:lnTo>
                    <a:pt x="684" y="853"/>
                  </a:lnTo>
                  <a:lnTo>
                    <a:pt x="684" y="853"/>
                  </a:lnTo>
                  <a:lnTo>
                    <a:pt x="684" y="853"/>
                  </a:lnTo>
                  <a:lnTo>
                    <a:pt x="684" y="855"/>
                  </a:lnTo>
                  <a:lnTo>
                    <a:pt x="684" y="855"/>
                  </a:lnTo>
                  <a:lnTo>
                    <a:pt x="684" y="855"/>
                  </a:lnTo>
                  <a:lnTo>
                    <a:pt x="684" y="857"/>
                  </a:lnTo>
                  <a:lnTo>
                    <a:pt x="686" y="857"/>
                  </a:lnTo>
                  <a:lnTo>
                    <a:pt x="686" y="859"/>
                  </a:lnTo>
                  <a:lnTo>
                    <a:pt x="690" y="859"/>
                  </a:lnTo>
                  <a:lnTo>
                    <a:pt x="690" y="859"/>
                  </a:lnTo>
                  <a:lnTo>
                    <a:pt x="692" y="859"/>
                  </a:lnTo>
                  <a:lnTo>
                    <a:pt x="692" y="859"/>
                  </a:lnTo>
                  <a:lnTo>
                    <a:pt x="694" y="859"/>
                  </a:lnTo>
                  <a:lnTo>
                    <a:pt x="696" y="859"/>
                  </a:lnTo>
                  <a:lnTo>
                    <a:pt x="698" y="859"/>
                  </a:lnTo>
                  <a:lnTo>
                    <a:pt x="700" y="857"/>
                  </a:lnTo>
                  <a:lnTo>
                    <a:pt x="700" y="857"/>
                  </a:lnTo>
                  <a:lnTo>
                    <a:pt x="700" y="855"/>
                  </a:lnTo>
                  <a:lnTo>
                    <a:pt x="700" y="855"/>
                  </a:lnTo>
                  <a:lnTo>
                    <a:pt x="700" y="855"/>
                  </a:lnTo>
                  <a:lnTo>
                    <a:pt x="700" y="855"/>
                  </a:lnTo>
                  <a:lnTo>
                    <a:pt x="700" y="855"/>
                  </a:lnTo>
                  <a:lnTo>
                    <a:pt x="705" y="850"/>
                  </a:lnTo>
                  <a:lnTo>
                    <a:pt x="707" y="850"/>
                  </a:lnTo>
                  <a:lnTo>
                    <a:pt x="709" y="850"/>
                  </a:lnTo>
                  <a:lnTo>
                    <a:pt x="719" y="850"/>
                  </a:lnTo>
                  <a:lnTo>
                    <a:pt x="721" y="853"/>
                  </a:lnTo>
                  <a:lnTo>
                    <a:pt x="723" y="853"/>
                  </a:lnTo>
                  <a:lnTo>
                    <a:pt x="725" y="853"/>
                  </a:lnTo>
                  <a:lnTo>
                    <a:pt x="727" y="853"/>
                  </a:lnTo>
                  <a:lnTo>
                    <a:pt x="727" y="850"/>
                  </a:lnTo>
                  <a:lnTo>
                    <a:pt x="729" y="850"/>
                  </a:lnTo>
                  <a:lnTo>
                    <a:pt x="729" y="850"/>
                  </a:lnTo>
                  <a:lnTo>
                    <a:pt x="729" y="850"/>
                  </a:lnTo>
                  <a:lnTo>
                    <a:pt x="729" y="848"/>
                  </a:lnTo>
                  <a:lnTo>
                    <a:pt x="729" y="846"/>
                  </a:lnTo>
                  <a:lnTo>
                    <a:pt x="729" y="846"/>
                  </a:lnTo>
                  <a:lnTo>
                    <a:pt x="731" y="846"/>
                  </a:lnTo>
                  <a:lnTo>
                    <a:pt x="731" y="846"/>
                  </a:lnTo>
                  <a:lnTo>
                    <a:pt x="733" y="846"/>
                  </a:lnTo>
                  <a:lnTo>
                    <a:pt x="733" y="848"/>
                  </a:lnTo>
                  <a:lnTo>
                    <a:pt x="733" y="848"/>
                  </a:lnTo>
                  <a:lnTo>
                    <a:pt x="733" y="848"/>
                  </a:lnTo>
                  <a:lnTo>
                    <a:pt x="735" y="850"/>
                  </a:lnTo>
                  <a:lnTo>
                    <a:pt x="735" y="850"/>
                  </a:lnTo>
                  <a:lnTo>
                    <a:pt x="735" y="850"/>
                  </a:lnTo>
                  <a:lnTo>
                    <a:pt x="735" y="850"/>
                  </a:lnTo>
                  <a:lnTo>
                    <a:pt x="735" y="850"/>
                  </a:lnTo>
                  <a:lnTo>
                    <a:pt x="737" y="850"/>
                  </a:lnTo>
                  <a:lnTo>
                    <a:pt x="737" y="850"/>
                  </a:lnTo>
                  <a:lnTo>
                    <a:pt x="737" y="850"/>
                  </a:lnTo>
                  <a:lnTo>
                    <a:pt x="737" y="850"/>
                  </a:lnTo>
                  <a:lnTo>
                    <a:pt x="739" y="850"/>
                  </a:lnTo>
                  <a:lnTo>
                    <a:pt x="739" y="850"/>
                  </a:lnTo>
                  <a:lnTo>
                    <a:pt x="737" y="853"/>
                  </a:lnTo>
                  <a:lnTo>
                    <a:pt x="737" y="853"/>
                  </a:lnTo>
                  <a:lnTo>
                    <a:pt x="737" y="853"/>
                  </a:lnTo>
                  <a:lnTo>
                    <a:pt x="739" y="853"/>
                  </a:lnTo>
                  <a:lnTo>
                    <a:pt x="741" y="853"/>
                  </a:lnTo>
                  <a:lnTo>
                    <a:pt x="741" y="853"/>
                  </a:lnTo>
                  <a:lnTo>
                    <a:pt x="739" y="853"/>
                  </a:lnTo>
                  <a:close/>
                  <a:moveTo>
                    <a:pt x="748" y="840"/>
                  </a:moveTo>
                  <a:lnTo>
                    <a:pt x="748" y="840"/>
                  </a:lnTo>
                  <a:lnTo>
                    <a:pt x="748" y="840"/>
                  </a:lnTo>
                  <a:lnTo>
                    <a:pt x="748" y="842"/>
                  </a:lnTo>
                  <a:lnTo>
                    <a:pt x="748" y="842"/>
                  </a:lnTo>
                  <a:lnTo>
                    <a:pt x="748" y="840"/>
                  </a:lnTo>
                  <a:close/>
                  <a:moveTo>
                    <a:pt x="782" y="832"/>
                  </a:moveTo>
                  <a:lnTo>
                    <a:pt x="782" y="832"/>
                  </a:lnTo>
                  <a:lnTo>
                    <a:pt x="782" y="832"/>
                  </a:lnTo>
                  <a:lnTo>
                    <a:pt x="782" y="832"/>
                  </a:lnTo>
                  <a:lnTo>
                    <a:pt x="782" y="832"/>
                  </a:lnTo>
                  <a:lnTo>
                    <a:pt x="782" y="832"/>
                  </a:lnTo>
                  <a:lnTo>
                    <a:pt x="780" y="832"/>
                  </a:lnTo>
                  <a:lnTo>
                    <a:pt x="778" y="832"/>
                  </a:lnTo>
                  <a:lnTo>
                    <a:pt x="778" y="832"/>
                  </a:lnTo>
                  <a:lnTo>
                    <a:pt x="778" y="832"/>
                  </a:lnTo>
                  <a:lnTo>
                    <a:pt x="778" y="832"/>
                  </a:lnTo>
                  <a:lnTo>
                    <a:pt x="778" y="832"/>
                  </a:lnTo>
                  <a:lnTo>
                    <a:pt x="778" y="832"/>
                  </a:lnTo>
                  <a:lnTo>
                    <a:pt x="778" y="832"/>
                  </a:lnTo>
                  <a:lnTo>
                    <a:pt x="778" y="834"/>
                  </a:lnTo>
                  <a:lnTo>
                    <a:pt x="780" y="834"/>
                  </a:lnTo>
                  <a:lnTo>
                    <a:pt x="780" y="834"/>
                  </a:lnTo>
                  <a:lnTo>
                    <a:pt x="780" y="834"/>
                  </a:lnTo>
                  <a:lnTo>
                    <a:pt x="780" y="832"/>
                  </a:lnTo>
                  <a:lnTo>
                    <a:pt x="780" y="832"/>
                  </a:lnTo>
                  <a:lnTo>
                    <a:pt x="780" y="832"/>
                  </a:lnTo>
                  <a:lnTo>
                    <a:pt x="782" y="834"/>
                  </a:lnTo>
                  <a:lnTo>
                    <a:pt x="782" y="834"/>
                  </a:lnTo>
                  <a:lnTo>
                    <a:pt x="780" y="834"/>
                  </a:lnTo>
                  <a:lnTo>
                    <a:pt x="780" y="836"/>
                  </a:lnTo>
                  <a:lnTo>
                    <a:pt x="780" y="836"/>
                  </a:lnTo>
                  <a:lnTo>
                    <a:pt x="780" y="836"/>
                  </a:lnTo>
                  <a:lnTo>
                    <a:pt x="780" y="836"/>
                  </a:lnTo>
                  <a:lnTo>
                    <a:pt x="782" y="838"/>
                  </a:lnTo>
                  <a:lnTo>
                    <a:pt x="782" y="836"/>
                  </a:lnTo>
                  <a:lnTo>
                    <a:pt x="782" y="836"/>
                  </a:lnTo>
                  <a:lnTo>
                    <a:pt x="782" y="836"/>
                  </a:lnTo>
                  <a:lnTo>
                    <a:pt x="784" y="836"/>
                  </a:lnTo>
                  <a:lnTo>
                    <a:pt x="784" y="836"/>
                  </a:lnTo>
                  <a:lnTo>
                    <a:pt x="784" y="834"/>
                  </a:lnTo>
                  <a:lnTo>
                    <a:pt x="784" y="834"/>
                  </a:lnTo>
                  <a:lnTo>
                    <a:pt x="784" y="834"/>
                  </a:lnTo>
                  <a:lnTo>
                    <a:pt x="782" y="832"/>
                  </a:lnTo>
                  <a:close/>
                  <a:moveTo>
                    <a:pt x="778" y="840"/>
                  </a:moveTo>
                  <a:lnTo>
                    <a:pt x="776" y="838"/>
                  </a:lnTo>
                  <a:lnTo>
                    <a:pt x="776" y="838"/>
                  </a:lnTo>
                  <a:lnTo>
                    <a:pt x="776" y="838"/>
                  </a:lnTo>
                  <a:lnTo>
                    <a:pt x="776" y="838"/>
                  </a:lnTo>
                  <a:lnTo>
                    <a:pt x="778" y="840"/>
                  </a:lnTo>
                  <a:lnTo>
                    <a:pt x="778" y="840"/>
                  </a:lnTo>
                  <a:lnTo>
                    <a:pt x="778" y="840"/>
                  </a:lnTo>
                  <a:lnTo>
                    <a:pt x="778" y="840"/>
                  </a:lnTo>
                  <a:lnTo>
                    <a:pt x="778" y="840"/>
                  </a:lnTo>
                  <a:close/>
                  <a:moveTo>
                    <a:pt x="762" y="857"/>
                  </a:moveTo>
                  <a:lnTo>
                    <a:pt x="762" y="857"/>
                  </a:lnTo>
                  <a:lnTo>
                    <a:pt x="760" y="857"/>
                  </a:lnTo>
                  <a:lnTo>
                    <a:pt x="760" y="857"/>
                  </a:lnTo>
                  <a:lnTo>
                    <a:pt x="762" y="857"/>
                  </a:lnTo>
                  <a:lnTo>
                    <a:pt x="760" y="857"/>
                  </a:lnTo>
                  <a:lnTo>
                    <a:pt x="760" y="857"/>
                  </a:lnTo>
                  <a:lnTo>
                    <a:pt x="760" y="857"/>
                  </a:lnTo>
                  <a:lnTo>
                    <a:pt x="760" y="857"/>
                  </a:lnTo>
                  <a:lnTo>
                    <a:pt x="760" y="857"/>
                  </a:lnTo>
                  <a:lnTo>
                    <a:pt x="760" y="857"/>
                  </a:lnTo>
                  <a:lnTo>
                    <a:pt x="760" y="857"/>
                  </a:lnTo>
                  <a:lnTo>
                    <a:pt x="760" y="857"/>
                  </a:lnTo>
                  <a:lnTo>
                    <a:pt x="760" y="857"/>
                  </a:lnTo>
                  <a:lnTo>
                    <a:pt x="762" y="857"/>
                  </a:lnTo>
                  <a:lnTo>
                    <a:pt x="762" y="857"/>
                  </a:lnTo>
                  <a:lnTo>
                    <a:pt x="762" y="857"/>
                  </a:lnTo>
                  <a:lnTo>
                    <a:pt x="762" y="857"/>
                  </a:lnTo>
                  <a:lnTo>
                    <a:pt x="762" y="857"/>
                  </a:lnTo>
                  <a:lnTo>
                    <a:pt x="762" y="857"/>
                  </a:lnTo>
                  <a:close/>
                  <a:moveTo>
                    <a:pt x="776" y="836"/>
                  </a:moveTo>
                  <a:lnTo>
                    <a:pt x="776" y="836"/>
                  </a:lnTo>
                  <a:lnTo>
                    <a:pt x="776" y="836"/>
                  </a:lnTo>
                  <a:lnTo>
                    <a:pt x="776" y="836"/>
                  </a:lnTo>
                  <a:lnTo>
                    <a:pt x="776" y="838"/>
                  </a:lnTo>
                  <a:lnTo>
                    <a:pt x="776" y="838"/>
                  </a:lnTo>
                  <a:lnTo>
                    <a:pt x="776" y="836"/>
                  </a:lnTo>
                  <a:lnTo>
                    <a:pt x="776" y="836"/>
                  </a:lnTo>
                  <a:lnTo>
                    <a:pt x="776" y="836"/>
                  </a:lnTo>
                  <a:close/>
                  <a:moveTo>
                    <a:pt x="766" y="838"/>
                  </a:moveTo>
                  <a:lnTo>
                    <a:pt x="764" y="838"/>
                  </a:lnTo>
                  <a:lnTo>
                    <a:pt x="764" y="840"/>
                  </a:lnTo>
                  <a:lnTo>
                    <a:pt x="762" y="840"/>
                  </a:lnTo>
                  <a:lnTo>
                    <a:pt x="762" y="840"/>
                  </a:lnTo>
                  <a:lnTo>
                    <a:pt x="760" y="842"/>
                  </a:lnTo>
                  <a:lnTo>
                    <a:pt x="760" y="842"/>
                  </a:lnTo>
                  <a:lnTo>
                    <a:pt x="760" y="842"/>
                  </a:lnTo>
                  <a:lnTo>
                    <a:pt x="762" y="844"/>
                  </a:lnTo>
                  <a:lnTo>
                    <a:pt x="762" y="846"/>
                  </a:lnTo>
                  <a:lnTo>
                    <a:pt x="762" y="846"/>
                  </a:lnTo>
                  <a:lnTo>
                    <a:pt x="764" y="846"/>
                  </a:lnTo>
                  <a:lnTo>
                    <a:pt x="764" y="846"/>
                  </a:lnTo>
                  <a:lnTo>
                    <a:pt x="766" y="844"/>
                  </a:lnTo>
                  <a:lnTo>
                    <a:pt x="766" y="842"/>
                  </a:lnTo>
                  <a:lnTo>
                    <a:pt x="766" y="842"/>
                  </a:lnTo>
                  <a:lnTo>
                    <a:pt x="766" y="842"/>
                  </a:lnTo>
                  <a:lnTo>
                    <a:pt x="766" y="840"/>
                  </a:lnTo>
                  <a:lnTo>
                    <a:pt x="766" y="840"/>
                  </a:lnTo>
                  <a:lnTo>
                    <a:pt x="766" y="838"/>
                  </a:lnTo>
                  <a:close/>
                  <a:moveTo>
                    <a:pt x="27" y="738"/>
                  </a:moveTo>
                  <a:lnTo>
                    <a:pt x="23" y="738"/>
                  </a:lnTo>
                  <a:lnTo>
                    <a:pt x="23" y="738"/>
                  </a:lnTo>
                  <a:lnTo>
                    <a:pt x="23" y="738"/>
                  </a:lnTo>
                  <a:lnTo>
                    <a:pt x="23" y="738"/>
                  </a:lnTo>
                  <a:lnTo>
                    <a:pt x="21" y="738"/>
                  </a:lnTo>
                  <a:lnTo>
                    <a:pt x="21" y="738"/>
                  </a:lnTo>
                  <a:lnTo>
                    <a:pt x="21" y="738"/>
                  </a:lnTo>
                  <a:lnTo>
                    <a:pt x="21" y="738"/>
                  </a:lnTo>
                  <a:lnTo>
                    <a:pt x="21" y="738"/>
                  </a:lnTo>
                  <a:lnTo>
                    <a:pt x="18" y="738"/>
                  </a:lnTo>
                  <a:lnTo>
                    <a:pt x="18" y="738"/>
                  </a:lnTo>
                  <a:lnTo>
                    <a:pt x="18" y="738"/>
                  </a:lnTo>
                  <a:lnTo>
                    <a:pt x="16" y="738"/>
                  </a:lnTo>
                  <a:lnTo>
                    <a:pt x="16" y="738"/>
                  </a:lnTo>
                  <a:lnTo>
                    <a:pt x="16" y="738"/>
                  </a:lnTo>
                  <a:lnTo>
                    <a:pt x="16" y="738"/>
                  </a:lnTo>
                  <a:lnTo>
                    <a:pt x="14" y="738"/>
                  </a:lnTo>
                  <a:lnTo>
                    <a:pt x="14" y="738"/>
                  </a:lnTo>
                  <a:lnTo>
                    <a:pt x="14" y="738"/>
                  </a:lnTo>
                  <a:lnTo>
                    <a:pt x="14" y="738"/>
                  </a:lnTo>
                  <a:lnTo>
                    <a:pt x="16" y="740"/>
                  </a:lnTo>
                  <a:lnTo>
                    <a:pt x="18" y="742"/>
                  </a:lnTo>
                  <a:lnTo>
                    <a:pt x="21" y="742"/>
                  </a:lnTo>
                  <a:lnTo>
                    <a:pt x="21" y="742"/>
                  </a:lnTo>
                  <a:lnTo>
                    <a:pt x="21" y="744"/>
                  </a:lnTo>
                  <a:lnTo>
                    <a:pt x="21" y="744"/>
                  </a:lnTo>
                  <a:lnTo>
                    <a:pt x="21" y="744"/>
                  </a:lnTo>
                  <a:lnTo>
                    <a:pt x="21" y="744"/>
                  </a:lnTo>
                  <a:lnTo>
                    <a:pt x="21" y="744"/>
                  </a:lnTo>
                  <a:lnTo>
                    <a:pt x="21" y="744"/>
                  </a:lnTo>
                  <a:lnTo>
                    <a:pt x="21" y="744"/>
                  </a:lnTo>
                  <a:lnTo>
                    <a:pt x="21" y="744"/>
                  </a:lnTo>
                  <a:lnTo>
                    <a:pt x="21" y="744"/>
                  </a:lnTo>
                  <a:lnTo>
                    <a:pt x="23" y="746"/>
                  </a:lnTo>
                  <a:lnTo>
                    <a:pt x="23" y="744"/>
                  </a:lnTo>
                  <a:lnTo>
                    <a:pt x="23" y="744"/>
                  </a:lnTo>
                  <a:lnTo>
                    <a:pt x="23" y="742"/>
                  </a:lnTo>
                  <a:lnTo>
                    <a:pt x="23" y="742"/>
                  </a:lnTo>
                  <a:lnTo>
                    <a:pt x="25" y="740"/>
                  </a:lnTo>
                  <a:lnTo>
                    <a:pt x="25" y="740"/>
                  </a:lnTo>
                  <a:lnTo>
                    <a:pt x="27" y="740"/>
                  </a:lnTo>
                  <a:lnTo>
                    <a:pt x="27" y="740"/>
                  </a:lnTo>
                  <a:lnTo>
                    <a:pt x="27" y="738"/>
                  </a:lnTo>
                  <a:close/>
                  <a:moveTo>
                    <a:pt x="231" y="883"/>
                  </a:moveTo>
                  <a:lnTo>
                    <a:pt x="231" y="883"/>
                  </a:lnTo>
                  <a:lnTo>
                    <a:pt x="231" y="883"/>
                  </a:lnTo>
                  <a:lnTo>
                    <a:pt x="229" y="883"/>
                  </a:lnTo>
                  <a:lnTo>
                    <a:pt x="229" y="883"/>
                  </a:lnTo>
                  <a:lnTo>
                    <a:pt x="231" y="883"/>
                  </a:lnTo>
                  <a:lnTo>
                    <a:pt x="231" y="883"/>
                  </a:lnTo>
                  <a:lnTo>
                    <a:pt x="231" y="885"/>
                  </a:lnTo>
                  <a:lnTo>
                    <a:pt x="231" y="885"/>
                  </a:lnTo>
                  <a:lnTo>
                    <a:pt x="231" y="883"/>
                  </a:lnTo>
                  <a:lnTo>
                    <a:pt x="231" y="883"/>
                  </a:lnTo>
                  <a:lnTo>
                    <a:pt x="231" y="883"/>
                  </a:lnTo>
                  <a:close/>
                  <a:moveTo>
                    <a:pt x="315" y="898"/>
                  </a:moveTo>
                  <a:lnTo>
                    <a:pt x="315" y="898"/>
                  </a:lnTo>
                  <a:lnTo>
                    <a:pt x="315" y="900"/>
                  </a:lnTo>
                  <a:lnTo>
                    <a:pt x="313" y="898"/>
                  </a:lnTo>
                  <a:lnTo>
                    <a:pt x="313" y="898"/>
                  </a:lnTo>
                  <a:lnTo>
                    <a:pt x="315" y="898"/>
                  </a:lnTo>
                  <a:lnTo>
                    <a:pt x="315" y="898"/>
                  </a:lnTo>
                  <a:lnTo>
                    <a:pt x="315" y="898"/>
                  </a:lnTo>
                  <a:lnTo>
                    <a:pt x="315" y="898"/>
                  </a:lnTo>
                  <a:lnTo>
                    <a:pt x="315" y="898"/>
                  </a:lnTo>
                  <a:lnTo>
                    <a:pt x="313" y="898"/>
                  </a:lnTo>
                  <a:lnTo>
                    <a:pt x="313" y="898"/>
                  </a:lnTo>
                  <a:lnTo>
                    <a:pt x="311" y="898"/>
                  </a:lnTo>
                  <a:lnTo>
                    <a:pt x="311" y="898"/>
                  </a:lnTo>
                  <a:lnTo>
                    <a:pt x="315" y="900"/>
                  </a:lnTo>
                  <a:lnTo>
                    <a:pt x="315" y="900"/>
                  </a:lnTo>
                  <a:lnTo>
                    <a:pt x="315" y="900"/>
                  </a:lnTo>
                  <a:lnTo>
                    <a:pt x="315" y="900"/>
                  </a:lnTo>
                  <a:lnTo>
                    <a:pt x="315" y="900"/>
                  </a:lnTo>
                  <a:lnTo>
                    <a:pt x="315" y="898"/>
                  </a:lnTo>
                  <a:lnTo>
                    <a:pt x="315" y="898"/>
                  </a:lnTo>
                  <a:close/>
                  <a:moveTo>
                    <a:pt x="238" y="894"/>
                  </a:moveTo>
                  <a:lnTo>
                    <a:pt x="238" y="894"/>
                  </a:lnTo>
                  <a:lnTo>
                    <a:pt x="238" y="894"/>
                  </a:lnTo>
                  <a:lnTo>
                    <a:pt x="238" y="894"/>
                  </a:lnTo>
                  <a:lnTo>
                    <a:pt x="238" y="894"/>
                  </a:lnTo>
                  <a:lnTo>
                    <a:pt x="238" y="894"/>
                  </a:lnTo>
                  <a:close/>
                  <a:moveTo>
                    <a:pt x="225" y="883"/>
                  </a:moveTo>
                  <a:lnTo>
                    <a:pt x="223" y="883"/>
                  </a:lnTo>
                  <a:lnTo>
                    <a:pt x="223" y="883"/>
                  </a:lnTo>
                  <a:lnTo>
                    <a:pt x="223" y="883"/>
                  </a:lnTo>
                  <a:lnTo>
                    <a:pt x="223" y="881"/>
                  </a:lnTo>
                  <a:lnTo>
                    <a:pt x="223" y="881"/>
                  </a:lnTo>
                  <a:lnTo>
                    <a:pt x="223" y="881"/>
                  </a:lnTo>
                  <a:lnTo>
                    <a:pt x="223" y="881"/>
                  </a:lnTo>
                  <a:lnTo>
                    <a:pt x="223" y="881"/>
                  </a:lnTo>
                  <a:lnTo>
                    <a:pt x="223" y="883"/>
                  </a:lnTo>
                  <a:lnTo>
                    <a:pt x="223" y="883"/>
                  </a:lnTo>
                  <a:lnTo>
                    <a:pt x="223" y="883"/>
                  </a:lnTo>
                  <a:lnTo>
                    <a:pt x="223" y="883"/>
                  </a:lnTo>
                  <a:lnTo>
                    <a:pt x="223" y="883"/>
                  </a:lnTo>
                  <a:lnTo>
                    <a:pt x="225" y="883"/>
                  </a:lnTo>
                  <a:lnTo>
                    <a:pt x="225" y="885"/>
                  </a:lnTo>
                  <a:lnTo>
                    <a:pt x="225" y="883"/>
                  </a:lnTo>
                  <a:lnTo>
                    <a:pt x="225" y="883"/>
                  </a:lnTo>
                  <a:lnTo>
                    <a:pt x="225" y="883"/>
                  </a:lnTo>
                  <a:close/>
                  <a:moveTo>
                    <a:pt x="229" y="883"/>
                  </a:moveTo>
                  <a:lnTo>
                    <a:pt x="229" y="883"/>
                  </a:lnTo>
                  <a:lnTo>
                    <a:pt x="229" y="881"/>
                  </a:lnTo>
                  <a:lnTo>
                    <a:pt x="229" y="881"/>
                  </a:lnTo>
                  <a:lnTo>
                    <a:pt x="227" y="881"/>
                  </a:lnTo>
                  <a:lnTo>
                    <a:pt x="227" y="881"/>
                  </a:lnTo>
                  <a:lnTo>
                    <a:pt x="227" y="883"/>
                  </a:lnTo>
                  <a:lnTo>
                    <a:pt x="227" y="883"/>
                  </a:lnTo>
                  <a:lnTo>
                    <a:pt x="227" y="883"/>
                  </a:lnTo>
                  <a:lnTo>
                    <a:pt x="227" y="883"/>
                  </a:lnTo>
                  <a:lnTo>
                    <a:pt x="229" y="883"/>
                  </a:lnTo>
                  <a:lnTo>
                    <a:pt x="229" y="883"/>
                  </a:lnTo>
                  <a:lnTo>
                    <a:pt x="229" y="883"/>
                  </a:lnTo>
                  <a:lnTo>
                    <a:pt x="229" y="883"/>
                  </a:lnTo>
                  <a:lnTo>
                    <a:pt x="229" y="883"/>
                  </a:lnTo>
                  <a:lnTo>
                    <a:pt x="229" y="883"/>
                  </a:lnTo>
                  <a:lnTo>
                    <a:pt x="229" y="883"/>
                  </a:lnTo>
                  <a:close/>
                  <a:moveTo>
                    <a:pt x="260" y="883"/>
                  </a:moveTo>
                  <a:lnTo>
                    <a:pt x="260" y="883"/>
                  </a:lnTo>
                  <a:lnTo>
                    <a:pt x="262" y="883"/>
                  </a:lnTo>
                  <a:lnTo>
                    <a:pt x="262" y="883"/>
                  </a:lnTo>
                  <a:lnTo>
                    <a:pt x="264" y="883"/>
                  </a:lnTo>
                  <a:lnTo>
                    <a:pt x="264" y="883"/>
                  </a:lnTo>
                  <a:lnTo>
                    <a:pt x="264" y="883"/>
                  </a:lnTo>
                  <a:lnTo>
                    <a:pt x="264" y="883"/>
                  </a:lnTo>
                  <a:lnTo>
                    <a:pt x="262" y="881"/>
                  </a:lnTo>
                  <a:lnTo>
                    <a:pt x="258" y="881"/>
                  </a:lnTo>
                  <a:lnTo>
                    <a:pt x="258" y="879"/>
                  </a:lnTo>
                  <a:lnTo>
                    <a:pt x="256" y="879"/>
                  </a:lnTo>
                  <a:lnTo>
                    <a:pt x="258" y="879"/>
                  </a:lnTo>
                  <a:lnTo>
                    <a:pt x="258" y="877"/>
                  </a:lnTo>
                  <a:lnTo>
                    <a:pt x="258" y="877"/>
                  </a:lnTo>
                  <a:lnTo>
                    <a:pt x="256" y="877"/>
                  </a:lnTo>
                  <a:lnTo>
                    <a:pt x="256" y="875"/>
                  </a:lnTo>
                  <a:lnTo>
                    <a:pt x="256" y="875"/>
                  </a:lnTo>
                  <a:lnTo>
                    <a:pt x="250" y="873"/>
                  </a:lnTo>
                  <a:lnTo>
                    <a:pt x="250" y="873"/>
                  </a:lnTo>
                  <a:lnTo>
                    <a:pt x="248" y="875"/>
                  </a:lnTo>
                  <a:lnTo>
                    <a:pt x="248" y="875"/>
                  </a:lnTo>
                  <a:lnTo>
                    <a:pt x="250" y="879"/>
                  </a:lnTo>
                  <a:lnTo>
                    <a:pt x="250" y="879"/>
                  </a:lnTo>
                  <a:lnTo>
                    <a:pt x="250" y="881"/>
                  </a:lnTo>
                  <a:lnTo>
                    <a:pt x="252" y="881"/>
                  </a:lnTo>
                  <a:lnTo>
                    <a:pt x="252" y="881"/>
                  </a:lnTo>
                  <a:lnTo>
                    <a:pt x="254" y="883"/>
                  </a:lnTo>
                  <a:lnTo>
                    <a:pt x="252" y="883"/>
                  </a:lnTo>
                  <a:lnTo>
                    <a:pt x="252" y="885"/>
                  </a:lnTo>
                  <a:lnTo>
                    <a:pt x="252" y="885"/>
                  </a:lnTo>
                  <a:lnTo>
                    <a:pt x="252" y="885"/>
                  </a:lnTo>
                  <a:lnTo>
                    <a:pt x="250" y="885"/>
                  </a:lnTo>
                  <a:lnTo>
                    <a:pt x="250" y="885"/>
                  </a:lnTo>
                  <a:lnTo>
                    <a:pt x="250" y="885"/>
                  </a:lnTo>
                  <a:lnTo>
                    <a:pt x="248" y="885"/>
                  </a:lnTo>
                  <a:lnTo>
                    <a:pt x="248" y="885"/>
                  </a:lnTo>
                  <a:lnTo>
                    <a:pt x="248" y="885"/>
                  </a:lnTo>
                  <a:lnTo>
                    <a:pt x="248" y="887"/>
                  </a:lnTo>
                  <a:lnTo>
                    <a:pt x="248" y="887"/>
                  </a:lnTo>
                  <a:lnTo>
                    <a:pt x="248" y="887"/>
                  </a:lnTo>
                  <a:lnTo>
                    <a:pt x="250" y="887"/>
                  </a:lnTo>
                  <a:lnTo>
                    <a:pt x="250" y="889"/>
                  </a:lnTo>
                  <a:lnTo>
                    <a:pt x="250" y="889"/>
                  </a:lnTo>
                  <a:lnTo>
                    <a:pt x="250" y="889"/>
                  </a:lnTo>
                  <a:lnTo>
                    <a:pt x="250" y="891"/>
                  </a:lnTo>
                  <a:lnTo>
                    <a:pt x="250" y="891"/>
                  </a:lnTo>
                  <a:lnTo>
                    <a:pt x="250" y="891"/>
                  </a:lnTo>
                  <a:lnTo>
                    <a:pt x="252" y="891"/>
                  </a:lnTo>
                  <a:lnTo>
                    <a:pt x="252" y="891"/>
                  </a:lnTo>
                  <a:lnTo>
                    <a:pt x="252" y="891"/>
                  </a:lnTo>
                  <a:lnTo>
                    <a:pt x="252" y="889"/>
                  </a:lnTo>
                  <a:lnTo>
                    <a:pt x="252" y="889"/>
                  </a:lnTo>
                  <a:lnTo>
                    <a:pt x="252" y="889"/>
                  </a:lnTo>
                  <a:lnTo>
                    <a:pt x="252" y="887"/>
                  </a:lnTo>
                  <a:lnTo>
                    <a:pt x="252" y="887"/>
                  </a:lnTo>
                  <a:lnTo>
                    <a:pt x="254" y="887"/>
                  </a:lnTo>
                  <a:lnTo>
                    <a:pt x="254" y="887"/>
                  </a:lnTo>
                  <a:lnTo>
                    <a:pt x="254" y="887"/>
                  </a:lnTo>
                  <a:lnTo>
                    <a:pt x="254" y="887"/>
                  </a:lnTo>
                  <a:lnTo>
                    <a:pt x="254" y="889"/>
                  </a:lnTo>
                  <a:lnTo>
                    <a:pt x="256" y="889"/>
                  </a:lnTo>
                  <a:lnTo>
                    <a:pt x="256" y="887"/>
                  </a:lnTo>
                  <a:lnTo>
                    <a:pt x="256" y="887"/>
                  </a:lnTo>
                  <a:lnTo>
                    <a:pt x="256" y="887"/>
                  </a:lnTo>
                  <a:lnTo>
                    <a:pt x="258" y="885"/>
                  </a:lnTo>
                  <a:lnTo>
                    <a:pt x="258" y="885"/>
                  </a:lnTo>
                  <a:lnTo>
                    <a:pt x="258" y="885"/>
                  </a:lnTo>
                  <a:lnTo>
                    <a:pt x="258" y="885"/>
                  </a:lnTo>
                  <a:lnTo>
                    <a:pt x="258" y="883"/>
                  </a:lnTo>
                  <a:lnTo>
                    <a:pt x="258" y="883"/>
                  </a:lnTo>
                  <a:lnTo>
                    <a:pt x="258" y="883"/>
                  </a:lnTo>
                  <a:lnTo>
                    <a:pt x="260" y="883"/>
                  </a:lnTo>
                  <a:close/>
                  <a:moveTo>
                    <a:pt x="270" y="883"/>
                  </a:moveTo>
                  <a:lnTo>
                    <a:pt x="270" y="883"/>
                  </a:lnTo>
                  <a:lnTo>
                    <a:pt x="272" y="883"/>
                  </a:lnTo>
                  <a:lnTo>
                    <a:pt x="272" y="883"/>
                  </a:lnTo>
                  <a:lnTo>
                    <a:pt x="272" y="881"/>
                  </a:lnTo>
                  <a:lnTo>
                    <a:pt x="272" y="881"/>
                  </a:lnTo>
                  <a:lnTo>
                    <a:pt x="272" y="881"/>
                  </a:lnTo>
                  <a:lnTo>
                    <a:pt x="270" y="881"/>
                  </a:lnTo>
                  <a:lnTo>
                    <a:pt x="270" y="881"/>
                  </a:lnTo>
                  <a:lnTo>
                    <a:pt x="270" y="881"/>
                  </a:lnTo>
                  <a:lnTo>
                    <a:pt x="270" y="881"/>
                  </a:lnTo>
                  <a:lnTo>
                    <a:pt x="270" y="883"/>
                  </a:lnTo>
                  <a:lnTo>
                    <a:pt x="270" y="883"/>
                  </a:lnTo>
                  <a:close/>
                  <a:moveTo>
                    <a:pt x="303" y="898"/>
                  </a:moveTo>
                  <a:lnTo>
                    <a:pt x="305" y="898"/>
                  </a:lnTo>
                  <a:lnTo>
                    <a:pt x="305" y="898"/>
                  </a:lnTo>
                  <a:lnTo>
                    <a:pt x="305" y="898"/>
                  </a:lnTo>
                  <a:lnTo>
                    <a:pt x="305" y="896"/>
                  </a:lnTo>
                  <a:lnTo>
                    <a:pt x="303" y="896"/>
                  </a:lnTo>
                  <a:lnTo>
                    <a:pt x="303" y="896"/>
                  </a:lnTo>
                  <a:lnTo>
                    <a:pt x="301" y="896"/>
                  </a:lnTo>
                  <a:lnTo>
                    <a:pt x="301" y="898"/>
                  </a:lnTo>
                  <a:lnTo>
                    <a:pt x="301" y="898"/>
                  </a:lnTo>
                  <a:lnTo>
                    <a:pt x="301" y="898"/>
                  </a:lnTo>
                  <a:lnTo>
                    <a:pt x="301" y="898"/>
                  </a:lnTo>
                  <a:lnTo>
                    <a:pt x="301" y="898"/>
                  </a:lnTo>
                  <a:lnTo>
                    <a:pt x="301" y="900"/>
                  </a:lnTo>
                  <a:lnTo>
                    <a:pt x="301" y="902"/>
                  </a:lnTo>
                  <a:lnTo>
                    <a:pt x="301" y="902"/>
                  </a:lnTo>
                  <a:lnTo>
                    <a:pt x="301" y="902"/>
                  </a:lnTo>
                  <a:lnTo>
                    <a:pt x="301" y="902"/>
                  </a:lnTo>
                  <a:lnTo>
                    <a:pt x="301" y="902"/>
                  </a:lnTo>
                  <a:lnTo>
                    <a:pt x="301" y="902"/>
                  </a:lnTo>
                  <a:lnTo>
                    <a:pt x="301" y="902"/>
                  </a:lnTo>
                  <a:lnTo>
                    <a:pt x="303" y="902"/>
                  </a:lnTo>
                  <a:lnTo>
                    <a:pt x="303" y="902"/>
                  </a:lnTo>
                  <a:lnTo>
                    <a:pt x="303" y="902"/>
                  </a:lnTo>
                  <a:lnTo>
                    <a:pt x="303" y="902"/>
                  </a:lnTo>
                  <a:lnTo>
                    <a:pt x="303" y="902"/>
                  </a:lnTo>
                  <a:lnTo>
                    <a:pt x="303" y="902"/>
                  </a:lnTo>
                  <a:lnTo>
                    <a:pt x="305" y="902"/>
                  </a:lnTo>
                  <a:lnTo>
                    <a:pt x="305" y="902"/>
                  </a:lnTo>
                  <a:lnTo>
                    <a:pt x="305" y="902"/>
                  </a:lnTo>
                  <a:lnTo>
                    <a:pt x="305" y="902"/>
                  </a:lnTo>
                  <a:lnTo>
                    <a:pt x="305" y="900"/>
                  </a:lnTo>
                  <a:lnTo>
                    <a:pt x="305" y="900"/>
                  </a:lnTo>
                  <a:lnTo>
                    <a:pt x="305" y="900"/>
                  </a:lnTo>
                  <a:lnTo>
                    <a:pt x="305" y="900"/>
                  </a:lnTo>
                  <a:lnTo>
                    <a:pt x="305" y="900"/>
                  </a:lnTo>
                  <a:lnTo>
                    <a:pt x="305" y="900"/>
                  </a:lnTo>
                  <a:lnTo>
                    <a:pt x="305" y="898"/>
                  </a:lnTo>
                  <a:lnTo>
                    <a:pt x="305" y="898"/>
                  </a:lnTo>
                  <a:lnTo>
                    <a:pt x="303" y="900"/>
                  </a:lnTo>
                  <a:lnTo>
                    <a:pt x="303" y="898"/>
                  </a:lnTo>
                  <a:lnTo>
                    <a:pt x="303" y="898"/>
                  </a:lnTo>
                  <a:lnTo>
                    <a:pt x="303" y="898"/>
                  </a:lnTo>
                  <a:lnTo>
                    <a:pt x="303" y="898"/>
                  </a:lnTo>
                  <a:lnTo>
                    <a:pt x="303" y="898"/>
                  </a:lnTo>
                  <a:lnTo>
                    <a:pt x="303" y="898"/>
                  </a:lnTo>
                  <a:lnTo>
                    <a:pt x="303" y="898"/>
                  </a:lnTo>
                  <a:close/>
                  <a:moveTo>
                    <a:pt x="313" y="902"/>
                  </a:moveTo>
                  <a:lnTo>
                    <a:pt x="313" y="902"/>
                  </a:lnTo>
                  <a:lnTo>
                    <a:pt x="313" y="900"/>
                  </a:lnTo>
                  <a:lnTo>
                    <a:pt x="311" y="900"/>
                  </a:lnTo>
                  <a:lnTo>
                    <a:pt x="311" y="900"/>
                  </a:lnTo>
                  <a:lnTo>
                    <a:pt x="311" y="900"/>
                  </a:lnTo>
                  <a:lnTo>
                    <a:pt x="311" y="900"/>
                  </a:lnTo>
                  <a:lnTo>
                    <a:pt x="311" y="900"/>
                  </a:lnTo>
                  <a:lnTo>
                    <a:pt x="311" y="898"/>
                  </a:lnTo>
                  <a:lnTo>
                    <a:pt x="311" y="898"/>
                  </a:lnTo>
                  <a:lnTo>
                    <a:pt x="309" y="898"/>
                  </a:lnTo>
                  <a:lnTo>
                    <a:pt x="309" y="898"/>
                  </a:lnTo>
                  <a:lnTo>
                    <a:pt x="309" y="898"/>
                  </a:lnTo>
                  <a:lnTo>
                    <a:pt x="309" y="896"/>
                  </a:lnTo>
                  <a:lnTo>
                    <a:pt x="309" y="898"/>
                  </a:lnTo>
                  <a:lnTo>
                    <a:pt x="307" y="898"/>
                  </a:lnTo>
                  <a:lnTo>
                    <a:pt x="307" y="898"/>
                  </a:lnTo>
                  <a:lnTo>
                    <a:pt x="307" y="898"/>
                  </a:lnTo>
                  <a:lnTo>
                    <a:pt x="307" y="898"/>
                  </a:lnTo>
                  <a:lnTo>
                    <a:pt x="307" y="900"/>
                  </a:lnTo>
                  <a:lnTo>
                    <a:pt x="307" y="900"/>
                  </a:lnTo>
                  <a:lnTo>
                    <a:pt x="307" y="900"/>
                  </a:lnTo>
                  <a:lnTo>
                    <a:pt x="307" y="900"/>
                  </a:lnTo>
                  <a:lnTo>
                    <a:pt x="309" y="900"/>
                  </a:lnTo>
                  <a:lnTo>
                    <a:pt x="309" y="900"/>
                  </a:lnTo>
                  <a:lnTo>
                    <a:pt x="309" y="900"/>
                  </a:lnTo>
                  <a:lnTo>
                    <a:pt x="309" y="902"/>
                  </a:lnTo>
                  <a:lnTo>
                    <a:pt x="307" y="902"/>
                  </a:lnTo>
                  <a:lnTo>
                    <a:pt x="309" y="902"/>
                  </a:lnTo>
                  <a:lnTo>
                    <a:pt x="309" y="902"/>
                  </a:lnTo>
                  <a:lnTo>
                    <a:pt x="309" y="902"/>
                  </a:lnTo>
                  <a:lnTo>
                    <a:pt x="309" y="902"/>
                  </a:lnTo>
                  <a:lnTo>
                    <a:pt x="309" y="902"/>
                  </a:lnTo>
                  <a:lnTo>
                    <a:pt x="309" y="902"/>
                  </a:lnTo>
                  <a:lnTo>
                    <a:pt x="309" y="900"/>
                  </a:lnTo>
                  <a:lnTo>
                    <a:pt x="309" y="900"/>
                  </a:lnTo>
                  <a:lnTo>
                    <a:pt x="309" y="900"/>
                  </a:lnTo>
                  <a:lnTo>
                    <a:pt x="309" y="902"/>
                  </a:lnTo>
                  <a:lnTo>
                    <a:pt x="309" y="902"/>
                  </a:lnTo>
                  <a:lnTo>
                    <a:pt x="311" y="902"/>
                  </a:lnTo>
                  <a:lnTo>
                    <a:pt x="311" y="902"/>
                  </a:lnTo>
                  <a:lnTo>
                    <a:pt x="311" y="900"/>
                  </a:lnTo>
                  <a:lnTo>
                    <a:pt x="311" y="900"/>
                  </a:lnTo>
                  <a:lnTo>
                    <a:pt x="311" y="902"/>
                  </a:lnTo>
                  <a:lnTo>
                    <a:pt x="311" y="902"/>
                  </a:lnTo>
                  <a:lnTo>
                    <a:pt x="313" y="902"/>
                  </a:lnTo>
                  <a:lnTo>
                    <a:pt x="313" y="902"/>
                  </a:lnTo>
                  <a:lnTo>
                    <a:pt x="313" y="902"/>
                  </a:lnTo>
                  <a:lnTo>
                    <a:pt x="313" y="902"/>
                  </a:lnTo>
                  <a:lnTo>
                    <a:pt x="313" y="902"/>
                  </a:lnTo>
                  <a:lnTo>
                    <a:pt x="313" y="902"/>
                  </a:lnTo>
                  <a:close/>
                  <a:moveTo>
                    <a:pt x="283" y="887"/>
                  </a:moveTo>
                  <a:lnTo>
                    <a:pt x="283" y="887"/>
                  </a:lnTo>
                  <a:lnTo>
                    <a:pt x="283" y="887"/>
                  </a:lnTo>
                  <a:lnTo>
                    <a:pt x="283" y="887"/>
                  </a:lnTo>
                  <a:lnTo>
                    <a:pt x="283" y="887"/>
                  </a:lnTo>
                  <a:lnTo>
                    <a:pt x="283" y="885"/>
                  </a:lnTo>
                  <a:lnTo>
                    <a:pt x="283" y="885"/>
                  </a:lnTo>
                  <a:lnTo>
                    <a:pt x="283" y="885"/>
                  </a:lnTo>
                  <a:lnTo>
                    <a:pt x="281" y="883"/>
                  </a:lnTo>
                  <a:lnTo>
                    <a:pt x="281" y="883"/>
                  </a:lnTo>
                  <a:lnTo>
                    <a:pt x="279" y="883"/>
                  </a:lnTo>
                  <a:lnTo>
                    <a:pt x="279" y="885"/>
                  </a:lnTo>
                  <a:lnTo>
                    <a:pt x="279" y="885"/>
                  </a:lnTo>
                  <a:lnTo>
                    <a:pt x="279" y="885"/>
                  </a:lnTo>
                  <a:lnTo>
                    <a:pt x="279" y="885"/>
                  </a:lnTo>
                  <a:lnTo>
                    <a:pt x="277" y="889"/>
                  </a:lnTo>
                  <a:lnTo>
                    <a:pt x="274" y="889"/>
                  </a:lnTo>
                  <a:lnTo>
                    <a:pt x="270" y="889"/>
                  </a:lnTo>
                  <a:lnTo>
                    <a:pt x="268" y="889"/>
                  </a:lnTo>
                  <a:lnTo>
                    <a:pt x="268" y="889"/>
                  </a:lnTo>
                  <a:lnTo>
                    <a:pt x="268" y="889"/>
                  </a:lnTo>
                  <a:lnTo>
                    <a:pt x="268" y="889"/>
                  </a:lnTo>
                  <a:lnTo>
                    <a:pt x="266" y="889"/>
                  </a:lnTo>
                  <a:lnTo>
                    <a:pt x="266" y="889"/>
                  </a:lnTo>
                  <a:lnTo>
                    <a:pt x="266" y="889"/>
                  </a:lnTo>
                  <a:lnTo>
                    <a:pt x="266" y="889"/>
                  </a:lnTo>
                  <a:lnTo>
                    <a:pt x="266" y="889"/>
                  </a:lnTo>
                  <a:lnTo>
                    <a:pt x="266" y="889"/>
                  </a:lnTo>
                  <a:lnTo>
                    <a:pt x="264" y="889"/>
                  </a:lnTo>
                  <a:lnTo>
                    <a:pt x="264" y="889"/>
                  </a:lnTo>
                  <a:lnTo>
                    <a:pt x="262" y="887"/>
                  </a:lnTo>
                  <a:lnTo>
                    <a:pt x="262" y="887"/>
                  </a:lnTo>
                  <a:lnTo>
                    <a:pt x="262" y="887"/>
                  </a:lnTo>
                  <a:lnTo>
                    <a:pt x="260" y="889"/>
                  </a:lnTo>
                  <a:lnTo>
                    <a:pt x="260" y="889"/>
                  </a:lnTo>
                  <a:lnTo>
                    <a:pt x="260" y="889"/>
                  </a:lnTo>
                  <a:lnTo>
                    <a:pt x="260" y="889"/>
                  </a:lnTo>
                  <a:lnTo>
                    <a:pt x="260" y="889"/>
                  </a:lnTo>
                  <a:lnTo>
                    <a:pt x="260" y="889"/>
                  </a:lnTo>
                  <a:lnTo>
                    <a:pt x="260" y="891"/>
                  </a:lnTo>
                  <a:lnTo>
                    <a:pt x="260" y="891"/>
                  </a:lnTo>
                  <a:lnTo>
                    <a:pt x="260" y="891"/>
                  </a:lnTo>
                  <a:lnTo>
                    <a:pt x="260" y="891"/>
                  </a:lnTo>
                  <a:lnTo>
                    <a:pt x="260" y="891"/>
                  </a:lnTo>
                  <a:lnTo>
                    <a:pt x="262" y="889"/>
                  </a:lnTo>
                  <a:lnTo>
                    <a:pt x="262" y="889"/>
                  </a:lnTo>
                  <a:lnTo>
                    <a:pt x="264" y="891"/>
                  </a:lnTo>
                  <a:lnTo>
                    <a:pt x="266" y="891"/>
                  </a:lnTo>
                  <a:lnTo>
                    <a:pt x="266" y="891"/>
                  </a:lnTo>
                  <a:lnTo>
                    <a:pt x="266" y="891"/>
                  </a:lnTo>
                  <a:lnTo>
                    <a:pt x="268" y="891"/>
                  </a:lnTo>
                  <a:lnTo>
                    <a:pt x="268" y="891"/>
                  </a:lnTo>
                  <a:lnTo>
                    <a:pt x="270" y="891"/>
                  </a:lnTo>
                  <a:lnTo>
                    <a:pt x="270" y="891"/>
                  </a:lnTo>
                  <a:lnTo>
                    <a:pt x="270" y="891"/>
                  </a:lnTo>
                  <a:lnTo>
                    <a:pt x="270" y="894"/>
                  </a:lnTo>
                  <a:lnTo>
                    <a:pt x="270" y="894"/>
                  </a:lnTo>
                  <a:lnTo>
                    <a:pt x="270" y="894"/>
                  </a:lnTo>
                  <a:lnTo>
                    <a:pt x="270" y="894"/>
                  </a:lnTo>
                  <a:lnTo>
                    <a:pt x="270" y="894"/>
                  </a:lnTo>
                  <a:lnTo>
                    <a:pt x="272" y="894"/>
                  </a:lnTo>
                  <a:lnTo>
                    <a:pt x="272" y="896"/>
                  </a:lnTo>
                  <a:lnTo>
                    <a:pt x="272" y="896"/>
                  </a:lnTo>
                  <a:lnTo>
                    <a:pt x="274" y="894"/>
                  </a:lnTo>
                  <a:lnTo>
                    <a:pt x="274" y="896"/>
                  </a:lnTo>
                  <a:lnTo>
                    <a:pt x="274" y="896"/>
                  </a:lnTo>
                  <a:lnTo>
                    <a:pt x="274" y="894"/>
                  </a:lnTo>
                  <a:lnTo>
                    <a:pt x="274" y="894"/>
                  </a:lnTo>
                  <a:lnTo>
                    <a:pt x="274" y="894"/>
                  </a:lnTo>
                  <a:lnTo>
                    <a:pt x="274" y="894"/>
                  </a:lnTo>
                  <a:lnTo>
                    <a:pt x="277" y="896"/>
                  </a:lnTo>
                  <a:lnTo>
                    <a:pt x="277" y="894"/>
                  </a:lnTo>
                  <a:lnTo>
                    <a:pt x="279" y="894"/>
                  </a:lnTo>
                  <a:lnTo>
                    <a:pt x="279" y="891"/>
                  </a:lnTo>
                  <a:lnTo>
                    <a:pt x="279" y="891"/>
                  </a:lnTo>
                  <a:lnTo>
                    <a:pt x="279" y="889"/>
                  </a:lnTo>
                  <a:lnTo>
                    <a:pt x="281" y="889"/>
                  </a:lnTo>
                  <a:lnTo>
                    <a:pt x="281" y="887"/>
                  </a:lnTo>
                  <a:lnTo>
                    <a:pt x="283" y="887"/>
                  </a:lnTo>
                  <a:close/>
                  <a:moveTo>
                    <a:pt x="217" y="879"/>
                  </a:moveTo>
                  <a:lnTo>
                    <a:pt x="217" y="879"/>
                  </a:lnTo>
                  <a:lnTo>
                    <a:pt x="217" y="879"/>
                  </a:lnTo>
                  <a:lnTo>
                    <a:pt x="217" y="879"/>
                  </a:lnTo>
                  <a:lnTo>
                    <a:pt x="217" y="879"/>
                  </a:lnTo>
                  <a:lnTo>
                    <a:pt x="217" y="879"/>
                  </a:lnTo>
                  <a:lnTo>
                    <a:pt x="217" y="879"/>
                  </a:lnTo>
                  <a:lnTo>
                    <a:pt x="217" y="879"/>
                  </a:lnTo>
                  <a:lnTo>
                    <a:pt x="217" y="879"/>
                  </a:lnTo>
                  <a:lnTo>
                    <a:pt x="217" y="879"/>
                  </a:lnTo>
                  <a:close/>
                  <a:moveTo>
                    <a:pt x="299" y="900"/>
                  </a:moveTo>
                  <a:lnTo>
                    <a:pt x="299" y="900"/>
                  </a:lnTo>
                  <a:lnTo>
                    <a:pt x="299" y="898"/>
                  </a:lnTo>
                  <a:lnTo>
                    <a:pt x="301" y="898"/>
                  </a:lnTo>
                  <a:lnTo>
                    <a:pt x="301" y="898"/>
                  </a:lnTo>
                  <a:lnTo>
                    <a:pt x="301" y="898"/>
                  </a:lnTo>
                  <a:lnTo>
                    <a:pt x="301" y="898"/>
                  </a:lnTo>
                  <a:lnTo>
                    <a:pt x="301" y="896"/>
                  </a:lnTo>
                  <a:lnTo>
                    <a:pt x="301" y="896"/>
                  </a:lnTo>
                  <a:lnTo>
                    <a:pt x="299" y="896"/>
                  </a:lnTo>
                  <a:lnTo>
                    <a:pt x="299" y="896"/>
                  </a:lnTo>
                  <a:lnTo>
                    <a:pt x="299" y="896"/>
                  </a:lnTo>
                  <a:lnTo>
                    <a:pt x="299" y="896"/>
                  </a:lnTo>
                  <a:lnTo>
                    <a:pt x="299" y="896"/>
                  </a:lnTo>
                  <a:lnTo>
                    <a:pt x="299" y="896"/>
                  </a:lnTo>
                  <a:lnTo>
                    <a:pt x="297" y="896"/>
                  </a:lnTo>
                  <a:lnTo>
                    <a:pt x="297" y="896"/>
                  </a:lnTo>
                  <a:lnTo>
                    <a:pt x="297" y="896"/>
                  </a:lnTo>
                  <a:lnTo>
                    <a:pt x="295" y="896"/>
                  </a:lnTo>
                  <a:lnTo>
                    <a:pt x="295" y="894"/>
                  </a:lnTo>
                  <a:lnTo>
                    <a:pt x="295" y="894"/>
                  </a:lnTo>
                  <a:lnTo>
                    <a:pt x="295" y="894"/>
                  </a:lnTo>
                  <a:lnTo>
                    <a:pt x="297" y="894"/>
                  </a:lnTo>
                  <a:lnTo>
                    <a:pt x="295" y="894"/>
                  </a:lnTo>
                  <a:lnTo>
                    <a:pt x="295" y="894"/>
                  </a:lnTo>
                  <a:lnTo>
                    <a:pt x="295" y="894"/>
                  </a:lnTo>
                  <a:lnTo>
                    <a:pt x="295" y="891"/>
                  </a:lnTo>
                  <a:lnTo>
                    <a:pt x="297" y="891"/>
                  </a:lnTo>
                  <a:lnTo>
                    <a:pt x="297" y="891"/>
                  </a:lnTo>
                  <a:lnTo>
                    <a:pt x="297" y="891"/>
                  </a:lnTo>
                  <a:lnTo>
                    <a:pt x="297" y="891"/>
                  </a:lnTo>
                  <a:lnTo>
                    <a:pt x="299" y="891"/>
                  </a:lnTo>
                  <a:lnTo>
                    <a:pt x="299" y="891"/>
                  </a:lnTo>
                  <a:lnTo>
                    <a:pt x="299" y="889"/>
                  </a:lnTo>
                  <a:lnTo>
                    <a:pt x="299" y="889"/>
                  </a:lnTo>
                  <a:lnTo>
                    <a:pt x="299" y="889"/>
                  </a:lnTo>
                  <a:lnTo>
                    <a:pt x="299" y="887"/>
                  </a:lnTo>
                  <a:lnTo>
                    <a:pt x="299" y="887"/>
                  </a:lnTo>
                  <a:lnTo>
                    <a:pt x="299" y="887"/>
                  </a:lnTo>
                  <a:lnTo>
                    <a:pt x="299" y="887"/>
                  </a:lnTo>
                  <a:lnTo>
                    <a:pt x="299" y="887"/>
                  </a:lnTo>
                  <a:lnTo>
                    <a:pt x="297" y="887"/>
                  </a:lnTo>
                  <a:lnTo>
                    <a:pt x="297" y="887"/>
                  </a:lnTo>
                  <a:lnTo>
                    <a:pt x="297" y="887"/>
                  </a:lnTo>
                  <a:lnTo>
                    <a:pt x="297" y="889"/>
                  </a:lnTo>
                  <a:lnTo>
                    <a:pt x="295" y="887"/>
                  </a:lnTo>
                  <a:lnTo>
                    <a:pt x="295" y="887"/>
                  </a:lnTo>
                  <a:lnTo>
                    <a:pt x="295" y="887"/>
                  </a:lnTo>
                  <a:lnTo>
                    <a:pt x="293" y="887"/>
                  </a:lnTo>
                  <a:lnTo>
                    <a:pt x="293" y="887"/>
                  </a:lnTo>
                  <a:lnTo>
                    <a:pt x="293" y="887"/>
                  </a:lnTo>
                  <a:lnTo>
                    <a:pt x="291" y="887"/>
                  </a:lnTo>
                  <a:lnTo>
                    <a:pt x="291" y="889"/>
                  </a:lnTo>
                  <a:lnTo>
                    <a:pt x="291" y="891"/>
                  </a:lnTo>
                  <a:lnTo>
                    <a:pt x="293" y="891"/>
                  </a:lnTo>
                  <a:lnTo>
                    <a:pt x="291" y="891"/>
                  </a:lnTo>
                  <a:lnTo>
                    <a:pt x="291" y="891"/>
                  </a:lnTo>
                  <a:lnTo>
                    <a:pt x="291" y="891"/>
                  </a:lnTo>
                  <a:lnTo>
                    <a:pt x="291" y="894"/>
                  </a:lnTo>
                  <a:lnTo>
                    <a:pt x="291" y="894"/>
                  </a:lnTo>
                  <a:lnTo>
                    <a:pt x="291" y="894"/>
                  </a:lnTo>
                  <a:lnTo>
                    <a:pt x="291" y="896"/>
                  </a:lnTo>
                  <a:lnTo>
                    <a:pt x="291" y="896"/>
                  </a:lnTo>
                  <a:lnTo>
                    <a:pt x="291" y="896"/>
                  </a:lnTo>
                  <a:lnTo>
                    <a:pt x="289" y="896"/>
                  </a:lnTo>
                  <a:lnTo>
                    <a:pt x="287" y="894"/>
                  </a:lnTo>
                  <a:lnTo>
                    <a:pt x="287" y="894"/>
                  </a:lnTo>
                  <a:lnTo>
                    <a:pt x="287" y="894"/>
                  </a:lnTo>
                  <a:lnTo>
                    <a:pt x="287" y="891"/>
                  </a:lnTo>
                  <a:lnTo>
                    <a:pt x="287" y="891"/>
                  </a:lnTo>
                  <a:lnTo>
                    <a:pt x="287" y="894"/>
                  </a:lnTo>
                  <a:lnTo>
                    <a:pt x="285" y="894"/>
                  </a:lnTo>
                  <a:lnTo>
                    <a:pt x="285" y="894"/>
                  </a:lnTo>
                  <a:lnTo>
                    <a:pt x="285" y="896"/>
                  </a:lnTo>
                  <a:lnTo>
                    <a:pt x="287" y="896"/>
                  </a:lnTo>
                  <a:lnTo>
                    <a:pt x="287" y="896"/>
                  </a:lnTo>
                  <a:lnTo>
                    <a:pt x="289" y="896"/>
                  </a:lnTo>
                  <a:lnTo>
                    <a:pt x="287" y="896"/>
                  </a:lnTo>
                  <a:lnTo>
                    <a:pt x="287" y="896"/>
                  </a:lnTo>
                  <a:lnTo>
                    <a:pt x="287" y="896"/>
                  </a:lnTo>
                  <a:lnTo>
                    <a:pt x="287" y="896"/>
                  </a:lnTo>
                  <a:lnTo>
                    <a:pt x="287" y="896"/>
                  </a:lnTo>
                  <a:lnTo>
                    <a:pt x="285" y="896"/>
                  </a:lnTo>
                  <a:lnTo>
                    <a:pt x="285" y="896"/>
                  </a:lnTo>
                  <a:lnTo>
                    <a:pt x="285" y="898"/>
                  </a:lnTo>
                  <a:lnTo>
                    <a:pt x="285" y="898"/>
                  </a:lnTo>
                  <a:lnTo>
                    <a:pt x="285" y="898"/>
                  </a:lnTo>
                  <a:lnTo>
                    <a:pt x="281" y="900"/>
                  </a:lnTo>
                  <a:lnTo>
                    <a:pt x="281" y="900"/>
                  </a:lnTo>
                  <a:lnTo>
                    <a:pt x="281" y="902"/>
                  </a:lnTo>
                  <a:lnTo>
                    <a:pt x="281" y="902"/>
                  </a:lnTo>
                  <a:lnTo>
                    <a:pt x="281" y="902"/>
                  </a:lnTo>
                  <a:lnTo>
                    <a:pt x="281" y="902"/>
                  </a:lnTo>
                  <a:lnTo>
                    <a:pt x="283" y="902"/>
                  </a:lnTo>
                  <a:lnTo>
                    <a:pt x="283" y="902"/>
                  </a:lnTo>
                  <a:lnTo>
                    <a:pt x="283" y="902"/>
                  </a:lnTo>
                  <a:lnTo>
                    <a:pt x="283" y="902"/>
                  </a:lnTo>
                  <a:lnTo>
                    <a:pt x="287" y="898"/>
                  </a:lnTo>
                  <a:lnTo>
                    <a:pt x="287" y="898"/>
                  </a:lnTo>
                  <a:lnTo>
                    <a:pt x="287" y="900"/>
                  </a:lnTo>
                  <a:lnTo>
                    <a:pt x="287" y="900"/>
                  </a:lnTo>
                  <a:lnTo>
                    <a:pt x="287" y="902"/>
                  </a:lnTo>
                  <a:lnTo>
                    <a:pt x="287" y="902"/>
                  </a:lnTo>
                  <a:lnTo>
                    <a:pt x="287" y="902"/>
                  </a:lnTo>
                  <a:lnTo>
                    <a:pt x="285" y="902"/>
                  </a:lnTo>
                  <a:lnTo>
                    <a:pt x="285" y="902"/>
                  </a:lnTo>
                  <a:lnTo>
                    <a:pt x="285" y="904"/>
                  </a:lnTo>
                  <a:lnTo>
                    <a:pt x="285" y="904"/>
                  </a:lnTo>
                  <a:lnTo>
                    <a:pt x="287" y="904"/>
                  </a:lnTo>
                  <a:lnTo>
                    <a:pt x="287" y="904"/>
                  </a:lnTo>
                  <a:lnTo>
                    <a:pt x="287" y="902"/>
                  </a:lnTo>
                  <a:lnTo>
                    <a:pt x="289" y="904"/>
                  </a:lnTo>
                  <a:lnTo>
                    <a:pt x="289" y="904"/>
                  </a:lnTo>
                  <a:lnTo>
                    <a:pt x="289" y="904"/>
                  </a:lnTo>
                  <a:lnTo>
                    <a:pt x="289" y="902"/>
                  </a:lnTo>
                  <a:lnTo>
                    <a:pt x="289" y="902"/>
                  </a:lnTo>
                  <a:lnTo>
                    <a:pt x="289" y="902"/>
                  </a:lnTo>
                  <a:lnTo>
                    <a:pt x="289" y="902"/>
                  </a:lnTo>
                  <a:lnTo>
                    <a:pt x="289" y="900"/>
                  </a:lnTo>
                  <a:lnTo>
                    <a:pt x="291" y="902"/>
                  </a:lnTo>
                  <a:lnTo>
                    <a:pt x="291" y="902"/>
                  </a:lnTo>
                  <a:lnTo>
                    <a:pt x="291" y="902"/>
                  </a:lnTo>
                  <a:lnTo>
                    <a:pt x="291" y="902"/>
                  </a:lnTo>
                  <a:lnTo>
                    <a:pt x="291" y="902"/>
                  </a:lnTo>
                  <a:lnTo>
                    <a:pt x="291" y="902"/>
                  </a:lnTo>
                  <a:lnTo>
                    <a:pt x="293" y="902"/>
                  </a:lnTo>
                  <a:lnTo>
                    <a:pt x="293" y="902"/>
                  </a:lnTo>
                  <a:lnTo>
                    <a:pt x="293" y="902"/>
                  </a:lnTo>
                  <a:lnTo>
                    <a:pt x="293" y="902"/>
                  </a:lnTo>
                  <a:lnTo>
                    <a:pt x="293" y="902"/>
                  </a:lnTo>
                  <a:lnTo>
                    <a:pt x="293" y="902"/>
                  </a:lnTo>
                  <a:lnTo>
                    <a:pt x="293" y="902"/>
                  </a:lnTo>
                  <a:lnTo>
                    <a:pt x="297" y="900"/>
                  </a:lnTo>
                  <a:lnTo>
                    <a:pt x="297" y="900"/>
                  </a:lnTo>
                  <a:lnTo>
                    <a:pt x="297" y="902"/>
                  </a:lnTo>
                  <a:lnTo>
                    <a:pt x="299" y="902"/>
                  </a:lnTo>
                  <a:lnTo>
                    <a:pt x="299" y="902"/>
                  </a:lnTo>
                  <a:lnTo>
                    <a:pt x="299" y="900"/>
                  </a:lnTo>
                  <a:lnTo>
                    <a:pt x="299" y="900"/>
                  </a:lnTo>
                  <a:lnTo>
                    <a:pt x="299" y="900"/>
                  </a:lnTo>
                  <a:close/>
                  <a:moveTo>
                    <a:pt x="229" y="869"/>
                  </a:moveTo>
                  <a:lnTo>
                    <a:pt x="227" y="869"/>
                  </a:lnTo>
                  <a:lnTo>
                    <a:pt x="227" y="871"/>
                  </a:lnTo>
                  <a:lnTo>
                    <a:pt x="227" y="871"/>
                  </a:lnTo>
                  <a:lnTo>
                    <a:pt x="225" y="871"/>
                  </a:lnTo>
                  <a:lnTo>
                    <a:pt x="227" y="873"/>
                  </a:lnTo>
                  <a:lnTo>
                    <a:pt x="227" y="873"/>
                  </a:lnTo>
                  <a:lnTo>
                    <a:pt x="227" y="873"/>
                  </a:lnTo>
                  <a:lnTo>
                    <a:pt x="229" y="875"/>
                  </a:lnTo>
                  <a:lnTo>
                    <a:pt x="229" y="873"/>
                  </a:lnTo>
                  <a:lnTo>
                    <a:pt x="229" y="871"/>
                  </a:lnTo>
                  <a:lnTo>
                    <a:pt x="229" y="871"/>
                  </a:lnTo>
                  <a:lnTo>
                    <a:pt x="229" y="869"/>
                  </a:lnTo>
                  <a:close/>
                  <a:moveTo>
                    <a:pt x="86" y="777"/>
                  </a:moveTo>
                  <a:lnTo>
                    <a:pt x="84" y="777"/>
                  </a:lnTo>
                  <a:lnTo>
                    <a:pt x="84" y="775"/>
                  </a:lnTo>
                  <a:lnTo>
                    <a:pt x="84" y="777"/>
                  </a:lnTo>
                  <a:lnTo>
                    <a:pt x="84" y="779"/>
                  </a:lnTo>
                  <a:lnTo>
                    <a:pt x="86" y="779"/>
                  </a:lnTo>
                  <a:lnTo>
                    <a:pt x="86" y="779"/>
                  </a:lnTo>
                  <a:lnTo>
                    <a:pt x="86" y="777"/>
                  </a:lnTo>
                  <a:lnTo>
                    <a:pt x="86" y="777"/>
                  </a:lnTo>
                  <a:close/>
                  <a:moveTo>
                    <a:pt x="43" y="734"/>
                  </a:moveTo>
                  <a:lnTo>
                    <a:pt x="41" y="734"/>
                  </a:lnTo>
                  <a:lnTo>
                    <a:pt x="41" y="734"/>
                  </a:lnTo>
                  <a:lnTo>
                    <a:pt x="41" y="734"/>
                  </a:lnTo>
                  <a:lnTo>
                    <a:pt x="41" y="734"/>
                  </a:lnTo>
                  <a:lnTo>
                    <a:pt x="43" y="736"/>
                  </a:lnTo>
                  <a:lnTo>
                    <a:pt x="43" y="736"/>
                  </a:lnTo>
                  <a:lnTo>
                    <a:pt x="43" y="734"/>
                  </a:lnTo>
                  <a:close/>
                  <a:moveTo>
                    <a:pt x="215" y="889"/>
                  </a:moveTo>
                  <a:lnTo>
                    <a:pt x="215" y="889"/>
                  </a:lnTo>
                  <a:lnTo>
                    <a:pt x="215" y="889"/>
                  </a:lnTo>
                  <a:lnTo>
                    <a:pt x="215" y="889"/>
                  </a:lnTo>
                  <a:lnTo>
                    <a:pt x="215" y="891"/>
                  </a:lnTo>
                  <a:lnTo>
                    <a:pt x="213" y="891"/>
                  </a:lnTo>
                  <a:lnTo>
                    <a:pt x="213" y="891"/>
                  </a:lnTo>
                  <a:lnTo>
                    <a:pt x="213" y="894"/>
                  </a:lnTo>
                  <a:lnTo>
                    <a:pt x="213" y="894"/>
                  </a:lnTo>
                  <a:lnTo>
                    <a:pt x="215" y="891"/>
                  </a:lnTo>
                  <a:lnTo>
                    <a:pt x="215" y="891"/>
                  </a:lnTo>
                  <a:lnTo>
                    <a:pt x="217" y="891"/>
                  </a:lnTo>
                  <a:lnTo>
                    <a:pt x="217" y="891"/>
                  </a:lnTo>
                  <a:lnTo>
                    <a:pt x="217" y="889"/>
                  </a:lnTo>
                  <a:lnTo>
                    <a:pt x="215" y="889"/>
                  </a:lnTo>
                  <a:lnTo>
                    <a:pt x="215" y="889"/>
                  </a:lnTo>
                  <a:close/>
                  <a:moveTo>
                    <a:pt x="903" y="781"/>
                  </a:moveTo>
                  <a:lnTo>
                    <a:pt x="903" y="781"/>
                  </a:lnTo>
                  <a:lnTo>
                    <a:pt x="903" y="781"/>
                  </a:lnTo>
                  <a:lnTo>
                    <a:pt x="903" y="781"/>
                  </a:lnTo>
                  <a:lnTo>
                    <a:pt x="903" y="779"/>
                  </a:lnTo>
                  <a:lnTo>
                    <a:pt x="901" y="779"/>
                  </a:lnTo>
                  <a:lnTo>
                    <a:pt x="899" y="781"/>
                  </a:lnTo>
                  <a:lnTo>
                    <a:pt x="899" y="781"/>
                  </a:lnTo>
                  <a:lnTo>
                    <a:pt x="901" y="781"/>
                  </a:lnTo>
                  <a:lnTo>
                    <a:pt x="901" y="781"/>
                  </a:lnTo>
                  <a:lnTo>
                    <a:pt x="901" y="783"/>
                  </a:lnTo>
                  <a:lnTo>
                    <a:pt x="901" y="783"/>
                  </a:lnTo>
                  <a:lnTo>
                    <a:pt x="903" y="783"/>
                  </a:lnTo>
                  <a:lnTo>
                    <a:pt x="903" y="781"/>
                  </a:lnTo>
                  <a:lnTo>
                    <a:pt x="903" y="781"/>
                  </a:lnTo>
                  <a:lnTo>
                    <a:pt x="903" y="781"/>
                  </a:lnTo>
                  <a:lnTo>
                    <a:pt x="903" y="781"/>
                  </a:lnTo>
                  <a:close/>
                  <a:moveTo>
                    <a:pt x="150" y="834"/>
                  </a:moveTo>
                  <a:lnTo>
                    <a:pt x="150" y="834"/>
                  </a:lnTo>
                  <a:lnTo>
                    <a:pt x="152" y="834"/>
                  </a:lnTo>
                  <a:lnTo>
                    <a:pt x="152" y="834"/>
                  </a:lnTo>
                  <a:lnTo>
                    <a:pt x="152" y="834"/>
                  </a:lnTo>
                  <a:lnTo>
                    <a:pt x="152" y="834"/>
                  </a:lnTo>
                  <a:lnTo>
                    <a:pt x="152" y="834"/>
                  </a:lnTo>
                  <a:lnTo>
                    <a:pt x="154" y="832"/>
                  </a:lnTo>
                  <a:lnTo>
                    <a:pt x="154" y="832"/>
                  </a:lnTo>
                  <a:lnTo>
                    <a:pt x="154" y="832"/>
                  </a:lnTo>
                  <a:lnTo>
                    <a:pt x="154" y="832"/>
                  </a:lnTo>
                  <a:lnTo>
                    <a:pt x="154" y="830"/>
                  </a:lnTo>
                  <a:lnTo>
                    <a:pt x="152" y="830"/>
                  </a:lnTo>
                  <a:lnTo>
                    <a:pt x="152" y="830"/>
                  </a:lnTo>
                  <a:lnTo>
                    <a:pt x="152" y="830"/>
                  </a:lnTo>
                  <a:lnTo>
                    <a:pt x="152" y="828"/>
                  </a:lnTo>
                  <a:lnTo>
                    <a:pt x="152" y="830"/>
                  </a:lnTo>
                  <a:lnTo>
                    <a:pt x="152" y="828"/>
                  </a:lnTo>
                  <a:lnTo>
                    <a:pt x="152" y="828"/>
                  </a:lnTo>
                  <a:lnTo>
                    <a:pt x="150" y="830"/>
                  </a:lnTo>
                  <a:lnTo>
                    <a:pt x="150" y="830"/>
                  </a:lnTo>
                  <a:lnTo>
                    <a:pt x="150" y="830"/>
                  </a:lnTo>
                  <a:lnTo>
                    <a:pt x="150" y="830"/>
                  </a:lnTo>
                  <a:lnTo>
                    <a:pt x="150" y="832"/>
                  </a:lnTo>
                  <a:lnTo>
                    <a:pt x="150" y="832"/>
                  </a:lnTo>
                  <a:lnTo>
                    <a:pt x="150" y="834"/>
                  </a:lnTo>
                  <a:close/>
                  <a:moveTo>
                    <a:pt x="14" y="713"/>
                  </a:moveTo>
                  <a:lnTo>
                    <a:pt x="14" y="713"/>
                  </a:lnTo>
                  <a:lnTo>
                    <a:pt x="16" y="713"/>
                  </a:lnTo>
                  <a:lnTo>
                    <a:pt x="16" y="715"/>
                  </a:lnTo>
                  <a:lnTo>
                    <a:pt x="16" y="715"/>
                  </a:lnTo>
                  <a:lnTo>
                    <a:pt x="16" y="717"/>
                  </a:lnTo>
                  <a:lnTo>
                    <a:pt x="16" y="717"/>
                  </a:lnTo>
                  <a:lnTo>
                    <a:pt x="16" y="717"/>
                  </a:lnTo>
                  <a:lnTo>
                    <a:pt x="18" y="717"/>
                  </a:lnTo>
                  <a:lnTo>
                    <a:pt x="18" y="717"/>
                  </a:lnTo>
                  <a:lnTo>
                    <a:pt x="18" y="715"/>
                  </a:lnTo>
                  <a:lnTo>
                    <a:pt x="18" y="715"/>
                  </a:lnTo>
                  <a:lnTo>
                    <a:pt x="18" y="715"/>
                  </a:lnTo>
                  <a:lnTo>
                    <a:pt x="18" y="715"/>
                  </a:lnTo>
                  <a:lnTo>
                    <a:pt x="18" y="715"/>
                  </a:lnTo>
                  <a:lnTo>
                    <a:pt x="18" y="715"/>
                  </a:lnTo>
                  <a:lnTo>
                    <a:pt x="21" y="715"/>
                  </a:lnTo>
                  <a:lnTo>
                    <a:pt x="21" y="715"/>
                  </a:lnTo>
                  <a:lnTo>
                    <a:pt x="21" y="715"/>
                  </a:lnTo>
                  <a:lnTo>
                    <a:pt x="21" y="717"/>
                  </a:lnTo>
                  <a:lnTo>
                    <a:pt x="21" y="717"/>
                  </a:lnTo>
                  <a:lnTo>
                    <a:pt x="23" y="719"/>
                  </a:lnTo>
                  <a:lnTo>
                    <a:pt x="23" y="717"/>
                  </a:lnTo>
                  <a:lnTo>
                    <a:pt x="23" y="717"/>
                  </a:lnTo>
                  <a:lnTo>
                    <a:pt x="25" y="719"/>
                  </a:lnTo>
                  <a:lnTo>
                    <a:pt x="25" y="719"/>
                  </a:lnTo>
                  <a:lnTo>
                    <a:pt x="25" y="719"/>
                  </a:lnTo>
                  <a:lnTo>
                    <a:pt x="27" y="717"/>
                  </a:lnTo>
                  <a:lnTo>
                    <a:pt x="25" y="717"/>
                  </a:lnTo>
                  <a:lnTo>
                    <a:pt x="23" y="717"/>
                  </a:lnTo>
                  <a:lnTo>
                    <a:pt x="23" y="715"/>
                  </a:lnTo>
                  <a:lnTo>
                    <a:pt x="21" y="715"/>
                  </a:lnTo>
                  <a:lnTo>
                    <a:pt x="23" y="715"/>
                  </a:lnTo>
                  <a:lnTo>
                    <a:pt x="23" y="715"/>
                  </a:lnTo>
                  <a:lnTo>
                    <a:pt x="25" y="715"/>
                  </a:lnTo>
                  <a:lnTo>
                    <a:pt x="25" y="713"/>
                  </a:lnTo>
                  <a:lnTo>
                    <a:pt x="25" y="713"/>
                  </a:lnTo>
                  <a:lnTo>
                    <a:pt x="23" y="711"/>
                  </a:lnTo>
                  <a:lnTo>
                    <a:pt x="23" y="711"/>
                  </a:lnTo>
                  <a:lnTo>
                    <a:pt x="23" y="711"/>
                  </a:lnTo>
                  <a:lnTo>
                    <a:pt x="21" y="711"/>
                  </a:lnTo>
                  <a:lnTo>
                    <a:pt x="21" y="711"/>
                  </a:lnTo>
                  <a:lnTo>
                    <a:pt x="21" y="711"/>
                  </a:lnTo>
                  <a:lnTo>
                    <a:pt x="21" y="711"/>
                  </a:lnTo>
                  <a:lnTo>
                    <a:pt x="18" y="711"/>
                  </a:lnTo>
                  <a:lnTo>
                    <a:pt x="21" y="709"/>
                  </a:lnTo>
                  <a:lnTo>
                    <a:pt x="21" y="709"/>
                  </a:lnTo>
                  <a:lnTo>
                    <a:pt x="23" y="709"/>
                  </a:lnTo>
                  <a:lnTo>
                    <a:pt x="21" y="709"/>
                  </a:lnTo>
                  <a:lnTo>
                    <a:pt x="21" y="707"/>
                  </a:lnTo>
                  <a:lnTo>
                    <a:pt x="21" y="707"/>
                  </a:lnTo>
                  <a:lnTo>
                    <a:pt x="18" y="705"/>
                  </a:lnTo>
                  <a:lnTo>
                    <a:pt x="16" y="705"/>
                  </a:lnTo>
                  <a:lnTo>
                    <a:pt x="16" y="705"/>
                  </a:lnTo>
                  <a:lnTo>
                    <a:pt x="16" y="705"/>
                  </a:lnTo>
                  <a:lnTo>
                    <a:pt x="14" y="705"/>
                  </a:lnTo>
                  <a:lnTo>
                    <a:pt x="14" y="705"/>
                  </a:lnTo>
                  <a:lnTo>
                    <a:pt x="14" y="705"/>
                  </a:lnTo>
                  <a:lnTo>
                    <a:pt x="14" y="705"/>
                  </a:lnTo>
                  <a:lnTo>
                    <a:pt x="14" y="703"/>
                  </a:lnTo>
                  <a:lnTo>
                    <a:pt x="14" y="703"/>
                  </a:lnTo>
                  <a:lnTo>
                    <a:pt x="12" y="701"/>
                  </a:lnTo>
                  <a:lnTo>
                    <a:pt x="10" y="701"/>
                  </a:lnTo>
                  <a:lnTo>
                    <a:pt x="10" y="701"/>
                  </a:lnTo>
                  <a:lnTo>
                    <a:pt x="10" y="701"/>
                  </a:lnTo>
                  <a:lnTo>
                    <a:pt x="8" y="699"/>
                  </a:lnTo>
                  <a:lnTo>
                    <a:pt x="4" y="699"/>
                  </a:lnTo>
                  <a:lnTo>
                    <a:pt x="4" y="701"/>
                  </a:lnTo>
                  <a:lnTo>
                    <a:pt x="4" y="699"/>
                  </a:lnTo>
                  <a:lnTo>
                    <a:pt x="0" y="701"/>
                  </a:lnTo>
                  <a:lnTo>
                    <a:pt x="2" y="701"/>
                  </a:lnTo>
                  <a:lnTo>
                    <a:pt x="2" y="701"/>
                  </a:lnTo>
                  <a:lnTo>
                    <a:pt x="2" y="701"/>
                  </a:lnTo>
                  <a:lnTo>
                    <a:pt x="2" y="703"/>
                  </a:lnTo>
                  <a:lnTo>
                    <a:pt x="4" y="703"/>
                  </a:lnTo>
                  <a:lnTo>
                    <a:pt x="6" y="703"/>
                  </a:lnTo>
                  <a:lnTo>
                    <a:pt x="6" y="703"/>
                  </a:lnTo>
                  <a:lnTo>
                    <a:pt x="6" y="703"/>
                  </a:lnTo>
                  <a:lnTo>
                    <a:pt x="4" y="705"/>
                  </a:lnTo>
                  <a:lnTo>
                    <a:pt x="4" y="705"/>
                  </a:lnTo>
                  <a:lnTo>
                    <a:pt x="4" y="705"/>
                  </a:lnTo>
                  <a:lnTo>
                    <a:pt x="6" y="707"/>
                  </a:lnTo>
                  <a:lnTo>
                    <a:pt x="8" y="707"/>
                  </a:lnTo>
                  <a:lnTo>
                    <a:pt x="8" y="707"/>
                  </a:lnTo>
                  <a:lnTo>
                    <a:pt x="8" y="707"/>
                  </a:lnTo>
                  <a:lnTo>
                    <a:pt x="8" y="707"/>
                  </a:lnTo>
                  <a:lnTo>
                    <a:pt x="10" y="707"/>
                  </a:lnTo>
                  <a:lnTo>
                    <a:pt x="8" y="707"/>
                  </a:lnTo>
                  <a:lnTo>
                    <a:pt x="8" y="709"/>
                  </a:lnTo>
                  <a:lnTo>
                    <a:pt x="6" y="709"/>
                  </a:lnTo>
                  <a:lnTo>
                    <a:pt x="6" y="711"/>
                  </a:lnTo>
                  <a:lnTo>
                    <a:pt x="6" y="711"/>
                  </a:lnTo>
                  <a:lnTo>
                    <a:pt x="6" y="711"/>
                  </a:lnTo>
                  <a:lnTo>
                    <a:pt x="6" y="711"/>
                  </a:lnTo>
                  <a:lnTo>
                    <a:pt x="6" y="711"/>
                  </a:lnTo>
                  <a:lnTo>
                    <a:pt x="6" y="711"/>
                  </a:lnTo>
                  <a:lnTo>
                    <a:pt x="6" y="711"/>
                  </a:lnTo>
                  <a:lnTo>
                    <a:pt x="8" y="711"/>
                  </a:lnTo>
                  <a:lnTo>
                    <a:pt x="8" y="711"/>
                  </a:lnTo>
                  <a:lnTo>
                    <a:pt x="8" y="711"/>
                  </a:lnTo>
                  <a:lnTo>
                    <a:pt x="8" y="713"/>
                  </a:lnTo>
                  <a:lnTo>
                    <a:pt x="8" y="713"/>
                  </a:lnTo>
                  <a:lnTo>
                    <a:pt x="8" y="713"/>
                  </a:lnTo>
                  <a:lnTo>
                    <a:pt x="10" y="713"/>
                  </a:lnTo>
                  <a:lnTo>
                    <a:pt x="10" y="713"/>
                  </a:lnTo>
                  <a:lnTo>
                    <a:pt x="10" y="713"/>
                  </a:lnTo>
                  <a:lnTo>
                    <a:pt x="8" y="713"/>
                  </a:lnTo>
                  <a:lnTo>
                    <a:pt x="8" y="715"/>
                  </a:lnTo>
                  <a:lnTo>
                    <a:pt x="8" y="715"/>
                  </a:lnTo>
                  <a:lnTo>
                    <a:pt x="10" y="715"/>
                  </a:lnTo>
                  <a:lnTo>
                    <a:pt x="10" y="715"/>
                  </a:lnTo>
                  <a:lnTo>
                    <a:pt x="12" y="715"/>
                  </a:lnTo>
                  <a:lnTo>
                    <a:pt x="14" y="713"/>
                  </a:lnTo>
                  <a:lnTo>
                    <a:pt x="14" y="713"/>
                  </a:lnTo>
                  <a:close/>
                  <a:moveTo>
                    <a:pt x="188" y="844"/>
                  </a:moveTo>
                  <a:lnTo>
                    <a:pt x="188" y="844"/>
                  </a:lnTo>
                  <a:lnTo>
                    <a:pt x="186" y="842"/>
                  </a:lnTo>
                  <a:lnTo>
                    <a:pt x="186" y="842"/>
                  </a:lnTo>
                  <a:lnTo>
                    <a:pt x="186" y="842"/>
                  </a:lnTo>
                  <a:lnTo>
                    <a:pt x="186" y="842"/>
                  </a:lnTo>
                  <a:lnTo>
                    <a:pt x="186" y="842"/>
                  </a:lnTo>
                  <a:lnTo>
                    <a:pt x="186" y="842"/>
                  </a:lnTo>
                  <a:lnTo>
                    <a:pt x="186" y="842"/>
                  </a:lnTo>
                  <a:lnTo>
                    <a:pt x="186" y="840"/>
                  </a:lnTo>
                  <a:lnTo>
                    <a:pt x="184" y="842"/>
                  </a:lnTo>
                  <a:lnTo>
                    <a:pt x="184" y="842"/>
                  </a:lnTo>
                  <a:lnTo>
                    <a:pt x="184" y="842"/>
                  </a:lnTo>
                  <a:lnTo>
                    <a:pt x="182" y="842"/>
                  </a:lnTo>
                  <a:lnTo>
                    <a:pt x="182" y="842"/>
                  </a:lnTo>
                  <a:lnTo>
                    <a:pt x="182" y="842"/>
                  </a:lnTo>
                  <a:lnTo>
                    <a:pt x="180" y="842"/>
                  </a:lnTo>
                  <a:lnTo>
                    <a:pt x="180" y="842"/>
                  </a:lnTo>
                  <a:lnTo>
                    <a:pt x="180" y="842"/>
                  </a:lnTo>
                  <a:lnTo>
                    <a:pt x="180" y="842"/>
                  </a:lnTo>
                  <a:lnTo>
                    <a:pt x="180" y="844"/>
                  </a:lnTo>
                  <a:lnTo>
                    <a:pt x="180" y="844"/>
                  </a:lnTo>
                  <a:lnTo>
                    <a:pt x="180" y="844"/>
                  </a:lnTo>
                  <a:lnTo>
                    <a:pt x="180" y="844"/>
                  </a:lnTo>
                  <a:lnTo>
                    <a:pt x="180" y="844"/>
                  </a:lnTo>
                  <a:lnTo>
                    <a:pt x="180" y="846"/>
                  </a:lnTo>
                  <a:lnTo>
                    <a:pt x="180" y="846"/>
                  </a:lnTo>
                  <a:lnTo>
                    <a:pt x="180" y="846"/>
                  </a:lnTo>
                  <a:lnTo>
                    <a:pt x="180" y="848"/>
                  </a:lnTo>
                  <a:lnTo>
                    <a:pt x="182" y="848"/>
                  </a:lnTo>
                  <a:lnTo>
                    <a:pt x="184" y="848"/>
                  </a:lnTo>
                  <a:lnTo>
                    <a:pt x="184" y="848"/>
                  </a:lnTo>
                  <a:lnTo>
                    <a:pt x="186" y="848"/>
                  </a:lnTo>
                  <a:lnTo>
                    <a:pt x="186" y="848"/>
                  </a:lnTo>
                  <a:lnTo>
                    <a:pt x="186" y="848"/>
                  </a:lnTo>
                  <a:lnTo>
                    <a:pt x="188" y="846"/>
                  </a:lnTo>
                  <a:lnTo>
                    <a:pt x="188" y="846"/>
                  </a:lnTo>
                  <a:lnTo>
                    <a:pt x="188" y="846"/>
                  </a:lnTo>
                  <a:lnTo>
                    <a:pt x="188" y="846"/>
                  </a:lnTo>
                  <a:lnTo>
                    <a:pt x="188" y="846"/>
                  </a:lnTo>
                  <a:lnTo>
                    <a:pt x="188" y="846"/>
                  </a:lnTo>
                  <a:lnTo>
                    <a:pt x="188" y="844"/>
                  </a:lnTo>
                  <a:close/>
                  <a:moveTo>
                    <a:pt x="211" y="891"/>
                  </a:moveTo>
                  <a:lnTo>
                    <a:pt x="209" y="891"/>
                  </a:lnTo>
                  <a:lnTo>
                    <a:pt x="209" y="891"/>
                  </a:lnTo>
                  <a:lnTo>
                    <a:pt x="207" y="894"/>
                  </a:lnTo>
                  <a:lnTo>
                    <a:pt x="207" y="894"/>
                  </a:lnTo>
                  <a:lnTo>
                    <a:pt x="207" y="894"/>
                  </a:lnTo>
                  <a:lnTo>
                    <a:pt x="207" y="894"/>
                  </a:lnTo>
                  <a:lnTo>
                    <a:pt x="207" y="896"/>
                  </a:lnTo>
                  <a:lnTo>
                    <a:pt x="207" y="896"/>
                  </a:lnTo>
                  <a:lnTo>
                    <a:pt x="209" y="896"/>
                  </a:lnTo>
                  <a:lnTo>
                    <a:pt x="209" y="896"/>
                  </a:lnTo>
                  <a:lnTo>
                    <a:pt x="209" y="896"/>
                  </a:lnTo>
                  <a:lnTo>
                    <a:pt x="211" y="894"/>
                  </a:lnTo>
                  <a:lnTo>
                    <a:pt x="209" y="894"/>
                  </a:lnTo>
                  <a:lnTo>
                    <a:pt x="211" y="894"/>
                  </a:lnTo>
                  <a:lnTo>
                    <a:pt x="211" y="891"/>
                  </a:lnTo>
                  <a:close/>
                  <a:moveTo>
                    <a:pt x="143" y="834"/>
                  </a:moveTo>
                  <a:lnTo>
                    <a:pt x="143" y="834"/>
                  </a:lnTo>
                  <a:lnTo>
                    <a:pt x="141" y="834"/>
                  </a:lnTo>
                  <a:lnTo>
                    <a:pt x="141" y="834"/>
                  </a:lnTo>
                  <a:lnTo>
                    <a:pt x="141" y="834"/>
                  </a:lnTo>
                  <a:lnTo>
                    <a:pt x="141" y="832"/>
                  </a:lnTo>
                  <a:lnTo>
                    <a:pt x="139" y="832"/>
                  </a:lnTo>
                  <a:lnTo>
                    <a:pt x="139" y="832"/>
                  </a:lnTo>
                  <a:lnTo>
                    <a:pt x="139" y="834"/>
                  </a:lnTo>
                  <a:lnTo>
                    <a:pt x="141" y="834"/>
                  </a:lnTo>
                  <a:lnTo>
                    <a:pt x="141" y="834"/>
                  </a:lnTo>
                  <a:lnTo>
                    <a:pt x="141" y="836"/>
                  </a:lnTo>
                  <a:lnTo>
                    <a:pt x="141" y="836"/>
                  </a:lnTo>
                  <a:lnTo>
                    <a:pt x="141" y="836"/>
                  </a:lnTo>
                  <a:lnTo>
                    <a:pt x="141" y="838"/>
                  </a:lnTo>
                  <a:lnTo>
                    <a:pt x="143" y="838"/>
                  </a:lnTo>
                  <a:lnTo>
                    <a:pt x="143" y="838"/>
                  </a:lnTo>
                  <a:lnTo>
                    <a:pt x="143" y="838"/>
                  </a:lnTo>
                  <a:lnTo>
                    <a:pt x="143" y="836"/>
                  </a:lnTo>
                  <a:lnTo>
                    <a:pt x="143" y="834"/>
                  </a:lnTo>
                  <a:close/>
                  <a:moveTo>
                    <a:pt x="166" y="869"/>
                  </a:moveTo>
                  <a:lnTo>
                    <a:pt x="166" y="869"/>
                  </a:lnTo>
                  <a:lnTo>
                    <a:pt x="162" y="867"/>
                  </a:lnTo>
                  <a:lnTo>
                    <a:pt x="162" y="867"/>
                  </a:lnTo>
                  <a:lnTo>
                    <a:pt x="164" y="867"/>
                  </a:lnTo>
                  <a:lnTo>
                    <a:pt x="164" y="867"/>
                  </a:lnTo>
                  <a:lnTo>
                    <a:pt x="164" y="867"/>
                  </a:lnTo>
                  <a:lnTo>
                    <a:pt x="164" y="867"/>
                  </a:lnTo>
                  <a:lnTo>
                    <a:pt x="162" y="867"/>
                  </a:lnTo>
                  <a:lnTo>
                    <a:pt x="162" y="865"/>
                  </a:lnTo>
                  <a:lnTo>
                    <a:pt x="162" y="865"/>
                  </a:lnTo>
                  <a:lnTo>
                    <a:pt x="162" y="863"/>
                  </a:lnTo>
                  <a:lnTo>
                    <a:pt x="162" y="863"/>
                  </a:lnTo>
                  <a:lnTo>
                    <a:pt x="162" y="863"/>
                  </a:lnTo>
                  <a:lnTo>
                    <a:pt x="160" y="861"/>
                  </a:lnTo>
                  <a:lnTo>
                    <a:pt x="160" y="861"/>
                  </a:lnTo>
                  <a:lnTo>
                    <a:pt x="158" y="859"/>
                  </a:lnTo>
                  <a:lnTo>
                    <a:pt x="158" y="857"/>
                  </a:lnTo>
                  <a:lnTo>
                    <a:pt x="158" y="857"/>
                  </a:lnTo>
                  <a:lnTo>
                    <a:pt x="158" y="857"/>
                  </a:lnTo>
                  <a:lnTo>
                    <a:pt x="158" y="855"/>
                  </a:lnTo>
                  <a:lnTo>
                    <a:pt x="158" y="855"/>
                  </a:lnTo>
                  <a:lnTo>
                    <a:pt x="158" y="855"/>
                  </a:lnTo>
                  <a:lnTo>
                    <a:pt x="158" y="855"/>
                  </a:lnTo>
                  <a:lnTo>
                    <a:pt x="158" y="855"/>
                  </a:lnTo>
                  <a:lnTo>
                    <a:pt x="156" y="855"/>
                  </a:lnTo>
                  <a:lnTo>
                    <a:pt x="156" y="855"/>
                  </a:lnTo>
                  <a:lnTo>
                    <a:pt x="156" y="853"/>
                  </a:lnTo>
                  <a:lnTo>
                    <a:pt x="156" y="853"/>
                  </a:lnTo>
                  <a:lnTo>
                    <a:pt x="156" y="853"/>
                  </a:lnTo>
                  <a:lnTo>
                    <a:pt x="156" y="853"/>
                  </a:lnTo>
                  <a:lnTo>
                    <a:pt x="156" y="850"/>
                  </a:lnTo>
                  <a:lnTo>
                    <a:pt x="156" y="850"/>
                  </a:lnTo>
                  <a:lnTo>
                    <a:pt x="154" y="850"/>
                  </a:lnTo>
                  <a:lnTo>
                    <a:pt x="154" y="850"/>
                  </a:lnTo>
                  <a:lnTo>
                    <a:pt x="154" y="850"/>
                  </a:lnTo>
                  <a:lnTo>
                    <a:pt x="154" y="850"/>
                  </a:lnTo>
                  <a:lnTo>
                    <a:pt x="154" y="850"/>
                  </a:lnTo>
                  <a:lnTo>
                    <a:pt x="152" y="850"/>
                  </a:lnTo>
                  <a:lnTo>
                    <a:pt x="152" y="848"/>
                  </a:lnTo>
                  <a:lnTo>
                    <a:pt x="152" y="848"/>
                  </a:lnTo>
                  <a:lnTo>
                    <a:pt x="150" y="846"/>
                  </a:lnTo>
                  <a:lnTo>
                    <a:pt x="150" y="846"/>
                  </a:lnTo>
                  <a:lnTo>
                    <a:pt x="148" y="846"/>
                  </a:lnTo>
                  <a:lnTo>
                    <a:pt x="150" y="848"/>
                  </a:lnTo>
                  <a:lnTo>
                    <a:pt x="150" y="850"/>
                  </a:lnTo>
                  <a:lnTo>
                    <a:pt x="150" y="850"/>
                  </a:lnTo>
                  <a:lnTo>
                    <a:pt x="150" y="850"/>
                  </a:lnTo>
                  <a:lnTo>
                    <a:pt x="152" y="850"/>
                  </a:lnTo>
                  <a:lnTo>
                    <a:pt x="152" y="853"/>
                  </a:lnTo>
                  <a:lnTo>
                    <a:pt x="152" y="853"/>
                  </a:lnTo>
                  <a:lnTo>
                    <a:pt x="152" y="853"/>
                  </a:lnTo>
                  <a:lnTo>
                    <a:pt x="154" y="853"/>
                  </a:lnTo>
                  <a:lnTo>
                    <a:pt x="154" y="853"/>
                  </a:lnTo>
                  <a:lnTo>
                    <a:pt x="156" y="855"/>
                  </a:lnTo>
                  <a:lnTo>
                    <a:pt x="156" y="857"/>
                  </a:lnTo>
                  <a:lnTo>
                    <a:pt x="156" y="857"/>
                  </a:lnTo>
                  <a:lnTo>
                    <a:pt x="158" y="859"/>
                  </a:lnTo>
                  <a:lnTo>
                    <a:pt x="158" y="859"/>
                  </a:lnTo>
                  <a:lnTo>
                    <a:pt x="158" y="859"/>
                  </a:lnTo>
                  <a:lnTo>
                    <a:pt x="158" y="861"/>
                  </a:lnTo>
                  <a:lnTo>
                    <a:pt x="158" y="861"/>
                  </a:lnTo>
                  <a:lnTo>
                    <a:pt x="158" y="861"/>
                  </a:lnTo>
                  <a:lnTo>
                    <a:pt x="158" y="863"/>
                  </a:lnTo>
                  <a:lnTo>
                    <a:pt x="162" y="867"/>
                  </a:lnTo>
                  <a:lnTo>
                    <a:pt x="162" y="867"/>
                  </a:lnTo>
                  <a:lnTo>
                    <a:pt x="160" y="867"/>
                  </a:lnTo>
                  <a:lnTo>
                    <a:pt x="160" y="869"/>
                  </a:lnTo>
                  <a:lnTo>
                    <a:pt x="160" y="869"/>
                  </a:lnTo>
                  <a:lnTo>
                    <a:pt x="162" y="869"/>
                  </a:lnTo>
                  <a:lnTo>
                    <a:pt x="162" y="869"/>
                  </a:lnTo>
                  <a:lnTo>
                    <a:pt x="162" y="869"/>
                  </a:lnTo>
                  <a:lnTo>
                    <a:pt x="162" y="869"/>
                  </a:lnTo>
                  <a:lnTo>
                    <a:pt x="162" y="869"/>
                  </a:lnTo>
                  <a:lnTo>
                    <a:pt x="164" y="869"/>
                  </a:lnTo>
                  <a:lnTo>
                    <a:pt x="164" y="869"/>
                  </a:lnTo>
                  <a:lnTo>
                    <a:pt x="164" y="869"/>
                  </a:lnTo>
                  <a:lnTo>
                    <a:pt x="164" y="869"/>
                  </a:lnTo>
                  <a:lnTo>
                    <a:pt x="164" y="869"/>
                  </a:lnTo>
                  <a:lnTo>
                    <a:pt x="166" y="869"/>
                  </a:lnTo>
                  <a:lnTo>
                    <a:pt x="166" y="869"/>
                  </a:lnTo>
                  <a:lnTo>
                    <a:pt x="166" y="871"/>
                  </a:lnTo>
                  <a:lnTo>
                    <a:pt x="166" y="871"/>
                  </a:lnTo>
                  <a:lnTo>
                    <a:pt x="166" y="871"/>
                  </a:lnTo>
                  <a:lnTo>
                    <a:pt x="166" y="871"/>
                  </a:lnTo>
                  <a:lnTo>
                    <a:pt x="166" y="871"/>
                  </a:lnTo>
                  <a:lnTo>
                    <a:pt x="168" y="871"/>
                  </a:lnTo>
                  <a:lnTo>
                    <a:pt x="168" y="871"/>
                  </a:lnTo>
                  <a:lnTo>
                    <a:pt x="168" y="871"/>
                  </a:lnTo>
                  <a:lnTo>
                    <a:pt x="166" y="869"/>
                  </a:lnTo>
                  <a:close/>
                  <a:moveTo>
                    <a:pt x="129" y="812"/>
                  </a:moveTo>
                  <a:lnTo>
                    <a:pt x="129" y="812"/>
                  </a:lnTo>
                  <a:lnTo>
                    <a:pt x="127" y="812"/>
                  </a:lnTo>
                  <a:lnTo>
                    <a:pt x="127" y="812"/>
                  </a:lnTo>
                  <a:lnTo>
                    <a:pt x="125" y="812"/>
                  </a:lnTo>
                  <a:lnTo>
                    <a:pt x="123" y="814"/>
                  </a:lnTo>
                  <a:lnTo>
                    <a:pt x="123" y="816"/>
                  </a:lnTo>
                  <a:lnTo>
                    <a:pt x="123" y="816"/>
                  </a:lnTo>
                  <a:lnTo>
                    <a:pt x="121" y="816"/>
                  </a:lnTo>
                  <a:lnTo>
                    <a:pt x="121" y="816"/>
                  </a:lnTo>
                  <a:lnTo>
                    <a:pt x="121" y="816"/>
                  </a:lnTo>
                  <a:lnTo>
                    <a:pt x="121" y="816"/>
                  </a:lnTo>
                  <a:lnTo>
                    <a:pt x="119" y="816"/>
                  </a:lnTo>
                  <a:lnTo>
                    <a:pt x="119" y="816"/>
                  </a:lnTo>
                  <a:lnTo>
                    <a:pt x="119" y="816"/>
                  </a:lnTo>
                  <a:lnTo>
                    <a:pt x="117" y="816"/>
                  </a:lnTo>
                  <a:lnTo>
                    <a:pt x="117" y="816"/>
                  </a:lnTo>
                  <a:lnTo>
                    <a:pt x="117" y="816"/>
                  </a:lnTo>
                  <a:lnTo>
                    <a:pt x="115" y="816"/>
                  </a:lnTo>
                  <a:lnTo>
                    <a:pt x="115" y="816"/>
                  </a:lnTo>
                  <a:lnTo>
                    <a:pt x="113" y="816"/>
                  </a:lnTo>
                  <a:lnTo>
                    <a:pt x="113" y="818"/>
                  </a:lnTo>
                  <a:lnTo>
                    <a:pt x="113" y="820"/>
                  </a:lnTo>
                  <a:lnTo>
                    <a:pt x="113" y="820"/>
                  </a:lnTo>
                  <a:lnTo>
                    <a:pt x="113" y="820"/>
                  </a:lnTo>
                  <a:lnTo>
                    <a:pt x="113" y="820"/>
                  </a:lnTo>
                  <a:lnTo>
                    <a:pt x="113" y="822"/>
                  </a:lnTo>
                  <a:lnTo>
                    <a:pt x="113" y="822"/>
                  </a:lnTo>
                  <a:lnTo>
                    <a:pt x="115" y="820"/>
                  </a:lnTo>
                  <a:lnTo>
                    <a:pt x="115" y="820"/>
                  </a:lnTo>
                  <a:lnTo>
                    <a:pt x="117" y="818"/>
                  </a:lnTo>
                  <a:lnTo>
                    <a:pt x="117" y="818"/>
                  </a:lnTo>
                  <a:lnTo>
                    <a:pt x="117" y="818"/>
                  </a:lnTo>
                  <a:lnTo>
                    <a:pt x="119" y="818"/>
                  </a:lnTo>
                  <a:lnTo>
                    <a:pt x="121" y="818"/>
                  </a:lnTo>
                  <a:lnTo>
                    <a:pt x="119" y="818"/>
                  </a:lnTo>
                  <a:lnTo>
                    <a:pt x="119" y="820"/>
                  </a:lnTo>
                  <a:lnTo>
                    <a:pt x="121" y="820"/>
                  </a:lnTo>
                  <a:lnTo>
                    <a:pt x="121" y="818"/>
                  </a:lnTo>
                  <a:lnTo>
                    <a:pt x="121" y="818"/>
                  </a:lnTo>
                  <a:lnTo>
                    <a:pt x="121" y="818"/>
                  </a:lnTo>
                  <a:lnTo>
                    <a:pt x="123" y="820"/>
                  </a:lnTo>
                  <a:lnTo>
                    <a:pt x="123" y="820"/>
                  </a:lnTo>
                  <a:lnTo>
                    <a:pt x="123" y="820"/>
                  </a:lnTo>
                  <a:lnTo>
                    <a:pt x="123" y="820"/>
                  </a:lnTo>
                  <a:lnTo>
                    <a:pt x="123" y="820"/>
                  </a:lnTo>
                  <a:lnTo>
                    <a:pt x="123" y="820"/>
                  </a:lnTo>
                  <a:lnTo>
                    <a:pt x="123" y="820"/>
                  </a:lnTo>
                  <a:lnTo>
                    <a:pt x="125" y="820"/>
                  </a:lnTo>
                  <a:lnTo>
                    <a:pt x="125" y="820"/>
                  </a:lnTo>
                  <a:lnTo>
                    <a:pt x="125" y="820"/>
                  </a:lnTo>
                  <a:lnTo>
                    <a:pt x="125" y="820"/>
                  </a:lnTo>
                  <a:lnTo>
                    <a:pt x="123" y="818"/>
                  </a:lnTo>
                  <a:lnTo>
                    <a:pt x="123" y="818"/>
                  </a:lnTo>
                  <a:lnTo>
                    <a:pt x="123" y="818"/>
                  </a:lnTo>
                  <a:lnTo>
                    <a:pt x="125" y="818"/>
                  </a:lnTo>
                  <a:lnTo>
                    <a:pt x="125" y="816"/>
                  </a:lnTo>
                  <a:lnTo>
                    <a:pt x="127" y="816"/>
                  </a:lnTo>
                  <a:lnTo>
                    <a:pt x="127" y="816"/>
                  </a:lnTo>
                  <a:lnTo>
                    <a:pt x="127" y="816"/>
                  </a:lnTo>
                  <a:lnTo>
                    <a:pt x="127" y="814"/>
                  </a:lnTo>
                  <a:lnTo>
                    <a:pt x="129" y="814"/>
                  </a:lnTo>
                  <a:lnTo>
                    <a:pt x="129" y="814"/>
                  </a:lnTo>
                  <a:lnTo>
                    <a:pt x="129" y="814"/>
                  </a:lnTo>
                  <a:lnTo>
                    <a:pt x="129" y="814"/>
                  </a:lnTo>
                  <a:lnTo>
                    <a:pt x="129" y="814"/>
                  </a:lnTo>
                  <a:lnTo>
                    <a:pt x="129" y="812"/>
                  </a:lnTo>
                  <a:lnTo>
                    <a:pt x="129" y="812"/>
                  </a:lnTo>
                  <a:close/>
                  <a:moveTo>
                    <a:pt x="535" y="492"/>
                  </a:moveTo>
                  <a:lnTo>
                    <a:pt x="535" y="492"/>
                  </a:lnTo>
                  <a:lnTo>
                    <a:pt x="535" y="492"/>
                  </a:lnTo>
                  <a:lnTo>
                    <a:pt x="535" y="492"/>
                  </a:lnTo>
                  <a:lnTo>
                    <a:pt x="535" y="490"/>
                  </a:lnTo>
                  <a:lnTo>
                    <a:pt x="535" y="490"/>
                  </a:lnTo>
                  <a:lnTo>
                    <a:pt x="535" y="490"/>
                  </a:lnTo>
                  <a:lnTo>
                    <a:pt x="535" y="490"/>
                  </a:lnTo>
                  <a:lnTo>
                    <a:pt x="535" y="488"/>
                  </a:lnTo>
                  <a:lnTo>
                    <a:pt x="535" y="488"/>
                  </a:lnTo>
                  <a:lnTo>
                    <a:pt x="535" y="488"/>
                  </a:lnTo>
                  <a:lnTo>
                    <a:pt x="533" y="490"/>
                  </a:lnTo>
                  <a:lnTo>
                    <a:pt x="533" y="490"/>
                  </a:lnTo>
                  <a:lnTo>
                    <a:pt x="533" y="490"/>
                  </a:lnTo>
                  <a:lnTo>
                    <a:pt x="535" y="492"/>
                  </a:lnTo>
                  <a:close/>
                  <a:moveTo>
                    <a:pt x="522" y="906"/>
                  </a:moveTo>
                  <a:lnTo>
                    <a:pt x="522" y="906"/>
                  </a:lnTo>
                  <a:lnTo>
                    <a:pt x="522" y="906"/>
                  </a:lnTo>
                  <a:lnTo>
                    <a:pt x="522" y="906"/>
                  </a:lnTo>
                  <a:lnTo>
                    <a:pt x="522" y="906"/>
                  </a:lnTo>
                  <a:lnTo>
                    <a:pt x="522" y="906"/>
                  </a:lnTo>
                  <a:lnTo>
                    <a:pt x="520" y="906"/>
                  </a:lnTo>
                  <a:lnTo>
                    <a:pt x="520" y="906"/>
                  </a:lnTo>
                  <a:lnTo>
                    <a:pt x="520" y="906"/>
                  </a:lnTo>
                  <a:lnTo>
                    <a:pt x="520" y="904"/>
                  </a:lnTo>
                  <a:lnTo>
                    <a:pt x="520" y="904"/>
                  </a:lnTo>
                  <a:lnTo>
                    <a:pt x="518" y="904"/>
                  </a:lnTo>
                  <a:lnTo>
                    <a:pt x="518" y="904"/>
                  </a:lnTo>
                  <a:lnTo>
                    <a:pt x="516" y="904"/>
                  </a:lnTo>
                  <a:lnTo>
                    <a:pt x="516" y="906"/>
                  </a:lnTo>
                  <a:lnTo>
                    <a:pt x="516" y="906"/>
                  </a:lnTo>
                  <a:lnTo>
                    <a:pt x="514" y="906"/>
                  </a:lnTo>
                  <a:lnTo>
                    <a:pt x="514" y="904"/>
                  </a:lnTo>
                  <a:lnTo>
                    <a:pt x="514" y="904"/>
                  </a:lnTo>
                  <a:lnTo>
                    <a:pt x="512" y="906"/>
                  </a:lnTo>
                  <a:lnTo>
                    <a:pt x="512" y="906"/>
                  </a:lnTo>
                  <a:lnTo>
                    <a:pt x="512" y="906"/>
                  </a:lnTo>
                  <a:lnTo>
                    <a:pt x="512" y="908"/>
                  </a:lnTo>
                  <a:lnTo>
                    <a:pt x="512" y="908"/>
                  </a:lnTo>
                  <a:lnTo>
                    <a:pt x="512" y="908"/>
                  </a:lnTo>
                  <a:lnTo>
                    <a:pt x="512" y="908"/>
                  </a:lnTo>
                  <a:lnTo>
                    <a:pt x="514" y="908"/>
                  </a:lnTo>
                  <a:lnTo>
                    <a:pt x="514" y="908"/>
                  </a:lnTo>
                  <a:lnTo>
                    <a:pt x="514" y="908"/>
                  </a:lnTo>
                  <a:lnTo>
                    <a:pt x="516" y="908"/>
                  </a:lnTo>
                  <a:lnTo>
                    <a:pt x="516" y="908"/>
                  </a:lnTo>
                  <a:lnTo>
                    <a:pt x="518" y="908"/>
                  </a:lnTo>
                  <a:lnTo>
                    <a:pt x="518" y="910"/>
                  </a:lnTo>
                  <a:lnTo>
                    <a:pt x="520" y="910"/>
                  </a:lnTo>
                  <a:lnTo>
                    <a:pt x="520" y="910"/>
                  </a:lnTo>
                  <a:lnTo>
                    <a:pt x="520" y="910"/>
                  </a:lnTo>
                  <a:lnTo>
                    <a:pt x="520" y="910"/>
                  </a:lnTo>
                  <a:lnTo>
                    <a:pt x="520" y="910"/>
                  </a:lnTo>
                  <a:lnTo>
                    <a:pt x="522" y="908"/>
                  </a:lnTo>
                  <a:lnTo>
                    <a:pt x="522" y="908"/>
                  </a:lnTo>
                  <a:lnTo>
                    <a:pt x="522" y="908"/>
                  </a:lnTo>
                  <a:lnTo>
                    <a:pt x="522" y="908"/>
                  </a:lnTo>
                  <a:lnTo>
                    <a:pt x="522" y="906"/>
                  </a:lnTo>
                  <a:lnTo>
                    <a:pt x="522" y="906"/>
                  </a:lnTo>
                  <a:lnTo>
                    <a:pt x="522" y="906"/>
                  </a:lnTo>
                  <a:close/>
                  <a:moveTo>
                    <a:pt x="524" y="898"/>
                  </a:moveTo>
                  <a:lnTo>
                    <a:pt x="524" y="898"/>
                  </a:lnTo>
                  <a:lnTo>
                    <a:pt x="522" y="898"/>
                  </a:lnTo>
                  <a:lnTo>
                    <a:pt x="522" y="898"/>
                  </a:lnTo>
                  <a:lnTo>
                    <a:pt x="522" y="900"/>
                  </a:lnTo>
                  <a:lnTo>
                    <a:pt x="522" y="900"/>
                  </a:lnTo>
                  <a:lnTo>
                    <a:pt x="522" y="900"/>
                  </a:lnTo>
                  <a:lnTo>
                    <a:pt x="522" y="902"/>
                  </a:lnTo>
                  <a:lnTo>
                    <a:pt x="522" y="902"/>
                  </a:lnTo>
                  <a:lnTo>
                    <a:pt x="522" y="902"/>
                  </a:lnTo>
                  <a:lnTo>
                    <a:pt x="522" y="902"/>
                  </a:lnTo>
                  <a:lnTo>
                    <a:pt x="524" y="900"/>
                  </a:lnTo>
                  <a:lnTo>
                    <a:pt x="524" y="900"/>
                  </a:lnTo>
                  <a:lnTo>
                    <a:pt x="524" y="900"/>
                  </a:lnTo>
                  <a:lnTo>
                    <a:pt x="524" y="898"/>
                  </a:lnTo>
                  <a:lnTo>
                    <a:pt x="524" y="898"/>
                  </a:lnTo>
                  <a:lnTo>
                    <a:pt x="524" y="898"/>
                  </a:lnTo>
                  <a:close/>
                  <a:moveTo>
                    <a:pt x="567" y="719"/>
                  </a:moveTo>
                  <a:lnTo>
                    <a:pt x="567" y="719"/>
                  </a:lnTo>
                  <a:lnTo>
                    <a:pt x="567" y="719"/>
                  </a:lnTo>
                  <a:lnTo>
                    <a:pt x="569" y="721"/>
                  </a:lnTo>
                  <a:lnTo>
                    <a:pt x="569" y="721"/>
                  </a:lnTo>
                  <a:lnTo>
                    <a:pt x="571" y="721"/>
                  </a:lnTo>
                  <a:lnTo>
                    <a:pt x="571" y="719"/>
                  </a:lnTo>
                  <a:lnTo>
                    <a:pt x="573" y="719"/>
                  </a:lnTo>
                  <a:lnTo>
                    <a:pt x="573" y="719"/>
                  </a:lnTo>
                  <a:lnTo>
                    <a:pt x="571" y="717"/>
                  </a:lnTo>
                  <a:lnTo>
                    <a:pt x="571" y="717"/>
                  </a:lnTo>
                  <a:lnTo>
                    <a:pt x="571" y="717"/>
                  </a:lnTo>
                  <a:lnTo>
                    <a:pt x="569" y="717"/>
                  </a:lnTo>
                  <a:lnTo>
                    <a:pt x="567" y="715"/>
                  </a:lnTo>
                  <a:lnTo>
                    <a:pt x="565" y="715"/>
                  </a:lnTo>
                  <a:lnTo>
                    <a:pt x="565" y="717"/>
                  </a:lnTo>
                  <a:lnTo>
                    <a:pt x="567" y="719"/>
                  </a:lnTo>
                  <a:close/>
                  <a:moveTo>
                    <a:pt x="514" y="902"/>
                  </a:moveTo>
                  <a:lnTo>
                    <a:pt x="512" y="902"/>
                  </a:lnTo>
                  <a:lnTo>
                    <a:pt x="512" y="902"/>
                  </a:lnTo>
                  <a:lnTo>
                    <a:pt x="510" y="900"/>
                  </a:lnTo>
                  <a:lnTo>
                    <a:pt x="510" y="900"/>
                  </a:lnTo>
                  <a:lnTo>
                    <a:pt x="510" y="902"/>
                  </a:lnTo>
                  <a:lnTo>
                    <a:pt x="510" y="902"/>
                  </a:lnTo>
                  <a:lnTo>
                    <a:pt x="510" y="902"/>
                  </a:lnTo>
                  <a:lnTo>
                    <a:pt x="510" y="902"/>
                  </a:lnTo>
                  <a:lnTo>
                    <a:pt x="510" y="904"/>
                  </a:lnTo>
                  <a:lnTo>
                    <a:pt x="510" y="904"/>
                  </a:lnTo>
                  <a:lnTo>
                    <a:pt x="510" y="904"/>
                  </a:lnTo>
                  <a:lnTo>
                    <a:pt x="512" y="904"/>
                  </a:lnTo>
                  <a:lnTo>
                    <a:pt x="512" y="904"/>
                  </a:lnTo>
                  <a:lnTo>
                    <a:pt x="514" y="902"/>
                  </a:lnTo>
                  <a:close/>
                  <a:moveTo>
                    <a:pt x="510" y="908"/>
                  </a:moveTo>
                  <a:lnTo>
                    <a:pt x="508" y="908"/>
                  </a:lnTo>
                  <a:lnTo>
                    <a:pt x="508" y="908"/>
                  </a:lnTo>
                  <a:lnTo>
                    <a:pt x="508" y="908"/>
                  </a:lnTo>
                  <a:lnTo>
                    <a:pt x="508" y="906"/>
                  </a:lnTo>
                  <a:lnTo>
                    <a:pt x="506" y="906"/>
                  </a:lnTo>
                  <a:lnTo>
                    <a:pt x="506" y="906"/>
                  </a:lnTo>
                  <a:lnTo>
                    <a:pt x="506" y="908"/>
                  </a:lnTo>
                  <a:lnTo>
                    <a:pt x="506" y="908"/>
                  </a:lnTo>
                  <a:lnTo>
                    <a:pt x="506" y="908"/>
                  </a:lnTo>
                  <a:lnTo>
                    <a:pt x="506" y="908"/>
                  </a:lnTo>
                  <a:lnTo>
                    <a:pt x="506" y="910"/>
                  </a:lnTo>
                  <a:lnTo>
                    <a:pt x="508" y="910"/>
                  </a:lnTo>
                  <a:lnTo>
                    <a:pt x="510" y="910"/>
                  </a:lnTo>
                  <a:lnTo>
                    <a:pt x="510" y="910"/>
                  </a:lnTo>
                  <a:lnTo>
                    <a:pt x="510" y="910"/>
                  </a:lnTo>
                  <a:lnTo>
                    <a:pt x="510" y="910"/>
                  </a:lnTo>
                  <a:lnTo>
                    <a:pt x="510" y="908"/>
                  </a:lnTo>
                  <a:lnTo>
                    <a:pt x="510" y="908"/>
                  </a:lnTo>
                  <a:close/>
                  <a:moveTo>
                    <a:pt x="555" y="684"/>
                  </a:moveTo>
                  <a:lnTo>
                    <a:pt x="555" y="684"/>
                  </a:lnTo>
                  <a:lnTo>
                    <a:pt x="557" y="684"/>
                  </a:lnTo>
                  <a:lnTo>
                    <a:pt x="557" y="684"/>
                  </a:lnTo>
                  <a:lnTo>
                    <a:pt x="557" y="687"/>
                  </a:lnTo>
                  <a:lnTo>
                    <a:pt x="559" y="687"/>
                  </a:lnTo>
                  <a:lnTo>
                    <a:pt x="559" y="687"/>
                  </a:lnTo>
                  <a:lnTo>
                    <a:pt x="557" y="687"/>
                  </a:lnTo>
                  <a:lnTo>
                    <a:pt x="557" y="689"/>
                  </a:lnTo>
                  <a:lnTo>
                    <a:pt x="557" y="689"/>
                  </a:lnTo>
                  <a:lnTo>
                    <a:pt x="559" y="687"/>
                  </a:lnTo>
                  <a:lnTo>
                    <a:pt x="559" y="687"/>
                  </a:lnTo>
                  <a:lnTo>
                    <a:pt x="559" y="687"/>
                  </a:lnTo>
                  <a:lnTo>
                    <a:pt x="561" y="687"/>
                  </a:lnTo>
                  <a:lnTo>
                    <a:pt x="561" y="687"/>
                  </a:lnTo>
                  <a:lnTo>
                    <a:pt x="561" y="684"/>
                  </a:lnTo>
                  <a:lnTo>
                    <a:pt x="561" y="684"/>
                  </a:lnTo>
                  <a:lnTo>
                    <a:pt x="561" y="684"/>
                  </a:lnTo>
                  <a:lnTo>
                    <a:pt x="563" y="684"/>
                  </a:lnTo>
                  <a:lnTo>
                    <a:pt x="563" y="684"/>
                  </a:lnTo>
                  <a:lnTo>
                    <a:pt x="563" y="682"/>
                  </a:lnTo>
                  <a:lnTo>
                    <a:pt x="563" y="682"/>
                  </a:lnTo>
                  <a:lnTo>
                    <a:pt x="563" y="682"/>
                  </a:lnTo>
                  <a:lnTo>
                    <a:pt x="563" y="682"/>
                  </a:lnTo>
                  <a:lnTo>
                    <a:pt x="563" y="682"/>
                  </a:lnTo>
                  <a:lnTo>
                    <a:pt x="563" y="682"/>
                  </a:lnTo>
                  <a:lnTo>
                    <a:pt x="559" y="682"/>
                  </a:lnTo>
                  <a:lnTo>
                    <a:pt x="559" y="682"/>
                  </a:lnTo>
                  <a:lnTo>
                    <a:pt x="557" y="682"/>
                  </a:lnTo>
                  <a:lnTo>
                    <a:pt x="557" y="682"/>
                  </a:lnTo>
                  <a:lnTo>
                    <a:pt x="557" y="682"/>
                  </a:lnTo>
                  <a:lnTo>
                    <a:pt x="557" y="682"/>
                  </a:lnTo>
                  <a:lnTo>
                    <a:pt x="555" y="682"/>
                  </a:lnTo>
                  <a:lnTo>
                    <a:pt x="555" y="682"/>
                  </a:lnTo>
                  <a:lnTo>
                    <a:pt x="555" y="682"/>
                  </a:lnTo>
                  <a:lnTo>
                    <a:pt x="555" y="684"/>
                  </a:lnTo>
                  <a:lnTo>
                    <a:pt x="555" y="684"/>
                  </a:lnTo>
                  <a:lnTo>
                    <a:pt x="555" y="684"/>
                  </a:lnTo>
                  <a:close/>
                  <a:moveTo>
                    <a:pt x="492" y="908"/>
                  </a:moveTo>
                  <a:lnTo>
                    <a:pt x="492" y="908"/>
                  </a:lnTo>
                  <a:lnTo>
                    <a:pt x="492" y="908"/>
                  </a:lnTo>
                  <a:lnTo>
                    <a:pt x="492" y="908"/>
                  </a:lnTo>
                  <a:lnTo>
                    <a:pt x="492" y="908"/>
                  </a:lnTo>
                  <a:lnTo>
                    <a:pt x="490" y="908"/>
                  </a:lnTo>
                  <a:lnTo>
                    <a:pt x="490" y="908"/>
                  </a:lnTo>
                  <a:lnTo>
                    <a:pt x="490" y="908"/>
                  </a:lnTo>
                  <a:lnTo>
                    <a:pt x="490" y="908"/>
                  </a:lnTo>
                  <a:lnTo>
                    <a:pt x="487" y="908"/>
                  </a:lnTo>
                  <a:lnTo>
                    <a:pt x="487" y="908"/>
                  </a:lnTo>
                  <a:lnTo>
                    <a:pt x="487" y="908"/>
                  </a:lnTo>
                  <a:lnTo>
                    <a:pt x="487" y="908"/>
                  </a:lnTo>
                  <a:lnTo>
                    <a:pt x="487" y="908"/>
                  </a:lnTo>
                  <a:lnTo>
                    <a:pt x="487" y="908"/>
                  </a:lnTo>
                  <a:lnTo>
                    <a:pt x="483" y="910"/>
                  </a:lnTo>
                  <a:lnTo>
                    <a:pt x="483" y="912"/>
                  </a:lnTo>
                  <a:lnTo>
                    <a:pt x="483" y="914"/>
                  </a:lnTo>
                  <a:lnTo>
                    <a:pt x="483" y="914"/>
                  </a:lnTo>
                  <a:lnTo>
                    <a:pt x="483" y="914"/>
                  </a:lnTo>
                  <a:lnTo>
                    <a:pt x="483" y="914"/>
                  </a:lnTo>
                  <a:lnTo>
                    <a:pt x="485" y="914"/>
                  </a:lnTo>
                  <a:lnTo>
                    <a:pt x="485" y="914"/>
                  </a:lnTo>
                  <a:lnTo>
                    <a:pt x="485" y="912"/>
                  </a:lnTo>
                  <a:lnTo>
                    <a:pt x="487" y="912"/>
                  </a:lnTo>
                  <a:lnTo>
                    <a:pt x="490" y="912"/>
                  </a:lnTo>
                  <a:lnTo>
                    <a:pt x="490" y="914"/>
                  </a:lnTo>
                  <a:lnTo>
                    <a:pt x="490" y="912"/>
                  </a:lnTo>
                  <a:lnTo>
                    <a:pt x="492" y="912"/>
                  </a:lnTo>
                  <a:lnTo>
                    <a:pt x="492" y="910"/>
                  </a:lnTo>
                  <a:lnTo>
                    <a:pt x="494" y="910"/>
                  </a:lnTo>
                  <a:lnTo>
                    <a:pt x="494" y="910"/>
                  </a:lnTo>
                  <a:lnTo>
                    <a:pt x="494" y="910"/>
                  </a:lnTo>
                  <a:lnTo>
                    <a:pt x="494" y="910"/>
                  </a:lnTo>
                  <a:lnTo>
                    <a:pt x="492" y="908"/>
                  </a:lnTo>
                  <a:close/>
                  <a:moveTo>
                    <a:pt x="584" y="891"/>
                  </a:moveTo>
                  <a:lnTo>
                    <a:pt x="584" y="891"/>
                  </a:lnTo>
                  <a:lnTo>
                    <a:pt x="584" y="891"/>
                  </a:lnTo>
                  <a:lnTo>
                    <a:pt x="584" y="891"/>
                  </a:lnTo>
                  <a:lnTo>
                    <a:pt x="584" y="891"/>
                  </a:lnTo>
                  <a:lnTo>
                    <a:pt x="586" y="889"/>
                  </a:lnTo>
                  <a:lnTo>
                    <a:pt x="586" y="887"/>
                  </a:lnTo>
                  <a:lnTo>
                    <a:pt x="588" y="887"/>
                  </a:lnTo>
                  <a:lnTo>
                    <a:pt x="588" y="885"/>
                  </a:lnTo>
                  <a:lnTo>
                    <a:pt x="586" y="885"/>
                  </a:lnTo>
                  <a:lnTo>
                    <a:pt x="584" y="885"/>
                  </a:lnTo>
                  <a:lnTo>
                    <a:pt x="584" y="885"/>
                  </a:lnTo>
                  <a:lnTo>
                    <a:pt x="582" y="885"/>
                  </a:lnTo>
                  <a:lnTo>
                    <a:pt x="582" y="883"/>
                  </a:lnTo>
                  <a:lnTo>
                    <a:pt x="582" y="883"/>
                  </a:lnTo>
                  <a:lnTo>
                    <a:pt x="580" y="883"/>
                  </a:lnTo>
                  <a:lnTo>
                    <a:pt x="580" y="883"/>
                  </a:lnTo>
                  <a:lnTo>
                    <a:pt x="578" y="883"/>
                  </a:lnTo>
                  <a:lnTo>
                    <a:pt x="578" y="883"/>
                  </a:lnTo>
                  <a:lnTo>
                    <a:pt x="576" y="883"/>
                  </a:lnTo>
                  <a:lnTo>
                    <a:pt x="573" y="883"/>
                  </a:lnTo>
                  <a:lnTo>
                    <a:pt x="573" y="883"/>
                  </a:lnTo>
                  <a:lnTo>
                    <a:pt x="571" y="885"/>
                  </a:lnTo>
                  <a:lnTo>
                    <a:pt x="569" y="885"/>
                  </a:lnTo>
                  <a:lnTo>
                    <a:pt x="569" y="885"/>
                  </a:lnTo>
                  <a:lnTo>
                    <a:pt x="569" y="885"/>
                  </a:lnTo>
                  <a:lnTo>
                    <a:pt x="567" y="887"/>
                  </a:lnTo>
                  <a:lnTo>
                    <a:pt x="567" y="887"/>
                  </a:lnTo>
                  <a:lnTo>
                    <a:pt x="567" y="887"/>
                  </a:lnTo>
                  <a:lnTo>
                    <a:pt x="567" y="889"/>
                  </a:lnTo>
                  <a:lnTo>
                    <a:pt x="567" y="889"/>
                  </a:lnTo>
                  <a:lnTo>
                    <a:pt x="567" y="889"/>
                  </a:lnTo>
                  <a:lnTo>
                    <a:pt x="567" y="891"/>
                  </a:lnTo>
                  <a:lnTo>
                    <a:pt x="567" y="891"/>
                  </a:lnTo>
                  <a:lnTo>
                    <a:pt x="565" y="891"/>
                  </a:lnTo>
                  <a:lnTo>
                    <a:pt x="565" y="891"/>
                  </a:lnTo>
                  <a:lnTo>
                    <a:pt x="567" y="891"/>
                  </a:lnTo>
                  <a:lnTo>
                    <a:pt x="567" y="891"/>
                  </a:lnTo>
                  <a:lnTo>
                    <a:pt x="567" y="894"/>
                  </a:lnTo>
                  <a:lnTo>
                    <a:pt x="567" y="894"/>
                  </a:lnTo>
                  <a:lnTo>
                    <a:pt x="567" y="894"/>
                  </a:lnTo>
                  <a:lnTo>
                    <a:pt x="567" y="894"/>
                  </a:lnTo>
                  <a:lnTo>
                    <a:pt x="567" y="894"/>
                  </a:lnTo>
                  <a:lnTo>
                    <a:pt x="567" y="896"/>
                  </a:lnTo>
                  <a:lnTo>
                    <a:pt x="567" y="896"/>
                  </a:lnTo>
                  <a:lnTo>
                    <a:pt x="565" y="896"/>
                  </a:lnTo>
                  <a:lnTo>
                    <a:pt x="565" y="896"/>
                  </a:lnTo>
                  <a:lnTo>
                    <a:pt x="565" y="896"/>
                  </a:lnTo>
                  <a:lnTo>
                    <a:pt x="565" y="896"/>
                  </a:lnTo>
                  <a:lnTo>
                    <a:pt x="565" y="894"/>
                  </a:lnTo>
                  <a:lnTo>
                    <a:pt x="565" y="894"/>
                  </a:lnTo>
                  <a:lnTo>
                    <a:pt x="563" y="894"/>
                  </a:lnTo>
                  <a:lnTo>
                    <a:pt x="563" y="894"/>
                  </a:lnTo>
                  <a:lnTo>
                    <a:pt x="563" y="894"/>
                  </a:lnTo>
                  <a:lnTo>
                    <a:pt x="563" y="896"/>
                  </a:lnTo>
                  <a:lnTo>
                    <a:pt x="561" y="896"/>
                  </a:lnTo>
                  <a:lnTo>
                    <a:pt x="561" y="896"/>
                  </a:lnTo>
                  <a:lnTo>
                    <a:pt x="561" y="896"/>
                  </a:lnTo>
                  <a:lnTo>
                    <a:pt x="561" y="894"/>
                  </a:lnTo>
                  <a:lnTo>
                    <a:pt x="559" y="894"/>
                  </a:lnTo>
                  <a:lnTo>
                    <a:pt x="559" y="894"/>
                  </a:lnTo>
                  <a:lnTo>
                    <a:pt x="559" y="894"/>
                  </a:lnTo>
                  <a:lnTo>
                    <a:pt x="559" y="894"/>
                  </a:lnTo>
                  <a:lnTo>
                    <a:pt x="557" y="896"/>
                  </a:lnTo>
                  <a:lnTo>
                    <a:pt x="557" y="896"/>
                  </a:lnTo>
                  <a:lnTo>
                    <a:pt x="555" y="896"/>
                  </a:lnTo>
                  <a:lnTo>
                    <a:pt x="555" y="898"/>
                  </a:lnTo>
                  <a:lnTo>
                    <a:pt x="553" y="898"/>
                  </a:lnTo>
                  <a:lnTo>
                    <a:pt x="553" y="898"/>
                  </a:lnTo>
                  <a:lnTo>
                    <a:pt x="553" y="900"/>
                  </a:lnTo>
                  <a:lnTo>
                    <a:pt x="553" y="900"/>
                  </a:lnTo>
                  <a:lnTo>
                    <a:pt x="553" y="902"/>
                  </a:lnTo>
                  <a:lnTo>
                    <a:pt x="553" y="902"/>
                  </a:lnTo>
                  <a:lnTo>
                    <a:pt x="551" y="904"/>
                  </a:lnTo>
                  <a:lnTo>
                    <a:pt x="551" y="906"/>
                  </a:lnTo>
                  <a:lnTo>
                    <a:pt x="549" y="904"/>
                  </a:lnTo>
                  <a:lnTo>
                    <a:pt x="549" y="906"/>
                  </a:lnTo>
                  <a:lnTo>
                    <a:pt x="549" y="908"/>
                  </a:lnTo>
                  <a:lnTo>
                    <a:pt x="549" y="908"/>
                  </a:lnTo>
                  <a:lnTo>
                    <a:pt x="547" y="908"/>
                  </a:lnTo>
                  <a:lnTo>
                    <a:pt x="547" y="908"/>
                  </a:lnTo>
                  <a:lnTo>
                    <a:pt x="547" y="908"/>
                  </a:lnTo>
                  <a:lnTo>
                    <a:pt x="545" y="908"/>
                  </a:lnTo>
                  <a:lnTo>
                    <a:pt x="545" y="908"/>
                  </a:lnTo>
                  <a:lnTo>
                    <a:pt x="545" y="910"/>
                  </a:lnTo>
                  <a:lnTo>
                    <a:pt x="545" y="910"/>
                  </a:lnTo>
                  <a:lnTo>
                    <a:pt x="543" y="912"/>
                  </a:lnTo>
                  <a:lnTo>
                    <a:pt x="541" y="910"/>
                  </a:lnTo>
                  <a:lnTo>
                    <a:pt x="541" y="912"/>
                  </a:lnTo>
                  <a:lnTo>
                    <a:pt x="541" y="912"/>
                  </a:lnTo>
                  <a:lnTo>
                    <a:pt x="541" y="912"/>
                  </a:lnTo>
                  <a:lnTo>
                    <a:pt x="541" y="912"/>
                  </a:lnTo>
                  <a:lnTo>
                    <a:pt x="541" y="912"/>
                  </a:lnTo>
                  <a:lnTo>
                    <a:pt x="541" y="912"/>
                  </a:lnTo>
                  <a:lnTo>
                    <a:pt x="541" y="912"/>
                  </a:lnTo>
                  <a:lnTo>
                    <a:pt x="539" y="912"/>
                  </a:lnTo>
                  <a:lnTo>
                    <a:pt x="543" y="912"/>
                  </a:lnTo>
                  <a:lnTo>
                    <a:pt x="543" y="912"/>
                  </a:lnTo>
                  <a:lnTo>
                    <a:pt x="543" y="912"/>
                  </a:lnTo>
                  <a:lnTo>
                    <a:pt x="543" y="912"/>
                  </a:lnTo>
                  <a:lnTo>
                    <a:pt x="543" y="912"/>
                  </a:lnTo>
                  <a:lnTo>
                    <a:pt x="545" y="910"/>
                  </a:lnTo>
                  <a:lnTo>
                    <a:pt x="547" y="910"/>
                  </a:lnTo>
                  <a:lnTo>
                    <a:pt x="547" y="910"/>
                  </a:lnTo>
                  <a:lnTo>
                    <a:pt x="549" y="910"/>
                  </a:lnTo>
                  <a:lnTo>
                    <a:pt x="549" y="910"/>
                  </a:lnTo>
                  <a:lnTo>
                    <a:pt x="549" y="910"/>
                  </a:lnTo>
                  <a:lnTo>
                    <a:pt x="549" y="910"/>
                  </a:lnTo>
                  <a:lnTo>
                    <a:pt x="551" y="910"/>
                  </a:lnTo>
                  <a:lnTo>
                    <a:pt x="551" y="910"/>
                  </a:lnTo>
                  <a:lnTo>
                    <a:pt x="551" y="910"/>
                  </a:lnTo>
                  <a:lnTo>
                    <a:pt x="551" y="910"/>
                  </a:lnTo>
                  <a:lnTo>
                    <a:pt x="551" y="910"/>
                  </a:lnTo>
                  <a:lnTo>
                    <a:pt x="551" y="910"/>
                  </a:lnTo>
                  <a:lnTo>
                    <a:pt x="551" y="908"/>
                  </a:lnTo>
                  <a:lnTo>
                    <a:pt x="551" y="908"/>
                  </a:lnTo>
                  <a:lnTo>
                    <a:pt x="553" y="908"/>
                  </a:lnTo>
                  <a:lnTo>
                    <a:pt x="555" y="908"/>
                  </a:lnTo>
                  <a:lnTo>
                    <a:pt x="555" y="908"/>
                  </a:lnTo>
                  <a:lnTo>
                    <a:pt x="555" y="908"/>
                  </a:lnTo>
                  <a:lnTo>
                    <a:pt x="555" y="908"/>
                  </a:lnTo>
                  <a:lnTo>
                    <a:pt x="557" y="908"/>
                  </a:lnTo>
                  <a:lnTo>
                    <a:pt x="557" y="906"/>
                  </a:lnTo>
                  <a:lnTo>
                    <a:pt x="557" y="906"/>
                  </a:lnTo>
                  <a:lnTo>
                    <a:pt x="559" y="906"/>
                  </a:lnTo>
                  <a:lnTo>
                    <a:pt x="561" y="906"/>
                  </a:lnTo>
                  <a:lnTo>
                    <a:pt x="561" y="906"/>
                  </a:lnTo>
                  <a:lnTo>
                    <a:pt x="561" y="906"/>
                  </a:lnTo>
                  <a:lnTo>
                    <a:pt x="563" y="904"/>
                  </a:lnTo>
                  <a:lnTo>
                    <a:pt x="563" y="904"/>
                  </a:lnTo>
                  <a:lnTo>
                    <a:pt x="565" y="902"/>
                  </a:lnTo>
                  <a:lnTo>
                    <a:pt x="565" y="902"/>
                  </a:lnTo>
                  <a:lnTo>
                    <a:pt x="565" y="900"/>
                  </a:lnTo>
                  <a:lnTo>
                    <a:pt x="567" y="902"/>
                  </a:lnTo>
                  <a:lnTo>
                    <a:pt x="567" y="900"/>
                  </a:lnTo>
                  <a:lnTo>
                    <a:pt x="567" y="900"/>
                  </a:lnTo>
                  <a:lnTo>
                    <a:pt x="567" y="900"/>
                  </a:lnTo>
                  <a:lnTo>
                    <a:pt x="567" y="900"/>
                  </a:lnTo>
                  <a:lnTo>
                    <a:pt x="567" y="898"/>
                  </a:lnTo>
                  <a:lnTo>
                    <a:pt x="569" y="898"/>
                  </a:lnTo>
                  <a:lnTo>
                    <a:pt x="569" y="898"/>
                  </a:lnTo>
                  <a:lnTo>
                    <a:pt x="569" y="898"/>
                  </a:lnTo>
                  <a:lnTo>
                    <a:pt x="571" y="898"/>
                  </a:lnTo>
                  <a:lnTo>
                    <a:pt x="571" y="898"/>
                  </a:lnTo>
                  <a:lnTo>
                    <a:pt x="573" y="898"/>
                  </a:lnTo>
                  <a:lnTo>
                    <a:pt x="573" y="896"/>
                  </a:lnTo>
                  <a:lnTo>
                    <a:pt x="580" y="894"/>
                  </a:lnTo>
                  <a:lnTo>
                    <a:pt x="580" y="894"/>
                  </a:lnTo>
                  <a:lnTo>
                    <a:pt x="582" y="894"/>
                  </a:lnTo>
                  <a:lnTo>
                    <a:pt x="584" y="894"/>
                  </a:lnTo>
                  <a:lnTo>
                    <a:pt x="584" y="894"/>
                  </a:lnTo>
                  <a:lnTo>
                    <a:pt x="584" y="891"/>
                  </a:lnTo>
                  <a:close/>
                  <a:moveTo>
                    <a:pt x="561" y="908"/>
                  </a:moveTo>
                  <a:lnTo>
                    <a:pt x="561" y="908"/>
                  </a:lnTo>
                  <a:lnTo>
                    <a:pt x="561" y="908"/>
                  </a:lnTo>
                  <a:lnTo>
                    <a:pt x="561" y="910"/>
                  </a:lnTo>
                  <a:lnTo>
                    <a:pt x="561" y="910"/>
                  </a:lnTo>
                  <a:lnTo>
                    <a:pt x="561" y="910"/>
                  </a:lnTo>
                  <a:lnTo>
                    <a:pt x="561" y="910"/>
                  </a:lnTo>
                  <a:lnTo>
                    <a:pt x="561" y="910"/>
                  </a:lnTo>
                  <a:lnTo>
                    <a:pt x="561" y="910"/>
                  </a:lnTo>
                  <a:lnTo>
                    <a:pt x="561" y="910"/>
                  </a:lnTo>
                  <a:lnTo>
                    <a:pt x="561" y="908"/>
                  </a:lnTo>
                  <a:lnTo>
                    <a:pt x="561" y="908"/>
                  </a:lnTo>
                  <a:close/>
                  <a:moveTo>
                    <a:pt x="541" y="510"/>
                  </a:moveTo>
                  <a:lnTo>
                    <a:pt x="541" y="510"/>
                  </a:lnTo>
                  <a:lnTo>
                    <a:pt x="543" y="510"/>
                  </a:lnTo>
                  <a:lnTo>
                    <a:pt x="543" y="510"/>
                  </a:lnTo>
                  <a:lnTo>
                    <a:pt x="545" y="508"/>
                  </a:lnTo>
                  <a:lnTo>
                    <a:pt x="545" y="510"/>
                  </a:lnTo>
                  <a:lnTo>
                    <a:pt x="547" y="510"/>
                  </a:lnTo>
                  <a:lnTo>
                    <a:pt x="547" y="510"/>
                  </a:lnTo>
                  <a:lnTo>
                    <a:pt x="549" y="512"/>
                  </a:lnTo>
                  <a:lnTo>
                    <a:pt x="549" y="512"/>
                  </a:lnTo>
                  <a:lnTo>
                    <a:pt x="549" y="512"/>
                  </a:lnTo>
                  <a:lnTo>
                    <a:pt x="549" y="512"/>
                  </a:lnTo>
                  <a:lnTo>
                    <a:pt x="551" y="512"/>
                  </a:lnTo>
                  <a:lnTo>
                    <a:pt x="551" y="512"/>
                  </a:lnTo>
                  <a:lnTo>
                    <a:pt x="549" y="510"/>
                  </a:lnTo>
                  <a:lnTo>
                    <a:pt x="549" y="510"/>
                  </a:lnTo>
                  <a:lnTo>
                    <a:pt x="547" y="508"/>
                  </a:lnTo>
                  <a:lnTo>
                    <a:pt x="547" y="506"/>
                  </a:lnTo>
                  <a:lnTo>
                    <a:pt x="545" y="506"/>
                  </a:lnTo>
                  <a:lnTo>
                    <a:pt x="543" y="506"/>
                  </a:lnTo>
                  <a:lnTo>
                    <a:pt x="539" y="500"/>
                  </a:lnTo>
                  <a:lnTo>
                    <a:pt x="537" y="498"/>
                  </a:lnTo>
                  <a:lnTo>
                    <a:pt x="537" y="498"/>
                  </a:lnTo>
                  <a:lnTo>
                    <a:pt x="537" y="498"/>
                  </a:lnTo>
                  <a:lnTo>
                    <a:pt x="537" y="496"/>
                  </a:lnTo>
                  <a:lnTo>
                    <a:pt x="537" y="494"/>
                  </a:lnTo>
                  <a:lnTo>
                    <a:pt x="537" y="494"/>
                  </a:lnTo>
                  <a:lnTo>
                    <a:pt x="537" y="494"/>
                  </a:lnTo>
                  <a:lnTo>
                    <a:pt x="537" y="494"/>
                  </a:lnTo>
                  <a:lnTo>
                    <a:pt x="535" y="494"/>
                  </a:lnTo>
                  <a:lnTo>
                    <a:pt x="535" y="494"/>
                  </a:lnTo>
                  <a:lnTo>
                    <a:pt x="535" y="494"/>
                  </a:lnTo>
                  <a:lnTo>
                    <a:pt x="535" y="494"/>
                  </a:lnTo>
                  <a:lnTo>
                    <a:pt x="533" y="494"/>
                  </a:lnTo>
                  <a:lnTo>
                    <a:pt x="533" y="494"/>
                  </a:lnTo>
                  <a:lnTo>
                    <a:pt x="533" y="496"/>
                  </a:lnTo>
                  <a:lnTo>
                    <a:pt x="533" y="496"/>
                  </a:lnTo>
                  <a:lnTo>
                    <a:pt x="533" y="496"/>
                  </a:lnTo>
                  <a:lnTo>
                    <a:pt x="533" y="496"/>
                  </a:lnTo>
                  <a:lnTo>
                    <a:pt x="533" y="496"/>
                  </a:lnTo>
                  <a:lnTo>
                    <a:pt x="533" y="498"/>
                  </a:lnTo>
                  <a:lnTo>
                    <a:pt x="533" y="498"/>
                  </a:lnTo>
                  <a:lnTo>
                    <a:pt x="533" y="498"/>
                  </a:lnTo>
                  <a:lnTo>
                    <a:pt x="533" y="498"/>
                  </a:lnTo>
                  <a:lnTo>
                    <a:pt x="537" y="504"/>
                  </a:lnTo>
                  <a:lnTo>
                    <a:pt x="539" y="504"/>
                  </a:lnTo>
                  <a:lnTo>
                    <a:pt x="539" y="504"/>
                  </a:lnTo>
                  <a:lnTo>
                    <a:pt x="539" y="506"/>
                  </a:lnTo>
                  <a:lnTo>
                    <a:pt x="539" y="506"/>
                  </a:lnTo>
                  <a:lnTo>
                    <a:pt x="539" y="506"/>
                  </a:lnTo>
                  <a:lnTo>
                    <a:pt x="539" y="506"/>
                  </a:lnTo>
                  <a:lnTo>
                    <a:pt x="539" y="508"/>
                  </a:lnTo>
                  <a:lnTo>
                    <a:pt x="541" y="508"/>
                  </a:lnTo>
                  <a:lnTo>
                    <a:pt x="541" y="510"/>
                  </a:lnTo>
                  <a:close/>
                  <a:moveTo>
                    <a:pt x="537" y="914"/>
                  </a:moveTo>
                  <a:lnTo>
                    <a:pt x="535" y="914"/>
                  </a:lnTo>
                  <a:lnTo>
                    <a:pt x="535" y="914"/>
                  </a:lnTo>
                  <a:lnTo>
                    <a:pt x="535" y="914"/>
                  </a:lnTo>
                  <a:lnTo>
                    <a:pt x="535" y="914"/>
                  </a:lnTo>
                  <a:lnTo>
                    <a:pt x="535" y="914"/>
                  </a:lnTo>
                  <a:lnTo>
                    <a:pt x="537" y="914"/>
                  </a:lnTo>
                  <a:lnTo>
                    <a:pt x="537" y="914"/>
                  </a:lnTo>
                  <a:lnTo>
                    <a:pt x="537" y="914"/>
                  </a:lnTo>
                  <a:lnTo>
                    <a:pt x="537" y="914"/>
                  </a:lnTo>
                  <a:lnTo>
                    <a:pt x="537" y="914"/>
                  </a:lnTo>
                  <a:lnTo>
                    <a:pt x="537" y="914"/>
                  </a:lnTo>
                  <a:lnTo>
                    <a:pt x="537" y="914"/>
                  </a:lnTo>
                  <a:close/>
                  <a:moveTo>
                    <a:pt x="322" y="900"/>
                  </a:moveTo>
                  <a:lnTo>
                    <a:pt x="322" y="898"/>
                  </a:lnTo>
                  <a:lnTo>
                    <a:pt x="322" y="898"/>
                  </a:lnTo>
                  <a:lnTo>
                    <a:pt x="322" y="898"/>
                  </a:lnTo>
                  <a:lnTo>
                    <a:pt x="322" y="898"/>
                  </a:lnTo>
                  <a:lnTo>
                    <a:pt x="322" y="898"/>
                  </a:lnTo>
                  <a:lnTo>
                    <a:pt x="320" y="898"/>
                  </a:lnTo>
                  <a:lnTo>
                    <a:pt x="320" y="898"/>
                  </a:lnTo>
                  <a:lnTo>
                    <a:pt x="320" y="898"/>
                  </a:lnTo>
                  <a:lnTo>
                    <a:pt x="320" y="898"/>
                  </a:lnTo>
                  <a:lnTo>
                    <a:pt x="320" y="898"/>
                  </a:lnTo>
                  <a:lnTo>
                    <a:pt x="322" y="898"/>
                  </a:lnTo>
                  <a:lnTo>
                    <a:pt x="322" y="898"/>
                  </a:lnTo>
                  <a:lnTo>
                    <a:pt x="322" y="898"/>
                  </a:lnTo>
                  <a:lnTo>
                    <a:pt x="322" y="900"/>
                  </a:lnTo>
                  <a:lnTo>
                    <a:pt x="322" y="900"/>
                  </a:lnTo>
                  <a:lnTo>
                    <a:pt x="322" y="900"/>
                  </a:lnTo>
                  <a:lnTo>
                    <a:pt x="322" y="900"/>
                  </a:lnTo>
                  <a:lnTo>
                    <a:pt x="322" y="900"/>
                  </a:lnTo>
                  <a:lnTo>
                    <a:pt x="322" y="900"/>
                  </a:lnTo>
                  <a:close/>
                  <a:moveTo>
                    <a:pt x="313" y="894"/>
                  </a:moveTo>
                  <a:lnTo>
                    <a:pt x="313" y="894"/>
                  </a:lnTo>
                  <a:lnTo>
                    <a:pt x="313" y="894"/>
                  </a:lnTo>
                  <a:lnTo>
                    <a:pt x="311" y="894"/>
                  </a:lnTo>
                  <a:lnTo>
                    <a:pt x="311" y="894"/>
                  </a:lnTo>
                  <a:lnTo>
                    <a:pt x="311" y="894"/>
                  </a:lnTo>
                  <a:lnTo>
                    <a:pt x="311" y="894"/>
                  </a:lnTo>
                  <a:lnTo>
                    <a:pt x="311" y="894"/>
                  </a:lnTo>
                  <a:lnTo>
                    <a:pt x="313" y="894"/>
                  </a:lnTo>
                  <a:close/>
                  <a:moveTo>
                    <a:pt x="326" y="898"/>
                  </a:moveTo>
                  <a:lnTo>
                    <a:pt x="324" y="898"/>
                  </a:lnTo>
                  <a:lnTo>
                    <a:pt x="324" y="898"/>
                  </a:lnTo>
                  <a:lnTo>
                    <a:pt x="324" y="898"/>
                  </a:lnTo>
                  <a:lnTo>
                    <a:pt x="324" y="900"/>
                  </a:lnTo>
                  <a:lnTo>
                    <a:pt x="324" y="900"/>
                  </a:lnTo>
                  <a:lnTo>
                    <a:pt x="324" y="900"/>
                  </a:lnTo>
                  <a:lnTo>
                    <a:pt x="324" y="898"/>
                  </a:lnTo>
                  <a:lnTo>
                    <a:pt x="326" y="898"/>
                  </a:lnTo>
                  <a:lnTo>
                    <a:pt x="326" y="898"/>
                  </a:lnTo>
                  <a:lnTo>
                    <a:pt x="326" y="898"/>
                  </a:lnTo>
                  <a:lnTo>
                    <a:pt x="326" y="898"/>
                  </a:lnTo>
                  <a:lnTo>
                    <a:pt x="326" y="898"/>
                  </a:lnTo>
                  <a:close/>
                  <a:moveTo>
                    <a:pt x="334" y="900"/>
                  </a:moveTo>
                  <a:lnTo>
                    <a:pt x="334" y="900"/>
                  </a:lnTo>
                  <a:lnTo>
                    <a:pt x="332" y="900"/>
                  </a:lnTo>
                  <a:lnTo>
                    <a:pt x="334" y="900"/>
                  </a:lnTo>
                  <a:lnTo>
                    <a:pt x="334" y="900"/>
                  </a:lnTo>
                  <a:lnTo>
                    <a:pt x="334" y="900"/>
                  </a:lnTo>
                  <a:lnTo>
                    <a:pt x="334" y="900"/>
                  </a:lnTo>
                  <a:close/>
                  <a:moveTo>
                    <a:pt x="317" y="891"/>
                  </a:moveTo>
                  <a:lnTo>
                    <a:pt x="317" y="891"/>
                  </a:lnTo>
                  <a:lnTo>
                    <a:pt x="317" y="891"/>
                  </a:lnTo>
                  <a:lnTo>
                    <a:pt x="317" y="891"/>
                  </a:lnTo>
                  <a:lnTo>
                    <a:pt x="317" y="889"/>
                  </a:lnTo>
                  <a:lnTo>
                    <a:pt x="317" y="889"/>
                  </a:lnTo>
                  <a:lnTo>
                    <a:pt x="317" y="887"/>
                  </a:lnTo>
                  <a:lnTo>
                    <a:pt x="315" y="887"/>
                  </a:lnTo>
                  <a:lnTo>
                    <a:pt x="315" y="887"/>
                  </a:lnTo>
                  <a:lnTo>
                    <a:pt x="313" y="885"/>
                  </a:lnTo>
                  <a:lnTo>
                    <a:pt x="313" y="887"/>
                  </a:lnTo>
                  <a:lnTo>
                    <a:pt x="313" y="887"/>
                  </a:lnTo>
                  <a:lnTo>
                    <a:pt x="311" y="887"/>
                  </a:lnTo>
                  <a:lnTo>
                    <a:pt x="311" y="887"/>
                  </a:lnTo>
                  <a:lnTo>
                    <a:pt x="311" y="889"/>
                  </a:lnTo>
                  <a:lnTo>
                    <a:pt x="311" y="889"/>
                  </a:lnTo>
                  <a:lnTo>
                    <a:pt x="311" y="891"/>
                  </a:lnTo>
                  <a:lnTo>
                    <a:pt x="311" y="891"/>
                  </a:lnTo>
                  <a:lnTo>
                    <a:pt x="311" y="891"/>
                  </a:lnTo>
                  <a:lnTo>
                    <a:pt x="311" y="891"/>
                  </a:lnTo>
                  <a:lnTo>
                    <a:pt x="313" y="891"/>
                  </a:lnTo>
                  <a:lnTo>
                    <a:pt x="313" y="894"/>
                  </a:lnTo>
                  <a:lnTo>
                    <a:pt x="313" y="894"/>
                  </a:lnTo>
                  <a:lnTo>
                    <a:pt x="315" y="894"/>
                  </a:lnTo>
                  <a:lnTo>
                    <a:pt x="315" y="894"/>
                  </a:lnTo>
                  <a:lnTo>
                    <a:pt x="315" y="894"/>
                  </a:lnTo>
                  <a:lnTo>
                    <a:pt x="315" y="894"/>
                  </a:lnTo>
                  <a:lnTo>
                    <a:pt x="315" y="894"/>
                  </a:lnTo>
                  <a:lnTo>
                    <a:pt x="315" y="894"/>
                  </a:lnTo>
                  <a:lnTo>
                    <a:pt x="315" y="891"/>
                  </a:lnTo>
                  <a:lnTo>
                    <a:pt x="317" y="891"/>
                  </a:lnTo>
                  <a:lnTo>
                    <a:pt x="317" y="891"/>
                  </a:lnTo>
                  <a:close/>
                  <a:moveTo>
                    <a:pt x="322" y="896"/>
                  </a:moveTo>
                  <a:lnTo>
                    <a:pt x="322" y="896"/>
                  </a:lnTo>
                  <a:lnTo>
                    <a:pt x="322" y="896"/>
                  </a:lnTo>
                  <a:lnTo>
                    <a:pt x="322" y="896"/>
                  </a:lnTo>
                  <a:lnTo>
                    <a:pt x="320" y="896"/>
                  </a:lnTo>
                  <a:lnTo>
                    <a:pt x="320" y="894"/>
                  </a:lnTo>
                  <a:lnTo>
                    <a:pt x="320" y="896"/>
                  </a:lnTo>
                  <a:lnTo>
                    <a:pt x="320" y="896"/>
                  </a:lnTo>
                  <a:lnTo>
                    <a:pt x="320" y="896"/>
                  </a:lnTo>
                  <a:lnTo>
                    <a:pt x="320" y="896"/>
                  </a:lnTo>
                  <a:lnTo>
                    <a:pt x="320" y="896"/>
                  </a:lnTo>
                  <a:lnTo>
                    <a:pt x="320" y="894"/>
                  </a:lnTo>
                  <a:lnTo>
                    <a:pt x="317" y="894"/>
                  </a:lnTo>
                  <a:lnTo>
                    <a:pt x="317" y="896"/>
                  </a:lnTo>
                  <a:lnTo>
                    <a:pt x="320" y="896"/>
                  </a:lnTo>
                  <a:lnTo>
                    <a:pt x="320" y="896"/>
                  </a:lnTo>
                  <a:lnTo>
                    <a:pt x="322" y="896"/>
                  </a:lnTo>
                  <a:close/>
                  <a:moveTo>
                    <a:pt x="432" y="910"/>
                  </a:moveTo>
                  <a:lnTo>
                    <a:pt x="432" y="908"/>
                  </a:lnTo>
                  <a:lnTo>
                    <a:pt x="432" y="908"/>
                  </a:lnTo>
                  <a:lnTo>
                    <a:pt x="432" y="908"/>
                  </a:lnTo>
                  <a:lnTo>
                    <a:pt x="432" y="908"/>
                  </a:lnTo>
                  <a:lnTo>
                    <a:pt x="430" y="908"/>
                  </a:lnTo>
                  <a:lnTo>
                    <a:pt x="428" y="908"/>
                  </a:lnTo>
                  <a:lnTo>
                    <a:pt x="426" y="910"/>
                  </a:lnTo>
                  <a:lnTo>
                    <a:pt x="426" y="910"/>
                  </a:lnTo>
                  <a:lnTo>
                    <a:pt x="424" y="912"/>
                  </a:lnTo>
                  <a:lnTo>
                    <a:pt x="426" y="914"/>
                  </a:lnTo>
                  <a:lnTo>
                    <a:pt x="426" y="914"/>
                  </a:lnTo>
                  <a:lnTo>
                    <a:pt x="428" y="914"/>
                  </a:lnTo>
                  <a:lnTo>
                    <a:pt x="430" y="912"/>
                  </a:lnTo>
                  <a:lnTo>
                    <a:pt x="430" y="914"/>
                  </a:lnTo>
                  <a:lnTo>
                    <a:pt x="430" y="914"/>
                  </a:lnTo>
                  <a:lnTo>
                    <a:pt x="432" y="914"/>
                  </a:lnTo>
                  <a:lnTo>
                    <a:pt x="434" y="912"/>
                  </a:lnTo>
                  <a:lnTo>
                    <a:pt x="434" y="912"/>
                  </a:lnTo>
                  <a:lnTo>
                    <a:pt x="434" y="912"/>
                  </a:lnTo>
                  <a:lnTo>
                    <a:pt x="434" y="910"/>
                  </a:lnTo>
                  <a:lnTo>
                    <a:pt x="432" y="910"/>
                  </a:lnTo>
                  <a:close/>
                  <a:moveTo>
                    <a:pt x="469" y="912"/>
                  </a:moveTo>
                  <a:lnTo>
                    <a:pt x="469" y="912"/>
                  </a:lnTo>
                  <a:lnTo>
                    <a:pt x="467" y="912"/>
                  </a:lnTo>
                  <a:lnTo>
                    <a:pt x="467" y="914"/>
                  </a:lnTo>
                  <a:lnTo>
                    <a:pt x="469" y="914"/>
                  </a:lnTo>
                  <a:lnTo>
                    <a:pt x="469" y="914"/>
                  </a:lnTo>
                  <a:lnTo>
                    <a:pt x="471" y="914"/>
                  </a:lnTo>
                  <a:lnTo>
                    <a:pt x="471" y="914"/>
                  </a:lnTo>
                  <a:lnTo>
                    <a:pt x="471" y="914"/>
                  </a:lnTo>
                  <a:lnTo>
                    <a:pt x="471" y="912"/>
                  </a:lnTo>
                  <a:lnTo>
                    <a:pt x="471" y="912"/>
                  </a:lnTo>
                  <a:lnTo>
                    <a:pt x="469" y="912"/>
                  </a:lnTo>
                  <a:close/>
                  <a:moveTo>
                    <a:pt x="473" y="910"/>
                  </a:moveTo>
                  <a:lnTo>
                    <a:pt x="473" y="910"/>
                  </a:lnTo>
                  <a:lnTo>
                    <a:pt x="473" y="910"/>
                  </a:lnTo>
                  <a:lnTo>
                    <a:pt x="473" y="910"/>
                  </a:lnTo>
                  <a:lnTo>
                    <a:pt x="473" y="910"/>
                  </a:lnTo>
                  <a:lnTo>
                    <a:pt x="473" y="910"/>
                  </a:lnTo>
                  <a:lnTo>
                    <a:pt x="475" y="910"/>
                  </a:lnTo>
                  <a:lnTo>
                    <a:pt x="475" y="910"/>
                  </a:lnTo>
                  <a:lnTo>
                    <a:pt x="475" y="910"/>
                  </a:lnTo>
                  <a:lnTo>
                    <a:pt x="475" y="910"/>
                  </a:lnTo>
                  <a:lnTo>
                    <a:pt x="473" y="910"/>
                  </a:lnTo>
                  <a:lnTo>
                    <a:pt x="473" y="910"/>
                  </a:lnTo>
                  <a:close/>
                  <a:moveTo>
                    <a:pt x="334" y="889"/>
                  </a:moveTo>
                  <a:lnTo>
                    <a:pt x="334" y="889"/>
                  </a:lnTo>
                  <a:lnTo>
                    <a:pt x="334" y="889"/>
                  </a:lnTo>
                  <a:lnTo>
                    <a:pt x="334" y="889"/>
                  </a:lnTo>
                  <a:lnTo>
                    <a:pt x="334" y="889"/>
                  </a:lnTo>
                  <a:lnTo>
                    <a:pt x="334" y="889"/>
                  </a:lnTo>
                  <a:lnTo>
                    <a:pt x="334" y="889"/>
                  </a:lnTo>
                  <a:lnTo>
                    <a:pt x="334" y="889"/>
                  </a:lnTo>
                  <a:lnTo>
                    <a:pt x="334" y="889"/>
                  </a:lnTo>
                  <a:lnTo>
                    <a:pt x="336" y="889"/>
                  </a:lnTo>
                  <a:lnTo>
                    <a:pt x="334" y="889"/>
                  </a:lnTo>
                  <a:lnTo>
                    <a:pt x="334" y="889"/>
                  </a:lnTo>
                  <a:close/>
                  <a:moveTo>
                    <a:pt x="408" y="916"/>
                  </a:moveTo>
                  <a:lnTo>
                    <a:pt x="406" y="916"/>
                  </a:lnTo>
                  <a:lnTo>
                    <a:pt x="406" y="916"/>
                  </a:lnTo>
                  <a:lnTo>
                    <a:pt x="406" y="916"/>
                  </a:lnTo>
                  <a:lnTo>
                    <a:pt x="406" y="916"/>
                  </a:lnTo>
                  <a:lnTo>
                    <a:pt x="404" y="916"/>
                  </a:lnTo>
                  <a:lnTo>
                    <a:pt x="404" y="916"/>
                  </a:lnTo>
                  <a:lnTo>
                    <a:pt x="404" y="916"/>
                  </a:lnTo>
                  <a:lnTo>
                    <a:pt x="404" y="916"/>
                  </a:lnTo>
                  <a:lnTo>
                    <a:pt x="404" y="916"/>
                  </a:lnTo>
                  <a:lnTo>
                    <a:pt x="404" y="914"/>
                  </a:lnTo>
                  <a:lnTo>
                    <a:pt x="404" y="914"/>
                  </a:lnTo>
                  <a:lnTo>
                    <a:pt x="404" y="914"/>
                  </a:lnTo>
                  <a:lnTo>
                    <a:pt x="401" y="914"/>
                  </a:lnTo>
                  <a:lnTo>
                    <a:pt x="401" y="914"/>
                  </a:lnTo>
                  <a:lnTo>
                    <a:pt x="399" y="914"/>
                  </a:lnTo>
                  <a:lnTo>
                    <a:pt x="399" y="914"/>
                  </a:lnTo>
                  <a:lnTo>
                    <a:pt x="399" y="914"/>
                  </a:lnTo>
                  <a:lnTo>
                    <a:pt x="399" y="914"/>
                  </a:lnTo>
                  <a:lnTo>
                    <a:pt x="397" y="914"/>
                  </a:lnTo>
                  <a:lnTo>
                    <a:pt x="397" y="914"/>
                  </a:lnTo>
                  <a:lnTo>
                    <a:pt x="397" y="914"/>
                  </a:lnTo>
                  <a:lnTo>
                    <a:pt x="397" y="912"/>
                  </a:lnTo>
                  <a:lnTo>
                    <a:pt x="397" y="912"/>
                  </a:lnTo>
                  <a:lnTo>
                    <a:pt x="397" y="912"/>
                  </a:lnTo>
                  <a:lnTo>
                    <a:pt x="397" y="912"/>
                  </a:lnTo>
                  <a:lnTo>
                    <a:pt x="395" y="912"/>
                  </a:lnTo>
                  <a:lnTo>
                    <a:pt x="395" y="912"/>
                  </a:lnTo>
                  <a:lnTo>
                    <a:pt x="393" y="912"/>
                  </a:lnTo>
                  <a:lnTo>
                    <a:pt x="393" y="912"/>
                  </a:lnTo>
                  <a:lnTo>
                    <a:pt x="395" y="910"/>
                  </a:lnTo>
                  <a:lnTo>
                    <a:pt x="393" y="910"/>
                  </a:lnTo>
                  <a:lnTo>
                    <a:pt x="393" y="910"/>
                  </a:lnTo>
                  <a:lnTo>
                    <a:pt x="393" y="910"/>
                  </a:lnTo>
                  <a:lnTo>
                    <a:pt x="391" y="910"/>
                  </a:lnTo>
                  <a:lnTo>
                    <a:pt x="391" y="910"/>
                  </a:lnTo>
                  <a:lnTo>
                    <a:pt x="391" y="910"/>
                  </a:lnTo>
                  <a:lnTo>
                    <a:pt x="391" y="908"/>
                  </a:lnTo>
                  <a:lnTo>
                    <a:pt x="391" y="908"/>
                  </a:lnTo>
                  <a:lnTo>
                    <a:pt x="389" y="910"/>
                  </a:lnTo>
                  <a:lnTo>
                    <a:pt x="389" y="910"/>
                  </a:lnTo>
                  <a:lnTo>
                    <a:pt x="387" y="910"/>
                  </a:lnTo>
                  <a:lnTo>
                    <a:pt x="387" y="910"/>
                  </a:lnTo>
                  <a:lnTo>
                    <a:pt x="385" y="910"/>
                  </a:lnTo>
                  <a:lnTo>
                    <a:pt x="385" y="910"/>
                  </a:lnTo>
                  <a:lnTo>
                    <a:pt x="385" y="908"/>
                  </a:lnTo>
                  <a:lnTo>
                    <a:pt x="385" y="908"/>
                  </a:lnTo>
                  <a:lnTo>
                    <a:pt x="385" y="908"/>
                  </a:lnTo>
                  <a:lnTo>
                    <a:pt x="383" y="908"/>
                  </a:lnTo>
                  <a:lnTo>
                    <a:pt x="383" y="908"/>
                  </a:lnTo>
                  <a:lnTo>
                    <a:pt x="383" y="908"/>
                  </a:lnTo>
                  <a:lnTo>
                    <a:pt x="383" y="908"/>
                  </a:lnTo>
                  <a:lnTo>
                    <a:pt x="383" y="908"/>
                  </a:lnTo>
                  <a:lnTo>
                    <a:pt x="383" y="908"/>
                  </a:lnTo>
                  <a:lnTo>
                    <a:pt x="381" y="908"/>
                  </a:lnTo>
                  <a:lnTo>
                    <a:pt x="381" y="908"/>
                  </a:lnTo>
                  <a:lnTo>
                    <a:pt x="379" y="906"/>
                  </a:lnTo>
                  <a:lnTo>
                    <a:pt x="379" y="906"/>
                  </a:lnTo>
                  <a:lnTo>
                    <a:pt x="379" y="906"/>
                  </a:lnTo>
                  <a:lnTo>
                    <a:pt x="379" y="906"/>
                  </a:lnTo>
                  <a:lnTo>
                    <a:pt x="379" y="906"/>
                  </a:lnTo>
                  <a:lnTo>
                    <a:pt x="379" y="906"/>
                  </a:lnTo>
                  <a:lnTo>
                    <a:pt x="379" y="906"/>
                  </a:lnTo>
                  <a:lnTo>
                    <a:pt x="379" y="906"/>
                  </a:lnTo>
                  <a:lnTo>
                    <a:pt x="379" y="906"/>
                  </a:lnTo>
                  <a:lnTo>
                    <a:pt x="379" y="908"/>
                  </a:lnTo>
                  <a:lnTo>
                    <a:pt x="379" y="908"/>
                  </a:lnTo>
                  <a:lnTo>
                    <a:pt x="379" y="908"/>
                  </a:lnTo>
                  <a:lnTo>
                    <a:pt x="379" y="908"/>
                  </a:lnTo>
                  <a:lnTo>
                    <a:pt x="379" y="908"/>
                  </a:lnTo>
                  <a:lnTo>
                    <a:pt x="381" y="908"/>
                  </a:lnTo>
                  <a:lnTo>
                    <a:pt x="381" y="908"/>
                  </a:lnTo>
                  <a:lnTo>
                    <a:pt x="381" y="910"/>
                  </a:lnTo>
                  <a:lnTo>
                    <a:pt x="381" y="910"/>
                  </a:lnTo>
                  <a:lnTo>
                    <a:pt x="381" y="910"/>
                  </a:lnTo>
                  <a:lnTo>
                    <a:pt x="381" y="910"/>
                  </a:lnTo>
                  <a:lnTo>
                    <a:pt x="381" y="910"/>
                  </a:lnTo>
                  <a:lnTo>
                    <a:pt x="383" y="912"/>
                  </a:lnTo>
                  <a:lnTo>
                    <a:pt x="383" y="912"/>
                  </a:lnTo>
                  <a:lnTo>
                    <a:pt x="387" y="914"/>
                  </a:lnTo>
                  <a:lnTo>
                    <a:pt x="387" y="912"/>
                  </a:lnTo>
                  <a:lnTo>
                    <a:pt x="389" y="912"/>
                  </a:lnTo>
                  <a:lnTo>
                    <a:pt x="389" y="912"/>
                  </a:lnTo>
                  <a:lnTo>
                    <a:pt x="389" y="914"/>
                  </a:lnTo>
                  <a:lnTo>
                    <a:pt x="389" y="914"/>
                  </a:lnTo>
                  <a:lnTo>
                    <a:pt x="391" y="914"/>
                  </a:lnTo>
                  <a:lnTo>
                    <a:pt x="391" y="914"/>
                  </a:lnTo>
                  <a:lnTo>
                    <a:pt x="391" y="916"/>
                  </a:lnTo>
                  <a:lnTo>
                    <a:pt x="391" y="916"/>
                  </a:lnTo>
                  <a:lnTo>
                    <a:pt x="391" y="916"/>
                  </a:lnTo>
                  <a:lnTo>
                    <a:pt x="393" y="916"/>
                  </a:lnTo>
                  <a:lnTo>
                    <a:pt x="393" y="916"/>
                  </a:lnTo>
                  <a:lnTo>
                    <a:pt x="393" y="916"/>
                  </a:lnTo>
                  <a:lnTo>
                    <a:pt x="393" y="916"/>
                  </a:lnTo>
                  <a:lnTo>
                    <a:pt x="393" y="916"/>
                  </a:lnTo>
                  <a:lnTo>
                    <a:pt x="393" y="916"/>
                  </a:lnTo>
                  <a:lnTo>
                    <a:pt x="395" y="916"/>
                  </a:lnTo>
                  <a:lnTo>
                    <a:pt x="395" y="916"/>
                  </a:lnTo>
                  <a:lnTo>
                    <a:pt x="395" y="916"/>
                  </a:lnTo>
                  <a:lnTo>
                    <a:pt x="397" y="916"/>
                  </a:lnTo>
                  <a:lnTo>
                    <a:pt x="397" y="916"/>
                  </a:lnTo>
                  <a:lnTo>
                    <a:pt x="399" y="916"/>
                  </a:lnTo>
                  <a:lnTo>
                    <a:pt x="401" y="916"/>
                  </a:lnTo>
                  <a:lnTo>
                    <a:pt x="401" y="916"/>
                  </a:lnTo>
                  <a:lnTo>
                    <a:pt x="401" y="916"/>
                  </a:lnTo>
                  <a:lnTo>
                    <a:pt x="401" y="916"/>
                  </a:lnTo>
                  <a:lnTo>
                    <a:pt x="401" y="916"/>
                  </a:lnTo>
                  <a:lnTo>
                    <a:pt x="404" y="916"/>
                  </a:lnTo>
                  <a:lnTo>
                    <a:pt x="404" y="916"/>
                  </a:lnTo>
                  <a:lnTo>
                    <a:pt x="404" y="918"/>
                  </a:lnTo>
                  <a:lnTo>
                    <a:pt x="404" y="918"/>
                  </a:lnTo>
                  <a:lnTo>
                    <a:pt x="406" y="918"/>
                  </a:lnTo>
                  <a:lnTo>
                    <a:pt x="408" y="918"/>
                  </a:lnTo>
                  <a:lnTo>
                    <a:pt x="408" y="918"/>
                  </a:lnTo>
                  <a:lnTo>
                    <a:pt x="410" y="918"/>
                  </a:lnTo>
                  <a:lnTo>
                    <a:pt x="410" y="918"/>
                  </a:lnTo>
                  <a:lnTo>
                    <a:pt x="412" y="918"/>
                  </a:lnTo>
                  <a:lnTo>
                    <a:pt x="412" y="918"/>
                  </a:lnTo>
                  <a:lnTo>
                    <a:pt x="408" y="916"/>
                  </a:lnTo>
                  <a:lnTo>
                    <a:pt x="408" y="916"/>
                  </a:lnTo>
                  <a:close/>
                  <a:moveTo>
                    <a:pt x="377" y="904"/>
                  </a:moveTo>
                  <a:lnTo>
                    <a:pt x="375" y="904"/>
                  </a:lnTo>
                  <a:lnTo>
                    <a:pt x="375" y="902"/>
                  </a:lnTo>
                  <a:lnTo>
                    <a:pt x="375" y="902"/>
                  </a:lnTo>
                  <a:lnTo>
                    <a:pt x="375" y="900"/>
                  </a:lnTo>
                  <a:lnTo>
                    <a:pt x="377" y="900"/>
                  </a:lnTo>
                  <a:lnTo>
                    <a:pt x="379" y="902"/>
                  </a:lnTo>
                  <a:lnTo>
                    <a:pt x="381" y="900"/>
                  </a:lnTo>
                  <a:lnTo>
                    <a:pt x="381" y="900"/>
                  </a:lnTo>
                  <a:lnTo>
                    <a:pt x="381" y="900"/>
                  </a:lnTo>
                  <a:lnTo>
                    <a:pt x="381" y="900"/>
                  </a:lnTo>
                  <a:lnTo>
                    <a:pt x="381" y="900"/>
                  </a:lnTo>
                  <a:lnTo>
                    <a:pt x="381" y="900"/>
                  </a:lnTo>
                  <a:lnTo>
                    <a:pt x="381" y="900"/>
                  </a:lnTo>
                  <a:lnTo>
                    <a:pt x="383" y="900"/>
                  </a:lnTo>
                  <a:lnTo>
                    <a:pt x="383" y="898"/>
                  </a:lnTo>
                  <a:lnTo>
                    <a:pt x="383" y="898"/>
                  </a:lnTo>
                  <a:lnTo>
                    <a:pt x="383" y="898"/>
                  </a:lnTo>
                  <a:lnTo>
                    <a:pt x="383" y="896"/>
                  </a:lnTo>
                  <a:lnTo>
                    <a:pt x="383" y="896"/>
                  </a:lnTo>
                  <a:lnTo>
                    <a:pt x="383" y="896"/>
                  </a:lnTo>
                  <a:lnTo>
                    <a:pt x="381" y="894"/>
                  </a:lnTo>
                  <a:lnTo>
                    <a:pt x="381" y="894"/>
                  </a:lnTo>
                  <a:lnTo>
                    <a:pt x="381" y="891"/>
                  </a:lnTo>
                  <a:lnTo>
                    <a:pt x="381" y="894"/>
                  </a:lnTo>
                  <a:lnTo>
                    <a:pt x="381" y="891"/>
                  </a:lnTo>
                  <a:lnTo>
                    <a:pt x="379" y="891"/>
                  </a:lnTo>
                  <a:lnTo>
                    <a:pt x="379" y="891"/>
                  </a:lnTo>
                  <a:lnTo>
                    <a:pt x="379" y="891"/>
                  </a:lnTo>
                  <a:lnTo>
                    <a:pt x="377" y="891"/>
                  </a:lnTo>
                  <a:lnTo>
                    <a:pt x="375" y="891"/>
                  </a:lnTo>
                  <a:lnTo>
                    <a:pt x="375" y="891"/>
                  </a:lnTo>
                  <a:lnTo>
                    <a:pt x="375" y="891"/>
                  </a:lnTo>
                  <a:lnTo>
                    <a:pt x="375" y="891"/>
                  </a:lnTo>
                  <a:lnTo>
                    <a:pt x="373" y="891"/>
                  </a:lnTo>
                  <a:lnTo>
                    <a:pt x="373" y="891"/>
                  </a:lnTo>
                  <a:lnTo>
                    <a:pt x="373" y="891"/>
                  </a:lnTo>
                  <a:lnTo>
                    <a:pt x="373" y="894"/>
                  </a:lnTo>
                  <a:lnTo>
                    <a:pt x="371" y="894"/>
                  </a:lnTo>
                  <a:lnTo>
                    <a:pt x="369" y="894"/>
                  </a:lnTo>
                  <a:lnTo>
                    <a:pt x="369" y="894"/>
                  </a:lnTo>
                  <a:lnTo>
                    <a:pt x="369" y="894"/>
                  </a:lnTo>
                  <a:lnTo>
                    <a:pt x="371" y="896"/>
                  </a:lnTo>
                  <a:lnTo>
                    <a:pt x="371" y="896"/>
                  </a:lnTo>
                  <a:lnTo>
                    <a:pt x="371" y="896"/>
                  </a:lnTo>
                  <a:lnTo>
                    <a:pt x="373" y="894"/>
                  </a:lnTo>
                  <a:lnTo>
                    <a:pt x="373" y="894"/>
                  </a:lnTo>
                  <a:lnTo>
                    <a:pt x="373" y="896"/>
                  </a:lnTo>
                  <a:lnTo>
                    <a:pt x="373" y="896"/>
                  </a:lnTo>
                  <a:lnTo>
                    <a:pt x="373" y="896"/>
                  </a:lnTo>
                  <a:lnTo>
                    <a:pt x="373" y="896"/>
                  </a:lnTo>
                  <a:lnTo>
                    <a:pt x="373" y="898"/>
                  </a:lnTo>
                  <a:lnTo>
                    <a:pt x="375" y="898"/>
                  </a:lnTo>
                  <a:lnTo>
                    <a:pt x="375" y="898"/>
                  </a:lnTo>
                  <a:lnTo>
                    <a:pt x="375" y="898"/>
                  </a:lnTo>
                  <a:lnTo>
                    <a:pt x="375" y="900"/>
                  </a:lnTo>
                  <a:lnTo>
                    <a:pt x="373" y="898"/>
                  </a:lnTo>
                  <a:lnTo>
                    <a:pt x="373" y="900"/>
                  </a:lnTo>
                  <a:lnTo>
                    <a:pt x="373" y="900"/>
                  </a:lnTo>
                  <a:lnTo>
                    <a:pt x="373" y="900"/>
                  </a:lnTo>
                  <a:lnTo>
                    <a:pt x="373" y="900"/>
                  </a:lnTo>
                  <a:lnTo>
                    <a:pt x="373" y="900"/>
                  </a:lnTo>
                  <a:lnTo>
                    <a:pt x="371" y="900"/>
                  </a:lnTo>
                  <a:lnTo>
                    <a:pt x="371" y="900"/>
                  </a:lnTo>
                  <a:lnTo>
                    <a:pt x="371" y="900"/>
                  </a:lnTo>
                  <a:lnTo>
                    <a:pt x="371" y="900"/>
                  </a:lnTo>
                  <a:lnTo>
                    <a:pt x="369" y="900"/>
                  </a:lnTo>
                  <a:lnTo>
                    <a:pt x="367" y="898"/>
                  </a:lnTo>
                  <a:lnTo>
                    <a:pt x="367" y="898"/>
                  </a:lnTo>
                  <a:lnTo>
                    <a:pt x="369" y="900"/>
                  </a:lnTo>
                  <a:lnTo>
                    <a:pt x="369" y="900"/>
                  </a:lnTo>
                  <a:lnTo>
                    <a:pt x="369" y="900"/>
                  </a:lnTo>
                  <a:lnTo>
                    <a:pt x="369" y="900"/>
                  </a:lnTo>
                  <a:lnTo>
                    <a:pt x="367" y="900"/>
                  </a:lnTo>
                  <a:lnTo>
                    <a:pt x="367" y="900"/>
                  </a:lnTo>
                  <a:lnTo>
                    <a:pt x="363" y="900"/>
                  </a:lnTo>
                  <a:lnTo>
                    <a:pt x="365" y="900"/>
                  </a:lnTo>
                  <a:lnTo>
                    <a:pt x="365" y="900"/>
                  </a:lnTo>
                  <a:lnTo>
                    <a:pt x="365" y="900"/>
                  </a:lnTo>
                  <a:lnTo>
                    <a:pt x="363" y="900"/>
                  </a:lnTo>
                  <a:lnTo>
                    <a:pt x="365" y="900"/>
                  </a:lnTo>
                  <a:lnTo>
                    <a:pt x="365" y="900"/>
                  </a:lnTo>
                  <a:lnTo>
                    <a:pt x="365" y="900"/>
                  </a:lnTo>
                  <a:lnTo>
                    <a:pt x="365" y="902"/>
                  </a:lnTo>
                  <a:lnTo>
                    <a:pt x="365" y="902"/>
                  </a:lnTo>
                  <a:lnTo>
                    <a:pt x="363" y="902"/>
                  </a:lnTo>
                  <a:lnTo>
                    <a:pt x="363" y="900"/>
                  </a:lnTo>
                  <a:lnTo>
                    <a:pt x="363" y="902"/>
                  </a:lnTo>
                  <a:lnTo>
                    <a:pt x="360" y="902"/>
                  </a:lnTo>
                  <a:lnTo>
                    <a:pt x="360" y="902"/>
                  </a:lnTo>
                  <a:lnTo>
                    <a:pt x="363" y="902"/>
                  </a:lnTo>
                  <a:lnTo>
                    <a:pt x="360" y="902"/>
                  </a:lnTo>
                  <a:lnTo>
                    <a:pt x="360" y="902"/>
                  </a:lnTo>
                  <a:lnTo>
                    <a:pt x="358" y="902"/>
                  </a:lnTo>
                  <a:lnTo>
                    <a:pt x="358" y="900"/>
                  </a:lnTo>
                  <a:lnTo>
                    <a:pt x="356" y="900"/>
                  </a:lnTo>
                  <a:lnTo>
                    <a:pt x="356" y="900"/>
                  </a:lnTo>
                  <a:lnTo>
                    <a:pt x="356" y="902"/>
                  </a:lnTo>
                  <a:lnTo>
                    <a:pt x="354" y="902"/>
                  </a:lnTo>
                  <a:lnTo>
                    <a:pt x="354" y="902"/>
                  </a:lnTo>
                  <a:lnTo>
                    <a:pt x="354" y="900"/>
                  </a:lnTo>
                  <a:lnTo>
                    <a:pt x="354" y="900"/>
                  </a:lnTo>
                  <a:lnTo>
                    <a:pt x="354" y="900"/>
                  </a:lnTo>
                  <a:lnTo>
                    <a:pt x="352" y="900"/>
                  </a:lnTo>
                  <a:lnTo>
                    <a:pt x="352" y="900"/>
                  </a:lnTo>
                  <a:lnTo>
                    <a:pt x="352" y="900"/>
                  </a:lnTo>
                  <a:lnTo>
                    <a:pt x="352" y="898"/>
                  </a:lnTo>
                  <a:lnTo>
                    <a:pt x="352" y="900"/>
                  </a:lnTo>
                  <a:lnTo>
                    <a:pt x="350" y="900"/>
                  </a:lnTo>
                  <a:lnTo>
                    <a:pt x="350" y="900"/>
                  </a:lnTo>
                  <a:lnTo>
                    <a:pt x="350" y="900"/>
                  </a:lnTo>
                  <a:lnTo>
                    <a:pt x="350" y="900"/>
                  </a:lnTo>
                  <a:lnTo>
                    <a:pt x="348" y="900"/>
                  </a:lnTo>
                  <a:lnTo>
                    <a:pt x="348" y="900"/>
                  </a:lnTo>
                  <a:lnTo>
                    <a:pt x="348" y="900"/>
                  </a:lnTo>
                  <a:lnTo>
                    <a:pt x="348" y="900"/>
                  </a:lnTo>
                  <a:lnTo>
                    <a:pt x="348" y="900"/>
                  </a:lnTo>
                  <a:lnTo>
                    <a:pt x="348" y="900"/>
                  </a:lnTo>
                  <a:lnTo>
                    <a:pt x="348" y="900"/>
                  </a:lnTo>
                  <a:lnTo>
                    <a:pt x="348" y="900"/>
                  </a:lnTo>
                  <a:lnTo>
                    <a:pt x="348" y="900"/>
                  </a:lnTo>
                  <a:lnTo>
                    <a:pt x="348" y="900"/>
                  </a:lnTo>
                  <a:lnTo>
                    <a:pt x="348" y="900"/>
                  </a:lnTo>
                  <a:lnTo>
                    <a:pt x="348" y="902"/>
                  </a:lnTo>
                  <a:lnTo>
                    <a:pt x="346" y="902"/>
                  </a:lnTo>
                  <a:lnTo>
                    <a:pt x="346" y="902"/>
                  </a:lnTo>
                  <a:lnTo>
                    <a:pt x="346" y="902"/>
                  </a:lnTo>
                  <a:lnTo>
                    <a:pt x="346" y="900"/>
                  </a:lnTo>
                  <a:lnTo>
                    <a:pt x="346" y="900"/>
                  </a:lnTo>
                  <a:lnTo>
                    <a:pt x="344" y="900"/>
                  </a:lnTo>
                  <a:lnTo>
                    <a:pt x="344" y="900"/>
                  </a:lnTo>
                  <a:lnTo>
                    <a:pt x="344" y="900"/>
                  </a:lnTo>
                  <a:lnTo>
                    <a:pt x="344" y="900"/>
                  </a:lnTo>
                  <a:lnTo>
                    <a:pt x="344" y="900"/>
                  </a:lnTo>
                  <a:lnTo>
                    <a:pt x="344" y="900"/>
                  </a:lnTo>
                  <a:lnTo>
                    <a:pt x="342" y="900"/>
                  </a:lnTo>
                  <a:lnTo>
                    <a:pt x="342" y="900"/>
                  </a:lnTo>
                  <a:lnTo>
                    <a:pt x="338" y="900"/>
                  </a:lnTo>
                  <a:lnTo>
                    <a:pt x="338" y="900"/>
                  </a:lnTo>
                  <a:lnTo>
                    <a:pt x="338" y="900"/>
                  </a:lnTo>
                  <a:lnTo>
                    <a:pt x="346" y="902"/>
                  </a:lnTo>
                  <a:lnTo>
                    <a:pt x="348" y="902"/>
                  </a:lnTo>
                  <a:lnTo>
                    <a:pt x="348" y="902"/>
                  </a:lnTo>
                  <a:lnTo>
                    <a:pt x="348" y="902"/>
                  </a:lnTo>
                  <a:lnTo>
                    <a:pt x="350" y="902"/>
                  </a:lnTo>
                  <a:lnTo>
                    <a:pt x="350" y="902"/>
                  </a:lnTo>
                  <a:lnTo>
                    <a:pt x="350" y="902"/>
                  </a:lnTo>
                  <a:lnTo>
                    <a:pt x="352" y="902"/>
                  </a:lnTo>
                  <a:lnTo>
                    <a:pt x="354" y="904"/>
                  </a:lnTo>
                  <a:lnTo>
                    <a:pt x="354" y="904"/>
                  </a:lnTo>
                  <a:lnTo>
                    <a:pt x="354" y="906"/>
                  </a:lnTo>
                  <a:lnTo>
                    <a:pt x="356" y="906"/>
                  </a:lnTo>
                  <a:lnTo>
                    <a:pt x="356" y="906"/>
                  </a:lnTo>
                  <a:lnTo>
                    <a:pt x="356" y="904"/>
                  </a:lnTo>
                  <a:lnTo>
                    <a:pt x="356" y="904"/>
                  </a:lnTo>
                  <a:lnTo>
                    <a:pt x="356" y="904"/>
                  </a:lnTo>
                  <a:lnTo>
                    <a:pt x="356" y="904"/>
                  </a:lnTo>
                  <a:lnTo>
                    <a:pt x="356" y="904"/>
                  </a:lnTo>
                  <a:lnTo>
                    <a:pt x="356" y="904"/>
                  </a:lnTo>
                  <a:lnTo>
                    <a:pt x="358" y="906"/>
                  </a:lnTo>
                  <a:lnTo>
                    <a:pt x="358" y="906"/>
                  </a:lnTo>
                  <a:lnTo>
                    <a:pt x="358" y="906"/>
                  </a:lnTo>
                  <a:lnTo>
                    <a:pt x="360" y="906"/>
                  </a:lnTo>
                  <a:lnTo>
                    <a:pt x="360" y="906"/>
                  </a:lnTo>
                  <a:lnTo>
                    <a:pt x="360" y="906"/>
                  </a:lnTo>
                  <a:lnTo>
                    <a:pt x="363" y="906"/>
                  </a:lnTo>
                  <a:lnTo>
                    <a:pt x="363" y="906"/>
                  </a:lnTo>
                  <a:lnTo>
                    <a:pt x="363" y="906"/>
                  </a:lnTo>
                  <a:lnTo>
                    <a:pt x="363" y="906"/>
                  </a:lnTo>
                  <a:lnTo>
                    <a:pt x="363" y="906"/>
                  </a:lnTo>
                  <a:lnTo>
                    <a:pt x="363" y="906"/>
                  </a:lnTo>
                  <a:lnTo>
                    <a:pt x="363" y="904"/>
                  </a:lnTo>
                  <a:lnTo>
                    <a:pt x="363" y="906"/>
                  </a:lnTo>
                  <a:lnTo>
                    <a:pt x="363" y="906"/>
                  </a:lnTo>
                  <a:lnTo>
                    <a:pt x="363" y="906"/>
                  </a:lnTo>
                  <a:lnTo>
                    <a:pt x="363" y="906"/>
                  </a:lnTo>
                  <a:lnTo>
                    <a:pt x="363" y="904"/>
                  </a:lnTo>
                  <a:lnTo>
                    <a:pt x="363" y="904"/>
                  </a:lnTo>
                  <a:lnTo>
                    <a:pt x="363" y="904"/>
                  </a:lnTo>
                  <a:lnTo>
                    <a:pt x="365" y="904"/>
                  </a:lnTo>
                  <a:lnTo>
                    <a:pt x="365" y="906"/>
                  </a:lnTo>
                  <a:lnTo>
                    <a:pt x="365" y="904"/>
                  </a:lnTo>
                  <a:lnTo>
                    <a:pt x="365" y="906"/>
                  </a:lnTo>
                  <a:lnTo>
                    <a:pt x="365" y="906"/>
                  </a:lnTo>
                  <a:lnTo>
                    <a:pt x="365" y="906"/>
                  </a:lnTo>
                  <a:lnTo>
                    <a:pt x="367" y="908"/>
                  </a:lnTo>
                  <a:lnTo>
                    <a:pt x="367" y="906"/>
                  </a:lnTo>
                  <a:lnTo>
                    <a:pt x="367" y="904"/>
                  </a:lnTo>
                  <a:lnTo>
                    <a:pt x="369" y="904"/>
                  </a:lnTo>
                  <a:lnTo>
                    <a:pt x="369" y="904"/>
                  </a:lnTo>
                  <a:lnTo>
                    <a:pt x="367" y="904"/>
                  </a:lnTo>
                  <a:lnTo>
                    <a:pt x="367" y="904"/>
                  </a:lnTo>
                  <a:lnTo>
                    <a:pt x="367" y="904"/>
                  </a:lnTo>
                  <a:lnTo>
                    <a:pt x="367" y="904"/>
                  </a:lnTo>
                  <a:lnTo>
                    <a:pt x="367" y="904"/>
                  </a:lnTo>
                  <a:lnTo>
                    <a:pt x="369" y="904"/>
                  </a:lnTo>
                  <a:lnTo>
                    <a:pt x="369" y="904"/>
                  </a:lnTo>
                  <a:lnTo>
                    <a:pt x="369" y="904"/>
                  </a:lnTo>
                  <a:lnTo>
                    <a:pt x="371" y="904"/>
                  </a:lnTo>
                  <a:lnTo>
                    <a:pt x="371" y="904"/>
                  </a:lnTo>
                  <a:lnTo>
                    <a:pt x="371" y="904"/>
                  </a:lnTo>
                  <a:lnTo>
                    <a:pt x="371" y="906"/>
                  </a:lnTo>
                  <a:lnTo>
                    <a:pt x="371" y="906"/>
                  </a:lnTo>
                  <a:lnTo>
                    <a:pt x="373" y="906"/>
                  </a:lnTo>
                  <a:lnTo>
                    <a:pt x="373" y="906"/>
                  </a:lnTo>
                  <a:lnTo>
                    <a:pt x="373" y="906"/>
                  </a:lnTo>
                  <a:lnTo>
                    <a:pt x="373" y="906"/>
                  </a:lnTo>
                  <a:lnTo>
                    <a:pt x="373" y="906"/>
                  </a:lnTo>
                  <a:lnTo>
                    <a:pt x="373" y="904"/>
                  </a:lnTo>
                  <a:lnTo>
                    <a:pt x="373" y="906"/>
                  </a:lnTo>
                  <a:lnTo>
                    <a:pt x="375" y="906"/>
                  </a:lnTo>
                  <a:lnTo>
                    <a:pt x="375" y="906"/>
                  </a:lnTo>
                  <a:lnTo>
                    <a:pt x="375" y="906"/>
                  </a:lnTo>
                  <a:lnTo>
                    <a:pt x="375" y="906"/>
                  </a:lnTo>
                  <a:lnTo>
                    <a:pt x="375" y="906"/>
                  </a:lnTo>
                  <a:lnTo>
                    <a:pt x="375" y="906"/>
                  </a:lnTo>
                  <a:lnTo>
                    <a:pt x="377" y="906"/>
                  </a:lnTo>
                  <a:lnTo>
                    <a:pt x="377" y="906"/>
                  </a:lnTo>
                  <a:lnTo>
                    <a:pt x="377" y="906"/>
                  </a:lnTo>
                  <a:lnTo>
                    <a:pt x="377" y="906"/>
                  </a:lnTo>
                  <a:lnTo>
                    <a:pt x="377" y="904"/>
                  </a:lnTo>
                  <a:close/>
                  <a:moveTo>
                    <a:pt x="717" y="262"/>
                  </a:moveTo>
                  <a:lnTo>
                    <a:pt x="719" y="262"/>
                  </a:lnTo>
                  <a:lnTo>
                    <a:pt x="719" y="262"/>
                  </a:lnTo>
                  <a:lnTo>
                    <a:pt x="719" y="262"/>
                  </a:lnTo>
                  <a:lnTo>
                    <a:pt x="719" y="262"/>
                  </a:lnTo>
                  <a:lnTo>
                    <a:pt x="719" y="262"/>
                  </a:lnTo>
                  <a:lnTo>
                    <a:pt x="721" y="262"/>
                  </a:lnTo>
                  <a:lnTo>
                    <a:pt x="721" y="262"/>
                  </a:lnTo>
                  <a:lnTo>
                    <a:pt x="721" y="260"/>
                  </a:lnTo>
                  <a:lnTo>
                    <a:pt x="719" y="262"/>
                  </a:lnTo>
                  <a:lnTo>
                    <a:pt x="719" y="262"/>
                  </a:lnTo>
                  <a:lnTo>
                    <a:pt x="719" y="262"/>
                  </a:lnTo>
                  <a:lnTo>
                    <a:pt x="717" y="262"/>
                  </a:lnTo>
                  <a:lnTo>
                    <a:pt x="717" y="262"/>
                  </a:lnTo>
                  <a:close/>
                  <a:moveTo>
                    <a:pt x="1638" y="687"/>
                  </a:moveTo>
                  <a:lnTo>
                    <a:pt x="1638" y="687"/>
                  </a:lnTo>
                  <a:lnTo>
                    <a:pt x="1638" y="687"/>
                  </a:lnTo>
                  <a:lnTo>
                    <a:pt x="1638" y="684"/>
                  </a:lnTo>
                  <a:lnTo>
                    <a:pt x="1636" y="682"/>
                  </a:lnTo>
                  <a:lnTo>
                    <a:pt x="1634" y="680"/>
                  </a:lnTo>
                  <a:lnTo>
                    <a:pt x="1634" y="680"/>
                  </a:lnTo>
                  <a:lnTo>
                    <a:pt x="1634" y="680"/>
                  </a:lnTo>
                  <a:lnTo>
                    <a:pt x="1632" y="678"/>
                  </a:lnTo>
                  <a:lnTo>
                    <a:pt x="1632" y="680"/>
                  </a:lnTo>
                  <a:lnTo>
                    <a:pt x="1632" y="680"/>
                  </a:lnTo>
                  <a:lnTo>
                    <a:pt x="1632" y="680"/>
                  </a:lnTo>
                  <a:lnTo>
                    <a:pt x="1630" y="680"/>
                  </a:lnTo>
                  <a:lnTo>
                    <a:pt x="1630" y="680"/>
                  </a:lnTo>
                  <a:lnTo>
                    <a:pt x="1628" y="680"/>
                  </a:lnTo>
                  <a:lnTo>
                    <a:pt x="1628" y="678"/>
                  </a:lnTo>
                  <a:lnTo>
                    <a:pt x="1626" y="678"/>
                  </a:lnTo>
                  <a:lnTo>
                    <a:pt x="1626" y="676"/>
                  </a:lnTo>
                  <a:lnTo>
                    <a:pt x="1626" y="676"/>
                  </a:lnTo>
                  <a:lnTo>
                    <a:pt x="1624" y="676"/>
                  </a:lnTo>
                  <a:lnTo>
                    <a:pt x="1622" y="676"/>
                  </a:lnTo>
                  <a:lnTo>
                    <a:pt x="1622" y="676"/>
                  </a:lnTo>
                  <a:lnTo>
                    <a:pt x="1622" y="676"/>
                  </a:lnTo>
                  <a:lnTo>
                    <a:pt x="1624" y="678"/>
                  </a:lnTo>
                  <a:lnTo>
                    <a:pt x="1624" y="678"/>
                  </a:lnTo>
                  <a:lnTo>
                    <a:pt x="1624" y="678"/>
                  </a:lnTo>
                  <a:lnTo>
                    <a:pt x="1624" y="680"/>
                  </a:lnTo>
                  <a:lnTo>
                    <a:pt x="1624" y="680"/>
                  </a:lnTo>
                  <a:lnTo>
                    <a:pt x="1624" y="680"/>
                  </a:lnTo>
                  <a:lnTo>
                    <a:pt x="1624" y="680"/>
                  </a:lnTo>
                  <a:lnTo>
                    <a:pt x="1624" y="682"/>
                  </a:lnTo>
                  <a:lnTo>
                    <a:pt x="1624" y="682"/>
                  </a:lnTo>
                  <a:lnTo>
                    <a:pt x="1626" y="682"/>
                  </a:lnTo>
                  <a:lnTo>
                    <a:pt x="1626" y="682"/>
                  </a:lnTo>
                  <a:lnTo>
                    <a:pt x="1626" y="687"/>
                  </a:lnTo>
                  <a:lnTo>
                    <a:pt x="1626" y="687"/>
                  </a:lnTo>
                  <a:lnTo>
                    <a:pt x="1628" y="689"/>
                  </a:lnTo>
                  <a:lnTo>
                    <a:pt x="1630" y="689"/>
                  </a:lnTo>
                  <a:lnTo>
                    <a:pt x="1630" y="689"/>
                  </a:lnTo>
                  <a:lnTo>
                    <a:pt x="1632" y="689"/>
                  </a:lnTo>
                  <a:lnTo>
                    <a:pt x="1632" y="689"/>
                  </a:lnTo>
                  <a:lnTo>
                    <a:pt x="1634" y="691"/>
                  </a:lnTo>
                  <a:lnTo>
                    <a:pt x="1634" y="691"/>
                  </a:lnTo>
                  <a:lnTo>
                    <a:pt x="1634" y="691"/>
                  </a:lnTo>
                  <a:lnTo>
                    <a:pt x="1634" y="689"/>
                  </a:lnTo>
                  <a:lnTo>
                    <a:pt x="1634" y="689"/>
                  </a:lnTo>
                  <a:lnTo>
                    <a:pt x="1636" y="691"/>
                  </a:lnTo>
                  <a:lnTo>
                    <a:pt x="1636" y="691"/>
                  </a:lnTo>
                  <a:lnTo>
                    <a:pt x="1636" y="691"/>
                  </a:lnTo>
                  <a:lnTo>
                    <a:pt x="1636" y="691"/>
                  </a:lnTo>
                  <a:lnTo>
                    <a:pt x="1638" y="691"/>
                  </a:lnTo>
                  <a:lnTo>
                    <a:pt x="1638" y="691"/>
                  </a:lnTo>
                  <a:lnTo>
                    <a:pt x="1638" y="689"/>
                  </a:lnTo>
                  <a:lnTo>
                    <a:pt x="1638" y="687"/>
                  </a:lnTo>
                  <a:lnTo>
                    <a:pt x="1638" y="687"/>
                  </a:lnTo>
                  <a:lnTo>
                    <a:pt x="1638" y="687"/>
                  </a:lnTo>
                  <a:close/>
                  <a:moveTo>
                    <a:pt x="1049" y="584"/>
                  </a:moveTo>
                  <a:lnTo>
                    <a:pt x="1049" y="584"/>
                  </a:lnTo>
                  <a:lnTo>
                    <a:pt x="1049" y="584"/>
                  </a:lnTo>
                  <a:lnTo>
                    <a:pt x="1049" y="584"/>
                  </a:lnTo>
                  <a:lnTo>
                    <a:pt x="1049" y="584"/>
                  </a:lnTo>
                  <a:lnTo>
                    <a:pt x="1047" y="584"/>
                  </a:lnTo>
                  <a:lnTo>
                    <a:pt x="1049" y="584"/>
                  </a:lnTo>
                  <a:lnTo>
                    <a:pt x="1049" y="584"/>
                  </a:lnTo>
                  <a:lnTo>
                    <a:pt x="1049" y="586"/>
                  </a:lnTo>
                  <a:lnTo>
                    <a:pt x="1049" y="586"/>
                  </a:lnTo>
                  <a:lnTo>
                    <a:pt x="1051" y="586"/>
                  </a:lnTo>
                  <a:lnTo>
                    <a:pt x="1049" y="586"/>
                  </a:lnTo>
                  <a:lnTo>
                    <a:pt x="1049" y="584"/>
                  </a:lnTo>
                  <a:lnTo>
                    <a:pt x="1049" y="584"/>
                  </a:lnTo>
                  <a:close/>
                  <a:moveTo>
                    <a:pt x="1026" y="623"/>
                  </a:moveTo>
                  <a:lnTo>
                    <a:pt x="1026" y="625"/>
                  </a:lnTo>
                  <a:lnTo>
                    <a:pt x="1026" y="625"/>
                  </a:lnTo>
                  <a:lnTo>
                    <a:pt x="1026" y="625"/>
                  </a:lnTo>
                  <a:lnTo>
                    <a:pt x="1024" y="625"/>
                  </a:lnTo>
                  <a:lnTo>
                    <a:pt x="1024" y="625"/>
                  </a:lnTo>
                  <a:lnTo>
                    <a:pt x="1024" y="625"/>
                  </a:lnTo>
                  <a:lnTo>
                    <a:pt x="1024" y="627"/>
                  </a:lnTo>
                  <a:lnTo>
                    <a:pt x="1024" y="627"/>
                  </a:lnTo>
                  <a:lnTo>
                    <a:pt x="1024" y="627"/>
                  </a:lnTo>
                  <a:lnTo>
                    <a:pt x="1024" y="627"/>
                  </a:lnTo>
                  <a:lnTo>
                    <a:pt x="1024" y="627"/>
                  </a:lnTo>
                  <a:lnTo>
                    <a:pt x="1026" y="629"/>
                  </a:lnTo>
                  <a:lnTo>
                    <a:pt x="1028" y="627"/>
                  </a:lnTo>
                  <a:lnTo>
                    <a:pt x="1028" y="627"/>
                  </a:lnTo>
                  <a:lnTo>
                    <a:pt x="1030" y="627"/>
                  </a:lnTo>
                  <a:lnTo>
                    <a:pt x="1030" y="625"/>
                  </a:lnTo>
                  <a:lnTo>
                    <a:pt x="1028" y="623"/>
                  </a:lnTo>
                  <a:lnTo>
                    <a:pt x="1026" y="623"/>
                  </a:lnTo>
                  <a:close/>
                  <a:moveTo>
                    <a:pt x="1706" y="709"/>
                  </a:moveTo>
                  <a:lnTo>
                    <a:pt x="1706" y="709"/>
                  </a:lnTo>
                  <a:lnTo>
                    <a:pt x="1706" y="709"/>
                  </a:lnTo>
                  <a:lnTo>
                    <a:pt x="1704" y="705"/>
                  </a:lnTo>
                  <a:lnTo>
                    <a:pt x="1704" y="705"/>
                  </a:lnTo>
                  <a:lnTo>
                    <a:pt x="1704" y="705"/>
                  </a:lnTo>
                  <a:lnTo>
                    <a:pt x="1702" y="703"/>
                  </a:lnTo>
                  <a:lnTo>
                    <a:pt x="1702" y="703"/>
                  </a:lnTo>
                  <a:lnTo>
                    <a:pt x="1702" y="703"/>
                  </a:lnTo>
                  <a:lnTo>
                    <a:pt x="1700" y="701"/>
                  </a:lnTo>
                  <a:lnTo>
                    <a:pt x="1700" y="699"/>
                  </a:lnTo>
                  <a:lnTo>
                    <a:pt x="1700" y="699"/>
                  </a:lnTo>
                  <a:lnTo>
                    <a:pt x="1698" y="699"/>
                  </a:lnTo>
                  <a:lnTo>
                    <a:pt x="1698" y="697"/>
                  </a:lnTo>
                  <a:lnTo>
                    <a:pt x="1698" y="697"/>
                  </a:lnTo>
                  <a:lnTo>
                    <a:pt x="1698" y="695"/>
                  </a:lnTo>
                  <a:lnTo>
                    <a:pt x="1698" y="695"/>
                  </a:lnTo>
                  <a:lnTo>
                    <a:pt x="1698" y="693"/>
                  </a:lnTo>
                  <a:lnTo>
                    <a:pt x="1696" y="693"/>
                  </a:lnTo>
                  <a:lnTo>
                    <a:pt x="1696" y="693"/>
                  </a:lnTo>
                  <a:lnTo>
                    <a:pt x="1696" y="693"/>
                  </a:lnTo>
                  <a:lnTo>
                    <a:pt x="1696" y="691"/>
                  </a:lnTo>
                  <a:lnTo>
                    <a:pt x="1696" y="691"/>
                  </a:lnTo>
                  <a:lnTo>
                    <a:pt x="1696" y="691"/>
                  </a:lnTo>
                  <a:lnTo>
                    <a:pt x="1696" y="691"/>
                  </a:lnTo>
                  <a:lnTo>
                    <a:pt x="1696" y="691"/>
                  </a:lnTo>
                  <a:lnTo>
                    <a:pt x="1696" y="691"/>
                  </a:lnTo>
                  <a:lnTo>
                    <a:pt x="1696" y="689"/>
                  </a:lnTo>
                  <a:lnTo>
                    <a:pt x="1696" y="689"/>
                  </a:lnTo>
                  <a:lnTo>
                    <a:pt x="1696" y="687"/>
                  </a:lnTo>
                  <a:lnTo>
                    <a:pt x="1696" y="684"/>
                  </a:lnTo>
                  <a:lnTo>
                    <a:pt x="1696" y="682"/>
                  </a:lnTo>
                  <a:lnTo>
                    <a:pt x="1696" y="682"/>
                  </a:lnTo>
                  <a:lnTo>
                    <a:pt x="1696" y="680"/>
                  </a:lnTo>
                  <a:lnTo>
                    <a:pt x="1696" y="678"/>
                  </a:lnTo>
                  <a:lnTo>
                    <a:pt x="1694" y="676"/>
                  </a:lnTo>
                  <a:lnTo>
                    <a:pt x="1694" y="676"/>
                  </a:lnTo>
                  <a:lnTo>
                    <a:pt x="1694" y="674"/>
                  </a:lnTo>
                  <a:lnTo>
                    <a:pt x="1692" y="674"/>
                  </a:lnTo>
                  <a:lnTo>
                    <a:pt x="1692" y="672"/>
                  </a:lnTo>
                  <a:lnTo>
                    <a:pt x="1690" y="672"/>
                  </a:lnTo>
                  <a:lnTo>
                    <a:pt x="1688" y="674"/>
                  </a:lnTo>
                  <a:lnTo>
                    <a:pt x="1688" y="674"/>
                  </a:lnTo>
                  <a:lnTo>
                    <a:pt x="1686" y="674"/>
                  </a:lnTo>
                  <a:lnTo>
                    <a:pt x="1681" y="674"/>
                  </a:lnTo>
                  <a:lnTo>
                    <a:pt x="1681" y="674"/>
                  </a:lnTo>
                  <a:lnTo>
                    <a:pt x="1681" y="674"/>
                  </a:lnTo>
                  <a:lnTo>
                    <a:pt x="1679" y="672"/>
                  </a:lnTo>
                  <a:lnTo>
                    <a:pt x="1677" y="670"/>
                  </a:lnTo>
                  <a:lnTo>
                    <a:pt x="1677" y="670"/>
                  </a:lnTo>
                  <a:lnTo>
                    <a:pt x="1675" y="670"/>
                  </a:lnTo>
                  <a:lnTo>
                    <a:pt x="1673" y="670"/>
                  </a:lnTo>
                  <a:lnTo>
                    <a:pt x="1669" y="668"/>
                  </a:lnTo>
                  <a:lnTo>
                    <a:pt x="1665" y="668"/>
                  </a:lnTo>
                  <a:lnTo>
                    <a:pt x="1661" y="668"/>
                  </a:lnTo>
                  <a:lnTo>
                    <a:pt x="1659" y="668"/>
                  </a:lnTo>
                  <a:lnTo>
                    <a:pt x="1655" y="666"/>
                  </a:lnTo>
                  <a:lnTo>
                    <a:pt x="1651" y="666"/>
                  </a:lnTo>
                  <a:lnTo>
                    <a:pt x="1645" y="664"/>
                  </a:lnTo>
                  <a:lnTo>
                    <a:pt x="1643" y="664"/>
                  </a:lnTo>
                  <a:lnTo>
                    <a:pt x="1643" y="664"/>
                  </a:lnTo>
                  <a:lnTo>
                    <a:pt x="1643" y="664"/>
                  </a:lnTo>
                  <a:lnTo>
                    <a:pt x="1638" y="664"/>
                  </a:lnTo>
                  <a:lnTo>
                    <a:pt x="1636" y="666"/>
                  </a:lnTo>
                  <a:lnTo>
                    <a:pt x="1634" y="666"/>
                  </a:lnTo>
                  <a:lnTo>
                    <a:pt x="1634" y="666"/>
                  </a:lnTo>
                  <a:lnTo>
                    <a:pt x="1634" y="664"/>
                  </a:lnTo>
                  <a:lnTo>
                    <a:pt x="1634" y="662"/>
                  </a:lnTo>
                  <a:lnTo>
                    <a:pt x="1634" y="662"/>
                  </a:lnTo>
                  <a:lnTo>
                    <a:pt x="1632" y="660"/>
                  </a:lnTo>
                  <a:lnTo>
                    <a:pt x="1632" y="660"/>
                  </a:lnTo>
                  <a:lnTo>
                    <a:pt x="1630" y="660"/>
                  </a:lnTo>
                  <a:lnTo>
                    <a:pt x="1630" y="658"/>
                  </a:lnTo>
                  <a:lnTo>
                    <a:pt x="1630" y="658"/>
                  </a:lnTo>
                  <a:lnTo>
                    <a:pt x="1630" y="658"/>
                  </a:lnTo>
                  <a:lnTo>
                    <a:pt x="1630" y="656"/>
                  </a:lnTo>
                  <a:lnTo>
                    <a:pt x="1630" y="656"/>
                  </a:lnTo>
                  <a:lnTo>
                    <a:pt x="1624" y="656"/>
                  </a:lnTo>
                  <a:lnTo>
                    <a:pt x="1622" y="646"/>
                  </a:lnTo>
                  <a:lnTo>
                    <a:pt x="1618" y="646"/>
                  </a:lnTo>
                  <a:lnTo>
                    <a:pt x="1614" y="646"/>
                  </a:lnTo>
                  <a:lnTo>
                    <a:pt x="1614" y="643"/>
                  </a:lnTo>
                  <a:lnTo>
                    <a:pt x="1614" y="639"/>
                  </a:lnTo>
                  <a:lnTo>
                    <a:pt x="1612" y="635"/>
                  </a:lnTo>
                  <a:lnTo>
                    <a:pt x="1608" y="633"/>
                  </a:lnTo>
                  <a:lnTo>
                    <a:pt x="1604" y="631"/>
                  </a:lnTo>
                  <a:lnTo>
                    <a:pt x="1602" y="627"/>
                  </a:lnTo>
                  <a:lnTo>
                    <a:pt x="1598" y="625"/>
                  </a:lnTo>
                  <a:lnTo>
                    <a:pt x="1593" y="621"/>
                  </a:lnTo>
                  <a:lnTo>
                    <a:pt x="1589" y="615"/>
                  </a:lnTo>
                  <a:lnTo>
                    <a:pt x="1585" y="613"/>
                  </a:lnTo>
                  <a:lnTo>
                    <a:pt x="1579" y="607"/>
                  </a:lnTo>
                  <a:lnTo>
                    <a:pt x="1573" y="600"/>
                  </a:lnTo>
                  <a:lnTo>
                    <a:pt x="1567" y="594"/>
                  </a:lnTo>
                  <a:lnTo>
                    <a:pt x="1563" y="592"/>
                  </a:lnTo>
                  <a:lnTo>
                    <a:pt x="1565" y="588"/>
                  </a:lnTo>
                  <a:lnTo>
                    <a:pt x="1552" y="582"/>
                  </a:lnTo>
                  <a:lnTo>
                    <a:pt x="1546" y="578"/>
                  </a:lnTo>
                  <a:lnTo>
                    <a:pt x="1534" y="574"/>
                  </a:lnTo>
                  <a:lnTo>
                    <a:pt x="1532" y="572"/>
                  </a:lnTo>
                  <a:lnTo>
                    <a:pt x="1532" y="570"/>
                  </a:lnTo>
                  <a:lnTo>
                    <a:pt x="1530" y="570"/>
                  </a:lnTo>
                  <a:lnTo>
                    <a:pt x="1528" y="566"/>
                  </a:lnTo>
                  <a:lnTo>
                    <a:pt x="1524" y="564"/>
                  </a:lnTo>
                  <a:lnTo>
                    <a:pt x="1522" y="564"/>
                  </a:lnTo>
                  <a:lnTo>
                    <a:pt x="1518" y="562"/>
                  </a:lnTo>
                  <a:lnTo>
                    <a:pt x="1518" y="559"/>
                  </a:lnTo>
                  <a:lnTo>
                    <a:pt x="1509" y="559"/>
                  </a:lnTo>
                  <a:lnTo>
                    <a:pt x="1507" y="555"/>
                  </a:lnTo>
                  <a:lnTo>
                    <a:pt x="1507" y="553"/>
                  </a:lnTo>
                  <a:lnTo>
                    <a:pt x="1505" y="553"/>
                  </a:lnTo>
                  <a:lnTo>
                    <a:pt x="1505" y="551"/>
                  </a:lnTo>
                  <a:lnTo>
                    <a:pt x="1505" y="549"/>
                  </a:lnTo>
                  <a:lnTo>
                    <a:pt x="1503" y="545"/>
                  </a:lnTo>
                  <a:lnTo>
                    <a:pt x="1501" y="543"/>
                  </a:lnTo>
                  <a:lnTo>
                    <a:pt x="1499" y="543"/>
                  </a:lnTo>
                  <a:lnTo>
                    <a:pt x="1497" y="541"/>
                  </a:lnTo>
                  <a:lnTo>
                    <a:pt x="1497" y="539"/>
                  </a:lnTo>
                  <a:lnTo>
                    <a:pt x="1493" y="539"/>
                  </a:lnTo>
                  <a:lnTo>
                    <a:pt x="1489" y="537"/>
                  </a:lnTo>
                  <a:lnTo>
                    <a:pt x="1479" y="547"/>
                  </a:lnTo>
                  <a:lnTo>
                    <a:pt x="1475" y="549"/>
                  </a:lnTo>
                  <a:lnTo>
                    <a:pt x="1473" y="551"/>
                  </a:lnTo>
                  <a:lnTo>
                    <a:pt x="1471" y="553"/>
                  </a:lnTo>
                  <a:lnTo>
                    <a:pt x="1475" y="553"/>
                  </a:lnTo>
                  <a:lnTo>
                    <a:pt x="1475" y="555"/>
                  </a:lnTo>
                  <a:lnTo>
                    <a:pt x="1475" y="559"/>
                  </a:lnTo>
                  <a:lnTo>
                    <a:pt x="1471" y="562"/>
                  </a:lnTo>
                  <a:lnTo>
                    <a:pt x="1468" y="559"/>
                  </a:lnTo>
                  <a:lnTo>
                    <a:pt x="1473" y="570"/>
                  </a:lnTo>
                  <a:lnTo>
                    <a:pt x="1471" y="576"/>
                  </a:lnTo>
                  <a:lnTo>
                    <a:pt x="1464" y="578"/>
                  </a:lnTo>
                  <a:lnTo>
                    <a:pt x="1454" y="590"/>
                  </a:lnTo>
                  <a:lnTo>
                    <a:pt x="1452" y="594"/>
                  </a:lnTo>
                  <a:lnTo>
                    <a:pt x="1450" y="596"/>
                  </a:lnTo>
                  <a:lnTo>
                    <a:pt x="1450" y="590"/>
                  </a:lnTo>
                  <a:lnTo>
                    <a:pt x="1444" y="580"/>
                  </a:lnTo>
                  <a:lnTo>
                    <a:pt x="1430" y="570"/>
                  </a:lnTo>
                  <a:lnTo>
                    <a:pt x="1411" y="559"/>
                  </a:lnTo>
                  <a:lnTo>
                    <a:pt x="1409" y="557"/>
                  </a:lnTo>
                  <a:lnTo>
                    <a:pt x="1407" y="551"/>
                  </a:lnTo>
                  <a:lnTo>
                    <a:pt x="1397" y="549"/>
                  </a:lnTo>
                  <a:lnTo>
                    <a:pt x="1393" y="545"/>
                  </a:lnTo>
                  <a:lnTo>
                    <a:pt x="1393" y="533"/>
                  </a:lnTo>
                  <a:lnTo>
                    <a:pt x="1393" y="531"/>
                  </a:lnTo>
                  <a:lnTo>
                    <a:pt x="1376" y="535"/>
                  </a:lnTo>
                  <a:lnTo>
                    <a:pt x="1372" y="545"/>
                  </a:lnTo>
                  <a:lnTo>
                    <a:pt x="1358" y="541"/>
                  </a:lnTo>
                  <a:lnTo>
                    <a:pt x="1358" y="545"/>
                  </a:lnTo>
                  <a:lnTo>
                    <a:pt x="1344" y="543"/>
                  </a:lnTo>
                  <a:lnTo>
                    <a:pt x="1344" y="537"/>
                  </a:lnTo>
                  <a:lnTo>
                    <a:pt x="1342" y="529"/>
                  </a:lnTo>
                  <a:lnTo>
                    <a:pt x="1339" y="521"/>
                  </a:lnTo>
                  <a:lnTo>
                    <a:pt x="1337" y="514"/>
                  </a:lnTo>
                  <a:lnTo>
                    <a:pt x="1337" y="506"/>
                  </a:lnTo>
                  <a:lnTo>
                    <a:pt x="1335" y="498"/>
                  </a:lnTo>
                  <a:lnTo>
                    <a:pt x="1333" y="492"/>
                  </a:lnTo>
                  <a:lnTo>
                    <a:pt x="1333" y="484"/>
                  </a:lnTo>
                  <a:lnTo>
                    <a:pt x="1331" y="475"/>
                  </a:lnTo>
                  <a:lnTo>
                    <a:pt x="1327" y="461"/>
                  </a:lnTo>
                  <a:lnTo>
                    <a:pt x="1327" y="455"/>
                  </a:lnTo>
                  <a:lnTo>
                    <a:pt x="1325" y="447"/>
                  </a:lnTo>
                  <a:lnTo>
                    <a:pt x="1323" y="439"/>
                  </a:lnTo>
                  <a:lnTo>
                    <a:pt x="1321" y="432"/>
                  </a:lnTo>
                  <a:lnTo>
                    <a:pt x="1321" y="424"/>
                  </a:lnTo>
                  <a:lnTo>
                    <a:pt x="1319" y="416"/>
                  </a:lnTo>
                  <a:lnTo>
                    <a:pt x="1317" y="410"/>
                  </a:lnTo>
                  <a:lnTo>
                    <a:pt x="1317" y="402"/>
                  </a:lnTo>
                  <a:lnTo>
                    <a:pt x="1315" y="393"/>
                  </a:lnTo>
                  <a:lnTo>
                    <a:pt x="1313" y="387"/>
                  </a:lnTo>
                  <a:lnTo>
                    <a:pt x="1311" y="379"/>
                  </a:lnTo>
                  <a:lnTo>
                    <a:pt x="1311" y="371"/>
                  </a:lnTo>
                  <a:lnTo>
                    <a:pt x="1309" y="365"/>
                  </a:lnTo>
                  <a:lnTo>
                    <a:pt x="1307" y="357"/>
                  </a:lnTo>
                  <a:lnTo>
                    <a:pt x="1307" y="350"/>
                  </a:lnTo>
                  <a:lnTo>
                    <a:pt x="1305" y="342"/>
                  </a:lnTo>
                  <a:lnTo>
                    <a:pt x="1303" y="334"/>
                  </a:lnTo>
                  <a:lnTo>
                    <a:pt x="1301" y="328"/>
                  </a:lnTo>
                  <a:lnTo>
                    <a:pt x="1301" y="320"/>
                  </a:lnTo>
                  <a:lnTo>
                    <a:pt x="1294" y="289"/>
                  </a:lnTo>
                  <a:lnTo>
                    <a:pt x="1292" y="283"/>
                  </a:lnTo>
                  <a:lnTo>
                    <a:pt x="1290" y="268"/>
                  </a:lnTo>
                  <a:lnTo>
                    <a:pt x="1288" y="260"/>
                  </a:lnTo>
                  <a:lnTo>
                    <a:pt x="1284" y="246"/>
                  </a:lnTo>
                  <a:lnTo>
                    <a:pt x="1284" y="238"/>
                  </a:lnTo>
                  <a:lnTo>
                    <a:pt x="1282" y="230"/>
                  </a:lnTo>
                  <a:lnTo>
                    <a:pt x="1280" y="223"/>
                  </a:lnTo>
                  <a:lnTo>
                    <a:pt x="1280" y="215"/>
                  </a:lnTo>
                  <a:lnTo>
                    <a:pt x="1276" y="201"/>
                  </a:lnTo>
                  <a:lnTo>
                    <a:pt x="1274" y="193"/>
                  </a:lnTo>
                  <a:lnTo>
                    <a:pt x="1274" y="186"/>
                  </a:lnTo>
                  <a:lnTo>
                    <a:pt x="1272" y="178"/>
                  </a:lnTo>
                  <a:lnTo>
                    <a:pt x="1270" y="164"/>
                  </a:lnTo>
                  <a:lnTo>
                    <a:pt x="1268" y="156"/>
                  </a:lnTo>
                  <a:lnTo>
                    <a:pt x="1266" y="150"/>
                  </a:lnTo>
                  <a:lnTo>
                    <a:pt x="1264" y="133"/>
                  </a:lnTo>
                  <a:lnTo>
                    <a:pt x="1260" y="119"/>
                  </a:lnTo>
                  <a:lnTo>
                    <a:pt x="1260" y="113"/>
                  </a:lnTo>
                  <a:lnTo>
                    <a:pt x="1258" y="105"/>
                  </a:lnTo>
                  <a:lnTo>
                    <a:pt x="1256" y="98"/>
                  </a:lnTo>
                  <a:lnTo>
                    <a:pt x="1253" y="90"/>
                  </a:lnTo>
                  <a:lnTo>
                    <a:pt x="1253" y="82"/>
                  </a:lnTo>
                  <a:lnTo>
                    <a:pt x="1251" y="76"/>
                  </a:lnTo>
                  <a:lnTo>
                    <a:pt x="1249" y="68"/>
                  </a:lnTo>
                  <a:lnTo>
                    <a:pt x="1249" y="68"/>
                  </a:lnTo>
                  <a:lnTo>
                    <a:pt x="1243" y="68"/>
                  </a:lnTo>
                  <a:lnTo>
                    <a:pt x="1243" y="68"/>
                  </a:lnTo>
                  <a:lnTo>
                    <a:pt x="1245" y="68"/>
                  </a:lnTo>
                  <a:lnTo>
                    <a:pt x="1245" y="68"/>
                  </a:lnTo>
                  <a:lnTo>
                    <a:pt x="1245" y="68"/>
                  </a:lnTo>
                  <a:lnTo>
                    <a:pt x="1245" y="68"/>
                  </a:lnTo>
                  <a:lnTo>
                    <a:pt x="1245" y="68"/>
                  </a:lnTo>
                  <a:lnTo>
                    <a:pt x="1245" y="70"/>
                  </a:lnTo>
                  <a:lnTo>
                    <a:pt x="1245" y="70"/>
                  </a:lnTo>
                  <a:lnTo>
                    <a:pt x="1243" y="70"/>
                  </a:lnTo>
                  <a:lnTo>
                    <a:pt x="1241" y="70"/>
                  </a:lnTo>
                  <a:lnTo>
                    <a:pt x="1241" y="68"/>
                  </a:lnTo>
                  <a:lnTo>
                    <a:pt x="1241" y="68"/>
                  </a:lnTo>
                  <a:lnTo>
                    <a:pt x="1239" y="66"/>
                  </a:lnTo>
                  <a:lnTo>
                    <a:pt x="1239" y="66"/>
                  </a:lnTo>
                  <a:lnTo>
                    <a:pt x="1237" y="66"/>
                  </a:lnTo>
                  <a:lnTo>
                    <a:pt x="1233" y="64"/>
                  </a:lnTo>
                  <a:lnTo>
                    <a:pt x="1233" y="64"/>
                  </a:lnTo>
                  <a:lnTo>
                    <a:pt x="1231" y="64"/>
                  </a:lnTo>
                  <a:lnTo>
                    <a:pt x="1231" y="64"/>
                  </a:lnTo>
                  <a:lnTo>
                    <a:pt x="1231" y="64"/>
                  </a:lnTo>
                  <a:lnTo>
                    <a:pt x="1231" y="64"/>
                  </a:lnTo>
                  <a:lnTo>
                    <a:pt x="1231" y="64"/>
                  </a:lnTo>
                  <a:lnTo>
                    <a:pt x="1229" y="64"/>
                  </a:lnTo>
                  <a:lnTo>
                    <a:pt x="1229" y="61"/>
                  </a:lnTo>
                  <a:lnTo>
                    <a:pt x="1229" y="61"/>
                  </a:lnTo>
                  <a:lnTo>
                    <a:pt x="1225" y="61"/>
                  </a:lnTo>
                  <a:lnTo>
                    <a:pt x="1225" y="61"/>
                  </a:lnTo>
                  <a:lnTo>
                    <a:pt x="1225" y="61"/>
                  </a:lnTo>
                  <a:lnTo>
                    <a:pt x="1225" y="61"/>
                  </a:lnTo>
                  <a:lnTo>
                    <a:pt x="1223" y="61"/>
                  </a:lnTo>
                  <a:lnTo>
                    <a:pt x="1223" y="59"/>
                  </a:lnTo>
                  <a:lnTo>
                    <a:pt x="1223" y="59"/>
                  </a:lnTo>
                  <a:lnTo>
                    <a:pt x="1223" y="59"/>
                  </a:lnTo>
                  <a:lnTo>
                    <a:pt x="1223" y="59"/>
                  </a:lnTo>
                  <a:lnTo>
                    <a:pt x="1223" y="59"/>
                  </a:lnTo>
                  <a:lnTo>
                    <a:pt x="1223" y="59"/>
                  </a:lnTo>
                  <a:lnTo>
                    <a:pt x="1223" y="59"/>
                  </a:lnTo>
                  <a:lnTo>
                    <a:pt x="1223" y="59"/>
                  </a:lnTo>
                  <a:lnTo>
                    <a:pt x="1223" y="59"/>
                  </a:lnTo>
                  <a:lnTo>
                    <a:pt x="1223" y="59"/>
                  </a:lnTo>
                  <a:lnTo>
                    <a:pt x="1223" y="59"/>
                  </a:lnTo>
                  <a:lnTo>
                    <a:pt x="1221" y="57"/>
                  </a:lnTo>
                  <a:lnTo>
                    <a:pt x="1221" y="57"/>
                  </a:lnTo>
                  <a:lnTo>
                    <a:pt x="1221" y="57"/>
                  </a:lnTo>
                  <a:lnTo>
                    <a:pt x="1221" y="57"/>
                  </a:lnTo>
                  <a:lnTo>
                    <a:pt x="1221" y="57"/>
                  </a:lnTo>
                  <a:lnTo>
                    <a:pt x="1221" y="57"/>
                  </a:lnTo>
                  <a:lnTo>
                    <a:pt x="1221" y="57"/>
                  </a:lnTo>
                  <a:lnTo>
                    <a:pt x="1219" y="57"/>
                  </a:lnTo>
                  <a:lnTo>
                    <a:pt x="1219" y="55"/>
                  </a:lnTo>
                  <a:lnTo>
                    <a:pt x="1219" y="57"/>
                  </a:lnTo>
                  <a:lnTo>
                    <a:pt x="1219" y="57"/>
                  </a:lnTo>
                  <a:lnTo>
                    <a:pt x="1219" y="57"/>
                  </a:lnTo>
                  <a:lnTo>
                    <a:pt x="1219" y="57"/>
                  </a:lnTo>
                  <a:lnTo>
                    <a:pt x="1219" y="57"/>
                  </a:lnTo>
                  <a:lnTo>
                    <a:pt x="1219" y="55"/>
                  </a:lnTo>
                  <a:lnTo>
                    <a:pt x="1219" y="55"/>
                  </a:lnTo>
                  <a:lnTo>
                    <a:pt x="1217" y="55"/>
                  </a:lnTo>
                  <a:lnTo>
                    <a:pt x="1212" y="53"/>
                  </a:lnTo>
                  <a:lnTo>
                    <a:pt x="1210" y="53"/>
                  </a:lnTo>
                  <a:lnTo>
                    <a:pt x="1212" y="53"/>
                  </a:lnTo>
                  <a:lnTo>
                    <a:pt x="1210" y="53"/>
                  </a:lnTo>
                  <a:lnTo>
                    <a:pt x="1210" y="53"/>
                  </a:lnTo>
                  <a:lnTo>
                    <a:pt x="1210" y="53"/>
                  </a:lnTo>
                  <a:lnTo>
                    <a:pt x="1210" y="53"/>
                  </a:lnTo>
                  <a:lnTo>
                    <a:pt x="1210" y="53"/>
                  </a:lnTo>
                  <a:lnTo>
                    <a:pt x="1210" y="53"/>
                  </a:lnTo>
                  <a:lnTo>
                    <a:pt x="1210" y="53"/>
                  </a:lnTo>
                  <a:lnTo>
                    <a:pt x="1208" y="53"/>
                  </a:lnTo>
                  <a:lnTo>
                    <a:pt x="1208" y="53"/>
                  </a:lnTo>
                  <a:lnTo>
                    <a:pt x="1208" y="53"/>
                  </a:lnTo>
                  <a:lnTo>
                    <a:pt x="1206" y="53"/>
                  </a:lnTo>
                  <a:lnTo>
                    <a:pt x="1206" y="51"/>
                  </a:lnTo>
                  <a:lnTo>
                    <a:pt x="1206" y="51"/>
                  </a:lnTo>
                  <a:lnTo>
                    <a:pt x="1204" y="51"/>
                  </a:lnTo>
                  <a:lnTo>
                    <a:pt x="1204" y="51"/>
                  </a:lnTo>
                  <a:lnTo>
                    <a:pt x="1204" y="53"/>
                  </a:lnTo>
                  <a:lnTo>
                    <a:pt x="1204" y="53"/>
                  </a:lnTo>
                  <a:lnTo>
                    <a:pt x="1204" y="55"/>
                  </a:lnTo>
                  <a:lnTo>
                    <a:pt x="1206" y="55"/>
                  </a:lnTo>
                  <a:lnTo>
                    <a:pt x="1204" y="55"/>
                  </a:lnTo>
                  <a:lnTo>
                    <a:pt x="1204" y="55"/>
                  </a:lnTo>
                  <a:lnTo>
                    <a:pt x="1204" y="53"/>
                  </a:lnTo>
                  <a:lnTo>
                    <a:pt x="1204" y="53"/>
                  </a:lnTo>
                  <a:lnTo>
                    <a:pt x="1204" y="53"/>
                  </a:lnTo>
                  <a:lnTo>
                    <a:pt x="1200" y="53"/>
                  </a:lnTo>
                  <a:lnTo>
                    <a:pt x="1200" y="53"/>
                  </a:lnTo>
                  <a:lnTo>
                    <a:pt x="1200" y="53"/>
                  </a:lnTo>
                  <a:lnTo>
                    <a:pt x="1200" y="51"/>
                  </a:lnTo>
                  <a:lnTo>
                    <a:pt x="1200" y="53"/>
                  </a:lnTo>
                  <a:lnTo>
                    <a:pt x="1200" y="53"/>
                  </a:lnTo>
                  <a:lnTo>
                    <a:pt x="1200" y="53"/>
                  </a:lnTo>
                  <a:lnTo>
                    <a:pt x="1200" y="53"/>
                  </a:lnTo>
                  <a:lnTo>
                    <a:pt x="1200" y="53"/>
                  </a:lnTo>
                  <a:lnTo>
                    <a:pt x="1198" y="55"/>
                  </a:lnTo>
                  <a:lnTo>
                    <a:pt x="1198" y="53"/>
                  </a:lnTo>
                  <a:lnTo>
                    <a:pt x="1196" y="53"/>
                  </a:lnTo>
                  <a:lnTo>
                    <a:pt x="1196" y="53"/>
                  </a:lnTo>
                  <a:lnTo>
                    <a:pt x="1196" y="55"/>
                  </a:lnTo>
                  <a:lnTo>
                    <a:pt x="1194" y="55"/>
                  </a:lnTo>
                  <a:lnTo>
                    <a:pt x="1194" y="55"/>
                  </a:lnTo>
                  <a:lnTo>
                    <a:pt x="1194" y="55"/>
                  </a:lnTo>
                  <a:lnTo>
                    <a:pt x="1194" y="55"/>
                  </a:lnTo>
                  <a:lnTo>
                    <a:pt x="1194" y="55"/>
                  </a:lnTo>
                  <a:lnTo>
                    <a:pt x="1194" y="55"/>
                  </a:lnTo>
                  <a:lnTo>
                    <a:pt x="1194" y="55"/>
                  </a:lnTo>
                  <a:lnTo>
                    <a:pt x="1194" y="55"/>
                  </a:lnTo>
                  <a:lnTo>
                    <a:pt x="1192" y="55"/>
                  </a:lnTo>
                  <a:lnTo>
                    <a:pt x="1192" y="55"/>
                  </a:lnTo>
                  <a:lnTo>
                    <a:pt x="1192" y="55"/>
                  </a:lnTo>
                  <a:lnTo>
                    <a:pt x="1192" y="55"/>
                  </a:lnTo>
                  <a:lnTo>
                    <a:pt x="1192" y="55"/>
                  </a:lnTo>
                  <a:lnTo>
                    <a:pt x="1192" y="55"/>
                  </a:lnTo>
                  <a:lnTo>
                    <a:pt x="1192" y="57"/>
                  </a:lnTo>
                  <a:lnTo>
                    <a:pt x="1192" y="57"/>
                  </a:lnTo>
                  <a:lnTo>
                    <a:pt x="1192" y="59"/>
                  </a:lnTo>
                  <a:lnTo>
                    <a:pt x="1192" y="59"/>
                  </a:lnTo>
                  <a:lnTo>
                    <a:pt x="1192" y="61"/>
                  </a:lnTo>
                  <a:lnTo>
                    <a:pt x="1192" y="59"/>
                  </a:lnTo>
                  <a:lnTo>
                    <a:pt x="1192" y="59"/>
                  </a:lnTo>
                  <a:lnTo>
                    <a:pt x="1192" y="59"/>
                  </a:lnTo>
                  <a:lnTo>
                    <a:pt x="1192" y="59"/>
                  </a:lnTo>
                  <a:lnTo>
                    <a:pt x="1192" y="59"/>
                  </a:lnTo>
                  <a:lnTo>
                    <a:pt x="1192" y="57"/>
                  </a:lnTo>
                  <a:lnTo>
                    <a:pt x="1192" y="57"/>
                  </a:lnTo>
                  <a:lnTo>
                    <a:pt x="1192" y="57"/>
                  </a:lnTo>
                  <a:lnTo>
                    <a:pt x="1190" y="57"/>
                  </a:lnTo>
                  <a:lnTo>
                    <a:pt x="1190" y="57"/>
                  </a:lnTo>
                  <a:lnTo>
                    <a:pt x="1190" y="57"/>
                  </a:lnTo>
                  <a:lnTo>
                    <a:pt x="1190" y="57"/>
                  </a:lnTo>
                  <a:lnTo>
                    <a:pt x="1190" y="57"/>
                  </a:lnTo>
                  <a:lnTo>
                    <a:pt x="1186" y="59"/>
                  </a:lnTo>
                  <a:lnTo>
                    <a:pt x="1184" y="59"/>
                  </a:lnTo>
                  <a:lnTo>
                    <a:pt x="1184" y="61"/>
                  </a:lnTo>
                  <a:lnTo>
                    <a:pt x="1182" y="61"/>
                  </a:lnTo>
                  <a:lnTo>
                    <a:pt x="1180" y="64"/>
                  </a:lnTo>
                  <a:lnTo>
                    <a:pt x="1178" y="64"/>
                  </a:lnTo>
                  <a:lnTo>
                    <a:pt x="1178" y="61"/>
                  </a:lnTo>
                  <a:lnTo>
                    <a:pt x="1178" y="61"/>
                  </a:lnTo>
                  <a:lnTo>
                    <a:pt x="1176" y="64"/>
                  </a:lnTo>
                  <a:lnTo>
                    <a:pt x="1172" y="64"/>
                  </a:lnTo>
                  <a:lnTo>
                    <a:pt x="1169" y="64"/>
                  </a:lnTo>
                  <a:lnTo>
                    <a:pt x="1169" y="64"/>
                  </a:lnTo>
                  <a:lnTo>
                    <a:pt x="1172" y="61"/>
                  </a:lnTo>
                  <a:lnTo>
                    <a:pt x="1172" y="61"/>
                  </a:lnTo>
                  <a:lnTo>
                    <a:pt x="1172" y="61"/>
                  </a:lnTo>
                  <a:lnTo>
                    <a:pt x="1169" y="61"/>
                  </a:lnTo>
                  <a:lnTo>
                    <a:pt x="1167" y="61"/>
                  </a:lnTo>
                  <a:lnTo>
                    <a:pt x="1167" y="61"/>
                  </a:lnTo>
                  <a:lnTo>
                    <a:pt x="1167" y="61"/>
                  </a:lnTo>
                  <a:lnTo>
                    <a:pt x="1165" y="61"/>
                  </a:lnTo>
                  <a:lnTo>
                    <a:pt x="1165" y="59"/>
                  </a:lnTo>
                  <a:lnTo>
                    <a:pt x="1165" y="59"/>
                  </a:lnTo>
                  <a:lnTo>
                    <a:pt x="1165" y="59"/>
                  </a:lnTo>
                  <a:lnTo>
                    <a:pt x="1165" y="59"/>
                  </a:lnTo>
                  <a:lnTo>
                    <a:pt x="1163" y="59"/>
                  </a:lnTo>
                  <a:lnTo>
                    <a:pt x="1163" y="59"/>
                  </a:lnTo>
                  <a:lnTo>
                    <a:pt x="1163" y="59"/>
                  </a:lnTo>
                  <a:lnTo>
                    <a:pt x="1163" y="59"/>
                  </a:lnTo>
                  <a:lnTo>
                    <a:pt x="1163" y="59"/>
                  </a:lnTo>
                  <a:lnTo>
                    <a:pt x="1163" y="59"/>
                  </a:lnTo>
                  <a:lnTo>
                    <a:pt x="1163" y="59"/>
                  </a:lnTo>
                  <a:lnTo>
                    <a:pt x="1161" y="57"/>
                  </a:lnTo>
                  <a:lnTo>
                    <a:pt x="1161" y="57"/>
                  </a:lnTo>
                  <a:lnTo>
                    <a:pt x="1159" y="55"/>
                  </a:lnTo>
                  <a:lnTo>
                    <a:pt x="1157" y="55"/>
                  </a:lnTo>
                  <a:lnTo>
                    <a:pt x="1159" y="57"/>
                  </a:lnTo>
                  <a:lnTo>
                    <a:pt x="1157" y="57"/>
                  </a:lnTo>
                  <a:lnTo>
                    <a:pt x="1157" y="55"/>
                  </a:lnTo>
                  <a:lnTo>
                    <a:pt x="1157" y="55"/>
                  </a:lnTo>
                  <a:lnTo>
                    <a:pt x="1157" y="57"/>
                  </a:lnTo>
                  <a:lnTo>
                    <a:pt x="1157" y="57"/>
                  </a:lnTo>
                  <a:lnTo>
                    <a:pt x="1155" y="57"/>
                  </a:lnTo>
                  <a:lnTo>
                    <a:pt x="1151" y="55"/>
                  </a:lnTo>
                  <a:lnTo>
                    <a:pt x="1149" y="55"/>
                  </a:lnTo>
                  <a:lnTo>
                    <a:pt x="1143" y="57"/>
                  </a:lnTo>
                  <a:lnTo>
                    <a:pt x="1141" y="57"/>
                  </a:lnTo>
                  <a:lnTo>
                    <a:pt x="1141" y="57"/>
                  </a:lnTo>
                  <a:lnTo>
                    <a:pt x="1141" y="57"/>
                  </a:lnTo>
                  <a:lnTo>
                    <a:pt x="1137" y="59"/>
                  </a:lnTo>
                  <a:lnTo>
                    <a:pt x="1135" y="57"/>
                  </a:lnTo>
                  <a:lnTo>
                    <a:pt x="1135" y="57"/>
                  </a:lnTo>
                  <a:lnTo>
                    <a:pt x="1135" y="57"/>
                  </a:lnTo>
                  <a:lnTo>
                    <a:pt x="1135" y="57"/>
                  </a:lnTo>
                  <a:lnTo>
                    <a:pt x="1135" y="57"/>
                  </a:lnTo>
                  <a:lnTo>
                    <a:pt x="1135" y="57"/>
                  </a:lnTo>
                  <a:lnTo>
                    <a:pt x="1135" y="57"/>
                  </a:lnTo>
                  <a:lnTo>
                    <a:pt x="1131" y="57"/>
                  </a:lnTo>
                  <a:lnTo>
                    <a:pt x="1126" y="57"/>
                  </a:lnTo>
                  <a:lnTo>
                    <a:pt x="1124" y="57"/>
                  </a:lnTo>
                  <a:lnTo>
                    <a:pt x="1122" y="55"/>
                  </a:lnTo>
                  <a:lnTo>
                    <a:pt x="1124" y="55"/>
                  </a:lnTo>
                  <a:lnTo>
                    <a:pt x="1124" y="55"/>
                  </a:lnTo>
                  <a:lnTo>
                    <a:pt x="1124" y="55"/>
                  </a:lnTo>
                  <a:lnTo>
                    <a:pt x="1124" y="55"/>
                  </a:lnTo>
                  <a:lnTo>
                    <a:pt x="1122" y="55"/>
                  </a:lnTo>
                  <a:lnTo>
                    <a:pt x="1122" y="55"/>
                  </a:lnTo>
                  <a:lnTo>
                    <a:pt x="1122" y="55"/>
                  </a:lnTo>
                  <a:lnTo>
                    <a:pt x="1122" y="53"/>
                  </a:lnTo>
                  <a:lnTo>
                    <a:pt x="1122" y="53"/>
                  </a:lnTo>
                  <a:lnTo>
                    <a:pt x="1122" y="53"/>
                  </a:lnTo>
                  <a:lnTo>
                    <a:pt x="1122" y="53"/>
                  </a:lnTo>
                  <a:lnTo>
                    <a:pt x="1122" y="53"/>
                  </a:lnTo>
                  <a:lnTo>
                    <a:pt x="1122" y="53"/>
                  </a:lnTo>
                  <a:lnTo>
                    <a:pt x="1122" y="53"/>
                  </a:lnTo>
                  <a:lnTo>
                    <a:pt x="1120" y="53"/>
                  </a:lnTo>
                  <a:lnTo>
                    <a:pt x="1120" y="53"/>
                  </a:lnTo>
                  <a:lnTo>
                    <a:pt x="1120" y="53"/>
                  </a:lnTo>
                  <a:lnTo>
                    <a:pt x="1120" y="53"/>
                  </a:lnTo>
                  <a:lnTo>
                    <a:pt x="1120" y="53"/>
                  </a:lnTo>
                  <a:lnTo>
                    <a:pt x="1118" y="53"/>
                  </a:lnTo>
                  <a:lnTo>
                    <a:pt x="1118" y="53"/>
                  </a:lnTo>
                  <a:lnTo>
                    <a:pt x="1118" y="53"/>
                  </a:lnTo>
                  <a:lnTo>
                    <a:pt x="1118" y="53"/>
                  </a:lnTo>
                  <a:lnTo>
                    <a:pt x="1118" y="51"/>
                  </a:lnTo>
                  <a:lnTo>
                    <a:pt x="1116" y="51"/>
                  </a:lnTo>
                  <a:lnTo>
                    <a:pt x="1116" y="51"/>
                  </a:lnTo>
                  <a:lnTo>
                    <a:pt x="1114" y="51"/>
                  </a:lnTo>
                  <a:lnTo>
                    <a:pt x="1114" y="53"/>
                  </a:lnTo>
                  <a:lnTo>
                    <a:pt x="1112" y="53"/>
                  </a:lnTo>
                  <a:lnTo>
                    <a:pt x="1110" y="53"/>
                  </a:lnTo>
                  <a:lnTo>
                    <a:pt x="1110" y="51"/>
                  </a:lnTo>
                  <a:lnTo>
                    <a:pt x="1110" y="51"/>
                  </a:lnTo>
                  <a:lnTo>
                    <a:pt x="1110" y="51"/>
                  </a:lnTo>
                  <a:lnTo>
                    <a:pt x="1110" y="49"/>
                  </a:lnTo>
                  <a:lnTo>
                    <a:pt x="1108" y="49"/>
                  </a:lnTo>
                  <a:lnTo>
                    <a:pt x="1108" y="49"/>
                  </a:lnTo>
                  <a:lnTo>
                    <a:pt x="1108" y="49"/>
                  </a:lnTo>
                  <a:lnTo>
                    <a:pt x="1106" y="47"/>
                  </a:lnTo>
                  <a:lnTo>
                    <a:pt x="1106" y="47"/>
                  </a:lnTo>
                  <a:lnTo>
                    <a:pt x="1106" y="49"/>
                  </a:lnTo>
                  <a:lnTo>
                    <a:pt x="1104" y="49"/>
                  </a:lnTo>
                  <a:lnTo>
                    <a:pt x="1104" y="47"/>
                  </a:lnTo>
                  <a:lnTo>
                    <a:pt x="1102" y="47"/>
                  </a:lnTo>
                  <a:lnTo>
                    <a:pt x="1102" y="47"/>
                  </a:lnTo>
                  <a:lnTo>
                    <a:pt x="1102" y="47"/>
                  </a:lnTo>
                  <a:lnTo>
                    <a:pt x="1102" y="47"/>
                  </a:lnTo>
                  <a:lnTo>
                    <a:pt x="1102" y="47"/>
                  </a:lnTo>
                  <a:lnTo>
                    <a:pt x="1102" y="47"/>
                  </a:lnTo>
                  <a:lnTo>
                    <a:pt x="1102" y="47"/>
                  </a:lnTo>
                  <a:lnTo>
                    <a:pt x="1100" y="47"/>
                  </a:lnTo>
                  <a:lnTo>
                    <a:pt x="1096" y="45"/>
                  </a:lnTo>
                  <a:lnTo>
                    <a:pt x="1094" y="45"/>
                  </a:lnTo>
                  <a:lnTo>
                    <a:pt x="1096" y="45"/>
                  </a:lnTo>
                  <a:lnTo>
                    <a:pt x="1094" y="45"/>
                  </a:lnTo>
                  <a:lnTo>
                    <a:pt x="1092" y="45"/>
                  </a:lnTo>
                  <a:lnTo>
                    <a:pt x="1092" y="45"/>
                  </a:lnTo>
                  <a:lnTo>
                    <a:pt x="1092" y="45"/>
                  </a:lnTo>
                  <a:lnTo>
                    <a:pt x="1094" y="45"/>
                  </a:lnTo>
                  <a:lnTo>
                    <a:pt x="1094" y="45"/>
                  </a:lnTo>
                  <a:lnTo>
                    <a:pt x="1092" y="43"/>
                  </a:lnTo>
                  <a:lnTo>
                    <a:pt x="1092" y="43"/>
                  </a:lnTo>
                  <a:lnTo>
                    <a:pt x="1092" y="45"/>
                  </a:lnTo>
                  <a:lnTo>
                    <a:pt x="1088" y="45"/>
                  </a:lnTo>
                  <a:lnTo>
                    <a:pt x="1088" y="45"/>
                  </a:lnTo>
                  <a:lnTo>
                    <a:pt x="1088" y="45"/>
                  </a:lnTo>
                  <a:lnTo>
                    <a:pt x="1086" y="45"/>
                  </a:lnTo>
                  <a:lnTo>
                    <a:pt x="1086" y="45"/>
                  </a:lnTo>
                  <a:lnTo>
                    <a:pt x="1081" y="49"/>
                  </a:lnTo>
                  <a:lnTo>
                    <a:pt x="1079" y="49"/>
                  </a:lnTo>
                  <a:lnTo>
                    <a:pt x="1077" y="51"/>
                  </a:lnTo>
                  <a:lnTo>
                    <a:pt x="1075" y="51"/>
                  </a:lnTo>
                  <a:lnTo>
                    <a:pt x="1075" y="49"/>
                  </a:lnTo>
                  <a:lnTo>
                    <a:pt x="1077" y="47"/>
                  </a:lnTo>
                  <a:lnTo>
                    <a:pt x="1077" y="47"/>
                  </a:lnTo>
                  <a:lnTo>
                    <a:pt x="1077" y="47"/>
                  </a:lnTo>
                  <a:lnTo>
                    <a:pt x="1075" y="47"/>
                  </a:lnTo>
                  <a:lnTo>
                    <a:pt x="1075" y="47"/>
                  </a:lnTo>
                  <a:lnTo>
                    <a:pt x="1075" y="47"/>
                  </a:lnTo>
                  <a:lnTo>
                    <a:pt x="1075" y="47"/>
                  </a:lnTo>
                  <a:lnTo>
                    <a:pt x="1075" y="47"/>
                  </a:lnTo>
                  <a:lnTo>
                    <a:pt x="1073" y="45"/>
                  </a:lnTo>
                  <a:lnTo>
                    <a:pt x="1073" y="45"/>
                  </a:lnTo>
                  <a:lnTo>
                    <a:pt x="1073" y="45"/>
                  </a:lnTo>
                  <a:lnTo>
                    <a:pt x="1073" y="45"/>
                  </a:lnTo>
                  <a:lnTo>
                    <a:pt x="1073" y="47"/>
                  </a:lnTo>
                  <a:lnTo>
                    <a:pt x="1073" y="45"/>
                  </a:lnTo>
                  <a:lnTo>
                    <a:pt x="1073" y="45"/>
                  </a:lnTo>
                  <a:lnTo>
                    <a:pt x="1073" y="45"/>
                  </a:lnTo>
                  <a:lnTo>
                    <a:pt x="1069" y="47"/>
                  </a:lnTo>
                  <a:lnTo>
                    <a:pt x="1069" y="47"/>
                  </a:lnTo>
                  <a:lnTo>
                    <a:pt x="1069" y="47"/>
                  </a:lnTo>
                  <a:lnTo>
                    <a:pt x="1071" y="47"/>
                  </a:lnTo>
                  <a:lnTo>
                    <a:pt x="1069" y="47"/>
                  </a:lnTo>
                  <a:lnTo>
                    <a:pt x="1069" y="47"/>
                  </a:lnTo>
                  <a:lnTo>
                    <a:pt x="1069" y="47"/>
                  </a:lnTo>
                  <a:lnTo>
                    <a:pt x="1069" y="47"/>
                  </a:lnTo>
                  <a:lnTo>
                    <a:pt x="1069" y="47"/>
                  </a:lnTo>
                  <a:lnTo>
                    <a:pt x="1069" y="47"/>
                  </a:lnTo>
                  <a:lnTo>
                    <a:pt x="1067" y="47"/>
                  </a:lnTo>
                  <a:lnTo>
                    <a:pt x="1067" y="49"/>
                  </a:lnTo>
                  <a:lnTo>
                    <a:pt x="1067" y="49"/>
                  </a:lnTo>
                  <a:lnTo>
                    <a:pt x="1067" y="49"/>
                  </a:lnTo>
                  <a:lnTo>
                    <a:pt x="1063" y="49"/>
                  </a:lnTo>
                  <a:lnTo>
                    <a:pt x="1063" y="49"/>
                  </a:lnTo>
                  <a:lnTo>
                    <a:pt x="1063" y="51"/>
                  </a:lnTo>
                  <a:lnTo>
                    <a:pt x="1063" y="51"/>
                  </a:lnTo>
                  <a:lnTo>
                    <a:pt x="1063" y="53"/>
                  </a:lnTo>
                  <a:lnTo>
                    <a:pt x="1063" y="53"/>
                  </a:lnTo>
                  <a:lnTo>
                    <a:pt x="1061" y="53"/>
                  </a:lnTo>
                  <a:lnTo>
                    <a:pt x="1061" y="53"/>
                  </a:lnTo>
                  <a:lnTo>
                    <a:pt x="1061" y="51"/>
                  </a:lnTo>
                  <a:lnTo>
                    <a:pt x="1061" y="51"/>
                  </a:lnTo>
                  <a:lnTo>
                    <a:pt x="1059" y="51"/>
                  </a:lnTo>
                  <a:lnTo>
                    <a:pt x="1059" y="51"/>
                  </a:lnTo>
                  <a:lnTo>
                    <a:pt x="1059" y="51"/>
                  </a:lnTo>
                  <a:lnTo>
                    <a:pt x="1057" y="49"/>
                  </a:lnTo>
                  <a:lnTo>
                    <a:pt x="1053" y="51"/>
                  </a:lnTo>
                  <a:lnTo>
                    <a:pt x="1049" y="49"/>
                  </a:lnTo>
                  <a:lnTo>
                    <a:pt x="1049" y="49"/>
                  </a:lnTo>
                  <a:lnTo>
                    <a:pt x="1051" y="47"/>
                  </a:lnTo>
                  <a:lnTo>
                    <a:pt x="1051" y="47"/>
                  </a:lnTo>
                  <a:lnTo>
                    <a:pt x="1051" y="47"/>
                  </a:lnTo>
                  <a:lnTo>
                    <a:pt x="1051" y="47"/>
                  </a:lnTo>
                  <a:lnTo>
                    <a:pt x="1051" y="45"/>
                  </a:lnTo>
                  <a:lnTo>
                    <a:pt x="1051" y="47"/>
                  </a:lnTo>
                  <a:lnTo>
                    <a:pt x="1051" y="45"/>
                  </a:lnTo>
                  <a:lnTo>
                    <a:pt x="1053" y="45"/>
                  </a:lnTo>
                  <a:lnTo>
                    <a:pt x="1053" y="45"/>
                  </a:lnTo>
                  <a:lnTo>
                    <a:pt x="1053" y="45"/>
                  </a:lnTo>
                  <a:lnTo>
                    <a:pt x="1053" y="43"/>
                  </a:lnTo>
                  <a:lnTo>
                    <a:pt x="1051" y="45"/>
                  </a:lnTo>
                  <a:lnTo>
                    <a:pt x="1049" y="43"/>
                  </a:lnTo>
                  <a:lnTo>
                    <a:pt x="1040" y="45"/>
                  </a:lnTo>
                  <a:lnTo>
                    <a:pt x="1038" y="45"/>
                  </a:lnTo>
                  <a:lnTo>
                    <a:pt x="1038" y="45"/>
                  </a:lnTo>
                  <a:lnTo>
                    <a:pt x="1038" y="45"/>
                  </a:lnTo>
                  <a:lnTo>
                    <a:pt x="1038" y="45"/>
                  </a:lnTo>
                  <a:lnTo>
                    <a:pt x="1038" y="45"/>
                  </a:lnTo>
                  <a:lnTo>
                    <a:pt x="1036" y="45"/>
                  </a:lnTo>
                  <a:lnTo>
                    <a:pt x="1036" y="45"/>
                  </a:lnTo>
                  <a:lnTo>
                    <a:pt x="1036" y="43"/>
                  </a:lnTo>
                  <a:lnTo>
                    <a:pt x="1038" y="43"/>
                  </a:lnTo>
                  <a:lnTo>
                    <a:pt x="1038" y="43"/>
                  </a:lnTo>
                  <a:lnTo>
                    <a:pt x="1038" y="43"/>
                  </a:lnTo>
                  <a:lnTo>
                    <a:pt x="1040" y="43"/>
                  </a:lnTo>
                  <a:lnTo>
                    <a:pt x="1040" y="43"/>
                  </a:lnTo>
                  <a:lnTo>
                    <a:pt x="1045" y="43"/>
                  </a:lnTo>
                  <a:lnTo>
                    <a:pt x="1047" y="43"/>
                  </a:lnTo>
                  <a:lnTo>
                    <a:pt x="1047" y="43"/>
                  </a:lnTo>
                  <a:lnTo>
                    <a:pt x="1047" y="43"/>
                  </a:lnTo>
                  <a:lnTo>
                    <a:pt x="1045" y="43"/>
                  </a:lnTo>
                  <a:lnTo>
                    <a:pt x="1043" y="43"/>
                  </a:lnTo>
                  <a:lnTo>
                    <a:pt x="1040" y="41"/>
                  </a:lnTo>
                  <a:lnTo>
                    <a:pt x="1038" y="41"/>
                  </a:lnTo>
                  <a:lnTo>
                    <a:pt x="1038" y="39"/>
                  </a:lnTo>
                  <a:lnTo>
                    <a:pt x="1038" y="37"/>
                  </a:lnTo>
                  <a:lnTo>
                    <a:pt x="1038" y="37"/>
                  </a:lnTo>
                  <a:lnTo>
                    <a:pt x="1038" y="37"/>
                  </a:lnTo>
                  <a:lnTo>
                    <a:pt x="1040" y="37"/>
                  </a:lnTo>
                  <a:lnTo>
                    <a:pt x="1040" y="37"/>
                  </a:lnTo>
                  <a:lnTo>
                    <a:pt x="1040" y="37"/>
                  </a:lnTo>
                  <a:lnTo>
                    <a:pt x="1040" y="35"/>
                  </a:lnTo>
                  <a:lnTo>
                    <a:pt x="1040" y="35"/>
                  </a:lnTo>
                  <a:lnTo>
                    <a:pt x="1040" y="35"/>
                  </a:lnTo>
                  <a:lnTo>
                    <a:pt x="1040" y="35"/>
                  </a:lnTo>
                  <a:lnTo>
                    <a:pt x="1043" y="33"/>
                  </a:lnTo>
                  <a:lnTo>
                    <a:pt x="1045" y="31"/>
                  </a:lnTo>
                  <a:lnTo>
                    <a:pt x="1045" y="31"/>
                  </a:lnTo>
                  <a:lnTo>
                    <a:pt x="1043" y="29"/>
                  </a:lnTo>
                  <a:lnTo>
                    <a:pt x="1038" y="29"/>
                  </a:lnTo>
                  <a:lnTo>
                    <a:pt x="1034" y="29"/>
                  </a:lnTo>
                  <a:lnTo>
                    <a:pt x="1034" y="29"/>
                  </a:lnTo>
                  <a:lnTo>
                    <a:pt x="1034" y="29"/>
                  </a:lnTo>
                  <a:lnTo>
                    <a:pt x="1034" y="29"/>
                  </a:lnTo>
                  <a:lnTo>
                    <a:pt x="1036" y="29"/>
                  </a:lnTo>
                  <a:lnTo>
                    <a:pt x="1036" y="31"/>
                  </a:lnTo>
                  <a:lnTo>
                    <a:pt x="1034" y="31"/>
                  </a:lnTo>
                  <a:lnTo>
                    <a:pt x="1034" y="31"/>
                  </a:lnTo>
                  <a:lnTo>
                    <a:pt x="1034" y="31"/>
                  </a:lnTo>
                  <a:lnTo>
                    <a:pt x="1034" y="29"/>
                  </a:lnTo>
                  <a:lnTo>
                    <a:pt x="1034" y="29"/>
                  </a:lnTo>
                  <a:lnTo>
                    <a:pt x="1034" y="29"/>
                  </a:lnTo>
                  <a:lnTo>
                    <a:pt x="1032" y="29"/>
                  </a:lnTo>
                  <a:lnTo>
                    <a:pt x="1032" y="29"/>
                  </a:lnTo>
                  <a:lnTo>
                    <a:pt x="1032" y="29"/>
                  </a:lnTo>
                  <a:lnTo>
                    <a:pt x="1032" y="29"/>
                  </a:lnTo>
                  <a:lnTo>
                    <a:pt x="1032" y="29"/>
                  </a:lnTo>
                  <a:lnTo>
                    <a:pt x="1032" y="29"/>
                  </a:lnTo>
                  <a:lnTo>
                    <a:pt x="1032" y="29"/>
                  </a:lnTo>
                  <a:lnTo>
                    <a:pt x="1032" y="29"/>
                  </a:lnTo>
                  <a:lnTo>
                    <a:pt x="1032" y="29"/>
                  </a:lnTo>
                  <a:lnTo>
                    <a:pt x="1032" y="29"/>
                  </a:lnTo>
                  <a:lnTo>
                    <a:pt x="1030" y="29"/>
                  </a:lnTo>
                  <a:lnTo>
                    <a:pt x="1030" y="27"/>
                  </a:lnTo>
                  <a:lnTo>
                    <a:pt x="1030" y="27"/>
                  </a:lnTo>
                  <a:lnTo>
                    <a:pt x="1030" y="27"/>
                  </a:lnTo>
                  <a:lnTo>
                    <a:pt x="1028" y="27"/>
                  </a:lnTo>
                  <a:lnTo>
                    <a:pt x="1028" y="27"/>
                  </a:lnTo>
                  <a:lnTo>
                    <a:pt x="1028" y="27"/>
                  </a:lnTo>
                  <a:lnTo>
                    <a:pt x="1028" y="27"/>
                  </a:lnTo>
                  <a:lnTo>
                    <a:pt x="1028" y="27"/>
                  </a:lnTo>
                  <a:lnTo>
                    <a:pt x="1028" y="27"/>
                  </a:lnTo>
                  <a:lnTo>
                    <a:pt x="1028" y="27"/>
                  </a:lnTo>
                  <a:lnTo>
                    <a:pt x="1028" y="27"/>
                  </a:lnTo>
                  <a:lnTo>
                    <a:pt x="1028" y="27"/>
                  </a:lnTo>
                  <a:lnTo>
                    <a:pt x="1026" y="27"/>
                  </a:lnTo>
                  <a:lnTo>
                    <a:pt x="1026" y="27"/>
                  </a:lnTo>
                  <a:lnTo>
                    <a:pt x="1024" y="27"/>
                  </a:lnTo>
                  <a:lnTo>
                    <a:pt x="1024" y="27"/>
                  </a:lnTo>
                  <a:lnTo>
                    <a:pt x="1024" y="27"/>
                  </a:lnTo>
                  <a:lnTo>
                    <a:pt x="1022" y="27"/>
                  </a:lnTo>
                  <a:lnTo>
                    <a:pt x="1020" y="29"/>
                  </a:lnTo>
                  <a:lnTo>
                    <a:pt x="1014" y="27"/>
                  </a:lnTo>
                  <a:lnTo>
                    <a:pt x="1014" y="29"/>
                  </a:lnTo>
                  <a:lnTo>
                    <a:pt x="1014" y="29"/>
                  </a:lnTo>
                  <a:lnTo>
                    <a:pt x="1012" y="31"/>
                  </a:lnTo>
                  <a:lnTo>
                    <a:pt x="1012" y="31"/>
                  </a:lnTo>
                  <a:lnTo>
                    <a:pt x="1010" y="33"/>
                  </a:lnTo>
                  <a:lnTo>
                    <a:pt x="1010" y="33"/>
                  </a:lnTo>
                  <a:lnTo>
                    <a:pt x="1008" y="33"/>
                  </a:lnTo>
                  <a:lnTo>
                    <a:pt x="1008" y="33"/>
                  </a:lnTo>
                  <a:lnTo>
                    <a:pt x="1008" y="33"/>
                  </a:lnTo>
                  <a:lnTo>
                    <a:pt x="1008" y="33"/>
                  </a:lnTo>
                  <a:lnTo>
                    <a:pt x="1008" y="33"/>
                  </a:lnTo>
                  <a:lnTo>
                    <a:pt x="1008" y="31"/>
                  </a:lnTo>
                  <a:lnTo>
                    <a:pt x="1008" y="31"/>
                  </a:lnTo>
                  <a:lnTo>
                    <a:pt x="1006" y="31"/>
                  </a:lnTo>
                  <a:lnTo>
                    <a:pt x="1006" y="31"/>
                  </a:lnTo>
                  <a:lnTo>
                    <a:pt x="1004" y="31"/>
                  </a:lnTo>
                  <a:lnTo>
                    <a:pt x="1002" y="31"/>
                  </a:lnTo>
                  <a:lnTo>
                    <a:pt x="1002" y="31"/>
                  </a:lnTo>
                  <a:lnTo>
                    <a:pt x="1002" y="31"/>
                  </a:lnTo>
                  <a:lnTo>
                    <a:pt x="1002" y="31"/>
                  </a:lnTo>
                  <a:lnTo>
                    <a:pt x="1002" y="31"/>
                  </a:lnTo>
                  <a:lnTo>
                    <a:pt x="1002" y="29"/>
                  </a:lnTo>
                  <a:lnTo>
                    <a:pt x="1002" y="29"/>
                  </a:lnTo>
                  <a:lnTo>
                    <a:pt x="999" y="29"/>
                  </a:lnTo>
                  <a:lnTo>
                    <a:pt x="997" y="29"/>
                  </a:lnTo>
                  <a:lnTo>
                    <a:pt x="999" y="27"/>
                  </a:lnTo>
                  <a:lnTo>
                    <a:pt x="999" y="27"/>
                  </a:lnTo>
                  <a:lnTo>
                    <a:pt x="1002" y="27"/>
                  </a:lnTo>
                  <a:lnTo>
                    <a:pt x="1002" y="27"/>
                  </a:lnTo>
                  <a:lnTo>
                    <a:pt x="1002" y="27"/>
                  </a:lnTo>
                  <a:lnTo>
                    <a:pt x="1002" y="25"/>
                  </a:lnTo>
                  <a:lnTo>
                    <a:pt x="1002" y="25"/>
                  </a:lnTo>
                  <a:lnTo>
                    <a:pt x="1002" y="25"/>
                  </a:lnTo>
                  <a:lnTo>
                    <a:pt x="1002" y="25"/>
                  </a:lnTo>
                  <a:lnTo>
                    <a:pt x="1002" y="25"/>
                  </a:lnTo>
                  <a:lnTo>
                    <a:pt x="1002" y="23"/>
                  </a:lnTo>
                  <a:lnTo>
                    <a:pt x="1002" y="23"/>
                  </a:lnTo>
                  <a:lnTo>
                    <a:pt x="1002" y="23"/>
                  </a:lnTo>
                  <a:lnTo>
                    <a:pt x="1002" y="23"/>
                  </a:lnTo>
                  <a:lnTo>
                    <a:pt x="1002" y="21"/>
                  </a:lnTo>
                  <a:lnTo>
                    <a:pt x="1002" y="21"/>
                  </a:lnTo>
                  <a:lnTo>
                    <a:pt x="999" y="21"/>
                  </a:lnTo>
                  <a:lnTo>
                    <a:pt x="999" y="18"/>
                  </a:lnTo>
                  <a:lnTo>
                    <a:pt x="997" y="16"/>
                  </a:lnTo>
                  <a:lnTo>
                    <a:pt x="997" y="16"/>
                  </a:lnTo>
                  <a:lnTo>
                    <a:pt x="997" y="16"/>
                  </a:lnTo>
                  <a:lnTo>
                    <a:pt x="997" y="18"/>
                  </a:lnTo>
                  <a:lnTo>
                    <a:pt x="997" y="16"/>
                  </a:lnTo>
                  <a:lnTo>
                    <a:pt x="997" y="16"/>
                  </a:lnTo>
                  <a:lnTo>
                    <a:pt x="997" y="16"/>
                  </a:lnTo>
                  <a:lnTo>
                    <a:pt x="995" y="16"/>
                  </a:lnTo>
                  <a:lnTo>
                    <a:pt x="995" y="16"/>
                  </a:lnTo>
                  <a:lnTo>
                    <a:pt x="995" y="16"/>
                  </a:lnTo>
                  <a:lnTo>
                    <a:pt x="995" y="16"/>
                  </a:lnTo>
                  <a:lnTo>
                    <a:pt x="995" y="16"/>
                  </a:lnTo>
                  <a:lnTo>
                    <a:pt x="995" y="18"/>
                  </a:lnTo>
                  <a:lnTo>
                    <a:pt x="995" y="18"/>
                  </a:lnTo>
                  <a:lnTo>
                    <a:pt x="995" y="18"/>
                  </a:lnTo>
                  <a:lnTo>
                    <a:pt x="995" y="21"/>
                  </a:lnTo>
                  <a:lnTo>
                    <a:pt x="995" y="21"/>
                  </a:lnTo>
                  <a:lnTo>
                    <a:pt x="993" y="23"/>
                  </a:lnTo>
                  <a:lnTo>
                    <a:pt x="993" y="21"/>
                  </a:lnTo>
                  <a:lnTo>
                    <a:pt x="993" y="21"/>
                  </a:lnTo>
                  <a:lnTo>
                    <a:pt x="993" y="21"/>
                  </a:lnTo>
                  <a:lnTo>
                    <a:pt x="995" y="18"/>
                  </a:lnTo>
                  <a:lnTo>
                    <a:pt x="995" y="18"/>
                  </a:lnTo>
                  <a:lnTo>
                    <a:pt x="993" y="18"/>
                  </a:lnTo>
                  <a:lnTo>
                    <a:pt x="993" y="16"/>
                  </a:lnTo>
                  <a:lnTo>
                    <a:pt x="993" y="16"/>
                  </a:lnTo>
                  <a:lnTo>
                    <a:pt x="993" y="16"/>
                  </a:lnTo>
                  <a:lnTo>
                    <a:pt x="995" y="16"/>
                  </a:lnTo>
                  <a:lnTo>
                    <a:pt x="993" y="14"/>
                  </a:lnTo>
                  <a:lnTo>
                    <a:pt x="993" y="14"/>
                  </a:lnTo>
                  <a:lnTo>
                    <a:pt x="993" y="14"/>
                  </a:lnTo>
                  <a:lnTo>
                    <a:pt x="993" y="14"/>
                  </a:lnTo>
                  <a:lnTo>
                    <a:pt x="993" y="14"/>
                  </a:lnTo>
                  <a:lnTo>
                    <a:pt x="993" y="16"/>
                  </a:lnTo>
                  <a:lnTo>
                    <a:pt x="993" y="16"/>
                  </a:lnTo>
                  <a:lnTo>
                    <a:pt x="993" y="16"/>
                  </a:lnTo>
                  <a:lnTo>
                    <a:pt x="993" y="18"/>
                  </a:lnTo>
                  <a:lnTo>
                    <a:pt x="993" y="18"/>
                  </a:lnTo>
                  <a:lnTo>
                    <a:pt x="991" y="16"/>
                  </a:lnTo>
                  <a:lnTo>
                    <a:pt x="991" y="16"/>
                  </a:lnTo>
                  <a:lnTo>
                    <a:pt x="991" y="16"/>
                  </a:lnTo>
                  <a:lnTo>
                    <a:pt x="991" y="16"/>
                  </a:lnTo>
                  <a:lnTo>
                    <a:pt x="989" y="18"/>
                  </a:lnTo>
                  <a:lnTo>
                    <a:pt x="991" y="18"/>
                  </a:lnTo>
                  <a:lnTo>
                    <a:pt x="991" y="18"/>
                  </a:lnTo>
                  <a:lnTo>
                    <a:pt x="991" y="21"/>
                  </a:lnTo>
                  <a:lnTo>
                    <a:pt x="991" y="21"/>
                  </a:lnTo>
                  <a:lnTo>
                    <a:pt x="991" y="23"/>
                  </a:lnTo>
                  <a:lnTo>
                    <a:pt x="991" y="23"/>
                  </a:lnTo>
                  <a:lnTo>
                    <a:pt x="991" y="23"/>
                  </a:lnTo>
                  <a:lnTo>
                    <a:pt x="991" y="23"/>
                  </a:lnTo>
                  <a:lnTo>
                    <a:pt x="991" y="21"/>
                  </a:lnTo>
                  <a:lnTo>
                    <a:pt x="989" y="21"/>
                  </a:lnTo>
                  <a:lnTo>
                    <a:pt x="989" y="21"/>
                  </a:lnTo>
                  <a:lnTo>
                    <a:pt x="989" y="21"/>
                  </a:lnTo>
                  <a:lnTo>
                    <a:pt x="989" y="23"/>
                  </a:lnTo>
                  <a:lnTo>
                    <a:pt x="989" y="23"/>
                  </a:lnTo>
                  <a:lnTo>
                    <a:pt x="987" y="23"/>
                  </a:lnTo>
                  <a:lnTo>
                    <a:pt x="987" y="25"/>
                  </a:lnTo>
                  <a:lnTo>
                    <a:pt x="985" y="25"/>
                  </a:lnTo>
                  <a:lnTo>
                    <a:pt x="985" y="25"/>
                  </a:lnTo>
                  <a:lnTo>
                    <a:pt x="985" y="27"/>
                  </a:lnTo>
                  <a:lnTo>
                    <a:pt x="985" y="27"/>
                  </a:lnTo>
                  <a:lnTo>
                    <a:pt x="985" y="29"/>
                  </a:lnTo>
                  <a:lnTo>
                    <a:pt x="985" y="29"/>
                  </a:lnTo>
                  <a:lnTo>
                    <a:pt x="985" y="29"/>
                  </a:lnTo>
                  <a:lnTo>
                    <a:pt x="985" y="31"/>
                  </a:lnTo>
                  <a:lnTo>
                    <a:pt x="985" y="31"/>
                  </a:lnTo>
                  <a:lnTo>
                    <a:pt x="983" y="29"/>
                  </a:lnTo>
                  <a:lnTo>
                    <a:pt x="983" y="29"/>
                  </a:lnTo>
                  <a:lnTo>
                    <a:pt x="983" y="29"/>
                  </a:lnTo>
                  <a:lnTo>
                    <a:pt x="983" y="29"/>
                  </a:lnTo>
                  <a:lnTo>
                    <a:pt x="983" y="31"/>
                  </a:lnTo>
                  <a:lnTo>
                    <a:pt x="983" y="31"/>
                  </a:lnTo>
                  <a:lnTo>
                    <a:pt x="983" y="31"/>
                  </a:lnTo>
                  <a:lnTo>
                    <a:pt x="983" y="31"/>
                  </a:lnTo>
                  <a:lnTo>
                    <a:pt x="983" y="31"/>
                  </a:lnTo>
                  <a:lnTo>
                    <a:pt x="983" y="31"/>
                  </a:lnTo>
                  <a:lnTo>
                    <a:pt x="983" y="31"/>
                  </a:lnTo>
                  <a:lnTo>
                    <a:pt x="981" y="31"/>
                  </a:lnTo>
                  <a:lnTo>
                    <a:pt x="981" y="31"/>
                  </a:lnTo>
                  <a:lnTo>
                    <a:pt x="981" y="31"/>
                  </a:lnTo>
                  <a:lnTo>
                    <a:pt x="979" y="31"/>
                  </a:lnTo>
                  <a:lnTo>
                    <a:pt x="979" y="31"/>
                  </a:lnTo>
                  <a:lnTo>
                    <a:pt x="979" y="31"/>
                  </a:lnTo>
                  <a:lnTo>
                    <a:pt x="979" y="33"/>
                  </a:lnTo>
                  <a:lnTo>
                    <a:pt x="979" y="33"/>
                  </a:lnTo>
                  <a:lnTo>
                    <a:pt x="979" y="33"/>
                  </a:lnTo>
                  <a:lnTo>
                    <a:pt x="979" y="33"/>
                  </a:lnTo>
                  <a:lnTo>
                    <a:pt x="979" y="33"/>
                  </a:lnTo>
                  <a:lnTo>
                    <a:pt x="977" y="35"/>
                  </a:lnTo>
                  <a:lnTo>
                    <a:pt x="977" y="33"/>
                  </a:lnTo>
                  <a:lnTo>
                    <a:pt x="977" y="33"/>
                  </a:lnTo>
                  <a:lnTo>
                    <a:pt x="977" y="33"/>
                  </a:lnTo>
                  <a:lnTo>
                    <a:pt x="977" y="33"/>
                  </a:lnTo>
                  <a:lnTo>
                    <a:pt x="977" y="31"/>
                  </a:lnTo>
                  <a:lnTo>
                    <a:pt x="977" y="31"/>
                  </a:lnTo>
                  <a:lnTo>
                    <a:pt x="977" y="31"/>
                  </a:lnTo>
                  <a:lnTo>
                    <a:pt x="979" y="31"/>
                  </a:lnTo>
                  <a:lnTo>
                    <a:pt x="979" y="29"/>
                  </a:lnTo>
                  <a:lnTo>
                    <a:pt x="979" y="29"/>
                  </a:lnTo>
                  <a:lnTo>
                    <a:pt x="979" y="29"/>
                  </a:lnTo>
                  <a:lnTo>
                    <a:pt x="977" y="29"/>
                  </a:lnTo>
                  <a:lnTo>
                    <a:pt x="977" y="27"/>
                  </a:lnTo>
                  <a:lnTo>
                    <a:pt x="977" y="27"/>
                  </a:lnTo>
                  <a:lnTo>
                    <a:pt x="977" y="27"/>
                  </a:lnTo>
                  <a:lnTo>
                    <a:pt x="977" y="27"/>
                  </a:lnTo>
                  <a:lnTo>
                    <a:pt x="975" y="27"/>
                  </a:lnTo>
                  <a:lnTo>
                    <a:pt x="977" y="27"/>
                  </a:lnTo>
                  <a:lnTo>
                    <a:pt x="977" y="27"/>
                  </a:lnTo>
                  <a:lnTo>
                    <a:pt x="977" y="25"/>
                  </a:lnTo>
                  <a:lnTo>
                    <a:pt x="975" y="27"/>
                  </a:lnTo>
                  <a:lnTo>
                    <a:pt x="975" y="27"/>
                  </a:lnTo>
                  <a:lnTo>
                    <a:pt x="975" y="25"/>
                  </a:lnTo>
                  <a:lnTo>
                    <a:pt x="977" y="25"/>
                  </a:lnTo>
                  <a:lnTo>
                    <a:pt x="977" y="25"/>
                  </a:lnTo>
                  <a:lnTo>
                    <a:pt x="977" y="25"/>
                  </a:lnTo>
                  <a:lnTo>
                    <a:pt x="977" y="25"/>
                  </a:lnTo>
                  <a:lnTo>
                    <a:pt x="977" y="25"/>
                  </a:lnTo>
                  <a:lnTo>
                    <a:pt x="975" y="23"/>
                  </a:lnTo>
                  <a:lnTo>
                    <a:pt x="977" y="23"/>
                  </a:lnTo>
                  <a:lnTo>
                    <a:pt x="977" y="23"/>
                  </a:lnTo>
                  <a:lnTo>
                    <a:pt x="981" y="23"/>
                  </a:lnTo>
                  <a:lnTo>
                    <a:pt x="981" y="23"/>
                  </a:lnTo>
                  <a:lnTo>
                    <a:pt x="981" y="23"/>
                  </a:lnTo>
                  <a:lnTo>
                    <a:pt x="981" y="23"/>
                  </a:lnTo>
                  <a:lnTo>
                    <a:pt x="981" y="23"/>
                  </a:lnTo>
                  <a:lnTo>
                    <a:pt x="983" y="23"/>
                  </a:lnTo>
                  <a:lnTo>
                    <a:pt x="983" y="21"/>
                  </a:lnTo>
                  <a:lnTo>
                    <a:pt x="983" y="21"/>
                  </a:lnTo>
                  <a:lnTo>
                    <a:pt x="983" y="21"/>
                  </a:lnTo>
                  <a:lnTo>
                    <a:pt x="983" y="21"/>
                  </a:lnTo>
                  <a:lnTo>
                    <a:pt x="983" y="21"/>
                  </a:lnTo>
                  <a:lnTo>
                    <a:pt x="983" y="21"/>
                  </a:lnTo>
                  <a:lnTo>
                    <a:pt x="983" y="18"/>
                  </a:lnTo>
                  <a:lnTo>
                    <a:pt x="983" y="18"/>
                  </a:lnTo>
                  <a:lnTo>
                    <a:pt x="985" y="18"/>
                  </a:lnTo>
                  <a:lnTo>
                    <a:pt x="985" y="18"/>
                  </a:lnTo>
                  <a:lnTo>
                    <a:pt x="985" y="16"/>
                  </a:lnTo>
                  <a:lnTo>
                    <a:pt x="985" y="16"/>
                  </a:lnTo>
                  <a:lnTo>
                    <a:pt x="985" y="14"/>
                  </a:lnTo>
                  <a:lnTo>
                    <a:pt x="985" y="14"/>
                  </a:lnTo>
                  <a:lnTo>
                    <a:pt x="985" y="12"/>
                  </a:lnTo>
                  <a:lnTo>
                    <a:pt x="981" y="12"/>
                  </a:lnTo>
                  <a:lnTo>
                    <a:pt x="981" y="10"/>
                  </a:lnTo>
                  <a:lnTo>
                    <a:pt x="979" y="12"/>
                  </a:lnTo>
                  <a:lnTo>
                    <a:pt x="979" y="12"/>
                  </a:lnTo>
                  <a:lnTo>
                    <a:pt x="979" y="12"/>
                  </a:lnTo>
                  <a:lnTo>
                    <a:pt x="979" y="10"/>
                  </a:lnTo>
                  <a:lnTo>
                    <a:pt x="979" y="10"/>
                  </a:lnTo>
                  <a:lnTo>
                    <a:pt x="979" y="10"/>
                  </a:lnTo>
                  <a:lnTo>
                    <a:pt x="979" y="10"/>
                  </a:lnTo>
                  <a:lnTo>
                    <a:pt x="979" y="12"/>
                  </a:lnTo>
                  <a:lnTo>
                    <a:pt x="977" y="12"/>
                  </a:lnTo>
                  <a:lnTo>
                    <a:pt x="977" y="12"/>
                  </a:lnTo>
                  <a:lnTo>
                    <a:pt x="977" y="12"/>
                  </a:lnTo>
                  <a:lnTo>
                    <a:pt x="977" y="12"/>
                  </a:lnTo>
                  <a:lnTo>
                    <a:pt x="977" y="12"/>
                  </a:lnTo>
                  <a:lnTo>
                    <a:pt x="977" y="10"/>
                  </a:lnTo>
                  <a:lnTo>
                    <a:pt x="977" y="10"/>
                  </a:lnTo>
                  <a:lnTo>
                    <a:pt x="977" y="10"/>
                  </a:lnTo>
                  <a:lnTo>
                    <a:pt x="977" y="10"/>
                  </a:lnTo>
                  <a:lnTo>
                    <a:pt x="977" y="10"/>
                  </a:lnTo>
                  <a:lnTo>
                    <a:pt x="975" y="8"/>
                  </a:lnTo>
                  <a:lnTo>
                    <a:pt x="975" y="8"/>
                  </a:lnTo>
                  <a:lnTo>
                    <a:pt x="971" y="8"/>
                  </a:lnTo>
                  <a:lnTo>
                    <a:pt x="971" y="8"/>
                  </a:lnTo>
                  <a:lnTo>
                    <a:pt x="971" y="8"/>
                  </a:lnTo>
                  <a:lnTo>
                    <a:pt x="971" y="6"/>
                  </a:lnTo>
                  <a:lnTo>
                    <a:pt x="969" y="6"/>
                  </a:lnTo>
                  <a:lnTo>
                    <a:pt x="969" y="6"/>
                  </a:lnTo>
                  <a:lnTo>
                    <a:pt x="969" y="4"/>
                  </a:lnTo>
                  <a:lnTo>
                    <a:pt x="969" y="4"/>
                  </a:lnTo>
                  <a:lnTo>
                    <a:pt x="969" y="4"/>
                  </a:lnTo>
                  <a:lnTo>
                    <a:pt x="969" y="4"/>
                  </a:lnTo>
                  <a:lnTo>
                    <a:pt x="969" y="2"/>
                  </a:lnTo>
                  <a:lnTo>
                    <a:pt x="971" y="2"/>
                  </a:lnTo>
                  <a:lnTo>
                    <a:pt x="971" y="2"/>
                  </a:lnTo>
                  <a:lnTo>
                    <a:pt x="971" y="2"/>
                  </a:lnTo>
                  <a:lnTo>
                    <a:pt x="973" y="2"/>
                  </a:lnTo>
                  <a:lnTo>
                    <a:pt x="971" y="2"/>
                  </a:lnTo>
                  <a:lnTo>
                    <a:pt x="971" y="0"/>
                  </a:lnTo>
                  <a:lnTo>
                    <a:pt x="971" y="0"/>
                  </a:lnTo>
                  <a:lnTo>
                    <a:pt x="971" y="0"/>
                  </a:lnTo>
                  <a:lnTo>
                    <a:pt x="969" y="2"/>
                  </a:lnTo>
                  <a:lnTo>
                    <a:pt x="969" y="2"/>
                  </a:lnTo>
                  <a:lnTo>
                    <a:pt x="967" y="4"/>
                  </a:lnTo>
                  <a:lnTo>
                    <a:pt x="965" y="6"/>
                  </a:lnTo>
                  <a:lnTo>
                    <a:pt x="961" y="10"/>
                  </a:lnTo>
                  <a:lnTo>
                    <a:pt x="959" y="12"/>
                  </a:lnTo>
                  <a:lnTo>
                    <a:pt x="956" y="16"/>
                  </a:lnTo>
                  <a:lnTo>
                    <a:pt x="950" y="23"/>
                  </a:lnTo>
                  <a:lnTo>
                    <a:pt x="950" y="23"/>
                  </a:lnTo>
                  <a:lnTo>
                    <a:pt x="950" y="23"/>
                  </a:lnTo>
                  <a:lnTo>
                    <a:pt x="950" y="25"/>
                  </a:lnTo>
                  <a:lnTo>
                    <a:pt x="948" y="25"/>
                  </a:lnTo>
                  <a:lnTo>
                    <a:pt x="944" y="27"/>
                  </a:lnTo>
                  <a:lnTo>
                    <a:pt x="942" y="29"/>
                  </a:lnTo>
                  <a:lnTo>
                    <a:pt x="936" y="29"/>
                  </a:lnTo>
                  <a:lnTo>
                    <a:pt x="934" y="27"/>
                  </a:lnTo>
                  <a:lnTo>
                    <a:pt x="934" y="27"/>
                  </a:lnTo>
                  <a:lnTo>
                    <a:pt x="934" y="29"/>
                  </a:lnTo>
                  <a:lnTo>
                    <a:pt x="934" y="29"/>
                  </a:lnTo>
                  <a:lnTo>
                    <a:pt x="936" y="29"/>
                  </a:lnTo>
                  <a:lnTo>
                    <a:pt x="930" y="31"/>
                  </a:lnTo>
                  <a:lnTo>
                    <a:pt x="924" y="29"/>
                  </a:lnTo>
                  <a:lnTo>
                    <a:pt x="924" y="29"/>
                  </a:lnTo>
                  <a:lnTo>
                    <a:pt x="924" y="29"/>
                  </a:lnTo>
                  <a:lnTo>
                    <a:pt x="926" y="29"/>
                  </a:lnTo>
                  <a:lnTo>
                    <a:pt x="926" y="31"/>
                  </a:lnTo>
                  <a:lnTo>
                    <a:pt x="922" y="31"/>
                  </a:lnTo>
                  <a:lnTo>
                    <a:pt x="922" y="31"/>
                  </a:lnTo>
                  <a:lnTo>
                    <a:pt x="920" y="31"/>
                  </a:lnTo>
                  <a:lnTo>
                    <a:pt x="920" y="31"/>
                  </a:lnTo>
                  <a:lnTo>
                    <a:pt x="922" y="35"/>
                  </a:lnTo>
                  <a:lnTo>
                    <a:pt x="920" y="35"/>
                  </a:lnTo>
                  <a:lnTo>
                    <a:pt x="920" y="33"/>
                  </a:lnTo>
                  <a:lnTo>
                    <a:pt x="920" y="33"/>
                  </a:lnTo>
                  <a:lnTo>
                    <a:pt x="920" y="31"/>
                  </a:lnTo>
                  <a:lnTo>
                    <a:pt x="920" y="31"/>
                  </a:lnTo>
                  <a:lnTo>
                    <a:pt x="920" y="31"/>
                  </a:lnTo>
                  <a:lnTo>
                    <a:pt x="920" y="31"/>
                  </a:lnTo>
                  <a:lnTo>
                    <a:pt x="920" y="31"/>
                  </a:lnTo>
                  <a:lnTo>
                    <a:pt x="920" y="31"/>
                  </a:lnTo>
                  <a:lnTo>
                    <a:pt x="918" y="31"/>
                  </a:lnTo>
                  <a:lnTo>
                    <a:pt x="918" y="31"/>
                  </a:lnTo>
                  <a:lnTo>
                    <a:pt x="918" y="31"/>
                  </a:lnTo>
                  <a:lnTo>
                    <a:pt x="918" y="31"/>
                  </a:lnTo>
                  <a:lnTo>
                    <a:pt x="918" y="29"/>
                  </a:lnTo>
                  <a:lnTo>
                    <a:pt x="918" y="29"/>
                  </a:lnTo>
                  <a:lnTo>
                    <a:pt x="920" y="29"/>
                  </a:lnTo>
                  <a:lnTo>
                    <a:pt x="922" y="29"/>
                  </a:lnTo>
                  <a:lnTo>
                    <a:pt x="922" y="29"/>
                  </a:lnTo>
                  <a:lnTo>
                    <a:pt x="922" y="27"/>
                  </a:lnTo>
                  <a:lnTo>
                    <a:pt x="922" y="27"/>
                  </a:lnTo>
                  <a:lnTo>
                    <a:pt x="918" y="27"/>
                  </a:lnTo>
                  <a:lnTo>
                    <a:pt x="920" y="27"/>
                  </a:lnTo>
                  <a:lnTo>
                    <a:pt x="922" y="25"/>
                  </a:lnTo>
                  <a:lnTo>
                    <a:pt x="922" y="25"/>
                  </a:lnTo>
                  <a:lnTo>
                    <a:pt x="920" y="25"/>
                  </a:lnTo>
                  <a:lnTo>
                    <a:pt x="918" y="27"/>
                  </a:lnTo>
                  <a:lnTo>
                    <a:pt x="918" y="27"/>
                  </a:lnTo>
                  <a:lnTo>
                    <a:pt x="916" y="27"/>
                  </a:lnTo>
                  <a:lnTo>
                    <a:pt x="916" y="27"/>
                  </a:lnTo>
                  <a:lnTo>
                    <a:pt x="916" y="29"/>
                  </a:lnTo>
                  <a:lnTo>
                    <a:pt x="913" y="29"/>
                  </a:lnTo>
                  <a:lnTo>
                    <a:pt x="913" y="29"/>
                  </a:lnTo>
                  <a:lnTo>
                    <a:pt x="913" y="29"/>
                  </a:lnTo>
                  <a:lnTo>
                    <a:pt x="913" y="29"/>
                  </a:lnTo>
                  <a:lnTo>
                    <a:pt x="911" y="31"/>
                  </a:lnTo>
                  <a:lnTo>
                    <a:pt x="909" y="33"/>
                  </a:lnTo>
                  <a:lnTo>
                    <a:pt x="909" y="33"/>
                  </a:lnTo>
                  <a:lnTo>
                    <a:pt x="909" y="33"/>
                  </a:lnTo>
                  <a:lnTo>
                    <a:pt x="909" y="33"/>
                  </a:lnTo>
                  <a:lnTo>
                    <a:pt x="909" y="33"/>
                  </a:lnTo>
                  <a:lnTo>
                    <a:pt x="905" y="35"/>
                  </a:lnTo>
                  <a:lnTo>
                    <a:pt x="905" y="37"/>
                  </a:lnTo>
                  <a:lnTo>
                    <a:pt x="905" y="37"/>
                  </a:lnTo>
                  <a:lnTo>
                    <a:pt x="905" y="37"/>
                  </a:lnTo>
                  <a:lnTo>
                    <a:pt x="905" y="37"/>
                  </a:lnTo>
                  <a:lnTo>
                    <a:pt x="905" y="37"/>
                  </a:lnTo>
                  <a:lnTo>
                    <a:pt x="907" y="37"/>
                  </a:lnTo>
                  <a:lnTo>
                    <a:pt x="907" y="37"/>
                  </a:lnTo>
                  <a:lnTo>
                    <a:pt x="909" y="37"/>
                  </a:lnTo>
                  <a:lnTo>
                    <a:pt x="909" y="39"/>
                  </a:lnTo>
                  <a:lnTo>
                    <a:pt x="909" y="39"/>
                  </a:lnTo>
                  <a:lnTo>
                    <a:pt x="909" y="39"/>
                  </a:lnTo>
                  <a:lnTo>
                    <a:pt x="909" y="39"/>
                  </a:lnTo>
                  <a:lnTo>
                    <a:pt x="909" y="39"/>
                  </a:lnTo>
                  <a:lnTo>
                    <a:pt x="909" y="41"/>
                  </a:lnTo>
                  <a:lnTo>
                    <a:pt x="909" y="41"/>
                  </a:lnTo>
                  <a:lnTo>
                    <a:pt x="909" y="41"/>
                  </a:lnTo>
                  <a:lnTo>
                    <a:pt x="909" y="43"/>
                  </a:lnTo>
                  <a:lnTo>
                    <a:pt x="911" y="43"/>
                  </a:lnTo>
                  <a:lnTo>
                    <a:pt x="911" y="43"/>
                  </a:lnTo>
                  <a:lnTo>
                    <a:pt x="911" y="43"/>
                  </a:lnTo>
                  <a:lnTo>
                    <a:pt x="911" y="43"/>
                  </a:lnTo>
                  <a:lnTo>
                    <a:pt x="911" y="43"/>
                  </a:lnTo>
                  <a:lnTo>
                    <a:pt x="911" y="43"/>
                  </a:lnTo>
                  <a:lnTo>
                    <a:pt x="913" y="43"/>
                  </a:lnTo>
                  <a:lnTo>
                    <a:pt x="913" y="43"/>
                  </a:lnTo>
                  <a:lnTo>
                    <a:pt x="913" y="43"/>
                  </a:lnTo>
                  <a:lnTo>
                    <a:pt x="913" y="43"/>
                  </a:lnTo>
                  <a:lnTo>
                    <a:pt x="913" y="43"/>
                  </a:lnTo>
                  <a:lnTo>
                    <a:pt x="913" y="43"/>
                  </a:lnTo>
                  <a:lnTo>
                    <a:pt x="913" y="43"/>
                  </a:lnTo>
                  <a:lnTo>
                    <a:pt x="913" y="43"/>
                  </a:lnTo>
                  <a:lnTo>
                    <a:pt x="916" y="43"/>
                  </a:lnTo>
                  <a:lnTo>
                    <a:pt x="916" y="43"/>
                  </a:lnTo>
                  <a:lnTo>
                    <a:pt x="920" y="43"/>
                  </a:lnTo>
                  <a:lnTo>
                    <a:pt x="918" y="43"/>
                  </a:lnTo>
                  <a:lnTo>
                    <a:pt x="918" y="43"/>
                  </a:lnTo>
                  <a:lnTo>
                    <a:pt x="918" y="43"/>
                  </a:lnTo>
                  <a:lnTo>
                    <a:pt x="916" y="43"/>
                  </a:lnTo>
                  <a:lnTo>
                    <a:pt x="916" y="43"/>
                  </a:lnTo>
                  <a:lnTo>
                    <a:pt x="916" y="43"/>
                  </a:lnTo>
                  <a:lnTo>
                    <a:pt x="916" y="43"/>
                  </a:lnTo>
                  <a:lnTo>
                    <a:pt x="916" y="43"/>
                  </a:lnTo>
                  <a:lnTo>
                    <a:pt x="913" y="43"/>
                  </a:lnTo>
                  <a:lnTo>
                    <a:pt x="913" y="43"/>
                  </a:lnTo>
                  <a:lnTo>
                    <a:pt x="911" y="45"/>
                  </a:lnTo>
                  <a:lnTo>
                    <a:pt x="911" y="45"/>
                  </a:lnTo>
                  <a:lnTo>
                    <a:pt x="911" y="45"/>
                  </a:lnTo>
                  <a:lnTo>
                    <a:pt x="909" y="43"/>
                  </a:lnTo>
                  <a:lnTo>
                    <a:pt x="909" y="43"/>
                  </a:lnTo>
                  <a:lnTo>
                    <a:pt x="909" y="43"/>
                  </a:lnTo>
                  <a:lnTo>
                    <a:pt x="909" y="45"/>
                  </a:lnTo>
                  <a:lnTo>
                    <a:pt x="909" y="45"/>
                  </a:lnTo>
                  <a:lnTo>
                    <a:pt x="907" y="47"/>
                  </a:lnTo>
                  <a:lnTo>
                    <a:pt x="907" y="47"/>
                  </a:lnTo>
                  <a:lnTo>
                    <a:pt x="907" y="47"/>
                  </a:lnTo>
                  <a:lnTo>
                    <a:pt x="907" y="47"/>
                  </a:lnTo>
                  <a:lnTo>
                    <a:pt x="907" y="49"/>
                  </a:lnTo>
                  <a:lnTo>
                    <a:pt x="907" y="49"/>
                  </a:lnTo>
                  <a:lnTo>
                    <a:pt x="907" y="49"/>
                  </a:lnTo>
                  <a:lnTo>
                    <a:pt x="907" y="51"/>
                  </a:lnTo>
                  <a:lnTo>
                    <a:pt x="907" y="51"/>
                  </a:lnTo>
                  <a:lnTo>
                    <a:pt x="907" y="51"/>
                  </a:lnTo>
                  <a:lnTo>
                    <a:pt x="907" y="51"/>
                  </a:lnTo>
                  <a:lnTo>
                    <a:pt x="907" y="51"/>
                  </a:lnTo>
                  <a:lnTo>
                    <a:pt x="907" y="53"/>
                  </a:lnTo>
                  <a:lnTo>
                    <a:pt x="907" y="53"/>
                  </a:lnTo>
                  <a:lnTo>
                    <a:pt x="907" y="53"/>
                  </a:lnTo>
                  <a:lnTo>
                    <a:pt x="907" y="53"/>
                  </a:lnTo>
                  <a:lnTo>
                    <a:pt x="907" y="55"/>
                  </a:lnTo>
                  <a:lnTo>
                    <a:pt x="907" y="55"/>
                  </a:lnTo>
                  <a:lnTo>
                    <a:pt x="907" y="55"/>
                  </a:lnTo>
                  <a:lnTo>
                    <a:pt x="909" y="57"/>
                  </a:lnTo>
                  <a:lnTo>
                    <a:pt x="909" y="57"/>
                  </a:lnTo>
                  <a:lnTo>
                    <a:pt x="909" y="59"/>
                  </a:lnTo>
                  <a:lnTo>
                    <a:pt x="907" y="57"/>
                  </a:lnTo>
                  <a:lnTo>
                    <a:pt x="907" y="55"/>
                  </a:lnTo>
                  <a:lnTo>
                    <a:pt x="907" y="55"/>
                  </a:lnTo>
                  <a:lnTo>
                    <a:pt x="907" y="53"/>
                  </a:lnTo>
                  <a:lnTo>
                    <a:pt x="907" y="53"/>
                  </a:lnTo>
                  <a:lnTo>
                    <a:pt x="907" y="53"/>
                  </a:lnTo>
                  <a:lnTo>
                    <a:pt x="907" y="53"/>
                  </a:lnTo>
                  <a:lnTo>
                    <a:pt x="907" y="53"/>
                  </a:lnTo>
                  <a:lnTo>
                    <a:pt x="907" y="53"/>
                  </a:lnTo>
                  <a:lnTo>
                    <a:pt x="907" y="53"/>
                  </a:lnTo>
                  <a:lnTo>
                    <a:pt x="907" y="53"/>
                  </a:lnTo>
                  <a:lnTo>
                    <a:pt x="907" y="53"/>
                  </a:lnTo>
                  <a:lnTo>
                    <a:pt x="907" y="51"/>
                  </a:lnTo>
                  <a:lnTo>
                    <a:pt x="907" y="51"/>
                  </a:lnTo>
                  <a:lnTo>
                    <a:pt x="907" y="51"/>
                  </a:lnTo>
                  <a:lnTo>
                    <a:pt x="907" y="51"/>
                  </a:lnTo>
                  <a:lnTo>
                    <a:pt x="907" y="51"/>
                  </a:lnTo>
                  <a:lnTo>
                    <a:pt x="907" y="49"/>
                  </a:lnTo>
                  <a:lnTo>
                    <a:pt x="907" y="49"/>
                  </a:lnTo>
                  <a:lnTo>
                    <a:pt x="905" y="49"/>
                  </a:lnTo>
                  <a:lnTo>
                    <a:pt x="905" y="49"/>
                  </a:lnTo>
                  <a:lnTo>
                    <a:pt x="903" y="51"/>
                  </a:lnTo>
                  <a:lnTo>
                    <a:pt x="903" y="51"/>
                  </a:lnTo>
                  <a:lnTo>
                    <a:pt x="903" y="51"/>
                  </a:lnTo>
                  <a:lnTo>
                    <a:pt x="905" y="49"/>
                  </a:lnTo>
                  <a:lnTo>
                    <a:pt x="905" y="49"/>
                  </a:lnTo>
                  <a:lnTo>
                    <a:pt x="905" y="47"/>
                  </a:lnTo>
                  <a:lnTo>
                    <a:pt x="905" y="47"/>
                  </a:lnTo>
                  <a:lnTo>
                    <a:pt x="905" y="45"/>
                  </a:lnTo>
                  <a:lnTo>
                    <a:pt x="907" y="45"/>
                  </a:lnTo>
                  <a:lnTo>
                    <a:pt x="907" y="45"/>
                  </a:lnTo>
                  <a:lnTo>
                    <a:pt x="907" y="43"/>
                  </a:lnTo>
                  <a:lnTo>
                    <a:pt x="907" y="43"/>
                  </a:lnTo>
                  <a:lnTo>
                    <a:pt x="903" y="45"/>
                  </a:lnTo>
                  <a:lnTo>
                    <a:pt x="903" y="45"/>
                  </a:lnTo>
                  <a:lnTo>
                    <a:pt x="903" y="43"/>
                  </a:lnTo>
                  <a:lnTo>
                    <a:pt x="903" y="43"/>
                  </a:lnTo>
                  <a:lnTo>
                    <a:pt x="905" y="43"/>
                  </a:lnTo>
                  <a:lnTo>
                    <a:pt x="905" y="43"/>
                  </a:lnTo>
                  <a:lnTo>
                    <a:pt x="905" y="41"/>
                  </a:lnTo>
                  <a:lnTo>
                    <a:pt x="907" y="43"/>
                  </a:lnTo>
                  <a:lnTo>
                    <a:pt x="907" y="41"/>
                  </a:lnTo>
                  <a:lnTo>
                    <a:pt x="907" y="41"/>
                  </a:lnTo>
                  <a:lnTo>
                    <a:pt x="907" y="41"/>
                  </a:lnTo>
                  <a:lnTo>
                    <a:pt x="907" y="41"/>
                  </a:lnTo>
                  <a:lnTo>
                    <a:pt x="907" y="41"/>
                  </a:lnTo>
                  <a:lnTo>
                    <a:pt x="907" y="39"/>
                  </a:lnTo>
                  <a:lnTo>
                    <a:pt x="907" y="39"/>
                  </a:lnTo>
                  <a:lnTo>
                    <a:pt x="907" y="39"/>
                  </a:lnTo>
                  <a:lnTo>
                    <a:pt x="907" y="39"/>
                  </a:lnTo>
                  <a:lnTo>
                    <a:pt x="905" y="39"/>
                  </a:lnTo>
                  <a:lnTo>
                    <a:pt x="905" y="39"/>
                  </a:lnTo>
                  <a:lnTo>
                    <a:pt x="903" y="39"/>
                  </a:lnTo>
                  <a:lnTo>
                    <a:pt x="903" y="39"/>
                  </a:lnTo>
                  <a:lnTo>
                    <a:pt x="903" y="39"/>
                  </a:lnTo>
                  <a:lnTo>
                    <a:pt x="903" y="37"/>
                  </a:lnTo>
                  <a:lnTo>
                    <a:pt x="903" y="37"/>
                  </a:lnTo>
                  <a:lnTo>
                    <a:pt x="903" y="37"/>
                  </a:lnTo>
                  <a:lnTo>
                    <a:pt x="903" y="37"/>
                  </a:lnTo>
                  <a:lnTo>
                    <a:pt x="903" y="39"/>
                  </a:lnTo>
                  <a:lnTo>
                    <a:pt x="897" y="43"/>
                  </a:lnTo>
                  <a:lnTo>
                    <a:pt x="893" y="45"/>
                  </a:lnTo>
                  <a:lnTo>
                    <a:pt x="891" y="47"/>
                  </a:lnTo>
                  <a:lnTo>
                    <a:pt x="891" y="47"/>
                  </a:lnTo>
                  <a:lnTo>
                    <a:pt x="893" y="45"/>
                  </a:lnTo>
                  <a:lnTo>
                    <a:pt x="895" y="45"/>
                  </a:lnTo>
                  <a:lnTo>
                    <a:pt x="895" y="45"/>
                  </a:lnTo>
                  <a:lnTo>
                    <a:pt x="895" y="45"/>
                  </a:lnTo>
                  <a:lnTo>
                    <a:pt x="891" y="49"/>
                  </a:lnTo>
                  <a:lnTo>
                    <a:pt x="889" y="49"/>
                  </a:lnTo>
                  <a:lnTo>
                    <a:pt x="887" y="51"/>
                  </a:lnTo>
                  <a:lnTo>
                    <a:pt x="887" y="51"/>
                  </a:lnTo>
                  <a:lnTo>
                    <a:pt x="889" y="51"/>
                  </a:lnTo>
                  <a:lnTo>
                    <a:pt x="889" y="51"/>
                  </a:lnTo>
                  <a:lnTo>
                    <a:pt x="887" y="51"/>
                  </a:lnTo>
                  <a:lnTo>
                    <a:pt x="887" y="51"/>
                  </a:lnTo>
                  <a:lnTo>
                    <a:pt x="887" y="51"/>
                  </a:lnTo>
                  <a:lnTo>
                    <a:pt x="887" y="51"/>
                  </a:lnTo>
                  <a:lnTo>
                    <a:pt x="887" y="51"/>
                  </a:lnTo>
                  <a:lnTo>
                    <a:pt x="887" y="51"/>
                  </a:lnTo>
                  <a:lnTo>
                    <a:pt x="883" y="51"/>
                  </a:lnTo>
                  <a:lnTo>
                    <a:pt x="881" y="53"/>
                  </a:lnTo>
                  <a:lnTo>
                    <a:pt x="877" y="53"/>
                  </a:lnTo>
                  <a:lnTo>
                    <a:pt x="877" y="53"/>
                  </a:lnTo>
                  <a:lnTo>
                    <a:pt x="875" y="53"/>
                  </a:lnTo>
                  <a:lnTo>
                    <a:pt x="875" y="53"/>
                  </a:lnTo>
                  <a:lnTo>
                    <a:pt x="875" y="53"/>
                  </a:lnTo>
                  <a:lnTo>
                    <a:pt x="875" y="53"/>
                  </a:lnTo>
                  <a:lnTo>
                    <a:pt x="875" y="53"/>
                  </a:lnTo>
                  <a:lnTo>
                    <a:pt x="875" y="53"/>
                  </a:lnTo>
                  <a:lnTo>
                    <a:pt x="875" y="53"/>
                  </a:lnTo>
                  <a:lnTo>
                    <a:pt x="875" y="55"/>
                  </a:lnTo>
                  <a:lnTo>
                    <a:pt x="875" y="55"/>
                  </a:lnTo>
                  <a:lnTo>
                    <a:pt x="875" y="55"/>
                  </a:lnTo>
                  <a:lnTo>
                    <a:pt x="875" y="55"/>
                  </a:lnTo>
                  <a:lnTo>
                    <a:pt x="875" y="55"/>
                  </a:lnTo>
                  <a:lnTo>
                    <a:pt x="873" y="55"/>
                  </a:lnTo>
                  <a:lnTo>
                    <a:pt x="873" y="55"/>
                  </a:lnTo>
                  <a:lnTo>
                    <a:pt x="873" y="55"/>
                  </a:lnTo>
                  <a:lnTo>
                    <a:pt x="870" y="57"/>
                  </a:lnTo>
                  <a:lnTo>
                    <a:pt x="866" y="57"/>
                  </a:lnTo>
                  <a:lnTo>
                    <a:pt x="866" y="55"/>
                  </a:lnTo>
                  <a:lnTo>
                    <a:pt x="866" y="55"/>
                  </a:lnTo>
                  <a:lnTo>
                    <a:pt x="868" y="55"/>
                  </a:lnTo>
                  <a:lnTo>
                    <a:pt x="868" y="55"/>
                  </a:lnTo>
                  <a:lnTo>
                    <a:pt x="868" y="55"/>
                  </a:lnTo>
                  <a:lnTo>
                    <a:pt x="868" y="55"/>
                  </a:lnTo>
                  <a:lnTo>
                    <a:pt x="870" y="55"/>
                  </a:lnTo>
                  <a:lnTo>
                    <a:pt x="870" y="55"/>
                  </a:lnTo>
                  <a:lnTo>
                    <a:pt x="873" y="55"/>
                  </a:lnTo>
                  <a:lnTo>
                    <a:pt x="873" y="53"/>
                  </a:lnTo>
                  <a:lnTo>
                    <a:pt x="873" y="53"/>
                  </a:lnTo>
                  <a:lnTo>
                    <a:pt x="873" y="53"/>
                  </a:lnTo>
                  <a:lnTo>
                    <a:pt x="873" y="53"/>
                  </a:lnTo>
                  <a:lnTo>
                    <a:pt x="873" y="53"/>
                  </a:lnTo>
                  <a:lnTo>
                    <a:pt x="873" y="53"/>
                  </a:lnTo>
                  <a:lnTo>
                    <a:pt x="870" y="51"/>
                  </a:lnTo>
                  <a:lnTo>
                    <a:pt x="873" y="51"/>
                  </a:lnTo>
                  <a:lnTo>
                    <a:pt x="875" y="53"/>
                  </a:lnTo>
                  <a:lnTo>
                    <a:pt x="875" y="51"/>
                  </a:lnTo>
                  <a:lnTo>
                    <a:pt x="875" y="51"/>
                  </a:lnTo>
                  <a:lnTo>
                    <a:pt x="873" y="51"/>
                  </a:lnTo>
                  <a:lnTo>
                    <a:pt x="873" y="49"/>
                  </a:lnTo>
                  <a:lnTo>
                    <a:pt x="873" y="49"/>
                  </a:lnTo>
                  <a:lnTo>
                    <a:pt x="873" y="49"/>
                  </a:lnTo>
                  <a:lnTo>
                    <a:pt x="873" y="49"/>
                  </a:lnTo>
                  <a:lnTo>
                    <a:pt x="873" y="49"/>
                  </a:lnTo>
                  <a:lnTo>
                    <a:pt x="873" y="49"/>
                  </a:lnTo>
                  <a:lnTo>
                    <a:pt x="873" y="49"/>
                  </a:lnTo>
                  <a:lnTo>
                    <a:pt x="873" y="49"/>
                  </a:lnTo>
                  <a:lnTo>
                    <a:pt x="870" y="49"/>
                  </a:lnTo>
                  <a:lnTo>
                    <a:pt x="870" y="49"/>
                  </a:lnTo>
                  <a:lnTo>
                    <a:pt x="868" y="51"/>
                  </a:lnTo>
                  <a:lnTo>
                    <a:pt x="868" y="51"/>
                  </a:lnTo>
                  <a:lnTo>
                    <a:pt x="868" y="51"/>
                  </a:lnTo>
                  <a:lnTo>
                    <a:pt x="866" y="53"/>
                  </a:lnTo>
                  <a:lnTo>
                    <a:pt x="866" y="53"/>
                  </a:lnTo>
                  <a:lnTo>
                    <a:pt x="866" y="55"/>
                  </a:lnTo>
                  <a:lnTo>
                    <a:pt x="866" y="55"/>
                  </a:lnTo>
                  <a:lnTo>
                    <a:pt x="866" y="55"/>
                  </a:lnTo>
                  <a:lnTo>
                    <a:pt x="864" y="55"/>
                  </a:lnTo>
                  <a:lnTo>
                    <a:pt x="864" y="55"/>
                  </a:lnTo>
                  <a:lnTo>
                    <a:pt x="864" y="55"/>
                  </a:lnTo>
                  <a:lnTo>
                    <a:pt x="864" y="55"/>
                  </a:lnTo>
                  <a:lnTo>
                    <a:pt x="862" y="57"/>
                  </a:lnTo>
                  <a:lnTo>
                    <a:pt x="862" y="59"/>
                  </a:lnTo>
                  <a:lnTo>
                    <a:pt x="862" y="59"/>
                  </a:lnTo>
                  <a:lnTo>
                    <a:pt x="862" y="59"/>
                  </a:lnTo>
                  <a:lnTo>
                    <a:pt x="862" y="59"/>
                  </a:lnTo>
                  <a:lnTo>
                    <a:pt x="862" y="61"/>
                  </a:lnTo>
                  <a:lnTo>
                    <a:pt x="862" y="61"/>
                  </a:lnTo>
                  <a:lnTo>
                    <a:pt x="860" y="61"/>
                  </a:lnTo>
                  <a:lnTo>
                    <a:pt x="860" y="61"/>
                  </a:lnTo>
                  <a:lnTo>
                    <a:pt x="860" y="61"/>
                  </a:lnTo>
                  <a:lnTo>
                    <a:pt x="860" y="61"/>
                  </a:lnTo>
                  <a:lnTo>
                    <a:pt x="858" y="64"/>
                  </a:lnTo>
                  <a:lnTo>
                    <a:pt x="858" y="66"/>
                  </a:lnTo>
                  <a:lnTo>
                    <a:pt x="858" y="66"/>
                  </a:lnTo>
                  <a:lnTo>
                    <a:pt x="856" y="66"/>
                  </a:lnTo>
                  <a:lnTo>
                    <a:pt x="854" y="68"/>
                  </a:lnTo>
                  <a:lnTo>
                    <a:pt x="854" y="70"/>
                  </a:lnTo>
                  <a:lnTo>
                    <a:pt x="854" y="70"/>
                  </a:lnTo>
                  <a:lnTo>
                    <a:pt x="852" y="70"/>
                  </a:lnTo>
                  <a:lnTo>
                    <a:pt x="850" y="74"/>
                  </a:lnTo>
                  <a:lnTo>
                    <a:pt x="848" y="74"/>
                  </a:lnTo>
                  <a:lnTo>
                    <a:pt x="848" y="74"/>
                  </a:lnTo>
                  <a:lnTo>
                    <a:pt x="848" y="74"/>
                  </a:lnTo>
                  <a:lnTo>
                    <a:pt x="848" y="76"/>
                  </a:lnTo>
                  <a:lnTo>
                    <a:pt x="848" y="76"/>
                  </a:lnTo>
                  <a:lnTo>
                    <a:pt x="848" y="76"/>
                  </a:lnTo>
                  <a:lnTo>
                    <a:pt x="848" y="76"/>
                  </a:lnTo>
                  <a:lnTo>
                    <a:pt x="848" y="76"/>
                  </a:lnTo>
                  <a:lnTo>
                    <a:pt x="848" y="78"/>
                  </a:lnTo>
                  <a:lnTo>
                    <a:pt x="848" y="78"/>
                  </a:lnTo>
                  <a:lnTo>
                    <a:pt x="848" y="78"/>
                  </a:lnTo>
                  <a:lnTo>
                    <a:pt x="846" y="78"/>
                  </a:lnTo>
                  <a:lnTo>
                    <a:pt x="846" y="78"/>
                  </a:lnTo>
                  <a:lnTo>
                    <a:pt x="846" y="80"/>
                  </a:lnTo>
                  <a:lnTo>
                    <a:pt x="846" y="80"/>
                  </a:lnTo>
                  <a:lnTo>
                    <a:pt x="846" y="80"/>
                  </a:lnTo>
                  <a:lnTo>
                    <a:pt x="846" y="82"/>
                  </a:lnTo>
                  <a:lnTo>
                    <a:pt x="846" y="82"/>
                  </a:lnTo>
                  <a:lnTo>
                    <a:pt x="846" y="82"/>
                  </a:lnTo>
                  <a:lnTo>
                    <a:pt x="846" y="82"/>
                  </a:lnTo>
                  <a:lnTo>
                    <a:pt x="844" y="82"/>
                  </a:lnTo>
                  <a:lnTo>
                    <a:pt x="844" y="82"/>
                  </a:lnTo>
                  <a:lnTo>
                    <a:pt x="846" y="82"/>
                  </a:lnTo>
                  <a:lnTo>
                    <a:pt x="846" y="84"/>
                  </a:lnTo>
                  <a:lnTo>
                    <a:pt x="846" y="84"/>
                  </a:lnTo>
                  <a:lnTo>
                    <a:pt x="846" y="84"/>
                  </a:lnTo>
                  <a:lnTo>
                    <a:pt x="846" y="84"/>
                  </a:lnTo>
                  <a:lnTo>
                    <a:pt x="846" y="84"/>
                  </a:lnTo>
                  <a:lnTo>
                    <a:pt x="846" y="86"/>
                  </a:lnTo>
                  <a:lnTo>
                    <a:pt x="846" y="86"/>
                  </a:lnTo>
                  <a:lnTo>
                    <a:pt x="844" y="88"/>
                  </a:lnTo>
                  <a:lnTo>
                    <a:pt x="844" y="88"/>
                  </a:lnTo>
                  <a:lnTo>
                    <a:pt x="844" y="88"/>
                  </a:lnTo>
                  <a:lnTo>
                    <a:pt x="844" y="88"/>
                  </a:lnTo>
                  <a:lnTo>
                    <a:pt x="844" y="90"/>
                  </a:lnTo>
                  <a:lnTo>
                    <a:pt x="844" y="90"/>
                  </a:lnTo>
                  <a:lnTo>
                    <a:pt x="844" y="90"/>
                  </a:lnTo>
                  <a:lnTo>
                    <a:pt x="844" y="90"/>
                  </a:lnTo>
                  <a:lnTo>
                    <a:pt x="844" y="90"/>
                  </a:lnTo>
                  <a:lnTo>
                    <a:pt x="844" y="92"/>
                  </a:lnTo>
                  <a:lnTo>
                    <a:pt x="844" y="92"/>
                  </a:lnTo>
                  <a:lnTo>
                    <a:pt x="844" y="92"/>
                  </a:lnTo>
                  <a:lnTo>
                    <a:pt x="842" y="94"/>
                  </a:lnTo>
                  <a:lnTo>
                    <a:pt x="842" y="94"/>
                  </a:lnTo>
                  <a:lnTo>
                    <a:pt x="842" y="94"/>
                  </a:lnTo>
                  <a:lnTo>
                    <a:pt x="840" y="96"/>
                  </a:lnTo>
                  <a:lnTo>
                    <a:pt x="840" y="98"/>
                  </a:lnTo>
                  <a:lnTo>
                    <a:pt x="840" y="96"/>
                  </a:lnTo>
                  <a:lnTo>
                    <a:pt x="840" y="96"/>
                  </a:lnTo>
                  <a:lnTo>
                    <a:pt x="844" y="92"/>
                  </a:lnTo>
                  <a:lnTo>
                    <a:pt x="842" y="90"/>
                  </a:lnTo>
                  <a:lnTo>
                    <a:pt x="842" y="92"/>
                  </a:lnTo>
                  <a:lnTo>
                    <a:pt x="840" y="96"/>
                  </a:lnTo>
                  <a:lnTo>
                    <a:pt x="840" y="96"/>
                  </a:lnTo>
                  <a:lnTo>
                    <a:pt x="832" y="107"/>
                  </a:lnTo>
                  <a:lnTo>
                    <a:pt x="827" y="109"/>
                  </a:lnTo>
                  <a:lnTo>
                    <a:pt x="827" y="109"/>
                  </a:lnTo>
                  <a:lnTo>
                    <a:pt x="825" y="111"/>
                  </a:lnTo>
                  <a:lnTo>
                    <a:pt x="825" y="111"/>
                  </a:lnTo>
                  <a:lnTo>
                    <a:pt x="821" y="111"/>
                  </a:lnTo>
                  <a:lnTo>
                    <a:pt x="821" y="113"/>
                  </a:lnTo>
                  <a:lnTo>
                    <a:pt x="819" y="113"/>
                  </a:lnTo>
                  <a:lnTo>
                    <a:pt x="817" y="113"/>
                  </a:lnTo>
                  <a:lnTo>
                    <a:pt x="809" y="113"/>
                  </a:lnTo>
                  <a:lnTo>
                    <a:pt x="803" y="113"/>
                  </a:lnTo>
                  <a:lnTo>
                    <a:pt x="799" y="113"/>
                  </a:lnTo>
                  <a:lnTo>
                    <a:pt x="793" y="113"/>
                  </a:lnTo>
                  <a:lnTo>
                    <a:pt x="789" y="111"/>
                  </a:lnTo>
                  <a:lnTo>
                    <a:pt x="786" y="111"/>
                  </a:lnTo>
                  <a:lnTo>
                    <a:pt x="784" y="109"/>
                  </a:lnTo>
                  <a:lnTo>
                    <a:pt x="782" y="109"/>
                  </a:lnTo>
                  <a:lnTo>
                    <a:pt x="780" y="111"/>
                  </a:lnTo>
                  <a:lnTo>
                    <a:pt x="780" y="111"/>
                  </a:lnTo>
                  <a:lnTo>
                    <a:pt x="780" y="113"/>
                  </a:lnTo>
                  <a:lnTo>
                    <a:pt x="780" y="115"/>
                  </a:lnTo>
                  <a:lnTo>
                    <a:pt x="780" y="117"/>
                  </a:lnTo>
                  <a:lnTo>
                    <a:pt x="780" y="117"/>
                  </a:lnTo>
                  <a:lnTo>
                    <a:pt x="780" y="119"/>
                  </a:lnTo>
                  <a:lnTo>
                    <a:pt x="780" y="119"/>
                  </a:lnTo>
                  <a:lnTo>
                    <a:pt x="780" y="119"/>
                  </a:lnTo>
                  <a:lnTo>
                    <a:pt x="780" y="121"/>
                  </a:lnTo>
                  <a:lnTo>
                    <a:pt x="780" y="121"/>
                  </a:lnTo>
                  <a:lnTo>
                    <a:pt x="780" y="121"/>
                  </a:lnTo>
                  <a:lnTo>
                    <a:pt x="778" y="121"/>
                  </a:lnTo>
                  <a:lnTo>
                    <a:pt x="780" y="121"/>
                  </a:lnTo>
                  <a:lnTo>
                    <a:pt x="778" y="123"/>
                  </a:lnTo>
                  <a:lnTo>
                    <a:pt x="778" y="123"/>
                  </a:lnTo>
                  <a:lnTo>
                    <a:pt x="778" y="125"/>
                  </a:lnTo>
                  <a:lnTo>
                    <a:pt x="778" y="125"/>
                  </a:lnTo>
                  <a:lnTo>
                    <a:pt x="778" y="125"/>
                  </a:lnTo>
                  <a:lnTo>
                    <a:pt x="778" y="125"/>
                  </a:lnTo>
                  <a:lnTo>
                    <a:pt x="778" y="127"/>
                  </a:lnTo>
                  <a:lnTo>
                    <a:pt x="776" y="127"/>
                  </a:lnTo>
                  <a:lnTo>
                    <a:pt x="776" y="127"/>
                  </a:lnTo>
                  <a:lnTo>
                    <a:pt x="776" y="129"/>
                  </a:lnTo>
                  <a:lnTo>
                    <a:pt x="776" y="129"/>
                  </a:lnTo>
                  <a:lnTo>
                    <a:pt x="776" y="131"/>
                  </a:lnTo>
                  <a:lnTo>
                    <a:pt x="774" y="131"/>
                  </a:lnTo>
                  <a:lnTo>
                    <a:pt x="774" y="131"/>
                  </a:lnTo>
                  <a:lnTo>
                    <a:pt x="774" y="133"/>
                  </a:lnTo>
                  <a:lnTo>
                    <a:pt x="776" y="133"/>
                  </a:lnTo>
                  <a:lnTo>
                    <a:pt x="774" y="133"/>
                  </a:lnTo>
                  <a:lnTo>
                    <a:pt x="774" y="133"/>
                  </a:lnTo>
                  <a:lnTo>
                    <a:pt x="774" y="133"/>
                  </a:lnTo>
                  <a:lnTo>
                    <a:pt x="774" y="133"/>
                  </a:lnTo>
                  <a:lnTo>
                    <a:pt x="774" y="133"/>
                  </a:lnTo>
                  <a:lnTo>
                    <a:pt x="772" y="133"/>
                  </a:lnTo>
                  <a:lnTo>
                    <a:pt x="772" y="133"/>
                  </a:lnTo>
                  <a:lnTo>
                    <a:pt x="770" y="135"/>
                  </a:lnTo>
                  <a:lnTo>
                    <a:pt x="768" y="135"/>
                  </a:lnTo>
                  <a:lnTo>
                    <a:pt x="766" y="133"/>
                  </a:lnTo>
                  <a:lnTo>
                    <a:pt x="768" y="133"/>
                  </a:lnTo>
                  <a:lnTo>
                    <a:pt x="772" y="133"/>
                  </a:lnTo>
                  <a:lnTo>
                    <a:pt x="772" y="131"/>
                  </a:lnTo>
                  <a:lnTo>
                    <a:pt x="772" y="131"/>
                  </a:lnTo>
                  <a:lnTo>
                    <a:pt x="770" y="133"/>
                  </a:lnTo>
                  <a:lnTo>
                    <a:pt x="766" y="133"/>
                  </a:lnTo>
                  <a:lnTo>
                    <a:pt x="766" y="135"/>
                  </a:lnTo>
                  <a:lnTo>
                    <a:pt x="766" y="135"/>
                  </a:lnTo>
                  <a:lnTo>
                    <a:pt x="766" y="135"/>
                  </a:lnTo>
                  <a:lnTo>
                    <a:pt x="768" y="135"/>
                  </a:lnTo>
                  <a:lnTo>
                    <a:pt x="774" y="139"/>
                  </a:lnTo>
                  <a:lnTo>
                    <a:pt x="776" y="141"/>
                  </a:lnTo>
                  <a:lnTo>
                    <a:pt x="778" y="143"/>
                  </a:lnTo>
                  <a:lnTo>
                    <a:pt x="778" y="143"/>
                  </a:lnTo>
                  <a:lnTo>
                    <a:pt x="778" y="143"/>
                  </a:lnTo>
                  <a:lnTo>
                    <a:pt x="778" y="146"/>
                  </a:lnTo>
                  <a:lnTo>
                    <a:pt x="778" y="148"/>
                  </a:lnTo>
                  <a:lnTo>
                    <a:pt x="780" y="148"/>
                  </a:lnTo>
                  <a:lnTo>
                    <a:pt x="782" y="150"/>
                  </a:lnTo>
                  <a:lnTo>
                    <a:pt x="786" y="152"/>
                  </a:lnTo>
                  <a:lnTo>
                    <a:pt x="789" y="154"/>
                  </a:lnTo>
                  <a:lnTo>
                    <a:pt x="793" y="158"/>
                  </a:lnTo>
                  <a:lnTo>
                    <a:pt x="795" y="162"/>
                  </a:lnTo>
                  <a:lnTo>
                    <a:pt x="799" y="166"/>
                  </a:lnTo>
                  <a:lnTo>
                    <a:pt x="799" y="168"/>
                  </a:lnTo>
                  <a:lnTo>
                    <a:pt x="801" y="168"/>
                  </a:lnTo>
                  <a:lnTo>
                    <a:pt x="801" y="170"/>
                  </a:lnTo>
                  <a:lnTo>
                    <a:pt x="801" y="168"/>
                  </a:lnTo>
                  <a:lnTo>
                    <a:pt x="801" y="168"/>
                  </a:lnTo>
                  <a:lnTo>
                    <a:pt x="801" y="168"/>
                  </a:lnTo>
                  <a:lnTo>
                    <a:pt x="801" y="168"/>
                  </a:lnTo>
                  <a:lnTo>
                    <a:pt x="801" y="168"/>
                  </a:lnTo>
                  <a:lnTo>
                    <a:pt x="801" y="168"/>
                  </a:lnTo>
                  <a:lnTo>
                    <a:pt x="801" y="168"/>
                  </a:lnTo>
                  <a:lnTo>
                    <a:pt x="803" y="172"/>
                  </a:lnTo>
                  <a:lnTo>
                    <a:pt x="805" y="172"/>
                  </a:lnTo>
                  <a:lnTo>
                    <a:pt x="805" y="174"/>
                  </a:lnTo>
                  <a:lnTo>
                    <a:pt x="811" y="180"/>
                  </a:lnTo>
                  <a:lnTo>
                    <a:pt x="811" y="184"/>
                  </a:lnTo>
                  <a:lnTo>
                    <a:pt x="813" y="186"/>
                  </a:lnTo>
                  <a:lnTo>
                    <a:pt x="815" y="195"/>
                  </a:lnTo>
                  <a:lnTo>
                    <a:pt x="815" y="197"/>
                  </a:lnTo>
                  <a:lnTo>
                    <a:pt x="815" y="199"/>
                  </a:lnTo>
                  <a:lnTo>
                    <a:pt x="815" y="199"/>
                  </a:lnTo>
                  <a:lnTo>
                    <a:pt x="815" y="203"/>
                  </a:lnTo>
                  <a:lnTo>
                    <a:pt x="815" y="205"/>
                  </a:lnTo>
                  <a:lnTo>
                    <a:pt x="815" y="207"/>
                  </a:lnTo>
                  <a:lnTo>
                    <a:pt x="815" y="207"/>
                  </a:lnTo>
                  <a:lnTo>
                    <a:pt x="815" y="209"/>
                  </a:lnTo>
                  <a:lnTo>
                    <a:pt x="821" y="211"/>
                  </a:lnTo>
                  <a:lnTo>
                    <a:pt x="821" y="211"/>
                  </a:lnTo>
                  <a:lnTo>
                    <a:pt x="825" y="213"/>
                  </a:lnTo>
                  <a:lnTo>
                    <a:pt x="827" y="213"/>
                  </a:lnTo>
                  <a:lnTo>
                    <a:pt x="832" y="215"/>
                  </a:lnTo>
                  <a:lnTo>
                    <a:pt x="832" y="215"/>
                  </a:lnTo>
                  <a:lnTo>
                    <a:pt x="832" y="215"/>
                  </a:lnTo>
                  <a:lnTo>
                    <a:pt x="832" y="215"/>
                  </a:lnTo>
                  <a:lnTo>
                    <a:pt x="830" y="215"/>
                  </a:lnTo>
                  <a:lnTo>
                    <a:pt x="830" y="213"/>
                  </a:lnTo>
                  <a:lnTo>
                    <a:pt x="830" y="213"/>
                  </a:lnTo>
                  <a:lnTo>
                    <a:pt x="832" y="213"/>
                  </a:lnTo>
                  <a:lnTo>
                    <a:pt x="834" y="213"/>
                  </a:lnTo>
                  <a:lnTo>
                    <a:pt x="836" y="215"/>
                  </a:lnTo>
                  <a:lnTo>
                    <a:pt x="836" y="215"/>
                  </a:lnTo>
                  <a:lnTo>
                    <a:pt x="836" y="215"/>
                  </a:lnTo>
                  <a:lnTo>
                    <a:pt x="836" y="215"/>
                  </a:lnTo>
                  <a:lnTo>
                    <a:pt x="836" y="215"/>
                  </a:lnTo>
                  <a:lnTo>
                    <a:pt x="836" y="215"/>
                  </a:lnTo>
                  <a:lnTo>
                    <a:pt x="838" y="215"/>
                  </a:lnTo>
                  <a:lnTo>
                    <a:pt x="838" y="215"/>
                  </a:lnTo>
                  <a:lnTo>
                    <a:pt x="840" y="213"/>
                  </a:lnTo>
                  <a:lnTo>
                    <a:pt x="842" y="211"/>
                  </a:lnTo>
                  <a:lnTo>
                    <a:pt x="842" y="211"/>
                  </a:lnTo>
                  <a:lnTo>
                    <a:pt x="842" y="209"/>
                  </a:lnTo>
                  <a:lnTo>
                    <a:pt x="842" y="209"/>
                  </a:lnTo>
                  <a:lnTo>
                    <a:pt x="842" y="209"/>
                  </a:lnTo>
                  <a:lnTo>
                    <a:pt x="842" y="209"/>
                  </a:lnTo>
                  <a:lnTo>
                    <a:pt x="842" y="209"/>
                  </a:lnTo>
                  <a:lnTo>
                    <a:pt x="844" y="209"/>
                  </a:lnTo>
                  <a:lnTo>
                    <a:pt x="844" y="209"/>
                  </a:lnTo>
                  <a:lnTo>
                    <a:pt x="844" y="209"/>
                  </a:lnTo>
                  <a:lnTo>
                    <a:pt x="844" y="209"/>
                  </a:lnTo>
                  <a:lnTo>
                    <a:pt x="842" y="211"/>
                  </a:lnTo>
                  <a:lnTo>
                    <a:pt x="842" y="213"/>
                  </a:lnTo>
                  <a:lnTo>
                    <a:pt x="842" y="213"/>
                  </a:lnTo>
                  <a:lnTo>
                    <a:pt x="842" y="213"/>
                  </a:lnTo>
                  <a:lnTo>
                    <a:pt x="842" y="215"/>
                  </a:lnTo>
                  <a:lnTo>
                    <a:pt x="840" y="217"/>
                  </a:lnTo>
                  <a:lnTo>
                    <a:pt x="840" y="217"/>
                  </a:lnTo>
                  <a:lnTo>
                    <a:pt x="840" y="217"/>
                  </a:lnTo>
                  <a:lnTo>
                    <a:pt x="840" y="217"/>
                  </a:lnTo>
                  <a:lnTo>
                    <a:pt x="842" y="217"/>
                  </a:lnTo>
                  <a:lnTo>
                    <a:pt x="844" y="217"/>
                  </a:lnTo>
                  <a:lnTo>
                    <a:pt x="844" y="217"/>
                  </a:lnTo>
                  <a:lnTo>
                    <a:pt x="844" y="215"/>
                  </a:lnTo>
                  <a:lnTo>
                    <a:pt x="844" y="215"/>
                  </a:lnTo>
                  <a:lnTo>
                    <a:pt x="844" y="215"/>
                  </a:lnTo>
                  <a:lnTo>
                    <a:pt x="844" y="213"/>
                  </a:lnTo>
                  <a:lnTo>
                    <a:pt x="844" y="213"/>
                  </a:lnTo>
                  <a:lnTo>
                    <a:pt x="844" y="213"/>
                  </a:lnTo>
                  <a:lnTo>
                    <a:pt x="844" y="215"/>
                  </a:lnTo>
                  <a:lnTo>
                    <a:pt x="844" y="215"/>
                  </a:lnTo>
                  <a:lnTo>
                    <a:pt x="844" y="215"/>
                  </a:lnTo>
                  <a:lnTo>
                    <a:pt x="844" y="215"/>
                  </a:lnTo>
                  <a:lnTo>
                    <a:pt x="844" y="217"/>
                  </a:lnTo>
                  <a:lnTo>
                    <a:pt x="844" y="217"/>
                  </a:lnTo>
                  <a:lnTo>
                    <a:pt x="850" y="215"/>
                  </a:lnTo>
                  <a:lnTo>
                    <a:pt x="852" y="215"/>
                  </a:lnTo>
                  <a:lnTo>
                    <a:pt x="854" y="217"/>
                  </a:lnTo>
                  <a:lnTo>
                    <a:pt x="854" y="217"/>
                  </a:lnTo>
                  <a:lnTo>
                    <a:pt x="854" y="217"/>
                  </a:lnTo>
                  <a:lnTo>
                    <a:pt x="854" y="217"/>
                  </a:lnTo>
                  <a:lnTo>
                    <a:pt x="854" y="217"/>
                  </a:lnTo>
                  <a:lnTo>
                    <a:pt x="856" y="217"/>
                  </a:lnTo>
                  <a:lnTo>
                    <a:pt x="856" y="217"/>
                  </a:lnTo>
                  <a:lnTo>
                    <a:pt x="856" y="217"/>
                  </a:lnTo>
                  <a:lnTo>
                    <a:pt x="856" y="217"/>
                  </a:lnTo>
                  <a:lnTo>
                    <a:pt x="856" y="217"/>
                  </a:lnTo>
                  <a:lnTo>
                    <a:pt x="856" y="217"/>
                  </a:lnTo>
                  <a:lnTo>
                    <a:pt x="856" y="219"/>
                  </a:lnTo>
                  <a:lnTo>
                    <a:pt x="856" y="219"/>
                  </a:lnTo>
                  <a:lnTo>
                    <a:pt x="858" y="219"/>
                  </a:lnTo>
                  <a:lnTo>
                    <a:pt x="858" y="219"/>
                  </a:lnTo>
                  <a:lnTo>
                    <a:pt x="858" y="219"/>
                  </a:lnTo>
                  <a:lnTo>
                    <a:pt x="858" y="219"/>
                  </a:lnTo>
                  <a:lnTo>
                    <a:pt x="858" y="221"/>
                  </a:lnTo>
                  <a:lnTo>
                    <a:pt x="858" y="221"/>
                  </a:lnTo>
                  <a:lnTo>
                    <a:pt x="858" y="221"/>
                  </a:lnTo>
                  <a:lnTo>
                    <a:pt x="856" y="221"/>
                  </a:lnTo>
                  <a:lnTo>
                    <a:pt x="856" y="221"/>
                  </a:lnTo>
                  <a:lnTo>
                    <a:pt x="854" y="221"/>
                  </a:lnTo>
                  <a:lnTo>
                    <a:pt x="854" y="221"/>
                  </a:lnTo>
                  <a:lnTo>
                    <a:pt x="854" y="221"/>
                  </a:lnTo>
                  <a:lnTo>
                    <a:pt x="854" y="221"/>
                  </a:lnTo>
                  <a:lnTo>
                    <a:pt x="854" y="221"/>
                  </a:lnTo>
                  <a:lnTo>
                    <a:pt x="854" y="223"/>
                  </a:lnTo>
                  <a:lnTo>
                    <a:pt x="852" y="223"/>
                  </a:lnTo>
                  <a:lnTo>
                    <a:pt x="852" y="223"/>
                  </a:lnTo>
                  <a:lnTo>
                    <a:pt x="852" y="225"/>
                  </a:lnTo>
                  <a:lnTo>
                    <a:pt x="852" y="225"/>
                  </a:lnTo>
                  <a:lnTo>
                    <a:pt x="852" y="225"/>
                  </a:lnTo>
                  <a:lnTo>
                    <a:pt x="852" y="227"/>
                  </a:lnTo>
                  <a:lnTo>
                    <a:pt x="852" y="227"/>
                  </a:lnTo>
                  <a:lnTo>
                    <a:pt x="850" y="227"/>
                  </a:lnTo>
                  <a:lnTo>
                    <a:pt x="850" y="227"/>
                  </a:lnTo>
                  <a:lnTo>
                    <a:pt x="850" y="230"/>
                  </a:lnTo>
                  <a:lnTo>
                    <a:pt x="850" y="230"/>
                  </a:lnTo>
                  <a:lnTo>
                    <a:pt x="850" y="232"/>
                  </a:lnTo>
                  <a:lnTo>
                    <a:pt x="850" y="232"/>
                  </a:lnTo>
                  <a:lnTo>
                    <a:pt x="850" y="232"/>
                  </a:lnTo>
                  <a:lnTo>
                    <a:pt x="850" y="234"/>
                  </a:lnTo>
                  <a:lnTo>
                    <a:pt x="854" y="240"/>
                  </a:lnTo>
                  <a:lnTo>
                    <a:pt x="854" y="240"/>
                  </a:lnTo>
                  <a:lnTo>
                    <a:pt x="856" y="240"/>
                  </a:lnTo>
                  <a:lnTo>
                    <a:pt x="856" y="242"/>
                  </a:lnTo>
                  <a:lnTo>
                    <a:pt x="856" y="242"/>
                  </a:lnTo>
                  <a:lnTo>
                    <a:pt x="856" y="242"/>
                  </a:lnTo>
                  <a:lnTo>
                    <a:pt x="856" y="244"/>
                  </a:lnTo>
                  <a:lnTo>
                    <a:pt x="856" y="244"/>
                  </a:lnTo>
                  <a:lnTo>
                    <a:pt x="858" y="244"/>
                  </a:lnTo>
                  <a:lnTo>
                    <a:pt x="858" y="244"/>
                  </a:lnTo>
                  <a:lnTo>
                    <a:pt x="858" y="244"/>
                  </a:lnTo>
                  <a:lnTo>
                    <a:pt x="860" y="244"/>
                  </a:lnTo>
                  <a:lnTo>
                    <a:pt x="862" y="244"/>
                  </a:lnTo>
                  <a:lnTo>
                    <a:pt x="862" y="242"/>
                  </a:lnTo>
                  <a:lnTo>
                    <a:pt x="862" y="242"/>
                  </a:lnTo>
                  <a:lnTo>
                    <a:pt x="862" y="242"/>
                  </a:lnTo>
                  <a:lnTo>
                    <a:pt x="862" y="242"/>
                  </a:lnTo>
                  <a:lnTo>
                    <a:pt x="862" y="242"/>
                  </a:lnTo>
                  <a:lnTo>
                    <a:pt x="862" y="240"/>
                  </a:lnTo>
                  <a:lnTo>
                    <a:pt x="862" y="240"/>
                  </a:lnTo>
                  <a:lnTo>
                    <a:pt x="862" y="240"/>
                  </a:lnTo>
                  <a:lnTo>
                    <a:pt x="862" y="240"/>
                  </a:lnTo>
                  <a:lnTo>
                    <a:pt x="862" y="240"/>
                  </a:lnTo>
                  <a:lnTo>
                    <a:pt x="862" y="240"/>
                  </a:lnTo>
                  <a:lnTo>
                    <a:pt x="864" y="238"/>
                  </a:lnTo>
                  <a:lnTo>
                    <a:pt x="864" y="238"/>
                  </a:lnTo>
                  <a:lnTo>
                    <a:pt x="866" y="238"/>
                  </a:lnTo>
                  <a:lnTo>
                    <a:pt x="870" y="238"/>
                  </a:lnTo>
                  <a:lnTo>
                    <a:pt x="870" y="238"/>
                  </a:lnTo>
                  <a:lnTo>
                    <a:pt x="875" y="242"/>
                  </a:lnTo>
                  <a:lnTo>
                    <a:pt x="875" y="242"/>
                  </a:lnTo>
                  <a:lnTo>
                    <a:pt x="877" y="242"/>
                  </a:lnTo>
                  <a:lnTo>
                    <a:pt x="877" y="242"/>
                  </a:lnTo>
                  <a:lnTo>
                    <a:pt x="877" y="242"/>
                  </a:lnTo>
                  <a:lnTo>
                    <a:pt x="877" y="242"/>
                  </a:lnTo>
                  <a:lnTo>
                    <a:pt x="877" y="242"/>
                  </a:lnTo>
                  <a:lnTo>
                    <a:pt x="879" y="240"/>
                  </a:lnTo>
                  <a:lnTo>
                    <a:pt x="879" y="240"/>
                  </a:lnTo>
                  <a:lnTo>
                    <a:pt x="881" y="242"/>
                  </a:lnTo>
                  <a:lnTo>
                    <a:pt x="881" y="242"/>
                  </a:lnTo>
                  <a:lnTo>
                    <a:pt x="881" y="240"/>
                  </a:lnTo>
                  <a:lnTo>
                    <a:pt x="881" y="240"/>
                  </a:lnTo>
                  <a:lnTo>
                    <a:pt x="883" y="240"/>
                  </a:lnTo>
                  <a:lnTo>
                    <a:pt x="883" y="240"/>
                  </a:lnTo>
                  <a:lnTo>
                    <a:pt x="883" y="240"/>
                  </a:lnTo>
                  <a:lnTo>
                    <a:pt x="883" y="240"/>
                  </a:lnTo>
                  <a:lnTo>
                    <a:pt x="881" y="242"/>
                  </a:lnTo>
                  <a:lnTo>
                    <a:pt x="881" y="242"/>
                  </a:lnTo>
                  <a:lnTo>
                    <a:pt x="881" y="242"/>
                  </a:lnTo>
                  <a:lnTo>
                    <a:pt x="881" y="242"/>
                  </a:lnTo>
                  <a:lnTo>
                    <a:pt x="881" y="242"/>
                  </a:lnTo>
                  <a:lnTo>
                    <a:pt x="883" y="244"/>
                  </a:lnTo>
                  <a:lnTo>
                    <a:pt x="883" y="246"/>
                  </a:lnTo>
                  <a:lnTo>
                    <a:pt x="883" y="248"/>
                  </a:lnTo>
                  <a:lnTo>
                    <a:pt x="883" y="250"/>
                  </a:lnTo>
                  <a:lnTo>
                    <a:pt x="883" y="252"/>
                  </a:lnTo>
                  <a:lnTo>
                    <a:pt x="883" y="252"/>
                  </a:lnTo>
                  <a:lnTo>
                    <a:pt x="883" y="252"/>
                  </a:lnTo>
                  <a:lnTo>
                    <a:pt x="877" y="252"/>
                  </a:lnTo>
                  <a:lnTo>
                    <a:pt x="875" y="254"/>
                  </a:lnTo>
                  <a:lnTo>
                    <a:pt x="873" y="254"/>
                  </a:lnTo>
                  <a:lnTo>
                    <a:pt x="870" y="254"/>
                  </a:lnTo>
                  <a:lnTo>
                    <a:pt x="870" y="254"/>
                  </a:lnTo>
                  <a:lnTo>
                    <a:pt x="866" y="250"/>
                  </a:lnTo>
                  <a:lnTo>
                    <a:pt x="866" y="248"/>
                  </a:lnTo>
                  <a:lnTo>
                    <a:pt x="866" y="248"/>
                  </a:lnTo>
                  <a:lnTo>
                    <a:pt x="864" y="246"/>
                  </a:lnTo>
                  <a:lnTo>
                    <a:pt x="864" y="246"/>
                  </a:lnTo>
                  <a:lnTo>
                    <a:pt x="862" y="244"/>
                  </a:lnTo>
                  <a:lnTo>
                    <a:pt x="862" y="244"/>
                  </a:lnTo>
                  <a:lnTo>
                    <a:pt x="862" y="244"/>
                  </a:lnTo>
                  <a:lnTo>
                    <a:pt x="862" y="244"/>
                  </a:lnTo>
                  <a:lnTo>
                    <a:pt x="860" y="246"/>
                  </a:lnTo>
                  <a:lnTo>
                    <a:pt x="860" y="246"/>
                  </a:lnTo>
                  <a:lnTo>
                    <a:pt x="860" y="246"/>
                  </a:lnTo>
                  <a:lnTo>
                    <a:pt x="860" y="246"/>
                  </a:lnTo>
                  <a:lnTo>
                    <a:pt x="858" y="246"/>
                  </a:lnTo>
                  <a:lnTo>
                    <a:pt x="858" y="248"/>
                  </a:lnTo>
                  <a:lnTo>
                    <a:pt x="854" y="248"/>
                  </a:lnTo>
                  <a:lnTo>
                    <a:pt x="854" y="248"/>
                  </a:lnTo>
                  <a:lnTo>
                    <a:pt x="848" y="242"/>
                  </a:lnTo>
                  <a:lnTo>
                    <a:pt x="848" y="242"/>
                  </a:lnTo>
                  <a:lnTo>
                    <a:pt x="846" y="238"/>
                  </a:lnTo>
                  <a:lnTo>
                    <a:pt x="846" y="238"/>
                  </a:lnTo>
                  <a:lnTo>
                    <a:pt x="846" y="236"/>
                  </a:lnTo>
                  <a:lnTo>
                    <a:pt x="846" y="236"/>
                  </a:lnTo>
                  <a:lnTo>
                    <a:pt x="846" y="234"/>
                  </a:lnTo>
                  <a:lnTo>
                    <a:pt x="846" y="234"/>
                  </a:lnTo>
                  <a:lnTo>
                    <a:pt x="846" y="232"/>
                  </a:lnTo>
                  <a:lnTo>
                    <a:pt x="848" y="230"/>
                  </a:lnTo>
                  <a:lnTo>
                    <a:pt x="848" y="230"/>
                  </a:lnTo>
                  <a:lnTo>
                    <a:pt x="848" y="230"/>
                  </a:lnTo>
                  <a:lnTo>
                    <a:pt x="846" y="230"/>
                  </a:lnTo>
                  <a:lnTo>
                    <a:pt x="846" y="227"/>
                  </a:lnTo>
                  <a:lnTo>
                    <a:pt x="844" y="225"/>
                  </a:lnTo>
                  <a:lnTo>
                    <a:pt x="844" y="221"/>
                  </a:lnTo>
                  <a:lnTo>
                    <a:pt x="842" y="219"/>
                  </a:lnTo>
                  <a:lnTo>
                    <a:pt x="842" y="219"/>
                  </a:lnTo>
                  <a:lnTo>
                    <a:pt x="842" y="219"/>
                  </a:lnTo>
                  <a:lnTo>
                    <a:pt x="842" y="221"/>
                  </a:lnTo>
                  <a:lnTo>
                    <a:pt x="840" y="221"/>
                  </a:lnTo>
                  <a:lnTo>
                    <a:pt x="840" y="221"/>
                  </a:lnTo>
                  <a:lnTo>
                    <a:pt x="840" y="219"/>
                  </a:lnTo>
                  <a:lnTo>
                    <a:pt x="840" y="219"/>
                  </a:lnTo>
                  <a:lnTo>
                    <a:pt x="840" y="219"/>
                  </a:lnTo>
                  <a:lnTo>
                    <a:pt x="840" y="219"/>
                  </a:lnTo>
                  <a:lnTo>
                    <a:pt x="838" y="219"/>
                  </a:lnTo>
                  <a:lnTo>
                    <a:pt x="838" y="219"/>
                  </a:lnTo>
                  <a:lnTo>
                    <a:pt x="838" y="221"/>
                  </a:lnTo>
                  <a:lnTo>
                    <a:pt x="838" y="221"/>
                  </a:lnTo>
                  <a:lnTo>
                    <a:pt x="838" y="221"/>
                  </a:lnTo>
                  <a:lnTo>
                    <a:pt x="838" y="221"/>
                  </a:lnTo>
                  <a:lnTo>
                    <a:pt x="836" y="221"/>
                  </a:lnTo>
                  <a:lnTo>
                    <a:pt x="836" y="221"/>
                  </a:lnTo>
                  <a:lnTo>
                    <a:pt x="836" y="223"/>
                  </a:lnTo>
                  <a:lnTo>
                    <a:pt x="836" y="223"/>
                  </a:lnTo>
                  <a:lnTo>
                    <a:pt x="836" y="225"/>
                  </a:lnTo>
                  <a:lnTo>
                    <a:pt x="836" y="225"/>
                  </a:lnTo>
                  <a:lnTo>
                    <a:pt x="836" y="225"/>
                  </a:lnTo>
                  <a:lnTo>
                    <a:pt x="838" y="227"/>
                  </a:lnTo>
                  <a:lnTo>
                    <a:pt x="838" y="227"/>
                  </a:lnTo>
                  <a:lnTo>
                    <a:pt x="838" y="227"/>
                  </a:lnTo>
                  <a:lnTo>
                    <a:pt x="838" y="230"/>
                  </a:lnTo>
                  <a:lnTo>
                    <a:pt x="838" y="230"/>
                  </a:lnTo>
                  <a:lnTo>
                    <a:pt x="838" y="230"/>
                  </a:lnTo>
                  <a:lnTo>
                    <a:pt x="838" y="230"/>
                  </a:lnTo>
                  <a:lnTo>
                    <a:pt x="838" y="230"/>
                  </a:lnTo>
                  <a:lnTo>
                    <a:pt x="838" y="230"/>
                  </a:lnTo>
                  <a:lnTo>
                    <a:pt x="838" y="232"/>
                  </a:lnTo>
                  <a:lnTo>
                    <a:pt x="842" y="232"/>
                  </a:lnTo>
                  <a:lnTo>
                    <a:pt x="844" y="234"/>
                  </a:lnTo>
                  <a:lnTo>
                    <a:pt x="844" y="234"/>
                  </a:lnTo>
                  <a:lnTo>
                    <a:pt x="846" y="238"/>
                  </a:lnTo>
                  <a:lnTo>
                    <a:pt x="848" y="242"/>
                  </a:lnTo>
                  <a:lnTo>
                    <a:pt x="848" y="244"/>
                  </a:lnTo>
                  <a:lnTo>
                    <a:pt x="848" y="246"/>
                  </a:lnTo>
                  <a:lnTo>
                    <a:pt x="848" y="246"/>
                  </a:lnTo>
                  <a:lnTo>
                    <a:pt x="848" y="248"/>
                  </a:lnTo>
                  <a:lnTo>
                    <a:pt x="848" y="248"/>
                  </a:lnTo>
                  <a:lnTo>
                    <a:pt x="848" y="248"/>
                  </a:lnTo>
                  <a:lnTo>
                    <a:pt x="846" y="250"/>
                  </a:lnTo>
                  <a:lnTo>
                    <a:pt x="846" y="252"/>
                  </a:lnTo>
                  <a:lnTo>
                    <a:pt x="846" y="252"/>
                  </a:lnTo>
                  <a:lnTo>
                    <a:pt x="846" y="252"/>
                  </a:lnTo>
                  <a:lnTo>
                    <a:pt x="846" y="254"/>
                  </a:lnTo>
                  <a:lnTo>
                    <a:pt x="846" y="254"/>
                  </a:lnTo>
                  <a:lnTo>
                    <a:pt x="846" y="254"/>
                  </a:lnTo>
                  <a:lnTo>
                    <a:pt x="846" y="254"/>
                  </a:lnTo>
                  <a:lnTo>
                    <a:pt x="846" y="256"/>
                  </a:lnTo>
                  <a:lnTo>
                    <a:pt x="846" y="256"/>
                  </a:lnTo>
                  <a:lnTo>
                    <a:pt x="846" y="256"/>
                  </a:lnTo>
                  <a:lnTo>
                    <a:pt x="848" y="256"/>
                  </a:lnTo>
                  <a:lnTo>
                    <a:pt x="848" y="256"/>
                  </a:lnTo>
                  <a:lnTo>
                    <a:pt x="848" y="254"/>
                  </a:lnTo>
                  <a:lnTo>
                    <a:pt x="848" y="254"/>
                  </a:lnTo>
                  <a:lnTo>
                    <a:pt x="848" y="254"/>
                  </a:lnTo>
                  <a:lnTo>
                    <a:pt x="848" y="254"/>
                  </a:lnTo>
                  <a:lnTo>
                    <a:pt x="848" y="254"/>
                  </a:lnTo>
                  <a:lnTo>
                    <a:pt x="846" y="254"/>
                  </a:lnTo>
                  <a:lnTo>
                    <a:pt x="846" y="252"/>
                  </a:lnTo>
                  <a:lnTo>
                    <a:pt x="848" y="252"/>
                  </a:lnTo>
                  <a:lnTo>
                    <a:pt x="848" y="250"/>
                  </a:lnTo>
                  <a:lnTo>
                    <a:pt x="850" y="250"/>
                  </a:lnTo>
                  <a:lnTo>
                    <a:pt x="850" y="250"/>
                  </a:lnTo>
                  <a:lnTo>
                    <a:pt x="850" y="250"/>
                  </a:lnTo>
                  <a:lnTo>
                    <a:pt x="850" y="250"/>
                  </a:lnTo>
                  <a:lnTo>
                    <a:pt x="856" y="250"/>
                  </a:lnTo>
                  <a:lnTo>
                    <a:pt x="858" y="252"/>
                  </a:lnTo>
                  <a:lnTo>
                    <a:pt x="858" y="252"/>
                  </a:lnTo>
                  <a:lnTo>
                    <a:pt x="858" y="252"/>
                  </a:lnTo>
                  <a:lnTo>
                    <a:pt x="860" y="252"/>
                  </a:lnTo>
                  <a:lnTo>
                    <a:pt x="860" y="252"/>
                  </a:lnTo>
                  <a:lnTo>
                    <a:pt x="862" y="254"/>
                  </a:lnTo>
                  <a:lnTo>
                    <a:pt x="864" y="254"/>
                  </a:lnTo>
                  <a:lnTo>
                    <a:pt x="864" y="256"/>
                  </a:lnTo>
                  <a:lnTo>
                    <a:pt x="864" y="256"/>
                  </a:lnTo>
                  <a:lnTo>
                    <a:pt x="864" y="258"/>
                  </a:lnTo>
                  <a:lnTo>
                    <a:pt x="864" y="258"/>
                  </a:lnTo>
                  <a:lnTo>
                    <a:pt x="866" y="260"/>
                  </a:lnTo>
                  <a:lnTo>
                    <a:pt x="864" y="260"/>
                  </a:lnTo>
                  <a:lnTo>
                    <a:pt x="864" y="262"/>
                  </a:lnTo>
                  <a:lnTo>
                    <a:pt x="864" y="262"/>
                  </a:lnTo>
                  <a:lnTo>
                    <a:pt x="864" y="264"/>
                  </a:lnTo>
                  <a:lnTo>
                    <a:pt x="864" y="264"/>
                  </a:lnTo>
                  <a:lnTo>
                    <a:pt x="862" y="264"/>
                  </a:lnTo>
                  <a:lnTo>
                    <a:pt x="862" y="266"/>
                  </a:lnTo>
                  <a:lnTo>
                    <a:pt x="862" y="266"/>
                  </a:lnTo>
                  <a:lnTo>
                    <a:pt x="862" y="266"/>
                  </a:lnTo>
                  <a:lnTo>
                    <a:pt x="862" y="266"/>
                  </a:lnTo>
                  <a:lnTo>
                    <a:pt x="860" y="264"/>
                  </a:lnTo>
                  <a:lnTo>
                    <a:pt x="860" y="264"/>
                  </a:lnTo>
                  <a:lnTo>
                    <a:pt x="862" y="264"/>
                  </a:lnTo>
                  <a:lnTo>
                    <a:pt x="862" y="264"/>
                  </a:lnTo>
                  <a:lnTo>
                    <a:pt x="862" y="264"/>
                  </a:lnTo>
                  <a:lnTo>
                    <a:pt x="862" y="264"/>
                  </a:lnTo>
                  <a:lnTo>
                    <a:pt x="862" y="264"/>
                  </a:lnTo>
                  <a:lnTo>
                    <a:pt x="862" y="264"/>
                  </a:lnTo>
                  <a:lnTo>
                    <a:pt x="862" y="262"/>
                  </a:lnTo>
                  <a:lnTo>
                    <a:pt x="862" y="262"/>
                  </a:lnTo>
                  <a:lnTo>
                    <a:pt x="862" y="262"/>
                  </a:lnTo>
                  <a:lnTo>
                    <a:pt x="862" y="262"/>
                  </a:lnTo>
                  <a:lnTo>
                    <a:pt x="862" y="260"/>
                  </a:lnTo>
                  <a:lnTo>
                    <a:pt x="862" y="260"/>
                  </a:lnTo>
                  <a:lnTo>
                    <a:pt x="864" y="260"/>
                  </a:lnTo>
                  <a:lnTo>
                    <a:pt x="864" y="260"/>
                  </a:lnTo>
                  <a:lnTo>
                    <a:pt x="864" y="260"/>
                  </a:lnTo>
                  <a:lnTo>
                    <a:pt x="862" y="258"/>
                  </a:lnTo>
                  <a:lnTo>
                    <a:pt x="862" y="258"/>
                  </a:lnTo>
                  <a:lnTo>
                    <a:pt x="862" y="260"/>
                  </a:lnTo>
                  <a:lnTo>
                    <a:pt x="860" y="260"/>
                  </a:lnTo>
                  <a:lnTo>
                    <a:pt x="858" y="260"/>
                  </a:lnTo>
                  <a:lnTo>
                    <a:pt x="858" y="260"/>
                  </a:lnTo>
                  <a:lnTo>
                    <a:pt x="858" y="258"/>
                  </a:lnTo>
                  <a:lnTo>
                    <a:pt x="858" y="258"/>
                  </a:lnTo>
                  <a:lnTo>
                    <a:pt x="858" y="256"/>
                  </a:lnTo>
                  <a:lnTo>
                    <a:pt x="854" y="256"/>
                  </a:lnTo>
                  <a:lnTo>
                    <a:pt x="854" y="258"/>
                  </a:lnTo>
                  <a:lnTo>
                    <a:pt x="854" y="258"/>
                  </a:lnTo>
                  <a:lnTo>
                    <a:pt x="854" y="258"/>
                  </a:lnTo>
                  <a:lnTo>
                    <a:pt x="854" y="258"/>
                  </a:lnTo>
                  <a:lnTo>
                    <a:pt x="852" y="258"/>
                  </a:lnTo>
                  <a:lnTo>
                    <a:pt x="852" y="260"/>
                  </a:lnTo>
                  <a:lnTo>
                    <a:pt x="852" y="260"/>
                  </a:lnTo>
                  <a:lnTo>
                    <a:pt x="852" y="260"/>
                  </a:lnTo>
                  <a:lnTo>
                    <a:pt x="852" y="260"/>
                  </a:lnTo>
                  <a:lnTo>
                    <a:pt x="852" y="262"/>
                  </a:lnTo>
                  <a:lnTo>
                    <a:pt x="850" y="262"/>
                  </a:lnTo>
                  <a:lnTo>
                    <a:pt x="850" y="264"/>
                  </a:lnTo>
                  <a:lnTo>
                    <a:pt x="848" y="266"/>
                  </a:lnTo>
                  <a:lnTo>
                    <a:pt x="848" y="266"/>
                  </a:lnTo>
                  <a:lnTo>
                    <a:pt x="848" y="266"/>
                  </a:lnTo>
                  <a:lnTo>
                    <a:pt x="850" y="266"/>
                  </a:lnTo>
                  <a:lnTo>
                    <a:pt x="850" y="266"/>
                  </a:lnTo>
                  <a:lnTo>
                    <a:pt x="850" y="266"/>
                  </a:lnTo>
                  <a:lnTo>
                    <a:pt x="848" y="266"/>
                  </a:lnTo>
                  <a:lnTo>
                    <a:pt x="848" y="266"/>
                  </a:lnTo>
                  <a:lnTo>
                    <a:pt x="848" y="268"/>
                  </a:lnTo>
                  <a:lnTo>
                    <a:pt x="848" y="268"/>
                  </a:lnTo>
                  <a:lnTo>
                    <a:pt x="846" y="268"/>
                  </a:lnTo>
                  <a:lnTo>
                    <a:pt x="846" y="271"/>
                  </a:lnTo>
                  <a:lnTo>
                    <a:pt x="848" y="271"/>
                  </a:lnTo>
                  <a:lnTo>
                    <a:pt x="848" y="271"/>
                  </a:lnTo>
                  <a:lnTo>
                    <a:pt x="846" y="271"/>
                  </a:lnTo>
                  <a:lnTo>
                    <a:pt x="846" y="271"/>
                  </a:lnTo>
                  <a:lnTo>
                    <a:pt x="846" y="271"/>
                  </a:lnTo>
                  <a:lnTo>
                    <a:pt x="844" y="271"/>
                  </a:lnTo>
                  <a:lnTo>
                    <a:pt x="844" y="271"/>
                  </a:lnTo>
                  <a:lnTo>
                    <a:pt x="846" y="271"/>
                  </a:lnTo>
                  <a:lnTo>
                    <a:pt x="846" y="268"/>
                  </a:lnTo>
                  <a:lnTo>
                    <a:pt x="846" y="268"/>
                  </a:lnTo>
                  <a:lnTo>
                    <a:pt x="844" y="268"/>
                  </a:lnTo>
                  <a:lnTo>
                    <a:pt x="844" y="268"/>
                  </a:lnTo>
                  <a:lnTo>
                    <a:pt x="844" y="268"/>
                  </a:lnTo>
                  <a:lnTo>
                    <a:pt x="844" y="268"/>
                  </a:lnTo>
                  <a:lnTo>
                    <a:pt x="844" y="268"/>
                  </a:lnTo>
                  <a:lnTo>
                    <a:pt x="846" y="268"/>
                  </a:lnTo>
                  <a:lnTo>
                    <a:pt x="840" y="266"/>
                  </a:lnTo>
                  <a:lnTo>
                    <a:pt x="840" y="266"/>
                  </a:lnTo>
                  <a:lnTo>
                    <a:pt x="838" y="266"/>
                  </a:lnTo>
                  <a:lnTo>
                    <a:pt x="836" y="266"/>
                  </a:lnTo>
                  <a:lnTo>
                    <a:pt x="836" y="266"/>
                  </a:lnTo>
                  <a:lnTo>
                    <a:pt x="836" y="266"/>
                  </a:lnTo>
                  <a:lnTo>
                    <a:pt x="834" y="266"/>
                  </a:lnTo>
                  <a:lnTo>
                    <a:pt x="834" y="266"/>
                  </a:lnTo>
                  <a:lnTo>
                    <a:pt x="834" y="266"/>
                  </a:lnTo>
                  <a:lnTo>
                    <a:pt x="834" y="266"/>
                  </a:lnTo>
                  <a:lnTo>
                    <a:pt x="834" y="264"/>
                  </a:lnTo>
                  <a:lnTo>
                    <a:pt x="834" y="264"/>
                  </a:lnTo>
                  <a:lnTo>
                    <a:pt x="834" y="264"/>
                  </a:lnTo>
                  <a:lnTo>
                    <a:pt x="834" y="264"/>
                  </a:lnTo>
                  <a:lnTo>
                    <a:pt x="834" y="264"/>
                  </a:lnTo>
                  <a:lnTo>
                    <a:pt x="834" y="264"/>
                  </a:lnTo>
                  <a:lnTo>
                    <a:pt x="832" y="266"/>
                  </a:lnTo>
                  <a:lnTo>
                    <a:pt x="830" y="266"/>
                  </a:lnTo>
                  <a:lnTo>
                    <a:pt x="830" y="266"/>
                  </a:lnTo>
                  <a:lnTo>
                    <a:pt x="830" y="266"/>
                  </a:lnTo>
                  <a:lnTo>
                    <a:pt x="830" y="266"/>
                  </a:lnTo>
                  <a:lnTo>
                    <a:pt x="830" y="266"/>
                  </a:lnTo>
                  <a:lnTo>
                    <a:pt x="830" y="268"/>
                  </a:lnTo>
                  <a:lnTo>
                    <a:pt x="830" y="268"/>
                  </a:lnTo>
                  <a:lnTo>
                    <a:pt x="830" y="268"/>
                  </a:lnTo>
                  <a:lnTo>
                    <a:pt x="830" y="266"/>
                  </a:lnTo>
                  <a:lnTo>
                    <a:pt x="830" y="266"/>
                  </a:lnTo>
                  <a:lnTo>
                    <a:pt x="830" y="266"/>
                  </a:lnTo>
                  <a:lnTo>
                    <a:pt x="830" y="266"/>
                  </a:lnTo>
                  <a:lnTo>
                    <a:pt x="830" y="264"/>
                  </a:lnTo>
                  <a:lnTo>
                    <a:pt x="830" y="264"/>
                  </a:lnTo>
                  <a:lnTo>
                    <a:pt x="830" y="264"/>
                  </a:lnTo>
                  <a:lnTo>
                    <a:pt x="827" y="262"/>
                  </a:lnTo>
                  <a:lnTo>
                    <a:pt x="827" y="262"/>
                  </a:lnTo>
                  <a:lnTo>
                    <a:pt x="827" y="262"/>
                  </a:lnTo>
                  <a:lnTo>
                    <a:pt x="825" y="262"/>
                  </a:lnTo>
                  <a:lnTo>
                    <a:pt x="823" y="262"/>
                  </a:lnTo>
                  <a:lnTo>
                    <a:pt x="823" y="262"/>
                  </a:lnTo>
                  <a:lnTo>
                    <a:pt x="823" y="262"/>
                  </a:lnTo>
                  <a:lnTo>
                    <a:pt x="821" y="262"/>
                  </a:lnTo>
                  <a:lnTo>
                    <a:pt x="819" y="262"/>
                  </a:lnTo>
                  <a:lnTo>
                    <a:pt x="817" y="262"/>
                  </a:lnTo>
                  <a:lnTo>
                    <a:pt x="815" y="262"/>
                  </a:lnTo>
                  <a:lnTo>
                    <a:pt x="815" y="262"/>
                  </a:lnTo>
                  <a:lnTo>
                    <a:pt x="815" y="260"/>
                  </a:lnTo>
                  <a:lnTo>
                    <a:pt x="809" y="260"/>
                  </a:lnTo>
                  <a:lnTo>
                    <a:pt x="807" y="260"/>
                  </a:lnTo>
                  <a:lnTo>
                    <a:pt x="805" y="258"/>
                  </a:lnTo>
                  <a:lnTo>
                    <a:pt x="805" y="258"/>
                  </a:lnTo>
                  <a:lnTo>
                    <a:pt x="805" y="256"/>
                  </a:lnTo>
                  <a:lnTo>
                    <a:pt x="805" y="254"/>
                  </a:lnTo>
                  <a:lnTo>
                    <a:pt x="805" y="254"/>
                  </a:lnTo>
                  <a:lnTo>
                    <a:pt x="803" y="254"/>
                  </a:lnTo>
                  <a:lnTo>
                    <a:pt x="803" y="254"/>
                  </a:lnTo>
                  <a:lnTo>
                    <a:pt x="803" y="254"/>
                  </a:lnTo>
                  <a:lnTo>
                    <a:pt x="803" y="254"/>
                  </a:lnTo>
                  <a:lnTo>
                    <a:pt x="803" y="254"/>
                  </a:lnTo>
                  <a:lnTo>
                    <a:pt x="803" y="254"/>
                  </a:lnTo>
                  <a:lnTo>
                    <a:pt x="803" y="254"/>
                  </a:lnTo>
                  <a:lnTo>
                    <a:pt x="801" y="254"/>
                  </a:lnTo>
                  <a:lnTo>
                    <a:pt x="799" y="254"/>
                  </a:lnTo>
                  <a:lnTo>
                    <a:pt x="799" y="252"/>
                  </a:lnTo>
                  <a:lnTo>
                    <a:pt x="801" y="254"/>
                  </a:lnTo>
                  <a:lnTo>
                    <a:pt x="801" y="252"/>
                  </a:lnTo>
                  <a:lnTo>
                    <a:pt x="801" y="252"/>
                  </a:lnTo>
                  <a:lnTo>
                    <a:pt x="801" y="252"/>
                  </a:lnTo>
                  <a:lnTo>
                    <a:pt x="803" y="252"/>
                  </a:lnTo>
                  <a:lnTo>
                    <a:pt x="803" y="252"/>
                  </a:lnTo>
                  <a:lnTo>
                    <a:pt x="805" y="252"/>
                  </a:lnTo>
                  <a:lnTo>
                    <a:pt x="805" y="250"/>
                  </a:lnTo>
                  <a:lnTo>
                    <a:pt x="807" y="250"/>
                  </a:lnTo>
                  <a:lnTo>
                    <a:pt x="805" y="250"/>
                  </a:lnTo>
                  <a:lnTo>
                    <a:pt x="805" y="248"/>
                  </a:lnTo>
                  <a:lnTo>
                    <a:pt x="805" y="248"/>
                  </a:lnTo>
                  <a:lnTo>
                    <a:pt x="807" y="248"/>
                  </a:lnTo>
                  <a:lnTo>
                    <a:pt x="805" y="248"/>
                  </a:lnTo>
                  <a:lnTo>
                    <a:pt x="805" y="246"/>
                  </a:lnTo>
                  <a:lnTo>
                    <a:pt x="807" y="246"/>
                  </a:lnTo>
                  <a:lnTo>
                    <a:pt x="807" y="246"/>
                  </a:lnTo>
                  <a:lnTo>
                    <a:pt x="807" y="244"/>
                  </a:lnTo>
                  <a:lnTo>
                    <a:pt x="807" y="244"/>
                  </a:lnTo>
                  <a:lnTo>
                    <a:pt x="807" y="244"/>
                  </a:lnTo>
                  <a:lnTo>
                    <a:pt x="807" y="244"/>
                  </a:lnTo>
                  <a:lnTo>
                    <a:pt x="807" y="242"/>
                  </a:lnTo>
                  <a:lnTo>
                    <a:pt x="807" y="242"/>
                  </a:lnTo>
                  <a:lnTo>
                    <a:pt x="809" y="240"/>
                  </a:lnTo>
                  <a:lnTo>
                    <a:pt x="809" y="240"/>
                  </a:lnTo>
                  <a:lnTo>
                    <a:pt x="809" y="240"/>
                  </a:lnTo>
                  <a:lnTo>
                    <a:pt x="809" y="238"/>
                  </a:lnTo>
                  <a:lnTo>
                    <a:pt x="809" y="238"/>
                  </a:lnTo>
                  <a:lnTo>
                    <a:pt x="809" y="236"/>
                  </a:lnTo>
                  <a:lnTo>
                    <a:pt x="809" y="236"/>
                  </a:lnTo>
                  <a:lnTo>
                    <a:pt x="807" y="236"/>
                  </a:lnTo>
                  <a:lnTo>
                    <a:pt x="807" y="236"/>
                  </a:lnTo>
                  <a:lnTo>
                    <a:pt x="807" y="234"/>
                  </a:lnTo>
                  <a:lnTo>
                    <a:pt x="807" y="234"/>
                  </a:lnTo>
                  <a:lnTo>
                    <a:pt x="813" y="236"/>
                  </a:lnTo>
                  <a:lnTo>
                    <a:pt x="813" y="236"/>
                  </a:lnTo>
                  <a:lnTo>
                    <a:pt x="811" y="234"/>
                  </a:lnTo>
                  <a:lnTo>
                    <a:pt x="805" y="234"/>
                  </a:lnTo>
                  <a:lnTo>
                    <a:pt x="801" y="232"/>
                  </a:lnTo>
                  <a:lnTo>
                    <a:pt x="795" y="232"/>
                  </a:lnTo>
                  <a:lnTo>
                    <a:pt x="791" y="234"/>
                  </a:lnTo>
                  <a:lnTo>
                    <a:pt x="791" y="234"/>
                  </a:lnTo>
                  <a:lnTo>
                    <a:pt x="786" y="236"/>
                  </a:lnTo>
                  <a:lnTo>
                    <a:pt x="784" y="238"/>
                  </a:lnTo>
                  <a:lnTo>
                    <a:pt x="784" y="238"/>
                  </a:lnTo>
                  <a:lnTo>
                    <a:pt x="784" y="238"/>
                  </a:lnTo>
                  <a:lnTo>
                    <a:pt x="784" y="238"/>
                  </a:lnTo>
                  <a:lnTo>
                    <a:pt x="784" y="238"/>
                  </a:lnTo>
                  <a:lnTo>
                    <a:pt x="784" y="238"/>
                  </a:lnTo>
                  <a:lnTo>
                    <a:pt x="784" y="238"/>
                  </a:lnTo>
                  <a:lnTo>
                    <a:pt x="782" y="240"/>
                  </a:lnTo>
                  <a:lnTo>
                    <a:pt x="782" y="240"/>
                  </a:lnTo>
                  <a:lnTo>
                    <a:pt x="782" y="240"/>
                  </a:lnTo>
                  <a:lnTo>
                    <a:pt x="782" y="240"/>
                  </a:lnTo>
                  <a:lnTo>
                    <a:pt x="782" y="240"/>
                  </a:lnTo>
                  <a:lnTo>
                    <a:pt x="782" y="238"/>
                  </a:lnTo>
                  <a:lnTo>
                    <a:pt x="782" y="238"/>
                  </a:lnTo>
                  <a:lnTo>
                    <a:pt x="782" y="238"/>
                  </a:lnTo>
                  <a:lnTo>
                    <a:pt x="782" y="238"/>
                  </a:lnTo>
                  <a:lnTo>
                    <a:pt x="782" y="238"/>
                  </a:lnTo>
                  <a:lnTo>
                    <a:pt x="782" y="238"/>
                  </a:lnTo>
                  <a:lnTo>
                    <a:pt x="778" y="238"/>
                  </a:lnTo>
                  <a:lnTo>
                    <a:pt x="776" y="238"/>
                  </a:lnTo>
                  <a:lnTo>
                    <a:pt x="776" y="238"/>
                  </a:lnTo>
                  <a:lnTo>
                    <a:pt x="774" y="238"/>
                  </a:lnTo>
                  <a:lnTo>
                    <a:pt x="766" y="242"/>
                  </a:lnTo>
                  <a:lnTo>
                    <a:pt x="764" y="244"/>
                  </a:lnTo>
                  <a:lnTo>
                    <a:pt x="764" y="244"/>
                  </a:lnTo>
                  <a:lnTo>
                    <a:pt x="764" y="246"/>
                  </a:lnTo>
                  <a:lnTo>
                    <a:pt x="764" y="246"/>
                  </a:lnTo>
                  <a:lnTo>
                    <a:pt x="764" y="246"/>
                  </a:lnTo>
                  <a:lnTo>
                    <a:pt x="766" y="246"/>
                  </a:lnTo>
                  <a:lnTo>
                    <a:pt x="766" y="248"/>
                  </a:lnTo>
                  <a:lnTo>
                    <a:pt x="768" y="250"/>
                  </a:lnTo>
                  <a:lnTo>
                    <a:pt x="770" y="250"/>
                  </a:lnTo>
                  <a:lnTo>
                    <a:pt x="770" y="250"/>
                  </a:lnTo>
                  <a:lnTo>
                    <a:pt x="770" y="252"/>
                  </a:lnTo>
                  <a:lnTo>
                    <a:pt x="766" y="252"/>
                  </a:lnTo>
                  <a:lnTo>
                    <a:pt x="758" y="250"/>
                  </a:lnTo>
                  <a:lnTo>
                    <a:pt x="758" y="248"/>
                  </a:lnTo>
                  <a:lnTo>
                    <a:pt x="758" y="248"/>
                  </a:lnTo>
                  <a:lnTo>
                    <a:pt x="758" y="248"/>
                  </a:lnTo>
                  <a:lnTo>
                    <a:pt x="758" y="248"/>
                  </a:lnTo>
                  <a:lnTo>
                    <a:pt x="758" y="248"/>
                  </a:lnTo>
                  <a:lnTo>
                    <a:pt x="756" y="248"/>
                  </a:lnTo>
                  <a:lnTo>
                    <a:pt x="754" y="246"/>
                  </a:lnTo>
                  <a:lnTo>
                    <a:pt x="754" y="246"/>
                  </a:lnTo>
                  <a:lnTo>
                    <a:pt x="754" y="248"/>
                  </a:lnTo>
                  <a:lnTo>
                    <a:pt x="752" y="248"/>
                  </a:lnTo>
                  <a:lnTo>
                    <a:pt x="750" y="248"/>
                  </a:lnTo>
                  <a:lnTo>
                    <a:pt x="750" y="248"/>
                  </a:lnTo>
                  <a:lnTo>
                    <a:pt x="743" y="252"/>
                  </a:lnTo>
                  <a:lnTo>
                    <a:pt x="743" y="252"/>
                  </a:lnTo>
                  <a:lnTo>
                    <a:pt x="741" y="254"/>
                  </a:lnTo>
                  <a:lnTo>
                    <a:pt x="741" y="254"/>
                  </a:lnTo>
                  <a:lnTo>
                    <a:pt x="741" y="254"/>
                  </a:lnTo>
                  <a:lnTo>
                    <a:pt x="741" y="254"/>
                  </a:lnTo>
                  <a:lnTo>
                    <a:pt x="741" y="254"/>
                  </a:lnTo>
                  <a:lnTo>
                    <a:pt x="741" y="254"/>
                  </a:lnTo>
                  <a:lnTo>
                    <a:pt x="741" y="254"/>
                  </a:lnTo>
                  <a:lnTo>
                    <a:pt x="741" y="254"/>
                  </a:lnTo>
                  <a:lnTo>
                    <a:pt x="741" y="254"/>
                  </a:lnTo>
                  <a:lnTo>
                    <a:pt x="741" y="254"/>
                  </a:lnTo>
                  <a:lnTo>
                    <a:pt x="741" y="254"/>
                  </a:lnTo>
                  <a:lnTo>
                    <a:pt x="741" y="252"/>
                  </a:lnTo>
                  <a:lnTo>
                    <a:pt x="741" y="254"/>
                  </a:lnTo>
                  <a:lnTo>
                    <a:pt x="739" y="254"/>
                  </a:lnTo>
                  <a:lnTo>
                    <a:pt x="739" y="254"/>
                  </a:lnTo>
                  <a:lnTo>
                    <a:pt x="739" y="254"/>
                  </a:lnTo>
                  <a:lnTo>
                    <a:pt x="739" y="256"/>
                  </a:lnTo>
                  <a:lnTo>
                    <a:pt x="739" y="256"/>
                  </a:lnTo>
                  <a:lnTo>
                    <a:pt x="737" y="258"/>
                  </a:lnTo>
                  <a:lnTo>
                    <a:pt x="735" y="258"/>
                  </a:lnTo>
                  <a:lnTo>
                    <a:pt x="733" y="260"/>
                  </a:lnTo>
                  <a:lnTo>
                    <a:pt x="733" y="260"/>
                  </a:lnTo>
                  <a:lnTo>
                    <a:pt x="733" y="258"/>
                  </a:lnTo>
                  <a:lnTo>
                    <a:pt x="731" y="258"/>
                  </a:lnTo>
                  <a:lnTo>
                    <a:pt x="731" y="258"/>
                  </a:lnTo>
                  <a:lnTo>
                    <a:pt x="731" y="256"/>
                  </a:lnTo>
                  <a:lnTo>
                    <a:pt x="729" y="256"/>
                  </a:lnTo>
                  <a:lnTo>
                    <a:pt x="725" y="260"/>
                  </a:lnTo>
                  <a:lnTo>
                    <a:pt x="725" y="260"/>
                  </a:lnTo>
                  <a:lnTo>
                    <a:pt x="725" y="260"/>
                  </a:lnTo>
                  <a:lnTo>
                    <a:pt x="727" y="260"/>
                  </a:lnTo>
                  <a:lnTo>
                    <a:pt x="727" y="260"/>
                  </a:lnTo>
                  <a:lnTo>
                    <a:pt x="727" y="260"/>
                  </a:lnTo>
                  <a:lnTo>
                    <a:pt x="725" y="260"/>
                  </a:lnTo>
                  <a:lnTo>
                    <a:pt x="725" y="260"/>
                  </a:lnTo>
                  <a:lnTo>
                    <a:pt x="723" y="260"/>
                  </a:lnTo>
                  <a:lnTo>
                    <a:pt x="725" y="262"/>
                  </a:lnTo>
                  <a:lnTo>
                    <a:pt x="725" y="262"/>
                  </a:lnTo>
                  <a:lnTo>
                    <a:pt x="725" y="262"/>
                  </a:lnTo>
                  <a:lnTo>
                    <a:pt x="725" y="264"/>
                  </a:lnTo>
                  <a:lnTo>
                    <a:pt x="725" y="264"/>
                  </a:lnTo>
                  <a:lnTo>
                    <a:pt x="723" y="264"/>
                  </a:lnTo>
                  <a:lnTo>
                    <a:pt x="719" y="264"/>
                  </a:lnTo>
                  <a:lnTo>
                    <a:pt x="717" y="264"/>
                  </a:lnTo>
                  <a:lnTo>
                    <a:pt x="717" y="266"/>
                  </a:lnTo>
                  <a:lnTo>
                    <a:pt x="717" y="266"/>
                  </a:lnTo>
                  <a:lnTo>
                    <a:pt x="715" y="266"/>
                  </a:lnTo>
                  <a:lnTo>
                    <a:pt x="713" y="266"/>
                  </a:lnTo>
                  <a:lnTo>
                    <a:pt x="713" y="266"/>
                  </a:lnTo>
                  <a:lnTo>
                    <a:pt x="713" y="266"/>
                  </a:lnTo>
                  <a:lnTo>
                    <a:pt x="713" y="264"/>
                  </a:lnTo>
                  <a:lnTo>
                    <a:pt x="713" y="264"/>
                  </a:lnTo>
                  <a:lnTo>
                    <a:pt x="715" y="264"/>
                  </a:lnTo>
                  <a:lnTo>
                    <a:pt x="715" y="264"/>
                  </a:lnTo>
                  <a:lnTo>
                    <a:pt x="717" y="262"/>
                  </a:lnTo>
                  <a:lnTo>
                    <a:pt x="717" y="262"/>
                  </a:lnTo>
                  <a:lnTo>
                    <a:pt x="717" y="262"/>
                  </a:lnTo>
                  <a:lnTo>
                    <a:pt x="717" y="262"/>
                  </a:lnTo>
                  <a:lnTo>
                    <a:pt x="719" y="260"/>
                  </a:lnTo>
                  <a:lnTo>
                    <a:pt x="717" y="262"/>
                  </a:lnTo>
                  <a:lnTo>
                    <a:pt x="715" y="262"/>
                  </a:lnTo>
                  <a:lnTo>
                    <a:pt x="713" y="264"/>
                  </a:lnTo>
                  <a:lnTo>
                    <a:pt x="711" y="264"/>
                  </a:lnTo>
                  <a:lnTo>
                    <a:pt x="711" y="264"/>
                  </a:lnTo>
                  <a:lnTo>
                    <a:pt x="711" y="264"/>
                  </a:lnTo>
                  <a:lnTo>
                    <a:pt x="711" y="264"/>
                  </a:lnTo>
                  <a:lnTo>
                    <a:pt x="711" y="264"/>
                  </a:lnTo>
                  <a:lnTo>
                    <a:pt x="711" y="266"/>
                  </a:lnTo>
                  <a:lnTo>
                    <a:pt x="711" y="266"/>
                  </a:lnTo>
                  <a:lnTo>
                    <a:pt x="711" y="266"/>
                  </a:lnTo>
                  <a:lnTo>
                    <a:pt x="711" y="268"/>
                  </a:lnTo>
                  <a:lnTo>
                    <a:pt x="711" y="268"/>
                  </a:lnTo>
                  <a:lnTo>
                    <a:pt x="711" y="268"/>
                  </a:lnTo>
                  <a:lnTo>
                    <a:pt x="711" y="268"/>
                  </a:lnTo>
                  <a:lnTo>
                    <a:pt x="711" y="268"/>
                  </a:lnTo>
                  <a:lnTo>
                    <a:pt x="711" y="271"/>
                  </a:lnTo>
                  <a:lnTo>
                    <a:pt x="711" y="271"/>
                  </a:lnTo>
                  <a:lnTo>
                    <a:pt x="713" y="271"/>
                  </a:lnTo>
                  <a:lnTo>
                    <a:pt x="715" y="271"/>
                  </a:lnTo>
                  <a:lnTo>
                    <a:pt x="719" y="277"/>
                  </a:lnTo>
                  <a:lnTo>
                    <a:pt x="719" y="277"/>
                  </a:lnTo>
                  <a:lnTo>
                    <a:pt x="719" y="277"/>
                  </a:lnTo>
                  <a:lnTo>
                    <a:pt x="721" y="279"/>
                  </a:lnTo>
                  <a:lnTo>
                    <a:pt x="725" y="281"/>
                  </a:lnTo>
                  <a:lnTo>
                    <a:pt x="727" y="283"/>
                  </a:lnTo>
                  <a:lnTo>
                    <a:pt x="735" y="287"/>
                  </a:lnTo>
                  <a:lnTo>
                    <a:pt x="737" y="287"/>
                  </a:lnTo>
                  <a:lnTo>
                    <a:pt x="739" y="289"/>
                  </a:lnTo>
                  <a:lnTo>
                    <a:pt x="737" y="287"/>
                  </a:lnTo>
                  <a:lnTo>
                    <a:pt x="735" y="287"/>
                  </a:lnTo>
                  <a:lnTo>
                    <a:pt x="735" y="287"/>
                  </a:lnTo>
                  <a:lnTo>
                    <a:pt x="733" y="285"/>
                  </a:lnTo>
                  <a:lnTo>
                    <a:pt x="733" y="285"/>
                  </a:lnTo>
                  <a:lnTo>
                    <a:pt x="733" y="285"/>
                  </a:lnTo>
                  <a:lnTo>
                    <a:pt x="739" y="287"/>
                  </a:lnTo>
                  <a:lnTo>
                    <a:pt x="741" y="289"/>
                  </a:lnTo>
                  <a:lnTo>
                    <a:pt x="743" y="289"/>
                  </a:lnTo>
                  <a:lnTo>
                    <a:pt x="743" y="291"/>
                  </a:lnTo>
                  <a:lnTo>
                    <a:pt x="746" y="291"/>
                  </a:lnTo>
                  <a:lnTo>
                    <a:pt x="746" y="291"/>
                  </a:lnTo>
                  <a:lnTo>
                    <a:pt x="748" y="291"/>
                  </a:lnTo>
                  <a:lnTo>
                    <a:pt x="750" y="293"/>
                  </a:lnTo>
                  <a:lnTo>
                    <a:pt x="750" y="293"/>
                  </a:lnTo>
                  <a:lnTo>
                    <a:pt x="752" y="295"/>
                  </a:lnTo>
                  <a:lnTo>
                    <a:pt x="750" y="295"/>
                  </a:lnTo>
                  <a:lnTo>
                    <a:pt x="750" y="295"/>
                  </a:lnTo>
                  <a:lnTo>
                    <a:pt x="750" y="295"/>
                  </a:lnTo>
                  <a:lnTo>
                    <a:pt x="746" y="293"/>
                  </a:lnTo>
                  <a:lnTo>
                    <a:pt x="746" y="293"/>
                  </a:lnTo>
                  <a:lnTo>
                    <a:pt x="746" y="293"/>
                  </a:lnTo>
                  <a:lnTo>
                    <a:pt x="743" y="293"/>
                  </a:lnTo>
                  <a:lnTo>
                    <a:pt x="743" y="293"/>
                  </a:lnTo>
                  <a:lnTo>
                    <a:pt x="743" y="293"/>
                  </a:lnTo>
                  <a:lnTo>
                    <a:pt x="743" y="293"/>
                  </a:lnTo>
                  <a:lnTo>
                    <a:pt x="741" y="293"/>
                  </a:lnTo>
                  <a:lnTo>
                    <a:pt x="741" y="295"/>
                  </a:lnTo>
                  <a:lnTo>
                    <a:pt x="741" y="295"/>
                  </a:lnTo>
                  <a:lnTo>
                    <a:pt x="741" y="297"/>
                  </a:lnTo>
                  <a:lnTo>
                    <a:pt x="741" y="297"/>
                  </a:lnTo>
                  <a:lnTo>
                    <a:pt x="739" y="299"/>
                  </a:lnTo>
                  <a:lnTo>
                    <a:pt x="739" y="299"/>
                  </a:lnTo>
                  <a:lnTo>
                    <a:pt x="739" y="299"/>
                  </a:lnTo>
                  <a:lnTo>
                    <a:pt x="739" y="299"/>
                  </a:lnTo>
                  <a:lnTo>
                    <a:pt x="739" y="299"/>
                  </a:lnTo>
                  <a:lnTo>
                    <a:pt x="739" y="299"/>
                  </a:lnTo>
                  <a:lnTo>
                    <a:pt x="739" y="299"/>
                  </a:lnTo>
                  <a:lnTo>
                    <a:pt x="739" y="299"/>
                  </a:lnTo>
                  <a:lnTo>
                    <a:pt x="737" y="299"/>
                  </a:lnTo>
                  <a:lnTo>
                    <a:pt x="737" y="299"/>
                  </a:lnTo>
                  <a:lnTo>
                    <a:pt x="737" y="299"/>
                  </a:lnTo>
                  <a:lnTo>
                    <a:pt x="735" y="299"/>
                  </a:lnTo>
                  <a:lnTo>
                    <a:pt x="735" y="299"/>
                  </a:lnTo>
                  <a:lnTo>
                    <a:pt x="733" y="297"/>
                  </a:lnTo>
                  <a:lnTo>
                    <a:pt x="731" y="297"/>
                  </a:lnTo>
                  <a:lnTo>
                    <a:pt x="731" y="297"/>
                  </a:lnTo>
                  <a:lnTo>
                    <a:pt x="731" y="297"/>
                  </a:lnTo>
                  <a:lnTo>
                    <a:pt x="731" y="297"/>
                  </a:lnTo>
                  <a:lnTo>
                    <a:pt x="731" y="295"/>
                  </a:lnTo>
                  <a:lnTo>
                    <a:pt x="731" y="293"/>
                  </a:lnTo>
                  <a:lnTo>
                    <a:pt x="731" y="293"/>
                  </a:lnTo>
                  <a:lnTo>
                    <a:pt x="733" y="293"/>
                  </a:lnTo>
                  <a:lnTo>
                    <a:pt x="733" y="291"/>
                  </a:lnTo>
                  <a:lnTo>
                    <a:pt x="733" y="291"/>
                  </a:lnTo>
                  <a:lnTo>
                    <a:pt x="733" y="291"/>
                  </a:lnTo>
                  <a:lnTo>
                    <a:pt x="733" y="291"/>
                  </a:lnTo>
                  <a:lnTo>
                    <a:pt x="733" y="291"/>
                  </a:lnTo>
                  <a:lnTo>
                    <a:pt x="731" y="291"/>
                  </a:lnTo>
                  <a:lnTo>
                    <a:pt x="731" y="293"/>
                  </a:lnTo>
                  <a:lnTo>
                    <a:pt x="731" y="295"/>
                  </a:lnTo>
                  <a:lnTo>
                    <a:pt x="731" y="297"/>
                  </a:lnTo>
                  <a:lnTo>
                    <a:pt x="731" y="299"/>
                  </a:lnTo>
                  <a:lnTo>
                    <a:pt x="733" y="301"/>
                  </a:lnTo>
                  <a:lnTo>
                    <a:pt x="733" y="301"/>
                  </a:lnTo>
                  <a:lnTo>
                    <a:pt x="735" y="303"/>
                  </a:lnTo>
                  <a:lnTo>
                    <a:pt x="735" y="303"/>
                  </a:lnTo>
                  <a:lnTo>
                    <a:pt x="735" y="305"/>
                  </a:lnTo>
                  <a:lnTo>
                    <a:pt x="735" y="305"/>
                  </a:lnTo>
                  <a:lnTo>
                    <a:pt x="735" y="305"/>
                  </a:lnTo>
                  <a:lnTo>
                    <a:pt x="737" y="307"/>
                  </a:lnTo>
                  <a:lnTo>
                    <a:pt x="737" y="309"/>
                  </a:lnTo>
                  <a:lnTo>
                    <a:pt x="739" y="312"/>
                  </a:lnTo>
                  <a:lnTo>
                    <a:pt x="739" y="312"/>
                  </a:lnTo>
                  <a:lnTo>
                    <a:pt x="737" y="309"/>
                  </a:lnTo>
                  <a:lnTo>
                    <a:pt x="737" y="309"/>
                  </a:lnTo>
                  <a:lnTo>
                    <a:pt x="737" y="309"/>
                  </a:lnTo>
                  <a:lnTo>
                    <a:pt x="739" y="309"/>
                  </a:lnTo>
                  <a:lnTo>
                    <a:pt x="739" y="312"/>
                  </a:lnTo>
                  <a:lnTo>
                    <a:pt x="739" y="312"/>
                  </a:lnTo>
                  <a:lnTo>
                    <a:pt x="739" y="312"/>
                  </a:lnTo>
                  <a:lnTo>
                    <a:pt x="739" y="314"/>
                  </a:lnTo>
                  <a:lnTo>
                    <a:pt x="739" y="314"/>
                  </a:lnTo>
                  <a:lnTo>
                    <a:pt x="739" y="316"/>
                  </a:lnTo>
                  <a:lnTo>
                    <a:pt x="739" y="316"/>
                  </a:lnTo>
                  <a:lnTo>
                    <a:pt x="739" y="316"/>
                  </a:lnTo>
                  <a:lnTo>
                    <a:pt x="739" y="316"/>
                  </a:lnTo>
                  <a:lnTo>
                    <a:pt x="739" y="316"/>
                  </a:lnTo>
                  <a:lnTo>
                    <a:pt x="737" y="316"/>
                  </a:lnTo>
                  <a:lnTo>
                    <a:pt x="737" y="316"/>
                  </a:lnTo>
                  <a:lnTo>
                    <a:pt x="737" y="316"/>
                  </a:lnTo>
                  <a:lnTo>
                    <a:pt x="737" y="318"/>
                  </a:lnTo>
                  <a:lnTo>
                    <a:pt x="737" y="318"/>
                  </a:lnTo>
                  <a:lnTo>
                    <a:pt x="737" y="320"/>
                  </a:lnTo>
                  <a:lnTo>
                    <a:pt x="737" y="320"/>
                  </a:lnTo>
                  <a:lnTo>
                    <a:pt x="737" y="322"/>
                  </a:lnTo>
                  <a:lnTo>
                    <a:pt x="737" y="326"/>
                  </a:lnTo>
                  <a:lnTo>
                    <a:pt x="741" y="328"/>
                  </a:lnTo>
                  <a:lnTo>
                    <a:pt x="746" y="330"/>
                  </a:lnTo>
                  <a:lnTo>
                    <a:pt x="748" y="332"/>
                  </a:lnTo>
                  <a:lnTo>
                    <a:pt x="758" y="336"/>
                  </a:lnTo>
                  <a:lnTo>
                    <a:pt x="766" y="340"/>
                  </a:lnTo>
                  <a:lnTo>
                    <a:pt x="770" y="340"/>
                  </a:lnTo>
                  <a:lnTo>
                    <a:pt x="772" y="340"/>
                  </a:lnTo>
                  <a:lnTo>
                    <a:pt x="772" y="340"/>
                  </a:lnTo>
                  <a:lnTo>
                    <a:pt x="770" y="340"/>
                  </a:lnTo>
                  <a:lnTo>
                    <a:pt x="770" y="340"/>
                  </a:lnTo>
                  <a:lnTo>
                    <a:pt x="768" y="340"/>
                  </a:lnTo>
                  <a:lnTo>
                    <a:pt x="768" y="340"/>
                  </a:lnTo>
                  <a:lnTo>
                    <a:pt x="768" y="338"/>
                  </a:lnTo>
                  <a:lnTo>
                    <a:pt x="768" y="338"/>
                  </a:lnTo>
                  <a:lnTo>
                    <a:pt x="768" y="338"/>
                  </a:lnTo>
                  <a:lnTo>
                    <a:pt x="768" y="338"/>
                  </a:lnTo>
                  <a:lnTo>
                    <a:pt x="768" y="338"/>
                  </a:lnTo>
                  <a:lnTo>
                    <a:pt x="768" y="338"/>
                  </a:lnTo>
                  <a:lnTo>
                    <a:pt x="768" y="338"/>
                  </a:lnTo>
                  <a:lnTo>
                    <a:pt x="768" y="336"/>
                  </a:lnTo>
                  <a:lnTo>
                    <a:pt x="768" y="336"/>
                  </a:lnTo>
                  <a:lnTo>
                    <a:pt x="768" y="336"/>
                  </a:lnTo>
                  <a:lnTo>
                    <a:pt x="768" y="336"/>
                  </a:lnTo>
                  <a:lnTo>
                    <a:pt x="768" y="336"/>
                  </a:lnTo>
                  <a:lnTo>
                    <a:pt x="770" y="336"/>
                  </a:lnTo>
                  <a:lnTo>
                    <a:pt x="770" y="338"/>
                  </a:lnTo>
                  <a:lnTo>
                    <a:pt x="768" y="338"/>
                  </a:lnTo>
                  <a:lnTo>
                    <a:pt x="770" y="338"/>
                  </a:lnTo>
                  <a:lnTo>
                    <a:pt x="770" y="338"/>
                  </a:lnTo>
                  <a:lnTo>
                    <a:pt x="772" y="338"/>
                  </a:lnTo>
                  <a:lnTo>
                    <a:pt x="774" y="338"/>
                  </a:lnTo>
                  <a:lnTo>
                    <a:pt x="774" y="338"/>
                  </a:lnTo>
                  <a:lnTo>
                    <a:pt x="772" y="338"/>
                  </a:lnTo>
                  <a:lnTo>
                    <a:pt x="772" y="338"/>
                  </a:lnTo>
                  <a:lnTo>
                    <a:pt x="774" y="338"/>
                  </a:lnTo>
                  <a:lnTo>
                    <a:pt x="782" y="336"/>
                  </a:lnTo>
                  <a:lnTo>
                    <a:pt x="784" y="336"/>
                  </a:lnTo>
                  <a:lnTo>
                    <a:pt x="780" y="336"/>
                  </a:lnTo>
                  <a:lnTo>
                    <a:pt x="791" y="338"/>
                  </a:lnTo>
                  <a:lnTo>
                    <a:pt x="795" y="338"/>
                  </a:lnTo>
                  <a:lnTo>
                    <a:pt x="797" y="338"/>
                  </a:lnTo>
                  <a:lnTo>
                    <a:pt x="801" y="340"/>
                  </a:lnTo>
                  <a:lnTo>
                    <a:pt x="803" y="342"/>
                  </a:lnTo>
                  <a:lnTo>
                    <a:pt x="803" y="342"/>
                  </a:lnTo>
                  <a:lnTo>
                    <a:pt x="805" y="344"/>
                  </a:lnTo>
                  <a:lnTo>
                    <a:pt x="805" y="344"/>
                  </a:lnTo>
                  <a:lnTo>
                    <a:pt x="805" y="344"/>
                  </a:lnTo>
                  <a:lnTo>
                    <a:pt x="805" y="346"/>
                  </a:lnTo>
                  <a:lnTo>
                    <a:pt x="807" y="348"/>
                  </a:lnTo>
                  <a:lnTo>
                    <a:pt x="807" y="348"/>
                  </a:lnTo>
                  <a:lnTo>
                    <a:pt x="807" y="348"/>
                  </a:lnTo>
                  <a:lnTo>
                    <a:pt x="809" y="348"/>
                  </a:lnTo>
                  <a:lnTo>
                    <a:pt x="809" y="346"/>
                  </a:lnTo>
                  <a:lnTo>
                    <a:pt x="809" y="346"/>
                  </a:lnTo>
                  <a:lnTo>
                    <a:pt x="811" y="344"/>
                  </a:lnTo>
                  <a:lnTo>
                    <a:pt x="811" y="344"/>
                  </a:lnTo>
                  <a:lnTo>
                    <a:pt x="811" y="344"/>
                  </a:lnTo>
                  <a:lnTo>
                    <a:pt x="811" y="344"/>
                  </a:lnTo>
                  <a:lnTo>
                    <a:pt x="811" y="342"/>
                  </a:lnTo>
                  <a:lnTo>
                    <a:pt x="809" y="344"/>
                  </a:lnTo>
                  <a:lnTo>
                    <a:pt x="809" y="342"/>
                  </a:lnTo>
                  <a:lnTo>
                    <a:pt x="807" y="342"/>
                  </a:lnTo>
                  <a:lnTo>
                    <a:pt x="807" y="342"/>
                  </a:lnTo>
                  <a:lnTo>
                    <a:pt x="807" y="340"/>
                  </a:lnTo>
                  <a:lnTo>
                    <a:pt x="805" y="340"/>
                  </a:lnTo>
                  <a:lnTo>
                    <a:pt x="805" y="340"/>
                  </a:lnTo>
                  <a:lnTo>
                    <a:pt x="803" y="338"/>
                  </a:lnTo>
                  <a:lnTo>
                    <a:pt x="803" y="338"/>
                  </a:lnTo>
                  <a:lnTo>
                    <a:pt x="803" y="338"/>
                  </a:lnTo>
                  <a:lnTo>
                    <a:pt x="805" y="338"/>
                  </a:lnTo>
                  <a:lnTo>
                    <a:pt x="807" y="336"/>
                  </a:lnTo>
                  <a:lnTo>
                    <a:pt x="807" y="336"/>
                  </a:lnTo>
                  <a:lnTo>
                    <a:pt x="809" y="336"/>
                  </a:lnTo>
                  <a:lnTo>
                    <a:pt x="809" y="338"/>
                  </a:lnTo>
                  <a:lnTo>
                    <a:pt x="809" y="338"/>
                  </a:lnTo>
                  <a:lnTo>
                    <a:pt x="811" y="340"/>
                  </a:lnTo>
                  <a:lnTo>
                    <a:pt x="811" y="340"/>
                  </a:lnTo>
                  <a:lnTo>
                    <a:pt x="811" y="340"/>
                  </a:lnTo>
                  <a:lnTo>
                    <a:pt x="811" y="340"/>
                  </a:lnTo>
                  <a:lnTo>
                    <a:pt x="811" y="342"/>
                  </a:lnTo>
                  <a:lnTo>
                    <a:pt x="811" y="342"/>
                  </a:lnTo>
                  <a:lnTo>
                    <a:pt x="813" y="342"/>
                  </a:lnTo>
                  <a:lnTo>
                    <a:pt x="813" y="342"/>
                  </a:lnTo>
                  <a:lnTo>
                    <a:pt x="813" y="342"/>
                  </a:lnTo>
                  <a:lnTo>
                    <a:pt x="813" y="342"/>
                  </a:lnTo>
                  <a:lnTo>
                    <a:pt x="813" y="342"/>
                  </a:lnTo>
                  <a:lnTo>
                    <a:pt x="813" y="344"/>
                  </a:lnTo>
                  <a:lnTo>
                    <a:pt x="815" y="344"/>
                  </a:lnTo>
                  <a:lnTo>
                    <a:pt x="815" y="344"/>
                  </a:lnTo>
                  <a:lnTo>
                    <a:pt x="815" y="346"/>
                  </a:lnTo>
                  <a:lnTo>
                    <a:pt x="815" y="344"/>
                  </a:lnTo>
                  <a:lnTo>
                    <a:pt x="815" y="346"/>
                  </a:lnTo>
                  <a:lnTo>
                    <a:pt x="813" y="346"/>
                  </a:lnTo>
                  <a:lnTo>
                    <a:pt x="815" y="346"/>
                  </a:lnTo>
                  <a:lnTo>
                    <a:pt x="815" y="348"/>
                  </a:lnTo>
                  <a:lnTo>
                    <a:pt x="815" y="348"/>
                  </a:lnTo>
                  <a:lnTo>
                    <a:pt x="815" y="350"/>
                  </a:lnTo>
                  <a:lnTo>
                    <a:pt x="815" y="350"/>
                  </a:lnTo>
                  <a:lnTo>
                    <a:pt x="815" y="350"/>
                  </a:lnTo>
                  <a:lnTo>
                    <a:pt x="815" y="352"/>
                  </a:lnTo>
                  <a:lnTo>
                    <a:pt x="815" y="352"/>
                  </a:lnTo>
                  <a:lnTo>
                    <a:pt x="815" y="352"/>
                  </a:lnTo>
                  <a:lnTo>
                    <a:pt x="815" y="352"/>
                  </a:lnTo>
                  <a:lnTo>
                    <a:pt x="817" y="352"/>
                  </a:lnTo>
                  <a:lnTo>
                    <a:pt x="819" y="350"/>
                  </a:lnTo>
                  <a:lnTo>
                    <a:pt x="819" y="350"/>
                  </a:lnTo>
                  <a:lnTo>
                    <a:pt x="819" y="350"/>
                  </a:lnTo>
                  <a:lnTo>
                    <a:pt x="819" y="348"/>
                  </a:lnTo>
                  <a:lnTo>
                    <a:pt x="819" y="348"/>
                  </a:lnTo>
                  <a:lnTo>
                    <a:pt x="819" y="348"/>
                  </a:lnTo>
                  <a:lnTo>
                    <a:pt x="819" y="348"/>
                  </a:lnTo>
                  <a:lnTo>
                    <a:pt x="819" y="346"/>
                  </a:lnTo>
                  <a:lnTo>
                    <a:pt x="819" y="346"/>
                  </a:lnTo>
                  <a:lnTo>
                    <a:pt x="819" y="344"/>
                  </a:lnTo>
                  <a:lnTo>
                    <a:pt x="821" y="344"/>
                  </a:lnTo>
                  <a:lnTo>
                    <a:pt x="821" y="344"/>
                  </a:lnTo>
                  <a:lnTo>
                    <a:pt x="823" y="342"/>
                  </a:lnTo>
                  <a:lnTo>
                    <a:pt x="827" y="340"/>
                  </a:lnTo>
                  <a:lnTo>
                    <a:pt x="827" y="340"/>
                  </a:lnTo>
                  <a:lnTo>
                    <a:pt x="830" y="340"/>
                  </a:lnTo>
                  <a:lnTo>
                    <a:pt x="830" y="340"/>
                  </a:lnTo>
                  <a:lnTo>
                    <a:pt x="830" y="338"/>
                  </a:lnTo>
                  <a:lnTo>
                    <a:pt x="830" y="338"/>
                  </a:lnTo>
                  <a:lnTo>
                    <a:pt x="832" y="336"/>
                  </a:lnTo>
                  <a:lnTo>
                    <a:pt x="832" y="336"/>
                  </a:lnTo>
                  <a:lnTo>
                    <a:pt x="834" y="336"/>
                  </a:lnTo>
                  <a:lnTo>
                    <a:pt x="834" y="336"/>
                  </a:lnTo>
                  <a:lnTo>
                    <a:pt x="832" y="336"/>
                  </a:lnTo>
                  <a:lnTo>
                    <a:pt x="832" y="336"/>
                  </a:lnTo>
                  <a:lnTo>
                    <a:pt x="834" y="336"/>
                  </a:lnTo>
                  <a:lnTo>
                    <a:pt x="836" y="336"/>
                  </a:lnTo>
                  <a:lnTo>
                    <a:pt x="836" y="336"/>
                  </a:lnTo>
                  <a:lnTo>
                    <a:pt x="838" y="336"/>
                  </a:lnTo>
                  <a:lnTo>
                    <a:pt x="838" y="336"/>
                  </a:lnTo>
                  <a:lnTo>
                    <a:pt x="838" y="336"/>
                  </a:lnTo>
                  <a:lnTo>
                    <a:pt x="838" y="336"/>
                  </a:lnTo>
                  <a:lnTo>
                    <a:pt x="838" y="336"/>
                  </a:lnTo>
                  <a:lnTo>
                    <a:pt x="840" y="334"/>
                  </a:lnTo>
                  <a:lnTo>
                    <a:pt x="840" y="334"/>
                  </a:lnTo>
                  <a:lnTo>
                    <a:pt x="838" y="334"/>
                  </a:lnTo>
                  <a:lnTo>
                    <a:pt x="838" y="336"/>
                  </a:lnTo>
                  <a:lnTo>
                    <a:pt x="838" y="336"/>
                  </a:lnTo>
                  <a:lnTo>
                    <a:pt x="836" y="336"/>
                  </a:lnTo>
                  <a:lnTo>
                    <a:pt x="836" y="336"/>
                  </a:lnTo>
                  <a:lnTo>
                    <a:pt x="838" y="334"/>
                  </a:lnTo>
                  <a:lnTo>
                    <a:pt x="842" y="332"/>
                  </a:lnTo>
                  <a:lnTo>
                    <a:pt x="842" y="332"/>
                  </a:lnTo>
                  <a:lnTo>
                    <a:pt x="840" y="332"/>
                  </a:lnTo>
                  <a:lnTo>
                    <a:pt x="840" y="332"/>
                  </a:lnTo>
                  <a:lnTo>
                    <a:pt x="842" y="332"/>
                  </a:lnTo>
                  <a:lnTo>
                    <a:pt x="842" y="332"/>
                  </a:lnTo>
                  <a:lnTo>
                    <a:pt x="842" y="334"/>
                  </a:lnTo>
                  <a:lnTo>
                    <a:pt x="844" y="334"/>
                  </a:lnTo>
                  <a:lnTo>
                    <a:pt x="844" y="334"/>
                  </a:lnTo>
                  <a:lnTo>
                    <a:pt x="844" y="336"/>
                  </a:lnTo>
                  <a:lnTo>
                    <a:pt x="846" y="336"/>
                  </a:lnTo>
                  <a:lnTo>
                    <a:pt x="846" y="336"/>
                  </a:lnTo>
                  <a:lnTo>
                    <a:pt x="846" y="334"/>
                  </a:lnTo>
                  <a:lnTo>
                    <a:pt x="846" y="334"/>
                  </a:lnTo>
                  <a:lnTo>
                    <a:pt x="846" y="334"/>
                  </a:lnTo>
                  <a:lnTo>
                    <a:pt x="848" y="334"/>
                  </a:lnTo>
                  <a:lnTo>
                    <a:pt x="848" y="334"/>
                  </a:lnTo>
                  <a:lnTo>
                    <a:pt x="848" y="334"/>
                  </a:lnTo>
                  <a:lnTo>
                    <a:pt x="848" y="334"/>
                  </a:lnTo>
                  <a:lnTo>
                    <a:pt x="850" y="334"/>
                  </a:lnTo>
                  <a:lnTo>
                    <a:pt x="850" y="332"/>
                  </a:lnTo>
                  <a:lnTo>
                    <a:pt x="850" y="332"/>
                  </a:lnTo>
                  <a:lnTo>
                    <a:pt x="850" y="332"/>
                  </a:lnTo>
                  <a:lnTo>
                    <a:pt x="850" y="332"/>
                  </a:lnTo>
                  <a:lnTo>
                    <a:pt x="850" y="332"/>
                  </a:lnTo>
                  <a:lnTo>
                    <a:pt x="850" y="332"/>
                  </a:lnTo>
                  <a:lnTo>
                    <a:pt x="850" y="330"/>
                  </a:lnTo>
                  <a:lnTo>
                    <a:pt x="852" y="330"/>
                  </a:lnTo>
                  <a:lnTo>
                    <a:pt x="852" y="328"/>
                  </a:lnTo>
                  <a:lnTo>
                    <a:pt x="854" y="328"/>
                  </a:lnTo>
                  <a:lnTo>
                    <a:pt x="854" y="328"/>
                  </a:lnTo>
                  <a:lnTo>
                    <a:pt x="854" y="326"/>
                  </a:lnTo>
                  <a:lnTo>
                    <a:pt x="856" y="328"/>
                  </a:lnTo>
                  <a:lnTo>
                    <a:pt x="856" y="328"/>
                  </a:lnTo>
                  <a:lnTo>
                    <a:pt x="856" y="326"/>
                  </a:lnTo>
                  <a:lnTo>
                    <a:pt x="856" y="326"/>
                  </a:lnTo>
                  <a:lnTo>
                    <a:pt x="858" y="326"/>
                  </a:lnTo>
                  <a:lnTo>
                    <a:pt x="858" y="326"/>
                  </a:lnTo>
                  <a:lnTo>
                    <a:pt x="858" y="326"/>
                  </a:lnTo>
                  <a:lnTo>
                    <a:pt x="858" y="328"/>
                  </a:lnTo>
                  <a:lnTo>
                    <a:pt x="858" y="328"/>
                  </a:lnTo>
                  <a:lnTo>
                    <a:pt x="858" y="328"/>
                  </a:lnTo>
                  <a:lnTo>
                    <a:pt x="856" y="328"/>
                  </a:lnTo>
                  <a:lnTo>
                    <a:pt x="856" y="328"/>
                  </a:lnTo>
                  <a:lnTo>
                    <a:pt x="856" y="328"/>
                  </a:lnTo>
                  <a:lnTo>
                    <a:pt x="854" y="328"/>
                  </a:lnTo>
                  <a:lnTo>
                    <a:pt x="854" y="328"/>
                  </a:lnTo>
                  <a:lnTo>
                    <a:pt x="856" y="330"/>
                  </a:lnTo>
                  <a:lnTo>
                    <a:pt x="858" y="332"/>
                  </a:lnTo>
                  <a:lnTo>
                    <a:pt x="858" y="332"/>
                  </a:lnTo>
                  <a:lnTo>
                    <a:pt x="860" y="334"/>
                  </a:lnTo>
                  <a:lnTo>
                    <a:pt x="860" y="334"/>
                  </a:lnTo>
                  <a:lnTo>
                    <a:pt x="860" y="334"/>
                  </a:lnTo>
                  <a:lnTo>
                    <a:pt x="860" y="336"/>
                  </a:lnTo>
                  <a:lnTo>
                    <a:pt x="860" y="338"/>
                  </a:lnTo>
                  <a:lnTo>
                    <a:pt x="862" y="338"/>
                  </a:lnTo>
                  <a:lnTo>
                    <a:pt x="862" y="338"/>
                  </a:lnTo>
                  <a:lnTo>
                    <a:pt x="862" y="338"/>
                  </a:lnTo>
                  <a:lnTo>
                    <a:pt x="862" y="340"/>
                  </a:lnTo>
                  <a:lnTo>
                    <a:pt x="862" y="340"/>
                  </a:lnTo>
                  <a:lnTo>
                    <a:pt x="860" y="342"/>
                  </a:lnTo>
                  <a:lnTo>
                    <a:pt x="860" y="344"/>
                  </a:lnTo>
                  <a:lnTo>
                    <a:pt x="858" y="346"/>
                  </a:lnTo>
                  <a:lnTo>
                    <a:pt x="858" y="346"/>
                  </a:lnTo>
                  <a:lnTo>
                    <a:pt x="858" y="346"/>
                  </a:lnTo>
                  <a:lnTo>
                    <a:pt x="856" y="346"/>
                  </a:lnTo>
                  <a:lnTo>
                    <a:pt x="856" y="346"/>
                  </a:lnTo>
                  <a:lnTo>
                    <a:pt x="854" y="346"/>
                  </a:lnTo>
                  <a:lnTo>
                    <a:pt x="854" y="348"/>
                  </a:lnTo>
                  <a:lnTo>
                    <a:pt x="856" y="348"/>
                  </a:lnTo>
                  <a:lnTo>
                    <a:pt x="854" y="348"/>
                  </a:lnTo>
                  <a:lnTo>
                    <a:pt x="854" y="350"/>
                  </a:lnTo>
                  <a:lnTo>
                    <a:pt x="848" y="348"/>
                  </a:lnTo>
                  <a:lnTo>
                    <a:pt x="848" y="346"/>
                  </a:lnTo>
                  <a:lnTo>
                    <a:pt x="848" y="346"/>
                  </a:lnTo>
                  <a:lnTo>
                    <a:pt x="846" y="346"/>
                  </a:lnTo>
                  <a:lnTo>
                    <a:pt x="846" y="346"/>
                  </a:lnTo>
                  <a:lnTo>
                    <a:pt x="846" y="348"/>
                  </a:lnTo>
                  <a:lnTo>
                    <a:pt x="846" y="348"/>
                  </a:lnTo>
                  <a:lnTo>
                    <a:pt x="846" y="348"/>
                  </a:lnTo>
                  <a:lnTo>
                    <a:pt x="846" y="348"/>
                  </a:lnTo>
                  <a:lnTo>
                    <a:pt x="846" y="350"/>
                  </a:lnTo>
                  <a:lnTo>
                    <a:pt x="844" y="350"/>
                  </a:lnTo>
                  <a:lnTo>
                    <a:pt x="844" y="350"/>
                  </a:lnTo>
                  <a:lnTo>
                    <a:pt x="844" y="350"/>
                  </a:lnTo>
                  <a:lnTo>
                    <a:pt x="844" y="352"/>
                  </a:lnTo>
                  <a:lnTo>
                    <a:pt x="844" y="352"/>
                  </a:lnTo>
                  <a:lnTo>
                    <a:pt x="844" y="355"/>
                  </a:lnTo>
                  <a:lnTo>
                    <a:pt x="844" y="355"/>
                  </a:lnTo>
                  <a:lnTo>
                    <a:pt x="844" y="355"/>
                  </a:lnTo>
                  <a:lnTo>
                    <a:pt x="844" y="355"/>
                  </a:lnTo>
                  <a:lnTo>
                    <a:pt x="844" y="352"/>
                  </a:lnTo>
                  <a:lnTo>
                    <a:pt x="844" y="352"/>
                  </a:lnTo>
                  <a:lnTo>
                    <a:pt x="846" y="352"/>
                  </a:lnTo>
                  <a:lnTo>
                    <a:pt x="846" y="352"/>
                  </a:lnTo>
                  <a:lnTo>
                    <a:pt x="848" y="352"/>
                  </a:lnTo>
                  <a:lnTo>
                    <a:pt x="852" y="355"/>
                  </a:lnTo>
                  <a:lnTo>
                    <a:pt x="852" y="355"/>
                  </a:lnTo>
                  <a:lnTo>
                    <a:pt x="850" y="355"/>
                  </a:lnTo>
                  <a:lnTo>
                    <a:pt x="850" y="355"/>
                  </a:lnTo>
                  <a:lnTo>
                    <a:pt x="850" y="355"/>
                  </a:lnTo>
                  <a:lnTo>
                    <a:pt x="850" y="355"/>
                  </a:lnTo>
                  <a:lnTo>
                    <a:pt x="850" y="355"/>
                  </a:lnTo>
                  <a:lnTo>
                    <a:pt x="852" y="355"/>
                  </a:lnTo>
                  <a:lnTo>
                    <a:pt x="850" y="357"/>
                  </a:lnTo>
                  <a:lnTo>
                    <a:pt x="850" y="357"/>
                  </a:lnTo>
                  <a:lnTo>
                    <a:pt x="850" y="357"/>
                  </a:lnTo>
                  <a:lnTo>
                    <a:pt x="850" y="357"/>
                  </a:lnTo>
                  <a:lnTo>
                    <a:pt x="852" y="357"/>
                  </a:lnTo>
                  <a:lnTo>
                    <a:pt x="852" y="359"/>
                  </a:lnTo>
                  <a:lnTo>
                    <a:pt x="852" y="361"/>
                  </a:lnTo>
                  <a:lnTo>
                    <a:pt x="854" y="361"/>
                  </a:lnTo>
                  <a:lnTo>
                    <a:pt x="854" y="363"/>
                  </a:lnTo>
                  <a:lnTo>
                    <a:pt x="854" y="363"/>
                  </a:lnTo>
                  <a:lnTo>
                    <a:pt x="856" y="365"/>
                  </a:lnTo>
                  <a:lnTo>
                    <a:pt x="854" y="371"/>
                  </a:lnTo>
                  <a:lnTo>
                    <a:pt x="854" y="373"/>
                  </a:lnTo>
                  <a:lnTo>
                    <a:pt x="856" y="381"/>
                  </a:lnTo>
                  <a:lnTo>
                    <a:pt x="858" y="385"/>
                  </a:lnTo>
                  <a:lnTo>
                    <a:pt x="856" y="389"/>
                  </a:lnTo>
                  <a:lnTo>
                    <a:pt x="856" y="391"/>
                  </a:lnTo>
                  <a:lnTo>
                    <a:pt x="854" y="391"/>
                  </a:lnTo>
                  <a:lnTo>
                    <a:pt x="854" y="391"/>
                  </a:lnTo>
                  <a:lnTo>
                    <a:pt x="852" y="396"/>
                  </a:lnTo>
                  <a:lnTo>
                    <a:pt x="852" y="396"/>
                  </a:lnTo>
                  <a:lnTo>
                    <a:pt x="850" y="396"/>
                  </a:lnTo>
                  <a:lnTo>
                    <a:pt x="850" y="396"/>
                  </a:lnTo>
                  <a:lnTo>
                    <a:pt x="850" y="398"/>
                  </a:lnTo>
                  <a:lnTo>
                    <a:pt x="850" y="398"/>
                  </a:lnTo>
                  <a:lnTo>
                    <a:pt x="846" y="402"/>
                  </a:lnTo>
                  <a:lnTo>
                    <a:pt x="842" y="402"/>
                  </a:lnTo>
                  <a:lnTo>
                    <a:pt x="842" y="402"/>
                  </a:lnTo>
                  <a:lnTo>
                    <a:pt x="840" y="402"/>
                  </a:lnTo>
                  <a:lnTo>
                    <a:pt x="840" y="402"/>
                  </a:lnTo>
                  <a:lnTo>
                    <a:pt x="840" y="402"/>
                  </a:lnTo>
                  <a:lnTo>
                    <a:pt x="840" y="402"/>
                  </a:lnTo>
                  <a:lnTo>
                    <a:pt x="840" y="402"/>
                  </a:lnTo>
                  <a:lnTo>
                    <a:pt x="840" y="402"/>
                  </a:lnTo>
                  <a:lnTo>
                    <a:pt x="838" y="402"/>
                  </a:lnTo>
                  <a:lnTo>
                    <a:pt x="838" y="402"/>
                  </a:lnTo>
                  <a:lnTo>
                    <a:pt x="838" y="402"/>
                  </a:lnTo>
                  <a:lnTo>
                    <a:pt x="836" y="402"/>
                  </a:lnTo>
                  <a:lnTo>
                    <a:pt x="836" y="402"/>
                  </a:lnTo>
                  <a:lnTo>
                    <a:pt x="836" y="402"/>
                  </a:lnTo>
                  <a:lnTo>
                    <a:pt x="823" y="402"/>
                  </a:lnTo>
                  <a:lnTo>
                    <a:pt x="823" y="402"/>
                  </a:lnTo>
                  <a:lnTo>
                    <a:pt x="823" y="402"/>
                  </a:lnTo>
                  <a:lnTo>
                    <a:pt x="825" y="402"/>
                  </a:lnTo>
                  <a:lnTo>
                    <a:pt x="825" y="402"/>
                  </a:lnTo>
                  <a:lnTo>
                    <a:pt x="825" y="402"/>
                  </a:lnTo>
                  <a:lnTo>
                    <a:pt x="825" y="400"/>
                  </a:lnTo>
                  <a:lnTo>
                    <a:pt x="825" y="400"/>
                  </a:lnTo>
                  <a:lnTo>
                    <a:pt x="827" y="400"/>
                  </a:lnTo>
                  <a:lnTo>
                    <a:pt x="827" y="400"/>
                  </a:lnTo>
                  <a:lnTo>
                    <a:pt x="825" y="400"/>
                  </a:lnTo>
                  <a:lnTo>
                    <a:pt x="825" y="400"/>
                  </a:lnTo>
                  <a:lnTo>
                    <a:pt x="825" y="398"/>
                  </a:lnTo>
                  <a:lnTo>
                    <a:pt x="825" y="398"/>
                  </a:lnTo>
                  <a:lnTo>
                    <a:pt x="823" y="398"/>
                  </a:lnTo>
                  <a:lnTo>
                    <a:pt x="823" y="398"/>
                  </a:lnTo>
                  <a:lnTo>
                    <a:pt x="823" y="398"/>
                  </a:lnTo>
                  <a:lnTo>
                    <a:pt x="821" y="396"/>
                  </a:lnTo>
                  <a:lnTo>
                    <a:pt x="821" y="396"/>
                  </a:lnTo>
                  <a:lnTo>
                    <a:pt x="821" y="396"/>
                  </a:lnTo>
                  <a:lnTo>
                    <a:pt x="821" y="396"/>
                  </a:lnTo>
                  <a:lnTo>
                    <a:pt x="819" y="396"/>
                  </a:lnTo>
                  <a:lnTo>
                    <a:pt x="821" y="398"/>
                  </a:lnTo>
                  <a:lnTo>
                    <a:pt x="821" y="400"/>
                  </a:lnTo>
                  <a:lnTo>
                    <a:pt x="819" y="400"/>
                  </a:lnTo>
                  <a:lnTo>
                    <a:pt x="819" y="400"/>
                  </a:lnTo>
                  <a:lnTo>
                    <a:pt x="819" y="400"/>
                  </a:lnTo>
                  <a:lnTo>
                    <a:pt x="819" y="402"/>
                  </a:lnTo>
                  <a:lnTo>
                    <a:pt x="817" y="402"/>
                  </a:lnTo>
                  <a:lnTo>
                    <a:pt x="817" y="402"/>
                  </a:lnTo>
                  <a:lnTo>
                    <a:pt x="817" y="404"/>
                  </a:lnTo>
                  <a:lnTo>
                    <a:pt x="811" y="410"/>
                  </a:lnTo>
                  <a:lnTo>
                    <a:pt x="809" y="412"/>
                  </a:lnTo>
                  <a:lnTo>
                    <a:pt x="807" y="412"/>
                  </a:lnTo>
                  <a:lnTo>
                    <a:pt x="807" y="412"/>
                  </a:lnTo>
                  <a:lnTo>
                    <a:pt x="805" y="412"/>
                  </a:lnTo>
                  <a:lnTo>
                    <a:pt x="805" y="412"/>
                  </a:lnTo>
                  <a:lnTo>
                    <a:pt x="805" y="414"/>
                  </a:lnTo>
                  <a:lnTo>
                    <a:pt x="805" y="414"/>
                  </a:lnTo>
                  <a:lnTo>
                    <a:pt x="805" y="414"/>
                  </a:lnTo>
                  <a:lnTo>
                    <a:pt x="805" y="416"/>
                  </a:lnTo>
                  <a:lnTo>
                    <a:pt x="803" y="416"/>
                  </a:lnTo>
                  <a:lnTo>
                    <a:pt x="803" y="416"/>
                  </a:lnTo>
                  <a:lnTo>
                    <a:pt x="803" y="416"/>
                  </a:lnTo>
                  <a:lnTo>
                    <a:pt x="801" y="416"/>
                  </a:lnTo>
                  <a:lnTo>
                    <a:pt x="801" y="418"/>
                  </a:lnTo>
                  <a:lnTo>
                    <a:pt x="801" y="418"/>
                  </a:lnTo>
                  <a:lnTo>
                    <a:pt x="799" y="418"/>
                  </a:lnTo>
                  <a:lnTo>
                    <a:pt x="799" y="418"/>
                  </a:lnTo>
                  <a:lnTo>
                    <a:pt x="795" y="418"/>
                  </a:lnTo>
                  <a:lnTo>
                    <a:pt x="793" y="420"/>
                  </a:lnTo>
                  <a:lnTo>
                    <a:pt x="793" y="418"/>
                  </a:lnTo>
                  <a:lnTo>
                    <a:pt x="793" y="418"/>
                  </a:lnTo>
                  <a:lnTo>
                    <a:pt x="791" y="416"/>
                  </a:lnTo>
                  <a:lnTo>
                    <a:pt x="791" y="416"/>
                  </a:lnTo>
                  <a:lnTo>
                    <a:pt x="789" y="414"/>
                  </a:lnTo>
                  <a:lnTo>
                    <a:pt x="789" y="414"/>
                  </a:lnTo>
                  <a:lnTo>
                    <a:pt x="786" y="416"/>
                  </a:lnTo>
                  <a:lnTo>
                    <a:pt x="786" y="418"/>
                  </a:lnTo>
                  <a:lnTo>
                    <a:pt x="782" y="418"/>
                  </a:lnTo>
                  <a:lnTo>
                    <a:pt x="782" y="420"/>
                  </a:lnTo>
                  <a:lnTo>
                    <a:pt x="782" y="418"/>
                  </a:lnTo>
                  <a:lnTo>
                    <a:pt x="786" y="416"/>
                  </a:lnTo>
                  <a:lnTo>
                    <a:pt x="786" y="416"/>
                  </a:lnTo>
                  <a:lnTo>
                    <a:pt x="786" y="414"/>
                  </a:lnTo>
                  <a:lnTo>
                    <a:pt x="789" y="414"/>
                  </a:lnTo>
                  <a:lnTo>
                    <a:pt x="789" y="414"/>
                  </a:lnTo>
                  <a:lnTo>
                    <a:pt x="789" y="414"/>
                  </a:lnTo>
                  <a:lnTo>
                    <a:pt x="789" y="414"/>
                  </a:lnTo>
                  <a:lnTo>
                    <a:pt x="786" y="414"/>
                  </a:lnTo>
                  <a:lnTo>
                    <a:pt x="786" y="414"/>
                  </a:lnTo>
                  <a:lnTo>
                    <a:pt x="786" y="414"/>
                  </a:lnTo>
                  <a:lnTo>
                    <a:pt x="786" y="414"/>
                  </a:lnTo>
                  <a:lnTo>
                    <a:pt x="786" y="412"/>
                  </a:lnTo>
                  <a:lnTo>
                    <a:pt x="786" y="412"/>
                  </a:lnTo>
                  <a:lnTo>
                    <a:pt x="786" y="412"/>
                  </a:lnTo>
                  <a:lnTo>
                    <a:pt x="786" y="410"/>
                  </a:lnTo>
                  <a:lnTo>
                    <a:pt x="786" y="410"/>
                  </a:lnTo>
                  <a:lnTo>
                    <a:pt x="786" y="410"/>
                  </a:lnTo>
                  <a:lnTo>
                    <a:pt x="784" y="410"/>
                  </a:lnTo>
                  <a:lnTo>
                    <a:pt x="784" y="410"/>
                  </a:lnTo>
                  <a:lnTo>
                    <a:pt x="784" y="408"/>
                  </a:lnTo>
                  <a:lnTo>
                    <a:pt x="784" y="408"/>
                  </a:lnTo>
                  <a:lnTo>
                    <a:pt x="784" y="408"/>
                  </a:lnTo>
                  <a:lnTo>
                    <a:pt x="784" y="408"/>
                  </a:lnTo>
                  <a:lnTo>
                    <a:pt x="782" y="408"/>
                  </a:lnTo>
                  <a:lnTo>
                    <a:pt x="780" y="406"/>
                  </a:lnTo>
                  <a:lnTo>
                    <a:pt x="776" y="404"/>
                  </a:lnTo>
                  <a:lnTo>
                    <a:pt x="770" y="406"/>
                  </a:lnTo>
                  <a:lnTo>
                    <a:pt x="770" y="406"/>
                  </a:lnTo>
                  <a:lnTo>
                    <a:pt x="768" y="408"/>
                  </a:lnTo>
                  <a:lnTo>
                    <a:pt x="768" y="408"/>
                  </a:lnTo>
                  <a:lnTo>
                    <a:pt x="766" y="408"/>
                  </a:lnTo>
                  <a:lnTo>
                    <a:pt x="766" y="410"/>
                  </a:lnTo>
                  <a:lnTo>
                    <a:pt x="764" y="410"/>
                  </a:lnTo>
                  <a:lnTo>
                    <a:pt x="766" y="410"/>
                  </a:lnTo>
                  <a:lnTo>
                    <a:pt x="766" y="410"/>
                  </a:lnTo>
                  <a:lnTo>
                    <a:pt x="766" y="412"/>
                  </a:lnTo>
                  <a:lnTo>
                    <a:pt x="766" y="412"/>
                  </a:lnTo>
                  <a:lnTo>
                    <a:pt x="770" y="414"/>
                  </a:lnTo>
                  <a:lnTo>
                    <a:pt x="770" y="414"/>
                  </a:lnTo>
                  <a:lnTo>
                    <a:pt x="770" y="416"/>
                  </a:lnTo>
                  <a:lnTo>
                    <a:pt x="770" y="416"/>
                  </a:lnTo>
                  <a:lnTo>
                    <a:pt x="770" y="416"/>
                  </a:lnTo>
                  <a:lnTo>
                    <a:pt x="770" y="416"/>
                  </a:lnTo>
                  <a:lnTo>
                    <a:pt x="770" y="416"/>
                  </a:lnTo>
                  <a:lnTo>
                    <a:pt x="768" y="416"/>
                  </a:lnTo>
                  <a:lnTo>
                    <a:pt x="768" y="416"/>
                  </a:lnTo>
                  <a:lnTo>
                    <a:pt x="768" y="416"/>
                  </a:lnTo>
                  <a:lnTo>
                    <a:pt x="768" y="416"/>
                  </a:lnTo>
                  <a:lnTo>
                    <a:pt x="768" y="416"/>
                  </a:lnTo>
                  <a:lnTo>
                    <a:pt x="768" y="416"/>
                  </a:lnTo>
                  <a:lnTo>
                    <a:pt x="766" y="416"/>
                  </a:lnTo>
                  <a:lnTo>
                    <a:pt x="766" y="416"/>
                  </a:lnTo>
                  <a:lnTo>
                    <a:pt x="766" y="416"/>
                  </a:lnTo>
                  <a:lnTo>
                    <a:pt x="766" y="416"/>
                  </a:lnTo>
                  <a:lnTo>
                    <a:pt x="766" y="416"/>
                  </a:lnTo>
                  <a:lnTo>
                    <a:pt x="766" y="416"/>
                  </a:lnTo>
                  <a:lnTo>
                    <a:pt x="766" y="416"/>
                  </a:lnTo>
                  <a:lnTo>
                    <a:pt x="766" y="414"/>
                  </a:lnTo>
                  <a:lnTo>
                    <a:pt x="762" y="414"/>
                  </a:lnTo>
                  <a:lnTo>
                    <a:pt x="762" y="414"/>
                  </a:lnTo>
                  <a:lnTo>
                    <a:pt x="760" y="416"/>
                  </a:lnTo>
                  <a:lnTo>
                    <a:pt x="760" y="416"/>
                  </a:lnTo>
                  <a:lnTo>
                    <a:pt x="758" y="420"/>
                  </a:lnTo>
                  <a:lnTo>
                    <a:pt x="758" y="420"/>
                  </a:lnTo>
                  <a:lnTo>
                    <a:pt x="756" y="422"/>
                  </a:lnTo>
                  <a:lnTo>
                    <a:pt x="756" y="422"/>
                  </a:lnTo>
                  <a:lnTo>
                    <a:pt x="756" y="422"/>
                  </a:lnTo>
                  <a:lnTo>
                    <a:pt x="756" y="422"/>
                  </a:lnTo>
                  <a:lnTo>
                    <a:pt x="756" y="422"/>
                  </a:lnTo>
                  <a:lnTo>
                    <a:pt x="756" y="424"/>
                  </a:lnTo>
                  <a:lnTo>
                    <a:pt x="756" y="424"/>
                  </a:lnTo>
                  <a:lnTo>
                    <a:pt x="756" y="426"/>
                  </a:lnTo>
                  <a:lnTo>
                    <a:pt x="758" y="426"/>
                  </a:lnTo>
                  <a:lnTo>
                    <a:pt x="758" y="426"/>
                  </a:lnTo>
                  <a:lnTo>
                    <a:pt x="758" y="426"/>
                  </a:lnTo>
                  <a:lnTo>
                    <a:pt x="756" y="426"/>
                  </a:lnTo>
                  <a:lnTo>
                    <a:pt x="756" y="426"/>
                  </a:lnTo>
                  <a:lnTo>
                    <a:pt x="756" y="426"/>
                  </a:lnTo>
                  <a:lnTo>
                    <a:pt x="756" y="426"/>
                  </a:lnTo>
                  <a:lnTo>
                    <a:pt x="756" y="426"/>
                  </a:lnTo>
                  <a:lnTo>
                    <a:pt x="756" y="426"/>
                  </a:lnTo>
                  <a:lnTo>
                    <a:pt x="756" y="426"/>
                  </a:lnTo>
                  <a:lnTo>
                    <a:pt x="756" y="426"/>
                  </a:lnTo>
                  <a:lnTo>
                    <a:pt x="756" y="428"/>
                  </a:lnTo>
                  <a:lnTo>
                    <a:pt x="756" y="428"/>
                  </a:lnTo>
                  <a:lnTo>
                    <a:pt x="756" y="428"/>
                  </a:lnTo>
                  <a:lnTo>
                    <a:pt x="756" y="428"/>
                  </a:lnTo>
                  <a:lnTo>
                    <a:pt x="756" y="428"/>
                  </a:lnTo>
                  <a:lnTo>
                    <a:pt x="756" y="428"/>
                  </a:lnTo>
                  <a:lnTo>
                    <a:pt x="754" y="428"/>
                  </a:lnTo>
                  <a:lnTo>
                    <a:pt x="756" y="430"/>
                  </a:lnTo>
                  <a:lnTo>
                    <a:pt x="756" y="430"/>
                  </a:lnTo>
                  <a:lnTo>
                    <a:pt x="756" y="432"/>
                  </a:lnTo>
                  <a:lnTo>
                    <a:pt x="756" y="432"/>
                  </a:lnTo>
                  <a:lnTo>
                    <a:pt x="756" y="434"/>
                  </a:lnTo>
                  <a:lnTo>
                    <a:pt x="756" y="434"/>
                  </a:lnTo>
                  <a:lnTo>
                    <a:pt x="758" y="434"/>
                  </a:lnTo>
                  <a:lnTo>
                    <a:pt x="760" y="432"/>
                  </a:lnTo>
                  <a:lnTo>
                    <a:pt x="760" y="432"/>
                  </a:lnTo>
                  <a:lnTo>
                    <a:pt x="762" y="430"/>
                  </a:lnTo>
                  <a:lnTo>
                    <a:pt x="762" y="430"/>
                  </a:lnTo>
                  <a:lnTo>
                    <a:pt x="764" y="430"/>
                  </a:lnTo>
                  <a:lnTo>
                    <a:pt x="764" y="430"/>
                  </a:lnTo>
                  <a:lnTo>
                    <a:pt x="758" y="437"/>
                  </a:lnTo>
                  <a:lnTo>
                    <a:pt x="756" y="437"/>
                  </a:lnTo>
                  <a:lnTo>
                    <a:pt x="756" y="437"/>
                  </a:lnTo>
                  <a:lnTo>
                    <a:pt x="754" y="437"/>
                  </a:lnTo>
                  <a:lnTo>
                    <a:pt x="754" y="437"/>
                  </a:lnTo>
                  <a:lnTo>
                    <a:pt x="754" y="439"/>
                  </a:lnTo>
                  <a:lnTo>
                    <a:pt x="754" y="439"/>
                  </a:lnTo>
                  <a:lnTo>
                    <a:pt x="754" y="439"/>
                  </a:lnTo>
                  <a:lnTo>
                    <a:pt x="754" y="439"/>
                  </a:lnTo>
                  <a:lnTo>
                    <a:pt x="754" y="439"/>
                  </a:lnTo>
                  <a:lnTo>
                    <a:pt x="756" y="439"/>
                  </a:lnTo>
                  <a:lnTo>
                    <a:pt x="756" y="441"/>
                  </a:lnTo>
                  <a:lnTo>
                    <a:pt x="754" y="441"/>
                  </a:lnTo>
                  <a:lnTo>
                    <a:pt x="754" y="443"/>
                  </a:lnTo>
                  <a:lnTo>
                    <a:pt x="754" y="443"/>
                  </a:lnTo>
                  <a:lnTo>
                    <a:pt x="756" y="443"/>
                  </a:lnTo>
                  <a:lnTo>
                    <a:pt x="756" y="443"/>
                  </a:lnTo>
                  <a:lnTo>
                    <a:pt x="756" y="443"/>
                  </a:lnTo>
                  <a:lnTo>
                    <a:pt x="758" y="443"/>
                  </a:lnTo>
                  <a:lnTo>
                    <a:pt x="758" y="443"/>
                  </a:lnTo>
                  <a:lnTo>
                    <a:pt x="758" y="441"/>
                  </a:lnTo>
                  <a:lnTo>
                    <a:pt x="758" y="441"/>
                  </a:lnTo>
                  <a:lnTo>
                    <a:pt x="758" y="441"/>
                  </a:lnTo>
                  <a:lnTo>
                    <a:pt x="758" y="443"/>
                  </a:lnTo>
                  <a:lnTo>
                    <a:pt x="758" y="443"/>
                  </a:lnTo>
                  <a:lnTo>
                    <a:pt x="758" y="445"/>
                  </a:lnTo>
                  <a:lnTo>
                    <a:pt x="758" y="445"/>
                  </a:lnTo>
                  <a:lnTo>
                    <a:pt x="760" y="445"/>
                  </a:lnTo>
                  <a:lnTo>
                    <a:pt x="760" y="445"/>
                  </a:lnTo>
                  <a:lnTo>
                    <a:pt x="760" y="447"/>
                  </a:lnTo>
                  <a:lnTo>
                    <a:pt x="758" y="447"/>
                  </a:lnTo>
                  <a:lnTo>
                    <a:pt x="758" y="447"/>
                  </a:lnTo>
                  <a:lnTo>
                    <a:pt x="758" y="447"/>
                  </a:lnTo>
                  <a:lnTo>
                    <a:pt x="758" y="447"/>
                  </a:lnTo>
                  <a:lnTo>
                    <a:pt x="756" y="447"/>
                  </a:lnTo>
                  <a:lnTo>
                    <a:pt x="756" y="449"/>
                  </a:lnTo>
                  <a:lnTo>
                    <a:pt x="756" y="449"/>
                  </a:lnTo>
                  <a:lnTo>
                    <a:pt x="756" y="447"/>
                  </a:lnTo>
                  <a:lnTo>
                    <a:pt x="756" y="447"/>
                  </a:lnTo>
                  <a:lnTo>
                    <a:pt x="758" y="447"/>
                  </a:lnTo>
                  <a:lnTo>
                    <a:pt x="758" y="447"/>
                  </a:lnTo>
                  <a:lnTo>
                    <a:pt x="758" y="445"/>
                  </a:lnTo>
                  <a:lnTo>
                    <a:pt x="758" y="445"/>
                  </a:lnTo>
                  <a:lnTo>
                    <a:pt x="756" y="445"/>
                  </a:lnTo>
                  <a:lnTo>
                    <a:pt x="756" y="445"/>
                  </a:lnTo>
                  <a:lnTo>
                    <a:pt x="756" y="445"/>
                  </a:lnTo>
                  <a:lnTo>
                    <a:pt x="756" y="443"/>
                  </a:lnTo>
                  <a:lnTo>
                    <a:pt x="754" y="443"/>
                  </a:lnTo>
                  <a:lnTo>
                    <a:pt x="754" y="443"/>
                  </a:lnTo>
                  <a:lnTo>
                    <a:pt x="754" y="441"/>
                  </a:lnTo>
                  <a:lnTo>
                    <a:pt x="754" y="441"/>
                  </a:lnTo>
                  <a:lnTo>
                    <a:pt x="754" y="441"/>
                  </a:lnTo>
                  <a:lnTo>
                    <a:pt x="754" y="441"/>
                  </a:lnTo>
                  <a:lnTo>
                    <a:pt x="754" y="441"/>
                  </a:lnTo>
                  <a:lnTo>
                    <a:pt x="754" y="439"/>
                  </a:lnTo>
                  <a:lnTo>
                    <a:pt x="754" y="439"/>
                  </a:lnTo>
                  <a:lnTo>
                    <a:pt x="752" y="439"/>
                  </a:lnTo>
                  <a:lnTo>
                    <a:pt x="750" y="439"/>
                  </a:lnTo>
                  <a:lnTo>
                    <a:pt x="750" y="439"/>
                  </a:lnTo>
                  <a:lnTo>
                    <a:pt x="748" y="439"/>
                  </a:lnTo>
                  <a:lnTo>
                    <a:pt x="748" y="439"/>
                  </a:lnTo>
                  <a:lnTo>
                    <a:pt x="746" y="441"/>
                  </a:lnTo>
                  <a:lnTo>
                    <a:pt x="743" y="443"/>
                  </a:lnTo>
                  <a:lnTo>
                    <a:pt x="741" y="443"/>
                  </a:lnTo>
                  <a:lnTo>
                    <a:pt x="741" y="445"/>
                  </a:lnTo>
                  <a:lnTo>
                    <a:pt x="741" y="445"/>
                  </a:lnTo>
                  <a:lnTo>
                    <a:pt x="741" y="447"/>
                  </a:lnTo>
                  <a:lnTo>
                    <a:pt x="737" y="449"/>
                  </a:lnTo>
                  <a:lnTo>
                    <a:pt x="733" y="455"/>
                  </a:lnTo>
                  <a:lnTo>
                    <a:pt x="731" y="455"/>
                  </a:lnTo>
                  <a:lnTo>
                    <a:pt x="731" y="457"/>
                  </a:lnTo>
                  <a:lnTo>
                    <a:pt x="729" y="457"/>
                  </a:lnTo>
                  <a:lnTo>
                    <a:pt x="729" y="457"/>
                  </a:lnTo>
                  <a:lnTo>
                    <a:pt x="729" y="457"/>
                  </a:lnTo>
                  <a:lnTo>
                    <a:pt x="729" y="459"/>
                  </a:lnTo>
                  <a:lnTo>
                    <a:pt x="729" y="459"/>
                  </a:lnTo>
                  <a:lnTo>
                    <a:pt x="729" y="459"/>
                  </a:lnTo>
                  <a:lnTo>
                    <a:pt x="727" y="461"/>
                  </a:lnTo>
                  <a:lnTo>
                    <a:pt x="727" y="463"/>
                  </a:lnTo>
                  <a:lnTo>
                    <a:pt x="727" y="463"/>
                  </a:lnTo>
                  <a:lnTo>
                    <a:pt x="727" y="465"/>
                  </a:lnTo>
                  <a:lnTo>
                    <a:pt x="727" y="467"/>
                  </a:lnTo>
                  <a:lnTo>
                    <a:pt x="729" y="467"/>
                  </a:lnTo>
                  <a:lnTo>
                    <a:pt x="729" y="469"/>
                  </a:lnTo>
                  <a:lnTo>
                    <a:pt x="729" y="471"/>
                  </a:lnTo>
                  <a:lnTo>
                    <a:pt x="729" y="471"/>
                  </a:lnTo>
                  <a:lnTo>
                    <a:pt x="729" y="471"/>
                  </a:lnTo>
                  <a:lnTo>
                    <a:pt x="727" y="471"/>
                  </a:lnTo>
                  <a:lnTo>
                    <a:pt x="727" y="471"/>
                  </a:lnTo>
                  <a:lnTo>
                    <a:pt x="725" y="471"/>
                  </a:lnTo>
                  <a:lnTo>
                    <a:pt x="725" y="471"/>
                  </a:lnTo>
                  <a:lnTo>
                    <a:pt x="725" y="471"/>
                  </a:lnTo>
                  <a:lnTo>
                    <a:pt x="723" y="471"/>
                  </a:lnTo>
                  <a:lnTo>
                    <a:pt x="723" y="471"/>
                  </a:lnTo>
                  <a:lnTo>
                    <a:pt x="721" y="471"/>
                  </a:lnTo>
                  <a:lnTo>
                    <a:pt x="717" y="471"/>
                  </a:lnTo>
                  <a:lnTo>
                    <a:pt x="717" y="473"/>
                  </a:lnTo>
                  <a:lnTo>
                    <a:pt x="719" y="473"/>
                  </a:lnTo>
                  <a:lnTo>
                    <a:pt x="719" y="475"/>
                  </a:lnTo>
                  <a:lnTo>
                    <a:pt x="719" y="475"/>
                  </a:lnTo>
                  <a:lnTo>
                    <a:pt x="719" y="477"/>
                  </a:lnTo>
                  <a:lnTo>
                    <a:pt x="721" y="477"/>
                  </a:lnTo>
                  <a:lnTo>
                    <a:pt x="721" y="477"/>
                  </a:lnTo>
                  <a:lnTo>
                    <a:pt x="721" y="477"/>
                  </a:lnTo>
                  <a:lnTo>
                    <a:pt x="721" y="477"/>
                  </a:lnTo>
                  <a:lnTo>
                    <a:pt x="721" y="477"/>
                  </a:lnTo>
                  <a:lnTo>
                    <a:pt x="723" y="477"/>
                  </a:lnTo>
                  <a:lnTo>
                    <a:pt x="723" y="480"/>
                  </a:lnTo>
                  <a:lnTo>
                    <a:pt x="723" y="480"/>
                  </a:lnTo>
                  <a:lnTo>
                    <a:pt x="723" y="480"/>
                  </a:lnTo>
                  <a:lnTo>
                    <a:pt x="725" y="480"/>
                  </a:lnTo>
                  <a:lnTo>
                    <a:pt x="723" y="480"/>
                  </a:lnTo>
                  <a:lnTo>
                    <a:pt x="717" y="480"/>
                  </a:lnTo>
                  <a:lnTo>
                    <a:pt x="717" y="480"/>
                  </a:lnTo>
                  <a:lnTo>
                    <a:pt x="717" y="480"/>
                  </a:lnTo>
                  <a:lnTo>
                    <a:pt x="715" y="480"/>
                  </a:lnTo>
                  <a:lnTo>
                    <a:pt x="715" y="480"/>
                  </a:lnTo>
                  <a:lnTo>
                    <a:pt x="715" y="480"/>
                  </a:lnTo>
                  <a:lnTo>
                    <a:pt x="715" y="480"/>
                  </a:lnTo>
                  <a:lnTo>
                    <a:pt x="715" y="480"/>
                  </a:lnTo>
                  <a:lnTo>
                    <a:pt x="715" y="475"/>
                  </a:lnTo>
                  <a:lnTo>
                    <a:pt x="715" y="475"/>
                  </a:lnTo>
                  <a:lnTo>
                    <a:pt x="715" y="477"/>
                  </a:lnTo>
                  <a:lnTo>
                    <a:pt x="715" y="477"/>
                  </a:lnTo>
                  <a:lnTo>
                    <a:pt x="715" y="480"/>
                  </a:lnTo>
                  <a:lnTo>
                    <a:pt x="713" y="482"/>
                  </a:lnTo>
                  <a:lnTo>
                    <a:pt x="713" y="482"/>
                  </a:lnTo>
                  <a:lnTo>
                    <a:pt x="713" y="482"/>
                  </a:lnTo>
                  <a:lnTo>
                    <a:pt x="713" y="482"/>
                  </a:lnTo>
                  <a:lnTo>
                    <a:pt x="713" y="482"/>
                  </a:lnTo>
                  <a:lnTo>
                    <a:pt x="713" y="486"/>
                  </a:lnTo>
                  <a:lnTo>
                    <a:pt x="715" y="488"/>
                  </a:lnTo>
                  <a:lnTo>
                    <a:pt x="715" y="488"/>
                  </a:lnTo>
                  <a:lnTo>
                    <a:pt x="715" y="488"/>
                  </a:lnTo>
                  <a:lnTo>
                    <a:pt x="715" y="488"/>
                  </a:lnTo>
                  <a:lnTo>
                    <a:pt x="715" y="486"/>
                  </a:lnTo>
                  <a:lnTo>
                    <a:pt x="715" y="486"/>
                  </a:lnTo>
                  <a:lnTo>
                    <a:pt x="717" y="486"/>
                  </a:lnTo>
                  <a:lnTo>
                    <a:pt x="719" y="486"/>
                  </a:lnTo>
                  <a:lnTo>
                    <a:pt x="719" y="486"/>
                  </a:lnTo>
                  <a:lnTo>
                    <a:pt x="721" y="486"/>
                  </a:lnTo>
                  <a:lnTo>
                    <a:pt x="721" y="486"/>
                  </a:lnTo>
                  <a:lnTo>
                    <a:pt x="721" y="486"/>
                  </a:lnTo>
                  <a:lnTo>
                    <a:pt x="721" y="488"/>
                  </a:lnTo>
                  <a:lnTo>
                    <a:pt x="723" y="488"/>
                  </a:lnTo>
                  <a:lnTo>
                    <a:pt x="723" y="490"/>
                  </a:lnTo>
                  <a:lnTo>
                    <a:pt x="723" y="490"/>
                  </a:lnTo>
                  <a:lnTo>
                    <a:pt x="723" y="490"/>
                  </a:lnTo>
                  <a:lnTo>
                    <a:pt x="723" y="490"/>
                  </a:lnTo>
                  <a:lnTo>
                    <a:pt x="721" y="492"/>
                  </a:lnTo>
                  <a:lnTo>
                    <a:pt x="721" y="492"/>
                  </a:lnTo>
                  <a:lnTo>
                    <a:pt x="721" y="492"/>
                  </a:lnTo>
                  <a:lnTo>
                    <a:pt x="721" y="492"/>
                  </a:lnTo>
                  <a:lnTo>
                    <a:pt x="719" y="492"/>
                  </a:lnTo>
                  <a:lnTo>
                    <a:pt x="719" y="492"/>
                  </a:lnTo>
                  <a:lnTo>
                    <a:pt x="717" y="494"/>
                  </a:lnTo>
                  <a:lnTo>
                    <a:pt x="719" y="496"/>
                  </a:lnTo>
                  <a:lnTo>
                    <a:pt x="719" y="498"/>
                  </a:lnTo>
                  <a:lnTo>
                    <a:pt x="719" y="498"/>
                  </a:lnTo>
                  <a:lnTo>
                    <a:pt x="723" y="500"/>
                  </a:lnTo>
                  <a:lnTo>
                    <a:pt x="723" y="500"/>
                  </a:lnTo>
                  <a:lnTo>
                    <a:pt x="725" y="500"/>
                  </a:lnTo>
                  <a:lnTo>
                    <a:pt x="723" y="500"/>
                  </a:lnTo>
                  <a:lnTo>
                    <a:pt x="723" y="502"/>
                  </a:lnTo>
                  <a:lnTo>
                    <a:pt x="723" y="502"/>
                  </a:lnTo>
                  <a:lnTo>
                    <a:pt x="725" y="502"/>
                  </a:lnTo>
                  <a:lnTo>
                    <a:pt x="723" y="502"/>
                  </a:lnTo>
                  <a:lnTo>
                    <a:pt x="723" y="502"/>
                  </a:lnTo>
                  <a:lnTo>
                    <a:pt x="723" y="502"/>
                  </a:lnTo>
                  <a:lnTo>
                    <a:pt x="723" y="504"/>
                  </a:lnTo>
                  <a:lnTo>
                    <a:pt x="723" y="504"/>
                  </a:lnTo>
                  <a:lnTo>
                    <a:pt x="723" y="504"/>
                  </a:lnTo>
                  <a:lnTo>
                    <a:pt x="723" y="504"/>
                  </a:lnTo>
                  <a:lnTo>
                    <a:pt x="723" y="504"/>
                  </a:lnTo>
                  <a:lnTo>
                    <a:pt x="723" y="506"/>
                  </a:lnTo>
                  <a:lnTo>
                    <a:pt x="723" y="506"/>
                  </a:lnTo>
                  <a:lnTo>
                    <a:pt x="723" y="506"/>
                  </a:lnTo>
                  <a:lnTo>
                    <a:pt x="723" y="506"/>
                  </a:lnTo>
                  <a:lnTo>
                    <a:pt x="723" y="506"/>
                  </a:lnTo>
                  <a:lnTo>
                    <a:pt x="723" y="508"/>
                  </a:lnTo>
                  <a:lnTo>
                    <a:pt x="723" y="508"/>
                  </a:lnTo>
                  <a:lnTo>
                    <a:pt x="723" y="510"/>
                  </a:lnTo>
                  <a:lnTo>
                    <a:pt x="725" y="510"/>
                  </a:lnTo>
                  <a:lnTo>
                    <a:pt x="725" y="510"/>
                  </a:lnTo>
                  <a:lnTo>
                    <a:pt x="727" y="512"/>
                  </a:lnTo>
                  <a:lnTo>
                    <a:pt x="727" y="512"/>
                  </a:lnTo>
                  <a:lnTo>
                    <a:pt x="729" y="512"/>
                  </a:lnTo>
                  <a:lnTo>
                    <a:pt x="729" y="512"/>
                  </a:lnTo>
                  <a:lnTo>
                    <a:pt x="729" y="510"/>
                  </a:lnTo>
                  <a:lnTo>
                    <a:pt x="729" y="510"/>
                  </a:lnTo>
                  <a:lnTo>
                    <a:pt x="729" y="510"/>
                  </a:lnTo>
                  <a:lnTo>
                    <a:pt x="729" y="508"/>
                  </a:lnTo>
                  <a:lnTo>
                    <a:pt x="729" y="508"/>
                  </a:lnTo>
                  <a:lnTo>
                    <a:pt x="729" y="506"/>
                  </a:lnTo>
                  <a:lnTo>
                    <a:pt x="729" y="504"/>
                  </a:lnTo>
                  <a:lnTo>
                    <a:pt x="731" y="504"/>
                  </a:lnTo>
                  <a:lnTo>
                    <a:pt x="731" y="504"/>
                  </a:lnTo>
                  <a:lnTo>
                    <a:pt x="733" y="502"/>
                  </a:lnTo>
                  <a:lnTo>
                    <a:pt x="733" y="502"/>
                  </a:lnTo>
                  <a:lnTo>
                    <a:pt x="733" y="502"/>
                  </a:lnTo>
                  <a:lnTo>
                    <a:pt x="733" y="502"/>
                  </a:lnTo>
                  <a:lnTo>
                    <a:pt x="733" y="502"/>
                  </a:lnTo>
                  <a:lnTo>
                    <a:pt x="733" y="500"/>
                  </a:lnTo>
                  <a:lnTo>
                    <a:pt x="733" y="500"/>
                  </a:lnTo>
                  <a:lnTo>
                    <a:pt x="733" y="500"/>
                  </a:lnTo>
                  <a:lnTo>
                    <a:pt x="733" y="500"/>
                  </a:lnTo>
                  <a:lnTo>
                    <a:pt x="733" y="500"/>
                  </a:lnTo>
                  <a:lnTo>
                    <a:pt x="733" y="500"/>
                  </a:lnTo>
                  <a:lnTo>
                    <a:pt x="733" y="498"/>
                  </a:lnTo>
                  <a:lnTo>
                    <a:pt x="733" y="498"/>
                  </a:lnTo>
                  <a:lnTo>
                    <a:pt x="733" y="498"/>
                  </a:lnTo>
                  <a:lnTo>
                    <a:pt x="733" y="498"/>
                  </a:lnTo>
                  <a:lnTo>
                    <a:pt x="735" y="498"/>
                  </a:lnTo>
                  <a:lnTo>
                    <a:pt x="735" y="498"/>
                  </a:lnTo>
                  <a:lnTo>
                    <a:pt x="735" y="498"/>
                  </a:lnTo>
                  <a:lnTo>
                    <a:pt x="735" y="496"/>
                  </a:lnTo>
                  <a:lnTo>
                    <a:pt x="735" y="496"/>
                  </a:lnTo>
                  <a:lnTo>
                    <a:pt x="737" y="496"/>
                  </a:lnTo>
                  <a:lnTo>
                    <a:pt x="737" y="494"/>
                  </a:lnTo>
                  <a:lnTo>
                    <a:pt x="737" y="496"/>
                  </a:lnTo>
                  <a:lnTo>
                    <a:pt x="737" y="496"/>
                  </a:lnTo>
                  <a:lnTo>
                    <a:pt x="737" y="496"/>
                  </a:lnTo>
                  <a:lnTo>
                    <a:pt x="739" y="496"/>
                  </a:lnTo>
                  <a:lnTo>
                    <a:pt x="739" y="496"/>
                  </a:lnTo>
                  <a:lnTo>
                    <a:pt x="739" y="494"/>
                  </a:lnTo>
                  <a:lnTo>
                    <a:pt x="739" y="494"/>
                  </a:lnTo>
                  <a:lnTo>
                    <a:pt x="739" y="494"/>
                  </a:lnTo>
                  <a:lnTo>
                    <a:pt x="739" y="494"/>
                  </a:lnTo>
                  <a:lnTo>
                    <a:pt x="739" y="494"/>
                  </a:lnTo>
                  <a:lnTo>
                    <a:pt x="739" y="494"/>
                  </a:lnTo>
                  <a:lnTo>
                    <a:pt x="739" y="494"/>
                  </a:lnTo>
                  <a:lnTo>
                    <a:pt x="739" y="494"/>
                  </a:lnTo>
                  <a:lnTo>
                    <a:pt x="739" y="494"/>
                  </a:lnTo>
                  <a:lnTo>
                    <a:pt x="739" y="494"/>
                  </a:lnTo>
                  <a:lnTo>
                    <a:pt x="741" y="492"/>
                  </a:lnTo>
                  <a:lnTo>
                    <a:pt x="741" y="492"/>
                  </a:lnTo>
                  <a:lnTo>
                    <a:pt x="741" y="492"/>
                  </a:lnTo>
                  <a:lnTo>
                    <a:pt x="741" y="492"/>
                  </a:lnTo>
                  <a:lnTo>
                    <a:pt x="741" y="492"/>
                  </a:lnTo>
                  <a:lnTo>
                    <a:pt x="743" y="492"/>
                  </a:lnTo>
                  <a:lnTo>
                    <a:pt x="743" y="492"/>
                  </a:lnTo>
                  <a:lnTo>
                    <a:pt x="746" y="490"/>
                  </a:lnTo>
                  <a:lnTo>
                    <a:pt x="748" y="488"/>
                  </a:lnTo>
                  <a:lnTo>
                    <a:pt x="748" y="488"/>
                  </a:lnTo>
                  <a:lnTo>
                    <a:pt x="748" y="488"/>
                  </a:lnTo>
                  <a:lnTo>
                    <a:pt x="748" y="488"/>
                  </a:lnTo>
                  <a:lnTo>
                    <a:pt x="748" y="488"/>
                  </a:lnTo>
                  <a:lnTo>
                    <a:pt x="748" y="488"/>
                  </a:lnTo>
                  <a:lnTo>
                    <a:pt x="748" y="488"/>
                  </a:lnTo>
                  <a:lnTo>
                    <a:pt x="748" y="488"/>
                  </a:lnTo>
                  <a:lnTo>
                    <a:pt x="748" y="486"/>
                  </a:lnTo>
                  <a:lnTo>
                    <a:pt x="748" y="486"/>
                  </a:lnTo>
                  <a:lnTo>
                    <a:pt x="748" y="486"/>
                  </a:lnTo>
                  <a:lnTo>
                    <a:pt x="750" y="488"/>
                  </a:lnTo>
                  <a:lnTo>
                    <a:pt x="750" y="488"/>
                  </a:lnTo>
                  <a:lnTo>
                    <a:pt x="750" y="488"/>
                  </a:lnTo>
                  <a:lnTo>
                    <a:pt x="748" y="488"/>
                  </a:lnTo>
                  <a:lnTo>
                    <a:pt x="748" y="490"/>
                  </a:lnTo>
                  <a:lnTo>
                    <a:pt x="748" y="490"/>
                  </a:lnTo>
                  <a:lnTo>
                    <a:pt x="748" y="492"/>
                  </a:lnTo>
                  <a:lnTo>
                    <a:pt x="748" y="492"/>
                  </a:lnTo>
                  <a:lnTo>
                    <a:pt x="746" y="492"/>
                  </a:lnTo>
                  <a:lnTo>
                    <a:pt x="746" y="492"/>
                  </a:lnTo>
                  <a:lnTo>
                    <a:pt x="746" y="492"/>
                  </a:lnTo>
                  <a:lnTo>
                    <a:pt x="746" y="492"/>
                  </a:lnTo>
                  <a:lnTo>
                    <a:pt x="746" y="492"/>
                  </a:lnTo>
                  <a:lnTo>
                    <a:pt x="746" y="492"/>
                  </a:lnTo>
                  <a:lnTo>
                    <a:pt x="746" y="494"/>
                  </a:lnTo>
                  <a:lnTo>
                    <a:pt x="743" y="492"/>
                  </a:lnTo>
                  <a:lnTo>
                    <a:pt x="741" y="492"/>
                  </a:lnTo>
                  <a:lnTo>
                    <a:pt x="741" y="494"/>
                  </a:lnTo>
                  <a:lnTo>
                    <a:pt x="741" y="494"/>
                  </a:lnTo>
                  <a:lnTo>
                    <a:pt x="741" y="494"/>
                  </a:lnTo>
                  <a:lnTo>
                    <a:pt x="741" y="494"/>
                  </a:lnTo>
                  <a:lnTo>
                    <a:pt x="741" y="494"/>
                  </a:lnTo>
                  <a:lnTo>
                    <a:pt x="739" y="494"/>
                  </a:lnTo>
                  <a:lnTo>
                    <a:pt x="739" y="494"/>
                  </a:lnTo>
                  <a:lnTo>
                    <a:pt x="739" y="496"/>
                  </a:lnTo>
                  <a:lnTo>
                    <a:pt x="739" y="496"/>
                  </a:lnTo>
                  <a:lnTo>
                    <a:pt x="737" y="496"/>
                  </a:lnTo>
                  <a:lnTo>
                    <a:pt x="735" y="496"/>
                  </a:lnTo>
                  <a:lnTo>
                    <a:pt x="735" y="498"/>
                  </a:lnTo>
                  <a:lnTo>
                    <a:pt x="735" y="498"/>
                  </a:lnTo>
                  <a:lnTo>
                    <a:pt x="735" y="498"/>
                  </a:lnTo>
                  <a:lnTo>
                    <a:pt x="735" y="498"/>
                  </a:lnTo>
                  <a:lnTo>
                    <a:pt x="735" y="500"/>
                  </a:lnTo>
                  <a:lnTo>
                    <a:pt x="735" y="500"/>
                  </a:lnTo>
                  <a:lnTo>
                    <a:pt x="733" y="500"/>
                  </a:lnTo>
                  <a:lnTo>
                    <a:pt x="733" y="500"/>
                  </a:lnTo>
                  <a:lnTo>
                    <a:pt x="735" y="500"/>
                  </a:lnTo>
                  <a:lnTo>
                    <a:pt x="735" y="500"/>
                  </a:lnTo>
                  <a:lnTo>
                    <a:pt x="735" y="502"/>
                  </a:lnTo>
                  <a:lnTo>
                    <a:pt x="735" y="502"/>
                  </a:lnTo>
                  <a:lnTo>
                    <a:pt x="733" y="502"/>
                  </a:lnTo>
                  <a:lnTo>
                    <a:pt x="733" y="504"/>
                  </a:lnTo>
                  <a:lnTo>
                    <a:pt x="733" y="504"/>
                  </a:lnTo>
                  <a:lnTo>
                    <a:pt x="733" y="504"/>
                  </a:lnTo>
                  <a:lnTo>
                    <a:pt x="731" y="504"/>
                  </a:lnTo>
                  <a:lnTo>
                    <a:pt x="731" y="504"/>
                  </a:lnTo>
                  <a:lnTo>
                    <a:pt x="729" y="506"/>
                  </a:lnTo>
                  <a:lnTo>
                    <a:pt x="729" y="506"/>
                  </a:lnTo>
                  <a:lnTo>
                    <a:pt x="729" y="506"/>
                  </a:lnTo>
                  <a:lnTo>
                    <a:pt x="733" y="510"/>
                  </a:lnTo>
                  <a:lnTo>
                    <a:pt x="735" y="508"/>
                  </a:lnTo>
                  <a:lnTo>
                    <a:pt x="735" y="508"/>
                  </a:lnTo>
                  <a:lnTo>
                    <a:pt x="735" y="508"/>
                  </a:lnTo>
                  <a:lnTo>
                    <a:pt x="735" y="508"/>
                  </a:lnTo>
                  <a:lnTo>
                    <a:pt x="735" y="508"/>
                  </a:lnTo>
                  <a:lnTo>
                    <a:pt x="735" y="506"/>
                  </a:lnTo>
                  <a:lnTo>
                    <a:pt x="735" y="506"/>
                  </a:lnTo>
                  <a:lnTo>
                    <a:pt x="735" y="506"/>
                  </a:lnTo>
                  <a:lnTo>
                    <a:pt x="737" y="506"/>
                  </a:lnTo>
                  <a:lnTo>
                    <a:pt x="735" y="506"/>
                  </a:lnTo>
                  <a:lnTo>
                    <a:pt x="735" y="506"/>
                  </a:lnTo>
                  <a:lnTo>
                    <a:pt x="735" y="504"/>
                  </a:lnTo>
                  <a:lnTo>
                    <a:pt x="735" y="504"/>
                  </a:lnTo>
                  <a:lnTo>
                    <a:pt x="737" y="506"/>
                  </a:lnTo>
                  <a:lnTo>
                    <a:pt x="735" y="506"/>
                  </a:lnTo>
                  <a:lnTo>
                    <a:pt x="735" y="508"/>
                  </a:lnTo>
                  <a:lnTo>
                    <a:pt x="735" y="510"/>
                  </a:lnTo>
                  <a:lnTo>
                    <a:pt x="735" y="510"/>
                  </a:lnTo>
                  <a:lnTo>
                    <a:pt x="733" y="510"/>
                  </a:lnTo>
                  <a:lnTo>
                    <a:pt x="733" y="510"/>
                  </a:lnTo>
                  <a:lnTo>
                    <a:pt x="733" y="510"/>
                  </a:lnTo>
                  <a:lnTo>
                    <a:pt x="735" y="512"/>
                  </a:lnTo>
                  <a:lnTo>
                    <a:pt x="735" y="512"/>
                  </a:lnTo>
                  <a:lnTo>
                    <a:pt x="735" y="512"/>
                  </a:lnTo>
                  <a:lnTo>
                    <a:pt x="735" y="514"/>
                  </a:lnTo>
                  <a:lnTo>
                    <a:pt x="735" y="514"/>
                  </a:lnTo>
                  <a:lnTo>
                    <a:pt x="737" y="514"/>
                  </a:lnTo>
                  <a:lnTo>
                    <a:pt x="737" y="514"/>
                  </a:lnTo>
                  <a:lnTo>
                    <a:pt x="737" y="514"/>
                  </a:lnTo>
                  <a:lnTo>
                    <a:pt x="737" y="512"/>
                  </a:lnTo>
                  <a:lnTo>
                    <a:pt x="737" y="512"/>
                  </a:lnTo>
                  <a:lnTo>
                    <a:pt x="739" y="512"/>
                  </a:lnTo>
                  <a:lnTo>
                    <a:pt x="741" y="512"/>
                  </a:lnTo>
                  <a:lnTo>
                    <a:pt x="743" y="512"/>
                  </a:lnTo>
                  <a:lnTo>
                    <a:pt x="743" y="512"/>
                  </a:lnTo>
                  <a:lnTo>
                    <a:pt x="743" y="512"/>
                  </a:lnTo>
                  <a:lnTo>
                    <a:pt x="743" y="514"/>
                  </a:lnTo>
                  <a:lnTo>
                    <a:pt x="741" y="514"/>
                  </a:lnTo>
                  <a:lnTo>
                    <a:pt x="741" y="514"/>
                  </a:lnTo>
                  <a:lnTo>
                    <a:pt x="741" y="514"/>
                  </a:lnTo>
                  <a:lnTo>
                    <a:pt x="741" y="514"/>
                  </a:lnTo>
                  <a:lnTo>
                    <a:pt x="739" y="514"/>
                  </a:lnTo>
                  <a:lnTo>
                    <a:pt x="739" y="514"/>
                  </a:lnTo>
                  <a:lnTo>
                    <a:pt x="739" y="514"/>
                  </a:lnTo>
                  <a:lnTo>
                    <a:pt x="739" y="514"/>
                  </a:lnTo>
                  <a:lnTo>
                    <a:pt x="737" y="516"/>
                  </a:lnTo>
                  <a:lnTo>
                    <a:pt x="737" y="516"/>
                  </a:lnTo>
                  <a:lnTo>
                    <a:pt x="735" y="516"/>
                  </a:lnTo>
                  <a:lnTo>
                    <a:pt x="733" y="516"/>
                  </a:lnTo>
                  <a:lnTo>
                    <a:pt x="731" y="518"/>
                  </a:lnTo>
                  <a:lnTo>
                    <a:pt x="731" y="521"/>
                  </a:lnTo>
                  <a:lnTo>
                    <a:pt x="733" y="521"/>
                  </a:lnTo>
                  <a:lnTo>
                    <a:pt x="733" y="523"/>
                  </a:lnTo>
                  <a:lnTo>
                    <a:pt x="735" y="523"/>
                  </a:lnTo>
                  <a:lnTo>
                    <a:pt x="735" y="523"/>
                  </a:lnTo>
                  <a:lnTo>
                    <a:pt x="737" y="521"/>
                  </a:lnTo>
                  <a:lnTo>
                    <a:pt x="737" y="521"/>
                  </a:lnTo>
                  <a:lnTo>
                    <a:pt x="739" y="521"/>
                  </a:lnTo>
                  <a:lnTo>
                    <a:pt x="739" y="521"/>
                  </a:lnTo>
                  <a:lnTo>
                    <a:pt x="739" y="521"/>
                  </a:lnTo>
                  <a:lnTo>
                    <a:pt x="739" y="523"/>
                  </a:lnTo>
                  <a:lnTo>
                    <a:pt x="741" y="523"/>
                  </a:lnTo>
                  <a:lnTo>
                    <a:pt x="741" y="525"/>
                  </a:lnTo>
                  <a:lnTo>
                    <a:pt x="741" y="525"/>
                  </a:lnTo>
                  <a:lnTo>
                    <a:pt x="741" y="523"/>
                  </a:lnTo>
                  <a:lnTo>
                    <a:pt x="743" y="523"/>
                  </a:lnTo>
                  <a:lnTo>
                    <a:pt x="743" y="523"/>
                  </a:lnTo>
                  <a:lnTo>
                    <a:pt x="743" y="523"/>
                  </a:lnTo>
                  <a:lnTo>
                    <a:pt x="746" y="523"/>
                  </a:lnTo>
                  <a:lnTo>
                    <a:pt x="746" y="523"/>
                  </a:lnTo>
                  <a:lnTo>
                    <a:pt x="746" y="525"/>
                  </a:lnTo>
                  <a:lnTo>
                    <a:pt x="746" y="525"/>
                  </a:lnTo>
                  <a:lnTo>
                    <a:pt x="746" y="527"/>
                  </a:lnTo>
                  <a:lnTo>
                    <a:pt x="746" y="527"/>
                  </a:lnTo>
                  <a:lnTo>
                    <a:pt x="746" y="527"/>
                  </a:lnTo>
                  <a:lnTo>
                    <a:pt x="746" y="527"/>
                  </a:lnTo>
                  <a:lnTo>
                    <a:pt x="752" y="527"/>
                  </a:lnTo>
                  <a:lnTo>
                    <a:pt x="758" y="529"/>
                  </a:lnTo>
                  <a:lnTo>
                    <a:pt x="760" y="529"/>
                  </a:lnTo>
                  <a:lnTo>
                    <a:pt x="762" y="529"/>
                  </a:lnTo>
                  <a:lnTo>
                    <a:pt x="764" y="529"/>
                  </a:lnTo>
                  <a:lnTo>
                    <a:pt x="764" y="527"/>
                  </a:lnTo>
                  <a:lnTo>
                    <a:pt x="764" y="527"/>
                  </a:lnTo>
                  <a:lnTo>
                    <a:pt x="764" y="527"/>
                  </a:lnTo>
                  <a:lnTo>
                    <a:pt x="764" y="527"/>
                  </a:lnTo>
                  <a:lnTo>
                    <a:pt x="764" y="527"/>
                  </a:lnTo>
                  <a:lnTo>
                    <a:pt x="764" y="525"/>
                  </a:lnTo>
                  <a:lnTo>
                    <a:pt x="766" y="525"/>
                  </a:lnTo>
                  <a:lnTo>
                    <a:pt x="766" y="525"/>
                  </a:lnTo>
                  <a:lnTo>
                    <a:pt x="766" y="525"/>
                  </a:lnTo>
                  <a:lnTo>
                    <a:pt x="766" y="525"/>
                  </a:lnTo>
                  <a:lnTo>
                    <a:pt x="768" y="525"/>
                  </a:lnTo>
                  <a:lnTo>
                    <a:pt x="770" y="523"/>
                  </a:lnTo>
                  <a:lnTo>
                    <a:pt x="770" y="523"/>
                  </a:lnTo>
                  <a:lnTo>
                    <a:pt x="770" y="525"/>
                  </a:lnTo>
                  <a:lnTo>
                    <a:pt x="768" y="525"/>
                  </a:lnTo>
                  <a:lnTo>
                    <a:pt x="768" y="525"/>
                  </a:lnTo>
                  <a:lnTo>
                    <a:pt x="768" y="525"/>
                  </a:lnTo>
                  <a:lnTo>
                    <a:pt x="768" y="525"/>
                  </a:lnTo>
                  <a:lnTo>
                    <a:pt x="768" y="527"/>
                  </a:lnTo>
                  <a:lnTo>
                    <a:pt x="772" y="527"/>
                  </a:lnTo>
                  <a:lnTo>
                    <a:pt x="772" y="529"/>
                  </a:lnTo>
                  <a:lnTo>
                    <a:pt x="772" y="529"/>
                  </a:lnTo>
                  <a:lnTo>
                    <a:pt x="772" y="529"/>
                  </a:lnTo>
                  <a:lnTo>
                    <a:pt x="772" y="529"/>
                  </a:lnTo>
                  <a:lnTo>
                    <a:pt x="768" y="531"/>
                  </a:lnTo>
                  <a:lnTo>
                    <a:pt x="768" y="529"/>
                  </a:lnTo>
                  <a:lnTo>
                    <a:pt x="766" y="529"/>
                  </a:lnTo>
                  <a:lnTo>
                    <a:pt x="766" y="529"/>
                  </a:lnTo>
                  <a:lnTo>
                    <a:pt x="764" y="529"/>
                  </a:lnTo>
                  <a:lnTo>
                    <a:pt x="762" y="529"/>
                  </a:lnTo>
                  <a:lnTo>
                    <a:pt x="762" y="531"/>
                  </a:lnTo>
                  <a:lnTo>
                    <a:pt x="764" y="531"/>
                  </a:lnTo>
                  <a:lnTo>
                    <a:pt x="772" y="533"/>
                  </a:lnTo>
                  <a:lnTo>
                    <a:pt x="774" y="537"/>
                  </a:lnTo>
                  <a:lnTo>
                    <a:pt x="774" y="537"/>
                  </a:lnTo>
                  <a:lnTo>
                    <a:pt x="774" y="537"/>
                  </a:lnTo>
                  <a:lnTo>
                    <a:pt x="772" y="537"/>
                  </a:lnTo>
                  <a:lnTo>
                    <a:pt x="774" y="537"/>
                  </a:lnTo>
                  <a:lnTo>
                    <a:pt x="774" y="539"/>
                  </a:lnTo>
                  <a:lnTo>
                    <a:pt x="774" y="539"/>
                  </a:lnTo>
                  <a:lnTo>
                    <a:pt x="772" y="541"/>
                  </a:lnTo>
                  <a:lnTo>
                    <a:pt x="768" y="543"/>
                  </a:lnTo>
                  <a:lnTo>
                    <a:pt x="766" y="545"/>
                  </a:lnTo>
                  <a:lnTo>
                    <a:pt x="766" y="545"/>
                  </a:lnTo>
                  <a:lnTo>
                    <a:pt x="764" y="545"/>
                  </a:lnTo>
                  <a:lnTo>
                    <a:pt x="764" y="545"/>
                  </a:lnTo>
                  <a:lnTo>
                    <a:pt x="764" y="543"/>
                  </a:lnTo>
                  <a:lnTo>
                    <a:pt x="764" y="543"/>
                  </a:lnTo>
                  <a:lnTo>
                    <a:pt x="762" y="543"/>
                  </a:lnTo>
                  <a:lnTo>
                    <a:pt x="764" y="541"/>
                  </a:lnTo>
                  <a:lnTo>
                    <a:pt x="764" y="541"/>
                  </a:lnTo>
                  <a:lnTo>
                    <a:pt x="764" y="541"/>
                  </a:lnTo>
                  <a:lnTo>
                    <a:pt x="764" y="539"/>
                  </a:lnTo>
                  <a:lnTo>
                    <a:pt x="764" y="539"/>
                  </a:lnTo>
                  <a:lnTo>
                    <a:pt x="764" y="539"/>
                  </a:lnTo>
                  <a:lnTo>
                    <a:pt x="764" y="537"/>
                  </a:lnTo>
                  <a:lnTo>
                    <a:pt x="764" y="537"/>
                  </a:lnTo>
                  <a:lnTo>
                    <a:pt x="764" y="535"/>
                  </a:lnTo>
                  <a:lnTo>
                    <a:pt x="764" y="535"/>
                  </a:lnTo>
                  <a:lnTo>
                    <a:pt x="764" y="535"/>
                  </a:lnTo>
                  <a:lnTo>
                    <a:pt x="762" y="533"/>
                  </a:lnTo>
                  <a:lnTo>
                    <a:pt x="762" y="533"/>
                  </a:lnTo>
                  <a:lnTo>
                    <a:pt x="760" y="533"/>
                  </a:lnTo>
                  <a:lnTo>
                    <a:pt x="760" y="535"/>
                  </a:lnTo>
                  <a:lnTo>
                    <a:pt x="758" y="535"/>
                  </a:lnTo>
                  <a:lnTo>
                    <a:pt x="758" y="535"/>
                  </a:lnTo>
                  <a:lnTo>
                    <a:pt x="758" y="537"/>
                  </a:lnTo>
                  <a:lnTo>
                    <a:pt x="756" y="537"/>
                  </a:lnTo>
                  <a:lnTo>
                    <a:pt x="756" y="539"/>
                  </a:lnTo>
                  <a:lnTo>
                    <a:pt x="756" y="539"/>
                  </a:lnTo>
                  <a:lnTo>
                    <a:pt x="754" y="539"/>
                  </a:lnTo>
                  <a:lnTo>
                    <a:pt x="752" y="539"/>
                  </a:lnTo>
                  <a:lnTo>
                    <a:pt x="752" y="539"/>
                  </a:lnTo>
                  <a:lnTo>
                    <a:pt x="752" y="539"/>
                  </a:lnTo>
                  <a:lnTo>
                    <a:pt x="750" y="541"/>
                  </a:lnTo>
                  <a:lnTo>
                    <a:pt x="748" y="543"/>
                  </a:lnTo>
                  <a:lnTo>
                    <a:pt x="748" y="543"/>
                  </a:lnTo>
                  <a:lnTo>
                    <a:pt x="748" y="543"/>
                  </a:lnTo>
                  <a:lnTo>
                    <a:pt x="748" y="543"/>
                  </a:lnTo>
                  <a:lnTo>
                    <a:pt x="748" y="541"/>
                  </a:lnTo>
                  <a:lnTo>
                    <a:pt x="748" y="541"/>
                  </a:lnTo>
                  <a:lnTo>
                    <a:pt x="748" y="541"/>
                  </a:lnTo>
                  <a:lnTo>
                    <a:pt x="750" y="541"/>
                  </a:lnTo>
                  <a:lnTo>
                    <a:pt x="750" y="541"/>
                  </a:lnTo>
                  <a:lnTo>
                    <a:pt x="750" y="541"/>
                  </a:lnTo>
                  <a:lnTo>
                    <a:pt x="750" y="541"/>
                  </a:lnTo>
                  <a:lnTo>
                    <a:pt x="750" y="541"/>
                  </a:lnTo>
                  <a:lnTo>
                    <a:pt x="750" y="541"/>
                  </a:lnTo>
                  <a:lnTo>
                    <a:pt x="750" y="541"/>
                  </a:lnTo>
                  <a:lnTo>
                    <a:pt x="750" y="539"/>
                  </a:lnTo>
                  <a:lnTo>
                    <a:pt x="750" y="539"/>
                  </a:lnTo>
                  <a:lnTo>
                    <a:pt x="750" y="539"/>
                  </a:lnTo>
                  <a:lnTo>
                    <a:pt x="750" y="539"/>
                  </a:lnTo>
                  <a:lnTo>
                    <a:pt x="752" y="539"/>
                  </a:lnTo>
                  <a:lnTo>
                    <a:pt x="752" y="539"/>
                  </a:lnTo>
                  <a:lnTo>
                    <a:pt x="752" y="539"/>
                  </a:lnTo>
                  <a:lnTo>
                    <a:pt x="754" y="537"/>
                  </a:lnTo>
                  <a:lnTo>
                    <a:pt x="754" y="537"/>
                  </a:lnTo>
                  <a:lnTo>
                    <a:pt x="754" y="535"/>
                  </a:lnTo>
                  <a:lnTo>
                    <a:pt x="754" y="535"/>
                  </a:lnTo>
                  <a:lnTo>
                    <a:pt x="754" y="535"/>
                  </a:lnTo>
                  <a:lnTo>
                    <a:pt x="754" y="535"/>
                  </a:lnTo>
                  <a:lnTo>
                    <a:pt x="754" y="535"/>
                  </a:lnTo>
                  <a:lnTo>
                    <a:pt x="754" y="535"/>
                  </a:lnTo>
                  <a:lnTo>
                    <a:pt x="754" y="533"/>
                  </a:lnTo>
                  <a:lnTo>
                    <a:pt x="754" y="533"/>
                  </a:lnTo>
                  <a:lnTo>
                    <a:pt x="754" y="533"/>
                  </a:lnTo>
                  <a:lnTo>
                    <a:pt x="754" y="531"/>
                  </a:lnTo>
                  <a:lnTo>
                    <a:pt x="754" y="531"/>
                  </a:lnTo>
                  <a:lnTo>
                    <a:pt x="752" y="531"/>
                  </a:lnTo>
                  <a:lnTo>
                    <a:pt x="752" y="531"/>
                  </a:lnTo>
                  <a:lnTo>
                    <a:pt x="752" y="531"/>
                  </a:lnTo>
                  <a:lnTo>
                    <a:pt x="750" y="531"/>
                  </a:lnTo>
                  <a:lnTo>
                    <a:pt x="750" y="531"/>
                  </a:lnTo>
                  <a:lnTo>
                    <a:pt x="750" y="529"/>
                  </a:lnTo>
                  <a:lnTo>
                    <a:pt x="746" y="529"/>
                  </a:lnTo>
                  <a:lnTo>
                    <a:pt x="743" y="529"/>
                  </a:lnTo>
                  <a:lnTo>
                    <a:pt x="743" y="527"/>
                  </a:lnTo>
                  <a:lnTo>
                    <a:pt x="743" y="527"/>
                  </a:lnTo>
                  <a:lnTo>
                    <a:pt x="746" y="525"/>
                  </a:lnTo>
                  <a:lnTo>
                    <a:pt x="746" y="525"/>
                  </a:lnTo>
                  <a:lnTo>
                    <a:pt x="743" y="523"/>
                  </a:lnTo>
                  <a:lnTo>
                    <a:pt x="743" y="523"/>
                  </a:lnTo>
                  <a:lnTo>
                    <a:pt x="741" y="525"/>
                  </a:lnTo>
                  <a:lnTo>
                    <a:pt x="741" y="525"/>
                  </a:lnTo>
                  <a:lnTo>
                    <a:pt x="739" y="525"/>
                  </a:lnTo>
                  <a:lnTo>
                    <a:pt x="739" y="525"/>
                  </a:lnTo>
                  <a:lnTo>
                    <a:pt x="739" y="525"/>
                  </a:lnTo>
                  <a:lnTo>
                    <a:pt x="739" y="525"/>
                  </a:lnTo>
                  <a:lnTo>
                    <a:pt x="739" y="525"/>
                  </a:lnTo>
                  <a:lnTo>
                    <a:pt x="739" y="523"/>
                  </a:lnTo>
                  <a:lnTo>
                    <a:pt x="737" y="523"/>
                  </a:lnTo>
                  <a:lnTo>
                    <a:pt x="737" y="521"/>
                  </a:lnTo>
                  <a:lnTo>
                    <a:pt x="737" y="523"/>
                  </a:lnTo>
                  <a:lnTo>
                    <a:pt x="737" y="525"/>
                  </a:lnTo>
                  <a:lnTo>
                    <a:pt x="737" y="525"/>
                  </a:lnTo>
                  <a:lnTo>
                    <a:pt x="739" y="527"/>
                  </a:lnTo>
                  <a:lnTo>
                    <a:pt x="737" y="527"/>
                  </a:lnTo>
                  <a:lnTo>
                    <a:pt x="735" y="529"/>
                  </a:lnTo>
                  <a:lnTo>
                    <a:pt x="735" y="529"/>
                  </a:lnTo>
                  <a:lnTo>
                    <a:pt x="735" y="529"/>
                  </a:lnTo>
                  <a:lnTo>
                    <a:pt x="735" y="529"/>
                  </a:lnTo>
                  <a:lnTo>
                    <a:pt x="735" y="529"/>
                  </a:lnTo>
                  <a:lnTo>
                    <a:pt x="733" y="529"/>
                  </a:lnTo>
                  <a:lnTo>
                    <a:pt x="735" y="531"/>
                  </a:lnTo>
                  <a:lnTo>
                    <a:pt x="735" y="533"/>
                  </a:lnTo>
                  <a:lnTo>
                    <a:pt x="735" y="533"/>
                  </a:lnTo>
                  <a:lnTo>
                    <a:pt x="733" y="533"/>
                  </a:lnTo>
                  <a:lnTo>
                    <a:pt x="731" y="535"/>
                  </a:lnTo>
                  <a:lnTo>
                    <a:pt x="731" y="535"/>
                  </a:lnTo>
                  <a:lnTo>
                    <a:pt x="729" y="535"/>
                  </a:lnTo>
                  <a:lnTo>
                    <a:pt x="729" y="537"/>
                  </a:lnTo>
                  <a:lnTo>
                    <a:pt x="727" y="537"/>
                  </a:lnTo>
                  <a:lnTo>
                    <a:pt x="727" y="537"/>
                  </a:lnTo>
                  <a:lnTo>
                    <a:pt x="727" y="537"/>
                  </a:lnTo>
                  <a:lnTo>
                    <a:pt x="727" y="537"/>
                  </a:lnTo>
                  <a:lnTo>
                    <a:pt x="725" y="539"/>
                  </a:lnTo>
                  <a:lnTo>
                    <a:pt x="725" y="539"/>
                  </a:lnTo>
                  <a:lnTo>
                    <a:pt x="725" y="537"/>
                  </a:lnTo>
                  <a:lnTo>
                    <a:pt x="723" y="537"/>
                  </a:lnTo>
                  <a:lnTo>
                    <a:pt x="723" y="539"/>
                  </a:lnTo>
                  <a:lnTo>
                    <a:pt x="723" y="539"/>
                  </a:lnTo>
                  <a:lnTo>
                    <a:pt x="723" y="541"/>
                  </a:lnTo>
                  <a:lnTo>
                    <a:pt x="723" y="541"/>
                  </a:lnTo>
                  <a:lnTo>
                    <a:pt x="727" y="543"/>
                  </a:lnTo>
                  <a:lnTo>
                    <a:pt x="727" y="543"/>
                  </a:lnTo>
                  <a:lnTo>
                    <a:pt x="729" y="543"/>
                  </a:lnTo>
                  <a:lnTo>
                    <a:pt x="729" y="541"/>
                  </a:lnTo>
                  <a:lnTo>
                    <a:pt x="733" y="541"/>
                  </a:lnTo>
                  <a:lnTo>
                    <a:pt x="733" y="541"/>
                  </a:lnTo>
                  <a:lnTo>
                    <a:pt x="733" y="543"/>
                  </a:lnTo>
                  <a:lnTo>
                    <a:pt x="733" y="543"/>
                  </a:lnTo>
                  <a:lnTo>
                    <a:pt x="733" y="543"/>
                  </a:lnTo>
                  <a:lnTo>
                    <a:pt x="733" y="543"/>
                  </a:lnTo>
                  <a:lnTo>
                    <a:pt x="733" y="543"/>
                  </a:lnTo>
                  <a:lnTo>
                    <a:pt x="731" y="543"/>
                  </a:lnTo>
                  <a:lnTo>
                    <a:pt x="731" y="545"/>
                  </a:lnTo>
                  <a:lnTo>
                    <a:pt x="731" y="545"/>
                  </a:lnTo>
                  <a:lnTo>
                    <a:pt x="731" y="545"/>
                  </a:lnTo>
                  <a:lnTo>
                    <a:pt x="731" y="545"/>
                  </a:lnTo>
                  <a:lnTo>
                    <a:pt x="731" y="545"/>
                  </a:lnTo>
                  <a:lnTo>
                    <a:pt x="729" y="545"/>
                  </a:lnTo>
                  <a:lnTo>
                    <a:pt x="729" y="545"/>
                  </a:lnTo>
                  <a:lnTo>
                    <a:pt x="729" y="547"/>
                  </a:lnTo>
                  <a:lnTo>
                    <a:pt x="729" y="547"/>
                  </a:lnTo>
                  <a:lnTo>
                    <a:pt x="729" y="549"/>
                  </a:lnTo>
                  <a:lnTo>
                    <a:pt x="731" y="549"/>
                  </a:lnTo>
                  <a:lnTo>
                    <a:pt x="731" y="551"/>
                  </a:lnTo>
                  <a:lnTo>
                    <a:pt x="731" y="551"/>
                  </a:lnTo>
                  <a:lnTo>
                    <a:pt x="735" y="555"/>
                  </a:lnTo>
                  <a:lnTo>
                    <a:pt x="737" y="555"/>
                  </a:lnTo>
                  <a:lnTo>
                    <a:pt x="737" y="555"/>
                  </a:lnTo>
                  <a:lnTo>
                    <a:pt x="737" y="555"/>
                  </a:lnTo>
                  <a:lnTo>
                    <a:pt x="739" y="553"/>
                  </a:lnTo>
                  <a:lnTo>
                    <a:pt x="739" y="555"/>
                  </a:lnTo>
                  <a:lnTo>
                    <a:pt x="739" y="555"/>
                  </a:lnTo>
                  <a:lnTo>
                    <a:pt x="739" y="555"/>
                  </a:lnTo>
                  <a:lnTo>
                    <a:pt x="739" y="555"/>
                  </a:lnTo>
                  <a:lnTo>
                    <a:pt x="739" y="557"/>
                  </a:lnTo>
                  <a:lnTo>
                    <a:pt x="739" y="557"/>
                  </a:lnTo>
                  <a:lnTo>
                    <a:pt x="739" y="557"/>
                  </a:lnTo>
                  <a:lnTo>
                    <a:pt x="739" y="559"/>
                  </a:lnTo>
                  <a:lnTo>
                    <a:pt x="741" y="559"/>
                  </a:lnTo>
                  <a:lnTo>
                    <a:pt x="741" y="562"/>
                  </a:lnTo>
                  <a:lnTo>
                    <a:pt x="743" y="562"/>
                  </a:lnTo>
                  <a:lnTo>
                    <a:pt x="743" y="562"/>
                  </a:lnTo>
                  <a:lnTo>
                    <a:pt x="743" y="564"/>
                  </a:lnTo>
                  <a:lnTo>
                    <a:pt x="743" y="564"/>
                  </a:lnTo>
                  <a:lnTo>
                    <a:pt x="743" y="564"/>
                  </a:lnTo>
                  <a:lnTo>
                    <a:pt x="743" y="564"/>
                  </a:lnTo>
                  <a:lnTo>
                    <a:pt x="743" y="566"/>
                  </a:lnTo>
                  <a:lnTo>
                    <a:pt x="743" y="566"/>
                  </a:lnTo>
                  <a:lnTo>
                    <a:pt x="743" y="566"/>
                  </a:lnTo>
                  <a:lnTo>
                    <a:pt x="743" y="568"/>
                  </a:lnTo>
                  <a:lnTo>
                    <a:pt x="743" y="568"/>
                  </a:lnTo>
                  <a:lnTo>
                    <a:pt x="746" y="568"/>
                  </a:lnTo>
                  <a:lnTo>
                    <a:pt x="746" y="570"/>
                  </a:lnTo>
                  <a:lnTo>
                    <a:pt x="750" y="572"/>
                  </a:lnTo>
                  <a:lnTo>
                    <a:pt x="750" y="572"/>
                  </a:lnTo>
                  <a:lnTo>
                    <a:pt x="752" y="574"/>
                  </a:lnTo>
                  <a:lnTo>
                    <a:pt x="750" y="574"/>
                  </a:lnTo>
                  <a:lnTo>
                    <a:pt x="750" y="574"/>
                  </a:lnTo>
                  <a:lnTo>
                    <a:pt x="750" y="574"/>
                  </a:lnTo>
                  <a:lnTo>
                    <a:pt x="752" y="574"/>
                  </a:lnTo>
                  <a:lnTo>
                    <a:pt x="752" y="574"/>
                  </a:lnTo>
                  <a:lnTo>
                    <a:pt x="752" y="574"/>
                  </a:lnTo>
                  <a:lnTo>
                    <a:pt x="752" y="574"/>
                  </a:lnTo>
                  <a:lnTo>
                    <a:pt x="750" y="574"/>
                  </a:lnTo>
                  <a:lnTo>
                    <a:pt x="748" y="576"/>
                  </a:lnTo>
                  <a:lnTo>
                    <a:pt x="748" y="578"/>
                  </a:lnTo>
                  <a:lnTo>
                    <a:pt x="748" y="578"/>
                  </a:lnTo>
                  <a:lnTo>
                    <a:pt x="750" y="580"/>
                  </a:lnTo>
                  <a:lnTo>
                    <a:pt x="750" y="582"/>
                  </a:lnTo>
                  <a:lnTo>
                    <a:pt x="750" y="582"/>
                  </a:lnTo>
                  <a:lnTo>
                    <a:pt x="756" y="584"/>
                  </a:lnTo>
                  <a:lnTo>
                    <a:pt x="762" y="586"/>
                  </a:lnTo>
                  <a:lnTo>
                    <a:pt x="770" y="584"/>
                  </a:lnTo>
                  <a:lnTo>
                    <a:pt x="776" y="584"/>
                  </a:lnTo>
                  <a:lnTo>
                    <a:pt x="784" y="580"/>
                  </a:lnTo>
                  <a:lnTo>
                    <a:pt x="786" y="580"/>
                  </a:lnTo>
                  <a:lnTo>
                    <a:pt x="786" y="578"/>
                  </a:lnTo>
                  <a:lnTo>
                    <a:pt x="786" y="578"/>
                  </a:lnTo>
                  <a:lnTo>
                    <a:pt x="789" y="580"/>
                  </a:lnTo>
                  <a:lnTo>
                    <a:pt x="791" y="580"/>
                  </a:lnTo>
                  <a:lnTo>
                    <a:pt x="793" y="580"/>
                  </a:lnTo>
                  <a:lnTo>
                    <a:pt x="793" y="578"/>
                  </a:lnTo>
                  <a:lnTo>
                    <a:pt x="793" y="578"/>
                  </a:lnTo>
                  <a:lnTo>
                    <a:pt x="793" y="578"/>
                  </a:lnTo>
                  <a:lnTo>
                    <a:pt x="793" y="576"/>
                  </a:lnTo>
                  <a:lnTo>
                    <a:pt x="793" y="576"/>
                  </a:lnTo>
                  <a:lnTo>
                    <a:pt x="793" y="574"/>
                  </a:lnTo>
                  <a:lnTo>
                    <a:pt x="793" y="574"/>
                  </a:lnTo>
                  <a:lnTo>
                    <a:pt x="793" y="574"/>
                  </a:lnTo>
                  <a:lnTo>
                    <a:pt x="793" y="572"/>
                  </a:lnTo>
                  <a:lnTo>
                    <a:pt x="795" y="572"/>
                  </a:lnTo>
                  <a:lnTo>
                    <a:pt x="795" y="570"/>
                  </a:lnTo>
                  <a:lnTo>
                    <a:pt x="795" y="570"/>
                  </a:lnTo>
                  <a:lnTo>
                    <a:pt x="795" y="568"/>
                  </a:lnTo>
                  <a:lnTo>
                    <a:pt x="793" y="566"/>
                  </a:lnTo>
                  <a:lnTo>
                    <a:pt x="791" y="566"/>
                  </a:lnTo>
                  <a:lnTo>
                    <a:pt x="789" y="564"/>
                  </a:lnTo>
                  <a:lnTo>
                    <a:pt x="793" y="566"/>
                  </a:lnTo>
                  <a:lnTo>
                    <a:pt x="793" y="566"/>
                  </a:lnTo>
                  <a:lnTo>
                    <a:pt x="793" y="566"/>
                  </a:lnTo>
                  <a:lnTo>
                    <a:pt x="793" y="564"/>
                  </a:lnTo>
                  <a:lnTo>
                    <a:pt x="793" y="564"/>
                  </a:lnTo>
                  <a:lnTo>
                    <a:pt x="793" y="564"/>
                  </a:lnTo>
                  <a:lnTo>
                    <a:pt x="793" y="564"/>
                  </a:lnTo>
                  <a:lnTo>
                    <a:pt x="793" y="564"/>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5" y="562"/>
                  </a:lnTo>
                  <a:lnTo>
                    <a:pt x="795" y="562"/>
                  </a:lnTo>
                  <a:lnTo>
                    <a:pt x="795" y="559"/>
                  </a:lnTo>
                  <a:lnTo>
                    <a:pt x="795" y="559"/>
                  </a:lnTo>
                  <a:lnTo>
                    <a:pt x="795" y="559"/>
                  </a:lnTo>
                  <a:lnTo>
                    <a:pt x="797" y="559"/>
                  </a:lnTo>
                  <a:lnTo>
                    <a:pt x="797" y="559"/>
                  </a:lnTo>
                  <a:lnTo>
                    <a:pt x="797" y="559"/>
                  </a:lnTo>
                  <a:lnTo>
                    <a:pt x="797" y="559"/>
                  </a:lnTo>
                  <a:lnTo>
                    <a:pt x="797" y="559"/>
                  </a:lnTo>
                  <a:lnTo>
                    <a:pt x="797" y="557"/>
                  </a:lnTo>
                  <a:lnTo>
                    <a:pt x="797" y="557"/>
                  </a:lnTo>
                  <a:lnTo>
                    <a:pt x="797" y="557"/>
                  </a:lnTo>
                  <a:lnTo>
                    <a:pt x="797" y="557"/>
                  </a:lnTo>
                  <a:lnTo>
                    <a:pt x="799" y="557"/>
                  </a:lnTo>
                  <a:lnTo>
                    <a:pt x="799" y="557"/>
                  </a:lnTo>
                  <a:lnTo>
                    <a:pt x="799" y="555"/>
                  </a:lnTo>
                  <a:lnTo>
                    <a:pt x="799" y="555"/>
                  </a:lnTo>
                  <a:lnTo>
                    <a:pt x="799" y="555"/>
                  </a:lnTo>
                  <a:lnTo>
                    <a:pt x="799" y="555"/>
                  </a:lnTo>
                  <a:lnTo>
                    <a:pt x="801" y="551"/>
                  </a:lnTo>
                  <a:lnTo>
                    <a:pt x="801" y="551"/>
                  </a:lnTo>
                  <a:lnTo>
                    <a:pt x="801" y="551"/>
                  </a:lnTo>
                  <a:lnTo>
                    <a:pt x="801" y="549"/>
                  </a:lnTo>
                  <a:lnTo>
                    <a:pt x="803" y="549"/>
                  </a:lnTo>
                  <a:lnTo>
                    <a:pt x="803" y="547"/>
                  </a:lnTo>
                  <a:lnTo>
                    <a:pt x="803" y="547"/>
                  </a:lnTo>
                  <a:lnTo>
                    <a:pt x="803" y="547"/>
                  </a:lnTo>
                  <a:lnTo>
                    <a:pt x="805" y="547"/>
                  </a:lnTo>
                  <a:lnTo>
                    <a:pt x="807" y="547"/>
                  </a:lnTo>
                  <a:lnTo>
                    <a:pt x="807" y="545"/>
                  </a:lnTo>
                  <a:lnTo>
                    <a:pt x="807" y="545"/>
                  </a:lnTo>
                  <a:lnTo>
                    <a:pt x="807" y="545"/>
                  </a:lnTo>
                  <a:lnTo>
                    <a:pt x="807" y="543"/>
                  </a:lnTo>
                  <a:lnTo>
                    <a:pt x="805" y="543"/>
                  </a:lnTo>
                  <a:lnTo>
                    <a:pt x="807" y="543"/>
                  </a:lnTo>
                  <a:lnTo>
                    <a:pt x="807" y="543"/>
                  </a:lnTo>
                  <a:lnTo>
                    <a:pt x="807" y="545"/>
                  </a:lnTo>
                  <a:lnTo>
                    <a:pt x="807" y="545"/>
                  </a:lnTo>
                  <a:lnTo>
                    <a:pt x="807" y="545"/>
                  </a:lnTo>
                  <a:lnTo>
                    <a:pt x="811" y="545"/>
                  </a:lnTo>
                  <a:lnTo>
                    <a:pt x="811" y="543"/>
                  </a:lnTo>
                  <a:lnTo>
                    <a:pt x="811" y="543"/>
                  </a:lnTo>
                  <a:lnTo>
                    <a:pt x="813" y="545"/>
                  </a:lnTo>
                  <a:lnTo>
                    <a:pt x="811" y="545"/>
                  </a:lnTo>
                  <a:lnTo>
                    <a:pt x="811" y="545"/>
                  </a:lnTo>
                  <a:lnTo>
                    <a:pt x="811" y="545"/>
                  </a:lnTo>
                  <a:lnTo>
                    <a:pt x="811" y="545"/>
                  </a:lnTo>
                  <a:lnTo>
                    <a:pt x="811" y="547"/>
                  </a:lnTo>
                  <a:lnTo>
                    <a:pt x="807" y="547"/>
                  </a:lnTo>
                  <a:lnTo>
                    <a:pt x="807" y="547"/>
                  </a:lnTo>
                  <a:lnTo>
                    <a:pt x="807" y="547"/>
                  </a:lnTo>
                  <a:lnTo>
                    <a:pt x="805" y="549"/>
                  </a:lnTo>
                  <a:lnTo>
                    <a:pt x="803" y="549"/>
                  </a:lnTo>
                  <a:lnTo>
                    <a:pt x="803" y="549"/>
                  </a:lnTo>
                  <a:lnTo>
                    <a:pt x="803" y="549"/>
                  </a:lnTo>
                  <a:lnTo>
                    <a:pt x="803" y="551"/>
                  </a:lnTo>
                  <a:lnTo>
                    <a:pt x="803" y="551"/>
                  </a:lnTo>
                  <a:lnTo>
                    <a:pt x="803" y="551"/>
                  </a:lnTo>
                  <a:lnTo>
                    <a:pt x="803" y="551"/>
                  </a:lnTo>
                  <a:lnTo>
                    <a:pt x="803" y="553"/>
                  </a:lnTo>
                  <a:lnTo>
                    <a:pt x="803" y="553"/>
                  </a:lnTo>
                  <a:lnTo>
                    <a:pt x="803" y="553"/>
                  </a:lnTo>
                  <a:lnTo>
                    <a:pt x="801" y="555"/>
                  </a:lnTo>
                  <a:lnTo>
                    <a:pt x="801" y="555"/>
                  </a:lnTo>
                  <a:lnTo>
                    <a:pt x="801" y="555"/>
                  </a:lnTo>
                  <a:lnTo>
                    <a:pt x="801" y="557"/>
                  </a:lnTo>
                  <a:lnTo>
                    <a:pt x="799" y="559"/>
                  </a:lnTo>
                  <a:lnTo>
                    <a:pt x="797" y="562"/>
                  </a:lnTo>
                  <a:lnTo>
                    <a:pt x="797" y="562"/>
                  </a:lnTo>
                  <a:lnTo>
                    <a:pt x="795" y="564"/>
                  </a:lnTo>
                  <a:lnTo>
                    <a:pt x="795" y="564"/>
                  </a:lnTo>
                  <a:lnTo>
                    <a:pt x="797" y="566"/>
                  </a:lnTo>
                  <a:lnTo>
                    <a:pt x="797" y="566"/>
                  </a:lnTo>
                  <a:lnTo>
                    <a:pt x="797" y="568"/>
                  </a:lnTo>
                  <a:lnTo>
                    <a:pt x="799" y="568"/>
                  </a:lnTo>
                  <a:lnTo>
                    <a:pt x="799" y="568"/>
                  </a:lnTo>
                  <a:lnTo>
                    <a:pt x="799" y="568"/>
                  </a:lnTo>
                  <a:lnTo>
                    <a:pt x="797" y="570"/>
                  </a:lnTo>
                  <a:lnTo>
                    <a:pt x="797" y="570"/>
                  </a:lnTo>
                  <a:lnTo>
                    <a:pt x="797" y="570"/>
                  </a:lnTo>
                  <a:lnTo>
                    <a:pt x="797" y="570"/>
                  </a:lnTo>
                  <a:lnTo>
                    <a:pt x="797" y="570"/>
                  </a:lnTo>
                  <a:lnTo>
                    <a:pt x="797" y="570"/>
                  </a:lnTo>
                  <a:lnTo>
                    <a:pt x="797" y="572"/>
                  </a:lnTo>
                  <a:lnTo>
                    <a:pt x="797" y="572"/>
                  </a:lnTo>
                  <a:lnTo>
                    <a:pt x="797" y="572"/>
                  </a:lnTo>
                  <a:lnTo>
                    <a:pt x="799" y="572"/>
                  </a:lnTo>
                  <a:lnTo>
                    <a:pt x="799" y="572"/>
                  </a:lnTo>
                  <a:lnTo>
                    <a:pt x="799" y="572"/>
                  </a:lnTo>
                  <a:lnTo>
                    <a:pt x="799" y="572"/>
                  </a:lnTo>
                  <a:lnTo>
                    <a:pt x="799" y="572"/>
                  </a:lnTo>
                  <a:lnTo>
                    <a:pt x="799" y="572"/>
                  </a:lnTo>
                  <a:lnTo>
                    <a:pt x="799" y="572"/>
                  </a:lnTo>
                  <a:lnTo>
                    <a:pt x="799" y="570"/>
                  </a:lnTo>
                  <a:lnTo>
                    <a:pt x="799" y="570"/>
                  </a:lnTo>
                  <a:lnTo>
                    <a:pt x="799" y="570"/>
                  </a:lnTo>
                  <a:lnTo>
                    <a:pt x="799" y="570"/>
                  </a:lnTo>
                  <a:lnTo>
                    <a:pt x="799" y="570"/>
                  </a:lnTo>
                  <a:lnTo>
                    <a:pt x="799" y="570"/>
                  </a:lnTo>
                  <a:lnTo>
                    <a:pt x="799" y="570"/>
                  </a:lnTo>
                  <a:lnTo>
                    <a:pt x="799" y="568"/>
                  </a:lnTo>
                  <a:lnTo>
                    <a:pt x="799" y="570"/>
                  </a:lnTo>
                  <a:lnTo>
                    <a:pt x="799" y="568"/>
                  </a:lnTo>
                  <a:lnTo>
                    <a:pt x="799" y="568"/>
                  </a:lnTo>
                  <a:lnTo>
                    <a:pt x="799" y="568"/>
                  </a:lnTo>
                  <a:lnTo>
                    <a:pt x="799" y="568"/>
                  </a:lnTo>
                  <a:lnTo>
                    <a:pt x="799" y="568"/>
                  </a:lnTo>
                  <a:lnTo>
                    <a:pt x="799" y="568"/>
                  </a:lnTo>
                  <a:lnTo>
                    <a:pt x="801" y="568"/>
                  </a:lnTo>
                  <a:lnTo>
                    <a:pt x="799" y="568"/>
                  </a:lnTo>
                  <a:lnTo>
                    <a:pt x="801" y="568"/>
                  </a:lnTo>
                  <a:lnTo>
                    <a:pt x="801" y="568"/>
                  </a:lnTo>
                  <a:lnTo>
                    <a:pt x="803" y="568"/>
                  </a:lnTo>
                  <a:lnTo>
                    <a:pt x="801" y="568"/>
                  </a:lnTo>
                  <a:lnTo>
                    <a:pt x="801" y="568"/>
                  </a:lnTo>
                  <a:lnTo>
                    <a:pt x="801" y="568"/>
                  </a:lnTo>
                  <a:lnTo>
                    <a:pt x="801" y="568"/>
                  </a:lnTo>
                  <a:lnTo>
                    <a:pt x="803" y="568"/>
                  </a:lnTo>
                  <a:lnTo>
                    <a:pt x="803" y="568"/>
                  </a:lnTo>
                  <a:lnTo>
                    <a:pt x="803" y="568"/>
                  </a:lnTo>
                  <a:lnTo>
                    <a:pt x="803" y="568"/>
                  </a:lnTo>
                  <a:lnTo>
                    <a:pt x="803" y="568"/>
                  </a:lnTo>
                  <a:lnTo>
                    <a:pt x="803" y="568"/>
                  </a:lnTo>
                  <a:lnTo>
                    <a:pt x="803" y="570"/>
                  </a:lnTo>
                  <a:lnTo>
                    <a:pt x="801" y="570"/>
                  </a:lnTo>
                  <a:lnTo>
                    <a:pt x="801" y="570"/>
                  </a:lnTo>
                  <a:lnTo>
                    <a:pt x="801" y="570"/>
                  </a:lnTo>
                  <a:lnTo>
                    <a:pt x="801" y="572"/>
                  </a:lnTo>
                  <a:lnTo>
                    <a:pt x="801" y="572"/>
                  </a:lnTo>
                  <a:lnTo>
                    <a:pt x="801" y="572"/>
                  </a:lnTo>
                  <a:lnTo>
                    <a:pt x="801" y="572"/>
                  </a:lnTo>
                  <a:lnTo>
                    <a:pt x="801" y="574"/>
                  </a:lnTo>
                  <a:lnTo>
                    <a:pt x="801" y="574"/>
                  </a:lnTo>
                  <a:lnTo>
                    <a:pt x="801" y="574"/>
                  </a:lnTo>
                  <a:lnTo>
                    <a:pt x="801" y="574"/>
                  </a:lnTo>
                  <a:lnTo>
                    <a:pt x="799" y="576"/>
                  </a:lnTo>
                  <a:lnTo>
                    <a:pt x="799" y="576"/>
                  </a:lnTo>
                  <a:lnTo>
                    <a:pt x="801" y="578"/>
                  </a:lnTo>
                  <a:lnTo>
                    <a:pt x="801" y="580"/>
                  </a:lnTo>
                  <a:lnTo>
                    <a:pt x="801" y="580"/>
                  </a:lnTo>
                  <a:lnTo>
                    <a:pt x="801" y="582"/>
                  </a:lnTo>
                  <a:lnTo>
                    <a:pt x="803" y="582"/>
                  </a:lnTo>
                  <a:lnTo>
                    <a:pt x="803" y="582"/>
                  </a:lnTo>
                  <a:lnTo>
                    <a:pt x="803" y="584"/>
                  </a:lnTo>
                  <a:lnTo>
                    <a:pt x="803" y="586"/>
                  </a:lnTo>
                  <a:lnTo>
                    <a:pt x="803" y="586"/>
                  </a:lnTo>
                  <a:lnTo>
                    <a:pt x="805" y="590"/>
                  </a:lnTo>
                  <a:lnTo>
                    <a:pt x="805" y="596"/>
                  </a:lnTo>
                  <a:lnTo>
                    <a:pt x="807" y="596"/>
                  </a:lnTo>
                  <a:lnTo>
                    <a:pt x="807" y="596"/>
                  </a:lnTo>
                  <a:lnTo>
                    <a:pt x="807" y="596"/>
                  </a:lnTo>
                  <a:lnTo>
                    <a:pt x="807" y="598"/>
                  </a:lnTo>
                  <a:lnTo>
                    <a:pt x="807" y="598"/>
                  </a:lnTo>
                  <a:lnTo>
                    <a:pt x="807" y="598"/>
                  </a:lnTo>
                  <a:lnTo>
                    <a:pt x="807" y="600"/>
                  </a:lnTo>
                  <a:lnTo>
                    <a:pt x="809" y="607"/>
                  </a:lnTo>
                  <a:lnTo>
                    <a:pt x="809" y="607"/>
                  </a:lnTo>
                  <a:lnTo>
                    <a:pt x="809" y="609"/>
                  </a:lnTo>
                  <a:lnTo>
                    <a:pt x="809" y="609"/>
                  </a:lnTo>
                  <a:lnTo>
                    <a:pt x="809" y="609"/>
                  </a:lnTo>
                  <a:lnTo>
                    <a:pt x="809" y="609"/>
                  </a:lnTo>
                  <a:lnTo>
                    <a:pt x="807" y="609"/>
                  </a:lnTo>
                  <a:lnTo>
                    <a:pt x="807" y="609"/>
                  </a:lnTo>
                  <a:lnTo>
                    <a:pt x="807" y="611"/>
                  </a:lnTo>
                  <a:lnTo>
                    <a:pt x="805" y="611"/>
                  </a:lnTo>
                  <a:lnTo>
                    <a:pt x="805" y="611"/>
                  </a:lnTo>
                  <a:lnTo>
                    <a:pt x="805" y="611"/>
                  </a:lnTo>
                  <a:lnTo>
                    <a:pt x="805" y="611"/>
                  </a:lnTo>
                  <a:lnTo>
                    <a:pt x="805" y="613"/>
                  </a:lnTo>
                  <a:lnTo>
                    <a:pt x="803" y="613"/>
                  </a:lnTo>
                  <a:lnTo>
                    <a:pt x="803" y="613"/>
                  </a:lnTo>
                  <a:lnTo>
                    <a:pt x="803" y="613"/>
                  </a:lnTo>
                  <a:lnTo>
                    <a:pt x="803" y="615"/>
                  </a:lnTo>
                  <a:lnTo>
                    <a:pt x="803" y="615"/>
                  </a:lnTo>
                  <a:lnTo>
                    <a:pt x="803" y="615"/>
                  </a:lnTo>
                  <a:lnTo>
                    <a:pt x="803" y="617"/>
                  </a:lnTo>
                  <a:lnTo>
                    <a:pt x="801" y="617"/>
                  </a:lnTo>
                  <a:lnTo>
                    <a:pt x="801" y="619"/>
                  </a:lnTo>
                  <a:lnTo>
                    <a:pt x="801" y="619"/>
                  </a:lnTo>
                  <a:lnTo>
                    <a:pt x="801" y="621"/>
                  </a:lnTo>
                  <a:lnTo>
                    <a:pt x="799" y="619"/>
                  </a:lnTo>
                  <a:lnTo>
                    <a:pt x="799" y="619"/>
                  </a:lnTo>
                  <a:lnTo>
                    <a:pt x="801" y="617"/>
                  </a:lnTo>
                  <a:lnTo>
                    <a:pt x="801" y="617"/>
                  </a:lnTo>
                  <a:lnTo>
                    <a:pt x="801" y="617"/>
                  </a:lnTo>
                  <a:lnTo>
                    <a:pt x="801" y="617"/>
                  </a:lnTo>
                  <a:lnTo>
                    <a:pt x="799" y="619"/>
                  </a:lnTo>
                  <a:lnTo>
                    <a:pt x="799" y="619"/>
                  </a:lnTo>
                  <a:lnTo>
                    <a:pt x="799" y="621"/>
                  </a:lnTo>
                  <a:lnTo>
                    <a:pt x="801" y="625"/>
                  </a:lnTo>
                  <a:lnTo>
                    <a:pt x="801" y="627"/>
                  </a:lnTo>
                  <a:lnTo>
                    <a:pt x="803" y="629"/>
                  </a:lnTo>
                  <a:lnTo>
                    <a:pt x="803" y="629"/>
                  </a:lnTo>
                  <a:lnTo>
                    <a:pt x="803" y="629"/>
                  </a:lnTo>
                  <a:lnTo>
                    <a:pt x="803" y="629"/>
                  </a:lnTo>
                  <a:lnTo>
                    <a:pt x="803" y="627"/>
                  </a:lnTo>
                  <a:lnTo>
                    <a:pt x="803" y="627"/>
                  </a:lnTo>
                  <a:lnTo>
                    <a:pt x="805" y="627"/>
                  </a:lnTo>
                  <a:lnTo>
                    <a:pt x="807" y="627"/>
                  </a:lnTo>
                  <a:lnTo>
                    <a:pt x="809" y="627"/>
                  </a:lnTo>
                  <a:lnTo>
                    <a:pt x="809" y="627"/>
                  </a:lnTo>
                  <a:lnTo>
                    <a:pt x="809" y="627"/>
                  </a:lnTo>
                  <a:lnTo>
                    <a:pt x="809" y="627"/>
                  </a:lnTo>
                  <a:lnTo>
                    <a:pt x="809" y="627"/>
                  </a:lnTo>
                  <a:lnTo>
                    <a:pt x="809" y="627"/>
                  </a:lnTo>
                  <a:lnTo>
                    <a:pt x="811" y="627"/>
                  </a:lnTo>
                  <a:lnTo>
                    <a:pt x="811" y="627"/>
                  </a:lnTo>
                  <a:lnTo>
                    <a:pt x="811" y="627"/>
                  </a:lnTo>
                  <a:lnTo>
                    <a:pt x="811" y="627"/>
                  </a:lnTo>
                  <a:lnTo>
                    <a:pt x="811" y="629"/>
                  </a:lnTo>
                  <a:lnTo>
                    <a:pt x="811" y="629"/>
                  </a:lnTo>
                  <a:lnTo>
                    <a:pt x="811" y="629"/>
                  </a:lnTo>
                  <a:lnTo>
                    <a:pt x="811" y="629"/>
                  </a:lnTo>
                  <a:lnTo>
                    <a:pt x="811" y="629"/>
                  </a:lnTo>
                  <a:lnTo>
                    <a:pt x="809" y="629"/>
                  </a:lnTo>
                  <a:lnTo>
                    <a:pt x="809" y="629"/>
                  </a:lnTo>
                  <a:lnTo>
                    <a:pt x="807" y="631"/>
                  </a:lnTo>
                  <a:lnTo>
                    <a:pt x="807" y="631"/>
                  </a:lnTo>
                  <a:lnTo>
                    <a:pt x="807" y="631"/>
                  </a:lnTo>
                  <a:lnTo>
                    <a:pt x="805" y="631"/>
                  </a:lnTo>
                  <a:lnTo>
                    <a:pt x="805" y="631"/>
                  </a:lnTo>
                  <a:lnTo>
                    <a:pt x="805" y="631"/>
                  </a:lnTo>
                  <a:lnTo>
                    <a:pt x="805" y="631"/>
                  </a:lnTo>
                  <a:lnTo>
                    <a:pt x="805" y="631"/>
                  </a:lnTo>
                  <a:lnTo>
                    <a:pt x="805" y="631"/>
                  </a:lnTo>
                  <a:lnTo>
                    <a:pt x="805" y="631"/>
                  </a:lnTo>
                  <a:lnTo>
                    <a:pt x="805" y="631"/>
                  </a:lnTo>
                  <a:lnTo>
                    <a:pt x="805" y="631"/>
                  </a:lnTo>
                  <a:lnTo>
                    <a:pt x="805" y="631"/>
                  </a:lnTo>
                  <a:lnTo>
                    <a:pt x="803" y="631"/>
                  </a:lnTo>
                  <a:lnTo>
                    <a:pt x="803" y="631"/>
                  </a:lnTo>
                  <a:lnTo>
                    <a:pt x="803" y="631"/>
                  </a:lnTo>
                  <a:lnTo>
                    <a:pt x="803" y="631"/>
                  </a:lnTo>
                  <a:lnTo>
                    <a:pt x="803" y="631"/>
                  </a:lnTo>
                  <a:lnTo>
                    <a:pt x="803" y="631"/>
                  </a:lnTo>
                  <a:lnTo>
                    <a:pt x="803" y="633"/>
                  </a:lnTo>
                  <a:lnTo>
                    <a:pt x="803" y="633"/>
                  </a:lnTo>
                  <a:lnTo>
                    <a:pt x="805" y="633"/>
                  </a:lnTo>
                  <a:lnTo>
                    <a:pt x="805" y="633"/>
                  </a:lnTo>
                  <a:lnTo>
                    <a:pt x="805" y="635"/>
                  </a:lnTo>
                  <a:lnTo>
                    <a:pt x="805" y="635"/>
                  </a:lnTo>
                  <a:lnTo>
                    <a:pt x="803" y="639"/>
                  </a:lnTo>
                  <a:lnTo>
                    <a:pt x="803" y="639"/>
                  </a:lnTo>
                  <a:lnTo>
                    <a:pt x="805" y="641"/>
                  </a:lnTo>
                  <a:lnTo>
                    <a:pt x="805" y="641"/>
                  </a:lnTo>
                  <a:lnTo>
                    <a:pt x="805" y="641"/>
                  </a:lnTo>
                  <a:lnTo>
                    <a:pt x="805" y="641"/>
                  </a:lnTo>
                  <a:lnTo>
                    <a:pt x="805" y="643"/>
                  </a:lnTo>
                  <a:lnTo>
                    <a:pt x="805" y="643"/>
                  </a:lnTo>
                  <a:lnTo>
                    <a:pt x="803" y="643"/>
                  </a:lnTo>
                  <a:lnTo>
                    <a:pt x="805" y="643"/>
                  </a:lnTo>
                  <a:lnTo>
                    <a:pt x="805" y="643"/>
                  </a:lnTo>
                  <a:lnTo>
                    <a:pt x="805" y="641"/>
                  </a:lnTo>
                  <a:lnTo>
                    <a:pt x="807" y="641"/>
                  </a:lnTo>
                  <a:lnTo>
                    <a:pt x="807" y="643"/>
                  </a:lnTo>
                  <a:lnTo>
                    <a:pt x="805" y="646"/>
                  </a:lnTo>
                  <a:lnTo>
                    <a:pt x="805" y="646"/>
                  </a:lnTo>
                  <a:lnTo>
                    <a:pt x="805" y="646"/>
                  </a:lnTo>
                  <a:lnTo>
                    <a:pt x="803" y="646"/>
                  </a:lnTo>
                  <a:lnTo>
                    <a:pt x="803" y="646"/>
                  </a:lnTo>
                  <a:lnTo>
                    <a:pt x="803" y="646"/>
                  </a:lnTo>
                  <a:lnTo>
                    <a:pt x="803" y="648"/>
                  </a:lnTo>
                  <a:lnTo>
                    <a:pt x="801" y="648"/>
                  </a:lnTo>
                  <a:lnTo>
                    <a:pt x="801" y="648"/>
                  </a:lnTo>
                  <a:lnTo>
                    <a:pt x="801" y="650"/>
                  </a:lnTo>
                  <a:lnTo>
                    <a:pt x="801" y="650"/>
                  </a:lnTo>
                  <a:lnTo>
                    <a:pt x="801" y="652"/>
                  </a:lnTo>
                  <a:lnTo>
                    <a:pt x="799" y="652"/>
                  </a:lnTo>
                  <a:lnTo>
                    <a:pt x="799" y="652"/>
                  </a:lnTo>
                  <a:lnTo>
                    <a:pt x="799" y="650"/>
                  </a:lnTo>
                  <a:lnTo>
                    <a:pt x="799" y="650"/>
                  </a:lnTo>
                  <a:lnTo>
                    <a:pt x="799" y="650"/>
                  </a:lnTo>
                  <a:lnTo>
                    <a:pt x="799" y="650"/>
                  </a:lnTo>
                  <a:lnTo>
                    <a:pt x="799" y="650"/>
                  </a:lnTo>
                  <a:lnTo>
                    <a:pt x="799" y="650"/>
                  </a:lnTo>
                  <a:lnTo>
                    <a:pt x="799" y="650"/>
                  </a:lnTo>
                  <a:lnTo>
                    <a:pt x="799" y="650"/>
                  </a:lnTo>
                  <a:lnTo>
                    <a:pt x="797" y="650"/>
                  </a:lnTo>
                  <a:lnTo>
                    <a:pt x="797" y="650"/>
                  </a:lnTo>
                  <a:lnTo>
                    <a:pt x="797" y="650"/>
                  </a:lnTo>
                  <a:lnTo>
                    <a:pt x="795" y="650"/>
                  </a:lnTo>
                  <a:lnTo>
                    <a:pt x="795" y="650"/>
                  </a:lnTo>
                  <a:lnTo>
                    <a:pt x="793" y="650"/>
                  </a:lnTo>
                  <a:lnTo>
                    <a:pt x="793" y="652"/>
                  </a:lnTo>
                  <a:lnTo>
                    <a:pt x="795" y="652"/>
                  </a:lnTo>
                  <a:lnTo>
                    <a:pt x="801" y="652"/>
                  </a:lnTo>
                  <a:lnTo>
                    <a:pt x="803" y="652"/>
                  </a:lnTo>
                  <a:lnTo>
                    <a:pt x="803" y="654"/>
                  </a:lnTo>
                  <a:lnTo>
                    <a:pt x="803" y="654"/>
                  </a:lnTo>
                  <a:lnTo>
                    <a:pt x="803" y="654"/>
                  </a:lnTo>
                  <a:lnTo>
                    <a:pt x="803" y="652"/>
                  </a:lnTo>
                  <a:lnTo>
                    <a:pt x="803" y="652"/>
                  </a:lnTo>
                  <a:lnTo>
                    <a:pt x="803" y="652"/>
                  </a:lnTo>
                  <a:lnTo>
                    <a:pt x="803" y="652"/>
                  </a:lnTo>
                  <a:lnTo>
                    <a:pt x="803" y="652"/>
                  </a:lnTo>
                  <a:lnTo>
                    <a:pt x="805" y="652"/>
                  </a:lnTo>
                  <a:lnTo>
                    <a:pt x="805" y="654"/>
                  </a:lnTo>
                  <a:lnTo>
                    <a:pt x="805" y="654"/>
                  </a:lnTo>
                  <a:lnTo>
                    <a:pt x="803" y="656"/>
                  </a:lnTo>
                  <a:lnTo>
                    <a:pt x="803" y="656"/>
                  </a:lnTo>
                  <a:lnTo>
                    <a:pt x="803" y="656"/>
                  </a:lnTo>
                  <a:lnTo>
                    <a:pt x="805" y="656"/>
                  </a:lnTo>
                  <a:lnTo>
                    <a:pt x="805" y="656"/>
                  </a:lnTo>
                  <a:lnTo>
                    <a:pt x="805" y="656"/>
                  </a:lnTo>
                  <a:lnTo>
                    <a:pt x="805" y="656"/>
                  </a:lnTo>
                  <a:lnTo>
                    <a:pt x="805" y="654"/>
                  </a:lnTo>
                  <a:lnTo>
                    <a:pt x="807" y="654"/>
                  </a:lnTo>
                  <a:lnTo>
                    <a:pt x="807" y="654"/>
                  </a:lnTo>
                  <a:lnTo>
                    <a:pt x="807" y="654"/>
                  </a:lnTo>
                  <a:lnTo>
                    <a:pt x="807" y="654"/>
                  </a:lnTo>
                  <a:lnTo>
                    <a:pt x="809" y="654"/>
                  </a:lnTo>
                  <a:lnTo>
                    <a:pt x="809" y="654"/>
                  </a:lnTo>
                  <a:lnTo>
                    <a:pt x="809" y="654"/>
                  </a:lnTo>
                  <a:lnTo>
                    <a:pt x="809" y="652"/>
                  </a:lnTo>
                  <a:lnTo>
                    <a:pt x="813" y="652"/>
                  </a:lnTo>
                  <a:lnTo>
                    <a:pt x="815" y="652"/>
                  </a:lnTo>
                  <a:lnTo>
                    <a:pt x="815" y="652"/>
                  </a:lnTo>
                  <a:lnTo>
                    <a:pt x="815" y="652"/>
                  </a:lnTo>
                  <a:lnTo>
                    <a:pt x="813" y="652"/>
                  </a:lnTo>
                  <a:lnTo>
                    <a:pt x="813" y="652"/>
                  </a:lnTo>
                  <a:lnTo>
                    <a:pt x="813" y="650"/>
                  </a:lnTo>
                  <a:lnTo>
                    <a:pt x="813" y="650"/>
                  </a:lnTo>
                  <a:lnTo>
                    <a:pt x="815" y="650"/>
                  </a:lnTo>
                  <a:lnTo>
                    <a:pt x="815" y="648"/>
                  </a:lnTo>
                  <a:lnTo>
                    <a:pt x="817" y="646"/>
                  </a:lnTo>
                  <a:lnTo>
                    <a:pt x="817" y="646"/>
                  </a:lnTo>
                  <a:lnTo>
                    <a:pt x="819" y="646"/>
                  </a:lnTo>
                  <a:lnTo>
                    <a:pt x="817" y="646"/>
                  </a:lnTo>
                  <a:lnTo>
                    <a:pt x="815" y="646"/>
                  </a:lnTo>
                  <a:lnTo>
                    <a:pt x="815" y="646"/>
                  </a:lnTo>
                  <a:lnTo>
                    <a:pt x="817" y="646"/>
                  </a:lnTo>
                  <a:lnTo>
                    <a:pt x="817" y="643"/>
                  </a:lnTo>
                  <a:lnTo>
                    <a:pt x="817" y="643"/>
                  </a:lnTo>
                  <a:lnTo>
                    <a:pt x="817" y="643"/>
                  </a:lnTo>
                  <a:lnTo>
                    <a:pt x="817" y="643"/>
                  </a:lnTo>
                  <a:lnTo>
                    <a:pt x="817" y="643"/>
                  </a:lnTo>
                  <a:lnTo>
                    <a:pt x="817" y="646"/>
                  </a:lnTo>
                  <a:lnTo>
                    <a:pt x="817" y="646"/>
                  </a:lnTo>
                  <a:lnTo>
                    <a:pt x="819" y="646"/>
                  </a:lnTo>
                  <a:lnTo>
                    <a:pt x="819" y="646"/>
                  </a:lnTo>
                  <a:lnTo>
                    <a:pt x="819" y="646"/>
                  </a:lnTo>
                  <a:lnTo>
                    <a:pt x="821" y="646"/>
                  </a:lnTo>
                  <a:lnTo>
                    <a:pt x="823" y="643"/>
                  </a:lnTo>
                  <a:lnTo>
                    <a:pt x="823" y="643"/>
                  </a:lnTo>
                  <a:lnTo>
                    <a:pt x="825" y="643"/>
                  </a:lnTo>
                  <a:lnTo>
                    <a:pt x="825" y="641"/>
                  </a:lnTo>
                  <a:lnTo>
                    <a:pt x="825" y="641"/>
                  </a:lnTo>
                  <a:lnTo>
                    <a:pt x="827" y="641"/>
                  </a:lnTo>
                  <a:lnTo>
                    <a:pt x="827" y="641"/>
                  </a:lnTo>
                  <a:lnTo>
                    <a:pt x="830" y="641"/>
                  </a:lnTo>
                  <a:lnTo>
                    <a:pt x="830" y="643"/>
                  </a:lnTo>
                  <a:lnTo>
                    <a:pt x="830" y="643"/>
                  </a:lnTo>
                  <a:lnTo>
                    <a:pt x="830" y="643"/>
                  </a:lnTo>
                  <a:lnTo>
                    <a:pt x="830" y="646"/>
                  </a:lnTo>
                  <a:lnTo>
                    <a:pt x="832" y="641"/>
                  </a:lnTo>
                  <a:lnTo>
                    <a:pt x="834" y="639"/>
                  </a:lnTo>
                  <a:lnTo>
                    <a:pt x="842" y="633"/>
                  </a:lnTo>
                  <a:lnTo>
                    <a:pt x="842" y="633"/>
                  </a:lnTo>
                  <a:lnTo>
                    <a:pt x="844" y="633"/>
                  </a:lnTo>
                  <a:lnTo>
                    <a:pt x="844" y="633"/>
                  </a:lnTo>
                  <a:lnTo>
                    <a:pt x="844" y="635"/>
                  </a:lnTo>
                  <a:lnTo>
                    <a:pt x="844" y="635"/>
                  </a:lnTo>
                  <a:lnTo>
                    <a:pt x="844" y="635"/>
                  </a:lnTo>
                  <a:lnTo>
                    <a:pt x="844" y="635"/>
                  </a:lnTo>
                  <a:lnTo>
                    <a:pt x="844" y="635"/>
                  </a:lnTo>
                  <a:lnTo>
                    <a:pt x="844" y="635"/>
                  </a:lnTo>
                  <a:lnTo>
                    <a:pt x="844" y="637"/>
                  </a:lnTo>
                  <a:lnTo>
                    <a:pt x="846" y="637"/>
                  </a:lnTo>
                  <a:lnTo>
                    <a:pt x="846" y="637"/>
                  </a:lnTo>
                  <a:lnTo>
                    <a:pt x="846" y="637"/>
                  </a:lnTo>
                  <a:lnTo>
                    <a:pt x="846" y="637"/>
                  </a:lnTo>
                  <a:lnTo>
                    <a:pt x="846" y="637"/>
                  </a:lnTo>
                  <a:lnTo>
                    <a:pt x="846" y="637"/>
                  </a:lnTo>
                  <a:lnTo>
                    <a:pt x="844" y="637"/>
                  </a:lnTo>
                  <a:lnTo>
                    <a:pt x="844" y="637"/>
                  </a:lnTo>
                  <a:lnTo>
                    <a:pt x="844" y="639"/>
                  </a:lnTo>
                  <a:lnTo>
                    <a:pt x="844" y="639"/>
                  </a:lnTo>
                  <a:lnTo>
                    <a:pt x="844" y="639"/>
                  </a:lnTo>
                  <a:lnTo>
                    <a:pt x="844" y="639"/>
                  </a:lnTo>
                  <a:lnTo>
                    <a:pt x="844" y="639"/>
                  </a:lnTo>
                  <a:lnTo>
                    <a:pt x="844" y="639"/>
                  </a:lnTo>
                  <a:lnTo>
                    <a:pt x="846" y="639"/>
                  </a:lnTo>
                  <a:lnTo>
                    <a:pt x="846" y="641"/>
                  </a:lnTo>
                  <a:lnTo>
                    <a:pt x="846" y="641"/>
                  </a:lnTo>
                  <a:lnTo>
                    <a:pt x="846" y="641"/>
                  </a:lnTo>
                  <a:lnTo>
                    <a:pt x="846" y="641"/>
                  </a:lnTo>
                  <a:lnTo>
                    <a:pt x="848" y="641"/>
                  </a:lnTo>
                  <a:lnTo>
                    <a:pt x="848" y="643"/>
                  </a:lnTo>
                  <a:lnTo>
                    <a:pt x="848" y="643"/>
                  </a:lnTo>
                  <a:lnTo>
                    <a:pt x="848" y="643"/>
                  </a:lnTo>
                  <a:lnTo>
                    <a:pt x="848" y="646"/>
                  </a:lnTo>
                  <a:lnTo>
                    <a:pt x="848" y="646"/>
                  </a:lnTo>
                  <a:lnTo>
                    <a:pt x="848" y="646"/>
                  </a:lnTo>
                  <a:lnTo>
                    <a:pt x="848" y="643"/>
                  </a:lnTo>
                  <a:lnTo>
                    <a:pt x="848" y="643"/>
                  </a:lnTo>
                  <a:lnTo>
                    <a:pt x="850" y="643"/>
                  </a:lnTo>
                  <a:lnTo>
                    <a:pt x="850" y="643"/>
                  </a:lnTo>
                  <a:lnTo>
                    <a:pt x="850" y="643"/>
                  </a:lnTo>
                  <a:lnTo>
                    <a:pt x="850" y="643"/>
                  </a:lnTo>
                  <a:lnTo>
                    <a:pt x="852" y="643"/>
                  </a:lnTo>
                  <a:lnTo>
                    <a:pt x="852" y="646"/>
                  </a:lnTo>
                  <a:lnTo>
                    <a:pt x="852" y="646"/>
                  </a:lnTo>
                  <a:lnTo>
                    <a:pt x="852" y="646"/>
                  </a:lnTo>
                  <a:lnTo>
                    <a:pt x="852" y="646"/>
                  </a:lnTo>
                  <a:lnTo>
                    <a:pt x="852" y="648"/>
                  </a:lnTo>
                  <a:lnTo>
                    <a:pt x="852" y="648"/>
                  </a:lnTo>
                  <a:lnTo>
                    <a:pt x="852" y="650"/>
                  </a:lnTo>
                  <a:lnTo>
                    <a:pt x="854" y="650"/>
                  </a:lnTo>
                  <a:lnTo>
                    <a:pt x="854" y="650"/>
                  </a:lnTo>
                  <a:lnTo>
                    <a:pt x="854" y="650"/>
                  </a:lnTo>
                  <a:lnTo>
                    <a:pt x="856" y="650"/>
                  </a:lnTo>
                  <a:lnTo>
                    <a:pt x="856" y="650"/>
                  </a:lnTo>
                  <a:lnTo>
                    <a:pt x="856" y="648"/>
                  </a:lnTo>
                  <a:lnTo>
                    <a:pt x="856" y="648"/>
                  </a:lnTo>
                  <a:lnTo>
                    <a:pt x="856" y="648"/>
                  </a:lnTo>
                  <a:lnTo>
                    <a:pt x="856" y="648"/>
                  </a:lnTo>
                  <a:lnTo>
                    <a:pt x="856" y="648"/>
                  </a:lnTo>
                  <a:lnTo>
                    <a:pt x="856" y="646"/>
                  </a:lnTo>
                  <a:lnTo>
                    <a:pt x="856" y="646"/>
                  </a:lnTo>
                  <a:lnTo>
                    <a:pt x="856" y="646"/>
                  </a:lnTo>
                  <a:lnTo>
                    <a:pt x="858" y="646"/>
                  </a:lnTo>
                  <a:lnTo>
                    <a:pt x="858" y="646"/>
                  </a:lnTo>
                  <a:lnTo>
                    <a:pt x="858" y="646"/>
                  </a:lnTo>
                  <a:lnTo>
                    <a:pt x="858" y="646"/>
                  </a:lnTo>
                  <a:lnTo>
                    <a:pt x="858" y="646"/>
                  </a:lnTo>
                  <a:lnTo>
                    <a:pt x="858" y="643"/>
                  </a:lnTo>
                  <a:lnTo>
                    <a:pt x="858" y="643"/>
                  </a:lnTo>
                  <a:lnTo>
                    <a:pt x="858" y="643"/>
                  </a:lnTo>
                  <a:lnTo>
                    <a:pt x="858" y="641"/>
                  </a:lnTo>
                  <a:lnTo>
                    <a:pt x="858" y="641"/>
                  </a:lnTo>
                  <a:lnTo>
                    <a:pt x="862" y="641"/>
                  </a:lnTo>
                  <a:lnTo>
                    <a:pt x="862" y="641"/>
                  </a:lnTo>
                  <a:lnTo>
                    <a:pt x="862" y="641"/>
                  </a:lnTo>
                  <a:lnTo>
                    <a:pt x="862" y="641"/>
                  </a:lnTo>
                  <a:lnTo>
                    <a:pt x="862" y="643"/>
                  </a:lnTo>
                  <a:lnTo>
                    <a:pt x="862" y="646"/>
                  </a:lnTo>
                  <a:lnTo>
                    <a:pt x="860" y="646"/>
                  </a:lnTo>
                  <a:lnTo>
                    <a:pt x="860" y="648"/>
                  </a:lnTo>
                  <a:lnTo>
                    <a:pt x="860" y="648"/>
                  </a:lnTo>
                  <a:lnTo>
                    <a:pt x="862" y="648"/>
                  </a:lnTo>
                  <a:lnTo>
                    <a:pt x="862" y="648"/>
                  </a:lnTo>
                  <a:lnTo>
                    <a:pt x="864" y="648"/>
                  </a:lnTo>
                  <a:lnTo>
                    <a:pt x="864" y="648"/>
                  </a:lnTo>
                  <a:lnTo>
                    <a:pt x="864" y="648"/>
                  </a:lnTo>
                  <a:lnTo>
                    <a:pt x="864" y="648"/>
                  </a:lnTo>
                  <a:lnTo>
                    <a:pt x="864" y="650"/>
                  </a:lnTo>
                  <a:lnTo>
                    <a:pt x="866" y="652"/>
                  </a:lnTo>
                  <a:lnTo>
                    <a:pt x="870" y="656"/>
                  </a:lnTo>
                  <a:lnTo>
                    <a:pt x="873" y="662"/>
                  </a:lnTo>
                  <a:lnTo>
                    <a:pt x="873" y="664"/>
                  </a:lnTo>
                  <a:lnTo>
                    <a:pt x="875" y="666"/>
                  </a:lnTo>
                  <a:lnTo>
                    <a:pt x="875" y="666"/>
                  </a:lnTo>
                  <a:lnTo>
                    <a:pt x="875" y="668"/>
                  </a:lnTo>
                  <a:lnTo>
                    <a:pt x="875" y="668"/>
                  </a:lnTo>
                  <a:lnTo>
                    <a:pt x="875" y="668"/>
                  </a:lnTo>
                  <a:lnTo>
                    <a:pt x="877" y="668"/>
                  </a:lnTo>
                  <a:lnTo>
                    <a:pt x="877" y="668"/>
                  </a:lnTo>
                  <a:lnTo>
                    <a:pt x="875" y="670"/>
                  </a:lnTo>
                  <a:lnTo>
                    <a:pt x="875" y="670"/>
                  </a:lnTo>
                  <a:lnTo>
                    <a:pt x="875" y="668"/>
                  </a:lnTo>
                  <a:lnTo>
                    <a:pt x="875" y="670"/>
                  </a:lnTo>
                  <a:lnTo>
                    <a:pt x="877" y="670"/>
                  </a:lnTo>
                  <a:lnTo>
                    <a:pt x="881" y="672"/>
                  </a:lnTo>
                  <a:lnTo>
                    <a:pt x="881" y="672"/>
                  </a:lnTo>
                  <a:lnTo>
                    <a:pt x="883" y="670"/>
                  </a:lnTo>
                  <a:lnTo>
                    <a:pt x="881" y="670"/>
                  </a:lnTo>
                  <a:lnTo>
                    <a:pt x="881" y="670"/>
                  </a:lnTo>
                  <a:lnTo>
                    <a:pt x="883" y="670"/>
                  </a:lnTo>
                  <a:lnTo>
                    <a:pt x="883" y="670"/>
                  </a:lnTo>
                  <a:lnTo>
                    <a:pt x="883" y="670"/>
                  </a:lnTo>
                  <a:lnTo>
                    <a:pt x="885" y="668"/>
                  </a:lnTo>
                  <a:lnTo>
                    <a:pt x="885" y="668"/>
                  </a:lnTo>
                  <a:lnTo>
                    <a:pt x="885" y="668"/>
                  </a:lnTo>
                  <a:lnTo>
                    <a:pt x="885" y="666"/>
                  </a:lnTo>
                  <a:lnTo>
                    <a:pt x="885" y="666"/>
                  </a:lnTo>
                  <a:lnTo>
                    <a:pt x="885" y="666"/>
                  </a:lnTo>
                  <a:lnTo>
                    <a:pt x="883" y="666"/>
                  </a:lnTo>
                  <a:lnTo>
                    <a:pt x="883" y="666"/>
                  </a:lnTo>
                  <a:lnTo>
                    <a:pt x="883" y="666"/>
                  </a:lnTo>
                  <a:lnTo>
                    <a:pt x="883" y="664"/>
                  </a:lnTo>
                  <a:lnTo>
                    <a:pt x="883" y="664"/>
                  </a:lnTo>
                  <a:lnTo>
                    <a:pt x="883" y="664"/>
                  </a:lnTo>
                  <a:lnTo>
                    <a:pt x="883" y="664"/>
                  </a:lnTo>
                  <a:lnTo>
                    <a:pt x="883" y="664"/>
                  </a:lnTo>
                  <a:lnTo>
                    <a:pt x="881" y="656"/>
                  </a:lnTo>
                  <a:lnTo>
                    <a:pt x="881" y="654"/>
                  </a:lnTo>
                  <a:lnTo>
                    <a:pt x="881" y="654"/>
                  </a:lnTo>
                  <a:lnTo>
                    <a:pt x="881" y="652"/>
                  </a:lnTo>
                  <a:lnTo>
                    <a:pt x="881" y="652"/>
                  </a:lnTo>
                  <a:lnTo>
                    <a:pt x="881" y="652"/>
                  </a:lnTo>
                  <a:lnTo>
                    <a:pt x="883" y="652"/>
                  </a:lnTo>
                  <a:lnTo>
                    <a:pt x="881" y="652"/>
                  </a:lnTo>
                  <a:lnTo>
                    <a:pt x="881" y="650"/>
                  </a:lnTo>
                  <a:lnTo>
                    <a:pt x="883" y="650"/>
                  </a:lnTo>
                  <a:lnTo>
                    <a:pt x="883" y="650"/>
                  </a:lnTo>
                  <a:lnTo>
                    <a:pt x="883" y="650"/>
                  </a:lnTo>
                  <a:lnTo>
                    <a:pt x="883" y="652"/>
                  </a:lnTo>
                  <a:lnTo>
                    <a:pt x="883" y="652"/>
                  </a:lnTo>
                  <a:lnTo>
                    <a:pt x="883" y="652"/>
                  </a:lnTo>
                  <a:lnTo>
                    <a:pt x="881" y="652"/>
                  </a:lnTo>
                  <a:lnTo>
                    <a:pt x="881" y="654"/>
                  </a:lnTo>
                  <a:lnTo>
                    <a:pt x="881" y="654"/>
                  </a:lnTo>
                  <a:lnTo>
                    <a:pt x="881" y="654"/>
                  </a:lnTo>
                  <a:lnTo>
                    <a:pt x="881" y="654"/>
                  </a:lnTo>
                  <a:lnTo>
                    <a:pt x="881" y="654"/>
                  </a:lnTo>
                  <a:lnTo>
                    <a:pt x="881" y="654"/>
                  </a:lnTo>
                  <a:lnTo>
                    <a:pt x="883" y="654"/>
                  </a:lnTo>
                  <a:lnTo>
                    <a:pt x="883" y="654"/>
                  </a:lnTo>
                  <a:lnTo>
                    <a:pt x="883" y="654"/>
                  </a:lnTo>
                  <a:lnTo>
                    <a:pt x="883" y="654"/>
                  </a:lnTo>
                  <a:lnTo>
                    <a:pt x="883" y="652"/>
                  </a:lnTo>
                  <a:lnTo>
                    <a:pt x="885" y="652"/>
                  </a:lnTo>
                  <a:lnTo>
                    <a:pt x="885" y="652"/>
                  </a:lnTo>
                  <a:lnTo>
                    <a:pt x="883" y="650"/>
                  </a:lnTo>
                  <a:lnTo>
                    <a:pt x="885" y="646"/>
                  </a:lnTo>
                  <a:lnTo>
                    <a:pt x="885" y="646"/>
                  </a:lnTo>
                  <a:lnTo>
                    <a:pt x="885" y="641"/>
                  </a:lnTo>
                  <a:lnTo>
                    <a:pt x="883" y="641"/>
                  </a:lnTo>
                  <a:lnTo>
                    <a:pt x="885" y="641"/>
                  </a:lnTo>
                  <a:lnTo>
                    <a:pt x="885" y="641"/>
                  </a:lnTo>
                  <a:lnTo>
                    <a:pt x="885" y="641"/>
                  </a:lnTo>
                  <a:lnTo>
                    <a:pt x="885" y="643"/>
                  </a:lnTo>
                  <a:lnTo>
                    <a:pt x="885" y="643"/>
                  </a:lnTo>
                  <a:lnTo>
                    <a:pt x="885" y="643"/>
                  </a:lnTo>
                  <a:lnTo>
                    <a:pt x="887" y="643"/>
                  </a:lnTo>
                  <a:lnTo>
                    <a:pt x="885" y="646"/>
                  </a:lnTo>
                  <a:lnTo>
                    <a:pt x="885" y="646"/>
                  </a:lnTo>
                  <a:lnTo>
                    <a:pt x="885" y="646"/>
                  </a:lnTo>
                  <a:lnTo>
                    <a:pt x="885" y="648"/>
                  </a:lnTo>
                  <a:lnTo>
                    <a:pt x="885" y="648"/>
                  </a:lnTo>
                  <a:lnTo>
                    <a:pt x="887" y="648"/>
                  </a:lnTo>
                  <a:lnTo>
                    <a:pt x="887" y="646"/>
                  </a:lnTo>
                  <a:lnTo>
                    <a:pt x="889" y="646"/>
                  </a:lnTo>
                  <a:lnTo>
                    <a:pt x="889" y="643"/>
                  </a:lnTo>
                  <a:lnTo>
                    <a:pt x="891" y="643"/>
                  </a:lnTo>
                  <a:lnTo>
                    <a:pt x="891" y="641"/>
                  </a:lnTo>
                  <a:lnTo>
                    <a:pt x="891" y="641"/>
                  </a:lnTo>
                  <a:lnTo>
                    <a:pt x="891" y="641"/>
                  </a:lnTo>
                  <a:lnTo>
                    <a:pt x="891" y="641"/>
                  </a:lnTo>
                  <a:lnTo>
                    <a:pt x="891" y="641"/>
                  </a:lnTo>
                  <a:lnTo>
                    <a:pt x="891" y="639"/>
                  </a:lnTo>
                  <a:lnTo>
                    <a:pt x="891" y="639"/>
                  </a:lnTo>
                  <a:lnTo>
                    <a:pt x="891" y="639"/>
                  </a:lnTo>
                  <a:lnTo>
                    <a:pt x="891" y="639"/>
                  </a:lnTo>
                  <a:lnTo>
                    <a:pt x="893" y="639"/>
                  </a:lnTo>
                  <a:lnTo>
                    <a:pt x="893" y="639"/>
                  </a:lnTo>
                  <a:lnTo>
                    <a:pt x="893" y="637"/>
                  </a:lnTo>
                  <a:lnTo>
                    <a:pt x="893" y="635"/>
                  </a:lnTo>
                  <a:lnTo>
                    <a:pt x="893" y="633"/>
                  </a:lnTo>
                  <a:lnTo>
                    <a:pt x="891" y="633"/>
                  </a:lnTo>
                  <a:lnTo>
                    <a:pt x="891" y="633"/>
                  </a:lnTo>
                  <a:lnTo>
                    <a:pt x="891" y="633"/>
                  </a:lnTo>
                  <a:lnTo>
                    <a:pt x="891" y="631"/>
                  </a:lnTo>
                  <a:lnTo>
                    <a:pt x="891" y="633"/>
                  </a:lnTo>
                  <a:lnTo>
                    <a:pt x="891" y="633"/>
                  </a:lnTo>
                  <a:lnTo>
                    <a:pt x="893" y="633"/>
                  </a:lnTo>
                  <a:lnTo>
                    <a:pt x="893" y="633"/>
                  </a:lnTo>
                  <a:lnTo>
                    <a:pt x="893" y="633"/>
                  </a:lnTo>
                  <a:lnTo>
                    <a:pt x="893" y="633"/>
                  </a:lnTo>
                  <a:lnTo>
                    <a:pt x="893" y="633"/>
                  </a:lnTo>
                  <a:lnTo>
                    <a:pt x="893" y="635"/>
                  </a:lnTo>
                  <a:lnTo>
                    <a:pt x="893" y="635"/>
                  </a:lnTo>
                  <a:lnTo>
                    <a:pt x="893" y="635"/>
                  </a:lnTo>
                  <a:lnTo>
                    <a:pt x="895" y="637"/>
                  </a:lnTo>
                  <a:lnTo>
                    <a:pt x="895" y="637"/>
                  </a:lnTo>
                  <a:lnTo>
                    <a:pt x="897" y="637"/>
                  </a:lnTo>
                  <a:lnTo>
                    <a:pt x="899" y="639"/>
                  </a:lnTo>
                  <a:lnTo>
                    <a:pt x="901" y="639"/>
                  </a:lnTo>
                  <a:lnTo>
                    <a:pt x="903" y="641"/>
                  </a:lnTo>
                  <a:lnTo>
                    <a:pt x="903" y="643"/>
                  </a:lnTo>
                  <a:lnTo>
                    <a:pt x="905" y="646"/>
                  </a:lnTo>
                  <a:lnTo>
                    <a:pt x="903" y="646"/>
                  </a:lnTo>
                  <a:lnTo>
                    <a:pt x="903" y="648"/>
                  </a:lnTo>
                  <a:lnTo>
                    <a:pt x="905" y="648"/>
                  </a:lnTo>
                  <a:lnTo>
                    <a:pt x="905" y="648"/>
                  </a:lnTo>
                  <a:lnTo>
                    <a:pt x="905" y="648"/>
                  </a:lnTo>
                  <a:lnTo>
                    <a:pt x="905" y="648"/>
                  </a:lnTo>
                  <a:lnTo>
                    <a:pt x="905" y="648"/>
                  </a:lnTo>
                  <a:lnTo>
                    <a:pt x="905" y="648"/>
                  </a:lnTo>
                  <a:lnTo>
                    <a:pt x="905" y="648"/>
                  </a:lnTo>
                  <a:lnTo>
                    <a:pt x="905" y="648"/>
                  </a:lnTo>
                  <a:lnTo>
                    <a:pt x="903" y="648"/>
                  </a:lnTo>
                  <a:lnTo>
                    <a:pt x="903" y="648"/>
                  </a:lnTo>
                  <a:lnTo>
                    <a:pt x="903" y="648"/>
                  </a:lnTo>
                  <a:lnTo>
                    <a:pt x="903" y="646"/>
                  </a:lnTo>
                  <a:lnTo>
                    <a:pt x="903" y="646"/>
                  </a:lnTo>
                  <a:lnTo>
                    <a:pt x="903" y="643"/>
                  </a:lnTo>
                  <a:lnTo>
                    <a:pt x="903" y="643"/>
                  </a:lnTo>
                  <a:lnTo>
                    <a:pt x="901" y="641"/>
                  </a:lnTo>
                  <a:lnTo>
                    <a:pt x="901" y="641"/>
                  </a:lnTo>
                  <a:lnTo>
                    <a:pt x="895" y="639"/>
                  </a:lnTo>
                  <a:lnTo>
                    <a:pt x="895" y="639"/>
                  </a:lnTo>
                  <a:lnTo>
                    <a:pt x="895" y="639"/>
                  </a:lnTo>
                  <a:lnTo>
                    <a:pt x="893" y="639"/>
                  </a:lnTo>
                  <a:lnTo>
                    <a:pt x="893" y="641"/>
                  </a:lnTo>
                  <a:lnTo>
                    <a:pt x="893" y="641"/>
                  </a:lnTo>
                  <a:lnTo>
                    <a:pt x="893" y="641"/>
                  </a:lnTo>
                  <a:lnTo>
                    <a:pt x="893" y="641"/>
                  </a:lnTo>
                  <a:lnTo>
                    <a:pt x="893" y="641"/>
                  </a:lnTo>
                  <a:lnTo>
                    <a:pt x="893" y="641"/>
                  </a:lnTo>
                  <a:lnTo>
                    <a:pt x="893" y="641"/>
                  </a:lnTo>
                  <a:lnTo>
                    <a:pt x="893" y="641"/>
                  </a:lnTo>
                  <a:lnTo>
                    <a:pt x="893" y="641"/>
                  </a:lnTo>
                  <a:lnTo>
                    <a:pt x="893" y="641"/>
                  </a:lnTo>
                  <a:lnTo>
                    <a:pt x="893" y="641"/>
                  </a:lnTo>
                  <a:lnTo>
                    <a:pt x="895" y="643"/>
                  </a:lnTo>
                  <a:lnTo>
                    <a:pt x="893" y="643"/>
                  </a:lnTo>
                  <a:lnTo>
                    <a:pt x="893" y="643"/>
                  </a:lnTo>
                  <a:lnTo>
                    <a:pt x="893" y="646"/>
                  </a:lnTo>
                  <a:lnTo>
                    <a:pt x="893" y="646"/>
                  </a:lnTo>
                  <a:lnTo>
                    <a:pt x="891" y="648"/>
                  </a:lnTo>
                  <a:lnTo>
                    <a:pt x="891" y="648"/>
                  </a:lnTo>
                  <a:lnTo>
                    <a:pt x="891" y="648"/>
                  </a:lnTo>
                  <a:lnTo>
                    <a:pt x="891" y="648"/>
                  </a:lnTo>
                  <a:lnTo>
                    <a:pt x="891" y="650"/>
                  </a:lnTo>
                  <a:lnTo>
                    <a:pt x="891" y="650"/>
                  </a:lnTo>
                  <a:lnTo>
                    <a:pt x="889" y="650"/>
                  </a:lnTo>
                  <a:lnTo>
                    <a:pt x="889" y="650"/>
                  </a:lnTo>
                  <a:lnTo>
                    <a:pt x="891" y="652"/>
                  </a:lnTo>
                  <a:lnTo>
                    <a:pt x="891" y="652"/>
                  </a:lnTo>
                  <a:lnTo>
                    <a:pt x="893" y="654"/>
                  </a:lnTo>
                  <a:lnTo>
                    <a:pt x="895" y="654"/>
                  </a:lnTo>
                  <a:lnTo>
                    <a:pt x="895" y="654"/>
                  </a:lnTo>
                  <a:lnTo>
                    <a:pt x="895" y="656"/>
                  </a:lnTo>
                  <a:lnTo>
                    <a:pt x="895" y="658"/>
                  </a:lnTo>
                  <a:lnTo>
                    <a:pt x="895" y="658"/>
                  </a:lnTo>
                  <a:lnTo>
                    <a:pt x="895" y="660"/>
                  </a:lnTo>
                  <a:lnTo>
                    <a:pt x="897" y="662"/>
                  </a:lnTo>
                  <a:lnTo>
                    <a:pt x="899" y="662"/>
                  </a:lnTo>
                  <a:lnTo>
                    <a:pt x="901" y="662"/>
                  </a:lnTo>
                  <a:lnTo>
                    <a:pt x="905" y="660"/>
                  </a:lnTo>
                  <a:lnTo>
                    <a:pt x="909" y="658"/>
                  </a:lnTo>
                  <a:lnTo>
                    <a:pt x="916" y="656"/>
                  </a:lnTo>
                  <a:lnTo>
                    <a:pt x="918" y="654"/>
                  </a:lnTo>
                  <a:lnTo>
                    <a:pt x="920" y="654"/>
                  </a:lnTo>
                  <a:lnTo>
                    <a:pt x="920" y="654"/>
                  </a:lnTo>
                  <a:lnTo>
                    <a:pt x="922" y="654"/>
                  </a:lnTo>
                  <a:lnTo>
                    <a:pt x="922" y="652"/>
                  </a:lnTo>
                  <a:lnTo>
                    <a:pt x="922" y="652"/>
                  </a:lnTo>
                  <a:lnTo>
                    <a:pt x="922" y="652"/>
                  </a:lnTo>
                  <a:lnTo>
                    <a:pt x="926" y="652"/>
                  </a:lnTo>
                  <a:lnTo>
                    <a:pt x="928" y="650"/>
                  </a:lnTo>
                  <a:lnTo>
                    <a:pt x="930" y="650"/>
                  </a:lnTo>
                  <a:lnTo>
                    <a:pt x="930" y="648"/>
                  </a:lnTo>
                  <a:lnTo>
                    <a:pt x="930" y="648"/>
                  </a:lnTo>
                  <a:lnTo>
                    <a:pt x="932" y="646"/>
                  </a:lnTo>
                  <a:lnTo>
                    <a:pt x="932" y="646"/>
                  </a:lnTo>
                  <a:lnTo>
                    <a:pt x="932" y="643"/>
                  </a:lnTo>
                  <a:lnTo>
                    <a:pt x="934" y="643"/>
                  </a:lnTo>
                  <a:lnTo>
                    <a:pt x="934" y="643"/>
                  </a:lnTo>
                  <a:lnTo>
                    <a:pt x="936" y="643"/>
                  </a:lnTo>
                  <a:lnTo>
                    <a:pt x="936" y="641"/>
                  </a:lnTo>
                  <a:lnTo>
                    <a:pt x="936" y="641"/>
                  </a:lnTo>
                  <a:lnTo>
                    <a:pt x="936" y="641"/>
                  </a:lnTo>
                  <a:lnTo>
                    <a:pt x="936" y="639"/>
                  </a:lnTo>
                  <a:lnTo>
                    <a:pt x="936" y="639"/>
                  </a:lnTo>
                  <a:lnTo>
                    <a:pt x="936" y="637"/>
                  </a:lnTo>
                  <a:lnTo>
                    <a:pt x="936" y="637"/>
                  </a:lnTo>
                  <a:lnTo>
                    <a:pt x="936" y="637"/>
                  </a:lnTo>
                  <a:lnTo>
                    <a:pt x="938" y="635"/>
                  </a:lnTo>
                  <a:lnTo>
                    <a:pt x="938" y="637"/>
                  </a:lnTo>
                  <a:lnTo>
                    <a:pt x="938" y="637"/>
                  </a:lnTo>
                  <a:lnTo>
                    <a:pt x="936" y="637"/>
                  </a:lnTo>
                  <a:lnTo>
                    <a:pt x="936" y="639"/>
                  </a:lnTo>
                  <a:lnTo>
                    <a:pt x="936" y="643"/>
                  </a:lnTo>
                  <a:lnTo>
                    <a:pt x="936" y="643"/>
                  </a:lnTo>
                  <a:lnTo>
                    <a:pt x="936" y="643"/>
                  </a:lnTo>
                  <a:lnTo>
                    <a:pt x="934" y="646"/>
                  </a:lnTo>
                  <a:lnTo>
                    <a:pt x="934" y="646"/>
                  </a:lnTo>
                  <a:lnTo>
                    <a:pt x="932" y="646"/>
                  </a:lnTo>
                  <a:lnTo>
                    <a:pt x="932" y="646"/>
                  </a:lnTo>
                  <a:lnTo>
                    <a:pt x="932" y="648"/>
                  </a:lnTo>
                  <a:lnTo>
                    <a:pt x="932" y="648"/>
                  </a:lnTo>
                  <a:lnTo>
                    <a:pt x="932" y="648"/>
                  </a:lnTo>
                  <a:lnTo>
                    <a:pt x="932" y="648"/>
                  </a:lnTo>
                  <a:lnTo>
                    <a:pt x="932" y="650"/>
                  </a:lnTo>
                  <a:lnTo>
                    <a:pt x="932" y="650"/>
                  </a:lnTo>
                  <a:lnTo>
                    <a:pt x="932" y="650"/>
                  </a:lnTo>
                  <a:lnTo>
                    <a:pt x="932" y="650"/>
                  </a:lnTo>
                  <a:lnTo>
                    <a:pt x="932" y="652"/>
                  </a:lnTo>
                  <a:lnTo>
                    <a:pt x="930" y="656"/>
                  </a:lnTo>
                  <a:lnTo>
                    <a:pt x="930" y="656"/>
                  </a:lnTo>
                  <a:lnTo>
                    <a:pt x="930" y="658"/>
                  </a:lnTo>
                  <a:lnTo>
                    <a:pt x="932" y="658"/>
                  </a:lnTo>
                  <a:lnTo>
                    <a:pt x="932" y="658"/>
                  </a:lnTo>
                  <a:lnTo>
                    <a:pt x="934" y="658"/>
                  </a:lnTo>
                  <a:lnTo>
                    <a:pt x="934" y="658"/>
                  </a:lnTo>
                  <a:lnTo>
                    <a:pt x="932" y="658"/>
                  </a:lnTo>
                  <a:lnTo>
                    <a:pt x="932" y="658"/>
                  </a:lnTo>
                  <a:lnTo>
                    <a:pt x="930" y="658"/>
                  </a:lnTo>
                  <a:lnTo>
                    <a:pt x="928" y="660"/>
                  </a:lnTo>
                  <a:lnTo>
                    <a:pt x="928" y="660"/>
                  </a:lnTo>
                  <a:lnTo>
                    <a:pt x="924" y="662"/>
                  </a:lnTo>
                  <a:lnTo>
                    <a:pt x="922" y="666"/>
                  </a:lnTo>
                  <a:lnTo>
                    <a:pt x="922" y="668"/>
                  </a:lnTo>
                  <a:lnTo>
                    <a:pt x="920" y="668"/>
                  </a:lnTo>
                  <a:lnTo>
                    <a:pt x="920" y="668"/>
                  </a:lnTo>
                  <a:lnTo>
                    <a:pt x="918" y="670"/>
                  </a:lnTo>
                  <a:lnTo>
                    <a:pt x="916" y="676"/>
                  </a:lnTo>
                  <a:lnTo>
                    <a:pt x="916" y="678"/>
                  </a:lnTo>
                  <a:lnTo>
                    <a:pt x="916" y="680"/>
                  </a:lnTo>
                  <a:lnTo>
                    <a:pt x="916" y="680"/>
                  </a:lnTo>
                  <a:lnTo>
                    <a:pt x="916" y="682"/>
                  </a:lnTo>
                  <a:lnTo>
                    <a:pt x="918" y="682"/>
                  </a:lnTo>
                  <a:lnTo>
                    <a:pt x="918" y="684"/>
                  </a:lnTo>
                  <a:lnTo>
                    <a:pt x="918" y="682"/>
                  </a:lnTo>
                  <a:lnTo>
                    <a:pt x="920" y="682"/>
                  </a:lnTo>
                  <a:lnTo>
                    <a:pt x="922" y="682"/>
                  </a:lnTo>
                  <a:lnTo>
                    <a:pt x="926" y="684"/>
                  </a:lnTo>
                  <a:lnTo>
                    <a:pt x="926" y="684"/>
                  </a:lnTo>
                  <a:lnTo>
                    <a:pt x="926" y="687"/>
                  </a:lnTo>
                  <a:lnTo>
                    <a:pt x="926" y="687"/>
                  </a:lnTo>
                  <a:lnTo>
                    <a:pt x="926" y="687"/>
                  </a:lnTo>
                  <a:lnTo>
                    <a:pt x="926" y="687"/>
                  </a:lnTo>
                  <a:lnTo>
                    <a:pt x="926" y="684"/>
                  </a:lnTo>
                  <a:lnTo>
                    <a:pt x="926" y="684"/>
                  </a:lnTo>
                  <a:lnTo>
                    <a:pt x="922" y="684"/>
                  </a:lnTo>
                  <a:lnTo>
                    <a:pt x="920" y="684"/>
                  </a:lnTo>
                  <a:lnTo>
                    <a:pt x="920" y="684"/>
                  </a:lnTo>
                  <a:lnTo>
                    <a:pt x="920" y="684"/>
                  </a:lnTo>
                  <a:lnTo>
                    <a:pt x="918" y="687"/>
                  </a:lnTo>
                  <a:lnTo>
                    <a:pt x="918" y="687"/>
                  </a:lnTo>
                  <a:lnTo>
                    <a:pt x="918" y="687"/>
                  </a:lnTo>
                  <a:lnTo>
                    <a:pt x="916" y="687"/>
                  </a:lnTo>
                  <a:lnTo>
                    <a:pt x="916" y="687"/>
                  </a:lnTo>
                  <a:lnTo>
                    <a:pt x="916" y="687"/>
                  </a:lnTo>
                  <a:lnTo>
                    <a:pt x="913" y="687"/>
                  </a:lnTo>
                  <a:lnTo>
                    <a:pt x="913" y="689"/>
                  </a:lnTo>
                  <a:lnTo>
                    <a:pt x="913" y="689"/>
                  </a:lnTo>
                  <a:lnTo>
                    <a:pt x="913" y="691"/>
                  </a:lnTo>
                  <a:lnTo>
                    <a:pt x="913" y="693"/>
                  </a:lnTo>
                  <a:lnTo>
                    <a:pt x="913" y="697"/>
                  </a:lnTo>
                  <a:lnTo>
                    <a:pt x="911" y="699"/>
                  </a:lnTo>
                  <a:lnTo>
                    <a:pt x="911" y="701"/>
                  </a:lnTo>
                  <a:lnTo>
                    <a:pt x="911" y="705"/>
                  </a:lnTo>
                  <a:lnTo>
                    <a:pt x="909" y="707"/>
                  </a:lnTo>
                  <a:lnTo>
                    <a:pt x="909" y="709"/>
                  </a:lnTo>
                  <a:lnTo>
                    <a:pt x="909" y="709"/>
                  </a:lnTo>
                  <a:lnTo>
                    <a:pt x="909" y="711"/>
                  </a:lnTo>
                  <a:lnTo>
                    <a:pt x="909" y="711"/>
                  </a:lnTo>
                  <a:lnTo>
                    <a:pt x="909" y="713"/>
                  </a:lnTo>
                  <a:lnTo>
                    <a:pt x="909" y="713"/>
                  </a:lnTo>
                  <a:lnTo>
                    <a:pt x="909" y="713"/>
                  </a:lnTo>
                  <a:lnTo>
                    <a:pt x="909" y="715"/>
                  </a:lnTo>
                  <a:lnTo>
                    <a:pt x="911" y="715"/>
                  </a:lnTo>
                  <a:lnTo>
                    <a:pt x="911" y="715"/>
                  </a:lnTo>
                  <a:lnTo>
                    <a:pt x="911" y="713"/>
                  </a:lnTo>
                  <a:lnTo>
                    <a:pt x="911" y="713"/>
                  </a:lnTo>
                  <a:lnTo>
                    <a:pt x="911" y="713"/>
                  </a:lnTo>
                  <a:lnTo>
                    <a:pt x="911" y="713"/>
                  </a:lnTo>
                  <a:lnTo>
                    <a:pt x="911" y="713"/>
                  </a:lnTo>
                  <a:lnTo>
                    <a:pt x="911" y="713"/>
                  </a:lnTo>
                  <a:lnTo>
                    <a:pt x="911" y="713"/>
                  </a:lnTo>
                  <a:lnTo>
                    <a:pt x="911" y="715"/>
                  </a:lnTo>
                  <a:lnTo>
                    <a:pt x="911" y="715"/>
                  </a:lnTo>
                  <a:lnTo>
                    <a:pt x="911" y="715"/>
                  </a:lnTo>
                  <a:lnTo>
                    <a:pt x="911" y="715"/>
                  </a:lnTo>
                  <a:lnTo>
                    <a:pt x="911" y="715"/>
                  </a:lnTo>
                  <a:lnTo>
                    <a:pt x="913" y="717"/>
                  </a:lnTo>
                  <a:lnTo>
                    <a:pt x="913" y="717"/>
                  </a:lnTo>
                  <a:lnTo>
                    <a:pt x="911" y="719"/>
                  </a:lnTo>
                  <a:lnTo>
                    <a:pt x="911" y="721"/>
                  </a:lnTo>
                  <a:lnTo>
                    <a:pt x="911" y="721"/>
                  </a:lnTo>
                  <a:lnTo>
                    <a:pt x="913" y="721"/>
                  </a:lnTo>
                  <a:lnTo>
                    <a:pt x="913" y="721"/>
                  </a:lnTo>
                  <a:lnTo>
                    <a:pt x="913" y="721"/>
                  </a:lnTo>
                  <a:lnTo>
                    <a:pt x="913" y="721"/>
                  </a:lnTo>
                  <a:lnTo>
                    <a:pt x="913" y="721"/>
                  </a:lnTo>
                  <a:lnTo>
                    <a:pt x="913" y="721"/>
                  </a:lnTo>
                  <a:lnTo>
                    <a:pt x="918" y="721"/>
                  </a:lnTo>
                  <a:lnTo>
                    <a:pt x="918" y="721"/>
                  </a:lnTo>
                  <a:lnTo>
                    <a:pt x="916" y="719"/>
                  </a:lnTo>
                  <a:lnTo>
                    <a:pt x="916" y="719"/>
                  </a:lnTo>
                  <a:lnTo>
                    <a:pt x="918" y="717"/>
                  </a:lnTo>
                  <a:lnTo>
                    <a:pt x="918" y="717"/>
                  </a:lnTo>
                  <a:lnTo>
                    <a:pt x="918" y="717"/>
                  </a:lnTo>
                  <a:lnTo>
                    <a:pt x="918" y="717"/>
                  </a:lnTo>
                  <a:lnTo>
                    <a:pt x="918" y="719"/>
                  </a:lnTo>
                  <a:lnTo>
                    <a:pt x="918" y="719"/>
                  </a:lnTo>
                  <a:lnTo>
                    <a:pt x="918" y="719"/>
                  </a:lnTo>
                  <a:lnTo>
                    <a:pt x="918" y="719"/>
                  </a:lnTo>
                  <a:lnTo>
                    <a:pt x="918" y="721"/>
                  </a:lnTo>
                  <a:lnTo>
                    <a:pt x="918" y="721"/>
                  </a:lnTo>
                  <a:lnTo>
                    <a:pt x="918" y="721"/>
                  </a:lnTo>
                  <a:lnTo>
                    <a:pt x="918" y="721"/>
                  </a:lnTo>
                  <a:lnTo>
                    <a:pt x="916" y="721"/>
                  </a:lnTo>
                  <a:lnTo>
                    <a:pt x="916" y="721"/>
                  </a:lnTo>
                  <a:lnTo>
                    <a:pt x="913" y="723"/>
                  </a:lnTo>
                  <a:lnTo>
                    <a:pt x="913" y="723"/>
                  </a:lnTo>
                  <a:lnTo>
                    <a:pt x="913" y="721"/>
                  </a:lnTo>
                  <a:lnTo>
                    <a:pt x="909" y="721"/>
                  </a:lnTo>
                  <a:lnTo>
                    <a:pt x="909" y="721"/>
                  </a:lnTo>
                  <a:lnTo>
                    <a:pt x="911" y="721"/>
                  </a:lnTo>
                  <a:lnTo>
                    <a:pt x="909" y="719"/>
                  </a:lnTo>
                  <a:lnTo>
                    <a:pt x="909" y="717"/>
                  </a:lnTo>
                  <a:lnTo>
                    <a:pt x="909" y="717"/>
                  </a:lnTo>
                  <a:lnTo>
                    <a:pt x="909" y="717"/>
                  </a:lnTo>
                  <a:lnTo>
                    <a:pt x="909" y="717"/>
                  </a:lnTo>
                  <a:lnTo>
                    <a:pt x="909" y="717"/>
                  </a:lnTo>
                  <a:lnTo>
                    <a:pt x="907" y="717"/>
                  </a:lnTo>
                  <a:lnTo>
                    <a:pt x="907" y="717"/>
                  </a:lnTo>
                  <a:lnTo>
                    <a:pt x="905" y="719"/>
                  </a:lnTo>
                  <a:lnTo>
                    <a:pt x="903" y="721"/>
                  </a:lnTo>
                  <a:lnTo>
                    <a:pt x="901" y="721"/>
                  </a:lnTo>
                  <a:lnTo>
                    <a:pt x="901" y="723"/>
                  </a:lnTo>
                  <a:lnTo>
                    <a:pt x="899" y="723"/>
                  </a:lnTo>
                  <a:lnTo>
                    <a:pt x="899" y="725"/>
                  </a:lnTo>
                  <a:lnTo>
                    <a:pt x="897" y="725"/>
                  </a:lnTo>
                  <a:lnTo>
                    <a:pt x="897" y="725"/>
                  </a:lnTo>
                  <a:lnTo>
                    <a:pt x="899" y="725"/>
                  </a:lnTo>
                  <a:lnTo>
                    <a:pt x="899" y="725"/>
                  </a:lnTo>
                  <a:lnTo>
                    <a:pt x="899" y="728"/>
                  </a:lnTo>
                  <a:lnTo>
                    <a:pt x="895" y="728"/>
                  </a:lnTo>
                  <a:lnTo>
                    <a:pt x="893" y="730"/>
                  </a:lnTo>
                  <a:lnTo>
                    <a:pt x="891" y="730"/>
                  </a:lnTo>
                  <a:lnTo>
                    <a:pt x="891" y="730"/>
                  </a:lnTo>
                  <a:lnTo>
                    <a:pt x="883" y="740"/>
                  </a:lnTo>
                  <a:lnTo>
                    <a:pt x="881" y="742"/>
                  </a:lnTo>
                  <a:lnTo>
                    <a:pt x="881" y="744"/>
                  </a:lnTo>
                  <a:lnTo>
                    <a:pt x="881" y="744"/>
                  </a:lnTo>
                  <a:lnTo>
                    <a:pt x="879" y="746"/>
                  </a:lnTo>
                  <a:lnTo>
                    <a:pt x="879" y="746"/>
                  </a:lnTo>
                  <a:lnTo>
                    <a:pt x="879" y="748"/>
                  </a:lnTo>
                  <a:lnTo>
                    <a:pt x="879" y="750"/>
                  </a:lnTo>
                  <a:lnTo>
                    <a:pt x="879" y="752"/>
                  </a:lnTo>
                  <a:lnTo>
                    <a:pt x="881" y="754"/>
                  </a:lnTo>
                  <a:lnTo>
                    <a:pt x="881" y="754"/>
                  </a:lnTo>
                  <a:lnTo>
                    <a:pt x="881" y="754"/>
                  </a:lnTo>
                  <a:lnTo>
                    <a:pt x="881" y="754"/>
                  </a:lnTo>
                  <a:lnTo>
                    <a:pt x="881" y="758"/>
                  </a:lnTo>
                  <a:lnTo>
                    <a:pt x="881" y="756"/>
                  </a:lnTo>
                  <a:lnTo>
                    <a:pt x="879" y="756"/>
                  </a:lnTo>
                  <a:lnTo>
                    <a:pt x="879" y="756"/>
                  </a:lnTo>
                  <a:lnTo>
                    <a:pt x="879" y="756"/>
                  </a:lnTo>
                  <a:lnTo>
                    <a:pt x="877" y="756"/>
                  </a:lnTo>
                  <a:lnTo>
                    <a:pt x="877" y="756"/>
                  </a:lnTo>
                  <a:lnTo>
                    <a:pt x="877" y="756"/>
                  </a:lnTo>
                  <a:lnTo>
                    <a:pt x="875" y="756"/>
                  </a:lnTo>
                  <a:lnTo>
                    <a:pt x="875" y="756"/>
                  </a:lnTo>
                  <a:lnTo>
                    <a:pt x="875" y="754"/>
                  </a:lnTo>
                  <a:lnTo>
                    <a:pt x="873" y="754"/>
                  </a:lnTo>
                  <a:lnTo>
                    <a:pt x="873" y="752"/>
                  </a:lnTo>
                  <a:lnTo>
                    <a:pt x="873" y="752"/>
                  </a:lnTo>
                  <a:lnTo>
                    <a:pt x="870" y="754"/>
                  </a:lnTo>
                  <a:lnTo>
                    <a:pt x="870" y="754"/>
                  </a:lnTo>
                  <a:lnTo>
                    <a:pt x="870" y="756"/>
                  </a:lnTo>
                  <a:lnTo>
                    <a:pt x="870" y="756"/>
                  </a:lnTo>
                  <a:lnTo>
                    <a:pt x="870" y="756"/>
                  </a:lnTo>
                  <a:lnTo>
                    <a:pt x="870" y="754"/>
                  </a:lnTo>
                  <a:lnTo>
                    <a:pt x="868" y="754"/>
                  </a:lnTo>
                  <a:lnTo>
                    <a:pt x="870" y="754"/>
                  </a:lnTo>
                  <a:lnTo>
                    <a:pt x="870" y="754"/>
                  </a:lnTo>
                  <a:lnTo>
                    <a:pt x="873" y="752"/>
                  </a:lnTo>
                  <a:lnTo>
                    <a:pt x="875" y="750"/>
                  </a:lnTo>
                  <a:lnTo>
                    <a:pt x="875" y="750"/>
                  </a:lnTo>
                  <a:lnTo>
                    <a:pt x="875" y="750"/>
                  </a:lnTo>
                  <a:lnTo>
                    <a:pt x="873" y="752"/>
                  </a:lnTo>
                  <a:lnTo>
                    <a:pt x="870" y="752"/>
                  </a:lnTo>
                  <a:lnTo>
                    <a:pt x="868" y="754"/>
                  </a:lnTo>
                  <a:lnTo>
                    <a:pt x="868" y="756"/>
                  </a:lnTo>
                  <a:lnTo>
                    <a:pt x="864" y="756"/>
                  </a:lnTo>
                  <a:lnTo>
                    <a:pt x="864" y="756"/>
                  </a:lnTo>
                  <a:lnTo>
                    <a:pt x="862" y="758"/>
                  </a:lnTo>
                  <a:lnTo>
                    <a:pt x="862" y="758"/>
                  </a:lnTo>
                  <a:lnTo>
                    <a:pt x="862" y="758"/>
                  </a:lnTo>
                  <a:lnTo>
                    <a:pt x="864" y="760"/>
                  </a:lnTo>
                  <a:lnTo>
                    <a:pt x="864" y="760"/>
                  </a:lnTo>
                  <a:lnTo>
                    <a:pt x="862" y="760"/>
                  </a:lnTo>
                  <a:lnTo>
                    <a:pt x="862" y="760"/>
                  </a:lnTo>
                  <a:lnTo>
                    <a:pt x="860" y="760"/>
                  </a:lnTo>
                  <a:lnTo>
                    <a:pt x="860" y="760"/>
                  </a:lnTo>
                  <a:lnTo>
                    <a:pt x="856" y="762"/>
                  </a:lnTo>
                  <a:lnTo>
                    <a:pt x="856" y="762"/>
                  </a:lnTo>
                  <a:lnTo>
                    <a:pt x="854" y="762"/>
                  </a:lnTo>
                  <a:lnTo>
                    <a:pt x="854" y="762"/>
                  </a:lnTo>
                  <a:lnTo>
                    <a:pt x="854" y="762"/>
                  </a:lnTo>
                  <a:lnTo>
                    <a:pt x="856" y="762"/>
                  </a:lnTo>
                  <a:lnTo>
                    <a:pt x="848" y="764"/>
                  </a:lnTo>
                  <a:lnTo>
                    <a:pt x="846" y="766"/>
                  </a:lnTo>
                  <a:lnTo>
                    <a:pt x="842" y="768"/>
                  </a:lnTo>
                  <a:lnTo>
                    <a:pt x="840" y="771"/>
                  </a:lnTo>
                  <a:lnTo>
                    <a:pt x="834" y="773"/>
                  </a:lnTo>
                  <a:lnTo>
                    <a:pt x="834" y="775"/>
                  </a:lnTo>
                  <a:lnTo>
                    <a:pt x="830" y="779"/>
                  </a:lnTo>
                  <a:lnTo>
                    <a:pt x="827" y="781"/>
                  </a:lnTo>
                  <a:lnTo>
                    <a:pt x="827" y="781"/>
                  </a:lnTo>
                  <a:lnTo>
                    <a:pt x="827" y="783"/>
                  </a:lnTo>
                  <a:lnTo>
                    <a:pt x="825" y="783"/>
                  </a:lnTo>
                  <a:lnTo>
                    <a:pt x="825" y="783"/>
                  </a:lnTo>
                  <a:lnTo>
                    <a:pt x="825" y="785"/>
                  </a:lnTo>
                  <a:lnTo>
                    <a:pt x="825" y="787"/>
                  </a:lnTo>
                  <a:lnTo>
                    <a:pt x="825" y="787"/>
                  </a:lnTo>
                  <a:lnTo>
                    <a:pt x="823" y="789"/>
                  </a:lnTo>
                  <a:lnTo>
                    <a:pt x="823" y="791"/>
                  </a:lnTo>
                  <a:lnTo>
                    <a:pt x="821" y="791"/>
                  </a:lnTo>
                  <a:lnTo>
                    <a:pt x="821" y="793"/>
                  </a:lnTo>
                  <a:lnTo>
                    <a:pt x="821" y="793"/>
                  </a:lnTo>
                  <a:lnTo>
                    <a:pt x="821" y="793"/>
                  </a:lnTo>
                  <a:lnTo>
                    <a:pt x="823" y="793"/>
                  </a:lnTo>
                  <a:lnTo>
                    <a:pt x="823" y="793"/>
                  </a:lnTo>
                  <a:lnTo>
                    <a:pt x="821" y="795"/>
                  </a:lnTo>
                  <a:lnTo>
                    <a:pt x="821" y="795"/>
                  </a:lnTo>
                  <a:lnTo>
                    <a:pt x="821" y="795"/>
                  </a:lnTo>
                  <a:lnTo>
                    <a:pt x="821" y="795"/>
                  </a:lnTo>
                  <a:lnTo>
                    <a:pt x="821" y="795"/>
                  </a:lnTo>
                  <a:lnTo>
                    <a:pt x="823" y="795"/>
                  </a:lnTo>
                  <a:lnTo>
                    <a:pt x="827" y="799"/>
                  </a:lnTo>
                  <a:lnTo>
                    <a:pt x="830" y="801"/>
                  </a:lnTo>
                  <a:lnTo>
                    <a:pt x="830" y="801"/>
                  </a:lnTo>
                  <a:lnTo>
                    <a:pt x="830" y="801"/>
                  </a:lnTo>
                  <a:lnTo>
                    <a:pt x="827" y="801"/>
                  </a:lnTo>
                  <a:lnTo>
                    <a:pt x="827" y="803"/>
                  </a:lnTo>
                  <a:lnTo>
                    <a:pt x="830" y="803"/>
                  </a:lnTo>
                  <a:lnTo>
                    <a:pt x="830" y="803"/>
                  </a:lnTo>
                  <a:lnTo>
                    <a:pt x="830" y="805"/>
                  </a:lnTo>
                  <a:lnTo>
                    <a:pt x="830" y="805"/>
                  </a:lnTo>
                  <a:lnTo>
                    <a:pt x="830" y="805"/>
                  </a:lnTo>
                  <a:lnTo>
                    <a:pt x="827" y="805"/>
                  </a:lnTo>
                  <a:lnTo>
                    <a:pt x="825" y="803"/>
                  </a:lnTo>
                  <a:lnTo>
                    <a:pt x="825" y="803"/>
                  </a:lnTo>
                  <a:lnTo>
                    <a:pt x="825" y="803"/>
                  </a:lnTo>
                  <a:lnTo>
                    <a:pt x="825" y="803"/>
                  </a:lnTo>
                  <a:lnTo>
                    <a:pt x="825" y="803"/>
                  </a:lnTo>
                  <a:lnTo>
                    <a:pt x="825" y="803"/>
                  </a:lnTo>
                  <a:lnTo>
                    <a:pt x="823" y="803"/>
                  </a:lnTo>
                  <a:lnTo>
                    <a:pt x="823" y="803"/>
                  </a:lnTo>
                  <a:lnTo>
                    <a:pt x="823" y="803"/>
                  </a:lnTo>
                  <a:lnTo>
                    <a:pt x="823" y="801"/>
                  </a:lnTo>
                  <a:lnTo>
                    <a:pt x="823" y="801"/>
                  </a:lnTo>
                  <a:lnTo>
                    <a:pt x="823" y="801"/>
                  </a:lnTo>
                  <a:lnTo>
                    <a:pt x="823" y="799"/>
                  </a:lnTo>
                  <a:lnTo>
                    <a:pt x="823" y="799"/>
                  </a:lnTo>
                  <a:lnTo>
                    <a:pt x="817" y="799"/>
                  </a:lnTo>
                  <a:lnTo>
                    <a:pt x="817" y="799"/>
                  </a:lnTo>
                  <a:lnTo>
                    <a:pt x="815" y="797"/>
                  </a:lnTo>
                  <a:lnTo>
                    <a:pt x="815" y="797"/>
                  </a:lnTo>
                  <a:lnTo>
                    <a:pt x="815" y="797"/>
                  </a:lnTo>
                  <a:lnTo>
                    <a:pt x="815" y="797"/>
                  </a:lnTo>
                  <a:lnTo>
                    <a:pt x="815" y="797"/>
                  </a:lnTo>
                  <a:lnTo>
                    <a:pt x="815" y="797"/>
                  </a:lnTo>
                  <a:lnTo>
                    <a:pt x="815" y="797"/>
                  </a:lnTo>
                  <a:lnTo>
                    <a:pt x="815" y="797"/>
                  </a:lnTo>
                  <a:lnTo>
                    <a:pt x="815" y="799"/>
                  </a:lnTo>
                  <a:lnTo>
                    <a:pt x="815" y="799"/>
                  </a:lnTo>
                  <a:lnTo>
                    <a:pt x="815" y="801"/>
                  </a:lnTo>
                  <a:lnTo>
                    <a:pt x="815" y="803"/>
                  </a:lnTo>
                  <a:lnTo>
                    <a:pt x="815" y="803"/>
                  </a:lnTo>
                  <a:lnTo>
                    <a:pt x="817" y="803"/>
                  </a:lnTo>
                  <a:lnTo>
                    <a:pt x="817" y="805"/>
                  </a:lnTo>
                  <a:lnTo>
                    <a:pt x="817" y="805"/>
                  </a:lnTo>
                  <a:lnTo>
                    <a:pt x="817" y="805"/>
                  </a:lnTo>
                  <a:lnTo>
                    <a:pt x="817" y="805"/>
                  </a:lnTo>
                  <a:lnTo>
                    <a:pt x="817" y="805"/>
                  </a:lnTo>
                  <a:lnTo>
                    <a:pt x="817" y="805"/>
                  </a:lnTo>
                  <a:lnTo>
                    <a:pt x="817" y="807"/>
                  </a:lnTo>
                  <a:lnTo>
                    <a:pt x="817" y="807"/>
                  </a:lnTo>
                  <a:lnTo>
                    <a:pt x="817" y="807"/>
                  </a:lnTo>
                  <a:lnTo>
                    <a:pt x="817" y="807"/>
                  </a:lnTo>
                  <a:lnTo>
                    <a:pt x="815" y="805"/>
                  </a:lnTo>
                  <a:lnTo>
                    <a:pt x="815" y="805"/>
                  </a:lnTo>
                  <a:lnTo>
                    <a:pt x="815" y="803"/>
                  </a:lnTo>
                  <a:lnTo>
                    <a:pt x="815" y="805"/>
                  </a:lnTo>
                  <a:lnTo>
                    <a:pt x="813" y="805"/>
                  </a:lnTo>
                  <a:lnTo>
                    <a:pt x="813" y="805"/>
                  </a:lnTo>
                  <a:lnTo>
                    <a:pt x="811" y="801"/>
                  </a:lnTo>
                  <a:lnTo>
                    <a:pt x="811" y="801"/>
                  </a:lnTo>
                  <a:lnTo>
                    <a:pt x="809" y="799"/>
                  </a:lnTo>
                  <a:lnTo>
                    <a:pt x="809" y="799"/>
                  </a:lnTo>
                  <a:lnTo>
                    <a:pt x="809" y="799"/>
                  </a:lnTo>
                  <a:lnTo>
                    <a:pt x="811" y="797"/>
                  </a:lnTo>
                  <a:lnTo>
                    <a:pt x="809" y="797"/>
                  </a:lnTo>
                  <a:lnTo>
                    <a:pt x="809" y="797"/>
                  </a:lnTo>
                  <a:lnTo>
                    <a:pt x="809" y="797"/>
                  </a:lnTo>
                  <a:lnTo>
                    <a:pt x="809" y="797"/>
                  </a:lnTo>
                  <a:lnTo>
                    <a:pt x="809" y="797"/>
                  </a:lnTo>
                  <a:lnTo>
                    <a:pt x="807" y="797"/>
                  </a:lnTo>
                  <a:lnTo>
                    <a:pt x="807" y="795"/>
                  </a:lnTo>
                  <a:lnTo>
                    <a:pt x="809" y="795"/>
                  </a:lnTo>
                  <a:lnTo>
                    <a:pt x="809" y="795"/>
                  </a:lnTo>
                  <a:lnTo>
                    <a:pt x="811" y="795"/>
                  </a:lnTo>
                  <a:lnTo>
                    <a:pt x="811" y="795"/>
                  </a:lnTo>
                  <a:lnTo>
                    <a:pt x="813" y="795"/>
                  </a:lnTo>
                  <a:lnTo>
                    <a:pt x="813" y="795"/>
                  </a:lnTo>
                  <a:lnTo>
                    <a:pt x="813" y="793"/>
                  </a:lnTo>
                  <a:lnTo>
                    <a:pt x="813" y="791"/>
                  </a:lnTo>
                  <a:lnTo>
                    <a:pt x="811" y="791"/>
                  </a:lnTo>
                  <a:lnTo>
                    <a:pt x="811" y="791"/>
                  </a:lnTo>
                  <a:lnTo>
                    <a:pt x="811" y="793"/>
                  </a:lnTo>
                  <a:lnTo>
                    <a:pt x="809" y="793"/>
                  </a:lnTo>
                  <a:lnTo>
                    <a:pt x="807" y="793"/>
                  </a:lnTo>
                  <a:lnTo>
                    <a:pt x="807" y="793"/>
                  </a:lnTo>
                  <a:lnTo>
                    <a:pt x="807" y="793"/>
                  </a:lnTo>
                  <a:lnTo>
                    <a:pt x="805" y="793"/>
                  </a:lnTo>
                  <a:lnTo>
                    <a:pt x="805" y="793"/>
                  </a:lnTo>
                  <a:lnTo>
                    <a:pt x="805" y="793"/>
                  </a:lnTo>
                  <a:lnTo>
                    <a:pt x="805" y="793"/>
                  </a:lnTo>
                  <a:lnTo>
                    <a:pt x="803" y="793"/>
                  </a:lnTo>
                  <a:lnTo>
                    <a:pt x="799" y="793"/>
                  </a:lnTo>
                  <a:lnTo>
                    <a:pt x="801" y="791"/>
                  </a:lnTo>
                  <a:lnTo>
                    <a:pt x="801" y="791"/>
                  </a:lnTo>
                  <a:lnTo>
                    <a:pt x="803" y="791"/>
                  </a:lnTo>
                  <a:lnTo>
                    <a:pt x="805" y="789"/>
                  </a:lnTo>
                  <a:lnTo>
                    <a:pt x="799" y="791"/>
                  </a:lnTo>
                  <a:lnTo>
                    <a:pt x="799" y="791"/>
                  </a:lnTo>
                  <a:lnTo>
                    <a:pt x="797" y="791"/>
                  </a:lnTo>
                  <a:lnTo>
                    <a:pt x="795" y="791"/>
                  </a:lnTo>
                  <a:lnTo>
                    <a:pt x="793" y="793"/>
                  </a:lnTo>
                  <a:lnTo>
                    <a:pt x="791" y="793"/>
                  </a:lnTo>
                  <a:lnTo>
                    <a:pt x="789" y="793"/>
                  </a:lnTo>
                  <a:lnTo>
                    <a:pt x="786" y="793"/>
                  </a:lnTo>
                  <a:lnTo>
                    <a:pt x="784" y="793"/>
                  </a:lnTo>
                  <a:lnTo>
                    <a:pt x="784" y="795"/>
                  </a:lnTo>
                  <a:lnTo>
                    <a:pt x="782" y="797"/>
                  </a:lnTo>
                  <a:lnTo>
                    <a:pt x="782" y="797"/>
                  </a:lnTo>
                  <a:lnTo>
                    <a:pt x="778" y="799"/>
                  </a:lnTo>
                  <a:lnTo>
                    <a:pt x="776" y="799"/>
                  </a:lnTo>
                  <a:lnTo>
                    <a:pt x="776" y="799"/>
                  </a:lnTo>
                  <a:lnTo>
                    <a:pt x="774" y="801"/>
                  </a:lnTo>
                  <a:lnTo>
                    <a:pt x="774" y="801"/>
                  </a:lnTo>
                  <a:lnTo>
                    <a:pt x="772" y="803"/>
                  </a:lnTo>
                  <a:lnTo>
                    <a:pt x="760" y="814"/>
                  </a:lnTo>
                  <a:lnTo>
                    <a:pt x="760" y="814"/>
                  </a:lnTo>
                  <a:lnTo>
                    <a:pt x="760" y="814"/>
                  </a:lnTo>
                  <a:lnTo>
                    <a:pt x="760" y="816"/>
                  </a:lnTo>
                  <a:lnTo>
                    <a:pt x="758" y="816"/>
                  </a:lnTo>
                  <a:lnTo>
                    <a:pt x="760" y="816"/>
                  </a:lnTo>
                  <a:lnTo>
                    <a:pt x="760" y="816"/>
                  </a:lnTo>
                  <a:lnTo>
                    <a:pt x="760" y="814"/>
                  </a:lnTo>
                  <a:lnTo>
                    <a:pt x="762" y="814"/>
                  </a:lnTo>
                  <a:lnTo>
                    <a:pt x="762" y="816"/>
                  </a:lnTo>
                  <a:lnTo>
                    <a:pt x="762" y="816"/>
                  </a:lnTo>
                  <a:lnTo>
                    <a:pt x="762" y="816"/>
                  </a:lnTo>
                  <a:lnTo>
                    <a:pt x="762" y="818"/>
                  </a:lnTo>
                  <a:lnTo>
                    <a:pt x="762" y="818"/>
                  </a:lnTo>
                  <a:lnTo>
                    <a:pt x="762" y="818"/>
                  </a:lnTo>
                  <a:lnTo>
                    <a:pt x="762" y="818"/>
                  </a:lnTo>
                  <a:lnTo>
                    <a:pt x="762" y="818"/>
                  </a:lnTo>
                  <a:lnTo>
                    <a:pt x="762" y="818"/>
                  </a:lnTo>
                  <a:lnTo>
                    <a:pt x="762" y="818"/>
                  </a:lnTo>
                  <a:lnTo>
                    <a:pt x="762" y="818"/>
                  </a:lnTo>
                  <a:lnTo>
                    <a:pt x="762" y="818"/>
                  </a:lnTo>
                  <a:lnTo>
                    <a:pt x="760" y="820"/>
                  </a:lnTo>
                  <a:lnTo>
                    <a:pt x="760" y="820"/>
                  </a:lnTo>
                  <a:lnTo>
                    <a:pt x="760" y="820"/>
                  </a:lnTo>
                  <a:lnTo>
                    <a:pt x="760" y="820"/>
                  </a:lnTo>
                  <a:lnTo>
                    <a:pt x="758" y="820"/>
                  </a:lnTo>
                  <a:lnTo>
                    <a:pt x="758" y="818"/>
                  </a:lnTo>
                  <a:lnTo>
                    <a:pt x="758" y="818"/>
                  </a:lnTo>
                  <a:lnTo>
                    <a:pt x="758" y="818"/>
                  </a:lnTo>
                  <a:lnTo>
                    <a:pt x="756" y="820"/>
                  </a:lnTo>
                  <a:lnTo>
                    <a:pt x="754" y="820"/>
                  </a:lnTo>
                  <a:lnTo>
                    <a:pt x="752" y="822"/>
                  </a:lnTo>
                  <a:lnTo>
                    <a:pt x="752" y="822"/>
                  </a:lnTo>
                  <a:lnTo>
                    <a:pt x="750" y="822"/>
                  </a:lnTo>
                  <a:lnTo>
                    <a:pt x="750" y="824"/>
                  </a:lnTo>
                  <a:lnTo>
                    <a:pt x="750" y="824"/>
                  </a:lnTo>
                  <a:lnTo>
                    <a:pt x="752" y="824"/>
                  </a:lnTo>
                  <a:lnTo>
                    <a:pt x="750" y="826"/>
                  </a:lnTo>
                  <a:lnTo>
                    <a:pt x="750" y="826"/>
                  </a:lnTo>
                  <a:lnTo>
                    <a:pt x="748" y="828"/>
                  </a:lnTo>
                  <a:lnTo>
                    <a:pt x="746" y="828"/>
                  </a:lnTo>
                  <a:lnTo>
                    <a:pt x="746" y="826"/>
                  </a:lnTo>
                  <a:lnTo>
                    <a:pt x="746" y="826"/>
                  </a:lnTo>
                  <a:lnTo>
                    <a:pt x="746" y="826"/>
                  </a:lnTo>
                  <a:lnTo>
                    <a:pt x="746" y="826"/>
                  </a:lnTo>
                  <a:lnTo>
                    <a:pt x="746" y="826"/>
                  </a:lnTo>
                  <a:lnTo>
                    <a:pt x="743" y="826"/>
                  </a:lnTo>
                  <a:lnTo>
                    <a:pt x="743" y="826"/>
                  </a:lnTo>
                  <a:lnTo>
                    <a:pt x="743" y="826"/>
                  </a:lnTo>
                  <a:lnTo>
                    <a:pt x="743" y="824"/>
                  </a:lnTo>
                  <a:lnTo>
                    <a:pt x="746" y="824"/>
                  </a:lnTo>
                  <a:lnTo>
                    <a:pt x="746" y="824"/>
                  </a:lnTo>
                  <a:lnTo>
                    <a:pt x="746" y="824"/>
                  </a:lnTo>
                  <a:lnTo>
                    <a:pt x="746" y="822"/>
                  </a:lnTo>
                  <a:lnTo>
                    <a:pt x="741" y="826"/>
                  </a:lnTo>
                  <a:lnTo>
                    <a:pt x="735" y="828"/>
                  </a:lnTo>
                  <a:lnTo>
                    <a:pt x="735" y="828"/>
                  </a:lnTo>
                  <a:lnTo>
                    <a:pt x="735" y="828"/>
                  </a:lnTo>
                  <a:lnTo>
                    <a:pt x="735" y="828"/>
                  </a:lnTo>
                  <a:lnTo>
                    <a:pt x="735" y="828"/>
                  </a:lnTo>
                  <a:lnTo>
                    <a:pt x="735" y="828"/>
                  </a:lnTo>
                  <a:lnTo>
                    <a:pt x="735" y="830"/>
                  </a:lnTo>
                  <a:lnTo>
                    <a:pt x="735" y="830"/>
                  </a:lnTo>
                  <a:lnTo>
                    <a:pt x="735" y="830"/>
                  </a:lnTo>
                  <a:lnTo>
                    <a:pt x="735" y="832"/>
                  </a:lnTo>
                  <a:lnTo>
                    <a:pt x="735" y="834"/>
                  </a:lnTo>
                  <a:lnTo>
                    <a:pt x="735" y="834"/>
                  </a:lnTo>
                  <a:lnTo>
                    <a:pt x="737" y="836"/>
                  </a:lnTo>
                  <a:lnTo>
                    <a:pt x="737" y="836"/>
                  </a:lnTo>
                  <a:lnTo>
                    <a:pt x="735" y="838"/>
                  </a:lnTo>
                  <a:lnTo>
                    <a:pt x="735" y="836"/>
                  </a:lnTo>
                  <a:lnTo>
                    <a:pt x="735" y="836"/>
                  </a:lnTo>
                  <a:lnTo>
                    <a:pt x="733" y="836"/>
                  </a:lnTo>
                  <a:lnTo>
                    <a:pt x="733" y="838"/>
                  </a:lnTo>
                  <a:lnTo>
                    <a:pt x="735" y="838"/>
                  </a:lnTo>
                  <a:lnTo>
                    <a:pt x="735" y="838"/>
                  </a:lnTo>
                  <a:lnTo>
                    <a:pt x="735" y="838"/>
                  </a:lnTo>
                  <a:lnTo>
                    <a:pt x="735" y="838"/>
                  </a:lnTo>
                  <a:lnTo>
                    <a:pt x="735" y="838"/>
                  </a:lnTo>
                  <a:lnTo>
                    <a:pt x="733" y="838"/>
                  </a:lnTo>
                  <a:lnTo>
                    <a:pt x="733" y="840"/>
                  </a:lnTo>
                  <a:lnTo>
                    <a:pt x="733" y="840"/>
                  </a:lnTo>
                  <a:lnTo>
                    <a:pt x="733" y="840"/>
                  </a:lnTo>
                  <a:lnTo>
                    <a:pt x="733" y="840"/>
                  </a:lnTo>
                  <a:lnTo>
                    <a:pt x="731" y="840"/>
                  </a:lnTo>
                  <a:lnTo>
                    <a:pt x="731" y="842"/>
                  </a:lnTo>
                  <a:lnTo>
                    <a:pt x="733" y="842"/>
                  </a:lnTo>
                  <a:lnTo>
                    <a:pt x="733" y="844"/>
                  </a:lnTo>
                  <a:lnTo>
                    <a:pt x="733" y="844"/>
                  </a:lnTo>
                  <a:lnTo>
                    <a:pt x="733" y="844"/>
                  </a:lnTo>
                  <a:lnTo>
                    <a:pt x="735" y="842"/>
                  </a:lnTo>
                  <a:lnTo>
                    <a:pt x="735" y="842"/>
                  </a:lnTo>
                  <a:lnTo>
                    <a:pt x="737" y="842"/>
                  </a:lnTo>
                  <a:lnTo>
                    <a:pt x="737" y="842"/>
                  </a:lnTo>
                  <a:lnTo>
                    <a:pt x="739" y="840"/>
                  </a:lnTo>
                  <a:lnTo>
                    <a:pt x="739" y="840"/>
                  </a:lnTo>
                  <a:lnTo>
                    <a:pt x="741" y="838"/>
                  </a:lnTo>
                  <a:lnTo>
                    <a:pt x="743" y="838"/>
                  </a:lnTo>
                  <a:lnTo>
                    <a:pt x="743" y="838"/>
                  </a:lnTo>
                  <a:lnTo>
                    <a:pt x="741" y="836"/>
                  </a:lnTo>
                  <a:lnTo>
                    <a:pt x="741" y="836"/>
                  </a:lnTo>
                  <a:lnTo>
                    <a:pt x="741" y="836"/>
                  </a:lnTo>
                  <a:lnTo>
                    <a:pt x="739" y="834"/>
                  </a:lnTo>
                  <a:lnTo>
                    <a:pt x="739" y="834"/>
                  </a:lnTo>
                  <a:lnTo>
                    <a:pt x="737" y="832"/>
                  </a:lnTo>
                  <a:lnTo>
                    <a:pt x="739" y="830"/>
                  </a:lnTo>
                  <a:lnTo>
                    <a:pt x="739" y="830"/>
                  </a:lnTo>
                  <a:lnTo>
                    <a:pt x="737" y="830"/>
                  </a:lnTo>
                  <a:lnTo>
                    <a:pt x="737" y="830"/>
                  </a:lnTo>
                  <a:lnTo>
                    <a:pt x="737" y="830"/>
                  </a:lnTo>
                  <a:lnTo>
                    <a:pt x="739" y="830"/>
                  </a:lnTo>
                  <a:lnTo>
                    <a:pt x="739" y="830"/>
                  </a:lnTo>
                  <a:lnTo>
                    <a:pt x="739" y="830"/>
                  </a:lnTo>
                  <a:lnTo>
                    <a:pt x="739" y="830"/>
                  </a:lnTo>
                  <a:lnTo>
                    <a:pt x="739" y="830"/>
                  </a:lnTo>
                  <a:lnTo>
                    <a:pt x="739" y="828"/>
                  </a:lnTo>
                  <a:lnTo>
                    <a:pt x="739" y="828"/>
                  </a:lnTo>
                  <a:lnTo>
                    <a:pt x="739" y="828"/>
                  </a:lnTo>
                  <a:lnTo>
                    <a:pt x="741" y="828"/>
                  </a:lnTo>
                  <a:lnTo>
                    <a:pt x="741" y="828"/>
                  </a:lnTo>
                  <a:lnTo>
                    <a:pt x="741" y="828"/>
                  </a:lnTo>
                  <a:lnTo>
                    <a:pt x="741" y="830"/>
                  </a:lnTo>
                  <a:lnTo>
                    <a:pt x="741" y="830"/>
                  </a:lnTo>
                  <a:lnTo>
                    <a:pt x="739" y="830"/>
                  </a:lnTo>
                  <a:lnTo>
                    <a:pt x="741" y="830"/>
                  </a:lnTo>
                  <a:lnTo>
                    <a:pt x="741" y="830"/>
                  </a:lnTo>
                  <a:lnTo>
                    <a:pt x="741" y="830"/>
                  </a:lnTo>
                  <a:lnTo>
                    <a:pt x="741" y="830"/>
                  </a:lnTo>
                  <a:lnTo>
                    <a:pt x="743" y="830"/>
                  </a:lnTo>
                  <a:lnTo>
                    <a:pt x="743" y="830"/>
                  </a:lnTo>
                  <a:lnTo>
                    <a:pt x="743" y="830"/>
                  </a:lnTo>
                  <a:lnTo>
                    <a:pt x="743" y="832"/>
                  </a:lnTo>
                  <a:lnTo>
                    <a:pt x="746" y="832"/>
                  </a:lnTo>
                  <a:lnTo>
                    <a:pt x="746" y="834"/>
                  </a:lnTo>
                  <a:lnTo>
                    <a:pt x="746" y="834"/>
                  </a:lnTo>
                  <a:lnTo>
                    <a:pt x="748" y="834"/>
                  </a:lnTo>
                  <a:lnTo>
                    <a:pt x="748" y="834"/>
                  </a:lnTo>
                  <a:lnTo>
                    <a:pt x="746" y="834"/>
                  </a:lnTo>
                  <a:lnTo>
                    <a:pt x="746" y="836"/>
                  </a:lnTo>
                  <a:lnTo>
                    <a:pt x="746" y="836"/>
                  </a:lnTo>
                  <a:lnTo>
                    <a:pt x="746" y="836"/>
                  </a:lnTo>
                  <a:lnTo>
                    <a:pt x="746" y="838"/>
                  </a:lnTo>
                  <a:lnTo>
                    <a:pt x="746" y="838"/>
                  </a:lnTo>
                  <a:lnTo>
                    <a:pt x="746" y="838"/>
                  </a:lnTo>
                  <a:lnTo>
                    <a:pt x="748" y="838"/>
                  </a:lnTo>
                  <a:lnTo>
                    <a:pt x="748" y="840"/>
                  </a:lnTo>
                  <a:lnTo>
                    <a:pt x="750" y="840"/>
                  </a:lnTo>
                  <a:lnTo>
                    <a:pt x="752" y="840"/>
                  </a:lnTo>
                  <a:lnTo>
                    <a:pt x="752" y="840"/>
                  </a:lnTo>
                  <a:lnTo>
                    <a:pt x="752" y="838"/>
                  </a:lnTo>
                  <a:lnTo>
                    <a:pt x="752" y="838"/>
                  </a:lnTo>
                  <a:lnTo>
                    <a:pt x="752" y="838"/>
                  </a:lnTo>
                  <a:lnTo>
                    <a:pt x="752" y="838"/>
                  </a:lnTo>
                  <a:lnTo>
                    <a:pt x="752" y="838"/>
                  </a:lnTo>
                  <a:lnTo>
                    <a:pt x="754" y="836"/>
                  </a:lnTo>
                  <a:lnTo>
                    <a:pt x="754" y="836"/>
                  </a:lnTo>
                  <a:lnTo>
                    <a:pt x="754" y="834"/>
                  </a:lnTo>
                  <a:lnTo>
                    <a:pt x="754" y="834"/>
                  </a:lnTo>
                  <a:lnTo>
                    <a:pt x="756" y="834"/>
                  </a:lnTo>
                  <a:lnTo>
                    <a:pt x="756" y="834"/>
                  </a:lnTo>
                  <a:lnTo>
                    <a:pt x="756" y="836"/>
                  </a:lnTo>
                  <a:lnTo>
                    <a:pt x="756" y="836"/>
                  </a:lnTo>
                  <a:lnTo>
                    <a:pt x="756" y="836"/>
                  </a:lnTo>
                  <a:lnTo>
                    <a:pt x="754" y="836"/>
                  </a:lnTo>
                  <a:lnTo>
                    <a:pt x="756" y="836"/>
                  </a:lnTo>
                  <a:lnTo>
                    <a:pt x="756" y="838"/>
                  </a:lnTo>
                  <a:lnTo>
                    <a:pt x="756" y="838"/>
                  </a:lnTo>
                  <a:lnTo>
                    <a:pt x="758" y="840"/>
                  </a:lnTo>
                  <a:lnTo>
                    <a:pt x="756" y="834"/>
                  </a:lnTo>
                  <a:lnTo>
                    <a:pt x="756" y="832"/>
                  </a:lnTo>
                  <a:lnTo>
                    <a:pt x="756" y="834"/>
                  </a:lnTo>
                  <a:lnTo>
                    <a:pt x="756" y="834"/>
                  </a:lnTo>
                  <a:lnTo>
                    <a:pt x="756" y="832"/>
                  </a:lnTo>
                  <a:lnTo>
                    <a:pt x="756" y="832"/>
                  </a:lnTo>
                  <a:lnTo>
                    <a:pt x="756" y="830"/>
                  </a:lnTo>
                  <a:lnTo>
                    <a:pt x="756" y="830"/>
                  </a:lnTo>
                  <a:lnTo>
                    <a:pt x="756" y="830"/>
                  </a:lnTo>
                  <a:lnTo>
                    <a:pt x="756" y="830"/>
                  </a:lnTo>
                  <a:lnTo>
                    <a:pt x="756" y="830"/>
                  </a:lnTo>
                  <a:lnTo>
                    <a:pt x="756" y="830"/>
                  </a:lnTo>
                  <a:lnTo>
                    <a:pt x="756" y="830"/>
                  </a:lnTo>
                  <a:lnTo>
                    <a:pt x="756" y="830"/>
                  </a:lnTo>
                  <a:lnTo>
                    <a:pt x="758" y="830"/>
                  </a:lnTo>
                  <a:lnTo>
                    <a:pt x="758" y="830"/>
                  </a:lnTo>
                  <a:lnTo>
                    <a:pt x="758" y="830"/>
                  </a:lnTo>
                  <a:lnTo>
                    <a:pt x="758" y="830"/>
                  </a:lnTo>
                  <a:lnTo>
                    <a:pt x="758" y="828"/>
                  </a:lnTo>
                  <a:lnTo>
                    <a:pt x="756" y="828"/>
                  </a:lnTo>
                  <a:lnTo>
                    <a:pt x="756" y="828"/>
                  </a:lnTo>
                  <a:lnTo>
                    <a:pt x="754" y="826"/>
                  </a:lnTo>
                  <a:lnTo>
                    <a:pt x="754" y="826"/>
                  </a:lnTo>
                  <a:lnTo>
                    <a:pt x="754" y="824"/>
                  </a:lnTo>
                  <a:lnTo>
                    <a:pt x="756" y="824"/>
                  </a:lnTo>
                  <a:lnTo>
                    <a:pt x="756" y="822"/>
                  </a:lnTo>
                  <a:lnTo>
                    <a:pt x="756" y="822"/>
                  </a:lnTo>
                  <a:lnTo>
                    <a:pt x="758" y="822"/>
                  </a:lnTo>
                  <a:lnTo>
                    <a:pt x="758" y="822"/>
                  </a:lnTo>
                  <a:lnTo>
                    <a:pt x="758" y="822"/>
                  </a:lnTo>
                  <a:lnTo>
                    <a:pt x="760" y="822"/>
                  </a:lnTo>
                  <a:lnTo>
                    <a:pt x="760" y="822"/>
                  </a:lnTo>
                  <a:lnTo>
                    <a:pt x="758" y="824"/>
                  </a:lnTo>
                  <a:lnTo>
                    <a:pt x="760" y="824"/>
                  </a:lnTo>
                  <a:lnTo>
                    <a:pt x="760" y="824"/>
                  </a:lnTo>
                  <a:lnTo>
                    <a:pt x="760" y="828"/>
                  </a:lnTo>
                  <a:lnTo>
                    <a:pt x="762" y="828"/>
                  </a:lnTo>
                  <a:lnTo>
                    <a:pt x="762" y="830"/>
                  </a:lnTo>
                  <a:lnTo>
                    <a:pt x="762" y="832"/>
                  </a:lnTo>
                  <a:lnTo>
                    <a:pt x="764" y="832"/>
                  </a:lnTo>
                  <a:lnTo>
                    <a:pt x="764" y="832"/>
                  </a:lnTo>
                  <a:lnTo>
                    <a:pt x="762" y="832"/>
                  </a:lnTo>
                  <a:lnTo>
                    <a:pt x="762" y="832"/>
                  </a:lnTo>
                  <a:lnTo>
                    <a:pt x="760" y="832"/>
                  </a:lnTo>
                  <a:lnTo>
                    <a:pt x="760" y="832"/>
                  </a:lnTo>
                  <a:lnTo>
                    <a:pt x="760" y="832"/>
                  </a:lnTo>
                  <a:lnTo>
                    <a:pt x="760" y="834"/>
                  </a:lnTo>
                  <a:lnTo>
                    <a:pt x="760" y="834"/>
                  </a:lnTo>
                  <a:lnTo>
                    <a:pt x="760" y="834"/>
                  </a:lnTo>
                  <a:lnTo>
                    <a:pt x="762" y="836"/>
                  </a:lnTo>
                  <a:lnTo>
                    <a:pt x="762" y="836"/>
                  </a:lnTo>
                  <a:lnTo>
                    <a:pt x="764" y="836"/>
                  </a:lnTo>
                  <a:lnTo>
                    <a:pt x="764" y="836"/>
                  </a:lnTo>
                  <a:lnTo>
                    <a:pt x="764" y="836"/>
                  </a:lnTo>
                  <a:lnTo>
                    <a:pt x="764" y="834"/>
                  </a:lnTo>
                  <a:lnTo>
                    <a:pt x="766" y="834"/>
                  </a:lnTo>
                  <a:lnTo>
                    <a:pt x="766" y="836"/>
                  </a:lnTo>
                  <a:lnTo>
                    <a:pt x="766" y="836"/>
                  </a:lnTo>
                  <a:lnTo>
                    <a:pt x="766" y="836"/>
                  </a:lnTo>
                  <a:lnTo>
                    <a:pt x="766" y="838"/>
                  </a:lnTo>
                  <a:lnTo>
                    <a:pt x="766" y="838"/>
                  </a:lnTo>
                  <a:lnTo>
                    <a:pt x="766" y="836"/>
                  </a:lnTo>
                  <a:lnTo>
                    <a:pt x="768" y="836"/>
                  </a:lnTo>
                  <a:lnTo>
                    <a:pt x="768" y="836"/>
                  </a:lnTo>
                  <a:lnTo>
                    <a:pt x="768" y="836"/>
                  </a:lnTo>
                  <a:lnTo>
                    <a:pt x="768" y="834"/>
                  </a:lnTo>
                  <a:lnTo>
                    <a:pt x="768" y="832"/>
                  </a:lnTo>
                  <a:lnTo>
                    <a:pt x="770" y="832"/>
                  </a:lnTo>
                  <a:lnTo>
                    <a:pt x="772" y="830"/>
                  </a:lnTo>
                  <a:lnTo>
                    <a:pt x="772" y="830"/>
                  </a:lnTo>
                  <a:lnTo>
                    <a:pt x="772" y="832"/>
                  </a:lnTo>
                  <a:lnTo>
                    <a:pt x="772" y="832"/>
                  </a:lnTo>
                  <a:lnTo>
                    <a:pt x="772" y="832"/>
                  </a:lnTo>
                  <a:lnTo>
                    <a:pt x="772" y="832"/>
                  </a:lnTo>
                  <a:lnTo>
                    <a:pt x="772" y="832"/>
                  </a:lnTo>
                  <a:lnTo>
                    <a:pt x="770" y="832"/>
                  </a:lnTo>
                  <a:lnTo>
                    <a:pt x="770" y="834"/>
                  </a:lnTo>
                  <a:lnTo>
                    <a:pt x="772" y="834"/>
                  </a:lnTo>
                  <a:lnTo>
                    <a:pt x="772" y="834"/>
                  </a:lnTo>
                  <a:lnTo>
                    <a:pt x="772" y="834"/>
                  </a:lnTo>
                  <a:lnTo>
                    <a:pt x="774" y="834"/>
                  </a:lnTo>
                  <a:lnTo>
                    <a:pt x="774" y="834"/>
                  </a:lnTo>
                  <a:lnTo>
                    <a:pt x="776" y="834"/>
                  </a:lnTo>
                  <a:lnTo>
                    <a:pt x="776" y="832"/>
                  </a:lnTo>
                  <a:lnTo>
                    <a:pt x="776" y="832"/>
                  </a:lnTo>
                  <a:lnTo>
                    <a:pt x="776" y="832"/>
                  </a:lnTo>
                  <a:lnTo>
                    <a:pt x="776" y="832"/>
                  </a:lnTo>
                  <a:lnTo>
                    <a:pt x="776" y="832"/>
                  </a:lnTo>
                  <a:lnTo>
                    <a:pt x="774" y="830"/>
                  </a:lnTo>
                  <a:lnTo>
                    <a:pt x="774" y="830"/>
                  </a:lnTo>
                  <a:lnTo>
                    <a:pt x="774" y="828"/>
                  </a:lnTo>
                  <a:lnTo>
                    <a:pt x="774" y="828"/>
                  </a:lnTo>
                  <a:lnTo>
                    <a:pt x="774" y="828"/>
                  </a:lnTo>
                  <a:lnTo>
                    <a:pt x="774" y="826"/>
                  </a:lnTo>
                  <a:lnTo>
                    <a:pt x="776" y="828"/>
                  </a:lnTo>
                  <a:lnTo>
                    <a:pt x="776" y="828"/>
                  </a:lnTo>
                  <a:lnTo>
                    <a:pt x="778" y="828"/>
                  </a:lnTo>
                  <a:lnTo>
                    <a:pt x="778" y="828"/>
                  </a:lnTo>
                  <a:lnTo>
                    <a:pt x="776" y="828"/>
                  </a:lnTo>
                  <a:lnTo>
                    <a:pt x="776" y="828"/>
                  </a:lnTo>
                  <a:lnTo>
                    <a:pt x="776" y="828"/>
                  </a:lnTo>
                  <a:lnTo>
                    <a:pt x="778" y="828"/>
                  </a:lnTo>
                  <a:lnTo>
                    <a:pt x="778" y="828"/>
                  </a:lnTo>
                  <a:lnTo>
                    <a:pt x="778" y="828"/>
                  </a:lnTo>
                  <a:lnTo>
                    <a:pt x="778" y="828"/>
                  </a:lnTo>
                  <a:lnTo>
                    <a:pt x="778" y="828"/>
                  </a:lnTo>
                  <a:lnTo>
                    <a:pt x="778" y="828"/>
                  </a:lnTo>
                  <a:lnTo>
                    <a:pt x="780" y="826"/>
                  </a:lnTo>
                  <a:lnTo>
                    <a:pt x="780" y="824"/>
                  </a:lnTo>
                  <a:lnTo>
                    <a:pt x="782" y="824"/>
                  </a:lnTo>
                  <a:lnTo>
                    <a:pt x="784" y="820"/>
                  </a:lnTo>
                  <a:lnTo>
                    <a:pt x="784" y="820"/>
                  </a:lnTo>
                  <a:lnTo>
                    <a:pt x="784" y="820"/>
                  </a:lnTo>
                  <a:lnTo>
                    <a:pt x="784" y="818"/>
                  </a:lnTo>
                  <a:lnTo>
                    <a:pt x="784" y="818"/>
                  </a:lnTo>
                  <a:lnTo>
                    <a:pt x="786" y="816"/>
                  </a:lnTo>
                  <a:lnTo>
                    <a:pt x="786" y="816"/>
                  </a:lnTo>
                  <a:lnTo>
                    <a:pt x="786" y="816"/>
                  </a:lnTo>
                  <a:lnTo>
                    <a:pt x="786" y="816"/>
                  </a:lnTo>
                  <a:lnTo>
                    <a:pt x="786" y="814"/>
                  </a:lnTo>
                  <a:lnTo>
                    <a:pt x="786" y="814"/>
                  </a:lnTo>
                  <a:lnTo>
                    <a:pt x="786" y="814"/>
                  </a:lnTo>
                  <a:lnTo>
                    <a:pt x="789" y="812"/>
                  </a:lnTo>
                  <a:lnTo>
                    <a:pt x="789" y="809"/>
                  </a:lnTo>
                  <a:lnTo>
                    <a:pt x="789" y="809"/>
                  </a:lnTo>
                  <a:lnTo>
                    <a:pt x="789" y="809"/>
                  </a:lnTo>
                  <a:lnTo>
                    <a:pt x="789" y="809"/>
                  </a:lnTo>
                  <a:lnTo>
                    <a:pt x="789" y="809"/>
                  </a:lnTo>
                  <a:lnTo>
                    <a:pt x="795" y="807"/>
                  </a:lnTo>
                  <a:lnTo>
                    <a:pt x="795" y="809"/>
                  </a:lnTo>
                  <a:lnTo>
                    <a:pt x="797" y="809"/>
                  </a:lnTo>
                  <a:lnTo>
                    <a:pt x="797" y="812"/>
                  </a:lnTo>
                  <a:lnTo>
                    <a:pt x="799" y="812"/>
                  </a:lnTo>
                  <a:lnTo>
                    <a:pt x="799" y="812"/>
                  </a:lnTo>
                  <a:lnTo>
                    <a:pt x="799" y="812"/>
                  </a:lnTo>
                  <a:lnTo>
                    <a:pt x="799" y="814"/>
                  </a:lnTo>
                  <a:lnTo>
                    <a:pt x="799" y="814"/>
                  </a:lnTo>
                  <a:lnTo>
                    <a:pt x="803" y="814"/>
                  </a:lnTo>
                  <a:lnTo>
                    <a:pt x="803" y="814"/>
                  </a:lnTo>
                  <a:lnTo>
                    <a:pt x="803" y="816"/>
                  </a:lnTo>
                  <a:lnTo>
                    <a:pt x="801" y="816"/>
                  </a:lnTo>
                  <a:lnTo>
                    <a:pt x="799" y="814"/>
                  </a:lnTo>
                  <a:lnTo>
                    <a:pt x="797" y="814"/>
                  </a:lnTo>
                  <a:lnTo>
                    <a:pt x="797" y="812"/>
                  </a:lnTo>
                  <a:lnTo>
                    <a:pt x="797" y="812"/>
                  </a:lnTo>
                  <a:lnTo>
                    <a:pt x="795" y="812"/>
                  </a:lnTo>
                  <a:lnTo>
                    <a:pt x="795" y="814"/>
                  </a:lnTo>
                  <a:lnTo>
                    <a:pt x="793" y="814"/>
                  </a:lnTo>
                  <a:lnTo>
                    <a:pt x="793" y="816"/>
                  </a:lnTo>
                  <a:lnTo>
                    <a:pt x="793" y="816"/>
                  </a:lnTo>
                  <a:lnTo>
                    <a:pt x="793" y="816"/>
                  </a:lnTo>
                  <a:lnTo>
                    <a:pt x="793" y="818"/>
                  </a:lnTo>
                  <a:lnTo>
                    <a:pt x="793" y="820"/>
                  </a:lnTo>
                  <a:lnTo>
                    <a:pt x="791" y="822"/>
                  </a:lnTo>
                  <a:lnTo>
                    <a:pt x="791" y="822"/>
                  </a:lnTo>
                  <a:lnTo>
                    <a:pt x="791" y="822"/>
                  </a:lnTo>
                  <a:lnTo>
                    <a:pt x="791" y="822"/>
                  </a:lnTo>
                  <a:lnTo>
                    <a:pt x="795" y="822"/>
                  </a:lnTo>
                  <a:lnTo>
                    <a:pt x="797" y="822"/>
                  </a:lnTo>
                  <a:lnTo>
                    <a:pt x="797" y="824"/>
                  </a:lnTo>
                  <a:lnTo>
                    <a:pt x="797" y="824"/>
                  </a:lnTo>
                  <a:lnTo>
                    <a:pt x="797" y="824"/>
                  </a:lnTo>
                  <a:lnTo>
                    <a:pt x="803" y="822"/>
                  </a:lnTo>
                  <a:lnTo>
                    <a:pt x="805" y="820"/>
                  </a:lnTo>
                  <a:lnTo>
                    <a:pt x="807" y="820"/>
                  </a:lnTo>
                  <a:lnTo>
                    <a:pt x="807" y="818"/>
                  </a:lnTo>
                  <a:lnTo>
                    <a:pt x="809" y="816"/>
                  </a:lnTo>
                  <a:lnTo>
                    <a:pt x="811" y="816"/>
                  </a:lnTo>
                  <a:lnTo>
                    <a:pt x="811" y="816"/>
                  </a:lnTo>
                  <a:lnTo>
                    <a:pt x="811" y="818"/>
                  </a:lnTo>
                  <a:lnTo>
                    <a:pt x="811" y="818"/>
                  </a:lnTo>
                  <a:lnTo>
                    <a:pt x="811" y="818"/>
                  </a:lnTo>
                  <a:lnTo>
                    <a:pt x="811" y="820"/>
                  </a:lnTo>
                  <a:lnTo>
                    <a:pt x="811" y="820"/>
                  </a:lnTo>
                  <a:lnTo>
                    <a:pt x="811" y="820"/>
                  </a:lnTo>
                  <a:lnTo>
                    <a:pt x="811" y="820"/>
                  </a:lnTo>
                  <a:lnTo>
                    <a:pt x="811" y="820"/>
                  </a:lnTo>
                  <a:lnTo>
                    <a:pt x="813" y="820"/>
                  </a:lnTo>
                  <a:lnTo>
                    <a:pt x="815" y="820"/>
                  </a:lnTo>
                  <a:lnTo>
                    <a:pt x="815" y="820"/>
                  </a:lnTo>
                  <a:lnTo>
                    <a:pt x="817" y="818"/>
                  </a:lnTo>
                  <a:lnTo>
                    <a:pt x="815" y="818"/>
                  </a:lnTo>
                  <a:lnTo>
                    <a:pt x="815" y="816"/>
                  </a:lnTo>
                  <a:lnTo>
                    <a:pt x="815" y="816"/>
                  </a:lnTo>
                  <a:lnTo>
                    <a:pt x="813" y="816"/>
                  </a:lnTo>
                  <a:lnTo>
                    <a:pt x="813" y="816"/>
                  </a:lnTo>
                  <a:lnTo>
                    <a:pt x="815" y="816"/>
                  </a:lnTo>
                  <a:lnTo>
                    <a:pt x="815" y="816"/>
                  </a:lnTo>
                  <a:lnTo>
                    <a:pt x="817" y="816"/>
                  </a:lnTo>
                  <a:lnTo>
                    <a:pt x="817" y="814"/>
                  </a:lnTo>
                  <a:lnTo>
                    <a:pt x="817" y="814"/>
                  </a:lnTo>
                  <a:lnTo>
                    <a:pt x="819" y="812"/>
                  </a:lnTo>
                  <a:lnTo>
                    <a:pt x="819" y="812"/>
                  </a:lnTo>
                  <a:lnTo>
                    <a:pt x="819" y="814"/>
                  </a:lnTo>
                  <a:lnTo>
                    <a:pt x="819" y="816"/>
                  </a:lnTo>
                  <a:lnTo>
                    <a:pt x="819" y="816"/>
                  </a:lnTo>
                  <a:lnTo>
                    <a:pt x="819" y="820"/>
                  </a:lnTo>
                  <a:lnTo>
                    <a:pt x="819" y="820"/>
                  </a:lnTo>
                  <a:lnTo>
                    <a:pt x="821" y="820"/>
                  </a:lnTo>
                  <a:lnTo>
                    <a:pt x="821" y="818"/>
                  </a:lnTo>
                  <a:lnTo>
                    <a:pt x="821" y="818"/>
                  </a:lnTo>
                  <a:lnTo>
                    <a:pt x="821" y="818"/>
                  </a:lnTo>
                  <a:lnTo>
                    <a:pt x="821" y="818"/>
                  </a:lnTo>
                  <a:lnTo>
                    <a:pt x="823" y="816"/>
                  </a:lnTo>
                  <a:lnTo>
                    <a:pt x="823" y="816"/>
                  </a:lnTo>
                  <a:lnTo>
                    <a:pt x="823" y="816"/>
                  </a:lnTo>
                  <a:lnTo>
                    <a:pt x="823" y="816"/>
                  </a:lnTo>
                  <a:lnTo>
                    <a:pt x="823" y="814"/>
                  </a:lnTo>
                  <a:lnTo>
                    <a:pt x="823" y="814"/>
                  </a:lnTo>
                  <a:lnTo>
                    <a:pt x="825" y="814"/>
                  </a:lnTo>
                  <a:lnTo>
                    <a:pt x="825" y="814"/>
                  </a:lnTo>
                  <a:lnTo>
                    <a:pt x="825" y="814"/>
                  </a:lnTo>
                  <a:lnTo>
                    <a:pt x="823" y="812"/>
                  </a:lnTo>
                  <a:lnTo>
                    <a:pt x="823" y="812"/>
                  </a:lnTo>
                  <a:lnTo>
                    <a:pt x="823" y="812"/>
                  </a:lnTo>
                  <a:lnTo>
                    <a:pt x="825" y="812"/>
                  </a:lnTo>
                  <a:lnTo>
                    <a:pt x="825" y="812"/>
                  </a:lnTo>
                  <a:lnTo>
                    <a:pt x="830" y="812"/>
                  </a:lnTo>
                  <a:lnTo>
                    <a:pt x="830" y="812"/>
                  </a:lnTo>
                  <a:lnTo>
                    <a:pt x="830" y="812"/>
                  </a:lnTo>
                  <a:lnTo>
                    <a:pt x="832" y="812"/>
                  </a:lnTo>
                  <a:lnTo>
                    <a:pt x="834" y="809"/>
                  </a:lnTo>
                  <a:lnTo>
                    <a:pt x="832" y="809"/>
                  </a:lnTo>
                  <a:lnTo>
                    <a:pt x="832" y="807"/>
                  </a:lnTo>
                  <a:lnTo>
                    <a:pt x="832" y="807"/>
                  </a:lnTo>
                  <a:lnTo>
                    <a:pt x="834" y="807"/>
                  </a:lnTo>
                  <a:lnTo>
                    <a:pt x="834" y="807"/>
                  </a:lnTo>
                  <a:lnTo>
                    <a:pt x="834" y="807"/>
                  </a:lnTo>
                  <a:lnTo>
                    <a:pt x="834" y="807"/>
                  </a:lnTo>
                  <a:lnTo>
                    <a:pt x="834" y="809"/>
                  </a:lnTo>
                  <a:lnTo>
                    <a:pt x="834" y="809"/>
                  </a:lnTo>
                  <a:lnTo>
                    <a:pt x="836" y="809"/>
                  </a:lnTo>
                  <a:lnTo>
                    <a:pt x="834" y="807"/>
                  </a:lnTo>
                  <a:lnTo>
                    <a:pt x="834" y="807"/>
                  </a:lnTo>
                  <a:lnTo>
                    <a:pt x="834" y="807"/>
                  </a:lnTo>
                  <a:lnTo>
                    <a:pt x="834" y="807"/>
                  </a:lnTo>
                  <a:lnTo>
                    <a:pt x="836" y="807"/>
                  </a:lnTo>
                  <a:lnTo>
                    <a:pt x="836" y="807"/>
                  </a:lnTo>
                  <a:lnTo>
                    <a:pt x="836" y="807"/>
                  </a:lnTo>
                  <a:lnTo>
                    <a:pt x="836" y="805"/>
                  </a:lnTo>
                  <a:lnTo>
                    <a:pt x="836" y="805"/>
                  </a:lnTo>
                  <a:lnTo>
                    <a:pt x="836" y="805"/>
                  </a:lnTo>
                  <a:lnTo>
                    <a:pt x="836" y="803"/>
                  </a:lnTo>
                  <a:lnTo>
                    <a:pt x="836" y="803"/>
                  </a:lnTo>
                  <a:lnTo>
                    <a:pt x="836" y="805"/>
                  </a:lnTo>
                  <a:lnTo>
                    <a:pt x="838" y="805"/>
                  </a:lnTo>
                  <a:lnTo>
                    <a:pt x="838" y="805"/>
                  </a:lnTo>
                  <a:lnTo>
                    <a:pt x="838" y="805"/>
                  </a:lnTo>
                  <a:lnTo>
                    <a:pt x="838" y="805"/>
                  </a:lnTo>
                  <a:lnTo>
                    <a:pt x="838" y="803"/>
                  </a:lnTo>
                  <a:lnTo>
                    <a:pt x="838" y="803"/>
                  </a:lnTo>
                  <a:lnTo>
                    <a:pt x="838" y="803"/>
                  </a:lnTo>
                  <a:lnTo>
                    <a:pt x="838" y="803"/>
                  </a:lnTo>
                  <a:lnTo>
                    <a:pt x="838" y="803"/>
                  </a:lnTo>
                  <a:lnTo>
                    <a:pt x="840" y="805"/>
                  </a:lnTo>
                  <a:lnTo>
                    <a:pt x="840" y="805"/>
                  </a:lnTo>
                  <a:lnTo>
                    <a:pt x="842" y="805"/>
                  </a:lnTo>
                  <a:lnTo>
                    <a:pt x="842" y="805"/>
                  </a:lnTo>
                  <a:lnTo>
                    <a:pt x="842" y="803"/>
                  </a:lnTo>
                  <a:lnTo>
                    <a:pt x="842" y="803"/>
                  </a:lnTo>
                  <a:lnTo>
                    <a:pt x="842" y="803"/>
                  </a:lnTo>
                  <a:lnTo>
                    <a:pt x="842" y="801"/>
                  </a:lnTo>
                  <a:lnTo>
                    <a:pt x="842" y="801"/>
                  </a:lnTo>
                  <a:lnTo>
                    <a:pt x="846" y="803"/>
                  </a:lnTo>
                  <a:lnTo>
                    <a:pt x="848" y="803"/>
                  </a:lnTo>
                  <a:lnTo>
                    <a:pt x="848" y="803"/>
                  </a:lnTo>
                  <a:lnTo>
                    <a:pt x="848" y="805"/>
                  </a:lnTo>
                  <a:lnTo>
                    <a:pt x="848" y="805"/>
                  </a:lnTo>
                  <a:lnTo>
                    <a:pt x="848" y="805"/>
                  </a:lnTo>
                  <a:lnTo>
                    <a:pt x="846" y="807"/>
                  </a:lnTo>
                  <a:lnTo>
                    <a:pt x="846" y="807"/>
                  </a:lnTo>
                  <a:lnTo>
                    <a:pt x="846" y="807"/>
                  </a:lnTo>
                  <a:lnTo>
                    <a:pt x="846" y="807"/>
                  </a:lnTo>
                  <a:lnTo>
                    <a:pt x="846" y="807"/>
                  </a:lnTo>
                  <a:lnTo>
                    <a:pt x="846" y="809"/>
                  </a:lnTo>
                  <a:lnTo>
                    <a:pt x="848" y="809"/>
                  </a:lnTo>
                  <a:lnTo>
                    <a:pt x="848" y="809"/>
                  </a:lnTo>
                  <a:lnTo>
                    <a:pt x="846" y="812"/>
                  </a:lnTo>
                  <a:lnTo>
                    <a:pt x="846" y="812"/>
                  </a:lnTo>
                  <a:lnTo>
                    <a:pt x="846" y="812"/>
                  </a:lnTo>
                  <a:lnTo>
                    <a:pt x="846" y="814"/>
                  </a:lnTo>
                  <a:lnTo>
                    <a:pt x="848" y="814"/>
                  </a:lnTo>
                  <a:lnTo>
                    <a:pt x="848" y="814"/>
                  </a:lnTo>
                  <a:lnTo>
                    <a:pt x="848" y="814"/>
                  </a:lnTo>
                  <a:lnTo>
                    <a:pt x="848" y="814"/>
                  </a:lnTo>
                  <a:lnTo>
                    <a:pt x="848" y="814"/>
                  </a:lnTo>
                  <a:lnTo>
                    <a:pt x="846" y="814"/>
                  </a:lnTo>
                  <a:lnTo>
                    <a:pt x="846" y="816"/>
                  </a:lnTo>
                  <a:lnTo>
                    <a:pt x="846" y="816"/>
                  </a:lnTo>
                  <a:lnTo>
                    <a:pt x="846" y="814"/>
                  </a:lnTo>
                  <a:lnTo>
                    <a:pt x="844" y="814"/>
                  </a:lnTo>
                  <a:lnTo>
                    <a:pt x="844" y="814"/>
                  </a:lnTo>
                  <a:lnTo>
                    <a:pt x="844" y="816"/>
                  </a:lnTo>
                  <a:lnTo>
                    <a:pt x="844" y="816"/>
                  </a:lnTo>
                  <a:lnTo>
                    <a:pt x="846" y="816"/>
                  </a:lnTo>
                  <a:lnTo>
                    <a:pt x="844" y="816"/>
                  </a:lnTo>
                  <a:lnTo>
                    <a:pt x="844" y="816"/>
                  </a:lnTo>
                  <a:lnTo>
                    <a:pt x="844" y="818"/>
                  </a:lnTo>
                  <a:lnTo>
                    <a:pt x="844" y="818"/>
                  </a:lnTo>
                  <a:lnTo>
                    <a:pt x="848" y="816"/>
                  </a:lnTo>
                  <a:lnTo>
                    <a:pt x="848" y="816"/>
                  </a:lnTo>
                  <a:lnTo>
                    <a:pt x="848" y="816"/>
                  </a:lnTo>
                  <a:lnTo>
                    <a:pt x="848" y="814"/>
                  </a:lnTo>
                  <a:lnTo>
                    <a:pt x="848" y="814"/>
                  </a:lnTo>
                  <a:lnTo>
                    <a:pt x="848" y="814"/>
                  </a:lnTo>
                  <a:lnTo>
                    <a:pt x="850" y="814"/>
                  </a:lnTo>
                  <a:lnTo>
                    <a:pt x="850" y="814"/>
                  </a:lnTo>
                  <a:lnTo>
                    <a:pt x="850" y="814"/>
                  </a:lnTo>
                  <a:lnTo>
                    <a:pt x="850" y="814"/>
                  </a:lnTo>
                  <a:lnTo>
                    <a:pt x="850" y="814"/>
                  </a:lnTo>
                  <a:lnTo>
                    <a:pt x="850" y="812"/>
                  </a:lnTo>
                  <a:lnTo>
                    <a:pt x="850" y="812"/>
                  </a:lnTo>
                  <a:lnTo>
                    <a:pt x="850" y="812"/>
                  </a:lnTo>
                  <a:lnTo>
                    <a:pt x="850" y="812"/>
                  </a:lnTo>
                  <a:lnTo>
                    <a:pt x="850" y="809"/>
                  </a:lnTo>
                  <a:lnTo>
                    <a:pt x="850" y="809"/>
                  </a:lnTo>
                  <a:lnTo>
                    <a:pt x="850" y="809"/>
                  </a:lnTo>
                  <a:lnTo>
                    <a:pt x="852" y="807"/>
                  </a:lnTo>
                  <a:lnTo>
                    <a:pt x="852" y="807"/>
                  </a:lnTo>
                  <a:lnTo>
                    <a:pt x="852" y="807"/>
                  </a:lnTo>
                  <a:lnTo>
                    <a:pt x="852" y="807"/>
                  </a:lnTo>
                  <a:lnTo>
                    <a:pt x="852" y="807"/>
                  </a:lnTo>
                  <a:lnTo>
                    <a:pt x="852" y="807"/>
                  </a:lnTo>
                  <a:lnTo>
                    <a:pt x="852" y="807"/>
                  </a:lnTo>
                  <a:lnTo>
                    <a:pt x="852" y="805"/>
                  </a:lnTo>
                  <a:lnTo>
                    <a:pt x="852" y="805"/>
                  </a:lnTo>
                  <a:lnTo>
                    <a:pt x="852" y="805"/>
                  </a:lnTo>
                  <a:lnTo>
                    <a:pt x="852" y="803"/>
                  </a:lnTo>
                  <a:lnTo>
                    <a:pt x="852" y="803"/>
                  </a:lnTo>
                  <a:lnTo>
                    <a:pt x="850" y="801"/>
                  </a:lnTo>
                  <a:lnTo>
                    <a:pt x="850" y="801"/>
                  </a:lnTo>
                  <a:lnTo>
                    <a:pt x="850" y="801"/>
                  </a:lnTo>
                  <a:lnTo>
                    <a:pt x="852" y="801"/>
                  </a:lnTo>
                  <a:lnTo>
                    <a:pt x="852" y="801"/>
                  </a:lnTo>
                  <a:lnTo>
                    <a:pt x="854" y="801"/>
                  </a:lnTo>
                  <a:lnTo>
                    <a:pt x="852" y="801"/>
                  </a:lnTo>
                  <a:lnTo>
                    <a:pt x="852" y="801"/>
                  </a:lnTo>
                  <a:lnTo>
                    <a:pt x="852" y="803"/>
                  </a:lnTo>
                  <a:lnTo>
                    <a:pt x="852" y="803"/>
                  </a:lnTo>
                  <a:lnTo>
                    <a:pt x="852" y="805"/>
                  </a:lnTo>
                  <a:lnTo>
                    <a:pt x="852" y="805"/>
                  </a:lnTo>
                  <a:lnTo>
                    <a:pt x="854" y="805"/>
                  </a:lnTo>
                  <a:lnTo>
                    <a:pt x="854" y="805"/>
                  </a:lnTo>
                  <a:lnTo>
                    <a:pt x="854" y="805"/>
                  </a:lnTo>
                  <a:lnTo>
                    <a:pt x="854" y="803"/>
                  </a:lnTo>
                  <a:lnTo>
                    <a:pt x="854" y="803"/>
                  </a:lnTo>
                  <a:lnTo>
                    <a:pt x="856" y="801"/>
                  </a:lnTo>
                  <a:lnTo>
                    <a:pt x="856" y="801"/>
                  </a:lnTo>
                  <a:lnTo>
                    <a:pt x="856" y="801"/>
                  </a:lnTo>
                  <a:lnTo>
                    <a:pt x="858" y="803"/>
                  </a:lnTo>
                  <a:lnTo>
                    <a:pt x="858" y="801"/>
                  </a:lnTo>
                  <a:lnTo>
                    <a:pt x="858" y="801"/>
                  </a:lnTo>
                  <a:lnTo>
                    <a:pt x="860" y="801"/>
                  </a:lnTo>
                  <a:lnTo>
                    <a:pt x="862" y="801"/>
                  </a:lnTo>
                  <a:lnTo>
                    <a:pt x="862" y="801"/>
                  </a:lnTo>
                  <a:lnTo>
                    <a:pt x="862" y="801"/>
                  </a:lnTo>
                  <a:lnTo>
                    <a:pt x="862" y="799"/>
                  </a:lnTo>
                  <a:lnTo>
                    <a:pt x="864" y="799"/>
                  </a:lnTo>
                  <a:lnTo>
                    <a:pt x="864" y="799"/>
                  </a:lnTo>
                  <a:lnTo>
                    <a:pt x="864" y="799"/>
                  </a:lnTo>
                  <a:lnTo>
                    <a:pt x="864" y="799"/>
                  </a:lnTo>
                  <a:lnTo>
                    <a:pt x="866" y="801"/>
                  </a:lnTo>
                  <a:lnTo>
                    <a:pt x="866" y="801"/>
                  </a:lnTo>
                  <a:lnTo>
                    <a:pt x="866" y="801"/>
                  </a:lnTo>
                  <a:lnTo>
                    <a:pt x="866" y="801"/>
                  </a:lnTo>
                  <a:lnTo>
                    <a:pt x="866" y="801"/>
                  </a:lnTo>
                  <a:lnTo>
                    <a:pt x="866" y="801"/>
                  </a:lnTo>
                  <a:lnTo>
                    <a:pt x="866" y="801"/>
                  </a:lnTo>
                  <a:lnTo>
                    <a:pt x="866" y="801"/>
                  </a:lnTo>
                  <a:lnTo>
                    <a:pt x="866" y="801"/>
                  </a:lnTo>
                  <a:lnTo>
                    <a:pt x="866" y="801"/>
                  </a:lnTo>
                  <a:lnTo>
                    <a:pt x="866" y="801"/>
                  </a:lnTo>
                  <a:lnTo>
                    <a:pt x="866" y="799"/>
                  </a:lnTo>
                  <a:lnTo>
                    <a:pt x="866" y="799"/>
                  </a:lnTo>
                  <a:lnTo>
                    <a:pt x="866" y="799"/>
                  </a:lnTo>
                  <a:lnTo>
                    <a:pt x="868" y="799"/>
                  </a:lnTo>
                  <a:lnTo>
                    <a:pt x="868" y="799"/>
                  </a:lnTo>
                  <a:lnTo>
                    <a:pt x="868" y="799"/>
                  </a:lnTo>
                  <a:lnTo>
                    <a:pt x="868" y="801"/>
                  </a:lnTo>
                  <a:lnTo>
                    <a:pt x="868" y="801"/>
                  </a:lnTo>
                  <a:lnTo>
                    <a:pt x="870" y="797"/>
                  </a:lnTo>
                  <a:lnTo>
                    <a:pt x="870" y="795"/>
                  </a:lnTo>
                  <a:lnTo>
                    <a:pt x="873" y="795"/>
                  </a:lnTo>
                  <a:lnTo>
                    <a:pt x="873" y="797"/>
                  </a:lnTo>
                  <a:lnTo>
                    <a:pt x="873" y="797"/>
                  </a:lnTo>
                  <a:lnTo>
                    <a:pt x="873" y="797"/>
                  </a:lnTo>
                  <a:lnTo>
                    <a:pt x="873" y="797"/>
                  </a:lnTo>
                  <a:lnTo>
                    <a:pt x="873" y="797"/>
                  </a:lnTo>
                  <a:lnTo>
                    <a:pt x="873" y="795"/>
                  </a:lnTo>
                  <a:lnTo>
                    <a:pt x="875" y="797"/>
                  </a:lnTo>
                  <a:lnTo>
                    <a:pt x="875" y="797"/>
                  </a:lnTo>
                  <a:lnTo>
                    <a:pt x="875" y="797"/>
                  </a:lnTo>
                  <a:lnTo>
                    <a:pt x="875" y="797"/>
                  </a:lnTo>
                  <a:lnTo>
                    <a:pt x="875" y="797"/>
                  </a:lnTo>
                  <a:lnTo>
                    <a:pt x="875" y="797"/>
                  </a:lnTo>
                  <a:lnTo>
                    <a:pt x="875" y="799"/>
                  </a:lnTo>
                  <a:lnTo>
                    <a:pt x="875" y="799"/>
                  </a:lnTo>
                  <a:lnTo>
                    <a:pt x="875" y="799"/>
                  </a:lnTo>
                  <a:lnTo>
                    <a:pt x="875" y="799"/>
                  </a:lnTo>
                  <a:lnTo>
                    <a:pt x="875" y="799"/>
                  </a:lnTo>
                  <a:lnTo>
                    <a:pt x="877" y="799"/>
                  </a:lnTo>
                  <a:lnTo>
                    <a:pt x="877" y="799"/>
                  </a:lnTo>
                  <a:lnTo>
                    <a:pt x="877" y="799"/>
                  </a:lnTo>
                  <a:lnTo>
                    <a:pt x="877" y="797"/>
                  </a:lnTo>
                  <a:lnTo>
                    <a:pt x="877" y="797"/>
                  </a:lnTo>
                  <a:lnTo>
                    <a:pt x="877" y="797"/>
                  </a:lnTo>
                  <a:lnTo>
                    <a:pt x="877" y="797"/>
                  </a:lnTo>
                  <a:lnTo>
                    <a:pt x="877" y="797"/>
                  </a:lnTo>
                  <a:lnTo>
                    <a:pt x="877" y="795"/>
                  </a:lnTo>
                  <a:lnTo>
                    <a:pt x="877" y="795"/>
                  </a:lnTo>
                  <a:lnTo>
                    <a:pt x="877" y="795"/>
                  </a:lnTo>
                  <a:lnTo>
                    <a:pt x="877" y="795"/>
                  </a:lnTo>
                  <a:lnTo>
                    <a:pt x="875" y="795"/>
                  </a:lnTo>
                  <a:lnTo>
                    <a:pt x="875" y="795"/>
                  </a:lnTo>
                  <a:lnTo>
                    <a:pt x="877" y="793"/>
                  </a:lnTo>
                  <a:lnTo>
                    <a:pt x="877" y="793"/>
                  </a:lnTo>
                  <a:lnTo>
                    <a:pt x="877" y="793"/>
                  </a:lnTo>
                  <a:lnTo>
                    <a:pt x="877" y="791"/>
                  </a:lnTo>
                  <a:lnTo>
                    <a:pt x="877" y="791"/>
                  </a:lnTo>
                  <a:lnTo>
                    <a:pt x="877" y="791"/>
                  </a:lnTo>
                  <a:lnTo>
                    <a:pt x="877" y="791"/>
                  </a:lnTo>
                  <a:lnTo>
                    <a:pt x="877" y="789"/>
                  </a:lnTo>
                  <a:lnTo>
                    <a:pt x="877" y="789"/>
                  </a:lnTo>
                  <a:lnTo>
                    <a:pt x="877" y="789"/>
                  </a:lnTo>
                  <a:lnTo>
                    <a:pt x="877" y="789"/>
                  </a:lnTo>
                  <a:lnTo>
                    <a:pt x="877" y="791"/>
                  </a:lnTo>
                  <a:lnTo>
                    <a:pt x="877" y="791"/>
                  </a:lnTo>
                  <a:lnTo>
                    <a:pt x="879" y="791"/>
                  </a:lnTo>
                  <a:lnTo>
                    <a:pt x="879" y="791"/>
                  </a:lnTo>
                  <a:lnTo>
                    <a:pt x="879" y="789"/>
                  </a:lnTo>
                  <a:lnTo>
                    <a:pt x="881" y="789"/>
                  </a:lnTo>
                  <a:lnTo>
                    <a:pt x="879" y="787"/>
                  </a:lnTo>
                  <a:lnTo>
                    <a:pt x="879" y="787"/>
                  </a:lnTo>
                  <a:lnTo>
                    <a:pt x="879" y="787"/>
                  </a:lnTo>
                  <a:lnTo>
                    <a:pt x="881" y="787"/>
                  </a:lnTo>
                  <a:lnTo>
                    <a:pt x="883" y="787"/>
                  </a:lnTo>
                  <a:lnTo>
                    <a:pt x="883" y="787"/>
                  </a:lnTo>
                  <a:lnTo>
                    <a:pt x="883" y="787"/>
                  </a:lnTo>
                  <a:lnTo>
                    <a:pt x="883" y="789"/>
                  </a:lnTo>
                  <a:lnTo>
                    <a:pt x="883" y="789"/>
                  </a:lnTo>
                  <a:lnTo>
                    <a:pt x="883" y="789"/>
                  </a:lnTo>
                  <a:lnTo>
                    <a:pt x="883" y="789"/>
                  </a:lnTo>
                  <a:lnTo>
                    <a:pt x="883" y="789"/>
                  </a:lnTo>
                  <a:lnTo>
                    <a:pt x="881" y="789"/>
                  </a:lnTo>
                  <a:lnTo>
                    <a:pt x="881" y="789"/>
                  </a:lnTo>
                  <a:lnTo>
                    <a:pt x="881" y="789"/>
                  </a:lnTo>
                  <a:lnTo>
                    <a:pt x="881" y="789"/>
                  </a:lnTo>
                  <a:lnTo>
                    <a:pt x="881" y="789"/>
                  </a:lnTo>
                  <a:lnTo>
                    <a:pt x="881" y="789"/>
                  </a:lnTo>
                  <a:lnTo>
                    <a:pt x="881" y="791"/>
                  </a:lnTo>
                  <a:lnTo>
                    <a:pt x="881" y="791"/>
                  </a:lnTo>
                  <a:lnTo>
                    <a:pt x="879" y="791"/>
                  </a:lnTo>
                  <a:lnTo>
                    <a:pt x="879" y="791"/>
                  </a:lnTo>
                  <a:lnTo>
                    <a:pt x="879" y="793"/>
                  </a:lnTo>
                  <a:lnTo>
                    <a:pt x="879" y="793"/>
                  </a:lnTo>
                  <a:lnTo>
                    <a:pt x="879" y="793"/>
                  </a:lnTo>
                  <a:lnTo>
                    <a:pt x="879" y="793"/>
                  </a:lnTo>
                  <a:lnTo>
                    <a:pt x="879" y="795"/>
                  </a:lnTo>
                  <a:lnTo>
                    <a:pt x="879" y="795"/>
                  </a:lnTo>
                  <a:lnTo>
                    <a:pt x="879" y="795"/>
                  </a:lnTo>
                  <a:lnTo>
                    <a:pt x="881" y="795"/>
                  </a:lnTo>
                  <a:lnTo>
                    <a:pt x="881" y="795"/>
                  </a:lnTo>
                  <a:lnTo>
                    <a:pt x="881" y="795"/>
                  </a:lnTo>
                  <a:lnTo>
                    <a:pt x="879" y="795"/>
                  </a:lnTo>
                  <a:lnTo>
                    <a:pt x="881" y="797"/>
                  </a:lnTo>
                  <a:lnTo>
                    <a:pt x="881" y="797"/>
                  </a:lnTo>
                  <a:lnTo>
                    <a:pt x="881" y="797"/>
                  </a:lnTo>
                  <a:lnTo>
                    <a:pt x="881" y="797"/>
                  </a:lnTo>
                  <a:lnTo>
                    <a:pt x="881" y="797"/>
                  </a:lnTo>
                  <a:lnTo>
                    <a:pt x="881" y="795"/>
                  </a:lnTo>
                  <a:lnTo>
                    <a:pt x="881" y="795"/>
                  </a:lnTo>
                  <a:lnTo>
                    <a:pt x="883" y="795"/>
                  </a:lnTo>
                  <a:lnTo>
                    <a:pt x="883" y="795"/>
                  </a:lnTo>
                  <a:lnTo>
                    <a:pt x="883" y="797"/>
                  </a:lnTo>
                  <a:lnTo>
                    <a:pt x="883" y="797"/>
                  </a:lnTo>
                  <a:lnTo>
                    <a:pt x="883" y="797"/>
                  </a:lnTo>
                  <a:lnTo>
                    <a:pt x="885" y="797"/>
                  </a:lnTo>
                  <a:lnTo>
                    <a:pt x="883" y="795"/>
                  </a:lnTo>
                  <a:lnTo>
                    <a:pt x="883" y="795"/>
                  </a:lnTo>
                  <a:lnTo>
                    <a:pt x="883" y="795"/>
                  </a:lnTo>
                  <a:lnTo>
                    <a:pt x="883" y="795"/>
                  </a:lnTo>
                  <a:lnTo>
                    <a:pt x="883" y="795"/>
                  </a:lnTo>
                  <a:lnTo>
                    <a:pt x="883" y="795"/>
                  </a:lnTo>
                  <a:lnTo>
                    <a:pt x="883" y="795"/>
                  </a:lnTo>
                  <a:lnTo>
                    <a:pt x="883" y="795"/>
                  </a:lnTo>
                  <a:lnTo>
                    <a:pt x="883" y="793"/>
                  </a:lnTo>
                  <a:lnTo>
                    <a:pt x="883" y="793"/>
                  </a:lnTo>
                  <a:lnTo>
                    <a:pt x="883" y="791"/>
                  </a:lnTo>
                  <a:lnTo>
                    <a:pt x="883" y="791"/>
                  </a:lnTo>
                  <a:lnTo>
                    <a:pt x="883" y="791"/>
                  </a:lnTo>
                  <a:lnTo>
                    <a:pt x="883" y="791"/>
                  </a:lnTo>
                  <a:lnTo>
                    <a:pt x="883" y="793"/>
                  </a:lnTo>
                  <a:lnTo>
                    <a:pt x="883" y="793"/>
                  </a:lnTo>
                  <a:lnTo>
                    <a:pt x="885" y="793"/>
                  </a:lnTo>
                  <a:lnTo>
                    <a:pt x="885" y="793"/>
                  </a:lnTo>
                  <a:lnTo>
                    <a:pt x="885" y="793"/>
                  </a:lnTo>
                  <a:lnTo>
                    <a:pt x="885" y="791"/>
                  </a:lnTo>
                  <a:lnTo>
                    <a:pt x="885" y="791"/>
                  </a:lnTo>
                  <a:lnTo>
                    <a:pt x="885" y="791"/>
                  </a:lnTo>
                  <a:lnTo>
                    <a:pt x="885" y="791"/>
                  </a:lnTo>
                  <a:lnTo>
                    <a:pt x="885" y="789"/>
                  </a:lnTo>
                  <a:lnTo>
                    <a:pt x="885" y="789"/>
                  </a:lnTo>
                  <a:lnTo>
                    <a:pt x="885" y="789"/>
                  </a:lnTo>
                  <a:lnTo>
                    <a:pt x="885" y="789"/>
                  </a:lnTo>
                  <a:lnTo>
                    <a:pt x="885" y="789"/>
                  </a:lnTo>
                  <a:lnTo>
                    <a:pt x="885" y="789"/>
                  </a:lnTo>
                  <a:lnTo>
                    <a:pt x="885" y="791"/>
                  </a:lnTo>
                  <a:lnTo>
                    <a:pt x="887" y="791"/>
                  </a:lnTo>
                  <a:lnTo>
                    <a:pt x="887" y="789"/>
                  </a:lnTo>
                  <a:lnTo>
                    <a:pt x="887" y="789"/>
                  </a:lnTo>
                  <a:lnTo>
                    <a:pt x="889" y="789"/>
                  </a:lnTo>
                  <a:lnTo>
                    <a:pt x="889" y="789"/>
                  </a:lnTo>
                  <a:lnTo>
                    <a:pt x="889" y="789"/>
                  </a:lnTo>
                  <a:lnTo>
                    <a:pt x="889" y="789"/>
                  </a:lnTo>
                  <a:lnTo>
                    <a:pt x="889" y="789"/>
                  </a:lnTo>
                  <a:lnTo>
                    <a:pt x="891" y="789"/>
                  </a:lnTo>
                  <a:lnTo>
                    <a:pt x="891" y="789"/>
                  </a:lnTo>
                  <a:lnTo>
                    <a:pt x="891" y="789"/>
                  </a:lnTo>
                  <a:lnTo>
                    <a:pt x="891" y="787"/>
                  </a:lnTo>
                  <a:lnTo>
                    <a:pt x="891" y="787"/>
                  </a:lnTo>
                  <a:lnTo>
                    <a:pt x="891" y="787"/>
                  </a:lnTo>
                  <a:lnTo>
                    <a:pt x="893" y="787"/>
                  </a:lnTo>
                  <a:lnTo>
                    <a:pt x="893" y="787"/>
                  </a:lnTo>
                  <a:lnTo>
                    <a:pt x="893" y="787"/>
                  </a:lnTo>
                  <a:lnTo>
                    <a:pt x="893" y="785"/>
                  </a:lnTo>
                  <a:lnTo>
                    <a:pt x="893" y="785"/>
                  </a:lnTo>
                  <a:lnTo>
                    <a:pt x="891" y="785"/>
                  </a:lnTo>
                  <a:lnTo>
                    <a:pt x="891" y="787"/>
                  </a:lnTo>
                  <a:lnTo>
                    <a:pt x="889" y="787"/>
                  </a:lnTo>
                  <a:lnTo>
                    <a:pt x="889" y="789"/>
                  </a:lnTo>
                  <a:lnTo>
                    <a:pt x="887" y="789"/>
                  </a:lnTo>
                  <a:lnTo>
                    <a:pt x="887" y="789"/>
                  </a:lnTo>
                  <a:lnTo>
                    <a:pt x="887" y="787"/>
                  </a:lnTo>
                  <a:lnTo>
                    <a:pt x="887" y="787"/>
                  </a:lnTo>
                  <a:lnTo>
                    <a:pt x="887" y="787"/>
                  </a:lnTo>
                  <a:lnTo>
                    <a:pt x="885" y="787"/>
                  </a:lnTo>
                  <a:lnTo>
                    <a:pt x="885" y="787"/>
                  </a:lnTo>
                  <a:lnTo>
                    <a:pt x="885" y="787"/>
                  </a:lnTo>
                  <a:lnTo>
                    <a:pt x="885" y="787"/>
                  </a:lnTo>
                  <a:lnTo>
                    <a:pt x="885" y="787"/>
                  </a:lnTo>
                  <a:lnTo>
                    <a:pt x="885" y="785"/>
                  </a:lnTo>
                  <a:lnTo>
                    <a:pt x="885" y="785"/>
                  </a:lnTo>
                  <a:lnTo>
                    <a:pt x="885" y="785"/>
                  </a:lnTo>
                  <a:lnTo>
                    <a:pt x="887" y="785"/>
                  </a:lnTo>
                  <a:lnTo>
                    <a:pt x="887" y="785"/>
                  </a:lnTo>
                  <a:lnTo>
                    <a:pt x="887" y="785"/>
                  </a:lnTo>
                  <a:lnTo>
                    <a:pt x="889" y="785"/>
                  </a:lnTo>
                  <a:lnTo>
                    <a:pt x="889" y="785"/>
                  </a:lnTo>
                  <a:lnTo>
                    <a:pt x="889" y="785"/>
                  </a:lnTo>
                  <a:lnTo>
                    <a:pt x="891" y="783"/>
                  </a:lnTo>
                  <a:lnTo>
                    <a:pt x="891" y="783"/>
                  </a:lnTo>
                  <a:lnTo>
                    <a:pt x="891" y="783"/>
                  </a:lnTo>
                  <a:lnTo>
                    <a:pt x="889" y="783"/>
                  </a:lnTo>
                  <a:lnTo>
                    <a:pt x="889" y="781"/>
                  </a:lnTo>
                  <a:lnTo>
                    <a:pt x="887" y="781"/>
                  </a:lnTo>
                  <a:lnTo>
                    <a:pt x="887" y="781"/>
                  </a:lnTo>
                  <a:lnTo>
                    <a:pt x="887" y="781"/>
                  </a:lnTo>
                  <a:lnTo>
                    <a:pt x="887" y="781"/>
                  </a:lnTo>
                  <a:lnTo>
                    <a:pt x="885" y="783"/>
                  </a:lnTo>
                  <a:lnTo>
                    <a:pt x="885" y="781"/>
                  </a:lnTo>
                  <a:lnTo>
                    <a:pt x="885" y="781"/>
                  </a:lnTo>
                  <a:lnTo>
                    <a:pt x="885" y="781"/>
                  </a:lnTo>
                  <a:lnTo>
                    <a:pt x="885" y="781"/>
                  </a:lnTo>
                  <a:lnTo>
                    <a:pt x="885" y="781"/>
                  </a:lnTo>
                  <a:lnTo>
                    <a:pt x="885" y="781"/>
                  </a:lnTo>
                  <a:lnTo>
                    <a:pt x="885" y="779"/>
                  </a:lnTo>
                  <a:lnTo>
                    <a:pt x="883" y="779"/>
                  </a:lnTo>
                  <a:lnTo>
                    <a:pt x="881" y="781"/>
                  </a:lnTo>
                  <a:lnTo>
                    <a:pt x="881" y="781"/>
                  </a:lnTo>
                  <a:lnTo>
                    <a:pt x="881" y="783"/>
                  </a:lnTo>
                  <a:lnTo>
                    <a:pt x="881" y="783"/>
                  </a:lnTo>
                  <a:lnTo>
                    <a:pt x="881" y="783"/>
                  </a:lnTo>
                  <a:lnTo>
                    <a:pt x="881" y="783"/>
                  </a:lnTo>
                  <a:lnTo>
                    <a:pt x="881" y="785"/>
                  </a:lnTo>
                  <a:lnTo>
                    <a:pt x="879" y="783"/>
                  </a:lnTo>
                  <a:lnTo>
                    <a:pt x="879" y="783"/>
                  </a:lnTo>
                  <a:lnTo>
                    <a:pt x="879" y="781"/>
                  </a:lnTo>
                  <a:lnTo>
                    <a:pt x="879" y="781"/>
                  </a:lnTo>
                  <a:lnTo>
                    <a:pt x="881" y="781"/>
                  </a:lnTo>
                  <a:lnTo>
                    <a:pt x="881" y="779"/>
                  </a:lnTo>
                  <a:lnTo>
                    <a:pt x="883" y="779"/>
                  </a:lnTo>
                  <a:lnTo>
                    <a:pt x="883" y="779"/>
                  </a:lnTo>
                  <a:lnTo>
                    <a:pt x="883" y="779"/>
                  </a:lnTo>
                  <a:lnTo>
                    <a:pt x="883" y="777"/>
                  </a:lnTo>
                  <a:lnTo>
                    <a:pt x="885" y="777"/>
                  </a:lnTo>
                  <a:lnTo>
                    <a:pt x="885" y="777"/>
                  </a:lnTo>
                  <a:lnTo>
                    <a:pt x="885" y="775"/>
                  </a:lnTo>
                  <a:lnTo>
                    <a:pt x="885" y="775"/>
                  </a:lnTo>
                  <a:lnTo>
                    <a:pt x="885" y="775"/>
                  </a:lnTo>
                  <a:lnTo>
                    <a:pt x="887" y="773"/>
                  </a:lnTo>
                  <a:lnTo>
                    <a:pt x="889" y="773"/>
                  </a:lnTo>
                  <a:lnTo>
                    <a:pt x="889" y="773"/>
                  </a:lnTo>
                  <a:lnTo>
                    <a:pt x="889" y="773"/>
                  </a:lnTo>
                  <a:lnTo>
                    <a:pt x="889" y="773"/>
                  </a:lnTo>
                  <a:lnTo>
                    <a:pt x="891" y="775"/>
                  </a:lnTo>
                  <a:lnTo>
                    <a:pt x="891" y="775"/>
                  </a:lnTo>
                  <a:lnTo>
                    <a:pt x="891" y="775"/>
                  </a:lnTo>
                  <a:lnTo>
                    <a:pt x="893" y="775"/>
                  </a:lnTo>
                  <a:lnTo>
                    <a:pt x="893" y="775"/>
                  </a:lnTo>
                  <a:lnTo>
                    <a:pt x="895" y="773"/>
                  </a:lnTo>
                  <a:lnTo>
                    <a:pt x="893" y="773"/>
                  </a:lnTo>
                  <a:lnTo>
                    <a:pt x="893" y="773"/>
                  </a:lnTo>
                  <a:lnTo>
                    <a:pt x="893" y="773"/>
                  </a:lnTo>
                  <a:lnTo>
                    <a:pt x="893" y="771"/>
                  </a:lnTo>
                  <a:lnTo>
                    <a:pt x="893" y="771"/>
                  </a:lnTo>
                  <a:lnTo>
                    <a:pt x="895" y="771"/>
                  </a:lnTo>
                  <a:lnTo>
                    <a:pt x="895" y="771"/>
                  </a:lnTo>
                  <a:lnTo>
                    <a:pt x="899" y="773"/>
                  </a:lnTo>
                  <a:lnTo>
                    <a:pt x="901" y="775"/>
                  </a:lnTo>
                  <a:lnTo>
                    <a:pt x="901" y="775"/>
                  </a:lnTo>
                  <a:lnTo>
                    <a:pt x="901" y="773"/>
                  </a:lnTo>
                  <a:lnTo>
                    <a:pt x="901" y="773"/>
                  </a:lnTo>
                  <a:lnTo>
                    <a:pt x="903" y="773"/>
                  </a:lnTo>
                  <a:lnTo>
                    <a:pt x="903" y="773"/>
                  </a:lnTo>
                  <a:lnTo>
                    <a:pt x="903" y="771"/>
                  </a:lnTo>
                  <a:lnTo>
                    <a:pt x="901" y="771"/>
                  </a:lnTo>
                  <a:lnTo>
                    <a:pt x="901" y="771"/>
                  </a:lnTo>
                  <a:lnTo>
                    <a:pt x="901" y="771"/>
                  </a:lnTo>
                  <a:lnTo>
                    <a:pt x="901" y="768"/>
                  </a:lnTo>
                  <a:lnTo>
                    <a:pt x="901" y="768"/>
                  </a:lnTo>
                  <a:lnTo>
                    <a:pt x="901" y="768"/>
                  </a:lnTo>
                  <a:lnTo>
                    <a:pt x="899" y="768"/>
                  </a:lnTo>
                  <a:lnTo>
                    <a:pt x="895" y="771"/>
                  </a:lnTo>
                  <a:lnTo>
                    <a:pt x="893" y="771"/>
                  </a:lnTo>
                  <a:lnTo>
                    <a:pt x="895" y="768"/>
                  </a:lnTo>
                  <a:lnTo>
                    <a:pt x="895" y="768"/>
                  </a:lnTo>
                  <a:lnTo>
                    <a:pt x="895" y="768"/>
                  </a:lnTo>
                  <a:lnTo>
                    <a:pt x="895" y="768"/>
                  </a:lnTo>
                  <a:lnTo>
                    <a:pt x="897" y="768"/>
                  </a:lnTo>
                  <a:lnTo>
                    <a:pt x="897" y="768"/>
                  </a:lnTo>
                  <a:lnTo>
                    <a:pt x="897" y="768"/>
                  </a:lnTo>
                  <a:lnTo>
                    <a:pt x="897" y="766"/>
                  </a:lnTo>
                  <a:lnTo>
                    <a:pt x="897" y="766"/>
                  </a:lnTo>
                  <a:lnTo>
                    <a:pt x="897" y="766"/>
                  </a:lnTo>
                  <a:lnTo>
                    <a:pt x="899" y="766"/>
                  </a:lnTo>
                  <a:lnTo>
                    <a:pt x="899" y="766"/>
                  </a:lnTo>
                  <a:lnTo>
                    <a:pt x="899" y="764"/>
                  </a:lnTo>
                  <a:lnTo>
                    <a:pt x="901" y="764"/>
                  </a:lnTo>
                  <a:lnTo>
                    <a:pt x="901" y="764"/>
                  </a:lnTo>
                  <a:lnTo>
                    <a:pt x="901" y="764"/>
                  </a:lnTo>
                  <a:lnTo>
                    <a:pt x="903" y="764"/>
                  </a:lnTo>
                  <a:lnTo>
                    <a:pt x="903" y="764"/>
                  </a:lnTo>
                  <a:lnTo>
                    <a:pt x="903" y="762"/>
                  </a:lnTo>
                  <a:lnTo>
                    <a:pt x="905" y="762"/>
                  </a:lnTo>
                  <a:lnTo>
                    <a:pt x="905" y="764"/>
                  </a:lnTo>
                  <a:lnTo>
                    <a:pt x="905" y="766"/>
                  </a:lnTo>
                  <a:lnTo>
                    <a:pt x="907" y="766"/>
                  </a:lnTo>
                  <a:lnTo>
                    <a:pt x="907" y="766"/>
                  </a:lnTo>
                  <a:lnTo>
                    <a:pt x="909" y="766"/>
                  </a:lnTo>
                  <a:lnTo>
                    <a:pt x="909" y="766"/>
                  </a:lnTo>
                  <a:lnTo>
                    <a:pt x="909" y="766"/>
                  </a:lnTo>
                  <a:lnTo>
                    <a:pt x="911" y="766"/>
                  </a:lnTo>
                  <a:lnTo>
                    <a:pt x="913" y="766"/>
                  </a:lnTo>
                  <a:lnTo>
                    <a:pt x="913" y="766"/>
                  </a:lnTo>
                  <a:lnTo>
                    <a:pt x="913" y="766"/>
                  </a:lnTo>
                  <a:lnTo>
                    <a:pt x="913" y="766"/>
                  </a:lnTo>
                  <a:lnTo>
                    <a:pt x="913" y="764"/>
                  </a:lnTo>
                  <a:lnTo>
                    <a:pt x="913" y="764"/>
                  </a:lnTo>
                  <a:lnTo>
                    <a:pt x="913" y="764"/>
                  </a:lnTo>
                  <a:lnTo>
                    <a:pt x="913" y="764"/>
                  </a:lnTo>
                  <a:lnTo>
                    <a:pt x="911" y="764"/>
                  </a:lnTo>
                  <a:lnTo>
                    <a:pt x="911" y="762"/>
                  </a:lnTo>
                  <a:lnTo>
                    <a:pt x="911" y="762"/>
                  </a:lnTo>
                  <a:lnTo>
                    <a:pt x="909" y="762"/>
                  </a:lnTo>
                  <a:lnTo>
                    <a:pt x="909" y="762"/>
                  </a:lnTo>
                  <a:lnTo>
                    <a:pt x="909" y="762"/>
                  </a:lnTo>
                  <a:lnTo>
                    <a:pt x="909" y="762"/>
                  </a:lnTo>
                  <a:lnTo>
                    <a:pt x="909" y="760"/>
                  </a:lnTo>
                  <a:lnTo>
                    <a:pt x="909" y="760"/>
                  </a:lnTo>
                  <a:lnTo>
                    <a:pt x="911" y="762"/>
                  </a:lnTo>
                  <a:lnTo>
                    <a:pt x="911" y="760"/>
                  </a:lnTo>
                  <a:lnTo>
                    <a:pt x="911" y="760"/>
                  </a:lnTo>
                  <a:lnTo>
                    <a:pt x="913" y="758"/>
                  </a:lnTo>
                  <a:lnTo>
                    <a:pt x="913" y="760"/>
                  </a:lnTo>
                  <a:lnTo>
                    <a:pt x="913" y="760"/>
                  </a:lnTo>
                  <a:lnTo>
                    <a:pt x="913" y="760"/>
                  </a:lnTo>
                  <a:lnTo>
                    <a:pt x="913" y="760"/>
                  </a:lnTo>
                  <a:lnTo>
                    <a:pt x="916" y="758"/>
                  </a:lnTo>
                  <a:lnTo>
                    <a:pt x="916" y="758"/>
                  </a:lnTo>
                  <a:lnTo>
                    <a:pt x="916" y="758"/>
                  </a:lnTo>
                  <a:lnTo>
                    <a:pt x="916" y="758"/>
                  </a:lnTo>
                  <a:lnTo>
                    <a:pt x="916" y="758"/>
                  </a:lnTo>
                  <a:lnTo>
                    <a:pt x="916" y="760"/>
                  </a:lnTo>
                  <a:lnTo>
                    <a:pt x="916" y="758"/>
                  </a:lnTo>
                  <a:lnTo>
                    <a:pt x="916" y="758"/>
                  </a:lnTo>
                  <a:lnTo>
                    <a:pt x="916" y="758"/>
                  </a:lnTo>
                  <a:lnTo>
                    <a:pt x="916" y="756"/>
                  </a:lnTo>
                  <a:lnTo>
                    <a:pt x="916" y="756"/>
                  </a:lnTo>
                  <a:lnTo>
                    <a:pt x="913" y="756"/>
                  </a:lnTo>
                  <a:lnTo>
                    <a:pt x="913" y="756"/>
                  </a:lnTo>
                  <a:lnTo>
                    <a:pt x="913" y="756"/>
                  </a:lnTo>
                  <a:lnTo>
                    <a:pt x="913" y="756"/>
                  </a:lnTo>
                  <a:lnTo>
                    <a:pt x="913" y="754"/>
                  </a:lnTo>
                  <a:lnTo>
                    <a:pt x="916" y="754"/>
                  </a:lnTo>
                  <a:lnTo>
                    <a:pt x="916" y="754"/>
                  </a:lnTo>
                  <a:lnTo>
                    <a:pt x="916" y="754"/>
                  </a:lnTo>
                  <a:lnTo>
                    <a:pt x="918" y="754"/>
                  </a:lnTo>
                  <a:lnTo>
                    <a:pt x="918" y="756"/>
                  </a:lnTo>
                  <a:lnTo>
                    <a:pt x="920" y="758"/>
                  </a:lnTo>
                  <a:lnTo>
                    <a:pt x="920" y="758"/>
                  </a:lnTo>
                  <a:lnTo>
                    <a:pt x="922" y="758"/>
                  </a:lnTo>
                  <a:lnTo>
                    <a:pt x="922" y="758"/>
                  </a:lnTo>
                  <a:lnTo>
                    <a:pt x="922" y="758"/>
                  </a:lnTo>
                  <a:lnTo>
                    <a:pt x="924" y="756"/>
                  </a:lnTo>
                  <a:lnTo>
                    <a:pt x="922" y="756"/>
                  </a:lnTo>
                  <a:lnTo>
                    <a:pt x="922" y="756"/>
                  </a:lnTo>
                  <a:lnTo>
                    <a:pt x="922" y="756"/>
                  </a:lnTo>
                  <a:lnTo>
                    <a:pt x="922" y="754"/>
                  </a:lnTo>
                  <a:lnTo>
                    <a:pt x="924" y="756"/>
                  </a:lnTo>
                  <a:lnTo>
                    <a:pt x="924" y="756"/>
                  </a:lnTo>
                  <a:lnTo>
                    <a:pt x="926" y="756"/>
                  </a:lnTo>
                  <a:lnTo>
                    <a:pt x="926" y="754"/>
                  </a:lnTo>
                  <a:lnTo>
                    <a:pt x="926" y="754"/>
                  </a:lnTo>
                  <a:lnTo>
                    <a:pt x="926" y="754"/>
                  </a:lnTo>
                  <a:lnTo>
                    <a:pt x="928" y="752"/>
                  </a:lnTo>
                  <a:lnTo>
                    <a:pt x="928" y="752"/>
                  </a:lnTo>
                  <a:lnTo>
                    <a:pt x="930" y="752"/>
                  </a:lnTo>
                  <a:lnTo>
                    <a:pt x="930" y="752"/>
                  </a:lnTo>
                  <a:lnTo>
                    <a:pt x="928" y="752"/>
                  </a:lnTo>
                  <a:lnTo>
                    <a:pt x="928" y="752"/>
                  </a:lnTo>
                  <a:lnTo>
                    <a:pt x="930" y="750"/>
                  </a:lnTo>
                  <a:lnTo>
                    <a:pt x="930" y="750"/>
                  </a:lnTo>
                  <a:lnTo>
                    <a:pt x="928" y="750"/>
                  </a:lnTo>
                  <a:lnTo>
                    <a:pt x="928" y="748"/>
                  </a:lnTo>
                  <a:lnTo>
                    <a:pt x="930" y="748"/>
                  </a:lnTo>
                  <a:lnTo>
                    <a:pt x="930" y="750"/>
                  </a:lnTo>
                  <a:lnTo>
                    <a:pt x="930" y="750"/>
                  </a:lnTo>
                  <a:lnTo>
                    <a:pt x="930" y="750"/>
                  </a:lnTo>
                  <a:lnTo>
                    <a:pt x="932" y="752"/>
                  </a:lnTo>
                  <a:lnTo>
                    <a:pt x="932" y="754"/>
                  </a:lnTo>
                  <a:lnTo>
                    <a:pt x="932" y="752"/>
                  </a:lnTo>
                  <a:lnTo>
                    <a:pt x="934" y="752"/>
                  </a:lnTo>
                  <a:lnTo>
                    <a:pt x="934" y="750"/>
                  </a:lnTo>
                  <a:lnTo>
                    <a:pt x="934" y="750"/>
                  </a:lnTo>
                  <a:lnTo>
                    <a:pt x="934" y="750"/>
                  </a:lnTo>
                  <a:lnTo>
                    <a:pt x="934" y="750"/>
                  </a:lnTo>
                  <a:lnTo>
                    <a:pt x="934" y="748"/>
                  </a:lnTo>
                  <a:lnTo>
                    <a:pt x="934" y="748"/>
                  </a:lnTo>
                  <a:lnTo>
                    <a:pt x="934" y="748"/>
                  </a:lnTo>
                  <a:lnTo>
                    <a:pt x="934" y="748"/>
                  </a:lnTo>
                  <a:lnTo>
                    <a:pt x="934" y="748"/>
                  </a:lnTo>
                  <a:lnTo>
                    <a:pt x="934" y="748"/>
                  </a:lnTo>
                  <a:lnTo>
                    <a:pt x="934" y="746"/>
                  </a:lnTo>
                  <a:lnTo>
                    <a:pt x="934" y="746"/>
                  </a:lnTo>
                  <a:lnTo>
                    <a:pt x="934" y="746"/>
                  </a:lnTo>
                  <a:lnTo>
                    <a:pt x="934" y="746"/>
                  </a:lnTo>
                  <a:lnTo>
                    <a:pt x="934" y="746"/>
                  </a:lnTo>
                  <a:lnTo>
                    <a:pt x="934" y="746"/>
                  </a:lnTo>
                  <a:lnTo>
                    <a:pt x="936" y="746"/>
                  </a:lnTo>
                  <a:lnTo>
                    <a:pt x="936" y="746"/>
                  </a:lnTo>
                  <a:lnTo>
                    <a:pt x="936" y="746"/>
                  </a:lnTo>
                  <a:lnTo>
                    <a:pt x="936" y="746"/>
                  </a:lnTo>
                  <a:lnTo>
                    <a:pt x="936" y="748"/>
                  </a:lnTo>
                  <a:lnTo>
                    <a:pt x="936" y="748"/>
                  </a:lnTo>
                  <a:lnTo>
                    <a:pt x="936" y="748"/>
                  </a:lnTo>
                  <a:lnTo>
                    <a:pt x="936" y="748"/>
                  </a:lnTo>
                  <a:lnTo>
                    <a:pt x="938" y="748"/>
                  </a:lnTo>
                  <a:lnTo>
                    <a:pt x="940" y="750"/>
                  </a:lnTo>
                  <a:lnTo>
                    <a:pt x="940" y="750"/>
                  </a:lnTo>
                  <a:lnTo>
                    <a:pt x="940" y="748"/>
                  </a:lnTo>
                  <a:lnTo>
                    <a:pt x="938" y="746"/>
                  </a:lnTo>
                  <a:lnTo>
                    <a:pt x="938" y="746"/>
                  </a:lnTo>
                  <a:lnTo>
                    <a:pt x="938" y="744"/>
                  </a:lnTo>
                  <a:lnTo>
                    <a:pt x="938" y="744"/>
                  </a:lnTo>
                  <a:lnTo>
                    <a:pt x="940" y="746"/>
                  </a:lnTo>
                  <a:lnTo>
                    <a:pt x="940" y="746"/>
                  </a:lnTo>
                  <a:lnTo>
                    <a:pt x="940" y="746"/>
                  </a:lnTo>
                  <a:lnTo>
                    <a:pt x="940" y="746"/>
                  </a:lnTo>
                  <a:lnTo>
                    <a:pt x="940" y="746"/>
                  </a:lnTo>
                  <a:lnTo>
                    <a:pt x="942" y="746"/>
                  </a:lnTo>
                  <a:lnTo>
                    <a:pt x="942" y="746"/>
                  </a:lnTo>
                  <a:lnTo>
                    <a:pt x="942" y="744"/>
                  </a:lnTo>
                  <a:lnTo>
                    <a:pt x="942" y="744"/>
                  </a:lnTo>
                  <a:lnTo>
                    <a:pt x="942" y="744"/>
                  </a:lnTo>
                  <a:lnTo>
                    <a:pt x="942" y="744"/>
                  </a:lnTo>
                  <a:lnTo>
                    <a:pt x="942" y="744"/>
                  </a:lnTo>
                  <a:lnTo>
                    <a:pt x="942" y="744"/>
                  </a:lnTo>
                  <a:lnTo>
                    <a:pt x="942" y="744"/>
                  </a:lnTo>
                  <a:lnTo>
                    <a:pt x="942" y="742"/>
                  </a:lnTo>
                  <a:lnTo>
                    <a:pt x="942" y="742"/>
                  </a:lnTo>
                  <a:lnTo>
                    <a:pt x="946" y="742"/>
                  </a:lnTo>
                  <a:lnTo>
                    <a:pt x="946" y="740"/>
                  </a:lnTo>
                  <a:lnTo>
                    <a:pt x="946" y="740"/>
                  </a:lnTo>
                  <a:lnTo>
                    <a:pt x="946" y="740"/>
                  </a:lnTo>
                  <a:lnTo>
                    <a:pt x="946" y="740"/>
                  </a:lnTo>
                  <a:lnTo>
                    <a:pt x="946" y="738"/>
                  </a:lnTo>
                  <a:lnTo>
                    <a:pt x="946" y="738"/>
                  </a:lnTo>
                  <a:lnTo>
                    <a:pt x="946" y="738"/>
                  </a:lnTo>
                  <a:lnTo>
                    <a:pt x="946" y="738"/>
                  </a:lnTo>
                  <a:lnTo>
                    <a:pt x="944" y="738"/>
                  </a:lnTo>
                  <a:lnTo>
                    <a:pt x="944" y="738"/>
                  </a:lnTo>
                  <a:lnTo>
                    <a:pt x="944" y="736"/>
                  </a:lnTo>
                  <a:lnTo>
                    <a:pt x="944" y="736"/>
                  </a:lnTo>
                  <a:lnTo>
                    <a:pt x="944" y="736"/>
                  </a:lnTo>
                  <a:lnTo>
                    <a:pt x="946" y="736"/>
                  </a:lnTo>
                  <a:lnTo>
                    <a:pt x="946" y="736"/>
                  </a:lnTo>
                  <a:lnTo>
                    <a:pt x="946" y="734"/>
                  </a:lnTo>
                  <a:lnTo>
                    <a:pt x="946" y="734"/>
                  </a:lnTo>
                  <a:lnTo>
                    <a:pt x="946" y="734"/>
                  </a:lnTo>
                  <a:lnTo>
                    <a:pt x="946" y="734"/>
                  </a:lnTo>
                  <a:lnTo>
                    <a:pt x="946" y="734"/>
                  </a:lnTo>
                  <a:lnTo>
                    <a:pt x="946" y="734"/>
                  </a:lnTo>
                  <a:lnTo>
                    <a:pt x="946" y="734"/>
                  </a:lnTo>
                  <a:lnTo>
                    <a:pt x="946" y="732"/>
                  </a:lnTo>
                  <a:lnTo>
                    <a:pt x="946" y="732"/>
                  </a:lnTo>
                  <a:lnTo>
                    <a:pt x="946" y="732"/>
                  </a:lnTo>
                  <a:lnTo>
                    <a:pt x="942" y="734"/>
                  </a:lnTo>
                  <a:lnTo>
                    <a:pt x="940" y="734"/>
                  </a:lnTo>
                  <a:lnTo>
                    <a:pt x="940" y="732"/>
                  </a:lnTo>
                  <a:lnTo>
                    <a:pt x="940" y="732"/>
                  </a:lnTo>
                  <a:lnTo>
                    <a:pt x="942" y="732"/>
                  </a:lnTo>
                  <a:lnTo>
                    <a:pt x="942" y="732"/>
                  </a:lnTo>
                  <a:lnTo>
                    <a:pt x="942" y="732"/>
                  </a:lnTo>
                  <a:lnTo>
                    <a:pt x="946" y="728"/>
                  </a:lnTo>
                  <a:lnTo>
                    <a:pt x="948" y="725"/>
                  </a:lnTo>
                  <a:lnTo>
                    <a:pt x="948" y="725"/>
                  </a:lnTo>
                  <a:lnTo>
                    <a:pt x="950" y="725"/>
                  </a:lnTo>
                  <a:lnTo>
                    <a:pt x="950" y="725"/>
                  </a:lnTo>
                  <a:lnTo>
                    <a:pt x="950" y="725"/>
                  </a:lnTo>
                  <a:lnTo>
                    <a:pt x="950" y="723"/>
                  </a:lnTo>
                  <a:lnTo>
                    <a:pt x="950" y="723"/>
                  </a:lnTo>
                  <a:lnTo>
                    <a:pt x="952" y="723"/>
                  </a:lnTo>
                  <a:lnTo>
                    <a:pt x="952" y="725"/>
                  </a:lnTo>
                  <a:lnTo>
                    <a:pt x="954" y="725"/>
                  </a:lnTo>
                  <a:lnTo>
                    <a:pt x="956" y="725"/>
                  </a:lnTo>
                  <a:lnTo>
                    <a:pt x="956" y="725"/>
                  </a:lnTo>
                  <a:lnTo>
                    <a:pt x="954" y="723"/>
                  </a:lnTo>
                  <a:lnTo>
                    <a:pt x="954" y="723"/>
                  </a:lnTo>
                  <a:lnTo>
                    <a:pt x="954" y="721"/>
                  </a:lnTo>
                  <a:lnTo>
                    <a:pt x="954" y="721"/>
                  </a:lnTo>
                  <a:lnTo>
                    <a:pt x="954" y="721"/>
                  </a:lnTo>
                  <a:lnTo>
                    <a:pt x="954" y="721"/>
                  </a:lnTo>
                  <a:lnTo>
                    <a:pt x="954" y="721"/>
                  </a:lnTo>
                  <a:lnTo>
                    <a:pt x="956" y="721"/>
                  </a:lnTo>
                  <a:lnTo>
                    <a:pt x="956" y="721"/>
                  </a:lnTo>
                  <a:lnTo>
                    <a:pt x="956" y="719"/>
                  </a:lnTo>
                  <a:lnTo>
                    <a:pt x="956" y="719"/>
                  </a:lnTo>
                  <a:lnTo>
                    <a:pt x="956" y="719"/>
                  </a:lnTo>
                  <a:lnTo>
                    <a:pt x="956" y="719"/>
                  </a:lnTo>
                  <a:lnTo>
                    <a:pt x="959" y="721"/>
                  </a:lnTo>
                  <a:lnTo>
                    <a:pt x="959" y="721"/>
                  </a:lnTo>
                  <a:lnTo>
                    <a:pt x="959" y="719"/>
                  </a:lnTo>
                  <a:lnTo>
                    <a:pt x="959" y="719"/>
                  </a:lnTo>
                  <a:lnTo>
                    <a:pt x="961" y="719"/>
                  </a:lnTo>
                  <a:lnTo>
                    <a:pt x="961" y="719"/>
                  </a:lnTo>
                  <a:lnTo>
                    <a:pt x="961" y="719"/>
                  </a:lnTo>
                  <a:lnTo>
                    <a:pt x="961" y="719"/>
                  </a:lnTo>
                  <a:lnTo>
                    <a:pt x="963" y="719"/>
                  </a:lnTo>
                  <a:lnTo>
                    <a:pt x="963" y="719"/>
                  </a:lnTo>
                  <a:lnTo>
                    <a:pt x="963" y="719"/>
                  </a:lnTo>
                  <a:lnTo>
                    <a:pt x="963" y="721"/>
                  </a:lnTo>
                  <a:lnTo>
                    <a:pt x="963" y="721"/>
                  </a:lnTo>
                  <a:lnTo>
                    <a:pt x="965" y="719"/>
                  </a:lnTo>
                  <a:lnTo>
                    <a:pt x="965" y="719"/>
                  </a:lnTo>
                  <a:lnTo>
                    <a:pt x="965" y="719"/>
                  </a:lnTo>
                  <a:lnTo>
                    <a:pt x="965" y="717"/>
                  </a:lnTo>
                  <a:lnTo>
                    <a:pt x="965" y="717"/>
                  </a:lnTo>
                  <a:lnTo>
                    <a:pt x="965" y="717"/>
                  </a:lnTo>
                  <a:lnTo>
                    <a:pt x="965" y="717"/>
                  </a:lnTo>
                  <a:lnTo>
                    <a:pt x="965" y="717"/>
                  </a:lnTo>
                  <a:lnTo>
                    <a:pt x="965" y="717"/>
                  </a:lnTo>
                  <a:lnTo>
                    <a:pt x="963" y="715"/>
                  </a:lnTo>
                  <a:lnTo>
                    <a:pt x="963" y="715"/>
                  </a:lnTo>
                  <a:lnTo>
                    <a:pt x="963" y="715"/>
                  </a:lnTo>
                  <a:lnTo>
                    <a:pt x="965" y="715"/>
                  </a:lnTo>
                  <a:lnTo>
                    <a:pt x="967" y="715"/>
                  </a:lnTo>
                  <a:lnTo>
                    <a:pt x="969" y="713"/>
                  </a:lnTo>
                  <a:lnTo>
                    <a:pt x="969" y="713"/>
                  </a:lnTo>
                  <a:lnTo>
                    <a:pt x="967" y="711"/>
                  </a:lnTo>
                  <a:lnTo>
                    <a:pt x="967" y="711"/>
                  </a:lnTo>
                  <a:lnTo>
                    <a:pt x="967" y="711"/>
                  </a:lnTo>
                  <a:lnTo>
                    <a:pt x="967" y="709"/>
                  </a:lnTo>
                  <a:lnTo>
                    <a:pt x="967" y="709"/>
                  </a:lnTo>
                  <a:lnTo>
                    <a:pt x="969" y="707"/>
                  </a:lnTo>
                  <a:lnTo>
                    <a:pt x="969" y="707"/>
                  </a:lnTo>
                  <a:lnTo>
                    <a:pt x="969" y="707"/>
                  </a:lnTo>
                  <a:lnTo>
                    <a:pt x="971" y="709"/>
                  </a:lnTo>
                  <a:lnTo>
                    <a:pt x="971" y="709"/>
                  </a:lnTo>
                  <a:lnTo>
                    <a:pt x="971" y="709"/>
                  </a:lnTo>
                  <a:lnTo>
                    <a:pt x="973" y="711"/>
                  </a:lnTo>
                  <a:lnTo>
                    <a:pt x="973" y="711"/>
                  </a:lnTo>
                  <a:lnTo>
                    <a:pt x="973" y="711"/>
                  </a:lnTo>
                  <a:lnTo>
                    <a:pt x="975" y="711"/>
                  </a:lnTo>
                  <a:lnTo>
                    <a:pt x="975" y="711"/>
                  </a:lnTo>
                  <a:lnTo>
                    <a:pt x="975" y="711"/>
                  </a:lnTo>
                  <a:lnTo>
                    <a:pt x="975" y="711"/>
                  </a:lnTo>
                  <a:lnTo>
                    <a:pt x="977" y="711"/>
                  </a:lnTo>
                  <a:lnTo>
                    <a:pt x="977" y="709"/>
                  </a:lnTo>
                  <a:lnTo>
                    <a:pt x="977" y="709"/>
                  </a:lnTo>
                  <a:lnTo>
                    <a:pt x="975" y="707"/>
                  </a:lnTo>
                  <a:lnTo>
                    <a:pt x="975" y="707"/>
                  </a:lnTo>
                  <a:lnTo>
                    <a:pt x="975" y="707"/>
                  </a:lnTo>
                  <a:lnTo>
                    <a:pt x="975" y="707"/>
                  </a:lnTo>
                  <a:lnTo>
                    <a:pt x="977" y="707"/>
                  </a:lnTo>
                  <a:lnTo>
                    <a:pt x="975" y="707"/>
                  </a:lnTo>
                  <a:lnTo>
                    <a:pt x="975" y="705"/>
                  </a:lnTo>
                  <a:lnTo>
                    <a:pt x="975" y="705"/>
                  </a:lnTo>
                  <a:lnTo>
                    <a:pt x="977" y="705"/>
                  </a:lnTo>
                  <a:lnTo>
                    <a:pt x="977" y="705"/>
                  </a:lnTo>
                  <a:lnTo>
                    <a:pt x="979" y="705"/>
                  </a:lnTo>
                  <a:lnTo>
                    <a:pt x="979" y="705"/>
                  </a:lnTo>
                  <a:lnTo>
                    <a:pt x="979" y="705"/>
                  </a:lnTo>
                  <a:lnTo>
                    <a:pt x="979" y="705"/>
                  </a:lnTo>
                  <a:lnTo>
                    <a:pt x="977" y="703"/>
                  </a:lnTo>
                  <a:lnTo>
                    <a:pt x="981" y="703"/>
                  </a:lnTo>
                  <a:lnTo>
                    <a:pt x="983" y="703"/>
                  </a:lnTo>
                  <a:lnTo>
                    <a:pt x="983" y="703"/>
                  </a:lnTo>
                  <a:lnTo>
                    <a:pt x="983" y="701"/>
                  </a:lnTo>
                  <a:lnTo>
                    <a:pt x="981" y="699"/>
                  </a:lnTo>
                  <a:lnTo>
                    <a:pt x="983" y="699"/>
                  </a:lnTo>
                  <a:lnTo>
                    <a:pt x="983" y="699"/>
                  </a:lnTo>
                  <a:lnTo>
                    <a:pt x="983" y="699"/>
                  </a:lnTo>
                  <a:lnTo>
                    <a:pt x="983" y="697"/>
                  </a:lnTo>
                  <a:lnTo>
                    <a:pt x="983" y="697"/>
                  </a:lnTo>
                  <a:lnTo>
                    <a:pt x="985" y="697"/>
                  </a:lnTo>
                  <a:lnTo>
                    <a:pt x="985" y="695"/>
                  </a:lnTo>
                  <a:lnTo>
                    <a:pt x="987" y="695"/>
                  </a:lnTo>
                  <a:lnTo>
                    <a:pt x="989" y="697"/>
                  </a:lnTo>
                  <a:lnTo>
                    <a:pt x="989" y="697"/>
                  </a:lnTo>
                  <a:lnTo>
                    <a:pt x="991" y="697"/>
                  </a:lnTo>
                  <a:lnTo>
                    <a:pt x="991" y="697"/>
                  </a:lnTo>
                  <a:lnTo>
                    <a:pt x="991" y="697"/>
                  </a:lnTo>
                  <a:lnTo>
                    <a:pt x="991" y="697"/>
                  </a:lnTo>
                  <a:lnTo>
                    <a:pt x="991" y="697"/>
                  </a:lnTo>
                  <a:lnTo>
                    <a:pt x="991" y="697"/>
                  </a:lnTo>
                  <a:lnTo>
                    <a:pt x="991" y="695"/>
                  </a:lnTo>
                  <a:lnTo>
                    <a:pt x="991" y="695"/>
                  </a:lnTo>
                  <a:lnTo>
                    <a:pt x="993" y="695"/>
                  </a:lnTo>
                  <a:lnTo>
                    <a:pt x="993" y="695"/>
                  </a:lnTo>
                  <a:lnTo>
                    <a:pt x="993" y="693"/>
                  </a:lnTo>
                  <a:lnTo>
                    <a:pt x="995" y="695"/>
                  </a:lnTo>
                  <a:lnTo>
                    <a:pt x="995" y="695"/>
                  </a:lnTo>
                  <a:lnTo>
                    <a:pt x="995" y="695"/>
                  </a:lnTo>
                  <a:lnTo>
                    <a:pt x="995" y="695"/>
                  </a:lnTo>
                  <a:lnTo>
                    <a:pt x="995" y="695"/>
                  </a:lnTo>
                  <a:lnTo>
                    <a:pt x="995" y="697"/>
                  </a:lnTo>
                  <a:lnTo>
                    <a:pt x="997" y="695"/>
                  </a:lnTo>
                  <a:lnTo>
                    <a:pt x="997" y="695"/>
                  </a:lnTo>
                  <a:lnTo>
                    <a:pt x="997" y="693"/>
                  </a:lnTo>
                  <a:lnTo>
                    <a:pt x="997" y="693"/>
                  </a:lnTo>
                  <a:lnTo>
                    <a:pt x="997" y="693"/>
                  </a:lnTo>
                  <a:lnTo>
                    <a:pt x="995" y="691"/>
                  </a:lnTo>
                  <a:lnTo>
                    <a:pt x="995" y="691"/>
                  </a:lnTo>
                  <a:lnTo>
                    <a:pt x="997" y="691"/>
                  </a:lnTo>
                  <a:lnTo>
                    <a:pt x="999" y="693"/>
                  </a:lnTo>
                  <a:lnTo>
                    <a:pt x="999" y="693"/>
                  </a:lnTo>
                  <a:lnTo>
                    <a:pt x="999" y="691"/>
                  </a:lnTo>
                  <a:lnTo>
                    <a:pt x="999" y="691"/>
                  </a:lnTo>
                  <a:lnTo>
                    <a:pt x="999" y="687"/>
                  </a:lnTo>
                  <a:lnTo>
                    <a:pt x="999" y="687"/>
                  </a:lnTo>
                  <a:lnTo>
                    <a:pt x="999" y="689"/>
                  </a:lnTo>
                  <a:lnTo>
                    <a:pt x="999" y="689"/>
                  </a:lnTo>
                  <a:lnTo>
                    <a:pt x="999" y="689"/>
                  </a:lnTo>
                  <a:lnTo>
                    <a:pt x="999" y="689"/>
                  </a:lnTo>
                  <a:lnTo>
                    <a:pt x="999" y="689"/>
                  </a:lnTo>
                  <a:lnTo>
                    <a:pt x="999" y="691"/>
                  </a:lnTo>
                  <a:lnTo>
                    <a:pt x="1002" y="691"/>
                  </a:lnTo>
                  <a:lnTo>
                    <a:pt x="1002" y="691"/>
                  </a:lnTo>
                  <a:lnTo>
                    <a:pt x="1002" y="691"/>
                  </a:lnTo>
                  <a:lnTo>
                    <a:pt x="1002" y="693"/>
                  </a:lnTo>
                  <a:lnTo>
                    <a:pt x="1004" y="693"/>
                  </a:lnTo>
                  <a:lnTo>
                    <a:pt x="1004" y="693"/>
                  </a:lnTo>
                  <a:lnTo>
                    <a:pt x="1004" y="693"/>
                  </a:lnTo>
                  <a:lnTo>
                    <a:pt x="1004" y="691"/>
                  </a:lnTo>
                  <a:lnTo>
                    <a:pt x="1004" y="691"/>
                  </a:lnTo>
                  <a:lnTo>
                    <a:pt x="1004" y="691"/>
                  </a:lnTo>
                  <a:lnTo>
                    <a:pt x="1004" y="689"/>
                  </a:lnTo>
                  <a:lnTo>
                    <a:pt x="1006" y="691"/>
                  </a:lnTo>
                  <a:lnTo>
                    <a:pt x="1006" y="691"/>
                  </a:lnTo>
                  <a:lnTo>
                    <a:pt x="1006" y="691"/>
                  </a:lnTo>
                  <a:lnTo>
                    <a:pt x="1006" y="689"/>
                  </a:lnTo>
                  <a:lnTo>
                    <a:pt x="1004" y="689"/>
                  </a:lnTo>
                  <a:lnTo>
                    <a:pt x="1004" y="687"/>
                  </a:lnTo>
                  <a:lnTo>
                    <a:pt x="1004" y="687"/>
                  </a:lnTo>
                  <a:lnTo>
                    <a:pt x="1006" y="687"/>
                  </a:lnTo>
                  <a:lnTo>
                    <a:pt x="1006" y="687"/>
                  </a:lnTo>
                  <a:lnTo>
                    <a:pt x="1006" y="687"/>
                  </a:lnTo>
                  <a:lnTo>
                    <a:pt x="1008" y="687"/>
                  </a:lnTo>
                  <a:lnTo>
                    <a:pt x="1008" y="687"/>
                  </a:lnTo>
                  <a:lnTo>
                    <a:pt x="1008" y="684"/>
                  </a:lnTo>
                  <a:lnTo>
                    <a:pt x="1008" y="684"/>
                  </a:lnTo>
                  <a:lnTo>
                    <a:pt x="1006" y="684"/>
                  </a:lnTo>
                  <a:lnTo>
                    <a:pt x="1008" y="684"/>
                  </a:lnTo>
                  <a:lnTo>
                    <a:pt x="1008" y="682"/>
                  </a:lnTo>
                  <a:lnTo>
                    <a:pt x="1010" y="682"/>
                  </a:lnTo>
                  <a:lnTo>
                    <a:pt x="1008" y="680"/>
                  </a:lnTo>
                  <a:lnTo>
                    <a:pt x="1008" y="680"/>
                  </a:lnTo>
                  <a:lnTo>
                    <a:pt x="1008" y="680"/>
                  </a:lnTo>
                  <a:lnTo>
                    <a:pt x="1008" y="680"/>
                  </a:lnTo>
                  <a:lnTo>
                    <a:pt x="1008" y="680"/>
                  </a:lnTo>
                  <a:lnTo>
                    <a:pt x="1008" y="680"/>
                  </a:lnTo>
                  <a:lnTo>
                    <a:pt x="1008" y="682"/>
                  </a:lnTo>
                  <a:lnTo>
                    <a:pt x="1008" y="682"/>
                  </a:lnTo>
                  <a:lnTo>
                    <a:pt x="1006" y="682"/>
                  </a:lnTo>
                  <a:lnTo>
                    <a:pt x="1006" y="682"/>
                  </a:lnTo>
                  <a:lnTo>
                    <a:pt x="1006" y="682"/>
                  </a:lnTo>
                  <a:lnTo>
                    <a:pt x="1006" y="682"/>
                  </a:lnTo>
                  <a:lnTo>
                    <a:pt x="1004" y="682"/>
                  </a:lnTo>
                  <a:lnTo>
                    <a:pt x="1004" y="682"/>
                  </a:lnTo>
                  <a:lnTo>
                    <a:pt x="1004" y="684"/>
                  </a:lnTo>
                  <a:lnTo>
                    <a:pt x="1004" y="684"/>
                  </a:lnTo>
                  <a:lnTo>
                    <a:pt x="1004" y="684"/>
                  </a:lnTo>
                  <a:lnTo>
                    <a:pt x="1002" y="684"/>
                  </a:lnTo>
                  <a:lnTo>
                    <a:pt x="1004" y="684"/>
                  </a:lnTo>
                  <a:lnTo>
                    <a:pt x="1004" y="682"/>
                  </a:lnTo>
                  <a:lnTo>
                    <a:pt x="1004" y="682"/>
                  </a:lnTo>
                  <a:lnTo>
                    <a:pt x="1002" y="682"/>
                  </a:lnTo>
                  <a:lnTo>
                    <a:pt x="1004" y="682"/>
                  </a:lnTo>
                  <a:lnTo>
                    <a:pt x="1004" y="680"/>
                  </a:lnTo>
                  <a:lnTo>
                    <a:pt x="1004" y="680"/>
                  </a:lnTo>
                  <a:lnTo>
                    <a:pt x="1006" y="680"/>
                  </a:lnTo>
                  <a:lnTo>
                    <a:pt x="1006" y="680"/>
                  </a:lnTo>
                  <a:lnTo>
                    <a:pt x="1008" y="680"/>
                  </a:lnTo>
                  <a:lnTo>
                    <a:pt x="1008" y="680"/>
                  </a:lnTo>
                  <a:lnTo>
                    <a:pt x="1008" y="678"/>
                  </a:lnTo>
                  <a:lnTo>
                    <a:pt x="1008" y="678"/>
                  </a:lnTo>
                  <a:lnTo>
                    <a:pt x="1008" y="678"/>
                  </a:lnTo>
                  <a:lnTo>
                    <a:pt x="1010" y="678"/>
                  </a:lnTo>
                  <a:lnTo>
                    <a:pt x="1010" y="678"/>
                  </a:lnTo>
                  <a:lnTo>
                    <a:pt x="1012" y="678"/>
                  </a:lnTo>
                  <a:lnTo>
                    <a:pt x="1012" y="678"/>
                  </a:lnTo>
                  <a:lnTo>
                    <a:pt x="1012" y="678"/>
                  </a:lnTo>
                  <a:lnTo>
                    <a:pt x="1012" y="676"/>
                  </a:lnTo>
                  <a:lnTo>
                    <a:pt x="1012" y="676"/>
                  </a:lnTo>
                  <a:lnTo>
                    <a:pt x="1012" y="676"/>
                  </a:lnTo>
                  <a:lnTo>
                    <a:pt x="1010" y="676"/>
                  </a:lnTo>
                  <a:lnTo>
                    <a:pt x="1010" y="676"/>
                  </a:lnTo>
                  <a:lnTo>
                    <a:pt x="1010" y="676"/>
                  </a:lnTo>
                  <a:lnTo>
                    <a:pt x="1010" y="676"/>
                  </a:lnTo>
                  <a:lnTo>
                    <a:pt x="1010" y="676"/>
                  </a:lnTo>
                  <a:lnTo>
                    <a:pt x="1010" y="674"/>
                  </a:lnTo>
                  <a:lnTo>
                    <a:pt x="1010" y="672"/>
                  </a:lnTo>
                  <a:lnTo>
                    <a:pt x="1010" y="672"/>
                  </a:lnTo>
                  <a:lnTo>
                    <a:pt x="1010" y="672"/>
                  </a:lnTo>
                  <a:lnTo>
                    <a:pt x="1012" y="672"/>
                  </a:lnTo>
                  <a:lnTo>
                    <a:pt x="1012" y="672"/>
                  </a:lnTo>
                  <a:lnTo>
                    <a:pt x="1014" y="672"/>
                  </a:lnTo>
                  <a:lnTo>
                    <a:pt x="1014" y="672"/>
                  </a:lnTo>
                  <a:lnTo>
                    <a:pt x="1014" y="672"/>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68"/>
                  </a:lnTo>
                  <a:lnTo>
                    <a:pt x="1014" y="668"/>
                  </a:lnTo>
                  <a:lnTo>
                    <a:pt x="1016" y="668"/>
                  </a:lnTo>
                  <a:lnTo>
                    <a:pt x="1016" y="666"/>
                  </a:lnTo>
                  <a:lnTo>
                    <a:pt x="1016" y="666"/>
                  </a:lnTo>
                  <a:lnTo>
                    <a:pt x="1014" y="666"/>
                  </a:lnTo>
                  <a:lnTo>
                    <a:pt x="1014" y="666"/>
                  </a:lnTo>
                  <a:lnTo>
                    <a:pt x="1016" y="666"/>
                  </a:lnTo>
                  <a:lnTo>
                    <a:pt x="1016" y="666"/>
                  </a:lnTo>
                  <a:lnTo>
                    <a:pt x="1018" y="666"/>
                  </a:lnTo>
                  <a:lnTo>
                    <a:pt x="1020" y="664"/>
                  </a:lnTo>
                  <a:lnTo>
                    <a:pt x="1022" y="664"/>
                  </a:lnTo>
                  <a:lnTo>
                    <a:pt x="1022" y="664"/>
                  </a:lnTo>
                  <a:lnTo>
                    <a:pt x="1024" y="664"/>
                  </a:lnTo>
                  <a:lnTo>
                    <a:pt x="1024" y="662"/>
                  </a:lnTo>
                  <a:lnTo>
                    <a:pt x="1024" y="662"/>
                  </a:lnTo>
                  <a:lnTo>
                    <a:pt x="1024" y="662"/>
                  </a:lnTo>
                  <a:lnTo>
                    <a:pt x="1026" y="662"/>
                  </a:lnTo>
                  <a:lnTo>
                    <a:pt x="1028" y="660"/>
                  </a:lnTo>
                  <a:lnTo>
                    <a:pt x="1028" y="658"/>
                  </a:lnTo>
                  <a:lnTo>
                    <a:pt x="1028" y="658"/>
                  </a:lnTo>
                  <a:lnTo>
                    <a:pt x="1028" y="656"/>
                  </a:lnTo>
                  <a:lnTo>
                    <a:pt x="1028" y="654"/>
                  </a:lnTo>
                  <a:lnTo>
                    <a:pt x="1030" y="654"/>
                  </a:lnTo>
                  <a:lnTo>
                    <a:pt x="1030" y="654"/>
                  </a:lnTo>
                  <a:lnTo>
                    <a:pt x="1032" y="654"/>
                  </a:lnTo>
                  <a:lnTo>
                    <a:pt x="1032" y="652"/>
                  </a:lnTo>
                  <a:lnTo>
                    <a:pt x="1032" y="652"/>
                  </a:lnTo>
                  <a:lnTo>
                    <a:pt x="1032" y="652"/>
                  </a:lnTo>
                  <a:lnTo>
                    <a:pt x="1030" y="652"/>
                  </a:lnTo>
                  <a:lnTo>
                    <a:pt x="1030" y="652"/>
                  </a:lnTo>
                  <a:lnTo>
                    <a:pt x="1030" y="652"/>
                  </a:lnTo>
                  <a:lnTo>
                    <a:pt x="1030" y="652"/>
                  </a:lnTo>
                  <a:lnTo>
                    <a:pt x="1032" y="652"/>
                  </a:lnTo>
                  <a:lnTo>
                    <a:pt x="1032" y="652"/>
                  </a:lnTo>
                  <a:lnTo>
                    <a:pt x="1030" y="652"/>
                  </a:lnTo>
                  <a:lnTo>
                    <a:pt x="1030" y="652"/>
                  </a:lnTo>
                  <a:lnTo>
                    <a:pt x="1030" y="650"/>
                  </a:lnTo>
                  <a:lnTo>
                    <a:pt x="1030" y="650"/>
                  </a:lnTo>
                  <a:lnTo>
                    <a:pt x="1030" y="650"/>
                  </a:lnTo>
                  <a:lnTo>
                    <a:pt x="1030" y="650"/>
                  </a:lnTo>
                  <a:lnTo>
                    <a:pt x="1030" y="648"/>
                  </a:lnTo>
                  <a:lnTo>
                    <a:pt x="1030" y="648"/>
                  </a:lnTo>
                  <a:lnTo>
                    <a:pt x="1028" y="648"/>
                  </a:lnTo>
                  <a:lnTo>
                    <a:pt x="1028" y="646"/>
                  </a:lnTo>
                  <a:lnTo>
                    <a:pt x="1028" y="646"/>
                  </a:lnTo>
                  <a:lnTo>
                    <a:pt x="1026" y="646"/>
                  </a:lnTo>
                  <a:lnTo>
                    <a:pt x="1026" y="646"/>
                  </a:lnTo>
                  <a:lnTo>
                    <a:pt x="1026" y="646"/>
                  </a:lnTo>
                  <a:lnTo>
                    <a:pt x="1026" y="646"/>
                  </a:lnTo>
                  <a:lnTo>
                    <a:pt x="1026" y="646"/>
                  </a:lnTo>
                  <a:lnTo>
                    <a:pt x="1024" y="646"/>
                  </a:lnTo>
                  <a:lnTo>
                    <a:pt x="1024" y="646"/>
                  </a:lnTo>
                  <a:lnTo>
                    <a:pt x="1024" y="646"/>
                  </a:lnTo>
                  <a:lnTo>
                    <a:pt x="1024" y="646"/>
                  </a:lnTo>
                  <a:lnTo>
                    <a:pt x="1022" y="646"/>
                  </a:lnTo>
                  <a:lnTo>
                    <a:pt x="1022" y="643"/>
                  </a:lnTo>
                  <a:lnTo>
                    <a:pt x="1022" y="643"/>
                  </a:lnTo>
                  <a:lnTo>
                    <a:pt x="1022" y="643"/>
                  </a:lnTo>
                  <a:lnTo>
                    <a:pt x="1020" y="641"/>
                  </a:lnTo>
                  <a:lnTo>
                    <a:pt x="1020" y="641"/>
                  </a:lnTo>
                  <a:lnTo>
                    <a:pt x="1018" y="641"/>
                  </a:lnTo>
                  <a:lnTo>
                    <a:pt x="1018" y="641"/>
                  </a:lnTo>
                  <a:lnTo>
                    <a:pt x="1016" y="641"/>
                  </a:lnTo>
                  <a:lnTo>
                    <a:pt x="1016" y="641"/>
                  </a:lnTo>
                  <a:lnTo>
                    <a:pt x="1012" y="641"/>
                  </a:lnTo>
                  <a:lnTo>
                    <a:pt x="1010" y="641"/>
                  </a:lnTo>
                  <a:lnTo>
                    <a:pt x="1010" y="641"/>
                  </a:lnTo>
                  <a:lnTo>
                    <a:pt x="1010" y="643"/>
                  </a:lnTo>
                  <a:lnTo>
                    <a:pt x="1008" y="643"/>
                  </a:lnTo>
                  <a:lnTo>
                    <a:pt x="1008" y="643"/>
                  </a:lnTo>
                  <a:lnTo>
                    <a:pt x="1008" y="643"/>
                  </a:lnTo>
                  <a:lnTo>
                    <a:pt x="1008" y="641"/>
                  </a:lnTo>
                  <a:lnTo>
                    <a:pt x="1008" y="641"/>
                  </a:lnTo>
                  <a:lnTo>
                    <a:pt x="1008" y="641"/>
                  </a:lnTo>
                  <a:lnTo>
                    <a:pt x="1008" y="639"/>
                  </a:lnTo>
                  <a:lnTo>
                    <a:pt x="1008" y="639"/>
                  </a:lnTo>
                  <a:lnTo>
                    <a:pt x="1008" y="639"/>
                  </a:lnTo>
                  <a:lnTo>
                    <a:pt x="1008" y="639"/>
                  </a:lnTo>
                  <a:lnTo>
                    <a:pt x="1008" y="639"/>
                  </a:lnTo>
                  <a:lnTo>
                    <a:pt x="1008" y="639"/>
                  </a:lnTo>
                  <a:lnTo>
                    <a:pt x="1008" y="637"/>
                  </a:lnTo>
                  <a:lnTo>
                    <a:pt x="1006" y="639"/>
                  </a:lnTo>
                  <a:lnTo>
                    <a:pt x="1006" y="639"/>
                  </a:lnTo>
                  <a:lnTo>
                    <a:pt x="1006" y="637"/>
                  </a:lnTo>
                  <a:lnTo>
                    <a:pt x="1006" y="637"/>
                  </a:lnTo>
                  <a:lnTo>
                    <a:pt x="1006" y="637"/>
                  </a:lnTo>
                  <a:lnTo>
                    <a:pt x="1006" y="637"/>
                  </a:lnTo>
                  <a:lnTo>
                    <a:pt x="1006" y="637"/>
                  </a:lnTo>
                  <a:lnTo>
                    <a:pt x="1006" y="637"/>
                  </a:lnTo>
                  <a:lnTo>
                    <a:pt x="1006" y="637"/>
                  </a:lnTo>
                  <a:lnTo>
                    <a:pt x="1006" y="637"/>
                  </a:lnTo>
                  <a:lnTo>
                    <a:pt x="1008" y="635"/>
                  </a:lnTo>
                  <a:lnTo>
                    <a:pt x="1008" y="635"/>
                  </a:lnTo>
                  <a:lnTo>
                    <a:pt x="1008" y="635"/>
                  </a:lnTo>
                  <a:lnTo>
                    <a:pt x="1008" y="635"/>
                  </a:lnTo>
                  <a:lnTo>
                    <a:pt x="1010" y="635"/>
                  </a:lnTo>
                  <a:lnTo>
                    <a:pt x="1010" y="633"/>
                  </a:lnTo>
                  <a:lnTo>
                    <a:pt x="1008" y="633"/>
                  </a:lnTo>
                  <a:lnTo>
                    <a:pt x="1008" y="633"/>
                  </a:lnTo>
                  <a:lnTo>
                    <a:pt x="1008" y="631"/>
                  </a:lnTo>
                  <a:lnTo>
                    <a:pt x="1008" y="631"/>
                  </a:lnTo>
                  <a:lnTo>
                    <a:pt x="1010" y="629"/>
                  </a:lnTo>
                  <a:lnTo>
                    <a:pt x="1010" y="629"/>
                  </a:lnTo>
                  <a:lnTo>
                    <a:pt x="1012" y="627"/>
                  </a:lnTo>
                  <a:lnTo>
                    <a:pt x="1014" y="627"/>
                  </a:lnTo>
                  <a:lnTo>
                    <a:pt x="1014" y="625"/>
                  </a:lnTo>
                  <a:lnTo>
                    <a:pt x="1014" y="627"/>
                  </a:lnTo>
                  <a:lnTo>
                    <a:pt x="1014" y="625"/>
                  </a:lnTo>
                  <a:lnTo>
                    <a:pt x="1012" y="625"/>
                  </a:lnTo>
                  <a:lnTo>
                    <a:pt x="1012" y="625"/>
                  </a:lnTo>
                  <a:lnTo>
                    <a:pt x="1012" y="627"/>
                  </a:lnTo>
                  <a:lnTo>
                    <a:pt x="1010" y="627"/>
                  </a:lnTo>
                  <a:lnTo>
                    <a:pt x="1010" y="627"/>
                  </a:lnTo>
                  <a:lnTo>
                    <a:pt x="1008" y="625"/>
                  </a:lnTo>
                  <a:lnTo>
                    <a:pt x="1010" y="625"/>
                  </a:lnTo>
                  <a:lnTo>
                    <a:pt x="1010" y="625"/>
                  </a:lnTo>
                  <a:lnTo>
                    <a:pt x="1010" y="625"/>
                  </a:lnTo>
                  <a:lnTo>
                    <a:pt x="1012" y="625"/>
                  </a:lnTo>
                  <a:lnTo>
                    <a:pt x="1012" y="625"/>
                  </a:lnTo>
                  <a:lnTo>
                    <a:pt x="1012" y="625"/>
                  </a:lnTo>
                  <a:lnTo>
                    <a:pt x="1012" y="625"/>
                  </a:lnTo>
                  <a:lnTo>
                    <a:pt x="1012" y="625"/>
                  </a:lnTo>
                  <a:lnTo>
                    <a:pt x="1014" y="625"/>
                  </a:lnTo>
                  <a:lnTo>
                    <a:pt x="1014" y="623"/>
                  </a:lnTo>
                  <a:lnTo>
                    <a:pt x="1014" y="623"/>
                  </a:lnTo>
                  <a:lnTo>
                    <a:pt x="1014" y="623"/>
                  </a:lnTo>
                  <a:lnTo>
                    <a:pt x="1016" y="623"/>
                  </a:lnTo>
                  <a:lnTo>
                    <a:pt x="1016" y="623"/>
                  </a:lnTo>
                  <a:lnTo>
                    <a:pt x="1018" y="623"/>
                  </a:lnTo>
                  <a:lnTo>
                    <a:pt x="1020" y="623"/>
                  </a:lnTo>
                  <a:lnTo>
                    <a:pt x="1020" y="621"/>
                  </a:lnTo>
                  <a:lnTo>
                    <a:pt x="1020" y="621"/>
                  </a:lnTo>
                  <a:lnTo>
                    <a:pt x="1020" y="621"/>
                  </a:lnTo>
                  <a:lnTo>
                    <a:pt x="1020" y="619"/>
                  </a:lnTo>
                  <a:lnTo>
                    <a:pt x="1018" y="617"/>
                  </a:lnTo>
                  <a:lnTo>
                    <a:pt x="1018" y="617"/>
                  </a:lnTo>
                  <a:lnTo>
                    <a:pt x="1016" y="617"/>
                  </a:lnTo>
                  <a:lnTo>
                    <a:pt x="1016" y="617"/>
                  </a:lnTo>
                  <a:lnTo>
                    <a:pt x="1016" y="617"/>
                  </a:lnTo>
                  <a:lnTo>
                    <a:pt x="1016" y="617"/>
                  </a:lnTo>
                  <a:lnTo>
                    <a:pt x="1018" y="617"/>
                  </a:lnTo>
                  <a:lnTo>
                    <a:pt x="1018" y="617"/>
                  </a:lnTo>
                  <a:lnTo>
                    <a:pt x="1022" y="617"/>
                  </a:lnTo>
                  <a:lnTo>
                    <a:pt x="1024" y="615"/>
                  </a:lnTo>
                  <a:lnTo>
                    <a:pt x="1024" y="615"/>
                  </a:lnTo>
                  <a:lnTo>
                    <a:pt x="1024" y="613"/>
                  </a:lnTo>
                  <a:lnTo>
                    <a:pt x="1024" y="613"/>
                  </a:lnTo>
                  <a:lnTo>
                    <a:pt x="1022" y="613"/>
                  </a:lnTo>
                  <a:lnTo>
                    <a:pt x="1022" y="613"/>
                  </a:lnTo>
                  <a:lnTo>
                    <a:pt x="1020" y="613"/>
                  </a:lnTo>
                  <a:lnTo>
                    <a:pt x="1020" y="611"/>
                  </a:lnTo>
                  <a:lnTo>
                    <a:pt x="1022" y="611"/>
                  </a:lnTo>
                  <a:lnTo>
                    <a:pt x="1022" y="611"/>
                  </a:lnTo>
                  <a:lnTo>
                    <a:pt x="1022" y="611"/>
                  </a:lnTo>
                  <a:lnTo>
                    <a:pt x="1022" y="609"/>
                  </a:lnTo>
                  <a:lnTo>
                    <a:pt x="1022" y="609"/>
                  </a:lnTo>
                  <a:lnTo>
                    <a:pt x="1022" y="609"/>
                  </a:lnTo>
                  <a:lnTo>
                    <a:pt x="1022" y="609"/>
                  </a:lnTo>
                  <a:lnTo>
                    <a:pt x="1022" y="609"/>
                  </a:lnTo>
                  <a:lnTo>
                    <a:pt x="1022" y="609"/>
                  </a:lnTo>
                  <a:lnTo>
                    <a:pt x="1022" y="609"/>
                  </a:lnTo>
                  <a:lnTo>
                    <a:pt x="1022" y="611"/>
                  </a:lnTo>
                  <a:lnTo>
                    <a:pt x="1024" y="611"/>
                  </a:lnTo>
                  <a:lnTo>
                    <a:pt x="1024" y="613"/>
                  </a:lnTo>
                  <a:lnTo>
                    <a:pt x="1024" y="613"/>
                  </a:lnTo>
                  <a:lnTo>
                    <a:pt x="1026" y="611"/>
                  </a:lnTo>
                  <a:lnTo>
                    <a:pt x="1026" y="611"/>
                  </a:lnTo>
                  <a:lnTo>
                    <a:pt x="1026" y="611"/>
                  </a:lnTo>
                  <a:lnTo>
                    <a:pt x="1026" y="611"/>
                  </a:lnTo>
                  <a:lnTo>
                    <a:pt x="1026" y="609"/>
                  </a:lnTo>
                  <a:lnTo>
                    <a:pt x="1026" y="607"/>
                  </a:lnTo>
                  <a:lnTo>
                    <a:pt x="1026" y="607"/>
                  </a:lnTo>
                  <a:lnTo>
                    <a:pt x="1026" y="605"/>
                  </a:lnTo>
                  <a:lnTo>
                    <a:pt x="1026" y="605"/>
                  </a:lnTo>
                  <a:lnTo>
                    <a:pt x="1026" y="605"/>
                  </a:lnTo>
                  <a:lnTo>
                    <a:pt x="1028" y="607"/>
                  </a:lnTo>
                  <a:lnTo>
                    <a:pt x="1030" y="607"/>
                  </a:lnTo>
                  <a:lnTo>
                    <a:pt x="1030" y="609"/>
                  </a:lnTo>
                  <a:lnTo>
                    <a:pt x="1030" y="607"/>
                  </a:lnTo>
                  <a:lnTo>
                    <a:pt x="1028" y="607"/>
                  </a:lnTo>
                  <a:lnTo>
                    <a:pt x="1028" y="611"/>
                  </a:lnTo>
                  <a:lnTo>
                    <a:pt x="1028" y="611"/>
                  </a:lnTo>
                  <a:lnTo>
                    <a:pt x="1028" y="611"/>
                  </a:lnTo>
                  <a:lnTo>
                    <a:pt x="1028" y="611"/>
                  </a:lnTo>
                  <a:lnTo>
                    <a:pt x="1028" y="611"/>
                  </a:lnTo>
                  <a:lnTo>
                    <a:pt x="1028" y="611"/>
                  </a:lnTo>
                  <a:lnTo>
                    <a:pt x="1030" y="613"/>
                  </a:lnTo>
                  <a:lnTo>
                    <a:pt x="1030" y="613"/>
                  </a:lnTo>
                  <a:lnTo>
                    <a:pt x="1030" y="613"/>
                  </a:lnTo>
                  <a:lnTo>
                    <a:pt x="1030" y="611"/>
                  </a:lnTo>
                  <a:lnTo>
                    <a:pt x="1030" y="611"/>
                  </a:lnTo>
                  <a:lnTo>
                    <a:pt x="1030" y="611"/>
                  </a:lnTo>
                  <a:lnTo>
                    <a:pt x="1030" y="611"/>
                  </a:lnTo>
                  <a:lnTo>
                    <a:pt x="1030" y="611"/>
                  </a:lnTo>
                  <a:lnTo>
                    <a:pt x="1030" y="609"/>
                  </a:lnTo>
                  <a:lnTo>
                    <a:pt x="1030" y="609"/>
                  </a:lnTo>
                  <a:lnTo>
                    <a:pt x="1032" y="611"/>
                  </a:lnTo>
                  <a:lnTo>
                    <a:pt x="1032" y="611"/>
                  </a:lnTo>
                  <a:lnTo>
                    <a:pt x="1032" y="611"/>
                  </a:lnTo>
                  <a:lnTo>
                    <a:pt x="1032" y="611"/>
                  </a:lnTo>
                  <a:lnTo>
                    <a:pt x="1034" y="611"/>
                  </a:lnTo>
                  <a:lnTo>
                    <a:pt x="1034" y="611"/>
                  </a:lnTo>
                  <a:lnTo>
                    <a:pt x="1034" y="611"/>
                  </a:lnTo>
                  <a:lnTo>
                    <a:pt x="1034" y="609"/>
                  </a:lnTo>
                  <a:lnTo>
                    <a:pt x="1036" y="609"/>
                  </a:lnTo>
                  <a:lnTo>
                    <a:pt x="1036" y="609"/>
                  </a:lnTo>
                  <a:lnTo>
                    <a:pt x="1038" y="607"/>
                  </a:lnTo>
                  <a:lnTo>
                    <a:pt x="1038" y="605"/>
                  </a:lnTo>
                  <a:lnTo>
                    <a:pt x="1038" y="605"/>
                  </a:lnTo>
                  <a:lnTo>
                    <a:pt x="1038" y="605"/>
                  </a:lnTo>
                  <a:lnTo>
                    <a:pt x="1038" y="603"/>
                  </a:lnTo>
                  <a:lnTo>
                    <a:pt x="1038" y="603"/>
                  </a:lnTo>
                  <a:lnTo>
                    <a:pt x="1038" y="603"/>
                  </a:lnTo>
                  <a:lnTo>
                    <a:pt x="1038" y="603"/>
                  </a:lnTo>
                  <a:lnTo>
                    <a:pt x="1036" y="603"/>
                  </a:lnTo>
                  <a:lnTo>
                    <a:pt x="1034" y="603"/>
                  </a:lnTo>
                  <a:lnTo>
                    <a:pt x="1034" y="603"/>
                  </a:lnTo>
                  <a:lnTo>
                    <a:pt x="1034" y="603"/>
                  </a:lnTo>
                  <a:lnTo>
                    <a:pt x="1034" y="603"/>
                  </a:lnTo>
                  <a:lnTo>
                    <a:pt x="1032" y="603"/>
                  </a:lnTo>
                  <a:lnTo>
                    <a:pt x="1032" y="603"/>
                  </a:lnTo>
                  <a:lnTo>
                    <a:pt x="1030" y="603"/>
                  </a:lnTo>
                  <a:lnTo>
                    <a:pt x="1030" y="603"/>
                  </a:lnTo>
                  <a:lnTo>
                    <a:pt x="1032" y="600"/>
                  </a:lnTo>
                  <a:lnTo>
                    <a:pt x="1032" y="600"/>
                  </a:lnTo>
                  <a:lnTo>
                    <a:pt x="1032" y="600"/>
                  </a:lnTo>
                  <a:lnTo>
                    <a:pt x="1036" y="598"/>
                  </a:lnTo>
                  <a:lnTo>
                    <a:pt x="1036" y="598"/>
                  </a:lnTo>
                  <a:lnTo>
                    <a:pt x="1038" y="598"/>
                  </a:lnTo>
                  <a:lnTo>
                    <a:pt x="1040" y="598"/>
                  </a:lnTo>
                  <a:lnTo>
                    <a:pt x="1040" y="598"/>
                  </a:lnTo>
                  <a:lnTo>
                    <a:pt x="1040" y="598"/>
                  </a:lnTo>
                  <a:lnTo>
                    <a:pt x="1043" y="598"/>
                  </a:lnTo>
                  <a:lnTo>
                    <a:pt x="1043" y="598"/>
                  </a:lnTo>
                  <a:lnTo>
                    <a:pt x="1043" y="598"/>
                  </a:lnTo>
                  <a:lnTo>
                    <a:pt x="1043" y="598"/>
                  </a:lnTo>
                  <a:lnTo>
                    <a:pt x="1045" y="598"/>
                  </a:lnTo>
                  <a:lnTo>
                    <a:pt x="1047" y="596"/>
                  </a:lnTo>
                  <a:lnTo>
                    <a:pt x="1047" y="596"/>
                  </a:lnTo>
                  <a:lnTo>
                    <a:pt x="1047" y="594"/>
                  </a:lnTo>
                  <a:lnTo>
                    <a:pt x="1047" y="594"/>
                  </a:lnTo>
                  <a:lnTo>
                    <a:pt x="1047" y="592"/>
                  </a:lnTo>
                  <a:lnTo>
                    <a:pt x="1049" y="592"/>
                  </a:lnTo>
                  <a:lnTo>
                    <a:pt x="1049" y="592"/>
                  </a:lnTo>
                  <a:lnTo>
                    <a:pt x="1049" y="592"/>
                  </a:lnTo>
                  <a:lnTo>
                    <a:pt x="1049" y="590"/>
                  </a:lnTo>
                  <a:lnTo>
                    <a:pt x="1049" y="590"/>
                  </a:lnTo>
                  <a:lnTo>
                    <a:pt x="1049" y="590"/>
                  </a:lnTo>
                  <a:lnTo>
                    <a:pt x="1049" y="588"/>
                  </a:lnTo>
                  <a:lnTo>
                    <a:pt x="1049" y="588"/>
                  </a:lnTo>
                  <a:lnTo>
                    <a:pt x="1049" y="588"/>
                  </a:lnTo>
                  <a:lnTo>
                    <a:pt x="1047" y="586"/>
                  </a:lnTo>
                  <a:lnTo>
                    <a:pt x="1047" y="586"/>
                  </a:lnTo>
                  <a:lnTo>
                    <a:pt x="1047" y="586"/>
                  </a:lnTo>
                  <a:lnTo>
                    <a:pt x="1047" y="586"/>
                  </a:lnTo>
                  <a:lnTo>
                    <a:pt x="1047" y="584"/>
                  </a:lnTo>
                  <a:lnTo>
                    <a:pt x="1047" y="584"/>
                  </a:lnTo>
                  <a:lnTo>
                    <a:pt x="1047" y="584"/>
                  </a:lnTo>
                  <a:lnTo>
                    <a:pt x="1047" y="584"/>
                  </a:lnTo>
                  <a:lnTo>
                    <a:pt x="1047" y="584"/>
                  </a:lnTo>
                  <a:lnTo>
                    <a:pt x="1047" y="584"/>
                  </a:lnTo>
                  <a:lnTo>
                    <a:pt x="1045" y="584"/>
                  </a:lnTo>
                  <a:lnTo>
                    <a:pt x="1045" y="584"/>
                  </a:lnTo>
                  <a:lnTo>
                    <a:pt x="1045" y="584"/>
                  </a:lnTo>
                  <a:lnTo>
                    <a:pt x="1045" y="582"/>
                  </a:lnTo>
                  <a:lnTo>
                    <a:pt x="1043" y="582"/>
                  </a:lnTo>
                  <a:lnTo>
                    <a:pt x="1040" y="580"/>
                  </a:lnTo>
                  <a:lnTo>
                    <a:pt x="1040" y="580"/>
                  </a:lnTo>
                  <a:lnTo>
                    <a:pt x="1040" y="580"/>
                  </a:lnTo>
                  <a:lnTo>
                    <a:pt x="1040" y="580"/>
                  </a:lnTo>
                  <a:lnTo>
                    <a:pt x="1040" y="578"/>
                  </a:lnTo>
                  <a:lnTo>
                    <a:pt x="1040" y="578"/>
                  </a:lnTo>
                  <a:lnTo>
                    <a:pt x="1038" y="578"/>
                  </a:lnTo>
                  <a:lnTo>
                    <a:pt x="1038" y="578"/>
                  </a:lnTo>
                  <a:lnTo>
                    <a:pt x="1036" y="578"/>
                  </a:lnTo>
                  <a:lnTo>
                    <a:pt x="1036" y="578"/>
                  </a:lnTo>
                  <a:lnTo>
                    <a:pt x="1036" y="578"/>
                  </a:lnTo>
                  <a:lnTo>
                    <a:pt x="1036" y="578"/>
                  </a:lnTo>
                  <a:lnTo>
                    <a:pt x="1036" y="578"/>
                  </a:lnTo>
                  <a:lnTo>
                    <a:pt x="1036" y="578"/>
                  </a:lnTo>
                  <a:lnTo>
                    <a:pt x="1036" y="576"/>
                  </a:lnTo>
                  <a:lnTo>
                    <a:pt x="1038" y="576"/>
                  </a:lnTo>
                  <a:lnTo>
                    <a:pt x="1040" y="576"/>
                  </a:lnTo>
                  <a:lnTo>
                    <a:pt x="1040" y="576"/>
                  </a:lnTo>
                  <a:lnTo>
                    <a:pt x="1040" y="578"/>
                  </a:lnTo>
                  <a:lnTo>
                    <a:pt x="1040" y="578"/>
                  </a:lnTo>
                  <a:lnTo>
                    <a:pt x="1040" y="580"/>
                  </a:lnTo>
                  <a:lnTo>
                    <a:pt x="1043" y="578"/>
                  </a:lnTo>
                  <a:lnTo>
                    <a:pt x="1043" y="578"/>
                  </a:lnTo>
                  <a:lnTo>
                    <a:pt x="1045" y="580"/>
                  </a:lnTo>
                  <a:lnTo>
                    <a:pt x="1045" y="580"/>
                  </a:lnTo>
                  <a:lnTo>
                    <a:pt x="1043" y="580"/>
                  </a:lnTo>
                  <a:lnTo>
                    <a:pt x="1043" y="580"/>
                  </a:lnTo>
                  <a:lnTo>
                    <a:pt x="1043" y="580"/>
                  </a:lnTo>
                  <a:lnTo>
                    <a:pt x="1043" y="580"/>
                  </a:lnTo>
                  <a:lnTo>
                    <a:pt x="1043" y="580"/>
                  </a:lnTo>
                  <a:lnTo>
                    <a:pt x="1047" y="580"/>
                  </a:lnTo>
                  <a:lnTo>
                    <a:pt x="1047" y="580"/>
                  </a:lnTo>
                  <a:lnTo>
                    <a:pt x="1047" y="580"/>
                  </a:lnTo>
                  <a:lnTo>
                    <a:pt x="1049" y="580"/>
                  </a:lnTo>
                  <a:lnTo>
                    <a:pt x="1049" y="580"/>
                  </a:lnTo>
                  <a:lnTo>
                    <a:pt x="1051" y="578"/>
                  </a:lnTo>
                  <a:lnTo>
                    <a:pt x="1051" y="578"/>
                  </a:lnTo>
                  <a:lnTo>
                    <a:pt x="1053" y="578"/>
                  </a:lnTo>
                  <a:lnTo>
                    <a:pt x="1053" y="578"/>
                  </a:lnTo>
                  <a:lnTo>
                    <a:pt x="1053" y="576"/>
                  </a:lnTo>
                  <a:lnTo>
                    <a:pt x="1053" y="576"/>
                  </a:lnTo>
                  <a:lnTo>
                    <a:pt x="1053" y="576"/>
                  </a:lnTo>
                  <a:lnTo>
                    <a:pt x="1053" y="576"/>
                  </a:lnTo>
                  <a:lnTo>
                    <a:pt x="1055" y="574"/>
                  </a:lnTo>
                  <a:lnTo>
                    <a:pt x="1057" y="572"/>
                  </a:lnTo>
                  <a:lnTo>
                    <a:pt x="1057" y="572"/>
                  </a:lnTo>
                  <a:lnTo>
                    <a:pt x="1057" y="572"/>
                  </a:lnTo>
                  <a:lnTo>
                    <a:pt x="1055" y="570"/>
                  </a:lnTo>
                  <a:lnTo>
                    <a:pt x="1055" y="570"/>
                  </a:lnTo>
                  <a:lnTo>
                    <a:pt x="1055" y="568"/>
                  </a:lnTo>
                  <a:lnTo>
                    <a:pt x="1055" y="568"/>
                  </a:lnTo>
                  <a:lnTo>
                    <a:pt x="1055" y="568"/>
                  </a:lnTo>
                  <a:lnTo>
                    <a:pt x="1055" y="566"/>
                  </a:lnTo>
                  <a:lnTo>
                    <a:pt x="1057" y="564"/>
                  </a:lnTo>
                  <a:lnTo>
                    <a:pt x="1059" y="562"/>
                  </a:lnTo>
                  <a:lnTo>
                    <a:pt x="1059" y="562"/>
                  </a:lnTo>
                  <a:lnTo>
                    <a:pt x="1061" y="562"/>
                  </a:lnTo>
                  <a:lnTo>
                    <a:pt x="1061" y="562"/>
                  </a:lnTo>
                  <a:lnTo>
                    <a:pt x="1061" y="559"/>
                  </a:lnTo>
                  <a:lnTo>
                    <a:pt x="1061" y="557"/>
                  </a:lnTo>
                  <a:lnTo>
                    <a:pt x="1061" y="557"/>
                  </a:lnTo>
                  <a:lnTo>
                    <a:pt x="1061" y="557"/>
                  </a:lnTo>
                  <a:lnTo>
                    <a:pt x="1063" y="557"/>
                  </a:lnTo>
                  <a:lnTo>
                    <a:pt x="1063" y="557"/>
                  </a:lnTo>
                  <a:lnTo>
                    <a:pt x="1063" y="557"/>
                  </a:lnTo>
                  <a:lnTo>
                    <a:pt x="1065" y="555"/>
                  </a:lnTo>
                  <a:lnTo>
                    <a:pt x="1065" y="553"/>
                  </a:lnTo>
                  <a:lnTo>
                    <a:pt x="1065" y="553"/>
                  </a:lnTo>
                  <a:lnTo>
                    <a:pt x="1067" y="553"/>
                  </a:lnTo>
                  <a:lnTo>
                    <a:pt x="1067" y="553"/>
                  </a:lnTo>
                  <a:lnTo>
                    <a:pt x="1067" y="553"/>
                  </a:lnTo>
                  <a:lnTo>
                    <a:pt x="1067" y="553"/>
                  </a:lnTo>
                  <a:lnTo>
                    <a:pt x="1067" y="553"/>
                  </a:lnTo>
                  <a:lnTo>
                    <a:pt x="1069" y="553"/>
                  </a:lnTo>
                  <a:lnTo>
                    <a:pt x="1069" y="555"/>
                  </a:lnTo>
                  <a:lnTo>
                    <a:pt x="1071" y="553"/>
                  </a:lnTo>
                  <a:lnTo>
                    <a:pt x="1071" y="553"/>
                  </a:lnTo>
                  <a:lnTo>
                    <a:pt x="1067" y="549"/>
                  </a:lnTo>
                  <a:lnTo>
                    <a:pt x="1067" y="549"/>
                  </a:lnTo>
                  <a:lnTo>
                    <a:pt x="1067" y="547"/>
                  </a:lnTo>
                  <a:lnTo>
                    <a:pt x="1067" y="547"/>
                  </a:lnTo>
                  <a:lnTo>
                    <a:pt x="1069" y="545"/>
                  </a:lnTo>
                  <a:lnTo>
                    <a:pt x="1069" y="545"/>
                  </a:lnTo>
                  <a:lnTo>
                    <a:pt x="1069" y="543"/>
                  </a:lnTo>
                  <a:lnTo>
                    <a:pt x="1071" y="543"/>
                  </a:lnTo>
                  <a:lnTo>
                    <a:pt x="1071" y="543"/>
                  </a:lnTo>
                  <a:lnTo>
                    <a:pt x="1073" y="541"/>
                  </a:lnTo>
                  <a:lnTo>
                    <a:pt x="1073" y="539"/>
                  </a:lnTo>
                  <a:lnTo>
                    <a:pt x="1075" y="539"/>
                  </a:lnTo>
                  <a:lnTo>
                    <a:pt x="1075" y="539"/>
                  </a:lnTo>
                  <a:lnTo>
                    <a:pt x="1077" y="539"/>
                  </a:lnTo>
                  <a:lnTo>
                    <a:pt x="1079" y="539"/>
                  </a:lnTo>
                  <a:lnTo>
                    <a:pt x="1079" y="539"/>
                  </a:lnTo>
                  <a:lnTo>
                    <a:pt x="1079" y="537"/>
                  </a:lnTo>
                  <a:lnTo>
                    <a:pt x="1079" y="537"/>
                  </a:lnTo>
                  <a:lnTo>
                    <a:pt x="1081" y="537"/>
                  </a:lnTo>
                  <a:lnTo>
                    <a:pt x="1083" y="537"/>
                  </a:lnTo>
                  <a:lnTo>
                    <a:pt x="1083" y="535"/>
                  </a:lnTo>
                  <a:lnTo>
                    <a:pt x="1083" y="535"/>
                  </a:lnTo>
                  <a:lnTo>
                    <a:pt x="1083" y="535"/>
                  </a:lnTo>
                  <a:lnTo>
                    <a:pt x="1086" y="531"/>
                  </a:lnTo>
                  <a:lnTo>
                    <a:pt x="1086" y="531"/>
                  </a:lnTo>
                  <a:lnTo>
                    <a:pt x="1088" y="529"/>
                  </a:lnTo>
                  <a:lnTo>
                    <a:pt x="1088" y="529"/>
                  </a:lnTo>
                  <a:lnTo>
                    <a:pt x="1088" y="529"/>
                  </a:lnTo>
                  <a:lnTo>
                    <a:pt x="1088" y="529"/>
                  </a:lnTo>
                  <a:lnTo>
                    <a:pt x="1088" y="529"/>
                  </a:lnTo>
                  <a:lnTo>
                    <a:pt x="1090" y="529"/>
                  </a:lnTo>
                  <a:lnTo>
                    <a:pt x="1090" y="529"/>
                  </a:lnTo>
                  <a:lnTo>
                    <a:pt x="1094" y="525"/>
                  </a:lnTo>
                  <a:lnTo>
                    <a:pt x="1096" y="525"/>
                  </a:lnTo>
                  <a:lnTo>
                    <a:pt x="1096" y="523"/>
                  </a:lnTo>
                  <a:lnTo>
                    <a:pt x="1096" y="523"/>
                  </a:lnTo>
                  <a:lnTo>
                    <a:pt x="1098" y="523"/>
                  </a:lnTo>
                  <a:lnTo>
                    <a:pt x="1098" y="523"/>
                  </a:lnTo>
                  <a:lnTo>
                    <a:pt x="1098" y="521"/>
                  </a:lnTo>
                  <a:lnTo>
                    <a:pt x="1098" y="521"/>
                  </a:lnTo>
                  <a:lnTo>
                    <a:pt x="1098" y="518"/>
                  </a:lnTo>
                  <a:lnTo>
                    <a:pt x="1098" y="518"/>
                  </a:lnTo>
                  <a:lnTo>
                    <a:pt x="1098" y="523"/>
                  </a:lnTo>
                  <a:lnTo>
                    <a:pt x="1098" y="523"/>
                  </a:lnTo>
                  <a:lnTo>
                    <a:pt x="1100" y="525"/>
                  </a:lnTo>
                  <a:lnTo>
                    <a:pt x="1102" y="525"/>
                  </a:lnTo>
                  <a:lnTo>
                    <a:pt x="1104" y="525"/>
                  </a:lnTo>
                  <a:lnTo>
                    <a:pt x="1104" y="525"/>
                  </a:lnTo>
                  <a:lnTo>
                    <a:pt x="1104" y="525"/>
                  </a:lnTo>
                  <a:lnTo>
                    <a:pt x="1104" y="525"/>
                  </a:lnTo>
                  <a:lnTo>
                    <a:pt x="1104" y="525"/>
                  </a:lnTo>
                  <a:lnTo>
                    <a:pt x="1104" y="525"/>
                  </a:lnTo>
                  <a:lnTo>
                    <a:pt x="1104" y="523"/>
                  </a:lnTo>
                  <a:lnTo>
                    <a:pt x="1104" y="523"/>
                  </a:lnTo>
                  <a:lnTo>
                    <a:pt x="1104" y="525"/>
                  </a:lnTo>
                  <a:lnTo>
                    <a:pt x="1104" y="525"/>
                  </a:lnTo>
                  <a:lnTo>
                    <a:pt x="1106" y="525"/>
                  </a:lnTo>
                  <a:lnTo>
                    <a:pt x="1112" y="525"/>
                  </a:lnTo>
                  <a:lnTo>
                    <a:pt x="1114" y="525"/>
                  </a:lnTo>
                  <a:lnTo>
                    <a:pt x="1114" y="523"/>
                  </a:lnTo>
                  <a:lnTo>
                    <a:pt x="1114" y="523"/>
                  </a:lnTo>
                  <a:lnTo>
                    <a:pt x="1114" y="521"/>
                  </a:lnTo>
                  <a:lnTo>
                    <a:pt x="1114" y="518"/>
                  </a:lnTo>
                  <a:lnTo>
                    <a:pt x="1114" y="518"/>
                  </a:lnTo>
                  <a:lnTo>
                    <a:pt x="1114" y="516"/>
                  </a:lnTo>
                  <a:lnTo>
                    <a:pt x="1114" y="516"/>
                  </a:lnTo>
                  <a:lnTo>
                    <a:pt x="1116" y="516"/>
                  </a:lnTo>
                  <a:lnTo>
                    <a:pt x="1116" y="514"/>
                  </a:lnTo>
                  <a:lnTo>
                    <a:pt x="1118" y="514"/>
                  </a:lnTo>
                  <a:lnTo>
                    <a:pt x="1120" y="512"/>
                  </a:lnTo>
                  <a:lnTo>
                    <a:pt x="1126" y="510"/>
                  </a:lnTo>
                  <a:lnTo>
                    <a:pt x="1126" y="510"/>
                  </a:lnTo>
                  <a:lnTo>
                    <a:pt x="1126" y="510"/>
                  </a:lnTo>
                  <a:lnTo>
                    <a:pt x="1129" y="510"/>
                  </a:lnTo>
                  <a:lnTo>
                    <a:pt x="1131" y="510"/>
                  </a:lnTo>
                  <a:lnTo>
                    <a:pt x="1131" y="510"/>
                  </a:lnTo>
                  <a:lnTo>
                    <a:pt x="1129" y="512"/>
                  </a:lnTo>
                  <a:lnTo>
                    <a:pt x="1129" y="512"/>
                  </a:lnTo>
                  <a:lnTo>
                    <a:pt x="1120" y="516"/>
                  </a:lnTo>
                  <a:lnTo>
                    <a:pt x="1120" y="516"/>
                  </a:lnTo>
                  <a:lnTo>
                    <a:pt x="1118" y="516"/>
                  </a:lnTo>
                  <a:lnTo>
                    <a:pt x="1118" y="518"/>
                  </a:lnTo>
                  <a:lnTo>
                    <a:pt x="1118" y="521"/>
                  </a:lnTo>
                  <a:lnTo>
                    <a:pt x="1118" y="521"/>
                  </a:lnTo>
                  <a:lnTo>
                    <a:pt x="1118" y="521"/>
                  </a:lnTo>
                  <a:lnTo>
                    <a:pt x="1116" y="521"/>
                  </a:lnTo>
                  <a:lnTo>
                    <a:pt x="1116" y="521"/>
                  </a:lnTo>
                  <a:lnTo>
                    <a:pt x="1116" y="523"/>
                  </a:lnTo>
                  <a:lnTo>
                    <a:pt x="1116" y="523"/>
                  </a:lnTo>
                  <a:lnTo>
                    <a:pt x="1114" y="525"/>
                  </a:lnTo>
                  <a:lnTo>
                    <a:pt x="1114" y="525"/>
                  </a:lnTo>
                  <a:lnTo>
                    <a:pt x="1114" y="527"/>
                  </a:lnTo>
                  <a:lnTo>
                    <a:pt x="1114" y="527"/>
                  </a:lnTo>
                  <a:lnTo>
                    <a:pt x="1112" y="527"/>
                  </a:lnTo>
                  <a:lnTo>
                    <a:pt x="1112" y="527"/>
                  </a:lnTo>
                  <a:lnTo>
                    <a:pt x="1112" y="527"/>
                  </a:lnTo>
                  <a:lnTo>
                    <a:pt x="1112" y="529"/>
                  </a:lnTo>
                  <a:lnTo>
                    <a:pt x="1110" y="529"/>
                  </a:lnTo>
                  <a:lnTo>
                    <a:pt x="1110" y="529"/>
                  </a:lnTo>
                  <a:lnTo>
                    <a:pt x="1114" y="533"/>
                  </a:lnTo>
                  <a:lnTo>
                    <a:pt x="1116" y="533"/>
                  </a:lnTo>
                  <a:lnTo>
                    <a:pt x="1118" y="535"/>
                  </a:lnTo>
                  <a:lnTo>
                    <a:pt x="1122" y="537"/>
                  </a:lnTo>
                  <a:lnTo>
                    <a:pt x="1124" y="537"/>
                  </a:lnTo>
                  <a:lnTo>
                    <a:pt x="1126" y="537"/>
                  </a:lnTo>
                  <a:lnTo>
                    <a:pt x="1129" y="539"/>
                  </a:lnTo>
                  <a:lnTo>
                    <a:pt x="1129" y="541"/>
                  </a:lnTo>
                  <a:lnTo>
                    <a:pt x="1131" y="541"/>
                  </a:lnTo>
                  <a:lnTo>
                    <a:pt x="1133" y="539"/>
                  </a:lnTo>
                  <a:lnTo>
                    <a:pt x="1135" y="539"/>
                  </a:lnTo>
                  <a:lnTo>
                    <a:pt x="1135" y="539"/>
                  </a:lnTo>
                  <a:lnTo>
                    <a:pt x="1137" y="541"/>
                  </a:lnTo>
                  <a:lnTo>
                    <a:pt x="1139" y="543"/>
                  </a:lnTo>
                  <a:lnTo>
                    <a:pt x="1137" y="543"/>
                  </a:lnTo>
                  <a:lnTo>
                    <a:pt x="1137" y="543"/>
                  </a:lnTo>
                  <a:lnTo>
                    <a:pt x="1137" y="543"/>
                  </a:lnTo>
                  <a:lnTo>
                    <a:pt x="1137" y="543"/>
                  </a:lnTo>
                  <a:lnTo>
                    <a:pt x="1137" y="543"/>
                  </a:lnTo>
                  <a:lnTo>
                    <a:pt x="1135" y="543"/>
                  </a:lnTo>
                  <a:lnTo>
                    <a:pt x="1126" y="541"/>
                  </a:lnTo>
                  <a:lnTo>
                    <a:pt x="1126" y="541"/>
                  </a:lnTo>
                  <a:lnTo>
                    <a:pt x="1124" y="541"/>
                  </a:lnTo>
                  <a:lnTo>
                    <a:pt x="1122" y="541"/>
                  </a:lnTo>
                  <a:lnTo>
                    <a:pt x="1122" y="541"/>
                  </a:lnTo>
                  <a:lnTo>
                    <a:pt x="1120" y="539"/>
                  </a:lnTo>
                  <a:lnTo>
                    <a:pt x="1120" y="539"/>
                  </a:lnTo>
                  <a:lnTo>
                    <a:pt x="1118" y="539"/>
                  </a:lnTo>
                  <a:lnTo>
                    <a:pt x="1118" y="539"/>
                  </a:lnTo>
                  <a:lnTo>
                    <a:pt x="1116" y="539"/>
                  </a:lnTo>
                  <a:lnTo>
                    <a:pt x="1114" y="541"/>
                  </a:lnTo>
                  <a:lnTo>
                    <a:pt x="1114" y="541"/>
                  </a:lnTo>
                  <a:lnTo>
                    <a:pt x="1112" y="543"/>
                  </a:lnTo>
                  <a:lnTo>
                    <a:pt x="1108" y="541"/>
                  </a:lnTo>
                  <a:lnTo>
                    <a:pt x="1108" y="541"/>
                  </a:lnTo>
                  <a:lnTo>
                    <a:pt x="1106" y="541"/>
                  </a:lnTo>
                  <a:lnTo>
                    <a:pt x="1106" y="539"/>
                  </a:lnTo>
                  <a:lnTo>
                    <a:pt x="1106" y="539"/>
                  </a:lnTo>
                  <a:lnTo>
                    <a:pt x="1104" y="537"/>
                  </a:lnTo>
                  <a:lnTo>
                    <a:pt x="1104" y="537"/>
                  </a:lnTo>
                  <a:lnTo>
                    <a:pt x="1104" y="535"/>
                  </a:lnTo>
                  <a:lnTo>
                    <a:pt x="1102" y="537"/>
                  </a:lnTo>
                  <a:lnTo>
                    <a:pt x="1098" y="539"/>
                  </a:lnTo>
                  <a:lnTo>
                    <a:pt x="1094" y="543"/>
                  </a:lnTo>
                  <a:lnTo>
                    <a:pt x="1088" y="549"/>
                  </a:lnTo>
                  <a:lnTo>
                    <a:pt x="1088" y="549"/>
                  </a:lnTo>
                  <a:lnTo>
                    <a:pt x="1088" y="551"/>
                  </a:lnTo>
                  <a:lnTo>
                    <a:pt x="1081" y="551"/>
                  </a:lnTo>
                  <a:lnTo>
                    <a:pt x="1081" y="551"/>
                  </a:lnTo>
                  <a:lnTo>
                    <a:pt x="1081" y="553"/>
                  </a:lnTo>
                  <a:lnTo>
                    <a:pt x="1079" y="553"/>
                  </a:lnTo>
                  <a:lnTo>
                    <a:pt x="1079" y="553"/>
                  </a:lnTo>
                  <a:lnTo>
                    <a:pt x="1077" y="553"/>
                  </a:lnTo>
                  <a:lnTo>
                    <a:pt x="1077" y="555"/>
                  </a:lnTo>
                  <a:lnTo>
                    <a:pt x="1079" y="555"/>
                  </a:lnTo>
                  <a:lnTo>
                    <a:pt x="1079" y="557"/>
                  </a:lnTo>
                  <a:lnTo>
                    <a:pt x="1079" y="557"/>
                  </a:lnTo>
                  <a:lnTo>
                    <a:pt x="1079" y="562"/>
                  </a:lnTo>
                  <a:lnTo>
                    <a:pt x="1081" y="562"/>
                  </a:lnTo>
                  <a:lnTo>
                    <a:pt x="1081" y="564"/>
                  </a:lnTo>
                  <a:lnTo>
                    <a:pt x="1081" y="564"/>
                  </a:lnTo>
                  <a:lnTo>
                    <a:pt x="1081" y="566"/>
                  </a:lnTo>
                  <a:lnTo>
                    <a:pt x="1081" y="566"/>
                  </a:lnTo>
                  <a:lnTo>
                    <a:pt x="1081" y="570"/>
                  </a:lnTo>
                  <a:lnTo>
                    <a:pt x="1081" y="572"/>
                  </a:lnTo>
                  <a:lnTo>
                    <a:pt x="1081" y="572"/>
                  </a:lnTo>
                  <a:lnTo>
                    <a:pt x="1081" y="572"/>
                  </a:lnTo>
                  <a:lnTo>
                    <a:pt x="1079" y="572"/>
                  </a:lnTo>
                  <a:lnTo>
                    <a:pt x="1079" y="572"/>
                  </a:lnTo>
                  <a:lnTo>
                    <a:pt x="1079" y="572"/>
                  </a:lnTo>
                  <a:lnTo>
                    <a:pt x="1079" y="574"/>
                  </a:lnTo>
                  <a:lnTo>
                    <a:pt x="1079" y="574"/>
                  </a:lnTo>
                  <a:lnTo>
                    <a:pt x="1079" y="576"/>
                  </a:lnTo>
                  <a:lnTo>
                    <a:pt x="1079" y="578"/>
                  </a:lnTo>
                  <a:lnTo>
                    <a:pt x="1079" y="580"/>
                  </a:lnTo>
                  <a:lnTo>
                    <a:pt x="1077" y="582"/>
                  </a:lnTo>
                  <a:lnTo>
                    <a:pt x="1071" y="590"/>
                  </a:lnTo>
                  <a:lnTo>
                    <a:pt x="1071" y="590"/>
                  </a:lnTo>
                  <a:lnTo>
                    <a:pt x="1071" y="592"/>
                  </a:lnTo>
                  <a:lnTo>
                    <a:pt x="1071" y="592"/>
                  </a:lnTo>
                  <a:lnTo>
                    <a:pt x="1069" y="600"/>
                  </a:lnTo>
                  <a:lnTo>
                    <a:pt x="1069" y="600"/>
                  </a:lnTo>
                  <a:lnTo>
                    <a:pt x="1069" y="603"/>
                  </a:lnTo>
                  <a:lnTo>
                    <a:pt x="1067" y="603"/>
                  </a:lnTo>
                  <a:lnTo>
                    <a:pt x="1067" y="603"/>
                  </a:lnTo>
                  <a:lnTo>
                    <a:pt x="1067" y="605"/>
                  </a:lnTo>
                  <a:lnTo>
                    <a:pt x="1069" y="607"/>
                  </a:lnTo>
                  <a:lnTo>
                    <a:pt x="1071" y="609"/>
                  </a:lnTo>
                  <a:lnTo>
                    <a:pt x="1071" y="609"/>
                  </a:lnTo>
                  <a:lnTo>
                    <a:pt x="1079" y="613"/>
                  </a:lnTo>
                  <a:lnTo>
                    <a:pt x="1079" y="613"/>
                  </a:lnTo>
                  <a:lnTo>
                    <a:pt x="1079" y="611"/>
                  </a:lnTo>
                  <a:lnTo>
                    <a:pt x="1079" y="611"/>
                  </a:lnTo>
                  <a:lnTo>
                    <a:pt x="1079" y="611"/>
                  </a:lnTo>
                  <a:lnTo>
                    <a:pt x="1079" y="609"/>
                  </a:lnTo>
                  <a:lnTo>
                    <a:pt x="1079" y="609"/>
                  </a:lnTo>
                  <a:lnTo>
                    <a:pt x="1079" y="609"/>
                  </a:lnTo>
                  <a:lnTo>
                    <a:pt x="1081" y="609"/>
                  </a:lnTo>
                  <a:lnTo>
                    <a:pt x="1086" y="605"/>
                  </a:lnTo>
                  <a:lnTo>
                    <a:pt x="1088" y="605"/>
                  </a:lnTo>
                  <a:lnTo>
                    <a:pt x="1088" y="603"/>
                  </a:lnTo>
                  <a:lnTo>
                    <a:pt x="1090" y="603"/>
                  </a:lnTo>
                  <a:lnTo>
                    <a:pt x="1090" y="603"/>
                  </a:lnTo>
                  <a:lnTo>
                    <a:pt x="1092" y="603"/>
                  </a:lnTo>
                  <a:lnTo>
                    <a:pt x="1090" y="605"/>
                  </a:lnTo>
                  <a:lnTo>
                    <a:pt x="1088" y="607"/>
                  </a:lnTo>
                  <a:lnTo>
                    <a:pt x="1088" y="607"/>
                  </a:lnTo>
                  <a:lnTo>
                    <a:pt x="1088" y="609"/>
                  </a:lnTo>
                  <a:lnTo>
                    <a:pt x="1088" y="609"/>
                  </a:lnTo>
                  <a:lnTo>
                    <a:pt x="1088" y="609"/>
                  </a:lnTo>
                  <a:lnTo>
                    <a:pt x="1086" y="609"/>
                  </a:lnTo>
                  <a:lnTo>
                    <a:pt x="1086" y="609"/>
                  </a:lnTo>
                  <a:lnTo>
                    <a:pt x="1086" y="611"/>
                  </a:lnTo>
                  <a:lnTo>
                    <a:pt x="1086" y="611"/>
                  </a:lnTo>
                  <a:lnTo>
                    <a:pt x="1088" y="613"/>
                  </a:lnTo>
                  <a:lnTo>
                    <a:pt x="1088" y="613"/>
                  </a:lnTo>
                  <a:lnTo>
                    <a:pt x="1086" y="613"/>
                  </a:lnTo>
                  <a:lnTo>
                    <a:pt x="1086" y="613"/>
                  </a:lnTo>
                  <a:lnTo>
                    <a:pt x="1083" y="613"/>
                  </a:lnTo>
                  <a:lnTo>
                    <a:pt x="1083" y="613"/>
                  </a:lnTo>
                  <a:lnTo>
                    <a:pt x="1083" y="615"/>
                  </a:lnTo>
                  <a:lnTo>
                    <a:pt x="1083" y="615"/>
                  </a:lnTo>
                  <a:lnTo>
                    <a:pt x="1083" y="615"/>
                  </a:lnTo>
                  <a:lnTo>
                    <a:pt x="1081" y="615"/>
                  </a:lnTo>
                  <a:lnTo>
                    <a:pt x="1081" y="615"/>
                  </a:lnTo>
                  <a:lnTo>
                    <a:pt x="1079" y="615"/>
                  </a:lnTo>
                  <a:lnTo>
                    <a:pt x="1079" y="617"/>
                  </a:lnTo>
                  <a:lnTo>
                    <a:pt x="1079" y="617"/>
                  </a:lnTo>
                  <a:lnTo>
                    <a:pt x="1079" y="619"/>
                  </a:lnTo>
                  <a:lnTo>
                    <a:pt x="1081" y="619"/>
                  </a:lnTo>
                  <a:lnTo>
                    <a:pt x="1081" y="621"/>
                  </a:lnTo>
                  <a:lnTo>
                    <a:pt x="1081" y="621"/>
                  </a:lnTo>
                  <a:lnTo>
                    <a:pt x="1081" y="621"/>
                  </a:lnTo>
                  <a:lnTo>
                    <a:pt x="1079" y="621"/>
                  </a:lnTo>
                  <a:lnTo>
                    <a:pt x="1079" y="619"/>
                  </a:lnTo>
                  <a:lnTo>
                    <a:pt x="1079" y="619"/>
                  </a:lnTo>
                  <a:lnTo>
                    <a:pt x="1075" y="619"/>
                  </a:lnTo>
                  <a:lnTo>
                    <a:pt x="1073" y="619"/>
                  </a:lnTo>
                  <a:lnTo>
                    <a:pt x="1073" y="619"/>
                  </a:lnTo>
                  <a:lnTo>
                    <a:pt x="1073" y="621"/>
                  </a:lnTo>
                  <a:lnTo>
                    <a:pt x="1071" y="621"/>
                  </a:lnTo>
                  <a:lnTo>
                    <a:pt x="1071" y="621"/>
                  </a:lnTo>
                  <a:lnTo>
                    <a:pt x="1069" y="623"/>
                  </a:lnTo>
                  <a:lnTo>
                    <a:pt x="1067" y="623"/>
                  </a:lnTo>
                  <a:lnTo>
                    <a:pt x="1067" y="623"/>
                  </a:lnTo>
                  <a:lnTo>
                    <a:pt x="1069" y="625"/>
                  </a:lnTo>
                  <a:lnTo>
                    <a:pt x="1069" y="625"/>
                  </a:lnTo>
                  <a:lnTo>
                    <a:pt x="1071" y="625"/>
                  </a:lnTo>
                  <a:lnTo>
                    <a:pt x="1067" y="625"/>
                  </a:lnTo>
                  <a:lnTo>
                    <a:pt x="1067" y="625"/>
                  </a:lnTo>
                  <a:lnTo>
                    <a:pt x="1067" y="627"/>
                  </a:lnTo>
                  <a:lnTo>
                    <a:pt x="1065" y="627"/>
                  </a:lnTo>
                  <a:lnTo>
                    <a:pt x="1065" y="627"/>
                  </a:lnTo>
                  <a:lnTo>
                    <a:pt x="1065" y="629"/>
                  </a:lnTo>
                  <a:lnTo>
                    <a:pt x="1065" y="629"/>
                  </a:lnTo>
                  <a:lnTo>
                    <a:pt x="1067" y="631"/>
                  </a:lnTo>
                  <a:lnTo>
                    <a:pt x="1067" y="631"/>
                  </a:lnTo>
                  <a:lnTo>
                    <a:pt x="1067" y="631"/>
                  </a:lnTo>
                  <a:lnTo>
                    <a:pt x="1069" y="631"/>
                  </a:lnTo>
                  <a:lnTo>
                    <a:pt x="1069" y="631"/>
                  </a:lnTo>
                  <a:lnTo>
                    <a:pt x="1069" y="631"/>
                  </a:lnTo>
                  <a:lnTo>
                    <a:pt x="1069" y="631"/>
                  </a:lnTo>
                  <a:lnTo>
                    <a:pt x="1067" y="631"/>
                  </a:lnTo>
                  <a:lnTo>
                    <a:pt x="1069" y="633"/>
                  </a:lnTo>
                  <a:lnTo>
                    <a:pt x="1069" y="633"/>
                  </a:lnTo>
                  <a:lnTo>
                    <a:pt x="1069" y="633"/>
                  </a:lnTo>
                  <a:lnTo>
                    <a:pt x="1071" y="633"/>
                  </a:lnTo>
                  <a:lnTo>
                    <a:pt x="1071" y="633"/>
                  </a:lnTo>
                  <a:lnTo>
                    <a:pt x="1071" y="633"/>
                  </a:lnTo>
                  <a:lnTo>
                    <a:pt x="1071" y="633"/>
                  </a:lnTo>
                  <a:lnTo>
                    <a:pt x="1073" y="635"/>
                  </a:lnTo>
                  <a:lnTo>
                    <a:pt x="1073" y="635"/>
                  </a:lnTo>
                  <a:lnTo>
                    <a:pt x="1077" y="635"/>
                  </a:lnTo>
                  <a:lnTo>
                    <a:pt x="1077" y="633"/>
                  </a:lnTo>
                  <a:lnTo>
                    <a:pt x="1075" y="635"/>
                  </a:lnTo>
                  <a:lnTo>
                    <a:pt x="1075" y="633"/>
                  </a:lnTo>
                  <a:lnTo>
                    <a:pt x="1075" y="633"/>
                  </a:lnTo>
                  <a:lnTo>
                    <a:pt x="1075" y="633"/>
                  </a:lnTo>
                  <a:lnTo>
                    <a:pt x="1077" y="633"/>
                  </a:lnTo>
                  <a:lnTo>
                    <a:pt x="1079" y="633"/>
                  </a:lnTo>
                  <a:lnTo>
                    <a:pt x="1079" y="633"/>
                  </a:lnTo>
                  <a:lnTo>
                    <a:pt x="1079" y="633"/>
                  </a:lnTo>
                  <a:lnTo>
                    <a:pt x="1079" y="633"/>
                  </a:lnTo>
                  <a:lnTo>
                    <a:pt x="1079" y="633"/>
                  </a:lnTo>
                  <a:lnTo>
                    <a:pt x="1077" y="633"/>
                  </a:lnTo>
                  <a:lnTo>
                    <a:pt x="1079" y="631"/>
                  </a:lnTo>
                  <a:lnTo>
                    <a:pt x="1081" y="631"/>
                  </a:lnTo>
                  <a:lnTo>
                    <a:pt x="1081" y="631"/>
                  </a:lnTo>
                  <a:lnTo>
                    <a:pt x="1081" y="631"/>
                  </a:lnTo>
                  <a:lnTo>
                    <a:pt x="1081" y="631"/>
                  </a:lnTo>
                  <a:lnTo>
                    <a:pt x="1081" y="631"/>
                  </a:lnTo>
                  <a:lnTo>
                    <a:pt x="1083" y="631"/>
                  </a:lnTo>
                  <a:lnTo>
                    <a:pt x="1083" y="631"/>
                  </a:lnTo>
                  <a:lnTo>
                    <a:pt x="1086" y="631"/>
                  </a:lnTo>
                  <a:lnTo>
                    <a:pt x="1086" y="631"/>
                  </a:lnTo>
                  <a:lnTo>
                    <a:pt x="1086" y="631"/>
                  </a:lnTo>
                  <a:lnTo>
                    <a:pt x="1088" y="633"/>
                  </a:lnTo>
                  <a:lnTo>
                    <a:pt x="1088" y="633"/>
                  </a:lnTo>
                  <a:lnTo>
                    <a:pt x="1088" y="633"/>
                  </a:lnTo>
                  <a:lnTo>
                    <a:pt x="1090" y="631"/>
                  </a:lnTo>
                  <a:lnTo>
                    <a:pt x="1090" y="631"/>
                  </a:lnTo>
                  <a:lnTo>
                    <a:pt x="1090" y="631"/>
                  </a:lnTo>
                  <a:lnTo>
                    <a:pt x="1090" y="631"/>
                  </a:lnTo>
                  <a:lnTo>
                    <a:pt x="1090" y="631"/>
                  </a:lnTo>
                  <a:lnTo>
                    <a:pt x="1090" y="631"/>
                  </a:lnTo>
                  <a:lnTo>
                    <a:pt x="1088" y="629"/>
                  </a:lnTo>
                  <a:lnTo>
                    <a:pt x="1088" y="629"/>
                  </a:lnTo>
                  <a:lnTo>
                    <a:pt x="1088" y="629"/>
                  </a:lnTo>
                  <a:lnTo>
                    <a:pt x="1086" y="629"/>
                  </a:lnTo>
                  <a:lnTo>
                    <a:pt x="1086" y="629"/>
                  </a:lnTo>
                  <a:lnTo>
                    <a:pt x="1086" y="629"/>
                  </a:lnTo>
                  <a:lnTo>
                    <a:pt x="1086" y="627"/>
                  </a:lnTo>
                  <a:lnTo>
                    <a:pt x="1086" y="627"/>
                  </a:lnTo>
                  <a:lnTo>
                    <a:pt x="1086" y="627"/>
                  </a:lnTo>
                  <a:lnTo>
                    <a:pt x="1086" y="627"/>
                  </a:lnTo>
                  <a:lnTo>
                    <a:pt x="1088" y="627"/>
                  </a:lnTo>
                  <a:lnTo>
                    <a:pt x="1090" y="629"/>
                  </a:lnTo>
                  <a:lnTo>
                    <a:pt x="1090" y="629"/>
                  </a:lnTo>
                  <a:lnTo>
                    <a:pt x="1090" y="629"/>
                  </a:lnTo>
                  <a:lnTo>
                    <a:pt x="1090" y="627"/>
                  </a:lnTo>
                  <a:lnTo>
                    <a:pt x="1090" y="627"/>
                  </a:lnTo>
                  <a:lnTo>
                    <a:pt x="1092" y="627"/>
                  </a:lnTo>
                  <a:lnTo>
                    <a:pt x="1092" y="629"/>
                  </a:lnTo>
                  <a:lnTo>
                    <a:pt x="1092" y="629"/>
                  </a:lnTo>
                  <a:lnTo>
                    <a:pt x="1092" y="629"/>
                  </a:lnTo>
                  <a:lnTo>
                    <a:pt x="1092" y="629"/>
                  </a:lnTo>
                  <a:lnTo>
                    <a:pt x="1092" y="629"/>
                  </a:lnTo>
                  <a:lnTo>
                    <a:pt x="1092" y="629"/>
                  </a:lnTo>
                  <a:lnTo>
                    <a:pt x="1092" y="631"/>
                  </a:lnTo>
                  <a:lnTo>
                    <a:pt x="1092" y="631"/>
                  </a:lnTo>
                  <a:lnTo>
                    <a:pt x="1094" y="633"/>
                  </a:lnTo>
                  <a:lnTo>
                    <a:pt x="1094" y="631"/>
                  </a:lnTo>
                  <a:lnTo>
                    <a:pt x="1094" y="631"/>
                  </a:lnTo>
                  <a:lnTo>
                    <a:pt x="1096" y="629"/>
                  </a:lnTo>
                  <a:lnTo>
                    <a:pt x="1096" y="629"/>
                  </a:lnTo>
                  <a:lnTo>
                    <a:pt x="1094" y="627"/>
                  </a:lnTo>
                  <a:lnTo>
                    <a:pt x="1094" y="627"/>
                  </a:lnTo>
                  <a:lnTo>
                    <a:pt x="1094" y="627"/>
                  </a:lnTo>
                  <a:lnTo>
                    <a:pt x="1096" y="625"/>
                  </a:lnTo>
                  <a:lnTo>
                    <a:pt x="1096" y="625"/>
                  </a:lnTo>
                  <a:lnTo>
                    <a:pt x="1096" y="625"/>
                  </a:lnTo>
                  <a:lnTo>
                    <a:pt x="1098" y="623"/>
                  </a:lnTo>
                  <a:lnTo>
                    <a:pt x="1098" y="623"/>
                  </a:lnTo>
                  <a:lnTo>
                    <a:pt x="1098" y="623"/>
                  </a:lnTo>
                  <a:lnTo>
                    <a:pt x="1098" y="623"/>
                  </a:lnTo>
                  <a:lnTo>
                    <a:pt x="1098" y="621"/>
                  </a:lnTo>
                  <a:lnTo>
                    <a:pt x="1098" y="621"/>
                  </a:lnTo>
                  <a:lnTo>
                    <a:pt x="1100" y="621"/>
                  </a:lnTo>
                  <a:lnTo>
                    <a:pt x="1102" y="621"/>
                  </a:lnTo>
                  <a:lnTo>
                    <a:pt x="1102" y="621"/>
                  </a:lnTo>
                  <a:lnTo>
                    <a:pt x="1102" y="619"/>
                  </a:lnTo>
                  <a:lnTo>
                    <a:pt x="1102" y="619"/>
                  </a:lnTo>
                  <a:lnTo>
                    <a:pt x="1102" y="619"/>
                  </a:lnTo>
                  <a:lnTo>
                    <a:pt x="1102" y="619"/>
                  </a:lnTo>
                  <a:lnTo>
                    <a:pt x="1102" y="619"/>
                  </a:lnTo>
                  <a:lnTo>
                    <a:pt x="1102" y="617"/>
                  </a:lnTo>
                  <a:lnTo>
                    <a:pt x="1102" y="617"/>
                  </a:lnTo>
                  <a:lnTo>
                    <a:pt x="1102" y="617"/>
                  </a:lnTo>
                  <a:lnTo>
                    <a:pt x="1102" y="615"/>
                  </a:lnTo>
                  <a:lnTo>
                    <a:pt x="1100" y="615"/>
                  </a:lnTo>
                  <a:lnTo>
                    <a:pt x="1100" y="615"/>
                  </a:lnTo>
                  <a:lnTo>
                    <a:pt x="1100" y="615"/>
                  </a:lnTo>
                  <a:lnTo>
                    <a:pt x="1102" y="613"/>
                  </a:lnTo>
                  <a:lnTo>
                    <a:pt x="1104" y="611"/>
                  </a:lnTo>
                  <a:lnTo>
                    <a:pt x="1104" y="611"/>
                  </a:lnTo>
                  <a:lnTo>
                    <a:pt x="1104" y="613"/>
                  </a:lnTo>
                  <a:lnTo>
                    <a:pt x="1104" y="615"/>
                  </a:lnTo>
                  <a:lnTo>
                    <a:pt x="1104" y="615"/>
                  </a:lnTo>
                  <a:lnTo>
                    <a:pt x="1104" y="617"/>
                  </a:lnTo>
                  <a:lnTo>
                    <a:pt x="1104" y="617"/>
                  </a:lnTo>
                  <a:lnTo>
                    <a:pt x="1104" y="619"/>
                  </a:lnTo>
                  <a:lnTo>
                    <a:pt x="1104" y="619"/>
                  </a:lnTo>
                  <a:lnTo>
                    <a:pt x="1106" y="619"/>
                  </a:lnTo>
                  <a:lnTo>
                    <a:pt x="1106" y="617"/>
                  </a:lnTo>
                  <a:lnTo>
                    <a:pt x="1106" y="617"/>
                  </a:lnTo>
                  <a:lnTo>
                    <a:pt x="1106" y="615"/>
                  </a:lnTo>
                  <a:lnTo>
                    <a:pt x="1108" y="613"/>
                  </a:lnTo>
                  <a:lnTo>
                    <a:pt x="1108" y="613"/>
                  </a:lnTo>
                  <a:lnTo>
                    <a:pt x="1108" y="611"/>
                  </a:lnTo>
                  <a:lnTo>
                    <a:pt x="1110" y="607"/>
                  </a:lnTo>
                  <a:lnTo>
                    <a:pt x="1110" y="605"/>
                  </a:lnTo>
                  <a:lnTo>
                    <a:pt x="1112" y="605"/>
                  </a:lnTo>
                  <a:lnTo>
                    <a:pt x="1110" y="607"/>
                  </a:lnTo>
                  <a:lnTo>
                    <a:pt x="1110" y="607"/>
                  </a:lnTo>
                  <a:lnTo>
                    <a:pt x="1110" y="609"/>
                  </a:lnTo>
                  <a:lnTo>
                    <a:pt x="1110" y="609"/>
                  </a:lnTo>
                  <a:lnTo>
                    <a:pt x="1110" y="611"/>
                  </a:lnTo>
                  <a:lnTo>
                    <a:pt x="1110" y="611"/>
                  </a:lnTo>
                  <a:lnTo>
                    <a:pt x="1110" y="611"/>
                  </a:lnTo>
                  <a:lnTo>
                    <a:pt x="1110" y="611"/>
                  </a:lnTo>
                  <a:lnTo>
                    <a:pt x="1110" y="613"/>
                  </a:lnTo>
                  <a:lnTo>
                    <a:pt x="1110" y="613"/>
                  </a:lnTo>
                  <a:lnTo>
                    <a:pt x="1110" y="613"/>
                  </a:lnTo>
                  <a:lnTo>
                    <a:pt x="1108" y="613"/>
                  </a:lnTo>
                  <a:lnTo>
                    <a:pt x="1108" y="615"/>
                  </a:lnTo>
                  <a:lnTo>
                    <a:pt x="1108" y="615"/>
                  </a:lnTo>
                  <a:lnTo>
                    <a:pt x="1108" y="615"/>
                  </a:lnTo>
                  <a:lnTo>
                    <a:pt x="1108" y="615"/>
                  </a:lnTo>
                  <a:lnTo>
                    <a:pt x="1108" y="615"/>
                  </a:lnTo>
                  <a:lnTo>
                    <a:pt x="1108" y="617"/>
                  </a:lnTo>
                  <a:lnTo>
                    <a:pt x="1108" y="617"/>
                  </a:lnTo>
                  <a:lnTo>
                    <a:pt x="1108" y="617"/>
                  </a:lnTo>
                  <a:lnTo>
                    <a:pt x="1108" y="617"/>
                  </a:lnTo>
                  <a:lnTo>
                    <a:pt x="1108" y="617"/>
                  </a:lnTo>
                  <a:lnTo>
                    <a:pt x="1108" y="617"/>
                  </a:lnTo>
                  <a:lnTo>
                    <a:pt x="1108" y="617"/>
                  </a:lnTo>
                  <a:lnTo>
                    <a:pt x="1108" y="617"/>
                  </a:lnTo>
                  <a:lnTo>
                    <a:pt x="1108" y="617"/>
                  </a:lnTo>
                  <a:lnTo>
                    <a:pt x="1108" y="619"/>
                  </a:lnTo>
                  <a:lnTo>
                    <a:pt x="1108" y="619"/>
                  </a:lnTo>
                  <a:lnTo>
                    <a:pt x="1110" y="617"/>
                  </a:lnTo>
                  <a:lnTo>
                    <a:pt x="1110" y="617"/>
                  </a:lnTo>
                  <a:lnTo>
                    <a:pt x="1110" y="617"/>
                  </a:lnTo>
                  <a:lnTo>
                    <a:pt x="1112" y="617"/>
                  </a:lnTo>
                  <a:lnTo>
                    <a:pt x="1110" y="615"/>
                  </a:lnTo>
                  <a:lnTo>
                    <a:pt x="1112" y="615"/>
                  </a:lnTo>
                  <a:lnTo>
                    <a:pt x="1112" y="615"/>
                  </a:lnTo>
                  <a:lnTo>
                    <a:pt x="1112" y="613"/>
                  </a:lnTo>
                  <a:lnTo>
                    <a:pt x="1112" y="613"/>
                  </a:lnTo>
                  <a:lnTo>
                    <a:pt x="1112" y="613"/>
                  </a:lnTo>
                  <a:lnTo>
                    <a:pt x="1112" y="611"/>
                  </a:lnTo>
                  <a:lnTo>
                    <a:pt x="1112" y="611"/>
                  </a:lnTo>
                  <a:lnTo>
                    <a:pt x="1114" y="613"/>
                  </a:lnTo>
                  <a:lnTo>
                    <a:pt x="1114" y="613"/>
                  </a:lnTo>
                  <a:lnTo>
                    <a:pt x="1114" y="613"/>
                  </a:lnTo>
                  <a:lnTo>
                    <a:pt x="1114" y="613"/>
                  </a:lnTo>
                  <a:lnTo>
                    <a:pt x="1114" y="611"/>
                  </a:lnTo>
                  <a:lnTo>
                    <a:pt x="1114" y="611"/>
                  </a:lnTo>
                  <a:lnTo>
                    <a:pt x="1114" y="611"/>
                  </a:lnTo>
                  <a:lnTo>
                    <a:pt x="1114" y="609"/>
                  </a:lnTo>
                  <a:lnTo>
                    <a:pt x="1114" y="609"/>
                  </a:lnTo>
                  <a:lnTo>
                    <a:pt x="1114" y="609"/>
                  </a:lnTo>
                  <a:lnTo>
                    <a:pt x="1114" y="607"/>
                  </a:lnTo>
                  <a:lnTo>
                    <a:pt x="1114" y="607"/>
                  </a:lnTo>
                  <a:lnTo>
                    <a:pt x="1114" y="607"/>
                  </a:lnTo>
                  <a:lnTo>
                    <a:pt x="1114" y="607"/>
                  </a:lnTo>
                  <a:lnTo>
                    <a:pt x="1114" y="607"/>
                  </a:lnTo>
                  <a:lnTo>
                    <a:pt x="1114" y="607"/>
                  </a:lnTo>
                  <a:lnTo>
                    <a:pt x="1116" y="607"/>
                  </a:lnTo>
                  <a:lnTo>
                    <a:pt x="1116" y="609"/>
                  </a:lnTo>
                  <a:lnTo>
                    <a:pt x="1116" y="609"/>
                  </a:lnTo>
                  <a:lnTo>
                    <a:pt x="1116" y="609"/>
                  </a:lnTo>
                  <a:lnTo>
                    <a:pt x="1116" y="609"/>
                  </a:lnTo>
                  <a:lnTo>
                    <a:pt x="1118" y="607"/>
                  </a:lnTo>
                  <a:lnTo>
                    <a:pt x="1118" y="605"/>
                  </a:lnTo>
                  <a:lnTo>
                    <a:pt x="1118" y="605"/>
                  </a:lnTo>
                  <a:lnTo>
                    <a:pt x="1118" y="605"/>
                  </a:lnTo>
                  <a:lnTo>
                    <a:pt x="1118" y="605"/>
                  </a:lnTo>
                  <a:lnTo>
                    <a:pt x="1118" y="603"/>
                  </a:lnTo>
                  <a:lnTo>
                    <a:pt x="1118" y="603"/>
                  </a:lnTo>
                  <a:lnTo>
                    <a:pt x="1116" y="603"/>
                  </a:lnTo>
                  <a:lnTo>
                    <a:pt x="1116" y="600"/>
                  </a:lnTo>
                  <a:lnTo>
                    <a:pt x="1116" y="600"/>
                  </a:lnTo>
                  <a:lnTo>
                    <a:pt x="1116" y="600"/>
                  </a:lnTo>
                  <a:lnTo>
                    <a:pt x="1118" y="600"/>
                  </a:lnTo>
                  <a:lnTo>
                    <a:pt x="1118" y="600"/>
                  </a:lnTo>
                  <a:lnTo>
                    <a:pt x="1118" y="603"/>
                  </a:lnTo>
                  <a:lnTo>
                    <a:pt x="1120" y="603"/>
                  </a:lnTo>
                  <a:lnTo>
                    <a:pt x="1120" y="605"/>
                  </a:lnTo>
                  <a:lnTo>
                    <a:pt x="1122" y="605"/>
                  </a:lnTo>
                  <a:lnTo>
                    <a:pt x="1122" y="605"/>
                  </a:lnTo>
                  <a:lnTo>
                    <a:pt x="1122" y="605"/>
                  </a:lnTo>
                  <a:lnTo>
                    <a:pt x="1122" y="607"/>
                  </a:lnTo>
                  <a:lnTo>
                    <a:pt x="1122" y="607"/>
                  </a:lnTo>
                  <a:lnTo>
                    <a:pt x="1122" y="607"/>
                  </a:lnTo>
                  <a:lnTo>
                    <a:pt x="1122" y="607"/>
                  </a:lnTo>
                  <a:lnTo>
                    <a:pt x="1124" y="607"/>
                  </a:lnTo>
                  <a:lnTo>
                    <a:pt x="1124" y="607"/>
                  </a:lnTo>
                  <a:lnTo>
                    <a:pt x="1124" y="607"/>
                  </a:lnTo>
                  <a:lnTo>
                    <a:pt x="1124" y="605"/>
                  </a:lnTo>
                  <a:lnTo>
                    <a:pt x="1122" y="600"/>
                  </a:lnTo>
                  <a:lnTo>
                    <a:pt x="1122" y="600"/>
                  </a:lnTo>
                  <a:lnTo>
                    <a:pt x="1120" y="598"/>
                  </a:lnTo>
                  <a:lnTo>
                    <a:pt x="1120" y="598"/>
                  </a:lnTo>
                  <a:lnTo>
                    <a:pt x="1120" y="598"/>
                  </a:lnTo>
                  <a:lnTo>
                    <a:pt x="1120" y="596"/>
                  </a:lnTo>
                  <a:lnTo>
                    <a:pt x="1120" y="596"/>
                  </a:lnTo>
                  <a:lnTo>
                    <a:pt x="1122" y="598"/>
                  </a:lnTo>
                  <a:lnTo>
                    <a:pt x="1122" y="598"/>
                  </a:lnTo>
                  <a:lnTo>
                    <a:pt x="1122" y="598"/>
                  </a:lnTo>
                  <a:lnTo>
                    <a:pt x="1122" y="596"/>
                  </a:lnTo>
                  <a:lnTo>
                    <a:pt x="1122" y="594"/>
                  </a:lnTo>
                  <a:lnTo>
                    <a:pt x="1122" y="592"/>
                  </a:lnTo>
                  <a:lnTo>
                    <a:pt x="1122" y="592"/>
                  </a:lnTo>
                  <a:lnTo>
                    <a:pt x="1124" y="592"/>
                  </a:lnTo>
                  <a:lnTo>
                    <a:pt x="1124" y="592"/>
                  </a:lnTo>
                  <a:lnTo>
                    <a:pt x="1126" y="594"/>
                  </a:lnTo>
                  <a:lnTo>
                    <a:pt x="1126" y="594"/>
                  </a:lnTo>
                  <a:lnTo>
                    <a:pt x="1126" y="596"/>
                  </a:lnTo>
                  <a:lnTo>
                    <a:pt x="1126" y="598"/>
                  </a:lnTo>
                  <a:lnTo>
                    <a:pt x="1124" y="598"/>
                  </a:lnTo>
                  <a:lnTo>
                    <a:pt x="1124" y="598"/>
                  </a:lnTo>
                  <a:lnTo>
                    <a:pt x="1126" y="600"/>
                  </a:lnTo>
                  <a:lnTo>
                    <a:pt x="1126" y="600"/>
                  </a:lnTo>
                  <a:lnTo>
                    <a:pt x="1126" y="600"/>
                  </a:lnTo>
                  <a:lnTo>
                    <a:pt x="1126" y="600"/>
                  </a:lnTo>
                  <a:lnTo>
                    <a:pt x="1126" y="600"/>
                  </a:lnTo>
                  <a:lnTo>
                    <a:pt x="1126" y="600"/>
                  </a:lnTo>
                  <a:lnTo>
                    <a:pt x="1126" y="600"/>
                  </a:lnTo>
                  <a:lnTo>
                    <a:pt x="1126" y="603"/>
                  </a:lnTo>
                  <a:lnTo>
                    <a:pt x="1129" y="603"/>
                  </a:lnTo>
                  <a:lnTo>
                    <a:pt x="1129" y="603"/>
                  </a:lnTo>
                  <a:lnTo>
                    <a:pt x="1129" y="605"/>
                  </a:lnTo>
                  <a:lnTo>
                    <a:pt x="1129" y="605"/>
                  </a:lnTo>
                  <a:lnTo>
                    <a:pt x="1129" y="605"/>
                  </a:lnTo>
                  <a:lnTo>
                    <a:pt x="1129" y="603"/>
                  </a:lnTo>
                  <a:lnTo>
                    <a:pt x="1129" y="603"/>
                  </a:lnTo>
                  <a:lnTo>
                    <a:pt x="1129" y="603"/>
                  </a:lnTo>
                  <a:lnTo>
                    <a:pt x="1129" y="603"/>
                  </a:lnTo>
                  <a:lnTo>
                    <a:pt x="1129" y="600"/>
                  </a:lnTo>
                  <a:lnTo>
                    <a:pt x="1129" y="600"/>
                  </a:lnTo>
                  <a:lnTo>
                    <a:pt x="1129" y="600"/>
                  </a:lnTo>
                  <a:lnTo>
                    <a:pt x="1129" y="600"/>
                  </a:lnTo>
                  <a:lnTo>
                    <a:pt x="1129" y="600"/>
                  </a:lnTo>
                  <a:lnTo>
                    <a:pt x="1129" y="600"/>
                  </a:lnTo>
                  <a:lnTo>
                    <a:pt x="1126" y="600"/>
                  </a:lnTo>
                  <a:lnTo>
                    <a:pt x="1126" y="598"/>
                  </a:lnTo>
                  <a:lnTo>
                    <a:pt x="1126" y="598"/>
                  </a:lnTo>
                  <a:lnTo>
                    <a:pt x="1126" y="598"/>
                  </a:lnTo>
                  <a:lnTo>
                    <a:pt x="1126" y="598"/>
                  </a:lnTo>
                  <a:lnTo>
                    <a:pt x="1126" y="596"/>
                  </a:lnTo>
                  <a:lnTo>
                    <a:pt x="1126" y="594"/>
                  </a:lnTo>
                  <a:lnTo>
                    <a:pt x="1129" y="594"/>
                  </a:lnTo>
                  <a:lnTo>
                    <a:pt x="1129" y="594"/>
                  </a:lnTo>
                  <a:lnTo>
                    <a:pt x="1129" y="592"/>
                  </a:lnTo>
                  <a:lnTo>
                    <a:pt x="1129" y="592"/>
                  </a:lnTo>
                  <a:lnTo>
                    <a:pt x="1129" y="592"/>
                  </a:lnTo>
                  <a:lnTo>
                    <a:pt x="1131" y="592"/>
                  </a:lnTo>
                  <a:lnTo>
                    <a:pt x="1131" y="592"/>
                  </a:lnTo>
                  <a:lnTo>
                    <a:pt x="1131" y="592"/>
                  </a:lnTo>
                  <a:lnTo>
                    <a:pt x="1131" y="592"/>
                  </a:lnTo>
                  <a:lnTo>
                    <a:pt x="1131" y="590"/>
                  </a:lnTo>
                  <a:lnTo>
                    <a:pt x="1131" y="590"/>
                  </a:lnTo>
                  <a:lnTo>
                    <a:pt x="1131" y="590"/>
                  </a:lnTo>
                  <a:lnTo>
                    <a:pt x="1131" y="590"/>
                  </a:lnTo>
                  <a:lnTo>
                    <a:pt x="1133" y="588"/>
                  </a:lnTo>
                  <a:lnTo>
                    <a:pt x="1131" y="588"/>
                  </a:lnTo>
                  <a:lnTo>
                    <a:pt x="1131" y="588"/>
                  </a:lnTo>
                  <a:lnTo>
                    <a:pt x="1131" y="586"/>
                  </a:lnTo>
                  <a:lnTo>
                    <a:pt x="1131" y="586"/>
                  </a:lnTo>
                  <a:lnTo>
                    <a:pt x="1131" y="584"/>
                  </a:lnTo>
                  <a:lnTo>
                    <a:pt x="1131" y="584"/>
                  </a:lnTo>
                  <a:lnTo>
                    <a:pt x="1131" y="582"/>
                  </a:lnTo>
                  <a:lnTo>
                    <a:pt x="1131" y="582"/>
                  </a:lnTo>
                  <a:lnTo>
                    <a:pt x="1133" y="582"/>
                  </a:lnTo>
                  <a:lnTo>
                    <a:pt x="1133" y="582"/>
                  </a:lnTo>
                  <a:lnTo>
                    <a:pt x="1133" y="584"/>
                  </a:lnTo>
                  <a:lnTo>
                    <a:pt x="1133" y="588"/>
                  </a:lnTo>
                  <a:lnTo>
                    <a:pt x="1135" y="588"/>
                  </a:lnTo>
                  <a:lnTo>
                    <a:pt x="1135" y="588"/>
                  </a:lnTo>
                  <a:lnTo>
                    <a:pt x="1135" y="588"/>
                  </a:lnTo>
                  <a:lnTo>
                    <a:pt x="1135" y="588"/>
                  </a:lnTo>
                  <a:lnTo>
                    <a:pt x="1135" y="588"/>
                  </a:lnTo>
                  <a:lnTo>
                    <a:pt x="1133" y="588"/>
                  </a:lnTo>
                  <a:lnTo>
                    <a:pt x="1133" y="590"/>
                  </a:lnTo>
                  <a:lnTo>
                    <a:pt x="1135" y="590"/>
                  </a:lnTo>
                  <a:lnTo>
                    <a:pt x="1135" y="590"/>
                  </a:lnTo>
                  <a:lnTo>
                    <a:pt x="1135" y="590"/>
                  </a:lnTo>
                  <a:lnTo>
                    <a:pt x="1135" y="590"/>
                  </a:lnTo>
                  <a:lnTo>
                    <a:pt x="1135" y="592"/>
                  </a:lnTo>
                  <a:lnTo>
                    <a:pt x="1135" y="592"/>
                  </a:lnTo>
                  <a:lnTo>
                    <a:pt x="1135" y="594"/>
                  </a:lnTo>
                  <a:lnTo>
                    <a:pt x="1135" y="594"/>
                  </a:lnTo>
                  <a:lnTo>
                    <a:pt x="1135" y="594"/>
                  </a:lnTo>
                  <a:lnTo>
                    <a:pt x="1137" y="594"/>
                  </a:lnTo>
                  <a:lnTo>
                    <a:pt x="1137" y="594"/>
                  </a:lnTo>
                  <a:lnTo>
                    <a:pt x="1137" y="592"/>
                  </a:lnTo>
                  <a:lnTo>
                    <a:pt x="1137" y="592"/>
                  </a:lnTo>
                  <a:lnTo>
                    <a:pt x="1137" y="592"/>
                  </a:lnTo>
                  <a:lnTo>
                    <a:pt x="1137" y="590"/>
                  </a:lnTo>
                  <a:lnTo>
                    <a:pt x="1137" y="590"/>
                  </a:lnTo>
                  <a:lnTo>
                    <a:pt x="1137" y="590"/>
                  </a:lnTo>
                  <a:lnTo>
                    <a:pt x="1137" y="590"/>
                  </a:lnTo>
                  <a:lnTo>
                    <a:pt x="1137" y="588"/>
                  </a:lnTo>
                  <a:lnTo>
                    <a:pt x="1137" y="588"/>
                  </a:lnTo>
                  <a:lnTo>
                    <a:pt x="1137" y="588"/>
                  </a:lnTo>
                  <a:lnTo>
                    <a:pt x="1139" y="586"/>
                  </a:lnTo>
                  <a:lnTo>
                    <a:pt x="1139" y="586"/>
                  </a:lnTo>
                  <a:lnTo>
                    <a:pt x="1141" y="586"/>
                  </a:lnTo>
                  <a:lnTo>
                    <a:pt x="1141" y="586"/>
                  </a:lnTo>
                  <a:lnTo>
                    <a:pt x="1141" y="586"/>
                  </a:lnTo>
                  <a:lnTo>
                    <a:pt x="1139" y="588"/>
                  </a:lnTo>
                  <a:lnTo>
                    <a:pt x="1139" y="588"/>
                  </a:lnTo>
                  <a:lnTo>
                    <a:pt x="1139" y="590"/>
                  </a:lnTo>
                  <a:lnTo>
                    <a:pt x="1141" y="590"/>
                  </a:lnTo>
                  <a:lnTo>
                    <a:pt x="1141" y="588"/>
                  </a:lnTo>
                  <a:lnTo>
                    <a:pt x="1141" y="590"/>
                  </a:lnTo>
                  <a:lnTo>
                    <a:pt x="1143" y="590"/>
                  </a:lnTo>
                  <a:lnTo>
                    <a:pt x="1143" y="590"/>
                  </a:lnTo>
                  <a:lnTo>
                    <a:pt x="1145" y="590"/>
                  </a:lnTo>
                  <a:lnTo>
                    <a:pt x="1145" y="590"/>
                  </a:lnTo>
                  <a:lnTo>
                    <a:pt x="1145" y="590"/>
                  </a:lnTo>
                  <a:lnTo>
                    <a:pt x="1147" y="590"/>
                  </a:lnTo>
                  <a:lnTo>
                    <a:pt x="1147" y="590"/>
                  </a:lnTo>
                  <a:lnTo>
                    <a:pt x="1149" y="590"/>
                  </a:lnTo>
                  <a:lnTo>
                    <a:pt x="1149" y="590"/>
                  </a:lnTo>
                  <a:lnTo>
                    <a:pt x="1149" y="590"/>
                  </a:lnTo>
                  <a:lnTo>
                    <a:pt x="1149" y="590"/>
                  </a:lnTo>
                  <a:lnTo>
                    <a:pt x="1151" y="590"/>
                  </a:lnTo>
                  <a:lnTo>
                    <a:pt x="1151" y="590"/>
                  </a:lnTo>
                  <a:lnTo>
                    <a:pt x="1151" y="590"/>
                  </a:lnTo>
                  <a:lnTo>
                    <a:pt x="1151" y="590"/>
                  </a:lnTo>
                  <a:lnTo>
                    <a:pt x="1151" y="590"/>
                  </a:lnTo>
                  <a:lnTo>
                    <a:pt x="1151" y="590"/>
                  </a:lnTo>
                  <a:lnTo>
                    <a:pt x="1151" y="590"/>
                  </a:lnTo>
                  <a:lnTo>
                    <a:pt x="1151" y="592"/>
                  </a:lnTo>
                  <a:lnTo>
                    <a:pt x="1151" y="592"/>
                  </a:lnTo>
                  <a:lnTo>
                    <a:pt x="1153" y="590"/>
                  </a:lnTo>
                  <a:lnTo>
                    <a:pt x="1153" y="588"/>
                  </a:lnTo>
                  <a:lnTo>
                    <a:pt x="1153" y="588"/>
                  </a:lnTo>
                  <a:lnTo>
                    <a:pt x="1153" y="588"/>
                  </a:lnTo>
                  <a:lnTo>
                    <a:pt x="1153" y="588"/>
                  </a:lnTo>
                  <a:lnTo>
                    <a:pt x="1153" y="586"/>
                  </a:lnTo>
                  <a:lnTo>
                    <a:pt x="1153" y="586"/>
                  </a:lnTo>
                  <a:lnTo>
                    <a:pt x="1155" y="586"/>
                  </a:lnTo>
                  <a:lnTo>
                    <a:pt x="1155" y="586"/>
                  </a:lnTo>
                  <a:lnTo>
                    <a:pt x="1155" y="588"/>
                  </a:lnTo>
                  <a:lnTo>
                    <a:pt x="1157" y="590"/>
                  </a:lnTo>
                  <a:lnTo>
                    <a:pt x="1157" y="588"/>
                  </a:lnTo>
                  <a:lnTo>
                    <a:pt x="1157" y="588"/>
                  </a:lnTo>
                  <a:lnTo>
                    <a:pt x="1157" y="586"/>
                  </a:lnTo>
                  <a:lnTo>
                    <a:pt x="1157" y="586"/>
                  </a:lnTo>
                  <a:lnTo>
                    <a:pt x="1157" y="586"/>
                  </a:lnTo>
                  <a:lnTo>
                    <a:pt x="1157" y="586"/>
                  </a:lnTo>
                  <a:lnTo>
                    <a:pt x="1157" y="586"/>
                  </a:lnTo>
                  <a:lnTo>
                    <a:pt x="1157" y="586"/>
                  </a:lnTo>
                  <a:lnTo>
                    <a:pt x="1157" y="586"/>
                  </a:lnTo>
                  <a:lnTo>
                    <a:pt x="1157" y="584"/>
                  </a:lnTo>
                  <a:lnTo>
                    <a:pt x="1157" y="584"/>
                  </a:lnTo>
                  <a:lnTo>
                    <a:pt x="1157" y="582"/>
                  </a:lnTo>
                  <a:lnTo>
                    <a:pt x="1157" y="580"/>
                  </a:lnTo>
                  <a:lnTo>
                    <a:pt x="1159" y="578"/>
                  </a:lnTo>
                  <a:lnTo>
                    <a:pt x="1159" y="578"/>
                  </a:lnTo>
                  <a:lnTo>
                    <a:pt x="1159" y="578"/>
                  </a:lnTo>
                  <a:lnTo>
                    <a:pt x="1159" y="578"/>
                  </a:lnTo>
                  <a:lnTo>
                    <a:pt x="1159" y="580"/>
                  </a:lnTo>
                  <a:lnTo>
                    <a:pt x="1159" y="580"/>
                  </a:lnTo>
                  <a:lnTo>
                    <a:pt x="1161" y="580"/>
                  </a:lnTo>
                  <a:lnTo>
                    <a:pt x="1163" y="580"/>
                  </a:lnTo>
                  <a:lnTo>
                    <a:pt x="1163" y="578"/>
                  </a:lnTo>
                  <a:lnTo>
                    <a:pt x="1163" y="576"/>
                  </a:lnTo>
                  <a:lnTo>
                    <a:pt x="1163" y="576"/>
                  </a:lnTo>
                  <a:lnTo>
                    <a:pt x="1163" y="574"/>
                  </a:lnTo>
                  <a:lnTo>
                    <a:pt x="1163" y="574"/>
                  </a:lnTo>
                  <a:lnTo>
                    <a:pt x="1163" y="574"/>
                  </a:lnTo>
                  <a:lnTo>
                    <a:pt x="1163" y="574"/>
                  </a:lnTo>
                  <a:lnTo>
                    <a:pt x="1163" y="574"/>
                  </a:lnTo>
                  <a:lnTo>
                    <a:pt x="1163" y="576"/>
                  </a:lnTo>
                  <a:lnTo>
                    <a:pt x="1161" y="578"/>
                  </a:lnTo>
                  <a:lnTo>
                    <a:pt x="1161" y="578"/>
                  </a:lnTo>
                  <a:lnTo>
                    <a:pt x="1161" y="576"/>
                  </a:lnTo>
                  <a:lnTo>
                    <a:pt x="1161" y="576"/>
                  </a:lnTo>
                  <a:lnTo>
                    <a:pt x="1161" y="576"/>
                  </a:lnTo>
                  <a:lnTo>
                    <a:pt x="1161" y="576"/>
                  </a:lnTo>
                  <a:lnTo>
                    <a:pt x="1161" y="574"/>
                  </a:lnTo>
                  <a:lnTo>
                    <a:pt x="1159" y="574"/>
                  </a:lnTo>
                  <a:lnTo>
                    <a:pt x="1161" y="574"/>
                  </a:lnTo>
                  <a:lnTo>
                    <a:pt x="1161" y="574"/>
                  </a:lnTo>
                  <a:lnTo>
                    <a:pt x="1161" y="574"/>
                  </a:lnTo>
                  <a:lnTo>
                    <a:pt x="1161" y="574"/>
                  </a:lnTo>
                  <a:lnTo>
                    <a:pt x="1159" y="574"/>
                  </a:lnTo>
                  <a:lnTo>
                    <a:pt x="1159" y="576"/>
                  </a:lnTo>
                  <a:lnTo>
                    <a:pt x="1157" y="576"/>
                  </a:lnTo>
                  <a:lnTo>
                    <a:pt x="1157" y="576"/>
                  </a:lnTo>
                  <a:lnTo>
                    <a:pt x="1157" y="578"/>
                  </a:lnTo>
                  <a:lnTo>
                    <a:pt x="1155" y="578"/>
                  </a:lnTo>
                  <a:lnTo>
                    <a:pt x="1155" y="576"/>
                  </a:lnTo>
                  <a:lnTo>
                    <a:pt x="1157" y="576"/>
                  </a:lnTo>
                  <a:lnTo>
                    <a:pt x="1157" y="576"/>
                  </a:lnTo>
                  <a:lnTo>
                    <a:pt x="1157" y="576"/>
                  </a:lnTo>
                  <a:lnTo>
                    <a:pt x="1157" y="576"/>
                  </a:lnTo>
                  <a:lnTo>
                    <a:pt x="1157" y="574"/>
                  </a:lnTo>
                  <a:lnTo>
                    <a:pt x="1157" y="574"/>
                  </a:lnTo>
                  <a:lnTo>
                    <a:pt x="1157" y="574"/>
                  </a:lnTo>
                  <a:lnTo>
                    <a:pt x="1157" y="574"/>
                  </a:lnTo>
                  <a:lnTo>
                    <a:pt x="1157" y="572"/>
                  </a:lnTo>
                  <a:lnTo>
                    <a:pt x="1157" y="572"/>
                  </a:lnTo>
                  <a:lnTo>
                    <a:pt x="1157" y="572"/>
                  </a:lnTo>
                  <a:lnTo>
                    <a:pt x="1157" y="572"/>
                  </a:lnTo>
                  <a:lnTo>
                    <a:pt x="1157" y="574"/>
                  </a:lnTo>
                  <a:lnTo>
                    <a:pt x="1157" y="574"/>
                  </a:lnTo>
                  <a:lnTo>
                    <a:pt x="1159" y="574"/>
                  </a:lnTo>
                  <a:lnTo>
                    <a:pt x="1159" y="572"/>
                  </a:lnTo>
                  <a:lnTo>
                    <a:pt x="1159" y="572"/>
                  </a:lnTo>
                  <a:lnTo>
                    <a:pt x="1161" y="572"/>
                  </a:lnTo>
                  <a:lnTo>
                    <a:pt x="1161" y="570"/>
                  </a:lnTo>
                  <a:lnTo>
                    <a:pt x="1161" y="568"/>
                  </a:lnTo>
                  <a:lnTo>
                    <a:pt x="1161" y="568"/>
                  </a:lnTo>
                  <a:lnTo>
                    <a:pt x="1159" y="568"/>
                  </a:lnTo>
                  <a:lnTo>
                    <a:pt x="1159" y="568"/>
                  </a:lnTo>
                  <a:lnTo>
                    <a:pt x="1159" y="568"/>
                  </a:lnTo>
                  <a:lnTo>
                    <a:pt x="1159" y="568"/>
                  </a:lnTo>
                  <a:lnTo>
                    <a:pt x="1159" y="566"/>
                  </a:lnTo>
                  <a:lnTo>
                    <a:pt x="1161" y="568"/>
                  </a:lnTo>
                  <a:lnTo>
                    <a:pt x="1161" y="568"/>
                  </a:lnTo>
                  <a:lnTo>
                    <a:pt x="1161" y="568"/>
                  </a:lnTo>
                  <a:lnTo>
                    <a:pt x="1161" y="568"/>
                  </a:lnTo>
                  <a:lnTo>
                    <a:pt x="1163" y="568"/>
                  </a:lnTo>
                  <a:lnTo>
                    <a:pt x="1163" y="568"/>
                  </a:lnTo>
                  <a:lnTo>
                    <a:pt x="1163" y="566"/>
                  </a:lnTo>
                  <a:lnTo>
                    <a:pt x="1161" y="566"/>
                  </a:lnTo>
                  <a:lnTo>
                    <a:pt x="1161" y="566"/>
                  </a:lnTo>
                  <a:lnTo>
                    <a:pt x="1161" y="566"/>
                  </a:lnTo>
                  <a:lnTo>
                    <a:pt x="1163" y="566"/>
                  </a:lnTo>
                  <a:lnTo>
                    <a:pt x="1163" y="566"/>
                  </a:lnTo>
                  <a:lnTo>
                    <a:pt x="1163" y="564"/>
                  </a:lnTo>
                  <a:lnTo>
                    <a:pt x="1163" y="564"/>
                  </a:lnTo>
                  <a:lnTo>
                    <a:pt x="1165" y="566"/>
                  </a:lnTo>
                  <a:lnTo>
                    <a:pt x="1165" y="566"/>
                  </a:lnTo>
                  <a:lnTo>
                    <a:pt x="1165" y="566"/>
                  </a:lnTo>
                  <a:lnTo>
                    <a:pt x="1165" y="564"/>
                  </a:lnTo>
                  <a:lnTo>
                    <a:pt x="1165" y="564"/>
                  </a:lnTo>
                  <a:lnTo>
                    <a:pt x="1167" y="564"/>
                  </a:lnTo>
                  <a:lnTo>
                    <a:pt x="1167" y="564"/>
                  </a:lnTo>
                  <a:lnTo>
                    <a:pt x="1167" y="562"/>
                  </a:lnTo>
                  <a:lnTo>
                    <a:pt x="1167" y="562"/>
                  </a:lnTo>
                  <a:lnTo>
                    <a:pt x="1167" y="562"/>
                  </a:lnTo>
                  <a:lnTo>
                    <a:pt x="1165" y="562"/>
                  </a:lnTo>
                  <a:lnTo>
                    <a:pt x="1165" y="562"/>
                  </a:lnTo>
                  <a:lnTo>
                    <a:pt x="1165" y="562"/>
                  </a:lnTo>
                  <a:lnTo>
                    <a:pt x="1165" y="562"/>
                  </a:lnTo>
                  <a:lnTo>
                    <a:pt x="1167" y="559"/>
                  </a:lnTo>
                  <a:lnTo>
                    <a:pt x="1167" y="559"/>
                  </a:lnTo>
                  <a:lnTo>
                    <a:pt x="1167" y="559"/>
                  </a:lnTo>
                  <a:lnTo>
                    <a:pt x="1165" y="559"/>
                  </a:lnTo>
                  <a:lnTo>
                    <a:pt x="1165" y="559"/>
                  </a:lnTo>
                  <a:lnTo>
                    <a:pt x="1165" y="559"/>
                  </a:lnTo>
                  <a:lnTo>
                    <a:pt x="1165" y="557"/>
                  </a:lnTo>
                  <a:lnTo>
                    <a:pt x="1165" y="557"/>
                  </a:lnTo>
                  <a:lnTo>
                    <a:pt x="1165" y="557"/>
                  </a:lnTo>
                  <a:lnTo>
                    <a:pt x="1165" y="557"/>
                  </a:lnTo>
                  <a:lnTo>
                    <a:pt x="1165" y="557"/>
                  </a:lnTo>
                  <a:lnTo>
                    <a:pt x="1163" y="557"/>
                  </a:lnTo>
                  <a:lnTo>
                    <a:pt x="1163" y="557"/>
                  </a:lnTo>
                  <a:lnTo>
                    <a:pt x="1163" y="555"/>
                  </a:lnTo>
                  <a:lnTo>
                    <a:pt x="1163" y="555"/>
                  </a:lnTo>
                  <a:lnTo>
                    <a:pt x="1163" y="555"/>
                  </a:lnTo>
                  <a:lnTo>
                    <a:pt x="1163" y="555"/>
                  </a:lnTo>
                  <a:lnTo>
                    <a:pt x="1163" y="555"/>
                  </a:lnTo>
                  <a:lnTo>
                    <a:pt x="1161" y="555"/>
                  </a:lnTo>
                  <a:lnTo>
                    <a:pt x="1161" y="555"/>
                  </a:lnTo>
                  <a:lnTo>
                    <a:pt x="1161" y="557"/>
                  </a:lnTo>
                  <a:lnTo>
                    <a:pt x="1161" y="559"/>
                  </a:lnTo>
                  <a:lnTo>
                    <a:pt x="1161" y="559"/>
                  </a:lnTo>
                  <a:lnTo>
                    <a:pt x="1161" y="559"/>
                  </a:lnTo>
                  <a:lnTo>
                    <a:pt x="1161" y="559"/>
                  </a:lnTo>
                  <a:lnTo>
                    <a:pt x="1161" y="559"/>
                  </a:lnTo>
                  <a:lnTo>
                    <a:pt x="1161" y="557"/>
                  </a:lnTo>
                  <a:lnTo>
                    <a:pt x="1161" y="557"/>
                  </a:lnTo>
                  <a:lnTo>
                    <a:pt x="1161" y="557"/>
                  </a:lnTo>
                  <a:lnTo>
                    <a:pt x="1161" y="557"/>
                  </a:lnTo>
                  <a:lnTo>
                    <a:pt x="1159" y="557"/>
                  </a:lnTo>
                  <a:lnTo>
                    <a:pt x="1159" y="559"/>
                  </a:lnTo>
                  <a:lnTo>
                    <a:pt x="1159" y="559"/>
                  </a:lnTo>
                  <a:lnTo>
                    <a:pt x="1159" y="559"/>
                  </a:lnTo>
                  <a:lnTo>
                    <a:pt x="1159" y="559"/>
                  </a:lnTo>
                  <a:lnTo>
                    <a:pt x="1159" y="559"/>
                  </a:lnTo>
                  <a:lnTo>
                    <a:pt x="1159" y="559"/>
                  </a:lnTo>
                  <a:lnTo>
                    <a:pt x="1159" y="559"/>
                  </a:lnTo>
                  <a:lnTo>
                    <a:pt x="1159" y="559"/>
                  </a:lnTo>
                  <a:lnTo>
                    <a:pt x="1159" y="562"/>
                  </a:lnTo>
                  <a:lnTo>
                    <a:pt x="1159" y="562"/>
                  </a:lnTo>
                  <a:lnTo>
                    <a:pt x="1159" y="562"/>
                  </a:lnTo>
                  <a:lnTo>
                    <a:pt x="1159" y="564"/>
                  </a:lnTo>
                  <a:lnTo>
                    <a:pt x="1159" y="564"/>
                  </a:lnTo>
                  <a:lnTo>
                    <a:pt x="1159" y="562"/>
                  </a:lnTo>
                  <a:lnTo>
                    <a:pt x="1159" y="562"/>
                  </a:lnTo>
                  <a:lnTo>
                    <a:pt x="1157" y="562"/>
                  </a:lnTo>
                  <a:lnTo>
                    <a:pt x="1157" y="562"/>
                  </a:lnTo>
                  <a:lnTo>
                    <a:pt x="1157" y="562"/>
                  </a:lnTo>
                  <a:lnTo>
                    <a:pt x="1157" y="562"/>
                  </a:lnTo>
                  <a:lnTo>
                    <a:pt x="1157" y="562"/>
                  </a:lnTo>
                  <a:lnTo>
                    <a:pt x="1157" y="559"/>
                  </a:lnTo>
                  <a:lnTo>
                    <a:pt x="1157" y="559"/>
                  </a:lnTo>
                  <a:lnTo>
                    <a:pt x="1155" y="562"/>
                  </a:lnTo>
                  <a:lnTo>
                    <a:pt x="1155" y="559"/>
                  </a:lnTo>
                  <a:lnTo>
                    <a:pt x="1155" y="559"/>
                  </a:lnTo>
                  <a:lnTo>
                    <a:pt x="1155" y="559"/>
                  </a:lnTo>
                  <a:lnTo>
                    <a:pt x="1155" y="559"/>
                  </a:lnTo>
                  <a:lnTo>
                    <a:pt x="1155" y="559"/>
                  </a:lnTo>
                  <a:lnTo>
                    <a:pt x="1153" y="559"/>
                  </a:lnTo>
                  <a:lnTo>
                    <a:pt x="1153" y="559"/>
                  </a:lnTo>
                  <a:lnTo>
                    <a:pt x="1151" y="562"/>
                  </a:lnTo>
                  <a:lnTo>
                    <a:pt x="1149" y="562"/>
                  </a:lnTo>
                  <a:lnTo>
                    <a:pt x="1149" y="564"/>
                  </a:lnTo>
                  <a:lnTo>
                    <a:pt x="1149" y="564"/>
                  </a:lnTo>
                  <a:lnTo>
                    <a:pt x="1149" y="564"/>
                  </a:lnTo>
                  <a:lnTo>
                    <a:pt x="1149" y="564"/>
                  </a:lnTo>
                  <a:lnTo>
                    <a:pt x="1149" y="562"/>
                  </a:lnTo>
                  <a:lnTo>
                    <a:pt x="1149" y="562"/>
                  </a:lnTo>
                  <a:lnTo>
                    <a:pt x="1151" y="559"/>
                  </a:lnTo>
                  <a:lnTo>
                    <a:pt x="1151" y="557"/>
                  </a:lnTo>
                  <a:lnTo>
                    <a:pt x="1153" y="557"/>
                  </a:lnTo>
                  <a:lnTo>
                    <a:pt x="1153" y="555"/>
                  </a:lnTo>
                  <a:lnTo>
                    <a:pt x="1153" y="557"/>
                  </a:lnTo>
                  <a:lnTo>
                    <a:pt x="1155" y="557"/>
                  </a:lnTo>
                  <a:lnTo>
                    <a:pt x="1155" y="557"/>
                  </a:lnTo>
                  <a:lnTo>
                    <a:pt x="1155" y="557"/>
                  </a:lnTo>
                  <a:lnTo>
                    <a:pt x="1155" y="557"/>
                  </a:lnTo>
                  <a:lnTo>
                    <a:pt x="1155" y="557"/>
                  </a:lnTo>
                  <a:lnTo>
                    <a:pt x="1157" y="559"/>
                  </a:lnTo>
                  <a:lnTo>
                    <a:pt x="1157" y="557"/>
                  </a:lnTo>
                  <a:lnTo>
                    <a:pt x="1159" y="555"/>
                  </a:lnTo>
                  <a:lnTo>
                    <a:pt x="1159" y="555"/>
                  </a:lnTo>
                  <a:lnTo>
                    <a:pt x="1159" y="555"/>
                  </a:lnTo>
                  <a:lnTo>
                    <a:pt x="1159" y="553"/>
                  </a:lnTo>
                  <a:lnTo>
                    <a:pt x="1159" y="553"/>
                  </a:lnTo>
                  <a:lnTo>
                    <a:pt x="1159" y="553"/>
                  </a:lnTo>
                  <a:lnTo>
                    <a:pt x="1159" y="553"/>
                  </a:lnTo>
                  <a:lnTo>
                    <a:pt x="1159" y="553"/>
                  </a:lnTo>
                  <a:lnTo>
                    <a:pt x="1159" y="551"/>
                  </a:lnTo>
                  <a:lnTo>
                    <a:pt x="1159" y="551"/>
                  </a:lnTo>
                  <a:lnTo>
                    <a:pt x="1159" y="551"/>
                  </a:lnTo>
                  <a:lnTo>
                    <a:pt x="1159" y="551"/>
                  </a:lnTo>
                  <a:lnTo>
                    <a:pt x="1157" y="549"/>
                  </a:lnTo>
                  <a:lnTo>
                    <a:pt x="1157" y="547"/>
                  </a:lnTo>
                  <a:lnTo>
                    <a:pt x="1157" y="547"/>
                  </a:lnTo>
                  <a:lnTo>
                    <a:pt x="1159" y="547"/>
                  </a:lnTo>
                  <a:lnTo>
                    <a:pt x="1159" y="547"/>
                  </a:lnTo>
                  <a:lnTo>
                    <a:pt x="1157" y="547"/>
                  </a:lnTo>
                  <a:lnTo>
                    <a:pt x="1157" y="549"/>
                  </a:lnTo>
                  <a:lnTo>
                    <a:pt x="1155" y="549"/>
                  </a:lnTo>
                  <a:lnTo>
                    <a:pt x="1155" y="551"/>
                  </a:lnTo>
                  <a:lnTo>
                    <a:pt x="1155" y="551"/>
                  </a:lnTo>
                  <a:lnTo>
                    <a:pt x="1155" y="551"/>
                  </a:lnTo>
                  <a:lnTo>
                    <a:pt x="1155" y="553"/>
                  </a:lnTo>
                  <a:lnTo>
                    <a:pt x="1155" y="553"/>
                  </a:lnTo>
                  <a:lnTo>
                    <a:pt x="1155" y="553"/>
                  </a:lnTo>
                  <a:lnTo>
                    <a:pt x="1153" y="553"/>
                  </a:lnTo>
                  <a:lnTo>
                    <a:pt x="1153" y="551"/>
                  </a:lnTo>
                  <a:lnTo>
                    <a:pt x="1153" y="551"/>
                  </a:lnTo>
                  <a:lnTo>
                    <a:pt x="1155" y="551"/>
                  </a:lnTo>
                  <a:lnTo>
                    <a:pt x="1155" y="551"/>
                  </a:lnTo>
                  <a:lnTo>
                    <a:pt x="1155" y="549"/>
                  </a:lnTo>
                  <a:lnTo>
                    <a:pt x="1155" y="549"/>
                  </a:lnTo>
                  <a:lnTo>
                    <a:pt x="1155" y="549"/>
                  </a:lnTo>
                  <a:lnTo>
                    <a:pt x="1155" y="549"/>
                  </a:lnTo>
                  <a:lnTo>
                    <a:pt x="1155" y="547"/>
                  </a:lnTo>
                  <a:lnTo>
                    <a:pt x="1155" y="547"/>
                  </a:lnTo>
                  <a:lnTo>
                    <a:pt x="1155" y="547"/>
                  </a:lnTo>
                  <a:lnTo>
                    <a:pt x="1155" y="547"/>
                  </a:lnTo>
                  <a:lnTo>
                    <a:pt x="1155" y="547"/>
                  </a:lnTo>
                  <a:lnTo>
                    <a:pt x="1155" y="547"/>
                  </a:lnTo>
                  <a:lnTo>
                    <a:pt x="1155" y="547"/>
                  </a:lnTo>
                  <a:lnTo>
                    <a:pt x="1155" y="547"/>
                  </a:lnTo>
                  <a:lnTo>
                    <a:pt x="1153" y="547"/>
                  </a:lnTo>
                  <a:lnTo>
                    <a:pt x="1153" y="547"/>
                  </a:lnTo>
                  <a:lnTo>
                    <a:pt x="1153" y="547"/>
                  </a:lnTo>
                  <a:lnTo>
                    <a:pt x="1153" y="547"/>
                  </a:lnTo>
                  <a:lnTo>
                    <a:pt x="1151" y="547"/>
                  </a:lnTo>
                  <a:lnTo>
                    <a:pt x="1151" y="547"/>
                  </a:lnTo>
                  <a:lnTo>
                    <a:pt x="1151" y="547"/>
                  </a:lnTo>
                  <a:lnTo>
                    <a:pt x="1151" y="549"/>
                  </a:lnTo>
                  <a:lnTo>
                    <a:pt x="1151" y="549"/>
                  </a:lnTo>
                  <a:lnTo>
                    <a:pt x="1149" y="549"/>
                  </a:lnTo>
                  <a:lnTo>
                    <a:pt x="1149" y="549"/>
                  </a:lnTo>
                  <a:lnTo>
                    <a:pt x="1149" y="549"/>
                  </a:lnTo>
                  <a:lnTo>
                    <a:pt x="1149" y="549"/>
                  </a:lnTo>
                  <a:lnTo>
                    <a:pt x="1149" y="551"/>
                  </a:lnTo>
                  <a:lnTo>
                    <a:pt x="1149" y="551"/>
                  </a:lnTo>
                  <a:lnTo>
                    <a:pt x="1149" y="551"/>
                  </a:lnTo>
                  <a:lnTo>
                    <a:pt x="1149" y="551"/>
                  </a:lnTo>
                  <a:lnTo>
                    <a:pt x="1149" y="551"/>
                  </a:lnTo>
                  <a:lnTo>
                    <a:pt x="1147" y="553"/>
                  </a:lnTo>
                  <a:lnTo>
                    <a:pt x="1147" y="553"/>
                  </a:lnTo>
                  <a:lnTo>
                    <a:pt x="1147" y="551"/>
                  </a:lnTo>
                  <a:lnTo>
                    <a:pt x="1147" y="551"/>
                  </a:lnTo>
                  <a:lnTo>
                    <a:pt x="1147" y="551"/>
                  </a:lnTo>
                  <a:lnTo>
                    <a:pt x="1147" y="549"/>
                  </a:lnTo>
                  <a:lnTo>
                    <a:pt x="1147" y="549"/>
                  </a:lnTo>
                  <a:lnTo>
                    <a:pt x="1149" y="549"/>
                  </a:lnTo>
                  <a:lnTo>
                    <a:pt x="1149" y="547"/>
                  </a:lnTo>
                  <a:lnTo>
                    <a:pt x="1149" y="547"/>
                  </a:lnTo>
                  <a:lnTo>
                    <a:pt x="1151" y="545"/>
                  </a:lnTo>
                  <a:lnTo>
                    <a:pt x="1153" y="545"/>
                  </a:lnTo>
                  <a:lnTo>
                    <a:pt x="1153" y="545"/>
                  </a:lnTo>
                  <a:lnTo>
                    <a:pt x="1151" y="545"/>
                  </a:lnTo>
                  <a:lnTo>
                    <a:pt x="1151" y="545"/>
                  </a:lnTo>
                  <a:lnTo>
                    <a:pt x="1151" y="545"/>
                  </a:lnTo>
                  <a:lnTo>
                    <a:pt x="1151" y="545"/>
                  </a:lnTo>
                  <a:lnTo>
                    <a:pt x="1149" y="545"/>
                  </a:lnTo>
                  <a:lnTo>
                    <a:pt x="1149" y="545"/>
                  </a:lnTo>
                  <a:lnTo>
                    <a:pt x="1149" y="545"/>
                  </a:lnTo>
                  <a:lnTo>
                    <a:pt x="1149" y="545"/>
                  </a:lnTo>
                  <a:lnTo>
                    <a:pt x="1147" y="547"/>
                  </a:lnTo>
                  <a:lnTo>
                    <a:pt x="1147" y="547"/>
                  </a:lnTo>
                  <a:lnTo>
                    <a:pt x="1149" y="543"/>
                  </a:lnTo>
                  <a:lnTo>
                    <a:pt x="1151" y="543"/>
                  </a:lnTo>
                  <a:lnTo>
                    <a:pt x="1153" y="543"/>
                  </a:lnTo>
                  <a:lnTo>
                    <a:pt x="1153" y="543"/>
                  </a:lnTo>
                  <a:lnTo>
                    <a:pt x="1155" y="545"/>
                  </a:lnTo>
                  <a:lnTo>
                    <a:pt x="1155" y="545"/>
                  </a:lnTo>
                  <a:lnTo>
                    <a:pt x="1155" y="545"/>
                  </a:lnTo>
                  <a:lnTo>
                    <a:pt x="1155" y="543"/>
                  </a:lnTo>
                  <a:lnTo>
                    <a:pt x="1153" y="543"/>
                  </a:lnTo>
                  <a:lnTo>
                    <a:pt x="1155" y="543"/>
                  </a:lnTo>
                  <a:lnTo>
                    <a:pt x="1155" y="543"/>
                  </a:lnTo>
                  <a:lnTo>
                    <a:pt x="1155" y="543"/>
                  </a:lnTo>
                  <a:lnTo>
                    <a:pt x="1155" y="543"/>
                  </a:lnTo>
                  <a:lnTo>
                    <a:pt x="1155" y="541"/>
                  </a:lnTo>
                  <a:lnTo>
                    <a:pt x="1155" y="541"/>
                  </a:lnTo>
                  <a:lnTo>
                    <a:pt x="1155" y="541"/>
                  </a:lnTo>
                  <a:lnTo>
                    <a:pt x="1155" y="539"/>
                  </a:lnTo>
                  <a:lnTo>
                    <a:pt x="1157" y="539"/>
                  </a:lnTo>
                  <a:lnTo>
                    <a:pt x="1157" y="539"/>
                  </a:lnTo>
                  <a:lnTo>
                    <a:pt x="1157" y="539"/>
                  </a:lnTo>
                  <a:lnTo>
                    <a:pt x="1155" y="537"/>
                  </a:lnTo>
                  <a:lnTo>
                    <a:pt x="1155" y="537"/>
                  </a:lnTo>
                  <a:lnTo>
                    <a:pt x="1155" y="537"/>
                  </a:lnTo>
                  <a:lnTo>
                    <a:pt x="1157" y="537"/>
                  </a:lnTo>
                  <a:lnTo>
                    <a:pt x="1157" y="537"/>
                  </a:lnTo>
                  <a:lnTo>
                    <a:pt x="1157" y="537"/>
                  </a:lnTo>
                  <a:lnTo>
                    <a:pt x="1157" y="535"/>
                  </a:lnTo>
                  <a:lnTo>
                    <a:pt x="1157" y="535"/>
                  </a:lnTo>
                  <a:lnTo>
                    <a:pt x="1159" y="533"/>
                  </a:lnTo>
                  <a:lnTo>
                    <a:pt x="1159" y="533"/>
                  </a:lnTo>
                  <a:lnTo>
                    <a:pt x="1159" y="533"/>
                  </a:lnTo>
                  <a:lnTo>
                    <a:pt x="1159" y="531"/>
                  </a:lnTo>
                  <a:lnTo>
                    <a:pt x="1159" y="531"/>
                  </a:lnTo>
                  <a:lnTo>
                    <a:pt x="1159" y="531"/>
                  </a:lnTo>
                  <a:lnTo>
                    <a:pt x="1157" y="531"/>
                  </a:lnTo>
                  <a:lnTo>
                    <a:pt x="1155" y="531"/>
                  </a:lnTo>
                  <a:lnTo>
                    <a:pt x="1155" y="533"/>
                  </a:lnTo>
                  <a:lnTo>
                    <a:pt x="1153" y="535"/>
                  </a:lnTo>
                  <a:lnTo>
                    <a:pt x="1153" y="535"/>
                  </a:lnTo>
                  <a:lnTo>
                    <a:pt x="1151" y="535"/>
                  </a:lnTo>
                  <a:lnTo>
                    <a:pt x="1151" y="535"/>
                  </a:lnTo>
                  <a:lnTo>
                    <a:pt x="1153" y="535"/>
                  </a:lnTo>
                  <a:lnTo>
                    <a:pt x="1153" y="535"/>
                  </a:lnTo>
                  <a:lnTo>
                    <a:pt x="1153" y="533"/>
                  </a:lnTo>
                  <a:lnTo>
                    <a:pt x="1153" y="533"/>
                  </a:lnTo>
                  <a:lnTo>
                    <a:pt x="1153" y="533"/>
                  </a:lnTo>
                  <a:lnTo>
                    <a:pt x="1153" y="533"/>
                  </a:lnTo>
                  <a:lnTo>
                    <a:pt x="1153" y="533"/>
                  </a:lnTo>
                  <a:lnTo>
                    <a:pt x="1153" y="531"/>
                  </a:lnTo>
                  <a:lnTo>
                    <a:pt x="1153" y="531"/>
                  </a:lnTo>
                  <a:lnTo>
                    <a:pt x="1155" y="531"/>
                  </a:lnTo>
                  <a:lnTo>
                    <a:pt x="1155" y="531"/>
                  </a:lnTo>
                  <a:lnTo>
                    <a:pt x="1157" y="529"/>
                  </a:lnTo>
                  <a:lnTo>
                    <a:pt x="1157" y="529"/>
                  </a:lnTo>
                  <a:lnTo>
                    <a:pt x="1159" y="529"/>
                  </a:lnTo>
                  <a:lnTo>
                    <a:pt x="1159" y="529"/>
                  </a:lnTo>
                  <a:lnTo>
                    <a:pt x="1159" y="529"/>
                  </a:lnTo>
                  <a:lnTo>
                    <a:pt x="1159" y="529"/>
                  </a:lnTo>
                  <a:lnTo>
                    <a:pt x="1159" y="529"/>
                  </a:lnTo>
                  <a:lnTo>
                    <a:pt x="1159" y="531"/>
                  </a:lnTo>
                  <a:lnTo>
                    <a:pt x="1159" y="531"/>
                  </a:lnTo>
                  <a:lnTo>
                    <a:pt x="1161" y="533"/>
                  </a:lnTo>
                  <a:lnTo>
                    <a:pt x="1161" y="533"/>
                  </a:lnTo>
                  <a:lnTo>
                    <a:pt x="1161" y="533"/>
                  </a:lnTo>
                  <a:lnTo>
                    <a:pt x="1161" y="533"/>
                  </a:lnTo>
                  <a:lnTo>
                    <a:pt x="1161" y="533"/>
                  </a:lnTo>
                  <a:lnTo>
                    <a:pt x="1163" y="533"/>
                  </a:lnTo>
                  <a:lnTo>
                    <a:pt x="1163" y="531"/>
                  </a:lnTo>
                  <a:lnTo>
                    <a:pt x="1163" y="529"/>
                  </a:lnTo>
                  <a:lnTo>
                    <a:pt x="1165" y="525"/>
                  </a:lnTo>
                  <a:lnTo>
                    <a:pt x="1165" y="525"/>
                  </a:lnTo>
                  <a:lnTo>
                    <a:pt x="1165" y="525"/>
                  </a:lnTo>
                  <a:lnTo>
                    <a:pt x="1165" y="523"/>
                  </a:lnTo>
                  <a:lnTo>
                    <a:pt x="1167" y="521"/>
                  </a:lnTo>
                  <a:lnTo>
                    <a:pt x="1167" y="521"/>
                  </a:lnTo>
                  <a:lnTo>
                    <a:pt x="1167" y="518"/>
                  </a:lnTo>
                  <a:lnTo>
                    <a:pt x="1169" y="518"/>
                  </a:lnTo>
                  <a:lnTo>
                    <a:pt x="1169" y="518"/>
                  </a:lnTo>
                  <a:lnTo>
                    <a:pt x="1169" y="521"/>
                  </a:lnTo>
                  <a:lnTo>
                    <a:pt x="1167" y="523"/>
                  </a:lnTo>
                  <a:lnTo>
                    <a:pt x="1167" y="523"/>
                  </a:lnTo>
                  <a:lnTo>
                    <a:pt x="1169" y="523"/>
                  </a:lnTo>
                  <a:lnTo>
                    <a:pt x="1169" y="521"/>
                  </a:lnTo>
                  <a:lnTo>
                    <a:pt x="1169" y="523"/>
                  </a:lnTo>
                  <a:lnTo>
                    <a:pt x="1169" y="523"/>
                  </a:lnTo>
                  <a:lnTo>
                    <a:pt x="1167" y="523"/>
                  </a:lnTo>
                  <a:lnTo>
                    <a:pt x="1167" y="525"/>
                  </a:lnTo>
                  <a:lnTo>
                    <a:pt x="1167" y="525"/>
                  </a:lnTo>
                  <a:lnTo>
                    <a:pt x="1167" y="527"/>
                  </a:lnTo>
                  <a:lnTo>
                    <a:pt x="1165" y="527"/>
                  </a:lnTo>
                  <a:lnTo>
                    <a:pt x="1165" y="527"/>
                  </a:lnTo>
                  <a:lnTo>
                    <a:pt x="1165" y="529"/>
                  </a:lnTo>
                  <a:lnTo>
                    <a:pt x="1165" y="531"/>
                  </a:lnTo>
                  <a:lnTo>
                    <a:pt x="1165" y="531"/>
                  </a:lnTo>
                  <a:lnTo>
                    <a:pt x="1165" y="531"/>
                  </a:lnTo>
                  <a:lnTo>
                    <a:pt x="1165" y="531"/>
                  </a:lnTo>
                  <a:lnTo>
                    <a:pt x="1165" y="533"/>
                  </a:lnTo>
                  <a:lnTo>
                    <a:pt x="1163" y="533"/>
                  </a:lnTo>
                  <a:lnTo>
                    <a:pt x="1163" y="533"/>
                  </a:lnTo>
                  <a:lnTo>
                    <a:pt x="1163" y="533"/>
                  </a:lnTo>
                  <a:lnTo>
                    <a:pt x="1163" y="535"/>
                  </a:lnTo>
                  <a:lnTo>
                    <a:pt x="1163" y="535"/>
                  </a:lnTo>
                  <a:lnTo>
                    <a:pt x="1163" y="535"/>
                  </a:lnTo>
                  <a:lnTo>
                    <a:pt x="1163" y="535"/>
                  </a:lnTo>
                  <a:lnTo>
                    <a:pt x="1163" y="535"/>
                  </a:lnTo>
                  <a:lnTo>
                    <a:pt x="1163" y="537"/>
                  </a:lnTo>
                  <a:lnTo>
                    <a:pt x="1161" y="537"/>
                  </a:lnTo>
                  <a:lnTo>
                    <a:pt x="1163" y="537"/>
                  </a:lnTo>
                  <a:lnTo>
                    <a:pt x="1163" y="537"/>
                  </a:lnTo>
                  <a:lnTo>
                    <a:pt x="1165" y="539"/>
                  </a:lnTo>
                  <a:lnTo>
                    <a:pt x="1165" y="539"/>
                  </a:lnTo>
                  <a:lnTo>
                    <a:pt x="1165" y="539"/>
                  </a:lnTo>
                  <a:lnTo>
                    <a:pt x="1165" y="539"/>
                  </a:lnTo>
                  <a:lnTo>
                    <a:pt x="1165" y="541"/>
                  </a:lnTo>
                  <a:lnTo>
                    <a:pt x="1165" y="541"/>
                  </a:lnTo>
                  <a:lnTo>
                    <a:pt x="1167" y="541"/>
                  </a:lnTo>
                  <a:lnTo>
                    <a:pt x="1167" y="543"/>
                  </a:lnTo>
                  <a:lnTo>
                    <a:pt x="1169" y="543"/>
                  </a:lnTo>
                  <a:lnTo>
                    <a:pt x="1169" y="543"/>
                  </a:lnTo>
                  <a:lnTo>
                    <a:pt x="1169" y="541"/>
                  </a:lnTo>
                  <a:lnTo>
                    <a:pt x="1169" y="541"/>
                  </a:lnTo>
                  <a:lnTo>
                    <a:pt x="1169" y="541"/>
                  </a:lnTo>
                  <a:lnTo>
                    <a:pt x="1169" y="541"/>
                  </a:lnTo>
                  <a:lnTo>
                    <a:pt x="1169" y="541"/>
                  </a:lnTo>
                  <a:lnTo>
                    <a:pt x="1169" y="541"/>
                  </a:lnTo>
                  <a:lnTo>
                    <a:pt x="1169" y="541"/>
                  </a:lnTo>
                  <a:lnTo>
                    <a:pt x="1167" y="541"/>
                  </a:lnTo>
                  <a:lnTo>
                    <a:pt x="1169" y="539"/>
                  </a:lnTo>
                  <a:lnTo>
                    <a:pt x="1169" y="539"/>
                  </a:lnTo>
                  <a:lnTo>
                    <a:pt x="1169" y="537"/>
                  </a:lnTo>
                  <a:lnTo>
                    <a:pt x="1169" y="537"/>
                  </a:lnTo>
                  <a:lnTo>
                    <a:pt x="1169" y="537"/>
                  </a:lnTo>
                  <a:lnTo>
                    <a:pt x="1169" y="537"/>
                  </a:lnTo>
                  <a:lnTo>
                    <a:pt x="1169" y="537"/>
                  </a:lnTo>
                  <a:lnTo>
                    <a:pt x="1169" y="537"/>
                  </a:lnTo>
                  <a:lnTo>
                    <a:pt x="1172" y="535"/>
                  </a:lnTo>
                  <a:lnTo>
                    <a:pt x="1172" y="537"/>
                  </a:lnTo>
                  <a:lnTo>
                    <a:pt x="1172" y="537"/>
                  </a:lnTo>
                  <a:lnTo>
                    <a:pt x="1169" y="537"/>
                  </a:lnTo>
                  <a:lnTo>
                    <a:pt x="1169" y="539"/>
                  </a:lnTo>
                  <a:lnTo>
                    <a:pt x="1169" y="539"/>
                  </a:lnTo>
                  <a:lnTo>
                    <a:pt x="1172" y="539"/>
                  </a:lnTo>
                  <a:lnTo>
                    <a:pt x="1172" y="539"/>
                  </a:lnTo>
                  <a:lnTo>
                    <a:pt x="1172" y="539"/>
                  </a:lnTo>
                  <a:lnTo>
                    <a:pt x="1172" y="541"/>
                  </a:lnTo>
                  <a:lnTo>
                    <a:pt x="1172" y="541"/>
                  </a:lnTo>
                  <a:lnTo>
                    <a:pt x="1174" y="541"/>
                  </a:lnTo>
                  <a:lnTo>
                    <a:pt x="1174" y="539"/>
                  </a:lnTo>
                  <a:lnTo>
                    <a:pt x="1174" y="539"/>
                  </a:lnTo>
                  <a:lnTo>
                    <a:pt x="1174" y="537"/>
                  </a:lnTo>
                  <a:lnTo>
                    <a:pt x="1174" y="537"/>
                  </a:lnTo>
                  <a:lnTo>
                    <a:pt x="1174" y="535"/>
                  </a:lnTo>
                  <a:lnTo>
                    <a:pt x="1174" y="535"/>
                  </a:lnTo>
                  <a:lnTo>
                    <a:pt x="1174" y="535"/>
                  </a:lnTo>
                  <a:lnTo>
                    <a:pt x="1174" y="535"/>
                  </a:lnTo>
                  <a:lnTo>
                    <a:pt x="1174" y="535"/>
                  </a:lnTo>
                  <a:lnTo>
                    <a:pt x="1172" y="535"/>
                  </a:lnTo>
                  <a:lnTo>
                    <a:pt x="1172" y="535"/>
                  </a:lnTo>
                  <a:lnTo>
                    <a:pt x="1174" y="533"/>
                  </a:lnTo>
                  <a:lnTo>
                    <a:pt x="1174" y="533"/>
                  </a:lnTo>
                  <a:lnTo>
                    <a:pt x="1174" y="533"/>
                  </a:lnTo>
                  <a:lnTo>
                    <a:pt x="1174" y="533"/>
                  </a:lnTo>
                  <a:lnTo>
                    <a:pt x="1174" y="533"/>
                  </a:lnTo>
                  <a:lnTo>
                    <a:pt x="1174" y="533"/>
                  </a:lnTo>
                  <a:lnTo>
                    <a:pt x="1174" y="533"/>
                  </a:lnTo>
                  <a:lnTo>
                    <a:pt x="1172" y="533"/>
                  </a:lnTo>
                  <a:lnTo>
                    <a:pt x="1172" y="533"/>
                  </a:lnTo>
                  <a:lnTo>
                    <a:pt x="1172" y="533"/>
                  </a:lnTo>
                  <a:lnTo>
                    <a:pt x="1172" y="533"/>
                  </a:lnTo>
                  <a:lnTo>
                    <a:pt x="1172" y="531"/>
                  </a:lnTo>
                  <a:lnTo>
                    <a:pt x="1174" y="531"/>
                  </a:lnTo>
                  <a:lnTo>
                    <a:pt x="1174" y="531"/>
                  </a:lnTo>
                  <a:lnTo>
                    <a:pt x="1174" y="529"/>
                  </a:lnTo>
                  <a:lnTo>
                    <a:pt x="1174" y="527"/>
                  </a:lnTo>
                  <a:lnTo>
                    <a:pt x="1174" y="527"/>
                  </a:lnTo>
                  <a:lnTo>
                    <a:pt x="1174" y="527"/>
                  </a:lnTo>
                  <a:lnTo>
                    <a:pt x="1174" y="527"/>
                  </a:lnTo>
                  <a:lnTo>
                    <a:pt x="1174" y="525"/>
                  </a:lnTo>
                  <a:lnTo>
                    <a:pt x="1174" y="525"/>
                  </a:lnTo>
                  <a:lnTo>
                    <a:pt x="1174" y="525"/>
                  </a:lnTo>
                  <a:lnTo>
                    <a:pt x="1174" y="525"/>
                  </a:lnTo>
                  <a:lnTo>
                    <a:pt x="1176" y="525"/>
                  </a:lnTo>
                  <a:lnTo>
                    <a:pt x="1174" y="525"/>
                  </a:lnTo>
                  <a:lnTo>
                    <a:pt x="1174" y="527"/>
                  </a:lnTo>
                  <a:lnTo>
                    <a:pt x="1174" y="527"/>
                  </a:lnTo>
                  <a:lnTo>
                    <a:pt x="1176" y="529"/>
                  </a:lnTo>
                  <a:lnTo>
                    <a:pt x="1176" y="529"/>
                  </a:lnTo>
                  <a:lnTo>
                    <a:pt x="1176" y="529"/>
                  </a:lnTo>
                  <a:lnTo>
                    <a:pt x="1176" y="529"/>
                  </a:lnTo>
                  <a:lnTo>
                    <a:pt x="1176" y="529"/>
                  </a:lnTo>
                  <a:lnTo>
                    <a:pt x="1176" y="529"/>
                  </a:lnTo>
                  <a:lnTo>
                    <a:pt x="1176" y="529"/>
                  </a:lnTo>
                  <a:lnTo>
                    <a:pt x="1174" y="531"/>
                  </a:lnTo>
                  <a:lnTo>
                    <a:pt x="1176" y="531"/>
                  </a:lnTo>
                  <a:lnTo>
                    <a:pt x="1176" y="533"/>
                  </a:lnTo>
                  <a:lnTo>
                    <a:pt x="1176" y="533"/>
                  </a:lnTo>
                  <a:lnTo>
                    <a:pt x="1176" y="533"/>
                  </a:lnTo>
                  <a:lnTo>
                    <a:pt x="1176" y="537"/>
                  </a:lnTo>
                  <a:lnTo>
                    <a:pt x="1176" y="537"/>
                  </a:lnTo>
                  <a:lnTo>
                    <a:pt x="1176" y="537"/>
                  </a:lnTo>
                  <a:lnTo>
                    <a:pt x="1176" y="535"/>
                  </a:lnTo>
                  <a:lnTo>
                    <a:pt x="1176" y="533"/>
                  </a:lnTo>
                  <a:lnTo>
                    <a:pt x="1178" y="533"/>
                  </a:lnTo>
                  <a:lnTo>
                    <a:pt x="1178" y="533"/>
                  </a:lnTo>
                  <a:lnTo>
                    <a:pt x="1178" y="533"/>
                  </a:lnTo>
                  <a:lnTo>
                    <a:pt x="1178" y="533"/>
                  </a:lnTo>
                  <a:lnTo>
                    <a:pt x="1178" y="535"/>
                  </a:lnTo>
                  <a:lnTo>
                    <a:pt x="1178" y="535"/>
                  </a:lnTo>
                  <a:lnTo>
                    <a:pt x="1178" y="535"/>
                  </a:lnTo>
                  <a:lnTo>
                    <a:pt x="1178" y="533"/>
                  </a:lnTo>
                  <a:lnTo>
                    <a:pt x="1178" y="533"/>
                  </a:lnTo>
                  <a:lnTo>
                    <a:pt x="1180" y="533"/>
                  </a:lnTo>
                  <a:lnTo>
                    <a:pt x="1178" y="537"/>
                  </a:lnTo>
                  <a:lnTo>
                    <a:pt x="1178" y="537"/>
                  </a:lnTo>
                  <a:lnTo>
                    <a:pt x="1178" y="537"/>
                  </a:lnTo>
                  <a:lnTo>
                    <a:pt x="1178" y="537"/>
                  </a:lnTo>
                  <a:lnTo>
                    <a:pt x="1180" y="537"/>
                  </a:lnTo>
                  <a:lnTo>
                    <a:pt x="1180" y="537"/>
                  </a:lnTo>
                  <a:lnTo>
                    <a:pt x="1180" y="539"/>
                  </a:lnTo>
                  <a:lnTo>
                    <a:pt x="1180" y="537"/>
                  </a:lnTo>
                  <a:lnTo>
                    <a:pt x="1182" y="537"/>
                  </a:lnTo>
                  <a:lnTo>
                    <a:pt x="1180" y="537"/>
                  </a:lnTo>
                  <a:lnTo>
                    <a:pt x="1182" y="535"/>
                  </a:lnTo>
                  <a:lnTo>
                    <a:pt x="1182" y="535"/>
                  </a:lnTo>
                  <a:lnTo>
                    <a:pt x="1182" y="535"/>
                  </a:lnTo>
                  <a:lnTo>
                    <a:pt x="1182" y="535"/>
                  </a:lnTo>
                  <a:lnTo>
                    <a:pt x="1182" y="533"/>
                  </a:lnTo>
                  <a:lnTo>
                    <a:pt x="1182" y="533"/>
                  </a:lnTo>
                  <a:lnTo>
                    <a:pt x="1182" y="533"/>
                  </a:lnTo>
                  <a:lnTo>
                    <a:pt x="1182" y="533"/>
                  </a:lnTo>
                  <a:lnTo>
                    <a:pt x="1182" y="533"/>
                  </a:lnTo>
                  <a:lnTo>
                    <a:pt x="1182" y="533"/>
                  </a:lnTo>
                  <a:lnTo>
                    <a:pt x="1184" y="531"/>
                  </a:lnTo>
                  <a:lnTo>
                    <a:pt x="1184" y="531"/>
                  </a:lnTo>
                  <a:lnTo>
                    <a:pt x="1184" y="531"/>
                  </a:lnTo>
                  <a:lnTo>
                    <a:pt x="1184" y="533"/>
                  </a:lnTo>
                  <a:lnTo>
                    <a:pt x="1184" y="533"/>
                  </a:lnTo>
                  <a:lnTo>
                    <a:pt x="1184" y="535"/>
                  </a:lnTo>
                  <a:lnTo>
                    <a:pt x="1184" y="535"/>
                  </a:lnTo>
                  <a:lnTo>
                    <a:pt x="1184" y="535"/>
                  </a:lnTo>
                  <a:lnTo>
                    <a:pt x="1184" y="535"/>
                  </a:lnTo>
                  <a:lnTo>
                    <a:pt x="1184" y="533"/>
                  </a:lnTo>
                  <a:lnTo>
                    <a:pt x="1184" y="533"/>
                  </a:lnTo>
                  <a:lnTo>
                    <a:pt x="1184" y="533"/>
                  </a:lnTo>
                  <a:lnTo>
                    <a:pt x="1186" y="531"/>
                  </a:lnTo>
                  <a:lnTo>
                    <a:pt x="1186" y="531"/>
                  </a:lnTo>
                  <a:lnTo>
                    <a:pt x="1186" y="531"/>
                  </a:lnTo>
                  <a:lnTo>
                    <a:pt x="1188" y="531"/>
                  </a:lnTo>
                  <a:lnTo>
                    <a:pt x="1188" y="531"/>
                  </a:lnTo>
                  <a:lnTo>
                    <a:pt x="1188" y="533"/>
                  </a:lnTo>
                  <a:lnTo>
                    <a:pt x="1186" y="533"/>
                  </a:lnTo>
                  <a:lnTo>
                    <a:pt x="1188" y="533"/>
                  </a:lnTo>
                  <a:lnTo>
                    <a:pt x="1188" y="533"/>
                  </a:lnTo>
                  <a:lnTo>
                    <a:pt x="1188" y="533"/>
                  </a:lnTo>
                  <a:lnTo>
                    <a:pt x="1188" y="533"/>
                  </a:lnTo>
                  <a:lnTo>
                    <a:pt x="1188" y="531"/>
                  </a:lnTo>
                  <a:lnTo>
                    <a:pt x="1188" y="531"/>
                  </a:lnTo>
                  <a:lnTo>
                    <a:pt x="1188" y="531"/>
                  </a:lnTo>
                  <a:lnTo>
                    <a:pt x="1188" y="531"/>
                  </a:lnTo>
                  <a:lnTo>
                    <a:pt x="1188" y="531"/>
                  </a:lnTo>
                  <a:lnTo>
                    <a:pt x="1188" y="531"/>
                  </a:lnTo>
                  <a:lnTo>
                    <a:pt x="1188" y="533"/>
                  </a:lnTo>
                  <a:lnTo>
                    <a:pt x="1188" y="533"/>
                  </a:lnTo>
                  <a:lnTo>
                    <a:pt x="1188" y="535"/>
                  </a:lnTo>
                  <a:lnTo>
                    <a:pt x="1190" y="535"/>
                  </a:lnTo>
                  <a:lnTo>
                    <a:pt x="1190" y="535"/>
                  </a:lnTo>
                  <a:lnTo>
                    <a:pt x="1190" y="533"/>
                  </a:lnTo>
                  <a:lnTo>
                    <a:pt x="1192" y="533"/>
                  </a:lnTo>
                  <a:lnTo>
                    <a:pt x="1192" y="533"/>
                  </a:lnTo>
                  <a:lnTo>
                    <a:pt x="1192" y="531"/>
                  </a:lnTo>
                  <a:lnTo>
                    <a:pt x="1192" y="529"/>
                  </a:lnTo>
                  <a:lnTo>
                    <a:pt x="1194" y="527"/>
                  </a:lnTo>
                  <a:lnTo>
                    <a:pt x="1196" y="527"/>
                  </a:lnTo>
                  <a:lnTo>
                    <a:pt x="1196" y="525"/>
                  </a:lnTo>
                  <a:lnTo>
                    <a:pt x="1198" y="525"/>
                  </a:lnTo>
                  <a:lnTo>
                    <a:pt x="1198" y="523"/>
                  </a:lnTo>
                  <a:lnTo>
                    <a:pt x="1200" y="523"/>
                  </a:lnTo>
                  <a:lnTo>
                    <a:pt x="1202" y="523"/>
                  </a:lnTo>
                  <a:lnTo>
                    <a:pt x="1202" y="523"/>
                  </a:lnTo>
                  <a:lnTo>
                    <a:pt x="1204" y="523"/>
                  </a:lnTo>
                  <a:lnTo>
                    <a:pt x="1204" y="523"/>
                  </a:lnTo>
                  <a:lnTo>
                    <a:pt x="1206" y="523"/>
                  </a:lnTo>
                  <a:lnTo>
                    <a:pt x="1206" y="525"/>
                  </a:lnTo>
                  <a:lnTo>
                    <a:pt x="1206" y="525"/>
                  </a:lnTo>
                  <a:lnTo>
                    <a:pt x="1198" y="527"/>
                  </a:lnTo>
                  <a:lnTo>
                    <a:pt x="1196" y="527"/>
                  </a:lnTo>
                  <a:lnTo>
                    <a:pt x="1196" y="527"/>
                  </a:lnTo>
                  <a:lnTo>
                    <a:pt x="1198" y="527"/>
                  </a:lnTo>
                  <a:lnTo>
                    <a:pt x="1198" y="529"/>
                  </a:lnTo>
                  <a:lnTo>
                    <a:pt x="1198" y="529"/>
                  </a:lnTo>
                  <a:lnTo>
                    <a:pt x="1198" y="529"/>
                  </a:lnTo>
                  <a:lnTo>
                    <a:pt x="1198" y="529"/>
                  </a:lnTo>
                  <a:lnTo>
                    <a:pt x="1198" y="529"/>
                  </a:lnTo>
                  <a:lnTo>
                    <a:pt x="1196" y="529"/>
                  </a:lnTo>
                  <a:lnTo>
                    <a:pt x="1196" y="529"/>
                  </a:lnTo>
                  <a:lnTo>
                    <a:pt x="1196" y="529"/>
                  </a:lnTo>
                  <a:lnTo>
                    <a:pt x="1196" y="531"/>
                  </a:lnTo>
                  <a:lnTo>
                    <a:pt x="1196" y="531"/>
                  </a:lnTo>
                  <a:lnTo>
                    <a:pt x="1196" y="533"/>
                  </a:lnTo>
                  <a:lnTo>
                    <a:pt x="1196" y="533"/>
                  </a:lnTo>
                  <a:lnTo>
                    <a:pt x="1198" y="533"/>
                  </a:lnTo>
                  <a:lnTo>
                    <a:pt x="1198" y="533"/>
                  </a:lnTo>
                  <a:lnTo>
                    <a:pt x="1198" y="533"/>
                  </a:lnTo>
                  <a:lnTo>
                    <a:pt x="1196" y="533"/>
                  </a:lnTo>
                  <a:lnTo>
                    <a:pt x="1196" y="533"/>
                  </a:lnTo>
                  <a:lnTo>
                    <a:pt x="1196" y="533"/>
                  </a:lnTo>
                  <a:lnTo>
                    <a:pt x="1194" y="533"/>
                  </a:lnTo>
                  <a:lnTo>
                    <a:pt x="1194" y="533"/>
                  </a:lnTo>
                  <a:lnTo>
                    <a:pt x="1196" y="535"/>
                  </a:lnTo>
                  <a:lnTo>
                    <a:pt x="1196" y="535"/>
                  </a:lnTo>
                  <a:lnTo>
                    <a:pt x="1196" y="535"/>
                  </a:lnTo>
                  <a:lnTo>
                    <a:pt x="1196" y="535"/>
                  </a:lnTo>
                  <a:lnTo>
                    <a:pt x="1196" y="535"/>
                  </a:lnTo>
                  <a:lnTo>
                    <a:pt x="1196" y="537"/>
                  </a:lnTo>
                  <a:lnTo>
                    <a:pt x="1196" y="537"/>
                  </a:lnTo>
                  <a:lnTo>
                    <a:pt x="1196" y="537"/>
                  </a:lnTo>
                  <a:lnTo>
                    <a:pt x="1198" y="537"/>
                  </a:lnTo>
                  <a:lnTo>
                    <a:pt x="1198" y="537"/>
                  </a:lnTo>
                  <a:lnTo>
                    <a:pt x="1198" y="537"/>
                  </a:lnTo>
                  <a:lnTo>
                    <a:pt x="1198" y="537"/>
                  </a:lnTo>
                  <a:lnTo>
                    <a:pt x="1198" y="537"/>
                  </a:lnTo>
                  <a:lnTo>
                    <a:pt x="1198" y="537"/>
                  </a:lnTo>
                  <a:lnTo>
                    <a:pt x="1198" y="537"/>
                  </a:lnTo>
                  <a:lnTo>
                    <a:pt x="1198" y="537"/>
                  </a:lnTo>
                  <a:lnTo>
                    <a:pt x="1198" y="539"/>
                  </a:lnTo>
                  <a:lnTo>
                    <a:pt x="1198" y="539"/>
                  </a:lnTo>
                  <a:lnTo>
                    <a:pt x="1198" y="539"/>
                  </a:lnTo>
                  <a:lnTo>
                    <a:pt x="1198" y="539"/>
                  </a:lnTo>
                  <a:lnTo>
                    <a:pt x="1198" y="539"/>
                  </a:lnTo>
                  <a:lnTo>
                    <a:pt x="1200" y="539"/>
                  </a:lnTo>
                  <a:lnTo>
                    <a:pt x="1200" y="537"/>
                  </a:lnTo>
                  <a:lnTo>
                    <a:pt x="1200" y="539"/>
                  </a:lnTo>
                  <a:lnTo>
                    <a:pt x="1200" y="539"/>
                  </a:lnTo>
                  <a:lnTo>
                    <a:pt x="1202" y="539"/>
                  </a:lnTo>
                  <a:lnTo>
                    <a:pt x="1204" y="537"/>
                  </a:lnTo>
                  <a:lnTo>
                    <a:pt x="1204" y="539"/>
                  </a:lnTo>
                  <a:lnTo>
                    <a:pt x="1204" y="539"/>
                  </a:lnTo>
                  <a:lnTo>
                    <a:pt x="1204" y="539"/>
                  </a:lnTo>
                  <a:lnTo>
                    <a:pt x="1204" y="539"/>
                  </a:lnTo>
                  <a:lnTo>
                    <a:pt x="1204" y="539"/>
                  </a:lnTo>
                  <a:lnTo>
                    <a:pt x="1206" y="539"/>
                  </a:lnTo>
                  <a:lnTo>
                    <a:pt x="1206" y="537"/>
                  </a:lnTo>
                  <a:lnTo>
                    <a:pt x="1208" y="535"/>
                  </a:lnTo>
                  <a:lnTo>
                    <a:pt x="1208" y="535"/>
                  </a:lnTo>
                  <a:lnTo>
                    <a:pt x="1212" y="537"/>
                  </a:lnTo>
                  <a:lnTo>
                    <a:pt x="1208" y="537"/>
                  </a:lnTo>
                  <a:lnTo>
                    <a:pt x="1208" y="537"/>
                  </a:lnTo>
                  <a:lnTo>
                    <a:pt x="1208" y="537"/>
                  </a:lnTo>
                  <a:lnTo>
                    <a:pt x="1208" y="539"/>
                  </a:lnTo>
                  <a:lnTo>
                    <a:pt x="1208" y="539"/>
                  </a:lnTo>
                  <a:lnTo>
                    <a:pt x="1208" y="539"/>
                  </a:lnTo>
                  <a:lnTo>
                    <a:pt x="1208" y="539"/>
                  </a:lnTo>
                  <a:lnTo>
                    <a:pt x="1206" y="541"/>
                  </a:lnTo>
                  <a:lnTo>
                    <a:pt x="1204" y="541"/>
                  </a:lnTo>
                  <a:lnTo>
                    <a:pt x="1204" y="541"/>
                  </a:lnTo>
                  <a:lnTo>
                    <a:pt x="1204" y="541"/>
                  </a:lnTo>
                  <a:lnTo>
                    <a:pt x="1202" y="541"/>
                  </a:lnTo>
                  <a:lnTo>
                    <a:pt x="1202" y="541"/>
                  </a:lnTo>
                  <a:lnTo>
                    <a:pt x="1200" y="543"/>
                  </a:lnTo>
                  <a:lnTo>
                    <a:pt x="1202" y="541"/>
                  </a:lnTo>
                  <a:lnTo>
                    <a:pt x="1202" y="543"/>
                  </a:lnTo>
                  <a:lnTo>
                    <a:pt x="1202" y="543"/>
                  </a:lnTo>
                  <a:lnTo>
                    <a:pt x="1202" y="543"/>
                  </a:lnTo>
                  <a:lnTo>
                    <a:pt x="1202" y="543"/>
                  </a:lnTo>
                  <a:lnTo>
                    <a:pt x="1202" y="543"/>
                  </a:lnTo>
                  <a:lnTo>
                    <a:pt x="1200" y="543"/>
                  </a:lnTo>
                  <a:lnTo>
                    <a:pt x="1200" y="543"/>
                  </a:lnTo>
                  <a:lnTo>
                    <a:pt x="1200" y="543"/>
                  </a:lnTo>
                  <a:lnTo>
                    <a:pt x="1200" y="543"/>
                  </a:lnTo>
                  <a:lnTo>
                    <a:pt x="1198" y="543"/>
                  </a:lnTo>
                  <a:lnTo>
                    <a:pt x="1198" y="545"/>
                  </a:lnTo>
                  <a:lnTo>
                    <a:pt x="1198" y="543"/>
                  </a:lnTo>
                  <a:lnTo>
                    <a:pt x="1198" y="543"/>
                  </a:lnTo>
                  <a:lnTo>
                    <a:pt x="1198" y="543"/>
                  </a:lnTo>
                  <a:lnTo>
                    <a:pt x="1198" y="543"/>
                  </a:lnTo>
                  <a:lnTo>
                    <a:pt x="1198" y="545"/>
                  </a:lnTo>
                  <a:lnTo>
                    <a:pt x="1198" y="545"/>
                  </a:lnTo>
                  <a:lnTo>
                    <a:pt x="1198" y="545"/>
                  </a:lnTo>
                  <a:lnTo>
                    <a:pt x="1198" y="545"/>
                  </a:lnTo>
                  <a:lnTo>
                    <a:pt x="1198" y="545"/>
                  </a:lnTo>
                  <a:lnTo>
                    <a:pt x="1198" y="547"/>
                  </a:lnTo>
                  <a:lnTo>
                    <a:pt x="1200" y="545"/>
                  </a:lnTo>
                  <a:lnTo>
                    <a:pt x="1202" y="545"/>
                  </a:lnTo>
                  <a:lnTo>
                    <a:pt x="1202" y="547"/>
                  </a:lnTo>
                  <a:lnTo>
                    <a:pt x="1202" y="547"/>
                  </a:lnTo>
                  <a:lnTo>
                    <a:pt x="1204" y="545"/>
                  </a:lnTo>
                  <a:lnTo>
                    <a:pt x="1204" y="545"/>
                  </a:lnTo>
                  <a:lnTo>
                    <a:pt x="1204" y="545"/>
                  </a:lnTo>
                  <a:lnTo>
                    <a:pt x="1204" y="545"/>
                  </a:lnTo>
                  <a:lnTo>
                    <a:pt x="1206" y="543"/>
                  </a:lnTo>
                  <a:lnTo>
                    <a:pt x="1206" y="541"/>
                  </a:lnTo>
                  <a:lnTo>
                    <a:pt x="1208" y="541"/>
                  </a:lnTo>
                  <a:lnTo>
                    <a:pt x="1206" y="541"/>
                  </a:lnTo>
                  <a:lnTo>
                    <a:pt x="1206" y="541"/>
                  </a:lnTo>
                  <a:lnTo>
                    <a:pt x="1206" y="543"/>
                  </a:lnTo>
                  <a:lnTo>
                    <a:pt x="1206" y="543"/>
                  </a:lnTo>
                  <a:lnTo>
                    <a:pt x="1206" y="543"/>
                  </a:lnTo>
                  <a:lnTo>
                    <a:pt x="1208" y="543"/>
                  </a:lnTo>
                  <a:lnTo>
                    <a:pt x="1208" y="543"/>
                  </a:lnTo>
                  <a:lnTo>
                    <a:pt x="1208" y="543"/>
                  </a:lnTo>
                  <a:lnTo>
                    <a:pt x="1208" y="543"/>
                  </a:lnTo>
                  <a:lnTo>
                    <a:pt x="1208" y="543"/>
                  </a:lnTo>
                  <a:lnTo>
                    <a:pt x="1208" y="541"/>
                  </a:lnTo>
                  <a:lnTo>
                    <a:pt x="1210" y="541"/>
                  </a:lnTo>
                  <a:lnTo>
                    <a:pt x="1210" y="541"/>
                  </a:lnTo>
                  <a:lnTo>
                    <a:pt x="1210" y="541"/>
                  </a:lnTo>
                  <a:lnTo>
                    <a:pt x="1210" y="543"/>
                  </a:lnTo>
                  <a:lnTo>
                    <a:pt x="1210" y="543"/>
                  </a:lnTo>
                  <a:lnTo>
                    <a:pt x="1210" y="543"/>
                  </a:lnTo>
                  <a:lnTo>
                    <a:pt x="1212" y="541"/>
                  </a:lnTo>
                  <a:lnTo>
                    <a:pt x="1212" y="541"/>
                  </a:lnTo>
                  <a:lnTo>
                    <a:pt x="1212" y="539"/>
                  </a:lnTo>
                  <a:lnTo>
                    <a:pt x="1212" y="539"/>
                  </a:lnTo>
                  <a:lnTo>
                    <a:pt x="1212" y="539"/>
                  </a:lnTo>
                  <a:lnTo>
                    <a:pt x="1212" y="539"/>
                  </a:lnTo>
                  <a:lnTo>
                    <a:pt x="1212" y="539"/>
                  </a:lnTo>
                  <a:lnTo>
                    <a:pt x="1215" y="539"/>
                  </a:lnTo>
                  <a:lnTo>
                    <a:pt x="1215" y="539"/>
                  </a:lnTo>
                  <a:lnTo>
                    <a:pt x="1215" y="541"/>
                  </a:lnTo>
                  <a:lnTo>
                    <a:pt x="1215" y="541"/>
                  </a:lnTo>
                  <a:lnTo>
                    <a:pt x="1215" y="541"/>
                  </a:lnTo>
                  <a:lnTo>
                    <a:pt x="1215" y="541"/>
                  </a:lnTo>
                  <a:lnTo>
                    <a:pt x="1212" y="541"/>
                  </a:lnTo>
                  <a:lnTo>
                    <a:pt x="1212" y="541"/>
                  </a:lnTo>
                  <a:lnTo>
                    <a:pt x="1212" y="543"/>
                  </a:lnTo>
                  <a:lnTo>
                    <a:pt x="1212" y="543"/>
                  </a:lnTo>
                  <a:lnTo>
                    <a:pt x="1212" y="543"/>
                  </a:lnTo>
                  <a:lnTo>
                    <a:pt x="1212" y="543"/>
                  </a:lnTo>
                  <a:lnTo>
                    <a:pt x="1210" y="547"/>
                  </a:lnTo>
                  <a:lnTo>
                    <a:pt x="1208" y="547"/>
                  </a:lnTo>
                  <a:lnTo>
                    <a:pt x="1208" y="547"/>
                  </a:lnTo>
                  <a:lnTo>
                    <a:pt x="1208" y="547"/>
                  </a:lnTo>
                  <a:lnTo>
                    <a:pt x="1208" y="547"/>
                  </a:lnTo>
                  <a:lnTo>
                    <a:pt x="1208" y="547"/>
                  </a:lnTo>
                  <a:lnTo>
                    <a:pt x="1208" y="547"/>
                  </a:lnTo>
                  <a:lnTo>
                    <a:pt x="1208" y="547"/>
                  </a:lnTo>
                  <a:lnTo>
                    <a:pt x="1208" y="547"/>
                  </a:lnTo>
                  <a:lnTo>
                    <a:pt x="1210" y="549"/>
                  </a:lnTo>
                  <a:lnTo>
                    <a:pt x="1210" y="547"/>
                  </a:lnTo>
                  <a:lnTo>
                    <a:pt x="1215" y="545"/>
                  </a:lnTo>
                  <a:lnTo>
                    <a:pt x="1215" y="545"/>
                  </a:lnTo>
                  <a:lnTo>
                    <a:pt x="1215" y="545"/>
                  </a:lnTo>
                  <a:lnTo>
                    <a:pt x="1217" y="545"/>
                  </a:lnTo>
                  <a:lnTo>
                    <a:pt x="1217" y="543"/>
                  </a:lnTo>
                  <a:lnTo>
                    <a:pt x="1217" y="543"/>
                  </a:lnTo>
                  <a:lnTo>
                    <a:pt x="1217" y="545"/>
                  </a:lnTo>
                  <a:lnTo>
                    <a:pt x="1217" y="545"/>
                  </a:lnTo>
                  <a:lnTo>
                    <a:pt x="1217" y="545"/>
                  </a:lnTo>
                  <a:lnTo>
                    <a:pt x="1217" y="547"/>
                  </a:lnTo>
                  <a:lnTo>
                    <a:pt x="1215" y="547"/>
                  </a:lnTo>
                  <a:lnTo>
                    <a:pt x="1215" y="547"/>
                  </a:lnTo>
                  <a:lnTo>
                    <a:pt x="1217" y="547"/>
                  </a:lnTo>
                  <a:lnTo>
                    <a:pt x="1217" y="547"/>
                  </a:lnTo>
                  <a:lnTo>
                    <a:pt x="1219" y="545"/>
                  </a:lnTo>
                  <a:lnTo>
                    <a:pt x="1219" y="545"/>
                  </a:lnTo>
                  <a:lnTo>
                    <a:pt x="1219" y="543"/>
                  </a:lnTo>
                  <a:lnTo>
                    <a:pt x="1219" y="543"/>
                  </a:lnTo>
                  <a:lnTo>
                    <a:pt x="1219" y="545"/>
                  </a:lnTo>
                  <a:lnTo>
                    <a:pt x="1219" y="545"/>
                  </a:lnTo>
                  <a:lnTo>
                    <a:pt x="1219" y="545"/>
                  </a:lnTo>
                  <a:lnTo>
                    <a:pt x="1219" y="545"/>
                  </a:lnTo>
                  <a:lnTo>
                    <a:pt x="1221" y="545"/>
                  </a:lnTo>
                  <a:lnTo>
                    <a:pt x="1221" y="545"/>
                  </a:lnTo>
                  <a:lnTo>
                    <a:pt x="1221" y="547"/>
                  </a:lnTo>
                  <a:lnTo>
                    <a:pt x="1219" y="547"/>
                  </a:lnTo>
                  <a:lnTo>
                    <a:pt x="1219" y="547"/>
                  </a:lnTo>
                  <a:lnTo>
                    <a:pt x="1219" y="547"/>
                  </a:lnTo>
                  <a:lnTo>
                    <a:pt x="1223" y="545"/>
                  </a:lnTo>
                  <a:lnTo>
                    <a:pt x="1225" y="545"/>
                  </a:lnTo>
                  <a:lnTo>
                    <a:pt x="1225" y="545"/>
                  </a:lnTo>
                  <a:lnTo>
                    <a:pt x="1225" y="545"/>
                  </a:lnTo>
                  <a:lnTo>
                    <a:pt x="1225" y="545"/>
                  </a:lnTo>
                  <a:lnTo>
                    <a:pt x="1225" y="545"/>
                  </a:lnTo>
                  <a:lnTo>
                    <a:pt x="1225" y="547"/>
                  </a:lnTo>
                  <a:lnTo>
                    <a:pt x="1225" y="547"/>
                  </a:lnTo>
                  <a:lnTo>
                    <a:pt x="1223" y="547"/>
                  </a:lnTo>
                  <a:lnTo>
                    <a:pt x="1223" y="551"/>
                  </a:lnTo>
                  <a:lnTo>
                    <a:pt x="1221" y="553"/>
                  </a:lnTo>
                  <a:lnTo>
                    <a:pt x="1221" y="555"/>
                  </a:lnTo>
                  <a:lnTo>
                    <a:pt x="1219" y="555"/>
                  </a:lnTo>
                  <a:lnTo>
                    <a:pt x="1219" y="555"/>
                  </a:lnTo>
                  <a:lnTo>
                    <a:pt x="1219" y="555"/>
                  </a:lnTo>
                  <a:lnTo>
                    <a:pt x="1221" y="555"/>
                  </a:lnTo>
                  <a:lnTo>
                    <a:pt x="1223" y="555"/>
                  </a:lnTo>
                  <a:lnTo>
                    <a:pt x="1225" y="555"/>
                  </a:lnTo>
                  <a:lnTo>
                    <a:pt x="1227" y="555"/>
                  </a:lnTo>
                  <a:lnTo>
                    <a:pt x="1227" y="555"/>
                  </a:lnTo>
                  <a:lnTo>
                    <a:pt x="1229" y="555"/>
                  </a:lnTo>
                  <a:lnTo>
                    <a:pt x="1229" y="555"/>
                  </a:lnTo>
                  <a:lnTo>
                    <a:pt x="1229" y="557"/>
                  </a:lnTo>
                  <a:lnTo>
                    <a:pt x="1229" y="557"/>
                  </a:lnTo>
                  <a:lnTo>
                    <a:pt x="1231" y="557"/>
                  </a:lnTo>
                  <a:lnTo>
                    <a:pt x="1231" y="557"/>
                  </a:lnTo>
                  <a:lnTo>
                    <a:pt x="1231" y="559"/>
                  </a:lnTo>
                  <a:lnTo>
                    <a:pt x="1231" y="559"/>
                  </a:lnTo>
                  <a:lnTo>
                    <a:pt x="1233" y="559"/>
                  </a:lnTo>
                  <a:lnTo>
                    <a:pt x="1233" y="559"/>
                  </a:lnTo>
                  <a:lnTo>
                    <a:pt x="1233" y="559"/>
                  </a:lnTo>
                  <a:lnTo>
                    <a:pt x="1235" y="559"/>
                  </a:lnTo>
                  <a:lnTo>
                    <a:pt x="1235" y="559"/>
                  </a:lnTo>
                  <a:lnTo>
                    <a:pt x="1237" y="559"/>
                  </a:lnTo>
                  <a:lnTo>
                    <a:pt x="1239" y="555"/>
                  </a:lnTo>
                  <a:lnTo>
                    <a:pt x="1239" y="555"/>
                  </a:lnTo>
                  <a:lnTo>
                    <a:pt x="1239" y="555"/>
                  </a:lnTo>
                  <a:lnTo>
                    <a:pt x="1239" y="553"/>
                  </a:lnTo>
                  <a:lnTo>
                    <a:pt x="1241" y="551"/>
                  </a:lnTo>
                  <a:lnTo>
                    <a:pt x="1241" y="549"/>
                  </a:lnTo>
                  <a:lnTo>
                    <a:pt x="1241" y="549"/>
                  </a:lnTo>
                  <a:lnTo>
                    <a:pt x="1241" y="549"/>
                  </a:lnTo>
                  <a:lnTo>
                    <a:pt x="1243" y="547"/>
                  </a:lnTo>
                  <a:lnTo>
                    <a:pt x="1243" y="547"/>
                  </a:lnTo>
                  <a:lnTo>
                    <a:pt x="1243" y="547"/>
                  </a:lnTo>
                  <a:lnTo>
                    <a:pt x="1243" y="545"/>
                  </a:lnTo>
                  <a:lnTo>
                    <a:pt x="1245" y="545"/>
                  </a:lnTo>
                  <a:lnTo>
                    <a:pt x="1245" y="543"/>
                  </a:lnTo>
                  <a:lnTo>
                    <a:pt x="1245" y="543"/>
                  </a:lnTo>
                  <a:lnTo>
                    <a:pt x="1245" y="541"/>
                  </a:lnTo>
                  <a:lnTo>
                    <a:pt x="1247" y="541"/>
                  </a:lnTo>
                  <a:lnTo>
                    <a:pt x="1247" y="541"/>
                  </a:lnTo>
                  <a:lnTo>
                    <a:pt x="1247" y="539"/>
                  </a:lnTo>
                  <a:lnTo>
                    <a:pt x="1249" y="539"/>
                  </a:lnTo>
                  <a:lnTo>
                    <a:pt x="1249" y="539"/>
                  </a:lnTo>
                  <a:lnTo>
                    <a:pt x="1249" y="539"/>
                  </a:lnTo>
                  <a:lnTo>
                    <a:pt x="1249" y="539"/>
                  </a:lnTo>
                  <a:lnTo>
                    <a:pt x="1249" y="541"/>
                  </a:lnTo>
                  <a:lnTo>
                    <a:pt x="1249" y="541"/>
                  </a:lnTo>
                  <a:lnTo>
                    <a:pt x="1249" y="541"/>
                  </a:lnTo>
                  <a:lnTo>
                    <a:pt x="1249" y="541"/>
                  </a:lnTo>
                  <a:lnTo>
                    <a:pt x="1249" y="541"/>
                  </a:lnTo>
                  <a:lnTo>
                    <a:pt x="1247" y="541"/>
                  </a:lnTo>
                  <a:lnTo>
                    <a:pt x="1247" y="541"/>
                  </a:lnTo>
                  <a:lnTo>
                    <a:pt x="1247" y="541"/>
                  </a:lnTo>
                  <a:lnTo>
                    <a:pt x="1247" y="543"/>
                  </a:lnTo>
                  <a:lnTo>
                    <a:pt x="1247" y="543"/>
                  </a:lnTo>
                  <a:lnTo>
                    <a:pt x="1247" y="543"/>
                  </a:lnTo>
                  <a:lnTo>
                    <a:pt x="1247" y="543"/>
                  </a:lnTo>
                  <a:lnTo>
                    <a:pt x="1247" y="543"/>
                  </a:lnTo>
                  <a:lnTo>
                    <a:pt x="1245" y="545"/>
                  </a:lnTo>
                  <a:lnTo>
                    <a:pt x="1245" y="545"/>
                  </a:lnTo>
                  <a:lnTo>
                    <a:pt x="1245" y="545"/>
                  </a:lnTo>
                  <a:lnTo>
                    <a:pt x="1245" y="547"/>
                  </a:lnTo>
                  <a:lnTo>
                    <a:pt x="1245" y="547"/>
                  </a:lnTo>
                  <a:lnTo>
                    <a:pt x="1245" y="547"/>
                  </a:lnTo>
                  <a:lnTo>
                    <a:pt x="1245" y="549"/>
                  </a:lnTo>
                  <a:lnTo>
                    <a:pt x="1245" y="549"/>
                  </a:lnTo>
                  <a:lnTo>
                    <a:pt x="1245" y="549"/>
                  </a:lnTo>
                  <a:lnTo>
                    <a:pt x="1245" y="549"/>
                  </a:lnTo>
                  <a:lnTo>
                    <a:pt x="1245" y="549"/>
                  </a:lnTo>
                  <a:lnTo>
                    <a:pt x="1245" y="549"/>
                  </a:lnTo>
                  <a:lnTo>
                    <a:pt x="1245" y="549"/>
                  </a:lnTo>
                  <a:lnTo>
                    <a:pt x="1245" y="551"/>
                  </a:lnTo>
                  <a:lnTo>
                    <a:pt x="1245" y="551"/>
                  </a:lnTo>
                  <a:lnTo>
                    <a:pt x="1245" y="551"/>
                  </a:lnTo>
                  <a:lnTo>
                    <a:pt x="1245" y="551"/>
                  </a:lnTo>
                  <a:lnTo>
                    <a:pt x="1245" y="553"/>
                  </a:lnTo>
                  <a:lnTo>
                    <a:pt x="1245" y="553"/>
                  </a:lnTo>
                  <a:lnTo>
                    <a:pt x="1245" y="551"/>
                  </a:lnTo>
                  <a:lnTo>
                    <a:pt x="1247" y="551"/>
                  </a:lnTo>
                  <a:lnTo>
                    <a:pt x="1247" y="551"/>
                  </a:lnTo>
                  <a:lnTo>
                    <a:pt x="1247" y="551"/>
                  </a:lnTo>
                  <a:lnTo>
                    <a:pt x="1247" y="553"/>
                  </a:lnTo>
                  <a:lnTo>
                    <a:pt x="1245" y="553"/>
                  </a:lnTo>
                  <a:lnTo>
                    <a:pt x="1245" y="555"/>
                  </a:lnTo>
                  <a:lnTo>
                    <a:pt x="1247" y="555"/>
                  </a:lnTo>
                  <a:lnTo>
                    <a:pt x="1247" y="555"/>
                  </a:lnTo>
                  <a:lnTo>
                    <a:pt x="1245" y="555"/>
                  </a:lnTo>
                  <a:lnTo>
                    <a:pt x="1245" y="555"/>
                  </a:lnTo>
                  <a:lnTo>
                    <a:pt x="1245" y="555"/>
                  </a:lnTo>
                  <a:lnTo>
                    <a:pt x="1245" y="557"/>
                  </a:lnTo>
                  <a:lnTo>
                    <a:pt x="1245" y="557"/>
                  </a:lnTo>
                  <a:lnTo>
                    <a:pt x="1245" y="557"/>
                  </a:lnTo>
                  <a:lnTo>
                    <a:pt x="1245" y="557"/>
                  </a:lnTo>
                  <a:lnTo>
                    <a:pt x="1245" y="557"/>
                  </a:lnTo>
                  <a:lnTo>
                    <a:pt x="1245" y="557"/>
                  </a:lnTo>
                  <a:lnTo>
                    <a:pt x="1245" y="559"/>
                  </a:lnTo>
                  <a:lnTo>
                    <a:pt x="1245" y="559"/>
                  </a:lnTo>
                  <a:lnTo>
                    <a:pt x="1245" y="559"/>
                  </a:lnTo>
                  <a:lnTo>
                    <a:pt x="1245" y="562"/>
                  </a:lnTo>
                  <a:lnTo>
                    <a:pt x="1245" y="562"/>
                  </a:lnTo>
                  <a:lnTo>
                    <a:pt x="1245" y="562"/>
                  </a:lnTo>
                  <a:lnTo>
                    <a:pt x="1245" y="562"/>
                  </a:lnTo>
                  <a:lnTo>
                    <a:pt x="1245" y="562"/>
                  </a:lnTo>
                  <a:lnTo>
                    <a:pt x="1245" y="562"/>
                  </a:lnTo>
                  <a:lnTo>
                    <a:pt x="1247" y="562"/>
                  </a:lnTo>
                  <a:lnTo>
                    <a:pt x="1247" y="562"/>
                  </a:lnTo>
                  <a:lnTo>
                    <a:pt x="1247" y="562"/>
                  </a:lnTo>
                  <a:lnTo>
                    <a:pt x="1247" y="562"/>
                  </a:lnTo>
                  <a:lnTo>
                    <a:pt x="1247" y="562"/>
                  </a:lnTo>
                  <a:lnTo>
                    <a:pt x="1247" y="562"/>
                  </a:lnTo>
                  <a:lnTo>
                    <a:pt x="1247" y="562"/>
                  </a:lnTo>
                  <a:lnTo>
                    <a:pt x="1247" y="562"/>
                  </a:lnTo>
                  <a:lnTo>
                    <a:pt x="1249" y="562"/>
                  </a:lnTo>
                  <a:lnTo>
                    <a:pt x="1249" y="562"/>
                  </a:lnTo>
                  <a:lnTo>
                    <a:pt x="1249" y="562"/>
                  </a:lnTo>
                  <a:lnTo>
                    <a:pt x="1249" y="562"/>
                  </a:lnTo>
                  <a:lnTo>
                    <a:pt x="1249" y="562"/>
                  </a:lnTo>
                  <a:lnTo>
                    <a:pt x="1251" y="562"/>
                  </a:lnTo>
                  <a:lnTo>
                    <a:pt x="1251" y="564"/>
                  </a:lnTo>
                  <a:lnTo>
                    <a:pt x="1253" y="564"/>
                  </a:lnTo>
                  <a:lnTo>
                    <a:pt x="1253" y="566"/>
                  </a:lnTo>
                  <a:lnTo>
                    <a:pt x="1253" y="564"/>
                  </a:lnTo>
                  <a:lnTo>
                    <a:pt x="1251" y="564"/>
                  </a:lnTo>
                  <a:lnTo>
                    <a:pt x="1251" y="564"/>
                  </a:lnTo>
                  <a:lnTo>
                    <a:pt x="1251" y="564"/>
                  </a:lnTo>
                  <a:lnTo>
                    <a:pt x="1251" y="566"/>
                  </a:lnTo>
                  <a:lnTo>
                    <a:pt x="1253" y="566"/>
                  </a:lnTo>
                  <a:lnTo>
                    <a:pt x="1256" y="566"/>
                  </a:lnTo>
                  <a:lnTo>
                    <a:pt x="1256" y="566"/>
                  </a:lnTo>
                  <a:lnTo>
                    <a:pt x="1256" y="566"/>
                  </a:lnTo>
                  <a:lnTo>
                    <a:pt x="1258" y="564"/>
                  </a:lnTo>
                  <a:lnTo>
                    <a:pt x="1258" y="566"/>
                  </a:lnTo>
                  <a:lnTo>
                    <a:pt x="1258" y="566"/>
                  </a:lnTo>
                  <a:lnTo>
                    <a:pt x="1258" y="566"/>
                  </a:lnTo>
                  <a:lnTo>
                    <a:pt x="1258" y="566"/>
                  </a:lnTo>
                  <a:lnTo>
                    <a:pt x="1258" y="566"/>
                  </a:lnTo>
                  <a:lnTo>
                    <a:pt x="1260" y="566"/>
                  </a:lnTo>
                  <a:lnTo>
                    <a:pt x="1260" y="566"/>
                  </a:lnTo>
                  <a:lnTo>
                    <a:pt x="1260" y="564"/>
                  </a:lnTo>
                  <a:lnTo>
                    <a:pt x="1264" y="566"/>
                  </a:lnTo>
                  <a:lnTo>
                    <a:pt x="1264" y="564"/>
                  </a:lnTo>
                  <a:lnTo>
                    <a:pt x="1264" y="564"/>
                  </a:lnTo>
                  <a:lnTo>
                    <a:pt x="1264" y="564"/>
                  </a:lnTo>
                  <a:lnTo>
                    <a:pt x="1264" y="564"/>
                  </a:lnTo>
                  <a:lnTo>
                    <a:pt x="1264" y="564"/>
                  </a:lnTo>
                  <a:lnTo>
                    <a:pt x="1264" y="566"/>
                  </a:lnTo>
                  <a:lnTo>
                    <a:pt x="1264" y="566"/>
                  </a:lnTo>
                  <a:lnTo>
                    <a:pt x="1264" y="566"/>
                  </a:lnTo>
                  <a:lnTo>
                    <a:pt x="1264" y="566"/>
                  </a:lnTo>
                  <a:lnTo>
                    <a:pt x="1264" y="566"/>
                  </a:lnTo>
                  <a:lnTo>
                    <a:pt x="1264" y="568"/>
                  </a:lnTo>
                  <a:lnTo>
                    <a:pt x="1264" y="568"/>
                  </a:lnTo>
                  <a:lnTo>
                    <a:pt x="1264" y="568"/>
                  </a:lnTo>
                  <a:lnTo>
                    <a:pt x="1270" y="570"/>
                  </a:lnTo>
                  <a:lnTo>
                    <a:pt x="1270" y="570"/>
                  </a:lnTo>
                  <a:lnTo>
                    <a:pt x="1270" y="572"/>
                  </a:lnTo>
                  <a:lnTo>
                    <a:pt x="1270" y="572"/>
                  </a:lnTo>
                  <a:lnTo>
                    <a:pt x="1268" y="572"/>
                  </a:lnTo>
                  <a:lnTo>
                    <a:pt x="1264" y="574"/>
                  </a:lnTo>
                  <a:lnTo>
                    <a:pt x="1268" y="572"/>
                  </a:lnTo>
                  <a:lnTo>
                    <a:pt x="1270" y="572"/>
                  </a:lnTo>
                  <a:lnTo>
                    <a:pt x="1274" y="574"/>
                  </a:lnTo>
                  <a:lnTo>
                    <a:pt x="1274" y="574"/>
                  </a:lnTo>
                  <a:lnTo>
                    <a:pt x="1278" y="572"/>
                  </a:lnTo>
                  <a:lnTo>
                    <a:pt x="1280" y="570"/>
                  </a:lnTo>
                  <a:lnTo>
                    <a:pt x="1284" y="568"/>
                  </a:lnTo>
                  <a:lnTo>
                    <a:pt x="1290" y="568"/>
                  </a:lnTo>
                  <a:lnTo>
                    <a:pt x="1296" y="564"/>
                  </a:lnTo>
                  <a:lnTo>
                    <a:pt x="1301" y="564"/>
                  </a:lnTo>
                  <a:lnTo>
                    <a:pt x="1305" y="564"/>
                  </a:lnTo>
                  <a:lnTo>
                    <a:pt x="1309" y="564"/>
                  </a:lnTo>
                  <a:lnTo>
                    <a:pt x="1313" y="564"/>
                  </a:lnTo>
                  <a:lnTo>
                    <a:pt x="1317" y="564"/>
                  </a:lnTo>
                  <a:lnTo>
                    <a:pt x="1319" y="564"/>
                  </a:lnTo>
                  <a:lnTo>
                    <a:pt x="1323" y="564"/>
                  </a:lnTo>
                  <a:lnTo>
                    <a:pt x="1325" y="564"/>
                  </a:lnTo>
                  <a:lnTo>
                    <a:pt x="1329" y="566"/>
                  </a:lnTo>
                  <a:lnTo>
                    <a:pt x="1331" y="566"/>
                  </a:lnTo>
                  <a:lnTo>
                    <a:pt x="1331" y="566"/>
                  </a:lnTo>
                  <a:lnTo>
                    <a:pt x="1335" y="562"/>
                  </a:lnTo>
                  <a:lnTo>
                    <a:pt x="1337" y="562"/>
                  </a:lnTo>
                  <a:lnTo>
                    <a:pt x="1337" y="562"/>
                  </a:lnTo>
                  <a:lnTo>
                    <a:pt x="1337" y="559"/>
                  </a:lnTo>
                  <a:lnTo>
                    <a:pt x="1337" y="559"/>
                  </a:lnTo>
                  <a:lnTo>
                    <a:pt x="1335" y="559"/>
                  </a:lnTo>
                  <a:lnTo>
                    <a:pt x="1335" y="559"/>
                  </a:lnTo>
                  <a:lnTo>
                    <a:pt x="1335" y="559"/>
                  </a:lnTo>
                  <a:lnTo>
                    <a:pt x="1335" y="557"/>
                  </a:lnTo>
                  <a:lnTo>
                    <a:pt x="1333" y="557"/>
                  </a:lnTo>
                  <a:lnTo>
                    <a:pt x="1333" y="555"/>
                  </a:lnTo>
                  <a:lnTo>
                    <a:pt x="1335" y="555"/>
                  </a:lnTo>
                  <a:lnTo>
                    <a:pt x="1337" y="555"/>
                  </a:lnTo>
                  <a:lnTo>
                    <a:pt x="1337" y="555"/>
                  </a:lnTo>
                  <a:lnTo>
                    <a:pt x="1337" y="557"/>
                  </a:lnTo>
                  <a:lnTo>
                    <a:pt x="1339" y="557"/>
                  </a:lnTo>
                  <a:lnTo>
                    <a:pt x="1339" y="557"/>
                  </a:lnTo>
                  <a:lnTo>
                    <a:pt x="1339" y="557"/>
                  </a:lnTo>
                  <a:lnTo>
                    <a:pt x="1339" y="557"/>
                  </a:lnTo>
                  <a:lnTo>
                    <a:pt x="1339" y="559"/>
                  </a:lnTo>
                  <a:lnTo>
                    <a:pt x="1339" y="559"/>
                  </a:lnTo>
                  <a:lnTo>
                    <a:pt x="1339" y="559"/>
                  </a:lnTo>
                  <a:lnTo>
                    <a:pt x="1342" y="562"/>
                  </a:lnTo>
                  <a:lnTo>
                    <a:pt x="1342" y="562"/>
                  </a:lnTo>
                  <a:lnTo>
                    <a:pt x="1342" y="564"/>
                  </a:lnTo>
                  <a:lnTo>
                    <a:pt x="1342" y="564"/>
                  </a:lnTo>
                  <a:lnTo>
                    <a:pt x="1342" y="564"/>
                  </a:lnTo>
                  <a:lnTo>
                    <a:pt x="1342" y="566"/>
                  </a:lnTo>
                  <a:lnTo>
                    <a:pt x="1339" y="566"/>
                  </a:lnTo>
                  <a:lnTo>
                    <a:pt x="1339" y="566"/>
                  </a:lnTo>
                  <a:lnTo>
                    <a:pt x="1339" y="566"/>
                  </a:lnTo>
                  <a:lnTo>
                    <a:pt x="1339" y="566"/>
                  </a:lnTo>
                  <a:lnTo>
                    <a:pt x="1337" y="568"/>
                  </a:lnTo>
                  <a:lnTo>
                    <a:pt x="1337" y="568"/>
                  </a:lnTo>
                  <a:lnTo>
                    <a:pt x="1337" y="568"/>
                  </a:lnTo>
                  <a:lnTo>
                    <a:pt x="1337" y="568"/>
                  </a:lnTo>
                  <a:lnTo>
                    <a:pt x="1337" y="566"/>
                  </a:lnTo>
                  <a:lnTo>
                    <a:pt x="1337" y="566"/>
                  </a:lnTo>
                  <a:lnTo>
                    <a:pt x="1337" y="566"/>
                  </a:lnTo>
                  <a:lnTo>
                    <a:pt x="1337" y="568"/>
                  </a:lnTo>
                  <a:lnTo>
                    <a:pt x="1337" y="568"/>
                  </a:lnTo>
                  <a:lnTo>
                    <a:pt x="1337" y="568"/>
                  </a:lnTo>
                  <a:lnTo>
                    <a:pt x="1337" y="570"/>
                  </a:lnTo>
                  <a:lnTo>
                    <a:pt x="1339" y="570"/>
                  </a:lnTo>
                  <a:lnTo>
                    <a:pt x="1342" y="570"/>
                  </a:lnTo>
                  <a:lnTo>
                    <a:pt x="1346" y="570"/>
                  </a:lnTo>
                  <a:lnTo>
                    <a:pt x="1350" y="572"/>
                  </a:lnTo>
                  <a:lnTo>
                    <a:pt x="1354" y="572"/>
                  </a:lnTo>
                  <a:lnTo>
                    <a:pt x="1356" y="574"/>
                  </a:lnTo>
                  <a:lnTo>
                    <a:pt x="1358" y="574"/>
                  </a:lnTo>
                  <a:lnTo>
                    <a:pt x="1360" y="574"/>
                  </a:lnTo>
                  <a:lnTo>
                    <a:pt x="1364" y="572"/>
                  </a:lnTo>
                  <a:lnTo>
                    <a:pt x="1368" y="572"/>
                  </a:lnTo>
                  <a:lnTo>
                    <a:pt x="1370" y="572"/>
                  </a:lnTo>
                  <a:lnTo>
                    <a:pt x="1372" y="570"/>
                  </a:lnTo>
                  <a:lnTo>
                    <a:pt x="1374" y="568"/>
                  </a:lnTo>
                  <a:lnTo>
                    <a:pt x="1376" y="566"/>
                  </a:lnTo>
                  <a:lnTo>
                    <a:pt x="1378" y="564"/>
                  </a:lnTo>
                  <a:lnTo>
                    <a:pt x="1380" y="562"/>
                  </a:lnTo>
                  <a:lnTo>
                    <a:pt x="1380" y="559"/>
                  </a:lnTo>
                  <a:lnTo>
                    <a:pt x="1380" y="557"/>
                  </a:lnTo>
                  <a:lnTo>
                    <a:pt x="1382" y="555"/>
                  </a:lnTo>
                  <a:lnTo>
                    <a:pt x="1382" y="555"/>
                  </a:lnTo>
                  <a:lnTo>
                    <a:pt x="1385" y="555"/>
                  </a:lnTo>
                  <a:lnTo>
                    <a:pt x="1385" y="555"/>
                  </a:lnTo>
                  <a:lnTo>
                    <a:pt x="1385" y="555"/>
                  </a:lnTo>
                  <a:lnTo>
                    <a:pt x="1382" y="553"/>
                  </a:lnTo>
                  <a:lnTo>
                    <a:pt x="1385" y="551"/>
                  </a:lnTo>
                  <a:lnTo>
                    <a:pt x="1385" y="551"/>
                  </a:lnTo>
                  <a:lnTo>
                    <a:pt x="1385" y="549"/>
                  </a:lnTo>
                  <a:lnTo>
                    <a:pt x="1385" y="549"/>
                  </a:lnTo>
                  <a:lnTo>
                    <a:pt x="1385" y="549"/>
                  </a:lnTo>
                  <a:lnTo>
                    <a:pt x="1387" y="551"/>
                  </a:lnTo>
                  <a:lnTo>
                    <a:pt x="1387" y="551"/>
                  </a:lnTo>
                  <a:lnTo>
                    <a:pt x="1389" y="551"/>
                  </a:lnTo>
                  <a:lnTo>
                    <a:pt x="1389" y="551"/>
                  </a:lnTo>
                  <a:lnTo>
                    <a:pt x="1389" y="553"/>
                  </a:lnTo>
                  <a:lnTo>
                    <a:pt x="1389" y="553"/>
                  </a:lnTo>
                  <a:lnTo>
                    <a:pt x="1391" y="553"/>
                  </a:lnTo>
                  <a:lnTo>
                    <a:pt x="1391" y="553"/>
                  </a:lnTo>
                  <a:lnTo>
                    <a:pt x="1393" y="557"/>
                  </a:lnTo>
                  <a:lnTo>
                    <a:pt x="1395" y="557"/>
                  </a:lnTo>
                  <a:lnTo>
                    <a:pt x="1399" y="557"/>
                  </a:lnTo>
                  <a:lnTo>
                    <a:pt x="1399" y="557"/>
                  </a:lnTo>
                  <a:lnTo>
                    <a:pt x="1401" y="557"/>
                  </a:lnTo>
                  <a:lnTo>
                    <a:pt x="1403" y="557"/>
                  </a:lnTo>
                  <a:lnTo>
                    <a:pt x="1403" y="557"/>
                  </a:lnTo>
                  <a:lnTo>
                    <a:pt x="1403" y="557"/>
                  </a:lnTo>
                  <a:lnTo>
                    <a:pt x="1403" y="559"/>
                  </a:lnTo>
                  <a:lnTo>
                    <a:pt x="1403" y="559"/>
                  </a:lnTo>
                  <a:lnTo>
                    <a:pt x="1401" y="557"/>
                  </a:lnTo>
                  <a:lnTo>
                    <a:pt x="1399" y="557"/>
                  </a:lnTo>
                  <a:lnTo>
                    <a:pt x="1399" y="557"/>
                  </a:lnTo>
                  <a:lnTo>
                    <a:pt x="1395" y="557"/>
                  </a:lnTo>
                  <a:lnTo>
                    <a:pt x="1393" y="559"/>
                  </a:lnTo>
                  <a:lnTo>
                    <a:pt x="1393" y="559"/>
                  </a:lnTo>
                  <a:lnTo>
                    <a:pt x="1393" y="559"/>
                  </a:lnTo>
                  <a:lnTo>
                    <a:pt x="1395" y="562"/>
                  </a:lnTo>
                  <a:lnTo>
                    <a:pt x="1395" y="562"/>
                  </a:lnTo>
                  <a:lnTo>
                    <a:pt x="1395" y="562"/>
                  </a:lnTo>
                  <a:lnTo>
                    <a:pt x="1393" y="564"/>
                  </a:lnTo>
                  <a:lnTo>
                    <a:pt x="1393" y="564"/>
                  </a:lnTo>
                  <a:lnTo>
                    <a:pt x="1395" y="564"/>
                  </a:lnTo>
                  <a:lnTo>
                    <a:pt x="1395" y="564"/>
                  </a:lnTo>
                  <a:lnTo>
                    <a:pt x="1395" y="564"/>
                  </a:lnTo>
                  <a:lnTo>
                    <a:pt x="1395" y="564"/>
                  </a:lnTo>
                  <a:lnTo>
                    <a:pt x="1395" y="566"/>
                  </a:lnTo>
                  <a:lnTo>
                    <a:pt x="1395" y="566"/>
                  </a:lnTo>
                  <a:lnTo>
                    <a:pt x="1395" y="568"/>
                  </a:lnTo>
                  <a:lnTo>
                    <a:pt x="1395" y="568"/>
                  </a:lnTo>
                  <a:lnTo>
                    <a:pt x="1397" y="570"/>
                  </a:lnTo>
                  <a:lnTo>
                    <a:pt x="1397" y="570"/>
                  </a:lnTo>
                  <a:lnTo>
                    <a:pt x="1397" y="572"/>
                  </a:lnTo>
                  <a:lnTo>
                    <a:pt x="1397" y="572"/>
                  </a:lnTo>
                  <a:lnTo>
                    <a:pt x="1397" y="572"/>
                  </a:lnTo>
                  <a:lnTo>
                    <a:pt x="1395" y="572"/>
                  </a:lnTo>
                  <a:lnTo>
                    <a:pt x="1395" y="572"/>
                  </a:lnTo>
                  <a:lnTo>
                    <a:pt x="1395" y="570"/>
                  </a:lnTo>
                  <a:lnTo>
                    <a:pt x="1395" y="570"/>
                  </a:lnTo>
                  <a:lnTo>
                    <a:pt x="1397" y="570"/>
                  </a:lnTo>
                  <a:lnTo>
                    <a:pt x="1395" y="570"/>
                  </a:lnTo>
                  <a:lnTo>
                    <a:pt x="1395" y="568"/>
                  </a:lnTo>
                  <a:lnTo>
                    <a:pt x="1395" y="566"/>
                  </a:lnTo>
                  <a:lnTo>
                    <a:pt x="1395" y="566"/>
                  </a:lnTo>
                  <a:lnTo>
                    <a:pt x="1393" y="566"/>
                  </a:lnTo>
                  <a:lnTo>
                    <a:pt x="1393" y="566"/>
                  </a:lnTo>
                  <a:lnTo>
                    <a:pt x="1393" y="566"/>
                  </a:lnTo>
                  <a:lnTo>
                    <a:pt x="1393" y="566"/>
                  </a:lnTo>
                  <a:lnTo>
                    <a:pt x="1393" y="564"/>
                  </a:lnTo>
                  <a:lnTo>
                    <a:pt x="1393" y="564"/>
                  </a:lnTo>
                  <a:lnTo>
                    <a:pt x="1393" y="562"/>
                  </a:lnTo>
                  <a:lnTo>
                    <a:pt x="1393" y="562"/>
                  </a:lnTo>
                  <a:lnTo>
                    <a:pt x="1393" y="559"/>
                  </a:lnTo>
                  <a:lnTo>
                    <a:pt x="1393" y="557"/>
                  </a:lnTo>
                  <a:lnTo>
                    <a:pt x="1391" y="555"/>
                  </a:lnTo>
                  <a:lnTo>
                    <a:pt x="1389" y="553"/>
                  </a:lnTo>
                  <a:lnTo>
                    <a:pt x="1387" y="553"/>
                  </a:lnTo>
                  <a:lnTo>
                    <a:pt x="1387" y="551"/>
                  </a:lnTo>
                  <a:lnTo>
                    <a:pt x="1387" y="553"/>
                  </a:lnTo>
                  <a:lnTo>
                    <a:pt x="1387" y="555"/>
                  </a:lnTo>
                  <a:lnTo>
                    <a:pt x="1385" y="555"/>
                  </a:lnTo>
                  <a:lnTo>
                    <a:pt x="1385" y="555"/>
                  </a:lnTo>
                  <a:lnTo>
                    <a:pt x="1385" y="555"/>
                  </a:lnTo>
                  <a:lnTo>
                    <a:pt x="1385" y="555"/>
                  </a:lnTo>
                  <a:lnTo>
                    <a:pt x="1385" y="557"/>
                  </a:lnTo>
                  <a:lnTo>
                    <a:pt x="1385" y="557"/>
                  </a:lnTo>
                  <a:lnTo>
                    <a:pt x="1385" y="557"/>
                  </a:lnTo>
                  <a:lnTo>
                    <a:pt x="1385" y="559"/>
                  </a:lnTo>
                  <a:lnTo>
                    <a:pt x="1385" y="562"/>
                  </a:lnTo>
                  <a:lnTo>
                    <a:pt x="1387" y="564"/>
                  </a:lnTo>
                  <a:lnTo>
                    <a:pt x="1387" y="564"/>
                  </a:lnTo>
                  <a:lnTo>
                    <a:pt x="1387" y="564"/>
                  </a:lnTo>
                  <a:lnTo>
                    <a:pt x="1387" y="566"/>
                  </a:lnTo>
                  <a:lnTo>
                    <a:pt x="1389" y="566"/>
                  </a:lnTo>
                  <a:lnTo>
                    <a:pt x="1389" y="568"/>
                  </a:lnTo>
                  <a:lnTo>
                    <a:pt x="1389" y="568"/>
                  </a:lnTo>
                  <a:lnTo>
                    <a:pt x="1389" y="572"/>
                  </a:lnTo>
                  <a:lnTo>
                    <a:pt x="1387" y="572"/>
                  </a:lnTo>
                  <a:lnTo>
                    <a:pt x="1389" y="572"/>
                  </a:lnTo>
                  <a:lnTo>
                    <a:pt x="1387" y="574"/>
                  </a:lnTo>
                  <a:lnTo>
                    <a:pt x="1387" y="574"/>
                  </a:lnTo>
                  <a:lnTo>
                    <a:pt x="1387" y="574"/>
                  </a:lnTo>
                  <a:lnTo>
                    <a:pt x="1387" y="574"/>
                  </a:lnTo>
                  <a:lnTo>
                    <a:pt x="1387" y="574"/>
                  </a:lnTo>
                  <a:lnTo>
                    <a:pt x="1387" y="574"/>
                  </a:lnTo>
                  <a:lnTo>
                    <a:pt x="1387" y="574"/>
                  </a:lnTo>
                  <a:lnTo>
                    <a:pt x="1385" y="574"/>
                  </a:lnTo>
                  <a:lnTo>
                    <a:pt x="1385" y="576"/>
                  </a:lnTo>
                  <a:lnTo>
                    <a:pt x="1385" y="576"/>
                  </a:lnTo>
                  <a:lnTo>
                    <a:pt x="1385" y="576"/>
                  </a:lnTo>
                  <a:lnTo>
                    <a:pt x="1385" y="576"/>
                  </a:lnTo>
                  <a:lnTo>
                    <a:pt x="1385" y="576"/>
                  </a:lnTo>
                  <a:lnTo>
                    <a:pt x="1385" y="576"/>
                  </a:lnTo>
                  <a:lnTo>
                    <a:pt x="1382" y="576"/>
                  </a:lnTo>
                  <a:lnTo>
                    <a:pt x="1382" y="578"/>
                  </a:lnTo>
                  <a:lnTo>
                    <a:pt x="1389" y="580"/>
                  </a:lnTo>
                  <a:lnTo>
                    <a:pt x="1391" y="580"/>
                  </a:lnTo>
                  <a:lnTo>
                    <a:pt x="1391" y="580"/>
                  </a:lnTo>
                  <a:lnTo>
                    <a:pt x="1393" y="582"/>
                  </a:lnTo>
                  <a:lnTo>
                    <a:pt x="1393" y="582"/>
                  </a:lnTo>
                  <a:lnTo>
                    <a:pt x="1395" y="582"/>
                  </a:lnTo>
                  <a:lnTo>
                    <a:pt x="1395" y="582"/>
                  </a:lnTo>
                  <a:lnTo>
                    <a:pt x="1395" y="582"/>
                  </a:lnTo>
                  <a:lnTo>
                    <a:pt x="1395" y="582"/>
                  </a:lnTo>
                  <a:lnTo>
                    <a:pt x="1397" y="582"/>
                  </a:lnTo>
                  <a:lnTo>
                    <a:pt x="1397" y="582"/>
                  </a:lnTo>
                  <a:lnTo>
                    <a:pt x="1397" y="582"/>
                  </a:lnTo>
                  <a:lnTo>
                    <a:pt x="1397" y="582"/>
                  </a:lnTo>
                  <a:lnTo>
                    <a:pt x="1395" y="582"/>
                  </a:lnTo>
                  <a:lnTo>
                    <a:pt x="1395" y="582"/>
                  </a:lnTo>
                  <a:lnTo>
                    <a:pt x="1393" y="582"/>
                  </a:lnTo>
                  <a:lnTo>
                    <a:pt x="1393" y="582"/>
                  </a:lnTo>
                  <a:lnTo>
                    <a:pt x="1395" y="582"/>
                  </a:lnTo>
                  <a:lnTo>
                    <a:pt x="1395" y="584"/>
                  </a:lnTo>
                  <a:lnTo>
                    <a:pt x="1397" y="584"/>
                  </a:lnTo>
                  <a:lnTo>
                    <a:pt x="1397" y="584"/>
                  </a:lnTo>
                  <a:lnTo>
                    <a:pt x="1397" y="584"/>
                  </a:lnTo>
                  <a:lnTo>
                    <a:pt x="1399" y="584"/>
                  </a:lnTo>
                  <a:lnTo>
                    <a:pt x="1399" y="584"/>
                  </a:lnTo>
                  <a:lnTo>
                    <a:pt x="1399" y="582"/>
                  </a:lnTo>
                  <a:lnTo>
                    <a:pt x="1399" y="582"/>
                  </a:lnTo>
                  <a:lnTo>
                    <a:pt x="1399" y="582"/>
                  </a:lnTo>
                  <a:lnTo>
                    <a:pt x="1399" y="582"/>
                  </a:lnTo>
                  <a:lnTo>
                    <a:pt x="1399" y="582"/>
                  </a:lnTo>
                  <a:lnTo>
                    <a:pt x="1399" y="582"/>
                  </a:lnTo>
                  <a:lnTo>
                    <a:pt x="1399" y="584"/>
                  </a:lnTo>
                  <a:lnTo>
                    <a:pt x="1399" y="584"/>
                  </a:lnTo>
                  <a:lnTo>
                    <a:pt x="1401" y="584"/>
                  </a:lnTo>
                  <a:lnTo>
                    <a:pt x="1401" y="584"/>
                  </a:lnTo>
                  <a:lnTo>
                    <a:pt x="1401" y="584"/>
                  </a:lnTo>
                  <a:lnTo>
                    <a:pt x="1401" y="584"/>
                  </a:lnTo>
                  <a:lnTo>
                    <a:pt x="1403" y="584"/>
                  </a:lnTo>
                  <a:lnTo>
                    <a:pt x="1403" y="584"/>
                  </a:lnTo>
                  <a:lnTo>
                    <a:pt x="1403" y="586"/>
                  </a:lnTo>
                  <a:lnTo>
                    <a:pt x="1401" y="584"/>
                  </a:lnTo>
                  <a:lnTo>
                    <a:pt x="1401" y="584"/>
                  </a:lnTo>
                  <a:lnTo>
                    <a:pt x="1407" y="586"/>
                  </a:lnTo>
                  <a:lnTo>
                    <a:pt x="1411" y="588"/>
                  </a:lnTo>
                  <a:lnTo>
                    <a:pt x="1413" y="588"/>
                  </a:lnTo>
                  <a:lnTo>
                    <a:pt x="1413" y="588"/>
                  </a:lnTo>
                  <a:lnTo>
                    <a:pt x="1415" y="588"/>
                  </a:lnTo>
                  <a:lnTo>
                    <a:pt x="1415" y="590"/>
                  </a:lnTo>
                  <a:lnTo>
                    <a:pt x="1417" y="590"/>
                  </a:lnTo>
                  <a:lnTo>
                    <a:pt x="1417" y="590"/>
                  </a:lnTo>
                  <a:lnTo>
                    <a:pt x="1417" y="590"/>
                  </a:lnTo>
                  <a:lnTo>
                    <a:pt x="1417" y="590"/>
                  </a:lnTo>
                  <a:lnTo>
                    <a:pt x="1417" y="590"/>
                  </a:lnTo>
                  <a:lnTo>
                    <a:pt x="1417" y="590"/>
                  </a:lnTo>
                  <a:lnTo>
                    <a:pt x="1419" y="588"/>
                  </a:lnTo>
                  <a:lnTo>
                    <a:pt x="1419" y="588"/>
                  </a:lnTo>
                  <a:lnTo>
                    <a:pt x="1419" y="588"/>
                  </a:lnTo>
                  <a:lnTo>
                    <a:pt x="1421" y="586"/>
                  </a:lnTo>
                  <a:lnTo>
                    <a:pt x="1421" y="588"/>
                  </a:lnTo>
                  <a:lnTo>
                    <a:pt x="1421" y="588"/>
                  </a:lnTo>
                  <a:lnTo>
                    <a:pt x="1421" y="588"/>
                  </a:lnTo>
                  <a:lnTo>
                    <a:pt x="1421" y="588"/>
                  </a:lnTo>
                  <a:lnTo>
                    <a:pt x="1421" y="590"/>
                  </a:lnTo>
                  <a:lnTo>
                    <a:pt x="1421" y="590"/>
                  </a:lnTo>
                  <a:lnTo>
                    <a:pt x="1421" y="590"/>
                  </a:lnTo>
                  <a:lnTo>
                    <a:pt x="1421" y="590"/>
                  </a:lnTo>
                  <a:lnTo>
                    <a:pt x="1421" y="590"/>
                  </a:lnTo>
                  <a:lnTo>
                    <a:pt x="1419" y="592"/>
                  </a:lnTo>
                  <a:lnTo>
                    <a:pt x="1419" y="592"/>
                  </a:lnTo>
                  <a:lnTo>
                    <a:pt x="1423" y="590"/>
                  </a:lnTo>
                  <a:lnTo>
                    <a:pt x="1425" y="590"/>
                  </a:lnTo>
                  <a:lnTo>
                    <a:pt x="1425" y="592"/>
                  </a:lnTo>
                  <a:lnTo>
                    <a:pt x="1425" y="592"/>
                  </a:lnTo>
                  <a:lnTo>
                    <a:pt x="1423" y="592"/>
                  </a:lnTo>
                  <a:lnTo>
                    <a:pt x="1425" y="592"/>
                  </a:lnTo>
                  <a:lnTo>
                    <a:pt x="1425" y="592"/>
                  </a:lnTo>
                  <a:lnTo>
                    <a:pt x="1428" y="592"/>
                  </a:lnTo>
                  <a:lnTo>
                    <a:pt x="1428" y="592"/>
                  </a:lnTo>
                  <a:lnTo>
                    <a:pt x="1430" y="592"/>
                  </a:lnTo>
                  <a:lnTo>
                    <a:pt x="1432" y="594"/>
                  </a:lnTo>
                  <a:lnTo>
                    <a:pt x="1438" y="598"/>
                  </a:lnTo>
                  <a:lnTo>
                    <a:pt x="1440" y="598"/>
                  </a:lnTo>
                  <a:lnTo>
                    <a:pt x="1440" y="600"/>
                  </a:lnTo>
                  <a:lnTo>
                    <a:pt x="1440" y="603"/>
                  </a:lnTo>
                  <a:lnTo>
                    <a:pt x="1440" y="603"/>
                  </a:lnTo>
                  <a:lnTo>
                    <a:pt x="1440" y="603"/>
                  </a:lnTo>
                  <a:lnTo>
                    <a:pt x="1440" y="605"/>
                  </a:lnTo>
                  <a:lnTo>
                    <a:pt x="1440" y="605"/>
                  </a:lnTo>
                  <a:lnTo>
                    <a:pt x="1442" y="605"/>
                  </a:lnTo>
                  <a:lnTo>
                    <a:pt x="1442" y="605"/>
                  </a:lnTo>
                  <a:lnTo>
                    <a:pt x="1442" y="605"/>
                  </a:lnTo>
                  <a:lnTo>
                    <a:pt x="1448" y="609"/>
                  </a:lnTo>
                  <a:lnTo>
                    <a:pt x="1448" y="609"/>
                  </a:lnTo>
                  <a:lnTo>
                    <a:pt x="1448" y="611"/>
                  </a:lnTo>
                  <a:lnTo>
                    <a:pt x="1450" y="611"/>
                  </a:lnTo>
                  <a:lnTo>
                    <a:pt x="1450" y="611"/>
                  </a:lnTo>
                  <a:lnTo>
                    <a:pt x="1452" y="609"/>
                  </a:lnTo>
                  <a:lnTo>
                    <a:pt x="1452" y="609"/>
                  </a:lnTo>
                  <a:lnTo>
                    <a:pt x="1452" y="609"/>
                  </a:lnTo>
                  <a:lnTo>
                    <a:pt x="1454" y="607"/>
                  </a:lnTo>
                  <a:lnTo>
                    <a:pt x="1454" y="607"/>
                  </a:lnTo>
                  <a:lnTo>
                    <a:pt x="1454" y="607"/>
                  </a:lnTo>
                  <a:lnTo>
                    <a:pt x="1454" y="607"/>
                  </a:lnTo>
                  <a:lnTo>
                    <a:pt x="1454" y="609"/>
                  </a:lnTo>
                  <a:lnTo>
                    <a:pt x="1454" y="609"/>
                  </a:lnTo>
                  <a:lnTo>
                    <a:pt x="1454" y="609"/>
                  </a:lnTo>
                  <a:lnTo>
                    <a:pt x="1454" y="609"/>
                  </a:lnTo>
                  <a:lnTo>
                    <a:pt x="1454" y="609"/>
                  </a:lnTo>
                  <a:lnTo>
                    <a:pt x="1452" y="611"/>
                  </a:lnTo>
                  <a:lnTo>
                    <a:pt x="1452" y="611"/>
                  </a:lnTo>
                  <a:lnTo>
                    <a:pt x="1450" y="611"/>
                  </a:lnTo>
                  <a:lnTo>
                    <a:pt x="1450" y="611"/>
                  </a:lnTo>
                  <a:lnTo>
                    <a:pt x="1450" y="611"/>
                  </a:lnTo>
                  <a:lnTo>
                    <a:pt x="1450" y="611"/>
                  </a:lnTo>
                  <a:lnTo>
                    <a:pt x="1452" y="611"/>
                  </a:lnTo>
                  <a:lnTo>
                    <a:pt x="1452" y="613"/>
                  </a:lnTo>
                  <a:lnTo>
                    <a:pt x="1454" y="613"/>
                  </a:lnTo>
                  <a:lnTo>
                    <a:pt x="1456" y="613"/>
                  </a:lnTo>
                  <a:lnTo>
                    <a:pt x="1458" y="615"/>
                  </a:lnTo>
                  <a:lnTo>
                    <a:pt x="1460" y="615"/>
                  </a:lnTo>
                  <a:lnTo>
                    <a:pt x="1460" y="615"/>
                  </a:lnTo>
                  <a:lnTo>
                    <a:pt x="1460" y="615"/>
                  </a:lnTo>
                  <a:lnTo>
                    <a:pt x="1460" y="617"/>
                  </a:lnTo>
                  <a:lnTo>
                    <a:pt x="1462" y="617"/>
                  </a:lnTo>
                  <a:lnTo>
                    <a:pt x="1464" y="617"/>
                  </a:lnTo>
                  <a:lnTo>
                    <a:pt x="1466" y="619"/>
                  </a:lnTo>
                  <a:lnTo>
                    <a:pt x="1466" y="619"/>
                  </a:lnTo>
                  <a:lnTo>
                    <a:pt x="1468" y="619"/>
                  </a:lnTo>
                  <a:lnTo>
                    <a:pt x="1468" y="619"/>
                  </a:lnTo>
                  <a:lnTo>
                    <a:pt x="1468" y="617"/>
                  </a:lnTo>
                  <a:lnTo>
                    <a:pt x="1471" y="617"/>
                  </a:lnTo>
                  <a:lnTo>
                    <a:pt x="1471" y="617"/>
                  </a:lnTo>
                  <a:lnTo>
                    <a:pt x="1471" y="617"/>
                  </a:lnTo>
                  <a:lnTo>
                    <a:pt x="1473" y="617"/>
                  </a:lnTo>
                  <a:lnTo>
                    <a:pt x="1473" y="619"/>
                  </a:lnTo>
                  <a:lnTo>
                    <a:pt x="1473" y="619"/>
                  </a:lnTo>
                  <a:lnTo>
                    <a:pt x="1473" y="619"/>
                  </a:lnTo>
                  <a:lnTo>
                    <a:pt x="1473" y="619"/>
                  </a:lnTo>
                  <a:lnTo>
                    <a:pt x="1473" y="617"/>
                  </a:lnTo>
                  <a:lnTo>
                    <a:pt x="1475" y="617"/>
                  </a:lnTo>
                  <a:lnTo>
                    <a:pt x="1475" y="619"/>
                  </a:lnTo>
                  <a:lnTo>
                    <a:pt x="1475" y="619"/>
                  </a:lnTo>
                  <a:lnTo>
                    <a:pt x="1475" y="619"/>
                  </a:lnTo>
                  <a:lnTo>
                    <a:pt x="1475" y="619"/>
                  </a:lnTo>
                  <a:lnTo>
                    <a:pt x="1475" y="621"/>
                  </a:lnTo>
                  <a:lnTo>
                    <a:pt x="1475" y="621"/>
                  </a:lnTo>
                  <a:lnTo>
                    <a:pt x="1475" y="621"/>
                  </a:lnTo>
                  <a:lnTo>
                    <a:pt x="1477" y="619"/>
                  </a:lnTo>
                  <a:lnTo>
                    <a:pt x="1477" y="619"/>
                  </a:lnTo>
                  <a:lnTo>
                    <a:pt x="1477" y="621"/>
                  </a:lnTo>
                  <a:lnTo>
                    <a:pt x="1477" y="621"/>
                  </a:lnTo>
                  <a:lnTo>
                    <a:pt x="1477" y="621"/>
                  </a:lnTo>
                  <a:lnTo>
                    <a:pt x="1477" y="621"/>
                  </a:lnTo>
                  <a:lnTo>
                    <a:pt x="1477" y="621"/>
                  </a:lnTo>
                  <a:lnTo>
                    <a:pt x="1479" y="621"/>
                  </a:lnTo>
                  <a:lnTo>
                    <a:pt x="1479" y="621"/>
                  </a:lnTo>
                  <a:lnTo>
                    <a:pt x="1479" y="621"/>
                  </a:lnTo>
                  <a:lnTo>
                    <a:pt x="1479" y="621"/>
                  </a:lnTo>
                  <a:lnTo>
                    <a:pt x="1479" y="621"/>
                  </a:lnTo>
                  <a:lnTo>
                    <a:pt x="1479" y="621"/>
                  </a:lnTo>
                  <a:lnTo>
                    <a:pt x="1479" y="621"/>
                  </a:lnTo>
                  <a:lnTo>
                    <a:pt x="1479" y="621"/>
                  </a:lnTo>
                  <a:lnTo>
                    <a:pt x="1481" y="621"/>
                  </a:lnTo>
                  <a:lnTo>
                    <a:pt x="1481" y="621"/>
                  </a:lnTo>
                  <a:lnTo>
                    <a:pt x="1479" y="621"/>
                  </a:lnTo>
                  <a:lnTo>
                    <a:pt x="1479" y="623"/>
                  </a:lnTo>
                  <a:lnTo>
                    <a:pt x="1479" y="623"/>
                  </a:lnTo>
                  <a:lnTo>
                    <a:pt x="1481" y="625"/>
                  </a:lnTo>
                  <a:lnTo>
                    <a:pt x="1481" y="625"/>
                  </a:lnTo>
                  <a:lnTo>
                    <a:pt x="1481" y="625"/>
                  </a:lnTo>
                  <a:lnTo>
                    <a:pt x="1481" y="625"/>
                  </a:lnTo>
                  <a:lnTo>
                    <a:pt x="1481" y="623"/>
                  </a:lnTo>
                  <a:lnTo>
                    <a:pt x="1481" y="623"/>
                  </a:lnTo>
                  <a:lnTo>
                    <a:pt x="1483" y="623"/>
                  </a:lnTo>
                  <a:lnTo>
                    <a:pt x="1483" y="623"/>
                  </a:lnTo>
                  <a:lnTo>
                    <a:pt x="1483" y="623"/>
                  </a:lnTo>
                  <a:lnTo>
                    <a:pt x="1483" y="621"/>
                  </a:lnTo>
                  <a:lnTo>
                    <a:pt x="1483" y="621"/>
                  </a:lnTo>
                  <a:lnTo>
                    <a:pt x="1483" y="621"/>
                  </a:lnTo>
                  <a:lnTo>
                    <a:pt x="1483" y="621"/>
                  </a:lnTo>
                  <a:lnTo>
                    <a:pt x="1479" y="619"/>
                  </a:lnTo>
                  <a:lnTo>
                    <a:pt x="1481" y="617"/>
                  </a:lnTo>
                  <a:lnTo>
                    <a:pt x="1481" y="617"/>
                  </a:lnTo>
                  <a:lnTo>
                    <a:pt x="1481" y="617"/>
                  </a:lnTo>
                  <a:lnTo>
                    <a:pt x="1481" y="617"/>
                  </a:lnTo>
                  <a:lnTo>
                    <a:pt x="1483" y="617"/>
                  </a:lnTo>
                  <a:lnTo>
                    <a:pt x="1483" y="617"/>
                  </a:lnTo>
                  <a:lnTo>
                    <a:pt x="1483" y="617"/>
                  </a:lnTo>
                  <a:lnTo>
                    <a:pt x="1483" y="617"/>
                  </a:lnTo>
                  <a:lnTo>
                    <a:pt x="1483" y="617"/>
                  </a:lnTo>
                  <a:lnTo>
                    <a:pt x="1483" y="619"/>
                  </a:lnTo>
                  <a:lnTo>
                    <a:pt x="1483" y="619"/>
                  </a:lnTo>
                  <a:lnTo>
                    <a:pt x="1485" y="619"/>
                  </a:lnTo>
                  <a:lnTo>
                    <a:pt x="1485" y="617"/>
                  </a:lnTo>
                  <a:lnTo>
                    <a:pt x="1487" y="619"/>
                  </a:lnTo>
                  <a:lnTo>
                    <a:pt x="1487" y="619"/>
                  </a:lnTo>
                  <a:lnTo>
                    <a:pt x="1487" y="617"/>
                  </a:lnTo>
                  <a:lnTo>
                    <a:pt x="1487" y="617"/>
                  </a:lnTo>
                  <a:lnTo>
                    <a:pt x="1487" y="615"/>
                  </a:lnTo>
                  <a:lnTo>
                    <a:pt x="1487" y="615"/>
                  </a:lnTo>
                  <a:lnTo>
                    <a:pt x="1487" y="615"/>
                  </a:lnTo>
                  <a:lnTo>
                    <a:pt x="1485" y="615"/>
                  </a:lnTo>
                  <a:lnTo>
                    <a:pt x="1485" y="615"/>
                  </a:lnTo>
                  <a:lnTo>
                    <a:pt x="1485" y="615"/>
                  </a:lnTo>
                  <a:lnTo>
                    <a:pt x="1485" y="615"/>
                  </a:lnTo>
                  <a:lnTo>
                    <a:pt x="1485" y="615"/>
                  </a:lnTo>
                  <a:lnTo>
                    <a:pt x="1485" y="615"/>
                  </a:lnTo>
                  <a:lnTo>
                    <a:pt x="1485" y="615"/>
                  </a:lnTo>
                  <a:lnTo>
                    <a:pt x="1483" y="615"/>
                  </a:lnTo>
                  <a:lnTo>
                    <a:pt x="1483" y="617"/>
                  </a:lnTo>
                  <a:lnTo>
                    <a:pt x="1485" y="617"/>
                  </a:lnTo>
                  <a:lnTo>
                    <a:pt x="1485" y="617"/>
                  </a:lnTo>
                  <a:lnTo>
                    <a:pt x="1483" y="617"/>
                  </a:lnTo>
                  <a:lnTo>
                    <a:pt x="1483" y="617"/>
                  </a:lnTo>
                  <a:lnTo>
                    <a:pt x="1483" y="617"/>
                  </a:lnTo>
                  <a:lnTo>
                    <a:pt x="1483" y="617"/>
                  </a:lnTo>
                  <a:lnTo>
                    <a:pt x="1483" y="617"/>
                  </a:lnTo>
                  <a:lnTo>
                    <a:pt x="1483" y="617"/>
                  </a:lnTo>
                  <a:lnTo>
                    <a:pt x="1483" y="617"/>
                  </a:lnTo>
                  <a:lnTo>
                    <a:pt x="1481" y="617"/>
                  </a:lnTo>
                  <a:lnTo>
                    <a:pt x="1483" y="615"/>
                  </a:lnTo>
                  <a:lnTo>
                    <a:pt x="1483" y="615"/>
                  </a:lnTo>
                  <a:lnTo>
                    <a:pt x="1483" y="615"/>
                  </a:lnTo>
                  <a:lnTo>
                    <a:pt x="1483" y="613"/>
                  </a:lnTo>
                  <a:lnTo>
                    <a:pt x="1483" y="613"/>
                  </a:lnTo>
                  <a:lnTo>
                    <a:pt x="1483" y="613"/>
                  </a:lnTo>
                  <a:lnTo>
                    <a:pt x="1483" y="613"/>
                  </a:lnTo>
                  <a:lnTo>
                    <a:pt x="1483" y="613"/>
                  </a:lnTo>
                  <a:lnTo>
                    <a:pt x="1483" y="613"/>
                  </a:lnTo>
                  <a:lnTo>
                    <a:pt x="1483" y="613"/>
                  </a:lnTo>
                  <a:lnTo>
                    <a:pt x="1483" y="613"/>
                  </a:lnTo>
                  <a:lnTo>
                    <a:pt x="1485" y="615"/>
                  </a:lnTo>
                  <a:lnTo>
                    <a:pt x="1487" y="615"/>
                  </a:lnTo>
                  <a:lnTo>
                    <a:pt x="1487" y="615"/>
                  </a:lnTo>
                  <a:lnTo>
                    <a:pt x="1487" y="613"/>
                  </a:lnTo>
                  <a:lnTo>
                    <a:pt x="1489" y="615"/>
                  </a:lnTo>
                  <a:lnTo>
                    <a:pt x="1489" y="615"/>
                  </a:lnTo>
                  <a:lnTo>
                    <a:pt x="1489" y="615"/>
                  </a:lnTo>
                  <a:lnTo>
                    <a:pt x="1489" y="617"/>
                  </a:lnTo>
                  <a:lnTo>
                    <a:pt x="1489" y="617"/>
                  </a:lnTo>
                  <a:lnTo>
                    <a:pt x="1491" y="617"/>
                  </a:lnTo>
                  <a:lnTo>
                    <a:pt x="1493" y="617"/>
                  </a:lnTo>
                  <a:lnTo>
                    <a:pt x="1493" y="615"/>
                  </a:lnTo>
                  <a:lnTo>
                    <a:pt x="1495" y="615"/>
                  </a:lnTo>
                  <a:lnTo>
                    <a:pt x="1495" y="615"/>
                  </a:lnTo>
                  <a:lnTo>
                    <a:pt x="1495" y="613"/>
                  </a:lnTo>
                  <a:lnTo>
                    <a:pt x="1495" y="611"/>
                  </a:lnTo>
                  <a:lnTo>
                    <a:pt x="1495" y="611"/>
                  </a:lnTo>
                  <a:lnTo>
                    <a:pt x="1493" y="609"/>
                  </a:lnTo>
                  <a:lnTo>
                    <a:pt x="1493" y="609"/>
                  </a:lnTo>
                  <a:lnTo>
                    <a:pt x="1493" y="609"/>
                  </a:lnTo>
                  <a:lnTo>
                    <a:pt x="1493" y="607"/>
                  </a:lnTo>
                  <a:lnTo>
                    <a:pt x="1493" y="607"/>
                  </a:lnTo>
                  <a:lnTo>
                    <a:pt x="1493" y="607"/>
                  </a:lnTo>
                  <a:lnTo>
                    <a:pt x="1493" y="607"/>
                  </a:lnTo>
                  <a:lnTo>
                    <a:pt x="1493" y="607"/>
                  </a:lnTo>
                  <a:lnTo>
                    <a:pt x="1493" y="607"/>
                  </a:lnTo>
                  <a:lnTo>
                    <a:pt x="1493" y="607"/>
                  </a:lnTo>
                  <a:lnTo>
                    <a:pt x="1493" y="605"/>
                  </a:lnTo>
                  <a:lnTo>
                    <a:pt x="1493" y="605"/>
                  </a:lnTo>
                  <a:lnTo>
                    <a:pt x="1491" y="605"/>
                  </a:lnTo>
                  <a:lnTo>
                    <a:pt x="1491" y="607"/>
                  </a:lnTo>
                  <a:lnTo>
                    <a:pt x="1489" y="607"/>
                  </a:lnTo>
                  <a:lnTo>
                    <a:pt x="1489" y="607"/>
                  </a:lnTo>
                  <a:lnTo>
                    <a:pt x="1489" y="607"/>
                  </a:lnTo>
                  <a:lnTo>
                    <a:pt x="1489" y="607"/>
                  </a:lnTo>
                  <a:lnTo>
                    <a:pt x="1491" y="605"/>
                  </a:lnTo>
                  <a:lnTo>
                    <a:pt x="1491" y="605"/>
                  </a:lnTo>
                  <a:lnTo>
                    <a:pt x="1491" y="605"/>
                  </a:lnTo>
                  <a:lnTo>
                    <a:pt x="1491" y="605"/>
                  </a:lnTo>
                  <a:lnTo>
                    <a:pt x="1491" y="605"/>
                  </a:lnTo>
                  <a:lnTo>
                    <a:pt x="1491" y="605"/>
                  </a:lnTo>
                  <a:lnTo>
                    <a:pt x="1491" y="603"/>
                  </a:lnTo>
                  <a:lnTo>
                    <a:pt x="1489" y="603"/>
                  </a:lnTo>
                  <a:lnTo>
                    <a:pt x="1489" y="603"/>
                  </a:lnTo>
                  <a:lnTo>
                    <a:pt x="1489" y="603"/>
                  </a:lnTo>
                  <a:lnTo>
                    <a:pt x="1489" y="603"/>
                  </a:lnTo>
                  <a:lnTo>
                    <a:pt x="1487" y="603"/>
                  </a:lnTo>
                  <a:lnTo>
                    <a:pt x="1489" y="603"/>
                  </a:lnTo>
                  <a:lnTo>
                    <a:pt x="1489" y="603"/>
                  </a:lnTo>
                  <a:lnTo>
                    <a:pt x="1489" y="603"/>
                  </a:lnTo>
                  <a:lnTo>
                    <a:pt x="1489" y="600"/>
                  </a:lnTo>
                  <a:lnTo>
                    <a:pt x="1485" y="600"/>
                  </a:lnTo>
                  <a:lnTo>
                    <a:pt x="1485" y="598"/>
                  </a:lnTo>
                  <a:lnTo>
                    <a:pt x="1485" y="600"/>
                  </a:lnTo>
                  <a:lnTo>
                    <a:pt x="1485" y="600"/>
                  </a:lnTo>
                  <a:lnTo>
                    <a:pt x="1485" y="600"/>
                  </a:lnTo>
                  <a:lnTo>
                    <a:pt x="1485" y="600"/>
                  </a:lnTo>
                  <a:lnTo>
                    <a:pt x="1485" y="600"/>
                  </a:lnTo>
                  <a:lnTo>
                    <a:pt x="1485" y="600"/>
                  </a:lnTo>
                  <a:lnTo>
                    <a:pt x="1485" y="600"/>
                  </a:lnTo>
                  <a:lnTo>
                    <a:pt x="1485" y="600"/>
                  </a:lnTo>
                  <a:lnTo>
                    <a:pt x="1483" y="600"/>
                  </a:lnTo>
                  <a:lnTo>
                    <a:pt x="1483" y="600"/>
                  </a:lnTo>
                  <a:lnTo>
                    <a:pt x="1483" y="603"/>
                  </a:lnTo>
                  <a:lnTo>
                    <a:pt x="1483" y="603"/>
                  </a:lnTo>
                  <a:lnTo>
                    <a:pt x="1485" y="603"/>
                  </a:lnTo>
                  <a:lnTo>
                    <a:pt x="1485" y="603"/>
                  </a:lnTo>
                  <a:lnTo>
                    <a:pt x="1485" y="603"/>
                  </a:lnTo>
                  <a:lnTo>
                    <a:pt x="1483" y="603"/>
                  </a:lnTo>
                  <a:lnTo>
                    <a:pt x="1483" y="603"/>
                  </a:lnTo>
                  <a:lnTo>
                    <a:pt x="1481" y="603"/>
                  </a:lnTo>
                  <a:lnTo>
                    <a:pt x="1481" y="605"/>
                  </a:lnTo>
                  <a:lnTo>
                    <a:pt x="1481" y="605"/>
                  </a:lnTo>
                  <a:lnTo>
                    <a:pt x="1481" y="605"/>
                  </a:lnTo>
                  <a:lnTo>
                    <a:pt x="1479" y="605"/>
                  </a:lnTo>
                  <a:lnTo>
                    <a:pt x="1479" y="603"/>
                  </a:lnTo>
                  <a:lnTo>
                    <a:pt x="1481" y="603"/>
                  </a:lnTo>
                  <a:lnTo>
                    <a:pt x="1481" y="603"/>
                  </a:lnTo>
                  <a:lnTo>
                    <a:pt x="1483" y="600"/>
                  </a:lnTo>
                  <a:lnTo>
                    <a:pt x="1483" y="600"/>
                  </a:lnTo>
                  <a:lnTo>
                    <a:pt x="1483" y="598"/>
                  </a:lnTo>
                  <a:lnTo>
                    <a:pt x="1483" y="598"/>
                  </a:lnTo>
                  <a:lnTo>
                    <a:pt x="1483" y="598"/>
                  </a:lnTo>
                  <a:lnTo>
                    <a:pt x="1483" y="598"/>
                  </a:lnTo>
                  <a:lnTo>
                    <a:pt x="1483" y="596"/>
                  </a:lnTo>
                  <a:lnTo>
                    <a:pt x="1481" y="596"/>
                  </a:lnTo>
                  <a:lnTo>
                    <a:pt x="1479" y="596"/>
                  </a:lnTo>
                  <a:lnTo>
                    <a:pt x="1479" y="596"/>
                  </a:lnTo>
                  <a:lnTo>
                    <a:pt x="1479" y="598"/>
                  </a:lnTo>
                  <a:lnTo>
                    <a:pt x="1479" y="598"/>
                  </a:lnTo>
                  <a:lnTo>
                    <a:pt x="1481" y="598"/>
                  </a:lnTo>
                  <a:lnTo>
                    <a:pt x="1481" y="600"/>
                  </a:lnTo>
                  <a:lnTo>
                    <a:pt x="1481" y="600"/>
                  </a:lnTo>
                  <a:lnTo>
                    <a:pt x="1479" y="598"/>
                  </a:lnTo>
                  <a:lnTo>
                    <a:pt x="1479" y="598"/>
                  </a:lnTo>
                  <a:lnTo>
                    <a:pt x="1479" y="598"/>
                  </a:lnTo>
                  <a:lnTo>
                    <a:pt x="1479" y="598"/>
                  </a:lnTo>
                  <a:lnTo>
                    <a:pt x="1479" y="598"/>
                  </a:lnTo>
                  <a:lnTo>
                    <a:pt x="1479" y="598"/>
                  </a:lnTo>
                  <a:lnTo>
                    <a:pt x="1479" y="598"/>
                  </a:lnTo>
                  <a:lnTo>
                    <a:pt x="1479" y="598"/>
                  </a:lnTo>
                  <a:lnTo>
                    <a:pt x="1479" y="596"/>
                  </a:lnTo>
                  <a:lnTo>
                    <a:pt x="1477" y="596"/>
                  </a:lnTo>
                  <a:lnTo>
                    <a:pt x="1477" y="596"/>
                  </a:lnTo>
                  <a:lnTo>
                    <a:pt x="1477" y="596"/>
                  </a:lnTo>
                  <a:lnTo>
                    <a:pt x="1477" y="596"/>
                  </a:lnTo>
                  <a:lnTo>
                    <a:pt x="1475" y="596"/>
                  </a:lnTo>
                  <a:lnTo>
                    <a:pt x="1475" y="596"/>
                  </a:lnTo>
                  <a:lnTo>
                    <a:pt x="1475" y="596"/>
                  </a:lnTo>
                  <a:lnTo>
                    <a:pt x="1477" y="596"/>
                  </a:lnTo>
                  <a:lnTo>
                    <a:pt x="1477" y="596"/>
                  </a:lnTo>
                  <a:lnTo>
                    <a:pt x="1475" y="594"/>
                  </a:lnTo>
                  <a:lnTo>
                    <a:pt x="1475" y="594"/>
                  </a:lnTo>
                  <a:lnTo>
                    <a:pt x="1473" y="594"/>
                  </a:lnTo>
                  <a:lnTo>
                    <a:pt x="1475" y="594"/>
                  </a:lnTo>
                  <a:lnTo>
                    <a:pt x="1475" y="594"/>
                  </a:lnTo>
                  <a:lnTo>
                    <a:pt x="1477" y="594"/>
                  </a:lnTo>
                  <a:lnTo>
                    <a:pt x="1477" y="596"/>
                  </a:lnTo>
                  <a:lnTo>
                    <a:pt x="1477" y="596"/>
                  </a:lnTo>
                  <a:lnTo>
                    <a:pt x="1477" y="594"/>
                  </a:lnTo>
                  <a:lnTo>
                    <a:pt x="1477" y="594"/>
                  </a:lnTo>
                  <a:lnTo>
                    <a:pt x="1479" y="594"/>
                  </a:lnTo>
                  <a:lnTo>
                    <a:pt x="1479" y="594"/>
                  </a:lnTo>
                  <a:lnTo>
                    <a:pt x="1477" y="592"/>
                  </a:lnTo>
                  <a:lnTo>
                    <a:pt x="1475" y="592"/>
                  </a:lnTo>
                  <a:lnTo>
                    <a:pt x="1475" y="592"/>
                  </a:lnTo>
                  <a:lnTo>
                    <a:pt x="1475" y="592"/>
                  </a:lnTo>
                  <a:lnTo>
                    <a:pt x="1475" y="592"/>
                  </a:lnTo>
                  <a:lnTo>
                    <a:pt x="1475" y="592"/>
                  </a:lnTo>
                  <a:lnTo>
                    <a:pt x="1475" y="592"/>
                  </a:lnTo>
                  <a:lnTo>
                    <a:pt x="1473" y="592"/>
                  </a:lnTo>
                  <a:lnTo>
                    <a:pt x="1473" y="592"/>
                  </a:lnTo>
                  <a:lnTo>
                    <a:pt x="1473" y="592"/>
                  </a:lnTo>
                  <a:lnTo>
                    <a:pt x="1473" y="592"/>
                  </a:lnTo>
                  <a:lnTo>
                    <a:pt x="1473" y="592"/>
                  </a:lnTo>
                  <a:lnTo>
                    <a:pt x="1471" y="592"/>
                  </a:lnTo>
                  <a:lnTo>
                    <a:pt x="1471" y="592"/>
                  </a:lnTo>
                  <a:lnTo>
                    <a:pt x="1471" y="592"/>
                  </a:lnTo>
                  <a:lnTo>
                    <a:pt x="1468" y="592"/>
                  </a:lnTo>
                  <a:lnTo>
                    <a:pt x="1468" y="594"/>
                  </a:lnTo>
                  <a:lnTo>
                    <a:pt x="1468" y="594"/>
                  </a:lnTo>
                  <a:lnTo>
                    <a:pt x="1468" y="594"/>
                  </a:lnTo>
                  <a:lnTo>
                    <a:pt x="1468" y="594"/>
                  </a:lnTo>
                  <a:lnTo>
                    <a:pt x="1468" y="592"/>
                  </a:lnTo>
                  <a:lnTo>
                    <a:pt x="1468" y="592"/>
                  </a:lnTo>
                  <a:lnTo>
                    <a:pt x="1468" y="592"/>
                  </a:lnTo>
                  <a:lnTo>
                    <a:pt x="1468" y="592"/>
                  </a:lnTo>
                  <a:lnTo>
                    <a:pt x="1466" y="592"/>
                  </a:lnTo>
                  <a:lnTo>
                    <a:pt x="1464" y="592"/>
                  </a:lnTo>
                  <a:lnTo>
                    <a:pt x="1462" y="592"/>
                  </a:lnTo>
                  <a:lnTo>
                    <a:pt x="1462" y="594"/>
                  </a:lnTo>
                  <a:lnTo>
                    <a:pt x="1462" y="596"/>
                  </a:lnTo>
                  <a:lnTo>
                    <a:pt x="1462" y="596"/>
                  </a:lnTo>
                  <a:lnTo>
                    <a:pt x="1462" y="596"/>
                  </a:lnTo>
                  <a:lnTo>
                    <a:pt x="1460" y="596"/>
                  </a:lnTo>
                  <a:lnTo>
                    <a:pt x="1460" y="596"/>
                  </a:lnTo>
                  <a:lnTo>
                    <a:pt x="1460" y="594"/>
                  </a:lnTo>
                  <a:lnTo>
                    <a:pt x="1462" y="594"/>
                  </a:lnTo>
                  <a:lnTo>
                    <a:pt x="1462" y="594"/>
                  </a:lnTo>
                  <a:lnTo>
                    <a:pt x="1462" y="592"/>
                  </a:lnTo>
                  <a:lnTo>
                    <a:pt x="1462" y="592"/>
                  </a:lnTo>
                  <a:lnTo>
                    <a:pt x="1464" y="590"/>
                  </a:lnTo>
                  <a:lnTo>
                    <a:pt x="1464" y="590"/>
                  </a:lnTo>
                  <a:lnTo>
                    <a:pt x="1464" y="588"/>
                  </a:lnTo>
                  <a:lnTo>
                    <a:pt x="1464" y="588"/>
                  </a:lnTo>
                  <a:lnTo>
                    <a:pt x="1462" y="588"/>
                  </a:lnTo>
                  <a:lnTo>
                    <a:pt x="1462" y="586"/>
                  </a:lnTo>
                  <a:lnTo>
                    <a:pt x="1460" y="586"/>
                  </a:lnTo>
                  <a:lnTo>
                    <a:pt x="1460" y="586"/>
                  </a:lnTo>
                  <a:lnTo>
                    <a:pt x="1460" y="586"/>
                  </a:lnTo>
                  <a:lnTo>
                    <a:pt x="1460" y="584"/>
                  </a:lnTo>
                  <a:lnTo>
                    <a:pt x="1460" y="584"/>
                  </a:lnTo>
                  <a:lnTo>
                    <a:pt x="1460" y="584"/>
                  </a:lnTo>
                  <a:lnTo>
                    <a:pt x="1460" y="584"/>
                  </a:lnTo>
                  <a:lnTo>
                    <a:pt x="1460" y="584"/>
                  </a:lnTo>
                  <a:lnTo>
                    <a:pt x="1462" y="586"/>
                  </a:lnTo>
                  <a:lnTo>
                    <a:pt x="1464" y="586"/>
                  </a:lnTo>
                  <a:lnTo>
                    <a:pt x="1464" y="588"/>
                  </a:lnTo>
                  <a:lnTo>
                    <a:pt x="1466" y="588"/>
                  </a:lnTo>
                  <a:lnTo>
                    <a:pt x="1466" y="588"/>
                  </a:lnTo>
                  <a:lnTo>
                    <a:pt x="1468" y="588"/>
                  </a:lnTo>
                  <a:lnTo>
                    <a:pt x="1468" y="588"/>
                  </a:lnTo>
                  <a:lnTo>
                    <a:pt x="1471" y="590"/>
                  </a:lnTo>
                  <a:lnTo>
                    <a:pt x="1471" y="590"/>
                  </a:lnTo>
                  <a:lnTo>
                    <a:pt x="1471" y="590"/>
                  </a:lnTo>
                  <a:lnTo>
                    <a:pt x="1471" y="590"/>
                  </a:lnTo>
                  <a:lnTo>
                    <a:pt x="1473" y="590"/>
                  </a:lnTo>
                  <a:lnTo>
                    <a:pt x="1473" y="590"/>
                  </a:lnTo>
                  <a:lnTo>
                    <a:pt x="1473" y="590"/>
                  </a:lnTo>
                  <a:lnTo>
                    <a:pt x="1468" y="584"/>
                  </a:lnTo>
                  <a:lnTo>
                    <a:pt x="1471" y="584"/>
                  </a:lnTo>
                  <a:lnTo>
                    <a:pt x="1471" y="584"/>
                  </a:lnTo>
                  <a:lnTo>
                    <a:pt x="1473" y="586"/>
                  </a:lnTo>
                  <a:lnTo>
                    <a:pt x="1475" y="588"/>
                  </a:lnTo>
                  <a:lnTo>
                    <a:pt x="1475" y="586"/>
                  </a:lnTo>
                  <a:lnTo>
                    <a:pt x="1475" y="586"/>
                  </a:lnTo>
                  <a:lnTo>
                    <a:pt x="1475" y="586"/>
                  </a:lnTo>
                  <a:lnTo>
                    <a:pt x="1475" y="586"/>
                  </a:lnTo>
                  <a:lnTo>
                    <a:pt x="1475" y="586"/>
                  </a:lnTo>
                  <a:lnTo>
                    <a:pt x="1477" y="588"/>
                  </a:lnTo>
                  <a:lnTo>
                    <a:pt x="1477" y="590"/>
                  </a:lnTo>
                  <a:lnTo>
                    <a:pt x="1477" y="592"/>
                  </a:lnTo>
                  <a:lnTo>
                    <a:pt x="1479" y="592"/>
                  </a:lnTo>
                  <a:lnTo>
                    <a:pt x="1479" y="592"/>
                  </a:lnTo>
                  <a:lnTo>
                    <a:pt x="1481" y="592"/>
                  </a:lnTo>
                  <a:lnTo>
                    <a:pt x="1483" y="590"/>
                  </a:lnTo>
                  <a:lnTo>
                    <a:pt x="1483" y="590"/>
                  </a:lnTo>
                  <a:lnTo>
                    <a:pt x="1483" y="592"/>
                  </a:lnTo>
                  <a:lnTo>
                    <a:pt x="1483" y="592"/>
                  </a:lnTo>
                  <a:lnTo>
                    <a:pt x="1481" y="592"/>
                  </a:lnTo>
                  <a:lnTo>
                    <a:pt x="1481" y="592"/>
                  </a:lnTo>
                  <a:lnTo>
                    <a:pt x="1485" y="594"/>
                  </a:lnTo>
                  <a:lnTo>
                    <a:pt x="1485" y="594"/>
                  </a:lnTo>
                  <a:lnTo>
                    <a:pt x="1487" y="592"/>
                  </a:lnTo>
                  <a:lnTo>
                    <a:pt x="1487" y="592"/>
                  </a:lnTo>
                  <a:lnTo>
                    <a:pt x="1487" y="592"/>
                  </a:lnTo>
                  <a:lnTo>
                    <a:pt x="1487" y="592"/>
                  </a:lnTo>
                  <a:lnTo>
                    <a:pt x="1487" y="592"/>
                  </a:lnTo>
                  <a:lnTo>
                    <a:pt x="1487" y="590"/>
                  </a:lnTo>
                  <a:lnTo>
                    <a:pt x="1487" y="590"/>
                  </a:lnTo>
                  <a:lnTo>
                    <a:pt x="1487" y="588"/>
                  </a:lnTo>
                  <a:lnTo>
                    <a:pt x="1487" y="588"/>
                  </a:lnTo>
                  <a:lnTo>
                    <a:pt x="1487" y="586"/>
                  </a:lnTo>
                  <a:lnTo>
                    <a:pt x="1487" y="586"/>
                  </a:lnTo>
                  <a:lnTo>
                    <a:pt x="1485" y="586"/>
                  </a:lnTo>
                  <a:lnTo>
                    <a:pt x="1487" y="586"/>
                  </a:lnTo>
                  <a:lnTo>
                    <a:pt x="1487" y="586"/>
                  </a:lnTo>
                  <a:lnTo>
                    <a:pt x="1485" y="584"/>
                  </a:lnTo>
                  <a:lnTo>
                    <a:pt x="1485" y="584"/>
                  </a:lnTo>
                  <a:lnTo>
                    <a:pt x="1483" y="586"/>
                  </a:lnTo>
                  <a:lnTo>
                    <a:pt x="1483" y="586"/>
                  </a:lnTo>
                  <a:lnTo>
                    <a:pt x="1485" y="584"/>
                  </a:lnTo>
                  <a:lnTo>
                    <a:pt x="1485" y="584"/>
                  </a:lnTo>
                  <a:lnTo>
                    <a:pt x="1485" y="582"/>
                  </a:lnTo>
                  <a:lnTo>
                    <a:pt x="1485" y="582"/>
                  </a:lnTo>
                  <a:lnTo>
                    <a:pt x="1485" y="582"/>
                  </a:lnTo>
                  <a:lnTo>
                    <a:pt x="1483" y="580"/>
                  </a:lnTo>
                  <a:lnTo>
                    <a:pt x="1483" y="580"/>
                  </a:lnTo>
                  <a:lnTo>
                    <a:pt x="1483" y="580"/>
                  </a:lnTo>
                  <a:lnTo>
                    <a:pt x="1483" y="580"/>
                  </a:lnTo>
                  <a:lnTo>
                    <a:pt x="1485" y="580"/>
                  </a:lnTo>
                  <a:lnTo>
                    <a:pt x="1485" y="580"/>
                  </a:lnTo>
                  <a:lnTo>
                    <a:pt x="1485" y="580"/>
                  </a:lnTo>
                  <a:lnTo>
                    <a:pt x="1485" y="580"/>
                  </a:lnTo>
                  <a:lnTo>
                    <a:pt x="1485" y="582"/>
                  </a:lnTo>
                  <a:lnTo>
                    <a:pt x="1485" y="582"/>
                  </a:lnTo>
                  <a:lnTo>
                    <a:pt x="1485" y="582"/>
                  </a:lnTo>
                  <a:lnTo>
                    <a:pt x="1487" y="584"/>
                  </a:lnTo>
                  <a:lnTo>
                    <a:pt x="1487" y="584"/>
                  </a:lnTo>
                  <a:lnTo>
                    <a:pt x="1487" y="584"/>
                  </a:lnTo>
                  <a:lnTo>
                    <a:pt x="1487" y="584"/>
                  </a:lnTo>
                  <a:lnTo>
                    <a:pt x="1487" y="586"/>
                  </a:lnTo>
                  <a:lnTo>
                    <a:pt x="1487" y="586"/>
                  </a:lnTo>
                  <a:lnTo>
                    <a:pt x="1489" y="586"/>
                  </a:lnTo>
                  <a:lnTo>
                    <a:pt x="1489" y="586"/>
                  </a:lnTo>
                  <a:lnTo>
                    <a:pt x="1489" y="588"/>
                  </a:lnTo>
                  <a:lnTo>
                    <a:pt x="1489" y="588"/>
                  </a:lnTo>
                  <a:lnTo>
                    <a:pt x="1489" y="588"/>
                  </a:lnTo>
                  <a:lnTo>
                    <a:pt x="1489" y="588"/>
                  </a:lnTo>
                  <a:lnTo>
                    <a:pt x="1491" y="586"/>
                  </a:lnTo>
                  <a:lnTo>
                    <a:pt x="1491" y="584"/>
                  </a:lnTo>
                  <a:lnTo>
                    <a:pt x="1491" y="584"/>
                  </a:lnTo>
                  <a:lnTo>
                    <a:pt x="1489" y="584"/>
                  </a:lnTo>
                  <a:lnTo>
                    <a:pt x="1489" y="584"/>
                  </a:lnTo>
                  <a:lnTo>
                    <a:pt x="1491" y="584"/>
                  </a:lnTo>
                  <a:lnTo>
                    <a:pt x="1495" y="584"/>
                  </a:lnTo>
                  <a:lnTo>
                    <a:pt x="1495" y="584"/>
                  </a:lnTo>
                  <a:lnTo>
                    <a:pt x="1495" y="584"/>
                  </a:lnTo>
                  <a:lnTo>
                    <a:pt x="1491" y="586"/>
                  </a:lnTo>
                  <a:lnTo>
                    <a:pt x="1491" y="586"/>
                  </a:lnTo>
                  <a:lnTo>
                    <a:pt x="1491" y="586"/>
                  </a:lnTo>
                  <a:lnTo>
                    <a:pt x="1491" y="586"/>
                  </a:lnTo>
                  <a:lnTo>
                    <a:pt x="1491" y="586"/>
                  </a:lnTo>
                  <a:lnTo>
                    <a:pt x="1489" y="590"/>
                  </a:lnTo>
                  <a:lnTo>
                    <a:pt x="1489" y="590"/>
                  </a:lnTo>
                  <a:lnTo>
                    <a:pt x="1489" y="590"/>
                  </a:lnTo>
                  <a:lnTo>
                    <a:pt x="1491" y="592"/>
                  </a:lnTo>
                  <a:lnTo>
                    <a:pt x="1491" y="592"/>
                  </a:lnTo>
                  <a:lnTo>
                    <a:pt x="1491" y="592"/>
                  </a:lnTo>
                  <a:lnTo>
                    <a:pt x="1491" y="592"/>
                  </a:lnTo>
                  <a:lnTo>
                    <a:pt x="1493" y="594"/>
                  </a:lnTo>
                  <a:lnTo>
                    <a:pt x="1493" y="594"/>
                  </a:lnTo>
                  <a:lnTo>
                    <a:pt x="1493" y="594"/>
                  </a:lnTo>
                  <a:lnTo>
                    <a:pt x="1493" y="594"/>
                  </a:lnTo>
                  <a:lnTo>
                    <a:pt x="1493" y="596"/>
                  </a:lnTo>
                  <a:lnTo>
                    <a:pt x="1493" y="596"/>
                  </a:lnTo>
                  <a:lnTo>
                    <a:pt x="1493" y="596"/>
                  </a:lnTo>
                  <a:lnTo>
                    <a:pt x="1495" y="598"/>
                  </a:lnTo>
                  <a:lnTo>
                    <a:pt x="1497" y="598"/>
                  </a:lnTo>
                  <a:lnTo>
                    <a:pt x="1497" y="598"/>
                  </a:lnTo>
                  <a:lnTo>
                    <a:pt x="1497" y="598"/>
                  </a:lnTo>
                  <a:lnTo>
                    <a:pt x="1497" y="598"/>
                  </a:lnTo>
                  <a:lnTo>
                    <a:pt x="1497" y="600"/>
                  </a:lnTo>
                  <a:lnTo>
                    <a:pt x="1497" y="600"/>
                  </a:lnTo>
                  <a:lnTo>
                    <a:pt x="1497" y="600"/>
                  </a:lnTo>
                  <a:lnTo>
                    <a:pt x="1497" y="603"/>
                  </a:lnTo>
                  <a:lnTo>
                    <a:pt x="1497" y="603"/>
                  </a:lnTo>
                  <a:lnTo>
                    <a:pt x="1499" y="603"/>
                  </a:lnTo>
                  <a:lnTo>
                    <a:pt x="1499" y="605"/>
                  </a:lnTo>
                  <a:lnTo>
                    <a:pt x="1499" y="605"/>
                  </a:lnTo>
                  <a:lnTo>
                    <a:pt x="1499" y="605"/>
                  </a:lnTo>
                  <a:lnTo>
                    <a:pt x="1499" y="607"/>
                  </a:lnTo>
                  <a:lnTo>
                    <a:pt x="1497" y="607"/>
                  </a:lnTo>
                  <a:lnTo>
                    <a:pt x="1497" y="607"/>
                  </a:lnTo>
                  <a:lnTo>
                    <a:pt x="1497" y="607"/>
                  </a:lnTo>
                  <a:lnTo>
                    <a:pt x="1497" y="607"/>
                  </a:lnTo>
                  <a:lnTo>
                    <a:pt x="1497" y="607"/>
                  </a:lnTo>
                  <a:lnTo>
                    <a:pt x="1497" y="607"/>
                  </a:lnTo>
                  <a:lnTo>
                    <a:pt x="1497" y="607"/>
                  </a:lnTo>
                  <a:lnTo>
                    <a:pt x="1497" y="607"/>
                  </a:lnTo>
                  <a:lnTo>
                    <a:pt x="1499" y="607"/>
                  </a:lnTo>
                  <a:lnTo>
                    <a:pt x="1499" y="607"/>
                  </a:lnTo>
                  <a:lnTo>
                    <a:pt x="1499" y="609"/>
                  </a:lnTo>
                  <a:lnTo>
                    <a:pt x="1499" y="611"/>
                  </a:lnTo>
                  <a:lnTo>
                    <a:pt x="1499" y="611"/>
                  </a:lnTo>
                  <a:lnTo>
                    <a:pt x="1499" y="611"/>
                  </a:lnTo>
                  <a:lnTo>
                    <a:pt x="1505" y="609"/>
                  </a:lnTo>
                  <a:lnTo>
                    <a:pt x="1505" y="607"/>
                  </a:lnTo>
                  <a:lnTo>
                    <a:pt x="1505" y="607"/>
                  </a:lnTo>
                  <a:lnTo>
                    <a:pt x="1507" y="607"/>
                  </a:lnTo>
                  <a:lnTo>
                    <a:pt x="1507" y="607"/>
                  </a:lnTo>
                  <a:lnTo>
                    <a:pt x="1509" y="609"/>
                  </a:lnTo>
                  <a:lnTo>
                    <a:pt x="1509" y="609"/>
                  </a:lnTo>
                  <a:lnTo>
                    <a:pt x="1509" y="609"/>
                  </a:lnTo>
                  <a:lnTo>
                    <a:pt x="1509" y="609"/>
                  </a:lnTo>
                  <a:lnTo>
                    <a:pt x="1509" y="607"/>
                  </a:lnTo>
                  <a:lnTo>
                    <a:pt x="1509" y="607"/>
                  </a:lnTo>
                  <a:lnTo>
                    <a:pt x="1509" y="605"/>
                  </a:lnTo>
                  <a:lnTo>
                    <a:pt x="1509" y="605"/>
                  </a:lnTo>
                  <a:lnTo>
                    <a:pt x="1507" y="605"/>
                  </a:lnTo>
                  <a:lnTo>
                    <a:pt x="1507" y="603"/>
                  </a:lnTo>
                  <a:lnTo>
                    <a:pt x="1507" y="603"/>
                  </a:lnTo>
                  <a:lnTo>
                    <a:pt x="1509" y="603"/>
                  </a:lnTo>
                  <a:lnTo>
                    <a:pt x="1509" y="605"/>
                  </a:lnTo>
                  <a:lnTo>
                    <a:pt x="1509" y="605"/>
                  </a:lnTo>
                  <a:lnTo>
                    <a:pt x="1512" y="607"/>
                  </a:lnTo>
                  <a:lnTo>
                    <a:pt x="1512" y="607"/>
                  </a:lnTo>
                  <a:lnTo>
                    <a:pt x="1512" y="609"/>
                  </a:lnTo>
                  <a:lnTo>
                    <a:pt x="1514" y="611"/>
                  </a:lnTo>
                  <a:lnTo>
                    <a:pt x="1516" y="613"/>
                  </a:lnTo>
                  <a:lnTo>
                    <a:pt x="1516" y="613"/>
                  </a:lnTo>
                  <a:lnTo>
                    <a:pt x="1520" y="613"/>
                  </a:lnTo>
                  <a:lnTo>
                    <a:pt x="1522" y="613"/>
                  </a:lnTo>
                  <a:lnTo>
                    <a:pt x="1522" y="613"/>
                  </a:lnTo>
                  <a:lnTo>
                    <a:pt x="1522" y="613"/>
                  </a:lnTo>
                  <a:lnTo>
                    <a:pt x="1522" y="613"/>
                  </a:lnTo>
                  <a:lnTo>
                    <a:pt x="1522" y="611"/>
                  </a:lnTo>
                  <a:lnTo>
                    <a:pt x="1522" y="611"/>
                  </a:lnTo>
                  <a:lnTo>
                    <a:pt x="1522" y="611"/>
                  </a:lnTo>
                  <a:lnTo>
                    <a:pt x="1522" y="611"/>
                  </a:lnTo>
                  <a:lnTo>
                    <a:pt x="1522" y="609"/>
                  </a:lnTo>
                  <a:lnTo>
                    <a:pt x="1522" y="609"/>
                  </a:lnTo>
                  <a:lnTo>
                    <a:pt x="1522" y="609"/>
                  </a:lnTo>
                  <a:lnTo>
                    <a:pt x="1522" y="609"/>
                  </a:lnTo>
                  <a:lnTo>
                    <a:pt x="1522" y="609"/>
                  </a:lnTo>
                  <a:lnTo>
                    <a:pt x="1522" y="609"/>
                  </a:lnTo>
                  <a:lnTo>
                    <a:pt x="1522" y="607"/>
                  </a:lnTo>
                  <a:lnTo>
                    <a:pt x="1522" y="607"/>
                  </a:lnTo>
                  <a:lnTo>
                    <a:pt x="1520" y="603"/>
                  </a:lnTo>
                  <a:lnTo>
                    <a:pt x="1518" y="600"/>
                  </a:lnTo>
                  <a:lnTo>
                    <a:pt x="1518" y="600"/>
                  </a:lnTo>
                  <a:lnTo>
                    <a:pt x="1518" y="600"/>
                  </a:lnTo>
                  <a:lnTo>
                    <a:pt x="1518" y="598"/>
                  </a:lnTo>
                  <a:lnTo>
                    <a:pt x="1518" y="598"/>
                  </a:lnTo>
                  <a:lnTo>
                    <a:pt x="1518" y="598"/>
                  </a:lnTo>
                  <a:lnTo>
                    <a:pt x="1518" y="598"/>
                  </a:lnTo>
                  <a:lnTo>
                    <a:pt x="1516" y="598"/>
                  </a:lnTo>
                  <a:lnTo>
                    <a:pt x="1516" y="596"/>
                  </a:lnTo>
                  <a:lnTo>
                    <a:pt x="1514" y="594"/>
                  </a:lnTo>
                  <a:lnTo>
                    <a:pt x="1514" y="594"/>
                  </a:lnTo>
                  <a:lnTo>
                    <a:pt x="1514" y="594"/>
                  </a:lnTo>
                  <a:lnTo>
                    <a:pt x="1514" y="592"/>
                  </a:lnTo>
                  <a:lnTo>
                    <a:pt x="1514" y="592"/>
                  </a:lnTo>
                  <a:lnTo>
                    <a:pt x="1514" y="592"/>
                  </a:lnTo>
                  <a:lnTo>
                    <a:pt x="1512" y="588"/>
                  </a:lnTo>
                  <a:lnTo>
                    <a:pt x="1512" y="588"/>
                  </a:lnTo>
                  <a:lnTo>
                    <a:pt x="1512" y="588"/>
                  </a:lnTo>
                  <a:lnTo>
                    <a:pt x="1512" y="586"/>
                  </a:lnTo>
                  <a:lnTo>
                    <a:pt x="1507" y="584"/>
                  </a:lnTo>
                  <a:lnTo>
                    <a:pt x="1507" y="582"/>
                  </a:lnTo>
                  <a:lnTo>
                    <a:pt x="1507" y="582"/>
                  </a:lnTo>
                  <a:lnTo>
                    <a:pt x="1507" y="580"/>
                  </a:lnTo>
                  <a:lnTo>
                    <a:pt x="1507" y="580"/>
                  </a:lnTo>
                  <a:lnTo>
                    <a:pt x="1505" y="580"/>
                  </a:lnTo>
                  <a:lnTo>
                    <a:pt x="1505" y="580"/>
                  </a:lnTo>
                  <a:lnTo>
                    <a:pt x="1505" y="580"/>
                  </a:lnTo>
                  <a:lnTo>
                    <a:pt x="1503" y="578"/>
                  </a:lnTo>
                  <a:lnTo>
                    <a:pt x="1503" y="578"/>
                  </a:lnTo>
                  <a:lnTo>
                    <a:pt x="1503" y="576"/>
                  </a:lnTo>
                  <a:lnTo>
                    <a:pt x="1503" y="576"/>
                  </a:lnTo>
                  <a:lnTo>
                    <a:pt x="1503" y="576"/>
                  </a:lnTo>
                  <a:lnTo>
                    <a:pt x="1503" y="576"/>
                  </a:lnTo>
                  <a:lnTo>
                    <a:pt x="1503" y="574"/>
                  </a:lnTo>
                  <a:lnTo>
                    <a:pt x="1503" y="574"/>
                  </a:lnTo>
                  <a:lnTo>
                    <a:pt x="1503" y="574"/>
                  </a:lnTo>
                  <a:lnTo>
                    <a:pt x="1503" y="572"/>
                  </a:lnTo>
                  <a:lnTo>
                    <a:pt x="1503" y="572"/>
                  </a:lnTo>
                  <a:lnTo>
                    <a:pt x="1501" y="572"/>
                  </a:lnTo>
                  <a:lnTo>
                    <a:pt x="1501" y="570"/>
                  </a:lnTo>
                  <a:lnTo>
                    <a:pt x="1501" y="570"/>
                  </a:lnTo>
                  <a:lnTo>
                    <a:pt x="1499" y="570"/>
                  </a:lnTo>
                  <a:lnTo>
                    <a:pt x="1499" y="568"/>
                  </a:lnTo>
                  <a:lnTo>
                    <a:pt x="1499" y="568"/>
                  </a:lnTo>
                  <a:lnTo>
                    <a:pt x="1497" y="566"/>
                  </a:lnTo>
                  <a:lnTo>
                    <a:pt x="1495" y="566"/>
                  </a:lnTo>
                  <a:lnTo>
                    <a:pt x="1497" y="566"/>
                  </a:lnTo>
                  <a:lnTo>
                    <a:pt x="1497" y="566"/>
                  </a:lnTo>
                  <a:lnTo>
                    <a:pt x="1499" y="566"/>
                  </a:lnTo>
                  <a:lnTo>
                    <a:pt x="1501" y="568"/>
                  </a:lnTo>
                  <a:lnTo>
                    <a:pt x="1501" y="568"/>
                  </a:lnTo>
                  <a:lnTo>
                    <a:pt x="1501" y="570"/>
                  </a:lnTo>
                  <a:lnTo>
                    <a:pt x="1501" y="570"/>
                  </a:lnTo>
                  <a:lnTo>
                    <a:pt x="1503" y="570"/>
                  </a:lnTo>
                  <a:lnTo>
                    <a:pt x="1503" y="570"/>
                  </a:lnTo>
                  <a:lnTo>
                    <a:pt x="1503" y="572"/>
                  </a:lnTo>
                  <a:lnTo>
                    <a:pt x="1503" y="570"/>
                  </a:lnTo>
                  <a:lnTo>
                    <a:pt x="1503" y="570"/>
                  </a:lnTo>
                  <a:lnTo>
                    <a:pt x="1503" y="570"/>
                  </a:lnTo>
                  <a:lnTo>
                    <a:pt x="1503" y="570"/>
                  </a:lnTo>
                  <a:lnTo>
                    <a:pt x="1503" y="568"/>
                  </a:lnTo>
                  <a:lnTo>
                    <a:pt x="1503" y="568"/>
                  </a:lnTo>
                  <a:lnTo>
                    <a:pt x="1503" y="568"/>
                  </a:lnTo>
                  <a:lnTo>
                    <a:pt x="1503" y="568"/>
                  </a:lnTo>
                  <a:lnTo>
                    <a:pt x="1503" y="568"/>
                  </a:lnTo>
                  <a:lnTo>
                    <a:pt x="1503" y="568"/>
                  </a:lnTo>
                  <a:lnTo>
                    <a:pt x="1501" y="566"/>
                  </a:lnTo>
                  <a:lnTo>
                    <a:pt x="1501" y="566"/>
                  </a:lnTo>
                  <a:lnTo>
                    <a:pt x="1501" y="566"/>
                  </a:lnTo>
                  <a:lnTo>
                    <a:pt x="1501" y="566"/>
                  </a:lnTo>
                  <a:lnTo>
                    <a:pt x="1499" y="564"/>
                  </a:lnTo>
                  <a:lnTo>
                    <a:pt x="1499" y="564"/>
                  </a:lnTo>
                  <a:lnTo>
                    <a:pt x="1499" y="564"/>
                  </a:lnTo>
                  <a:lnTo>
                    <a:pt x="1499" y="564"/>
                  </a:lnTo>
                  <a:lnTo>
                    <a:pt x="1499" y="564"/>
                  </a:lnTo>
                  <a:lnTo>
                    <a:pt x="1499" y="564"/>
                  </a:lnTo>
                  <a:lnTo>
                    <a:pt x="1497" y="562"/>
                  </a:lnTo>
                  <a:lnTo>
                    <a:pt x="1497" y="562"/>
                  </a:lnTo>
                  <a:lnTo>
                    <a:pt x="1495" y="562"/>
                  </a:lnTo>
                  <a:lnTo>
                    <a:pt x="1495" y="562"/>
                  </a:lnTo>
                  <a:lnTo>
                    <a:pt x="1495" y="562"/>
                  </a:lnTo>
                  <a:lnTo>
                    <a:pt x="1497" y="562"/>
                  </a:lnTo>
                  <a:lnTo>
                    <a:pt x="1497" y="562"/>
                  </a:lnTo>
                  <a:lnTo>
                    <a:pt x="1499" y="562"/>
                  </a:lnTo>
                  <a:lnTo>
                    <a:pt x="1499" y="559"/>
                  </a:lnTo>
                  <a:lnTo>
                    <a:pt x="1497" y="557"/>
                  </a:lnTo>
                  <a:lnTo>
                    <a:pt x="1497" y="553"/>
                  </a:lnTo>
                  <a:lnTo>
                    <a:pt x="1497" y="551"/>
                  </a:lnTo>
                  <a:lnTo>
                    <a:pt x="1499" y="553"/>
                  </a:lnTo>
                  <a:lnTo>
                    <a:pt x="1499" y="555"/>
                  </a:lnTo>
                  <a:lnTo>
                    <a:pt x="1499" y="559"/>
                  </a:lnTo>
                  <a:lnTo>
                    <a:pt x="1499" y="562"/>
                  </a:lnTo>
                  <a:lnTo>
                    <a:pt x="1501" y="564"/>
                  </a:lnTo>
                  <a:lnTo>
                    <a:pt x="1503" y="566"/>
                  </a:lnTo>
                  <a:lnTo>
                    <a:pt x="1503" y="566"/>
                  </a:lnTo>
                  <a:lnTo>
                    <a:pt x="1505" y="568"/>
                  </a:lnTo>
                  <a:lnTo>
                    <a:pt x="1505" y="570"/>
                  </a:lnTo>
                  <a:lnTo>
                    <a:pt x="1505" y="570"/>
                  </a:lnTo>
                  <a:lnTo>
                    <a:pt x="1507" y="572"/>
                  </a:lnTo>
                  <a:lnTo>
                    <a:pt x="1507" y="572"/>
                  </a:lnTo>
                  <a:lnTo>
                    <a:pt x="1507" y="574"/>
                  </a:lnTo>
                  <a:lnTo>
                    <a:pt x="1507" y="574"/>
                  </a:lnTo>
                  <a:lnTo>
                    <a:pt x="1509" y="574"/>
                  </a:lnTo>
                  <a:lnTo>
                    <a:pt x="1509" y="574"/>
                  </a:lnTo>
                  <a:lnTo>
                    <a:pt x="1509" y="576"/>
                  </a:lnTo>
                  <a:lnTo>
                    <a:pt x="1509" y="578"/>
                  </a:lnTo>
                  <a:lnTo>
                    <a:pt x="1512" y="578"/>
                  </a:lnTo>
                  <a:lnTo>
                    <a:pt x="1512" y="578"/>
                  </a:lnTo>
                  <a:lnTo>
                    <a:pt x="1512" y="580"/>
                  </a:lnTo>
                  <a:lnTo>
                    <a:pt x="1512" y="582"/>
                  </a:lnTo>
                  <a:lnTo>
                    <a:pt x="1512" y="582"/>
                  </a:lnTo>
                  <a:lnTo>
                    <a:pt x="1512" y="582"/>
                  </a:lnTo>
                  <a:lnTo>
                    <a:pt x="1514" y="584"/>
                  </a:lnTo>
                  <a:lnTo>
                    <a:pt x="1516" y="586"/>
                  </a:lnTo>
                  <a:lnTo>
                    <a:pt x="1516" y="586"/>
                  </a:lnTo>
                  <a:lnTo>
                    <a:pt x="1516" y="586"/>
                  </a:lnTo>
                  <a:lnTo>
                    <a:pt x="1516" y="586"/>
                  </a:lnTo>
                  <a:lnTo>
                    <a:pt x="1516" y="586"/>
                  </a:lnTo>
                  <a:lnTo>
                    <a:pt x="1516" y="584"/>
                  </a:lnTo>
                  <a:lnTo>
                    <a:pt x="1516" y="584"/>
                  </a:lnTo>
                  <a:lnTo>
                    <a:pt x="1516" y="584"/>
                  </a:lnTo>
                  <a:lnTo>
                    <a:pt x="1516" y="584"/>
                  </a:lnTo>
                  <a:lnTo>
                    <a:pt x="1516" y="582"/>
                  </a:lnTo>
                  <a:lnTo>
                    <a:pt x="1516" y="582"/>
                  </a:lnTo>
                  <a:lnTo>
                    <a:pt x="1516" y="582"/>
                  </a:lnTo>
                  <a:lnTo>
                    <a:pt x="1518" y="582"/>
                  </a:lnTo>
                  <a:lnTo>
                    <a:pt x="1518" y="582"/>
                  </a:lnTo>
                  <a:lnTo>
                    <a:pt x="1518" y="582"/>
                  </a:lnTo>
                  <a:lnTo>
                    <a:pt x="1518" y="582"/>
                  </a:lnTo>
                  <a:lnTo>
                    <a:pt x="1518" y="584"/>
                  </a:lnTo>
                  <a:lnTo>
                    <a:pt x="1520" y="584"/>
                  </a:lnTo>
                  <a:lnTo>
                    <a:pt x="1520" y="586"/>
                  </a:lnTo>
                  <a:lnTo>
                    <a:pt x="1520" y="588"/>
                  </a:lnTo>
                  <a:lnTo>
                    <a:pt x="1520" y="588"/>
                  </a:lnTo>
                  <a:lnTo>
                    <a:pt x="1520" y="590"/>
                  </a:lnTo>
                  <a:lnTo>
                    <a:pt x="1520" y="590"/>
                  </a:lnTo>
                  <a:lnTo>
                    <a:pt x="1520" y="590"/>
                  </a:lnTo>
                  <a:lnTo>
                    <a:pt x="1520" y="588"/>
                  </a:lnTo>
                  <a:lnTo>
                    <a:pt x="1520" y="590"/>
                  </a:lnTo>
                  <a:lnTo>
                    <a:pt x="1520" y="590"/>
                  </a:lnTo>
                  <a:lnTo>
                    <a:pt x="1518" y="588"/>
                  </a:lnTo>
                  <a:lnTo>
                    <a:pt x="1520" y="590"/>
                  </a:lnTo>
                  <a:lnTo>
                    <a:pt x="1520" y="592"/>
                  </a:lnTo>
                  <a:lnTo>
                    <a:pt x="1522" y="594"/>
                  </a:lnTo>
                  <a:lnTo>
                    <a:pt x="1524" y="594"/>
                  </a:lnTo>
                  <a:lnTo>
                    <a:pt x="1524" y="594"/>
                  </a:lnTo>
                  <a:lnTo>
                    <a:pt x="1526" y="596"/>
                  </a:lnTo>
                  <a:lnTo>
                    <a:pt x="1526" y="596"/>
                  </a:lnTo>
                  <a:lnTo>
                    <a:pt x="1526" y="596"/>
                  </a:lnTo>
                  <a:lnTo>
                    <a:pt x="1526" y="596"/>
                  </a:lnTo>
                  <a:lnTo>
                    <a:pt x="1526" y="596"/>
                  </a:lnTo>
                  <a:lnTo>
                    <a:pt x="1526" y="596"/>
                  </a:lnTo>
                  <a:lnTo>
                    <a:pt x="1526" y="596"/>
                  </a:lnTo>
                  <a:lnTo>
                    <a:pt x="1526" y="596"/>
                  </a:lnTo>
                  <a:lnTo>
                    <a:pt x="1528" y="598"/>
                  </a:lnTo>
                  <a:lnTo>
                    <a:pt x="1528" y="600"/>
                  </a:lnTo>
                  <a:lnTo>
                    <a:pt x="1528" y="600"/>
                  </a:lnTo>
                  <a:lnTo>
                    <a:pt x="1528" y="603"/>
                  </a:lnTo>
                  <a:lnTo>
                    <a:pt x="1530" y="603"/>
                  </a:lnTo>
                  <a:lnTo>
                    <a:pt x="1530" y="603"/>
                  </a:lnTo>
                  <a:lnTo>
                    <a:pt x="1530" y="603"/>
                  </a:lnTo>
                  <a:lnTo>
                    <a:pt x="1532" y="600"/>
                  </a:lnTo>
                  <a:lnTo>
                    <a:pt x="1532" y="600"/>
                  </a:lnTo>
                  <a:lnTo>
                    <a:pt x="1532" y="603"/>
                  </a:lnTo>
                  <a:lnTo>
                    <a:pt x="1532" y="603"/>
                  </a:lnTo>
                  <a:lnTo>
                    <a:pt x="1532" y="603"/>
                  </a:lnTo>
                  <a:lnTo>
                    <a:pt x="1532" y="603"/>
                  </a:lnTo>
                  <a:lnTo>
                    <a:pt x="1532" y="603"/>
                  </a:lnTo>
                  <a:lnTo>
                    <a:pt x="1532" y="603"/>
                  </a:lnTo>
                  <a:lnTo>
                    <a:pt x="1532" y="603"/>
                  </a:lnTo>
                  <a:lnTo>
                    <a:pt x="1534" y="603"/>
                  </a:lnTo>
                  <a:lnTo>
                    <a:pt x="1534" y="603"/>
                  </a:lnTo>
                  <a:lnTo>
                    <a:pt x="1534" y="603"/>
                  </a:lnTo>
                  <a:lnTo>
                    <a:pt x="1536" y="603"/>
                  </a:lnTo>
                  <a:lnTo>
                    <a:pt x="1536" y="603"/>
                  </a:lnTo>
                  <a:lnTo>
                    <a:pt x="1536" y="603"/>
                  </a:lnTo>
                  <a:lnTo>
                    <a:pt x="1538" y="603"/>
                  </a:lnTo>
                  <a:lnTo>
                    <a:pt x="1538" y="603"/>
                  </a:lnTo>
                  <a:lnTo>
                    <a:pt x="1544" y="607"/>
                  </a:lnTo>
                  <a:lnTo>
                    <a:pt x="1546" y="607"/>
                  </a:lnTo>
                  <a:lnTo>
                    <a:pt x="1546" y="607"/>
                  </a:lnTo>
                  <a:lnTo>
                    <a:pt x="1546" y="607"/>
                  </a:lnTo>
                  <a:lnTo>
                    <a:pt x="1548" y="607"/>
                  </a:lnTo>
                  <a:lnTo>
                    <a:pt x="1548" y="605"/>
                  </a:lnTo>
                  <a:lnTo>
                    <a:pt x="1548" y="605"/>
                  </a:lnTo>
                  <a:lnTo>
                    <a:pt x="1548" y="605"/>
                  </a:lnTo>
                  <a:lnTo>
                    <a:pt x="1548" y="603"/>
                  </a:lnTo>
                  <a:lnTo>
                    <a:pt x="1546" y="603"/>
                  </a:lnTo>
                  <a:lnTo>
                    <a:pt x="1546" y="603"/>
                  </a:lnTo>
                  <a:lnTo>
                    <a:pt x="1546" y="600"/>
                  </a:lnTo>
                  <a:lnTo>
                    <a:pt x="1546" y="600"/>
                  </a:lnTo>
                  <a:lnTo>
                    <a:pt x="1546" y="598"/>
                  </a:lnTo>
                  <a:lnTo>
                    <a:pt x="1548" y="598"/>
                  </a:lnTo>
                  <a:lnTo>
                    <a:pt x="1548" y="596"/>
                  </a:lnTo>
                  <a:lnTo>
                    <a:pt x="1546" y="596"/>
                  </a:lnTo>
                  <a:lnTo>
                    <a:pt x="1546" y="594"/>
                  </a:lnTo>
                  <a:lnTo>
                    <a:pt x="1546" y="594"/>
                  </a:lnTo>
                  <a:lnTo>
                    <a:pt x="1546" y="594"/>
                  </a:lnTo>
                  <a:lnTo>
                    <a:pt x="1546" y="594"/>
                  </a:lnTo>
                  <a:lnTo>
                    <a:pt x="1548" y="594"/>
                  </a:lnTo>
                  <a:lnTo>
                    <a:pt x="1548" y="592"/>
                  </a:lnTo>
                  <a:lnTo>
                    <a:pt x="1548" y="592"/>
                  </a:lnTo>
                  <a:lnTo>
                    <a:pt x="1548" y="590"/>
                  </a:lnTo>
                  <a:lnTo>
                    <a:pt x="1546" y="590"/>
                  </a:lnTo>
                  <a:lnTo>
                    <a:pt x="1548" y="590"/>
                  </a:lnTo>
                  <a:lnTo>
                    <a:pt x="1548" y="588"/>
                  </a:lnTo>
                  <a:lnTo>
                    <a:pt x="1548" y="588"/>
                  </a:lnTo>
                  <a:lnTo>
                    <a:pt x="1552" y="588"/>
                  </a:lnTo>
                  <a:lnTo>
                    <a:pt x="1552" y="588"/>
                  </a:lnTo>
                  <a:lnTo>
                    <a:pt x="1550" y="588"/>
                  </a:lnTo>
                  <a:lnTo>
                    <a:pt x="1548" y="590"/>
                  </a:lnTo>
                  <a:lnTo>
                    <a:pt x="1548" y="592"/>
                  </a:lnTo>
                  <a:lnTo>
                    <a:pt x="1548" y="592"/>
                  </a:lnTo>
                  <a:lnTo>
                    <a:pt x="1548" y="592"/>
                  </a:lnTo>
                  <a:lnTo>
                    <a:pt x="1548" y="592"/>
                  </a:lnTo>
                  <a:lnTo>
                    <a:pt x="1548" y="594"/>
                  </a:lnTo>
                  <a:lnTo>
                    <a:pt x="1548" y="594"/>
                  </a:lnTo>
                  <a:lnTo>
                    <a:pt x="1548" y="594"/>
                  </a:lnTo>
                  <a:lnTo>
                    <a:pt x="1548" y="594"/>
                  </a:lnTo>
                  <a:lnTo>
                    <a:pt x="1548" y="596"/>
                  </a:lnTo>
                  <a:lnTo>
                    <a:pt x="1548" y="596"/>
                  </a:lnTo>
                  <a:lnTo>
                    <a:pt x="1550" y="598"/>
                  </a:lnTo>
                  <a:lnTo>
                    <a:pt x="1550" y="598"/>
                  </a:lnTo>
                  <a:lnTo>
                    <a:pt x="1550" y="598"/>
                  </a:lnTo>
                  <a:lnTo>
                    <a:pt x="1550" y="598"/>
                  </a:lnTo>
                  <a:lnTo>
                    <a:pt x="1550" y="600"/>
                  </a:lnTo>
                  <a:lnTo>
                    <a:pt x="1550" y="600"/>
                  </a:lnTo>
                  <a:lnTo>
                    <a:pt x="1548" y="600"/>
                  </a:lnTo>
                  <a:lnTo>
                    <a:pt x="1548" y="600"/>
                  </a:lnTo>
                  <a:lnTo>
                    <a:pt x="1548" y="603"/>
                  </a:lnTo>
                  <a:lnTo>
                    <a:pt x="1548" y="603"/>
                  </a:lnTo>
                  <a:lnTo>
                    <a:pt x="1548" y="603"/>
                  </a:lnTo>
                  <a:lnTo>
                    <a:pt x="1548" y="603"/>
                  </a:lnTo>
                  <a:lnTo>
                    <a:pt x="1548" y="603"/>
                  </a:lnTo>
                  <a:lnTo>
                    <a:pt x="1548" y="603"/>
                  </a:lnTo>
                  <a:lnTo>
                    <a:pt x="1548" y="603"/>
                  </a:lnTo>
                  <a:lnTo>
                    <a:pt x="1548" y="605"/>
                  </a:lnTo>
                  <a:lnTo>
                    <a:pt x="1548" y="605"/>
                  </a:lnTo>
                  <a:lnTo>
                    <a:pt x="1548" y="605"/>
                  </a:lnTo>
                  <a:lnTo>
                    <a:pt x="1548" y="605"/>
                  </a:lnTo>
                  <a:lnTo>
                    <a:pt x="1548" y="605"/>
                  </a:lnTo>
                  <a:lnTo>
                    <a:pt x="1548" y="607"/>
                  </a:lnTo>
                  <a:lnTo>
                    <a:pt x="1548" y="607"/>
                  </a:lnTo>
                  <a:lnTo>
                    <a:pt x="1550" y="607"/>
                  </a:lnTo>
                  <a:lnTo>
                    <a:pt x="1550" y="609"/>
                  </a:lnTo>
                  <a:lnTo>
                    <a:pt x="1550" y="609"/>
                  </a:lnTo>
                  <a:lnTo>
                    <a:pt x="1550" y="609"/>
                  </a:lnTo>
                  <a:lnTo>
                    <a:pt x="1550" y="609"/>
                  </a:lnTo>
                  <a:lnTo>
                    <a:pt x="1550" y="609"/>
                  </a:lnTo>
                  <a:lnTo>
                    <a:pt x="1552" y="609"/>
                  </a:lnTo>
                  <a:lnTo>
                    <a:pt x="1550" y="611"/>
                  </a:lnTo>
                  <a:lnTo>
                    <a:pt x="1550" y="611"/>
                  </a:lnTo>
                  <a:lnTo>
                    <a:pt x="1550" y="611"/>
                  </a:lnTo>
                  <a:lnTo>
                    <a:pt x="1552" y="611"/>
                  </a:lnTo>
                  <a:lnTo>
                    <a:pt x="1552" y="613"/>
                  </a:lnTo>
                  <a:lnTo>
                    <a:pt x="1552" y="613"/>
                  </a:lnTo>
                  <a:lnTo>
                    <a:pt x="1552" y="613"/>
                  </a:lnTo>
                  <a:lnTo>
                    <a:pt x="1552" y="613"/>
                  </a:lnTo>
                  <a:lnTo>
                    <a:pt x="1552" y="613"/>
                  </a:lnTo>
                  <a:lnTo>
                    <a:pt x="1552" y="613"/>
                  </a:lnTo>
                  <a:lnTo>
                    <a:pt x="1555" y="613"/>
                  </a:lnTo>
                  <a:lnTo>
                    <a:pt x="1555" y="613"/>
                  </a:lnTo>
                  <a:lnTo>
                    <a:pt x="1555" y="613"/>
                  </a:lnTo>
                  <a:lnTo>
                    <a:pt x="1555" y="613"/>
                  </a:lnTo>
                  <a:lnTo>
                    <a:pt x="1555" y="613"/>
                  </a:lnTo>
                  <a:lnTo>
                    <a:pt x="1555" y="615"/>
                  </a:lnTo>
                  <a:lnTo>
                    <a:pt x="1555" y="615"/>
                  </a:lnTo>
                  <a:lnTo>
                    <a:pt x="1555" y="615"/>
                  </a:lnTo>
                  <a:lnTo>
                    <a:pt x="1557" y="615"/>
                  </a:lnTo>
                  <a:lnTo>
                    <a:pt x="1557" y="615"/>
                  </a:lnTo>
                  <a:lnTo>
                    <a:pt x="1557" y="615"/>
                  </a:lnTo>
                  <a:lnTo>
                    <a:pt x="1557" y="615"/>
                  </a:lnTo>
                  <a:lnTo>
                    <a:pt x="1557" y="615"/>
                  </a:lnTo>
                  <a:lnTo>
                    <a:pt x="1557" y="615"/>
                  </a:lnTo>
                  <a:lnTo>
                    <a:pt x="1557" y="615"/>
                  </a:lnTo>
                  <a:lnTo>
                    <a:pt x="1559" y="615"/>
                  </a:lnTo>
                  <a:lnTo>
                    <a:pt x="1559" y="615"/>
                  </a:lnTo>
                  <a:lnTo>
                    <a:pt x="1559" y="613"/>
                  </a:lnTo>
                  <a:lnTo>
                    <a:pt x="1559" y="613"/>
                  </a:lnTo>
                  <a:lnTo>
                    <a:pt x="1559" y="611"/>
                  </a:lnTo>
                  <a:lnTo>
                    <a:pt x="1559" y="609"/>
                  </a:lnTo>
                  <a:lnTo>
                    <a:pt x="1559" y="607"/>
                  </a:lnTo>
                  <a:lnTo>
                    <a:pt x="1559" y="607"/>
                  </a:lnTo>
                  <a:lnTo>
                    <a:pt x="1559" y="607"/>
                  </a:lnTo>
                  <a:lnTo>
                    <a:pt x="1561" y="605"/>
                  </a:lnTo>
                  <a:lnTo>
                    <a:pt x="1561" y="605"/>
                  </a:lnTo>
                  <a:lnTo>
                    <a:pt x="1561" y="605"/>
                  </a:lnTo>
                  <a:lnTo>
                    <a:pt x="1561" y="605"/>
                  </a:lnTo>
                  <a:lnTo>
                    <a:pt x="1561" y="607"/>
                  </a:lnTo>
                  <a:lnTo>
                    <a:pt x="1561" y="607"/>
                  </a:lnTo>
                  <a:lnTo>
                    <a:pt x="1561" y="607"/>
                  </a:lnTo>
                  <a:lnTo>
                    <a:pt x="1561" y="607"/>
                  </a:lnTo>
                  <a:lnTo>
                    <a:pt x="1561" y="609"/>
                  </a:lnTo>
                  <a:lnTo>
                    <a:pt x="1561" y="609"/>
                  </a:lnTo>
                  <a:lnTo>
                    <a:pt x="1561" y="611"/>
                  </a:lnTo>
                  <a:lnTo>
                    <a:pt x="1561" y="611"/>
                  </a:lnTo>
                  <a:lnTo>
                    <a:pt x="1561" y="613"/>
                  </a:lnTo>
                  <a:lnTo>
                    <a:pt x="1563" y="611"/>
                  </a:lnTo>
                  <a:lnTo>
                    <a:pt x="1563" y="613"/>
                  </a:lnTo>
                  <a:lnTo>
                    <a:pt x="1563" y="613"/>
                  </a:lnTo>
                  <a:lnTo>
                    <a:pt x="1563" y="613"/>
                  </a:lnTo>
                  <a:lnTo>
                    <a:pt x="1563" y="615"/>
                  </a:lnTo>
                  <a:lnTo>
                    <a:pt x="1563" y="615"/>
                  </a:lnTo>
                  <a:lnTo>
                    <a:pt x="1563" y="615"/>
                  </a:lnTo>
                  <a:lnTo>
                    <a:pt x="1563" y="615"/>
                  </a:lnTo>
                  <a:lnTo>
                    <a:pt x="1563" y="615"/>
                  </a:lnTo>
                  <a:lnTo>
                    <a:pt x="1561" y="615"/>
                  </a:lnTo>
                  <a:lnTo>
                    <a:pt x="1561" y="615"/>
                  </a:lnTo>
                  <a:lnTo>
                    <a:pt x="1561" y="615"/>
                  </a:lnTo>
                  <a:lnTo>
                    <a:pt x="1561" y="615"/>
                  </a:lnTo>
                  <a:lnTo>
                    <a:pt x="1561" y="615"/>
                  </a:lnTo>
                  <a:lnTo>
                    <a:pt x="1559" y="617"/>
                  </a:lnTo>
                  <a:lnTo>
                    <a:pt x="1561" y="617"/>
                  </a:lnTo>
                  <a:lnTo>
                    <a:pt x="1561" y="617"/>
                  </a:lnTo>
                  <a:lnTo>
                    <a:pt x="1561" y="619"/>
                  </a:lnTo>
                  <a:lnTo>
                    <a:pt x="1561" y="619"/>
                  </a:lnTo>
                  <a:lnTo>
                    <a:pt x="1561" y="619"/>
                  </a:lnTo>
                  <a:lnTo>
                    <a:pt x="1563" y="621"/>
                  </a:lnTo>
                  <a:lnTo>
                    <a:pt x="1565" y="623"/>
                  </a:lnTo>
                  <a:lnTo>
                    <a:pt x="1567" y="623"/>
                  </a:lnTo>
                  <a:lnTo>
                    <a:pt x="1567" y="623"/>
                  </a:lnTo>
                  <a:lnTo>
                    <a:pt x="1567" y="621"/>
                  </a:lnTo>
                  <a:lnTo>
                    <a:pt x="1567" y="621"/>
                  </a:lnTo>
                  <a:lnTo>
                    <a:pt x="1567" y="619"/>
                  </a:lnTo>
                  <a:lnTo>
                    <a:pt x="1567" y="617"/>
                  </a:lnTo>
                  <a:lnTo>
                    <a:pt x="1567" y="619"/>
                  </a:lnTo>
                  <a:lnTo>
                    <a:pt x="1567" y="619"/>
                  </a:lnTo>
                  <a:lnTo>
                    <a:pt x="1567" y="619"/>
                  </a:lnTo>
                  <a:lnTo>
                    <a:pt x="1567" y="619"/>
                  </a:lnTo>
                  <a:lnTo>
                    <a:pt x="1567" y="619"/>
                  </a:lnTo>
                  <a:lnTo>
                    <a:pt x="1567" y="617"/>
                  </a:lnTo>
                  <a:lnTo>
                    <a:pt x="1567" y="617"/>
                  </a:lnTo>
                  <a:lnTo>
                    <a:pt x="1567" y="617"/>
                  </a:lnTo>
                  <a:lnTo>
                    <a:pt x="1567" y="615"/>
                  </a:lnTo>
                  <a:lnTo>
                    <a:pt x="1567" y="615"/>
                  </a:lnTo>
                  <a:lnTo>
                    <a:pt x="1577" y="613"/>
                  </a:lnTo>
                  <a:lnTo>
                    <a:pt x="1577" y="615"/>
                  </a:lnTo>
                  <a:lnTo>
                    <a:pt x="1579" y="615"/>
                  </a:lnTo>
                  <a:lnTo>
                    <a:pt x="1579" y="615"/>
                  </a:lnTo>
                  <a:lnTo>
                    <a:pt x="1579" y="615"/>
                  </a:lnTo>
                  <a:lnTo>
                    <a:pt x="1577" y="615"/>
                  </a:lnTo>
                  <a:lnTo>
                    <a:pt x="1575" y="615"/>
                  </a:lnTo>
                  <a:lnTo>
                    <a:pt x="1575" y="615"/>
                  </a:lnTo>
                  <a:lnTo>
                    <a:pt x="1575" y="615"/>
                  </a:lnTo>
                  <a:lnTo>
                    <a:pt x="1575" y="615"/>
                  </a:lnTo>
                  <a:lnTo>
                    <a:pt x="1575" y="615"/>
                  </a:lnTo>
                  <a:lnTo>
                    <a:pt x="1573" y="615"/>
                  </a:lnTo>
                  <a:lnTo>
                    <a:pt x="1571" y="615"/>
                  </a:lnTo>
                  <a:lnTo>
                    <a:pt x="1571" y="615"/>
                  </a:lnTo>
                  <a:lnTo>
                    <a:pt x="1569" y="615"/>
                  </a:lnTo>
                  <a:lnTo>
                    <a:pt x="1569" y="615"/>
                  </a:lnTo>
                  <a:lnTo>
                    <a:pt x="1567" y="615"/>
                  </a:lnTo>
                  <a:lnTo>
                    <a:pt x="1567" y="617"/>
                  </a:lnTo>
                  <a:lnTo>
                    <a:pt x="1569" y="621"/>
                  </a:lnTo>
                  <a:lnTo>
                    <a:pt x="1571" y="623"/>
                  </a:lnTo>
                  <a:lnTo>
                    <a:pt x="1571" y="623"/>
                  </a:lnTo>
                  <a:lnTo>
                    <a:pt x="1571" y="625"/>
                  </a:lnTo>
                  <a:lnTo>
                    <a:pt x="1573" y="625"/>
                  </a:lnTo>
                  <a:lnTo>
                    <a:pt x="1575" y="625"/>
                  </a:lnTo>
                  <a:lnTo>
                    <a:pt x="1575" y="625"/>
                  </a:lnTo>
                  <a:lnTo>
                    <a:pt x="1577" y="625"/>
                  </a:lnTo>
                  <a:lnTo>
                    <a:pt x="1579" y="627"/>
                  </a:lnTo>
                  <a:lnTo>
                    <a:pt x="1581" y="627"/>
                  </a:lnTo>
                  <a:lnTo>
                    <a:pt x="1581" y="627"/>
                  </a:lnTo>
                  <a:lnTo>
                    <a:pt x="1581" y="627"/>
                  </a:lnTo>
                  <a:lnTo>
                    <a:pt x="1583" y="627"/>
                  </a:lnTo>
                  <a:lnTo>
                    <a:pt x="1583" y="627"/>
                  </a:lnTo>
                  <a:lnTo>
                    <a:pt x="1583" y="627"/>
                  </a:lnTo>
                  <a:lnTo>
                    <a:pt x="1583" y="629"/>
                  </a:lnTo>
                  <a:lnTo>
                    <a:pt x="1585" y="629"/>
                  </a:lnTo>
                  <a:lnTo>
                    <a:pt x="1585" y="631"/>
                  </a:lnTo>
                  <a:lnTo>
                    <a:pt x="1587" y="631"/>
                  </a:lnTo>
                  <a:lnTo>
                    <a:pt x="1589" y="631"/>
                  </a:lnTo>
                  <a:lnTo>
                    <a:pt x="1589" y="631"/>
                  </a:lnTo>
                  <a:lnTo>
                    <a:pt x="1587" y="631"/>
                  </a:lnTo>
                  <a:lnTo>
                    <a:pt x="1587" y="631"/>
                  </a:lnTo>
                  <a:lnTo>
                    <a:pt x="1587" y="631"/>
                  </a:lnTo>
                  <a:lnTo>
                    <a:pt x="1587" y="631"/>
                  </a:lnTo>
                  <a:lnTo>
                    <a:pt x="1585" y="631"/>
                  </a:lnTo>
                  <a:lnTo>
                    <a:pt x="1585" y="629"/>
                  </a:lnTo>
                  <a:lnTo>
                    <a:pt x="1585" y="629"/>
                  </a:lnTo>
                  <a:lnTo>
                    <a:pt x="1583" y="629"/>
                  </a:lnTo>
                  <a:lnTo>
                    <a:pt x="1583" y="629"/>
                  </a:lnTo>
                  <a:lnTo>
                    <a:pt x="1581" y="629"/>
                  </a:lnTo>
                  <a:lnTo>
                    <a:pt x="1575" y="627"/>
                  </a:lnTo>
                  <a:lnTo>
                    <a:pt x="1573" y="627"/>
                  </a:lnTo>
                  <a:lnTo>
                    <a:pt x="1573" y="627"/>
                  </a:lnTo>
                  <a:lnTo>
                    <a:pt x="1571" y="627"/>
                  </a:lnTo>
                  <a:lnTo>
                    <a:pt x="1571" y="627"/>
                  </a:lnTo>
                  <a:lnTo>
                    <a:pt x="1571" y="627"/>
                  </a:lnTo>
                  <a:lnTo>
                    <a:pt x="1571" y="625"/>
                  </a:lnTo>
                  <a:lnTo>
                    <a:pt x="1571" y="625"/>
                  </a:lnTo>
                  <a:lnTo>
                    <a:pt x="1571" y="625"/>
                  </a:lnTo>
                  <a:lnTo>
                    <a:pt x="1571" y="627"/>
                  </a:lnTo>
                  <a:lnTo>
                    <a:pt x="1569" y="627"/>
                  </a:lnTo>
                  <a:lnTo>
                    <a:pt x="1569" y="627"/>
                  </a:lnTo>
                  <a:lnTo>
                    <a:pt x="1569" y="627"/>
                  </a:lnTo>
                  <a:lnTo>
                    <a:pt x="1569" y="627"/>
                  </a:lnTo>
                  <a:lnTo>
                    <a:pt x="1569" y="627"/>
                  </a:lnTo>
                  <a:lnTo>
                    <a:pt x="1569" y="631"/>
                  </a:lnTo>
                  <a:lnTo>
                    <a:pt x="1569" y="631"/>
                  </a:lnTo>
                  <a:lnTo>
                    <a:pt x="1569" y="631"/>
                  </a:lnTo>
                  <a:lnTo>
                    <a:pt x="1571" y="633"/>
                  </a:lnTo>
                  <a:lnTo>
                    <a:pt x="1571" y="633"/>
                  </a:lnTo>
                  <a:lnTo>
                    <a:pt x="1573" y="633"/>
                  </a:lnTo>
                  <a:lnTo>
                    <a:pt x="1575" y="631"/>
                  </a:lnTo>
                  <a:lnTo>
                    <a:pt x="1575" y="631"/>
                  </a:lnTo>
                  <a:lnTo>
                    <a:pt x="1577" y="631"/>
                  </a:lnTo>
                  <a:lnTo>
                    <a:pt x="1579" y="629"/>
                  </a:lnTo>
                  <a:lnTo>
                    <a:pt x="1579" y="629"/>
                  </a:lnTo>
                  <a:lnTo>
                    <a:pt x="1579" y="631"/>
                  </a:lnTo>
                  <a:lnTo>
                    <a:pt x="1577" y="631"/>
                  </a:lnTo>
                  <a:lnTo>
                    <a:pt x="1575" y="633"/>
                  </a:lnTo>
                  <a:lnTo>
                    <a:pt x="1575" y="633"/>
                  </a:lnTo>
                  <a:lnTo>
                    <a:pt x="1575" y="635"/>
                  </a:lnTo>
                  <a:lnTo>
                    <a:pt x="1575" y="635"/>
                  </a:lnTo>
                  <a:lnTo>
                    <a:pt x="1575" y="637"/>
                  </a:lnTo>
                  <a:lnTo>
                    <a:pt x="1575" y="637"/>
                  </a:lnTo>
                  <a:lnTo>
                    <a:pt x="1577" y="639"/>
                  </a:lnTo>
                  <a:lnTo>
                    <a:pt x="1577" y="639"/>
                  </a:lnTo>
                  <a:lnTo>
                    <a:pt x="1579" y="639"/>
                  </a:lnTo>
                  <a:lnTo>
                    <a:pt x="1579" y="639"/>
                  </a:lnTo>
                  <a:lnTo>
                    <a:pt x="1579" y="639"/>
                  </a:lnTo>
                  <a:lnTo>
                    <a:pt x="1579" y="639"/>
                  </a:lnTo>
                  <a:lnTo>
                    <a:pt x="1579" y="639"/>
                  </a:lnTo>
                  <a:lnTo>
                    <a:pt x="1581" y="637"/>
                  </a:lnTo>
                  <a:lnTo>
                    <a:pt x="1581" y="637"/>
                  </a:lnTo>
                  <a:lnTo>
                    <a:pt x="1581" y="637"/>
                  </a:lnTo>
                  <a:lnTo>
                    <a:pt x="1581" y="637"/>
                  </a:lnTo>
                  <a:lnTo>
                    <a:pt x="1581" y="637"/>
                  </a:lnTo>
                  <a:lnTo>
                    <a:pt x="1581" y="639"/>
                  </a:lnTo>
                  <a:lnTo>
                    <a:pt x="1581" y="639"/>
                  </a:lnTo>
                  <a:lnTo>
                    <a:pt x="1581" y="639"/>
                  </a:lnTo>
                  <a:lnTo>
                    <a:pt x="1579" y="639"/>
                  </a:lnTo>
                  <a:lnTo>
                    <a:pt x="1579" y="641"/>
                  </a:lnTo>
                  <a:lnTo>
                    <a:pt x="1579" y="641"/>
                  </a:lnTo>
                  <a:lnTo>
                    <a:pt x="1579" y="641"/>
                  </a:lnTo>
                  <a:lnTo>
                    <a:pt x="1581" y="643"/>
                  </a:lnTo>
                  <a:lnTo>
                    <a:pt x="1581" y="643"/>
                  </a:lnTo>
                  <a:lnTo>
                    <a:pt x="1583" y="641"/>
                  </a:lnTo>
                  <a:lnTo>
                    <a:pt x="1585" y="641"/>
                  </a:lnTo>
                  <a:lnTo>
                    <a:pt x="1585" y="643"/>
                  </a:lnTo>
                  <a:lnTo>
                    <a:pt x="1585" y="643"/>
                  </a:lnTo>
                  <a:lnTo>
                    <a:pt x="1585" y="641"/>
                  </a:lnTo>
                  <a:lnTo>
                    <a:pt x="1587" y="641"/>
                  </a:lnTo>
                  <a:lnTo>
                    <a:pt x="1587" y="641"/>
                  </a:lnTo>
                  <a:lnTo>
                    <a:pt x="1587" y="641"/>
                  </a:lnTo>
                  <a:lnTo>
                    <a:pt x="1589" y="639"/>
                  </a:lnTo>
                  <a:lnTo>
                    <a:pt x="1589" y="639"/>
                  </a:lnTo>
                  <a:lnTo>
                    <a:pt x="1589" y="639"/>
                  </a:lnTo>
                  <a:lnTo>
                    <a:pt x="1589" y="639"/>
                  </a:lnTo>
                  <a:lnTo>
                    <a:pt x="1589" y="641"/>
                  </a:lnTo>
                  <a:lnTo>
                    <a:pt x="1589" y="641"/>
                  </a:lnTo>
                  <a:lnTo>
                    <a:pt x="1589" y="641"/>
                  </a:lnTo>
                  <a:lnTo>
                    <a:pt x="1587" y="641"/>
                  </a:lnTo>
                  <a:lnTo>
                    <a:pt x="1587" y="641"/>
                  </a:lnTo>
                  <a:lnTo>
                    <a:pt x="1587" y="643"/>
                  </a:lnTo>
                  <a:lnTo>
                    <a:pt x="1587" y="643"/>
                  </a:lnTo>
                  <a:lnTo>
                    <a:pt x="1585" y="646"/>
                  </a:lnTo>
                  <a:lnTo>
                    <a:pt x="1581" y="646"/>
                  </a:lnTo>
                  <a:lnTo>
                    <a:pt x="1579" y="646"/>
                  </a:lnTo>
                  <a:lnTo>
                    <a:pt x="1579" y="648"/>
                  </a:lnTo>
                  <a:lnTo>
                    <a:pt x="1579" y="648"/>
                  </a:lnTo>
                  <a:lnTo>
                    <a:pt x="1579" y="648"/>
                  </a:lnTo>
                  <a:lnTo>
                    <a:pt x="1579" y="648"/>
                  </a:lnTo>
                  <a:lnTo>
                    <a:pt x="1579" y="648"/>
                  </a:lnTo>
                  <a:lnTo>
                    <a:pt x="1579" y="650"/>
                  </a:lnTo>
                  <a:lnTo>
                    <a:pt x="1581" y="650"/>
                  </a:lnTo>
                  <a:lnTo>
                    <a:pt x="1579" y="650"/>
                  </a:lnTo>
                  <a:lnTo>
                    <a:pt x="1579" y="652"/>
                  </a:lnTo>
                  <a:lnTo>
                    <a:pt x="1579" y="652"/>
                  </a:lnTo>
                  <a:lnTo>
                    <a:pt x="1579" y="652"/>
                  </a:lnTo>
                  <a:lnTo>
                    <a:pt x="1579" y="652"/>
                  </a:lnTo>
                  <a:lnTo>
                    <a:pt x="1581" y="652"/>
                  </a:lnTo>
                  <a:lnTo>
                    <a:pt x="1581" y="652"/>
                  </a:lnTo>
                  <a:lnTo>
                    <a:pt x="1581" y="652"/>
                  </a:lnTo>
                  <a:lnTo>
                    <a:pt x="1583" y="654"/>
                  </a:lnTo>
                  <a:lnTo>
                    <a:pt x="1583" y="654"/>
                  </a:lnTo>
                  <a:lnTo>
                    <a:pt x="1583" y="654"/>
                  </a:lnTo>
                  <a:lnTo>
                    <a:pt x="1585" y="654"/>
                  </a:lnTo>
                  <a:lnTo>
                    <a:pt x="1587" y="654"/>
                  </a:lnTo>
                  <a:lnTo>
                    <a:pt x="1587" y="654"/>
                  </a:lnTo>
                  <a:lnTo>
                    <a:pt x="1587" y="654"/>
                  </a:lnTo>
                  <a:lnTo>
                    <a:pt x="1587" y="652"/>
                  </a:lnTo>
                  <a:lnTo>
                    <a:pt x="1587" y="650"/>
                  </a:lnTo>
                  <a:lnTo>
                    <a:pt x="1587" y="650"/>
                  </a:lnTo>
                  <a:lnTo>
                    <a:pt x="1587" y="650"/>
                  </a:lnTo>
                  <a:lnTo>
                    <a:pt x="1589" y="650"/>
                  </a:lnTo>
                  <a:lnTo>
                    <a:pt x="1589" y="650"/>
                  </a:lnTo>
                  <a:lnTo>
                    <a:pt x="1589" y="652"/>
                  </a:lnTo>
                  <a:lnTo>
                    <a:pt x="1589" y="652"/>
                  </a:lnTo>
                  <a:lnTo>
                    <a:pt x="1589" y="652"/>
                  </a:lnTo>
                  <a:lnTo>
                    <a:pt x="1589" y="650"/>
                  </a:lnTo>
                  <a:lnTo>
                    <a:pt x="1589" y="652"/>
                  </a:lnTo>
                  <a:lnTo>
                    <a:pt x="1589" y="650"/>
                  </a:lnTo>
                  <a:lnTo>
                    <a:pt x="1591" y="650"/>
                  </a:lnTo>
                  <a:lnTo>
                    <a:pt x="1591" y="650"/>
                  </a:lnTo>
                  <a:lnTo>
                    <a:pt x="1591" y="650"/>
                  </a:lnTo>
                  <a:lnTo>
                    <a:pt x="1591" y="652"/>
                  </a:lnTo>
                  <a:lnTo>
                    <a:pt x="1591" y="652"/>
                  </a:lnTo>
                  <a:lnTo>
                    <a:pt x="1591" y="652"/>
                  </a:lnTo>
                  <a:lnTo>
                    <a:pt x="1591" y="652"/>
                  </a:lnTo>
                  <a:lnTo>
                    <a:pt x="1591" y="654"/>
                  </a:lnTo>
                  <a:lnTo>
                    <a:pt x="1591" y="654"/>
                  </a:lnTo>
                  <a:lnTo>
                    <a:pt x="1591" y="654"/>
                  </a:lnTo>
                  <a:lnTo>
                    <a:pt x="1591" y="654"/>
                  </a:lnTo>
                  <a:lnTo>
                    <a:pt x="1591" y="654"/>
                  </a:lnTo>
                  <a:lnTo>
                    <a:pt x="1591" y="654"/>
                  </a:lnTo>
                  <a:lnTo>
                    <a:pt x="1591" y="654"/>
                  </a:lnTo>
                  <a:lnTo>
                    <a:pt x="1591" y="654"/>
                  </a:lnTo>
                  <a:lnTo>
                    <a:pt x="1593" y="654"/>
                  </a:lnTo>
                  <a:lnTo>
                    <a:pt x="1593" y="654"/>
                  </a:lnTo>
                  <a:lnTo>
                    <a:pt x="1593" y="654"/>
                  </a:lnTo>
                  <a:lnTo>
                    <a:pt x="1593" y="654"/>
                  </a:lnTo>
                  <a:lnTo>
                    <a:pt x="1595" y="654"/>
                  </a:lnTo>
                  <a:lnTo>
                    <a:pt x="1595" y="654"/>
                  </a:lnTo>
                  <a:lnTo>
                    <a:pt x="1598" y="654"/>
                  </a:lnTo>
                  <a:lnTo>
                    <a:pt x="1598" y="654"/>
                  </a:lnTo>
                  <a:lnTo>
                    <a:pt x="1598" y="654"/>
                  </a:lnTo>
                  <a:lnTo>
                    <a:pt x="1600" y="654"/>
                  </a:lnTo>
                  <a:lnTo>
                    <a:pt x="1600" y="654"/>
                  </a:lnTo>
                  <a:lnTo>
                    <a:pt x="1600" y="654"/>
                  </a:lnTo>
                  <a:lnTo>
                    <a:pt x="1600" y="652"/>
                  </a:lnTo>
                  <a:lnTo>
                    <a:pt x="1600" y="652"/>
                  </a:lnTo>
                  <a:lnTo>
                    <a:pt x="1602" y="650"/>
                  </a:lnTo>
                  <a:lnTo>
                    <a:pt x="1602" y="650"/>
                  </a:lnTo>
                  <a:lnTo>
                    <a:pt x="1602" y="650"/>
                  </a:lnTo>
                  <a:lnTo>
                    <a:pt x="1602" y="650"/>
                  </a:lnTo>
                  <a:lnTo>
                    <a:pt x="1602" y="652"/>
                  </a:lnTo>
                  <a:lnTo>
                    <a:pt x="1602" y="652"/>
                  </a:lnTo>
                  <a:lnTo>
                    <a:pt x="1602" y="652"/>
                  </a:lnTo>
                  <a:lnTo>
                    <a:pt x="1604" y="654"/>
                  </a:lnTo>
                  <a:lnTo>
                    <a:pt x="1604" y="656"/>
                  </a:lnTo>
                  <a:lnTo>
                    <a:pt x="1604" y="656"/>
                  </a:lnTo>
                  <a:lnTo>
                    <a:pt x="1602" y="656"/>
                  </a:lnTo>
                  <a:lnTo>
                    <a:pt x="1602" y="656"/>
                  </a:lnTo>
                  <a:lnTo>
                    <a:pt x="1602" y="656"/>
                  </a:lnTo>
                  <a:lnTo>
                    <a:pt x="1602" y="656"/>
                  </a:lnTo>
                  <a:lnTo>
                    <a:pt x="1602" y="656"/>
                  </a:lnTo>
                  <a:lnTo>
                    <a:pt x="1600" y="656"/>
                  </a:lnTo>
                  <a:lnTo>
                    <a:pt x="1600" y="656"/>
                  </a:lnTo>
                  <a:lnTo>
                    <a:pt x="1600" y="656"/>
                  </a:lnTo>
                  <a:lnTo>
                    <a:pt x="1600" y="658"/>
                  </a:lnTo>
                  <a:lnTo>
                    <a:pt x="1600" y="658"/>
                  </a:lnTo>
                  <a:lnTo>
                    <a:pt x="1602" y="658"/>
                  </a:lnTo>
                  <a:lnTo>
                    <a:pt x="1602" y="658"/>
                  </a:lnTo>
                  <a:lnTo>
                    <a:pt x="1602" y="658"/>
                  </a:lnTo>
                  <a:lnTo>
                    <a:pt x="1602" y="660"/>
                  </a:lnTo>
                  <a:lnTo>
                    <a:pt x="1602" y="660"/>
                  </a:lnTo>
                  <a:lnTo>
                    <a:pt x="1602" y="660"/>
                  </a:lnTo>
                  <a:lnTo>
                    <a:pt x="1604" y="660"/>
                  </a:lnTo>
                  <a:lnTo>
                    <a:pt x="1604" y="660"/>
                  </a:lnTo>
                  <a:lnTo>
                    <a:pt x="1606" y="660"/>
                  </a:lnTo>
                  <a:lnTo>
                    <a:pt x="1606" y="662"/>
                  </a:lnTo>
                  <a:lnTo>
                    <a:pt x="1606" y="662"/>
                  </a:lnTo>
                  <a:lnTo>
                    <a:pt x="1606" y="662"/>
                  </a:lnTo>
                  <a:lnTo>
                    <a:pt x="1610" y="664"/>
                  </a:lnTo>
                  <a:lnTo>
                    <a:pt x="1614" y="664"/>
                  </a:lnTo>
                  <a:lnTo>
                    <a:pt x="1614" y="664"/>
                  </a:lnTo>
                  <a:lnTo>
                    <a:pt x="1614" y="664"/>
                  </a:lnTo>
                  <a:lnTo>
                    <a:pt x="1614" y="662"/>
                  </a:lnTo>
                  <a:lnTo>
                    <a:pt x="1614" y="662"/>
                  </a:lnTo>
                  <a:lnTo>
                    <a:pt x="1616" y="662"/>
                  </a:lnTo>
                  <a:lnTo>
                    <a:pt x="1616" y="662"/>
                  </a:lnTo>
                  <a:lnTo>
                    <a:pt x="1616" y="662"/>
                  </a:lnTo>
                  <a:lnTo>
                    <a:pt x="1616" y="660"/>
                  </a:lnTo>
                  <a:lnTo>
                    <a:pt x="1616" y="660"/>
                  </a:lnTo>
                  <a:lnTo>
                    <a:pt x="1616" y="660"/>
                  </a:lnTo>
                  <a:lnTo>
                    <a:pt x="1618" y="660"/>
                  </a:lnTo>
                  <a:lnTo>
                    <a:pt x="1616" y="660"/>
                  </a:lnTo>
                  <a:lnTo>
                    <a:pt x="1616" y="660"/>
                  </a:lnTo>
                  <a:lnTo>
                    <a:pt x="1616" y="660"/>
                  </a:lnTo>
                  <a:lnTo>
                    <a:pt x="1616" y="660"/>
                  </a:lnTo>
                  <a:lnTo>
                    <a:pt x="1616" y="662"/>
                  </a:lnTo>
                  <a:lnTo>
                    <a:pt x="1616" y="662"/>
                  </a:lnTo>
                  <a:lnTo>
                    <a:pt x="1616" y="662"/>
                  </a:lnTo>
                  <a:lnTo>
                    <a:pt x="1616" y="664"/>
                  </a:lnTo>
                  <a:lnTo>
                    <a:pt x="1616" y="664"/>
                  </a:lnTo>
                  <a:lnTo>
                    <a:pt x="1616" y="664"/>
                  </a:lnTo>
                  <a:lnTo>
                    <a:pt x="1614" y="666"/>
                  </a:lnTo>
                  <a:lnTo>
                    <a:pt x="1616" y="666"/>
                  </a:lnTo>
                  <a:lnTo>
                    <a:pt x="1616" y="666"/>
                  </a:lnTo>
                  <a:lnTo>
                    <a:pt x="1616" y="666"/>
                  </a:lnTo>
                  <a:lnTo>
                    <a:pt x="1616" y="668"/>
                  </a:lnTo>
                  <a:lnTo>
                    <a:pt x="1616" y="668"/>
                  </a:lnTo>
                  <a:lnTo>
                    <a:pt x="1616" y="668"/>
                  </a:lnTo>
                  <a:lnTo>
                    <a:pt x="1614" y="668"/>
                  </a:lnTo>
                  <a:lnTo>
                    <a:pt x="1616" y="670"/>
                  </a:lnTo>
                  <a:lnTo>
                    <a:pt x="1616" y="670"/>
                  </a:lnTo>
                  <a:lnTo>
                    <a:pt x="1616" y="670"/>
                  </a:lnTo>
                  <a:lnTo>
                    <a:pt x="1618" y="672"/>
                  </a:lnTo>
                  <a:lnTo>
                    <a:pt x="1618" y="670"/>
                  </a:lnTo>
                  <a:lnTo>
                    <a:pt x="1620" y="670"/>
                  </a:lnTo>
                  <a:lnTo>
                    <a:pt x="1620" y="668"/>
                  </a:lnTo>
                  <a:lnTo>
                    <a:pt x="1622" y="668"/>
                  </a:lnTo>
                  <a:lnTo>
                    <a:pt x="1622" y="670"/>
                  </a:lnTo>
                  <a:lnTo>
                    <a:pt x="1622" y="672"/>
                  </a:lnTo>
                  <a:lnTo>
                    <a:pt x="1622" y="672"/>
                  </a:lnTo>
                  <a:lnTo>
                    <a:pt x="1622" y="674"/>
                  </a:lnTo>
                  <a:lnTo>
                    <a:pt x="1622" y="674"/>
                  </a:lnTo>
                  <a:lnTo>
                    <a:pt x="1622" y="674"/>
                  </a:lnTo>
                  <a:lnTo>
                    <a:pt x="1624" y="674"/>
                  </a:lnTo>
                  <a:lnTo>
                    <a:pt x="1624" y="674"/>
                  </a:lnTo>
                  <a:lnTo>
                    <a:pt x="1626" y="674"/>
                  </a:lnTo>
                  <a:lnTo>
                    <a:pt x="1626" y="676"/>
                  </a:lnTo>
                  <a:lnTo>
                    <a:pt x="1628" y="676"/>
                  </a:lnTo>
                  <a:lnTo>
                    <a:pt x="1628" y="676"/>
                  </a:lnTo>
                  <a:lnTo>
                    <a:pt x="1630" y="680"/>
                  </a:lnTo>
                  <a:lnTo>
                    <a:pt x="1630" y="678"/>
                  </a:lnTo>
                  <a:lnTo>
                    <a:pt x="1630" y="678"/>
                  </a:lnTo>
                  <a:lnTo>
                    <a:pt x="1632" y="678"/>
                  </a:lnTo>
                  <a:lnTo>
                    <a:pt x="1632" y="678"/>
                  </a:lnTo>
                  <a:lnTo>
                    <a:pt x="1632" y="678"/>
                  </a:lnTo>
                  <a:lnTo>
                    <a:pt x="1632" y="678"/>
                  </a:lnTo>
                  <a:lnTo>
                    <a:pt x="1634" y="678"/>
                  </a:lnTo>
                  <a:lnTo>
                    <a:pt x="1634" y="678"/>
                  </a:lnTo>
                  <a:lnTo>
                    <a:pt x="1634" y="678"/>
                  </a:lnTo>
                  <a:lnTo>
                    <a:pt x="1636" y="680"/>
                  </a:lnTo>
                  <a:lnTo>
                    <a:pt x="1636" y="682"/>
                  </a:lnTo>
                  <a:lnTo>
                    <a:pt x="1638" y="684"/>
                  </a:lnTo>
                  <a:lnTo>
                    <a:pt x="1641" y="684"/>
                  </a:lnTo>
                  <a:lnTo>
                    <a:pt x="1645" y="682"/>
                  </a:lnTo>
                  <a:lnTo>
                    <a:pt x="1647" y="682"/>
                  </a:lnTo>
                  <a:lnTo>
                    <a:pt x="1649" y="682"/>
                  </a:lnTo>
                  <a:lnTo>
                    <a:pt x="1649" y="682"/>
                  </a:lnTo>
                  <a:lnTo>
                    <a:pt x="1649" y="680"/>
                  </a:lnTo>
                  <a:lnTo>
                    <a:pt x="1651" y="680"/>
                  </a:lnTo>
                  <a:lnTo>
                    <a:pt x="1651" y="680"/>
                  </a:lnTo>
                  <a:lnTo>
                    <a:pt x="1651" y="680"/>
                  </a:lnTo>
                  <a:lnTo>
                    <a:pt x="1651" y="682"/>
                  </a:lnTo>
                  <a:lnTo>
                    <a:pt x="1649" y="682"/>
                  </a:lnTo>
                  <a:lnTo>
                    <a:pt x="1649" y="684"/>
                  </a:lnTo>
                  <a:lnTo>
                    <a:pt x="1649" y="684"/>
                  </a:lnTo>
                  <a:lnTo>
                    <a:pt x="1645" y="684"/>
                  </a:lnTo>
                  <a:lnTo>
                    <a:pt x="1643" y="684"/>
                  </a:lnTo>
                  <a:lnTo>
                    <a:pt x="1641" y="687"/>
                  </a:lnTo>
                  <a:lnTo>
                    <a:pt x="1638" y="689"/>
                  </a:lnTo>
                  <a:lnTo>
                    <a:pt x="1638" y="689"/>
                  </a:lnTo>
                  <a:lnTo>
                    <a:pt x="1641" y="693"/>
                  </a:lnTo>
                  <a:lnTo>
                    <a:pt x="1643" y="695"/>
                  </a:lnTo>
                  <a:lnTo>
                    <a:pt x="1643" y="697"/>
                  </a:lnTo>
                  <a:lnTo>
                    <a:pt x="1643" y="697"/>
                  </a:lnTo>
                  <a:lnTo>
                    <a:pt x="1643" y="697"/>
                  </a:lnTo>
                  <a:lnTo>
                    <a:pt x="1643" y="699"/>
                  </a:lnTo>
                  <a:lnTo>
                    <a:pt x="1643" y="699"/>
                  </a:lnTo>
                  <a:lnTo>
                    <a:pt x="1641" y="699"/>
                  </a:lnTo>
                  <a:lnTo>
                    <a:pt x="1641" y="699"/>
                  </a:lnTo>
                  <a:lnTo>
                    <a:pt x="1641" y="701"/>
                  </a:lnTo>
                  <a:lnTo>
                    <a:pt x="1641" y="701"/>
                  </a:lnTo>
                  <a:lnTo>
                    <a:pt x="1641" y="701"/>
                  </a:lnTo>
                  <a:lnTo>
                    <a:pt x="1641" y="703"/>
                  </a:lnTo>
                  <a:lnTo>
                    <a:pt x="1641" y="703"/>
                  </a:lnTo>
                  <a:lnTo>
                    <a:pt x="1641" y="705"/>
                  </a:lnTo>
                  <a:lnTo>
                    <a:pt x="1641" y="705"/>
                  </a:lnTo>
                  <a:lnTo>
                    <a:pt x="1643" y="705"/>
                  </a:lnTo>
                  <a:lnTo>
                    <a:pt x="1643" y="707"/>
                  </a:lnTo>
                  <a:lnTo>
                    <a:pt x="1643" y="707"/>
                  </a:lnTo>
                  <a:lnTo>
                    <a:pt x="1643" y="707"/>
                  </a:lnTo>
                  <a:lnTo>
                    <a:pt x="1641" y="707"/>
                  </a:lnTo>
                  <a:lnTo>
                    <a:pt x="1638" y="707"/>
                  </a:lnTo>
                  <a:lnTo>
                    <a:pt x="1638" y="709"/>
                  </a:lnTo>
                  <a:lnTo>
                    <a:pt x="1638" y="709"/>
                  </a:lnTo>
                  <a:lnTo>
                    <a:pt x="1641" y="711"/>
                  </a:lnTo>
                  <a:lnTo>
                    <a:pt x="1641" y="711"/>
                  </a:lnTo>
                  <a:lnTo>
                    <a:pt x="1641" y="711"/>
                  </a:lnTo>
                  <a:lnTo>
                    <a:pt x="1638" y="711"/>
                  </a:lnTo>
                  <a:lnTo>
                    <a:pt x="1638" y="711"/>
                  </a:lnTo>
                  <a:lnTo>
                    <a:pt x="1636" y="711"/>
                  </a:lnTo>
                  <a:lnTo>
                    <a:pt x="1638" y="711"/>
                  </a:lnTo>
                  <a:lnTo>
                    <a:pt x="1638" y="713"/>
                  </a:lnTo>
                  <a:lnTo>
                    <a:pt x="1638" y="713"/>
                  </a:lnTo>
                  <a:lnTo>
                    <a:pt x="1641" y="713"/>
                  </a:lnTo>
                  <a:lnTo>
                    <a:pt x="1643" y="717"/>
                  </a:lnTo>
                  <a:lnTo>
                    <a:pt x="1643" y="719"/>
                  </a:lnTo>
                  <a:lnTo>
                    <a:pt x="1645" y="719"/>
                  </a:lnTo>
                  <a:lnTo>
                    <a:pt x="1649" y="721"/>
                  </a:lnTo>
                  <a:lnTo>
                    <a:pt x="1651" y="721"/>
                  </a:lnTo>
                  <a:lnTo>
                    <a:pt x="1651" y="721"/>
                  </a:lnTo>
                  <a:lnTo>
                    <a:pt x="1651" y="721"/>
                  </a:lnTo>
                  <a:lnTo>
                    <a:pt x="1651" y="719"/>
                  </a:lnTo>
                  <a:lnTo>
                    <a:pt x="1651" y="719"/>
                  </a:lnTo>
                  <a:lnTo>
                    <a:pt x="1651" y="719"/>
                  </a:lnTo>
                  <a:lnTo>
                    <a:pt x="1651" y="719"/>
                  </a:lnTo>
                  <a:lnTo>
                    <a:pt x="1651" y="717"/>
                  </a:lnTo>
                  <a:lnTo>
                    <a:pt x="1651" y="717"/>
                  </a:lnTo>
                  <a:lnTo>
                    <a:pt x="1649" y="717"/>
                  </a:lnTo>
                  <a:lnTo>
                    <a:pt x="1649" y="717"/>
                  </a:lnTo>
                  <a:lnTo>
                    <a:pt x="1649" y="715"/>
                  </a:lnTo>
                  <a:lnTo>
                    <a:pt x="1649" y="715"/>
                  </a:lnTo>
                  <a:lnTo>
                    <a:pt x="1649" y="715"/>
                  </a:lnTo>
                  <a:lnTo>
                    <a:pt x="1649" y="715"/>
                  </a:lnTo>
                  <a:lnTo>
                    <a:pt x="1649" y="715"/>
                  </a:lnTo>
                  <a:lnTo>
                    <a:pt x="1649" y="715"/>
                  </a:lnTo>
                  <a:lnTo>
                    <a:pt x="1647" y="713"/>
                  </a:lnTo>
                  <a:lnTo>
                    <a:pt x="1647" y="713"/>
                  </a:lnTo>
                  <a:lnTo>
                    <a:pt x="1651" y="715"/>
                  </a:lnTo>
                  <a:lnTo>
                    <a:pt x="1651" y="715"/>
                  </a:lnTo>
                  <a:lnTo>
                    <a:pt x="1651" y="715"/>
                  </a:lnTo>
                  <a:lnTo>
                    <a:pt x="1651" y="715"/>
                  </a:lnTo>
                  <a:lnTo>
                    <a:pt x="1651" y="713"/>
                  </a:lnTo>
                  <a:lnTo>
                    <a:pt x="1651" y="711"/>
                  </a:lnTo>
                  <a:lnTo>
                    <a:pt x="1651" y="709"/>
                  </a:lnTo>
                  <a:lnTo>
                    <a:pt x="1649" y="709"/>
                  </a:lnTo>
                  <a:lnTo>
                    <a:pt x="1651" y="709"/>
                  </a:lnTo>
                  <a:lnTo>
                    <a:pt x="1651" y="709"/>
                  </a:lnTo>
                  <a:lnTo>
                    <a:pt x="1651" y="707"/>
                  </a:lnTo>
                  <a:lnTo>
                    <a:pt x="1651" y="707"/>
                  </a:lnTo>
                  <a:lnTo>
                    <a:pt x="1651" y="705"/>
                  </a:lnTo>
                  <a:lnTo>
                    <a:pt x="1651" y="705"/>
                  </a:lnTo>
                  <a:lnTo>
                    <a:pt x="1651" y="703"/>
                  </a:lnTo>
                  <a:lnTo>
                    <a:pt x="1651" y="703"/>
                  </a:lnTo>
                  <a:lnTo>
                    <a:pt x="1649" y="703"/>
                  </a:lnTo>
                  <a:lnTo>
                    <a:pt x="1647" y="703"/>
                  </a:lnTo>
                  <a:lnTo>
                    <a:pt x="1645" y="703"/>
                  </a:lnTo>
                  <a:lnTo>
                    <a:pt x="1647" y="703"/>
                  </a:lnTo>
                  <a:lnTo>
                    <a:pt x="1647" y="703"/>
                  </a:lnTo>
                  <a:lnTo>
                    <a:pt x="1647" y="703"/>
                  </a:lnTo>
                  <a:lnTo>
                    <a:pt x="1647" y="701"/>
                  </a:lnTo>
                  <a:lnTo>
                    <a:pt x="1647" y="701"/>
                  </a:lnTo>
                  <a:lnTo>
                    <a:pt x="1647" y="701"/>
                  </a:lnTo>
                  <a:lnTo>
                    <a:pt x="1649" y="701"/>
                  </a:lnTo>
                  <a:lnTo>
                    <a:pt x="1649" y="701"/>
                  </a:lnTo>
                  <a:lnTo>
                    <a:pt x="1649" y="701"/>
                  </a:lnTo>
                  <a:lnTo>
                    <a:pt x="1651" y="699"/>
                  </a:lnTo>
                  <a:lnTo>
                    <a:pt x="1651" y="699"/>
                  </a:lnTo>
                  <a:lnTo>
                    <a:pt x="1651" y="699"/>
                  </a:lnTo>
                  <a:lnTo>
                    <a:pt x="1651" y="699"/>
                  </a:lnTo>
                  <a:lnTo>
                    <a:pt x="1651" y="697"/>
                  </a:lnTo>
                  <a:lnTo>
                    <a:pt x="1653" y="697"/>
                  </a:lnTo>
                  <a:lnTo>
                    <a:pt x="1653" y="697"/>
                  </a:lnTo>
                  <a:lnTo>
                    <a:pt x="1653" y="697"/>
                  </a:lnTo>
                  <a:lnTo>
                    <a:pt x="1653" y="697"/>
                  </a:lnTo>
                  <a:lnTo>
                    <a:pt x="1653" y="697"/>
                  </a:lnTo>
                  <a:lnTo>
                    <a:pt x="1653" y="695"/>
                  </a:lnTo>
                  <a:lnTo>
                    <a:pt x="1653" y="695"/>
                  </a:lnTo>
                  <a:lnTo>
                    <a:pt x="1655" y="693"/>
                  </a:lnTo>
                  <a:lnTo>
                    <a:pt x="1655" y="693"/>
                  </a:lnTo>
                  <a:lnTo>
                    <a:pt x="1655" y="693"/>
                  </a:lnTo>
                  <a:lnTo>
                    <a:pt x="1657" y="691"/>
                  </a:lnTo>
                  <a:lnTo>
                    <a:pt x="1657" y="691"/>
                  </a:lnTo>
                  <a:lnTo>
                    <a:pt x="1657" y="691"/>
                  </a:lnTo>
                  <a:lnTo>
                    <a:pt x="1659" y="693"/>
                  </a:lnTo>
                  <a:lnTo>
                    <a:pt x="1659" y="693"/>
                  </a:lnTo>
                  <a:lnTo>
                    <a:pt x="1659" y="691"/>
                  </a:lnTo>
                  <a:lnTo>
                    <a:pt x="1661" y="691"/>
                  </a:lnTo>
                  <a:lnTo>
                    <a:pt x="1661" y="691"/>
                  </a:lnTo>
                  <a:lnTo>
                    <a:pt x="1663" y="689"/>
                  </a:lnTo>
                  <a:lnTo>
                    <a:pt x="1663" y="687"/>
                  </a:lnTo>
                  <a:lnTo>
                    <a:pt x="1663" y="687"/>
                  </a:lnTo>
                  <a:lnTo>
                    <a:pt x="1663" y="687"/>
                  </a:lnTo>
                  <a:lnTo>
                    <a:pt x="1663" y="684"/>
                  </a:lnTo>
                  <a:lnTo>
                    <a:pt x="1665" y="684"/>
                  </a:lnTo>
                  <a:lnTo>
                    <a:pt x="1665" y="682"/>
                  </a:lnTo>
                  <a:lnTo>
                    <a:pt x="1665" y="682"/>
                  </a:lnTo>
                  <a:lnTo>
                    <a:pt x="1665" y="684"/>
                  </a:lnTo>
                  <a:lnTo>
                    <a:pt x="1665" y="684"/>
                  </a:lnTo>
                  <a:lnTo>
                    <a:pt x="1665" y="684"/>
                  </a:lnTo>
                  <a:lnTo>
                    <a:pt x="1665" y="684"/>
                  </a:lnTo>
                  <a:lnTo>
                    <a:pt x="1663" y="687"/>
                  </a:lnTo>
                  <a:lnTo>
                    <a:pt x="1663" y="689"/>
                  </a:lnTo>
                  <a:lnTo>
                    <a:pt x="1663" y="691"/>
                  </a:lnTo>
                  <a:lnTo>
                    <a:pt x="1663" y="691"/>
                  </a:lnTo>
                  <a:lnTo>
                    <a:pt x="1665" y="691"/>
                  </a:lnTo>
                  <a:lnTo>
                    <a:pt x="1665" y="691"/>
                  </a:lnTo>
                  <a:lnTo>
                    <a:pt x="1665" y="691"/>
                  </a:lnTo>
                  <a:lnTo>
                    <a:pt x="1665" y="691"/>
                  </a:lnTo>
                  <a:lnTo>
                    <a:pt x="1665" y="693"/>
                  </a:lnTo>
                  <a:lnTo>
                    <a:pt x="1665" y="693"/>
                  </a:lnTo>
                  <a:lnTo>
                    <a:pt x="1667" y="693"/>
                  </a:lnTo>
                  <a:lnTo>
                    <a:pt x="1669" y="693"/>
                  </a:lnTo>
                  <a:lnTo>
                    <a:pt x="1671" y="695"/>
                  </a:lnTo>
                  <a:lnTo>
                    <a:pt x="1671" y="697"/>
                  </a:lnTo>
                  <a:lnTo>
                    <a:pt x="1671" y="697"/>
                  </a:lnTo>
                  <a:lnTo>
                    <a:pt x="1671" y="697"/>
                  </a:lnTo>
                  <a:lnTo>
                    <a:pt x="1671" y="697"/>
                  </a:lnTo>
                  <a:lnTo>
                    <a:pt x="1673" y="697"/>
                  </a:lnTo>
                  <a:lnTo>
                    <a:pt x="1673" y="695"/>
                  </a:lnTo>
                  <a:lnTo>
                    <a:pt x="1673" y="695"/>
                  </a:lnTo>
                  <a:lnTo>
                    <a:pt x="1673" y="695"/>
                  </a:lnTo>
                  <a:lnTo>
                    <a:pt x="1673" y="697"/>
                  </a:lnTo>
                  <a:lnTo>
                    <a:pt x="1673" y="697"/>
                  </a:lnTo>
                  <a:lnTo>
                    <a:pt x="1673" y="697"/>
                  </a:lnTo>
                  <a:lnTo>
                    <a:pt x="1675" y="699"/>
                  </a:lnTo>
                  <a:lnTo>
                    <a:pt x="1675" y="699"/>
                  </a:lnTo>
                  <a:lnTo>
                    <a:pt x="1675" y="699"/>
                  </a:lnTo>
                  <a:lnTo>
                    <a:pt x="1675" y="701"/>
                  </a:lnTo>
                  <a:lnTo>
                    <a:pt x="1677" y="701"/>
                  </a:lnTo>
                  <a:lnTo>
                    <a:pt x="1675" y="701"/>
                  </a:lnTo>
                  <a:lnTo>
                    <a:pt x="1675" y="701"/>
                  </a:lnTo>
                  <a:lnTo>
                    <a:pt x="1677" y="703"/>
                  </a:lnTo>
                  <a:lnTo>
                    <a:pt x="1677" y="703"/>
                  </a:lnTo>
                  <a:lnTo>
                    <a:pt x="1677" y="705"/>
                  </a:lnTo>
                  <a:lnTo>
                    <a:pt x="1679" y="707"/>
                  </a:lnTo>
                  <a:lnTo>
                    <a:pt x="1679" y="709"/>
                  </a:lnTo>
                  <a:lnTo>
                    <a:pt x="1681" y="713"/>
                  </a:lnTo>
                  <a:lnTo>
                    <a:pt x="1684" y="717"/>
                  </a:lnTo>
                  <a:lnTo>
                    <a:pt x="1684" y="719"/>
                  </a:lnTo>
                  <a:lnTo>
                    <a:pt x="1686" y="719"/>
                  </a:lnTo>
                  <a:lnTo>
                    <a:pt x="1688" y="717"/>
                  </a:lnTo>
                  <a:lnTo>
                    <a:pt x="1688" y="717"/>
                  </a:lnTo>
                  <a:lnTo>
                    <a:pt x="1690" y="715"/>
                  </a:lnTo>
                  <a:lnTo>
                    <a:pt x="1690" y="715"/>
                  </a:lnTo>
                  <a:lnTo>
                    <a:pt x="1690" y="715"/>
                  </a:lnTo>
                  <a:lnTo>
                    <a:pt x="1690" y="717"/>
                  </a:lnTo>
                  <a:lnTo>
                    <a:pt x="1690" y="717"/>
                  </a:lnTo>
                  <a:lnTo>
                    <a:pt x="1692" y="717"/>
                  </a:lnTo>
                  <a:lnTo>
                    <a:pt x="1692" y="717"/>
                  </a:lnTo>
                  <a:lnTo>
                    <a:pt x="1692" y="717"/>
                  </a:lnTo>
                  <a:lnTo>
                    <a:pt x="1684" y="721"/>
                  </a:lnTo>
                  <a:lnTo>
                    <a:pt x="1684" y="721"/>
                  </a:lnTo>
                  <a:lnTo>
                    <a:pt x="1684" y="721"/>
                  </a:lnTo>
                  <a:lnTo>
                    <a:pt x="1681" y="721"/>
                  </a:lnTo>
                  <a:lnTo>
                    <a:pt x="1681" y="723"/>
                  </a:lnTo>
                  <a:lnTo>
                    <a:pt x="1681" y="723"/>
                  </a:lnTo>
                  <a:lnTo>
                    <a:pt x="1681" y="723"/>
                  </a:lnTo>
                  <a:lnTo>
                    <a:pt x="1681" y="723"/>
                  </a:lnTo>
                  <a:lnTo>
                    <a:pt x="1681" y="728"/>
                  </a:lnTo>
                  <a:lnTo>
                    <a:pt x="1681" y="728"/>
                  </a:lnTo>
                  <a:lnTo>
                    <a:pt x="1681" y="730"/>
                  </a:lnTo>
                  <a:lnTo>
                    <a:pt x="1681" y="730"/>
                  </a:lnTo>
                  <a:lnTo>
                    <a:pt x="1684" y="732"/>
                  </a:lnTo>
                  <a:lnTo>
                    <a:pt x="1684" y="732"/>
                  </a:lnTo>
                  <a:lnTo>
                    <a:pt x="1684" y="732"/>
                  </a:lnTo>
                  <a:lnTo>
                    <a:pt x="1686" y="732"/>
                  </a:lnTo>
                  <a:lnTo>
                    <a:pt x="1688" y="730"/>
                  </a:lnTo>
                  <a:lnTo>
                    <a:pt x="1688" y="730"/>
                  </a:lnTo>
                  <a:lnTo>
                    <a:pt x="1688" y="728"/>
                  </a:lnTo>
                  <a:lnTo>
                    <a:pt x="1688" y="728"/>
                  </a:lnTo>
                  <a:lnTo>
                    <a:pt x="1688" y="728"/>
                  </a:lnTo>
                  <a:lnTo>
                    <a:pt x="1690" y="728"/>
                  </a:lnTo>
                  <a:lnTo>
                    <a:pt x="1690" y="728"/>
                  </a:lnTo>
                  <a:lnTo>
                    <a:pt x="1690" y="730"/>
                  </a:lnTo>
                  <a:lnTo>
                    <a:pt x="1690" y="730"/>
                  </a:lnTo>
                  <a:lnTo>
                    <a:pt x="1692" y="730"/>
                  </a:lnTo>
                  <a:lnTo>
                    <a:pt x="1692" y="725"/>
                  </a:lnTo>
                  <a:lnTo>
                    <a:pt x="1692" y="723"/>
                  </a:lnTo>
                  <a:lnTo>
                    <a:pt x="1694" y="721"/>
                  </a:lnTo>
                  <a:lnTo>
                    <a:pt x="1694" y="721"/>
                  </a:lnTo>
                  <a:lnTo>
                    <a:pt x="1694" y="717"/>
                  </a:lnTo>
                  <a:lnTo>
                    <a:pt x="1694" y="717"/>
                  </a:lnTo>
                  <a:lnTo>
                    <a:pt x="1694" y="715"/>
                  </a:lnTo>
                  <a:lnTo>
                    <a:pt x="1694" y="715"/>
                  </a:lnTo>
                  <a:lnTo>
                    <a:pt x="1694" y="715"/>
                  </a:lnTo>
                  <a:lnTo>
                    <a:pt x="1694" y="715"/>
                  </a:lnTo>
                  <a:lnTo>
                    <a:pt x="1696" y="713"/>
                  </a:lnTo>
                  <a:lnTo>
                    <a:pt x="1696" y="715"/>
                  </a:lnTo>
                  <a:lnTo>
                    <a:pt x="1694" y="721"/>
                  </a:lnTo>
                  <a:lnTo>
                    <a:pt x="1692" y="723"/>
                  </a:lnTo>
                  <a:lnTo>
                    <a:pt x="1692" y="725"/>
                  </a:lnTo>
                  <a:lnTo>
                    <a:pt x="1692" y="728"/>
                  </a:lnTo>
                  <a:lnTo>
                    <a:pt x="1692" y="728"/>
                  </a:lnTo>
                  <a:lnTo>
                    <a:pt x="1692" y="730"/>
                  </a:lnTo>
                  <a:lnTo>
                    <a:pt x="1692" y="730"/>
                  </a:lnTo>
                  <a:lnTo>
                    <a:pt x="1692" y="730"/>
                  </a:lnTo>
                  <a:lnTo>
                    <a:pt x="1692" y="730"/>
                  </a:lnTo>
                  <a:lnTo>
                    <a:pt x="1692" y="730"/>
                  </a:lnTo>
                  <a:lnTo>
                    <a:pt x="1690" y="730"/>
                  </a:lnTo>
                  <a:lnTo>
                    <a:pt x="1690" y="730"/>
                  </a:lnTo>
                  <a:lnTo>
                    <a:pt x="1690" y="730"/>
                  </a:lnTo>
                  <a:lnTo>
                    <a:pt x="1690" y="730"/>
                  </a:lnTo>
                  <a:lnTo>
                    <a:pt x="1690" y="730"/>
                  </a:lnTo>
                  <a:lnTo>
                    <a:pt x="1688" y="730"/>
                  </a:lnTo>
                  <a:lnTo>
                    <a:pt x="1688" y="730"/>
                  </a:lnTo>
                  <a:lnTo>
                    <a:pt x="1688" y="732"/>
                  </a:lnTo>
                  <a:lnTo>
                    <a:pt x="1686" y="732"/>
                  </a:lnTo>
                  <a:lnTo>
                    <a:pt x="1686" y="732"/>
                  </a:lnTo>
                  <a:lnTo>
                    <a:pt x="1686" y="734"/>
                  </a:lnTo>
                  <a:lnTo>
                    <a:pt x="1686" y="736"/>
                  </a:lnTo>
                  <a:lnTo>
                    <a:pt x="1686" y="736"/>
                  </a:lnTo>
                  <a:lnTo>
                    <a:pt x="1686" y="736"/>
                  </a:lnTo>
                  <a:lnTo>
                    <a:pt x="1686" y="736"/>
                  </a:lnTo>
                  <a:lnTo>
                    <a:pt x="1686" y="736"/>
                  </a:lnTo>
                  <a:lnTo>
                    <a:pt x="1688" y="736"/>
                  </a:lnTo>
                  <a:lnTo>
                    <a:pt x="1688" y="738"/>
                  </a:lnTo>
                  <a:lnTo>
                    <a:pt x="1688" y="738"/>
                  </a:lnTo>
                  <a:lnTo>
                    <a:pt x="1690" y="738"/>
                  </a:lnTo>
                  <a:lnTo>
                    <a:pt x="1690" y="740"/>
                  </a:lnTo>
                  <a:lnTo>
                    <a:pt x="1688" y="740"/>
                  </a:lnTo>
                  <a:lnTo>
                    <a:pt x="1688" y="740"/>
                  </a:lnTo>
                  <a:lnTo>
                    <a:pt x="1690" y="740"/>
                  </a:lnTo>
                  <a:lnTo>
                    <a:pt x="1690" y="742"/>
                  </a:lnTo>
                  <a:lnTo>
                    <a:pt x="1690" y="742"/>
                  </a:lnTo>
                  <a:lnTo>
                    <a:pt x="1690" y="742"/>
                  </a:lnTo>
                  <a:lnTo>
                    <a:pt x="1690" y="742"/>
                  </a:lnTo>
                  <a:lnTo>
                    <a:pt x="1690" y="744"/>
                  </a:lnTo>
                  <a:lnTo>
                    <a:pt x="1692" y="744"/>
                  </a:lnTo>
                  <a:lnTo>
                    <a:pt x="1694" y="746"/>
                  </a:lnTo>
                  <a:lnTo>
                    <a:pt x="1694" y="746"/>
                  </a:lnTo>
                  <a:lnTo>
                    <a:pt x="1696" y="744"/>
                  </a:lnTo>
                  <a:lnTo>
                    <a:pt x="1696" y="744"/>
                  </a:lnTo>
                  <a:lnTo>
                    <a:pt x="1696" y="742"/>
                  </a:lnTo>
                  <a:lnTo>
                    <a:pt x="1696" y="742"/>
                  </a:lnTo>
                  <a:lnTo>
                    <a:pt x="1696" y="742"/>
                  </a:lnTo>
                  <a:lnTo>
                    <a:pt x="1696" y="742"/>
                  </a:lnTo>
                  <a:lnTo>
                    <a:pt x="1696" y="742"/>
                  </a:lnTo>
                  <a:lnTo>
                    <a:pt x="1696" y="740"/>
                  </a:lnTo>
                  <a:lnTo>
                    <a:pt x="1696" y="740"/>
                  </a:lnTo>
                  <a:lnTo>
                    <a:pt x="1696" y="740"/>
                  </a:lnTo>
                  <a:lnTo>
                    <a:pt x="1694" y="738"/>
                  </a:lnTo>
                  <a:lnTo>
                    <a:pt x="1694" y="736"/>
                  </a:lnTo>
                  <a:lnTo>
                    <a:pt x="1694" y="736"/>
                  </a:lnTo>
                  <a:lnTo>
                    <a:pt x="1694" y="736"/>
                  </a:lnTo>
                  <a:lnTo>
                    <a:pt x="1694" y="736"/>
                  </a:lnTo>
                  <a:lnTo>
                    <a:pt x="1694" y="736"/>
                  </a:lnTo>
                  <a:lnTo>
                    <a:pt x="1694" y="736"/>
                  </a:lnTo>
                  <a:lnTo>
                    <a:pt x="1696" y="738"/>
                  </a:lnTo>
                  <a:lnTo>
                    <a:pt x="1696" y="738"/>
                  </a:lnTo>
                  <a:lnTo>
                    <a:pt x="1696" y="738"/>
                  </a:lnTo>
                  <a:lnTo>
                    <a:pt x="1696" y="740"/>
                  </a:lnTo>
                  <a:lnTo>
                    <a:pt x="1696" y="740"/>
                  </a:lnTo>
                  <a:lnTo>
                    <a:pt x="1698" y="740"/>
                  </a:lnTo>
                  <a:lnTo>
                    <a:pt x="1698" y="742"/>
                  </a:lnTo>
                  <a:lnTo>
                    <a:pt x="1698" y="742"/>
                  </a:lnTo>
                  <a:lnTo>
                    <a:pt x="1698" y="742"/>
                  </a:lnTo>
                  <a:lnTo>
                    <a:pt x="1698" y="744"/>
                  </a:lnTo>
                  <a:lnTo>
                    <a:pt x="1698" y="744"/>
                  </a:lnTo>
                  <a:lnTo>
                    <a:pt x="1698" y="744"/>
                  </a:lnTo>
                  <a:lnTo>
                    <a:pt x="1698" y="744"/>
                  </a:lnTo>
                  <a:lnTo>
                    <a:pt x="1698" y="744"/>
                  </a:lnTo>
                  <a:lnTo>
                    <a:pt x="1698" y="744"/>
                  </a:lnTo>
                  <a:lnTo>
                    <a:pt x="1700" y="744"/>
                  </a:lnTo>
                  <a:lnTo>
                    <a:pt x="1700" y="740"/>
                  </a:lnTo>
                  <a:lnTo>
                    <a:pt x="1700" y="740"/>
                  </a:lnTo>
                  <a:lnTo>
                    <a:pt x="1700" y="738"/>
                  </a:lnTo>
                  <a:lnTo>
                    <a:pt x="1700" y="738"/>
                  </a:lnTo>
                  <a:lnTo>
                    <a:pt x="1700" y="738"/>
                  </a:lnTo>
                  <a:lnTo>
                    <a:pt x="1700" y="740"/>
                  </a:lnTo>
                  <a:lnTo>
                    <a:pt x="1700" y="742"/>
                  </a:lnTo>
                  <a:lnTo>
                    <a:pt x="1700" y="742"/>
                  </a:lnTo>
                  <a:lnTo>
                    <a:pt x="1702" y="742"/>
                  </a:lnTo>
                  <a:lnTo>
                    <a:pt x="1702" y="738"/>
                  </a:lnTo>
                  <a:lnTo>
                    <a:pt x="1704" y="736"/>
                  </a:lnTo>
                  <a:lnTo>
                    <a:pt x="1704" y="734"/>
                  </a:lnTo>
                  <a:lnTo>
                    <a:pt x="1706" y="734"/>
                  </a:lnTo>
                  <a:lnTo>
                    <a:pt x="1706" y="732"/>
                  </a:lnTo>
                  <a:lnTo>
                    <a:pt x="1706" y="732"/>
                  </a:lnTo>
                  <a:lnTo>
                    <a:pt x="1706" y="730"/>
                  </a:lnTo>
                  <a:lnTo>
                    <a:pt x="1706" y="730"/>
                  </a:lnTo>
                  <a:lnTo>
                    <a:pt x="1706" y="728"/>
                  </a:lnTo>
                  <a:lnTo>
                    <a:pt x="1706" y="728"/>
                  </a:lnTo>
                  <a:lnTo>
                    <a:pt x="1706" y="728"/>
                  </a:lnTo>
                  <a:lnTo>
                    <a:pt x="1706" y="725"/>
                  </a:lnTo>
                  <a:lnTo>
                    <a:pt x="1706" y="725"/>
                  </a:lnTo>
                  <a:lnTo>
                    <a:pt x="1706" y="723"/>
                  </a:lnTo>
                  <a:lnTo>
                    <a:pt x="1706" y="723"/>
                  </a:lnTo>
                  <a:lnTo>
                    <a:pt x="1706" y="721"/>
                  </a:lnTo>
                  <a:lnTo>
                    <a:pt x="1706" y="721"/>
                  </a:lnTo>
                  <a:lnTo>
                    <a:pt x="1706" y="719"/>
                  </a:lnTo>
                  <a:lnTo>
                    <a:pt x="1706" y="719"/>
                  </a:lnTo>
                  <a:lnTo>
                    <a:pt x="1706" y="717"/>
                  </a:lnTo>
                  <a:lnTo>
                    <a:pt x="1706" y="717"/>
                  </a:lnTo>
                  <a:lnTo>
                    <a:pt x="1706" y="717"/>
                  </a:lnTo>
                  <a:lnTo>
                    <a:pt x="1706" y="717"/>
                  </a:lnTo>
                  <a:lnTo>
                    <a:pt x="1706" y="715"/>
                  </a:lnTo>
                  <a:lnTo>
                    <a:pt x="1706" y="715"/>
                  </a:lnTo>
                  <a:lnTo>
                    <a:pt x="1708" y="715"/>
                  </a:lnTo>
                  <a:lnTo>
                    <a:pt x="1708" y="715"/>
                  </a:lnTo>
                  <a:lnTo>
                    <a:pt x="1708" y="713"/>
                  </a:lnTo>
                  <a:lnTo>
                    <a:pt x="1708" y="713"/>
                  </a:lnTo>
                  <a:lnTo>
                    <a:pt x="1708" y="711"/>
                  </a:lnTo>
                  <a:lnTo>
                    <a:pt x="1706" y="709"/>
                  </a:lnTo>
                  <a:close/>
                  <a:moveTo>
                    <a:pt x="1681" y="742"/>
                  </a:moveTo>
                  <a:lnTo>
                    <a:pt x="1679" y="742"/>
                  </a:lnTo>
                  <a:lnTo>
                    <a:pt x="1679" y="742"/>
                  </a:lnTo>
                  <a:lnTo>
                    <a:pt x="1679" y="740"/>
                  </a:lnTo>
                  <a:lnTo>
                    <a:pt x="1679" y="740"/>
                  </a:lnTo>
                  <a:lnTo>
                    <a:pt x="1679" y="740"/>
                  </a:lnTo>
                  <a:lnTo>
                    <a:pt x="1679" y="740"/>
                  </a:lnTo>
                  <a:lnTo>
                    <a:pt x="1679" y="738"/>
                  </a:lnTo>
                  <a:lnTo>
                    <a:pt x="1677" y="738"/>
                  </a:lnTo>
                  <a:lnTo>
                    <a:pt x="1677" y="742"/>
                  </a:lnTo>
                  <a:lnTo>
                    <a:pt x="1675" y="740"/>
                  </a:lnTo>
                  <a:lnTo>
                    <a:pt x="1675" y="742"/>
                  </a:lnTo>
                  <a:lnTo>
                    <a:pt x="1675" y="742"/>
                  </a:lnTo>
                  <a:lnTo>
                    <a:pt x="1673" y="742"/>
                  </a:lnTo>
                  <a:lnTo>
                    <a:pt x="1673" y="744"/>
                  </a:lnTo>
                  <a:lnTo>
                    <a:pt x="1673" y="744"/>
                  </a:lnTo>
                  <a:lnTo>
                    <a:pt x="1673" y="744"/>
                  </a:lnTo>
                  <a:lnTo>
                    <a:pt x="1675" y="744"/>
                  </a:lnTo>
                  <a:lnTo>
                    <a:pt x="1675" y="744"/>
                  </a:lnTo>
                  <a:lnTo>
                    <a:pt x="1677" y="746"/>
                  </a:lnTo>
                  <a:lnTo>
                    <a:pt x="1677" y="746"/>
                  </a:lnTo>
                  <a:lnTo>
                    <a:pt x="1677" y="746"/>
                  </a:lnTo>
                  <a:lnTo>
                    <a:pt x="1677" y="746"/>
                  </a:lnTo>
                  <a:lnTo>
                    <a:pt x="1679" y="746"/>
                  </a:lnTo>
                  <a:lnTo>
                    <a:pt x="1679" y="746"/>
                  </a:lnTo>
                  <a:lnTo>
                    <a:pt x="1679" y="744"/>
                  </a:lnTo>
                  <a:lnTo>
                    <a:pt x="1679" y="744"/>
                  </a:lnTo>
                  <a:lnTo>
                    <a:pt x="1681" y="744"/>
                  </a:lnTo>
                  <a:lnTo>
                    <a:pt x="1681" y="744"/>
                  </a:lnTo>
                  <a:lnTo>
                    <a:pt x="1681" y="742"/>
                  </a:lnTo>
                  <a:lnTo>
                    <a:pt x="1681" y="742"/>
                  </a:lnTo>
                  <a:lnTo>
                    <a:pt x="1681" y="742"/>
                  </a:lnTo>
                  <a:lnTo>
                    <a:pt x="1681" y="742"/>
                  </a:lnTo>
                  <a:close/>
                  <a:moveTo>
                    <a:pt x="1675" y="740"/>
                  </a:moveTo>
                  <a:lnTo>
                    <a:pt x="1675" y="738"/>
                  </a:lnTo>
                  <a:lnTo>
                    <a:pt x="1675" y="736"/>
                  </a:lnTo>
                  <a:lnTo>
                    <a:pt x="1675" y="736"/>
                  </a:lnTo>
                  <a:lnTo>
                    <a:pt x="1675" y="736"/>
                  </a:lnTo>
                  <a:lnTo>
                    <a:pt x="1673" y="736"/>
                  </a:lnTo>
                  <a:lnTo>
                    <a:pt x="1673" y="736"/>
                  </a:lnTo>
                  <a:lnTo>
                    <a:pt x="1673" y="734"/>
                  </a:lnTo>
                  <a:lnTo>
                    <a:pt x="1673" y="734"/>
                  </a:lnTo>
                  <a:lnTo>
                    <a:pt x="1673" y="734"/>
                  </a:lnTo>
                  <a:lnTo>
                    <a:pt x="1673" y="732"/>
                  </a:lnTo>
                  <a:lnTo>
                    <a:pt x="1673" y="732"/>
                  </a:lnTo>
                  <a:lnTo>
                    <a:pt x="1671" y="732"/>
                  </a:lnTo>
                  <a:lnTo>
                    <a:pt x="1671" y="730"/>
                  </a:lnTo>
                  <a:lnTo>
                    <a:pt x="1671" y="730"/>
                  </a:lnTo>
                  <a:lnTo>
                    <a:pt x="1669" y="730"/>
                  </a:lnTo>
                  <a:lnTo>
                    <a:pt x="1667" y="728"/>
                  </a:lnTo>
                  <a:lnTo>
                    <a:pt x="1667" y="728"/>
                  </a:lnTo>
                  <a:lnTo>
                    <a:pt x="1665" y="728"/>
                  </a:lnTo>
                  <a:lnTo>
                    <a:pt x="1665" y="728"/>
                  </a:lnTo>
                  <a:lnTo>
                    <a:pt x="1665" y="728"/>
                  </a:lnTo>
                  <a:lnTo>
                    <a:pt x="1665" y="730"/>
                  </a:lnTo>
                  <a:lnTo>
                    <a:pt x="1665" y="730"/>
                  </a:lnTo>
                  <a:lnTo>
                    <a:pt x="1665" y="730"/>
                  </a:lnTo>
                  <a:lnTo>
                    <a:pt x="1665" y="730"/>
                  </a:lnTo>
                  <a:lnTo>
                    <a:pt x="1665" y="732"/>
                  </a:lnTo>
                  <a:lnTo>
                    <a:pt x="1665" y="732"/>
                  </a:lnTo>
                  <a:lnTo>
                    <a:pt x="1667" y="732"/>
                  </a:lnTo>
                  <a:lnTo>
                    <a:pt x="1667" y="732"/>
                  </a:lnTo>
                  <a:lnTo>
                    <a:pt x="1667" y="732"/>
                  </a:lnTo>
                  <a:lnTo>
                    <a:pt x="1667" y="734"/>
                  </a:lnTo>
                  <a:lnTo>
                    <a:pt x="1667" y="734"/>
                  </a:lnTo>
                  <a:lnTo>
                    <a:pt x="1667" y="734"/>
                  </a:lnTo>
                  <a:lnTo>
                    <a:pt x="1667" y="734"/>
                  </a:lnTo>
                  <a:lnTo>
                    <a:pt x="1669" y="734"/>
                  </a:lnTo>
                  <a:lnTo>
                    <a:pt x="1669" y="736"/>
                  </a:lnTo>
                  <a:lnTo>
                    <a:pt x="1669" y="736"/>
                  </a:lnTo>
                  <a:lnTo>
                    <a:pt x="1667" y="736"/>
                  </a:lnTo>
                  <a:lnTo>
                    <a:pt x="1667" y="736"/>
                  </a:lnTo>
                  <a:lnTo>
                    <a:pt x="1667" y="738"/>
                  </a:lnTo>
                  <a:lnTo>
                    <a:pt x="1667" y="738"/>
                  </a:lnTo>
                  <a:lnTo>
                    <a:pt x="1667" y="738"/>
                  </a:lnTo>
                  <a:lnTo>
                    <a:pt x="1667" y="740"/>
                  </a:lnTo>
                  <a:lnTo>
                    <a:pt x="1667" y="742"/>
                  </a:lnTo>
                  <a:lnTo>
                    <a:pt x="1669" y="742"/>
                  </a:lnTo>
                  <a:lnTo>
                    <a:pt x="1669" y="742"/>
                  </a:lnTo>
                  <a:lnTo>
                    <a:pt x="1669" y="742"/>
                  </a:lnTo>
                  <a:lnTo>
                    <a:pt x="1669" y="742"/>
                  </a:lnTo>
                  <a:lnTo>
                    <a:pt x="1669" y="742"/>
                  </a:lnTo>
                  <a:lnTo>
                    <a:pt x="1669" y="742"/>
                  </a:lnTo>
                  <a:lnTo>
                    <a:pt x="1669" y="742"/>
                  </a:lnTo>
                  <a:lnTo>
                    <a:pt x="1669" y="742"/>
                  </a:lnTo>
                  <a:lnTo>
                    <a:pt x="1669" y="742"/>
                  </a:lnTo>
                  <a:lnTo>
                    <a:pt x="1669" y="740"/>
                  </a:lnTo>
                  <a:lnTo>
                    <a:pt x="1669" y="740"/>
                  </a:lnTo>
                  <a:lnTo>
                    <a:pt x="1671" y="740"/>
                  </a:lnTo>
                  <a:lnTo>
                    <a:pt x="1669" y="738"/>
                  </a:lnTo>
                  <a:lnTo>
                    <a:pt x="1669" y="738"/>
                  </a:lnTo>
                  <a:lnTo>
                    <a:pt x="1669" y="738"/>
                  </a:lnTo>
                  <a:lnTo>
                    <a:pt x="1669" y="738"/>
                  </a:lnTo>
                  <a:lnTo>
                    <a:pt x="1669" y="738"/>
                  </a:lnTo>
                  <a:lnTo>
                    <a:pt x="1669" y="738"/>
                  </a:lnTo>
                  <a:lnTo>
                    <a:pt x="1671" y="738"/>
                  </a:lnTo>
                  <a:lnTo>
                    <a:pt x="1671" y="738"/>
                  </a:lnTo>
                  <a:lnTo>
                    <a:pt x="1671" y="740"/>
                  </a:lnTo>
                  <a:lnTo>
                    <a:pt x="1671" y="740"/>
                  </a:lnTo>
                  <a:lnTo>
                    <a:pt x="1671" y="740"/>
                  </a:lnTo>
                  <a:lnTo>
                    <a:pt x="1671" y="740"/>
                  </a:lnTo>
                  <a:lnTo>
                    <a:pt x="1673" y="740"/>
                  </a:lnTo>
                  <a:lnTo>
                    <a:pt x="1673" y="740"/>
                  </a:lnTo>
                  <a:lnTo>
                    <a:pt x="1675" y="740"/>
                  </a:lnTo>
                  <a:close/>
                  <a:moveTo>
                    <a:pt x="1079" y="613"/>
                  </a:moveTo>
                  <a:lnTo>
                    <a:pt x="1079" y="613"/>
                  </a:lnTo>
                  <a:lnTo>
                    <a:pt x="1079" y="613"/>
                  </a:lnTo>
                  <a:lnTo>
                    <a:pt x="1079" y="613"/>
                  </a:lnTo>
                  <a:close/>
                  <a:moveTo>
                    <a:pt x="743" y="814"/>
                  </a:moveTo>
                  <a:lnTo>
                    <a:pt x="743" y="814"/>
                  </a:lnTo>
                  <a:lnTo>
                    <a:pt x="743" y="814"/>
                  </a:lnTo>
                  <a:lnTo>
                    <a:pt x="743" y="814"/>
                  </a:lnTo>
                  <a:lnTo>
                    <a:pt x="743" y="814"/>
                  </a:lnTo>
                  <a:lnTo>
                    <a:pt x="743" y="812"/>
                  </a:lnTo>
                  <a:lnTo>
                    <a:pt x="743" y="812"/>
                  </a:lnTo>
                  <a:lnTo>
                    <a:pt x="741" y="814"/>
                  </a:lnTo>
                  <a:lnTo>
                    <a:pt x="741" y="814"/>
                  </a:lnTo>
                  <a:lnTo>
                    <a:pt x="741" y="814"/>
                  </a:lnTo>
                  <a:lnTo>
                    <a:pt x="741" y="814"/>
                  </a:lnTo>
                  <a:lnTo>
                    <a:pt x="743" y="814"/>
                  </a:lnTo>
                  <a:close/>
                  <a:moveTo>
                    <a:pt x="811" y="791"/>
                  </a:moveTo>
                  <a:lnTo>
                    <a:pt x="811" y="791"/>
                  </a:lnTo>
                  <a:lnTo>
                    <a:pt x="811" y="791"/>
                  </a:lnTo>
                  <a:lnTo>
                    <a:pt x="813" y="791"/>
                  </a:lnTo>
                  <a:lnTo>
                    <a:pt x="813" y="789"/>
                  </a:lnTo>
                  <a:lnTo>
                    <a:pt x="811" y="789"/>
                  </a:lnTo>
                  <a:lnTo>
                    <a:pt x="811" y="789"/>
                  </a:lnTo>
                  <a:lnTo>
                    <a:pt x="811" y="791"/>
                  </a:lnTo>
                  <a:lnTo>
                    <a:pt x="811" y="791"/>
                  </a:lnTo>
                  <a:lnTo>
                    <a:pt x="811" y="791"/>
                  </a:lnTo>
                  <a:lnTo>
                    <a:pt x="811" y="791"/>
                  </a:lnTo>
                  <a:close/>
                  <a:moveTo>
                    <a:pt x="815" y="791"/>
                  </a:moveTo>
                  <a:lnTo>
                    <a:pt x="815" y="791"/>
                  </a:lnTo>
                  <a:lnTo>
                    <a:pt x="815" y="791"/>
                  </a:lnTo>
                  <a:lnTo>
                    <a:pt x="815" y="789"/>
                  </a:lnTo>
                  <a:lnTo>
                    <a:pt x="813" y="789"/>
                  </a:lnTo>
                  <a:lnTo>
                    <a:pt x="813" y="791"/>
                  </a:lnTo>
                  <a:lnTo>
                    <a:pt x="813" y="791"/>
                  </a:lnTo>
                  <a:lnTo>
                    <a:pt x="813" y="791"/>
                  </a:lnTo>
                  <a:lnTo>
                    <a:pt x="815" y="791"/>
                  </a:lnTo>
                  <a:close/>
                  <a:moveTo>
                    <a:pt x="821" y="658"/>
                  </a:moveTo>
                  <a:lnTo>
                    <a:pt x="821" y="658"/>
                  </a:lnTo>
                  <a:lnTo>
                    <a:pt x="823" y="658"/>
                  </a:lnTo>
                  <a:lnTo>
                    <a:pt x="825" y="658"/>
                  </a:lnTo>
                  <a:lnTo>
                    <a:pt x="825" y="658"/>
                  </a:lnTo>
                  <a:lnTo>
                    <a:pt x="825" y="656"/>
                  </a:lnTo>
                  <a:lnTo>
                    <a:pt x="827" y="654"/>
                  </a:lnTo>
                  <a:lnTo>
                    <a:pt x="827" y="654"/>
                  </a:lnTo>
                  <a:lnTo>
                    <a:pt x="830" y="654"/>
                  </a:lnTo>
                  <a:lnTo>
                    <a:pt x="830" y="654"/>
                  </a:lnTo>
                  <a:lnTo>
                    <a:pt x="830" y="652"/>
                  </a:lnTo>
                  <a:lnTo>
                    <a:pt x="832" y="648"/>
                  </a:lnTo>
                  <a:lnTo>
                    <a:pt x="832" y="648"/>
                  </a:lnTo>
                  <a:lnTo>
                    <a:pt x="832" y="646"/>
                  </a:lnTo>
                  <a:lnTo>
                    <a:pt x="834" y="646"/>
                  </a:lnTo>
                  <a:lnTo>
                    <a:pt x="834" y="646"/>
                  </a:lnTo>
                  <a:lnTo>
                    <a:pt x="834" y="646"/>
                  </a:lnTo>
                  <a:lnTo>
                    <a:pt x="827" y="650"/>
                  </a:lnTo>
                  <a:lnTo>
                    <a:pt x="825" y="650"/>
                  </a:lnTo>
                  <a:lnTo>
                    <a:pt x="825" y="650"/>
                  </a:lnTo>
                  <a:lnTo>
                    <a:pt x="823" y="650"/>
                  </a:lnTo>
                  <a:lnTo>
                    <a:pt x="823" y="650"/>
                  </a:lnTo>
                  <a:lnTo>
                    <a:pt x="821" y="652"/>
                  </a:lnTo>
                  <a:lnTo>
                    <a:pt x="821" y="654"/>
                  </a:lnTo>
                  <a:lnTo>
                    <a:pt x="821" y="654"/>
                  </a:lnTo>
                  <a:lnTo>
                    <a:pt x="821" y="654"/>
                  </a:lnTo>
                  <a:lnTo>
                    <a:pt x="819" y="652"/>
                  </a:lnTo>
                  <a:lnTo>
                    <a:pt x="821" y="654"/>
                  </a:lnTo>
                  <a:lnTo>
                    <a:pt x="821" y="654"/>
                  </a:lnTo>
                  <a:lnTo>
                    <a:pt x="821" y="656"/>
                  </a:lnTo>
                  <a:lnTo>
                    <a:pt x="821" y="656"/>
                  </a:lnTo>
                  <a:lnTo>
                    <a:pt x="821" y="656"/>
                  </a:lnTo>
                  <a:lnTo>
                    <a:pt x="821" y="656"/>
                  </a:lnTo>
                  <a:lnTo>
                    <a:pt x="821" y="658"/>
                  </a:lnTo>
                  <a:lnTo>
                    <a:pt x="821" y="658"/>
                  </a:lnTo>
                  <a:close/>
                  <a:moveTo>
                    <a:pt x="840" y="654"/>
                  </a:moveTo>
                  <a:lnTo>
                    <a:pt x="840" y="654"/>
                  </a:lnTo>
                  <a:lnTo>
                    <a:pt x="840" y="652"/>
                  </a:lnTo>
                  <a:lnTo>
                    <a:pt x="840" y="652"/>
                  </a:lnTo>
                  <a:lnTo>
                    <a:pt x="840" y="652"/>
                  </a:lnTo>
                  <a:lnTo>
                    <a:pt x="840" y="652"/>
                  </a:lnTo>
                  <a:lnTo>
                    <a:pt x="840" y="652"/>
                  </a:lnTo>
                  <a:lnTo>
                    <a:pt x="840" y="652"/>
                  </a:lnTo>
                  <a:lnTo>
                    <a:pt x="840" y="650"/>
                  </a:lnTo>
                  <a:lnTo>
                    <a:pt x="840" y="650"/>
                  </a:lnTo>
                  <a:lnTo>
                    <a:pt x="840" y="652"/>
                  </a:lnTo>
                  <a:lnTo>
                    <a:pt x="840" y="654"/>
                  </a:lnTo>
                  <a:lnTo>
                    <a:pt x="840" y="654"/>
                  </a:lnTo>
                  <a:lnTo>
                    <a:pt x="840" y="654"/>
                  </a:lnTo>
                  <a:lnTo>
                    <a:pt x="840" y="654"/>
                  </a:lnTo>
                  <a:close/>
                  <a:moveTo>
                    <a:pt x="844" y="656"/>
                  </a:moveTo>
                  <a:lnTo>
                    <a:pt x="844" y="656"/>
                  </a:lnTo>
                  <a:lnTo>
                    <a:pt x="844" y="656"/>
                  </a:lnTo>
                  <a:lnTo>
                    <a:pt x="844" y="656"/>
                  </a:lnTo>
                  <a:lnTo>
                    <a:pt x="844" y="656"/>
                  </a:lnTo>
                  <a:lnTo>
                    <a:pt x="844" y="654"/>
                  </a:lnTo>
                  <a:lnTo>
                    <a:pt x="844" y="654"/>
                  </a:lnTo>
                  <a:lnTo>
                    <a:pt x="844" y="654"/>
                  </a:lnTo>
                  <a:lnTo>
                    <a:pt x="844" y="654"/>
                  </a:lnTo>
                  <a:lnTo>
                    <a:pt x="844" y="654"/>
                  </a:lnTo>
                  <a:lnTo>
                    <a:pt x="844" y="652"/>
                  </a:lnTo>
                  <a:lnTo>
                    <a:pt x="844" y="652"/>
                  </a:lnTo>
                  <a:lnTo>
                    <a:pt x="842" y="652"/>
                  </a:lnTo>
                  <a:lnTo>
                    <a:pt x="842" y="652"/>
                  </a:lnTo>
                  <a:lnTo>
                    <a:pt x="842" y="654"/>
                  </a:lnTo>
                  <a:lnTo>
                    <a:pt x="842" y="654"/>
                  </a:lnTo>
                  <a:lnTo>
                    <a:pt x="842" y="654"/>
                  </a:lnTo>
                  <a:lnTo>
                    <a:pt x="844" y="654"/>
                  </a:lnTo>
                  <a:lnTo>
                    <a:pt x="844" y="656"/>
                  </a:lnTo>
                  <a:close/>
                  <a:moveTo>
                    <a:pt x="748" y="822"/>
                  </a:moveTo>
                  <a:lnTo>
                    <a:pt x="748" y="822"/>
                  </a:lnTo>
                  <a:lnTo>
                    <a:pt x="748" y="822"/>
                  </a:lnTo>
                  <a:lnTo>
                    <a:pt x="750" y="820"/>
                  </a:lnTo>
                  <a:lnTo>
                    <a:pt x="750" y="820"/>
                  </a:lnTo>
                  <a:lnTo>
                    <a:pt x="750" y="820"/>
                  </a:lnTo>
                  <a:lnTo>
                    <a:pt x="750" y="820"/>
                  </a:lnTo>
                  <a:lnTo>
                    <a:pt x="750" y="820"/>
                  </a:lnTo>
                  <a:lnTo>
                    <a:pt x="750" y="820"/>
                  </a:lnTo>
                  <a:lnTo>
                    <a:pt x="748" y="822"/>
                  </a:lnTo>
                  <a:lnTo>
                    <a:pt x="748" y="822"/>
                  </a:lnTo>
                  <a:lnTo>
                    <a:pt x="748" y="822"/>
                  </a:lnTo>
                  <a:lnTo>
                    <a:pt x="748" y="822"/>
                  </a:lnTo>
                  <a:lnTo>
                    <a:pt x="748" y="822"/>
                  </a:lnTo>
                  <a:close/>
                  <a:moveTo>
                    <a:pt x="813" y="795"/>
                  </a:moveTo>
                  <a:lnTo>
                    <a:pt x="811" y="797"/>
                  </a:lnTo>
                  <a:lnTo>
                    <a:pt x="811" y="795"/>
                  </a:lnTo>
                  <a:lnTo>
                    <a:pt x="811" y="795"/>
                  </a:lnTo>
                  <a:lnTo>
                    <a:pt x="811" y="797"/>
                  </a:lnTo>
                  <a:lnTo>
                    <a:pt x="813" y="795"/>
                  </a:lnTo>
                  <a:lnTo>
                    <a:pt x="815" y="797"/>
                  </a:lnTo>
                  <a:lnTo>
                    <a:pt x="815" y="795"/>
                  </a:lnTo>
                  <a:lnTo>
                    <a:pt x="815" y="795"/>
                  </a:lnTo>
                  <a:lnTo>
                    <a:pt x="813" y="795"/>
                  </a:lnTo>
                  <a:lnTo>
                    <a:pt x="813" y="795"/>
                  </a:lnTo>
                  <a:lnTo>
                    <a:pt x="813" y="795"/>
                  </a:lnTo>
                  <a:lnTo>
                    <a:pt x="813" y="795"/>
                  </a:lnTo>
                  <a:lnTo>
                    <a:pt x="813" y="795"/>
                  </a:lnTo>
                  <a:close/>
                  <a:moveTo>
                    <a:pt x="1665" y="725"/>
                  </a:moveTo>
                  <a:lnTo>
                    <a:pt x="1665" y="725"/>
                  </a:lnTo>
                  <a:lnTo>
                    <a:pt x="1667" y="723"/>
                  </a:lnTo>
                  <a:lnTo>
                    <a:pt x="1667" y="721"/>
                  </a:lnTo>
                  <a:lnTo>
                    <a:pt x="1665" y="721"/>
                  </a:lnTo>
                  <a:lnTo>
                    <a:pt x="1665" y="719"/>
                  </a:lnTo>
                  <a:lnTo>
                    <a:pt x="1663" y="719"/>
                  </a:lnTo>
                  <a:lnTo>
                    <a:pt x="1663" y="719"/>
                  </a:lnTo>
                  <a:lnTo>
                    <a:pt x="1663" y="717"/>
                  </a:lnTo>
                  <a:lnTo>
                    <a:pt x="1663" y="717"/>
                  </a:lnTo>
                  <a:lnTo>
                    <a:pt x="1663" y="715"/>
                  </a:lnTo>
                  <a:lnTo>
                    <a:pt x="1663" y="715"/>
                  </a:lnTo>
                  <a:lnTo>
                    <a:pt x="1665" y="715"/>
                  </a:lnTo>
                  <a:lnTo>
                    <a:pt x="1665" y="713"/>
                  </a:lnTo>
                  <a:lnTo>
                    <a:pt x="1665" y="717"/>
                  </a:lnTo>
                  <a:lnTo>
                    <a:pt x="1665" y="717"/>
                  </a:lnTo>
                  <a:lnTo>
                    <a:pt x="1665" y="719"/>
                  </a:lnTo>
                  <a:lnTo>
                    <a:pt x="1665" y="719"/>
                  </a:lnTo>
                  <a:lnTo>
                    <a:pt x="1667" y="721"/>
                  </a:lnTo>
                  <a:lnTo>
                    <a:pt x="1667" y="721"/>
                  </a:lnTo>
                  <a:lnTo>
                    <a:pt x="1667" y="721"/>
                  </a:lnTo>
                  <a:lnTo>
                    <a:pt x="1667" y="721"/>
                  </a:lnTo>
                  <a:lnTo>
                    <a:pt x="1667" y="723"/>
                  </a:lnTo>
                  <a:lnTo>
                    <a:pt x="1667" y="723"/>
                  </a:lnTo>
                  <a:lnTo>
                    <a:pt x="1667" y="723"/>
                  </a:lnTo>
                  <a:lnTo>
                    <a:pt x="1667" y="723"/>
                  </a:lnTo>
                  <a:lnTo>
                    <a:pt x="1669" y="721"/>
                  </a:lnTo>
                  <a:lnTo>
                    <a:pt x="1669" y="721"/>
                  </a:lnTo>
                  <a:lnTo>
                    <a:pt x="1669" y="721"/>
                  </a:lnTo>
                  <a:lnTo>
                    <a:pt x="1669" y="719"/>
                  </a:lnTo>
                  <a:lnTo>
                    <a:pt x="1669" y="719"/>
                  </a:lnTo>
                  <a:lnTo>
                    <a:pt x="1669" y="717"/>
                  </a:lnTo>
                  <a:lnTo>
                    <a:pt x="1669" y="715"/>
                  </a:lnTo>
                  <a:lnTo>
                    <a:pt x="1667" y="715"/>
                  </a:lnTo>
                  <a:lnTo>
                    <a:pt x="1665" y="711"/>
                  </a:lnTo>
                  <a:lnTo>
                    <a:pt x="1665" y="709"/>
                  </a:lnTo>
                  <a:lnTo>
                    <a:pt x="1665" y="707"/>
                  </a:lnTo>
                  <a:lnTo>
                    <a:pt x="1665" y="707"/>
                  </a:lnTo>
                  <a:lnTo>
                    <a:pt x="1665" y="709"/>
                  </a:lnTo>
                  <a:lnTo>
                    <a:pt x="1667" y="711"/>
                  </a:lnTo>
                  <a:lnTo>
                    <a:pt x="1667" y="711"/>
                  </a:lnTo>
                  <a:lnTo>
                    <a:pt x="1667" y="713"/>
                  </a:lnTo>
                  <a:lnTo>
                    <a:pt x="1669" y="713"/>
                  </a:lnTo>
                  <a:lnTo>
                    <a:pt x="1669" y="715"/>
                  </a:lnTo>
                  <a:lnTo>
                    <a:pt x="1669" y="715"/>
                  </a:lnTo>
                  <a:lnTo>
                    <a:pt x="1671" y="717"/>
                  </a:lnTo>
                  <a:lnTo>
                    <a:pt x="1671" y="717"/>
                  </a:lnTo>
                  <a:lnTo>
                    <a:pt x="1669" y="719"/>
                  </a:lnTo>
                  <a:lnTo>
                    <a:pt x="1669" y="719"/>
                  </a:lnTo>
                  <a:lnTo>
                    <a:pt x="1669" y="721"/>
                  </a:lnTo>
                  <a:lnTo>
                    <a:pt x="1669" y="721"/>
                  </a:lnTo>
                  <a:lnTo>
                    <a:pt x="1669" y="721"/>
                  </a:lnTo>
                  <a:lnTo>
                    <a:pt x="1669" y="721"/>
                  </a:lnTo>
                  <a:lnTo>
                    <a:pt x="1669" y="721"/>
                  </a:lnTo>
                  <a:lnTo>
                    <a:pt x="1669" y="723"/>
                  </a:lnTo>
                  <a:lnTo>
                    <a:pt x="1669" y="723"/>
                  </a:lnTo>
                  <a:lnTo>
                    <a:pt x="1669" y="723"/>
                  </a:lnTo>
                  <a:lnTo>
                    <a:pt x="1667" y="725"/>
                  </a:lnTo>
                  <a:lnTo>
                    <a:pt x="1667" y="725"/>
                  </a:lnTo>
                  <a:lnTo>
                    <a:pt x="1667" y="725"/>
                  </a:lnTo>
                  <a:lnTo>
                    <a:pt x="1669" y="728"/>
                  </a:lnTo>
                  <a:lnTo>
                    <a:pt x="1669" y="728"/>
                  </a:lnTo>
                  <a:lnTo>
                    <a:pt x="1669" y="728"/>
                  </a:lnTo>
                  <a:lnTo>
                    <a:pt x="1671" y="728"/>
                  </a:lnTo>
                  <a:lnTo>
                    <a:pt x="1671" y="725"/>
                  </a:lnTo>
                  <a:lnTo>
                    <a:pt x="1673" y="725"/>
                  </a:lnTo>
                  <a:lnTo>
                    <a:pt x="1673" y="723"/>
                  </a:lnTo>
                  <a:lnTo>
                    <a:pt x="1673" y="723"/>
                  </a:lnTo>
                  <a:lnTo>
                    <a:pt x="1673" y="723"/>
                  </a:lnTo>
                  <a:lnTo>
                    <a:pt x="1671" y="721"/>
                  </a:lnTo>
                  <a:lnTo>
                    <a:pt x="1671" y="721"/>
                  </a:lnTo>
                  <a:lnTo>
                    <a:pt x="1671" y="719"/>
                  </a:lnTo>
                  <a:lnTo>
                    <a:pt x="1671" y="719"/>
                  </a:lnTo>
                  <a:lnTo>
                    <a:pt x="1673" y="719"/>
                  </a:lnTo>
                  <a:lnTo>
                    <a:pt x="1671" y="717"/>
                  </a:lnTo>
                  <a:lnTo>
                    <a:pt x="1673" y="717"/>
                  </a:lnTo>
                  <a:lnTo>
                    <a:pt x="1673" y="719"/>
                  </a:lnTo>
                  <a:lnTo>
                    <a:pt x="1673" y="719"/>
                  </a:lnTo>
                  <a:lnTo>
                    <a:pt x="1673" y="719"/>
                  </a:lnTo>
                  <a:lnTo>
                    <a:pt x="1673" y="719"/>
                  </a:lnTo>
                  <a:lnTo>
                    <a:pt x="1673" y="721"/>
                  </a:lnTo>
                  <a:lnTo>
                    <a:pt x="1673" y="721"/>
                  </a:lnTo>
                  <a:lnTo>
                    <a:pt x="1673" y="721"/>
                  </a:lnTo>
                  <a:lnTo>
                    <a:pt x="1673" y="721"/>
                  </a:lnTo>
                  <a:lnTo>
                    <a:pt x="1673" y="723"/>
                  </a:lnTo>
                  <a:lnTo>
                    <a:pt x="1673" y="723"/>
                  </a:lnTo>
                  <a:lnTo>
                    <a:pt x="1673" y="725"/>
                  </a:lnTo>
                  <a:lnTo>
                    <a:pt x="1673" y="728"/>
                  </a:lnTo>
                  <a:lnTo>
                    <a:pt x="1673" y="728"/>
                  </a:lnTo>
                  <a:lnTo>
                    <a:pt x="1675" y="728"/>
                  </a:lnTo>
                  <a:lnTo>
                    <a:pt x="1677" y="730"/>
                  </a:lnTo>
                  <a:lnTo>
                    <a:pt x="1677" y="728"/>
                  </a:lnTo>
                  <a:lnTo>
                    <a:pt x="1677" y="728"/>
                  </a:lnTo>
                  <a:lnTo>
                    <a:pt x="1677" y="725"/>
                  </a:lnTo>
                  <a:lnTo>
                    <a:pt x="1677" y="725"/>
                  </a:lnTo>
                  <a:lnTo>
                    <a:pt x="1677" y="725"/>
                  </a:lnTo>
                  <a:lnTo>
                    <a:pt x="1677" y="725"/>
                  </a:lnTo>
                  <a:lnTo>
                    <a:pt x="1679" y="725"/>
                  </a:lnTo>
                  <a:lnTo>
                    <a:pt x="1679" y="725"/>
                  </a:lnTo>
                  <a:lnTo>
                    <a:pt x="1679" y="723"/>
                  </a:lnTo>
                  <a:lnTo>
                    <a:pt x="1679" y="723"/>
                  </a:lnTo>
                  <a:lnTo>
                    <a:pt x="1679" y="721"/>
                  </a:lnTo>
                  <a:lnTo>
                    <a:pt x="1679" y="719"/>
                  </a:lnTo>
                  <a:lnTo>
                    <a:pt x="1679" y="719"/>
                  </a:lnTo>
                  <a:lnTo>
                    <a:pt x="1679" y="719"/>
                  </a:lnTo>
                  <a:lnTo>
                    <a:pt x="1679" y="717"/>
                  </a:lnTo>
                  <a:lnTo>
                    <a:pt x="1677" y="717"/>
                  </a:lnTo>
                  <a:lnTo>
                    <a:pt x="1677" y="717"/>
                  </a:lnTo>
                  <a:lnTo>
                    <a:pt x="1677" y="717"/>
                  </a:lnTo>
                  <a:lnTo>
                    <a:pt x="1677" y="715"/>
                  </a:lnTo>
                  <a:lnTo>
                    <a:pt x="1677" y="715"/>
                  </a:lnTo>
                  <a:lnTo>
                    <a:pt x="1677" y="715"/>
                  </a:lnTo>
                  <a:lnTo>
                    <a:pt x="1679" y="715"/>
                  </a:lnTo>
                  <a:lnTo>
                    <a:pt x="1679" y="717"/>
                  </a:lnTo>
                  <a:lnTo>
                    <a:pt x="1679" y="717"/>
                  </a:lnTo>
                  <a:lnTo>
                    <a:pt x="1679" y="715"/>
                  </a:lnTo>
                  <a:lnTo>
                    <a:pt x="1679" y="715"/>
                  </a:lnTo>
                  <a:lnTo>
                    <a:pt x="1679" y="715"/>
                  </a:lnTo>
                  <a:lnTo>
                    <a:pt x="1679" y="713"/>
                  </a:lnTo>
                  <a:lnTo>
                    <a:pt x="1677" y="713"/>
                  </a:lnTo>
                  <a:lnTo>
                    <a:pt x="1677" y="713"/>
                  </a:lnTo>
                  <a:lnTo>
                    <a:pt x="1677" y="711"/>
                  </a:lnTo>
                  <a:lnTo>
                    <a:pt x="1677" y="711"/>
                  </a:lnTo>
                  <a:lnTo>
                    <a:pt x="1677" y="711"/>
                  </a:lnTo>
                  <a:lnTo>
                    <a:pt x="1677" y="711"/>
                  </a:lnTo>
                  <a:lnTo>
                    <a:pt x="1677" y="709"/>
                  </a:lnTo>
                  <a:lnTo>
                    <a:pt x="1675" y="707"/>
                  </a:lnTo>
                  <a:lnTo>
                    <a:pt x="1677" y="707"/>
                  </a:lnTo>
                  <a:lnTo>
                    <a:pt x="1677" y="707"/>
                  </a:lnTo>
                  <a:lnTo>
                    <a:pt x="1677" y="707"/>
                  </a:lnTo>
                  <a:lnTo>
                    <a:pt x="1677" y="707"/>
                  </a:lnTo>
                  <a:lnTo>
                    <a:pt x="1677" y="707"/>
                  </a:lnTo>
                  <a:lnTo>
                    <a:pt x="1677" y="705"/>
                  </a:lnTo>
                  <a:lnTo>
                    <a:pt x="1675" y="703"/>
                  </a:lnTo>
                  <a:lnTo>
                    <a:pt x="1675" y="703"/>
                  </a:lnTo>
                  <a:lnTo>
                    <a:pt x="1675" y="703"/>
                  </a:lnTo>
                  <a:lnTo>
                    <a:pt x="1675" y="703"/>
                  </a:lnTo>
                  <a:lnTo>
                    <a:pt x="1675" y="701"/>
                  </a:lnTo>
                  <a:lnTo>
                    <a:pt x="1673" y="701"/>
                  </a:lnTo>
                  <a:lnTo>
                    <a:pt x="1671" y="699"/>
                  </a:lnTo>
                  <a:lnTo>
                    <a:pt x="1671" y="699"/>
                  </a:lnTo>
                  <a:lnTo>
                    <a:pt x="1671" y="697"/>
                  </a:lnTo>
                  <a:lnTo>
                    <a:pt x="1665" y="693"/>
                  </a:lnTo>
                  <a:lnTo>
                    <a:pt x="1663" y="693"/>
                  </a:lnTo>
                  <a:lnTo>
                    <a:pt x="1663" y="691"/>
                  </a:lnTo>
                  <a:lnTo>
                    <a:pt x="1661" y="691"/>
                  </a:lnTo>
                  <a:lnTo>
                    <a:pt x="1661" y="693"/>
                  </a:lnTo>
                  <a:lnTo>
                    <a:pt x="1659" y="693"/>
                  </a:lnTo>
                  <a:lnTo>
                    <a:pt x="1659" y="695"/>
                  </a:lnTo>
                  <a:lnTo>
                    <a:pt x="1657" y="695"/>
                  </a:lnTo>
                  <a:lnTo>
                    <a:pt x="1657" y="695"/>
                  </a:lnTo>
                  <a:lnTo>
                    <a:pt x="1657" y="695"/>
                  </a:lnTo>
                  <a:lnTo>
                    <a:pt x="1657" y="695"/>
                  </a:lnTo>
                  <a:lnTo>
                    <a:pt x="1657" y="697"/>
                  </a:lnTo>
                  <a:lnTo>
                    <a:pt x="1655" y="697"/>
                  </a:lnTo>
                  <a:lnTo>
                    <a:pt x="1653" y="697"/>
                  </a:lnTo>
                  <a:lnTo>
                    <a:pt x="1655" y="697"/>
                  </a:lnTo>
                  <a:lnTo>
                    <a:pt x="1655" y="699"/>
                  </a:lnTo>
                  <a:lnTo>
                    <a:pt x="1655" y="699"/>
                  </a:lnTo>
                  <a:lnTo>
                    <a:pt x="1657" y="699"/>
                  </a:lnTo>
                  <a:lnTo>
                    <a:pt x="1659" y="699"/>
                  </a:lnTo>
                  <a:lnTo>
                    <a:pt x="1659" y="699"/>
                  </a:lnTo>
                  <a:lnTo>
                    <a:pt x="1659" y="699"/>
                  </a:lnTo>
                  <a:lnTo>
                    <a:pt x="1653" y="701"/>
                  </a:lnTo>
                  <a:lnTo>
                    <a:pt x="1653" y="701"/>
                  </a:lnTo>
                  <a:lnTo>
                    <a:pt x="1653" y="703"/>
                  </a:lnTo>
                  <a:lnTo>
                    <a:pt x="1653" y="703"/>
                  </a:lnTo>
                  <a:lnTo>
                    <a:pt x="1655" y="703"/>
                  </a:lnTo>
                  <a:lnTo>
                    <a:pt x="1655" y="703"/>
                  </a:lnTo>
                  <a:lnTo>
                    <a:pt x="1655" y="703"/>
                  </a:lnTo>
                  <a:lnTo>
                    <a:pt x="1655" y="703"/>
                  </a:lnTo>
                  <a:lnTo>
                    <a:pt x="1657" y="703"/>
                  </a:lnTo>
                  <a:lnTo>
                    <a:pt x="1657" y="701"/>
                  </a:lnTo>
                  <a:lnTo>
                    <a:pt x="1657" y="701"/>
                  </a:lnTo>
                  <a:lnTo>
                    <a:pt x="1657" y="701"/>
                  </a:lnTo>
                  <a:lnTo>
                    <a:pt x="1657" y="701"/>
                  </a:lnTo>
                  <a:lnTo>
                    <a:pt x="1657" y="701"/>
                  </a:lnTo>
                  <a:lnTo>
                    <a:pt x="1657" y="701"/>
                  </a:lnTo>
                  <a:lnTo>
                    <a:pt x="1659" y="703"/>
                  </a:lnTo>
                  <a:lnTo>
                    <a:pt x="1659" y="703"/>
                  </a:lnTo>
                  <a:lnTo>
                    <a:pt x="1657" y="703"/>
                  </a:lnTo>
                  <a:lnTo>
                    <a:pt x="1655" y="705"/>
                  </a:lnTo>
                  <a:lnTo>
                    <a:pt x="1655" y="705"/>
                  </a:lnTo>
                  <a:lnTo>
                    <a:pt x="1653" y="705"/>
                  </a:lnTo>
                  <a:lnTo>
                    <a:pt x="1653" y="707"/>
                  </a:lnTo>
                  <a:lnTo>
                    <a:pt x="1653" y="709"/>
                  </a:lnTo>
                  <a:lnTo>
                    <a:pt x="1655" y="709"/>
                  </a:lnTo>
                  <a:lnTo>
                    <a:pt x="1655" y="707"/>
                  </a:lnTo>
                  <a:lnTo>
                    <a:pt x="1655" y="707"/>
                  </a:lnTo>
                  <a:lnTo>
                    <a:pt x="1657" y="705"/>
                  </a:lnTo>
                  <a:lnTo>
                    <a:pt x="1659" y="705"/>
                  </a:lnTo>
                  <a:lnTo>
                    <a:pt x="1659" y="705"/>
                  </a:lnTo>
                  <a:lnTo>
                    <a:pt x="1659" y="705"/>
                  </a:lnTo>
                  <a:lnTo>
                    <a:pt x="1659" y="705"/>
                  </a:lnTo>
                  <a:lnTo>
                    <a:pt x="1657" y="707"/>
                  </a:lnTo>
                  <a:lnTo>
                    <a:pt x="1657" y="707"/>
                  </a:lnTo>
                  <a:lnTo>
                    <a:pt x="1657" y="707"/>
                  </a:lnTo>
                  <a:lnTo>
                    <a:pt x="1657" y="707"/>
                  </a:lnTo>
                  <a:lnTo>
                    <a:pt x="1655" y="707"/>
                  </a:lnTo>
                  <a:lnTo>
                    <a:pt x="1655" y="707"/>
                  </a:lnTo>
                  <a:lnTo>
                    <a:pt x="1657" y="709"/>
                  </a:lnTo>
                  <a:lnTo>
                    <a:pt x="1657" y="709"/>
                  </a:lnTo>
                  <a:lnTo>
                    <a:pt x="1657" y="709"/>
                  </a:lnTo>
                  <a:lnTo>
                    <a:pt x="1655" y="709"/>
                  </a:lnTo>
                  <a:lnTo>
                    <a:pt x="1655" y="709"/>
                  </a:lnTo>
                  <a:lnTo>
                    <a:pt x="1655" y="709"/>
                  </a:lnTo>
                  <a:lnTo>
                    <a:pt x="1655" y="709"/>
                  </a:lnTo>
                  <a:lnTo>
                    <a:pt x="1655" y="709"/>
                  </a:lnTo>
                  <a:lnTo>
                    <a:pt x="1655" y="711"/>
                  </a:lnTo>
                  <a:lnTo>
                    <a:pt x="1655" y="711"/>
                  </a:lnTo>
                  <a:lnTo>
                    <a:pt x="1655" y="711"/>
                  </a:lnTo>
                  <a:lnTo>
                    <a:pt x="1655" y="713"/>
                  </a:lnTo>
                  <a:lnTo>
                    <a:pt x="1657" y="713"/>
                  </a:lnTo>
                  <a:lnTo>
                    <a:pt x="1657" y="713"/>
                  </a:lnTo>
                  <a:lnTo>
                    <a:pt x="1659" y="713"/>
                  </a:lnTo>
                  <a:lnTo>
                    <a:pt x="1659" y="715"/>
                  </a:lnTo>
                  <a:lnTo>
                    <a:pt x="1659" y="715"/>
                  </a:lnTo>
                  <a:lnTo>
                    <a:pt x="1657" y="715"/>
                  </a:lnTo>
                  <a:lnTo>
                    <a:pt x="1657" y="715"/>
                  </a:lnTo>
                  <a:lnTo>
                    <a:pt x="1657" y="715"/>
                  </a:lnTo>
                  <a:lnTo>
                    <a:pt x="1657" y="717"/>
                  </a:lnTo>
                  <a:lnTo>
                    <a:pt x="1657" y="717"/>
                  </a:lnTo>
                  <a:lnTo>
                    <a:pt x="1655" y="721"/>
                  </a:lnTo>
                  <a:lnTo>
                    <a:pt x="1655" y="721"/>
                  </a:lnTo>
                  <a:lnTo>
                    <a:pt x="1655" y="721"/>
                  </a:lnTo>
                  <a:lnTo>
                    <a:pt x="1657" y="723"/>
                  </a:lnTo>
                  <a:lnTo>
                    <a:pt x="1659" y="723"/>
                  </a:lnTo>
                  <a:lnTo>
                    <a:pt x="1659" y="723"/>
                  </a:lnTo>
                  <a:lnTo>
                    <a:pt x="1659" y="723"/>
                  </a:lnTo>
                  <a:lnTo>
                    <a:pt x="1659" y="723"/>
                  </a:lnTo>
                  <a:lnTo>
                    <a:pt x="1661" y="725"/>
                  </a:lnTo>
                  <a:lnTo>
                    <a:pt x="1661" y="725"/>
                  </a:lnTo>
                  <a:lnTo>
                    <a:pt x="1663" y="725"/>
                  </a:lnTo>
                  <a:lnTo>
                    <a:pt x="1665" y="728"/>
                  </a:lnTo>
                  <a:lnTo>
                    <a:pt x="1665" y="728"/>
                  </a:lnTo>
                  <a:lnTo>
                    <a:pt x="1665" y="725"/>
                  </a:lnTo>
                  <a:close/>
                  <a:moveTo>
                    <a:pt x="756" y="816"/>
                  </a:moveTo>
                  <a:lnTo>
                    <a:pt x="756" y="816"/>
                  </a:lnTo>
                  <a:lnTo>
                    <a:pt x="756" y="816"/>
                  </a:lnTo>
                  <a:lnTo>
                    <a:pt x="754" y="816"/>
                  </a:lnTo>
                  <a:lnTo>
                    <a:pt x="752" y="818"/>
                  </a:lnTo>
                  <a:lnTo>
                    <a:pt x="750" y="818"/>
                  </a:lnTo>
                  <a:lnTo>
                    <a:pt x="750" y="820"/>
                  </a:lnTo>
                  <a:lnTo>
                    <a:pt x="750" y="818"/>
                  </a:lnTo>
                  <a:lnTo>
                    <a:pt x="756" y="816"/>
                  </a:lnTo>
                  <a:lnTo>
                    <a:pt x="756" y="816"/>
                  </a:lnTo>
                  <a:close/>
                  <a:moveTo>
                    <a:pt x="1602" y="725"/>
                  </a:moveTo>
                  <a:lnTo>
                    <a:pt x="1604" y="725"/>
                  </a:lnTo>
                  <a:lnTo>
                    <a:pt x="1604" y="725"/>
                  </a:lnTo>
                  <a:lnTo>
                    <a:pt x="1604" y="723"/>
                  </a:lnTo>
                  <a:lnTo>
                    <a:pt x="1604" y="721"/>
                  </a:lnTo>
                  <a:lnTo>
                    <a:pt x="1604" y="721"/>
                  </a:lnTo>
                  <a:lnTo>
                    <a:pt x="1604" y="721"/>
                  </a:lnTo>
                  <a:lnTo>
                    <a:pt x="1604" y="721"/>
                  </a:lnTo>
                  <a:lnTo>
                    <a:pt x="1606" y="723"/>
                  </a:lnTo>
                  <a:lnTo>
                    <a:pt x="1606" y="721"/>
                  </a:lnTo>
                  <a:lnTo>
                    <a:pt x="1606" y="721"/>
                  </a:lnTo>
                  <a:lnTo>
                    <a:pt x="1608" y="719"/>
                  </a:lnTo>
                  <a:lnTo>
                    <a:pt x="1608" y="719"/>
                  </a:lnTo>
                  <a:lnTo>
                    <a:pt x="1608" y="717"/>
                  </a:lnTo>
                  <a:lnTo>
                    <a:pt x="1608" y="717"/>
                  </a:lnTo>
                  <a:lnTo>
                    <a:pt x="1608" y="719"/>
                  </a:lnTo>
                  <a:lnTo>
                    <a:pt x="1608" y="719"/>
                  </a:lnTo>
                  <a:lnTo>
                    <a:pt x="1606" y="719"/>
                  </a:lnTo>
                  <a:lnTo>
                    <a:pt x="1604" y="721"/>
                  </a:lnTo>
                  <a:lnTo>
                    <a:pt x="1604" y="721"/>
                  </a:lnTo>
                  <a:lnTo>
                    <a:pt x="1604" y="719"/>
                  </a:lnTo>
                  <a:lnTo>
                    <a:pt x="1604" y="719"/>
                  </a:lnTo>
                  <a:lnTo>
                    <a:pt x="1602" y="719"/>
                  </a:lnTo>
                  <a:lnTo>
                    <a:pt x="1602" y="719"/>
                  </a:lnTo>
                  <a:lnTo>
                    <a:pt x="1602" y="719"/>
                  </a:lnTo>
                  <a:lnTo>
                    <a:pt x="1600" y="719"/>
                  </a:lnTo>
                  <a:lnTo>
                    <a:pt x="1600" y="719"/>
                  </a:lnTo>
                  <a:lnTo>
                    <a:pt x="1600" y="721"/>
                  </a:lnTo>
                  <a:lnTo>
                    <a:pt x="1600" y="721"/>
                  </a:lnTo>
                  <a:lnTo>
                    <a:pt x="1600" y="719"/>
                  </a:lnTo>
                  <a:lnTo>
                    <a:pt x="1600" y="719"/>
                  </a:lnTo>
                  <a:lnTo>
                    <a:pt x="1598" y="719"/>
                  </a:lnTo>
                  <a:lnTo>
                    <a:pt x="1598" y="721"/>
                  </a:lnTo>
                  <a:lnTo>
                    <a:pt x="1600" y="721"/>
                  </a:lnTo>
                  <a:lnTo>
                    <a:pt x="1600" y="721"/>
                  </a:lnTo>
                  <a:lnTo>
                    <a:pt x="1598" y="721"/>
                  </a:lnTo>
                  <a:lnTo>
                    <a:pt x="1598" y="721"/>
                  </a:lnTo>
                  <a:lnTo>
                    <a:pt x="1598" y="723"/>
                  </a:lnTo>
                  <a:lnTo>
                    <a:pt x="1600" y="725"/>
                  </a:lnTo>
                  <a:lnTo>
                    <a:pt x="1602" y="725"/>
                  </a:lnTo>
                  <a:close/>
                  <a:moveTo>
                    <a:pt x="1606" y="717"/>
                  </a:moveTo>
                  <a:lnTo>
                    <a:pt x="1606" y="717"/>
                  </a:lnTo>
                  <a:lnTo>
                    <a:pt x="1606" y="717"/>
                  </a:lnTo>
                  <a:lnTo>
                    <a:pt x="1608" y="717"/>
                  </a:lnTo>
                  <a:lnTo>
                    <a:pt x="1608" y="717"/>
                  </a:lnTo>
                  <a:lnTo>
                    <a:pt x="1608" y="717"/>
                  </a:lnTo>
                  <a:lnTo>
                    <a:pt x="1608" y="719"/>
                  </a:lnTo>
                  <a:lnTo>
                    <a:pt x="1610" y="719"/>
                  </a:lnTo>
                  <a:lnTo>
                    <a:pt x="1610" y="719"/>
                  </a:lnTo>
                  <a:lnTo>
                    <a:pt x="1610" y="719"/>
                  </a:lnTo>
                  <a:lnTo>
                    <a:pt x="1610" y="719"/>
                  </a:lnTo>
                  <a:lnTo>
                    <a:pt x="1610" y="719"/>
                  </a:lnTo>
                  <a:lnTo>
                    <a:pt x="1610" y="719"/>
                  </a:lnTo>
                  <a:lnTo>
                    <a:pt x="1610" y="717"/>
                  </a:lnTo>
                  <a:lnTo>
                    <a:pt x="1610" y="717"/>
                  </a:lnTo>
                  <a:lnTo>
                    <a:pt x="1610" y="715"/>
                  </a:lnTo>
                  <a:lnTo>
                    <a:pt x="1610" y="715"/>
                  </a:lnTo>
                  <a:lnTo>
                    <a:pt x="1608" y="715"/>
                  </a:lnTo>
                  <a:lnTo>
                    <a:pt x="1608" y="715"/>
                  </a:lnTo>
                  <a:lnTo>
                    <a:pt x="1608" y="715"/>
                  </a:lnTo>
                  <a:lnTo>
                    <a:pt x="1608" y="713"/>
                  </a:lnTo>
                  <a:lnTo>
                    <a:pt x="1608" y="713"/>
                  </a:lnTo>
                  <a:lnTo>
                    <a:pt x="1606" y="713"/>
                  </a:lnTo>
                  <a:lnTo>
                    <a:pt x="1606" y="713"/>
                  </a:lnTo>
                  <a:lnTo>
                    <a:pt x="1606" y="715"/>
                  </a:lnTo>
                  <a:lnTo>
                    <a:pt x="1606" y="715"/>
                  </a:lnTo>
                  <a:lnTo>
                    <a:pt x="1606" y="715"/>
                  </a:lnTo>
                  <a:lnTo>
                    <a:pt x="1606" y="715"/>
                  </a:lnTo>
                  <a:lnTo>
                    <a:pt x="1608" y="715"/>
                  </a:lnTo>
                  <a:lnTo>
                    <a:pt x="1606" y="717"/>
                  </a:lnTo>
                  <a:lnTo>
                    <a:pt x="1606" y="717"/>
                  </a:lnTo>
                  <a:close/>
                  <a:moveTo>
                    <a:pt x="1606" y="738"/>
                  </a:moveTo>
                  <a:lnTo>
                    <a:pt x="1606" y="738"/>
                  </a:lnTo>
                  <a:lnTo>
                    <a:pt x="1606" y="738"/>
                  </a:lnTo>
                  <a:lnTo>
                    <a:pt x="1606" y="738"/>
                  </a:lnTo>
                  <a:lnTo>
                    <a:pt x="1608" y="740"/>
                  </a:lnTo>
                  <a:lnTo>
                    <a:pt x="1608" y="740"/>
                  </a:lnTo>
                  <a:lnTo>
                    <a:pt x="1608" y="738"/>
                  </a:lnTo>
                  <a:lnTo>
                    <a:pt x="1610" y="738"/>
                  </a:lnTo>
                  <a:lnTo>
                    <a:pt x="1610" y="738"/>
                  </a:lnTo>
                  <a:lnTo>
                    <a:pt x="1610" y="738"/>
                  </a:lnTo>
                  <a:lnTo>
                    <a:pt x="1610" y="736"/>
                  </a:lnTo>
                  <a:lnTo>
                    <a:pt x="1610" y="736"/>
                  </a:lnTo>
                  <a:lnTo>
                    <a:pt x="1610" y="736"/>
                  </a:lnTo>
                  <a:lnTo>
                    <a:pt x="1610" y="734"/>
                  </a:lnTo>
                  <a:lnTo>
                    <a:pt x="1608" y="734"/>
                  </a:lnTo>
                  <a:lnTo>
                    <a:pt x="1606" y="734"/>
                  </a:lnTo>
                  <a:lnTo>
                    <a:pt x="1606" y="734"/>
                  </a:lnTo>
                  <a:lnTo>
                    <a:pt x="1606" y="736"/>
                  </a:lnTo>
                  <a:lnTo>
                    <a:pt x="1606" y="736"/>
                  </a:lnTo>
                  <a:lnTo>
                    <a:pt x="1606" y="738"/>
                  </a:lnTo>
                  <a:close/>
                  <a:moveTo>
                    <a:pt x="1598" y="713"/>
                  </a:moveTo>
                  <a:lnTo>
                    <a:pt x="1598" y="713"/>
                  </a:lnTo>
                  <a:lnTo>
                    <a:pt x="1600" y="711"/>
                  </a:lnTo>
                  <a:lnTo>
                    <a:pt x="1600" y="711"/>
                  </a:lnTo>
                  <a:lnTo>
                    <a:pt x="1600" y="709"/>
                  </a:lnTo>
                  <a:lnTo>
                    <a:pt x="1600" y="709"/>
                  </a:lnTo>
                  <a:lnTo>
                    <a:pt x="1602" y="709"/>
                  </a:lnTo>
                  <a:lnTo>
                    <a:pt x="1602" y="709"/>
                  </a:lnTo>
                  <a:lnTo>
                    <a:pt x="1602" y="709"/>
                  </a:lnTo>
                  <a:lnTo>
                    <a:pt x="1604" y="709"/>
                  </a:lnTo>
                  <a:lnTo>
                    <a:pt x="1604" y="709"/>
                  </a:lnTo>
                  <a:lnTo>
                    <a:pt x="1604" y="709"/>
                  </a:lnTo>
                  <a:lnTo>
                    <a:pt x="1604" y="707"/>
                  </a:lnTo>
                  <a:lnTo>
                    <a:pt x="1604" y="707"/>
                  </a:lnTo>
                  <a:lnTo>
                    <a:pt x="1604" y="705"/>
                  </a:lnTo>
                  <a:lnTo>
                    <a:pt x="1604" y="705"/>
                  </a:lnTo>
                  <a:lnTo>
                    <a:pt x="1604" y="705"/>
                  </a:lnTo>
                  <a:lnTo>
                    <a:pt x="1604" y="705"/>
                  </a:lnTo>
                  <a:lnTo>
                    <a:pt x="1604" y="703"/>
                  </a:lnTo>
                  <a:lnTo>
                    <a:pt x="1604" y="701"/>
                  </a:lnTo>
                  <a:lnTo>
                    <a:pt x="1604" y="701"/>
                  </a:lnTo>
                  <a:lnTo>
                    <a:pt x="1602" y="701"/>
                  </a:lnTo>
                  <a:lnTo>
                    <a:pt x="1602" y="701"/>
                  </a:lnTo>
                  <a:lnTo>
                    <a:pt x="1600" y="701"/>
                  </a:lnTo>
                  <a:lnTo>
                    <a:pt x="1600" y="701"/>
                  </a:lnTo>
                  <a:lnTo>
                    <a:pt x="1600" y="703"/>
                  </a:lnTo>
                  <a:lnTo>
                    <a:pt x="1600" y="703"/>
                  </a:lnTo>
                  <a:lnTo>
                    <a:pt x="1598" y="703"/>
                  </a:lnTo>
                  <a:lnTo>
                    <a:pt x="1598" y="705"/>
                  </a:lnTo>
                  <a:lnTo>
                    <a:pt x="1598" y="705"/>
                  </a:lnTo>
                  <a:lnTo>
                    <a:pt x="1598" y="705"/>
                  </a:lnTo>
                  <a:lnTo>
                    <a:pt x="1595" y="705"/>
                  </a:lnTo>
                  <a:lnTo>
                    <a:pt x="1593" y="705"/>
                  </a:lnTo>
                  <a:lnTo>
                    <a:pt x="1593" y="705"/>
                  </a:lnTo>
                  <a:lnTo>
                    <a:pt x="1595" y="707"/>
                  </a:lnTo>
                  <a:lnTo>
                    <a:pt x="1598" y="705"/>
                  </a:lnTo>
                  <a:lnTo>
                    <a:pt x="1598" y="705"/>
                  </a:lnTo>
                  <a:lnTo>
                    <a:pt x="1598" y="707"/>
                  </a:lnTo>
                  <a:lnTo>
                    <a:pt x="1598" y="707"/>
                  </a:lnTo>
                  <a:lnTo>
                    <a:pt x="1595" y="707"/>
                  </a:lnTo>
                  <a:lnTo>
                    <a:pt x="1593" y="709"/>
                  </a:lnTo>
                  <a:lnTo>
                    <a:pt x="1593" y="709"/>
                  </a:lnTo>
                  <a:lnTo>
                    <a:pt x="1593" y="709"/>
                  </a:lnTo>
                  <a:lnTo>
                    <a:pt x="1593" y="709"/>
                  </a:lnTo>
                  <a:lnTo>
                    <a:pt x="1591" y="713"/>
                  </a:lnTo>
                  <a:lnTo>
                    <a:pt x="1591" y="715"/>
                  </a:lnTo>
                  <a:lnTo>
                    <a:pt x="1593" y="717"/>
                  </a:lnTo>
                  <a:lnTo>
                    <a:pt x="1593" y="717"/>
                  </a:lnTo>
                  <a:lnTo>
                    <a:pt x="1593" y="717"/>
                  </a:lnTo>
                  <a:lnTo>
                    <a:pt x="1595" y="717"/>
                  </a:lnTo>
                  <a:lnTo>
                    <a:pt x="1595" y="717"/>
                  </a:lnTo>
                  <a:lnTo>
                    <a:pt x="1595" y="717"/>
                  </a:lnTo>
                  <a:lnTo>
                    <a:pt x="1595" y="715"/>
                  </a:lnTo>
                  <a:lnTo>
                    <a:pt x="1598" y="715"/>
                  </a:lnTo>
                  <a:lnTo>
                    <a:pt x="1598" y="715"/>
                  </a:lnTo>
                  <a:lnTo>
                    <a:pt x="1598" y="715"/>
                  </a:lnTo>
                  <a:lnTo>
                    <a:pt x="1595" y="715"/>
                  </a:lnTo>
                  <a:lnTo>
                    <a:pt x="1595" y="713"/>
                  </a:lnTo>
                  <a:lnTo>
                    <a:pt x="1595" y="713"/>
                  </a:lnTo>
                  <a:lnTo>
                    <a:pt x="1598" y="713"/>
                  </a:lnTo>
                  <a:close/>
                  <a:moveTo>
                    <a:pt x="1606" y="736"/>
                  </a:moveTo>
                  <a:lnTo>
                    <a:pt x="1606" y="736"/>
                  </a:lnTo>
                  <a:lnTo>
                    <a:pt x="1604" y="734"/>
                  </a:lnTo>
                  <a:lnTo>
                    <a:pt x="1604" y="734"/>
                  </a:lnTo>
                  <a:lnTo>
                    <a:pt x="1604" y="734"/>
                  </a:lnTo>
                  <a:lnTo>
                    <a:pt x="1602" y="734"/>
                  </a:lnTo>
                  <a:lnTo>
                    <a:pt x="1602" y="734"/>
                  </a:lnTo>
                  <a:lnTo>
                    <a:pt x="1600" y="734"/>
                  </a:lnTo>
                  <a:lnTo>
                    <a:pt x="1600" y="734"/>
                  </a:lnTo>
                  <a:lnTo>
                    <a:pt x="1600" y="736"/>
                  </a:lnTo>
                  <a:lnTo>
                    <a:pt x="1600" y="736"/>
                  </a:lnTo>
                  <a:lnTo>
                    <a:pt x="1600" y="736"/>
                  </a:lnTo>
                  <a:lnTo>
                    <a:pt x="1600" y="736"/>
                  </a:lnTo>
                  <a:lnTo>
                    <a:pt x="1600" y="736"/>
                  </a:lnTo>
                  <a:lnTo>
                    <a:pt x="1602" y="736"/>
                  </a:lnTo>
                  <a:lnTo>
                    <a:pt x="1602" y="736"/>
                  </a:lnTo>
                  <a:lnTo>
                    <a:pt x="1602" y="736"/>
                  </a:lnTo>
                  <a:lnTo>
                    <a:pt x="1600" y="738"/>
                  </a:lnTo>
                  <a:lnTo>
                    <a:pt x="1600" y="740"/>
                  </a:lnTo>
                  <a:lnTo>
                    <a:pt x="1600" y="740"/>
                  </a:lnTo>
                  <a:lnTo>
                    <a:pt x="1600" y="740"/>
                  </a:lnTo>
                  <a:lnTo>
                    <a:pt x="1600" y="740"/>
                  </a:lnTo>
                  <a:lnTo>
                    <a:pt x="1602" y="740"/>
                  </a:lnTo>
                  <a:lnTo>
                    <a:pt x="1602" y="738"/>
                  </a:lnTo>
                  <a:lnTo>
                    <a:pt x="1602" y="738"/>
                  </a:lnTo>
                  <a:lnTo>
                    <a:pt x="1604" y="740"/>
                  </a:lnTo>
                  <a:lnTo>
                    <a:pt x="1604" y="740"/>
                  </a:lnTo>
                  <a:lnTo>
                    <a:pt x="1604" y="738"/>
                  </a:lnTo>
                  <a:lnTo>
                    <a:pt x="1604" y="738"/>
                  </a:lnTo>
                  <a:lnTo>
                    <a:pt x="1604" y="736"/>
                  </a:lnTo>
                  <a:lnTo>
                    <a:pt x="1606" y="736"/>
                  </a:lnTo>
                  <a:close/>
                  <a:moveTo>
                    <a:pt x="1616" y="672"/>
                  </a:moveTo>
                  <a:lnTo>
                    <a:pt x="1616" y="672"/>
                  </a:lnTo>
                  <a:lnTo>
                    <a:pt x="1616" y="672"/>
                  </a:lnTo>
                  <a:lnTo>
                    <a:pt x="1616" y="672"/>
                  </a:lnTo>
                  <a:lnTo>
                    <a:pt x="1614" y="672"/>
                  </a:lnTo>
                  <a:lnTo>
                    <a:pt x="1614" y="672"/>
                  </a:lnTo>
                  <a:lnTo>
                    <a:pt x="1614" y="672"/>
                  </a:lnTo>
                  <a:lnTo>
                    <a:pt x="1614" y="670"/>
                  </a:lnTo>
                  <a:lnTo>
                    <a:pt x="1614" y="670"/>
                  </a:lnTo>
                  <a:lnTo>
                    <a:pt x="1612" y="670"/>
                  </a:lnTo>
                  <a:lnTo>
                    <a:pt x="1612" y="670"/>
                  </a:lnTo>
                  <a:lnTo>
                    <a:pt x="1612" y="670"/>
                  </a:lnTo>
                  <a:lnTo>
                    <a:pt x="1612" y="670"/>
                  </a:lnTo>
                  <a:lnTo>
                    <a:pt x="1612" y="668"/>
                  </a:lnTo>
                  <a:lnTo>
                    <a:pt x="1610" y="668"/>
                  </a:lnTo>
                  <a:lnTo>
                    <a:pt x="1610" y="668"/>
                  </a:lnTo>
                  <a:lnTo>
                    <a:pt x="1610" y="668"/>
                  </a:lnTo>
                  <a:lnTo>
                    <a:pt x="1608" y="668"/>
                  </a:lnTo>
                  <a:lnTo>
                    <a:pt x="1608" y="666"/>
                  </a:lnTo>
                  <a:lnTo>
                    <a:pt x="1608" y="666"/>
                  </a:lnTo>
                  <a:lnTo>
                    <a:pt x="1606" y="664"/>
                  </a:lnTo>
                  <a:lnTo>
                    <a:pt x="1604" y="664"/>
                  </a:lnTo>
                  <a:lnTo>
                    <a:pt x="1604" y="666"/>
                  </a:lnTo>
                  <a:lnTo>
                    <a:pt x="1604" y="666"/>
                  </a:lnTo>
                  <a:lnTo>
                    <a:pt x="1602" y="664"/>
                  </a:lnTo>
                  <a:lnTo>
                    <a:pt x="1602" y="666"/>
                  </a:lnTo>
                  <a:lnTo>
                    <a:pt x="1602" y="666"/>
                  </a:lnTo>
                  <a:lnTo>
                    <a:pt x="1602" y="666"/>
                  </a:lnTo>
                  <a:lnTo>
                    <a:pt x="1604" y="668"/>
                  </a:lnTo>
                  <a:lnTo>
                    <a:pt x="1604" y="668"/>
                  </a:lnTo>
                  <a:lnTo>
                    <a:pt x="1604" y="668"/>
                  </a:lnTo>
                  <a:lnTo>
                    <a:pt x="1604" y="670"/>
                  </a:lnTo>
                  <a:lnTo>
                    <a:pt x="1604" y="670"/>
                  </a:lnTo>
                  <a:lnTo>
                    <a:pt x="1604" y="670"/>
                  </a:lnTo>
                  <a:lnTo>
                    <a:pt x="1606" y="672"/>
                  </a:lnTo>
                  <a:lnTo>
                    <a:pt x="1606" y="672"/>
                  </a:lnTo>
                  <a:lnTo>
                    <a:pt x="1606" y="674"/>
                  </a:lnTo>
                  <a:lnTo>
                    <a:pt x="1606" y="674"/>
                  </a:lnTo>
                  <a:lnTo>
                    <a:pt x="1606" y="674"/>
                  </a:lnTo>
                  <a:lnTo>
                    <a:pt x="1604" y="676"/>
                  </a:lnTo>
                  <a:lnTo>
                    <a:pt x="1606" y="676"/>
                  </a:lnTo>
                  <a:lnTo>
                    <a:pt x="1606" y="678"/>
                  </a:lnTo>
                  <a:lnTo>
                    <a:pt x="1606" y="680"/>
                  </a:lnTo>
                  <a:lnTo>
                    <a:pt x="1608" y="680"/>
                  </a:lnTo>
                  <a:lnTo>
                    <a:pt x="1610" y="680"/>
                  </a:lnTo>
                  <a:lnTo>
                    <a:pt x="1612" y="678"/>
                  </a:lnTo>
                  <a:lnTo>
                    <a:pt x="1612" y="678"/>
                  </a:lnTo>
                  <a:lnTo>
                    <a:pt x="1612" y="678"/>
                  </a:lnTo>
                  <a:lnTo>
                    <a:pt x="1612" y="678"/>
                  </a:lnTo>
                  <a:lnTo>
                    <a:pt x="1610" y="676"/>
                  </a:lnTo>
                  <a:lnTo>
                    <a:pt x="1612" y="676"/>
                  </a:lnTo>
                  <a:lnTo>
                    <a:pt x="1612" y="676"/>
                  </a:lnTo>
                  <a:lnTo>
                    <a:pt x="1612" y="676"/>
                  </a:lnTo>
                  <a:lnTo>
                    <a:pt x="1612" y="676"/>
                  </a:lnTo>
                  <a:lnTo>
                    <a:pt x="1614" y="676"/>
                  </a:lnTo>
                  <a:lnTo>
                    <a:pt x="1614" y="676"/>
                  </a:lnTo>
                  <a:lnTo>
                    <a:pt x="1614" y="676"/>
                  </a:lnTo>
                  <a:lnTo>
                    <a:pt x="1614" y="676"/>
                  </a:lnTo>
                  <a:lnTo>
                    <a:pt x="1614" y="674"/>
                  </a:lnTo>
                  <a:lnTo>
                    <a:pt x="1616" y="674"/>
                  </a:lnTo>
                  <a:lnTo>
                    <a:pt x="1616" y="674"/>
                  </a:lnTo>
                  <a:lnTo>
                    <a:pt x="1616" y="674"/>
                  </a:lnTo>
                  <a:lnTo>
                    <a:pt x="1616" y="672"/>
                  </a:lnTo>
                  <a:lnTo>
                    <a:pt x="1616" y="672"/>
                  </a:lnTo>
                  <a:lnTo>
                    <a:pt x="1616" y="672"/>
                  </a:lnTo>
                  <a:lnTo>
                    <a:pt x="1616" y="672"/>
                  </a:lnTo>
                  <a:close/>
                  <a:moveTo>
                    <a:pt x="1589" y="717"/>
                  </a:moveTo>
                  <a:lnTo>
                    <a:pt x="1589" y="717"/>
                  </a:lnTo>
                  <a:lnTo>
                    <a:pt x="1589" y="717"/>
                  </a:lnTo>
                  <a:lnTo>
                    <a:pt x="1589" y="719"/>
                  </a:lnTo>
                  <a:lnTo>
                    <a:pt x="1589" y="719"/>
                  </a:lnTo>
                  <a:lnTo>
                    <a:pt x="1589" y="719"/>
                  </a:lnTo>
                  <a:lnTo>
                    <a:pt x="1589" y="721"/>
                  </a:lnTo>
                  <a:lnTo>
                    <a:pt x="1591" y="721"/>
                  </a:lnTo>
                  <a:lnTo>
                    <a:pt x="1591" y="719"/>
                  </a:lnTo>
                  <a:lnTo>
                    <a:pt x="1591" y="717"/>
                  </a:lnTo>
                  <a:lnTo>
                    <a:pt x="1589" y="717"/>
                  </a:lnTo>
                  <a:close/>
                  <a:moveTo>
                    <a:pt x="1661" y="725"/>
                  </a:moveTo>
                  <a:lnTo>
                    <a:pt x="1655" y="723"/>
                  </a:lnTo>
                  <a:lnTo>
                    <a:pt x="1655" y="723"/>
                  </a:lnTo>
                  <a:lnTo>
                    <a:pt x="1655" y="723"/>
                  </a:lnTo>
                  <a:lnTo>
                    <a:pt x="1655" y="725"/>
                  </a:lnTo>
                  <a:lnTo>
                    <a:pt x="1655" y="725"/>
                  </a:lnTo>
                  <a:lnTo>
                    <a:pt x="1655" y="725"/>
                  </a:lnTo>
                  <a:lnTo>
                    <a:pt x="1655" y="725"/>
                  </a:lnTo>
                  <a:lnTo>
                    <a:pt x="1655" y="728"/>
                  </a:lnTo>
                  <a:lnTo>
                    <a:pt x="1657" y="728"/>
                  </a:lnTo>
                  <a:lnTo>
                    <a:pt x="1657" y="730"/>
                  </a:lnTo>
                  <a:lnTo>
                    <a:pt x="1659" y="734"/>
                  </a:lnTo>
                  <a:lnTo>
                    <a:pt x="1661" y="736"/>
                  </a:lnTo>
                  <a:lnTo>
                    <a:pt x="1661" y="736"/>
                  </a:lnTo>
                  <a:lnTo>
                    <a:pt x="1663" y="736"/>
                  </a:lnTo>
                  <a:lnTo>
                    <a:pt x="1663" y="736"/>
                  </a:lnTo>
                  <a:lnTo>
                    <a:pt x="1663" y="736"/>
                  </a:lnTo>
                  <a:lnTo>
                    <a:pt x="1663" y="736"/>
                  </a:lnTo>
                  <a:lnTo>
                    <a:pt x="1663" y="734"/>
                  </a:lnTo>
                  <a:lnTo>
                    <a:pt x="1663" y="734"/>
                  </a:lnTo>
                  <a:lnTo>
                    <a:pt x="1661" y="734"/>
                  </a:lnTo>
                  <a:lnTo>
                    <a:pt x="1661" y="732"/>
                  </a:lnTo>
                  <a:lnTo>
                    <a:pt x="1661" y="732"/>
                  </a:lnTo>
                  <a:lnTo>
                    <a:pt x="1661" y="732"/>
                  </a:lnTo>
                  <a:lnTo>
                    <a:pt x="1661" y="732"/>
                  </a:lnTo>
                  <a:lnTo>
                    <a:pt x="1663" y="732"/>
                  </a:lnTo>
                  <a:lnTo>
                    <a:pt x="1663" y="730"/>
                  </a:lnTo>
                  <a:lnTo>
                    <a:pt x="1661" y="728"/>
                  </a:lnTo>
                  <a:lnTo>
                    <a:pt x="1661" y="728"/>
                  </a:lnTo>
                  <a:lnTo>
                    <a:pt x="1663" y="728"/>
                  </a:lnTo>
                  <a:lnTo>
                    <a:pt x="1663" y="728"/>
                  </a:lnTo>
                  <a:lnTo>
                    <a:pt x="1663" y="730"/>
                  </a:lnTo>
                  <a:lnTo>
                    <a:pt x="1663" y="730"/>
                  </a:lnTo>
                  <a:lnTo>
                    <a:pt x="1663" y="728"/>
                  </a:lnTo>
                  <a:lnTo>
                    <a:pt x="1661" y="725"/>
                  </a:lnTo>
                  <a:close/>
                  <a:moveTo>
                    <a:pt x="1610" y="740"/>
                  </a:moveTo>
                  <a:lnTo>
                    <a:pt x="1610" y="740"/>
                  </a:lnTo>
                  <a:lnTo>
                    <a:pt x="1610" y="740"/>
                  </a:lnTo>
                  <a:lnTo>
                    <a:pt x="1608" y="740"/>
                  </a:lnTo>
                  <a:lnTo>
                    <a:pt x="1606" y="740"/>
                  </a:lnTo>
                  <a:lnTo>
                    <a:pt x="1606" y="740"/>
                  </a:lnTo>
                  <a:lnTo>
                    <a:pt x="1606" y="740"/>
                  </a:lnTo>
                  <a:lnTo>
                    <a:pt x="1606" y="742"/>
                  </a:lnTo>
                  <a:lnTo>
                    <a:pt x="1606" y="742"/>
                  </a:lnTo>
                  <a:lnTo>
                    <a:pt x="1606" y="742"/>
                  </a:lnTo>
                  <a:lnTo>
                    <a:pt x="1606" y="742"/>
                  </a:lnTo>
                  <a:lnTo>
                    <a:pt x="1606" y="744"/>
                  </a:lnTo>
                  <a:lnTo>
                    <a:pt x="1606" y="744"/>
                  </a:lnTo>
                  <a:lnTo>
                    <a:pt x="1606" y="744"/>
                  </a:lnTo>
                  <a:lnTo>
                    <a:pt x="1606" y="744"/>
                  </a:lnTo>
                  <a:lnTo>
                    <a:pt x="1606" y="746"/>
                  </a:lnTo>
                  <a:lnTo>
                    <a:pt x="1606" y="746"/>
                  </a:lnTo>
                  <a:lnTo>
                    <a:pt x="1606" y="746"/>
                  </a:lnTo>
                  <a:lnTo>
                    <a:pt x="1606" y="746"/>
                  </a:lnTo>
                  <a:lnTo>
                    <a:pt x="1606" y="746"/>
                  </a:lnTo>
                  <a:lnTo>
                    <a:pt x="1606" y="746"/>
                  </a:lnTo>
                  <a:lnTo>
                    <a:pt x="1606" y="746"/>
                  </a:lnTo>
                  <a:lnTo>
                    <a:pt x="1606" y="746"/>
                  </a:lnTo>
                  <a:lnTo>
                    <a:pt x="1606" y="748"/>
                  </a:lnTo>
                  <a:lnTo>
                    <a:pt x="1606" y="748"/>
                  </a:lnTo>
                  <a:lnTo>
                    <a:pt x="1608" y="748"/>
                  </a:lnTo>
                  <a:lnTo>
                    <a:pt x="1608" y="750"/>
                  </a:lnTo>
                  <a:lnTo>
                    <a:pt x="1608" y="750"/>
                  </a:lnTo>
                  <a:lnTo>
                    <a:pt x="1608" y="748"/>
                  </a:lnTo>
                  <a:lnTo>
                    <a:pt x="1608" y="748"/>
                  </a:lnTo>
                  <a:lnTo>
                    <a:pt x="1608" y="746"/>
                  </a:lnTo>
                  <a:lnTo>
                    <a:pt x="1608" y="744"/>
                  </a:lnTo>
                  <a:lnTo>
                    <a:pt x="1608" y="744"/>
                  </a:lnTo>
                  <a:lnTo>
                    <a:pt x="1608" y="744"/>
                  </a:lnTo>
                  <a:lnTo>
                    <a:pt x="1608" y="744"/>
                  </a:lnTo>
                  <a:lnTo>
                    <a:pt x="1608" y="744"/>
                  </a:lnTo>
                  <a:lnTo>
                    <a:pt x="1608" y="744"/>
                  </a:lnTo>
                  <a:lnTo>
                    <a:pt x="1610" y="744"/>
                  </a:lnTo>
                  <a:lnTo>
                    <a:pt x="1610" y="744"/>
                  </a:lnTo>
                  <a:lnTo>
                    <a:pt x="1610" y="744"/>
                  </a:lnTo>
                  <a:lnTo>
                    <a:pt x="1610" y="742"/>
                  </a:lnTo>
                  <a:lnTo>
                    <a:pt x="1610" y="742"/>
                  </a:lnTo>
                  <a:lnTo>
                    <a:pt x="1610" y="742"/>
                  </a:lnTo>
                  <a:lnTo>
                    <a:pt x="1610" y="742"/>
                  </a:lnTo>
                  <a:lnTo>
                    <a:pt x="1610" y="742"/>
                  </a:lnTo>
                  <a:lnTo>
                    <a:pt x="1610" y="742"/>
                  </a:lnTo>
                  <a:lnTo>
                    <a:pt x="1610" y="742"/>
                  </a:lnTo>
                  <a:lnTo>
                    <a:pt x="1610" y="742"/>
                  </a:lnTo>
                  <a:lnTo>
                    <a:pt x="1610" y="740"/>
                  </a:lnTo>
                  <a:lnTo>
                    <a:pt x="1610" y="740"/>
                  </a:lnTo>
                  <a:lnTo>
                    <a:pt x="1610" y="740"/>
                  </a:lnTo>
                  <a:close/>
                  <a:moveTo>
                    <a:pt x="1643" y="762"/>
                  </a:moveTo>
                  <a:lnTo>
                    <a:pt x="1643" y="762"/>
                  </a:lnTo>
                  <a:lnTo>
                    <a:pt x="1643" y="760"/>
                  </a:lnTo>
                  <a:lnTo>
                    <a:pt x="1643" y="760"/>
                  </a:lnTo>
                  <a:lnTo>
                    <a:pt x="1643" y="760"/>
                  </a:lnTo>
                  <a:lnTo>
                    <a:pt x="1641" y="760"/>
                  </a:lnTo>
                  <a:lnTo>
                    <a:pt x="1641" y="760"/>
                  </a:lnTo>
                  <a:lnTo>
                    <a:pt x="1641" y="760"/>
                  </a:lnTo>
                  <a:lnTo>
                    <a:pt x="1641" y="760"/>
                  </a:lnTo>
                  <a:lnTo>
                    <a:pt x="1641" y="760"/>
                  </a:lnTo>
                  <a:lnTo>
                    <a:pt x="1643" y="760"/>
                  </a:lnTo>
                  <a:lnTo>
                    <a:pt x="1643" y="760"/>
                  </a:lnTo>
                  <a:lnTo>
                    <a:pt x="1643" y="760"/>
                  </a:lnTo>
                  <a:lnTo>
                    <a:pt x="1643" y="758"/>
                  </a:lnTo>
                  <a:lnTo>
                    <a:pt x="1643" y="758"/>
                  </a:lnTo>
                  <a:lnTo>
                    <a:pt x="1643" y="758"/>
                  </a:lnTo>
                  <a:lnTo>
                    <a:pt x="1643" y="758"/>
                  </a:lnTo>
                  <a:lnTo>
                    <a:pt x="1643" y="758"/>
                  </a:lnTo>
                  <a:lnTo>
                    <a:pt x="1643" y="758"/>
                  </a:lnTo>
                  <a:lnTo>
                    <a:pt x="1643" y="756"/>
                  </a:lnTo>
                  <a:lnTo>
                    <a:pt x="1641" y="756"/>
                  </a:lnTo>
                  <a:lnTo>
                    <a:pt x="1641" y="756"/>
                  </a:lnTo>
                  <a:lnTo>
                    <a:pt x="1641" y="756"/>
                  </a:lnTo>
                  <a:lnTo>
                    <a:pt x="1641" y="756"/>
                  </a:lnTo>
                  <a:lnTo>
                    <a:pt x="1641" y="756"/>
                  </a:lnTo>
                  <a:lnTo>
                    <a:pt x="1641"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6" y="756"/>
                  </a:lnTo>
                  <a:lnTo>
                    <a:pt x="1636" y="756"/>
                  </a:lnTo>
                  <a:lnTo>
                    <a:pt x="1636" y="756"/>
                  </a:lnTo>
                  <a:lnTo>
                    <a:pt x="1636" y="756"/>
                  </a:lnTo>
                  <a:lnTo>
                    <a:pt x="1636" y="756"/>
                  </a:lnTo>
                  <a:lnTo>
                    <a:pt x="1636" y="758"/>
                  </a:lnTo>
                  <a:lnTo>
                    <a:pt x="1636" y="758"/>
                  </a:lnTo>
                  <a:lnTo>
                    <a:pt x="1636" y="758"/>
                  </a:lnTo>
                  <a:lnTo>
                    <a:pt x="1636" y="758"/>
                  </a:lnTo>
                  <a:lnTo>
                    <a:pt x="1638" y="758"/>
                  </a:lnTo>
                  <a:lnTo>
                    <a:pt x="1638" y="760"/>
                  </a:lnTo>
                  <a:lnTo>
                    <a:pt x="1638" y="760"/>
                  </a:lnTo>
                  <a:lnTo>
                    <a:pt x="1638" y="760"/>
                  </a:lnTo>
                  <a:lnTo>
                    <a:pt x="1638" y="760"/>
                  </a:lnTo>
                  <a:lnTo>
                    <a:pt x="1638" y="760"/>
                  </a:lnTo>
                  <a:lnTo>
                    <a:pt x="1638" y="760"/>
                  </a:lnTo>
                  <a:lnTo>
                    <a:pt x="1641" y="760"/>
                  </a:lnTo>
                  <a:lnTo>
                    <a:pt x="1641" y="760"/>
                  </a:lnTo>
                  <a:lnTo>
                    <a:pt x="1641" y="762"/>
                  </a:lnTo>
                  <a:lnTo>
                    <a:pt x="1641" y="762"/>
                  </a:lnTo>
                  <a:lnTo>
                    <a:pt x="1641" y="762"/>
                  </a:lnTo>
                  <a:lnTo>
                    <a:pt x="1641" y="762"/>
                  </a:lnTo>
                  <a:lnTo>
                    <a:pt x="1641" y="762"/>
                  </a:lnTo>
                  <a:lnTo>
                    <a:pt x="1643" y="762"/>
                  </a:lnTo>
                  <a:lnTo>
                    <a:pt x="1643" y="762"/>
                  </a:lnTo>
                  <a:lnTo>
                    <a:pt x="1643" y="764"/>
                  </a:lnTo>
                  <a:lnTo>
                    <a:pt x="1643" y="764"/>
                  </a:lnTo>
                  <a:lnTo>
                    <a:pt x="1645" y="764"/>
                  </a:lnTo>
                  <a:lnTo>
                    <a:pt x="1645" y="762"/>
                  </a:lnTo>
                  <a:lnTo>
                    <a:pt x="1643" y="762"/>
                  </a:lnTo>
                  <a:close/>
                  <a:moveTo>
                    <a:pt x="1663" y="760"/>
                  </a:moveTo>
                  <a:lnTo>
                    <a:pt x="1663" y="760"/>
                  </a:lnTo>
                  <a:lnTo>
                    <a:pt x="1663" y="758"/>
                  </a:lnTo>
                  <a:lnTo>
                    <a:pt x="1661" y="758"/>
                  </a:lnTo>
                  <a:lnTo>
                    <a:pt x="1661" y="758"/>
                  </a:lnTo>
                  <a:lnTo>
                    <a:pt x="1661" y="758"/>
                  </a:lnTo>
                  <a:lnTo>
                    <a:pt x="1661" y="756"/>
                  </a:lnTo>
                  <a:lnTo>
                    <a:pt x="1661" y="756"/>
                  </a:lnTo>
                  <a:lnTo>
                    <a:pt x="1661" y="756"/>
                  </a:lnTo>
                  <a:lnTo>
                    <a:pt x="1663" y="756"/>
                  </a:lnTo>
                  <a:lnTo>
                    <a:pt x="1663" y="756"/>
                  </a:lnTo>
                  <a:lnTo>
                    <a:pt x="1663" y="754"/>
                  </a:lnTo>
                  <a:lnTo>
                    <a:pt x="1661" y="754"/>
                  </a:lnTo>
                  <a:lnTo>
                    <a:pt x="1661" y="754"/>
                  </a:lnTo>
                  <a:lnTo>
                    <a:pt x="1661" y="754"/>
                  </a:lnTo>
                  <a:lnTo>
                    <a:pt x="1661" y="754"/>
                  </a:lnTo>
                  <a:lnTo>
                    <a:pt x="1661" y="754"/>
                  </a:lnTo>
                  <a:lnTo>
                    <a:pt x="1661" y="754"/>
                  </a:lnTo>
                  <a:lnTo>
                    <a:pt x="1661" y="754"/>
                  </a:lnTo>
                  <a:lnTo>
                    <a:pt x="1661" y="752"/>
                  </a:lnTo>
                  <a:lnTo>
                    <a:pt x="1661" y="752"/>
                  </a:lnTo>
                  <a:lnTo>
                    <a:pt x="1659" y="752"/>
                  </a:lnTo>
                  <a:lnTo>
                    <a:pt x="1659" y="752"/>
                  </a:lnTo>
                  <a:lnTo>
                    <a:pt x="1659" y="752"/>
                  </a:lnTo>
                  <a:lnTo>
                    <a:pt x="1659" y="750"/>
                  </a:lnTo>
                  <a:lnTo>
                    <a:pt x="1659" y="750"/>
                  </a:lnTo>
                  <a:lnTo>
                    <a:pt x="1659" y="750"/>
                  </a:lnTo>
                  <a:lnTo>
                    <a:pt x="1659" y="750"/>
                  </a:lnTo>
                  <a:lnTo>
                    <a:pt x="1659" y="748"/>
                  </a:lnTo>
                  <a:lnTo>
                    <a:pt x="1659" y="748"/>
                  </a:lnTo>
                  <a:lnTo>
                    <a:pt x="1659" y="748"/>
                  </a:lnTo>
                  <a:lnTo>
                    <a:pt x="1659" y="748"/>
                  </a:lnTo>
                  <a:lnTo>
                    <a:pt x="1659" y="748"/>
                  </a:lnTo>
                  <a:lnTo>
                    <a:pt x="1659" y="748"/>
                  </a:lnTo>
                  <a:lnTo>
                    <a:pt x="1657" y="748"/>
                  </a:lnTo>
                  <a:lnTo>
                    <a:pt x="1657" y="746"/>
                  </a:lnTo>
                  <a:lnTo>
                    <a:pt x="1657" y="746"/>
                  </a:lnTo>
                  <a:lnTo>
                    <a:pt x="1659" y="746"/>
                  </a:lnTo>
                  <a:lnTo>
                    <a:pt x="1659" y="746"/>
                  </a:lnTo>
                  <a:lnTo>
                    <a:pt x="1657" y="744"/>
                  </a:lnTo>
                  <a:lnTo>
                    <a:pt x="1657" y="744"/>
                  </a:lnTo>
                  <a:lnTo>
                    <a:pt x="1659" y="744"/>
                  </a:lnTo>
                  <a:lnTo>
                    <a:pt x="1657" y="744"/>
                  </a:lnTo>
                  <a:lnTo>
                    <a:pt x="1657" y="746"/>
                  </a:lnTo>
                  <a:lnTo>
                    <a:pt x="1655" y="746"/>
                  </a:lnTo>
                  <a:lnTo>
                    <a:pt x="1655" y="748"/>
                  </a:lnTo>
                  <a:lnTo>
                    <a:pt x="1655" y="748"/>
                  </a:lnTo>
                  <a:lnTo>
                    <a:pt x="1655" y="748"/>
                  </a:lnTo>
                  <a:lnTo>
                    <a:pt x="1655" y="748"/>
                  </a:lnTo>
                  <a:lnTo>
                    <a:pt x="1655" y="748"/>
                  </a:lnTo>
                  <a:lnTo>
                    <a:pt x="1655" y="748"/>
                  </a:lnTo>
                  <a:lnTo>
                    <a:pt x="1653" y="748"/>
                  </a:lnTo>
                  <a:lnTo>
                    <a:pt x="1653" y="748"/>
                  </a:lnTo>
                  <a:lnTo>
                    <a:pt x="1653" y="748"/>
                  </a:lnTo>
                  <a:lnTo>
                    <a:pt x="1653" y="748"/>
                  </a:lnTo>
                  <a:lnTo>
                    <a:pt x="1651" y="748"/>
                  </a:lnTo>
                  <a:lnTo>
                    <a:pt x="1651" y="748"/>
                  </a:lnTo>
                  <a:lnTo>
                    <a:pt x="1653" y="746"/>
                  </a:lnTo>
                  <a:lnTo>
                    <a:pt x="1653" y="746"/>
                  </a:lnTo>
                  <a:lnTo>
                    <a:pt x="1655" y="746"/>
                  </a:lnTo>
                  <a:lnTo>
                    <a:pt x="1655" y="744"/>
                  </a:lnTo>
                  <a:lnTo>
                    <a:pt x="1655" y="744"/>
                  </a:lnTo>
                  <a:lnTo>
                    <a:pt x="1655" y="744"/>
                  </a:lnTo>
                  <a:lnTo>
                    <a:pt x="1653" y="744"/>
                  </a:lnTo>
                  <a:lnTo>
                    <a:pt x="1653" y="744"/>
                  </a:lnTo>
                  <a:lnTo>
                    <a:pt x="1653" y="744"/>
                  </a:lnTo>
                  <a:lnTo>
                    <a:pt x="1653" y="744"/>
                  </a:lnTo>
                  <a:lnTo>
                    <a:pt x="1655" y="744"/>
                  </a:lnTo>
                  <a:lnTo>
                    <a:pt x="1655" y="742"/>
                  </a:lnTo>
                  <a:lnTo>
                    <a:pt x="1653" y="742"/>
                  </a:lnTo>
                  <a:lnTo>
                    <a:pt x="1653" y="742"/>
                  </a:lnTo>
                  <a:lnTo>
                    <a:pt x="1653" y="742"/>
                  </a:lnTo>
                  <a:lnTo>
                    <a:pt x="1653" y="742"/>
                  </a:lnTo>
                  <a:lnTo>
                    <a:pt x="1653" y="742"/>
                  </a:lnTo>
                  <a:lnTo>
                    <a:pt x="1655" y="742"/>
                  </a:lnTo>
                  <a:lnTo>
                    <a:pt x="1655" y="742"/>
                  </a:lnTo>
                  <a:lnTo>
                    <a:pt x="1655" y="742"/>
                  </a:lnTo>
                  <a:lnTo>
                    <a:pt x="1655" y="742"/>
                  </a:lnTo>
                  <a:lnTo>
                    <a:pt x="1655" y="740"/>
                  </a:lnTo>
                  <a:lnTo>
                    <a:pt x="1655" y="740"/>
                  </a:lnTo>
                  <a:lnTo>
                    <a:pt x="1655" y="740"/>
                  </a:lnTo>
                  <a:lnTo>
                    <a:pt x="1655" y="740"/>
                  </a:lnTo>
                  <a:lnTo>
                    <a:pt x="1655" y="738"/>
                  </a:lnTo>
                  <a:lnTo>
                    <a:pt x="1655" y="738"/>
                  </a:lnTo>
                  <a:lnTo>
                    <a:pt x="1655" y="736"/>
                  </a:lnTo>
                  <a:lnTo>
                    <a:pt x="1655" y="736"/>
                  </a:lnTo>
                  <a:lnTo>
                    <a:pt x="1655" y="734"/>
                  </a:lnTo>
                  <a:lnTo>
                    <a:pt x="1655" y="734"/>
                  </a:lnTo>
                  <a:lnTo>
                    <a:pt x="1653" y="734"/>
                  </a:lnTo>
                  <a:lnTo>
                    <a:pt x="1653" y="732"/>
                  </a:lnTo>
                  <a:lnTo>
                    <a:pt x="1653" y="732"/>
                  </a:lnTo>
                  <a:lnTo>
                    <a:pt x="1653" y="734"/>
                  </a:lnTo>
                  <a:lnTo>
                    <a:pt x="1651" y="734"/>
                  </a:lnTo>
                  <a:lnTo>
                    <a:pt x="1651" y="736"/>
                  </a:lnTo>
                  <a:lnTo>
                    <a:pt x="1651" y="738"/>
                  </a:lnTo>
                  <a:lnTo>
                    <a:pt x="1649" y="736"/>
                  </a:lnTo>
                  <a:lnTo>
                    <a:pt x="1649" y="736"/>
                  </a:lnTo>
                  <a:lnTo>
                    <a:pt x="1649" y="738"/>
                  </a:lnTo>
                  <a:lnTo>
                    <a:pt x="1649" y="738"/>
                  </a:lnTo>
                  <a:lnTo>
                    <a:pt x="1649" y="738"/>
                  </a:lnTo>
                  <a:lnTo>
                    <a:pt x="1647" y="738"/>
                  </a:lnTo>
                  <a:lnTo>
                    <a:pt x="1647" y="738"/>
                  </a:lnTo>
                  <a:lnTo>
                    <a:pt x="1647" y="738"/>
                  </a:lnTo>
                  <a:lnTo>
                    <a:pt x="1647" y="736"/>
                  </a:lnTo>
                  <a:lnTo>
                    <a:pt x="1647" y="736"/>
                  </a:lnTo>
                  <a:lnTo>
                    <a:pt x="1647" y="736"/>
                  </a:lnTo>
                  <a:lnTo>
                    <a:pt x="1647" y="736"/>
                  </a:lnTo>
                  <a:lnTo>
                    <a:pt x="1649" y="736"/>
                  </a:lnTo>
                  <a:lnTo>
                    <a:pt x="1649" y="736"/>
                  </a:lnTo>
                  <a:lnTo>
                    <a:pt x="1651" y="734"/>
                  </a:lnTo>
                  <a:lnTo>
                    <a:pt x="1651" y="734"/>
                  </a:lnTo>
                  <a:lnTo>
                    <a:pt x="1651" y="734"/>
                  </a:lnTo>
                  <a:lnTo>
                    <a:pt x="1651" y="732"/>
                  </a:lnTo>
                  <a:lnTo>
                    <a:pt x="1649" y="732"/>
                  </a:lnTo>
                  <a:lnTo>
                    <a:pt x="1649" y="732"/>
                  </a:lnTo>
                  <a:lnTo>
                    <a:pt x="1649" y="732"/>
                  </a:lnTo>
                  <a:lnTo>
                    <a:pt x="1649" y="732"/>
                  </a:lnTo>
                  <a:lnTo>
                    <a:pt x="1649" y="732"/>
                  </a:lnTo>
                  <a:lnTo>
                    <a:pt x="1649" y="732"/>
                  </a:lnTo>
                  <a:lnTo>
                    <a:pt x="1647" y="730"/>
                  </a:lnTo>
                  <a:lnTo>
                    <a:pt x="1647" y="730"/>
                  </a:lnTo>
                  <a:lnTo>
                    <a:pt x="1647" y="730"/>
                  </a:lnTo>
                  <a:lnTo>
                    <a:pt x="1647" y="730"/>
                  </a:lnTo>
                  <a:lnTo>
                    <a:pt x="1647" y="730"/>
                  </a:lnTo>
                  <a:lnTo>
                    <a:pt x="1647" y="730"/>
                  </a:lnTo>
                  <a:lnTo>
                    <a:pt x="1647" y="730"/>
                  </a:lnTo>
                  <a:lnTo>
                    <a:pt x="1647" y="730"/>
                  </a:lnTo>
                  <a:lnTo>
                    <a:pt x="1645" y="730"/>
                  </a:lnTo>
                  <a:lnTo>
                    <a:pt x="1645" y="728"/>
                  </a:lnTo>
                  <a:lnTo>
                    <a:pt x="1643" y="728"/>
                  </a:lnTo>
                  <a:lnTo>
                    <a:pt x="1643" y="730"/>
                  </a:lnTo>
                  <a:lnTo>
                    <a:pt x="1643" y="730"/>
                  </a:lnTo>
                  <a:lnTo>
                    <a:pt x="1641" y="730"/>
                  </a:lnTo>
                  <a:lnTo>
                    <a:pt x="1641" y="730"/>
                  </a:lnTo>
                  <a:lnTo>
                    <a:pt x="1641" y="730"/>
                  </a:lnTo>
                  <a:lnTo>
                    <a:pt x="1641" y="730"/>
                  </a:lnTo>
                  <a:lnTo>
                    <a:pt x="1641" y="732"/>
                  </a:lnTo>
                  <a:lnTo>
                    <a:pt x="1641" y="730"/>
                  </a:lnTo>
                  <a:lnTo>
                    <a:pt x="1641" y="730"/>
                  </a:lnTo>
                  <a:lnTo>
                    <a:pt x="1638" y="730"/>
                  </a:lnTo>
                  <a:lnTo>
                    <a:pt x="1638" y="730"/>
                  </a:lnTo>
                  <a:lnTo>
                    <a:pt x="1638" y="732"/>
                  </a:lnTo>
                  <a:lnTo>
                    <a:pt x="1638" y="732"/>
                  </a:lnTo>
                  <a:lnTo>
                    <a:pt x="1636" y="730"/>
                  </a:lnTo>
                  <a:lnTo>
                    <a:pt x="1636" y="730"/>
                  </a:lnTo>
                  <a:lnTo>
                    <a:pt x="1638" y="730"/>
                  </a:lnTo>
                  <a:lnTo>
                    <a:pt x="1641" y="728"/>
                  </a:lnTo>
                  <a:lnTo>
                    <a:pt x="1641" y="728"/>
                  </a:lnTo>
                  <a:lnTo>
                    <a:pt x="1641" y="728"/>
                  </a:lnTo>
                  <a:lnTo>
                    <a:pt x="1641" y="728"/>
                  </a:lnTo>
                  <a:lnTo>
                    <a:pt x="1641" y="728"/>
                  </a:lnTo>
                  <a:lnTo>
                    <a:pt x="1641" y="728"/>
                  </a:lnTo>
                  <a:lnTo>
                    <a:pt x="1643" y="728"/>
                  </a:lnTo>
                  <a:lnTo>
                    <a:pt x="1643" y="728"/>
                  </a:lnTo>
                  <a:lnTo>
                    <a:pt x="1643" y="728"/>
                  </a:lnTo>
                  <a:lnTo>
                    <a:pt x="1643" y="725"/>
                  </a:lnTo>
                  <a:lnTo>
                    <a:pt x="1641" y="725"/>
                  </a:lnTo>
                  <a:lnTo>
                    <a:pt x="1638" y="725"/>
                  </a:lnTo>
                  <a:lnTo>
                    <a:pt x="1638" y="725"/>
                  </a:lnTo>
                  <a:lnTo>
                    <a:pt x="1638" y="725"/>
                  </a:lnTo>
                  <a:lnTo>
                    <a:pt x="1638" y="723"/>
                  </a:lnTo>
                  <a:lnTo>
                    <a:pt x="1636" y="725"/>
                  </a:lnTo>
                  <a:lnTo>
                    <a:pt x="1636" y="725"/>
                  </a:lnTo>
                  <a:lnTo>
                    <a:pt x="1636" y="725"/>
                  </a:lnTo>
                  <a:lnTo>
                    <a:pt x="1636" y="725"/>
                  </a:lnTo>
                  <a:lnTo>
                    <a:pt x="1634" y="725"/>
                  </a:lnTo>
                  <a:lnTo>
                    <a:pt x="1634" y="725"/>
                  </a:lnTo>
                  <a:lnTo>
                    <a:pt x="1634" y="725"/>
                  </a:lnTo>
                  <a:lnTo>
                    <a:pt x="1634" y="725"/>
                  </a:lnTo>
                  <a:lnTo>
                    <a:pt x="1634" y="725"/>
                  </a:lnTo>
                  <a:lnTo>
                    <a:pt x="1634" y="725"/>
                  </a:lnTo>
                  <a:lnTo>
                    <a:pt x="1634" y="728"/>
                  </a:lnTo>
                  <a:lnTo>
                    <a:pt x="1634" y="728"/>
                  </a:lnTo>
                  <a:lnTo>
                    <a:pt x="1634" y="728"/>
                  </a:lnTo>
                  <a:lnTo>
                    <a:pt x="1634" y="728"/>
                  </a:lnTo>
                  <a:lnTo>
                    <a:pt x="1634" y="728"/>
                  </a:lnTo>
                  <a:lnTo>
                    <a:pt x="1632" y="730"/>
                  </a:lnTo>
                  <a:lnTo>
                    <a:pt x="1632" y="730"/>
                  </a:lnTo>
                  <a:lnTo>
                    <a:pt x="1632" y="732"/>
                  </a:lnTo>
                  <a:lnTo>
                    <a:pt x="1632" y="732"/>
                  </a:lnTo>
                  <a:lnTo>
                    <a:pt x="1632" y="730"/>
                  </a:lnTo>
                  <a:lnTo>
                    <a:pt x="1632" y="730"/>
                  </a:lnTo>
                  <a:lnTo>
                    <a:pt x="1630" y="730"/>
                  </a:lnTo>
                  <a:lnTo>
                    <a:pt x="1630" y="730"/>
                  </a:lnTo>
                  <a:lnTo>
                    <a:pt x="1630" y="730"/>
                  </a:lnTo>
                  <a:lnTo>
                    <a:pt x="1632" y="728"/>
                  </a:lnTo>
                  <a:lnTo>
                    <a:pt x="1632" y="725"/>
                  </a:lnTo>
                  <a:lnTo>
                    <a:pt x="1634" y="723"/>
                  </a:lnTo>
                  <a:lnTo>
                    <a:pt x="1634" y="723"/>
                  </a:lnTo>
                  <a:lnTo>
                    <a:pt x="1632" y="723"/>
                  </a:lnTo>
                  <a:lnTo>
                    <a:pt x="1632" y="723"/>
                  </a:lnTo>
                  <a:lnTo>
                    <a:pt x="1632" y="723"/>
                  </a:lnTo>
                  <a:lnTo>
                    <a:pt x="1632" y="723"/>
                  </a:lnTo>
                  <a:lnTo>
                    <a:pt x="1632" y="721"/>
                  </a:lnTo>
                  <a:lnTo>
                    <a:pt x="1632" y="721"/>
                  </a:lnTo>
                  <a:lnTo>
                    <a:pt x="1632" y="721"/>
                  </a:lnTo>
                  <a:lnTo>
                    <a:pt x="1632" y="721"/>
                  </a:lnTo>
                  <a:lnTo>
                    <a:pt x="1632" y="721"/>
                  </a:lnTo>
                  <a:lnTo>
                    <a:pt x="1632" y="721"/>
                  </a:lnTo>
                  <a:lnTo>
                    <a:pt x="1632" y="719"/>
                  </a:lnTo>
                  <a:lnTo>
                    <a:pt x="1634" y="721"/>
                  </a:lnTo>
                  <a:lnTo>
                    <a:pt x="1636" y="723"/>
                  </a:lnTo>
                  <a:lnTo>
                    <a:pt x="1636" y="723"/>
                  </a:lnTo>
                  <a:lnTo>
                    <a:pt x="1638" y="723"/>
                  </a:lnTo>
                  <a:lnTo>
                    <a:pt x="1641" y="723"/>
                  </a:lnTo>
                  <a:lnTo>
                    <a:pt x="1643" y="723"/>
                  </a:lnTo>
                  <a:lnTo>
                    <a:pt x="1643" y="725"/>
                  </a:lnTo>
                  <a:lnTo>
                    <a:pt x="1645" y="725"/>
                  </a:lnTo>
                  <a:lnTo>
                    <a:pt x="1647" y="725"/>
                  </a:lnTo>
                  <a:lnTo>
                    <a:pt x="1647" y="723"/>
                  </a:lnTo>
                  <a:lnTo>
                    <a:pt x="1645" y="723"/>
                  </a:lnTo>
                  <a:lnTo>
                    <a:pt x="1645" y="723"/>
                  </a:lnTo>
                  <a:lnTo>
                    <a:pt x="1643" y="721"/>
                  </a:lnTo>
                  <a:lnTo>
                    <a:pt x="1643" y="721"/>
                  </a:lnTo>
                  <a:lnTo>
                    <a:pt x="1641" y="721"/>
                  </a:lnTo>
                  <a:lnTo>
                    <a:pt x="1641" y="721"/>
                  </a:lnTo>
                  <a:lnTo>
                    <a:pt x="1638" y="719"/>
                  </a:lnTo>
                  <a:lnTo>
                    <a:pt x="1638" y="719"/>
                  </a:lnTo>
                  <a:lnTo>
                    <a:pt x="1638" y="719"/>
                  </a:lnTo>
                  <a:lnTo>
                    <a:pt x="1636" y="717"/>
                  </a:lnTo>
                  <a:lnTo>
                    <a:pt x="1636" y="717"/>
                  </a:lnTo>
                  <a:lnTo>
                    <a:pt x="1636" y="717"/>
                  </a:lnTo>
                  <a:lnTo>
                    <a:pt x="1636" y="717"/>
                  </a:lnTo>
                  <a:lnTo>
                    <a:pt x="1634" y="717"/>
                  </a:lnTo>
                  <a:lnTo>
                    <a:pt x="1634" y="719"/>
                  </a:lnTo>
                  <a:lnTo>
                    <a:pt x="1634" y="719"/>
                  </a:lnTo>
                  <a:lnTo>
                    <a:pt x="1634" y="719"/>
                  </a:lnTo>
                  <a:lnTo>
                    <a:pt x="1634" y="717"/>
                  </a:lnTo>
                  <a:lnTo>
                    <a:pt x="1634" y="717"/>
                  </a:lnTo>
                  <a:lnTo>
                    <a:pt x="1634" y="717"/>
                  </a:lnTo>
                  <a:lnTo>
                    <a:pt x="1634" y="715"/>
                  </a:lnTo>
                  <a:lnTo>
                    <a:pt x="1632" y="715"/>
                  </a:lnTo>
                  <a:lnTo>
                    <a:pt x="1632" y="715"/>
                  </a:lnTo>
                  <a:lnTo>
                    <a:pt x="1632" y="713"/>
                  </a:lnTo>
                  <a:lnTo>
                    <a:pt x="1632" y="713"/>
                  </a:lnTo>
                  <a:lnTo>
                    <a:pt x="1632" y="713"/>
                  </a:lnTo>
                  <a:lnTo>
                    <a:pt x="1632" y="711"/>
                  </a:lnTo>
                  <a:lnTo>
                    <a:pt x="1630" y="709"/>
                  </a:lnTo>
                  <a:lnTo>
                    <a:pt x="1628" y="709"/>
                  </a:lnTo>
                  <a:lnTo>
                    <a:pt x="1628" y="709"/>
                  </a:lnTo>
                  <a:lnTo>
                    <a:pt x="1628" y="709"/>
                  </a:lnTo>
                  <a:lnTo>
                    <a:pt x="1626" y="707"/>
                  </a:lnTo>
                  <a:lnTo>
                    <a:pt x="1626" y="707"/>
                  </a:lnTo>
                  <a:lnTo>
                    <a:pt x="1626" y="707"/>
                  </a:lnTo>
                  <a:lnTo>
                    <a:pt x="1626" y="707"/>
                  </a:lnTo>
                  <a:lnTo>
                    <a:pt x="1624" y="707"/>
                  </a:lnTo>
                  <a:lnTo>
                    <a:pt x="1624" y="705"/>
                  </a:lnTo>
                  <a:lnTo>
                    <a:pt x="1622" y="705"/>
                  </a:lnTo>
                  <a:lnTo>
                    <a:pt x="1622" y="705"/>
                  </a:lnTo>
                  <a:lnTo>
                    <a:pt x="1622" y="705"/>
                  </a:lnTo>
                  <a:lnTo>
                    <a:pt x="1620" y="703"/>
                  </a:lnTo>
                  <a:lnTo>
                    <a:pt x="1618" y="703"/>
                  </a:lnTo>
                  <a:lnTo>
                    <a:pt x="1618" y="703"/>
                  </a:lnTo>
                  <a:lnTo>
                    <a:pt x="1618" y="703"/>
                  </a:lnTo>
                  <a:lnTo>
                    <a:pt x="1618" y="703"/>
                  </a:lnTo>
                  <a:lnTo>
                    <a:pt x="1616" y="703"/>
                  </a:lnTo>
                  <a:lnTo>
                    <a:pt x="1616" y="703"/>
                  </a:lnTo>
                  <a:lnTo>
                    <a:pt x="1616" y="703"/>
                  </a:lnTo>
                  <a:lnTo>
                    <a:pt x="1616" y="703"/>
                  </a:lnTo>
                  <a:lnTo>
                    <a:pt x="1616" y="703"/>
                  </a:lnTo>
                  <a:lnTo>
                    <a:pt x="1616" y="703"/>
                  </a:lnTo>
                  <a:lnTo>
                    <a:pt x="1616" y="703"/>
                  </a:lnTo>
                  <a:lnTo>
                    <a:pt x="1616" y="703"/>
                  </a:lnTo>
                  <a:lnTo>
                    <a:pt x="1614" y="703"/>
                  </a:lnTo>
                  <a:lnTo>
                    <a:pt x="1614" y="703"/>
                  </a:lnTo>
                  <a:lnTo>
                    <a:pt x="1614" y="701"/>
                  </a:lnTo>
                  <a:lnTo>
                    <a:pt x="1614" y="701"/>
                  </a:lnTo>
                  <a:lnTo>
                    <a:pt x="1614" y="703"/>
                  </a:lnTo>
                  <a:lnTo>
                    <a:pt x="1614" y="703"/>
                  </a:lnTo>
                  <a:lnTo>
                    <a:pt x="1614" y="703"/>
                  </a:lnTo>
                  <a:lnTo>
                    <a:pt x="1614" y="703"/>
                  </a:lnTo>
                  <a:lnTo>
                    <a:pt x="1612" y="703"/>
                  </a:lnTo>
                  <a:lnTo>
                    <a:pt x="1612" y="703"/>
                  </a:lnTo>
                  <a:lnTo>
                    <a:pt x="1612" y="703"/>
                  </a:lnTo>
                  <a:lnTo>
                    <a:pt x="1610" y="703"/>
                  </a:lnTo>
                  <a:lnTo>
                    <a:pt x="1610" y="703"/>
                  </a:lnTo>
                  <a:lnTo>
                    <a:pt x="1610" y="703"/>
                  </a:lnTo>
                  <a:lnTo>
                    <a:pt x="1608" y="701"/>
                  </a:lnTo>
                  <a:lnTo>
                    <a:pt x="1608" y="701"/>
                  </a:lnTo>
                  <a:lnTo>
                    <a:pt x="1608" y="701"/>
                  </a:lnTo>
                  <a:lnTo>
                    <a:pt x="1610" y="701"/>
                  </a:lnTo>
                  <a:lnTo>
                    <a:pt x="1610" y="701"/>
                  </a:lnTo>
                  <a:lnTo>
                    <a:pt x="1610" y="699"/>
                  </a:lnTo>
                  <a:lnTo>
                    <a:pt x="1610" y="699"/>
                  </a:lnTo>
                  <a:lnTo>
                    <a:pt x="1610" y="699"/>
                  </a:lnTo>
                  <a:lnTo>
                    <a:pt x="1610" y="697"/>
                  </a:lnTo>
                  <a:lnTo>
                    <a:pt x="1610" y="697"/>
                  </a:lnTo>
                  <a:lnTo>
                    <a:pt x="1610" y="697"/>
                  </a:lnTo>
                  <a:lnTo>
                    <a:pt x="1610" y="697"/>
                  </a:lnTo>
                  <a:lnTo>
                    <a:pt x="1608" y="697"/>
                  </a:lnTo>
                  <a:lnTo>
                    <a:pt x="1608" y="697"/>
                  </a:lnTo>
                  <a:lnTo>
                    <a:pt x="1608" y="697"/>
                  </a:lnTo>
                  <a:lnTo>
                    <a:pt x="1608" y="697"/>
                  </a:lnTo>
                  <a:lnTo>
                    <a:pt x="1608" y="697"/>
                  </a:lnTo>
                  <a:lnTo>
                    <a:pt x="1608" y="697"/>
                  </a:lnTo>
                  <a:lnTo>
                    <a:pt x="1608" y="695"/>
                  </a:lnTo>
                  <a:lnTo>
                    <a:pt x="1608" y="695"/>
                  </a:lnTo>
                  <a:lnTo>
                    <a:pt x="1608" y="695"/>
                  </a:lnTo>
                  <a:lnTo>
                    <a:pt x="1608" y="695"/>
                  </a:lnTo>
                  <a:lnTo>
                    <a:pt x="1608" y="695"/>
                  </a:lnTo>
                  <a:lnTo>
                    <a:pt x="1606" y="695"/>
                  </a:lnTo>
                  <a:lnTo>
                    <a:pt x="1606" y="695"/>
                  </a:lnTo>
                  <a:lnTo>
                    <a:pt x="1606" y="695"/>
                  </a:lnTo>
                  <a:lnTo>
                    <a:pt x="1606" y="695"/>
                  </a:lnTo>
                  <a:lnTo>
                    <a:pt x="1606" y="695"/>
                  </a:lnTo>
                  <a:lnTo>
                    <a:pt x="1606" y="693"/>
                  </a:lnTo>
                  <a:lnTo>
                    <a:pt x="1606" y="693"/>
                  </a:lnTo>
                  <a:lnTo>
                    <a:pt x="1606" y="693"/>
                  </a:lnTo>
                  <a:lnTo>
                    <a:pt x="1604" y="693"/>
                  </a:lnTo>
                  <a:lnTo>
                    <a:pt x="1604" y="693"/>
                  </a:lnTo>
                  <a:lnTo>
                    <a:pt x="1604" y="691"/>
                  </a:lnTo>
                  <a:lnTo>
                    <a:pt x="1604" y="691"/>
                  </a:lnTo>
                  <a:lnTo>
                    <a:pt x="1602" y="691"/>
                  </a:lnTo>
                  <a:lnTo>
                    <a:pt x="1602" y="693"/>
                  </a:lnTo>
                  <a:lnTo>
                    <a:pt x="1600" y="693"/>
                  </a:lnTo>
                  <a:lnTo>
                    <a:pt x="1600" y="695"/>
                  </a:lnTo>
                  <a:lnTo>
                    <a:pt x="1600" y="695"/>
                  </a:lnTo>
                  <a:lnTo>
                    <a:pt x="1600" y="695"/>
                  </a:lnTo>
                  <a:lnTo>
                    <a:pt x="1600" y="695"/>
                  </a:lnTo>
                  <a:lnTo>
                    <a:pt x="1602" y="695"/>
                  </a:lnTo>
                  <a:lnTo>
                    <a:pt x="1600" y="695"/>
                  </a:lnTo>
                  <a:lnTo>
                    <a:pt x="1600" y="695"/>
                  </a:lnTo>
                  <a:lnTo>
                    <a:pt x="1600" y="693"/>
                  </a:lnTo>
                  <a:lnTo>
                    <a:pt x="1600" y="693"/>
                  </a:lnTo>
                  <a:lnTo>
                    <a:pt x="1600" y="693"/>
                  </a:lnTo>
                  <a:lnTo>
                    <a:pt x="1598" y="693"/>
                  </a:lnTo>
                  <a:lnTo>
                    <a:pt x="1595" y="693"/>
                  </a:lnTo>
                  <a:lnTo>
                    <a:pt x="1591" y="693"/>
                  </a:lnTo>
                  <a:lnTo>
                    <a:pt x="1591" y="695"/>
                  </a:lnTo>
                  <a:lnTo>
                    <a:pt x="1591" y="695"/>
                  </a:lnTo>
                  <a:lnTo>
                    <a:pt x="1591" y="695"/>
                  </a:lnTo>
                  <a:lnTo>
                    <a:pt x="1591" y="695"/>
                  </a:lnTo>
                  <a:lnTo>
                    <a:pt x="1593" y="697"/>
                  </a:lnTo>
                  <a:lnTo>
                    <a:pt x="1593" y="697"/>
                  </a:lnTo>
                  <a:lnTo>
                    <a:pt x="1591" y="697"/>
                  </a:lnTo>
                  <a:lnTo>
                    <a:pt x="1591" y="697"/>
                  </a:lnTo>
                  <a:lnTo>
                    <a:pt x="1591" y="699"/>
                  </a:lnTo>
                  <a:lnTo>
                    <a:pt x="1591" y="699"/>
                  </a:lnTo>
                  <a:lnTo>
                    <a:pt x="1591" y="699"/>
                  </a:lnTo>
                  <a:lnTo>
                    <a:pt x="1591" y="699"/>
                  </a:lnTo>
                  <a:lnTo>
                    <a:pt x="1591" y="699"/>
                  </a:lnTo>
                  <a:lnTo>
                    <a:pt x="1593" y="701"/>
                  </a:lnTo>
                  <a:lnTo>
                    <a:pt x="1593" y="701"/>
                  </a:lnTo>
                  <a:lnTo>
                    <a:pt x="1593" y="701"/>
                  </a:lnTo>
                  <a:lnTo>
                    <a:pt x="1593" y="701"/>
                  </a:lnTo>
                  <a:lnTo>
                    <a:pt x="1593" y="701"/>
                  </a:lnTo>
                  <a:lnTo>
                    <a:pt x="1593" y="701"/>
                  </a:lnTo>
                  <a:lnTo>
                    <a:pt x="1593" y="701"/>
                  </a:lnTo>
                  <a:lnTo>
                    <a:pt x="1593" y="701"/>
                  </a:lnTo>
                  <a:lnTo>
                    <a:pt x="1595" y="701"/>
                  </a:lnTo>
                  <a:lnTo>
                    <a:pt x="1595" y="701"/>
                  </a:lnTo>
                  <a:lnTo>
                    <a:pt x="1595" y="701"/>
                  </a:lnTo>
                  <a:lnTo>
                    <a:pt x="1598" y="701"/>
                  </a:lnTo>
                  <a:lnTo>
                    <a:pt x="1598" y="701"/>
                  </a:lnTo>
                  <a:lnTo>
                    <a:pt x="1600" y="701"/>
                  </a:lnTo>
                  <a:lnTo>
                    <a:pt x="1602" y="701"/>
                  </a:lnTo>
                  <a:lnTo>
                    <a:pt x="1602" y="701"/>
                  </a:lnTo>
                  <a:lnTo>
                    <a:pt x="1604" y="701"/>
                  </a:lnTo>
                  <a:lnTo>
                    <a:pt x="1604" y="703"/>
                  </a:lnTo>
                  <a:lnTo>
                    <a:pt x="1604" y="705"/>
                  </a:lnTo>
                  <a:lnTo>
                    <a:pt x="1606" y="705"/>
                  </a:lnTo>
                  <a:lnTo>
                    <a:pt x="1606" y="707"/>
                  </a:lnTo>
                  <a:lnTo>
                    <a:pt x="1606" y="709"/>
                  </a:lnTo>
                  <a:lnTo>
                    <a:pt x="1608" y="709"/>
                  </a:lnTo>
                  <a:lnTo>
                    <a:pt x="1608" y="709"/>
                  </a:lnTo>
                  <a:lnTo>
                    <a:pt x="1608" y="709"/>
                  </a:lnTo>
                  <a:lnTo>
                    <a:pt x="1608" y="711"/>
                  </a:lnTo>
                  <a:lnTo>
                    <a:pt x="1608" y="711"/>
                  </a:lnTo>
                  <a:lnTo>
                    <a:pt x="1608" y="711"/>
                  </a:lnTo>
                  <a:lnTo>
                    <a:pt x="1608" y="711"/>
                  </a:lnTo>
                  <a:lnTo>
                    <a:pt x="1608" y="713"/>
                  </a:lnTo>
                  <a:lnTo>
                    <a:pt x="1608" y="713"/>
                  </a:lnTo>
                  <a:lnTo>
                    <a:pt x="1608" y="713"/>
                  </a:lnTo>
                  <a:lnTo>
                    <a:pt x="1610" y="713"/>
                  </a:lnTo>
                  <a:lnTo>
                    <a:pt x="1610" y="713"/>
                  </a:lnTo>
                  <a:lnTo>
                    <a:pt x="1610" y="713"/>
                  </a:lnTo>
                  <a:lnTo>
                    <a:pt x="1610" y="713"/>
                  </a:lnTo>
                  <a:lnTo>
                    <a:pt x="1610" y="713"/>
                  </a:lnTo>
                  <a:lnTo>
                    <a:pt x="1610" y="713"/>
                  </a:lnTo>
                  <a:lnTo>
                    <a:pt x="1610" y="713"/>
                  </a:lnTo>
                  <a:lnTo>
                    <a:pt x="1612" y="713"/>
                  </a:lnTo>
                  <a:lnTo>
                    <a:pt x="1612" y="713"/>
                  </a:lnTo>
                  <a:lnTo>
                    <a:pt x="1612" y="715"/>
                  </a:lnTo>
                  <a:lnTo>
                    <a:pt x="1612" y="715"/>
                  </a:lnTo>
                  <a:lnTo>
                    <a:pt x="1612" y="715"/>
                  </a:lnTo>
                  <a:lnTo>
                    <a:pt x="1612" y="717"/>
                  </a:lnTo>
                  <a:lnTo>
                    <a:pt x="1612" y="717"/>
                  </a:lnTo>
                  <a:lnTo>
                    <a:pt x="1610" y="719"/>
                  </a:lnTo>
                  <a:lnTo>
                    <a:pt x="1610" y="719"/>
                  </a:lnTo>
                  <a:lnTo>
                    <a:pt x="1610" y="721"/>
                  </a:lnTo>
                  <a:lnTo>
                    <a:pt x="1610" y="721"/>
                  </a:lnTo>
                  <a:lnTo>
                    <a:pt x="1610" y="721"/>
                  </a:lnTo>
                  <a:lnTo>
                    <a:pt x="1608" y="719"/>
                  </a:lnTo>
                  <a:lnTo>
                    <a:pt x="1608" y="721"/>
                  </a:lnTo>
                  <a:lnTo>
                    <a:pt x="1608" y="721"/>
                  </a:lnTo>
                  <a:lnTo>
                    <a:pt x="1608" y="723"/>
                  </a:lnTo>
                  <a:lnTo>
                    <a:pt x="1608" y="723"/>
                  </a:lnTo>
                  <a:lnTo>
                    <a:pt x="1608" y="723"/>
                  </a:lnTo>
                  <a:lnTo>
                    <a:pt x="1608" y="723"/>
                  </a:lnTo>
                  <a:lnTo>
                    <a:pt x="1608" y="723"/>
                  </a:lnTo>
                  <a:lnTo>
                    <a:pt x="1608" y="723"/>
                  </a:lnTo>
                  <a:lnTo>
                    <a:pt x="1608" y="723"/>
                  </a:lnTo>
                  <a:lnTo>
                    <a:pt x="1608" y="723"/>
                  </a:lnTo>
                  <a:lnTo>
                    <a:pt x="1608" y="723"/>
                  </a:lnTo>
                  <a:lnTo>
                    <a:pt x="1608" y="723"/>
                  </a:lnTo>
                  <a:lnTo>
                    <a:pt x="1608" y="725"/>
                  </a:lnTo>
                  <a:lnTo>
                    <a:pt x="1608" y="725"/>
                  </a:lnTo>
                  <a:lnTo>
                    <a:pt x="1608" y="725"/>
                  </a:lnTo>
                  <a:lnTo>
                    <a:pt x="1608" y="725"/>
                  </a:lnTo>
                  <a:lnTo>
                    <a:pt x="1608" y="725"/>
                  </a:lnTo>
                  <a:lnTo>
                    <a:pt x="1608" y="728"/>
                  </a:lnTo>
                  <a:lnTo>
                    <a:pt x="1608" y="728"/>
                  </a:lnTo>
                  <a:lnTo>
                    <a:pt x="1610" y="728"/>
                  </a:lnTo>
                  <a:lnTo>
                    <a:pt x="1612" y="730"/>
                  </a:lnTo>
                  <a:lnTo>
                    <a:pt x="1614" y="728"/>
                  </a:lnTo>
                  <a:lnTo>
                    <a:pt x="1618" y="725"/>
                  </a:lnTo>
                  <a:lnTo>
                    <a:pt x="1618" y="725"/>
                  </a:lnTo>
                  <a:lnTo>
                    <a:pt x="1620" y="723"/>
                  </a:lnTo>
                  <a:lnTo>
                    <a:pt x="1620" y="723"/>
                  </a:lnTo>
                  <a:lnTo>
                    <a:pt x="1620" y="723"/>
                  </a:lnTo>
                  <a:lnTo>
                    <a:pt x="1622" y="723"/>
                  </a:lnTo>
                  <a:lnTo>
                    <a:pt x="1622" y="723"/>
                  </a:lnTo>
                  <a:lnTo>
                    <a:pt x="1622" y="723"/>
                  </a:lnTo>
                  <a:lnTo>
                    <a:pt x="1620" y="723"/>
                  </a:lnTo>
                  <a:lnTo>
                    <a:pt x="1620" y="725"/>
                  </a:lnTo>
                  <a:lnTo>
                    <a:pt x="1620" y="725"/>
                  </a:lnTo>
                  <a:lnTo>
                    <a:pt x="1618" y="725"/>
                  </a:lnTo>
                  <a:lnTo>
                    <a:pt x="1618" y="728"/>
                  </a:lnTo>
                  <a:lnTo>
                    <a:pt x="1618" y="728"/>
                  </a:lnTo>
                  <a:lnTo>
                    <a:pt x="1618" y="728"/>
                  </a:lnTo>
                  <a:lnTo>
                    <a:pt x="1618" y="730"/>
                  </a:lnTo>
                  <a:lnTo>
                    <a:pt x="1618" y="730"/>
                  </a:lnTo>
                  <a:lnTo>
                    <a:pt x="1618" y="732"/>
                  </a:lnTo>
                  <a:lnTo>
                    <a:pt x="1618" y="732"/>
                  </a:lnTo>
                  <a:lnTo>
                    <a:pt x="1618" y="732"/>
                  </a:lnTo>
                  <a:lnTo>
                    <a:pt x="1618" y="734"/>
                  </a:lnTo>
                  <a:lnTo>
                    <a:pt x="1620" y="734"/>
                  </a:lnTo>
                  <a:lnTo>
                    <a:pt x="1622" y="734"/>
                  </a:lnTo>
                  <a:lnTo>
                    <a:pt x="1622" y="734"/>
                  </a:lnTo>
                  <a:lnTo>
                    <a:pt x="1622" y="734"/>
                  </a:lnTo>
                  <a:lnTo>
                    <a:pt x="1622" y="734"/>
                  </a:lnTo>
                  <a:lnTo>
                    <a:pt x="1620" y="734"/>
                  </a:lnTo>
                  <a:lnTo>
                    <a:pt x="1620" y="736"/>
                  </a:lnTo>
                  <a:lnTo>
                    <a:pt x="1620" y="734"/>
                  </a:lnTo>
                  <a:lnTo>
                    <a:pt x="1622" y="734"/>
                  </a:lnTo>
                  <a:lnTo>
                    <a:pt x="1622" y="736"/>
                  </a:lnTo>
                  <a:lnTo>
                    <a:pt x="1622" y="736"/>
                  </a:lnTo>
                  <a:lnTo>
                    <a:pt x="1622" y="736"/>
                  </a:lnTo>
                  <a:lnTo>
                    <a:pt x="1622" y="736"/>
                  </a:lnTo>
                  <a:lnTo>
                    <a:pt x="1624" y="736"/>
                  </a:lnTo>
                  <a:lnTo>
                    <a:pt x="1626" y="736"/>
                  </a:lnTo>
                  <a:lnTo>
                    <a:pt x="1628" y="736"/>
                  </a:lnTo>
                  <a:lnTo>
                    <a:pt x="1626" y="736"/>
                  </a:lnTo>
                  <a:lnTo>
                    <a:pt x="1622" y="738"/>
                  </a:lnTo>
                  <a:lnTo>
                    <a:pt x="1622" y="738"/>
                  </a:lnTo>
                  <a:lnTo>
                    <a:pt x="1622" y="738"/>
                  </a:lnTo>
                  <a:lnTo>
                    <a:pt x="1622" y="738"/>
                  </a:lnTo>
                  <a:lnTo>
                    <a:pt x="1622" y="738"/>
                  </a:lnTo>
                  <a:lnTo>
                    <a:pt x="1620" y="738"/>
                  </a:lnTo>
                  <a:lnTo>
                    <a:pt x="1618" y="738"/>
                  </a:lnTo>
                  <a:lnTo>
                    <a:pt x="1618" y="738"/>
                  </a:lnTo>
                  <a:lnTo>
                    <a:pt x="1618" y="738"/>
                  </a:lnTo>
                  <a:lnTo>
                    <a:pt x="1618" y="738"/>
                  </a:lnTo>
                  <a:lnTo>
                    <a:pt x="1618" y="738"/>
                  </a:lnTo>
                  <a:lnTo>
                    <a:pt x="1618" y="738"/>
                  </a:lnTo>
                  <a:lnTo>
                    <a:pt x="1618" y="738"/>
                  </a:lnTo>
                  <a:lnTo>
                    <a:pt x="1618" y="738"/>
                  </a:lnTo>
                  <a:lnTo>
                    <a:pt x="1618" y="738"/>
                  </a:lnTo>
                  <a:lnTo>
                    <a:pt x="1616" y="740"/>
                  </a:lnTo>
                  <a:lnTo>
                    <a:pt x="1616" y="740"/>
                  </a:lnTo>
                  <a:lnTo>
                    <a:pt x="1616" y="740"/>
                  </a:lnTo>
                  <a:lnTo>
                    <a:pt x="1616" y="740"/>
                  </a:lnTo>
                  <a:lnTo>
                    <a:pt x="1616" y="740"/>
                  </a:lnTo>
                  <a:lnTo>
                    <a:pt x="1616" y="742"/>
                  </a:lnTo>
                  <a:lnTo>
                    <a:pt x="1618" y="742"/>
                  </a:lnTo>
                  <a:lnTo>
                    <a:pt x="1618" y="742"/>
                  </a:lnTo>
                  <a:lnTo>
                    <a:pt x="1618" y="742"/>
                  </a:lnTo>
                  <a:lnTo>
                    <a:pt x="1618" y="742"/>
                  </a:lnTo>
                  <a:lnTo>
                    <a:pt x="1618" y="744"/>
                  </a:lnTo>
                  <a:lnTo>
                    <a:pt x="1618" y="744"/>
                  </a:lnTo>
                  <a:lnTo>
                    <a:pt x="1620" y="744"/>
                  </a:lnTo>
                  <a:lnTo>
                    <a:pt x="1620" y="744"/>
                  </a:lnTo>
                  <a:lnTo>
                    <a:pt x="1620" y="742"/>
                  </a:lnTo>
                  <a:lnTo>
                    <a:pt x="1620" y="742"/>
                  </a:lnTo>
                  <a:lnTo>
                    <a:pt x="1622" y="742"/>
                  </a:lnTo>
                  <a:lnTo>
                    <a:pt x="1622" y="742"/>
                  </a:lnTo>
                  <a:lnTo>
                    <a:pt x="1622" y="742"/>
                  </a:lnTo>
                  <a:lnTo>
                    <a:pt x="1622" y="744"/>
                  </a:lnTo>
                  <a:lnTo>
                    <a:pt x="1622" y="742"/>
                  </a:lnTo>
                  <a:lnTo>
                    <a:pt x="1622" y="742"/>
                  </a:lnTo>
                  <a:lnTo>
                    <a:pt x="1626" y="742"/>
                  </a:lnTo>
                  <a:lnTo>
                    <a:pt x="1626" y="740"/>
                  </a:lnTo>
                  <a:lnTo>
                    <a:pt x="1626" y="740"/>
                  </a:lnTo>
                  <a:lnTo>
                    <a:pt x="1628" y="740"/>
                  </a:lnTo>
                  <a:lnTo>
                    <a:pt x="1628" y="742"/>
                  </a:lnTo>
                  <a:lnTo>
                    <a:pt x="1628" y="742"/>
                  </a:lnTo>
                  <a:lnTo>
                    <a:pt x="1626" y="744"/>
                  </a:lnTo>
                  <a:lnTo>
                    <a:pt x="1624" y="744"/>
                  </a:lnTo>
                  <a:lnTo>
                    <a:pt x="1624" y="744"/>
                  </a:lnTo>
                  <a:lnTo>
                    <a:pt x="1624" y="746"/>
                  </a:lnTo>
                  <a:lnTo>
                    <a:pt x="1628" y="744"/>
                  </a:lnTo>
                  <a:lnTo>
                    <a:pt x="1628" y="744"/>
                  </a:lnTo>
                  <a:lnTo>
                    <a:pt x="1628" y="744"/>
                  </a:lnTo>
                  <a:lnTo>
                    <a:pt x="1630" y="742"/>
                  </a:lnTo>
                  <a:lnTo>
                    <a:pt x="1630" y="742"/>
                  </a:lnTo>
                  <a:lnTo>
                    <a:pt x="1630" y="742"/>
                  </a:lnTo>
                  <a:lnTo>
                    <a:pt x="1630" y="742"/>
                  </a:lnTo>
                  <a:lnTo>
                    <a:pt x="1630" y="740"/>
                  </a:lnTo>
                  <a:lnTo>
                    <a:pt x="1630" y="740"/>
                  </a:lnTo>
                  <a:lnTo>
                    <a:pt x="1630" y="740"/>
                  </a:lnTo>
                  <a:lnTo>
                    <a:pt x="1630" y="740"/>
                  </a:lnTo>
                  <a:lnTo>
                    <a:pt x="1630" y="742"/>
                  </a:lnTo>
                  <a:lnTo>
                    <a:pt x="1630" y="742"/>
                  </a:lnTo>
                  <a:lnTo>
                    <a:pt x="1632" y="744"/>
                  </a:lnTo>
                  <a:lnTo>
                    <a:pt x="1632" y="744"/>
                  </a:lnTo>
                  <a:lnTo>
                    <a:pt x="1632" y="744"/>
                  </a:lnTo>
                  <a:lnTo>
                    <a:pt x="1634" y="744"/>
                  </a:lnTo>
                  <a:lnTo>
                    <a:pt x="1634" y="746"/>
                  </a:lnTo>
                  <a:lnTo>
                    <a:pt x="1636" y="746"/>
                  </a:lnTo>
                  <a:lnTo>
                    <a:pt x="1636" y="744"/>
                  </a:lnTo>
                  <a:lnTo>
                    <a:pt x="1638" y="744"/>
                  </a:lnTo>
                  <a:lnTo>
                    <a:pt x="1636" y="744"/>
                  </a:lnTo>
                  <a:lnTo>
                    <a:pt x="1636" y="742"/>
                  </a:lnTo>
                  <a:lnTo>
                    <a:pt x="1636" y="742"/>
                  </a:lnTo>
                  <a:lnTo>
                    <a:pt x="1636" y="742"/>
                  </a:lnTo>
                  <a:lnTo>
                    <a:pt x="1636" y="742"/>
                  </a:lnTo>
                  <a:lnTo>
                    <a:pt x="1634" y="740"/>
                  </a:lnTo>
                  <a:lnTo>
                    <a:pt x="1634" y="740"/>
                  </a:lnTo>
                  <a:lnTo>
                    <a:pt x="1636" y="740"/>
                  </a:lnTo>
                  <a:lnTo>
                    <a:pt x="1636" y="740"/>
                  </a:lnTo>
                  <a:lnTo>
                    <a:pt x="1636" y="742"/>
                  </a:lnTo>
                  <a:lnTo>
                    <a:pt x="1638" y="742"/>
                  </a:lnTo>
                  <a:lnTo>
                    <a:pt x="1638" y="742"/>
                  </a:lnTo>
                  <a:lnTo>
                    <a:pt x="1638" y="744"/>
                  </a:lnTo>
                  <a:lnTo>
                    <a:pt x="1638" y="744"/>
                  </a:lnTo>
                  <a:lnTo>
                    <a:pt x="1638" y="746"/>
                  </a:lnTo>
                  <a:lnTo>
                    <a:pt x="1638" y="748"/>
                  </a:lnTo>
                  <a:lnTo>
                    <a:pt x="1638" y="748"/>
                  </a:lnTo>
                  <a:lnTo>
                    <a:pt x="1638" y="748"/>
                  </a:lnTo>
                  <a:lnTo>
                    <a:pt x="1638" y="746"/>
                  </a:lnTo>
                  <a:lnTo>
                    <a:pt x="1641" y="746"/>
                  </a:lnTo>
                  <a:lnTo>
                    <a:pt x="1641" y="746"/>
                  </a:lnTo>
                  <a:lnTo>
                    <a:pt x="1641" y="746"/>
                  </a:lnTo>
                  <a:lnTo>
                    <a:pt x="1641" y="746"/>
                  </a:lnTo>
                  <a:lnTo>
                    <a:pt x="1641" y="746"/>
                  </a:lnTo>
                  <a:lnTo>
                    <a:pt x="1641" y="748"/>
                  </a:lnTo>
                  <a:lnTo>
                    <a:pt x="1643" y="748"/>
                  </a:lnTo>
                  <a:lnTo>
                    <a:pt x="1643" y="748"/>
                  </a:lnTo>
                  <a:lnTo>
                    <a:pt x="1643" y="748"/>
                  </a:lnTo>
                  <a:lnTo>
                    <a:pt x="1643" y="748"/>
                  </a:lnTo>
                  <a:lnTo>
                    <a:pt x="1643" y="748"/>
                  </a:lnTo>
                  <a:lnTo>
                    <a:pt x="1641" y="748"/>
                  </a:lnTo>
                  <a:lnTo>
                    <a:pt x="1641" y="750"/>
                  </a:lnTo>
                  <a:lnTo>
                    <a:pt x="1641" y="750"/>
                  </a:lnTo>
                  <a:lnTo>
                    <a:pt x="1641" y="750"/>
                  </a:lnTo>
                  <a:lnTo>
                    <a:pt x="1643" y="750"/>
                  </a:lnTo>
                  <a:lnTo>
                    <a:pt x="1643" y="750"/>
                  </a:lnTo>
                  <a:lnTo>
                    <a:pt x="1643" y="750"/>
                  </a:lnTo>
                  <a:lnTo>
                    <a:pt x="1643" y="750"/>
                  </a:lnTo>
                  <a:lnTo>
                    <a:pt x="1643" y="752"/>
                  </a:lnTo>
                  <a:lnTo>
                    <a:pt x="1643" y="752"/>
                  </a:lnTo>
                  <a:lnTo>
                    <a:pt x="1643" y="752"/>
                  </a:lnTo>
                  <a:lnTo>
                    <a:pt x="1641" y="752"/>
                  </a:lnTo>
                  <a:lnTo>
                    <a:pt x="1641" y="752"/>
                  </a:lnTo>
                  <a:lnTo>
                    <a:pt x="1641" y="752"/>
                  </a:lnTo>
                  <a:lnTo>
                    <a:pt x="1641" y="752"/>
                  </a:lnTo>
                  <a:lnTo>
                    <a:pt x="1643" y="754"/>
                  </a:lnTo>
                  <a:lnTo>
                    <a:pt x="1643" y="754"/>
                  </a:lnTo>
                  <a:lnTo>
                    <a:pt x="1645" y="754"/>
                  </a:lnTo>
                  <a:lnTo>
                    <a:pt x="1645" y="752"/>
                  </a:lnTo>
                  <a:lnTo>
                    <a:pt x="1645" y="750"/>
                  </a:lnTo>
                  <a:lnTo>
                    <a:pt x="1645" y="750"/>
                  </a:lnTo>
                  <a:lnTo>
                    <a:pt x="1645" y="752"/>
                  </a:lnTo>
                  <a:lnTo>
                    <a:pt x="1645" y="752"/>
                  </a:lnTo>
                  <a:lnTo>
                    <a:pt x="1645" y="752"/>
                  </a:lnTo>
                  <a:lnTo>
                    <a:pt x="1645" y="754"/>
                  </a:lnTo>
                  <a:lnTo>
                    <a:pt x="1645" y="754"/>
                  </a:lnTo>
                  <a:lnTo>
                    <a:pt x="1645" y="754"/>
                  </a:lnTo>
                  <a:lnTo>
                    <a:pt x="1645" y="754"/>
                  </a:lnTo>
                  <a:lnTo>
                    <a:pt x="1645" y="754"/>
                  </a:lnTo>
                  <a:lnTo>
                    <a:pt x="1645" y="754"/>
                  </a:lnTo>
                  <a:lnTo>
                    <a:pt x="1645" y="754"/>
                  </a:lnTo>
                  <a:lnTo>
                    <a:pt x="1647" y="754"/>
                  </a:lnTo>
                  <a:lnTo>
                    <a:pt x="1647" y="754"/>
                  </a:lnTo>
                  <a:lnTo>
                    <a:pt x="1647" y="754"/>
                  </a:lnTo>
                  <a:lnTo>
                    <a:pt x="1647" y="754"/>
                  </a:lnTo>
                  <a:lnTo>
                    <a:pt x="1647" y="752"/>
                  </a:lnTo>
                  <a:lnTo>
                    <a:pt x="1647" y="752"/>
                  </a:lnTo>
                  <a:lnTo>
                    <a:pt x="1647" y="752"/>
                  </a:lnTo>
                  <a:lnTo>
                    <a:pt x="1647" y="752"/>
                  </a:lnTo>
                  <a:lnTo>
                    <a:pt x="1647" y="750"/>
                  </a:lnTo>
                  <a:lnTo>
                    <a:pt x="1647" y="748"/>
                  </a:lnTo>
                  <a:lnTo>
                    <a:pt x="1647" y="748"/>
                  </a:lnTo>
                  <a:lnTo>
                    <a:pt x="1647" y="750"/>
                  </a:lnTo>
                  <a:lnTo>
                    <a:pt x="1647" y="750"/>
                  </a:lnTo>
                  <a:lnTo>
                    <a:pt x="1647" y="750"/>
                  </a:lnTo>
                  <a:lnTo>
                    <a:pt x="1647" y="752"/>
                  </a:lnTo>
                  <a:lnTo>
                    <a:pt x="1649" y="752"/>
                  </a:lnTo>
                  <a:lnTo>
                    <a:pt x="1649" y="752"/>
                  </a:lnTo>
                  <a:lnTo>
                    <a:pt x="1649" y="752"/>
                  </a:lnTo>
                  <a:lnTo>
                    <a:pt x="1649" y="752"/>
                  </a:lnTo>
                  <a:lnTo>
                    <a:pt x="1647" y="752"/>
                  </a:lnTo>
                  <a:lnTo>
                    <a:pt x="1649" y="752"/>
                  </a:lnTo>
                  <a:lnTo>
                    <a:pt x="1649" y="754"/>
                  </a:lnTo>
                  <a:lnTo>
                    <a:pt x="1649" y="754"/>
                  </a:lnTo>
                  <a:lnTo>
                    <a:pt x="1649" y="754"/>
                  </a:lnTo>
                  <a:lnTo>
                    <a:pt x="1649" y="754"/>
                  </a:lnTo>
                  <a:lnTo>
                    <a:pt x="1649" y="754"/>
                  </a:lnTo>
                  <a:lnTo>
                    <a:pt x="1649" y="754"/>
                  </a:lnTo>
                  <a:lnTo>
                    <a:pt x="1649" y="754"/>
                  </a:lnTo>
                  <a:lnTo>
                    <a:pt x="1651" y="754"/>
                  </a:lnTo>
                  <a:lnTo>
                    <a:pt x="1651" y="754"/>
                  </a:lnTo>
                  <a:lnTo>
                    <a:pt x="1651" y="754"/>
                  </a:lnTo>
                  <a:lnTo>
                    <a:pt x="1653" y="754"/>
                  </a:lnTo>
                  <a:lnTo>
                    <a:pt x="1651" y="754"/>
                  </a:lnTo>
                  <a:lnTo>
                    <a:pt x="1651" y="756"/>
                  </a:lnTo>
                  <a:lnTo>
                    <a:pt x="1651" y="756"/>
                  </a:lnTo>
                  <a:lnTo>
                    <a:pt x="1651" y="756"/>
                  </a:lnTo>
                  <a:lnTo>
                    <a:pt x="1653" y="756"/>
                  </a:lnTo>
                  <a:lnTo>
                    <a:pt x="1653" y="756"/>
                  </a:lnTo>
                  <a:lnTo>
                    <a:pt x="1653" y="756"/>
                  </a:lnTo>
                  <a:lnTo>
                    <a:pt x="1651" y="758"/>
                  </a:lnTo>
                  <a:lnTo>
                    <a:pt x="1651" y="758"/>
                  </a:lnTo>
                  <a:lnTo>
                    <a:pt x="1651" y="758"/>
                  </a:lnTo>
                  <a:lnTo>
                    <a:pt x="1653" y="758"/>
                  </a:lnTo>
                  <a:lnTo>
                    <a:pt x="1653" y="758"/>
                  </a:lnTo>
                  <a:lnTo>
                    <a:pt x="1653" y="758"/>
                  </a:lnTo>
                  <a:lnTo>
                    <a:pt x="1653" y="758"/>
                  </a:lnTo>
                  <a:lnTo>
                    <a:pt x="1653" y="758"/>
                  </a:lnTo>
                  <a:lnTo>
                    <a:pt x="1653" y="756"/>
                  </a:lnTo>
                  <a:lnTo>
                    <a:pt x="1655" y="756"/>
                  </a:lnTo>
                  <a:lnTo>
                    <a:pt x="1655" y="756"/>
                  </a:lnTo>
                  <a:lnTo>
                    <a:pt x="1655" y="758"/>
                  </a:lnTo>
                  <a:lnTo>
                    <a:pt x="1655" y="758"/>
                  </a:lnTo>
                  <a:lnTo>
                    <a:pt x="1655" y="758"/>
                  </a:lnTo>
                  <a:lnTo>
                    <a:pt x="1653" y="758"/>
                  </a:lnTo>
                  <a:lnTo>
                    <a:pt x="1653" y="760"/>
                  </a:lnTo>
                  <a:lnTo>
                    <a:pt x="1653" y="760"/>
                  </a:lnTo>
                  <a:lnTo>
                    <a:pt x="1653" y="760"/>
                  </a:lnTo>
                  <a:lnTo>
                    <a:pt x="1655" y="762"/>
                  </a:lnTo>
                  <a:lnTo>
                    <a:pt x="1655" y="762"/>
                  </a:lnTo>
                  <a:lnTo>
                    <a:pt x="1655" y="760"/>
                  </a:lnTo>
                  <a:lnTo>
                    <a:pt x="1657" y="760"/>
                  </a:lnTo>
                  <a:lnTo>
                    <a:pt x="1659" y="762"/>
                  </a:lnTo>
                  <a:lnTo>
                    <a:pt x="1659" y="762"/>
                  </a:lnTo>
                  <a:lnTo>
                    <a:pt x="1659" y="760"/>
                  </a:lnTo>
                  <a:lnTo>
                    <a:pt x="1659" y="760"/>
                  </a:lnTo>
                  <a:lnTo>
                    <a:pt x="1659" y="760"/>
                  </a:lnTo>
                  <a:lnTo>
                    <a:pt x="1661" y="760"/>
                  </a:lnTo>
                  <a:lnTo>
                    <a:pt x="1661" y="760"/>
                  </a:lnTo>
                  <a:lnTo>
                    <a:pt x="1663" y="760"/>
                  </a:lnTo>
                  <a:lnTo>
                    <a:pt x="1663" y="760"/>
                  </a:lnTo>
                  <a:lnTo>
                    <a:pt x="1663" y="760"/>
                  </a:lnTo>
                  <a:close/>
                  <a:moveTo>
                    <a:pt x="1630" y="746"/>
                  </a:moveTo>
                  <a:lnTo>
                    <a:pt x="1630" y="746"/>
                  </a:lnTo>
                  <a:lnTo>
                    <a:pt x="1630" y="746"/>
                  </a:lnTo>
                  <a:lnTo>
                    <a:pt x="1630" y="746"/>
                  </a:lnTo>
                  <a:lnTo>
                    <a:pt x="1630" y="748"/>
                  </a:lnTo>
                  <a:lnTo>
                    <a:pt x="1630" y="748"/>
                  </a:lnTo>
                  <a:lnTo>
                    <a:pt x="1632" y="748"/>
                  </a:lnTo>
                  <a:lnTo>
                    <a:pt x="1632" y="750"/>
                  </a:lnTo>
                  <a:lnTo>
                    <a:pt x="1632" y="748"/>
                  </a:lnTo>
                  <a:lnTo>
                    <a:pt x="1632" y="750"/>
                  </a:lnTo>
                  <a:lnTo>
                    <a:pt x="1634" y="750"/>
                  </a:lnTo>
                  <a:lnTo>
                    <a:pt x="1634" y="750"/>
                  </a:lnTo>
                  <a:lnTo>
                    <a:pt x="1632" y="750"/>
                  </a:lnTo>
                  <a:lnTo>
                    <a:pt x="1632" y="750"/>
                  </a:lnTo>
                  <a:lnTo>
                    <a:pt x="1632" y="750"/>
                  </a:lnTo>
                  <a:lnTo>
                    <a:pt x="1632" y="752"/>
                  </a:lnTo>
                  <a:lnTo>
                    <a:pt x="1632" y="752"/>
                  </a:lnTo>
                  <a:lnTo>
                    <a:pt x="1632" y="752"/>
                  </a:lnTo>
                  <a:lnTo>
                    <a:pt x="1634" y="752"/>
                  </a:lnTo>
                  <a:lnTo>
                    <a:pt x="1634" y="752"/>
                  </a:lnTo>
                  <a:lnTo>
                    <a:pt x="1634" y="752"/>
                  </a:lnTo>
                  <a:lnTo>
                    <a:pt x="1636" y="752"/>
                  </a:lnTo>
                  <a:lnTo>
                    <a:pt x="1636" y="752"/>
                  </a:lnTo>
                  <a:lnTo>
                    <a:pt x="1636" y="754"/>
                  </a:lnTo>
                  <a:lnTo>
                    <a:pt x="1638" y="750"/>
                  </a:lnTo>
                  <a:lnTo>
                    <a:pt x="1638" y="750"/>
                  </a:lnTo>
                  <a:lnTo>
                    <a:pt x="1634" y="746"/>
                  </a:lnTo>
                  <a:lnTo>
                    <a:pt x="1634" y="746"/>
                  </a:lnTo>
                  <a:lnTo>
                    <a:pt x="1632" y="744"/>
                  </a:lnTo>
                  <a:lnTo>
                    <a:pt x="1632" y="744"/>
                  </a:lnTo>
                  <a:lnTo>
                    <a:pt x="1630" y="744"/>
                  </a:lnTo>
                  <a:lnTo>
                    <a:pt x="1630" y="744"/>
                  </a:lnTo>
                  <a:lnTo>
                    <a:pt x="1630" y="746"/>
                  </a:lnTo>
                  <a:lnTo>
                    <a:pt x="1630" y="746"/>
                  </a:lnTo>
                  <a:lnTo>
                    <a:pt x="1630" y="746"/>
                  </a:lnTo>
                  <a:lnTo>
                    <a:pt x="1630" y="746"/>
                  </a:lnTo>
                  <a:close/>
                  <a:moveTo>
                    <a:pt x="1643" y="766"/>
                  </a:moveTo>
                  <a:lnTo>
                    <a:pt x="1643" y="766"/>
                  </a:lnTo>
                  <a:lnTo>
                    <a:pt x="1641" y="766"/>
                  </a:lnTo>
                  <a:lnTo>
                    <a:pt x="1641" y="766"/>
                  </a:lnTo>
                  <a:lnTo>
                    <a:pt x="1641" y="766"/>
                  </a:lnTo>
                  <a:lnTo>
                    <a:pt x="1641" y="764"/>
                  </a:lnTo>
                  <a:lnTo>
                    <a:pt x="1641" y="764"/>
                  </a:lnTo>
                  <a:lnTo>
                    <a:pt x="1641" y="764"/>
                  </a:lnTo>
                  <a:lnTo>
                    <a:pt x="1641" y="764"/>
                  </a:lnTo>
                  <a:lnTo>
                    <a:pt x="1641" y="762"/>
                  </a:lnTo>
                  <a:lnTo>
                    <a:pt x="1638" y="762"/>
                  </a:lnTo>
                  <a:lnTo>
                    <a:pt x="1638" y="762"/>
                  </a:lnTo>
                  <a:lnTo>
                    <a:pt x="1638" y="762"/>
                  </a:lnTo>
                  <a:lnTo>
                    <a:pt x="1638" y="762"/>
                  </a:lnTo>
                  <a:lnTo>
                    <a:pt x="1638" y="762"/>
                  </a:lnTo>
                  <a:lnTo>
                    <a:pt x="1636" y="762"/>
                  </a:lnTo>
                  <a:lnTo>
                    <a:pt x="1636" y="762"/>
                  </a:lnTo>
                  <a:lnTo>
                    <a:pt x="1636" y="760"/>
                  </a:lnTo>
                  <a:lnTo>
                    <a:pt x="1636" y="760"/>
                  </a:lnTo>
                  <a:lnTo>
                    <a:pt x="1636" y="760"/>
                  </a:lnTo>
                  <a:lnTo>
                    <a:pt x="1636" y="760"/>
                  </a:lnTo>
                  <a:lnTo>
                    <a:pt x="1636" y="760"/>
                  </a:lnTo>
                  <a:lnTo>
                    <a:pt x="1634" y="758"/>
                  </a:lnTo>
                  <a:lnTo>
                    <a:pt x="1634" y="758"/>
                  </a:lnTo>
                  <a:lnTo>
                    <a:pt x="1634" y="758"/>
                  </a:lnTo>
                  <a:lnTo>
                    <a:pt x="1634" y="758"/>
                  </a:lnTo>
                  <a:lnTo>
                    <a:pt x="1632" y="758"/>
                  </a:lnTo>
                  <a:lnTo>
                    <a:pt x="1632" y="758"/>
                  </a:lnTo>
                  <a:lnTo>
                    <a:pt x="1632" y="758"/>
                  </a:lnTo>
                  <a:lnTo>
                    <a:pt x="1632" y="756"/>
                  </a:lnTo>
                  <a:lnTo>
                    <a:pt x="1632" y="756"/>
                  </a:lnTo>
                  <a:lnTo>
                    <a:pt x="1632" y="758"/>
                  </a:lnTo>
                  <a:lnTo>
                    <a:pt x="1632" y="758"/>
                  </a:lnTo>
                  <a:lnTo>
                    <a:pt x="1632" y="756"/>
                  </a:lnTo>
                  <a:lnTo>
                    <a:pt x="1630" y="754"/>
                  </a:lnTo>
                  <a:lnTo>
                    <a:pt x="1630" y="754"/>
                  </a:lnTo>
                  <a:lnTo>
                    <a:pt x="1628" y="754"/>
                  </a:lnTo>
                  <a:lnTo>
                    <a:pt x="1628" y="754"/>
                  </a:lnTo>
                  <a:lnTo>
                    <a:pt x="1628" y="754"/>
                  </a:lnTo>
                  <a:lnTo>
                    <a:pt x="1626" y="754"/>
                  </a:lnTo>
                  <a:lnTo>
                    <a:pt x="1628" y="754"/>
                  </a:lnTo>
                  <a:lnTo>
                    <a:pt x="1628" y="752"/>
                  </a:lnTo>
                  <a:lnTo>
                    <a:pt x="1628" y="752"/>
                  </a:lnTo>
                  <a:lnTo>
                    <a:pt x="1626" y="752"/>
                  </a:lnTo>
                  <a:lnTo>
                    <a:pt x="1626" y="750"/>
                  </a:lnTo>
                  <a:lnTo>
                    <a:pt x="1626" y="750"/>
                  </a:lnTo>
                  <a:lnTo>
                    <a:pt x="1628" y="752"/>
                  </a:lnTo>
                  <a:lnTo>
                    <a:pt x="1630" y="752"/>
                  </a:lnTo>
                  <a:lnTo>
                    <a:pt x="1628" y="750"/>
                  </a:lnTo>
                  <a:lnTo>
                    <a:pt x="1628" y="750"/>
                  </a:lnTo>
                  <a:lnTo>
                    <a:pt x="1628" y="750"/>
                  </a:lnTo>
                  <a:lnTo>
                    <a:pt x="1628" y="750"/>
                  </a:lnTo>
                  <a:lnTo>
                    <a:pt x="1626" y="748"/>
                  </a:lnTo>
                  <a:lnTo>
                    <a:pt x="1626" y="748"/>
                  </a:lnTo>
                  <a:lnTo>
                    <a:pt x="1624" y="748"/>
                  </a:lnTo>
                  <a:lnTo>
                    <a:pt x="1624" y="746"/>
                  </a:lnTo>
                  <a:lnTo>
                    <a:pt x="1624" y="746"/>
                  </a:lnTo>
                  <a:lnTo>
                    <a:pt x="1624" y="746"/>
                  </a:lnTo>
                  <a:lnTo>
                    <a:pt x="1622" y="746"/>
                  </a:lnTo>
                  <a:lnTo>
                    <a:pt x="1622" y="746"/>
                  </a:lnTo>
                  <a:lnTo>
                    <a:pt x="1622" y="744"/>
                  </a:lnTo>
                  <a:lnTo>
                    <a:pt x="1622" y="744"/>
                  </a:lnTo>
                  <a:lnTo>
                    <a:pt x="1622" y="744"/>
                  </a:lnTo>
                  <a:lnTo>
                    <a:pt x="1622" y="744"/>
                  </a:lnTo>
                  <a:lnTo>
                    <a:pt x="1620" y="744"/>
                  </a:lnTo>
                  <a:lnTo>
                    <a:pt x="1620" y="746"/>
                  </a:lnTo>
                  <a:lnTo>
                    <a:pt x="1620" y="746"/>
                  </a:lnTo>
                  <a:lnTo>
                    <a:pt x="1620" y="746"/>
                  </a:lnTo>
                  <a:lnTo>
                    <a:pt x="1622" y="748"/>
                  </a:lnTo>
                  <a:lnTo>
                    <a:pt x="1620" y="748"/>
                  </a:lnTo>
                  <a:lnTo>
                    <a:pt x="1620" y="748"/>
                  </a:lnTo>
                  <a:lnTo>
                    <a:pt x="1620" y="748"/>
                  </a:lnTo>
                  <a:lnTo>
                    <a:pt x="1622" y="748"/>
                  </a:lnTo>
                  <a:lnTo>
                    <a:pt x="1622" y="748"/>
                  </a:lnTo>
                  <a:lnTo>
                    <a:pt x="1622" y="750"/>
                  </a:lnTo>
                  <a:lnTo>
                    <a:pt x="1622" y="750"/>
                  </a:lnTo>
                  <a:lnTo>
                    <a:pt x="1620" y="750"/>
                  </a:lnTo>
                  <a:lnTo>
                    <a:pt x="1620" y="750"/>
                  </a:lnTo>
                  <a:lnTo>
                    <a:pt x="1622" y="750"/>
                  </a:lnTo>
                  <a:lnTo>
                    <a:pt x="1622" y="750"/>
                  </a:lnTo>
                  <a:lnTo>
                    <a:pt x="1622" y="750"/>
                  </a:lnTo>
                  <a:lnTo>
                    <a:pt x="1624" y="750"/>
                  </a:lnTo>
                  <a:lnTo>
                    <a:pt x="1624" y="752"/>
                  </a:lnTo>
                  <a:lnTo>
                    <a:pt x="1622" y="752"/>
                  </a:lnTo>
                  <a:lnTo>
                    <a:pt x="1622" y="752"/>
                  </a:lnTo>
                  <a:lnTo>
                    <a:pt x="1622" y="752"/>
                  </a:lnTo>
                  <a:lnTo>
                    <a:pt x="1622" y="754"/>
                  </a:lnTo>
                  <a:lnTo>
                    <a:pt x="1622" y="754"/>
                  </a:lnTo>
                  <a:lnTo>
                    <a:pt x="1622" y="754"/>
                  </a:lnTo>
                  <a:lnTo>
                    <a:pt x="1624" y="756"/>
                  </a:lnTo>
                  <a:lnTo>
                    <a:pt x="1626" y="756"/>
                  </a:lnTo>
                  <a:lnTo>
                    <a:pt x="1624" y="758"/>
                  </a:lnTo>
                  <a:lnTo>
                    <a:pt x="1626" y="758"/>
                  </a:lnTo>
                  <a:lnTo>
                    <a:pt x="1626" y="758"/>
                  </a:lnTo>
                  <a:lnTo>
                    <a:pt x="1626" y="758"/>
                  </a:lnTo>
                  <a:lnTo>
                    <a:pt x="1626" y="758"/>
                  </a:lnTo>
                  <a:lnTo>
                    <a:pt x="1626" y="760"/>
                  </a:lnTo>
                  <a:lnTo>
                    <a:pt x="1626" y="760"/>
                  </a:lnTo>
                  <a:lnTo>
                    <a:pt x="1626" y="758"/>
                  </a:lnTo>
                  <a:lnTo>
                    <a:pt x="1628" y="758"/>
                  </a:lnTo>
                  <a:lnTo>
                    <a:pt x="1628" y="758"/>
                  </a:lnTo>
                  <a:lnTo>
                    <a:pt x="1628" y="758"/>
                  </a:lnTo>
                  <a:lnTo>
                    <a:pt x="1628" y="758"/>
                  </a:lnTo>
                  <a:lnTo>
                    <a:pt x="1628" y="760"/>
                  </a:lnTo>
                  <a:lnTo>
                    <a:pt x="1628" y="760"/>
                  </a:lnTo>
                  <a:lnTo>
                    <a:pt x="1628" y="760"/>
                  </a:lnTo>
                  <a:lnTo>
                    <a:pt x="1628" y="760"/>
                  </a:lnTo>
                  <a:lnTo>
                    <a:pt x="1628" y="760"/>
                  </a:lnTo>
                  <a:lnTo>
                    <a:pt x="1630" y="760"/>
                  </a:lnTo>
                  <a:lnTo>
                    <a:pt x="1630" y="760"/>
                  </a:lnTo>
                  <a:lnTo>
                    <a:pt x="1630" y="760"/>
                  </a:lnTo>
                  <a:lnTo>
                    <a:pt x="1630" y="762"/>
                  </a:lnTo>
                  <a:lnTo>
                    <a:pt x="1630" y="762"/>
                  </a:lnTo>
                  <a:lnTo>
                    <a:pt x="1630" y="762"/>
                  </a:lnTo>
                  <a:lnTo>
                    <a:pt x="1632" y="762"/>
                  </a:lnTo>
                  <a:lnTo>
                    <a:pt x="1632" y="764"/>
                  </a:lnTo>
                  <a:lnTo>
                    <a:pt x="1634" y="762"/>
                  </a:lnTo>
                  <a:lnTo>
                    <a:pt x="1634" y="762"/>
                  </a:lnTo>
                  <a:lnTo>
                    <a:pt x="1634" y="762"/>
                  </a:lnTo>
                  <a:lnTo>
                    <a:pt x="1634" y="762"/>
                  </a:lnTo>
                  <a:lnTo>
                    <a:pt x="1634" y="764"/>
                  </a:lnTo>
                  <a:lnTo>
                    <a:pt x="1634" y="764"/>
                  </a:lnTo>
                  <a:lnTo>
                    <a:pt x="1634" y="764"/>
                  </a:lnTo>
                  <a:lnTo>
                    <a:pt x="1634" y="764"/>
                  </a:lnTo>
                  <a:lnTo>
                    <a:pt x="1638" y="766"/>
                  </a:lnTo>
                  <a:lnTo>
                    <a:pt x="1638" y="766"/>
                  </a:lnTo>
                  <a:lnTo>
                    <a:pt x="1636" y="766"/>
                  </a:lnTo>
                  <a:lnTo>
                    <a:pt x="1636" y="766"/>
                  </a:lnTo>
                  <a:lnTo>
                    <a:pt x="1638" y="768"/>
                  </a:lnTo>
                  <a:lnTo>
                    <a:pt x="1638" y="768"/>
                  </a:lnTo>
                  <a:lnTo>
                    <a:pt x="1638" y="768"/>
                  </a:lnTo>
                  <a:lnTo>
                    <a:pt x="1641" y="768"/>
                  </a:lnTo>
                  <a:lnTo>
                    <a:pt x="1641" y="768"/>
                  </a:lnTo>
                  <a:lnTo>
                    <a:pt x="1641" y="768"/>
                  </a:lnTo>
                  <a:lnTo>
                    <a:pt x="1643" y="768"/>
                  </a:lnTo>
                  <a:lnTo>
                    <a:pt x="1643" y="768"/>
                  </a:lnTo>
                  <a:lnTo>
                    <a:pt x="1645" y="768"/>
                  </a:lnTo>
                  <a:lnTo>
                    <a:pt x="1643" y="766"/>
                  </a:lnTo>
                  <a:lnTo>
                    <a:pt x="1643" y="766"/>
                  </a:lnTo>
                  <a:close/>
                  <a:moveTo>
                    <a:pt x="1612" y="736"/>
                  </a:moveTo>
                  <a:lnTo>
                    <a:pt x="1612" y="736"/>
                  </a:lnTo>
                  <a:lnTo>
                    <a:pt x="1614" y="734"/>
                  </a:lnTo>
                  <a:lnTo>
                    <a:pt x="1614" y="734"/>
                  </a:lnTo>
                  <a:lnTo>
                    <a:pt x="1614" y="734"/>
                  </a:lnTo>
                  <a:lnTo>
                    <a:pt x="1614" y="734"/>
                  </a:lnTo>
                  <a:lnTo>
                    <a:pt x="1614" y="732"/>
                  </a:lnTo>
                  <a:lnTo>
                    <a:pt x="1614" y="732"/>
                  </a:lnTo>
                  <a:lnTo>
                    <a:pt x="1612" y="732"/>
                  </a:lnTo>
                  <a:lnTo>
                    <a:pt x="1612" y="732"/>
                  </a:lnTo>
                  <a:lnTo>
                    <a:pt x="1612" y="732"/>
                  </a:lnTo>
                  <a:lnTo>
                    <a:pt x="1610" y="732"/>
                  </a:lnTo>
                  <a:lnTo>
                    <a:pt x="1608" y="732"/>
                  </a:lnTo>
                  <a:lnTo>
                    <a:pt x="1608" y="732"/>
                  </a:lnTo>
                  <a:lnTo>
                    <a:pt x="1608" y="734"/>
                  </a:lnTo>
                  <a:lnTo>
                    <a:pt x="1610" y="734"/>
                  </a:lnTo>
                  <a:lnTo>
                    <a:pt x="1610" y="734"/>
                  </a:lnTo>
                  <a:lnTo>
                    <a:pt x="1612" y="736"/>
                  </a:lnTo>
                  <a:lnTo>
                    <a:pt x="1612" y="736"/>
                  </a:lnTo>
                  <a:lnTo>
                    <a:pt x="1612" y="736"/>
                  </a:lnTo>
                  <a:close/>
                  <a:moveTo>
                    <a:pt x="1618" y="744"/>
                  </a:moveTo>
                  <a:lnTo>
                    <a:pt x="1618" y="744"/>
                  </a:lnTo>
                  <a:lnTo>
                    <a:pt x="1618" y="744"/>
                  </a:lnTo>
                  <a:lnTo>
                    <a:pt x="1616" y="744"/>
                  </a:lnTo>
                  <a:lnTo>
                    <a:pt x="1616" y="746"/>
                  </a:lnTo>
                  <a:lnTo>
                    <a:pt x="1616" y="744"/>
                  </a:lnTo>
                  <a:lnTo>
                    <a:pt x="1616" y="744"/>
                  </a:lnTo>
                  <a:lnTo>
                    <a:pt x="1616" y="742"/>
                  </a:lnTo>
                  <a:lnTo>
                    <a:pt x="1616" y="742"/>
                  </a:lnTo>
                  <a:lnTo>
                    <a:pt x="1614" y="742"/>
                  </a:lnTo>
                  <a:lnTo>
                    <a:pt x="1614" y="742"/>
                  </a:lnTo>
                  <a:lnTo>
                    <a:pt x="1614" y="742"/>
                  </a:lnTo>
                  <a:lnTo>
                    <a:pt x="1614" y="742"/>
                  </a:lnTo>
                  <a:lnTo>
                    <a:pt x="1614" y="744"/>
                  </a:lnTo>
                  <a:lnTo>
                    <a:pt x="1614" y="744"/>
                  </a:lnTo>
                  <a:lnTo>
                    <a:pt x="1612" y="744"/>
                  </a:lnTo>
                  <a:lnTo>
                    <a:pt x="1612" y="744"/>
                  </a:lnTo>
                  <a:lnTo>
                    <a:pt x="1612" y="744"/>
                  </a:lnTo>
                  <a:lnTo>
                    <a:pt x="1612" y="746"/>
                  </a:lnTo>
                  <a:lnTo>
                    <a:pt x="1614" y="746"/>
                  </a:lnTo>
                  <a:lnTo>
                    <a:pt x="1614" y="746"/>
                  </a:lnTo>
                  <a:lnTo>
                    <a:pt x="1614" y="746"/>
                  </a:lnTo>
                  <a:lnTo>
                    <a:pt x="1612" y="746"/>
                  </a:lnTo>
                  <a:lnTo>
                    <a:pt x="1612" y="746"/>
                  </a:lnTo>
                  <a:lnTo>
                    <a:pt x="1612" y="748"/>
                  </a:lnTo>
                  <a:lnTo>
                    <a:pt x="1614" y="748"/>
                  </a:lnTo>
                  <a:lnTo>
                    <a:pt x="1614" y="748"/>
                  </a:lnTo>
                  <a:lnTo>
                    <a:pt x="1614" y="750"/>
                  </a:lnTo>
                  <a:lnTo>
                    <a:pt x="1614" y="750"/>
                  </a:lnTo>
                  <a:lnTo>
                    <a:pt x="1614" y="748"/>
                  </a:lnTo>
                  <a:lnTo>
                    <a:pt x="1614" y="748"/>
                  </a:lnTo>
                  <a:lnTo>
                    <a:pt x="1614" y="748"/>
                  </a:lnTo>
                  <a:lnTo>
                    <a:pt x="1614" y="748"/>
                  </a:lnTo>
                  <a:lnTo>
                    <a:pt x="1616" y="748"/>
                  </a:lnTo>
                  <a:lnTo>
                    <a:pt x="1616" y="748"/>
                  </a:lnTo>
                  <a:lnTo>
                    <a:pt x="1616" y="748"/>
                  </a:lnTo>
                  <a:lnTo>
                    <a:pt x="1616" y="748"/>
                  </a:lnTo>
                  <a:lnTo>
                    <a:pt x="1616" y="748"/>
                  </a:lnTo>
                  <a:lnTo>
                    <a:pt x="1618" y="748"/>
                  </a:lnTo>
                  <a:lnTo>
                    <a:pt x="1618" y="748"/>
                  </a:lnTo>
                  <a:lnTo>
                    <a:pt x="1618" y="748"/>
                  </a:lnTo>
                  <a:lnTo>
                    <a:pt x="1618" y="746"/>
                  </a:lnTo>
                  <a:lnTo>
                    <a:pt x="1618" y="746"/>
                  </a:lnTo>
                  <a:lnTo>
                    <a:pt x="1618" y="746"/>
                  </a:lnTo>
                  <a:lnTo>
                    <a:pt x="1618" y="744"/>
                  </a:lnTo>
                  <a:lnTo>
                    <a:pt x="1618" y="744"/>
                  </a:lnTo>
                  <a:close/>
                  <a:moveTo>
                    <a:pt x="1106" y="531"/>
                  </a:moveTo>
                  <a:lnTo>
                    <a:pt x="1108" y="531"/>
                  </a:lnTo>
                  <a:lnTo>
                    <a:pt x="1108" y="529"/>
                  </a:lnTo>
                  <a:lnTo>
                    <a:pt x="1108" y="529"/>
                  </a:lnTo>
                  <a:lnTo>
                    <a:pt x="1108" y="529"/>
                  </a:lnTo>
                  <a:lnTo>
                    <a:pt x="1106" y="529"/>
                  </a:lnTo>
                  <a:lnTo>
                    <a:pt x="1106" y="529"/>
                  </a:lnTo>
                  <a:lnTo>
                    <a:pt x="1106" y="531"/>
                  </a:lnTo>
                  <a:lnTo>
                    <a:pt x="1106" y="531"/>
                  </a:lnTo>
                  <a:lnTo>
                    <a:pt x="1106" y="531"/>
                  </a:lnTo>
                  <a:lnTo>
                    <a:pt x="1106" y="531"/>
                  </a:lnTo>
                  <a:lnTo>
                    <a:pt x="1106" y="531"/>
                  </a:lnTo>
                  <a:close/>
                  <a:moveTo>
                    <a:pt x="780" y="236"/>
                  </a:moveTo>
                  <a:lnTo>
                    <a:pt x="780" y="236"/>
                  </a:lnTo>
                  <a:lnTo>
                    <a:pt x="782" y="236"/>
                  </a:lnTo>
                  <a:lnTo>
                    <a:pt x="782" y="236"/>
                  </a:lnTo>
                  <a:lnTo>
                    <a:pt x="786" y="236"/>
                  </a:lnTo>
                  <a:lnTo>
                    <a:pt x="786" y="236"/>
                  </a:lnTo>
                  <a:lnTo>
                    <a:pt x="786" y="236"/>
                  </a:lnTo>
                  <a:lnTo>
                    <a:pt x="786" y="236"/>
                  </a:lnTo>
                  <a:lnTo>
                    <a:pt x="786" y="236"/>
                  </a:lnTo>
                  <a:lnTo>
                    <a:pt x="786" y="236"/>
                  </a:lnTo>
                  <a:lnTo>
                    <a:pt x="789" y="234"/>
                  </a:lnTo>
                  <a:lnTo>
                    <a:pt x="789" y="234"/>
                  </a:lnTo>
                  <a:lnTo>
                    <a:pt x="789" y="234"/>
                  </a:lnTo>
                  <a:lnTo>
                    <a:pt x="789" y="234"/>
                  </a:lnTo>
                  <a:lnTo>
                    <a:pt x="789" y="234"/>
                  </a:lnTo>
                  <a:lnTo>
                    <a:pt x="789" y="234"/>
                  </a:lnTo>
                  <a:lnTo>
                    <a:pt x="789" y="234"/>
                  </a:lnTo>
                  <a:lnTo>
                    <a:pt x="791" y="234"/>
                  </a:lnTo>
                  <a:lnTo>
                    <a:pt x="791" y="234"/>
                  </a:lnTo>
                  <a:lnTo>
                    <a:pt x="789" y="234"/>
                  </a:lnTo>
                  <a:lnTo>
                    <a:pt x="776" y="238"/>
                  </a:lnTo>
                  <a:lnTo>
                    <a:pt x="778" y="238"/>
                  </a:lnTo>
                  <a:lnTo>
                    <a:pt x="780" y="236"/>
                  </a:lnTo>
                  <a:close/>
                  <a:moveTo>
                    <a:pt x="776" y="238"/>
                  </a:moveTo>
                  <a:lnTo>
                    <a:pt x="776" y="238"/>
                  </a:lnTo>
                  <a:lnTo>
                    <a:pt x="776" y="238"/>
                  </a:lnTo>
                  <a:lnTo>
                    <a:pt x="776" y="238"/>
                  </a:lnTo>
                  <a:close/>
                  <a:moveTo>
                    <a:pt x="776" y="238"/>
                  </a:moveTo>
                  <a:lnTo>
                    <a:pt x="776" y="238"/>
                  </a:lnTo>
                  <a:lnTo>
                    <a:pt x="774" y="238"/>
                  </a:lnTo>
                  <a:lnTo>
                    <a:pt x="776" y="238"/>
                  </a:lnTo>
                  <a:lnTo>
                    <a:pt x="776" y="238"/>
                  </a:lnTo>
                  <a:close/>
                  <a:moveTo>
                    <a:pt x="774" y="238"/>
                  </a:moveTo>
                  <a:lnTo>
                    <a:pt x="774" y="238"/>
                  </a:lnTo>
                  <a:lnTo>
                    <a:pt x="774" y="238"/>
                  </a:lnTo>
                  <a:lnTo>
                    <a:pt x="774" y="238"/>
                  </a:lnTo>
                  <a:lnTo>
                    <a:pt x="774" y="238"/>
                  </a:lnTo>
                  <a:close/>
                  <a:moveTo>
                    <a:pt x="770" y="240"/>
                  </a:moveTo>
                  <a:lnTo>
                    <a:pt x="770" y="240"/>
                  </a:lnTo>
                  <a:lnTo>
                    <a:pt x="770" y="240"/>
                  </a:lnTo>
                  <a:lnTo>
                    <a:pt x="770" y="240"/>
                  </a:lnTo>
                  <a:lnTo>
                    <a:pt x="772" y="238"/>
                  </a:lnTo>
                  <a:lnTo>
                    <a:pt x="772" y="238"/>
                  </a:lnTo>
                  <a:lnTo>
                    <a:pt x="774" y="238"/>
                  </a:lnTo>
                  <a:lnTo>
                    <a:pt x="768" y="240"/>
                  </a:lnTo>
                  <a:lnTo>
                    <a:pt x="768" y="240"/>
                  </a:lnTo>
                  <a:lnTo>
                    <a:pt x="768" y="240"/>
                  </a:lnTo>
                  <a:lnTo>
                    <a:pt x="768" y="240"/>
                  </a:lnTo>
                  <a:lnTo>
                    <a:pt x="770" y="240"/>
                  </a:lnTo>
                  <a:close/>
                  <a:moveTo>
                    <a:pt x="758" y="246"/>
                  </a:moveTo>
                  <a:lnTo>
                    <a:pt x="760" y="244"/>
                  </a:lnTo>
                  <a:lnTo>
                    <a:pt x="760" y="244"/>
                  </a:lnTo>
                  <a:lnTo>
                    <a:pt x="760" y="244"/>
                  </a:lnTo>
                  <a:lnTo>
                    <a:pt x="760" y="244"/>
                  </a:lnTo>
                  <a:lnTo>
                    <a:pt x="760" y="244"/>
                  </a:lnTo>
                  <a:lnTo>
                    <a:pt x="758" y="244"/>
                  </a:lnTo>
                  <a:lnTo>
                    <a:pt x="758" y="244"/>
                  </a:lnTo>
                  <a:lnTo>
                    <a:pt x="758" y="246"/>
                  </a:lnTo>
                  <a:lnTo>
                    <a:pt x="758" y="246"/>
                  </a:lnTo>
                  <a:lnTo>
                    <a:pt x="758" y="246"/>
                  </a:lnTo>
                  <a:close/>
                  <a:moveTo>
                    <a:pt x="762" y="244"/>
                  </a:moveTo>
                  <a:lnTo>
                    <a:pt x="764" y="242"/>
                  </a:lnTo>
                  <a:lnTo>
                    <a:pt x="764" y="242"/>
                  </a:lnTo>
                  <a:lnTo>
                    <a:pt x="766" y="242"/>
                  </a:lnTo>
                  <a:lnTo>
                    <a:pt x="766" y="242"/>
                  </a:lnTo>
                  <a:lnTo>
                    <a:pt x="764" y="242"/>
                  </a:lnTo>
                  <a:lnTo>
                    <a:pt x="762" y="242"/>
                  </a:lnTo>
                  <a:lnTo>
                    <a:pt x="762" y="242"/>
                  </a:lnTo>
                  <a:lnTo>
                    <a:pt x="762" y="244"/>
                  </a:lnTo>
                  <a:lnTo>
                    <a:pt x="762" y="244"/>
                  </a:lnTo>
                  <a:lnTo>
                    <a:pt x="762" y="244"/>
                  </a:lnTo>
                  <a:lnTo>
                    <a:pt x="762" y="244"/>
                  </a:lnTo>
                  <a:close/>
                  <a:moveTo>
                    <a:pt x="844" y="84"/>
                  </a:moveTo>
                  <a:lnTo>
                    <a:pt x="844" y="82"/>
                  </a:lnTo>
                  <a:lnTo>
                    <a:pt x="844" y="80"/>
                  </a:lnTo>
                  <a:lnTo>
                    <a:pt x="844" y="78"/>
                  </a:lnTo>
                  <a:lnTo>
                    <a:pt x="846" y="78"/>
                  </a:lnTo>
                  <a:lnTo>
                    <a:pt x="846" y="78"/>
                  </a:lnTo>
                  <a:lnTo>
                    <a:pt x="844" y="78"/>
                  </a:lnTo>
                  <a:lnTo>
                    <a:pt x="844" y="80"/>
                  </a:lnTo>
                  <a:lnTo>
                    <a:pt x="844" y="82"/>
                  </a:lnTo>
                  <a:lnTo>
                    <a:pt x="844" y="84"/>
                  </a:lnTo>
                  <a:lnTo>
                    <a:pt x="844" y="86"/>
                  </a:lnTo>
                  <a:lnTo>
                    <a:pt x="844" y="86"/>
                  </a:lnTo>
                  <a:lnTo>
                    <a:pt x="844" y="88"/>
                  </a:lnTo>
                  <a:lnTo>
                    <a:pt x="844" y="84"/>
                  </a:lnTo>
                  <a:lnTo>
                    <a:pt x="844" y="84"/>
                  </a:lnTo>
                  <a:close/>
                  <a:moveTo>
                    <a:pt x="846" y="646"/>
                  </a:moveTo>
                  <a:lnTo>
                    <a:pt x="846" y="648"/>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close/>
                  <a:moveTo>
                    <a:pt x="1235" y="64"/>
                  </a:moveTo>
                  <a:lnTo>
                    <a:pt x="1235" y="64"/>
                  </a:lnTo>
                  <a:lnTo>
                    <a:pt x="1235" y="64"/>
                  </a:lnTo>
                  <a:lnTo>
                    <a:pt x="1237" y="64"/>
                  </a:lnTo>
                  <a:lnTo>
                    <a:pt x="1239" y="64"/>
                  </a:lnTo>
                  <a:lnTo>
                    <a:pt x="1241" y="66"/>
                  </a:lnTo>
                  <a:lnTo>
                    <a:pt x="1241" y="68"/>
                  </a:lnTo>
                  <a:lnTo>
                    <a:pt x="1243" y="68"/>
                  </a:lnTo>
                  <a:lnTo>
                    <a:pt x="1243" y="68"/>
                  </a:lnTo>
                  <a:lnTo>
                    <a:pt x="1241" y="66"/>
                  </a:lnTo>
                  <a:lnTo>
                    <a:pt x="1241" y="66"/>
                  </a:lnTo>
                  <a:lnTo>
                    <a:pt x="1239" y="64"/>
                  </a:lnTo>
                  <a:lnTo>
                    <a:pt x="1233" y="61"/>
                  </a:lnTo>
                  <a:lnTo>
                    <a:pt x="1233" y="61"/>
                  </a:lnTo>
                  <a:lnTo>
                    <a:pt x="1233" y="64"/>
                  </a:lnTo>
                  <a:lnTo>
                    <a:pt x="1235" y="64"/>
                  </a:lnTo>
                  <a:close/>
                  <a:moveTo>
                    <a:pt x="873" y="47"/>
                  </a:moveTo>
                  <a:lnTo>
                    <a:pt x="879" y="49"/>
                  </a:lnTo>
                  <a:lnTo>
                    <a:pt x="873" y="47"/>
                  </a:lnTo>
                  <a:lnTo>
                    <a:pt x="870" y="47"/>
                  </a:lnTo>
                  <a:lnTo>
                    <a:pt x="870" y="49"/>
                  </a:lnTo>
                  <a:lnTo>
                    <a:pt x="870" y="49"/>
                  </a:lnTo>
                  <a:lnTo>
                    <a:pt x="870" y="47"/>
                  </a:lnTo>
                  <a:lnTo>
                    <a:pt x="873" y="47"/>
                  </a:lnTo>
                  <a:close/>
                  <a:moveTo>
                    <a:pt x="856" y="64"/>
                  </a:moveTo>
                  <a:lnTo>
                    <a:pt x="856" y="61"/>
                  </a:lnTo>
                  <a:lnTo>
                    <a:pt x="858" y="59"/>
                  </a:lnTo>
                  <a:lnTo>
                    <a:pt x="858" y="59"/>
                  </a:lnTo>
                  <a:lnTo>
                    <a:pt x="858" y="59"/>
                  </a:lnTo>
                  <a:lnTo>
                    <a:pt x="858" y="59"/>
                  </a:lnTo>
                  <a:lnTo>
                    <a:pt x="856" y="59"/>
                  </a:lnTo>
                  <a:lnTo>
                    <a:pt x="856" y="61"/>
                  </a:lnTo>
                  <a:lnTo>
                    <a:pt x="856" y="61"/>
                  </a:lnTo>
                  <a:lnTo>
                    <a:pt x="854" y="64"/>
                  </a:lnTo>
                  <a:lnTo>
                    <a:pt x="852" y="66"/>
                  </a:lnTo>
                  <a:lnTo>
                    <a:pt x="854" y="64"/>
                  </a:lnTo>
                  <a:lnTo>
                    <a:pt x="856" y="64"/>
                  </a:lnTo>
                  <a:close/>
                  <a:moveTo>
                    <a:pt x="860" y="57"/>
                  </a:moveTo>
                  <a:lnTo>
                    <a:pt x="860" y="55"/>
                  </a:lnTo>
                  <a:lnTo>
                    <a:pt x="862" y="53"/>
                  </a:lnTo>
                  <a:lnTo>
                    <a:pt x="866" y="51"/>
                  </a:lnTo>
                  <a:lnTo>
                    <a:pt x="864" y="51"/>
                  </a:lnTo>
                  <a:lnTo>
                    <a:pt x="860" y="55"/>
                  </a:lnTo>
                  <a:lnTo>
                    <a:pt x="860" y="55"/>
                  </a:lnTo>
                  <a:lnTo>
                    <a:pt x="858" y="57"/>
                  </a:lnTo>
                  <a:lnTo>
                    <a:pt x="858" y="57"/>
                  </a:lnTo>
                  <a:lnTo>
                    <a:pt x="860" y="57"/>
                  </a:lnTo>
                  <a:close/>
                  <a:moveTo>
                    <a:pt x="848" y="72"/>
                  </a:moveTo>
                  <a:lnTo>
                    <a:pt x="848" y="72"/>
                  </a:lnTo>
                  <a:lnTo>
                    <a:pt x="852" y="68"/>
                  </a:lnTo>
                  <a:lnTo>
                    <a:pt x="852" y="66"/>
                  </a:lnTo>
                  <a:lnTo>
                    <a:pt x="848" y="70"/>
                  </a:lnTo>
                  <a:lnTo>
                    <a:pt x="848" y="72"/>
                  </a:lnTo>
                  <a:lnTo>
                    <a:pt x="848" y="72"/>
                  </a:lnTo>
                  <a:lnTo>
                    <a:pt x="846" y="78"/>
                  </a:lnTo>
                  <a:lnTo>
                    <a:pt x="846" y="76"/>
                  </a:lnTo>
                  <a:lnTo>
                    <a:pt x="848" y="72"/>
                  </a:lnTo>
                  <a:close/>
                  <a:moveTo>
                    <a:pt x="746" y="250"/>
                  </a:moveTo>
                  <a:lnTo>
                    <a:pt x="748" y="250"/>
                  </a:lnTo>
                  <a:lnTo>
                    <a:pt x="750" y="248"/>
                  </a:lnTo>
                  <a:lnTo>
                    <a:pt x="750" y="248"/>
                  </a:lnTo>
                  <a:lnTo>
                    <a:pt x="750" y="248"/>
                  </a:lnTo>
                  <a:lnTo>
                    <a:pt x="750" y="248"/>
                  </a:lnTo>
                  <a:lnTo>
                    <a:pt x="752" y="248"/>
                  </a:lnTo>
                  <a:lnTo>
                    <a:pt x="754" y="246"/>
                  </a:lnTo>
                  <a:lnTo>
                    <a:pt x="756" y="246"/>
                  </a:lnTo>
                  <a:lnTo>
                    <a:pt x="756" y="246"/>
                  </a:lnTo>
                  <a:lnTo>
                    <a:pt x="756" y="246"/>
                  </a:lnTo>
                  <a:lnTo>
                    <a:pt x="758" y="246"/>
                  </a:lnTo>
                  <a:lnTo>
                    <a:pt x="756" y="246"/>
                  </a:lnTo>
                  <a:lnTo>
                    <a:pt x="754" y="246"/>
                  </a:lnTo>
                  <a:lnTo>
                    <a:pt x="743" y="250"/>
                  </a:lnTo>
                  <a:lnTo>
                    <a:pt x="743" y="250"/>
                  </a:lnTo>
                  <a:lnTo>
                    <a:pt x="743" y="252"/>
                  </a:lnTo>
                  <a:lnTo>
                    <a:pt x="743" y="250"/>
                  </a:lnTo>
                  <a:lnTo>
                    <a:pt x="746" y="250"/>
                  </a:lnTo>
                  <a:close/>
                  <a:moveTo>
                    <a:pt x="1098" y="43"/>
                  </a:moveTo>
                  <a:lnTo>
                    <a:pt x="1100" y="45"/>
                  </a:lnTo>
                  <a:lnTo>
                    <a:pt x="1102" y="45"/>
                  </a:lnTo>
                  <a:lnTo>
                    <a:pt x="1102" y="45"/>
                  </a:lnTo>
                  <a:lnTo>
                    <a:pt x="1102" y="45"/>
                  </a:lnTo>
                  <a:lnTo>
                    <a:pt x="1104" y="45"/>
                  </a:lnTo>
                  <a:lnTo>
                    <a:pt x="1104" y="45"/>
                  </a:lnTo>
                  <a:lnTo>
                    <a:pt x="1102" y="45"/>
                  </a:lnTo>
                  <a:lnTo>
                    <a:pt x="1102" y="45"/>
                  </a:lnTo>
                  <a:lnTo>
                    <a:pt x="1102" y="45"/>
                  </a:lnTo>
                  <a:lnTo>
                    <a:pt x="1102" y="45"/>
                  </a:lnTo>
                  <a:lnTo>
                    <a:pt x="1102" y="45"/>
                  </a:lnTo>
                  <a:lnTo>
                    <a:pt x="1096" y="43"/>
                  </a:lnTo>
                  <a:lnTo>
                    <a:pt x="1096" y="43"/>
                  </a:lnTo>
                  <a:lnTo>
                    <a:pt x="1096" y="43"/>
                  </a:lnTo>
                  <a:lnTo>
                    <a:pt x="1096" y="43"/>
                  </a:lnTo>
                  <a:lnTo>
                    <a:pt x="1096" y="43"/>
                  </a:lnTo>
                  <a:lnTo>
                    <a:pt x="1098" y="43"/>
                  </a:lnTo>
                  <a:close/>
                  <a:moveTo>
                    <a:pt x="723" y="459"/>
                  </a:moveTo>
                  <a:lnTo>
                    <a:pt x="723" y="459"/>
                  </a:lnTo>
                  <a:lnTo>
                    <a:pt x="723" y="459"/>
                  </a:lnTo>
                  <a:lnTo>
                    <a:pt x="723" y="459"/>
                  </a:lnTo>
                  <a:lnTo>
                    <a:pt x="721" y="461"/>
                  </a:lnTo>
                  <a:lnTo>
                    <a:pt x="721" y="461"/>
                  </a:lnTo>
                  <a:lnTo>
                    <a:pt x="721" y="461"/>
                  </a:lnTo>
                  <a:lnTo>
                    <a:pt x="721" y="461"/>
                  </a:lnTo>
                  <a:lnTo>
                    <a:pt x="723" y="461"/>
                  </a:lnTo>
                  <a:lnTo>
                    <a:pt x="723" y="461"/>
                  </a:lnTo>
                  <a:lnTo>
                    <a:pt x="723" y="461"/>
                  </a:lnTo>
                  <a:lnTo>
                    <a:pt x="723" y="461"/>
                  </a:lnTo>
                  <a:lnTo>
                    <a:pt x="723" y="461"/>
                  </a:lnTo>
                  <a:lnTo>
                    <a:pt x="723" y="461"/>
                  </a:lnTo>
                  <a:lnTo>
                    <a:pt x="723" y="461"/>
                  </a:lnTo>
                  <a:lnTo>
                    <a:pt x="723" y="461"/>
                  </a:lnTo>
                  <a:lnTo>
                    <a:pt x="723" y="461"/>
                  </a:lnTo>
                  <a:lnTo>
                    <a:pt x="723" y="461"/>
                  </a:lnTo>
                  <a:lnTo>
                    <a:pt x="723" y="461"/>
                  </a:lnTo>
                  <a:lnTo>
                    <a:pt x="723" y="459"/>
                  </a:lnTo>
                  <a:lnTo>
                    <a:pt x="723" y="459"/>
                  </a:lnTo>
                  <a:lnTo>
                    <a:pt x="723" y="459"/>
                  </a:lnTo>
                  <a:close/>
                  <a:moveTo>
                    <a:pt x="721" y="467"/>
                  </a:moveTo>
                  <a:lnTo>
                    <a:pt x="721" y="467"/>
                  </a:lnTo>
                  <a:lnTo>
                    <a:pt x="721" y="469"/>
                  </a:lnTo>
                  <a:lnTo>
                    <a:pt x="721" y="469"/>
                  </a:lnTo>
                  <a:lnTo>
                    <a:pt x="721" y="469"/>
                  </a:lnTo>
                  <a:lnTo>
                    <a:pt x="721" y="467"/>
                  </a:lnTo>
                  <a:lnTo>
                    <a:pt x="721" y="465"/>
                  </a:lnTo>
                  <a:lnTo>
                    <a:pt x="721" y="463"/>
                  </a:lnTo>
                  <a:lnTo>
                    <a:pt x="723" y="463"/>
                  </a:lnTo>
                  <a:lnTo>
                    <a:pt x="721" y="463"/>
                  </a:lnTo>
                  <a:lnTo>
                    <a:pt x="721" y="465"/>
                  </a:lnTo>
                  <a:lnTo>
                    <a:pt x="721" y="467"/>
                  </a:lnTo>
                  <a:close/>
                  <a:moveTo>
                    <a:pt x="750" y="434"/>
                  </a:moveTo>
                  <a:lnTo>
                    <a:pt x="750" y="434"/>
                  </a:lnTo>
                  <a:lnTo>
                    <a:pt x="750" y="434"/>
                  </a:lnTo>
                  <a:lnTo>
                    <a:pt x="752" y="434"/>
                  </a:lnTo>
                  <a:lnTo>
                    <a:pt x="750" y="434"/>
                  </a:lnTo>
                  <a:close/>
                  <a:moveTo>
                    <a:pt x="858" y="760"/>
                  </a:moveTo>
                  <a:lnTo>
                    <a:pt x="858" y="760"/>
                  </a:lnTo>
                  <a:lnTo>
                    <a:pt x="858" y="760"/>
                  </a:lnTo>
                  <a:lnTo>
                    <a:pt x="858" y="760"/>
                  </a:lnTo>
                  <a:lnTo>
                    <a:pt x="858" y="760"/>
                  </a:lnTo>
                  <a:lnTo>
                    <a:pt x="858" y="760"/>
                  </a:lnTo>
                  <a:lnTo>
                    <a:pt x="858" y="760"/>
                  </a:lnTo>
                  <a:close/>
                  <a:moveTo>
                    <a:pt x="852" y="660"/>
                  </a:moveTo>
                  <a:lnTo>
                    <a:pt x="852" y="660"/>
                  </a:lnTo>
                  <a:lnTo>
                    <a:pt x="852" y="658"/>
                  </a:lnTo>
                  <a:lnTo>
                    <a:pt x="850" y="658"/>
                  </a:lnTo>
                  <a:lnTo>
                    <a:pt x="850" y="658"/>
                  </a:lnTo>
                  <a:lnTo>
                    <a:pt x="850" y="658"/>
                  </a:lnTo>
                  <a:lnTo>
                    <a:pt x="850" y="658"/>
                  </a:lnTo>
                  <a:lnTo>
                    <a:pt x="850" y="658"/>
                  </a:lnTo>
                  <a:lnTo>
                    <a:pt x="850" y="660"/>
                  </a:lnTo>
                  <a:lnTo>
                    <a:pt x="852" y="660"/>
                  </a:lnTo>
                  <a:close/>
                  <a:moveTo>
                    <a:pt x="860" y="758"/>
                  </a:moveTo>
                  <a:lnTo>
                    <a:pt x="860" y="758"/>
                  </a:lnTo>
                  <a:lnTo>
                    <a:pt x="860" y="758"/>
                  </a:lnTo>
                  <a:lnTo>
                    <a:pt x="860" y="758"/>
                  </a:lnTo>
                  <a:lnTo>
                    <a:pt x="860" y="758"/>
                  </a:lnTo>
                  <a:lnTo>
                    <a:pt x="860" y="760"/>
                  </a:lnTo>
                  <a:lnTo>
                    <a:pt x="860" y="760"/>
                  </a:lnTo>
                  <a:lnTo>
                    <a:pt x="860" y="760"/>
                  </a:lnTo>
                  <a:lnTo>
                    <a:pt x="860" y="758"/>
                  </a:lnTo>
                  <a:close/>
                  <a:moveTo>
                    <a:pt x="754" y="434"/>
                  </a:moveTo>
                  <a:lnTo>
                    <a:pt x="754" y="434"/>
                  </a:lnTo>
                  <a:lnTo>
                    <a:pt x="752" y="434"/>
                  </a:lnTo>
                  <a:lnTo>
                    <a:pt x="752" y="434"/>
                  </a:lnTo>
                  <a:lnTo>
                    <a:pt x="752" y="434"/>
                  </a:lnTo>
                  <a:lnTo>
                    <a:pt x="752" y="434"/>
                  </a:lnTo>
                  <a:lnTo>
                    <a:pt x="752" y="434"/>
                  </a:lnTo>
                  <a:lnTo>
                    <a:pt x="752" y="434"/>
                  </a:lnTo>
                  <a:lnTo>
                    <a:pt x="754" y="437"/>
                  </a:lnTo>
                  <a:lnTo>
                    <a:pt x="754" y="437"/>
                  </a:lnTo>
                  <a:lnTo>
                    <a:pt x="754" y="434"/>
                  </a:lnTo>
                  <a:lnTo>
                    <a:pt x="754" y="434"/>
                  </a:lnTo>
                  <a:lnTo>
                    <a:pt x="754" y="434"/>
                  </a:lnTo>
                  <a:close/>
                  <a:moveTo>
                    <a:pt x="754" y="434"/>
                  </a:moveTo>
                  <a:lnTo>
                    <a:pt x="754" y="434"/>
                  </a:lnTo>
                  <a:lnTo>
                    <a:pt x="754" y="434"/>
                  </a:lnTo>
                  <a:lnTo>
                    <a:pt x="754" y="434"/>
                  </a:lnTo>
                  <a:lnTo>
                    <a:pt x="754" y="434"/>
                  </a:lnTo>
                  <a:lnTo>
                    <a:pt x="754" y="434"/>
                  </a:lnTo>
                  <a:lnTo>
                    <a:pt x="754" y="434"/>
                  </a:lnTo>
                  <a:close/>
                  <a:moveTo>
                    <a:pt x="754" y="439"/>
                  </a:moveTo>
                  <a:lnTo>
                    <a:pt x="752" y="439"/>
                  </a:lnTo>
                  <a:lnTo>
                    <a:pt x="752" y="439"/>
                  </a:lnTo>
                  <a:lnTo>
                    <a:pt x="752" y="439"/>
                  </a:lnTo>
                  <a:lnTo>
                    <a:pt x="752" y="439"/>
                  </a:lnTo>
                  <a:lnTo>
                    <a:pt x="754" y="439"/>
                  </a:lnTo>
                  <a:lnTo>
                    <a:pt x="754" y="439"/>
                  </a:lnTo>
                  <a:lnTo>
                    <a:pt x="754" y="439"/>
                  </a:lnTo>
                  <a:lnTo>
                    <a:pt x="754" y="439"/>
                  </a:lnTo>
                  <a:lnTo>
                    <a:pt x="754" y="439"/>
                  </a:lnTo>
                  <a:lnTo>
                    <a:pt x="754" y="439"/>
                  </a:lnTo>
                  <a:close/>
                  <a:moveTo>
                    <a:pt x="926" y="771"/>
                  </a:moveTo>
                  <a:lnTo>
                    <a:pt x="926" y="771"/>
                  </a:lnTo>
                  <a:lnTo>
                    <a:pt x="926" y="768"/>
                  </a:lnTo>
                  <a:lnTo>
                    <a:pt x="924" y="768"/>
                  </a:lnTo>
                  <a:lnTo>
                    <a:pt x="922" y="768"/>
                  </a:lnTo>
                  <a:lnTo>
                    <a:pt x="920" y="768"/>
                  </a:lnTo>
                  <a:lnTo>
                    <a:pt x="920" y="768"/>
                  </a:lnTo>
                  <a:lnTo>
                    <a:pt x="918" y="771"/>
                  </a:lnTo>
                  <a:lnTo>
                    <a:pt x="918" y="771"/>
                  </a:lnTo>
                  <a:lnTo>
                    <a:pt x="918" y="771"/>
                  </a:lnTo>
                  <a:lnTo>
                    <a:pt x="918" y="771"/>
                  </a:lnTo>
                  <a:lnTo>
                    <a:pt x="918" y="771"/>
                  </a:lnTo>
                  <a:lnTo>
                    <a:pt x="918" y="773"/>
                  </a:lnTo>
                  <a:lnTo>
                    <a:pt x="918" y="773"/>
                  </a:lnTo>
                  <a:lnTo>
                    <a:pt x="920" y="773"/>
                  </a:lnTo>
                  <a:lnTo>
                    <a:pt x="922" y="771"/>
                  </a:lnTo>
                  <a:lnTo>
                    <a:pt x="922" y="773"/>
                  </a:lnTo>
                  <a:lnTo>
                    <a:pt x="922" y="773"/>
                  </a:lnTo>
                  <a:lnTo>
                    <a:pt x="922" y="773"/>
                  </a:lnTo>
                  <a:lnTo>
                    <a:pt x="922" y="773"/>
                  </a:lnTo>
                  <a:lnTo>
                    <a:pt x="922" y="771"/>
                  </a:lnTo>
                  <a:lnTo>
                    <a:pt x="922" y="771"/>
                  </a:lnTo>
                  <a:lnTo>
                    <a:pt x="926" y="771"/>
                  </a:lnTo>
                  <a:lnTo>
                    <a:pt x="926" y="771"/>
                  </a:lnTo>
                  <a:lnTo>
                    <a:pt x="926" y="773"/>
                  </a:lnTo>
                  <a:lnTo>
                    <a:pt x="926" y="773"/>
                  </a:lnTo>
                  <a:lnTo>
                    <a:pt x="928" y="773"/>
                  </a:lnTo>
                  <a:lnTo>
                    <a:pt x="926" y="771"/>
                  </a:lnTo>
                  <a:lnTo>
                    <a:pt x="926" y="771"/>
                  </a:lnTo>
                  <a:close/>
                  <a:moveTo>
                    <a:pt x="764" y="414"/>
                  </a:moveTo>
                  <a:lnTo>
                    <a:pt x="764" y="414"/>
                  </a:lnTo>
                  <a:lnTo>
                    <a:pt x="764" y="414"/>
                  </a:lnTo>
                  <a:lnTo>
                    <a:pt x="764" y="414"/>
                  </a:lnTo>
                  <a:lnTo>
                    <a:pt x="764" y="414"/>
                  </a:lnTo>
                  <a:lnTo>
                    <a:pt x="764" y="414"/>
                  </a:lnTo>
                  <a:lnTo>
                    <a:pt x="764" y="414"/>
                  </a:lnTo>
                  <a:lnTo>
                    <a:pt x="764" y="414"/>
                  </a:lnTo>
                  <a:lnTo>
                    <a:pt x="764" y="414"/>
                  </a:lnTo>
                  <a:lnTo>
                    <a:pt x="764" y="414"/>
                  </a:lnTo>
                  <a:close/>
                  <a:moveTo>
                    <a:pt x="815" y="391"/>
                  </a:moveTo>
                  <a:lnTo>
                    <a:pt x="813" y="391"/>
                  </a:lnTo>
                  <a:lnTo>
                    <a:pt x="813" y="391"/>
                  </a:lnTo>
                  <a:lnTo>
                    <a:pt x="813" y="391"/>
                  </a:lnTo>
                  <a:lnTo>
                    <a:pt x="813" y="391"/>
                  </a:lnTo>
                  <a:lnTo>
                    <a:pt x="813" y="391"/>
                  </a:lnTo>
                  <a:lnTo>
                    <a:pt x="811" y="393"/>
                  </a:lnTo>
                  <a:lnTo>
                    <a:pt x="813" y="393"/>
                  </a:lnTo>
                  <a:lnTo>
                    <a:pt x="813" y="393"/>
                  </a:lnTo>
                  <a:lnTo>
                    <a:pt x="813" y="396"/>
                  </a:lnTo>
                  <a:lnTo>
                    <a:pt x="813" y="396"/>
                  </a:lnTo>
                  <a:lnTo>
                    <a:pt x="815" y="396"/>
                  </a:lnTo>
                  <a:lnTo>
                    <a:pt x="819" y="396"/>
                  </a:lnTo>
                  <a:lnTo>
                    <a:pt x="819" y="396"/>
                  </a:lnTo>
                  <a:lnTo>
                    <a:pt x="819" y="396"/>
                  </a:lnTo>
                  <a:lnTo>
                    <a:pt x="819" y="396"/>
                  </a:lnTo>
                  <a:lnTo>
                    <a:pt x="819" y="396"/>
                  </a:lnTo>
                  <a:lnTo>
                    <a:pt x="819" y="396"/>
                  </a:lnTo>
                  <a:lnTo>
                    <a:pt x="819" y="393"/>
                  </a:lnTo>
                  <a:lnTo>
                    <a:pt x="819" y="393"/>
                  </a:lnTo>
                  <a:lnTo>
                    <a:pt x="819" y="393"/>
                  </a:lnTo>
                  <a:lnTo>
                    <a:pt x="819" y="393"/>
                  </a:lnTo>
                  <a:lnTo>
                    <a:pt x="819" y="393"/>
                  </a:lnTo>
                  <a:lnTo>
                    <a:pt x="819" y="393"/>
                  </a:lnTo>
                  <a:lnTo>
                    <a:pt x="819" y="393"/>
                  </a:lnTo>
                  <a:lnTo>
                    <a:pt x="819" y="393"/>
                  </a:lnTo>
                  <a:lnTo>
                    <a:pt x="819" y="393"/>
                  </a:lnTo>
                  <a:lnTo>
                    <a:pt x="819" y="391"/>
                  </a:lnTo>
                  <a:lnTo>
                    <a:pt x="819" y="391"/>
                  </a:lnTo>
                  <a:lnTo>
                    <a:pt x="819" y="391"/>
                  </a:lnTo>
                  <a:lnTo>
                    <a:pt x="819" y="391"/>
                  </a:lnTo>
                  <a:lnTo>
                    <a:pt x="817" y="391"/>
                  </a:lnTo>
                  <a:lnTo>
                    <a:pt x="817" y="391"/>
                  </a:lnTo>
                  <a:lnTo>
                    <a:pt x="817" y="391"/>
                  </a:lnTo>
                  <a:lnTo>
                    <a:pt x="817" y="391"/>
                  </a:lnTo>
                  <a:lnTo>
                    <a:pt x="815" y="391"/>
                  </a:lnTo>
                  <a:lnTo>
                    <a:pt x="815" y="391"/>
                  </a:lnTo>
                  <a:lnTo>
                    <a:pt x="815" y="391"/>
                  </a:lnTo>
                  <a:lnTo>
                    <a:pt x="815" y="391"/>
                  </a:lnTo>
                  <a:lnTo>
                    <a:pt x="815" y="391"/>
                  </a:lnTo>
                  <a:close/>
                  <a:moveTo>
                    <a:pt x="764" y="410"/>
                  </a:moveTo>
                  <a:lnTo>
                    <a:pt x="764" y="412"/>
                  </a:lnTo>
                  <a:lnTo>
                    <a:pt x="764" y="412"/>
                  </a:lnTo>
                  <a:lnTo>
                    <a:pt x="764" y="412"/>
                  </a:lnTo>
                  <a:lnTo>
                    <a:pt x="764" y="412"/>
                  </a:lnTo>
                  <a:lnTo>
                    <a:pt x="764" y="412"/>
                  </a:lnTo>
                  <a:lnTo>
                    <a:pt x="764" y="412"/>
                  </a:lnTo>
                  <a:lnTo>
                    <a:pt x="764" y="412"/>
                  </a:lnTo>
                  <a:lnTo>
                    <a:pt x="764" y="412"/>
                  </a:lnTo>
                  <a:lnTo>
                    <a:pt x="764" y="412"/>
                  </a:lnTo>
                  <a:lnTo>
                    <a:pt x="764" y="410"/>
                  </a:lnTo>
                  <a:close/>
                  <a:moveTo>
                    <a:pt x="752" y="439"/>
                  </a:moveTo>
                  <a:lnTo>
                    <a:pt x="752" y="439"/>
                  </a:lnTo>
                  <a:lnTo>
                    <a:pt x="752" y="439"/>
                  </a:lnTo>
                  <a:lnTo>
                    <a:pt x="752" y="439"/>
                  </a:lnTo>
                  <a:lnTo>
                    <a:pt x="752" y="439"/>
                  </a:lnTo>
                  <a:lnTo>
                    <a:pt x="752" y="439"/>
                  </a:lnTo>
                  <a:lnTo>
                    <a:pt x="752" y="439"/>
                  </a:lnTo>
                  <a:lnTo>
                    <a:pt x="752" y="439"/>
                  </a:lnTo>
                  <a:lnTo>
                    <a:pt x="752" y="439"/>
                  </a:lnTo>
                  <a:close/>
                  <a:moveTo>
                    <a:pt x="733" y="256"/>
                  </a:moveTo>
                  <a:lnTo>
                    <a:pt x="733" y="256"/>
                  </a:lnTo>
                  <a:lnTo>
                    <a:pt x="735" y="256"/>
                  </a:lnTo>
                  <a:lnTo>
                    <a:pt x="735" y="256"/>
                  </a:lnTo>
                  <a:lnTo>
                    <a:pt x="735" y="256"/>
                  </a:lnTo>
                  <a:lnTo>
                    <a:pt x="735" y="256"/>
                  </a:lnTo>
                  <a:lnTo>
                    <a:pt x="737" y="254"/>
                  </a:lnTo>
                  <a:lnTo>
                    <a:pt x="737" y="254"/>
                  </a:lnTo>
                  <a:lnTo>
                    <a:pt x="741" y="252"/>
                  </a:lnTo>
                  <a:lnTo>
                    <a:pt x="741" y="252"/>
                  </a:lnTo>
                  <a:lnTo>
                    <a:pt x="741" y="252"/>
                  </a:lnTo>
                  <a:lnTo>
                    <a:pt x="741" y="252"/>
                  </a:lnTo>
                  <a:lnTo>
                    <a:pt x="741" y="252"/>
                  </a:lnTo>
                  <a:lnTo>
                    <a:pt x="733" y="256"/>
                  </a:lnTo>
                  <a:lnTo>
                    <a:pt x="731" y="256"/>
                  </a:lnTo>
                  <a:lnTo>
                    <a:pt x="733" y="256"/>
                  </a:lnTo>
                  <a:lnTo>
                    <a:pt x="733" y="256"/>
                  </a:lnTo>
                  <a:close/>
                  <a:moveTo>
                    <a:pt x="721" y="264"/>
                  </a:moveTo>
                  <a:lnTo>
                    <a:pt x="721" y="262"/>
                  </a:lnTo>
                  <a:lnTo>
                    <a:pt x="723" y="262"/>
                  </a:lnTo>
                  <a:lnTo>
                    <a:pt x="721" y="262"/>
                  </a:lnTo>
                  <a:lnTo>
                    <a:pt x="721" y="262"/>
                  </a:lnTo>
                  <a:lnTo>
                    <a:pt x="723" y="260"/>
                  </a:lnTo>
                  <a:lnTo>
                    <a:pt x="725" y="260"/>
                  </a:lnTo>
                  <a:lnTo>
                    <a:pt x="725" y="260"/>
                  </a:lnTo>
                  <a:lnTo>
                    <a:pt x="725" y="260"/>
                  </a:lnTo>
                  <a:lnTo>
                    <a:pt x="721" y="260"/>
                  </a:lnTo>
                  <a:lnTo>
                    <a:pt x="721" y="260"/>
                  </a:lnTo>
                  <a:lnTo>
                    <a:pt x="721" y="262"/>
                  </a:lnTo>
                  <a:lnTo>
                    <a:pt x="721" y="262"/>
                  </a:lnTo>
                  <a:lnTo>
                    <a:pt x="721" y="262"/>
                  </a:lnTo>
                  <a:lnTo>
                    <a:pt x="721" y="262"/>
                  </a:lnTo>
                  <a:lnTo>
                    <a:pt x="721" y="264"/>
                  </a:lnTo>
                  <a:close/>
                  <a:moveTo>
                    <a:pt x="1055" y="664"/>
                  </a:moveTo>
                  <a:lnTo>
                    <a:pt x="1055" y="664"/>
                  </a:lnTo>
                  <a:lnTo>
                    <a:pt x="1055" y="664"/>
                  </a:lnTo>
                  <a:lnTo>
                    <a:pt x="1053" y="664"/>
                  </a:lnTo>
                  <a:lnTo>
                    <a:pt x="1053" y="666"/>
                  </a:lnTo>
                  <a:lnTo>
                    <a:pt x="1053" y="666"/>
                  </a:lnTo>
                  <a:lnTo>
                    <a:pt x="1051" y="666"/>
                  </a:lnTo>
                  <a:lnTo>
                    <a:pt x="1051" y="666"/>
                  </a:lnTo>
                  <a:lnTo>
                    <a:pt x="1051" y="668"/>
                  </a:lnTo>
                  <a:lnTo>
                    <a:pt x="1051" y="668"/>
                  </a:lnTo>
                  <a:lnTo>
                    <a:pt x="1049" y="668"/>
                  </a:lnTo>
                  <a:lnTo>
                    <a:pt x="1049" y="668"/>
                  </a:lnTo>
                  <a:lnTo>
                    <a:pt x="1049" y="668"/>
                  </a:lnTo>
                  <a:lnTo>
                    <a:pt x="1049" y="670"/>
                  </a:lnTo>
                  <a:lnTo>
                    <a:pt x="1049" y="670"/>
                  </a:lnTo>
                  <a:lnTo>
                    <a:pt x="1049" y="670"/>
                  </a:lnTo>
                  <a:lnTo>
                    <a:pt x="1053" y="672"/>
                  </a:lnTo>
                  <a:lnTo>
                    <a:pt x="1053" y="672"/>
                  </a:lnTo>
                  <a:lnTo>
                    <a:pt x="1053" y="672"/>
                  </a:lnTo>
                  <a:lnTo>
                    <a:pt x="1055" y="670"/>
                  </a:lnTo>
                  <a:lnTo>
                    <a:pt x="1057" y="668"/>
                  </a:lnTo>
                  <a:lnTo>
                    <a:pt x="1057" y="668"/>
                  </a:lnTo>
                  <a:lnTo>
                    <a:pt x="1057" y="666"/>
                  </a:lnTo>
                  <a:lnTo>
                    <a:pt x="1057" y="666"/>
                  </a:lnTo>
                  <a:lnTo>
                    <a:pt x="1057" y="666"/>
                  </a:lnTo>
                  <a:lnTo>
                    <a:pt x="1057" y="664"/>
                  </a:lnTo>
                  <a:lnTo>
                    <a:pt x="1057" y="664"/>
                  </a:lnTo>
                  <a:lnTo>
                    <a:pt x="1057" y="664"/>
                  </a:lnTo>
                  <a:lnTo>
                    <a:pt x="1057" y="664"/>
                  </a:lnTo>
                  <a:lnTo>
                    <a:pt x="1057" y="664"/>
                  </a:lnTo>
                  <a:lnTo>
                    <a:pt x="1055" y="664"/>
                  </a:lnTo>
                  <a:close/>
                  <a:moveTo>
                    <a:pt x="1618" y="691"/>
                  </a:moveTo>
                  <a:lnTo>
                    <a:pt x="1618" y="693"/>
                  </a:lnTo>
                  <a:lnTo>
                    <a:pt x="1618" y="693"/>
                  </a:lnTo>
                  <a:lnTo>
                    <a:pt x="1618" y="693"/>
                  </a:lnTo>
                  <a:lnTo>
                    <a:pt x="1618" y="695"/>
                  </a:lnTo>
                  <a:lnTo>
                    <a:pt x="1618" y="695"/>
                  </a:lnTo>
                  <a:lnTo>
                    <a:pt x="1618" y="695"/>
                  </a:lnTo>
                  <a:lnTo>
                    <a:pt x="1618" y="697"/>
                  </a:lnTo>
                  <a:lnTo>
                    <a:pt x="1620" y="697"/>
                  </a:lnTo>
                  <a:lnTo>
                    <a:pt x="1620" y="699"/>
                  </a:lnTo>
                  <a:lnTo>
                    <a:pt x="1620" y="699"/>
                  </a:lnTo>
                  <a:lnTo>
                    <a:pt x="1622" y="699"/>
                  </a:lnTo>
                  <a:lnTo>
                    <a:pt x="1622" y="701"/>
                  </a:lnTo>
                  <a:lnTo>
                    <a:pt x="1622" y="699"/>
                  </a:lnTo>
                  <a:lnTo>
                    <a:pt x="1622" y="699"/>
                  </a:lnTo>
                  <a:lnTo>
                    <a:pt x="1622" y="699"/>
                  </a:lnTo>
                  <a:lnTo>
                    <a:pt x="1622" y="699"/>
                  </a:lnTo>
                  <a:lnTo>
                    <a:pt x="1622" y="699"/>
                  </a:lnTo>
                  <a:lnTo>
                    <a:pt x="1624" y="699"/>
                  </a:lnTo>
                  <a:lnTo>
                    <a:pt x="1624" y="699"/>
                  </a:lnTo>
                  <a:lnTo>
                    <a:pt x="1624" y="699"/>
                  </a:lnTo>
                  <a:lnTo>
                    <a:pt x="1628" y="697"/>
                  </a:lnTo>
                  <a:lnTo>
                    <a:pt x="1628" y="699"/>
                  </a:lnTo>
                  <a:lnTo>
                    <a:pt x="1628" y="699"/>
                  </a:lnTo>
                  <a:lnTo>
                    <a:pt x="1628" y="699"/>
                  </a:lnTo>
                  <a:lnTo>
                    <a:pt x="1630" y="699"/>
                  </a:lnTo>
                  <a:lnTo>
                    <a:pt x="1630" y="699"/>
                  </a:lnTo>
                  <a:lnTo>
                    <a:pt x="1630" y="699"/>
                  </a:lnTo>
                  <a:lnTo>
                    <a:pt x="1630" y="701"/>
                  </a:lnTo>
                  <a:lnTo>
                    <a:pt x="1630" y="701"/>
                  </a:lnTo>
                  <a:lnTo>
                    <a:pt x="1630" y="701"/>
                  </a:lnTo>
                  <a:lnTo>
                    <a:pt x="1630" y="703"/>
                  </a:lnTo>
                  <a:lnTo>
                    <a:pt x="1630" y="703"/>
                  </a:lnTo>
                  <a:lnTo>
                    <a:pt x="1630" y="703"/>
                  </a:lnTo>
                  <a:lnTo>
                    <a:pt x="1632" y="703"/>
                  </a:lnTo>
                  <a:lnTo>
                    <a:pt x="1632" y="703"/>
                  </a:lnTo>
                  <a:lnTo>
                    <a:pt x="1632" y="703"/>
                  </a:lnTo>
                  <a:lnTo>
                    <a:pt x="1632" y="703"/>
                  </a:lnTo>
                  <a:lnTo>
                    <a:pt x="1634" y="703"/>
                  </a:lnTo>
                  <a:lnTo>
                    <a:pt x="1634" y="703"/>
                  </a:lnTo>
                  <a:lnTo>
                    <a:pt x="1634" y="703"/>
                  </a:lnTo>
                  <a:lnTo>
                    <a:pt x="1634" y="703"/>
                  </a:lnTo>
                  <a:lnTo>
                    <a:pt x="1634" y="703"/>
                  </a:lnTo>
                  <a:lnTo>
                    <a:pt x="1634" y="703"/>
                  </a:lnTo>
                  <a:lnTo>
                    <a:pt x="1636" y="703"/>
                  </a:lnTo>
                  <a:lnTo>
                    <a:pt x="1636" y="701"/>
                  </a:lnTo>
                  <a:lnTo>
                    <a:pt x="1636" y="701"/>
                  </a:lnTo>
                  <a:lnTo>
                    <a:pt x="1636" y="701"/>
                  </a:lnTo>
                  <a:lnTo>
                    <a:pt x="1636" y="701"/>
                  </a:lnTo>
                  <a:lnTo>
                    <a:pt x="1636" y="701"/>
                  </a:lnTo>
                  <a:lnTo>
                    <a:pt x="1636" y="701"/>
                  </a:lnTo>
                  <a:lnTo>
                    <a:pt x="1638" y="701"/>
                  </a:lnTo>
                  <a:lnTo>
                    <a:pt x="1638" y="701"/>
                  </a:lnTo>
                  <a:lnTo>
                    <a:pt x="1638" y="699"/>
                  </a:lnTo>
                  <a:lnTo>
                    <a:pt x="1636" y="699"/>
                  </a:lnTo>
                  <a:lnTo>
                    <a:pt x="1636" y="699"/>
                  </a:lnTo>
                  <a:lnTo>
                    <a:pt x="1636" y="699"/>
                  </a:lnTo>
                  <a:lnTo>
                    <a:pt x="1636" y="699"/>
                  </a:lnTo>
                  <a:lnTo>
                    <a:pt x="1636" y="697"/>
                  </a:lnTo>
                  <a:lnTo>
                    <a:pt x="1636" y="697"/>
                  </a:lnTo>
                  <a:lnTo>
                    <a:pt x="1634" y="697"/>
                  </a:lnTo>
                  <a:lnTo>
                    <a:pt x="1634" y="697"/>
                  </a:lnTo>
                  <a:lnTo>
                    <a:pt x="1634" y="697"/>
                  </a:lnTo>
                  <a:lnTo>
                    <a:pt x="1634" y="695"/>
                  </a:lnTo>
                  <a:lnTo>
                    <a:pt x="1634" y="695"/>
                  </a:lnTo>
                  <a:lnTo>
                    <a:pt x="1634" y="695"/>
                  </a:lnTo>
                  <a:lnTo>
                    <a:pt x="1634" y="695"/>
                  </a:lnTo>
                  <a:lnTo>
                    <a:pt x="1634" y="695"/>
                  </a:lnTo>
                  <a:lnTo>
                    <a:pt x="1634" y="695"/>
                  </a:lnTo>
                  <a:lnTo>
                    <a:pt x="1634" y="695"/>
                  </a:lnTo>
                  <a:lnTo>
                    <a:pt x="1636" y="695"/>
                  </a:lnTo>
                  <a:lnTo>
                    <a:pt x="1634" y="693"/>
                  </a:lnTo>
                  <a:lnTo>
                    <a:pt x="1636" y="693"/>
                  </a:lnTo>
                  <a:lnTo>
                    <a:pt x="1636" y="693"/>
                  </a:lnTo>
                  <a:lnTo>
                    <a:pt x="1636" y="693"/>
                  </a:lnTo>
                  <a:lnTo>
                    <a:pt x="1636" y="693"/>
                  </a:lnTo>
                  <a:lnTo>
                    <a:pt x="1636" y="693"/>
                  </a:lnTo>
                  <a:lnTo>
                    <a:pt x="1636" y="693"/>
                  </a:lnTo>
                  <a:lnTo>
                    <a:pt x="1634" y="691"/>
                  </a:lnTo>
                  <a:lnTo>
                    <a:pt x="1634" y="691"/>
                  </a:lnTo>
                  <a:lnTo>
                    <a:pt x="1632" y="691"/>
                  </a:lnTo>
                  <a:lnTo>
                    <a:pt x="1632" y="691"/>
                  </a:lnTo>
                  <a:lnTo>
                    <a:pt x="1630" y="691"/>
                  </a:lnTo>
                  <a:lnTo>
                    <a:pt x="1628" y="691"/>
                  </a:lnTo>
                  <a:lnTo>
                    <a:pt x="1628" y="689"/>
                  </a:lnTo>
                  <a:lnTo>
                    <a:pt x="1626" y="689"/>
                  </a:lnTo>
                  <a:lnTo>
                    <a:pt x="1626" y="691"/>
                  </a:lnTo>
                  <a:lnTo>
                    <a:pt x="1626" y="691"/>
                  </a:lnTo>
                  <a:lnTo>
                    <a:pt x="1624" y="693"/>
                  </a:lnTo>
                  <a:lnTo>
                    <a:pt x="1624" y="691"/>
                  </a:lnTo>
                  <a:lnTo>
                    <a:pt x="1624" y="691"/>
                  </a:lnTo>
                  <a:lnTo>
                    <a:pt x="1626" y="691"/>
                  </a:lnTo>
                  <a:lnTo>
                    <a:pt x="1626" y="689"/>
                  </a:lnTo>
                  <a:lnTo>
                    <a:pt x="1626" y="689"/>
                  </a:lnTo>
                  <a:lnTo>
                    <a:pt x="1626" y="689"/>
                  </a:lnTo>
                  <a:lnTo>
                    <a:pt x="1626" y="689"/>
                  </a:lnTo>
                  <a:lnTo>
                    <a:pt x="1626" y="687"/>
                  </a:lnTo>
                  <a:lnTo>
                    <a:pt x="1626" y="687"/>
                  </a:lnTo>
                  <a:lnTo>
                    <a:pt x="1626" y="687"/>
                  </a:lnTo>
                  <a:lnTo>
                    <a:pt x="1624" y="687"/>
                  </a:lnTo>
                  <a:lnTo>
                    <a:pt x="1624" y="684"/>
                  </a:lnTo>
                  <a:lnTo>
                    <a:pt x="1624" y="684"/>
                  </a:lnTo>
                  <a:lnTo>
                    <a:pt x="1624" y="684"/>
                  </a:lnTo>
                  <a:lnTo>
                    <a:pt x="1624" y="684"/>
                  </a:lnTo>
                  <a:lnTo>
                    <a:pt x="1624" y="682"/>
                  </a:lnTo>
                  <a:lnTo>
                    <a:pt x="1622" y="682"/>
                  </a:lnTo>
                  <a:lnTo>
                    <a:pt x="1620" y="684"/>
                  </a:lnTo>
                  <a:lnTo>
                    <a:pt x="1620" y="684"/>
                  </a:lnTo>
                  <a:lnTo>
                    <a:pt x="1620" y="684"/>
                  </a:lnTo>
                  <a:lnTo>
                    <a:pt x="1620" y="687"/>
                  </a:lnTo>
                  <a:lnTo>
                    <a:pt x="1620" y="687"/>
                  </a:lnTo>
                  <a:lnTo>
                    <a:pt x="1620" y="687"/>
                  </a:lnTo>
                  <a:lnTo>
                    <a:pt x="1620" y="687"/>
                  </a:lnTo>
                  <a:lnTo>
                    <a:pt x="1620" y="691"/>
                  </a:lnTo>
                  <a:lnTo>
                    <a:pt x="1620" y="691"/>
                  </a:lnTo>
                  <a:lnTo>
                    <a:pt x="1618" y="691"/>
                  </a:lnTo>
                  <a:close/>
                  <a:moveTo>
                    <a:pt x="1045" y="682"/>
                  </a:moveTo>
                  <a:lnTo>
                    <a:pt x="1047" y="682"/>
                  </a:lnTo>
                  <a:lnTo>
                    <a:pt x="1045" y="682"/>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3" y="680"/>
                  </a:lnTo>
                  <a:lnTo>
                    <a:pt x="1043" y="680"/>
                  </a:lnTo>
                  <a:lnTo>
                    <a:pt x="1043" y="680"/>
                  </a:lnTo>
                  <a:lnTo>
                    <a:pt x="1043" y="680"/>
                  </a:lnTo>
                  <a:lnTo>
                    <a:pt x="1043" y="680"/>
                  </a:lnTo>
                  <a:lnTo>
                    <a:pt x="1043" y="680"/>
                  </a:lnTo>
                  <a:lnTo>
                    <a:pt x="1043" y="680"/>
                  </a:lnTo>
                  <a:lnTo>
                    <a:pt x="1043" y="680"/>
                  </a:lnTo>
                  <a:lnTo>
                    <a:pt x="1045" y="682"/>
                  </a:lnTo>
                  <a:lnTo>
                    <a:pt x="1045" y="682"/>
                  </a:lnTo>
                  <a:lnTo>
                    <a:pt x="1045" y="682"/>
                  </a:lnTo>
                  <a:lnTo>
                    <a:pt x="1045" y="682"/>
                  </a:lnTo>
                  <a:lnTo>
                    <a:pt x="1045" y="682"/>
                  </a:lnTo>
                  <a:close/>
                  <a:moveTo>
                    <a:pt x="1071" y="682"/>
                  </a:moveTo>
                  <a:lnTo>
                    <a:pt x="1071" y="682"/>
                  </a:lnTo>
                  <a:lnTo>
                    <a:pt x="1069" y="687"/>
                  </a:lnTo>
                  <a:lnTo>
                    <a:pt x="1069" y="687"/>
                  </a:lnTo>
                  <a:lnTo>
                    <a:pt x="1071" y="687"/>
                  </a:lnTo>
                  <a:lnTo>
                    <a:pt x="1071" y="687"/>
                  </a:lnTo>
                  <a:lnTo>
                    <a:pt x="1071" y="687"/>
                  </a:lnTo>
                  <a:lnTo>
                    <a:pt x="1071" y="687"/>
                  </a:lnTo>
                  <a:lnTo>
                    <a:pt x="1071" y="687"/>
                  </a:lnTo>
                  <a:lnTo>
                    <a:pt x="1073" y="684"/>
                  </a:lnTo>
                  <a:lnTo>
                    <a:pt x="1073" y="684"/>
                  </a:lnTo>
                  <a:lnTo>
                    <a:pt x="1073" y="682"/>
                  </a:lnTo>
                  <a:lnTo>
                    <a:pt x="1071" y="682"/>
                  </a:lnTo>
                  <a:close/>
                  <a:moveTo>
                    <a:pt x="1063" y="574"/>
                  </a:moveTo>
                  <a:lnTo>
                    <a:pt x="1061" y="574"/>
                  </a:lnTo>
                  <a:lnTo>
                    <a:pt x="1061" y="574"/>
                  </a:lnTo>
                  <a:lnTo>
                    <a:pt x="1061" y="574"/>
                  </a:lnTo>
                  <a:lnTo>
                    <a:pt x="1061" y="574"/>
                  </a:lnTo>
                  <a:lnTo>
                    <a:pt x="1063" y="574"/>
                  </a:lnTo>
                  <a:lnTo>
                    <a:pt x="1063" y="574"/>
                  </a:lnTo>
                  <a:lnTo>
                    <a:pt x="1065" y="572"/>
                  </a:lnTo>
                  <a:lnTo>
                    <a:pt x="1065" y="572"/>
                  </a:lnTo>
                  <a:lnTo>
                    <a:pt x="1065" y="572"/>
                  </a:lnTo>
                  <a:lnTo>
                    <a:pt x="1065" y="570"/>
                  </a:lnTo>
                  <a:lnTo>
                    <a:pt x="1065" y="570"/>
                  </a:lnTo>
                  <a:lnTo>
                    <a:pt x="1065" y="570"/>
                  </a:lnTo>
                  <a:lnTo>
                    <a:pt x="1065" y="570"/>
                  </a:lnTo>
                  <a:lnTo>
                    <a:pt x="1065" y="570"/>
                  </a:lnTo>
                  <a:lnTo>
                    <a:pt x="1067" y="568"/>
                  </a:lnTo>
                  <a:lnTo>
                    <a:pt x="1067" y="568"/>
                  </a:lnTo>
                  <a:lnTo>
                    <a:pt x="1067" y="568"/>
                  </a:lnTo>
                  <a:lnTo>
                    <a:pt x="1067" y="568"/>
                  </a:lnTo>
                  <a:lnTo>
                    <a:pt x="1067" y="568"/>
                  </a:lnTo>
                  <a:lnTo>
                    <a:pt x="1067" y="566"/>
                  </a:lnTo>
                  <a:lnTo>
                    <a:pt x="1067" y="566"/>
                  </a:lnTo>
                  <a:lnTo>
                    <a:pt x="1065" y="566"/>
                  </a:lnTo>
                  <a:lnTo>
                    <a:pt x="1065" y="566"/>
                  </a:lnTo>
                  <a:lnTo>
                    <a:pt x="1065" y="566"/>
                  </a:lnTo>
                  <a:lnTo>
                    <a:pt x="1065" y="566"/>
                  </a:lnTo>
                  <a:lnTo>
                    <a:pt x="1065" y="568"/>
                  </a:lnTo>
                  <a:lnTo>
                    <a:pt x="1065" y="568"/>
                  </a:lnTo>
                  <a:lnTo>
                    <a:pt x="1065" y="568"/>
                  </a:lnTo>
                  <a:lnTo>
                    <a:pt x="1065" y="570"/>
                  </a:lnTo>
                  <a:lnTo>
                    <a:pt x="1063" y="570"/>
                  </a:lnTo>
                  <a:lnTo>
                    <a:pt x="1063" y="570"/>
                  </a:lnTo>
                  <a:lnTo>
                    <a:pt x="1063" y="572"/>
                  </a:lnTo>
                  <a:lnTo>
                    <a:pt x="1063" y="572"/>
                  </a:lnTo>
                  <a:lnTo>
                    <a:pt x="1063" y="572"/>
                  </a:lnTo>
                  <a:lnTo>
                    <a:pt x="1063" y="572"/>
                  </a:lnTo>
                  <a:lnTo>
                    <a:pt x="1063" y="572"/>
                  </a:lnTo>
                  <a:lnTo>
                    <a:pt x="1063" y="574"/>
                  </a:lnTo>
                  <a:lnTo>
                    <a:pt x="1063" y="574"/>
                  </a:lnTo>
                  <a:close/>
                  <a:moveTo>
                    <a:pt x="1067" y="680"/>
                  </a:moveTo>
                  <a:lnTo>
                    <a:pt x="1067" y="678"/>
                  </a:lnTo>
                  <a:lnTo>
                    <a:pt x="1067" y="678"/>
                  </a:lnTo>
                  <a:lnTo>
                    <a:pt x="1067" y="678"/>
                  </a:lnTo>
                  <a:lnTo>
                    <a:pt x="1067" y="678"/>
                  </a:lnTo>
                  <a:lnTo>
                    <a:pt x="1067" y="678"/>
                  </a:lnTo>
                  <a:lnTo>
                    <a:pt x="1067" y="680"/>
                  </a:lnTo>
                  <a:lnTo>
                    <a:pt x="1067" y="680"/>
                  </a:lnTo>
                  <a:lnTo>
                    <a:pt x="1065" y="682"/>
                  </a:lnTo>
                  <a:lnTo>
                    <a:pt x="1065" y="682"/>
                  </a:lnTo>
                  <a:lnTo>
                    <a:pt x="1065" y="680"/>
                  </a:lnTo>
                  <a:lnTo>
                    <a:pt x="1065" y="680"/>
                  </a:lnTo>
                  <a:lnTo>
                    <a:pt x="1065" y="680"/>
                  </a:lnTo>
                  <a:lnTo>
                    <a:pt x="1063" y="680"/>
                  </a:lnTo>
                  <a:lnTo>
                    <a:pt x="1063" y="682"/>
                  </a:lnTo>
                  <a:lnTo>
                    <a:pt x="1063" y="682"/>
                  </a:lnTo>
                  <a:lnTo>
                    <a:pt x="1063" y="684"/>
                  </a:lnTo>
                  <a:lnTo>
                    <a:pt x="1063" y="684"/>
                  </a:lnTo>
                  <a:lnTo>
                    <a:pt x="1063" y="682"/>
                  </a:lnTo>
                  <a:lnTo>
                    <a:pt x="1063" y="680"/>
                  </a:lnTo>
                  <a:lnTo>
                    <a:pt x="1065" y="678"/>
                  </a:lnTo>
                  <a:lnTo>
                    <a:pt x="1065" y="676"/>
                  </a:lnTo>
                  <a:lnTo>
                    <a:pt x="1065" y="676"/>
                  </a:lnTo>
                  <a:lnTo>
                    <a:pt x="1063" y="676"/>
                  </a:lnTo>
                  <a:lnTo>
                    <a:pt x="1063" y="676"/>
                  </a:lnTo>
                  <a:lnTo>
                    <a:pt x="1063" y="676"/>
                  </a:lnTo>
                  <a:lnTo>
                    <a:pt x="1063" y="676"/>
                  </a:lnTo>
                  <a:lnTo>
                    <a:pt x="1061" y="678"/>
                  </a:lnTo>
                  <a:lnTo>
                    <a:pt x="1061" y="678"/>
                  </a:lnTo>
                  <a:lnTo>
                    <a:pt x="1061" y="678"/>
                  </a:lnTo>
                  <a:lnTo>
                    <a:pt x="1059" y="678"/>
                  </a:lnTo>
                  <a:lnTo>
                    <a:pt x="1059" y="676"/>
                  </a:lnTo>
                  <a:lnTo>
                    <a:pt x="1059" y="676"/>
                  </a:lnTo>
                  <a:lnTo>
                    <a:pt x="1061" y="676"/>
                  </a:lnTo>
                  <a:lnTo>
                    <a:pt x="1059" y="676"/>
                  </a:lnTo>
                  <a:lnTo>
                    <a:pt x="1059" y="676"/>
                  </a:lnTo>
                  <a:lnTo>
                    <a:pt x="1059" y="676"/>
                  </a:lnTo>
                  <a:lnTo>
                    <a:pt x="1059" y="676"/>
                  </a:lnTo>
                  <a:lnTo>
                    <a:pt x="1059" y="674"/>
                  </a:lnTo>
                  <a:lnTo>
                    <a:pt x="1059" y="674"/>
                  </a:lnTo>
                  <a:lnTo>
                    <a:pt x="1059" y="674"/>
                  </a:lnTo>
                  <a:lnTo>
                    <a:pt x="1059" y="674"/>
                  </a:lnTo>
                  <a:lnTo>
                    <a:pt x="1059" y="676"/>
                  </a:lnTo>
                  <a:lnTo>
                    <a:pt x="1057" y="674"/>
                  </a:lnTo>
                  <a:lnTo>
                    <a:pt x="1057" y="674"/>
                  </a:lnTo>
                  <a:lnTo>
                    <a:pt x="1057" y="676"/>
                  </a:lnTo>
                  <a:lnTo>
                    <a:pt x="1057" y="676"/>
                  </a:lnTo>
                  <a:lnTo>
                    <a:pt x="1057" y="678"/>
                  </a:lnTo>
                  <a:lnTo>
                    <a:pt x="1057" y="678"/>
                  </a:lnTo>
                  <a:lnTo>
                    <a:pt x="1057" y="678"/>
                  </a:lnTo>
                  <a:lnTo>
                    <a:pt x="1057" y="680"/>
                  </a:lnTo>
                  <a:lnTo>
                    <a:pt x="1055" y="680"/>
                  </a:lnTo>
                  <a:lnTo>
                    <a:pt x="1057" y="678"/>
                  </a:lnTo>
                  <a:lnTo>
                    <a:pt x="1055" y="678"/>
                  </a:lnTo>
                  <a:lnTo>
                    <a:pt x="1055" y="678"/>
                  </a:lnTo>
                  <a:lnTo>
                    <a:pt x="1055" y="678"/>
                  </a:lnTo>
                  <a:lnTo>
                    <a:pt x="1055" y="676"/>
                  </a:lnTo>
                  <a:lnTo>
                    <a:pt x="1055" y="678"/>
                  </a:lnTo>
                  <a:lnTo>
                    <a:pt x="1055" y="678"/>
                  </a:lnTo>
                  <a:lnTo>
                    <a:pt x="1055" y="678"/>
                  </a:lnTo>
                  <a:lnTo>
                    <a:pt x="1055" y="678"/>
                  </a:lnTo>
                  <a:lnTo>
                    <a:pt x="1053" y="678"/>
                  </a:lnTo>
                  <a:lnTo>
                    <a:pt x="1053" y="676"/>
                  </a:lnTo>
                  <a:lnTo>
                    <a:pt x="1055" y="676"/>
                  </a:lnTo>
                  <a:lnTo>
                    <a:pt x="1055" y="676"/>
                  </a:lnTo>
                  <a:lnTo>
                    <a:pt x="1053" y="676"/>
                  </a:lnTo>
                  <a:lnTo>
                    <a:pt x="1053" y="676"/>
                  </a:lnTo>
                  <a:lnTo>
                    <a:pt x="1053" y="674"/>
                  </a:lnTo>
                  <a:lnTo>
                    <a:pt x="1053" y="674"/>
                  </a:lnTo>
                  <a:lnTo>
                    <a:pt x="1053" y="672"/>
                  </a:lnTo>
                  <a:lnTo>
                    <a:pt x="1051" y="672"/>
                  </a:lnTo>
                  <a:lnTo>
                    <a:pt x="1051" y="672"/>
                  </a:lnTo>
                  <a:lnTo>
                    <a:pt x="1051" y="674"/>
                  </a:lnTo>
                  <a:lnTo>
                    <a:pt x="1051" y="672"/>
                  </a:lnTo>
                  <a:lnTo>
                    <a:pt x="1051" y="672"/>
                  </a:lnTo>
                  <a:lnTo>
                    <a:pt x="1049" y="672"/>
                  </a:lnTo>
                  <a:lnTo>
                    <a:pt x="1049" y="672"/>
                  </a:lnTo>
                  <a:lnTo>
                    <a:pt x="1049" y="672"/>
                  </a:lnTo>
                  <a:lnTo>
                    <a:pt x="1049" y="672"/>
                  </a:lnTo>
                  <a:lnTo>
                    <a:pt x="1049" y="674"/>
                  </a:lnTo>
                  <a:lnTo>
                    <a:pt x="1049" y="674"/>
                  </a:lnTo>
                  <a:lnTo>
                    <a:pt x="1049" y="674"/>
                  </a:lnTo>
                  <a:lnTo>
                    <a:pt x="1049" y="674"/>
                  </a:lnTo>
                  <a:lnTo>
                    <a:pt x="1049" y="674"/>
                  </a:lnTo>
                  <a:lnTo>
                    <a:pt x="1047" y="674"/>
                  </a:lnTo>
                  <a:lnTo>
                    <a:pt x="1047" y="674"/>
                  </a:lnTo>
                  <a:lnTo>
                    <a:pt x="1047" y="674"/>
                  </a:lnTo>
                  <a:lnTo>
                    <a:pt x="1047" y="674"/>
                  </a:lnTo>
                  <a:lnTo>
                    <a:pt x="1047" y="674"/>
                  </a:lnTo>
                  <a:lnTo>
                    <a:pt x="1047" y="676"/>
                  </a:lnTo>
                  <a:lnTo>
                    <a:pt x="1045" y="676"/>
                  </a:lnTo>
                  <a:lnTo>
                    <a:pt x="1043" y="676"/>
                  </a:lnTo>
                  <a:lnTo>
                    <a:pt x="1043" y="676"/>
                  </a:lnTo>
                  <a:lnTo>
                    <a:pt x="1043" y="676"/>
                  </a:lnTo>
                  <a:lnTo>
                    <a:pt x="1045" y="678"/>
                  </a:lnTo>
                  <a:lnTo>
                    <a:pt x="1047" y="678"/>
                  </a:lnTo>
                  <a:lnTo>
                    <a:pt x="1047" y="678"/>
                  </a:lnTo>
                  <a:lnTo>
                    <a:pt x="1047" y="678"/>
                  </a:lnTo>
                  <a:lnTo>
                    <a:pt x="1045" y="678"/>
                  </a:lnTo>
                  <a:lnTo>
                    <a:pt x="1045" y="678"/>
                  </a:lnTo>
                  <a:lnTo>
                    <a:pt x="1045" y="678"/>
                  </a:lnTo>
                  <a:lnTo>
                    <a:pt x="1047" y="680"/>
                  </a:lnTo>
                  <a:lnTo>
                    <a:pt x="1047" y="680"/>
                  </a:lnTo>
                  <a:lnTo>
                    <a:pt x="1047" y="680"/>
                  </a:lnTo>
                  <a:lnTo>
                    <a:pt x="1047" y="682"/>
                  </a:lnTo>
                  <a:lnTo>
                    <a:pt x="1047" y="682"/>
                  </a:lnTo>
                  <a:lnTo>
                    <a:pt x="1047" y="682"/>
                  </a:lnTo>
                  <a:lnTo>
                    <a:pt x="1047" y="684"/>
                  </a:lnTo>
                  <a:lnTo>
                    <a:pt x="1045" y="682"/>
                  </a:lnTo>
                  <a:lnTo>
                    <a:pt x="1045" y="682"/>
                  </a:lnTo>
                  <a:lnTo>
                    <a:pt x="1045" y="682"/>
                  </a:lnTo>
                  <a:lnTo>
                    <a:pt x="1045" y="682"/>
                  </a:lnTo>
                  <a:lnTo>
                    <a:pt x="1043" y="682"/>
                  </a:lnTo>
                  <a:lnTo>
                    <a:pt x="1040" y="682"/>
                  </a:lnTo>
                  <a:lnTo>
                    <a:pt x="1040" y="682"/>
                  </a:lnTo>
                  <a:lnTo>
                    <a:pt x="1040" y="680"/>
                  </a:lnTo>
                  <a:lnTo>
                    <a:pt x="1038" y="680"/>
                  </a:lnTo>
                  <a:lnTo>
                    <a:pt x="1038" y="680"/>
                  </a:lnTo>
                  <a:lnTo>
                    <a:pt x="1038" y="682"/>
                  </a:lnTo>
                  <a:lnTo>
                    <a:pt x="1036" y="682"/>
                  </a:lnTo>
                  <a:lnTo>
                    <a:pt x="1038" y="684"/>
                  </a:lnTo>
                  <a:lnTo>
                    <a:pt x="1038" y="684"/>
                  </a:lnTo>
                  <a:lnTo>
                    <a:pt x="1038" y="684"/>
                  </a:lnTo>
                  <a:lnTo>
                    <a:pt x="1038" y="684"/>
                  </a:lnTo>
                  <a:lnTo>
                    <a:pt x="1038" y="687"/>
                  </a:lnTo>
                  <a:lnTo>
                    <a:pt x="1040" y="687"/>
                  </a:lnTo>
                  <a:lnTo>
                    <a:pt x="1043" y="689"/>
                  </a:lnTo>
                  <a:lnTo>
                    <a:pt x="1043" y="689"/>
                  </a:lnTo>
                  <a:lnTo>
                    <a:pt x="1043" y="689"/>
                  </a:lnTo>
                  <a:lnTo>
                    <a:pt x="1040" y="689"/>
                  </a:lnTo>
                  <a:lnTo>
                    <a:pt x="1040" y="687"/>
                  </a:lnTo>
                  <a:lnTo>
                    <a:pt x="1040" y="687"/>
                  </a:lnTo>
                  <a:lnTo>
                    <a:pt x="1040" y="689"/>
                  </a:lnTo>
                  <a:lnTo>
                    <a:pt x="1040" y="689"/>
                  </a:lnTo>
                  <a:lnTo>
                    <a:pt x="1040" y="689"/>
                  </a:lnTo>
                  <a:lnTo>
                    <a:pt x="1038" y="689"/>
                  </a:lnTo>
                  <a:lnTo>
                    <a:pt x="1038" y="687"/>
                  </a:lnTo>
                  <a:lnTo>
                    <a:pt x="1038" y="687"/>
                  </a:lnTo>
                  <a:lnTo>
                    <a:pt x="1034" y="687"/>
                  </a:lnTo>
                  <a:lnTo>
                    <a:pt x="1034" y="687"/>
                  </a:lnTo>
                  <a:lnTo>
                    <a:pt x="1034" y="689"/>
                  </a:lnTo>
                  <a:lnTo>
                    <a:pt x="1034" y="689"/>
                  </a:lnTo>
                  <a:lnTo>
                    <a:pt x="1034" y="691"/>
                  </a:lnTo>
                  <a:lnTo>
                    <a:pt x="1034" y="691"/>
                  </a:lnTo>
                  <a:lnTo>
                    <a:pt x="1036" y="691"/>
                  </a:lnTo>
                  <a:lnTo>
                    <a:pt x="1038" y="691"/>
                  </a:lnTo>
                  <a:lnTo>
                    <a:pt x="1038" y="693"/>
                  </a:lnTo>
                  <a:lnTo>
                    <a:pt x="1038" y="693"/>
                  </a:lnTo>
                  <a:lnTo>
                    <a:pt x="1038" y="693"/>
                  </a:lnTo>
                  <a:lnTo>
                    <a:pt x="1038" y="695"/>
                  </a:lnTo>
                  <a:lnTo>
                    <a:pt x="1040" y="695"/>
                  </a:lnTo>
                  <a:lnTo>
                    <a:pt x="1043" y="697"/>
                  </a:lnTo>
                  <a:lnTo>
                    <a:pt x="1045" y="697"/>
                  </a:lnTo>
                  <a:lnTo>
                    <a:pt x="1047" y="697"/>
                  </a:lnTo>
                  <a:lnTo>
                    <a:pt x="1047" y="697"/>
                  </a:lnTo>
                  <a:lnTo>
                    <a:pt x="1047" y="695"/>
                  </a:lnTo>
                  <a:lnTo>
                    <a:pt x="1047" y="693"/>
                  </a:lnTo>
                  <a:lnTo>
                    <a:pt x="1047" y="695"/>
                  </a:lnTo>
                  <a:lnTo>
                    <a:pt x="1047" y="695"/>
                  </a:lnTo>
                  <a:lnTo>
                    <a:pt x="1049" y="695"/>
                  </a:lnTo>
                  <a:lnTo>
                    <a:pt x="1049" y="693"/>
                  </a:lnTo>
                  <a:lnTo>
                    <a:pt x="1049" y="693"/>
                  </a:lnTo>
                  <a:lnTo>
                    <a:pt x="1049" y="693"/>
                  </a:lnTo>
                  <a:lnTo>
                    <a:pt x="1051" y="693"/>
                  </a:lnTo>
                  <a:lnTo>
                    <a:pt x="1051" y="693"/>
                  </a:lnTo>
                  <a:lnTo>
                    <a:pt x="1051" y="693"/>
                  </a:lnTo>
                  <a:lnTo>
                    <a:pt x="1051" y="693"/>
                  </a:lnTo>
                  <a:lnTo>
                    <a:pt x="1051" y="691"/>
                  </a:lnTo>
                  <a:lnTo>
                    <a:pt x="1051" y="691"/>
                  </a:lnTo>
                  <a:lnTo>
                    <a:pt x="1051" y="689"/>
                  </a:lnTo>
                  <a:lnTo>
                    <a:pt x="1051" y="687"/>
                  </a:lnTo>
                  <a:lnTo>
                    <a:pt x="1051" y="687"/>
                  </a:lnTo>
                  <a:lnTo>
                    <a:pt x="1051" y="687"/>
                  </a:lnTo>
                  <a:lnTo>
                    <a:pt x="1053" y="687"/>
                  </a:lnTo>
                  <a:lnTo>
                    <a:pt x="1053" y="687"/>
                  </a:lnTo>
                  <a:lnTo>
                    <a:pt x="1053" y="689"/>
                  </a:lnTo>
                  <a:lnTo>
                    <a:pt x="1053" y="691"/>
                  </a:lnTo>
                  <a:lnTo>
                    <a:pt x="1053" y="693"/>
                  </a:lnTo>
                  <a:lnTo>
                    <a:pt x="1053" y="693"/>
                  </a:lnTo>
                  <a:lnTo>
                    <a:pt x="1053" y="691"/>
                  </a:lnTo>
                  <a:lnTo>
                    <a:pt x="1055" y="691"/>
                  </a:lnTo>
                  <a:lnTo>
                    <a:pt x="1055" y="691"/>
                  </a:lnTo>
                  <a:lnTo>
                    <a:pt x="1055" y="691"/>
                  </a:lnTo>
                  <a:lnTo>
                    <a:pt x="1057" y="691"/>
                  </a:lnTo>
                  <a:lnTo>
                    <a:pt x="1057" y="691"/>
                  </a:lnTo>
                  <a:lnTo>
                    <a:pt x="1057" y="691"/>
                  </a:lnTo>
                  <a:lnTo>
                    <a:pt x="1057" y="691"/>
                  </a:lnTo>
                  <a:lnTo>
                    <a:pt x="1057" y="691"/>
                  </a:lnTo>
                  <a:lnTo>
                    <a:pt x="1057" y="691"/>
                  </a:lnTo>
                  <a:lnTo>
                    <a:pt x="1059" y="691"/>
                  </a:lnTo>
                  <a:lnTo>
                    <a:pt x="1059" y="691"/>
                  </a:lnTo>
                  <a:lnTo>
                    <a:pt x="1059" y="691"/>
                  </a:lnTo>
                  <a:lnTo>
                    <a:pt x="1059" y="691"/>
                  </a:lnTo>
                  <a:lnTo>
                    <a:pt x="1059" y="691"/>
                  </a:lnTo>
                  <a:lnTo>
                    <a:pt x="1059" y="691"/>
                  </a:lnTo>
                  <a:lnTo>
                    <a:pt x="1059" y="689"/>
                  </a:lnTo>
                  <a:lnTo>
                    <a:pt x="1059" y="689"/>
                  </a:lnTo>
                  <a:lnTo>
                    <a:pt x="1059" y="689"/>
                  </a:lnTo>
                  <a:lnTo>
                    <a:pt x="1059" y="687"/>
                  </a:lnTo>
                  <a:lnTo>
                    <a:pt x="1057" y="687"/>
                  </a:lnTo>
                  <a:lnTo>
                    <a:pt x="1057" y="687"/>
                  </a:lnTo>
                  <a:lnTo>
                    <a:pt x="1057" y="687"/>
                  </a:lnTo>
                  <a:lnTo>
                    <a:pt x="1057" y="687"/>
                  </a:lnTo>
                  <a:lnTo>
                    <a:pt x="1057" y="687"/>
                  </a:lnTo>
                  <a:lnTo>
                    <a:pt x="1059" y="687"/>
                  </a:lnTo>
                  <a:lnTo>
                    <a:pt x="1059" y="687"/>
                  </a:lnTo>
                  <a:lnTo>
                    <a:pt x="1059" y="687"/>
                  </a:lnTo>
                  <a:lnTo>
                    <a:pt x="1059" y="687"/>
                  </a:lnTo>
                  <a:lnTo>
                    <a:pt x="1059" y="687"/>
                  </a:lnTo>
                  <a:lnTo>
                    <a:pt x="1059" y="687"/>
                  </a:lnTo>
                  <a:lnTo>
                    <a:pt x="1059" y="684"/>
                  </a:lnTo>
                  <a:lnTo>
                    <a:pt x="1059" y="684"/>
                  </a:lnTo>
                  <a:lnTo>
                    <a:pt x="1059" y="682"/>
                  </a:lnTo>
                  <a:lnTo>
                    <a:pt x="1059" y="684"/>
                  </a:lnTo>
                  <a:lnTo>
                    <a:pt x="1059" y="682"/>
                  </a:lnTo>
                  <a:lnTo>
                    <a:pt x="1059" y="682"/>
                  </a:lnTo>
                  <a:lnTo>
                    <a:pt x="1059" y="682"/>
                  </a:lnTo>
                  <a:lnTo>
                    <a:pt x="1061" y="682"/>
                  </a:lnTo>
                  <a:lnTo>
                    <a:pt x="1061" y="682"/>
                  </a:lnTo>
                  <a:lnTo>
                    <a:pt x="1061" y="684"/>
                  </a:lnTo>
                  <a:lnTo>
                    <a:pt x="1061" y="687"/>
                  </a:lnTo>
                  <a:lnTo>
                    <a:pt x="1061" y="687"/>
                  </a:lnTo>
                  <a:lnTo>
                    <a:pt x="1063" y="689"/>
                  </a:lnTo>
                  <a:lnTo>
                    <a:pt x="1063" y="689"/>
                  </a:lnTo>
                  <a:lnTo>
                    <a:pt x="1065" y="689"/>
                  </a:lnTo>
                  <a:lnTo>
                    <a:pt x="1065" y="687"/>
                  </a:lnTo>
                  <a:lnTo>
                    <a:pt x="1065" y="687"/>
                  </a:lnTo>
                  <a:lnTo>
                    <a:pt x="1065" y="687"/>
                  </a:lnTo>
                  <a:lnTo>
                    <a:pt x="1065" y="687"/>
                  </a:lnTo>
                  <a:lnTo>
                    <a:pt x="1065" y="687"/>
                  </a:lnTo>
                  <a:lnTo>
                    <a:pt x="1067" y="687"/>
                  </a:lnTo>
                  <a:lnTo>
                    <a:pt x="1067" y="684"/>
                  </a:lnTo>
                  <a:lnTo>
                    <a:pt x="1067" y="684"/>
                  </a:lnTo>
                  <a:lnTo>
                    <a:pt x="1067" y="682"/>
                  </a:lnTo>
                  <a:lnTo>
                    <a:pt x="1067" y="682"/>
                  </a:lnTo>
                  <a:lnTo>
                    <a:pt x="1067" y="680"/>
                  </a:lnTo>
                  <a:lnTo>
                    <a:pt x="1067" y="680"/>
                  </a:lnTo>
                  <a:lnTo>
                    <a:pt x="1067" y="680"/>
                  </a:lnTo>
                  <a:close/>
                  <a:moveTo>
                    <a:pt x="1057" y="650"/>
                  </a:moveTo>
                  <a:lnTo>
                    <a:pt x="1057" y="650"/>
                  </a:lnTo>
                  <a:lnTo>
                    <a:pt x="1057" y="650"/>
                  </a:lnTo>
                  <a:lnTo>
                    <a:pt x="1057" y="650"/>
                  </a:lnTo>
                  <a:lnTo>
                    <a:pt x="1059" y="650"/>
                  </a:lnTo>
                  <a:lnTo>
                    <a:pt x="1059" y="648"/>
                  </a:lnTo>
                  <a:lnTo>
                    <a:pt x="1061" y="648"/>
                  </a:lnTo>
                  <a:lnTo>
                    <a:pt x="1061" y="648"/>
                  </a:lnTo>
                  <a:lnTo>
                    <a:pt x="1061" y="648"/>
                  </a:lnTo>
                  <a:lnTo>
                    <a:pt x="1061" y="648"/>
                  </a:lnTo>
                  <a:lnTo>
                    <a:pt x="1061" y="648"/>
                  </a:lnTo>
                  <a:lnTo>
                    <a:pt x="1061" y="648"/>
                  </a:lnTo>
                  <a:lnTo>
                    <a:pt x="1061" y="648"/>
                  </a:lnTo>
                  <a:lnTo>
                    <a:pt x="1061" y="648"/>
                  </a:lnTo>
                  <a:lnTo>
                    <a:pt x="1059" y="648"/>
                  </a:lnTo>
                  <a:lnTo>
                    <a:pt x="1059" y="648"/>
                  </a:lnTo>
                  <a:lnTo>
                    <a:pt x="1057" y="646"/>
                  </a:lnTo>
                  <a:lnTo>
                    <a:pt x="1057" y="646"/>
                  </a:lnTo>
                  <a:lnTo>
                    <a:pt x="1057" y="648"/>
                  </a:lnTo>
                  <a:lnTo>
                    <a:pt x="1057" y="648"/>
                  </a:lnTo>
                  <a:lnTo>
                    <a:pt x="1057" y="650"/>
                  </a:lnTo>
                  <a:close/>
                  <a:moveTo>
                    <a:pt x="1065" y="648"/>
                  </a:moveTo>
                  <a:lnTo>
                    <a:pt x="1063" y="650"/>
                  </a:lnTo>
                  <a:lnTo>
                    <a:pt x="1065" y="650"/>
                  </a:lnTo>
                  <a:lnTo>
                    <a:pt x="1065" y="650"/>
                  </a:lnTo>
                  <a:lnTo>
                    <a:pt x="1065" y="650"/>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close/>
                  <a:moveTo>
                    <a:pt x="1110" y="619"/>
                  </a:moveTo>
                  <a:lnTo>
                    <a:pt x="1110" y="619"/>
                  </a:lnTo>
                  <a:lnTo>
                    <a:pt x="1108" y="619"/>
                  </a:lnTo>
                  <a:lnTo>
                    <a:pt x="1108" y="619"/>
                  </a:lnTo>
                  <a:lnTo>
                    <a:pt x="1106" y="621"/>
                  </a:lnTo>
                  <a:lnTo>
                    <a:pt x="1106" y="621"/>
                  </a:lnTo>
                  <a:lnTo>
                    <a:pt x="1106" y="621"/>
                  </a:lnTo>
                  <a:lnTo>
                    <a:pt x="1108" y="621"/>
                  </a:lnTo>
                  <a:lnTo>
                    <a:pt x="1108" y="621"/>
                  </a:lnTo>
                  <a:lnTo>
                    <a:pt x="1108" y="621"/>
                  </a:lnTo>
                  <a:lnTo>
                    <a:pt x="1108" y="621"/>
                  </a:lnTo>
                  <a:lnTo>
                    <a:pt x="1108" y="621"/>
                  </a:lnTo>
                  <a:lnTo>
                    <a:pt x="1108" y="621"/>
                  </a:lnTo>
                  <a:lnTo>
                    <a:pt x="1108" y="619"/>
                  </a:lnTo>
                  <a:lnTo>
                    <a:pt x="1110" y="619"/>
                  </a:lnTo>
                  <a:lnTo>
                    <a:pt x="1110" y="621"/>
                  </a:lnTo>
                  <a:lnTo>
                    <a:pt x="1110" y="621"/>
                  </a:lnTo>
                  <a:lnTo>
                    <a:pt x="1110" y="621"/>
                  </a:lnTo>
                  <a:lnTo>
                    <a:pt x="1110" y="621"/>
                  </a:lnTo>
                  <a:lnTo>
                    <a:pt x="1110" y="621"/>
                  </a:lnTo>
                  <a:lnTo>
                    <a:pt x="1110" y="619"/>
                  </a:lnTo>
                  <a:lnTo>
                    <a:pt x="1110" y="619"/>
                  </a:lnTo>
                  <a:lnTo>
                    <a:pt x="1110" y="619"/>
                  </a:lnTo>
                  <a:close/>
                  <a:moveTo>
                    <a:pt x="1165" y="551"/>
                  </a:moveTo>
                  <a:lnTo>
                    <a:pt x="1165" y="551"/>
                  </a:lnTo>
                  <a:lnTo>
                    <a:pt x="1167" y="551"/>
                  </a:lnTo>
                  <a:lnTo>
                    <a:pt x="1167" y="551"/>
                  </a:lnTo>
                  <a:lnTo>
                    <a:pt x="1167" y="551"/>
                  </a:lnTo>
                  <a:lnTo>
                    <a:pt x="1167" y="549"/>
                  </a:lnTo>
                  <a:lnTo>
                    <a:pt x="1167" y="549"/>
                  </a:lnTo>
                  <a:lnTo>
                    <a:pt x="1169" y="549"/>
                  </a:lnTo>
                  <a:lnTo>
                    <a:pt x="1167" y="549"/>
                  </a:lnTo>
                  <a:lnTo>
                    <a:pt x="1167" y="549"/>
                  </a:lnTo>
                  <a:lnTo>
                    <a:pt x="1167" y="547"/>
                  </a:lnTo>
                  <a:lnTo>
                    <a:pt x="1167" y="547"/>
                  </a:lnTo>
                  <a:lnTo>
                    <a:pt x="1167" y="547"/>
                  </a:lnTo>
                  <a:lnTo>
                    <a:pt x="1165" y="547"/>
                  </a:lnTo>
                  <a:lnTo>
                    <a:pt x="1165" y="549"/>
                  </a:lnTo>
                  <a:lnTo>
                    <a:pt x="1165" y="547"/>
                  </a:lnTo>
                  <a:lnTo>
                    <a:pt x="1165" y="547"/>
                  </a:lnTo>
                  <a:lnTo>
                    <a:pt x="1165" y="547"/>
                  </a:lnTo>
                  <a:lnTo>
                    <a:pt x="1165" y="547"/>
                  </a:lnTo>
                  <a:lnTo>
                    <a:pt x="1165" y="547"/>
                  </a:lnTo>
                  <a:lnTo>
                    <a:pt x="1165" y="547"/>
                  </a:lnTo>
                  <a:lnTo>
                    <a:pt x="1165" y="549"/>
                  </a:lnTo>
                  <a:lnTo>
                    <a:pt x="1165" y="549"/>
                  </a:lnTo>
                  <a:lnTo>
                    <a:pt x="1165" y="547"/>
                  </a:lnTo>
                  <a:lnTo>
                    <a:pt x="1165" y="547"/>
                  </a:lnTo>
                  <a:lnTo>
                    <a:pt x="1163" y="549"/>
                  </a:lnTo>
                  <a:lnTo>
                    <a:pt x="1165" y="551"/>
                  </a:lnTo>
                  <a:lnTo>
                    <a:pt x="1165" y="551"/>
                  </a:lnTo>
                  <a:close/>
                  <a:moveTo>
                    <a:pt x="1172" y="570"/>
                  </a:moveTo>
                  <a:lnTo>
                    <a:pt x="1169" y="570"/>
                  </a:lnTo>
                  <a:lnTo>
                    <a:pt x="1169" y="570"/>
                  </a:lnTo>
                  <a:lnTo>
                    <a:pt x="1169" y="572"/>
                  </a:lnTo>
                  <a:lnTo>
                    <a:pt x="1169" y="572"/>
                  </a:lnTo>
                  <a:lnTo>
                    <a:pt x="1169" y="572"/>
                  </a:lnTo>
                  <a:lnTo>
                    <a:pt x="1169" y="572"/>
                  </a:lnTo>
                  <a:lnTo>
                    <a:pt x="1169" y="572"/>
                  </a:lnTo>
                  <a:lnTo>
                    <a:pt x="1169" y="574"/>
                  </a:lnTo>
                  <a:lnTo>
                    <a:pt x="1169" y="574"/>
                  </a:lnTo>
                  <a:lnTo>
                    <a:pt x="1172" y="574"/>
                  </a:lnTo>
                  <a:lnTo>
                    <a:pt x="1172" y="574"/>
                  </a:lnTo>
                  <a:lnTo>
                    <a:pt x="1172" y="572"/>
                  </a:lnTo>
                  <a:lnTo>
                    <a:pt x="1172" y="574"/>
                  </a:lnTo>
                  <a:lnTo>
                    <a:pt x="1172" y="576"/>
                  </a:lnTo>
                  <a:lnTo>
                    <a:pt x="1172" y="576"/>
                  </a:lnTo>
                  <a:lnTo>
                    <a:pt x="1172" y="576"/>
                  </a:lnTo>
                  <a:lnTo>
                    <a:pt x="1172" y="576"/>
                  </a:lnTo>
                  <a:lnTo>
                    <a:pt x="1172" y="576"/>
                  </a:lnTo>
                  <a:lnTo>
                    <a:pt x="1174" y="576"/>
                  </a:lnTo>
                  <a:lnTo>
                    <a:pt x="1174" y="576"/>
                  </a:lnTo>
                  <a:lnTo>
                    <a:pt x="1174" y="574"/>
                  </a:lnTo>
                  <a:lnTo>
                    <a:pt x="1174" y="572"/>
                  </a:lnTo>
                  <a:lnTo>
                    <a:pt x="1174" y="572"/>
                  </a:lnTo>
                  <a:lnTo>
                    <a:pt x="1174" y="572"/>
                  </a:lnTo>
                  <a:lnTo>
                    <a:pt x="1174" y="570"/>
                  </a:lnTo>
                  <a:lnTo>
                    <a:pt x="1176" y="568"/>
                  </a:lnTo>
                  <a:lnTo>
                    <a:pt x="1176" y="566"/>
                  </a:lnTo>
                  <a:lnTo>
                    <a:pt x="1176" y="566"/>
                  </a:lnTo>
                  <a:lnTo>
                    <a:pt x="1176" y="564"/>
                  </a:lnTo>
                  <a:lnTo>
                    <a:pt x="1174" y="566"/>
                  </a:lnTo>
                  <a:lnTo>
                    <a:pt x="1174" y="566"/>
                  </a:lnTo>
                  <a:lnTo>
                    <a:pt x="1174" y="566"/>
                  </a:lnTo>
                  <a:lnTo>
                    <a:pt x="1174" y="566"/>
                  </a:lnTo>
                  <a:lnTo>
                    <a:pt x="1174" y="564"/>
                  </a:lnTo>
                  <a:lnTo>
                    <a:pt x="1174" y="564"/>
                  </a:lnTo>
                  <a:lnTo>
                    <a:pt x="1176" y="564"/>
                  </a:lnTo>
                  <a:lnTo>
                    <a:pt x="1176" y="564"/>
                  </a:lnTo>
                  <a:lnTo>
                    <a:pt x="1176" y="562"/>
                  </a:lnTo>
                  <a:lnTo>
                    <a:pt x="1176" y="562"/>
                  </a:lnTo>
                  <a:lnTo>
                    <a:pt x="1176" y="562"/>
                  </a:lnTo>
                  <a:lnTo>
                    <a:pt x="1176" y="562"/>
                  </a:lnTo>
                  <a:lnTo>
                    <a:pt x="1176" y="562"/>
                  </a:lnTo>
                  <a:lnTo>
                    <a:pt x="1176" y="562"/>
                  </a:lnTo>
                  <a:lnTo>
                    <a:pt x="1176" y="559"/>
                  </a:lnTo>
                  <a:lnTo>
                    <a:pt x="1176" y="559"/>
                  </a:lnTo>
                  <a:lnTo>
                    <a:pt x="1176" y="559"/>
                  </a:lnTo>
                  <a:lnTo>
                    <a:pt x="1174" y="559"/>
                  </a:lnTo>
                  <a:lnTo>
                    <a:pt x="1174" y="562"/>
                  </a:lnTo>
                  <a:lnTo>
                    <a:pt x="1174" y="559"/>
                  </a:lnTo>
                  <a:lnTo>
                    <a:pt x="1174" y="559"/>
                  </a:lnTo>
                  <a:lnTo>
                    <a:pt x="1174" y="559"/>
                  </a:lnTo>
                  <a:lnTo>
                    <a:pt x="1174" y="562"/>
                  </a:lnTo>
                  <a:lnTo>
                    <a:pt x="1174" y="562"/>
                  </a:lnTo>
                  <a:lnTo>
                    <a:pt x="1174" y="562"/>
                  </a:lnTo>
                  <a:lnTo>
                    <a:pt x="1172" y="564"/>
                  </a:lnTo>
                  <a:lnTo>
                    <a:pt x="1172" y="562"/>
                  </a:lnTo>
                  <a:lnTo>
                    <a:pt x="1172" y="562"/>
                  </a:lnTo>
                  <a:lnTo>
                    <a:pt x="1172" y="559"/>
                  </a:lnTo>
                  <a:lnTo>
                    <a:pt x="1172" y="562"/>
                  </a:lnTo>
                  <a:lnTo>
                    <a:pt x="1172" y="562"/>
                  </a:lnTo>
                  <a:lnTo>
                    <a:pt x="1169" y="566"/>
                  </a:lnTo>
                  <a:lnTo>
                    <a:pt x="1172" y="566"/>
                  </a:lnTo>
                  <a:lnTo>
                    <a:pt x="1172" y="564"/>
                  </a:lnTo>
                  <a:lnTo>
                    <a:pt x="1172" y="564"/>
                  </a:lnTo>
                  <a:lnTo>
                    <a:pt x="1172" y="566"/>
                  </a:lnTo>
                  <a:lnTo>
                    <a:pt x="1172" y="566"/>
                  </a:lnTo>
                  <a:lnTo>
                    <a:pt x="1172" y="566"/>
                  </a:lnTo>
                  <a:lnTo>
                    <a:pt x="1169" y="566"/>
                  </a:lnTo>
                  <a:lnTo>
                    <a:pt x="1169" y="566"/>
                  </a:lnTo>
                  <a:lnTo>
                    <a:pt x="1169" y="566"/>
                  </a:lnTo>
                  <a:lnTo>
                    <a:pt x="1172" y="568"/>
                  </a:lnTo>
                  <a:lnTo>
                    <a:pt x="1172" y="568"/>
                  </a:lnTo>
                  <a:lnTo>
                    <a:pt x="1169" y="568"/>
                  </a:lnTo>
                  <a:lnTo>
                    <a:pt x="1169" y="568"/>
                  </a:lnTo>
                  <a:lnTo>
                    <a:pt x="1169" y="568"/>
                  </a:lnTo>
                  <a:lnTo>
                    <a:pt x="1169" y="568"/>
                  </a:lnTo>
                  <a:lnTo>
                    <a:pt x="1169" y="568"/>
                  </a:lnTo>
                  <a:lnTo>
                    <a:pt x="1169" y="568"/>
                  </a:lnTo>
                  <a:lnTo>
                    <a:pt x="1172" y="568"/>
                  </a:lnTo>
                  <a:lnTo>
                    <a:pt x="1172" y="568"/>
                  </a:lnTo>
                  <a:lnTo>
                    <a:pt x="1172" y="568"/>
                  </a:lnTo>
                  <a:lnTo>
                    <a:pt x="1172" y="570"/>
                  </a:lnTo>
                  <a:lnTo>
                    <a:pt x="1172" y="570"/>
                  </a:lnTo>
                  <a:close/>
                  <a:moveTo>
                    <a:pt x="1167" y="580"/>
                  </a:moveTo>
                  <a:lnTo>
                    <a:pt x="1167" y="580"/>
                  </a:lnTo>
                  <a:lnTo>
                    <a:pt x="1165" y="582"/>
                  </a:lnTo>
                  <a:lnTo>
                    <a:pt x="1165" y="582"/>
                  </a:lnTo>
                  <a:lnTo>
                    <a:pt x="1165" y="584"/>
                  </a:lnTo>
                  <a:lnTo>
                    <a:pt x="1163" y="584"/>
                  </a:lnTo>
                  <a:lnTo>
                    <a:pt x="1163" y="586"/>
                  </a:lnTo>
                  <a:lnTo>
                    <a:pt x="1165" y="586"/>
                  </a:lnTo>
                  <a:lnTo>
                    <a:pt x="1165" y="586"/>
                  </a:lnTo>
                  <a:lnTo>
                    <a:pt x="1167" y="584"/>
                  </a:lnTo>
                  <a:lnTo>
                    <a:pt x="1165" y="584"/>
                  </a:lnTo>
                  <a:lnTo>
                    <a:pt x="1165" y="584"/>
                  </a:lnTo>
                  <a:lnTo>
                    <a:pt x="1165" y="582"/>
                  </a:lnTo>
                  <a:lnTo>
                    <a:pt x="1167" y="582"/>
                  </a:lnTo>
                  <a:lnTo>
                    <a:pt x="1167" y="582"/>
                  </a:lnTo>
                  <a:lnTo>
                    <a:pt x="1169" y="582"/>
                  </a:lnTo>
                  <a:lnTo>
                    <a:pt x="1169" y="580"/>
                  </a:lnTo>
                  <a:lnTo>
                    <a:pt x="1169" y="580"/>
                  </a:lnTo>
                  <a:lnTo>
                    <a:pt x="1169" y="580"/>
                  </a:lnTo>
                  <a:lnTo>
                    <a:pt x="1169" y="580"/>
                  </a:lnTo>
                  <a:lnTo>
                    <a:pt x="1169" y="580"/>
                  </a:lnTo>
                  <a:lnTo>
                    <a:pt x="1169" y="580"/>
                  </a:lnTo>
                  <a:lnTo>
                    <a:pt x="1167" y="578"/>
                  </a:lnTo>
                  <a:lnTo>
                    <a:pt x="1167" y="578"/>
                  </a:lnTo>
                  <a:lnTo>
                    <a:pt x="1167" y="578"/>
                  </a:lnTo>
                  <a:lnTo>
                    <a:pt x="1167" y="578"/>
                  </a:lnTo>
                  <a:lnTo>
                    <a:pt x="1167" y="580"/>
                  </a:lnTo>
                  <a:lnTo>
                    <a:pt x="1167" y="580"/>
                  </a:lnTo>
                  <a:close/>
                  <a:moveTo>
                    <a:pt x="1163" y="584"/>
                  </a:moveTo>
                  <a:lnTo>
                    <a:pt x="1163" y="582"/>
                  </a:lnTo>
                  <a:lnTo>
                    <a:pt x="1163" y="582"/>
                  </a:lnTo>
                  <a:lnTo>
                    <a:pt x="1165" y="582"/>
                  </a:lnTo>
                  <a:lnTo>
                    <a:pt x="1165" y="582"/>
                  </a:lnTo>
                  <a:lnTo>
                    <a:pt x="1165" y="582"/>
                  </a:lnTo>
                  <a:lnTo>
                    <a:pt x="1165" y="580"/>
                  </a:lnTo>
                  <a:lnTo>
                    <a:pt x="1165" y="580"/>
                  </a:lnTo>
                  <a:lnTo>
                    <a:pt x="1165" y="578"/>
                  </a:lnTo>
                  <a:lnTo>
                    <a:pt x="1165" y="576"/>
                  </a:lnTo>
                  <a:lnTo>
                    <a:pt x="1165" y="576"/>
                  </a:lnTo>
                  <a:lnTo>
                    <a:pt x="1165" y="576"/>
                  </a:lnTo>
                  <a:lnTo>
                    <a:pt x="1165" y="576"/>
                  </a:lnTo>
                  <a:lnTo>
                    <a:pt x="1165" y="578"/>
                  </a:lnTo>
                  <a:lnTo>
                    <a:pt x="1165" y="578"/>
                  </a:lnTo>
                  <a:lnTo>
                    <a:pt x="1165" y="580"/>
                  </a:lnTo>
                  <a:lnTo>
                    <a:pt x="1163" y="580"/>
                  </a:lnTo>
                  <a:lnTo>
                    <a:pt x="1163" y="578"/>
                  </a:lnTo>
                  <a:lnTo>
                    <a:pt x="1163" y="578"/>
                  </a:lnTo>
                  <a:lnTo>
                    <a:pt x="1161" y="582"/>
                  </a:lnTo>
                  <a:lnTo>
                    <a:pt x="1159" y="582"/>
                  </a:lnTo>
                  <a:lnTo>
                    <a:pt x="1161" y="582"/>
                  </a:lnTo>
                  <a:lnTo>
                    <a:pt x="1163" y="582"/>
                  </a:lnTo>
                  <a:lnTo>
                    <a:pt x="1161" y="582"/>
                  </a:lnTo>
                  <a:lnTo>
                    <a:pt x="1161" y="584"/>
                  </a:lnTo>
                  <a:lnTo>
                    <a:pt x="1159" y="584"/>
                  </a:lnTo>
                  <a:lnTo>
                    <a:pt x="1159" y="584"/>
                  </a:lnTo>
                  <a:lnTo>
                    <a:pt x="1161" y="584"/>
                  </a:lnTo>
                  <a:lnTo>
                    <a:pt x="1163" y="584"/>
                  </a:lnTo>
                  <a:lnTo>
                    <a:pt x="1161" y="584"/>
                  </a:lnTo>
                  <a:lnTo>
                    <a:pt x="1159" y="584"/>
                  </a:lnTo>
                  <a:lnTo>
                    <a:pt x="1159" y="584"/>
                  </a:lnTo>
                  <a:lnTo>
                    <a:pt x="1161" y="586"/>
                  </a:lnTo>
                  <a:lnTo>
                    <a:pt x="1161" y="586"/>
                  </a:lnTo>
                  <a:lnTo>
                    <a:pt x="1163" y="584"/>
                  </a:lnTo>
                  <a:lnTo>
                    <a:pt x="1163" y="584"/>
                  </a:lnTo>
                  <a:close/>
                  <a:moveTo>
                    <a:pt x="1163" y="545"/>
                  </a:moveTo>
                  <a:lnTo>
                    <a:pt x="1165" y="543"/>
                  </a:lnTo>
                  <a:lnTo>
                    <a:pt x="1165" y="543"/>
                  </a:lnTo>
                  <a:lnTo>
                    <a:pt x="1165" y="543"/>
                  </a:lnTo>
                  <a:lnTo>
                    <a:pt x="1165" y="543"/>
                  </a:lnTo>
                  <a:lnTo>
                    <a:pt x="1165" y="543"/>
                  </a:lnTo>
                  <a:lnTo>
                    <a:pt x="1165" y="543"/>
                  </a:lnTo>
                  <a:lnTo>
                    <a:pt x="1165" y="543"/>
                  </a:lnTo>
                  <a:lnTo>
                    <a:pt x="1165" y="541"/>
                  </a:lnTo>
                  <a:lnTo>
                    <a:pt x="1165" y="539"/>
                  </a:lnTo>
                  <a:lnTo>
                    <a:pt x="1165" y="539"/>
                  </a:lnTo>
                  <a:lnTo>
                    <a:pt x="1163" y="537"/>
                  </a:lnTo>
                  <a:lnTo>
                    <a:pt x="1161" y="539"/>
                  </a:lnTo>
                  <a:lnTo>
                    <a:pt x="1161" y="539"/>
                  </a:lnTo>
                  <a:lnTo>
                    <a:pt x="1161" y="539"/>
                  </a:lnTo>
                  <a:lnTo>
                    <a:pt x="1161" y="539"/>
                  </a:lnTo>
                  <a:lnTo>
                    <a:pt x="1161" y="539"/>
                  </a:lnTo>
                  <a:lnTo>
                    <a:pt x="1161" y="541"/>
                  </a:lnTo>
                  <a:lnTo>
                    <a:pt x="1161" y="541"/>
                  </a:lnTo>
                  <a:lnTo>
                    <a:pt x="1161" y="543"/>
                  </a:lnTo>
                  <a:lnTo>
                    <a:pt x="1161" y="543"/>
                  </a:lnTo>
                  <a:lnTo>
                    <a:pt x="1161" y="543"/>
                  </a:lnTo>
                  <a:lnTo>
                    <a:pt x="1161" y="543"/>
                  </a:lnTo>
                  <a:lnTo>
                    <a:pt x="1161" y="545"/>
                  </a:lnTo>
                  <a:lnTo>
                    <a:pt x="1161" y="545"/>
                  </a:lnTo>
                  <a:lnTo>
                    <a:pt x="1161" y="545"/>
                  </a:lnTo>
                  <a:lnTo>
                    <a:pt x="1163" y="545"/>
                  </a:lnTo>
                  <a:lnTo>
                    <a:pt x="1163" y="545"/>
                  </a:lnTo>
                  <a:close/>
                  <a:moveTo>
                    <a:pt x="1159" y="549"/>
                  </a:moveTo>
                  <a:lnTo>
                    <a:pt x="1159" y="551"/>
                  </a:lnTo>
                  <a:lnTo>
                    <a:pt x="1161" y="551"/>
                  </a:lnTo>
                  <a:lnTo>
                    <a:pt x="1161" y="553"/>
                  </a:lnTo>
                  <a:lnTo>
                    <a:pt x="1161" y="553"/>
                  </a:lnTo>
                  <a:lnTo>
                    <a:pt x="1161" y="553"/>
                  </a:lnTo>
                  <a:lnTo>
                    <a:pt x="1161" y="551"/>
                  </a:lnTo>
                  <a:lnTo>
                    <a:pt x="1161" y="551"/>
                  </a:lnTo>
                  <a:lnTo>
                    <a:pt x="1161" y="549"/>
                  </a:lnTo>
                  <a:lnTo>
                    <a:pt x="1161" y="549"/>
                  </a:lnTo>
                  <a:lnTo>
                    <a:pt x="1161" y="549"/>
                  </a:lnTo>
                  <a:lnTo>
                    <a:pt x="1161" y="549"/>
                  </a:lnTo>
                  <a:lnTo>
                    <a:pt x="1161" y="549"/>
                  </a:lnTo>
                  <a:lnTo>
                    <a:pt x="1161" y="547"/>
                  </a:lnTo>
                  <a:lnTo>
                    <a:pt x="1161" y="547"/>
                  </a:lnTo>
                  <a:lnTo>
                    <a:pt x="1161" y="547"/>
                  </a:lnTo>
                  <a:lnTo>
                    <a:pt x="1159" y="547"/>
                  </a:lnTo>
                  <a:lnTo>
                    <a:pt x="1159" y="547"/>
                  </a:lnTo>
                  <a:lnTo>
                    <a:pt x="1159" y="547"/>
                  </a:lnTo>
                  <a:lnTo>
                    <a:pt x="1159" y="547"/>
                  </a:lnTo>
                  <a:lnTo>
                    <a:pt x="1159" y="549"/>
                  </a:lnTo>
                  <a:lnTo>
                    <a:pt x="1159" y="549"/>
                  </a:lnTo>
                  <a:close/>
                  <a:moveTo>
                    <a:pt x="1012" y="773"/>
                  </a:moveTo>
                  <a:lnTo>
                    <a:pt x="1012" y="775"/>
                  </a:lnTo>
                  <a:lnTo>
                    <a:pt x="1010" y="773"/>
                  </a:lnTo>
                  <a:lnTo>
                    <a:pt x="1010" y="775"/>
                  </a:lnTo>
                  <a:lnTo>
                    <a:pt x="1010" y="775"/>
                  </a:lnTo>
                  <a:lnTo>
                    <a:pt x="1008" y="775"/>
                  </a:lnTo>
                  <a:lnTo>
                    <a:pt x="1010" y="775"/>
                  </a:lnTo>
                  <a:lnTo>
                    <a:pt x="1010" y="775"/>
                  </a:lnTo>
                  <a:lnTo>
                    <a:pt x="1010" y="775"/>
                  </a:lnTo>
                  <a:lnTo>
                    <a:pt x="1012" y="775"/>
                  </a:lnTo>
                  <a:lnTo>
                    <a:pt x="1012" y="775"/>
                  </a:lnTo>
                  <a:lnTo>
                    <a:pt x="1012" y="775"/>
                  </a:lnTo>
                  <a:lnTo>
                    <a:pt x="1014" y="775"/>
                  </a:lnTo>
                  <a:lnTo>
                    <a:pt x="1014" y="775"/>
                  </a:lnTo>
                  <a:lnTo>
                    <a:pt x="1016" y="775"/>
                  </a:lnTo>
                  <a:lnTo>
                    <a:pt x="1016" y="773"/>
                  </a:lnTo>
                  <a:lnTo>
                    <a:pt x="1016" y="773"/>
                  </a:lnTo>
                  <a:lnTo>
                    <a:pt x="1012" y="773"/>
                  </a:lnTo>
                  <a:lnTo>
                    <a:pt x="1012" y="773"/>
                  </a:lnTo>
                  <a:close/>
                  <a:moveTo>
                    <a:pt x="1053" y="701"/>
                  </a:moveTo>
                  <a:lnTo>
                    <a:pt x="1055" y="701"/>
                  </a:lnTo>
                  <a:lnTo>
                    <a:pt x="1057" y="703"/>
                  </a:lnTo>
                  <a:lnTo>
                    <a:pt x="1057" y="703"/>
                  </a:lnTo>
                  <a:lnTo>
                    <a:pt x="1057" y="703"/>
                  </a:lnTo>
                  <a:lnTo>
                    <a:pt x="1057" y="703"/>
                  </a:lnTo>
                  <a:lnTo>
                    <a:pt x="1057" y="703"/>
                  </a:lnTo>
                  <a:lnTo>
                    <a:pt x="1059" y="701"/>
                  </a:lnTo>
                  <a:lnTo>
                    <a:pt x="1059" y="701"/>
                  </a:lnTo>
                  <a:lnTo>
                    <a:pt x="1059" y="701"/>
                  </a:lnTo>
                  <a:lnTo>
                    <a:pt x="1059" y="701"/>
                  </a:lnTo>
                  <a:lnTo>
                    <a:pt x="1057" y="701"/>
                  </a:lnTo>
                  <a:lnTo>
                    <a:pt x="1057" y="701"/>
                  </a:lnTo>
                  <a:lnTo>
                    <a:pt x="1057" y="701"/>
                  </a:lnTo>
                  <a:lnTo>
                    <a:pt x="1057" y="701"/>
                  </a:lnTo>
                  <a:lnTo>
                    <a:pt x="1057" y="701"/>
                  </a:lnTo>
                  <a:lnTo>
                    <a:pt x="1057" y="701"/>
                  </a:lnTo>
                  <a:lnTo>
                    <a:pt x="1057" y="701"/>
                  </a:lnTo>
                  <a:lnTo>
                    <a:pt x="1055" y="699"/>
                  </a:lnTo>
                  <a:lnTo>
                    <a:pt x="1057" y="699"/>
                  </a:lnTo>
                  <a:lnTo>
                    <a:pt x="1055" y="699"/>
                  </a:lnTo>
                  <a:lnTo>
                    <a:pt x="1055" y="699"/>
                  </a:lnTo>
                  <a:lnTo>
                    <a:pt x="1055" y="699"/>
                  </a:lnTo>
                  <a:lnTo>
                    <a:pt x="1055" y="699"/>
                  </a:lnTo>
                  <a:lnTo>
                    <a:pt x="1055" y="699"/>
                  </a:lnTo>
                  <a:lnTo>
                    <a:pt x="1055" y="699"/>
                  </a:lnTo>
                  <a:lnTo>
                    <a:pt x="1055" y="699"/>
                  </a:lnTo>
                  <a:lnTo>
                    <a:pt x="1055" y="699"/>
                  </a:lnTo>
                  <a:lnTo>
                    <a:pt x="1055" y="699"/>
                  </a:lnTo>
                  <a:lnTo>
                    <a:pt x="1055" y="699"/>
                  </a:lnTo>
                  <a:lnTo>
                    <a:pt x="1055" y="699"/>
                  </a:lnTo>
                  <a:lnTo>
                    <a:pt x="1055" y="701"/>
                  </a:lnTo>
                  <a:lnTo>
                    <a:pt x="1053" y="701"/>
                  </a:lnTo>
                  <a:close/>
                  <a:moveTo>
                    <a:pt x="1002" y="771"/>
                  </a:moveTo>
                  <a:lnTo>
                    <a:pt x="999" y="771"/>
                  </a:lnTo>
                  <a:lnTo>
                    <a:pt x="999" y="771"/>
                  </a:lnTo>
                  <a:lnTo>
                    <a:pt x="999" y="771"/>
                  </a:lnTo>
                  <a:lnTo>
                    <a:pt x="997" y="771"/>
                  </a:lnTo>
                  <a:lnTo>
                    <a:pt x="997" y="771"/>
                  </a:lnTo>
                  <a:lnTo>
                    <a:pt x="991" y="775"/>
                  </a:lnTo>
                  <a:lnTo>
                    <a:pt x="991" y="775"/>
                  </a:lnTo>
                  <a:lnTo>
                    <a:pt x="989" y="777"/>
                  </a:lnTo>
                  <a:lnTo>
                    <a:pt x="989" y="779"/>
                  </a:lnTo>
                  <a:lnTo>
                    <a:pt x="991" y="781"/>
                  </a:lnTo>
                  <a:lnTo>
                    <a:pt x="991" y="781"/>
                  </a:lnTo>
                  <a:lnTo>
                    <a:pt x="991" y="781"/>
                  </a:lnTo>
                  <a:lnTo>
                    <a:pt x="991" y="779"/>
                  </a:lnTo>
                  <a:lnTo>
                    <a:pt x="993" y="779"/>
                  </a:lnTo>
                  <a:lnTo>
                    <a:pt x="995" y="777"/>
                  </a:lnTo>
                  <a:lnTo>
                    <a:pt x="995" y="775"/>
                  </a:lnTo>
                  <a:lnTo>
                    <a:pt x="997" y="775"/>
                  </a:lnTo>
                  <a:lnTo>
                    <a:pt x="997" y="775"/>
                  </a:lnTo>
                  <a:lnTo>
                    <a:pt x="997" y="775"/>
                  </a:lnTo>
                  <a:lnTo>
                    <a:pt x="997" y="775"/>
                  </a:lnTo>
                  <a:lnTo>
                    <a:pt x="997" y="773"/>
                  </a:lnTo>
                  <a:lnTo>
                    <a:pt x="997" y="771"/>
                  </a:lnTo>
                  <a:lnTo>
                    <a:pt x="999" y="771"/>
                  </a:lnTo>
                  <a:lnTo>
                    <a:pt x="999" y="771"/>
                  </a:lnTo>
                  <a:lnTo>
                    <a:pt x="999" y="773"/>
                  </a:lnTo>
                  <a:lnTo>
                    <a:pt x="999" y="773"/>
                  </a:lnTo>
                  <a:lnTo>
                    <a:pt x="999" y="773"/>
                  </a:lnTo>
                  <a:lnTo>
                    <a:pt x="999" y="773"/>
                  </a:lnTo>
                  <a:lnTo>
                    <a:pt x="999" y="773"/>
                  </a:lnTo>
                  <a:lnTo>
                    <a:pt x="999" y="773"/>
                  </a:lnTo>
                  <a:lnTo>
                    <a:pt x="999" y="773"/>
                  </a:lnTo>
                  <a:lnTo>
                    <a:pt x="999" y="773"/>
                  </a:lnTo>
                  <a:lnTo>
                    <a:pt x="999" y="773"/>
                  </a:lnTo>
                  <a:lnTo>
                    <a:pt x="999" y="773"/>
                  </a:lnTo>
                  <a:lnTo>
                    <a:pt x="1002" y="773"/>
                  </a:lnTo>
                  <a:lnTo>
                    <a:pt x="1002" y="773"/>
                  </a:lnTo>
                  <a:lnTo>
                    <a:pt x="1002" y="773"/>
                  </a:lnTo>
                  <a:lnTo>
                    <a:pt x="1002" y="771"/>
                  </a:lnTo>
                  <a:close/>
                  <a:moveTo>
                    <a:pt x="1010" y="773"/>
                  </a:moveTo>
                  <a:lnTo>
                    <a:pt x="1010" y="773"/>
                  </a:lnTo>
                  <a:lnTo>
                    <a:pt x="1010" y="773"/>
                  </a:lnTo>
                  <a:lnTo>
                    <a:pt x="1010" y="773"/>
                  </a:lnTo>
                  <a:lnTo>
                    <a:pt x="1010" y="771"/>
                  </a:lnTo>
                  <a:lnTo>
                    <a:pt x="1010" y="773"/>
                  </a:lnTo>
                  <a:lnTo>
                    <a:pt x="1012" y="773"/>
                  </a:lnTo>
                  <a:lnTo>
                    <a:pt x="1010" y="773"/>
                  </a:lnTo>
                  <a:lnTo>
                    <a:pt x="1010" y="771"/>
                  </a:lnTo>
                  <a:lnTo>
                    <a:pt x="1010" y="771"/>
                  </a:lnTo>
                  <a:lnTo>
                    <a:pt x="1010" y="771"/>
                  </a:lnTo>
                  <a:lnTo>
                    <a:pt x="1010" y="771"/>
                  </a:lnTo>
                  <a:lnTo>
                    <a:pt x="1010" y="771"/>
                  </a:lnTo>
                  <a:lnTo>
                    <a:pt x="1008" y="771"/>
                  </a:lnTo>
                  <a:lnTo>
                    <a:pt x="1006" y="771"/>
                  </a:lnTo>
                  <a:lnTo>
                    <a:pt x="1006" y="771"/>
                  </a:lnTo>
                  <a:lnTo>
                    <a:pt x="1004" y="771"/>
                  </a:lnTo>
                  <a:lnTo>
                    <a:pt x="1004" y="771"/>
                  </a:lnTo>
                  <a:lnTo>
                    <a:pt x="1004" y="773"/>
                  </a:lnTo>
                  <a:lnTo>
                    <a:pt x="1002" y="773"/>
                  </a:lnTo>
                  <a:lnTo>
                    <a:pt x="1004" y="775"/>
                  </a:lnTo>
                  <a:lnTo>
                    <a:pt x="1004" y="775"/>
                  </a:lnTo>
                  <a:lnTo>
                    <a:pt x="1004" y="775"/>
                  </a:lnTo>
                  <a:lnTo>
                    <a:pt x="1004" y="775"/>
                  </a:lnTo>
                  <a:lnTo>
                    <a:pt x="1006" y="775"/>
                  </a:lnTo>
                  <a:lnTo>
                    <a:pt x="1008" y="775"/>
                  </a:lnTo>
                  <a:lnTo>
                    <a:pt x="1008" y="775"/>
                  </a:lnTo>
                  <a:lnTo>
                    <a:pt x="1008" y="775"/>
                  </a:lnTo>
                  <a:lnTo>
                    <a:pt x="1008" y="775"/>
                  </a:lnTo>
                  <a:lnTo>
                    <a:pt x="1010" y="773"/>
                  </a:lnTo>
                  <a:lnTo>
                    <a:pt x="1010" y="773"/>
                  </a:lnTo>
                  <a:close/>
                  <a:moveTo>
                    <a:pt x="1010" y="764"/>
                  </a:moveTo>
                  <a:lnTo>
                    <a:pt x="1010" y="766"/>
                  </a:lnTo>
                  <a:lnTo>
                    <a:pt x="1012" y="766"/>
                  </a:lnTo>
                  <a:lnTo>
                    <a:pt x="1012" y="766"/>
                  </a:lnTo>
                  <a:lnTo>
                    <a:pt x="1012" y="764"/>
                  </a:lnTo>
                  <a:lnTo>
                    <a:pt x="1012" y="764"/>
                  </a:lnTo>
                  <a:lnTo>
                    <a:pt x="1012" y="764"/>
                  </a:lnTo>
                  <a:lnTo>
                    <a:pt x="1012" y="764"/>
                  </a:lnTo>
                  <a:lnTo>
                    <a:pt x="1012" y="764"/>
                  </a:lnTo>
                  <a:lnTo>
                    <a:pt x="1010" y="764"/>
                  </a:lnTo>
                  <a:lnTo>
                    <a:pt x="1010" y="764"/>
                  </a:lnTo>
                  <a:lnTo>
                    <a:pt x="1010" y="764"/>
                  </a:lnTo>
                  <a:lnTo>
                    <a:pt x="1010" y="764"/>
                  </a:lnTo>
                  <a:lnTo>
                    <a:pt x="1008" y="764"/>
                  </a:lnTo>
                  <a:lnTo>
                    <a:pt x="1010" y="764"/>
                  </a:lnTo>
                  <a:lnTo>
                    <a:pt x="1010" y="764"/>
                  </a:lnTo>
                  <a:lnTo>
                    <a:pt x="1010" y="764"/>
                  </a:lnTo>
                  <a:lnTo>
                    <a:pt x="1010" y="764"/>
                  </a:lnTo>
                  <a:lnTo>
                    <a:pt x="1010" y="764"/>
                  </a:lnTo>
                  <a:close/>
                  <a:moveTo>
                    <a:pt x="932" y="789"/>
                  </a:moveTo>
                  <a:lnTo>
                    <a:pt x="932" y="789"/>
                  </a:lnTo>
                  <a:lnTo>
                    <a:pt x="932" y="789"/>
                  </a:lnTo>
                  <a:lnTo>
                    <a:pt x="932" y="789"/>
                  </a:lnTo>
                  <a:lnTo>
                    <a:pt x="932" y="789"/>
                  </a:lnTo>
                  <a:lnTo>
                    <a:pt x="932" y="789"/>
                  </a:lnTo>
                  <a:lnTo>
                    <a:pt x="932" y="789"/>
                  </a:lnTo>
                  <a:lnTo>
                    <a:pt x="932" y="789"/>
                  </a:lnTo>
                  <a:lnTo>
                    <a:pt x="932" y="789"/>
                  </a:lnTo>
                  <a:lnTo>
                    <a:pt x="932" y="789"/>
                  </a:lnTo>
                  <a:lnTo>
                    <a:pt x="932" y="791"/>
                  </a:lnTo>
                  <a:lnTo>
                    <a:pt x="932" y="791"/>
                  </a:lnTo>
                  <a:lnTo>
                    <a:pt x="932" y="791"/>
                  </a:lnTo>
                  <a:lnTo>
                    <a:pt x="932" y="791"/>
                  </a:lnTo>
                  <a:lnTo>
                    <a:pt x="932" y="791"/>
                  </a:lnTo>
                  <a:lnTo>
                    <a:pt x="932" y="791"/>
                  </a:lnTo>
                  <a:lnTo>
                    <a:pt x="932" y="791"/>
                  </a:lnTo>
                  <a:lnTo>
                    <a:pt x="932" y="791"/>
                  </a:lnTo>
                  <a:lnTo>
                    <a:pt x="932" y="789"/>
                  </a:lnTo>
                  <a:close/>
                  <a:moveTo>
                    <a:pt x="934" y="797"/>
                  </a:moveTo>
                  <a:lnTo>
                    <a:pt x="934" y="797"/>
                  </a:lnTo>
                  <a:lnTo>
                    <a:pt x="934" y="797"/>
                  </a:lnTo>
                  <a:lnTo>
                    <a:pt x="934" y="797"/>
                  </a:lnTo>
                  <a:lnTo>
                    <a:pt x="934" y="797"/>
                  </a:lnTo>
                  <a:lnTo>
                    <a:pt x="934" y="797"/>
                  </a:lnTo>
                  <a:lnTo>
                    <a:pt x="934" y="797"/>
                  </a:lnTo>
                  <a:lnTo>
                    <a:pt x="934" y="797"/>
                  </a:lnTo>
                  <a:lnTo>
                    <a:pt x="934" y="797"/>
                  </a:lnTo>
                  <a:lnTo>
                    <a:pt x="932" y="797"/>
                  </a:lnTo>
                  <a:lnTo>
                    <a:pt x="932" y="799"/>
                  </a:lnTo>
                  <a:lnTo>
                    <a:pt x="934" y="799"/>
                  </a:lnTo>
                  <a:lnTo>
                    <a:pt x="934" y="799"/>
                  </a:lnTo>
                  <a:lnTo>
                    <a:pt x="934" y="799"/>
                  </a:lnTo>
                  <a:lnTo>
                    <a:pt x="934" y="799"/>
                  </a:lnTo>
                  <a:lnTo>
                    <a:pt x="934" y="799"/>
                  </a:lnTo>
                  <a:lnTo>
                    <a:pt x="934" y="799"/>
                  </a:lnTo>
                  <a:lnTo>
                    <a:pt x="934" y="799"/>
                  </a:lnTo>
                  <a:lnTo>
                    <a:pt x="934" y="799"/>
                  </a:lnTo>
                  <a:lnTo>
                    <a:pt x="934" y="799"/>
                  </a:lnTo>
                  <a:lnTo>
                    <a:pt x="934" y="799"/>
                  </a:lnTo>
                  <a:lnTo>
                    <a:pt x="934" y="799"/>
                  </a:lnTo>
                  <a:lnTo>
                    <a:pt x="934" y="797"/>
                  </a:lnTo>
                  <a:lnTo>
                    <a:pt x="934" y="797"/>
                  </a:lnTo>
                  <a:lnTo>
                    <a:pt x="934" y="797"/>
                  </a:lnTo>
                  <a:close/>
                  <a:moveTo>
                    <a:pt x="948" y="730"/>
                  </a:moveTo>
                  <a:lnTo>
                    <a:pt x="948" y="730"/>
                  </a:lnTo>
                  <a:lnTo>
                    <a:pt x="948" y="730"/>
                  </a:lnTo>
                  <a:lnTo>
                    <a:pt x="948" y="730"/>
                  </a:lnTo>
                  <a:lnTo>
                    <a:pt x="948" y="730"/>
                  </a:lnTo>
                  <a:lnTo>
                    <a:pt x="948" y="730"/>
                  </a:lnTo>
                  <a:lnTo>
                    <a:pt x="948" y="730"/>
                  </a:lnTo>
                  <a:lnTo>
                    <a:pt x="948" y="730"/>
                  </a:lnTo>
                  <a:lnTo>
                    <a:pt x="948" y="730"/>
                  </a:lnTo>
                  <a:lnTo>
                    <a:pt x="948" y="730"/>
                  </a:lnTo>
                  <a:close/>
                  <a:moveTo>
                    <a:pt x="965" y="805"/>
                  </a:moveTo>
                  <a:lnTo>
                    <a:pt x="965" y="805"/>
                  </a:lnTo>
                  <a:lnTo>
                    <a:pt x="965" y="807"/>
                  </a:lnTo>
                  <a:lnTo>
                    <a:pt x="963" y="807"/>
                  </a:lnTo>
                  <a:lnTo>
                    <a:pt x="963" y="809"/>
                  </a:lnTo>
                  <a:lnTo>
                    <a:pt x="961" y="809"/>
                  </a:lnTo>
                  <a:lnTo>
                    <a:pt x="963" y="809"/>
                  </a:lnTo>
                  <a:lnTo>
                    <a:pt x="963" y="809"/>
                  </a:lnTo>
                  <a:lnTo>
                    <a:pt x="963" y="812"/>
                  </a:lnTo>
                  <a:lnTo>
                    <a:pt x="963" y="812"/>
                  </a:lnTo>
                  <a:lnTo>
                    <a:pt x="963" y="812"/>
                  </a:lnTo>
                  <a:lnTo>
                    <a:pt x="963" y="812"/>
                  </a:lnTo>
                  <a:lnTo>
                    <a:pt x="965" y="812"/>
                  </a:lnTo>
                  <a:lnTo>
                    <a:pt x="965" y="814"/>
                  </a:lnTo>
                  <a:lnTo>
                    <a:pt x="967" y="814"/>
                  </a:lnTo>
                  <a:lnTo>
                    <a:pt x="967" y="812"/>
                  </a:lnTo>
                  <a:lnTo>
                    <a:pt x="967" y="812"/>
                  </a:lnTo>
                  <a:lnTo>
                    <a:pt x="967" y="812"/>
                  </a:lnTo>
                  <a:lnTo>
                    <a:pt x="967" y="809"/>
                  </a:lnTo>
                  <a:lnTo>
                    <a:pt x="967" y="807"/>
                  </a:lnTo>
                  <a:lnTo>
                    <a:pt x="967" y="807"/>
                  </a:lnTo>
                  <a:lnTo>
                    <a:pt x="967" y="805"/>
                  </a:lnTo>
                  <a:lnTo>
                    <a:pt x="967" y="805"/>
                  </a:lnTo>
                  <a:lnTo>
                    <a:pt x="965" y="805"/>
                  </a:lnTo>
                  <a:close/>
                  <a:moveTo>
                    <a:pt x="1030" y="695"/>
                  </a:moveTo>
                  <a:lnTo>
                    <a:pt x="1030" y="695"/>
                  </a:lnTo>
                  <a:lnTo>
                    <a:pt x="1032" y="695"/>
                  </a:lnTo>
                  <a:lnTo>
                    <a:pt x="1032" y="695"/>
                  </a:lnTo>
                  <a:lnTo>
                    <a:pt x="1032" y="693"/>
                  </a:lnTo>
                  <a:lnTo>
                    <a:pt x="1032" y="693"/>
                  </a:lnTo>
                  <a:lnTo>
                    <a:pt x="1032" y="693"/>
                  </a:lnTo>
                  <a:lnTo>
                    <a:pt x="1034" y="695"/>
                  </a:lnTo>
                  <a:lnTo>
                    <a:pt x="1034" y="697"/>
                  </a:lnTo>
                  <a:lnTo>
                    <a:pt x="1034" y="695"/>
                  </a:lnTo>
                  <a:lnTo>
                    <a:pt x="1036" y="697"/>
                  </a:lnTo>
                  <a:lnTo>
                    <a:pt x="1038" y="697"/>
                  </a:lnTo>
                  <a:lnTo>
                    <a:pt x="1038" y="699"/>
                  </a:lnTo>
                  <a:lnTo>
                    <a:pt x="1040" y="699"/>
                  </a:lnTo>
                  <a:lnTo>
                    <a:pt x="1040" y="699"/>
                  </a:lnTo>
                  <a:lnTo>
                    <a:pt x="1040" y="697"/>
                  </a:lnTo>
                  <a:lnTo>
                    <a:pt x="1043" y="697"/>
                  </a:lnTo>
                  <a:lnTo>
                    <a:pt x="1043" y="697"/>
                  </a:lnTo>
                  <a:lnTo>
                    <a:pt x="1043" y="697"/>
                  </a:lnTo>
                  <a:lnTo>
                    <a:pt x="1043" y="697"/>
                  </a:lnTo>
                  <a:lnTo>
                    <a:pt x="1040" y="695"/>
                  </a:lnTo>
                  <a:lnTo>
                    <a:pt x="1038" y="695"/>
                  </a:lnTo>
                  <a:lnTo>
                    <a:pt x="1038" y="695"/>
                  </a:lnTo>
                  <a:lnTo>
                    <a:pt x="1038" y="695"/>
                  </a:lnTo>
                  <a:lnTo>
                    <a:pt x="1038" y="693"/>
                  </a:lnTo>
                  <a:lnTo>
                    <a:pt x="1038" y="693"/>
                  </a:lnTo>
                  <a:lnTo>
                    <a:pt x="1036" y="693"/>
                  </a:lnTo>
                  <a:lnTo>
                    <a:pt x="1036" y="693"/>
                  </a:lnTo>
                  <a:lnTo>
                    <a:pt x="1036" y="693"/>
                  </a:lnTo>
                  <a:lnTo>
                    <a:pt x="1034" y="693"/>
                  </a:lnTo>
                  <a:lnTo>
                    <a:pt x="1034" y="693"/>
                  </a:lnTo>
                  <a:lnTo>
                    <a:pt x="1034" y="691"/>
                  </a:lnTo>
                  <a:lnTo>
                    <a:pt x="1032" y="691"/>
                  </a:lnTo>
                  <a:lnTo>
                    <a:pt x="1032" y="691"/>
                  </a:lnTo>
                  <a:lnTo>
                    <a:pt x="1032" y="691"/>
                  </a:lnTo>
                  <a:lnTo>
                    <a:pt x="1030" y="691"/>
                  </a:lnTo>
                  <a:lnTo>
                    <a:pt x="1030" y="691"/>
                  </a:lnTo>
                  <a:lnTo>
                    <a:pt x="1030" y="691"/>
                  </a:lnTo>
                  <a:lnTo>
                    <a:pt x="1028" y="695"/>
                  </a:lnTo>
                  <a:lnTo>
                    <a:pt x="1030" y="695"/>
                  </a:lnTo>
                  <a:close/>
                  <a:moveTo>
                    <a:pt x="1028" y="699"/>
                  </a:moveTo>
                  <a:lnTo>
                    <a:pt x="1026" y="699"/>
                  </a:lnTo>
                  <a:lnTo>
                    <a:pt x="1026" y="699"/>
                  </a:lnTo>
                  <a:lnTo>
                    <a:pt x="1026" y="699"/>
                  </a:lnTo>
                  <a:lnTo>
                    <a:pt x="1024" y="701"/>
                  </a:lnTo>
                  <a:lnTo>
                    <a:pt x="1026" y="701"/>
                  </a:lnTo>
                  <a:lnTo>
                    <a:pt x="1028" y="705"/>
                  </a:lnTo>
                  <a:lnTo>
                    <a:pt x="1030" y="705"/>
                  </a:lnTo>
                  <a:lnTo>
                    <a:pt x="1030" y="705"/>
                  </a:lnTo>
                  <a:lnTo>
                    <a:pt x="1030" y="705"/>
                  </a:lnTo>
                  <a:lnTo>
                    <a:pt x="1032" y="705"/>
                  </a:lnTo>
                  <a:lnTo>
                    <a:pt x="1030" y="705"/>
                  </a:lnTo>
                  <a:lnTo>
                    <a:pt x="1030" y="705"/>
                  </a:lnTo>
                  <a:lnTo>
                    <a:pt x="1030" y="705"/>
                  </a:lnTo>
                  <a:lnTo>
                    <a:pt x="1030" y="705"/>
                  </a:lnTo>
                  <a:lnTo>
                    <a:pt x="1030" y="705"/>
                  </a:lnTo>
                  <a:lnTo>
                    <a:pt x="1030" y="705"/>
                  </a:lnTo>
                  <a:lnTo>
                    <a:pt x="1032" y="707"/>
                  </a:lnTo>
                  <a:lnTo>
                    <a:pt x="1032" y="707"/>
                  </a:lnTo>
                  <a:lnTo>
                    <a:pt x="1032" y="707"/>
                  </a:lnTo>
                  <a:lnTo>
                    <a:pt x="1032" y="707"/>
                  </a:lnTo>
                  <a:lnTo>
                    <a:pt x="1032" y="707"/>
                  </a:lnTo>
                  <a:lnTo>
                    <a:pt x="1034" y="707"/>
                  </a:lnTo>
                  <a:lnTo>
                    <a:pt x="1034" y="707"/>
                  </a:lnTo>
                  <a:lnTo>
                    <a:pt x="1034" y="707"/>
                  </a:lnTo>
                  <a:lnTo>
                    <a:pt x="1034" y="705"/>
                  </a:lnTo>
                  <a:lnTo>
                    <a:pt x="1032" y="703"/>
                  </a:lnTo>
                  <a:lnTo>
                    <a:pt x="1032" y="703"/>
                  </a:lnTo>
                  <a:lnTo>
                    <a:pt x="1030" y="701"/>
                  </a:lnTo>
                  <a:lnTo>
                    <a:pt x="1028" y="699"/>
                  </a:lnTo>
                  <a:lnTo>
                    <a:pt x="1028" y="699"/>
                  </a:lnTo>
                  <a:close/>
                  <a:moveTo>
                    <a:pt x="1047" y="699"/>
                  </a:moveTo>
                  <a:lnTo>
                    <a:pt x="1047" y="699"/>
                  </a:lnTo>
                  <a:lnTo>
                    <a:pt x="1047" y="699"/>
                  </a:lnTo>
                  <a:lnTo>
                    <a:pt x="1047" y="699"/>
                  </a:lnTo>
                  <a:lnTo>
                    <a:pt x="1045" y="699"/>
                  </a:lnTo>
                  <a:lnTo>
                    <a:pt x="1045" y="699"/>
                  </a:lnTo>
                  <a:lnTo>
                    <a:pt x="1045" y="699"/>
                  </a:lnTo>
                  <a:lnTo>
                    <a:pt x="1045" y="701"/>
                  </a:lnTo>
                  <a:lnTo>
                    <a:pt x="1045" y="701"/>
                  </a:lnTo>
                  <a:lnTo>
                    <a:pt x="1045" y="701"/>
                  </a:lnTo>
                  <a:lnTo>
                    <a:pt x="1047" y="701"/>
                  </a:lnTo>
                  <a:lnTo>
                    <a:pt x="1047" y="701"/>
                  </a:lnTo>
                  <a:lnTo>
                    <a:pt x="1047" y="701"/>
                  </a:lnTo>
                  <a:lnTo>
                    <a:pt x="1047" y="699"/>
                  </a:lnTo>
                  <a:lnTo>
                    <a:pt x="1047" y="699"/>
                  </a:lnTo>
                  <a:lnTo>
                    <a:pt x="1047" y="699"/>
                  </a:lnTo>
                  <a:lnTo>
                    <a:pt x="1047" y="699"/>
                  </a:lnTo>
                  <a:close/>
                  <a:moveTo>
                    <a:pt x="1163" y="568"/>
                  </a:moveTo>
                  <a:lnTo>
                    <a:pt x="1163" y="570"/>
                  </a:lnTo>
                  <a:lnTo>
                    <a:pt x="1163" y="570"/>
                  </a:lnTo>
                  <a:lnTo>
                    <a:pt x="1163" y="570"/>
                  </a:lnTo>
                  <a:lnTo>
                    <a:pt x="1163" y="572"/>
                  </a:lnTo>
                  <a:lnTo>
                    <a:pt x="1165" y="572"/>
                  </a:lnTo>
                  <a:lnTo>
                    <a:pt x="1165" y="572"/>
                  </a:lnTo>
                  <a:lnTo>
                    <a:pt x="1165" y="570"/>
                  </a:lnTo>
                  <a:lnTo>
                    <a:pt x="1165" y="570"/>
                  </a:lnTo>
                  <a:lnTo>
                    <a:pt x="1165" y="568"/>
                  </a:lnTo>
                  <a:lnTo>
                    <a:pt x="1165" y="568"/>
                  </a:lnTo>
                  <a:lnTo>
                    <a:pt x="1167" y="568"/>
                  </a:lnTo>
                  <a:lnTo>
                    <a:pt x="1167" y="566"/>
                  </a:lnTo>
                  <a:lnTo>
                    <a:pt x="1165" y="566"/>
                  </a:lnTo>
                  <a:lnTo>
                    <a:pt x="1163" y="568"/>
                  </a:lnTo>
                  <a:close/>
                  <a:moveTo>
                    <a:pt x="1043" y="740"/>
                  </a:moveTo>
                  <a:lnTo>
                    <a:pt x="1043" y="740"/>
                  </a:lnTo>
                  <a:lnTo>
                    <a:pt x="1043" y="742"/>
                  </a:lnTo>
                  <a:lnTo>
                    <a:pt x="1043" y="742"/>
                  </a:lnTo>
                  <a:lnTo>
                    <a:pt x="1043" y="740"/>
                  </a:lnTo>
                  <a:lnTo>
                    <a:pt x="1040" y="740"/>
                  </a:lnTo>
                  <a:lnTo>
                    <a:pt x="1038" y="740"/>
                  </a:lnTo>
                  <a:lnTo>
                    <a:pt x="1038" y="740"/>
                  </a:lnTo>
                  <a:lnTo>
                    <a:pt x="1038" y="740"/>
                  </a:lnTo>
                  <a:lnTo>
                    <a:pt x="1038" y="740"/>
                  </a:lnTo>
                  <a:lnTo>
                    <a:pt x="1038" y="740"/>
                  </a:lnTo>
                  <a:lnTo>
                    <a:pt x="1036" y="740"/>
                  </a:lnTo>
                  <a:lnTo>
                    <a:pt x="1036" y="742"/>
                  </a:lnTo>
                  <a:lnTo>
                    <a:pt x="1034" y="742"/>
                  </a:lnTo>
                  <a:lnTo>
                    <a:pt x="1036" y="740"/>
                  </a:lnTo>
                  <a:lnTo>
                    <a:pt x="1034" y="740"/>
                  </a:lnTo>
                  <a:lnTo>
                    <a:pt x="1034" y="740"/>
                  </a:lnTo>
                  <a:lnTo>
                    <a:pt x="1034" y="740"/>
                  </a:lnTo>
                  <a:lnTo>
                    <a:pt x="1034" y="738"/>
                  </a:lnTo>
                  <a:lnTo>
                    <a:pt x="1034" y="738"/>
                  </a:lnTo>
                  <a:lnTo>
                    <a:pt x="1032" y="738"/>
                  </a:lnTo>
                  <a:lnTo>
                    <a:pt x="1032" y="740"/>
                  </a:lnTo>
                  <a:lnTo>
                    <a:pt x="1032" y="740"/>
                  </a:lnTo>
                  <a:lnTo>
                    <a:pt x="1032" y="740"/>
                  </a:lnTo>
                  <a:lnTo>
                    <a:pt x="1032" y="740"/>
                  </a:lnTo>
                  <a:lnTo>
                    <a:pt x="1030" y="742"/>
                  </a:lnTo>
                  <a:lnTo>
                    <a:pt x="1030" y="744"/>
                  </a:lnTo>
                  <a:lnTo>
                    <a:pt x="1030" y="744"/>
                  </a:lnTo>
                  <a:lnTo>
                    <a:pt x="1030" y="744"/>
                  </a:lnTo>
                  <a:lnTo>
                    <a:pt x="1030" y="744"/>
                  </a:lnTo>
                  <a:lnTo>
                    <a:pt x="1030" y="744"/>
                  </a:lnTo>
                  <a:lnTo>
                    <a:pt x="1030" y="744"/>
                  </a:lnTo>
                  <a:lnTo>
                    <a:pt x="1030" y="744"/>
                  </a:lnTo>
                  <a:lnTo>
                    <a:pt x="1030" y="744"/>
                  </a:lnTo>
                  <a:lnTo>
                    <a:pt x="1030" y="744"/>
                  </a:lnTo>
                  <a:lnTo>
                    <a:pt x="1030" y="746"/>
                  </a:lnTo>
                  <a:lnTo>
                    <a:pt x="1028" y="746"/>
                  </a:lnTo>
                  <a:lnTo>
                    <a:pt x="1030" y="746"/>
                  </a:lnTo>
                  <a:lnTo>
                    <a:pt x="1030" y="746"/>
                  </a:lnTo>
                  <a:lnTo>
                    <a:pt x="1032" y="746"/>
                  </a:lnTo>
                  <a:lnTo>
                    <a:pt x="1032" y="746"/>
                  </a:lnTo>
                  <a:lnTo>
                    <a:pt x="1032" y="746"/>
                  </a:lnTo>
                  <a:lnTo>
                    <a:pt x="1032" y="746"/>
                  </a:lnTo>
                  <a:lnTo>
                    <a:pt x="1030" y="746"/>
                  </a:lnTo>
                  <a:lnTo>
                    <a:pt x="1030" y="748"/>
                  </a:lnTo>
                  <a:lnTo>
                    <a:pt x="1032" y="748"/>
                  </a:lnTo>
                  <a:lnTo>
                    <a:pt x="1032" y="748"/>
                  </a:lnTo>
                  <a:lnTo>
                    <a:pt x="1032" y="748"/>
                  </a:lnTo>
                  <a:lnTo>
                    <a:pt x="1032" y="748"/>
                  </a:lnTo>
                  <a:lnTo>
                    <a:pt x="1030" y="750"/>
                  </a:lnTo>
                  <a:lnTo>
                    <a:pt x="1032" y="750"/>
                  </a:lnTo>
                  <a:lnTo>
                    <a:pt x="1032" y="750"/>
                  </a:lnTo>
                  <a:lnTo>
                    <a:pt x="1034" y="748"/>
                  </a:lnTo>
                  <a:lnTo>
                    <a:pt x="1034" y="748"/>
                  </a:lnTo>
                  <a:lnTo>
                    <a:pt x="1034" y="746"/>
                  </a:lnTo>
                  <a:lnTo>
                    <a:pt x="1034" y="746"/>
                  </a:lnTo>
                  <a:lnTo>
                    <a:pt x="1034" y="746"/>
                  </a:lnTo>
                  <a:lnTo>
                    <a:pt x="1034" y="746"/>
                  </a:lnTo>
                  <a:lnTo>
                    <a:pt x="1036" y="744"/>
                  </a:lnTo>
                  <a:lnTo>
                    <a:pt x="1036" y="744"/>
                  </a:lnTo>
                  <a:lnTo>
                    <a:pt x="1038" y="744"/>
                  </a:lnTo>
                  <a:lnTo>
                    <a:pt x="1038" y="744"/>
                  </a:lnTo>
                  <a:lnTo>
                    <a:pt x="1038" y="744"/>
                  </a:lnTo>
                  <a:lnTo>
                    <a:pt x="1040" y="742"/>
                  </a:lnTo>
                  <a:lnTo>
                    <a:pt x="1040" y="742"/>
                  </a:lnTo>
                  <a:lnTo>
                    <a:pt x="1040" y="744"/>
                  </a:lnTo>
                  <a:lnTo>
                    <a:pt x="1040" y="744"/>
                  </a:lnTo>
                  <a:lnTo>
                    <a:pt x="1040" y="744"/>
                  </a:lnTo>
                  <a:lnTo>
                    <a:pt x="1043" y="742"/>
                  </a:lnTo>
                  <a:lnTo>
                    <a:pt x="1043" y="742"/>
                  </a:lnTo>
                  <a:lnTo>
                    <a:pt x="1045" y="742"/>
                  </a:lnTo>
                  <a:lnTo>
                    <a:pt x="1045" y="742"/>
                  </a:lnTo>
                  <a:lnTo>
                    <a:pt x="1043" y="740"/>
                  </a:lnTo>
                  <a:close/>
                  <a:moveTo>
                    <a:pt x="1018" y="721"/>
                  </a:moveTo>
                  <a:lnTo>
                    <a:pt x="1016" y="721"/>
                  </a:lnTo>
                  <a:lnTo>
                    <a:pt x="1016" y="721"/>
                  </a:lnTo>
                  <a:lnTo>
                    <a:pt x="1016" y="721"/>
                  </a:lnTo>
                  <a:lnTo>
                    <a:pt x="1016" y="723"/>
                  </a:lnTo>
                  <a:lnTo>
                    <a:pt x="1016" y="723"/>
                  </a:lnTo>
                  <a:lnTo>
                    <a:pt x="1016" y="723"/>
                  </a:lnTo>
                  <a:lnTo>
                    <a:pt x="1016" y="723"/>
                  </a:lnTo>
                  <a:lnTo>
                    <a:pt x="1016" y="725"/>
                  </a:lnTo>
                  <a:lnTo>
                    <a:pt x="1016" y="725"/>
                  </a:lnTo>
                  <a:lnTo>
                    <a:pt x="1016" y="728"/>
                  </a:lnTo>
                  <a:lnTo>
                    <a:pt x="1018" y="725"/>
                  </a:lnTo>
                  <a:lnTo>
                    <a:pt x="1018" y="723"/>
                  </a:lnTo>
                  <a:lnTo>
                    <a:pt x="1018" y="723"/>
                  </a:lnTo>
                  <a:lnTo>
                    <a:pt x="1018" y="723"/>
                  </a:lnTo>
                  <a:lnTo>
                    <a:pt x="1018" y="721"/>
                  </a:lnTo>
                  <a:close/>
                  <a:moveTo>
                    <a:pt x="1059" y="715"/>
                  </a:moveTo>
                  <a:lnTo>
                    <a:pt x="1057" y="717"/>
                  </a:lnTo>
                  <a:lnTo>
                    <a:pt x="1057" y="717"/>
                  </a:lnTo>
                  <a:lnTo>
                    <a:pt x="1057" y="715"/>
                  </a:lnTo>
                  <a:lnTo>
                    <a:pt x="1057" y="715"/>
                  </a:lnTo>
                  <a:lnTo>
                    <a:pt x="1057" y="713"/>
                  </a:lnTo>
                  <a:lnTo>
                    <a:pt x="1057" y="713"/>
                  </a:lnTo>
                  <a:lnTo>
                    <a:pt x="1057" y="713"/>
                  </a:lnTo>
                  <a:lnTo>
                    <a:pt x="1055" y="715"/>
                  </a:lnTo>
                  <a:lnTo>
                    <a:pt x="1055" y="715"/>
                  </a:lnTo>
                  <a:lnTo>
                    <a:pt x="1055" y="715"/>
                  </a:lnTo>
                  <a:lnTo>
                    <a:pt x="1055" y="713"/>
                  </a:lnTo>
                  <a:lnTo>
                    <a:pt x="1055" y="713"/>
                  </a:lnTo>
                  <a:lnTo>
                    <a:pt x="1055" y="713"/>
                  </a:lnTo>
                  <a:lnTo>
                    <a:pt x="1055" y="711"/>
                  </a:lnTo>
                  <a:lnTo>
                    <a:pt x="1055" y="711"/>
                  </a:lnTo>
                  <a:lnTo>
                    <a:pt x="1055" y="711"/>
                  </a:lnTo>
                  <a:lnTo>
                    <a:pt x="1055" y="711"/>
                  </a:lnTo>
                  <a:lnTo>
                    <a:pt x="1053" y="713"/>
                  </a:lnTo>
                  <a:lnTo>
                    <a:pt x="1053" y="713"/>
                  </a:lnTo>
                  <a:lnTo>
                    <a:pt x="1053" y="713"/>
                  </a:lnTo>
                  <a:lnTo>
                    <a:pt x="1053" y="711"/>
                  </a:lnTo>
                  <a:lnTo>
                    <a:pt x="1055" y="711"/>
                  </a:lnTo>
                  <a:lnTo>
                    <a:pt x="1055" y="709"/>
                  </a:lnTo>
                  <a:lnTo>
                    <a:pt x="1057" y="707"/>
                  </a:lnTo>
                  <a:lnTo>
                    <a:pt x="1059" y="705"/>
                  </a:lnTo>
                  <a:lnTo>
                    <a:pt x="1059" y="705"/>
                  </a:lnTo>
                  <a:lnTo>
                    <a:pt x="1059" y="705"/>
                  </a:lnTo>
                  <a:lnTo>
                    <a:pt x="1057" y="705"/>
                  </a:lnTo>
                  <a:lnTo>
                    <a:pt x="1057" y="705"/>
                  </a:lnTo>
                  <a:lnTo>
                    <a:pt x="1057" y="705"/>
                  </a:lnTo>
                  <a:lnTo>
                    <a:pt x="1057" y="707"/>
                  </a:lnTo>
                  <a:lnTo>
                    <a:pt x="1057" y="707"/>
                  </a:lnTo>
                  <a:lnTo>
                    <a:pt x="1055" y="705"/>
                  </a:lnTo>
                  <a:lnTo>
                    <a:pt x="1057" y="705"/>
                  </a:lnTo>
                  <a:lnTo>
                    <a:pt x="1057" y="705"/>
                  </a:lnTo>
                  <a:lnTo>
                    <a:pt x="1055" y="703"/>
                  </a:lnTo>
                  <a:lnTo>
                    <a:pt x="1055" y="703"/>
                  </a:lnTo>
                  <a:lnTo>
                    <a:pt x="1055" y="703"/>
                  </a:lnTo>
                  <a:lnTo>
                    <a:pt x="1055" y="703"/>
                  </a:lnTo>
                  <a:lnTo>
                    <a:pt x="1055" y="701"/>
                  </a:lnTo>
                  <a:lnTo>
                    <a:pt x="1053" y="701"/>
                  </a:lnTo>
                  <a:lnTo>
                    <a:pt x="1053" y="701"/>
                  </a:lnTo>
                  <a:lnTo>
                    <a:pt x="1053" y="701"/>
                  </a:lnTo>
                  <a:lnTo>
                    <a:pt x="1053" y="703"/>
                  </a:lnTo>
                  <a:lnTo>
                    <a:pt x="1053" y="703"/>
                  </a:lnTo>
                  <a:lnTo>
                    <a:pt x="1053" y="701"/>
                  </a:lnTo>
                  <a:lnTo>
                    <a:pt x="1053" y="701"/>
                  </a:lnTo>
                  <a:lnTo>
                    <a:pt x="1051" y="701"/>
                  </a:lnTo>
                  <a:lnTo>
                    <a:pt x="1051" y="701"/>
                  </a:lnTo>
                  <a:lnTo>
                    <a:pt x="1051" y="701"/>
                  </a:lnTo>
                  <a:lnTo>
                    <a:pt x="1051" y="701"/>
                  </a:lnTo>
                  <a:lnTo>
                    <a:pt x="1051" y="701"/>
                  </a:lnTo>
                  <a:lnTo>
                    <a:pt x="1051" y="703"/>
                  </a:lnTo>
                  <a:lnTo>
                    <a:pt x="1051" y="703"/>
                  </a:lnTo>
                  <a:lnTo>
                    <a:pt x="1051" y="703"/>
                  </a:lnTo>
                  <a:lnTo>
                    <a:pt x="1051" y="705"/>
                  </a:lnTo>
                  <a:lnTo>
                    <a:pt x="1051" y="703"/>
                  </a:lnTo>
                  <a:lnTo>
                    <a:pt x="1049" y="703"/>
                  </a:lnTo>
                  <a:lnTo>
                    <a:pt x="1049" y="703"/>
                  </a:lnTo>
                  <a:lnTo>
                    <a:pt x="1049" y="703"/>
                  </a:lnTo>
                  <a:lnTo>
                    <a:pt x="1049" y="705"/>
                  </a:lnTo>
                  <a:lnTo>
                    <a:pt x="1047" y="705"/>
                  </a:lnTo>
                  <a:lnTo>
                    <a:pt x="1047" y="707"/>
                  </a:lnTo>
                  <a:lnTo>
                    <a:pt x="1047" y="705"/>
                  </a:lnTo>
                  <a:lnTo>
                    <a:pt x="1047" y="705"/>
                  </a:lnTo>
                  <a:lnTo>
                    <a:pt x="1047" y="705"/>
                  </a:lnTo>
                  <a:lnTo>
                    <a:pt x="1045" y="705"/>
                  </a:lnTo>
                  <a:lnTo>
                    <a:pt x="1045" y="705"/>
                  </a:lnTo>
                  <a:lnTo>
                    <a:pt x="1045" y="707"/>
                  </a:lnTo>
                  <a:lnTo>
                    <a:pt x="1045" y="709"/>
                  </a:lnTo>
                  <a:lnTo>
                    <a:pt x="1045" y="709"/>
                  </a:lnTo>
                  <a:lnTo>
                    <a:pt x="1045" y="711"/>
                  </a:lnTo>
                  <a:lnTo>
                    <a:pt x="1045" y="711"/>
                  </a:lnTo>
                  <a:lnTo>
                    <a:pt x="1045" y="711"/>
                  </a:lnTo>
                  <a:lnTo>
                    <a:pt x="1045" y="711"/>
                  </a:lnTo>
                  <a:lnTo>
                    <a:pt x="1043" y="711"/>
                  </a:lnTo>
                  <a:lnTo>
                    <a:pt x="1043" y="711"/>
                  </a:lnTo>
                  <a:lnTo>
                    <a:pt x="1043" y="711"/>
                  </a:lnTo>
                  <a:lnTo>
                    <a:pt x="1043" y="709"/>
                  </a:lnTo>
                  <a:lnTo>
                    <a:pt x="1043" y="709"/>
                  </a:lnTo>
                  <a:lnTo>
                    <a:pt x="1043" y="707"/>
                  </a:lnTo>
                  <a:lnTo>
                    <a:pt x="1043" y="705"/>
                  </a:lnTo>
                  <a:lnTo>
                    <a:pt x="1043" y="705"/>
                  </a:lnTo>
                  <a:lnTo>
                    <a:pt x="1045" y="703"/>
                  </a:lnTo>
                  <a:lnTo>
                    <a:pt x="1045" y="703"/>
                  </a:lnTo>
                  <a:lnTo>
                    <a:pt x="1045" y="703"/>
                  </a:lnTo>
                  <a:lnTo>
                    <a:pt x="1043" y="703"/>
                  </a:lnTo>
                  <a:lnTo>
                    <a:pt x="1043" y="703"/>
                  </a:lnTo>
                  <a:lnTo>
                    <a:pt x="1045" y="703"/>
                  </a:lnTo>
                  <a:lnTo>
                    <a:pt x="1045" y="703"/>
                  </a:lnTo>
                  <a:lnTo>
                    <a:pt x="1045" y="701"/>
                  </a:lnTo>
                  <a:lnTo>
                    <a:pt x="1045" y="701"/>
                  </a:lnTo>
                  <a:lnTo>
                    <a:pt x="1040" y="699"/>
                  </a:lnTo>
                  <a:lnTo>
                    <a:pt x="1040" y="701"/>
                  </a:lnTo>
                  <a:lnTo>
                    <a:pt x="1040" y="701"/>
                  </a:lnTo>
                  <a:lnTo>
                    <a:pt x="1040" y="701"/>
                  </a:lnTo>
                  <a:lnTo>
                    <a:pt x="1038" y="701"/>
                  </a:lnTo>
                  <a:lnTo>
                    <a:pt x="1038" y="701"/>
                  </a:lnTo>
                  <a:lnTo>
                    <a:pt x="1036" y="699"/>
                  </a:lnTo>
                  <a:lnTo>
                    <a:pt x="1036" y="699"/>
                  </a:lnTo>
                  <a:lnTo>
                    <a:pt x="1034" y="697"/>
                  </a:lnTo>
                  <a:lnTo>
                    <a:pt x="1032" y="697"/>
                  </a:lnTo>
                  <a:lnTo>
                    <a:pt x="1032" y="697"/>
                  </a:lnTo>
                  <a:lnTo>
                    <a:pt x="1032" y="697"/>
                  </a:lnTo>
                  <a:lnTo>
                    <a:pt x="1032" y="697"/>
                  </a:lnTo>
                  <a:lnTo>
                    <a:pt x="1032" y="697"/>
                  </a:lnTo>
                  <a:lnTo>
                    <a:pt x="1032" y="697"/>
                  </a:lnTo>
                  <a:lnTo>
                    <a:pt x="1032" y="699"/>
                  </a:lnTo>
                  <a:lnTo>
                    <a:pt x="1032" y="699"/>
                  </a:lnTo>
                  <a:lnTo>
                    <a:pt x="1034" y="699"/>
                  </a:lnTo>
                  <a:lnTo>
                    <a:pt x="1034" y="701"/>
                  </a:lnTo>
                  <a:lnTo>
                    <a:pt x="1036" y="703"/>
                  </a:lnTo>
                  <a:lnTo>
                    <a:pt x="1036" y="703"/>
                  </a:lnTo>
                  <a:lnTo>
                    <a:pt x="1036" y="703"/>
                  </a:lnTo>
                  <a:lnTo>
                    <a:pt x="1036" y="705"/>
                  </a:lnTo>
                  <a:lnTo>
                    <a:pt x="1036" y="705"/>
                  </a:lnTo>
                  <a:lnTo>
                    <a:pt x="1038" y="705"/>
                  </a:lnTo>
                  <a:lnTo>
                    <a:pt x="1038" y="705"/>
                  </a:lnTo>
                  <a:lnTo>
                    <a:pt x="1038" y="705"/>
                  </a:lnTo>
                  <a:lnTo>
                    <a:pt x="1038" y="707"/>
                  </a:lnTo>
                  <a:lnTo>
                    <a:pt x="1038" y="705"/>
                  </a:lnTo>
                  <a:lnTo>
                    <a:pt x="1036" y="705"/>
                  </a:lnTo>
                  <a:lnTo>
                    <a:pt x="1034" y="703"/>
                  </a:lnTo>
                  <a:lnTo>
                    <a:pt x="1034" y="703"/>
                  </a:lnTo>
                  <a:lnTo>
                    <a:pt x="1034" y="703"/>
                  </a:lnTo>
                  <a:lnTo>
                    <a:pt x="1034" y="703"/>
                  </a:lnTo>
                  <a:lnTo>
                    <a:pt x="1034" y="705"/>
                  </a:lnTo>
                  <a:lnTo>
                    <a:pt x="1034" y="705"/>
                  </a:lnTo>
                  <a:lnTo>
                    <a:pt x="1034" y="707"/>
                  </a:lnTo>
                  <a:lnTo>
                    <a:pt x="1034" y="711"/>
                  </a:lnTo>
                  <a:lnTo>
                    <a:pt x="1034" y="711"/>
                  </a:lnTo>
                  <a:lnTo>
                    <a:pt x="1034" y="713"/>
                  </a:lnTo>
                  <a:lnTo>
                    <a:pt x="1034" y="713"/>
                  </a:lnTo>
                  <a:lnTo>
                    <a:pt x="1034" y="713"/>
                  </a:lnTo>
                  <a:lnTo>
                    <a:pt x="1034" y="711"/>
                  </a:lnTo>
                  <a:lnTo>
                    <a:pt x="1034" y="711"/>
                  </a:lnTo>
                  <a:lnTo>
                    <a:pt x="1034" y="711"/>
                  </a:lnTo>
                  <a:lnTo>
                    <a:pt x="1034" y="709"/>
                  </a:lnTo>
                  <a:lnTo>
                    <a:pt x="1034" y="709"/>
                  </a:lnTo>
                  <a:lnTo>
                    <a:pt x="1034" y="709"/>
                  </a:lnTo>
                  <a:lnTo>
                    <a:pt x="1032" y="707"/>
                  </a:lnTo>
                  <a:lnTo>
                    <a:pt x="1030" y="707"/>
                  </a:lnTo>
                  <a:lnTo>
                    <a:pt x="1028" y="705"/>
                  </a:lnTo>
                  <a:lnTo>
                    <a:pt x="1028" y="705"/>
                  </a:lnTo>
                  <a:lnTo>
                    <a:pt x="1026" y="705"/>
                  </a:lnTo>
                  <a:lnTo>
                    <a:pt x="1026" y="707"/>
                  </a:lnTo>
                  <a:lnTo>
                    <a:pt x="1028" y="707"/>
                  </a:lnTo>
                  <a:lnTo>
                    <a:pt x="1028" y="709"/>
                  </a:lnTo>
                  <a:lnTo>
                    <a:pt x="1028" y="709"/>
                  </a:lnTo>
                  <a:lnTo>
                    <a:pt x="1028" y="709"/>
                  </a:lnTo>
                  <a:lnTo>
                    <a:pt x="1028" y="709"/>
                  </a:lnTo>
                  <a:lnTo>
                    <a:pt x="1030" y="709"/>
                  </a:lnTo>
                  <a:lnTo>
                    <a:pt x="1030" y="709"/>
                  </a:lnTo>
                  <a:lnTo>
                    <a:pt x="1030" y="709"/>
                  </a:lnTo>
                  <a:lnTo>
                    <a:pt x="1030" y="709"/>
                  </a:lnTo>
                  <a:lnTo>
                    <a:pt x="1030" y="711"/>
                  </a:lnTo>
                  <a:lnTo>
                    <a:pt x="1030" y="711"/>
                  </a:lnTo>
                  <a:lnTo>
                    <a:pt x="1030" y="713"/>
                  </a:lnTo>
                  <a:lnTo>
                    <a:pt x="1030" y="713"/>
                  </a:lnTo>
                  <a:lnTo>
                    <a:pt x="1030" y="711"/>
                  </a:lnTo>
                  <a:lnTo>
                    <a:pt x="1028" y="711"/>
                  </a:lnTo>
                  <a:lnTo>
                    <a:pt x="1028" y="711"/>
                  </a:lnTo>
                  <a:lnTo>
                    <a:pt x="1028" y="709"/>
                  </a:lnTo>
                  <a:lnTo>
                    <a:pt x="1028" y="709"/>
                  </a:lnTo>
                  <a:lnTo>
                    <a:pt x="1026" y="709"/>
                  </a:lnTo>
                  <a:lnTo>
                    <a:pt x="1026" y="709"/>
                  </a:lnTo>
                  <a:lnTo>
                    <a:pt x="1026" y="711"/>
                  </a:lnTo>
                  <a:lnTo>
                    <a:pt x="1026" y="711"/>
                  </a:lnTo>
                  <a:lnTo>
                    <a:pt x="1028" y="713"/>
                  </a:lnTo>
                  <a:lnTo>
                    <a:pt x="1028" y="713"/>
                  </a:lnTo>
                  <a:lnTo>
                    <a:pt x="1028" y="713"/>
                  </a:lnTo>
                  <a:lnTo>
                    <a:pt x="1026" y="713"/>
                  </a:lnTo>
                  <a:lnTo>
                    <a:pt x="1026" y="711"/>
                  </a:lnTo>
                  <a:lnTo>
                    <a:pt x="1026" y="713"/>
                  </a:lnTo>
                  <a:lnTo>
                    <a:pt x="1026" y="715"/>
                  </a:lnTo>
                  <a:lnTo>
                    <a:pt x="1026" y="717"/>
                  </a:lnTo>
                  <a:lnTo>
                    <a:pt x="1026" y="715"/>
                  </a:lnTo>
                  <a:lnTo>
                    <a:pt x="1024" y="713"/>
                  </a:lnTo>
                  <a:lnTo>
                    <a:pt x="1024" y="711"/>
                  </a:lnTo>
                  <a:lnTo>
                    <a:pt x="1024" y="709"/>
                  </a:lnTo>
                  <a:lnTo>
                    <a:pt x="1024" y="707"/>
                  </a:lnTo>
                  <a:lnTo>
                    <a:pt x="1024" y="707"/>
                  </a:lnTo>
                  <a:lnTo>
                    <a:pt x="1024" y="705"/>
                  </a:lnTo>
                  <a:lnTo>
                    <a:pt x="1024" y="705"/>
                  </a:lnTo>
                  <a:lnTo>
                    <a:pt x="1022" y="705"/>
                  </a:lnTo>
                  <a:lnTo>
                    <a:pt x="1022" y="705"/>
                  </a:lnTo>
                  <a:lnTo>
                    <a:pt x="1022" y="703"/>
                  </a:lnTo>
                  <a:lnTo>
                    <a:pt x="1022" y="703"/>
                  </a:lnTo>
                  <a:lnTo>
                    <a:pt x="1022" y="703"/>
                  </a:lnTo>
                  <a:lnTo>
                    <a:pt x="1022" y="703"/>
                  </a:lnTo>
                  <a:lnTo>
                    <a:pt x="1020" y="703"/>
                  </a:lnTo>
                  <a:lnTo>
                    <a:pt x="1020" y="703"/>
                  </a:lnTo>
                  <a:lnTo>
                    <a:pt x="1020" y="703"/>
                  </a:lnTo>
                  <a:lnTo>
                    <a:pt x="1020" y="703"/>
                  </a:lnTo>
                  <a:lnTo>
                    <a:pt x="1018" y="703"/>
                  </a:lnTo>
                  <a:lnTo>
                    <a:pt x="1018" y="703"/>
                  </a:lnTo>
                  <a:lnTo>
                    <a:pt x="1018" y="705"/>
                  </a:lnTo>
                  <a:lnTo>
                    <a:pt x="1018" y="705"/>
                  </a:lnTo>
                  <a:lnTo>
                    <a:pt x="1018" y="703"/>
                  </a:lnTo>
                  <a:lnTo>
                    <a:pt x="1018" y="705"/>
                  </a:lnTo>
                  <a:lnTo>
                    <a:pt x="1016" y="705"/>
                  </a:lnTo>
                  <a:lnTo>
                    <a:pt x="1016" y="705"/>
                  </a:lnTo>
                  <a:lnTo>
                    <a:pt x="1014" y="707"/>
                  </a:lnTo>
                  <a:lnTo>
                    <a:pt x="1014" y="709"/>
                  </a:lnTo>
                  <a:lnTo>
                    <a:pt x="1014" y="711"/>
                  </a:lnTo>
                  <a:lnTo>
                    <a:pt x="1016" y="713"/>
                  </a:lnTo>
                  <a:lnTo>
                    <a:pt x="1016" y="713"/>
                  </a:lnTo>
                  <a:lnTo>
                    <a:pt x="1020" y="713"/>
                  </a:lnTo>
                  <a:lnTo>
                    <a:pt x="1020" y="713"/>
                  </a:lnTo>
                  <a:lnTo>
                    <a:pt x="1022" y="715"/>
                  </a:lnTo>
                  <a:lnTo>
                    <a:pt x="1024" y="717"/>
                  </a:lnTo>
                  <a:lnTo>
                    <a:pt x="1024" y="717"/>
                  </a:lnTo>
                  <a:lnTo>
                    <a:pt x="1024" y="717"/>
                  </a:lnTo>
                  <a:lnTo>
                    <a:pt x="1024" y="717"/>
                  </a:lnTo>
                  <a:lnTo>
                    <a:pt x="1024" y="717"/>
                  </a:lnTo>
                  <a:lnTo>
                    <a:pt x="1024" y="717"/>
                  </a:lnTo>
                  <a:lnTo>
                    <a:pt x="1022" y="719"/>
                  </a:lnTo>
                  <a:lnTo>
                    <a:pt x="1022" y="717"/>
                  </a:lnTo>
                  <a:lnTo>
                    <a:pt x="1022" y="715"/>
                  </a:lnTo>
                  <a:lnTo>
                    <a:pt x="1018" y="715"/>
                  </a:lnTo>
                  <a:lnTo>
                    <a:pt x="1016" y="715"/>
                  </a:lnTo>
                  <a:lnTo>
                    <a:pt x="1016" y="715"/>
                  </a:lnTo>
                  <a:lnTo>
                    <a:pt x="1016" y="717"/>
                  </a:lnTo>
                  <a:lnTo>
                    <a:pt x="1020" y="719"/>
                  </a:lnTo>
                  <a:lnTo>
                    <a:pt x="1020" y="721"/>
                  </a:lnTo>
                  <a:lnTo>
                    <a:pt x="1020" y="721"/>
                  </a:lnTo>
                  <a:lnTo>
                    <a:pt x="1022" y="721"/>
                  </a:lnTo>
                  <a:lnTo>
                    <a:pt x="1022" y="721"/>
                  </a:lnTo>
                  <a:lnTo>
                    <a:pt x="1020" y="721"/>
                  </a:lnTo>
                  <a:lnTo>
                    <a:pt x="1020" y="721"/>
                  </a:lnTo>
                  <a:lnTo>
                    <a:pt x="1018" y="721"/>
                  </a:lnTo>
                  <a:lnTo>
                    <a:pt x="1018" y="719"/>
                  </a:lnTo>
                  <a:lnTo>
                    <a:pt x="1018" y="719"/>
                  </a:lnTo>
                  <a:lnTo>
                    <a:pt x="1016" y="719"/>
                  </a:lnTo>
                  <a:lnTo>
                    <a:pt x="1016" y="719"/>
                  </a:lnTo>
                  <a:lnTo>
                    <a:pt x="1016" y="721"/>
                  </a:lnTo>
                  <a:lnTo>
                    <a:pt x="1016" y="721"/>
                  </a:lnTo>
                  <a:lnTo>
                    <a:pt x="1018" y="723"/>
                  </a:lnTo>
                  <a:lnTo>
                    <a:pt x="1018" y="723"/>
                  </a:lnTo>
                  <a:lnTo>
                    <a:pt x="1018" y="723"/>
                  </a:lnTo>
                  <a:lnTo>
                    <a:pt x="1018" y="728"/>
                  </a:lnTo>
                  <a:lnTo>
                    <a:pt x="1018" y="730"/>
                  </a:lnTo>
                  <a:lnTo>
                    <a:pt x="1018" y="730"/>
                  </a:lnTo>
                  <a:lnTo>
                    <a:pt x="1018" y="730"/>
                  </a:lnTo>
                  <a:lnTo>
                    <a:pt x="1020" y="732"/>
                  </a:lnTo>
                  <a:lnTo>
                    <a:pt x="1020" y="732"/>
                  </a:lnTo>
                  <a:lnTo>
                    <a:pt x="1020" y="734"/>
                  </a:lnTo>
                  <a:lnTo>
                    <a:pt x="1020" y="734"/>
                  </a:lnTo>
                  <a:lnTo>
                    <a:pt x="1022" y="734"/>
                  </a:lnTo>
                  <a:lnTo>
                    <a:pt x="1022" y="736"/>
                  </a:lnTo>
                  <a:lnTo>
                    <a:pt x="1022" y="736"/>
                  </a:lnTo>
                  <a:lnTo>
                    <a:pt x="1020" y="734"/>
                  </a:lnTo>
                  <a:lnTo>
                    <a:pt x="1018" y="734"/>
                  </a:lnTo>
                  <a:lnTo>
                    <a:pt x="1018" y="730"/>
                  </a:lnTo>
                  <a:lnTo>
                    <a:pt x="1016" y="730"/>
                  </a:lnTo>
                  <a:lnTo>
                    <a:pt x="1016" y="730"/>
                  </a:lnTo>
                  <a:lnTo>
                    <a:pt x="1016" y="728"/>
                  </a:lnTo>
                  <a:lnTo>
                    <a:pt x="1016" y="728"/>
                  </a:lnTo>
                  <a:lnTo>
                    <a:pt x="1014" y="723"/>
                  </a:lnTo>
                  <a:lnTo>
                    <a:pt x="1014" y="721"/>
                  </a:lnTo>
                  <a:lnTo>
                    <a:pt x="1014" y="721"/>
                  </a:lnTo>
                  <a:lnTo>
                    <a:pt x="1010" y="721"/>
                  </a:lnTo>
                  <a:lnTo>
                    <a:pt x="1010" y="721"/>
                  </a:lnTo>
                  <a:lnTo>
                    <a:pt x="1012" y="721"/>
                  </a:lnTo>
                  <a:lnTo>
                    <a:pt x="1014" y="719"/>
                  </a:lnTo>
                  <a:lnTo>
                    <a:pt x="1012" y="717"/>
                  </a:lnTo>
                  <a:lnTo>
                    <a:pt x="1012" y="715"/>
                  </a:lnTo>
                  <a:lnTo>
                    <a:pt x="1012" y="715"/>
                  </a:lnTo>
                  <a:lnTo>
                    <a:pt x="1008" y="715"/>
                  </a:lnTo>
                  <a:lnTo>
                    <a:pt x="1008" y="715"/>
                  </a:lnTo>
                  <a:lnTo>
                    <a:pt x="1008" y="715"/>
                  </a:lnTo>
                  <a:lnTo>
                    <a:pt x="1006" y="715"/>
                  </a:lnTo>
                  <a:lnTo>
                    <a:pt x="1006" y="715"/>
                  </a:lnTo>
                  <a:lnTo>
                    <a:pt x="1006" y="715"/>
                  </a:lnTo>
                  <a:lnTo>
                    <a:pt x="1006" y="715"/>
                  </a:lnTo>
                  <a:lnTo>
                    <a:pt x="1004" y="715"/>
                  </a:lnTo>
                  <a:lnTo>
                    <a:pt x="1004" y="715"/>
                  </a:lnTo>
                  <a:lnTo>
                    <a:pt x="1004" y="715"/>
                  </a:lnTo>
                  <a:lnTo>
                    <a:pt x="1002" y="715"/>
                  </a:lnTo>
                  <a:lnTo>
                    <a:pt x="1002" y="715"/>
                  </a:lnTo>
                  <a:lnTo>
                    <a:pt x="1002" y="717"/>
                  </a:lnTo>
                  <a:lnTo>
                    <a:pt x="1002" y="717"/>
                  </a:lnTo>
                  <a:lnTo>
                    <a:pt x="1002" y="717"/>
                  </a:lnTo>
                  <a:lnTo>
                    <a:pt x="999" y="719"/>
                  </a:lnTo>
                  <a:lnTo>
                    <a:pt x="1002" y="719"/>
                  </a:lnTo>
                  <a:lnTo>
                    <a:pt x="1002" y="719"/>
                  </a:lnTo>
                  <a:lnTo>
                    <a:pt x="999" y="719"/>
                  </a:lnTo>
                  <a:lnTo>
                    <a:pt x="997" y="719"/>
                  </a:lnTo>
                  <a:lnTo>
                    <a:pt x="997" y="719"/>
                  </a:lnTo>
                  <a:lnTo>
                    <a:pt x="997" y="721"/>
                  </a:lnTo>
                  <a:lnTo>
                    <a:pt x="997" y="723"/>
                  </a:lnTo>
                  <a:lnTo>
                    <a:pt x="997" y="721"/>
                  </a:lnTo>
                  <a:lnTo>
                    <a:pt x="997" y="721"/>
                  </a:lnTo>
                  <a:lnTo>
                    <a:pt x="997" y="721"/>
                  </a:lnTo>
                  <a:lnTo>
                    <a:pt x="995" y="721"/>
                  </a:lnTo>
                  <a:lnTo>
                    <a:pt x="995" y="721"/>
                  </a:lnTo>
                  <a:lnTo>
                    <a:pt x="995" y="723"/>
                  </a:lnTo>
                  <a:lnTo>
                    <a:pt x="993" y="723"/>
                  </a:lnTo>
                  <a:lnTo>
                    <a:pt x="993" y="725"/>
                  </a:lnTo>
                  <a:lnTo>
                    <a:pt x="995" y="725"/>
                  </a:lnTo>
                  <a:lnTo>
                    <a:pt x="993" y="725"/>
                  </a:lnTo>
                  <a:lnTo>
                    <a:pt x="993" y="725"/>
                  </a:lnTo>
                  <a:lnTo>
                    <a:pt x="991" y="728"/>
                  </a:lnTo>
                  <a:lnTo>
                    <a:pt x="993" y="728"/>
                  </a:lnTo>
                  <a:lnTo>
                    <a:pt x="993" y="730"/>
                  </a:lnTo>
                  <a:lnTo>
                    <a:pt x="993" y="730"/>
                  </a:lnTo>
                  <a:lnTo>
                    <a:pt x="991" y="730"/>
                  </a:lnTo>
                  <a:lnTo>
                    <a:pt x="991" y="732"/>
                  </a:lnTo>
                  <a:lnTo>
                    <a:pt x="991" y="732"/>
                  </a:lnTo>
                  <a:lnTo>
                    <a:pt x="991" y="732"/>
                  </a:lnTo>
                  <a:lnTo>
                    <a:pt x="993" y="732"/>
                  </a:lnTo>
                  <a:lnTo>
                    <a:pt x="993" y="732"/>
                  </a:lnTo>
                  <a:lnTo>
                    <a:pt x="991" y="732"/>
                  </a:lnTo>
                  <a:lnTo>
                    <a:pt x="991" y="732"/>
                  </a:lnTo>
                  <a:lnTo>
                    <a:pt x="991" y="732"/>
                  </a:lnTo>
                  <a:lnTo>
                    <a:pt x="989" y="732"/>
                  </a:lnTo>
                  <a:lnTo>
                    <a:pt x="989" y="732"/>
                  </a:lnTo>
                  <a:lnTo>
                    <a:pt x="991" y="732"/>
                  </a:lnTo>
                  <a:lnTo>
                    <a:pt x="991" y="734"/>
                  </a:lnTo>
                  <a:lnTo>
                    <a:pt x="991" y="734"/>
                  </a:lnTo>
                  <a:lnTo>
                    <a:pt x="991" y="734"/>
                  </a:lnTo>
                  <a:lnTo>
                    <a:pt x="991" y="734"/>
                  </a:lnTo>
                  <a:lnTo>
                    <a:pt x="989" y="734"/>
                  </a:lnTo>
                  <a:lnTo>
                    <a:pt x="991" y="736"/>
                  </a:lnTo>
                  <a:lnTo>
                    <a:pt x="991" y="736"/>
                  </a:lnTo>
                  <a:lnTo>
                    <a:pt x="991" y="736"/>
                  </a:lnTo>
                  <a:lnTo>
                    <a:pt x="993" y="734"/>
                  </a:lnTo>
                  <a:lnTo>
                    <a:pt x="993" y="736"/>
                  </a:lnTo>
                  <a:lnTo>
                    <a:pt x="993" y="736"/>
                  </a:lnTo>
                  <a:lnTo>
                    <a:pt x="993" y="736"/>
                  </a:lnTo>
                  <a:lnTo>
                    <a:pt x="993" y="736"/>
                  </a:lnTo>
                  <a:lnTo>
                    <a:pt x="995" y="736"/>
                  </a:lnTo>
                  <a:lnTo>
                    <a:pt x="995" y="736"/>
                  </a:lnTo>
                  <a:lnTo>
                    <a:pt x="995" y="736"/>
                  </a:lnTo>
                  <a:lnTo>
                    <a:pt x="995" y="736"/>
                  </a:lnTo>
                  <a:lnTo>
                    <a:pt x="995" y="738"/>
                  </a:lnTo>
                  <a:lnTo>
                    <a:pt x="997" y="740"/>
                  </a:lnTo>
                  <a:lnTo>
                    <a:pt x="997" y="740"/>
                  </a:lnTo>
                  <a:lnTo>
                    <a:pt x="997" y="742"/>
                  </a:lnTo>
                  <a:lnTo>
                    <a:pt x="997" y="744"/>
                  </a:lnTo>
                  <a:lnTo>
                    <a:pt x="997" y="746"/>
                  </a:lnTo>
                  <a:lnTo>
                    <a:pt x="997" y="746"/>
                  </a:lnTo>
                  <a:lnTo>
                    <a:pt x="997" y="748"/>
                  </a:lnTo>
                  <a:lnTo>
                    <a:pt x="997" y="750"/>
                  </a:lnTo>
                  <a:lnTo>
                    <a:pt x="997" y="750"/>
                  </a:lnTo>
                  <a:lnTo>
                    <a:pt x="997" y="750"/>
                  </a:lnTo>
                  <a:lnTo>
                    <a:pt x="997" y="750"/>
                  </a:lnTo>
                  <a:lnTo>
                    <a:pt x="999" y="750"/>
                  </a:lnTo>
                  <a:lnTo>
                    <a:pt x="999" y="750"/>
                  </a:lnTo>
                  <a:lnTo>
                    <a:pt x="999" y="750"/>
                  </a:lnTo>
                  <a:lnTo>
                    <a:pt x="1002" y="750"/>
                  </a:lnTo>
                  <a:lnTo>
                    <a:pt x="1002" y="752"/>
                  </a:lnTo>
                  <a:lnTo>
                    <a:pt x="1004" y="754"/>
                  </a:lnTo>
                  <a:lnTo>
                    <a:pt x="1004" y="754"/>
                  </a:lnTo>
                  <a:lnTo>
                    <a:pt x="1004" y="754"/>
                  </a:lnTo>
                  <a:lnTo>
                    <a:pt x="1004" y="756"/>
                  </a:lnTo>
                  <a:lnTo>
                    <a:pt x="1004" y="756"/>
                  </a:lnTo>
                  <a:lnTo>
                    <a:pt x="1004" y="756"/>
                  </a:lnTo>
                  <a:lnTo>
                    <a:pt x="1004" y="756"/>
                  </a:lnTo>
                  <a:lnTo>
                    <a:pt x="1006" y="756"/>
                  </a:lnTo>
                  <a:lnTo>
                    <a:pt x="1006" y="756"/>
                  </a:lnTo>
                  <a:lnTo>
                    <a:pt x="1006" y="756"/>
                  </a:lnTo>
                  <a:lnTo>
                    <a:pt x="1006" y="756"/>
                  </a:lnTo>
                  <a:lnTo>
                    <a:pt x="1004" y="756"/>
                  </a:lnTo>
                  <a:lnTo>
                    <a:pt x="1004" y="756"/>
                  </a:lnTo>
                  <a:lnTo>
                    <a:pt x="1004" y="756"/>
                  </a:lnTo>
                  <a:lnTo>
                    <a:pt x="1004" y="754"/>
                  </a:lnTo>
                  <a:lnTo>
                    <a:pt x="1004" y="754"/>
                  </a:lnTo>
                  <a:lnTo>
                    <a:pt x="1004" y="754"/>
                  </a:lnTo>
                  <a:lnTo>
                    <a:pt x="1004" y="754"/>
                  </a:lnTo>
                  <a:lnTo>
                    <a:pt x="1004" y="756"/>
                  </a:lnTo>
                  <a:lnTo>
                    <a:pt x="1006" y="754"/>
                  </a:lnTo>
                  <a:lnTo>
                    <a:pt x="1006" y="754"/>
                  </a:lnTo>
                  <a:lnTo>
                    <a:pt x="1006" y="754"/>
                  </a:lnTo>
                  <a:lnTo>
                    <a:pt x="1006" y="754"/>
                  </a:lnTo>
                  <a:lnTo>
                    <a:pt x="1006" y="754"/>
                  </a:lnTo>
                  <a:lnTo>
                    <a:pt x="1006" y="754"/>
                  </a:lnTo>
                  <a:lnTo>
                    <a:pt x="1006" y="754"/>
                  </a:lnTo>
                  <a:lnTo>
                    <a:pt x="1006" y="752"/>
                  </a:lnTo>
                  <a:lnTo>
                    <a:pt x="1006" y="752"/>
                  </a:lnTo>
                  <a:lnTo>
                    <a:pt x="1008" y="752"/>
                  </a:lnTo>
                  <a:lnTo>
                    <a:pt x="1008" y="752"/>
                  </a:lnTo>
                  <a:lnTo>
                    <a:pt x="1008" y="752"/>
                  </a:lnTo>
                  <a:lnTo>
                    <a:pt x="1008" y="750"/>
                  </a:lnTo>
                  <a:lnTo>
                    <a:pt x="1008" y="750"/>
                  </a:lnTo>
                  <a:lnTo>
                    <a:pt x="1008" y="750"/>
                  </a:lnTo>
                  <a:lnTo>
                    <a:pt x="1008" y="748"/>
                  </a:lnTo>
                  <a:lnTo>
                    <a:pt x="1008" y="748"/>
                  </a:lnTo>
                  <a:lnTo>
                    <a:pt x="1010" y="746"/>
                  </a:lnTo>
                  <a:lnTo>
                    <a:pt x="1010" y="744"/>
                  </a:lnTo>
                  <a:lnTo>
                    <a:pt x="1010" y="744"/>
                  </a:lnTo>
                  <a:lnTo>
                    <a:pt x="1010" y="744"/>
                  </a:lnTo>
                  <a:lnTo>
                    <a:pt x="1006" y="744"/>
                  </a:lnTo>
                  <a:lnTo>
                    <a:pt x="1004" y="744"/>
                  </a:lnTo>
                  <a:lnTo>
                    <a:pt x="1004" y="744"/>
                  </a:lnTo>
                  <a:lnTo>
                    <a:pt x="1004" y="746"/>
                  </a:lnTo>
                  <a:lnTo>
                    <a:pt x="1002" y="746"/>
                  </a:lnTo>
                  <a:lnTo>
                    <a:pt x="1002" y="746"/>
                  </a:lnTo>
                  <a:lnTo>
                    <a:pt x="1002" y="746"/>
                  </a:lnTo>
                  <a:lnTo>
                    <a:pt x="999" y="746"/>
                  </a:lnTo>
                  <a:lnTo>
                    <a:pt x="999" y="746"/>
                  </a:lnTo>
                  <a:lnTo>
                    <a:pt x="999" y="744"/>
                  </a:lnTo>
                  <a:lnTo>
                    <a:pt x="997" y="744"/>
                  </a:lnTo>
                  <a:lnTo>
                    <a:pt x="999" y="744"/>
                  </a:lnTo>
                  <a:lnTo>
                    <a:pt x="1002" y="744"/>
                  </a:lnTo>
                  <a:lnTo>
                    <a:pt x="1002" y="742"/>
                  </a:lnTo>
                  <a:lnTo>
                    <a:pt x="1002" y="742"/>
                  </a:lnTo>
                  <a:lnTo>
                    <a:pt x="1002" y="742"/>
                  </a:lnTo>
                  <a:lnTo>
                    <a:pt x="1004" y="742"/>
                  </a:lnTo>
                  <a:lnTo>
                    <a:pt x="1006" y="742"/>
                  </a:lnTo>
                  <a:lnTo>
                    <a:pt x="1008" y="742"/>
                  </a:lnTo>
                  <a:lnTo>
                    <a:pt x="1010" y="742"/>
                  </a:lnTo>
                  <a:lnTo>
                    <a:pt x="1010" y="742"/>
                  </a:lnTo>
                  <a:lnTo>
                    <a:pt x="1010" y="742"/>
                  </a:lnTo>
                  <a:lnTo>
                    <a:pt x="1010" y="744"/>
                  </a:lnTo>
                  <a:lnTo>
                    <a:pt x="1014" y="744"/>
                  </a:lnTo>
                  <a:lnTo>
                    <a:pt x="1010" y="746"/>
                  </a:lnTo>
                  <a:lnTo>
                    <a:pt x="1010" y="748"/>
                  </a:lnTo>
                  <a:lnTo>
                    <a:pt x="1010" y="748"/>
                  </a:lnTo>
                  <a:lnTo>
                    <a:pt x="1010" y="748"/>
                  </a:lnTo>
                  <a:lnTo>
                    <a:pt x="1008" y="750"/>
                  </a:lnTo>
                  <a:lnTo>
                    <a:pt x="1008" y="750"/>
                  </a:lnTo>
                  <a:lnTo>
                    <a:pt x="1008" y="750"/>
                  </a:lnTo>
                  <a:lnTo>
                    <a:pt x="1010" y="750"/>
                  </a:lnTo>
                  <a:lnTo>
                    <a:pt x="1010" y="752"/>
                  </a:lnTo>
                  <a:lnTo>
                    <a:pt x="1010" y="750"/>
                  </a:lnTo>
                  <a:lnTo>
                    <a:pt x="1012" y="750"/>
                  </a:lnTo>
                  <a:lnTo>
                    <a:pt x="1012" y="748"/>
                  </a:lnTo>
                  <a:lnTo>
                    <a:pt x="1014" y="746"/>
                  </a:lnTo>
                  <a:lnTo>
                    <a:pt x="1016" y="744"/>
                  </a:lnTo>
                  <a:lnTo>
                    <a:pt x="1018" y="744"/>
                  </a:lnTo>
                  <a:lnTo>
                    <a:pt x="1018" y="742"/>
                  </a:lnTo>
                  <a:lnTo>
                    <a:pt x="1018" y="742"/>
                  </a:lnTo>
                  <a:lnTo>
                    <a:pt x="1018" y="742"/>
                  </a:lnTo>
                  <a:lnTo>
                    <a:pt x="1018" y="742"/>
                  </a:lnTo>
                  <a:lnTo>
                    <a:pt x="1020" y="742"/>
                  </a:lnTo>
                  <a:lnTo>
                    <a:pt x="1020" y="744"/>
                  </a:lnTo>
                  <a:lnTo>
                    <a:pt x="1020" y="744"/>
                  </a:lnTo>
                  <a:lnTo>
                    <a:pt x="1018" y="744"/>
                  </a:lnTo>
                  <a:lnTo>
                    <a:pt x="1018" y="744"/>
                  </a:lnTo>
                  <a:lnTo>
                    <a:pt x="1018" y="744"/>
                  </a:lnTo>
                  <a:lnTo>
                    <a:pt x="1018" y="744"/>
                  </a:lnTo>
                  <a:lnTo>
                    <a:pt x="1018" y="744"/>
                  </a:lnTo>
                  <a:lnTo>
                    <a:pt x="1018" y="744"/>
                  </a:lnTo>
                  <a:lnTo>
                    <a:pt x="1016" y="746"/>
                  </a:lnTo>
                  <a:lnTo>
                    <a:pt x="1016" y="746"/>
                  </a:lnTo>
                  <a:lnTo>
                    <a:pt x="1016" y="746"/>
                  </a:lnTo>
                  <a:lnTo>
                    <a:pt x="1014" y="748"/>
                  </a:lnTo>
                  <a:lnTo>
                    <a:pt x="1014" y="750"/>
                  </a:lnTo>
                  <a:lnTo>
                    <a:pt x="1014" y="750"/>
                  </a:lnTo>
                  <a:lnTo>
                    <a:pt x="1014" y="750"/>
                  </a:lnTo>
                  <a:lnTo>
                    <a:pt x="1014" y="752"/>
                  </a:lnTo>
                  <a:lnTo>
                    <a:pt x="1014" y="752"/>
                  </a:lnTo>
                  <a:lnTo>
                    <a:pt x="1016" y="752"/>
                  </a:lnTo>
                  <a:lnTo>
                    <a:pt x="1016" y="750"/>
                  </a:lnTo>
                  <a:lnTo>
                    <a:pt x="1016" y="750"/>
                  </a:lnTo>
                  <a:lnTo>
                    <a:pt x="1016" y="748"/>
                  </a:lnTo>
                  <a:lnTo>
                    <a:pt x="1016" y="748"/>
                  </a:lnTo>
                  <a:lnTo>
                    <a:pt x="1018" y="748"/>
                  </a:lnTo>
                  <a:lnTo>
                    <a:pt x="1018" y="750"/>
                  </a:lnTo>
                  <a:lnTo>
                    <a:pt x="1016" y="750"/>
                  </a:lnTo>
                  <a:lnTo>
                    <a:pt x="1016" y="752"/>
                  </a:lnTo>
                  <a:lnTo>
                    <a:pt x="1018" y="750"/>
                  </a:lnTo>
                  <a:lnTo>
                    <a:pt x="1018" y="750"/>
                  </a:lnTo>
                  <a:lnTo>
                    <a:pt x="1018" y="750"/>
                  </a:lnTo>
                  <a:lnTo>
                    <a:pt x="1018" y="752"/>
                  </a:lnTo>
                  <a:lnTo>
                    <a:pt x="1016" y="754"/>
                  </a:lnTo>
                  <a:lnTo>
                    <a:pt x="1014" y="754"/>
                  </a:lnTo>
                  <a:lnTo>
                    <a:pt x="1014" y="754"/>
                  </a:lnTo>
                  <a:lnTo>
                    <a:pt x="1014" y="754"/>
                  </a:lnTo>
                  <a:lnTo>
                    <a:pt x="1014" y="756"/>
                  </a:lnTo>
                  <a:lnTo>
                    <a:pt x="1012" y="756"/>
                  </a:lnTo>
                  <a:lnTo>
                    <a:pt x="1010" y="758"/>
                  </a:lnTo>
                  <a:lnTo>
                    <a:pt x="1008" y="760"/>
                  </a:lnTo>
                  <a:lnTo>
                    <a:pt x="1008" y="762"/>
                  </a:lnTo>
                  <a:lnTo>
                    <a:pt x="1008" y="762"/>
                  </a:lnTo>
                  <a:lnTo>
                    <a:pt x="1008" y="762"/>
                  </a:lnTo>
                  <a:lnTo>
                    <a:pt x="1008" y="762"/>
                  </a:lnTo>
                  <a:lnTo>
                    <a:pt x="1008" y="762"/>
                  </a:lnTo>
                  <a:lnTo>
                    <a:pt x="1010" y="762"/>
                  </a:lnTo>
                  <a:lnTo>
                    <a:pt x="1010" y="762"/>
                  </a:lnTo>
                  <a:lnTo>
                    <a:pt x="1010" y="762"/>
                  </a:lnTo>
                  <a:lnTo>
                    <a:pt x="1012" y="762"/>
                  </a:lnTo>
                  <a:lnTo>
                    <a:pt x="1012" y="762"/>
                  </a:lnTo>
                  <a:lnTo>
                    <a:pt x="1012" y="762"/>
                  </a:lnTo>
                  <a:lnTo>
                    <a:pt x="1012" y="762"/>
                  </a:lnTo>
                  <a:lnTo>
                    <a:pt x="1014" y="762"/>
                  </a:lnTo>
                  <a:lnTo>
                    <a:pt x="1014" y="762"/>
                  </a:lnTo>
                  <a:lnTo>
                    <a:pt x="1016" y="760"/>
                  </a:lnTo>
                  <a:lnTo>
                    <a:pt x="1016" y="760"/>
                  </a:lnTo>
                  <a:lnTo>
                    <a:pt x="1016" y="758"/>
                  </a:lnTo>
                  <a:lnTo>
                    <a:pt x="1016" y="758"/>
                  </a:lnTo>
                  <a:lnTo>
                    <a:pt x="1018" y="758"/>
                  </a:lnTo>
                  <a:lnTo>
                    <a:pt x="1018" y="758"/>
                  </a:lnTo>
                  <a:lnTo>
                    <a:pt x="1018" y="758"/>
                  </a:lnTo>
                  <a:lnTo>
                    <a:pt x="1018" y="758"/>
                  </a:lnTo>
                  <a:lnTo>
                    <a:pt x="1018" y="758"/>
                  </a:lnTo>
                  <a:lnTo>
                    <a:pt x="1018" y="758"/>
                  </a:lnTo>
                  <a:lnTo>
                    <a:pt x="1018" y="758"/>
                  </a:lnTo>
                  <a:lnTo>
                    <a:pt x="1020" y="758"/>
                  </a:lnTo>
                  <a:lnTo>
                    <a:pt x="1020" y="756"/>
                  </a:lnTo>
                  <a:lnTo>
                    <a:pt x="1020" y="756"/>
                  </a:lnTo>
                  <a:lnTo>
                    <a:pt x="1022" y="756"/>
                  </a:lnTo>
                  <a:lnTo>
                    <a:pt x="1022" y="756"/>
                  </a:lnTo>
                  <a:lnTo>
                    <a:pt x="1020" y="756"/>
                  </a:lnTo>
                  <a:lnTo>
                    <a:pt x="1020" y="756"/>
                  </a:lnTo>
                  <a:lnTo>
                    <a:pt x="1018" y="756"/>
                  </a:lnTo>
                  <a:lnTo>
                    <a:pt x="1020" y="754"/>
                  </a:lnTo>
                  <a:lnTo>
                    <a:pt x="1020" y="756"/>
                  </a:lnTo>
                  <a:lnTo>
                    <a:pt x="1020" y="754"/>
                  </a:lnTo>
                  <a:lnTo>
                    <a:pt x="1022" y="750"/>
                  </a:lnTo>
                  <a:lnTo>
                    <a:pt x="1022" y="752"/>
                  </a:lnTo>
                  <a:lnTo>
                    <a:pt x="1022" y="752"/>
                  </a:lnTo>
                  <a:lnTo>
                    <a:pt x="1022" y="752"/>
                  </a:lnTo>
                  <a:lnTo>
                    <a:pt x="1022" y="752"/>
                  </a:lnTo>
                  <a:lnTo>
                    <a:pt x="1022" y="752"/>
                  </a:lnTo>
                  <a:lnTo>
                    <a:pt x="1024" y="752"/>
                  </a:lnTo>
                  <a:lnTo>
                    <a:pt x="1024" y="752"/>
                  </a:lnTo>
                  <a:lnTo>
                    <a:pt x="1024" y="752"/>
                  </a:lnTo>
                  <a:lnTo>
                    <a:pt x="1024" y="752"/>
                  </a:lnTo>
                  <a:lnTo>
                    <a:pt x="1024" y="752"/>
                  </a:lnTo>
                  <a:lnTo>
                    <a:pt x="1024" y="752"/>
                  </a:lnTo>
                  <a:lnTo>
                    <a:pt x="1024" y="752"/>
                  </a:lnTo>
                  <a:lnTo>
                    <a:pt x="1024" y="752"/>
                  </a:lnTo>
                  <a:lnTo>
                    <a:pt x="1024" y="750"/>
                  </a:lnTo>
                  <a:lnTo>
                    <a:pt x="1024" y="750"/>
                  </a:lnTo>
                  <a:lnTo>
                    <a:pt x="1024" y="750"/>
                  </a:lnTo>
                  <a:lnTo>
                    <a:pt x="1022" y="750"/>
                  </a:lnTo>
                  <a:lnTo>
                    <a:pt x="1022" y="748"/>
                  </a:lnTo>
                  <a:lnTo>
                    <a:pt x="1022" y="748"/>
                  </a:lnTo>
                  <a:lnTo>
                    <a:pt x="1022" y="748"/>
                  </a:lnTo>
                  <a:lnTo>
                    <a:pt x="1024" y="748"/>
                  </a:lnTo>
                  <a:lnTo>
                    <a:pt x="1024" y="748"/>
                  </a:lnTo>
                  <a:lnTo>
                    <a:pt x="1024" y="748"/>
                  </a:lnTo>
                  <a:lnTo>
                    <a:pt x="1024" y="748"/>
                  </a:lnTo>
                  <a:lnTo>
                    <a:pt x="1024" y="746"/>
                  </a:lnTo>
                  <a:lnTo>
                    <a:pt x="1020" y="748"/>
                  </a:lnTo>
                  <a:lnTo>
                    <a:pt x="1020" y="746"/>
                  </a:lnTo>
                  <a:lnTo>
                    <a:pt x="1020" y="746"/>
                  </a:lnTo>
                  <a:lnTo>
                    <a:pt x="1024" y="746"/>
                  </a:lnTo>
                  <a:lnTo>
                    <a:pt x="1026" y="746"/>
                  </a:lnTo>
                  <a:lnTo>
                    <a:pt x="1026" y="746"/>
                  </a:lnTo>
                  <a:lnTo>
                    <a:pt x="1026" y="744"/>
                  </a:lnTo>
                  <a:lnTo>
                    <a:pt x="1026" y="744"/>
                  </a:lnTo>
                  <a:lnTo>
                    <a:pt x="1026" y="744"/>
                  </a:lnTo>
                  <a:lnTo>
                    <a:pt x="1026" y="744"/>
                  </a:lnTo>
                  <a:lnTo>
                    <a:pt x="1026" y="742"/>
                  </a:lnTo>
                  <a:lnTo>
                    <a:pt x="1026" y="740"/>
                  </a:lnTo>
                  <a:lnTo>
                    <a:pt x="1026" y="740"/>
                  </a:lnTo>
                  <a:lnTo>
                    <a:pt x="1026" y="742"/>
                  </a:lnTo>
                  <a:lnTo>
                    <a:pt x="1026" y="740"/>
                  </a:lnTo>
                  <a:lnTo>
                    <a:pt x="1026" y="740"/>
                  </a:lnTo>
                  <a:lnTo>
                    <a:pt x="1026" y="740"/>
                  </a:lnTo>
                  <a:lnTo>
                    <a:pt x="1026" y="740"/>
                  </a:lnTo>
                  <a:lnTo>
                    <a:pt x="1026" y="740"/>
                  </a:lnTo>
                  <a:lnTo>
                    <a:pt x="1026" y="742"/>
                  </a:lnTo>
                  <a:lnTo>
                    <a:pt x="1026" y="742"/>
                  </a:lnTo>
                  <a:lnTo>
                    <a:pt x="1028" y="744"/>
                  </a:lnTo>
                  <a:lnTo>
                    <a:pt x="1028" y="744"/>
                  </a:lnTo>
                  <a:lnTo>
                    <a:pt x="1028" y="744"/>
                  </a:lnTo>
                  <a:lnTo>
                    <a:pt x="1028" y="742"/>
                  </a:lnTo>
                  <a:lnTo>
                    <a:pt x="1028" y="742"/>
                  </a:lnTo>
                  <a:lnTo>
                    <a:pt x="1030" y="740"/>
                  </a:lnTo>
                  <a:lnTo>
                    <a:pt x="1030" y="740"/>
                  </a:lnTo>
                  <a:lnTo>
                    <a:pt x="1030" y="740"/>
                  </a:lnTo>
                  <a:lnTo>
                    <a:pt x="1030" y="738"/>
                  </a:lnTo>
                  <a:lnTo>
                    <a:pt x="1030" y="740"/>
                  </a:lnTo>
                  <a:lnTo>
                    <a:pt x="1030" y="740"/>
                  </a:lnTo>
                  <a:lnTo>
                    <a:pt x="1030" y="740"/>
                  </a:lnTo>
                  <a:lnTo>
                    <a:pt x="1032" y="740"/>
                  </a:lnTo>
                  <a:lnTo>
                    <a:pt x="1032" y="738"/>
                  </a:lnTo>
                  <a:lnTo>
                    <a:pt x="1032" y="738"/>
                  </a:lnTo>
                  <a:lnTo>
                    <a:pt x="1032" y="738"/>
                  </a:lnTo>
                  <a:lnTo>
                    <a:pt x="1032" y="738"/>
                  </a:lnTo>
                  <a:lnTo>
                    <a:pt x="1034" y="738"/>
                  </a:lnTo>
                  <a:lnTo>
                    <a:pt x="1034" y="738"/>
                  </a:lnTo>
                  <a:lnTo>
                    <a:pt x="1034" y="738"/>
                  </a:lnTo>
                  <a:lnTo>
                    <a:pt x="1034" y="738"/>
                  </a:lnTo>
                  <a:lnTo>
                    <a:pt x="1034" y="738"/>
                  </a:lnTo>
                  <a:lnTo>
                    <a:pt x="1034" y="738"/>
                  </a:lnTo>
                  <a:lnTo>
                    <a:pt x="1038" y="738"/>
                  </a:lnTo>
                  <a:lnTo>
                    <a:pt x="1038" y="738"/>
                  </a:lnTo>
                  <a:lnTo>
                    <a:pt x="1043" y="736"/>
                  </a:lnTo>
                  <a:lnTo>
                    <a:pt x="1040" y="736"/>
                  </a:lnTo>
                  <a:lnTo>
                    <a:pt x="1040" y="734"/>
                  </a:lnTo>
                  <a:lnTo>
                    <a:pt x="1040" y="734"/>
                  </a:lnTo>
                  <a:lnTo>
                    <a:pt x="1038" y="734"/>
                  </a:lnTo>
                  <a:lnTo>
                    <a:pt x="1038" y="734"/>
                  </a:lnTo>
                  <a:lnTo>
                    <a:pt x="1036" y="734"/>
                  </a:lnTo>
                  <a:lnTo>
                    <a:pt x="1034" y="734"/>
                  </a:lnTo>
                  <a:lnTo>
                    <a:pt x="1036" y="734"/>
                  </a:lnTo>
                  <a:lnTo>
                    <a:pt x="1036" y="732"/>
                  </a:lnTo>
                  <a:lnTo>
                    <a:pt x="1036" y="732"/>
                  </a:lnTo>
                  <a:lnTo>
                    <a:pt x="1036" y="732"/>
                  </a:lnTo>
                  <a:lnTo>
                    <a:pt x="1036" y="732"/>
                  </a:lnTo>
                  <a:lnTo>
                    <a:pt x="1036" y="732"/>
                  </a:lnTo>
                  <a:lnTo>
                    <a:pt x="1036" y="732"/>
                  </a:lnTo>
                  <a:lnTo>
                    <a:pt x="1036" y="734"/>
                  </a:lnTo>
                  <a:lnTo>
                    <a:pt x="1036" y="734"/>
                  </a:lnTo>
                  <a:lnTo>
                    <a:pt x="1038" y="734"/>
                  </a:lnTo>
                  <a:lnTo>
                    <a:pt x="1038" y="732"/>
                  </a:lnTo>
                  <a:lnTo>
                    <a:pt x="1040" y="732"/>
                  </a:lnTo>
                  <a:lnTo>
                    <a:pt x="1040" y="732"/>
                  </a:lnTo>
                  <a:lnTo>
                    <a:pt x="1040" y="732"/>
                  </a:lnTo>
                  <a:lnTo>
                    <a:pt x="1043" y="732"/>
                  </a:lnTo>
                  <a:lnTo>
                    <a:pt x="1043" y="732"/>
                  </a:lnTo>
                  <a:lnTo>
                    <a:pt x="1045" y="732"/>
                  </a:lnTo>
                  <a:lnTo>
                    <a:pt x="1045" y="732"/>
                  </a:lnTo>
                  <a:lnTo>
                    <a:pt x="1045" y="732"/>
                  </a:lnTo>
                  <a:lnTo>
                    <a:pt x="1043" y="734"/>
                  </a:lnTo>
                  <a:lnTo>
                    <a:pt x="1043" y="734"/>
                  </a:lnTo>
                  <a:lnTo>
                    <a:pt x="1045" y="734"/>
                  </a:lnTo>
                  <a:lnTo>
                    <a:pt x="1045" y="734"/>
                  </a:lnTo>
                  <a:lnTo>
                    <a:pt x="1045" y="736"/>
                  </a:lnTo>
                  <a:lnTo>
                    <a:pt x="1045" y="736"/>
                  </a:lnTo>
                  <a:lnTo>
                    <a:pt x="1047" y="736"/>
                  </a:lnTo>
                  <a:lnTo>
                    <a:pt x="1047" y="734"/>
                  </a:lnTo>
                  <a:lnTo>
                    <a:pt x="1049" y="734"/>
                  </a:lnTo>
                  <a:lnTo>
                    <a:pt x="1049" y="734"/>
                  </a:lnTo>
                  <a:lnTo>
                    <a:pt x="1049" y="736"/>
                  </a:lnTo>
                  <a:lnTo>
                    <a:pt x="1049" y="734"/>
                  </a:lnTo>
                  <a:lnTo>
                    <a:pt x="1051" y="734"/>
                  </a:lnTo>
                  <a:lnTo>
                    <a:pt x="1051" y="732"/>
                  </a:lnTo>
                  <a:lnTo>
                    <a:pt x="1051" y="732"/>
                  </a:lnTo>
                  <a:lnTo>
                    <a:pt x="1051" y="732"/>
                  </a:lnTo>
                  <a:lnTo>
                    <a:pt x="1051" y="730"/>
                  </a:lnTo>
                  <a:lnTo>
                    <a:pt x="1053" y="730"/>
                  </a:lnTo>
                  <a:lnTo>
                    <a:pt x="1051" y="730"/>
                  </a:lnTo>
                  <a:lnTo>
                    <a:pt x="1051" y="730"/>
                  </a:lnTo>
                  <a:lnTo>
                    <a:pt x="1051" y="730"/>
                  </a:lnTo>
                  <a:lnTo>
                    <a:pt x="1051" y="730"/>
                  </a:lnTo>
                  <a:lnTo>
                    <a:pt x="1051" y="728"/>
                  </a:lnTo>
                  <a:lnTo>
                    <a:pt x="1049" y="728"/>
                  </a:lnTo>
                  <a:lnTo>
                    <a:pt x="1047" y="725"/>
                  </a:lnTo>
                  <a:lnTo>
                    <a:pt x="1045" y="725"/>
                  </a:lnTo>
                  <a:lnTo>
                    <a:pt x="1040" y="725"/>
                  </a:lnTo>
                  <a:lnTo>
                    <a:pt x="1040" y="725"/>
                  </a:lnTo>
                  <a:lnTo>
                    <a:pt x="1040" y="728"/>
                  </a:lnTo>
                  <a:lnTo>
                    <a:pt x="1038" y="728"/>
                  </a:lnTo>
                  <a:lnTo>
                    <a:pt x="1038" y="728"/>
                  </a:lnTo>
                  <a:lnTo>
                    <a:pt x="1038" y="725"/>
                  </a:lnTo>
                  <a:lnTo>
                    <a:pt x="1040" y="725"/>
                  </a:lnTo>
                  <a:lnTo>
                    <a:pt x="1040" y="725"/>
                  </a:lnTo>
                  <a:lnTo>
                    <a:pt x="1040" y="725"/>
                  </a:lnTo>
                  <a:lnTo>
                    <a:pt x="1040" y="725"/>
                  </a:lnTo>
                  <a:lnTo>
                    <a:pt x="1040" y="725"/>
                  </a:lnTo>
                  <a:lnTo>
                    <a:pt x="1043" y="723"/>
                  </a:lnTo>
                  <a:lnTo>
                    <a:pt x="1043" y="723"/>
                  </a:lnTo>
                  <a:lnTo>
                    <a:pt x="1043" y="723"/>
                  </a:lnTo>
                  <a:lnTo>
                    <a:pt x="1040" y="723"/>
                  </a:lnTo>
                  <a:lnTo>
                    <a:pt x="1040" y="721"/>
                  </a:lnTo>
                  <a:lnTo>
                    <a:pt x="1043" y="721"/>
                  </a:lnTo>
                  <a:lnTo>
                    <a:pt x="1043" y="721"/>
                  </a:lnTo>
                  <a:lnTo>
                    <a:pt x="1043" y="723"/>
                  </a:lnTo>
                  <a:lnTo>
                    <a:pt x="1043" y="723"/>
                  </a:lnTo>
                  <a:lnTo>
                    <a:pt x="1045" y="721"/>
                  </a:lnTo>
                  <a:lnTo>
                    <a:pt x="1045" y="721"/>
                  </a:lnTo>
                  <a:lnTo>
                    <a:pt x="1045" y="723"/>
                  </a:lnTo>
                  <a:lnTo>
                    <a:pt x="1045" y="723"/>
                  </a:lnTo>
                  <a:lnTo>
                    <a:pt x="1047" y="723"/>
                  </a:lnTo>
                  <a:lnTo>
                    <a:pt x="1047" y="723"/>
                  </a:lnTo>
                  <a:lnTo>
                    <a:pt x="1047" y="723"/>
                  </a:lnTo>
                  <a:lnTo>
                    <a:pt x="1049" y="723"/>
                  </a:lnTo>
                  <a:lnTo>
                    <a:pt x="1049" y="723"/>
                  </a:lnTo>
                  <a:lnTo>
                    <a:pt x="1049" y="723"/>
                  </a:lnTo>
                  <a:lnTo>
                    <a:pt x="1049" y="723"/>
                  </a:lnTo>
                  <a:lnTo>
                    <a:pt x="1049" y="725"/>
                  </a:lnTo>
                  <a:lnTo>
                    <a:pt x="1049" y="725"/>
                  </a:lnTo>
                  <a:lnTo>
                    <a:pt x="1049" y="725"/>
                  </a:lnTo>
                  <a:lnTo>
                    <a:pt x="1051" y="725"/>
                  </a:lnTo>
                  <a:lnTo>
                    <a:pt x="1051" y="725"/>
                  </a:lnTo>
                  <a:lnTo>
                    <a:pt x="1051" y="723"/>
                  </a:lnTo>
                  <a:lnTo>
                    <a:pt x="1051" y="723"/>
                  </a:lnTo>
                  <a:lnTo>
                    <a:pt x="1051" y="723"/>
                  </a:lnTo>
                  <a:lnTo>
                    <a:pt x="1051" y="725"/>
                  </a:lnTo>
                  <a:lnTo>
                    <a:pt x="1051" y="725"/>
                  </a:lnTo>
                  <a:lnTo>
                    <a:pt x="1051" y="725"/>
                  </a:lnTo>
                  <a:lnTo>
                    <a:pt x="1051" y="725"/>
                  </a:lnTo>
                  <a:lnTo>
                    <a:pt x="1051" y="725"/>
                  </a:lnTo>
                  <a:lnTo>
                    <a:pt x="1053" y="725"/>
                  </a:lnTo>
                  <a:lnTo>
                    <a:pt x="1053" y="725"/>
                  </a:lnTo>
                  <a:lnTo>
                    <a:pt x="1053" y="725"/>
                  </a:lnTo>
                  <a:lnTo>
                    <a:pt x="1053" y="725"/>
                  </a:lnTo>
                  <a:lnTo>
                    <a:pt x="1053" y="725"/>
                  </a:lnTo>
                  <a:lnTo>
                    <a:pt x="1053" y="725"/>
                  </a:lnTo>
                  <a:lnTo>
                    <a:pt x="1053" y="725"/>
                  </a:lnTo>
                  <a:lnTo>
                    <a:pt x="1053" y="725"/>
                  </a:lnTo>
                  <a:lnTo>
                    <a:pt x="1053" y="725"/>
                  </a:lnTo>
                  <a:lnTo>
                    <a:pt x="1053" y="725"/>
                  </a:lnTo>
                  <a:lnTo>
                    <a:pt x="1055" y="725"/>
                  </a:lnTo>
                  <a:lnTo>
                    <a:pt x="1055" y="725"/>
                  </a:lnTo>
                  <a:lnTo>
                    <a:pt x="1055" y="725"/>
                  </a:lnTo>
                  <a:lnTo>
                    <a:pt x="1055" y="725"/>
                  </a:lnTo>
                  <a:lnTo>
                    <a:pt x="1055" y="725"/>
                  </a:lnTo>
                  <a:lnTo>
                    <a:pt x="1055" y="725"/>
                  </a:lnTo>
                  <a:lnTo>
                    <a:pt x="1055" y="725"/>
                  </a:lnTo>
                  <a:lnTo>
                    <a:pt x="1055" y="725"/>
                  </a:lnTo>
                  <a:lnTo>
                    <a:pt x="1055" y="725"/>
                  </a:lnTo>
                  <a:lnTo>
                    <a:pt x="1055" y="728"/>
                  </a:lnTo>
                  <a:lnTo>
                    <a:pt x="1055" y="728"/>
                  </a:lnTo>
                  <a:lnTo>
                    <a:pt x="1055" y="728"/>
                  </a:lnTo>
                  <a:lnTo>
                    <a:pt x="1055" y="728"/>
                  </a:lnTo>
                  <a:lnTo>
                    <a:pt x="1055" y="725"/>
                  </a:lnTo>
                  <a:lnTo>
                    <a:pt x="1055" y="725"/>
                  </a:lnTo>
                  <a:lnTo>
                    <a:pt x="1057" y="725"/>
                  </a:lnTo>
                  <a:lnTo>
                    <a:pt x="1057" y="725"/>
                  </a:lnTo>
                  <a:lnTo>
                    <a:pt x="1057" y="725"/>
                  </a:lnTo>
                  <a:lnTo>
                    <a:pt x="1057" y="725"/>
                  </a:lnTo>
                  <a:lnTo>
                    <a:pt x="1059" y="728"/>
                  </a:lnTo>
                  <a:lnTo>
                    <a:pt x="1059" y="725"/>
                  </a:lnTo>
                  <a:lnTo>
                    <a:pt x="1059" y="725"/>
                  </a:lnTo>
                  <a:lnTo>
                    <a:pt x="1059" y="725"/>
                  </a:lnTo>
                  <a:lnTo>
                    <a:pt x="1059" y="723"/>
                  </a:lnTo>
                  <a:lnTo>
                    <a:pt x="1059" y="723"/>
                  </a:lnTo>
                  <a:lnTo>
                    <a:pt x="1061" y="721"/>
                  </a:lnTo>
                  <a:lnTo>
                    <a:pt x="1061" y="721"/>
                  </a:lnTo>
                  <a:lnTo>
                    <a:pt x="1061" y="721"/>
                  </a:lnTo>
                  <a:lnTo>
                    <a:pt x="1063" y="717"/>
                  </a:lnTo>
                  <a:lnTo>
                    <a:pt x="1063" y="717"/>
                  </a:lnTo>
                  <a:lnTo>
                    <a:pt x="1063" y="717"/>
                  </a:lnTo>
                  <a:lnTo>
                    <a:pt x="1063" y="715"/>
                  </a:lnTo>
                  <a:lnTo>
                    <a:pt x="1059" y="715"/>
                  </a:lnTo>
                  <a:close/>
                  <a:moveTo>
                    <a:pt x="1100" y="621"/>
                  </a:moveTo>
                  <a:lnTo>
                    <a:pt x="1100" y="621"/>
                  </a:lnTo>
                  <a:lnTo>
                    <a:pt x="1100" y="623"/>
                  </a:lnTo>
                  <a:lnTo>
                    <a:pt x="1100" y="623"/>
                  </a:lnTo>
                  <a:lnTo>
                    <a:pt x="1100" y="623"/>
                  </a:lnTo>
                  <a:lnTo>
                    <a:pt x="1098" y="625"/>
                  </a:lnTo>
                  <a:lnTo>
                    <a:pt x="1098" y="625"/>
                  </a:lnTo>
                  <a:lnTo>
                    <a:pt x="1098" y="627"/>
                  </a:lnTo>
                  <a:lnTo>
                    <a:pt x="1100" y="627"/>
                  </a:lnTo>
                  <a:lnTo>
                    <a:pt x="1100" y="627"/>
                  </a:lnTo>
                  <a:lnTo>
                    <a:pt x="1100" y="627"/>
                  </a:lnTo>
                  <a:lnTo>
                    <a:pt x="1102" y="625"/>
                  </a:lnTo>
                  <a:lnTo>
                    <a:pt x="1102" y="623"/>
                  </a:lnTo>
                  <a:lnTo>
                    <a:pt x="1102" y="623"/>
                  </a:lnTo>
                  <a:lnTo>
                    <a:pt x="1100" y="621"/>
                  </a:lnTo>
                  <a:close/>
                  <a:moveTo>
                    <a:pt x="1491" y="635"/>
                  </a:moveTo>
                  <a:lnTo>
                    <a:pt x="1491" y="633"/>
                  </a:lnTo>
                  <a:lnTo>
                    <a:pt x="1491" y="633"/>
                  </a:lnTo>
                  <a:lnTo>
                    <a:pt x="1493" y="633"/>
                  </a:lnTo>
                  <a:lnTo>
                    <a:pt x="1493" y="633"/>
                  </a:lnTo>
                  <a:lnTo>
                    <a:pt x="1491" y="631"/>
                  </a:lnTo>
                  <a:lnTo>
                    <a:pt x="1489" y="631"/>
                  </a:lnTo>
                  <a:lnTo>
                    <a:pt x="1489" y="629"/>
                  </a:lnTo>
                  <a:lnTo>
                    <a:pt x="1487" y="629"/>
                  </a:lnTo>
                  <a:lnTo>
                    <a:pt x="1487" y="629"/>
                  </a:lnTo>
                  <a:lnTo>
                    <a:pt x="1487" y="629"/>
                  </a:lnTo>
                  <a:lnTo>
                    <a:pt x="1487" y="631"/>
                  </a:lnTo>
                  <a:lnTo>
                    <a:pt x="1487" y="631"/>
                  </a:lnTo>
                  <a:lnTo>
                    <a:pt x="1487" y="633"/>
                  </a:lnTo>
                  <a:lnTo>
                    <a:pt x="1487" y="633"/>
                  </a:lnTo>
                  <a:lnTo>
                    <a:pt x="1487" y="633"/>
                  </a:lnTo>
                  <a:lnTo>
                    <a:pt x="1487" y="633"/>
                  </a:lnTo>
                  <a:lnTo>
                    <a:pt x="1487" y="633"/>
                  </a:lnTo>
                  <a:lnTo>
                    <a:pt x="1487" y="633"/>
                  </a:lnTo>
                  <a:lnTo>
                    <a:pt x="1489" y="633"/>
                  </a:lnTo>
                  <a:lnTo>
                    <a:pt x="1487" y="635"/>
                  </a:lnTo>
                  <a:lnTo>
                    <a:pt x="1487" y="635"/>
                  </a:lnTo>
                  <a:lnTo>
                    <a:pt x="1487" y="637"/>
                  </a:lnTo>
                  <a:lnTo>
                    <a:pt x="1489" y="637"/>
                  </a:lnTo>
                  <a:lnTo>
                    <a:pt x="1489" y="637"/>
                  </a:lnTo>
                  <a:lnTo>
                    <a:pt x="1487" y="637"/>
                  </a:lnTo>
                  <a:lnTo>
                    <a:pt x="1489" y="639"/>
                  </a:lnTo>
                  <a:lnTo>
                    <a:pt x="1489" y="639"/>
                  </a:lnTo>
                  <a:lnTo>
                    <a:pt x="1489" y="637"/>
                  </a:lnTo>
                  <a:lnTo>
                    <a:pt x="1489" y="637"/>
                  </a:lnTo>
                  <a:lnTo>
                    <a:pt x="1489" y="637"/>
                  </a:lnTo>
                  <a:lnTo>
                    <a:pt x="1489" y="637"/>
                  </a:lnTo>
                  <a:lnTo>
                    <a:pt x="1489" y="637"/>
                  </a:lnTo>
                  <a:lnTo>
                    <a:pt x="1489" y="637"/>
                  </a:lnTo>
                  <a:lnTo>
                    <a:pt x="1489" y="639"/>
                  </a:lnTo>
                  <a:lnTo>
                    <a:pt x="1489" y="639"/>
                  </a:lnTo>
                  <a:lnTo>
                    <a:pt x="1489" y="639"/>
                  </a:lnTo>
                  <a:lnTo>
                    <a:pt x="1489" y="639"/>
                  </a:lnTo>
                  <a:lnTo>
                    <a:pt x="1491" y="639"/>
                  </a:lnTo>
                  <a:lnTo>
                    <a:pt x="1491" y="639"/>
                  </a:lnTo>
                  <a:lnTo>
                    <a:pt x="1491" y="639"/>
                  </a:lnTo>
                  <a:lnTo>
                    <a:pt x="1491" y="639"/>
                  </a:lnTo>
                  <a:lnTo>
                    <a:pt x="1491" y="641"/>
                  </a:lnTo>
                  <a:lnTo>
                    <a:pt x="1491" y="641"/>
                  </a:lnTo>
                  <a:lnTo>
                    <a:pt x="1491" y="641"/>
                  </a:lnTo>
                  <a:lnTo>
                    <a:pt x="1493" y="641"/>
                  </a:lnTo>
                  <a:lnTo>
                    <a:pt x="1493" y="639"/>
                  </a:lnTo>
                  <a:lnTo>
                    <a:pt x="1493" y="637"/>
                  </a:lnTo>
                  <a:lnTo>
                    <a:pt x="1491" y="635"/>
                  </a:lnTo>
                  <a:close/>
                  <a:moveTo>
                    <a:pt x="1262" y="576"/>
                  </a:moveTo>
                  <a:lnTo>
                    <a:pt x="1262" y="576"/>
                  </a:lnTo>
                  <a:lnTo>
                    <a:pt x="1262" y="576"/>
                  </a:lnTo>
                  <a:lnTo>
                    <a:pt x="1262" y="576"/>
                  </a:lnTo>
                  <a:lnTo>
                    <a:pt x="1262" y="576"/>
                  </a:lnTo>
                  <a:lnTo>
                    <a:pt x="1262" y="574"/>
                  </a:lnTo>
                  <a:lnTo>
                    <a:pt x="1262" y="574"/>
                  </a:lnTo>
                  <a:lnTo>
                    <a:pt x="1262" y="574"/>
                  </a:lnTo>
                  <a:lnTo>
                    <a:pt x="1262" y="572"/>
                  </a:lnTo>
                  <a:lnTo>
                    <a:pt x="1262" y="572"/>
                  </a:lnTo>
                  <a:lnTo>
                    <a:pt x="1260" y="572"/>
                  </a:lnTo>
                  <a:lnTo>
                    <a:pt x="1260" y="572"/>
                  </a:lnTo>
                  <a:lnTo>
                    <a:pt x="1260" y="572"/>
                  </a:lnTo>
                  <a:lnTo>
                    <a:pt x="1260" y="574"/>
                  </a:lnTo>
                  <a:lnTo>
                    <a:pt x="1262" y="574"/>
                  </a:lnTo>
                  <a:lnTo>
                    <a:pt x="1262" y="574"/>
                  </a:lnTo>
                  <a:lnTo>
                    <a:pt x="1262" y="574"/>
                  </a:lnTo>
                  <a:lnTo>
                    <a:pt x="1262" y="576"/>
                  </a:lnTo>
                  <a:lnTo>
                    <a:pt x="1262" y="576"/>
                  </a:lnTo>
                  <a:close/>
                  <a:moveTo>
                    <a:pt x="1520" y="660"/>
                  </a:moveTo>
                  <a:lnTo>
                    <a:pt x="1520" y="660"/>
                  </a:lnTo>
                  <a:lnTo>
                    <a:pt x="1520" y="660"/>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6"/>
                  </a:lnTo>
                  <a:lnTo>
                    <a:pt x="1520" y="656"/>
                  </a:lnTo>
                  <a:lnTo>
                    <a:pt x="1520" y="656"/>
                  </a:lnTo>
                  <a:lnTo>
                    <a:pt x="1522" y="656"/>
                  </a:lnTo>
                  <a:lnTo>
                    <a:pt x="1522" y="654"/>
                  </a:lnTo>
                  <a:lnTo>
                    <a:pt x="1522" y="654"/>
                  </a:lnTo>
                  <a:lnTo>
                    <a:pt x="1520" y="652"/>
                  </a:lnTo>
                  <a:lnTo>
                    <a:pt x="1520" y="652"/>
                  </a:lnTo>
                  <a:lnTo>
                    <a:pt x="1520" y="652"/>
                  </a:lnTo>
                  <a:lnTo>
                    <a:pt x="1520" y="652"/>
                  </a:lnTo>
                  <a:lnTo>
                    <a:pt x="1520" y="652"/>
                  </a:lnTo>
                  <a:lnTo>
                    <a:pt x="1520" y="652"/>
                  </a:lnTo>
                  <a:lnTo>
                    <a:pt x="1520" y="650"/>
                  </a:lnTo>
                  <a:lnTo>
                    <a:pt x="1520" y="650"/>
                  </a:lnTo>
                  <a:lnTo>
                    <a:pt x="1518" y="650"/>
                  </a:lnTo>
                  <a:lnTo>
                    <a:pt x="1518" y="650"/>
                  </a:lnTo>
                  <a:lnTo>
                    <a:pt x="1518" y="650"/>
                  </a:lnTo>
                  <a:lnTo>
                    <a:pt x="1518" y="650"/>
                  </a:lnTo>
                  <a:lnTo>
                    <a:pt x="1518" y="650"/>
                  </a:lnTo>
                  <a:lnTo>
                    <a:pt x="1520" y="650"/>
                  </a:lnTo>
                  <a:lnTo>
                    <a:pt x="1520" y="650"/>
                  </a:lnTo>
                  <a:lnTo>
                    <a:pt x="1518" y="648"/>
                  </a:lnTo>
                  <a:lnTo>
                    <a:pt x="1518" y="648"/>
                  </a:lnTo>
                  <a:lnTo>
                    <a:pt x="1518" y="648"/>
                  </a:lnTo>
                  <a:lnTo>
                    <a:pt x="1516" y="648"/>
                  </a:lnTo>
                  <a:lnTo>
                    <a:pt x="1514" y="646"/>
                  </a:lnTo>
                  <a:lnTo>
                    <a:pt x="1514" y="646"/>
                  </a:lnTo>
                  <a:lnTo>
                    <a:pt x="1512" y="648"/>
                  </a:lnTo>
                  <a:lnTo>
                    <a:pt x="1512" y="646"/>
                  </a:lnTo>
                  <a:lnTo>
                    <a:pt x="1514" y="646"/>
                  </a:lnTo>
                  <a:lnTo>
                    <a:pt x="1514" y="646"/>
                  </a:lnTo>
                  <a:lnTo>
                    <a:pt x="1514" y="643"/>
                  </a:lnTo>
                  <a:lnTo>
                    <a:pt x="1514" y="643"/>
                  </a:lnTo>
                  <a:lnTo>
                    <a:pt x="1514" y="643"/>
                  </a:lnTo>
                  <a:lnTo>
                    <a:pt x="1514" y="643"/>
                  </a:lnTo>
                  <a:lnTo>
                    <a:pt x="1514" y="641"/>
                  </a:lnTo>
                  <a:lnTo>
                    <a:pt x="1512" y="641"/>
                  </a:lnTo>
                  <a:lnTo>
                    <a:pt x="1512" y="643"/>
                  </a:lnTo>
                  <a:lnTo>
                    <a:pt x="1512" y="643"/>
                  </a:lnTo>
                  <a:lnTo>
                    <a:pt x="1512" y="641"/>
                  </a:lnTo>
                  <a:lnTo>
                    <a:pt x="1512" y="641"/>
                  </a:lnTo>
                  <a:lnTo>
                    <a:pt x="1509" y="641"/>
                  </a:lnTo>
                  <a:lnTo>
                    <a:pt x="1509" y="641"/>
                  </a:lnTo>
                  <a:lnTo>
                    <a:pt x="1512" y="641"/>
                  </a:lnTo>
                  <a:lnTo>
                    <a:pt x="1516" y="643"/>
                  </a:lnTo>
                  <a:lnTo>
                    <a:pt x="1518" y="643"/>
                  </a:lnTo>
                  <a:lnTo>
                    <a:pt x="1518" y="643"/>
                  </a:lnTo>
                  <a:lnTo>
                    <a:pt x="1518" y="643"/>
                  </a:lnTo>
                  <a:lnTo>
                    <a:pt x="1520" y="646"/>
                  </a:lnTo>
                  <a:lnTo>
                    <a:pt x="1522" y="646"/>
                  </a:lnTo>
                  <a:lnTo>
                    <a:pt x="1526" y="646"/>
                  </a:lnTo>
                  <a:lnTo>
                    <a:pt x="1530" y="650"/>
                  </a:lnTo>
                  <a:lnTo>
                    <a:pt x="1534" y="650"/>
                  </a:lnTo>
                  <a:lnTo>
                    <a:pt x="1536" y="650"/>
                  </a:lnTo>
                  <a:lnTo>
                    <a:pt x="1538" y="650"/>
                  </a:lnTo>
                  <a:lnTo>
                    <a:pt x="1540" y="650"/>
                  </a:lnTo>
                  <a:lnTo>
                    <a:pt x="1540" y="648"/>
                  </a:lnTo>
                  <a:lnTo>
                    <a:pt x="1538" y="648"/>
                  </a:lnTo>
                  <a:lnTo>
                    <a:pt x="1540" y="648"/>
                  </a:lnTo>
                  <a:lnTo>
                    <a:pt x="1540" y="648"/>
                  </a:lnTo>
                  <a:lnTo>
                    <a:pt x="1540" y="648"/>
                  </a:lnTo>
                  <a:lnTo>
                    <a:pt x="1540" y="646"/>
                  </a:lnTo>
                  <a:lnTo>
                    <a:pt x="1540" y="646"/>
                  </a:lnTo>
                  <a:lnTo>
                    <a:pt x="1540" y="646"/>
                  </a:lnTo>
                  <a:lnTo>
                    <a:pt x="1540" y="646"/>
                  </a:lnTo>
                  <a:lnTo>
                    <a:pt x="1538" y="643"/>
                  </a:lnTo>
                  <a:lnTo>
                    <a:pt x="1538" y="643"/>
                  </a:lnTo>
                  <a:lnTo>
                    <a:pt x="1538" y="643"/>
                  </a:lnTo>
                  <a:lnTo>
                    <a:pt x="1538" y="641"/>
                  </a:lnTo>
                  <a:lnTo>
                    <a:pt x="1536" y="639"/>
                  </a:lnTo>
                  <a:lnTo>
                    <a:pt x="1536" y="639"/>
                  </a:lnTo>
                  <a:lnTo>
                    <a:pt x="1536" y="637"/>
                  </a:lnTo>
                  <a:lnTo>
                    <a:pt x="1536" y="637"/>
                  </a:lnTo>
                  <a:lnTo>
                    <a:pt x="1534" y="635"/>
                  </a:lnTo>
                  <a:lnTo>
                    <a:pt x="1534" y="635"/>
                  </a:lnTo>
                  <a:lnTo>
                    <a:pt x="1534" y="635"/>
                  </a:lnTo>
                  <a:lnTo>
                    <a:pt x="1532" y="635"/>
                  </a:lnTo>
                  <a:lnTo>
                    <a:pt x="1532" y="635"/>
                  </a:lnTo>
                  <a:lnTo>
                    <a:pt x="1532" y="635"/>
                  </a:lnTo>
                  <a:lnTo>
                    <a:pt x="1532" y="635"/>
                  </a:lnTo>
                  <a:lnTo>
                    <a:pt x="1530" y="635"/>
                  </a:lnTo>
                  <a:lnTo>
                    <a:pt x="1530" y="635"/>
                  </a:lnTo>
                  <a:lnTo>
                    <a:pt x="1530" y="635"/>
                  </a:lnTo>
                  <a:lnTo>
                    <a:pt x="1530" y="635"/>
                  </a:lnTo>
                  <a:lnTo>
                    <a:pt x="1530" y="635"/>
                  </a:lnTo>
                  <a:lnTo>
                    <a:pt x="1530" y="637"/>
                  </a:lnTo>
                  <a:lnTo>
                    <a:pt x="1530" y="637"/>
                  </a:lnTo>
                  <a:lnTo>
                    <a:pt x="1528" y="637"/>
                  </a:lnTo>
                  <a:lnTo>
                    <a:pt x="1528" y="637"/>
                  </a:lnTo>
                  <a:lnTo>
                    <a:pt x="1528" y="639"/>
                  </a:lnTo>
                  <a:lnTo>
                    <a:pt x="1526" y="639"/>
                  </a:lnTo>
                  <a:lnTo>
                    <a:pt x="1526" y="639"/>
                  </a:lnTo>
                  <a:lnTo>
                    <a:pt x="1526" y="639"/>
                  </a:lnTo>
                  <a:lnTo>
                    <a:pt x="1526" y="639"/>
                  </a:lnTo>
                  <a:lnTo>
                    <a:pt x="1526" y="639"/>
                  </a:lnTo>
                  <a:lnTo>
                    <a:pt x="1524" y="639"/>
                  </a:lnTo>
                  <a:lnTo>
                    <a:pt x="1524" y="639"/>
                  </a:lnTo>
                  <a:lnTo>
                    <a:pt x="1522" y="639"/>
                  </a:lnTo>
                  <a:lnTo>
                    <a:pt x="1522" y="639"/>
                  </a:lnTo>
                  <a:lnTo>
                    <a:pt x="1522" y="639"/>
                  </a:lnTo>
                  <a:lnTo>
                    <a:pt x="1522" y="639"/>
                  </a:lnTo>
                  <a:lnTo>
                    <a:pt x="1524" y="637"/>
                  </a:lnTo>
                  <a:lnTo>
                    <a:pt x="1524" y="637"/>
                  </a:lnTo>
                  <a:lnTo>
                    <a:pt x="1522" y="637"/>
                  </a:lnTo>
                  <a:lnTo>
                    <a:pt x="1522" y="635"/>
                  </a:lnTo>
                  <a:lnTo>
                    <a:pt x="1520" y="635"/>
                  </a:lnTo>
                  <a:lnTo>
                    <a:pt x="1520" y="635"/>
                  </a:lnTo>
                  <a:lnTo>
                    <a:pt x="1518" y="635"/>
                  </a:lnTo>
                  <a:lnTo>
                    <a:pt x="1518" y="635"/>
                  </a:lnTo>
                  <a:lnTo>
                    <a:pt x="1518" y="635"/>
                  </a:lnTo>
                  <a:lnTo>
                    <a:pt x="1516" y="633"/>
                  </a:lnTo>
                  <a:lnTo>
                    <a:pt x="1516" y="633"/>
                  </a:lnTo>
                  <a:lnTo>
                    <a:pt x="1516" y="633"/>
                  </a:lnTo>
                  <a:lnTo>
                    <a:pt x="1516" y="633"/>
                  </a:lnTo>
                  <a:lnTo>
                    <a:pt x="1516" y="633"/>
                  </a:lnTo>
                  <a:lnTo>
                    <a:pt x="1514" y="633"/>
                  </a:lnTo>
                  <a:lnTo>
                    <a:pt x="1514" y="633"/>
                  </a:lnTo>
                  <a:lnTo>
                    <a:pt x="1507" y="633"/>
                  </a:lnTo>
                  <a:lnTo>
                    <a:pt x="1507" y="631"/>
                  </a:lnTo>
                  <a:lnTo>
                    <a:pt x="1507" y="631"/>
                  </a:lnTo>
                  <a:lnTo>
                    <a:pt x="1505" y="631"/>
                  </a:lnTo>
                  <a:lnTo>
                    <a:pt x="1505" y="631"/>
                  </a:lnTo>
                  <a:lnTo>
                    <a:pt x="1505" y="629"/>
                  </a:lnTo>
                  <a:lnTo>
                    <a:pt x="1505" y="629"/>
                  </a:lnTo>
                  <a:lnTo>
                    <a:pt x="1505" y="629"/>
                  </a:lnTo>
                  <a:lnTo>
                    <a:pt x="1512" y="631"/>
                  </a:lnTo>
                  <a:lnTo>
                    <a:pt x="1516" y="633"/>
                  </a:lnTo>
                  <a:lnTo>
                    <a:pt x="1518" y="633"/>
                  </a:lnTo>
                  <a:lnTo>
                    <a:pt x="1518" y="633"/>
                  </a:lnTo>
                  <a:lnTo>
                    <a:pt x="1518" y="633"/>
                  </a:lnTo>
                  <a:lnTo>
                    <a:pt x="1520" y="633"/>
                  </a:lnTo>
                  <a:lnTo>
                    <a:pt x="1524" y="635"/>
                  </a:lnTo>
                  <a:lnTo>
                    <a:pt x="1526" y="635"/>
                  </a:lnTo>
                  <a:lnTo>
                    <a:pt x="1530" y="633"/>
                  </a:lnTo>
                  <a:lnTo>
                    <a:pt x="1532" y="633"/>
                  </a:lnTo>
                  <a:lnTo>
                    <a:pt x="1532" y="633"/>
                  </a:lnTo>
                  <a:lnTo>
                    <a:pt x="1532" y="633"/>
                  </a:lnTo>
                  <a:lnTo>
                    <a:pt x="1532" y="633"/>
                  </a:lnTo>
                  <a:lnTo>
                    <a:pt x="1532" y="631"/>
                  </a:lnTo>
                  <a:lnTo>
                    <a:pt x="1532" y="631"/>
                  </a:lnTo>
                  <a:lnTo>
                    <a:pt x="1532" y="631"/>
                  </a:lnTo>
                  <a:lnTo>
                    <a:pt x="1530" y="631"/>
                  </a:lnTo>
                  <a:lnTo>
                    <a:pt x="1530" y="631"/>
                  </a:lnTo>
                  <a:lnTo>
                    <a:pt x="1530" y="631"/>
                  </a:lnTo>
                  <a:lnTo>
                    <a:pt x="1530" y="629"/>
                  </a:lnTo>
                  <a:lnTo>
                    <a:pt x="1528" y="629"/>
                  </a:lnTo>
                  <a:lnTo>
                    <a:pt x="1528" y="629"/>
                  </a:lnTo>
                  <a:lnTo>
                    <a:pt x="1526" y="629"/>
                  </a:lnTo>
                  <a:lnTo>
                    <a:pt x="1526" y="629"/>
                  </a:lnTo>
                  <a:lnTo>
                    <a:pt x="1524" y="629"/>
                  </a:lnTo>
                  <a:lnTo>
                    <a:pt x="1524" y="627"/>
                  </a:lnTo>
                  <a:lnTo>
                    <a:pt x="1524" y="627"/>
                  </a:lnTo>
                  <a:lnTo>
                    <a:pt x="1526" y="627"/>
                  </a:lnTo>
                  <a:lnTo>
                    <a:pt x="1526" y="627"/>
                  </a:lnTo>
                  <a:lnTo>
                    <a:pt x="1526" y="627"/>
                  </a:lnTo>
                  <a:lnTo>
                    <a:pt x="1528" y="629"/>
                  </a:lnTo>
                  <a:lnTo>
                    <a:pt x="1532" y="629"/>
                  </a:lnTo>
                  <a:lnTo>
                    <a:pt x="1532" y="629"/>
                  </a:lnTo>
                  <a:lnTo>
                    <a:pt x="1532" y="629"/>
                  </a:lnTo>
                  <a:lnTo>
                    <a:pt x="1532" y="629"/>
                  </a:lnTo>
                  <a:lnTo>
                    <a:pt x="1530" y="629"/>
                  </a:lnTo>
                  <a:lnTo>
                    <a:pt x="1530" y="627"/>
                  </a:lnTo>
                  <a:lnTo>
                    <a:pt x="1532" y="627"/>
                  </a:lnTo>
                  <a:lnTo>
                    <a:pt x="1532" y="627"/>
                  </a:lnTo>
                  <a:lnTo>
                    <a:pt x="1532" y="625"/>
                  </a:lnTo>
                  <a:lnTo>
                    <a:pt x="1532" y="625"/>
                  </a:lnTo>
                  <a:lnTo>
                    <a:pt x="1530" y="625"/>
                  </a:lnTo>
                  <a:lnTo>
                    <a:pt x="1530" y="625"/>
                  </a:lnTo>
                  <a:lnTo>
                    <a:pt x="1530" y="625"/>
                  </a:lnTo>
                  <a:lnTo>
                    <a:pt x="1530" y="623"/>
                  </a:lnTo>
                  <a:lnTo>
                    <a:pt x="1532" y="623"/>
                  </a:lnTo>
                  <a:lnTo>
                    <a:pt x="1532" y="623"/>
                  </a:lnTo>
                  <a:lnTo>
                    <a:pt x="1530" y="621"/>
                  </a:lnTo>
                  <a:lnTo>
                    <a:pt x="1528" y="621"/>
                  </a:lnTo>
                  <a:lnTo>
                    <a:pt x="1524" y="621"/>
                  </a:lnTo>
                  <a:lnTo>
                    <a:pt x="1524" y="621"/>
                  </a:lnTo>
                  <a:lnTo>
                    <a:pt x="1524" y="619"/>
                  </a:lnTo>
                  <a:lnTo>
                    <a:pt x="1524" y="619"/>
                  </a:lnTo>
                  <a:lnTo>
                    <a:pt x="1524" y="619"/>
                  </a:lnTo>
                  <a:lnTo>
                    <a:pt x="1524" y="619"/>
                  </a:lnTo>
                  <a:lnTo>
                    <a:pt x="1522" y="619"/>
                  </a:lnTo>
                  <a:lnTo>
                    <a:pt x="1522" y="621"/>
                  </a:lnTo>
                  <a:lnTo>
                    <a:pt x="1520" y="619"/>
                  </a:lnTo>
                  <a:lnTo>
                    <a:pt x="1520" y="619"/>
                  </a:lnTo>
                  <a:lnTo>
                    <a:pt x="1520" y="621"/>
                  </a:lnTo>
                  <a:lnTo>
                    <a:pt x="1518" y="621"/>
                  </a:lnTo>
                  <a:lnTo>
                    <a:pt x="1518" y="621"/>
                  </a:lnTo>
                  <a:lnTo>
                    <a:pt x="1518" y="619"/>
                  </a:lnTo>
                  <a:lnTo>
                    <a:pt x="1518" y="619"/>
                  </a:lnTo>
                  <a:lnTo>
                    <a:pt x="1518" y="619"/>
                  </a:lnTo>
                  <a:lnTo>
                    <a:pt x="1516" y="619"/>
                  </a:lnTo>
                  <a:lnTo>
                    <a:pt x="1516" y="619"/>
                  </a:lnTo>
                  <a:lnTo>
                    <a:pt x="1516" y="619"/>
                  </a:lnTo>
                  <a:lnTo>
                    <a:pt x="1516" y="621"/>
                  </a:lnTo>
                  <a:lnTo>
                    <a:pt x="1514" y="621"/>
                  </a:lnTo>
                  <a:lnTo>
                    <a:pt x="1516" y="621"/>
                  </a:lnTo>
                  <a:lnTo>
                    <a:pt x="1516" y="621"/>
                  </a:lnTo>
                  <a:lnTo>
                    <a:pt x="1516" y="621"/>
                  </a:lnTo>
                  <a:lnTo>
                    <a:pt x="1516" y="623"/>
                  </a:lnTo>
                  <a:lnTo>
                    <a:pt x="1514" y="625"/>
                  </a:lnTo>
                  <a:lnTo>
                    <a:pt x="1514" y="627"/>
                  </a:lnTo>
                  <a:lnTo>
                    <a:pt x="1514" y="627"/>
                  </a:lnTo>
                  <a:lnTo>
                    <a:pt x="1514" y="629"/>
                  </a:lnTo>
                  <a:lnTo>
                    <a:pt x="1512" y="629"/>
                  </a:lnTo>
                  <a:lnTo>
                    <a:pt x="1512" y="629"/>
                  </a:lnTo>
                  <a:lnTo>
                    <a:pt x="1512" y="629"/>
                  </a:lnTo>
                  <a:lnTo>
                    <a:pt x="1512" y="629"/>
                  </a:lnTo>
                  <a:lnTo>
                    <a:pt x="1512" y="629"/>
                  </a:lnTo>
                  <a:lnTo>
                    <a:pt x="1512" y="631"/>
                  </a:lnTo>
                  <a:lnTo>
                    <a:pt x="1512" y="631"/>
                  </a:lnTo>
                  <a:lnTo>
                    <a:pt x="1512" y="629"/>
                  </a:lnTo>
                  <a:lnTo>
                    <a:pt x="1509" y="629"/>
                  </a:lnTo>
                  <a:lnTo>
                    <a:pt x="1507" y="629"/>
                  </a:lnTo>
                  <a:lnTo>
                    <a:pt x="1507" y="629"/>
                  </a:lnTo>
                  <a:lnTo>
                    <a:pt x="1509" y="629"/>
                  </a:lnTo>
                  <a:lnTo>
                    <a:pt x="1512" y="629"/>
                  </a:lnTo>
                  <a:lnTo>
                    <a:pt x="1512" y="627"/>
                  </a:lnTo>
                  <a:lnTo>
                    <a:pt x="1512" y="627"/>
                  </a:lnTo>
                  <a:lnTo>
                    <a:pt x="1512" y="627"/>
                  </a:lnTo>
                  <a:lnTo>
                    <a:pt x="1512" y="627"/>
                  </a:lnTo>
                  <a:lnTo>
                    <a:pt x="1509" y="627"/>
                  </a:lnTo>
                  <a:lnTo>
                    <a:pt x="1509" y="627"/>
                  </a:lnTo>
                  <a:lnTo>
                    <a:pt x="1509" y="627"/>
                  </a:lnTo>
                  <a:lnTo>
                    <a:pt x="1509" y="627"/>
                  </a:lnTo>
                  <a:lnTo>
                    <a:pt x="1507" y="627"/>
                  </a:lnTo>
                  <a:lnTo>
                    <a:pt x="1507" y="627"/>
                  </a:lnTo>
                  <a:lnTo>
                    <a:pt x="1507" y="627"/>
                  </a:lnTo>
                  <a:lnTo>
                    <a:pt x="1509" y="625"/>
                  </a:lnTo>
                  <a:lnTo>
                    <a:pt x="1512" y="625"/>
                  </a:lnTo>
                  <a:lnTo>
                    <a:pt x="1512" y="625"/>
                  </a:lnTo>
                  <a:lnTo>
                    <a:pt x="1512" y="623"/>
                  </a:lnTo>
                  <a:lnTo>
                    <a:pt x="1512" y="623"/>
                  </a:lnTo>
                  <a:lnTo>
                    <a:pt x="1512" y="623"/>
                  </a:lnTo>
                  <a:lnTo>
                    <a:pt x="1514" y="623"/>
                  </a:lnTo>
                  <a:lnTo>
                    <a:pt x="1514" y="623"/>
                  </a:lnTo>
                  <a:lnTo>
                    <a:pt x="1514" y="621"/>
                  </a:lnTo>
                  <a:lnTo>
                    <a:pt x="1514" y="621"/>
                  </a:lnTo>
                  <a:lnTo>
                    <a:pt x="1514" y="621"/>
                  </a:lnTo>
                  <a:lnTo>
                    <a:pt x="1514" y="619"/>
                  </a:lnTo>
                  <a:lnTo>
                    <a:pt x="1514" y="619"/>
                  </a:lnTo>
                  <a:lnTo>
                    <a:pt x="1512" y="619"/>
                  </a:lnTo>
                  <a:lnTo>
                    <a:pt x="1512" y="619"/>
                  </a:lnTo>
                  <a:lnTo>
                    <a:pt x="1512" y="617"/>
                  </a:lnTo>
                  <a:lnTo>
                    <a:pt x="1512" y="617"/>
                  </a:lnTo>
                  <a:lnTo>
                    <a:pt x="1512" y="617"/>
                  </a:lnTo>
                  <a:lnTo>
                    <a:pt x="1509" y="617"/>
                  </a:lnTo>
                  <a:lnTo>
                    <a:pt x="1509" y="617"/>
                  </a:lnTo>
                  <a:lnTo>
                    <a:pt x="1507" y="617"/>
                  </a:lnTo>
                  <a:lnTo>
                    <a:pt x="1507" y="617"/>
                  </a:lnTo>
                  <a:lnTo>
                    <a:pt x="1507" y="617"/>
                  </a:lnTo>
                  <a:lnTo>
                    <a:pt x="1507" y="617"/>
                  </a:lnTo>
                  <a:lnTo>
                    <a:pt x="1505" y="617"/>
                  </a:lnTo>
                  <a:lnTo>
                    <a:pt x="1503" y="615"/>
                  </a:lnTo>
                  <a:lnTo>
                    <a:pt x="1503" y="615"/>
                  </a:lnTo>
                  <a:lnTo>
                    <a:pt x="1503" y="615"/>
                  </a:lnTo>
                  <a:lnTo>
                    <a:pt x="1501" y="619"/>
                  </a:lnTo>
                  <a:lnTo>
                    <a:pt x="1499" y="619"/>
                  </a:lnTo>
                  <a:lnTo>
                    <a:pt x="1499" y="621"/>
                  </a:lnTo>
                  <a:lnTo>
                    <a:pt x="1499" y="621"/>
                  </a:lnTo>
                  <a:lnTo>
                    <a:pt x="1501" y="621"/>
                  </a:lnTo>
                  <a:lnTo>
                    <a:pt x="1501" y="623"/>
                  </a:lnTo>
                  <a:lnTo>
                    <a:pt x="1499" y="623"/>
                  </a:lnTo>
                  <a:lnTo>
                    <a:pt x="1497" y="621"/>
                  </a:lnTo>
                  <a:lnTo>
                    <a:pt x="1495" y="621"/>
                  </a:lnTo>
                  <a:lnTo>
                    <a:pt x="1495" y="621"/>
                  </a:lnTo>
                  <a:lnTo>
                    <a:pt x="1495" y="621"/>
                  </a:lnTo>
                  <a:lnTo>
                    <a:pt x="1495" y="621"/>
                  </a:lnTo>
                  <a:lnTo>
                    <a:pt x="1495" y="621"/>
                  </a:lnTo>
                  <a:lnTo>
                    <a:pt x="1495" y="623"/>
                  </a:lnTo>
                  <a:lnTo>
                    <a:pt x="1495" y="623"/>
                  </a:lnTo>
                  <a:lnTo>
                    <a:pt x="1495" y="623"/>
                  </a:lnTo>
                  <a:lnTo>
                    <a:pt x="1495" y="623"/>
                  </a:lnTo>
                  <a:lnTo>
                    <a:pt x="1495" y="625"/>
                  </a:lnTo>
                  <a:lnTo>
                    <a:pt x="1495" y="625"/>
                  </a:lnTo>
                  <a:lnTo>
                    <a:pt x="1495" y="625"/>
                  </a:lnTo>
                  <a:lnTo>
                    <a:pt x="1495" y="625"/>
                  </a:lnTo>
                  <a:lnTo>
                    <a:pt x="1495" y="627"/>
                  </a:lnTo>
                  <a:lnTo>
                    <a:pt x="1497" y="627"/>
                  </a:lnTo>
                  <a:lnTo>
                    <a:pt x="1497" y="627"/>
                  </a:lnTo>
                  <a:lnTo>
                    <a:pt x="1497" y="629"/>
                  </a:lnTo>
                  <a:lnTo>
                    <a:pt x="1497" y="629"/>
                  </a:lnTo>
                  <a:lnTo>
                    <a:pt x="1495" y="627"/>
                  </a:lnTo>
                  <a:lnTo>
                    <a:pt x="1495" y="627"/>
                  </a:lnTo>
                  <a:lnTo>
                    <a:pt x="1495" y="627"/>
                  </a:lnTo>
                  <a:lnTo>
                    <a:pt x="1495" y="625"/>
                  </a:lnTo>
                  <a:lnTo>
                    <a:pt x="1495" y="625"/>
                  </a:lnTo>
                  <a:lnTo>
                    <a:pt x="1493" y="625"/>
                  </a:lnTo>
                  <a:lnTo>
                    <a:pt x="1493" y="625"/>
                  </a:lnTo>
                  <a:lnTo>
                    <a:pt x="1493" y="623"/>
                  </a:lnTo>
                  <a:lnTo>
                    <a:pt x="1493" y="623"/>
                  </a:lnTo>
                  <a:lnTo>
                    <a:pt x="1491" y="623"/>
                  </a:lnTo>
                  <a:lnTo>
                    <a:pt x="1491" y="621"/>
                  </a:lnTo>
                  <a:lnTo>
                    <a:pt x="1491" y="621"/>
                  </a:lnTo>
                  <a:lnTo>
                    <a:pt x="1491" y="621"/>
                  </a:lnTo>
                  <a:lnTo>
                    <a:pt x="1489" y="623"/>
                  </a:lnTo>
                  <a:lnTo>
                    <a:pt x="1489" y="623"/>
                  </a:lnTo>
                  <a:lnTo>
                    <a:pt x="1491" y="625"/>
                  </a:lnTo>
                  <a:lnTo>
                    <a:pt x="1491" y="625"/>
                  </a:lnTo>
                  <a:lnTo>
                    <a:pt x="1491" y="627"/>
                  </a:lnTo>
                  <a:lnTo>
                    <a:pt x="1493" y="627"/>
                  </a:lnTo>
                  <a:lnTo>
                    <a:pt x="1493" y="627"/>
                  </a:lnTo>
                  <a:lnTo>
                    <a:pt x="1493" y="627"/>
                  </a:lnTo>
                  <a:lnTo>
                    <a:pt x="1493" y="627"/>
                  </a:lnTo>
                  <a:lnTo>
                    <a:pt x="1491" y="627"/>
                  </a:lnTo>
                  <a:lnTo>
                    <a:pt x="1491" y="627"/>
                  </a:lnTo>
                  <a:lnTo>
                    <a:pt x="1489" y="627"/>
                  </a:lnTo>
                  <a:lnTo>
                    <a:pt x="1489" y="627"/>
                  </a:lnTo>
                  <a:lnTo>
                    <a:pt x="1489" y="627"/>
                  </a:lnTo>
                  <a:lnTo>
                    <a:pt x="1489" y="629"/>
                  </a:lnTo>
                  <a:lnTo>
                    <a:pt x="1489" y="629"/>
                  </a:lnTo>
                  <a:lnTo>
                    <a:pt x="1493" y="631"/>
                  </a:lnTo>
                  <a:lnTo>
                    <a:pt x="1493" y="633"/>
                  </a:lnTo>
                  <a:lnTo>
                    <a:pt x="1495" y="633"/>
                  </a:lnTo>
                  <a:lnTo>
                    <a:pt x="1495" y="633"/>
                  </a:lnTo>
                  <a:lnTo>
                    <a:pt x="1497" y="633"/>
                  </a:lnTo>
                  <a:lnTo>
                    <a:pt x="1499" y="637"/>
                  </a:lnTo>
                  <a:lnTo>
                    <a:pt x="1501" y="637"/>
                  </a:lnTo>
                  <a:lnTo>
                    <a:pt x="1503" y="639"/>
                  </a:lnTo>
                  <a:lnTo>
                    <a:pt x="1503" y="639"/>
                  </a:lnTo>
                  <a:lnTo>
                    <a:pt x="1501" y="639"/>
                  </a:lnTo>
                  <a:lnTo>
                    <a:pt x="1499" y="637"/>
                  </a:lnTo>
                  <a:lnTo>
                    <a:pt x="1495" y="633"/>
                  </a:lnTo>
                  <a:lnTo>
                    <a:pt x="1493" y="633"/>
                  </a:lnTo>
                  <a:lnTo>
                    <a:pt x="1493" y="633"/>
                  </a:lnTo>
                  <a:lnTo>
                    <a:pt x="1493" y="633"/>
                  </a:lnTo>
                  <a:lnTo>
                    <a:pt x="1493" y="633"/>
                  </a:lnTo>
                  <a:lnTo>
                    <a:pt x="1493" y="635"/>
                  </a:lnTo>
                  <a:lnTo>
                    <a:pt x="1493" y="635"/>
                  </a:lnTo>
                  <a:lnTo>
                    <a:pt x="1493" y="635"/>
                  </a:lnTo>
                  <a:lnTo>
                    <a:pt x="1493" y="637"/>
                  </a:lnTo>
                  <a:lnTo>
                    <a:pt x="1493" y="637"/>
                  </a:lnTo>
                  <a:lnTo>
                    <a:pt x="1493" y="637"/>
                  </a:lnTo>
                  <a:lnTo>
                    <a:pt x="1493" y="639"/>
                  </a:lnTo>
                  <a:lnTo>
                    <a:pt x="1493" y="641"/>
                  </a:lnTo>
                  <a:lnTo>
                    <a:pt x="1493" y="641"/>
                  </a:lnTo>
                  <a:lnTo>
                    <a:pt x="1493" y="643"/>
                  </a:lnTo>
                  <a:lnTo>
                    <a:pt x="1493" y="643"/>
                  </a:lnTo>
                  <a:lnTo>
                    <a:pt x="1493" y="643"/>
                  </a:lnTo>
                  <a:lnTo>
                    <a:pt x="1493" y="641"/>
                  </a:lnTo>
                  <a:lnTo>
                    <a:pt x="1493" y="641"/>
                  </a:lnTo>
                  <a:lnTo>
                    <a:pt x="1495" y="641"/>
                  </a:lnTo>
                  <a:lnTo>
                    <a:pt x="1495" y="641"/>
                  </a:lnTo>
                  <a:lnTo>
                    <a:pt x="1495" y="641"/>
                  </a:lnTo>
                  <a:lnTo>
                    <a:pt x="1495" y="643"/>
                  </a:lnTo>
                  <a:lnTo>
                    <a:pt x="1495" y="643"/>
                  </a:lnTo>
                  <a:lnTo>
                    <a:pt x="1497" y="643"/>
                  </a:lnTo>
                  <a:lnTo>
                    <a:pt x="1497" y="643"/>
                  </a:lnTo>
                  <a:lnTo>
                    <a:pt x="1497" y="643"/>
                  </a:lnTo>
                  <a:lnTo>
                    <a:pt x="1497" y="643"/>
                  </a:lnTo>
                  <a:lnTo>
                    <a:pt x="1499" y="643"/>
                  </a:lnTo>
                  <a:lnTo>
                    <a:pt x="1499" y="643"/>
                  </a:lnTo>
                  <a:lnTo>
                    <a:pt x="1499" y="643"/>
                  </a:lnTo>
                  <a:lnTo>
                    <a:pt x="1499" y="646"/>
                  </a:lnTo>
                  <a:lnTo>
                    <a:pt x="1503" y="648"/>
                  </a:lnTo>
                  <a:lnTo>
                    <a:pt x="1503" y="648"/>
                  </a:lnTo>
                  <a:lnTo>
                    <a:pt x="1503" y="648"/>
                  </a:lnTo>
                  <a:lnTo>
                    <a:pt x="1503" y="648"/>
                  </a:lnTo>
                  <a:lnTo>
                    <a:pt x="1503" y="650"/>
                  </a:lnTo>
                  <a:lnTo>
                    <a:pt x="1503" y="650"/>
                  </a:lnTo>
                  <a:lnTo>
                    <a:pt x="1503" y="650"/>
                  </a:lnTo>
                  <a:lnTo>
                    <a:pt x="1503" y="650"/>
                  </a:lnTo>
                  <a:lnTo>
                    <a:pt x="1505" y="650"/>
                  </a:lnTo>
                  <a:lnTo>
                    <a:pt x="1505" y="650"/>
                  </a:lnTo>
                  <a:lnTo>
                    <a:pt x="1503" y="650"/>
                  </a:lnTo>
                  <a:lnTo>
                    <a:pt x="1505" y="650"/>
                  </a:lnTo>
                  <a:lnTo>
                    <a:pt x="1505" y="650"/>
                  </a:lnTo>
                  <a:lnTo>
                    <a:pt x="1505" y="650"/>
                  </a:lnTo>
                  <a:lnTo>
                    <a:pt x="1505" y="650"/>
                  </a:lnTo>
                  <a:lnTo>
                    <a:pt x="1505" y="650"/>
                  </a:lnTo>
                  <a:lnTo>
                    <a:pt x="1507" y="650"/>
                  </a:lnTo>
                  <a:lnTo>
                    <a:pt x="1507" y="650"/>
                  </a:lnTo>
                  <a:lnTo>
                    <a:pt x="1507" y="650"/>
                  </a:lnTo>
                  <a:lnTo>
                    <a:pt x="1507" y="650"/>
                  </a:lnTo>
                  <a:lnTo>
                    <a:pt x="1507" y="650"/>
                  </a:lnTo>
                  <a:lnTo>
                    <a:pt x="1507" y="650"/>
                  </a:lnTo>
                  <a:lnTo>
                    <a:pt x="1507" y="652"/>
                  </a:lnTo>
                  <a:lnTo>
                    <a:pt x="1507" y="652"/>
                  </a:lnTo>
                  <a:lnTo>
                    <a:pt x="1507" y="652"/>
                  </a:lnTo>
                  <a:lnTo>
                    <a:pt x="1507" y="652"/>
                  </a:lnTo>
                  <a:lnTo>
                    <a:pt x="1507" y="650"/>
                  </a:lnTo>
                  <a:lnTo>
                    <a:pt x="1505" y="650"/>
                  </a:lnTo>
                  <a:lnTo>
                    <a:pt x="1505" y="652"/>
                  </a:lnTo>
                  <a:lnTo>
                    <a:pt x="1505" y="652"/>
                  </a:lnTo>
                  <a:lnTo>
                    <a:pt x="1507" y="652"/>
                  </a:lnTo>
                  <a:lnTo>
                    <a:pt x="1514" y="656"/>
                  </a:lnTo>
                  <a:lnTo>
                    <a:pt x="1514" y="656"/>
                  </a:lnTo>
                  <a:lnTo>
                    <a:pt x="1516" y="658"/>
                  </a:lnTo>
                  <a:lnTo>
                    <a:pt x="1516" y="658"/>
                  </a:lnTo>
                  <a:lnTo>
                    <a:pt x="1514" y="658"/>
                  </a:lnTo>
                  <a:lnTo>
                    <a:pt x="1512" y="656"/>
                  </a:lnTo>
                  <a:lnTo>
                    <a:pt x="1509" y="654"/>
                  </a:lnTo>
                  <a:lnTo>
                    <a:pt x="1509" y="654"/>
                  </a:lnTo>
                  <a:lnTo>
                    <a:pt x="1507" y="656"/>
                  </a:lnTo>
                  <a:lnTo>
                    <a:pt x="1509" y="656"/>
                  </a:lnTo>
                  <a:lnTo>
                    <a:pt x="1509" y="656"/>
                  </a:lnTo>
                  <a:lnTo>
                    <a:pt x="1509" y="658"/>
                  </a:lnTo>
                  <a:lnTo>
                    <a:pt x="1512" y="658"/>
                  </a:lnTo>
                  <a:lnTo>
                    <a:pt x="1512" y="658"/>
                  </a:lnTo>
                  <a:lnTo>
                    <a:pt x="1512" y="658"/>
                  </a:lnTo>
                  <a:lnTo>
                    <a:pt x="1514" y="658"/>
                  </a:lnTo>
                  <a:lnTo>
                    <a:pt x="1514" y="660"/>
                  </a:lnTo>
                  <a:lnTo>
                    <a:pt x="1514" y="660"/>
                  </a:lnTo>
                  <a:lnTo>
                    <a:pt x="1516" y="660"/>
                  </a:lnTo>
                  <a:lnTo>
                    <a:pt x="1518" y="660"/>
                  </a:lnTo>
                  <a:lnTo>
                    <a:pt x="1520" y="660"/>
                  </a:lnTo>
                  <a:close/>
                  <a:moveTo>
                    <a:pt x="1245" y="566"/>
                  </a:moveTo>
                  <a:lnTo>
                    <a:pt x="1245" y="566"/>
                  </a:lnTo>
                  <a:lnTo>
                    <a:pt x="1245" y="566"/>
                  </a:lnTo>
                  <a:lnTo>
                    <a:pt x="1245" y="566"/>
                  </a:lnTo>
                  <a:lnTo>
                    <a:pt x="1243" y="566"/>
                  </a:lnTo>
                  <a:lnTo>
                    <a:pt x="1243" y="566"/>
                  </a:lnTo>
                  <a:lnTo>
                    <a:pt x="1243" y="566"/>
                  </a:lnTo>
                  <a:lnTo>
                    <a:pt x="1243" y="566"/>
                  </a:lnTo>
                  <a:lnTo>
                    <a:pt x="1243" y="566"/>
                  </a:lnTo>
                  <a:lnTo>
                    <a:pt x="1245" y="566"/>
                  </a:lnTo>
                  <a:lnTo>
                    <a:pt x="1245" y="566"/>
                  </a:lnTo>
                  <a:lnTo>
                    <a:pt x="1245" y="566"/>
                  </a:lnTo>
                  <a:lnTo>
                    <a:pt x="1245" y="566"/>
                  </a:lnTo>
                  <a:lnTo>
                    <a:pt x="1245" y="566"/>
                  </a:lnTo>
                  <a:close/>
                  <a:moveTo>
                    <a:pt x="1167" y="584"/>
                  </a:moveTo>
                  <a:lnTo>
                    <a:pt x="1167" y="584"/>
                  </a:lnTo>
                  <a:lnTo>
                    <a:pt x="1167" y="584"/>
                  </a:lnTo>
                  <a:lnTo>
                    <a:pt x="1167" y="584"/>
                  </a:lnTo>
                  <a:lnTo>
                    <a:pt x="1167" y="584"/>
                  </a:lnTo>
                  <a:lnTo>
                    <a:pt x="1167" y="584"/>
                  </a:lnTo>
                  <a:lnTo>
                    <a:pt x="1167" y="584"/>
                  </a:lnTo>
                  <a:lnTo>
                    <a:pt x="1165" y="586"/>
                  </a:lnTo>
                  <a:lnTo>
                    <a:pt x="1165" y="586"/>
                  </a:lnTo>
                  <a:lnTo>
                    <a:pt x="1163" y="588"/>
                  </a:lnTo>
                  <a:lnTo>
                    <a:pt x="1163" y="588"/>
                  </a:lnTo>
                  <a:lnTo>
                    <a:pt x="1163" y="588"/>
                  </a:lnTo>
                  <a:lnTo>
                    <a:pt x="1163" y="586"/>
                  </a:lnTo>
                  <a:lnTo>
                    <a:pt x="1163" y="586"/>
                  </a:lnTo>
                  <a:lnTo>
                    <a:pt x="1161" y="586"/>
                  </a:lnTo>
                  <a:lnTo>
                    <a:pt x="1161"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1" y="588"/>
                  </a:lnTo>
                  <a:lnTo>
                    <a:pt x="1161" y="590"/>
                  </a:lnTo>
                  <a:lnTo>
                    <a:pt x="1163" y="590"/>
                  </a:lnTo>
                  <a:lnTo>
                    <a:pt x="1165" y="588"/>
                  </a:lnTo>
                  <a:lnTo>
                    <a:pt x="1165" y="588"/>
                  </a:lnTo>
                  <a:lnTo>
                    <a:pt x="1165" y="588"/>
                  </a:lnTo>
                  <a:lnTo>
                    <a:pt x="1167" y="584"/>
                  </a:lnTo>
                  <a:lnTo>
                    <a:pt x="1167" y="584"/>
                  </a:lnTo>
                  <a:close/>
                  <a:moveTo>
                    <a:pt x="1532" y="609"/>
                  </a:moveTo>
                  <a:lnTo>
                    <a:pt x="1530" y="607"/>
                  </a:lnTo>
                  <a:lnTo>
                    <a:pt x="1530" y="607"/>
                  </a:lnTo>
                  <a:lnTo>
                    <a:pt x="1530" y="607"/>
                  </a:lnTo>
                  <a:lnTo>
                    <a:pt x="1530" y="607"/>
                  </a:lnTo>
                  <a:lnTo>
                    <a:pt x="1528" y="607"/>
                  </a:lnTo>
                  <a:lnTo>
                    <a:pt x="1528" y="605"/>
                  </a:lnTo>
                  <a:lnTo>
                    <a:pt x="1528" y="605"/>
                  </a:lnTo>
                  <a:lnTo>
                    <a:pt x="1526" y="605"/>
                  </a:lnTo>
                  <a:lnTo>
                    <a:pt x="1526" y="605"/>
                  </a:lnTo>
                  <a:lnTo>
                    <a:pt x="1526" y="605"/>
                  </a:lnTo>
                  <a:lnTo>
                    <a:pt x="1526" y="605"/>
                  </a:lnTo>
                  <a:lnTo>
                    <a:pt x="1524" y="605"/>
                  </a:lnTo>
                  <a:lnTo>
                    <a:pt x="1524" y="603"/>
                  </a:lnTo>
                  <a:lnTo>
                    <a:pt x="1524" y="603"/>
                  </a:lnTo>
                  <a:lnTo>
                    <a:pt x="1524" y="603"/>
                  </a:lnTo>
                  <a:lnTo>
                    <a:pt x="1524" y="603"/>
                  </a:lnTo>
                  <a:lnTo>
                    <a:pt x="1524" y="603"/>
                  </a:lnTo>
                  <a:lnTo>
                    <a:pt x="1524" y="605"/>
                  </a:lnTo>
                  <a:lnTo>
                    <a:pt x="1524" y="605"/>
                  </a:lnTo>
                  <a:lnTo>
                    <a:pt x="1526" y="609"/>
                  </a:lnTo>
                  <a:lnTo>
                    <a:pt x="1526" y="609"/>
                  </a:lnTo>
                  <a:lnTo>
                    <a:pt x="1526" y="609"/>
                  </a:lnTo>
                  <a:lnTo>
                    <a:pt x="1526" y="609"/>
                  </a:lnTo>
                  <a:lnTo>
                    <a:pt x="1528" y="609"/>
                  </a:lnTo>
                  <a:lnTo>
                    <a:pt x="1528" y="611"/>
                  </a:lnTo>
                  <a:lnTo>
                    <a:pt x="1528" y="611"/>
                  </a:lnTo>
                  <a:lnTo>
                    <a:pt x="1528" y="613"/>
                  </a:lnTo>
                  <a:lnTo>
                    <a:pt x="1528" y="613"/>
                  </a:lnTo>
                  <a:lnTo>
                    <a:pt x="1528" y="613"/>
                  </a:lnTo>
                  <a:lnTo>
                    <a:pt x="1528" y="613"/>
                  </a:lnTo>
                  <a:lnTo>
                    <a:pt x="1530" y="613"/>
                  </a:lnTo>
                  <a:lnTo>
                    <a:pt x="1530" y="613"/>
                  </a:lnTo>
                  <a:lnTo>
                    <a:pt x="1530" y="615"/>
                  </a:lnTo>
                  <a:lnTo>
                    <a:pt x="1532" y="617"/>
                  </a:lnTo>
                  <a:lnTo>
                    <a:pt x="1532" y="617"/>
                  </a:lnTo>
                  <a:lnTo>
                    <a:pt x="1532" y="615"/>
                  </a:lnTo>
                  <a:lnTo>
                    <a:pt x="1532" y="615"/>
                  </a:lnTo>
                  <a:lnTo>
                    <a:pt x="1532" y="613"/>
                  </a:lnTo>
                  <a:lnTo>
                    <a:pt x="1532" y="613"/>
                  </a:lnTo>
                  <a:lnTo>
                    <a:pt x="1532" y="613"/>
                  </a:lnTo>
                  <a:lnTo>
                    <a:pt x="1532" y="613"/>
                  </a:lnTo>
                  <a:lnTo>
                    <a:pt x="1532" y="611"/>
                  </a:lnTo>
                  <a:lnTo>
                    <a:pt x="1532" y="613"/>
                  </a:lnTo>
                  <a:lnTo>
                    <a:pt x="1532" y="613"/>
                  </a:lnTo>
                  <a:lnTo>
                    <a:pt x="1532" y="613"/>
                  </a:lnTo>
                  <a:lnTo>
                    <a:pt x="1532" y="613"/>
                  </a:lnTo>
                  <a:lnTo>
                    <a:pt x="1532" y="615"/>
                  </a:lnTo>
                  <a:lnTo>
                    <a:pt x="1532" y="615"/>
                  </a:lnTo>
                  <a:lnTo>
                    <a:pt x="1532" y="615"/>
                  </a:lnTo>
                  <a:lnTo>
                    <a:pt x="1532" y="615"/>
                  </a:lnTo>
                  <a:lnTo>
                    <a:pt x="1534" y="615"/>
                  </a:lnTo>
                  <a:lnTo>
                    <a:pt x="1534" y="617"/>
                  </a:lnTo>
                  <a:lnTo>
                    <a:pt x="1532" y="619"/>
                  </a:lnTo>
                  <a:lnTo>
                    <a:pt x="1532" y="619"/>
                  </a:lnTo>
                  <a:lnTo>
                    <a:pt x="1532" y="619"/>
                  </a:lnTo>
                  <a:lnTo>
                    <a:pt x="1534" y="621"/>
                  </a:lnTo>
                  <a:lnTo>
                    <a:pt x="1534" y="621"/>
                  </a:lnTo>
                  <a:lnTo>
                    <a:pt x="1534" y="621"/>
                  </a:lnTo>
                  <a:lnTo>
                    <a:pt x="1534" y="623"/>
                  </a:lnTo>
                  <a:lnTo>
                    <a:pt x="1534" y="623"/>
                  </a:lnTo>
                  <a:lnTo>
                    <a:pt x="1536" y="623"/>
                  </a:lnTo>
                  <a:lnTo>
                    <a:pt x="1536" y="627"/>
                  </a:lnTo>
                  <a:lnTo>
                    <a:pt x="1538" y="627"/>
                  </a:lnTo>
                  <a:lnTo>
                    <a:pt x="1538" y="629"/>
                  </a:lnTo>
                  <a:lnTo>
                    <a:pt x="1540" y="631"/>
                  </a:lnTo>
                  <a:lnTo>
                    <a:pt x="1540" y="633"/>
                  </a:lnTo>
                  <a:lnTo>
                    <a:pt x="1540" y="633"/>
                  </a:lnTo>
                  <a:lnTo>
                    <a:pt x="1540" y="633"/>
                  </a:lnTo>
                  <a:lnTo>
                    <a:pt x="1540" y="633"/>
                  </a:lnTo>
                  <a:lnTo>
                    <a:pt x="1540" y="635"/>
                  </a:lnTo>
                  <a:lnTo>
                    <a:pt x="1540" y="635"/>
                  </a:lnTo>
                  <a:lnTo>
                    <a:pt x="1542" y="637"/>
                  </a:lnTo>
                  <a:lnTo>
                    <a:pt x="1542" y="637"/>
                  </a:lnTo>
                  <a:lnTo>
                    <a:pt x="1542" y="639"/>
                  </a:lnTo>
                  <a:lnTo>
                    <a:pt x="1542" y="639"/>
                  </a:lnTo>
                  <a:lnTo>
                    <a:pt x="1544" y="641"/>
                  </a:lnTo>
                  <a:lnTo>
                    <a:pt x="1544" y="641"/>
                  </a:lnTo>
                  <a:lnTo>
                    <a:pt x="1544" y="641"/>
                  </a:lnTo>
                  <a:lnTo>
                    <a:pt x="1544" y="641"/>
                  </a:lnTo>
                  <a:lnTo>
                    <a:pt x="1546" y="643"/>
                  </a:lnTo>
                  <a:lnTo>
                    <a:pt x="1546" y="643"/>
                  </a:lnTo>
                  <a:lnTo>
                    <a:pt x="1548" y="643"/>
                  </a:lnTo>
                  <a:lnTo>
                    <a:pt x="1548" y="641"/>
                  </a:lnTo>
                  <a:lnTo>
                    <a:pt x="1550" y="641"/>
                  </a:lnTo>
                  <a:lnTo>
                    <a:pt x="1552" y="641"/>
                  </a:lnTo>
                  <a:lnTo>
                    <a:pt x="1550" y="641"/>
                  </a:lnTo>
                  <a:lnTo>
                    <a:pt x="1550" y="643"/>
                  </a:lnTo>
                  <a:lnTo>
                    <a:pt x="1550" y="643"/>
                  </a:lnTo>
                  <a:lnTo>
                    <a:pt x="1548" y="643"/>
                  </a:lnTo>
                  <a:lnTo>
                    <a:pt x="1548" y="646"/>
                  </a:lnTo>
                  <a:lnTo>
                    <a:pt x="1548" y="646"/>
                  </a:lnTo>
                  <a:lnTo>
                    <a:pt x="1548" y="646"/>
                  </a:lnTo>
                  <a:lnTo>
                    <a:pt x="1548" y="646"/>
                  </a:lnTo>
                  <a:lnTo>
                    <a:pt x="1546" y="646"/>
                  </a:lnTo>
                  <a:lnTo>
                    <a:pt x="1546" y="646"/>
                  </a:lnTo>
                  <a:lnTo>
                    <a:pt x="1548" y="646"/>
                  </a:lnTo>
                  <a:lnTo>
                    <a:pt x="1548" y="646"/>
                  </a:lnTo>
                  <a:lnTo>
                    <a:pt x="1548" y="646"/>
                  </a:lnTo>
                  <a:lnTo>
                    <a:pt x="1548" y="646"/>
                  </a:lnTo>
                  <a:lnTo>
                    <a:pt x="1550" y="648"/>
                  </a:lnTo>
                  <a:lnTo>
                    <a:pt x="1550" y="650"/>
                  </a:lnTo>
                  <a:lnTo>
                    <a:pt x="1550" y="650"/>
                  </a:lnTo>
                  <a:lnTo>
                    <a:pt x="1552" y="650"/>
                  </a:lnTo>
                  <a:lnTo>
                    <a:pt x="1555" y="648"/>
                  </a:lnTo>
                  <a:lnTo>
                    <a:pt x="1557" y="648"/>
                  </a:lnTo>
                  <a:lnTo>
                    <a:pt x="1555" y="648"/>
                  </a:lnTo>
                  <a:lnTo>
                    <a:pt x="1555" y="650"/>
                  </a:lnTo>
                  <a:lnTo>
                    <a:pt x="1555" y="650"/>
                  </a:lnTo>
                  <a:lnTo>
                    <a:pt x="1555" y="650"/>
                  </a:lnTo>
                  <a:lnTo>
                    <a:pt x="1555" y="650"/>
                  </a:lnTo>
                  <a:lnTo>
                    <a:pt x="1555" y="650"/>
                  </a:lnTo>
                  <a:lnTo>
                    <a:pt x="1557" y="650"/>
                  </a:lnTo>
                  <a:lnTo>
                    <a:pt x="1557" y="652"/>
                  </a:lnTo>
                  <a:lnTo>
                    <a:pt x="1557" y="652"/>
                  </a:lnTo>
                  <a:lnTo>
                    <a:pt x="1555" y="650"/>
                  </a:lnTo>
                  <a:lnTo>
                    <a:pt x="1550" y="650"/>
                  </a:lnTo>
                  <a:lnTo>
                    <a:pt x="1550" y="650"/>
                  </a:lnTo>
                  <a:lnTo>
                    <a:pt x="1550" y="650"/>
                  </a:lnTo>
                  <a:lnTo>
                    <a:pt x="1548" y="650"/>
                  </a:lnTo>
                  <a:lnTo>
                    <a:pt x="1548" y="650"/>
                  </a:lnTo>
                  <a:lnTo>
                    <a:pt x="1548" y="650"/>
                  </a:lnTo>
                  <a:lnTo>
                    <a:pt x="1550" y="652"/>
                  </a:lnTo>
                  <a:lnTo>
                    <a:pt x="1550" y="652"/>
                  </a:lnTo>
                  <a:lnTo>
                    <a:pt x="1550" y="652"/>
                  </a:lnTo>
                  <a:lnTo>
                    <a:pt x="1550" y="652"/>
                  </a:lnTo>
                  <a:lnTo>
                    <a:pt x="1550" y="652"/>
                  </a:lnTo>
                  <a:lnTo>
                    <a:pt x="1552" y="652"/>
                  </a:lnTo>
                  <a:lnTo>
                    <a:pt x="1552" y="654"/>
                  </a:lnTo>
                  <a:lnTo>
                    <a:pt x="1552" y="654"/>
                  </a:lnTo>
                  <a:lnTo>
                    <a:pt x="1550" y="654"/>
                  </a:lnTo>
                  <a:lnTo>
                    <a:pt x="1550" y="654"/>
                  </a:lnTo>
                  <a:lnTo>
                    <a:pt x="1550" y="656"/>
                  </a:lnTo>
                  <a:lnTo>
                    <a:pt x="1550" y="656"/>
                  </a:lnTo>
                  <a:lnTo>
                    <a:pt x="1550" y="656"/>
                  </a:lnTo>
                  <a:lnTo>
                    <a:pt x="1550" y="658"/>
                  </a:lnTo>
                  <a:lnTo>
                    <a:pt x="1550" y="658"/>
                  </a:lnTo>
                  <a:lnTo>
                    <a:pt x="1552" y="658"/>
                  </a:lnTo>
                  <a:lnTo>
                    <a:pt x="1552" y="658"/>
                  </a:lnTo>
                  <a:lnTo>
                    <a:pt x="1552" y="658"/>
                  </a:lnTo>
                  <a:lnTo>
                    <a:pt x="1552" y="658"/>
                  </a:lnTo>
                  <a:lnTo>
                    <a:pt x="1550" y="658"/>
                  </a:lnTo>
                  <a:lnTo>
                    <a:pt x="1550" y="660"/>
                  </a:lnTo>
                  <a:lnTo>
                    <a:pt x="1550" y="660"/>
                  </a:lnTo>
                  <a:lnTo>
                    <a:pt x="1550" y="660"/>
                  </a:lnTo>
                  <a:lnTo>
                    <a:pt x="1550" y="660"/>
                  </a:lnTo>
                  <a:lnTo>
                    <a:pt x="1550" y="662"/>
                  </a:lnTo>
                  <a:lnTo>
                    <a:pt x="1552" y="662"/>
                  </a:lnTo>
                  <a:lnTo>
                    <a:pt x="1552" y="662"/>
                  </a:lnTo>
                  <a:lnTo>
                    <a:pt x="1550" y="664"/>
                  </a:lnTo>
                  <a:lnTo>
                    <a:pt x="1550" y="664"/>
                  </a:lnTo>
                  <a:lnTo>
                    <a:pt x="1552" y="666"/>
                  </a:lnTo>
                  <a:lnTo>
                    <a:pt x="1552" y="668"/>
                  </a:lnTo>
                  <a:lnTo>
                    <a:pt x="1552" y="670"/>
                  </a:lnTo>
                  <a:lnTo>
                    <a:pt x="1555" y="668"/>
                  </a:lnTo>
                  <a:lnTo>
                    <a:pt x="1555" y="668"/>
                  </a:lnTo>
                  <a:lnTo>
                    <a:pt x="1557" y="668"/>
                  </a:lnTo>
                  <a:lnTo>
                    <a:pt x="1557" y="668"/>
                  </a:lnTo>
                  <a:lnTo>
                    <a:pt x="1557" y="666"/>
                  </a:lnTo>
                  <a:lnTo>
                    <a:pt x="1557" y="666"/>
                  </a:lnTo>
                  <a:lnTo>
                    <a:pt x="1559" y="664"/>
                  </a:lnTo>
                  <a:lnTo>
                    <a:pt x="1559" y="664"/>
                  </a:lnTo>
                  <a:lnTo>
                    <a:pt x="1559" y="664"/>
                  </a:lnTo>
                  <a:lnTo>
                    <a:pt x="1559" y="664"/>
                  </a:lnTo>
                  <a:lnTo>
                    <a:pt x="1559" y="664"/>
                  </a:lnTo>
                  <a:lnTo>
                    <a:pt x="1559" y="664"/>
                  </a:lnTo>
                  <a:lnTo>
                    <a:pt x="1559" y="662"/>
                  </a:lnTo>
                  <a:lnTo>
                    <a:pt x="1559" y="662"/>
                  </a:lnTo>
                  <a:lnTo>
                    <a:pt x="1559" y="662"/>
                  </a:lnTo>
                  <a:lnTo>
                    <a:pt x="1559" y="662"/>
                  </a:lnTo>
                  <a:lnTo>
                    <a:pt x="1559" y="662"/>
                  </a:lnTo>
                  <a:lnTo>
                    <a:pt x="1559" y="662"/>
                  </a:lnTo>
                  <a:lnTo>
                    <a:pt x="1559" y="662"/>
                  </a:lnTo>
                  <a:lnTo>
                    <a:pt x="1559" y="662"/>
                  </a:lnTo>
                  <a:lnTo>
                    <a:pt x="1559" y="662"/>
                  </a:lnTo>
                  <a:lnTo>
                    <a:pt x="1559" y="662"/>
                  </a:lnTo>
                  <a:lnTo>
                    <a:pt x="1559" y="660"/>
                  </a:lnTo>
                  <a:lnTo>
                    <a:pt x="1561" y="660"/>
                  </a:lnTo>
                  <a:lnTo>
                    <a:pt x="1561" y="660"/>
                  </a:lnTo>
                  <a:lnTo>
                    <a:pt x="1561" y="660"/>
                  </a:lnTo>
                  <a:lnTo>
                    <a:pt x="1561" y="658"/>
                  </a:lnTo>
                  <a:lnTo>
                    <a:pt x="1561" y="658"/>
                  </a:lnTo>
                  <a:lnTo>
                    <a:pt x="1561" y="658"/>
                  </a:lnTo>
                  <a:lnTo>
                    <a:pt x="1561" y="658"/>
                  </a:lnTo>
                  <a:lnTo>
                    <a:pt x="1561" y="658"/>
                  </a:lnTo>
                  <a:lnTo>
                    <a:pt x="1561" y="658"/>
                  </a:lnTo>
                  <a:lnTo>
                    <a:pt x="1563" y="658"/>
                  </a:lnTo>
                  <a:lnTo>
                    <a:pt x="1563" y="658"/>
                  </a:lnTo>
                  <a:lnTo>
                    <a:pt x="1563" y="658"/>
                  </a:lnTo>
                  <a:lnTo>
                    <a:pt x="1563" y="656"/>
                  </a:lnTo>
                  <a:lnTo>
                    <a:pt x="1563" y="656"/>
                  </a:lnTo>
                  <a:lnTo>
                    <a:pt x="1563" y="654"/>
                  </a:lnTo>
                  <a:lnTo>
                    <a:pt x="1563" y="654"/>
                  </a:lnTo>
                  <a:lnTo>
                    <a:pt x="1563" y="654"/>
                  </a:lnTo>
                  <a:lnTo>
                    <a:pt x="1563" y="654"/>
                  </a:lnTo>
                  <a:lnTo>
                    <a:pt x="1563" y="654"/>
                  </a:lnTo>
                  <a:lnTo>
                    <a:pt x="1563" y="652"/>
                  </a:lnTo>
                  <a:lnTo>
                    <a:pt x="1563" y="652"/>
                  </a:lnTo>
                  <a:lnTo>
                    <a:pt x="1563" y="652"/>
                  </a:lnTo>
                  <a:lnTo>
                    <a:pt x="1563" y="652"/>
                  </a:lnTo>
                  <a:lnTo>
                    <a:pt x="1561" y="652"/>
                  </a:lnTo>
                  <a:lnTo>
                    <a:pt x="1561" y="652"/>
                  </a:lnTo>
                  <a:lnTo>
                    <a:pt x="1561" y="650"/>
                  </a:lnTo>
                  <a:lnTo>
                    <a:pt x="1561" y="650"/>
                  </a:lnTo>
                  <a:lnTo>
                    <a:pt x="1559" y="648"/>
                  </a:lnTo>
                  <a:lnTo>
                    <a:pt x="1561" y="648"/>
                  </a:lnTo>
                  <a:lnTo>
                    <a:pt x="1561" y="648"/>
                  </a:lnTo>
                  <a:lnTo>
                    <a:pt x="1561" y="648"/>
                  </a:lnTo>
                  <a:lnTo>
                    <a:pt x="1561" y="648"/>
                  </a:lnTo>
                  <a:lnTo>
                    <a:pt x="1563" y="650"/>
                  </a:lnTo>
                  <a:lnTo>
                    <a:pt x="1563" y="650"/>
                  </a:lnTo>
                  <a:lnTo>
                    <a:pt x="1563" y="650"/>
                  </a:lnTo>
                  <a:lnTo>
                    <a:pt x="1563" y="650"/>
                  </a:lnTo>
                  <a:lnTo>
                    <a:pt x="1563" y="650"/>
                  </a:lnTo>
                  <a:lnTo>
                    <a:pt x="1563" y="648"/>
                  </a:lnTo>
                  <a:lnTo>
                    <a:pt x="1563" y="648"/>
                  </a:lnTo>
                  <a:lnTo>
                    <a:pt x="1563" y="648"/>
                  </a:lnTo>
                  <a:lnTo>
                    <a:pt x="1563" y="648"/>
                  </a:lnTo>
                  <a:lnTo>
                    <a:pt x="1563" y="648"/>
                  </a:lnTo>
                  <a:lnTo>
                    <a:pt x="1563" y="648"/>
                  </a:lnTo>
                  <a:lnTo>
                    <a:pt x="1565" y="650"/>
                  </a:lnTo>
                  <a:lnTo>
                    <a:pt x="1567" y="650"/>
                  </a:lnTo>
                  <a:lnTo>
                    <a:pt x="1567" y="650"/>
                  </a:lnTo>
                  <a:lnTo>
                    <a:pt x="1567" y="648"/>
                  </a:lnTo>
                  <a:lnTo>
                    <a:pt x="1567" y="648"/>
                  </a:lnTo>
                  <a:lnTo>
                    <a:pt x="1569" y="648"/>
                  </a:lnTo>
                  <a:lnTo>
                    <a:pt x="1569" y="646"/>
                  </a:lnTo>
                  <a:lnTo>
                    <a:pt x="1567" y="646"/>
                  </a:lnTo>
                  <a:lnTo>
                    <a:pt x="1567" y="643"/>
                  </a:lnTo>
                  <a:lnTo>
                    <a:pt x="1567" y="643"/>
                  </a:lnTo>
                  <a:lnTo>
                    <a:pt x="1567" y="643"/>
                  </a:lnTo>
                  <a:lnTo>
                    <a:pt x="1567" y="643"/>
                  </a:lnTo>
                  <a:lnTo>
                    <a:pt x="1567" y="643"/>
                  </a:lnTo>
                  <a:lnTo>
                    <a:pt x="1567" y="641"/>
                  </a:lnTo>
                  <a:lnTo>
                    <a:pt x="1565" y="643"/>
                  </a:lnTo>
                  <a:lnTo>
                    <a:pt x="1565" y="643"/>
                  </a:lnTo>
                  <a:lnTo>
                    <a:pt x="1565" y="643"/>
                  </a:lnTo>
                  <a:lnTo>
                    <a:pt x="1565" y="643"/>
                  </a:lnTo>
                  <a:lnTo>
                    <a:pt x="1565" y="643"/>
                  </a:lnTo>
                  <a:lnTo>
                    <a:pt x="1563" y="643"/>
                  </a:lnTo>
                  <a:lnTo>
                    <a:pt x="1563" y="641"/>
                  </a:lnTo>
                  <a:lnTo>
                    <a:pt x="1563" y="641"/>
                  </a:lnTo>
                  <a:lnTo>
                    <a:pt x="1561" y="643"/>
                  </a:lnTo>
                  <a:lnTo>
                    <a:pt x="1561" y="641"/>
                  </a:lnTo>
                  <a:lnTo>
                    <a:pt x="1561" y="641"/>
                  </a:lnTo>
                  <a:lnTo>
                    <a:pt x="1561" y="641"/>
                  </a:lnTo>
                  <a:lnTo>
                    <a:pt x="1561" y="641"/>
                  </a:lnTo>
                  <a:lnTo>
                    <a:pt x="1561" y="641"/>
                  </a:lnTo>
                  <a:lnTo>
                    <a:pt x="1561" y="641"/>
                  </a:lnTo>
                  <a:lnTo>
                    <a:pt x="1561" y="639"/>
                  </a:lnTo>
                  <a:lnTo>
                    <a:pt x="1561" y="639"/>
                  </a:lnTo>
                  <a:lnTo>
                    <a:pt x="1561" y="641"/>
                  </a:lnTo>
                  <a:lnTo>
                    <a:pt x="1561" y="641"/>
                  </a:lnTo>
                  <a:lnTo>
                    <a:pt x="1563" y="641"/>
                  </a:lnTo>
                  <a:lnTo>
                    <a:pt x="1565" y="641"/>
                  </a:lnTo>
                  <a:lnTo>
                    <a:pt x="1565" y="641"/>
                  </a:lnTo>
                  <a:lnTo>
                    <a:pt x="1565" y="641"/>
                  </a:lnTo>
                  <a:lnTo>
                    <a:pt x="1565" y="639"/>
                  </a:lnTo>
                  <a:lnTo>
                    <a:pt x="1565" y="639"/>
                  </a:lnTo>
                  <a:lnTo>
                    <a:pt x="1565" y="639"/>
                  </a:lnTo>
                  <a:lnTo>
                    <a:pt x="1565" y="639"/>
                  </a:lnTo>
                  <a:lnTo>
                    <a:pt x="1565" y="639"/>
                  </a:lnTo>
                  <a:lnTo>
                    <a:pt x="1565" y="639"/>
                  </a:lnTo>
                  <a:lnTo>
                    <a:pt x="1565" y="639"/>
                  </a:lnTo>
                  <a:lnTo>
                    <a:pt x="1567" y="641"/>
                  </a:lnTo>
                  <a:lnTo>
                    <a:pt x="1567" y="641"/>
                  </a:lnTo>
                  <a:lnTo>
                    <a:pt x="1567" y="641"/>
                  </a:lnTo>
                  <a:lnTo>
                    <a:pt x="1567" y="639"/>
                  </a:lnTo>
                  <a:lnTo>
                    <a:pt x="1565" y="639"/>
                  </a:lnTo>
                  <a:lnTo>
                    <a:pt x="1563" y="637"/>
                  </a:lnTo>
                  <a:lnTo>
                    <a:pt x="1563" y="637"/>
                  </a:lnTo>
                  <a:lnTo>
                    <a:pt x="1563" y="635"/>
                  </a:lnTo>
                  <a:lnTo>
                    <a:pt x="1563" y="633"/>
                  </a:lnTo>
                  <a:lnTo>
                    <a:pt x="1561" y="633"/>
                  </a:lnTo>
                  <a:lnTo>
                    <a:pt x="1561" y="633"/>
                  </a:lnTo>
                  <a:lnTo>
                    <a:pt x="1561" y="633"/>
                  </a:lnTo>
                  <a:lnTo>
                    <a:pt x="1559" y="633"/>
                  </a:lnTo>
                  <a:lnTo>
                    <a:pt x="1559" y="633"/>
                  </a:lnTo>
                  <a:lnTo>
                    <a:pt x="1557" y="633"/>
                  </a:lnTo>
                  <a:lnTo>
                    <a:pt x="1559" y="631"/>
                  </a:lnTo>
                  <a:lnTo>
                    <a:pt x="1559" y="631"/>
                  </a:lnTo>
                  <a:lnTo>
                    <a:pt x="1559" y="631"/>
                  </a:lnTo>
                  <a:lnTo>
                    <a:pt x="1550" y="625"/>
                  </a:lnTo>
                  <a:lnTo>
                    <a:pt x="1550" y="625"/>
                  </a:lnTo>
                  <a:lnTo>
                    <a:pt x="1550" y="627"/>
                  </a:lnTo>
                  <a:lnTo>
                    <a:pt x="1548" y="625"/>
                  </a:lnTo>
                  <a:lnTo>
                    <a:pt x="1548" y="625"/>
                  </a:lnTo>
                  <a:lnTo>
                    <a:pt x="1548" y="623"/>
                  </a:lnTo>
                  <a:lnTo>
                    <a:pt x="1548" y="623"/>
                  </a:lnTo>
                  <a:lnTo>
                    <a:pt x="1548" y="623"/>
                  </a:lnTo>
                  <a:lnTo>
                    <a:pt x="1548" y="621"/>
                  </a:lnTo>
                  <a:lnTo>
                    <a:pt x="1548" y="621"/>
                  </a:lnTo>
                  <a:lnTo>
                    <a:pt x="1546" y="619"/>
                  </a:lnTo>
                  <a:lnTo>
                    <a:pt x="1546" y="619"/>
                  </a:lnTo>
                  <a:lnTo>
                    <a:pt x="1546" y="619"/>
                  </a:lnTo>
                  <a:lnTo>
                    <a:pt x="1548" y="619"/>
                  </a:lnTo>
                  <a:lnTo>
                    <a:pt x="1548" y="619"/>
                  </a:lnTo>
                  <a:lnTo>
                    <a:pt x="1548" y="619"/>
                  </a:lnTo>
                  <a:lnTo>
                    <a:pt x="1548" y="617"/>
                  </a:lnTo>
                  <a:lnTo>
                    <a:pt x="1548" y="617"/>
                  </a:lnTo>
                  <a:lnTo>
                    <a:pt x="1546" y="617"/>
                  </a:lnTo>
                  <a:lnTo>
                    <a:pt x="1546" y="615"/>
                  </a:lnTo>
                  <a:lnTo>
                    <a:pt x="1546" y="615"/>
                  </a:lnTo>
                  <a:lnTo>
                    <a:pt x="1546" y="615"/>
                  </a:lnTo>
                  <a:lnTo>
                    <a:pt x="1546" y="617"/>
                  </a:lnTo>
                  <a:lnTo>
                    <a:pt x="1546" y="615"/>
                  </a:lnTo>
                  <a:lnTo>
                    <a:pt x="1546" y="615"/>
                  </a:lnTo>
                  <a:lnTo>
                    <a:pt x="1546" y="615"/>
                  </a:lnTo>
                  <a:lnTo>
                    <a:pt x="1546" y="613"/>
                  </a:lnTo>
                  <a:lnTo>
                    <a:pt x="1544" y="613"/>
                  </a:lnTo>
                  <a:lnTo>
                    <a:pt x="1544" y="613"/>
                  </a:lnTo>
                  <a:lnTo>
                    <a:pt x="1544" y="613"/>
                  </a:lnTo>
                  <a:lnTo>
                    <a:pt x="1546" y="613"/>
                  </a:lnTo>
                  <a:lnTo>
                    <a:pt x="1546" y="613"/>
                  </a:lnTo>
                  <a:lnTo>
                    <a:pt x="1546" y="613"/>
                  </a:lnTo>
                  <a:lnTo>
                    <a:pt x="1546" y="613"/>
                  </a:lnTo>
                  <a:lnTo>
                    <a:pt x="1546" y="613"/>
                  </a:lnTo>
                  <a:lnTo>
                    <a:pt x="1548" y="615"/>
                  </a:lnTo>
                  <a:lnTo>
                    <a:pt x="1548" y="615"/>
                  </a:lnTo>
                  <a:lnTo>
                    <a:pt x="1550" y="617"/>
                  </a:lnTo>
                  <a:lnTo>
                    <a:pt x="1550" y="617"/>
                  </a:lnTo>
                  <a:lnTo>
                    <a:pt x="1548" y="617"/>
                  </a:lnTo>
                  <a:lnTo>
                    <a:pt x="1548" y="615"/>
                  </a:lnTo>
                  <a:lnTo>
                    <a:pt x="1548" y="615"/>
                  </a:lnTo>
                  <a:lnTo>
                    <a:pt x="1548" y="615"/>
                  </a:lnTo>
                  <a:lnTo>
                    <a:pt x="1550" y="617"/>
                  </a:lnTo>
                  <a:lnTo>
                    <a:pt x="1550" y="617"/>
                  </a:lnTo>
                  <a:lnTo>
                    <a:pt x="1550" y="619"/>
                  </a:lnTo>
                  <a:lnTo>
                    <a:pt x="1552" y="619"/>
                  </a:lnTo>
                  <a:lnTo>
                    <a:pt x="1552" y="623"/>
                  </a:lnTo>
                  <a:lnTo>
                    <a:pt x="1555" y="623"/>
                  </a:lnTo>
                  <a:lnTo>
                    <a:pt x="1555" y="623"/>
                  </a:lnTo>
                  <a:lnTo>
                    <a:pt x="1555" y="625"/>
                  </a:lnTo>
                  <a:lnTo>
                    <a:pt x="1557" y="625"/>
                  </a:lnTo>
                  <a:lnTo>
                    <a:pt x="1557" y="625"/>
                  </a:lnTo>
                  <a:lnTo>
                    <a:pt x="1559" y="627"/>
                  </a:lnTo>
                  <a:lnTo>
                    <a:pt x="1559" y="627"/>
                  </a:lnTo>
                  <a:lnTo>
                    <a:pt x="1559" y="627"/>
                  </a:lnTo>
                  <a:lnTo>
                    <a:pt x="1559" y="627"/>
                  </a:lnTo>
                  <a:lnTo>
                    <a:pt x="1559" y="629"/>
                  </a:lnTo>
                  <a:lnTo>
                    <a:pt x="1559" y="629"/>
                  </a:lnTo>
                  <a:lnTo>
                    <a:pt x="1561" y="629"/>
                  </a:lnTo>
                  <a:lnTo>
                    <a:pt x="1561" y="631"/>
                  </a:lnTo>
                  <a:lnTo>
                    <a:pt x="1563" y="631"/>
                  </a:lnTo>
                  <a:lnTo>
                    <a:pt x="1565" y="633"/>
                  </a:lnTo>
                  <a:lnTo>
                    <a:pt x="1565" y="633"/>
                  </a:lnTo>
                  <a:lnTo>
                    <a:pt x="1565" y="635"/>
                  </a:lnTo>
                  <a:lnTo>
                    <a:pt x="1567" y="635"/>
                  </a:lnTo>
                  <a:lnTo>
                    <a:pt x="1567" y="633"/>
                  </a:lnTo>
                  <a:lnTo>
                    <a:pt x="1565" y="633"/>
                  </a:lnTo>
                  <a:lnTo>
                    <a:pt x="1563" y="631"/>
                  </a:lnTo>
                  <a:lnTo>
                    <a:pt x="1563" y="631"/>
                  </a:lnTo>
                  <a:lnTo>
                    <a:pt x="1563" y="629"/>
                  </a:lnTo>
                  <a:lnTo>
                    <a:pt x="1563" y="629"/>
                  </a:lnTo>
                  <a:lnTo>
                    <a:pt x="1563" y="627"/>
                  </a:lnTo>
                  <a:lnTo>
                    <a:pt x="1561" y="627"/>
                  </a:lnTo>
                  <a:lnTo>
                    <a:pt x="1561" y="627"/>
                  </a:lnTo>
                  <a:lnTo>
                    <a:pt x="1561" y="625"/>
                  </a:lnTo>
                  <a:lnTo>
                    <a:pt x="1561" y="625"/>
                  </a:lnTo>
                  <a:lnTo>
                    <a:pt x="1561" y="625"/>
                  </a:lnTo>
                  <a:lnTo>
                    <a:pt x="1561" y="625"/>
                  </a:lnTo>
                  <a:lnTo>
                    <a:pt x="1559" y="623"/>
                  </a:lnTo>
                  <a:lnTo>
                    <a:pt x="1559" y="623"/>
                  </a:lnTo>
                  <a:lnTo>
                    <a:pt x="1557" y="621"/>
                  </a:lnTo>
                  <a:lnTo>
                    <a:pt x="1555" y="619"/>
                  </a:lnTo>
                  <a:lnTo>
                    <a:pt x="1555" y="617"/>
                  </a:lnTo>
                  <a:lnTo>
                    <a:pt x="1552" y="617"/>
                  </a:lnTo>
                  <a:lnTo>
                    <a:pt x="1552" y="615"/>
                  </a:lnTo>
                  <a:lnTo>
                    <a:pt x="1548" y="613"/>
                  </a:lnTo>
                  <a:lnTo>
                    <a:pt x="1548" y="611"/>
                  </a:lnTo>
                  <a:lnTo>
                    <a:pt x="1548" y="611"/>
                  </a:lnTo>
                  <a:lnTo>
                    <a:pt x="1546" y="611"/>
                  </a:lnTo>
                  <a:lnTo>
                    <a:pt x="1548" y="611"/>
                  </a:lnTo>
                  <a:lnTo>
                    <a:pt x="1548" y="611"/>
                  </a:lnTo>
                  <a:lnTo>
                    <a:pt x="1548" y="611"/>
                  </a:lnTo>
                  <a:lnTo>
                    <a:pt x="1548" y="609"/>
                  </a:lnTo>
                  <a:lnTo>
                    <a:pt x="1548" y="609"/>
                  </a:lnTo>
                  <a:lnTo>
                    <a:pt x="1546" y="609"/>
                  </a:lnTo>
                  <a:lnTo>
                    <a:pt x="1546" y="609"/>
                  </a:lnTo>
                  <a:lnTo>
                    <a:pt x="1544" y="611"/>
                  </a:lnTo>
                  <a:lnTo>
                    <a:pt x="1542" y="611"/>
                  </a:lnTo>
                  <a:lnTo>
                    <a:pt x="1542" y="611"/>
                  </a:lnTo>
                  <a:lnTo>
                    <a:pt x="1540" y="611"/>
                  </a:lnTo>
                  <a:lnTo>
                    <a:pt x="1540" y="611"/>
                  </a:lnTo>
                  <a:lnTo>
                    <a:pt x="1538" y="611"/>
                  </a:lnTo>
                  <a:lnTo>
                    <a:pt x="1536" y="611"/>
                  </a:lnTo>
                  <a:lnTo>
                    <a:pt x="1536" y="611"/>
                  </a:lnTo>
                  <a:lnTo>
                    <a:pt x="1536" y="611"/>
                  </a:lnTo>
                  <a:lnTo>
                    <a:pt x="1534" y="613"/>
                  </a:lnTo>
                  <a:lnTo>
                    <a:pt x="1534" y="613"/>
                  </a:lnTo>
                  <a:lnTo>
                    <a:pt x="1532" y="611"/>
                  </a:lnTo>
                  <a:lnTo>
                    <a:pt x="1532" y="611"/>
                  </a:lnTo>
                  <a:lnTo>
                    <a:pt x="1532" y="609"/>
                  </a:lnTo>
                  <a:lnTo>
                    <a:pt x="1532" y="609"/>
                  </a:lnTo>
                  <a:lnTo>
                    <a:pt x="1532" y="609"/>
                  </a:lnTo>
                  <a:close/>
                  <a:moveTo>
                    <a:pt x="1249" y="566"/>
                  </a:moveTo>
                  <a:lnTo>
                    <a:pt x="1247" y="566"/>
                  </a:lnTo>
                  <a:lnTo>
                    <a:pt x="1247" y="566"/>
                  </a:lnTo>
                  <a:lnTo>
                    <a:pt x="1247" y="566"/>
                  </a:lnTo>
                  <a:lnTo>
                    <a:pt x="1247" y="566"/>
                  </a:lnTo>
                  <a:lnTo>
                    <a:pt x="1247" y="566"/>
                  </a:lnTo>
                  <a:lnTo>
                    <a:pt x="1247" y="566"/>
                  </a:lnTo>
                  <a:lnTo>
                    <a:pt x="1249" y="566"/>
                  </a:lnTo>
                  <a:lnTo>
                    <a:pt x="1249" y="566"/>
                  </a:lnTo>
                  <a:lnTo>
                    <a:pt x="1249" y="566"/>
                  </a:lnTo>
                  <a:lnTo>
                    <a:pt x="1249" y="566"/>
                  </a:lnTo>
                  <a:lnTo>
                    <a:pt x="1249" y="566"/>
                  </a:lnTo>
                  <a:lnTo>
                    <a:pt x="1249" y="566"/>
                  </a:lnTo>
                  <a:close/>
                  <a:moveTo>
                    <a:pt x="1581" y="721"/>
                  </a:moveTo>
                  <a:lnTo>
                    <a:pt x="1581" y="721"/>
                  </a:lnTo>
                  <a:lnTo>
                    <a:pt x="1579" y="721"/>
                  </a:lnTo>
                  <a:lnTo>
                    <a:pt x="1579" y="721"/>
                  </a:lnTo>
                  <a:lnTo>
                    <a:pt x="1579" y="721"/>
                  </a:lnTo>
                  <a:lnTo>
                    <a:pt x="1579" y="721"/>
                  </a:lnTo>
                  <a:lnTo>
                    <a:pt x="1577" y="721"/>
                  </a:lnTo>
                  <a:lnTo>
                    <a:pt x="1577" y="721"/>
                  </a:lnTo>
                  <a:lnTo>
                    <a:pt x="1577" y="723"/>
                  </a:lnTo>
                  <a:lnTo>
                    <a:pt x="1579" y="723"/>
                  </a:lnTo>
                  <a:lnTo>
                    <a:pt x="1579" y="723"/>
                  </a:lnTo>
                  <a:lnTo>
                    <a:pt x="1579" y="725"/>
                  </a:lnTo>
                  <a:lnTo>
                    <a:pt x="1579" y="725"/>
                  </a:lnTo>
                  <a:lnTo>
                    <a:pt x="1579" y="725"/>
                  </a:lnTo>
                  <a:lnTo>
                    <a:pt x="1581" y="725"/>
                  </a:lnTo>
                  <a:lnTo>
                    <a:pt x="1581" y="725"/>
                  </a:lnTo>
                  <a:lnTo>
                    <a:pt x="1581" y="723"/>
                  </a:lnTo>
                  <a:lnTo>
                    <a:pt x="1581" y="723"/>
                  </a:lnTo>
                  <a:lnTo>
                    <a:pt x="1583" y="721"/>
                  </a:lnTo>
                  <a:lnTo>
                    <a:pt x="1583" y="721"/>
                  </a:lnTo>
                  <a:lnTo>
                    <a:pt x="1583" y="719"/>
                  </a:lnTo>
                  <a:lnTo>
                    <a:pt x="1583" y="719"/>
                  </a:lnTo>
                  <a:lnTo>
                    <a:pt x="1581" y="721"/>
                  </a:lnTo>
                  <a:close/>
                  <a:moveTo>
                    <a:pt x="1591" y="689"/>
                  </a:moveTo>
                  <a:lnTo>
                    <a:pt x="1593" y="687"/>
                  </a:lnTo>
                  <a:lnTo>
                    <a:pt x="1593" y="687"/>
                  </a:lnTo>
                  <a:lnTo>
                    <a:pt x="1593" y="687"/>
                  </a:lnTo>
                  <a:lnTo>
                    <a:pt x="1593" y="687"/>
                  </a:lnTo>
                  <a:lnTo>
                    <a:pt x="1593" y="684"/>
                  </a:lnTo>
                  <a:lnTo>
                    <a:pt x="1593" y="684"/>
                  </a:lnTo>
                  <a:lnTo>
                    <a:pt x="1593" y="684"/>
                  </a:lnTo>
                  <a:lnTo>
                    <a:pt x="1593" y="684"/>
                  </a:lnTo>
                  <a:lnTo>
                    <a:pt x="1593" y="684"/>
                  </a:lnTo>
                  <a:lnTo>
                    <a:pt x="1595" y="684"/>
                  </a:lnTo>
                  <a:lnTo>
                    <a:pt x="1595" y="684"/>
                  </a:lnTo>
                  <a:lnTo>
                    <a:pt x="1595" y="684"/>
                  </a:lnTo>
                  <a:lnTo>
                    <a:pt x="1595" y="684"/>
                  </a:lnTo>
                  <a:lnTo>
                    <a:pt x="1598" y="684"/>
                  </a:lnTo>
                  <a:lnTo>
                    <a:pt x="1598" y="684"/>
                  </a:lnTo>
                  <a:lnTo>
                    <a:pt x="1600" y="684"/>
                  </a:lnTo>
                  <a:lnTo>
                    <a:pt x="1600" y="684"/>
                  </a:lnTo>
                  <a:lnTo>
                    <a:pt x="1600" y="684"/>
                  </a:lnTo>
                  <a:lnTo>
                    <a:pt x="1600" y="684"/>
                  </a:lnTo>
                  <a:lnTo>
                    <a:pt x="1600" y="684"/>
                  </a:lnTo>
                  <a:lnTo>
                    <a:pt x="1602" y="684"/>
                  </a:lnTo>
                  <a:lnTo>
                    <a:pt x="1602" y="684"/>
                  </a:lnTo>
                  <a:lnTo>
                    <a:pt x="1602" y="684"/>
                  </a:lnTo>
                  <a:lnTo>
                    <a:pt x="1602" y="684"/>
                  </a:lnTo>
                  <a:lnTo>
                    <a:pt x="1602" y="682"/>
                  </a:lnTo>
                  <a:lnTo>
                    <a:pt x="1602" y="682"/>
                  </a:lnTo>
                  <a:lnTo>
                    <a:pt x="1602" y="680"/>
                  </a:lnTo>
                  <a:lnTo>
                    <a:pt x="1602" y="680"/>
                  </a:lnTo>
                  <a:lnTo>
                    <a:pt x="1602" y="680"/>
                  </a:lnTo>
                  <a:lnTo>
                    <a:pt x="1602" y="678"/>
                  </a:lnTo>
                  <a:lnTo>
                    <a:pt x="1602" y="678"/>
                  </a:lnTo>
                  <a:lnTo>
                    <a:pt x="1600" y="678"/>
                  </a:lnTo>
                  <a:lnTo>
                    <a:pt x="1600" y="678"/>
                  </a:lnTo>
                  <a:lnTo>
                    <a:pt x="1600" y="676"/>
                  </a:lnTo>
                  <a:lnTo>
                    <a:pt x="1600" y="676"/>
                  </a:lnTo>
                  <a:lnTo>
                    <a:pt x="1600" y="676"/>
                  </a:lnTo>
                  <a:lnTo>
                    <a:pt x="1600" y="676"/>
                  </a:lnTo>
                  <a:lnTo>
                    <a:pt x="1600" y="676"/>
                  </a:lnTo>
                  <a:lnTo>
                    <a:pt x="1602" y="676"/>
                  </a:lnTo>
                  <a:lnTo>
                    <a:pt x="1600" y="676"/>
                  </a:lnTo>
                  <a:lnTo>
                    <a:pt x="1600" y="676"/>
                  </a:lnTo>
                  <a:lnTo>
                    <a:pt x="1598" y="676"/>
                  </a:lnTo>
                  <a:lnTo>
                    <a:pt x="1598" y="676"/>
                  </a:lnTo>
                  <a:lnTo>
                    <a:pt x="1598" y="676"/>
                  </a:lnTo>
                  <a:lnTo>
                    <a:pt x="1598" y="676"/>
                  </a:lnTo>
                  <a:lnTo>
                    <a:pt x="1598" y="676"/>
                  </a:lnTo>
                  <a:lnTo>
                    <a:pt x="1595" y="676"/>
                  </a:lnTo>
                  <a:lnTo>
                    <a:pt x="1595" y="676"/>
                  </a:lnTo>
                  <a:lnTo>
                    <a:pt x="1595" y="676"/>
                  </a:lnTo>
                  <a:lnTo>
                    <a:pt x="1595" y="676"/>
                  </a:lnTo>
                  <a:lnTo>
                    <a:pt x="1595" y="674"/>
                  </a:lnTo>
                  <a:lnTo>
                    <a:pt x="1595" y="674"/>
                  </a:lnTo>
                  <a:lnTo>
                    <a:pt x="1595" y="672"/>
                  </a:lnTo>
                  <a:lnTo>
                    <a:pt x="1595" y="672"/>
                  </a:lnTo>
                  <a:lnTo>
                    <a:pt x="1595" y="672"/>
                  </a:lnTo>
                  <a:lnTo>
                    <a:pt x="1593" y="672"/>
                  </a:lnTo>
                  <a:lnTo>
                    <a:pt x="1593" y="672"/>
                  </a:lnTo>
                  <a:lnTo>
                    <a:pt x="1593" y="672"/>
                  </a:lnTo>
                  <a:lnTo>
                    <a:pt x="1593" y="672"/>
                  </a:lnTo>
                  <a:lnTo>
                    <a:pt x="1591" y="672"/>
                  </a:lnTo>
                  <a:lnTo>
                    <a:pt x="1591" y="670"/>
                  </a:lnTo>
                  <a:lnTo>
                    <a:pt x="1591" y="670"/>
                  </a:lnTo>
                  <a:lnTo>
                    <a:pt x="1591" y="670"/>
                  </a:lnTo>
                  <a:lnTo>
                    <a:pt x="1591" y="670"/>
                  </a:lnTo>
                  <a:lnTo>
                    <a:pt x="1589" y="668"/>
                  </a:lnTo>
                  <a:lnTo>
                    <a:pt x="1589" y="668"/>
                  </a:lnTo>
                  <a:lnTo>
                    <a:pt x="1591" y="668"/>
                  </a:lnTo>
                  <a:lnTo>
                    <a:pt x="1593" y="668"/>
                  </a:lnTo>
                  <a:lnTo>
                    <a:pt x="1593" y="668"/>
                  </a:lnTo>
                  <a:lnTo>
                    <a:pt x="1593" y="668"/>
                  </a:lnTo>
                  <a:lnTo>
                    <a:pt x="1593" y="668"/>
                  </a:lnTo>
                  <a:lnTo>
                    <a:pt x="1593" y="668"/>
                  </a:lnTo>
                  <a:lnTo>
                    <a:pt x="1595" y="670"/>
                  </a:lnTo>
                  <a:lnTo>
                    <a:pt x="1595" y="670"/>
                  </a:lnTo>
                  <a:lnTo>
                    <a:pt x="1595" y="672"/>
                  </a:lnTo>
                  <a:lnTo>
                    <a:pt x="1600" y="674"/>
                  </a:lnTo>
                  <a:lnTo>
                    <a:pt x="1600" y="674"/>
                  </a:lnTo>
                  <a:lnTo>
                    <a:pt x="1602" y="674"/>
                  </a:lnTo>
                  <a:lnTo>
                    <a:pt x="1602" y="674"/>
                  </a:lnTo>
                  <a:lnTo>
                    <a:pt x="1602" y="676"/>
                  </a:lnTo>
                  <a:lnTo>
                    <a:pt x="1604" y="676"/>
                  </a:lnTo>
                  <a:lnTo>
                    <a:pt x="1604" y="676"/>
                  </a:lnTo>
                  <a:lnTo>
                    <a:pt x="1604" y="676"/>
                  </a:lnTo>
                  <a:lnTo>
                    <a:pt x="1604" y="674"/>
                  </a:lnTo>
                  <a:lnTo>
                    <a:pt x="1604" y="674"/>
                  </a:lnTo>
                  <a:lnTo>
                    <a:pt x="1604" y="674"/>
                  </a:lnTo>
                  <a:lnTo>
                    <a:pt x="1604" y="672"/>
                  </a:lnTo>
                  <a:lnTo>
                    <a:pt x="1604" y="672"/>
                  </a:lnTo>
                  <a:lnTo>
                    <a:pt x="1604" y="672"/>
                  </a:lnTo>
                  <a:lnTo>
                    <a:pt x="1604" y="672"/>
                  </a:lnTo>
                  <a:lnTo>
                    <a:pt x="1604" y="670"/>
                  </a:lnTo>
                  <a:lnTo>
                    <a:pt x="1604" y="670"/>
                  </a:lnTo>
                  <a:lnTo>
                    <a:pt x="1604" y="670"/>
                  </a:lnTo>
                  <a:lnTo>
                    <a:pt x="1602" y="668"/>
                  </a:lnTo>
                  <a:lnTo>
                    <a:pt x="1602" y="668"/>
                  </a:lnTo>
                  <a:lnTo>
                    <a:pt x="1602" y="666"/>
                  </a:lnTo>
                  <a:lnTo>
                    <a:pt x="1600" y="666"/>
                  </a:lnTo>
                  <a:lnTo>
                    <a:pt x="1600" y="666"/>
                  </a:lnTo>
                  <a:lnTo>
                    <a:pt x="1602" y="664"/>
                  </a:lnTo>
                  <a:lnTo>
                    <a:pt x="1602" y="664"/>
                  </a:lnTo>
                  <a:lnTo>
                    <a:pt x="1602" y="664"/>
                  </a:lnTo>
                  <a:lnTo>
                    <a:pt x="1602" y="662"/>
                  </a:lnTo>
                  <a:lnTo>
                    <a:pt x="1600" y="660"/>
                  </a:lnTo>
                  <a:lnTo>
                    <a:pt x="1600" y="660"/>
                  </a:lnTo>
                  <a:lnTo>
                    <a:pt x="1598" y="660"/>
                  </a:lnTo>
                  <a:lnTo>
                    <a:pt x="1598" y="660"/>
                  </a:lnTo>
                  <a:lnTo>
                    <a:pt x="1598" y="660"/>
                  </a:lnTo>
                  <a:lnTo>
                    <a:pt x="1595" y="658"/>
                  </a:lnTo>
                  <a:lnTo>
                    <a:pt x="1595" y="658"/>
                  </a:lnTo>
                  <a:lnTo>
                    <a:pt x="1593" y="658"/>
                  </a:lnTo>
                  <a:lnTo>
                    <a:pt x="1591" y="658"/>
                  </a:lnTo>
                  <a:lnTo>
                    <a:pt x="1589" y="658"/>
                  </a:lnTo>
                  <a:lnTo>
                    <a:pt x="1589" y="660"/>
                  </a:lnTo>
                  <a:lnTo>
                    <a:pt x="1589" y="660"/>
                  </a:lnTo>
                  <a:lnTo>
                    <a:pt x="1591" y="662"/>
                  </a:lnTo>
                  <a:lnTo>
                    <a:pt x="1591" y="662"/>
                  </a:lnTo>
                  <a:lnTo>
                    <a:pt x="1591" y="662"/>
                  </a:lnTo>
                  <a:lnTo>
                    <a:pt x="1589" y="662"/>
                  </a:lnTo>
                  <a:lnTo>
                    <a:pt x="1589" y="660"/>
                  </a:lnTo>
                  <a:lnTo>
                    <a:pt x="1589" y="660"/>
                  </a:lnTo>
                  <a:lnTo>
                    <a:pt x="1587" y="660"/>
                  </a:lnTo>
                  <a:lnTo>
                    <a:pt x="1587" y="660"/>
                  </a:lnTo>
                  <a:lnTo>
                    <a:pt x="1585" y="660"/>
                  </a:lnTo>
                  <a:lnTo>
                    <a:pt x="1583" y="660"/>
                  </a:lnTo>
                  <a:lnTo>
                    <a:pt x="1583" y="660"/>
                  </a:lnTo>
                  <a:lnTo>
                    <a:pt x="1581" y="660"/>
                  </a:lnTo>
                  <a:lnTo>
                    <a:pt x="1581" y="660"/>
                  </a:lnTo>
                  <a:lnTo>
                    <a:pt x="1577" y="660"/>
                  </a:lnTo>
                  <a:lnTo>
                    <a:pt x="1575" y="660"/>
                  </a:lnTo>
                  <a:lnTo>
                    <a:pt x="1571" y="660"/>
                  </a:lnTo>
                  <a:lnTo>
                    <a:pt x="1571" y="660"/>
                  </a:lnTo>
                  <a:lnTo>
                    <a:pt x="1571" y="660"/>
                  </a:lnTo>
                  <a:lnTo>
                    <a:pt x="1571" y="660"/>
                  </a:lnTo>
                  <a:lnTo>
                    <a:pt x="1571" y="660"/>
                  </a:lnTo>
                  <a:lnTo>
                    <a:pt x="1571" y="662"/>
                  </a:lnTo>
                  <a:lnTo>
                    <a:pt x="1571" y="662"/>
                  </a:lnTo>
                  <a:lnTo>
                    <a:pt x="1569" y="662"/>
                  </a:lnTo>
                  <a:lnTo>
                    <a:pt x="1569" y="662"/>
                  </a:lnTo>
                  <a:lnTo>
                    <a:pt x="1569" y="662"/>
                  </a:lnTo>
                  <a:lnTo>
                    <a:pt x="1569" y="664"/>
                  </a:lnTo>
                  <a:lnTo>
                    <a:pt x="1569" y="664"/>
                  </a:lnTo>
                  <a:lnTo>
                    <a:pt x="1569" y="664"/>
                  </a:lnTo>
                  <a:lnTo>
                    <a:pt x="1569" y="664"/>
                  </a:lnTo>
                  <a:lnTo>
                    <a:pt x="1573" y="666"/>
                  </a:lnTo>
                  <a:lnTo>
                    <a:pt x="1575" y="668"/>
                  </a:lnTo>
                  <a:lnTo>
                    <a:pt x="1579" y="668"/>
                  </a:lnTo>
                  <a:lnTo>
                    <a:pt x="1579" y="668"/>
                  </a:lnTo>
                  <a:lnTo>
                    <a:pt x="1579" y="668"/>
                  </a:lnTo>
                  <a:lnTo>
                    <a:pt x="1577" y="670"/>
                  </a:lnTo>
                  <a:lnTo>
                    <a:pt x="1575" y="668"/>
                  </a:lnTo>
                  <a:lnTo>
                    <a:pt x="1575" y="668"/>
                  </a:lnTo>
                  <a:lnTo>
                    <a:pt x="1575" y="668"/>
                  </a:lnTo>
                  <a:lnTo>
                    <a:pt x="1575" y="670"/>
                  </a:lnTo>
                  <a:lnTo>
                    <a:pt x="1575" y="670"/>
                  </a:lnTo>
                  <a:lnTo>
                    <a:pt x="1575" y="670"/>
                  </a:lnTo>
                  <a:lnTo>
                    <a:pt x="1577" y="670"/>
                  </a:lnTo>
                  <a:lnTo>
                    <a:pt x="1577" y="670"/>
                  </a:lnTo>
                  <a:lnTo>
                    <a:pt x="1577" y="670"/>
                  </a:lnTo>
                  <a:lnTo>
                    <a:pt x="1577" y="670"/>
                  </a:lnTo>
                  <a:lnTo>
                    <a:pt x="1577" y="670"/>
                  </a:lnTo>
                  <a:lnTo>
                    <a:pt x="1577" y="670"/>
                  </a:lnTo>
                  <a:lnTo>
                    <a:pt x="1577" y="670"/>
                  </a:lnTo>
                  <a:lnTo>
                    <a:pt x="1577" y="670"/>
                  </a:lnTo>
                  <a:lnTo>
                    <a:pt x="1577" y="672"/>
                  </a:lnTo>
                  <a:lnTo>
                    <a:pt x="1579" y="672"/>
                  </a:lnTo>
                  <a:lnTo>
                    <a:pt x="1579" y="672"/>
                  </a:lnTo>
                  <a:lnTo>
                    <a:pt x="1579" y="672"/>
                  </a:lnTo>
                  <a:lnTo>
                    <a:pt x="1579" y="672"/>
                  </a:lnTo>
                  <a:lnTo>
                    <a:pt x="1579" y="672"/>
                  </a:lnTo>
                  <a:lnTo>
                    <a:pt x="1579" y="672"/>
                  </a:lnTo>
                  <a:lnTo>
                    <a:pt x="1579" y="672"/>
                  </a:lnTo>
                  <a:lnTo>
                    <a:pt x="1579" y="672"/>
                  </a:lnTo>
                  <a:lnTo>
                    <a:pt x="1581" y="672"/>
                  </a:lnTo>
                  <a:lnTo>
                    <a:pt x="1581" y="672"/>
                  </a:lnTo>
                  <a:lnTo>
                    <a:pt x="1581" y="672"/>
                  </a:lnTo>
                  <a:lnTo>
                    <a:pt x="1581" y="670"/>
                  </a:lnTo>
                  <a:lnTo>
                    <a:pt x="1581" y="670"/>
                  </a:lnTo>
                  <a:lnTo>
                    <a:pt x="1581" y="670"/>
                  </a:lnTo>
                  <a:lnTo>
                    <a:pt x="1581" y="670"/>
                  </a:lnTo>
                  <a:lnTo>
                    <a:pt x="1581" y="670"/>
                  </a:lnTo>
                  <a:lnTo>
                    <a:pt x="1581" y="670"/>
                  </a:lnTo>
                  <a:lnTo>
                    <a:pt x="1581" y="670"/>
                  </a:lnTo>
                  <a:lnTo>
                    <a:pt x="1581" y="672"/>
                  </a:lnTo>
                  <a:lnTo>
                    <a:pt x="1583" y="672"/>
                  </a:lnTo>
                  <a:lnTo>
                    <a:pt x="1581" y="672"/>
                  </a:lnTo>
                  <a:lnTo>
                    <a:pt x="1581" y="672"/>
                  </a:lnTo>
                  <a:lnTo>
                    <a:pt x="1581" y="672"/>
                  </a:lnTo>
                  <a:lnTo>
                    <a:pt x="1581" y="672"/>
                  </a:lnTo>
                  <a:lnTo>
                    <a:pt x="1581" y="674"/>
                  </a:lnTo>
                  <a:lnTo>
                    <a:pt x="1583" y="674"/>
                  </a:lnTo>
                  <a:lnTo>
                    <a:pt x="1583" y="674"/>
                  </a:lnTo>
                  <a:lnTo>
                    <a:pt x="1581" y="674"/>
                  </a:lnTo>
                  <a:lnTo>
                    <a:pt x="1583" y="676"/>
                  </a:lnTo>
                  <a:lnTo>
                    <a:pt x="1583" y="676"/>
                  </a:lnTo>
                  <a:lnTo>
                    <a:pt x="1583" y="678"/>
                  </a:lnTo>
                  <a:lnTo>
                    <a:pt x="1583" y="678"/>
                  </a:lnTo>
                  <a:lnTo>
                    <a:pt x="1583" y="678"/>
                  </a:lnTo>
                  <a:lnTo>
                    <a:pt x="1583" y="680"/>
                  </a:lnTo>
                  <a:lnTo>
                    <a:pt x="1585" y="680"/>
                  </a:lnTo>
                  <a:lnTo>
                    <a:pt x="1585" y="680"/>
                  </a:lnTo>
                  <a:lnTo>
                    <a:pt x="1585" y="680"/>
                  </a:lnTo>
                  <a:lnTo>
                    <a:pt x="1585" y="680"/>
                  </a:lnTo>
                  <a:lnTo>
                    <a:pt x="1585" y="682"/>
                  </a:lnTo>
                  <a:lnTo>
                    <a:pt x="1585" y="682"/>
                  </a:lnTo>
                  <a:lnTo>
                    <a:pt x="1585" y="682"/>
                  </a:lnTo>
                  <a:lnTo>
                    <a:pt x="1585" y="682"/>
                  </a:lnTo>
                  <a:lnTo>
                    <a:pt x="1585" y="684"/>
                  </a:lnTo>
                  <a:lnTo>
                    <a:pt x="1585" y="684"/>
                  </a:lnTo>
                  <a:lnTo>
                    <a:pt x="1587" y="689"/>
                  </a:lnTo>
                  <a:lnTo>
                    <a:pt x="1589" y="689"/>
                  </a:lnTo>
                  <a:lnTo>
                    <a:pt x="1591" y="689"/>
                  </a:lnTo>
                  <a:close/>
                  <a:moveTo>
                    <a:pt x="1585" y="707"/>
                  </a:moveTo>
                  <a:lnTo>
                    <a:pt x="1585" y="707"/>
                  </a:lnTo>
                  <a:lnTo>
                    <a:pt x="1585" y="707"/>
                  </a:lnTo>
                  <a:lnTo>
                    <a:pt x="1585" y="707"/>
                  </a:lnTo>
                  <a:lnTo>
                    <a:pt x="1585" y="705"/>
                  </a:lnTo>
                  <a:lnTo>
                    <a:pt x="1585" y="705"/>
                  </a:lnTo>
                  <a:lnTo>
                    <a:pt x="1583" y="705"/>
                  </a:lnTo>
                  <a:lnTo>
                    <a:pt x="1583" y="703"/>
                  </a:lnTo>
                  <a:lnTo>
                    <a:pt x="1585" y="703"/>
                  </a:lnTo>
                  <a:lnTo>
                    <a:pt x="1585" y="703"/>
                  </a:lnTo>
                  <a:lnTo>
                    <a:pt x="1583" y="701"/>
                  </a:lnTo>
                  <a:lnTo>
                    <a:pt x="1583" y="701"/>
                  </a:lnTo>
                  <a:lnTo>
                    <a:pt x="1583" y="701"/>
                  </a:lnTo>
                  <a:lnTo>
                    <a:pt x="1581" y="701"/>
                  </a:lnTo>
                  <a:lnTo>
                    <a:pt x="1581" y="701"/>
                  </a:lnTo>
                  <a:lnTo>
                    <a:pt x="1581" y="699"/>
                  </a:lnTo>
                  <a:lnTo>
                    <a:pt x="1581" y="699"/>
                  </a:lnTo>
                  <a:lnTo>
                    <a:pt x="1581" y="697"/>
                  </a:lnTo>
                  <a:lnTo>
                    <a:pt x="1581" y="697"/>
                  </a:lnTo>
                  <a:lnTo>
                    <a:pt x="1581" y="697"/>
                  </a:lnTo>
                  <a:lnTo>
                    <a:pt x="1581" y="697"/>
                  </a:lnTo>
                  <a:lnTo>
                    <a:pt x="1581" y="697"/>
                  </a:lnTo>
                  <a:lnTo>
                    <a:pt x="1583" y="699"/>
                  </a:lnTo>
                  <a:lnTo>
                    <a:pt x="1585" y="699"/>
                  </a:lnTo>
                  <a:lnTo>
                    <a:pt x="1585" y="699"/>
                  </a:lnTo>
                  <a:lnTo>
                    <a:pt x="1585" y="699"/>
                  </a:lnTo>
                  <a:lnTo>
                    <a:pt x="1585" y="697"/>
                  </a:lnTo>
                  <a:lnTo>
                    <a:pt x="1585" y="697"/>
                  </a:lnTo>
                  <a:lnTo>
                    <a:pt x="1583" y="695"/>
                  </a:lnTo>
                  <a:lnTo>
                    <a:pt x="1581" y="695"/>
                  </a:lnTo>
                  <a:lnTo>
                    <a:pt x="1581" y="695"/>
                  </a:lnTo>
                  <a:lnTo>
                    <a:pt x="1581" y="695"/>
                  </a:lnTo>
                  <a:lnTo>
                    <a:pt x="1583" y="695"/>
                  </a:lnTo>
                  <a:lnTo>
                    <a:pt x="1583" y="695"/>
                  </a:lnTo>
                  <a:lnTo>
                    <a:pt x="1583" y="693"/>
                  </a:lnTo>
                  <a:lnTo>
                    <a:pt x="1581" y="693"/>
                  </a:lnTo>
                  <a:lnTo>
                    <a:pt x="1581" y="693"/>
                  </a:lnTo>
                  <a:lnTo>
                    <a:pt x="1581" y="693"/>
                  </a:lnTo>
                  <a:lnTo>
                    <a:pt x="1581" y="693"/>
                  </a:lnTo>
                  <a:lnTo>
                    <a:pt x="1583" y="693"/>
                  </a:lnTo>
                  <a:lnTo>
                    <a:pt x="1583" y="691"/>
                  </a:lnTo>
                  <a:lnTo>
                    <a:pt x="1583" y="691"/>
                  </a:lnTo>
                  <a:lnTo>
                    <a:pt x="1583" y="691"/>
                  </a:lnTo>
                  <a:lnTo>
                    <a:pt x="1581" y="691"/>
                  </a:lnTo>
                  <a:lnTo>
                    <a:pt x="1581" y="691"/>
                  </a:lnTo>
                  <a:lnTo>
                    <a:pt x="1581" y="689"/>
                  </a:lnTo>
                  <a:lnTo>
                    <a:pt x="1581" y="689"/>
                  </a:lnTo>
                  <a:lnTo>
                    <a:pt x="1581" y="689"/>
                  </a:lnTo>
                  <a:lnTo>
                    <a:pt x="1581" y="689"/>
                  </a:lnTo>
                  <a:lnTo>
                    <a:pt x="1579" y="689"/>
                  </a:lnTo>
                  <a:lnTo>
                    <a:pt x="1579" y="689"/>
                  </a:lnTo>
                  <a:lnTo>
                    <a:pt x="1579" y="689"/>
                  </a:lnTo>
                  <a:lnTo>
                    <a:pt x="1581" y="689"/>
                  </a:lnTo>
                  <a:lnTo>
                    <a:pt x="1581" y="687"/>
                  </a:lnTo>
                  <a:lnTo>
                    <a:pt x="1581" y="687"/>
                  </a:lnTo>
                  <a:lnTo>
                    <a:pt x="1581" y="684"/>
                  </a:lnTo>
                  <a:lnTo>
                    <a:pt x="1581" y="684"/>
                  </a:lnTo>
                  <a:lnTo>
                    <a:pt x="1581" y="684"/>
                  </a:lnTo>
                  <a:lnTo>
                    <a:pt x="1579" y="684"/>
                  </a:lnTo>
                  <a:lnTo>
                    <a:pt x="1577" y="682"/>
                  </a:lnTo>
                  <a:lnTo>
                    <a:pt x="1579" y="682"/>
                  </a:lnTo>
                  <a:lnTo>
                    <a:pt x="1581" y="682"/>
                  </a:lnTo>
                  <a:lnTo>
                    <a:pt x="1581" y="682"/>
                  </a:lnTo>
                  <a:lnTo>
                    <a:pt x="1581" y="684"/>
                  </a:lnTo>
                  <a:lnTo>
                    <a:pt x="1583" y="684"/>
                  </a:lnTo>
                  <a:lnTo>
                    <a:pt x="1583" y="684"/>
                  </a:lnTo>
                  <a:lnTo>
                    <a:pt x="1583" y="684"/>
                  </a:lnTo>
                  <a:lnTo>
                    <a:pt x="1583" y="684"/>
                  </a:lnTo>
                  <a:lnTo>
                    <a:pt x="1583" y="684"/>
                  </a:lnTo>
                  <a:lnTo>
                    <a:pt x="1583" y="682"/>
                  </a:lnTo>
                  <a:lnTo>
                    <a:pt x="1583" y="682"/>
                  </a:lnTo>
                  <a:lnTo>
                    <a:pt x="1583" y="680"/>
                  </a:lnTo>
                  <a:lnTo>
                    <a:pt x="1583" y="680"/>
                  </a:lnTo>
                  <a:lnTo>
                    <a:pt x="1583" y="680"/>
                  </a:lnTo>
                  <a:lnTo>
                    <a:pt x="1583" y="680"/>
                  </a:lnTo>
                  <a:lnTo>
                    <a:pt x="1581" y="678"/>
                  </a:lnTo>
                  <a:lnTo>
                    <a:pt x="1581" y="678"/>
                  </a:lnTo>
                  <a:lnTo>
                    <a:pt x="1581" y="678"/>
                  </a:lnTo>
                  <a:lnTo>
                    <a:pt x="1581" y="678"/>
                  </a:lnTo>
                  <a:lnTo>
                    <a:pt x="1581" y="674"/>
                  </a:lnTo>
                  <a:lnTo>
                    <a:pt x="1581" y="674"/>
                  </a:lnTo>
                  <a:lnTo>
                    <a:pt x="1579" y="674"/>
                  </a:lnTo>
                  <a:lnTo>
                    <a:pt x="1579" y="674"/>
                  </a:lnTo>
                  <a:lnTo>
                    <a:pt x="1579" y="674"/>
                  </a:lnTo>
                  <a:lnTo>
                    <a:pt x="1579" y="674"/>
                  </a:lnTo>
                  <a:lnTo>
                    <a:pt x="1577" y="674"/>
                  </a:lnTo>
                  <a:lnTo>
                    <a:pt x="1577" y="674"/>
                  </a:lnTo>
                  <a:lnTo>
                    <a:pt x="1577" y="674"/>
                  </a:lnTo>
                  <a:lnTo>
                    <a:pt x="1577" y="674"/>
                  </a:lnTo>
                  <a:lnTo>
                    <a:pt x="1577" y="676"/>
                  </a:lnTo>
                  <a:lnTo>
                    <a:pt x="1577" y="676"/>
                  </a:lnTo>
                  <a:lnTo>
                    <a:pt x="1577" y="676"/>
                  </a:lnTo>
                  <a:lnTo>
                    <a:pt x="1577" y="678"/>
                  </a:lnTo>
                  <a:lnTo>
                    <a:pt x="1577" y="678"/>
                  </a:lnTo>
                  <a:lnTo>
                    <a:pt x="1577" y="678"/>
                  </a:lnTo>
                  <a:lnTo>
                    <a:pt x="1577" y="678"/>
                  </a:lnTo>
                  <a:lnTo>
                    <a:pt x="1577" y="678"/>
                  </a:lnTo>
                  <a:lnTo>
                    <a:pt x="1577" y="678"/>
                  </a:lnTo>
                  <a:lnTo>
                    <a:pt x="1577" y="680"/>
                  </a:lnTo>
                  <a:lnTo>
                    <a:pt x="1577" y="680"/>
                  </a:lnTo>
                  <a:lnTo>
                    <a:pt x="1577" y="680"/>
                  </a:lnTo>
                  <a:lnTo>
                    <a:pt x="1577" y="680"/>
                  </a:lnTo>
                  <a:lnTo>
                    <a:pt x="1577" y="682"/>
                  </a:lnTo>
                  <a:lnTo>
                    <a:pt x="1575" y="682"/>
                  </a:lnTo>
                  <a:lnTo>
                    <a:pt x="1575" y="682"/>
                  </a:lnTo>
                  <a:lnTo>
                    <a:pt x="1575" y="682"/>
                  </a:lnTo>
                  <a:lnTo>
                    <a:pt x="1575" y="682"/>
                  </a:lnTo>
                  <a:lnTo>
                    <a:pt x="1577" y="680"/>
                  </a:lnTo>
                  <a:lnTo>
                    <a:pt x="1577" y="680"/>
                  </a:lnTo>
                  <a:lnTo>
                    <a:pt x="1577" y="678"/>
                  </a:lnTo>
                  <a:lnTo>
                    <a:pt x="1577" y="678"/>
                  </a:lnTo>
                  <a:lnTo>
                    <a:pt x="1577" y="678"/>
                  </a:lnTo>
                  <a:lnTo>
                    <a:pt x="1577" y="678"/>
                  </a:lnTo>
                  <a:lnTo>
                    <a:pt x="1577" y="678"/>
                  </a:lnTo>
                  <a:lnTo>
                    <a:pt x="1577" y="678"/>
                  </a:lnTo>
                  <a:lnTo>
                    <a:pt x="1577" y="676"/>
                  </a:lnTo>
                  <a:lnTo>
                    <a:pt x="1577" y="676"/>
                  </a:lnTo>
                  <a:lnTo>
                    <a:pt x="1577" y="676"/>
                  </a:lnTo>
                  <a:lnTo>
                    <a:pt x="1577" y="676"/>
                  </a:lnTo>
                  <a:lnTo>
                    <a:pt x="1575" y="676"/>
                  </a:lnTo>
                  <a:lnTo>
                    <a:pt x="1575" y="676"/>
                  </a:lnTo>
                  <a:lnTo>
                    <a:pt x="1575" y="674"/>
                  </a:lnTo>
                  <a:lnTo>
                    <a:pt x="1575" y="674"/>
                  </a:lnTo>
                  <a:lnTo>
                    <a:pt x="1575" y="674"/>
                  </a:lnTo>
                  <a:lnTo>
                    <a:pt x="1575" y="674"/>
                  </a:lnTo>
                  <a:lnTo>
                    <a:pt x="1575" y="674"/>
                  </a:lnTo>
                  <a:lnTo>
                    <a:pt x="1573" y="672"/>
                  </a:lnTo>
                  <a:lnTo>
                    <a:pt x="1573" y="672"/>
                  </a:lnTo>
                  <a:lnTo>
                    <a:pt x="1573" y="674"/>
                  </a:lnTo>
                  <a:lnTo>
                    <a:pt x="1573" y="672"/>
                  </a:lnTo>
                  <a:lnTo>
                    <a:pt x="1571" y="670"/>
                  </a:lnTo>
                  <a:lnTo>
                    <a:pt x="1571" y="670"/>
                  </a:lnTo>
                  <a:lnTo>
                    <a:pt x="1569" y="670"/>
                  </a:lnTo>
                  <a:lnTo>
                    <a:pt x="1569" y="670"/>
                  </a:lnTo>
                  <a:lnTo>
                    <a:pt x="1567" y="670"/>
                  </a:lnTo>
                  <a:lnTo>
                    <a:pt x="1567" y="670"/>
                  </a:lnTo>
                  <a:lnTo>
                    <a:pt x="1565" y="670"/>
                  </a:lnTo>
                  <a:lnTo>
                    <a:pt x="1563" y="670"/>
                  </a:lnTo>
                  <a:lnTo>
                    <a:pt x="1565" y="670"/>
                  </a:lnTo>
                  <a:lnTo>
                    <a:pt x="1565" y="670"/>
                  </a:lnTo>
                  <a:lnTo>
                    <a:pt x="1565" y="672"/>
                  </a:lnTo>
                  <a:lnTo>
                    <a:pt x="1567" y="672"/>
                  </a:lnTo>
                  <a:lnTo>
                    <a:pt x="1567" y="672"/>
                  </a:lnTo>
                  <a:lnTo>
                    <a:pt x="1569" y="672"/>
                  </a:lnTo>
                  <a:lnTo>
                    <a:pt x="1569" y="672"/>
                  </a:lnTo>
                  <a:lnTo>
                    <a:pt x="1569" y="672"/>
                  </a:lnTo>
                  <a:lnTo>
                    <a:pt x="1569" y="674"/>
                  </a:lnTo>
                  <a:lnTo>
                    <a:pt x="1569" y="674"/>
                  </a:lnTo>
                  <a:lnTo>
                    <a:pt x="1569" y="674"/>
                  </a:lnTo>
                  <a:lnTo>
                    <a:pt x="1567" y="674"/>
                  </a:lnTo>
                  <a:lnTo>
                    <a:pt x="1567" y="674"/>
                  </a:lnTo>
                  <a:lnTo>
                    <a:pt x="1565" y="672"/>
                  </a:lnTo>
                  <a:lnTo>
                    <a:pt x="1565" y="672"/>
                  </a:lnTo>
                  <a:lnTo>
                    <a:pt x="1563" y="672"/>
                  </a:lnTo>
                  <a:lnTo>
                    <a:pt x="1563" y="674"/>
                  </a:lnTo>
                  <a:lnTo>
                    <a:pt x="1563" y="674"/>
                  </a:lnTo>
                  <a:lnTo>
                    <a:pt x="1565" y="674"/>
                  </a:lnTo>
                  <a:lnTo>
                    <a:pt x="1565" y="676"/>
                  </a:lnTo>
                  <a:lnTo>
                    <a:pt x="1565" y="676"/>
                  </a:lnTo>
                  <a:lnTo>
                    <a:pt x="1565" y="676"/>
                  </a:lnTo>
                  <a:lnTo>
                    <a:pt x="1565" y="678"/>
                  </a:lnTo>
                  <a:lnTo>
                    <a:pt x="1565" y="676"/>
                  </a:lnTo>
                  <a:lnTo>
                    <a:pt x="1563" y="676"/>
                  </a:lnTo>
                  <a:lnTo>
                    <a:pt x="1563" y="674"/>
                  </a:lnTo>
                  <a:lnTo>
                    <a:pt x="1563" y="674"/>
                  </a:lnTo>
                  <a:lnTo>
                    <a:pt x="1563" y="674"/>
                  </a:lnTo>
                  <a:lnTo>
                    <a:pt x="1561" y="674"/>
                  </a:lnTo>
                  <a:lnTo>
                    <a:pt x="1561" y="674"/>
                  </a:lnTo>
                  <a:lnTo>
                    <a:pt x="1561" y="676"/>
                  </a:lnTo>
                  <a:lnTo>
                    <a:pt x="1561" y="676"/>
                  </a:lnTo>
                  <a:lnTo>
                    <a:pt x="1563" y="678"/>
                  </a:lnTo>
                  <a:lnTo>
                    <a:pt x="1563" y="678"/>
                  </a:lnTo>
                  <a:lnTo>
                    <a:pt x="1563" y="680"/>
                  </a:lnTo>
                  <a:lnTo>
                    <a:pt x="1563" y="680"/>
                  </a:lnTo>
                  <a:lnTo>
                    <a:pt x="1563" y="682"/>
                  </a:lnTo>
                  <a:lnTo>
                    <a:pt x="1563" y="682"/>
                  </a:lnTo>
                  <a:lnTo>
                    <a:pt x="1565" y="682"/>
                  </a:lnTo>
                  <a:lnTo>
                    <a:pt x="1565" y="684"/>
                  </a:lnTo>
                  <a:lnTo>
                    <a:pt x="1567" y="684"/>
                  </a:lnTo>
                  <a:lnTo>
                    <a:pt x="1567" y="684"/>
                  </a:lnTo>
                  <a:lnTo>
                    <a:pt x="1569" y="684"/>
                  </a:lnTo>
                  <a:lnTo>
                    <a:pt x="1569" y="682"/>
                  </a:lnTo>
                  <a:lnTo>
                    <a:pt x="1567" y="682"/>
                  </a:lnTo>
                  <a:lnTo>
                    <a:pt x="1569" y="682"/>
                  </a:lnTo>
                  <a:lnTo>
                    <a:pt x="1569" y="682"/>
                  </a:lnTo>
                  <a:lnTo>
                    <a:pt x="1569" y="682"/>
                  </a:lnTo>
                  <a:lnTo>
                    <a:pt x="1569" y="682"/>
                  </a:lnTo>
                  <a:lnTo>
                    <a:pt x="1569" y="684"/>
                  </a:lnTo>
                  <a:lnTo>
                    <a:pt x="1569" y="684"/>
                  </a:lnTo>
                  <a:lnTo>
                    <a:pt x="1569" y="684"/>
                  </a:lnTo>
                  <a:lnTo>
                    <a:pt x="1567" y="684"/>
                  </a:lnTo>
                  <a:lnTo>
                    <a:pt x="1569" y="687"/>
                  </a:lnTo>
                  <a:lnTo>
                    <a:pt x="1569" y="687"/>
                  </a:lnTo>
                  <a:lnTo>
                    <a:pt x="1569" y="687"/>
                  </a:lnTo>
                  <a:lnTo>
                    <a:pt x="1571" y="684"/>
                  </a:lnTo>
                  <a:lnTo>
                    <a:pt x="1573" y="682"/>
                  </a:lnTo>
                  <a:lnTo>
                    <a:pt x="1573" y="682"/>
                  </a:lnTo>
                  <a:lnTo>
                    <a:pt x="1573" y="684"/>
                  </a:lnTo>
                  <a:lnTo>
                    <a:pt x="1573" y="684"/>
                  </a:lnTo>
                  <a:lnTo>
                    <a:pt x="1571" y="684"/>
                  </a:lnTo>
                  <a:lnTo>
                    <a:pt x="1571" y="684"/>
                  </a:lnTo>
                  <a:lnTo>
                    <a:pt x="1571" y="687"/>
                  </a:lnTo>
                  <a:lnTo>
                    <a:pt x="1569" y="687"/>
                  </a:lnTo>
                  <a:lnTo>
                    <a:pt x="1569" y="689"/>
                  </a:lnTo>
                  <a:lnTo>
                    <a:pt x="1569" y="689"/>
                  </a:lnTo>
                  <a:lnTo>
                    <a:pt x="1569" y="689"/>
                  </a:lnTo>
                  <a:lnTo>
                    <a:pt x="1571" y="689"/>
                  </a:lnTo>
                  <a:lnTo>
                    <a:pt x="1571" y="689"/>
                  </a:lnTo>
                  <a:lnTo>
                    <a:pt x="1571" y="689"/>
                  </a:lnTo>
                  <a:lnTo>
                    <a:pt x="1573" y="691"/>
                  </a:lnTo>
                  <a:lnTo>
                    <a:pt x="1573" y="691"/>
                  </a:lnTo>
                  <a:lnTo>
                    <a:pt x="1573" y="691"/>
                  </a:lnTo>
                  <a:lnTo>
                    <a:pt x="1575" y="691"/>
                  </a:lnTo>
                  <a:lnTo>
                    <a:pt x="1575" y="691"/>
                  </a:lnTo>
                  <a:lnTo>
                    <a:pt x="1575" y="689"/>
                  </a:lnTo>
                  <a:lnTo>
                    <a:pt x="1575" y="689"/>
                  </a:lnTo>
                  <a:lnTo>
                    <a:pt x="1575" y="689"/>
                  </a:lnTo>
                  <a:lnTo>
                    <a:pt x="1575" y="689"/>
                  </a:lnTo>
                  <a:lnTo>
                    <a:pt x="1575" y="689"/>
                  </a:lnTo>
                  <a:lnTo>
                    <a:pt x="1575" y="691"/>
                  </a:lnTo>
                  <a:lnTo>
                    <a:pt x="1577" y="691"/>
                  </a:lnTo>
                  <a:lnTo>
                    <a:pt x="1577" y="691"/>
                  </a:lnTo>
                  <a:lnTo>
                    <a:pt x="1577" y="691"/>
                  </a:lnTo>
                  <a:lnTo>
                    <a:pt x="1577" y="691"/>
                  </a:lnTo>
                  <a:lnTo>
                    <a:pt x="1577" y="691"/>
                  </a:lnTo>
                  <a:lnTo>
                    <a:pt x="1577" y="691"/>
                  </a:lnTo>
                  <a:lnTo>
                    <a:pt x="1577" y="691"/>
                  </a:lnTo>
                  <a:lnTo>
                    <a:pt x="1577" y="693"/>
                  </a:lnTo>
                  <a:lnTo>
                    <a:pt x="1577" y="693"/>
                  </a:lnTo>
                  <a:lnTo>
                    <a:pt x="1577" y="693"/>
                  </a:lnTo>
                  <a:lnTo>
                    <a:pt x="1577" y="695"/>
                  </a:lnTo>
                  <a:lnTo>
                    <a:pt x="1577" y="695"/>
                  </a:lnTo>
                  <a:lnTo>
                    <a:pt x="1579" y="697"/>
                  </a:lnTo>
                  <a:lnTo>
                    <a:pt x="1579" y="697"/>
                  </a:lnTo>
                  <a:lnTo>
                    <a:pt x="1579" y="697"/>
                  </a:lnTo>
                  <a:lnTo>
                    <a:pt x="1577" y="697"/>
                  </a:lnTo>
                  <a:lnTo>
                    <a:pt x="1577" y="697"/>
                  </a:lnTo>
                  <a:lnTo>
                    <a:pt x="1577" y="695"/>
                  </a:lnTo>
                  <a:lnTo>
                    <a:pt x="1577" y="695"/>
                  </a:lnTo>
                  <a:lnTo>
                    <a:pt x="1575" y="695"/>
                  </a:lnTo>
                  <a:lnTo>
                    <a:pt x="1575" y="697"/>
                  </a:lnTo>
                  <a:lnTo>
                    <a:pt x="1577" y="697"/>
                  </a:lnTo>
                  <a:lnTo>
                    <a:pt x="1577" y="697"/>
                  </a:lnTo>
                  <a:lnTo>
                    <a:pt x="1575" y="697"/>
                  </a:lnTo>
                  <a:lnTo>
                    <a:pt x="1575" y="699"/>
                  </a:lnTo>
                  <a:lnTo>
                    <a:pt x="1575" y="695"/>
                  </a:lnTo>
                  <a:lnTo>
                    <a:pt x="1575" y="695"/>
                  </a:lnTo>
                  <a:lnTo>
                    <a:pt x="1575" y="695"/>
                  </a:lnTo>
                  <a:lnTo>
                    <a:pt x="1573" y="695"/>
                  </a:lnTo>
                  <a:lnTo>
                    <a:pt x="1573" y="695"/>
                  </a:lnTo>
                  <a:lnTo>
                    <a:pt x="1573" y="695"/>
                  </a:lnTo>
                  <a:lnTo>
                    <a:pt x="1575" y="695"/>
                  </a:lnTo>
                  <a:lnTo>
                    <a:pt x="1575" y="695"/>
                  </a:lnTo>
                  <a:lnTo>
                    <a:pt x="1573" y="697"/>
                  </a:lnTo>
                  <a:lnTo>
                    <a:pt x="1573" y="697"/>
                  </a:lnTo>
                  <a:lnTo>
                    <a:pt x="1573" y="697"/>
                  </a:lnTo>
                  <a:lnTo>
                    <a:pt x="1573" y="695"/>
                  </a:lnTo>
                  <a:lnTo>
                    <a:pt x="1573" y="697"/>
                  </a:lnTo>
                  <a:lnTo>
                    <a:pt x="1573" y="697"/>
                  </a:lnTo>
                  <a:lnTo>
                    <a:pt x="1573" y="699"/>
                  </a:lnTo>
                  <a:lnTo>
                    <a:pt x="1573" y="699"/>
                  </a:lnTo>
                  <a:lnTo>
                    <a:pt x="1573" y="699"/>
                  </a:lnTo>
                  <a:lnTo>
                    <a:pt x="1573" y="699"/>
                  </a:lnTo>
                  <a:lnTo>
                    <a:pt x="1573" y="701"/>
                  </a:lnTo>
                  <a:lnTo>
                    <a:pt x="1573" y="701"/>
                  </a:lnTo>
                  <a:lnTo>
                    <a:pt x="1573" y="701"/>
                  </a:lnTo>
                  <a:lnTo>
                    <a:pt x="1573" y="703"/>
                  </a:lnTo>
                  <a:lnTo>
                    <a:pt x="1573" y="703"/>
                  </a:lnTo>
                  <a:lnTo>
                    <a:pt x="1573" y="703"/>
                  </a:lnTo>
                  <a:lnTo>
                    <a:pt x="1573" y="703"/>
                  </a:lnTo>
                  <a:lnTo>
                    <a:pt x="1573" y="703"/>
                  </a:lnTo>
                  <a:lnTo>
                    <a:pt x="1573" y="703"/>
                  </a:lnTo>
                  <a:lnTo>
                    <a:pt x="1575" y="701"/>
                  </a:lnTo>
                  <a:lnTo>
                    <a:pt x="1575" y="701"/>
                  </a:lnTo>
                  <a:lnTo>
                    <a:pt x="1575" y="701"/>
                  </a:lnTo>
                  <a:lnTo>
                    <a:pt x="1575" y="699"/>
                  </a:lnTo>
                  <a:lnTo>
                    <a:pt x="1577" y="701"/>
                  </a:lnTo>
                  <a:lnTo>
                    <a:pt x="1577" y="701"/>
                  </a:lnTo>
                  <a:lnTo>
                    <a:pt x="1575" y="701"/>
                  </a:lnTo>
                  <a:lnTo>
                    <a:pt x="1575" y="701"/>
                  </a:lnTo>
                  <a:lnTo>
                    <a:pt x="1575" y="703"/>
                  </a:lnTo>
                  <a:lnTo>
                    <a:pt x="1575" y="703"/>
                  </a:lnTo>
                  <a:lnTo>
                    <a:pt x="1575" y="703"/>
                  </a:lnTo>
                  <a:lnTo>
                    <a:pt x="1575" y="703"/>
                  </a:lnTo>
                  <a:lnTo>
                    <a:pt x="1575" y="703"/>
                  </a:lnTo>
                  <a:lnTo>
                    <a:pt x="1575" y="705"/>
                  </a:lnTo>
                  <a:lnTo>
                    <a:pt x="1575" y="705"/>
                  </a:lnTo>
                  <a:lnTo>
                    <a:pt x="1575" y="705"/>
                  </a:lnTo>
                  <a:lnTo>
                    <a:pt x="1575" y="707"/>
                  </a:lnTo>
                  <a:lnTo>
                    <a:pt x="1575" y="707"/>
                  </a:lnTo>
                  <a:lnTo>
                    <a:pt x="1575" y="707"/>
                  </a:lnTo>
                  <a:lnTo>
                    <a:pt x="1577" y="709"/>
                  </a:lnTo>
                  <a:lnTo>
                    <a:pt x="1577" y="709"/>
                  </a:lnTo>
                  <a:lnTo>
                    <a:pt x="1577" y="709"/>
                  </a:lnTo>
                  <a:lnTo>
                    <a:pt x="1577" y="709"/>
                  </a:lnTo>
                  <a:lnTo>
                    <a:pt x="1577" y="709"/>
                  </a:lnTo>
                  <a:lnTo>
                    <a:pt x="1577" y="711"/>
                  </a:lnTo>
                  <a:lnTo>
                    <a:pt x="1577" y="711"/>
                  </a:lnTo>
                  <a:lnTo>
                    <a:pt x="1577" y="711"/>
                  </a:lnTo>
                  <a:lnTo>
                    <a:pt x="1577" y="711"/>
                  </a:lnTo>
                  <a:lnTo>
                    <a:pt x="1579" y="711"/>
                  </a:lnTo>
                  <a:lnTo>
                    <a:pt x="1579" y="713"/>
                  </a:lnTo>
                  <a:lnTo>
                    <a:pt x="1577" y="713"/>
                  </a:lnTo>
                  <a:lnTo>
                    <a:pt x="1579" y="713"/>
                  </a:lnTo>
                  <a:lnTo>
                    <a:pt x="1579" y="713"/>
                  </a:lnTo>
                  <a:lnTo>
                    <a:pt x="1581" y="713"/>
                  </a:lnTo>
                  <a:lnTo>
                    <a:pt x="1581" y="715"/>
                  </a:lnTo>
                  <a:lnTo>
                    <a:pt x="1581" y="715"/>
                  </a:lnTo>
                  <a:lnTo>
                    <a:pt x="1581" y="715"/>
                  </a:lnTo>
                  <a:lnTo>
                    <a:pt x="1583" y="715"/>
                  </a:lnTo>
                  <a:lnTo>
                    <a:pt x="1583" y="715"/>
                  </a:lnTo>
                  <a:lnTo>
                    <a:pt x="1581" y="713"/>
                  </a:lnTo>
                  <a:lnTo>
                    <a:pt x="1581" y="713"/>
                  </a:lnTo>
                  <a:lnTo>
                    <a:pt x="1581" y="713"/>
                  </a:lnTo>
                  <a:lnTo>
                    <a:pt x="1581" y="711"/>
                  </a:lnTo>
                  <a:lnTo>
                    <a:pt x="1581" y="711"/>
                  </a:lnTo>
                  <a:lnTo>
                    <a:pt x="1581" y="711"/>
                  </a:lnTo>
                  <a:lnTo>
                    <a:pt x="1581" y="711"/>
                  </a:lnTo>
                  <a:lnTo>
                    <a:pt x="1581" y="709"/>
                  </a:lnTo>
                  <a:lnTo>
                    <a:pt x="1581" y="709"/>
                  </a:lnTo>
                  <a:lnTo>
                    <a:pt x="1579" y="709"/>
                  </a:lnTo>
                  <a:lnTo>
                    <a:pt x="1579" y="709"/>
                  </a:lnTo>
                  <a:lnTo>
                    <a:pt x="1579" y="709"/>
                  </a:lnTo>
                  <a:lnTo>
                    <a:pt x="1579" y="709"/>
                  </a:lnTo>
                  <a:lnTo>
                    <a:pt x="1579" y="709"/>
                  </a:lnTo>
                  <a:lnTo>
                    <a:pt x="1577" y="707"/>
                  </a:lnTo>
                  <a:lnTo>
                    <a:pt x="1577" y="707"/>
                  </a:lnTo>
                  <a:lnTo>
                    <a:pt x="1579" y="707"/>
                  </a:lnTo>
                  <a:lnTo>
                    <a:pt x="1579" y="705"/>
                  </a:lnTo>
                  <a:lnTo>
                    <a:pt x="1579" y="703"/>
                  </a:lnTo>
                  <a:lnTo>
                    <a:pt x="1579" y="703"/>
                  </a:lnTo>
                  <a:lnTo>
                    <a:pt x="1579" y="701"/>
                  </a:lnTo>
                  <a:lnTo>
                    <a:pt x="1579" y="701"/>
                  </a:lnTo>
                  <a:lnTo>
                    <a:pt x="1579" y="699"/>
                  </a:lnTo>
                  <a:lnTo>
                    <a:pt x="1579" y="699"/>
                  </a:lnTo>
                  <a:lnTo>
                    <a:pt x="1581" y="701"/>
                  </a:lnTo>
                  <a:lnTo>
                    <a:pt x="1581" y="703"/>
                  </a:lnTo>
                  <a:lnTo>
                    <a:pt x="1581" y="705"/>
                  </a:lnTo>
                  <a:lnTo>
                    <a:pt x="1581" y="705"/>
                  </a:lnTo>
                  <a:lnTo>
                    <a:pt x="1581" y="705"/>
                  </a:lnTo>
                  <a:lnTo>
                    <a:pt x="1583" y="705"/>
                  </a:lnTo>
                  <a:lnTo>
                    <a:pt x="1583" y="709"/>
                  </a:lnTo>
                  <a:lnTo>
                    <a:pt x="1583" y="709"/>
                  </a:lnTo>
                  <a:lnTo>
                    <a:pt x="1583" y="709"/>
                  </a:lnTo>
                  <a:lnTo>
                    <a:pt x="1583" y="711"/>
                  </a:lnTo>
                  <a:lnTo>
                    <a:pt x="1585" y="711"/>
                  </a:lnTo>
                  <a:lnTo>
                    <a:pt x="1585" y="709"/>
                  </a:lnTo>
                  <a:lnTo>
                    <a:pt x="1585" y="709"/>
                  </a:lnTo>
                  <a:lnTo>
                    <a:pt x="1585" y="709"/>
                  </a:lnTo>
                  <a:lnTo>
                    <a:pt x="1585" y="709"/>
                  </a:lnTo>
                  <a:lnTo>
                    <a:pt x="1585" y="707"/>
                  </a:lnTo>
                  <a:close/>
                  <a:moveTo>
                    <a:pt x="1618" y="682"/>
                  </a:moveTo>
                  <a:lnTo>
                    <a:pt x="1616" y="682"/>
                  </a:lnTo>
                  <a:lnTo>
                    <a:pt x="1616" y="680"/>
                  </a:lnTo>
                  <a:lnTo>
                    <a:pt x="1616" y="680"/>
                  </a:lnTo>
                  <a:lnTo>
                    <a:pt x="1616" y="680"/>
                  </a:lnTo>
                  <a:lnTo>
                    <a:pt x="1614" y="680"/>
                  </a:lnTo>
                  <a:lnTo>
                    <a:pt x="1612" y="680"/>
                  </a:lnTo>
                  <a:lnTo>
                    <a:pt x="1612" y="682"/>
                  </a:lnTo>
                  <a:lnTo>
                    <a:pt x="1612" y="682"/>
                  </a:lnTo>
                  <a:lnTo>
                    <a:pt x="1610" y="682"/>
                  </a:lnTo>
                  <a:lnTo>
                    <a:pt x="1610" y="682"/>
                  </a:lnTo>
                  <a:lnTo>
                    <a:pt x="1610" y="682"/>
                  </a:lnTo>
                  <a:lnTo>
                    <a:pt x="1608" y="682"/>
                  </a:lnTo>
                  <a:lnTo>
                    <a:pt x="1608" y="682"/>
                  </a:lnTo>
                  <a:lnTo>
                    <a:pt x="1608" y="684"/>
                  </a:lnTo>
                  <a:lnTo>
                    <a:pt x="1606" y="684"/>
                  </a:lnTo>
                  <a:lnTo>
                    <a:pt x="1606" y="689"/>
                  </a:lnTo>
                  <a:lnTo>
                    <a:pt x="1606" y="689"/>
                  </a:lnTo>
                  <a:lnTo>
                    <a:pt x="1606" y="691"/>
                  </a:lnTo>
                  <a:lnTo>
                    <a:pt x="1608" y="691"/>
                  </a:lnTo>
                  <a:lnTo>
                    <a:pt x="1612" y="693"/>
                  </a:lnTo>
                  <a:lnTo>
                    <a:pt x="1614" y="693"/>
                  </a:lnTo>
                  <a:lnTo>
                    <a:pt x="1616" y="691"/>
                  </a:lnTo>
                  <a:lnTo>
                    <a:pt x="1618" y="691"/>
                  </a:lnTo>
                  <a:lnTo>
                    <a:pt x="1618" y="689"/>
                  </a:lnTo>
                  <a:lnTo>
                    <a:pt x="1618" y="689"/>
                  </a:lnTo>
                  <a:lnTo>
                    <a:pt x="1618" y="687"/>
                  </a:lnTo>
                  <a:lnTo>
                    <a:pt x="1616" y="687"/>
                  </a:lnTo>
                  <a:lnTo>
                    <a:pt x="1616" y="684"/>
                  </a:lnTo>
                  <a:lnTo>
                    <a:pt x="1616" y="684"/>
                  </a:lnTo>
                  <a:lnTo>
                    <a:pt x="1618" y="682"/>
                  </a:lnTo>
                  <a:lnTo>
                    <a:pt x="1618" y="682"/>
                  </a:lnTo>
                  <a:close/>
                  <a:moveTo>
                    <a:pt x="1526" y="670"/>
                  </a:moveTo>
                  <a:lnTo>
                    <a:pt x="1526" y="670"/>
                  </a:lnTo>
                  <a:lnTo>
                    <a:pt x="1524" y="670"/>
                  </a:lnTo>
                  <a:lnTo>
                    <a:pt x="1524" y="670"/>
                  </a:lnTo>
                  <a:lnTo>
                    <a:pt x="1524" y="668"/>
                  </a:lnTo>
                  <a:lnTo>
                    <a:pt x="1524" y="668"/>
                  </a:lnTo>
                  <a:lnTo>
                    <a:pt x="1524" y="666"/>
                  </a:lnTo>
                  <a:lnTo>
                    <a:pt x="1522" y="666"/>
                  </a:lnTo>
                  <a:lnTo>
                    <a:pt x="1524" y="666"/>
                  </a:lnTo>
                  <a:lnTo>
                    <a:pt x="1524" y="666"/>
                  </a:lnTo>
                  <a:lnTo>
                    <a:pt x="1524" y="666"/>
                  </a:lnTo>
                  <a:lnTo>
                    <a:pt x="1524" y="666"/>
                  </a:lnTo>
                  <a:lnTo>
                    <a:pt x="1522" y="664"/>
                  </a:lnTo>
                  <a:lnTo>
                    <a:pt x="1522" y="664"/>
                  </a:lnTo>
                  <a:lnTo>
                    <a:pt x="1518" y="662"/>
                  </a:lnTo>
                  <a:lnTo>
                    <a:pt x="1516" y="662"/>
                  </a:lnTo>
                  <a:lnTo>
                    <a:pt x="1516" y="664"/>
                  </a:lnTo>
                  <a:lnTo>
                    <a:pt x="1516" y="664"/>
                  </a:lnTo>
                  <a:lnTo>
                    <a:pt x="1516" y="666"/>
                  </a:lnTo>
                  <a:lnTo>
                    <a:pt x="1516" y="666"/>
                  </a:lnTo>
                  <a:lnTo>
                    <a:pt x="1516" y="666"/>
                  </a:lnTo>
                  <a:lnTo>
                    <a:pt x="1516" y="668"/>
                  </a:lnTo>
                  <a:lnTo>
                    <a:pt x="1516" y="668"/>
                  </a:lnTo>
                  <a:lnTo>
                    <a:pt x="1518" y="668"/>
                  </a:lnTo>
                  <a:lnTo>
                    <a:pt x="1518" y="668"/>
                  </a:lnTo>
                  <a:lnTo>
                    <a:pt x="1518" y="668"/>
                  </a:lnTo>
                  <a:lnTo>
                    <a:pt x="1518" y="668"/>
                  </a:lnTo>
                  <a:lnTo>
                    <a:pt x="1518" y="670"/>
                  </a:lnTo>
                  <a:lnTo>
                    <a:pt x="1518" y="670"/>
                  </a:lnTo>
                  <a:lnTo>
                    <a:pt x="1518" y="670"/>
                  </a:lnTo>
                  <a:lnTo>
                    <a:pt x="1520" y="670"/>
                  </a:lnTo>
                  <a:lnTo>
                    <a:pt x="1522" y="670"/>
                  </a:lnTo>
                  <a:lnTo>
                    <a:pt x="1522" y="670"/>
                  </a:lnTo>
                  <a:lnTo>
                    <a:pt x="1522" y="672"/>
                  </a:lnTo>
                  <a:lnTo>
                    <a:pt x="1520" y="674"/>
                  </a:lnTo>
                  <a:lnTo>
                    <a:pt x="1520" y="674"/>
                  </a:lnTo>
                  <a:lnTo>
                    <a:pt x="1520" y="674"/>
                  </a:lnTo>
                  <a:lnTo>
                    <a:pt x="1520" y="676"/>
                  </a:lnTo>
                  <a:lnTo>
                    <a:pt x="1520" y="676"/>
                  </a:lnTo>
                  <a:lnTo>
                    <a:pt x="1520" y="680"/>
                  </a:lnTo>
                  <a:lnTo>
                    <a:pt x="1524" y="678"/>
                  </a:lnTo>
                  <a:lnTo>
                    <a:pt x="1524" y="678"/>
                  </a:lnTo>
                  <a:lnTo>
                    <a:pt x="1524" y="678"/>
                  </a:lnTo>
                  <a:lnTo>
                    <a:pt x="1524" y="678"/>
                  </a:lnTo>
                  <a:lnTo>
                    <a:pt x="1526" y="678"/>
                  </a:lnTo>
                  <a:lnTo>
                    <a:pt x="1526" y="678"/>
                  </a:lnTo>
                  <a:lnTo>
                    <a:pt x="1526" y="676"/>
                  </a:lnTo>
                  <a:lnTo>
                    <a:pt x="1526" y="672"/>
                  </a:lnTo>
                  <a:lnTo>
                    <a:pt x="1526" y="670"/>
                  </a:lnTo>
                  <a:lnTo>
                    <a:pt x="1526" y="670"/>
                  </a:lnTo>
                  <a:close/>
                  <a:moveTo>
                    <a:pt x="1239" y="566"/>
                  </a:moveTo>
                  <a:lnTo>
                    <a:pt x="1239" y="566"/>
                  </a:lnTo>
                  <a:lnTo>
                    <a:pt x="1239" y="566"/>
                  </a:lnTo>
                  <a:lnTo>
                    <a:pt x="1239" y="566"/>
                  </a:lnTo>
                  <a:lnTo>
                    <a:pt x="1239" y="566"/>
                  </a:lnTo>
                  <a:lnTo>
                    <a:pt x="1237" y="566"/>
                  </a:lnTo>
                  <a:lnTo>
                    <a:pt x="1239" y="566"/>
                  </a:lnTo>
                  <a:lnTo>
                    <a:pt x="1239" y="566"/>
                  </a:lnTo>
                  <a:lnTo>
                    <a:pt x="1239" y="566"/>
                  </a:lnTo>
                  <a:lnTo>
                    <a:pt x="1239" y="566"/>
                  </a:lnTo>
                  <a:lnTo>
                    <a:pt x="1239" y="566"/>
                  </a:lnTo>
                  <a:lnTo>
                    <a:pt x="1239" y="566"/>
                  </a:lnTo>
                  <a:lnTo>
                    <a:pt x="1239" y="566"/>
                  </a:lnTo>
                  <a:lnTo>
                    <a:pt x="1239" y="566"/>
                  </a:lnTo>
                  <a:close/>
                  <a:moveTo>
                    <a:pt x="1534" y="607"/>
                  </a:moveTo>
                  <a:lnTo>
                    <a:pt x="1534" y="609"/>
                  </a:lnTo>
                  <a:lnTo>
                    <a:pt x="1536" y="609"/>
                  </a:lnTo>
                  <a:lnTo>
                    <a:pt x="1536" y="609"/>
                  </a:lnTo>
                  <a:lnTo>
                    <a:pt x="1536" y="609"/>
                  </a:lnTo>
                  <a:lnTo>
                    <a:pt x="1538" y="609"/>
                  </a:lnTo>
                  <a:lnTo>
                    <a:pt x="1538" y="609"/>
                  </a:lnTo>
                  <a:lnTo>
                    <a:pt x="1544" y="607"/>
                  </a:lnTo>
                  <a:lnTo>
                    <a:pt x="1544" y="607"/>
                  </a:lnTo>
                  <a:lnTo>
                    <a:pt x="1540" y="605"/>
                  </a:lnTo>
                  <a:lnTo>
                    <a:pt x="1538" y="603"/>
                  </a:lnTo>
                  <a:lnTo>
                    <a:pt x="1536" y="603"/>
                  </a:lnTo>
                  <a:lnTo>
                    <a:pt x="1534" y="603"/>
                  </a:lnTo>
                  <a:lnTo>
                    <a:pt x="1534" y="603"/>
                  </a:lnTo>
                  <a:lnTo>
                    <a:pt x="1534" y="605"/>
                  </a:lnTo>
                  <a:lnTo>
                    <a:pt x="1534" y="605"/>
                  </a:lnTo>
                  <a:lnTo>
                    <a:pt x="1532" y="605"/>
                  </a:lnTo>
                  <a:lnTo>
                    <a:pt x="1532" y="605"/>
                  </a:lnTo>
                  <a:lnTo>
                    <a:pt x="1532" y="607"/>
                  </a:lnTo>
                  <a:lnTo>
                    <a:pt x="1534" y="607"/>
                  </a:lnTo>
                  <a:close/>
                  <a:moveTo>
                    <a:pt x="1565" y="709"/>
                  </a:moveTo>
                  <a:lnTo>
                    <a:pt x="1565" y="709"/>
                  </a:lnTo>
                  <a:lnTo>
                    <a:pt x="1565" y="707"/>
                  </a:lnTo>
                  <a:lnTo>
                    <a:pt x="1563" y="707"/>
                  </a:lnTo>
                  <a:lnTo>
                    <a:pt x="1563" y="707"/>
                  </a:lnTo>
                  <a:lnTo>
                    <a:pt x="1563" y="705"/>
                  </a:lnTo>
                  <a:lnTo>
                    <a:pt x="1563" y="703"/>
                  </a:lnTo>
                  <a:lnTo>
                    <a:pt x="1563" y="703"/>
                  </a:lnTo>
                  <a:lnTo>
                    <a:pt x="1563" y="703"/>
                  </a:lnTo>
                  <a:lnTo>
                    <a:pt x="1563" y="701"/>
                  </a:lnTo>
                  <a:lnTo>
                    <a:pt x="1563" y="701"/>
                  </a:lnTo>
                  <a:lnTo>
                    <a:pt x="1563" y="699"/>
                  </a:lnTo>
                  <a:lnTo>
                    <a:pt x="1561" y="699"/>
                  </a:lnTo>
                  <a:lnTo>
                    <a:pt x="1561" y="699"/>
                  </a:lnTo>
                  <a:lnTo>
                    <a:pt x="1561" y="697"/>
                  </a:lnTo>
                  <a:lnTo>
                    <a:pt x="1561" y="697"/>
                  </a:lnTo>
                  <a:lnTo>
                    <a:pt x="1561" y="697"/>
                  </a:lnTo>
                  <a:lnTo>
                    <a:pt x="1559" y="693"/>
                  </a:lnTo>
                  <a:lnTo>
                    <a:pt x="1559" y="691"/>
                  </a:lnTo>
                  <a:lnTo>
                    <a:pt x="1559" y="691"/>
                  </a:lnTo>
                  <a:lnTo>
                    <a:pt x="1559" y="691"/>
                  </a:lnTo>
                  <a:lnTo>
                    <a:pt x="1559" y="693"/>
                  </a:lnTo>
                  <a:lnTo>
                    <a:pt x="1559" y="693"/>
                  </a:lnTo>
                  <a:lnTo>
                    <a:pt x="1559" y="693"/>
                  </a:lnTo>
                  <a:lnTo>
                    <a:pt x="1561" y="693"/>
                  </a:lnTo>
                  <a:lnTo>
                    <a:pt x="1561" y="693"/>
                  </a:lnTo>
                  <a:lnTo>
                    <a:pt x="1561" y="693"/>
                  </a:lnTo>
                  <a:lnTo>
                    <a:pt x="1561" y="693"/>
                  </a:lnTo>
                  <a:lnTo>
                    <a:pt x="1559" y="691"/>
                  </a:lnTo>
                  <a:lnTo>
                    <a:pt x="1557" y="684"/>
                  </a:lnTo>
                  <a:lnTo>
                    <a:pt x="1557" y="682"/>
                  </a:lnTo>
                  <a:lnTo>
                    <a:pt x="1557" y="682"/>
                  </a:lnTo>
                  <a:lnTo>
                    <a:pt x="1557" y="682"/>
                  </a:lnTo>
                  <a:lnTo>
                    <a:pt x="1557" y="682"/>
                  </a:lnTo>
                  <a:lnTo>
                    <a:pt x="1557" y="680"/>
                  </a:lnTo>
                  <a:lnTo>
                    <a:pt x="1555" y="678"/>
                  </a:lnTo>
                  <a:lnTo>
                    <a:pt x="1555" y="678"/>
                  </a:lnTo>
                  <a:lnTo>
                    <a:pt x="1552" y="676"/>
                  </a:lnTo>
                  <a:lnTo>
                    <a:pt x="1552" y="676"/>
                  </a:lnTo>
                  <a:lnTo>
                    <a:pt x="1552" y="674"/>
                  </a:lnTo>
                  <a:lnTo>
                    <a:pt x="1552" y="674"/>
                  </a:lnTo>
                  <a:lnTo>
                    <a:pt x="1550" y="674"/>
                  </a:lnTo>
                  <a:lnTo>
                    <a:pt x="1550" y="674"/>
                  </a:lnTo>
                  <a:lnTo>
                    <a:pt x="1550" y="672"/>
                  </a:lnTo>
                  <a:lnTo>
                    <a:pt x="1550" y="672"/>
                  </a:lnTo>
                  <a:lnTo>
                    <a:pt x="1550" y="670"/>
                  </a:lnTo>
                  <a:lnTo>
                    <a:pt x="1550" y="670"/>
                  </a:lnTo>
                  <a:lnTo>
                    <a:pt x="1550" y="670"/>
                  </a:lnTo>
                  <a:lnTo>
                    <a:pt x="1550" y="670"/>
                  </a:lnTo>
                  <a:lnTo>
                    <a:pt x="1550" y="670"/>
                  </a:lnTo>
                  <a:lnTo>
                    <a:pt x="1550" y="670"/>
                  </a:lnTo>
                  <a:lnTo>
                    <a:pt x="1548" y="670"/>
                  </a:lnTo>
                  <a:lnTo>
                    <a:pt x="1548" y="668"/>
                  </a:lnTo>
                  <a:lnTo>
                    <a:pt x="1548" y="668"/>
                  </a:lnTo>
                  <a:lnTo>
                    <a:pt x="1548" y="668"/>
                  </a:lnTo>
                  <a:lnTo>
                    <a:pt x="1548" y="668"/>
                  </a:lnTo>
                  <a:lnTo>
                    <a:pt x="1548" y="668"/>
                  </a:lnTo>
                  <a:lnTo>
                    <a:pt x="1546" y="668"/>
                  </a:lnTo>
                  <a:lnTo>
                    <a:pt x="1548" y="666"/>
                  </a:lnTo>
                  <a:lnTo>
                    <a:pt x="1546" y="666"/>
                  </a:lnTo>
                  <a:lnTo>
                    <a:pt x="1546" y="664"/>
                  </a:lnTo>
                  <a:lnTo>
                    <a:pt x="1544" y="664"/>
                  </a:lnTo>
                  <a:lnTo>
                    <a:pt x="1546" y="664"/>
                  </a:lnTo>
                  <a:lnTo>
                    <a:pt x="1546" y="662"/>
                  </a:lnTo>
                  <a:lnTo>
                    <a:pt x="1544" y="662"/>
                  </a:lnTo>
                  <a:lnTo>
                    <a:pt x="1544" y="662"/>
                  </a:lnTo>
                  <a:lnTo>
                    <a:pt x="1544" y="662"/>
                  </a:lnTo>
                  <a:lnTo>
                    <a:pt x="1544" y="660"/>
                  </a:lnTo>
                  <a:lnTo>
                    <a:pt x="1544" y="660"/>
                  </a:lnTo>
                  <a:lnTo>
                    <a:pt x="1544" y="660"/>
                  </a:lnTo>
                  <a:lnTo>
                    <a:pt x="1544" y="660"/>
                  </a:lnTo>
                  <a:lnTo>
                    <a:pt x="1542" y="660"/>
                  </a:lnTo>
                  <a:lnTo>
                    <a:pt x="1542" y="660"/>
                  </a:lnTo>
                  <a:lnTo>
                    <a:pt x="1540" y="660"/>
                  </a:lnTo>
                  <a:lnTo>
                    <a:pt x="1540" y="660"/>
                  </a:lnTo>
                  <a:lnTo>
                    <a:pt x="1540" y="658"/>
                  </a:lnTo>
                  <a:lnTo>
                    <a:pt x="1540" y="658"/>
                  </a:lnTo>
                  <a:lnTo>
                    <a:pt x="1540" y="658"/>
                  </a:lnTo>
                  <a:lnTo>
                    <a:pt x="1540" y="658"/>
                  </a:lnTo>
                  <a:lnTo>
                    <a:pt x="1540" y="658"/>
                  </a:lnTo>
                  <a:lnTo>
                    <a:pt x="1540" y="658"/>
                  </a:lnTo>
                  <a:lnTo>
                    <a:pt x="1538" y="658"/>
                  </a:lnTo>
                  <a:lnTo>
                    <a:pt x="1538" y="658"/>
                  </a:lnTo>
                  <a:lnTo>
                    <a:pt x="1538" y="658"/>
                  </a:lnTo>
                  <a:lnTo>
                    <a:pt x="1540" y="656"/>
                  </a:lnTo>
                  <a:lnTo>
                    <a:pt x="1540" y="656"/>
                  </a:lnTo>
                  <a:lnTo>
                    <a:pt x="1538" y="656"/>
                  </a:lnTo>
                  <a:lnTo>
                    <a:pt x="1538" y="656"/>
                  </a:lnTo>
                  <a:lnTo>
                    <a:pt x="1538" y="656"/>
                  </a:lnTo>
                  <a:lnTo>
                    <a:pt x="1540" y="656"/>
                  </a:lnTo>
                  <a:lnTo>
                    <a:pt x="1540" y="656"/>
                  </a:lnTo>
                  <a:lnTo>
                    <a:pt x="1538" y="654"/>
                  </a:lnTo>
                  <a:lnTo>
                    <a:pt x="1536" y="654"/>
                  </a:lnTo>
                  <a:lnTo>
                    <a:pt x="1536" y="654"/>
                  </a:lnTo>
                  <a:lnTo>
                    <a:pt x="1536" y="652"/>
                  </a:lnTo>
                  <a:lnTo>
                    <a:pt x="1534" y="652"/>
                  </a:lnTo>
                  <a:lnTo>
                    <a:pt x="1532" y="652"/>
                  </a:lnTo>
                  <a:lnTo>
                    <a:pt x="1532" y="652"/>
                  </a:lnTo>
                  <a:lnTo>
                    <a:pt x="1532" y="654"/>
                  </a:lnTo>
                  <a:lnTo>
                    <a:pt x="1532" y="654"/>
                  </a:lnTo>
                  <a:lnTo>
                    <a:pt x="1532" y="652"/>
                  </a:lnTo>
                  <a:lnTo>
                    <a:pt x="1532" y="652"/>
                  </a:lnTo>
                  <a:lnTo>
                    <a:pt x="1532" y="652"/>
                  </a:lnTo>
                  <a:lnTo>
                    <a:pt x="1530" y="650"/>
                  </a:lnTo>
                  <a:lnTo>
                    <a:pt x="1530" y="652"/>
                  </a:lnTo>
                  <a:lnTo>
                    <a:pt x="1530" y="652"/>
                  </a:lnTo>
                  <a:lnTo>
                    <a:pt x="1530" y="652"/>
                  </a:lnTo>
                  <a:lnTo>
                    <a:pt x="1528" y="652"/>
                  </a:lnTo>
                  <a:lnTo>
                    <a:pt x="1528" y="652"/>
                  </a:lnTo>
                  <a:lnTo>
                    <a:pt x="1528" y="652"/>
                  </a:lnTo>
                  <a:lnTo>
                    <a:pt x="1528" y="652"/>
                  </a:lnTo>
                  <a:lnTo>
                    <a:pt x="1526" y="654"/>
                  </a:lnTo>
                  <a:lnTo>
                    <a:pt x="1526" y="654"/>
                  </a:lnTo>
                  <a:lnTo>
                    <a:pt x="1526" y="654"/>
                  </a:lnTo>
                  <a:lnTo>
                    <a:pt x="1526" y="654"/>
                  </a:lnTo>
                  <a:lnTo>
                    <a:pt x="1526" y="652"/>
                  </a:lnTo>
                  <a:lnTo>
                    <a:pt x="1528" y="652"/>
                  </a:lnTo>
                  <a:lnTo>
                    <a:pt x="1528" y="650"/>
                  </a:lnTo>
                  <a:lnTo>
                    <a:pt x="1526" y="650"/>
                  </a:lnTo>
                  <a:lnTo>
                    <a:pt x="1524" y="648"/>
                  </a:lnTo>
                  <a:lnTo>
                    <a:pt x="1524" y="650"/>
                  </a:lnTo>
                  <a:lnTo>
                    <a:pt x="1522" y="652"/>
                  </a:lnTo>
                  <a:lnTo>
                    <a:pt x="1522" y="652"/>
                  </a:lnTo>
                  <a:lnTo>
                    <a:pt x="1522" y="652"/>
                  </a:lnTo>
                  <a:lnTo>
                    <a:pt x="1522" y="652"/>
                  </a:lnTo>
                  <a:lnTo>
                    <a:pt x="1522" y="652"/>
                  </a:lnTo>
                  <a:lnTo>
                    <a:pt x="1522" y="652"/>
                  </a:lnTo>
                  <a:lnTo>
                    <a:pt x="1522" y="652"/>
                  </a:lnTo>
                  <a:lnTo>
                    <a:pt x="1522" y="654"/>
                  </a:lnTo>
                  <a:lnTo>
                    <a:pt x="1522" y="654"/>
                  </a:lnTo>
                  <a:lnTo>
                    <a:pt x="1522" y="654"/>
                  </a:lnTo>
                  <a:lnTo>
                    <a:pt x="1522" y="654"/>
                  </a:lnTo>
                  <a:lnTo>
                    <a:pt x="1522" y="654"/>
                  </a:lnTo>
                  <a:lnTo>
                    <a:pt x="1522" y="654"/>
                  </a:lnTo>
                  <a:lnTo>
                    <a:pt x="1522" y="656"/>
                  </a:lnTo>
                  <a:lnTo>
                    <a:pt x="1522" y="656"/>
                  </a:lnTo>
                  <a:lnTo>
                    <a:pt x="1522" y="656"/>
                  </a:lnTo>
                  <a:lnTo>
                    <a:pt x="1522" y="656"/>
                  </a:lnTo>
                  <a:lnTo>
                    <a:pt x="1522" y="656"/>
                  </a:lnTo>
                  <a:lnTo>
                    <a:pt x="1522" y="658"/>
                  </a:lnTo>
                  <a:lnTo>
                    <a:pt x="1522" y="658"/>
                  </a:lnTo>
                  <a:lnTo>
                    <a:pt x="1522" y="658"/>
                  </a:lnTo>
                  <a:lnTo>
                    <a:pt x="1522" y="658"/>
                  </a:lnTo>
                  <a:lnTo>
                    <a:pt x="1522" y="658"/>
                  </a:lnTo>
                  <a:lnTo>
                    <a:pt x="1524" y="658"/>
                  </a:lnTo>
                  <a:lnTo>
                    <a:pt x="1524" y="658"/>
                  </a:lnTo>
                  <a:lnTo>
                    <a:pt x="1524" y="658"/>
                  </a:lnTo>
                  <a:lnTo>
                    <a:pt x="1526" y="660"/>
                  </a:lnTo>
                  <a:lnTo>
                    <a:pt x="1524" y="660"/>
                  </a:lnTo>
                  <a:lnTo>
                    <a:pt x="1522" y="660"/>
                  </a:lnTo>
                  <a:lnTo>
                    <a:pt x="1520" y="660"/>
                  </a:lnTo>
                  <a:lnTo>
                    <a:pt x="1520" y="660"/>
                  </a:lnTo>
                  <a:lnTo>
                    <a:pt x="1520" y="660"/>
                  </a:lnTo>
                  <a:lnTo>
                    <a:pt x="1520" y="660"/>
                  </a:lnTo>
                  <a:lnTo>
                    <a:pt x="1520" y="662"/>
                  </a:lnTo>
                  <a:lnTo>
                    <a:pt x="1522" y="662"/>
                  </a:lnTo>
                  <a:lnTo>
                    <a:pt x="1524" y="664"/>
                  </a:lnTo>
                  <a:lnTo>
                    <a:pt x="1524" y="666"/>
                  </a:lnTo>
                  <a:lnTo>
                    <a:pt x="1526" y="666"/>
                  </a:lnTo>
                  <a:lnTo>
                    <a:pt x="1526" y="666"/>
                  </a:lnTo>
                  <a:lnTo>
                    <a:pt x="1526" y="664"/>
                  </a:lnTo>
                  <a:lnTo>
                    <a:pt x="1526" y="664"/>
                  </a:lnTo>
                  <a:lnTo>
                    <a:pt x="1528" y="664"/>
                  </a:lnTo>
                  <a:lnTo>
                    <a:pt x="1528" y="664"/>
                  </a:lnTo>
                  <a:lnTo>
                    <a:pt x="1530" y="664"/>
                  </a:lnTo>
                  <a:lnTo>
                    <a:pt x="1530" y="666"/>
                  </a:lnTo>
                  <a:lnTo>
                    <a:pt x="1530" y="666"/>
                  </a:lnTo>
                  <a:lnTo>
                    <a:pt x="1530" y="666"/>
                  </a:lnTo>
                  <a:lnTo>
                    <a:pt x="1530" y="668"/>
                  </a:lnTo>
                  <a:lnTo>
                    <a:pt x="1530" y="668"/>
                  </a:lnTo>
                  <a:lnTo>
                    <a:pt x="1530" y="668"/>
                  </a:lnTo>
                  <a:lnTo>
                    <a:pt x="1530" y="668"/>
                  </a:lnTo>
                  <a:lnTo>
                    <a:pt x="1530" y="668"/>
                  </a:lnTo>
                  <a:lnTo>
                    <a:pt x="1530" y="668"/>
                  </a:lnTo>
                  <a:lnTo>
                    <a:pt x="1532" y="666"/>
                  </a:lnTo>
                  <a:lnTo>
                    <a:pt x="1532" y="666"/>
                  </a:lnTo>
                  <a:lnTo>
                    <a:pt x="1532" y="666"/>
                  </a:lnTo>
                  <a:lnTo>
                    <a:pt x="1534" y="666"/>
                  </a:lnTo>
                  <a:lnTo>
                    <a:pt x="1534" y="668"/>
                  </a:lnTo>
                  <a:lnTo>
                    <a:pt x="1532" y="668"/>
                  </a:lnTo>
                  <a:lnTo>
                    <a:pt x="1532" y="668"/>
                  </a:lnTo>
                  <a:lnTo>
                    <a:pt x="1530" y="670"/>
                  </a:lnTo>
                  <a:lnTo>
                    <a:pt x="1532" y="672"/>
                  </a:lnTo>
                  <a:lnTo>
                    <a:pt x="1532" y="672"/>
                  </a:lnTo>
                  <a:lnTo>
                    <a:pt x="1534" y="674"/>
                  </a:lnTo>
                  <a:lnTo>
                    <a:pt x="1534" y="674"/>
                  </a:lnTo>
                  <a:lnTo>
                    <a:pt x="1536" y="672"/>
                  </a:lnTo>
                  <a:lnTo>
                    <a:pt x="1538" y="672"/>
                  </a:lnTo>
                  <a:lnTo>
                    <a:pt x="1538" y="672"/>
                  </a:lnTo>
                  <a:lnTo>
                    <a:pt x="1538" y="674"/>
                  </a:lnTo>
                  <a:lnTo>
                    <a:pt x="1538" y="674"/>
                  </a:lnTo>
                  <a:lnTo>
                    <a:pt x="1538" y="674"/>
                  </a:lnTo>
                  <a:lnTo>
                    <a:pt x="1536" y="674"/>
                  </a:lnTo>
                  <a:lnTo>
                    <a:pt x="1536" y="674"/>
                  </a:lnTo>
                  <a:lnTo>
                    <a:pt x="1536" y="674"/>
                  </a:lnTo>
                  <a:lnTo>
                    <a:pt x="1536" y="676"/>
                  </a:lnTo>
                  <a:lnTo>
                    <a:pt x="1536" y="676"/>
                  </a:lnTo>
                  <a:lnTo>
                    <a:pt x="1536" y="676"/>
                  </a:lnTo>
                  <a:lnTo>
                    <a:pt x="1534" y="676"/>
                  </a:lnTo>
                  <a:lnTo>
                    <a:pt x="1534" y="676"/>
                  </a:lnTo>
                  <a:lnTo>
                    <a:pt x="1534" y="678"/>
                  </a:lnTo>
                  <a:lnTo>
                    <a:pt x="1534" y="678"/>
                  </a:lnTo>
                  <a:lnTo>
                    <a:pt x="1534" y="678"/>
                  </a:lnTo>
                  <a:lnTo>
                    <a:pt x="1534" y="678"/>
                  </a:lnTo>
                  <a:lnTo>
                    <a:pt x="1534" y="678"/>
                  </a:lnTo>
                  <a:lnTo>
                    <a:pt x="1534" y="678"/>
                  </a:lnTo>
                  <a:lnTo>
                    <a:pt x="1534" y="678"/>
                  </a:lnTo>
                  <a:lnTo>
                    <a:pt x="1536" y="680"/>
                  </a:lnTo>
                  <a:lnTo>
                    <a:pt x="1536" y="680"/>
                  </a:lnTo>
                  <a:lnTo>
                    <a:pt x="1536" y="680"/>
                  </a:lnTo>
                  <a:lnTo>
                    <a:pt x="1536" y="680"/>
                  </a:lnTo>
                  <a:lnTo>
                    <a:pt x="1536" y="680"/>
                  </a:lnTo>
                  <a:lnTo>
                    <a:pt x="1536" y="682"/>
                  </a:lnTo>
                  <a:lnTo>
                    <a:pt x="1534" y="682"/>
                  </a:lnTo>
                  <a:lnTo>
                    <a:pt x="1534" y="682"/>
                  </a:lnTo>
                  <a:lnTo>
                    <a:pt x="1536" y="684"/>
                  </a:lnTo>
                  <a:lnTo>
                    <a:pt x="1536" y="684"/>
                  </a:lnTo>
                  <a:lnTo>
                    <a:pt x="1536" y="684"/>
                  </a:lnTo>
                  <a:lnTo>
                    <a:pt x="1536" y="684"/>
                  </a:lnTo>
                  <a:lnTo>
                    <a:pt x="1536" y="687"/>
                  </a:lnTo>
                  <a:lnTo>
                    <a:pt x="1538" y="687"/>
                  </a:lnTo>
                  <a:lnTo>
                    <a:pt x="1540" y="682"/>
                  </a:lnTo>
                  <a:lnTo>
                    <a:pt x="1542" y="682"/>
                  </a:lnTo>
                  <a:lnTo>
                    <a:pt x="1542" y="682"/>
                  </a:lnTo>
                  <a:lnTo>
                    <a:pt x="1542" y="682"/>
                  </a:lnTo>
                  <a:lnTo>
                    <a:pt x="1542" y="684"/>
                  </a:lnTo>
                  <a:lnTo>
                    <a:pt x="1542" y="684"/>
                  </a:lnTo>
                  <a:lnTo>
                    <a:pt x="1542" y="684"/>
                  </a:lnTo>
                  <a:lnTo>
                    <a:pt x="1542" y="684"/>
                  </a:lnTo>
                  <a:lnTo>
                    <a:pt x="1542" y="687"/>
                  </a:lnTo>
                  <a:lnTo>
                    <a:pt x="1542" y="687"/>
                  </a:lnTo>
                  <a:lnTo>
                    <a:pt x="1542" y="687"/>
                  </a:lnTo>
                  <a:lnTo>
                    <a:pt x="1542" y="689"/>
                  </a:lnTo>
                  <a:lnTo>
                    <a:pt x="1542" y="689"/>
                  </a:lnTo>
                  <a:lnTo>
                    <a:pt x="1542" y="689"/>
                  </a:lnTo>
                  <a:lnTo>
                    <a:pt x="1542" y="689"/>
                  </a:lnTo>
                  <a:lnTo>
                    <a:pt x="1542" y="689"/>
                  </a:lnTo>
                  <a:lnTo>
                    <a:pt x="1542" y="689"/>
                  </a:lnTo>
                  <a:lnTo>
                    <a:pt x="1542" y="691"/>
                  </a:lnTo>
                  <a:lnTo>
                    <a:pt x="1542" y="691"/>
                  </a:lnTo>
                  <a:lnTo>
                    <a:pt x="1542" y="691"/>
                  </a:lnTo>
                  <a:lnTo>
                    <a:pt x="1542" y="691"/>
                  </a:lnTo>
                  <a:lnTo>
                    <a:pt x="1542" y="691"/>
                  </a:lnTo>
                  <a:lnTo>
                    <a:pt x="1544" y="689"/>
                  </a:lnTo>
                  <a:lnTo>
                    <a:pt x="1544" y="687"/>
                  </a:lnTo>
                  <a:lnTo>
                    <a:pt x="1544" y="684"/>
                  </a:lnTo>
                  <a:lnTo>
                    <a:pt x="1544" y="684"/>
                  </a:lnTo>
                  <a:lnTo>
                    <a:pt x="1546" y="684"/>
                  </a:lnTo>
                  <a:lnTo>
                    <a:pt x="1546" y="684"/>
                  </a:lnTo>
                  <a:lnTo>
                    <a:pt x="1546" y="684"/>
                  </a:lnTo>
                  <a:lnTo>
                    <a:pt x="1546" y="687"/>
                  </a:lnTo>
                  <a:lnTo>
                    <a:pt x="1544" y="689"/>
                  </a:lnTo>
                  <a:lnTo>
                    <a:pt x="1544" y="689"/>
                  </a:lnTo>
                  <a:lnTo>
                    <a:pt x="1544" y="691"/>
                  </a:lnTo>
                  <a:lnTo>
                    <a:pt x="1544" y="691"/>
                  </a:lnTo>
                  <a:lnTo>
                    <a:pt x="1544" y="693"/>
                  </a:lnTo>
                  <a:lnTo>
                    <a:pt x="1544" y="693"/>
                  </a:lnTo>
                  <a:lnTo>
                    <a:pt x="1546" y="695"/>
                  </a:lnTo>
                  <a:lnTo>
                    <a:pt x="1546" y="695"/>
                  </a:lnTo>
                  <a:lnTo>
                    <a:pt x="1546" y="693"/>
                  </a:lnTo>
                  <a:lnTo>
                    <a:pt x="1546" y="693"/>
                  </a:lnTo>
                  <a:lnTo>
                    <a:pt x="1548" y="693"/>
                  </a:lnTo>
                  <a:lnTo>
                    <a:pt x="1548" y="691"/>
                  </a:lnTo>
                  <a:lnTo>
                    <a:pt x="1546" y="689"/>
                  </a:lnTo>
                  <a:lnTo>
                    <a:pt x="1548" y="687"/>
                  </a:lnTo>
                  <a:lnTo>
                    <a:pt x="1548" y="687"/>
                  </a:lnTo>
                  <a:lnTo>
                    <a:pt x="1548" y="687"/>
                  </a:lnTo>
                  <a:lnTo>
                    <a:pt x="1548" y="687"/>
                  </a:lnTo>
                  <a:lnTo>
                    <a:pt x="1548" y="689"/>
                  </a:lnTo>
                  <a:lnTo>
                    <a:pt x="1548" y="689"/>
                  </a:lnTo>
                  <a:lnTo>
                    <a:pt x="1548" y="691"/>
                  </a:lnTo>
                  <a:lnTo>
                    <a:pt x="1548" y="691"/>
                  </a:lnTo>
                  <a:lnTo>
                    <a:pt x="1548" y="691"/>
                  </a:lnTo>
                  <a:lnTo>
                    <a:pt x="1550" y="691"/>
                  </a:lnTo>
                  <a:lnTo>
                    <a:pt x="1550" y="691"/>
                  </a:lnTo>
                  <a:lnTo>
                    <a:pt x="1550" y="691"/>
                  </a:lnTo>
                  <a:lnTo>
                    <a:pt x="1550" y="689"/>
                  </a:lnTo>
                  <a:lnTo>
                    <a:pt x="1550" y="689"/>
                  </a:lnTo>
                  <a:lnTo>
                    <a:pt x="1550" y="689"/>
                  </a:lnTo>
                  <a:lnTo>
                    <a:pt x="1550" y="689"/>
                  </a:lnTo>
                  <a:lnTo>
                    <a:pt x="1552" y="687"/>
                  </a:lnTo>
                  <a:lnTo>
                    <a:pt x="1550" y="691"/>
                  </a:lnTo>
                  <a:lnTo>
                    <a:pt x="1550" y="691"/>
                  </a:lnTo>
                  <a:lnTo>
                    <a:pt x="1550" y="693"/>
                  </a:lnTo>
                  <a:lnTo>
                    <a:pt x="1550" y="693"/>
                  </a:lnTo>
                  <a:lnTo>
                    <a:pt x="1548" y="695"/>
                  </a:lnTo>
                  <a:lnTo>
                    <a:pt x="1548" y="695"/>
                  </a:lnTo>
                  <a:lnTo>
                    <a:pt x="1548" y="695"/>
                  </a:lnTo>
                  <a:lnTo>
                    <a:pt x="1548" y="695"/>
                  </a:lnTo>
                  <a:lnTo>
                    <a:pt x="1548" y="695"/>
                  </a:lnTo>
                  <a:lnTo>
                    <a:pt x="1548" y="695"/>
                  </a:lnTo>
                  <a:lnTo>
                    <a:pt x="1548" y="697"/>
                  </a:lnTo>
                  <a:lnTo>
                    <a:pt x="1548" y="697"/>
                  </a:lnTo>
                  <a:lnTo>
                    <a:pt x="1548" y="697"/>
                  </a:lnTo>
                  <a:lnTo>
                    <a:pt x="1548" y="697"/>
                  </a:lnTo>
                  <a:lnTo>
                    <a:pt x="1548" y="697"/>
                  </a:lnTo>
                  <a:lnTo>
                    <a:pt x="1550" y="699"/>
                  </a:lnTo>
                  <a:lnTo>
                    <a:pt x="1550" y="699"/>
                  </a:lnTo>
                  <a:lnTo>
                    <a:pt x="1550" y="699"/>
                  </a:lnTo>
                  <a:lnTo>
                    <a:pt x="1552" y="701"/>
                  </a:lnTo>
                  <a:lnTo>
                    <a:pt x="1552" y="703"/>
                  </a:lnTo>
                  <a:lnTo>
                    <a:pt x="1555" y="703"/>
                  </a:lnTo>
                  <a:lnTo>
                    <a:pt x="1555" y="703"/>
                  </a:lnTo>
                  <a:lnTo>
                    <a:pt x="1555" y="703"/>
                  </a:lnTo>
                  <a:lnTo>
                    <a:pt x="1555" y="703"/>
                  </a:lnTo>
                  <a:lnTo>
                    <a:pt x="1555" y="705"/>
                  </a:lnTo>
                  <a:lnTo>
                    <a:pt x="1555" y="705"/>
                  </a:lnTo>
                  <a:lnTo>
                    <a:pt x="1557" y="705"/>
                  </a:lnTo>
                  <a:lnTo>
                    <a:pt x="1557" y="705"/>
                  </a:lnTo>
                  <a:lnTo>
                    <a:pt x="1557" y="705"/>
                  </a:lnTo>
                  <a:lnTo>
                    <a:pt x="1557" y="705"/>
                  </a:lnTo>
                  <a:lnTo>
                    <a:pt x="1559" y="707"/>
                  </a:lnTo>
                  <a:lnTo>
                    <a:pt x="1559" y="707"/>
                  </a:lnTo>
                  <a:lnTo>
                    <a:pt x="1559" y="707"/>
                  </a:lnTo>
                  <a:lnTo>
                    <a:pt x="1559" y="707"/>
                  </a:lnTo>
                  <a:lnTo>
                    <a:pt x="1559" y="707"/>
                  </a:lnTo>
                  <a:lnTo>
                    <a:pt x="1559" y="707"/>
                  </a:lnTo>
                  <a:lnTo>
                    <a:pt x="1559" y="707"/>
                  </a:lnTo>
                  <a:lnTo>
                    <a:pt x="1559" y="709"/>
                  </a:lnTo>
                  <a:lnTo>
                    <a:pt x="1561" y="709"/>
                  </a:lnTo>
                  <a:lnTo>
                    <a:pt x="1561" y="709"/>
                  </a:lnTo>
                  <a:lnTo>
                    <a:pt x="1561" y="709"/>
                  </a:lnTo>
                  <a:lnTo>
                    <a:pt x="1561" y="709"/>
                  </a:lnTo>
                  <a:lnTo>
                    <a:pt x="1561" y="711"/>
                  </a:lnTo>
                  <a:lnTo>
                    <a:pt x="1561" y="709"/>
                  </a:lnTo>
                  <a:lnTo>
                    <a:pt x="1563" y="709"/>
                  </a:lnTo>
                  <a:lnTo>
                    <a:pt x="1563" y="709"/>
                  </a:lnTo>
                  <a:lnTo>
                    <a:pt x="1563" y="709"/>
                  </a:lnTo>
                  <a:lnTo>
                    <a:pt x="1563" y="709"/>
                  </a:lnTo>
                  <a:lnTo>
                    <a:pt x="1563" y="709"/>
                  </a:lnTo>
                  <a:lnTo>
                    <a:pt x="1563" y="709"/>
                  </a:lnTo>
                  <a:lnTo>
                    <a:pt x="1563" y="709"/>
                  </a:lnTo>
                  <a:lnTo>
                    <a:pt x="1563" y="711"/>
                  </a:lnTo>
                  <a:lnTo>
                    <a:pt x="1563" y="711"/>
                  </a:lnTo>
                  <a:lnTo>
                    <a:pt x="1565" y="711"/>
                  </a:lnTo>
                  <a:lnTo>
                    <a:pt x="1565" y="711"/>
                  </a:lnTo>
                  <a:lnTo>
                    <a:pt x="1565" y="709"/>
                  </a:lnTo>
                  <a:lnTo>
                    <a:pt x="1565" y="709"/>
                  </a:lnTo>
                  <a:close/>
                  <a:moveTo>
                    <a:pt x="1264" y="576"/>
                  </a:moveTo>
                  <a:lnTo>
                    <a:pt x="1262" y="576"/>
                  </a:lnTo>
                  <a:lnTo>
                    <a:pt x="1262" y="578"/>
                  </a:lnTo>
                  <a:lnTo>
                    <a:pt x="1260" y="578"/>
                  </a:lnTo>
                  <a:lnTo>
                    <a:pt x="1260" y="582"/>
                  </a:lnTo>
                  <a:lnTo>
                    <a:pt x="1258" y="582"/>
                  </a:lnTo>
                  <a:lnTo>
                    <a:pt x="1258" y="582"/>
                  </a:lnTo>
                  <a:lnTo>
                    <a:pt x="1258" y="586"/>
                  </a:lnTo>
                  <a:lnTo>
                    <a:pt x="1258" y="586"/>
                  </a:lnTo>
                  <a:lnTo>
                    <a:pt x="1258" y="584"/>
                  </a:lnTo>
                  <a:lnTo>
                    <a:pt x="1262" y="580"/>
                  </a:lnTo>
                  <a:lnTo>
                    <a:pt x="1262" y="580"/>
                  </a:lnTo>
                  <a:lnTo>
                    <a:pt x="1262" y="580"/>
                  </a:lnTo>
                  <a:lnTo>
                    <a:pt x="1262" y="578"/>
                  </a:lnTo>
                  <a:lnTo>
                    <a:pt x="1262" y="578"/>
                  </a:lnTo>
                  <a:lnTo>
                    <a:pt x="1266" y="576"/>
                  </a:lnTo>
                  <a:lnTo>
                    <a:pt x="1266" y="574"/>
                  </a:lnTo>
                  <a:lnTo>
                    <a:pt x="1266" y="574"/>
                  </a:lnTo>
                  <a:lnTo>
                    <a:pt x="1266" y="574"/>
                  </a:lnTo>
                  <a:lnTo>
                    <a:pt x="1266" y="574"/>
                  </a:lnTo>
                  <a:lnTo>
                    <a:pt x="1264" y="574"/>
                  </a:lnTo>
                  <a:lnTo>
                    <a:pt x="1264" y="576"/>
                  </a:lnTo>
                  <a:close/>
                  <a:moveTo>
                    <a:pt x="1239" y="562"/>
                  </a:moveTo>
                  <a:lnTo>
                    <a:pt x="1239" y="562"/>
                  </a:lnTo>
                  <a:lnTo>
                    <a:pt x="1239" y="562"/>
                  </a:lnTo>
                  <a:lnTo>
                    <a:pt x="1239" y="562"/>
                  </a:lnTo>
                  <a:lnTo>
                    <a:pt x="1239" y="562"/>
                  </a:lnTo>
                  <a:lnTo>
                    <a:pt x="1239" y="559"/>
                  </a:lnTo>
                  <a:lnTo>
                    <a:pt x="1239" y="559"/>
                  </a:lnTo>
                  <a:lnTo>
                    <a:pt x="1239" y="557"/>
                  </a:lnTo>
                  <a:lnTo>
                    <a:pt x="1239" y="557"/>
                  </a:lnTo>
                  <a:lnTo>
                    <a:pt x="1239" y="555"/>
                  </a:lnTo>
                  <a:lnTo>
                    <a:pt x="1239" y="557"/>
                  </a:lnTo>
                  <a:lnTo>
                    <a:pt x="1237" y="557"/>
                  </a:lnTo>
                  <a:lnTo>
                    <a:pt x="1235" y="562"/>
                  </a:lnTo>
                  <a:lnTo>
                    <a:pt x="1235" y="562"/>
                  </a:lnTo>
                  <a:lnTo>
                    <a:pt x="1237" y="562"/>
                  </a:lnTo>
                  <a:lnTo>
                    <a:pt x="1237" y="562"/>
                  </a:lnTo>
                  <a:lnTo>
                    <a:pt x="1237" y="562"/>
                  </a:lnTo>
                  <a:lnTo>
                    <a:pt x="1237" y="562"/>
                  </a:lnTo>
                  <a:lnTo>
                    <a:pt x="1239" y="562"/>
                  </a:lnTo>
                  <a:lnTo>
                    <a:pt x="1239" y="562"/>
                  </a:lnTo>
                  <a:close/>
                  <a:moveTo>
                    <a:pt x="1184" y="570"/>
                  </a:moveTo>
                  <a:lnTo>
                    <a:pt x="1182" y="570"/>
                  </a:lnTo>
                  <a:lnTo>
                    <a:pt x="1182" y="570"/>
                  </a:lnTo>
                  <a:lnTo>
                    <a:pt x="1180" y="570"/>
                  </a:lnTo>
                  <a:lnTo>
                    <a:pt x="1180" y="572"/>
                  </a:lnTo>
                  <a:lnTo>
                    <a:pt x="1180" y="572"/>
                  </a:lnTo>
                  <a:lnTo>
                    <a:pt x="1180" y="572"/>
                  </a:lnTo>
                  <a:lnTo>
                    <a:pt x="1180" y="572"/>
                  </a:lnTo>
                  <a:lnTo>
                    <a:pt x="1180" y="572"/>
                  </a:lnTo>
                  <a:lnTo>
                    <a:pt x="1180" y="574"/>
                  </a:lnTo>
                  <a:lnTo>
                    <a:pt x="1180" y="572"/>
                  </a:lnTo>
                  <a:lnTo>
                    <a:pt x="1182" y="572"/>
                  </a:lnTo>
                  <a:lnTo>
                    <a:pt x="1184" y="570"/>
                  </a:lnTo>
                  <a:lnTo>
                    <a:pt x="1184" y="570"/>
                  </a:lnTo>
                  <a:lnTo>
                    <a:pt x="1184" y="570"/>
                  </a:lnTo>
                  <a:lnTo>
                    <a:pt x="1184" y="570"/>
                  </a:lnTo>
                  <a:lnTo>
                    <a:pt x="1184" y="570"/>
                  </a:lnTo>
                  <a:close/>
                  <a:moveTo>
                    <a:pt x="1194" y="537"/>
                  </a:move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close/>
                  <a:moveTo>
                    <a:pt x="1172" y="584"/>
                  </a:moveTo>
                  <a:lnTo>
                    <a:pt x="1172" y="582"/>
                  </a:lnTo>
                  <a:lnTo>
                    <a:pt x="1172" y="582"/>
                  </a:lnTo>
                  <a:lnTo>
                    <a:pt x="1172" y="582"/>
                  </a:lnTo>
                  <a:lnTo>
                    <a:pt x="1172" y="582"/>
                  </a:lnTo>
                  <a:lnTo>
                    <a:pt x="1172" y="582"/>
                  </a:lnTo>
                  <a:lnTo>
                    <a:pt x="1172" y="582"/>
                  </a:lnTo>
                  <a:lnTo>
                    <a:pt x="1169" y="582"/>
                  </a:lnTo>
                  <a:lnTo>
                    <a:pt x="1169" y="584"/>
                  </a:lnTo>
                  <a:lnTo>
                    <a:pt x="1167" y="586"/>
                  </a:lnTo>
                  <a:lnTo>
                    <a:pt x="1167" y="588"/>
                  </a:lnTo>
                  <a:lnTo>
                    <a:pt x="1167" y="588"/>
                  </a:lnTo>
                  <a:lnTo>
                    <a:pt x="1167" y="588"/>
                  </a:lnTo>
                  <a:lnTo>
                    <a:pt x="1169" y="588"/>
                  </a:lnTo>
                  <a:lnTo>
                    <a:pt x="1169" y="588"/>
                  </a:lnTo>
                  <a:lnTo>
                    <a:pt x="1172" y="586"/>
                  </a:lnTo>
                  <a:lnTo>
                    <a:pt x="1172" y="586"/>
                  </a:lnTo>
                  <a:lnTo>
                    <a:pt x="1172" y="584"/>
                  </a:lnTo>
                  <a:close/>
                  <a:moveTo>
                    <a:pt x="1178" y="551"/>
                  </a:moveTo>
                  <a:lnTo>
                    <a:pt x="1178" y="551"/>
                  </a:lnTo>
                  <a:lnTo>
                    <a:pt x="1178" y="549"/>
                  </a:lnTo>
                  <a:lnTo>
                    <a:pt x="1178" y="551"/>
                  </a:lnTo>
                  <a:lnTo>
                    <a:pt x="1178" y="551"/>
                  </a:lnTo>
                  <a:lnTo>
                    <a:pt x="1178" y="551"/>
                  </a:lnTo>
                  <a:lnTo>
                    <a:pt x="1180" y="551"/>
                  </a:lnTo>
                  <a:lnTo>
                    <a:pt x="1180" y="551"/>
                  </a:lnTo>
                  <a:lnTo>
                    <a:pt x="1180" y="551"/>
                  </a:lnTo>
                  <a:lnTo>
                    <a:pt x="1182" y="551"/>
                  </a:lnTo>
                  <a:lnTo>
                    <a:pt x="1182" y="551"/>
                  </a:lnTo>
                  <a:lnTo>
                    <a:pt x="1182" y="549"/>
                  </a:lnTo>
                  <a:lnTo>
                    <a:pt x="1182" y="549"/>
                  </a:lnTo>
                  <a:lnTo>
                    <a:pt x="1182" y="549"/>
                  </a:lnTo>
                  <a:lnTo>
                    <a:pt x="1182" y="549"/>
                  </a:lnTo>
                  <a:lnTo>
                    <a:pt x="1182" y="549"/>
                  </a:lnTo>
                  <a:lnTo>
                    <a:pt x="1182" y="549"/>
                  </a:lnTo>
                  <a:lnTo>
                    <a:pt x="1180" y="549"/>
                  </a:lnTo>
                  <a:lnTo>
                    <a:pt x="1180" y="549"/>
                  </a:lnTo>
                  <a:lnTo>
                    <a:pt x="1180" y="549"/>
                  </a:lnTo>
                  <a:lnTo>
                    <a:pt x="1180" y="547"/>
                  </a:lnTo>
                  <a:lnTo>
                    <a:pt x="1180" y="547"/>
                  </a:lnTo>
                  <a:lnTo>
                    <a:pt x="1180" y="547"/>
                  </a:lnTo>
                  <a:lnTo>
                    <a:pt x="1178" y="549"/>
                  </a:lnTo>
                  <a:lnTo>
                    <a:pt x="1178" y="549"/>
                  </a:lnTo>
                  <a:lnTo>
                    <a:pt x="1178" y="549"/>
                  </a:lnTo>
                  <a:lnTo>
                    <a:pt x="1178" y="549"/>
                  </a:lnTo>
                  <a:lnTo>
                    <a:pt x="1178" y="549"/>
                  </a:lnTo>
                  <a:lnTo>
                    <a:pt x="1178" y="549"/>
                  </a:lnTo>
                  <a:lnTo>
                    <a:pt x="1178" y="551"/>
                  </a:lnTo>
                  <a:lnTo>
                    <a:pt x="1178" y="551"/>
                  </a:lnTo>
                  <a:close/>
                  <a:moveTo>
                    <a:pt x="1215" y="611"/>
                  </a:moveTo>
                  <a:lnTo>
                    <a:pt x="1215" y="611"/>
                  </a:lnTo>
                  <a:lnTo>
                    <a:pt x="1215" y="613"/>
                  </a:lnTo>
                  <a:lnTo>
                    <a:pt x="1215" y="613"/>
                  </a:lnTo>
                  <a:lnTo>
                    <a:pt x="1215" y="611"/>
                  </a:lnTo>
                  <a:lnTo>
                    <a:pt x="1215" y="611"/>
                  </a:lnTo>
                  <a:lnTo>
                    <a:pt x="1215" y="611"/>
                  </a:lnTo>
                  <a:lnTo>
                    <a:pt x="1215" y="611"/>
                  </a:lnTo>
                  <a:close/>
                  <a:moveTo>
                    <a:pt x="1190" y="570"/>
                  </a:moveTo>
                  <a:lnTo>
                    <a:pt x="1190" y="570"/>
                  </a:lnTo>
                  <a:lnTo>
                    <a:pt x="1192" y="566"/>
                  </a:lnTo>
                  <a:lnTo>
                    <a:pt x="1192" y="566"/>
                  </a:lnTo>
                  <a:lnTo>
                    <a:pt x="1188" y="566"/>
                  </a:lnTo>
                  <a:lnTo>
                    <a:pt x="1188" y="566"/>
                  </a:lnTo>
                  <a:lnTo>
                    <a:pt x="1190" y="566"/>
                  </a:lnTo>
                  <a:lnTo>
                    <a:pt x="1190" y="564"/>
                  </a:lnTo>
                  <a:lnTo>
                    <a:pt x="1188" y="564"/>
                  </a:lnTo>
                  <a:lnTo>
                    <a:pt x="1188" y="564"/>
                  </a:lnTo>
                  <a:lnTo>
                    <a:pt x="1186" y="566"/>
                  </a:lnTo>
                  <a:lnTo>
                    <a:pt x="1186" y="566"/>
                  </a:lnTo>
                  <a:lnTo>
                    <a:pt x="1186" y="566"/>
                  </a:lnTo>
                  <a:lnTo>
                    <a:pt x="1188" y="568"/>
                  </a:lnTo>
                  <a:lnTo>
                    <a:pt x="1188" y="568"/>
                  </a:lnTo>
                  <a:lnTo>
                    <a:pt x="1188" y="568"/>
                  </a:lnTo>
                  <a:lnTo>
                    <a:pt x="1188" y="568"/>
                  </a:lnTo>
                  <a:lnTo>
                    <a:pt x="1188" y="568"/>
                  </a:lnTo>
                  <a:lnTo>
                    <a:pt x="1188" y="568"/>
                  </a:lnTo>
                  <a:lnTo>
                    <a:pt x="1188" y="568"/>
                  </a:lnTo>
                  <a:lnTo>
                    <a:pt x="1186" y="568"/>
                  </a:lnTo>
                  <a:lnTo>
                    <a:pt x="1186" y="570"/>
                  </a:lnTo>
                  <a:lnTo>
                    <a:pt x="1186" y="570"/>
                  </a:lnTo>
                  <a:lnTo>
                    <a:pt x="1186" y="570"/>
                  </a:lnTo>
                  <a:lnTo>
                    <a:pt x="1186" y="570"/>
                  </a:lnTo>
                  <a:lnTo>
                    <a:pt x="1188" y="570"/>
                  </a:lnTo>
                  <a:lnTo>
                    <a:pt x="1188" y="570"/>
                  </a:lnTo>
                  <a:lnTo>
                    <a:pt x="1188" y="572"/>
                  </a:lnTo>
                  <a:lnTo>
                    <a:pt x="1188" y="572"/>
                  </a:lnTo>
                  <a:lnTo>
                    <a:pt x="1186" y="572"/>
                  </a:lnTo>
                  <a:lnTo>
                    <a:pt x="1186" y="572"/>
                  </a:lnTo>
                  <a:lnTo>
                    <a:pt x="1186" y="572"/>
                  </a:lnTo>
                  <a:lnTo>
                    <a:pt x="1186" y="572"/>
                  </a:lnTo>
                  <a:lnTo>
                    <a:pt x="1186" y="572"/>
                  </a:lnTo>
                  <a:lnTo>
                    <a:pt x="1184" y="572"/>
                  </a:lnTo>
                  <a:lnTo>
                    <a:pt x="1184" y="572"/>
                  </a:lnTo>
                  <a:lnTo>
                    <a:pt x="1184" y="574"/>
                  </a:lnTo>
                  <a:lnTo>
                    <a:pt x="1184" y="576"/>
                  </a:lnTo>
                  <a:lnTo>
                    <a:pt x="1184" y="576"/>
                  </a:lnTo>
                  <a:lnTo>
                    <a:pt x="1184" y="576"/>
                  </a:lnTo>
                  <a:lnTo>
                    <a:pt x="1184" y="578"/>
                  </a:lnTo>
                  <a:lnTo>
                    <a:pt x="1182" y="578"/>
                  </a:lnTo>
                  <a:lnTo>
                    <a:pt x="1180" y="582"/>
                  </a:lnTo>
                  <a:lnTo>
                    <a:pt x="1180" y="582"/>
                  </a:lnTo>
                  <a:lnTo>
                    <a:pt x="1176" y="584"/>
                  </a:lnTo>
                  <a:lnTo>
                    <a:pt x="1176" y="586"/>
                  </a:lnTo>
                  <a:lnTo>
                    <a:pt x="1176" y="586"/>
                  </a:lnTo>
                  <a:lnTo>
                    <a:pt x="1176" y="586"/>
                  </a:lnTo>
                  <a:lnTo>
                    <a:pt x="1176" y="586"/>
                  </a:lnTo>
                  <a:lnTo>
                    <a:pt x="1176" y="588"/>
                  </a:lnTo>
                  <a:lnTo>
                    <a:pt x="1174" y="588"/>
                  </a:lnTo>
                  <a:lnTo>
                    <a:pt x="1174" y="588"/>
                  </a:lnTo>
                  <a:lnTo>
                    <a:pt x="1174" y="590"/>
                  </a:lnTo>
                  <a:lnTo>
                    <a:pt x="1174" y="590"/>
                  </a:lnTo>
                  <a:lnTo>
                    <a:pt x="1174" y="590"/>
                  </a:lnTo>
                  <a:lnTo>
                    <a:pt x="1176" y="590"/>
                  </a:lnTo>
                  <a:lnTo>
                    <a:pt x="1174" y="592"/>
                  </a:lnTo>
                  <a:lnTo>
                    <a:pt x="1174" y="592"/>
                  </a:lnTo>
                  <a:lnTo>
                    <a:pt x="1174" y="592"/>
                  </a:lnTo>
                  <a:lnTo>
                    <a:pt x="1172" y="592"/>
                  </a:lnTo>
                  <a:lnTo>
                    <a:pt x="1172" y="592"/>
                  </a:lnTo>
                  <a:lnTo>
                    <a:pt x="1172" y="594"/>
                  </a:lnTo>
                  <a:lnTo>
                    <a:pt x="1172" y="596"/>
                  </a:lnTo>
                  <a:lnTo>
                    <a:pt x="1172" y="596"/>
                  </a:lnTo>
                  <a:lnTo>
                    <a:pt x="1172" y="596"/>
                  </a:lnTo>
                  <a:lnTo>
                    <a:pt x="1172" y="596"/>
                  </a:lnTo>
                  <a:lnTo>
                    <a:pt x="1172" y="596"/>
                  </a:lnTo>
                  <a:lnTo>
                    <a:pt x="1174" y="596"/>
                  </a:lnTo>
                  <a:lnTo>
                    <a:pt x="1174" y="596"/>
                  </a:lnTo>
                  <a:lnTo>
                    <a:pt x="1176" y="594"/>
                  </a:lnTo>
                  <a:lnTo>
                    <a:pt x="1178" y="594"/>
                  </a:lnTo>
                  <a:lnTo>
                    <a:pt x="1178" y="594"/>
                  </a:lnTo>
                  <a:lnTo>
                    <a:pt x="1178" y="592"/>
                  </a:lnTo>
                  <a:lnTo>
                    <a:pt x="1180" y="592"/>
                  </a:lnTo>
                  <a:lnTo>
                    <a:pt x="1182" y="592"/>
                  </a:lnTo>
                  <a:lnTo>
                    <a:pt x="1182" y="592"/>
                  </a:lnTo>
                  <a:lnTo>
                    <a:pt x="1182" y="590"/>
                  </a:lnTo>
                  <a:lnTo>
                    <a:pt x="1182" y="590"/>
                  </a:lnTo>
                  <a:lnTo>
                    <a:pt x="1182" y="588"/>
                  </a:lnTo>
                  <a:lnTo>
                    <a:pt x="1182" y="588"/>
                  </a:lnTo>
                  <a:lnTo>
                    <a:pt x="1182" y="588"/>
                  </a:lnTo>
                  <a:lnTo>
                    <a:pt x="1182" y="588"/>
                  </a:lnTo>
                  <a:lnTo>
                    <a:pt x="1182" y="588"/>
                  </a:lnTo>
                  <a:lnTo>
                    <a:pt x="1182" y="586"/>
                  </a:lnTo>
                  <a:lnTo>
                    <a:pt x="1182" y="586"/>
                  </a:lnTo>
                  <a:lnTo>
                    <a:pt x="1184" y="586"/>
                  </a:lnTo>
                  <a:lnTo>
                    <a:pt x="1184" y="584"/>
                  </a:lnTo>
                  <a:lnTo>
                    <a:pt x="1184" y="584"/>
                  </a:lnTo>
                  <a:lnTo>
                    <a:pt x="1184" y="584"/>
                  </a:lnTo>
                  <a:lnTo>
                    <a:pt x="1184" y="584"/>
                  </a:lnTo>
                  <a:lnTo>
                    <a:pt x="1184" y="582"/>
                  </a:lnTo>
                  <a:lnTo>
                    <a:pt x="1186" y="580"/>
                  </a:lnTo>
                  <a:lnTo>
                    <a:pt x="1188" y="578"/>
                  </a:lnTo>
                  <a:lnTo>
                    <a:pt x="1192" y="572"/>
                  </a:lnTo>
                  <a:lnTo>
                    <a:pt x="1192" y="570"/>
                  </a:lnTo>
                  <a:lnTo>
                    <a:pt x="1194" y="568"/>
                  </a:lnTo>
                  <a:lnTo>
                    <a:pt x="1194" y="568"/>
                  </a:lnTo>
                  <a:lnTo>
                    <a:pt x="1194" y="568"/>
                  </a:lnTo>
                  <a:lnTo>
                    <a:pt x="1194" y="568"/>
                  </a:lnTo>
                  <a:lnTo>
                    <a:pt x="1194" y="568"/>
                  </a:lnTo>
                  <a:lnTo>
                    <a:pt x="1194" y="568"/>
                  </a:lnTo>
                  <a:lnTo>
                    <a:pt x="1190" y="570"/>
                  </a:lnTo>
                  <a:close/>
                  <a:moveTo>
                    <a:pt x="1184" y="537"/>
                  </a:moveTo>
                  <a:lnTo>
                    <a:pt x="1184" y="537"/>
                  </a:lnTo>
                  <a:lnTo>
                    <a:pt x="1184" y="537"/>
                  </a:lnTo>
                  <a:lnTo>
                    <a:pt x="1182" y="537"/>
                  </a:lnTo>
                  <a:lnTo>
                    <a:pt x="1182" y="537"/>
                  </a:lnTo>
                  <a:lnTo>
                    <a:pt x="1182" y="539"/>
                  </a:lnTo>
                  <a:lnTo>
                    <a:pt x="1182" y="539"/>
                  </a:lnTo>
                  <a:lnTo>
                    <a:pt x="1182" y="539"/>
                  </a:lnTo>
                  <a:lnTo>
                    <a:pt x="1182" y="539"/>
                  </a:lnTo>
                  <a:lnTo>
                    <a:pt x="1182" y="539"/>
                  </a:lnTo>
                  <a:lnTo>
                    <a:pt x="1182" y="539"/>
                  </a:lnTo>
                  <a:lnTo>
                    <a:pt x="1182" y="539"/>
                  </a:lnTo>
                  <a:lnTo>
                    <a:pt x="1182" y="539"/>
                  </a:lnTo>
                  <a:lnTo>
                    <a:pt x="1182" y="539"/>
                  </a:lnTo>
                  <a:lnTo>
                    <a:pt x="1182" y="539"/>
                  </a:lnTo>
                  <a:lnTo>
                    <a:pt x="1184" y="539"/>
                  </a:lnTo>
                  <a:lnTo>
                    <a:pt x="1184" y="539"/>
                  </a:lnTo>
                  <a:lnTo>
                    <a:pt x="1184" y="539"/>
                  </a:lnTo>
                  <a:lnTo>
                    <a:pt x="1184" y="539"/>
                  </a:lnTo>
                  <a:lnTo>
                    <a:pt x="1184" y="539"/>
                  </a:lnTo>
                  <a:lnTo>
                    <a:pt x="1184" y="539"/>
                  </a:lnTo>
                  <a:lnTo>
                    <a:pt x="1184" y="539"/>
                  </a:lnTo>
                  <a:lnTo>
                    <a:pt x="1184" y="539"/>
                  </a:lnTo>
                  <a:lnTo>
                    <a:pt x="1184" y="539"/>
                  </a:lnTo>
                  <a:lnTo>
                    <a:pt x="1184" y="539"/>
                  </a:lnTo>
                  <a:lnTo>
                    <a:pt x="1184" y="539"/>
                  </a:lnTo>
                  <a:lnTo>
                    <a:pt x="1186" y="539"/>
                  </a:lnTo>
                  <a:lnTo>
                    <a:pt x="1186" y="539"/>
                  </a:lnTo>
                  <a:lnTo>
                    <a:pt x="1186" y="539"/>
                  </a:lnTo>
                  <a:lnTo>
                    <a:pt x="1188" y="537"/>
                  </a:lnTo>
                  <a:lnTo>
                    <a:pt x="1186" y="537"/>
                  </a:lnTo>
                  <a:lnTo>
                    <a:pt x="1186" y="537"/>
                  </a:lnTo>
                  <a:lnTo>
                    <a:pt x="1186" y="537"/>
                  </a:lnTo>
                  <a:lnTo>
                    <a:pt x="1186" y="537"/>
                  </a:lnTo>
                  <a:lnTo>
                    <a:pt x="1186" y="537"/>
                  </a:lnTo>
                  <a:lnTo>
                    <a:pt x="1186" y="537"/>
                  </a:lnTo>
                  <a:lnTo>
                    <a:pt x="1186" y="539"/>
                  </a:lnTo>
                  <a:lnTo>
                    <a:pt x="1186" y="539"/>
                  </a:lnTo>
                  <a:lnTo>
                    <a:pt x="1186" y="539"/>
                  </a:lnTo>
                  <a:lnTo>
                    <a:pt x="1186" y="539"/>
                  </a:lnTo>
                  <a:lnTo>
                    <a:pt x="1186" y="537"/>
                  </a:lnTo>
                  <a:lnTo>
                    <a:pt x="1186" y="537"/>
                  </a:lnTo>
                  <a:lnTo>
                    <a:pt x="1186" y="537"/>
                  </a:lnTo>
                  <a:lnTo>
                    <a:pt x="1186" y="537"/>
                  </a:lnTo>
                  <a:lnTo>
                    <a:pt x="1186" y="537"/>
                  </a:lnTo>
                  <a:lnTo>
                    <a:pt x="1186" y="537"/>
                  </a:lnTo>
                  <a:lnTo>
                    <a:pt x="1186" y="537"/>
                  </a:lnTo>
                  <a:lnTo>
                    <a:pt x="1184" y="537"/>
                  </a:lnTo>
                  <a:lnTo>
                    <a:pt x="1184" y="537"/>
                  </a:lnTo>
                  <a:lnTo>
                    <a:pt x="1184" y="537"/>
                  </a:lnTo>
                  <a:lnTo>
                    <a:pt x="1184" y="537"/>
                  </a:lnTo>
                  <a:lnTo>
                    <a:pt x="1184" y="537"/>
                  </a:lnTo>
                  <a:lnTo>
                    <a:pt x="1184" y="537"/>
                  </a:lnTo>
                  <a:lnTo>
                    <a:pt x="1184" y="537"/>
                  </a:lnTo>
                  <a:lnTo>
                    <a:pt x="1184" y="537"/>
                  </a:lnTo>
                  <a:lnTo>
                    <a:pt x="1184" y="537"/>
                  </a:lnTo>
                  <a:lnTo>
                    <a:pt x="1184" y="537"/>
                  </a:lnTo>
                  <a:lnTo>
                    <a:pt x="1184" y="537"/>
                  </a:lnTo>
                  <a:close/>
                  <a:moveTo>
                    <a:pt x="1231" y="564"/>
                  </a:moveTo>
                  <a:lnTo>
                    <a:pt x="1229" y="564"/>
                  </a:lnTo>
                  <a:lnTo>
                    <a:pt x="1229" y="564"/>
                  </a:lnTo>
                  <a:lnTo>
                    <a:pt x="1229" y="564"/>
                  </a:lnTo>
                  <a:lnTo>
                    <a:pt x="1229" y="564"/>
                  </a:lnTo>
                  <a:lnTo>
                    <a:pt x="1229" y="564"/>
                  </a:lnTo>
                  <a:lnTo>
                    <a:pt x="1229" y="564"/>
                  </a:lnTo>
                  <a:lnTo>
                    <a:pt x="1229" y="564"/>
                  </a:lnTo>
                  <a:lnTo>
                    <a:pt x="1229" y="562"/>
                  </a:lnTo>
                  <a:lnTo>
                    <a:pt x="1229" y="562"/>
                  </a:lnTo>
                  <a:lnTo>
                    <a:pt x="1227" y="562"/>
                  </a:lnTo>
                  <a:lnTo>
                    <a:pt x="1227" y="562"/>
                  </a:lnTo>
                  <a:lnTo>
                    <a:pt x="1227" y="562"/>
                  </a:lnTo>
                  <a:lnTo>
                    <a:pt x="1227" y="562"/>
                  </a:lnTo>
                  <a:lnTo>
                    <a:pt x="1227" y="562"/>
                  </a:lnTo>
                  <a:lnTo>
                    <a:pt x="1229" y="564"/>
                  </a:lnTo>
                  <a:lnTo>
                    <a:pt x="1229" y="564"/>
                  </a:lnTo>
                  <a:lnTo>
                    <a:pt x="1229" y="564"/>
                  </a:lnTo>
                  <a:lnTo>
                    <a:pt x="1229" y="564"/>
                  </a:lnTo>
                  <a:lnTo>
                    <a:pt x="1229" y="564"/>
                  </a:lnTo>
                  <a:lnTo>
                    <a:pt x="1229" y="564"/>
                  </a:lnTo>
                  <a:lnTo>
                    <a:pt x="1229" y="564"/>
                  </a:lnTo>
                  <a:lnTo>
                    <a:pt x="1231" y="564"/>
                  </a:lnTo>
                  <a:lnTo>
                    <a:pt x="1231" y="564"/>
                  </a:lnTo>
                  <a:lnTo>
                    <a:pt x="1231" y="564"/>
                  </a:lnTo>
                  <a:lnTo>
                    <a:pt x="1231" y="564"/>
                  </a:lnTo>
                  <a:close/>
                  <a:moveTo>
                    <a:pt x="1237" y="566"/>
                  </a:moveTo>
                  <a:lnTo>
                    <a:pt x="1235" y="566"/>
                  </a:lnTo>
                  <a:lnTo>
                    <a:pt x="1235" y="564"/>
                  </a:lnTo>
                  <a:lnTo>
                    <a:pt x="1233" y="564"/>
                  </a:lnTo>
                  <a:lnTo>
                    <a:pt x="1233" y="564"/>
                  </a:lnTo>
                  <a:lnTo>
                    <a:pt x="1233" y="564"/>
                  </a:lnTo>
                  <a:lnTo>
                    <a:pt x="1233" y="564"/>
                  </a:lnTo>
                  <a:lnTo>
                    <a:pt x="1235" y="566"/>
                  </a:lnTo>
                  <a:lnTo>
                    <a:pt x="1235" y="566"/>
                  </a:lnTo>
                  <a:lnTo>
                    <a:pt x="1235" y="566"/>
                  </a:lnTo>
                  <a:lnTo>
                    <a:pt x="1237" y="566"/>
                  </a:lnTo>
                  <a:lnTo>
                    <a:pt x="1237" y="566"/>
                  </a:lnTo>
                  <a:lnTo>
                    <a:pt x="1237" y="566"/>
                  </a:lnTo>
                  <a:lnTo>
                    <a:pt x="1237" y="566"/>
                  </a:lnTo>
                  <a:lnTo>
                    <a:pt x="1237" y="566"/>
                  </a:lnTo>
                  <a:close/>
                  <a:moveTo>
                    <a:pt x="1223" y="562"/>
                  </a:moveTo>
                  <a:lnTo>
                    <a:pt x="1225" y="562"/>
                  </a:lnTo>
                  <a:lnTo>
                    <a:pt x="1225" y="562"/>
                  </a:lnTo>
                  <a:lnTo>
                    <a:pt x="1225" y="562"/>
                  </a:lnTo>
                  <a:lnTo>
                    <a:pt x="1225" y="562"/>
                  </a:lnTo>
                  <a:lnTo>
                    <a:pt x="1223" y="562"/>
                  </a:lnTo>
                  <a:close/>
                  <a:moveTo>
                    <a:pt x="1223" y="562"/>
                  </a:moveTo>
                  <a:lnTo>
                    <a:pt x="1223" y="562"/>
                  </a:lnTo>
                  <a:lnTo>
                    <a:pt x="1223" y="562"/>
                  </a:lnTo>
                  <a:lnTo>
                    <a:pt x="1223" y="562"/>
                  </a:lnTo>
                  <a:lnTo>
                    <a:pt x="1223" y="562"/>
                  </a:lnTo>
                  <a:close/>
                  <a:moveTo>
                    <a:pt x="1219" y="551"/>
                  </a:moveTo>
                  <a:lnTo>
                    <a:pt x="1221" y="549"/>
                  </a:lnTo>
                  <a:lnTo>
                    <a:pt x="1221" y="549"/>
                  </a:lnTo>
                  <a:lnTo>
                    <a:pt x="1223" y="549"/>
                  </a:lnTo>
                  <a:lnTo>
                    <a:pt x="1223" y="549"/>
                  </a:lnTo>
                  <a:lnTo>
                    <a:pt x="1223" y="549"/>
                  </a:lnTo>
                  <a:lnTo>
                    <a:pt x="1223" y="549"/>
                  </a:lnTo>
                  <a:lnTo>
                    <a:pt x="1221" y="549"/>
                  </a:lnTo>
                  <a:lnTo>
                    <a:pt x="1221" y="547"/>
                  </a:lnTo>
                  <a:lnTo>
                    <a:pt x="1223" y="547"/>
                  </a:lnTo>
                  <a:lnTo>
                    <a:pt x="1221" y="547"/>
                  </a:lnTo>
                  <a:lnTo>
                    <a:pt x="1221" y="549"/>
                  </a:lnTo>
                  <a:lnTo>
                    <a:pt x="1219" y="549"/>
                  </a:lnTo>
                  <a:lnTo>
                    <a:pt x="1217" y="549"/>
                  </a:lnTo>
                  <a:lnTo>
                    <a:pt x="1217" y="551"/>
                  </a:lnTo>
                  <a:lnTo>
                    <a:pt x="1217" y="551"/>
                  </a:lnTo>
                  <a:lnTo>
                    <a:pt x="1217" y="551"/>
                  </a:lnTo>
                  <a:lnTo>
                    <a:pt x="1217" y="551"/>
                  </a:lnTo>
                  <a:lnTo>
                    <a:pt x="1215" y="551"/>
                  </a:lnTo>
                  <a:lnTo>
                    <a:pt x="1212" y="553"/>
                  </a:lnTo>
                  <a:lnTo>
                    <a:pt x="1215" y="553"/>
                  </a:lnTo>
                  <a:lnTo>
                    <a:pt x="1215" y="553"/>
                  </a:lnTo>
                  <a:lnTo>
                    <a:pt x="1212" y="553"/>
                  </a:lnTo>
                  <a:lnTo>
                    <a:pt x="1208" y="555"/>
                  </a:lnTo>
                  <a:lnTo>
                    <a:pt x="1208" y="555"/>
                  </a:lnTo>
                  <a:lnTo>
                    <a:pt x="1208" y="555"/>
                  </a:lnTo>
                  <a:lnTo>
                    <a:pt x="1208" y="557"/>
                  </a:lnTo>
                  <a:lnTo>
                    <a:pt x="1208" y="557"/>
                  </a:lnTo>
                  <a:lnTo>
                    <a:pt x="1215" y="555"/>
                  </a:lnTo>
                  <a:lnTo>
                    <a:pt x="1215" y="555"/>
                  </a:lnTo>
                  <a:lnTo>
                    <a:pt x="1217" y="553"/>
                  </a:lnTo>
                  <a:lnTo>
                    <a:pt x="1217" y="553"/>
                  </a:lnTo>
                  <a:lnTo>
                    <a:pt x="1219" y="553"/>
                  </a:lnTo>
                  <a:lnTo>
                    <a:pt x="1219" y="551"/>
                  </a:lnTo>
                  <a:close/>
                  <a:moveTo>
                    <a:pt x="1221" y="559"/>
                  </a:moveTo>
                  <a:lnTo>
                    <a:pt x="1221" y="559"/>
                  </a:lnTo>
                  <a:lnTo>
                    <a:pt x="1221" y="559"/>
                  </a:lnTo>
                  <a:lnTo>
                    <a:pt x="1221" y="559"/>
                  </a:lnTo>
                  <a:lnTo>
                    <a:pt x="1221" y="559"/>
                  </a:lnTo>
                  <a:lnTo>
                    <a:pt x="1221" y="559"/>
                  </a:lnTo>
                  <a:lnTo>
                    <a:pt x="1221" y="559"/>
                  </a:lnTo>
                  <a:close/>
                  <a:moveTo>
                    <a:pt x="1212" y="559"/>
                  </a:moveTo>
                  <a:lnTo>
                    <a:pt x="1212" y="559"/>
                  </a:lnTo>
                  <a:lnTo>
                    <a:pt x="1215" y="559"/>
                  </a:lnTo>
                  <a:lnTo>
                    <a:pt x="1215" y="559"/>
                  </a:lnTo>
                  <a:lnTo>
                    <a:pt x="1212" y="557"/>
                  </a:lnTo>
                  <a:lnTo>
                    <a:pt x="1212" y="557"/>
                  </a:lnTo>
                  <a:lnTo>
                    <a:pt x="1210" y="559"/>
                  </a:lnTo>
                  <a:lnTo>
                    <a:pt x="1208" y="559"/>
                  </a:lnTo>
                  <a:lnTo>
                    <a:pt x="1208" y="559"/>
                  </a:lnTo>
                  <a:lnTo>
                    <a:pt x="1208" y="559"/>
                  </a:lnTo>
                  <a:lnTo>
                    <a:pt x="1208" y="557"/>
                  </a:lnTo>
                  <a:lnTo>
                    <a:pt x="1208" y="557"/>
                  </a:lnTo>
                  <a:lnTo>
                    <a:pt x="1206" y="557"/>
                  </a:lnTo>
                  <a:lnTo>
                    <a:pt x="1206" y="557"/>
                  </a:lnTo>
                  <a:lnTo>
                    <a:pt x="1206" y="557"/>
                  </a:lnTo>
                  <a:lnTo>
                    <a:pt x="1204" y="557"/>
                  </a:lnTo>
                  <a:lnTo>
                    <a:pt x="1202" y="557"/>
                  </a:lnTo>
                  <a:lnTo>
                    <a:pt x="1202" y="557"/>
                  </a:lnTo>
                  <a:lnTo>
                    <a:pt x="1202" y="557"/>
                  </a:lnTo>
                  <a:lnTo>
                    <a:pt x="1202" y="557"/>
                  </a:lnTo>
                  <a:lnTo>
                    <a:pt x="1202" y="557"/>
                  </a:lnTo>
                  <a:lnTo>
                    <a:pt x="1202" y="557"/>
                  </a:lnTo>
                  <a:lnTo>
                    <a:pt x="1202" y="557"/>
                  </a:lnTo>
                  <a:lnTo>
                    <a:pt x="1200" y="557"/>
                  </a:lnTo>
                  <a:lnTo>
                    <a:pt x="1200" y="557"/>
                  </a:lnTo>
                  <a:lnTo>
                    <a:pt x="1200" y="559"/>
                  </a:lnTo>
                  <a:lnTo>
                    <a:pt x="1200" y="559"/>
                  </a:lnTo>
                  <a:lnTo>
                    <a:pt x="1200" y="559"/>
                  </a:lnTo>
                  <a:lnTo>
                    <a:pt x="1200" y="559"/>
                  </a:lnTo>
                  <a:lnTo>
                    <a:pt x="1198" y="562"/>
                  </a:lnTo>
                  <a:lnTo>
                    <a:pt x="1198" y="564"/>
                  </a:lnTo>
                  <a:lnTo>
                    <a:pt x="1200" y="564"/>
                  </a:lnTo>
                  <a:lnTo>
                    <a:pt x="1200" y="566"/>
                  </a:lnTo>
                  <a:lnTo>
                    <a:pt x="1202" y="564"/>
                  </a:lnTo>
                  <a:lnTo>
                    <a:pt x="1200" y="564"/>
                  </a:lnTo>
                  <a:lnTo>
                    <a:pt x="1202" y="564"/>
                  </a:lnTo>
                  <a:lnTo>
                    <a:pt x="1202" y="564"/>
                  </a:lnTo>
                  <a:lnTo>
                    <a:pt x="1202" y="564"/>
                  </a:lnTo>
                  <a:lnTo>
                    <a:pt x="1202" y="564"/>
                  </a:lnTo>
                  <a:lnTo>
                    <a:pt x="1202" y="564"/>
                  </a:lnTo>
                  <a:lnTo>
                    <a:pt x="1204" y="564"/>
                  </a:lnTo>
                  <a:lnTo>
                    <a:pt x="1204" y="564"/>
                  </a:lnTo>
                  <a:lnTo>
                    <a:pt x="1200" y="566"/>
                  </a:lnTo>
                  <a:lnTo>
                    <a:pt x="1200" y="568"/>
                  </a:lnTo>
                  <a:lnTo>
                    <a:pt x="1200" y="568"/>
                  </a:lnTo>
                  <a:lnTo>
                    <a:pt x="1202" y="570"/>
                  </a:lnTo>
                  <a:lnTo>
                    <a:pt x="1202" y="570"/>
                  </a:lnTo>
                  <a:lnTo>
                    <a:pt x="1202" y="570"/>
                  </a:lnTo>
                  <a:lnTo>
                    <a:pt x="1202" y="570"/>
                  </a:lnTo>
                  <a:lnTo>
                    <a:pt x="1204" y="568"/>
                  </a:lnTo>
                  <a:lnTo>
                    <a:pt x="1204" y="566"/>
                  </a:lnTo>
                  <a:lnTo>
                    <a:pt x="1208" y="564"/>
                  </a:lnTo>
                  <a:lnTo>
                    <a:pt x="1210" y="564"/>
                  </a:lnTo>
                  <a:lnTo>
                    <a:pt x="1210" y="564"/>
                  </a:lnTo>
                  <a:lnTo>
                    <a:pt x="1212" y="564"/>
                  </a:lnTo>
                  <a:lnTo>
                    <a:pt x="1212" y="562"/>
                  </a:lnTo>
                  <a:lnTo>
                    <a:pt x="1212" y="562"/>
                  </a:lnTo>
                  <a:lnTo>
                    <a:pt x="1212" y="562"/>
                  </a:lnTo>
                  <a:lnTo>
                    <a:pt x="1212" y="562"/>
                  </a:lnTo>
                  <a:lnTo>
                    <a:pt x="1212" y="562"/>
                  </a:lnTo>
                  <a:lnTo>
                    <a:pt x="1212" y="562"/>
                  </a:lnTo>
                  <a:lnTo>
                    <a:pt x="1215" y="559"/>
                  </a:lnTo>
                  <a:lnTo>
                    <a:pt x="1215" y="559"/>
                  </a:lnTo>
                  <a:lnTo>
                    <a:pt x="1215" y="559"/>
                  </a:lnTo>
                  <a:lnTo>
                    <a:pt x="1215" y="559"/>
                  </a:lnTo>
                  <a:lnTo>
                    <a:pt x="1215" y="559"/>
                  </a:lnTo>
                  <a:lnTo>
                    <a:pt x="1215" y="559"/>
                  </a:lnTo>
                  <a:lnTo>
                    <a:pt x="1212" y="559"/>
                  </a:lnTo>
                  <a:close/>
                </a:path>
              </a:pathLst>
            </a:custGeom>
            <a:solidFill>
              <a:schemeClr val="accent1">
                <a:lumMod val="60000"/>
                <a:lumOff val="40000"/>
              </a:schemeClr>
            </a:solidFill>
            <a:ln w="3175" cap="flat">
              <a:solidFill>
                <a:schemeClr val="bg1"/>
              </a:solidFill>
              <a:prstDash val="solid"/>
              <a:miter lim="800000"/>
              <a:headEnd/>
              <a:tailEnd/>
            </a:ln>
          </p:spPr>
          <p:txBody>
            <a:bodyPr vert="horz" wrap="square" lIns="816000" tIns="0" rIns="0" bIns="480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Arial" panose="020B0604020202020204" pitchFamily="34" charset="0"/>
                  <a:ea typeface="+mn-ea"/>
                  <a:cs typeface="+mn-cs"/>
                </a:rPr>
                <a:t>AK</a:t>
              </a:r>
            </a:p>
          </p:txBody>
        </p:sp>
        <p:sp>
          <p:nvSpPr>
            <p:cNvPr id="241" name="Freeform 25">
              <a:extLst>
                <a:ext uri="{FF2B5EF4-FFF2-40B4-BE49-F238E27FC236}">
                  <a16:creationId xmlns:a16="http://schemas.microsoft.com/office/drawing/2014/main" id="{3E05054D-6ABA-AA6D-1EC1-2C61029E9A20}"/>
                </a:ext>
              </a:extLst>
            </p:cNvPr>
            <p:cNvSpPr>
              <a:spLocks/>
            </p:cNvSpPr>
            <p:nvPr/>
          </p:nvSpPr>
          <p:spPr bwMode="auto">
            <a:xfrm>
              <a:off x="4928" y="264"/>
              <a:ext cx="145" cy="291"/>
            </a:xfrm>
            <a:custGeom>
              <a:avLst/>
              <a:gdLst>
                <a:gd name="T0" fmla="*/ 145 w 145"/>
                <a:gd name="T1" fmla="*/ 222 h 291"/>
                <a:gd name="T2" fmla="*/ 141 w 145"/>
                <a:gd name="T3" fmla="*/ 234 h 291"/>
                <a:gd name="T4" fmla="*/ 137 w 145"/>
                <a:gd name="T5" fmla="*/ 244 h 291"/>
                <a:gd name="T6" fmla="*/ 125 w 145"/>
                <a:gd name="T7" fmla="*/ 250 h 291"/>
                <a:gd name="T8" fmla="*/ 121 w 145"/>
                <a:gd name="T9" fmla="*/ 255 h 291"/>
                <a:gd name="T10" fmla="*/ 117 w 145"/>
                <a:gd name="T11" fmla="*/ 255 h 291"/>
                <a:gd name="T12" fmla="*/ 115 w 145"/>
                <a:gd name="T13" fmla="*/ 259 h 291"/>
                <a:gd name="T14" fmla="*/ 113 w 145"/>
                <a:gd name="T15" fmla="*/ 265 h 291"/>
                <a:gd name="T16" fmla="*/ 109 w 145"/>
                <a:gd name="T17" fmla="*/ 269 h 291"/>
                <a:gd name="T18" fmla="*/ 94 w 145"/>
                <a:gd name="T19" fmla="*/ 273 h 291"/>
                <a:gd name="T20" fmla="*/ 66 w 145"/>
                <a:gd name="T21" fmla="*/ 279 h 291"/>
                <a:gd name="T22" fmla="*/ 39 w 145"/>
                <a:gd name="T23" fmla="*/ 285 h 291"/>
                <a:gd name="T24" fmla="*/ 16 w 145"/>
                <a:gd name="T25" fmla="*/ 291 h 291"/>
                <a:gd name="T26" fmla="*/ 16 w 145"/>
                <a:gd name="T27" fmla="*/ 291 h 291"/>
                <a:gd name="T28" fmla="*/ 16 w 145"/>
                <a:gd name="T29" fmla="*/ 291 h 291"/>
                <a:gd name="T30" fmla="*/ 16 w 145"/>
                <a:gd name="T31" fmla="*/ 291 h 291"/>
                <a:gd name="T32" fmla="*/ 6 w 145"/>
                <a:gd name="T33" fmla="*/ 283 h 291"/>
                <a:gd name="T34" fmla="*/ 4 w 145"/>
                <a:gd name="T35" fmla="*/ 277 h 291"/>
                <a:gd name="T36" fmla="*/ 6 w 145"/>
                <a:gd name="T37" fmla="*/ 267 h 291"/>
                <a:gd name="T38" fmla="*/ 6 w 145"/>
                <a:gd name="T39" fmla="*/ 250 h 291"/>
                <a:gd name="T40" fmla="*/ 4 w 145"/>
                <a:gd name="T41" fmla="*/ 240 h 291"/>
                <a:gd name="T42" fmla="*/ 4 w 145"/>
                <a:gd name="T43" fmla="*/ 238 h 291"/>
                <a:gd name="T44" fmla="*/ 6 w 145"/>
                <a:gd name="T45" fmla="*/ 232 h 291"/>
                <a:gd name="T46" fmla="*/ 0 w 145"/>
                <a:gd name="T47" fmla="*/ 203 h 291"/>
                <a:gd name="T48" fmla="*/ 2 w 145"/>
                <a:gd name="T49" fmla="*/ 187 h 291"/>
                <a:gd name="T50" fmla="*/ 8 w 145"/>
                <a:gd name="T51" fmla="*/ 177 h 291"/>
                <a:gd name="T52" fmla="*/ 8 w 145"/>
                <a:gd name="T53" fmla="*/ 164 h 291"/>
                <a:gd name="T54" fmla="*/ 10 w 145"/>
                <a:gd name="T55" fmla="*/ 154 h 291"/>
                <a:gd name="T56" fmla="*/ 8 w 145"/>
                <a:gd name="T57" fmla="*/ 130 h 291"/>
                <a:gd name="T58" fmla="*/ 18 w 145"/>
                <a:gd name="T59" fmla="*/ 115 h 291"/>
                <a:gd name="T60" fmla="*/ 31 w 145"/>
                <a:gd name="T61" fmla="*/ 101 h 291"/>
                <a:gd name="T62" fmla="*/ 37 w 145"/>
                <a:gd name="T63" fmla="*/ 91 h 291"/>
                <a:gd name="T64" fmla="*/ 37 w 145"/>
                <a:gd name="T65" fmla="*/ 84 h 291"/>
                <a:gd name="T66" fmla="*/ 35 w 145"/>
                <a:gd name="T67" fmla="*/ 80 h 291"/>
                <a:gd name="T68" fmla="*/ 27 w 145"/>
                <a:gd name="T69" fmla="*/ 70 h 291"/>
                <a:gd name="T70" fmla="*/ 33 w 145"/>
                <a:gd name="T71" fmla="*/ 50 h 291"/>
                <a:gd name="T72" fmla="*/ 29 w 145"/>
                <a:gd name="T73" fmla="*/ 39 h 291"/>
                <a:gd name="T74" fmla="*/ 29 w 145"/>
                <a:gd name="T75" fmla="*/ 33 h 291"/>
                <a:gd name="T76" fmla="*/ 33 w 145"/>
                <a:gd name="T77" fmla="*/ 19 h 291"/>
                <a:gd name="T78" fmla="*/ 33 w 145"/>
                <a:gd name="T79" fmla="*/ 15 h 291"/>
                <a:gd name="T80" fmla="*/ 39 w 145"/>
                <a:gd name="T81" fmla="*/ 7 h 291"/>
                <a:gd name="T82" fmla="*/ 53 w 145"/>
                <a:gd name="T83" fmla="*/ 2 h 291"/>
                <a:gd name="T84" fmla="*/ 57 w 145"/>
                <a:gd name="T85" fmla="*/ 13 h 291"/>
                <a:gd name="T86" fmla="*/ 66 w 145"/>
                <a:gd name="T87" fmla="*/ 39 h 291"/>
                <a:gd name="T88" fmla="*/ 76 w 145"/>
                <a:gd name="T89" fmla="*/ 66 h 291"/>
                <a:gd name="T90" fmla="*/ 84 w 145"/>
                <a:gd name="T91" fmla="*/ 93 h 291"/>
                <a:gd name="T92" fmla="*/ 92 w 145"/>
                <a:gd name="T93" fmla="*/ 119 h 291"/>
                <a:gd name="T94" fmla="*/ 100 w 145"/>
                <a:gd name="T95" fmla="*/ 146 h 291"/>
                <a:gd name="T96" fmla="*/ 111 w 145"/>
                <a:gd name="T97" fmla="*/ 173 h 291"/>
                <a:gd name="T98" fmla="*/ 113 w 145"/>
                <a:gd name="T99" fmla="*/ 183 h 291"/>
                <a:gd name="T100" fmla="*/ 115 w 145"/>
                <a:gd name="T101" fmla="*/ 187 h 291"/>
                <a:gd name="T102" fmla="*/ 115 w 145"/>
                <a:gd name="T103" fmla="*/ 193 h 291"/>
                <a:gd name="T104" fmla="*/ 127 w 145"/>
                <a:gd name="T105" fmla="*/ 203 h 291"/>
                <a:gd name="T106" fmla="*/ 131 w 145"/>
                <a:gd name="T107" fmla="*/ 207 h 291"/>
                <a:gd name="T108" fmla="*/ 135 w 145"/>
                <a:gd name="T10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91">
                  <a:moveTo>
                    <a:pt x="141" y="220"/>
                  </a:moveTo>
                  <a:lnTo>
                    <a:pt x="141" y="222"/>
                  </a:lnTo>
                  <a:lnTo>
                    <a:pt x="143" y="222"/>
                  </a:lnTo>
                  <a:lnTo>
                    <a:pt x="143" y="220"/>
                  </a:lnTo>
                  <a:lnTo>
                    <a:pt x="145" y="222"/>
                  </a:lnTo>
                  <a:lnTo>
                    <a:pt x="145" y="222"/>
                  </a:lnTo>
                  <a:lnTo>
                    <a:pt x="145" y="224"/>
                  </a:lnTo>
                  <a:lnTo>
                    <a:pt x="145" y="224"/>
                  </a:lnTo>
                  <a:lnTo>
                    <a:pt x="143" y="226"/>
                  </a:lnTo>
                  <a:lnTo>
                    <a:pt x="141" y="234"/>
                  </a:lnTo>
                  <a:lnTo>
                    <a:pt x="141" y="238"/>
                  </a:lnTo>
                  <a:lnTo>
                    <a:pt x="141" y="240"/>
                  </a:lnTo>
                  <a:lnTo>
                    <a:pt x="141" y="242"/>
                  </a:lnTo>
                  <a:lnTo>
                    <a:pt x="139" y="244"/>
                  </a:lnTo>
                  <a:lnTo>
                    <a:pt x="137" y="244"/>
                  </a:lnTo>
                  <a:lnTo>
                    <a:pt x="133" y="242"/>
                  </a:lnTo>
                  <a:lnTo>
                    <a:pt x="133" y="242"/>
                  </a:lnTo>
                  <a:lnTo>
                    <a:pt x="133" y="244"/>
                  </a:lnTo>
                  <a:lnTo>
                    <a:pt x="125" y="248"/>
                  </a:lnTo>
                  <a:lnTo>
                    <a:pt x="125" y="250"/>
                  </a:lnTo>
                  <a:lnTo>
                    <a:pt x="125" y="250"/>
                  </a:lnTo>
                  <a:lnTo>
                    <a:pt x="123" y="253"/>
                  </a:lnTo>
                  <a:lnTo>
                    <a:pt x="123" y="253"/>
                  </a:lnTo>
                  <a:lnTo>
                    <a:pt x="123" y="253"/>
                  </a:lnTo>
                  <a:lnTo>
                    <a:pt x="121" y="255"/>
                  </a:lnTo>
                  <a:lnTo>
                    <a:pt x="121" y="255"/>
                  </a:lnTo>
                  <a:lnTo>
                    <a:pt x="121" y="255"/>
                  </a:lnTo>
                  <a:lnTo>
                    <a:pt x="119" y="255"/>
                  </a:lnTo>
                  <a:lnTo>
                    <a:pt x="119" y="255"/>
                  </a:lnTo>
                  <a:lnTo>
                    <a:pt x="117" y="255"/>
                  </a:lnTo>
                  <a:lnTo>
                    <a:pt x="117" y="255"/>
                  </a:lnTo>
                  <a:lnTo>
                    <a:pt x="117" y="257"/>
                  </a:lnTo>
                  <a:lnTo>
                    <a:pt x="117" y="257"/>
                  </a:lnTo>
                  <a:lnTo>
                    <a:pt x="117" y="257"/>
                  </a:lnTo>
                  <a:lnTo>
                    <a:pt x="115" y="259"/>
                  </a:lnTo>
                  <a:lnTo>
                    <a:pt x="115" y="261"/>
                  </a:lnTo>
                  <a:lnTo>
                    <a:pt x="115" y="261"/>
                  </a:lnTo>
                  <a:lnTo>
                    <a:pt x="115" y="263"/>
                  </a:lnTo>
                  <a:lnTo>
                    <a:pt x="115" y="263"/>
                  </a:lnTo>
                  <a:lnTo>
                    <a:pt x="113" y="265"/>
                  </a:lnTo>
                  <a:lnTo>
                    <a:pt x="113" y="265"/>
                  </a:lnTo>
                  <a:lnTo>
                    <a:pt x="111" y="265"/>
                  </a:lnTo>
                  <a:lnTo>
                    <a:pt x="111" y="267"/>
                  </a:lnTo>
                  <a:lnTo>
                    <a:pt x="111" y="269"/>
                  </a:lnTo>
                  <a:lnTo>
                    <a:pt x="109" y="269"/>
                  </a:lnTo>
                  <a:lnTo>
                    <a:pt x="109" y="271"/>
                  </a:lnTo>
                  <a:lnTo>
                    <a:pt x="107" y="271"/>
                  </a:lnTo>
                  <a:lnTo>
                    <a:pt x="107" y="271"/>
                  </a:lnTo>
                  <a:lnTo>
                    <a:pt x="100" y="273"/>
                  </a:lnTo>
                  <a:lnTo>
                    <a:pt x="94" y="273"/>
                  </a:lnTo>
                  <a:lnTo>
                    <a:pt x="88" y="275"/>
                  </a:lnTo>
                  <a:lnTo>
                    <a:pt x="84" y="275"/>
                  </a:lnTo>
                  <a:lnTo>
                    <a:pt x="78" y="277"/>
                  </a:lnTo>
                  <a:lnTo>
                    <a:pt x="72" y="279"/>
                  </a:lnTo>
                  <a:lnTo>
                    <a:pt x="66" y="279"/>
                  </a:lnTo>
                  <a:lnTo>
                    <a:pt x="61" y="281"/>
                  </a:lnTo>
                  <a:lnTo>
                    <a:pt x="55" y="283"/>
                  </a:lnTo>
                  <a:lnTo>
                    <a:pt x="49" y="283"/>
                  </a:lnTo>
                  <a:lnTo>
                    <a:pt x="43" y="285"/>
                  </a:lnTo>
                  <a:lnTo>
                    <a:pt x="39" y="285"/>
                  </a:lnTo>
                  <a:lnTo>
                    <a:pt x="33" y="287"/>
                  </a:lnTo>
                  <a:lnTo>
                    <a:pt x="27" y="289"/>
                  </a:lnTo>
                  <a:lnTo>
                    <a:pt x="20" y="289"/>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4" y="287"/>
                  </a:lnTo>
                  <a:lnTo>
                    <a:pt x="12" y="287"/>
                  </a:lnTo>
                  <a:lnTo>
                    <a:pt x="8" y="283"/>
                  </a:lnTo>
                  <a:lnTo>
                    <a:pt x="6" y="283"/>
                  </a:lnTo>
                  <a:lnTo>
                    <a:pt x="6" y="281"/>
                  </a:lnTo>
                  <a:lnTo>
                    <a:pt x="6" y="281"/>
                  </a:lnTo>
                  <a:lnTo>
                    <a:pt x="4" y="279"/>
                  </a:lnTo>
                  <a:lnTo>
                    <a:pt x="4" y="277"/>
                  </a:lnTo>
                  <a:lnTo>
                    <a:pt x="4" y="277"/>
                  </a:lnTo>
                  <a:lnTo>
                    <a:pt x="4" y="275"/>
                  </a:lnTo>
                  <a:lnTo>
                    <a:pt x="6" y="273"/>
                  </a:lnTo>
                  <a:lnTo>
                    <a:pt x="4" y="269"/>
                  </a:lnTo>
                  <a:lnTo>
                    <a:pt x="4" y="267"/>
                  </a:lnTo>
                  <a:lnTo>
                    <a:pt x="6" y="267"/>
                  </a:lnTo>
                  <a:lnTo>
                    <a:pt x="8" y="265"/>
                  </a:lnTo>
                  <a:lnTo>
                    <a:pt x="8" y="263"/>
                  </a:lnTo>
                  <a:lnTo>
                    <a:pt x="6" y="259"/>
                  </a:lnTo>
                  <a:lnTo>
                    <a:pt x="6" y="253"/>
                  </a:lnTo>
                  <a:lnTo>
                    <a:pt x="6" y="250"/>
                  </a:lnTo>
                  <a:lnTo>
                    <a:pt x="6" y="246"/>
                  </a:lnTo>
                  <a:lnTo>
                    <a:pt x="4" y="246"/>
                  </a:lnTo>
                  <a:lnTo>
                    <a:pt x="4" y="242"/>
                  </a:lnTo>
                  <a:lnTo>
                    <a:pt x="4" y="240"/>
                  </a:lnTo>
                  <a:lnTo>
                    <a:pt x="4" y="240"/>
                  </a:lnTo>
                  <a:lnTo>
                    <a:pt x="4" y="240"/>
                  </a:lnTo>
                  <a:lnTo>
                    <a:pt x="4" y="238"/>
                  </a:lnTo>
                  <a:lnTo>
                    <a:pt x="4" y="238"/>
                  </a:lnTo>
                  <a:lnTo>
                    <a:pt x="4" y="238"/>
                  </a:lnTo>
                  <a:lnTo>
                    <a:pt x="4" y="238"/>
                  </a:lnTo>
                  <a:lnTo>
                    <a:pt x="4" y="236"/>
                  </a:lnTo>
                  <a:lnTo>
                    <a:pt x="4" y="236"/>
                  </a:lnTo>
                  <a:lnTo>
                    <a:pt x="4" y="234"/>
                  </a:lnTo>
                  <a:lnTo>
                    <a:pt x="4" y="234"/>
                  </a:lnTo>
                  <a:lnTo>
                    <a:pt x="6" y="232"/>
                  </a:lnTo>
                  <a:lnTo>
                    <a:pt x="4" y="230"/>
                  </a:lnTo>
                  <a:lnTo>
                    <a:pt x="4" y="226"/>
                  </a:lnTo>
                  <a:lnTo>
                    <a:pt x="0" y="207"/>
                  </a:lnTo>
                  <a:lnTo>
                    <a:pt x="0" y="205"/>
                  </a:lnTo>
                  <a:lnTo>
                    <a:pt x="0" y="203"/>
                  </a:lnTo>
                  <a:lnTo>
                    <a:pt x="2" y="199"/>
                  </a:lnTo>
                  <a:lnTo>
                    <a:pt x="2" y="197"/>
                  </a:lnTo>
                  <a:lnTo>
                    <a:pt x="2" y="195"/>
                  </a:lnTo>
                  <a:lnTo>
                    <a:pt x="2" y="191"/>
                  </a:lnTo>
                  <a:lnTo>
                    <a:pt x="2" y="187"/>
                  </a:lnTo>
                  <a:lnTo>
                    <a:pt x="2" y="187"/>
                  </a:lnTo>
                  <a:lnTo>
                    <a:pt x="4" y="185"/>
                  </a:lnTo>
                  <a:lnTo>
                    <a:pt x="4" y="183"/>
                  </a:lnTo>
                  <a:lnTo>
                    <a:pt x="8" y="179"/>
                  </a:lnTo>
                  <a:lnTo>
                    <a:pt x="8" y="177"/>
                  </a:lnTo>
                  <a:lnTo>
                    <a:pt x="8" y="175"/>
                  </a:lnTo>
                  <a:lnTo>
                    <a:pt x="8" y="173"/>
                  </a:lnTo>
                  <a:lnTo>
                    <a:pt x="8" y="171"/>
                  </a:lnTo>
                  <a:lnTo>
                    <a:pt x="8" y="166"/>
                  </a:lnTo>
                  <a:lnTo>
                    <a:pt x="8" y="164"/>
                  </a:lnTo>
                  <a:lnTo>
                    <a:pt x="12" y="156"/>
                  </a:lnTo>
                  <a:lnTo>
                    <a:pt x="12" y="156"/>
                  </a:lnTo>
                  <a:lnTo>
                    <a:pt x="10" y="156"/>
                  </a:lnTo>
                  <a:lnTo>
                    <a:pt x="10" y="154"/>
                  </a:lnTo>
                  <a:lnTo>
                    <a:pt x="10" y="154"/>
                  </a:lnTo>
                  <a:lnTo>
                    <a:pt x="10" y="152"/>
                  </a:lnTo>
                  <a:lnTo>
                    <a:pt x="12" y="146"/>
                  </a:lnTo>
                  <a:lnTo>
                    <a:pt x="12" y="142"/>
                  </a:lnTo>
                  <a:lnTo>
                    <a:pt x="10" y="138"/>
                  </a:lnTo>
                  <a:lnTo>
                    <a:pt x="8" y="130"/>
                  </a:lnTo>
                  <a:lnTo>
                    <a:pt x="8" y="123"/>
                  </a:lnTo>
                  <a:lnTo>
                    <a:pt x="8" y="119"/>
                  </a:lnTo>
                  <a:lnTo>
                    <a:pt x="10" y="117"/>
                  </a:lnTo>
                  <a:lnTo>
                    <a:pt x="14" y="115"/>
                  </a:lnTo>
                  <a:lnTo>
                    <a:pt x="18" y="115"/>
                  </a:lnTo>
                  <a:lnTo>
                    <a:pt x="20" y="113"/>
                  </a:lnTo>
                  <a:lnTo>
                    <a:pt x="23" y="113"/>
                  </a:lnTo>
                  <a:lnTo>
                    <a:pt x="23" y="109"/>
                  </a:lnTo>
                  <a:lnTo>
                    <a:pt x="25" y="107"/>
                  </a:lnTo>
                  <a:lnTo>
                    <a:pt x="31" y="101"/>
                  </a:lnTo>
                  <a:lnTo>
                    <a:pt x="31" y="101"/>
                  </a:lnTo>
                  <a:lnTo>
                    <a:pt x="33" y="99"/>
                  </a:lnTo>
                  <a:lnTo>
                    <a:pt x="33" y="97"/>
                  </a:lnTo>
                  <a:lnTo>
                    <a:pt x="35" y="95"/>
                  </a:lnTo>
                  <a:lnTo>
                    <a:pt x="37" y="91"/>
                  </a:lnTo>
                  <a:lnTo>
                    <a:pt x="35" y="91"/>
                  </a:lnTo>
                  <a:lnTo>
                    <a:pt x="35" y="89"/>
                  </a:lnTo>
                  <a:lnTo>
                    <a:pt x="35" y="87"/>
                  </a:lnTo>
                  <a:lnTo>
                    <a:pt x="35" y="84"/>
                  </a:lnTo>
                  <a:lnTo>
                    <a:pt x="37" y="84"/>
                  </a:lnTo>
                  <a:lnTo>
                    <a:pt x="37" y="84"/>
                  </a:lnTo>
                  <a:lnTo>
                    <a:pt x="37" y="82"/>
                  </a:lnTo>
                  <a:lnTo>
                    <a:pt x="37" y="82"/>
                  </a:lnTo>
                  <a:lnTo>
                    <a:pt x="37" y="80"/>
                  </a:lnTo>
                  <a:lnTo>
                    <a:pt x="35" y="80"/>
                  </a:lnTo>
                  <a:lnTo>
                    <a:pt x="31" y="74"/>
                  </a:lnTo>
                  <a:lnTo>
                    <a:pt x="31" y="74"/>
                  </a:lnTo>
                  <a:lnTo>
                    <a:pt x="31" y="72"/>
                  </a:lnTo>
                  <a:lnTo>
                    <a:pt x="29" y="70"/>
                  </a:lnTo>
                  <a:lnTo>
                    <a:pt x="27" y="70"/>
                  </a:lnTo>
                  <a:lnTo>
                    <a:pt x="27" y="66"/>
                  </a:lnTo>
                  <a:lnTo>
                    <a:pt x="29" y="62"/>
                  </a:lnTo>
                  <a:lnTo>
                    <a:pt x="31" y="58"/>
                  </a:lnTo>
                  <a:lnTo>
                    <a:pt x="33" y="52"/>
                  </a:lnTo>
                  <a:lnTo>
                    <a:pt x="33" y="50"/>
                  </a:lnTo>
                  <a:lnTo>
                    <a:pt x="31" y="48"/>
                  </a:lnTo>
                  <a:lnTo>
                    <a:pt x="31" y="46"/>
                  </a:lnTo>
                  <a:lnTo>
                    <a:pt x="29" y="43"/>
                  </a:lnTo>
                  <a:lnTo>
                    <a:pt x="29" y="41"/>
                  </a:lnTo>
                  <a:lnTo>
                    <a:pt x="29" y="39"/>
                  </a:lnTo>
                  <a:lnTo>
                    <a:pt x="31" y="39"/>
                  </a:lnTo>
                  <a:lnTo>
                    <a:pt x="31" y="39"/>
                  </a:lnTo>
                  <a:lnTo>
                    <a:pt x="29" y="37"/>
                  </a:lnTo>
                  <a:lnTo>
                    <a:pt x="29" y="35"/>
                  </a:lnTo>
                  <a:lnTo>
                    <a:pt x="29" y="33"/>
                  </a:lnTo>
                  <a:lnTo>
                    <a:pt x="31" y="29"/>
                  </a:lnTo>
                  <a:lnTo>
                    <a:pt x="31" y="27"/>
                  </a:lnTo>
                  <a:lnTo>
                    <a:pt x="31" y="25"/>
                  </a:lnTo>
                  <a:lnTo>
                    <a:pt x="31" y="23"/>
                  </a:lnTo>
                  <a:lnTo>
                    <a:pt x="33" y="19"/>
                  </a:lnTo>
                  <a:lnTo>
                    <a:pt x="33" y="17"/>
                  </a:lnTo>
                  <a:lnTo>
                    <a:pt x="31" y="17"/>
                  </a:lnTo>
                  <a:lnTo>
                    <a:pt x="29" y="17"/>
                  </a:lnTo>
                  <a:lnTo>
                    <a:pt x="29" y="15"/>
                  </a:lnTo>
                  <a:lnTo>
                    <a:pt x="33" y="15"/>
                  </a:lnTo>
                  <a:lnTo>
                    <a:pt x="33" y="13"/>
                  </a:lnTo>
                  <a:lnTo>
                    <a:pt x="35" y="9"/>
                  </a:lnTo>
                  <a:lnTo>
                    <a:pt x="35" y="9"/>
                  </a:lnTo>
                  <a:lnTo>
                    <a:pt x="37" y="7"/>
                  </a:lnTo>
                  <a:lnTo>
                    <a:pt x="39" y="7"/>
                  </a:lnTo>
                  <a:lnTo>
                    <a:pt x="45" y="9"/>
                  </a:lnTo>
                  <a:lnTo>
                    <a:pt x="47" y="9"/>
                  </a:lnTo>
                  <a:lnTo>
                    <a:pt x="49" y="9"/>
                  </a:lnTo>
                  <a:lnTo>
                    <a:pt x="51" y="7"/>
                  </a:lnTo>
                  <a:lnTo>
                    <a:pt x="53" y="2"/>
                  </a:lnTo>
                  <a:lnTo>
                    <a:pt x="53" y="2"/>
                  </a:lnTo>
                  <a:lnTo>
                    <a:pt x="53" y="0"/>
                  </a:lnTo>
                  <a:lnTo>
                    <a:pt x="53" y="0"/>
                  </a:lnTo>
                  <a:lnTo>
                    <a:pt x="55" y="7"/>
                  </a:lnTo>
                  <a:lnTo>
                    <a:pt x="57" y="13"/>
                  </a:lnTo>
                  <a:lnTo>
                    <a:pt x="59" y="17"/>
                  </a:lnTo>
                  <a:lnTo>
                    <a:pt x="61" y="23"/>
                  </a:lnTo>
                  <a:lnTo>
                    <a:pt x="63" y="27"/>
                  </a:lnTo>
                  <a:lnTo>
                    <a:pt x="66" y="33"/>
                  </a:lnTo>
                  <a:lnTo>
                    <a:pt x="66" y="39"/>
                  </a:lnTo>
                  <a:lnTo>
                    <a:pt x="68" y="43"/>
                  </a:lnTo>
                  <a:lnTo>
                    <a:pt x="70" y="50"/>
                  </a:lnTo>
                  <a:lnTo>
                    <a:pt x="72" y="54"/>
                  </a:lnTo>
                  <a:lnTo>
                    <a:pt x="74" y="60"/>
                  </a:lnTo>
                  <a:lnTo>
                    <a:pt x="76" y="66"/>
                  </a:lnTo>
                  <a:lnTo>
                    <a:pt x="76" y="70"/>
                  </a:lnTo>
                  <a:lnTo>
                    <a:pt x="78" y="76"/>
                  </a:lnTo>
                  <a:lnTo>
                    <a:pt x="80" y="80"/>
                  </a:lnTo>
                  <a:lnTo>
                    <a:pt x="82" y="87"/>
                  </a:lnTo>
                  <a:lnTo>
                    <a:pt x="84" y="93"/>
                  </a:lnTo>
                  <a:lnTo>
                    <a:pt x="86" y="97"/>
                  </a:lnTo>
                  <a:lnTo>
                    <a:pt x="88" y="103"/>
                  </a:lnTo>
                  <a:lnTo>
                    <a:pt x="88" y="107"/>
                  </a:lnTo>
                  <a:lnTo>
                    <a:pt x="90" y="113"/>
                  </a:lnTo>
                  <a:lnTo>
                    <a:pt x="92" y="119"/>
                  </a:lnTo>
                  <a:lnTo>
                    <a:pt x="94" y="123"/>
                  </a:lnTo>
                  <a:lnTo>
                    <a:pt x="96" y="130"/>
                  </a:lnTo>
                  <a:lnTo>
                    <a:pt x="98" y="136"/>
                  </a:lnTo>
                  <a:lnTo>
                    <a:pt x="100" y="140"/>
                  </a:lnTo>
                  <a:lnTo>
                    <a:pt x="100" y="146"/>
                  </a:lnTo>
                  <a:lnTo>
                    <a:pt x="102" y="150"/>
                  </a:lnTo>
                  <a:lnTo>
                    <a:pt x="104" y="156"/>
                  </a:lnTo>
                  <a:lnTo>
                    <a:pt x="107" y="162"/>
                  </a:lnTo>
                  <a:lnTo>
                    <a:pt x="109" y="166"/>
                  </a:lnTo>
                  <a:lnTo>
                    <a:pt x="111" y="173"/>
                  </a:lnTo>
                  <a:lnTo>
                    <a:pt x="111" y="175"/>
                  </a:lnTo>
                  <a:lnTo>
                    <a:pt x="113" y="179"/>
                  </a:lnTo>
                  <a:lnTo>
                    <a:pt x="113" y="181"/>
                  </a:lnTo>
                  <a:lnTo>
                    <a:pt x="113" y="181"/>
                  </a:lnTo>
                  <a:lnTo>
                    <a:pt x="113" y="183"/>
                  </a:lnTo>
                  <a:lnTo>
                    <a:pt x="113" y="183"/>
                  </a:lnTo>
                  <a:lnTo>
                    <a:pt x="113" y="183"/>
                  </a:lnTo>
                  <a:lnTo>
                    <a:pt x="113" y="185"/>
                  </a:lnTo>
                  <a:lnTo>
                    <a:pt x="115" y="187"/>
                  </a:lnTo>
                  <a:lnTo>
                    <a:pt x="115" y="187"/>
                  </a:lnTo>
                  <a:lnTo>
                    <a:pt x="115" y="191"/>
                  </a:lnTo>
                  <a:lnTo>
                    <a:pt x="115" y="191"/>
                  </a:lnTo>
                  <a:lnTo>
                    <a:pt x="115" y="191"/>
                  </a:lnTo>
                  <a:lnTo>
                    <a:pt x="115" y="193"/>
                  </a:lnTo>
                  <a:lnTo>
                    <a:pt x="115" y="193"/>
                  </a:lnTo>
                  <a:lnTo>
                    <a:pt x="115" y="195"/>
                  </a:lnTo>
                  <a:lnTo>
                    <a:pt x="117" y="195"/>
                  </a:lnTo>
                  <a:lnTo>
                    <a:pt x="119" y="197"/>
                  </a:lnTo>
                  <a:lnTo>
                    <a:pt x="123" y="199"/>
                  </a:lnTo>
                  <a:lnTo>
                    <a:pt x="127" y="203"/>
                  </a:lnTo>
                  <a:lnTo>
                    <a:pt x="129" y="203"/>
                  </a:lnTo>
                  <a:lnTo>
                    <a:pt x="131" y="205"/>
                  </a:lnTo>
                  <a:lnTo>
                    <a:pt x="131" y="205"/>
                  </a:lnTo>
                  <a:lnTo>
                    <a:pt x="131" y="207"/>
                  </a:lnTo>
                  <a:lnTo>
                    <a:pt x="131" y="207"/>
                  </a:lnTo>
                  <a:lnTo>
                    <a:pt x="131" y="207"/>
                  </a:lnTo>
                  <a:lnTo>
                    <a:pt x="131" y="212"/>
                  </a:lnTo>
                  <a:lnTo>
                    <a:pt x="133" y="214"/>
                  </a:lnTo>
                  <a:lnTo>
                    <a:pt x="133" y="214"/>
                  </a:lnTo>
                  <a:lnTo>
                    <a:pt x="135" y="216"/>
                  </a:lnTo>
                  <a:lnTo>
                    <a:pt x="137" y="218"/>
                  </a:lnTo>
                  <a:lnTo>
                    <a:pt x="141" y="220"/>
                  </a:lnTo>
                  <a:lnTo>
                    <a:pt x="141" y="220"/>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96000" numCol="1" anchor="b"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NH</a:t>
              </a:r>
            </a:p>
          </p:txBody>
        </p:sp>
      </p:grpSp>
      <p:sp>
        <p:nvSpPr>
          <p:cNvPr id="346" name="Rectangle: Rounded Corners 345">
            <a:extLst>
              <a:ext uri="{FF2B5EF4-FFF2-40B4-BE49-F238E27FC236}">
                <a16:creationId xmlns:a16="http://schemas.microsoft.com/office/drawing/2014/main" id="{6C9D522A-82D5-3471-6D86-296848DBF2BA}"/>
              </a:ext>
            </a:extLst>
          </p:cNvPr>
          <p:cNvSpPr/>
          <p:nvPr/>
        </p:nvSpPr>
        <p:spPr>
          <a:xfrm>
            <a:off x="2022766" y="1695562"/>
            <a:ext cx="2305076" cy="39647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39">
              <a:defRPr/>
            </a:pPr>
            <a:r>
              <a:rPr lang="en-US" sz="1400" b="1" spc="100" noProof="0">
                <a:solidFill>
                  <a:srgbClr val="FFFFFF"/>
                </a:solidFill>
                <a:cs typeface="Arial"/>
              </a:rPr>
              <a:t>MALES</a:t>
            </a:r>
            <a:endParaRPr lang="en-US" sz="1400" b="1" spc="100" noProof="0">
              <a:solidFill>
                <a:srgbClr val="FFFFFF"/>
              </a:solidFill>
              <a:latin typeface="Arial" panose="020B0604020202020204" pitchFamily="34" charset="0"/>
              <a:cs typeface="Arial" panose="020B0604020202020204" pitchFamily="34" charset="0"/>
            </a:endParaRPr>
          </a:p>
        </p:txBody>
      </p:sp>
      <p:sp>
        <p:nvSpPr>
          <p:cNvPr id="347" name="Rectangle: Rounded Corners 346">
            <a:extLst>
              <a:ext uri="{FF2B5EF4-FFF2-40B4-BE49-F238E27FC236}">
                <a16:creationId xmlns:a16="http://schemas.microsoft.com/office/drawing/2014/main" id="{420C26A1-43C6-5455-3372-E79E6BFB6C90}"/>
              </a:ext>
            </a:extLst>
          </p:cNvPr>
          <p:cNvSpPr/>
          <p:nvPr/>
        </p:nvSpPr>
        <p:spPr>
          <a:xfrm>
            <a:off x="7864160" y="1695562"/>
            <a:ext cx="2305076" cy="39647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39">
              <a:defRPr/>
            </a:pPr>
            <a:r>
              <a:rPr lang="en-US" sz="1400" b="1" spc="100" noProof="0">
                <a:solidFill>
                  <a:srgbClr val="FFFFFF"/>
                </a:solidFill>
                <a:cs typeface="Arial"/>
              </a:rPr>
              <a:t>FEMALES</a:t>
            </a:r>
            <a:endParaRPr lang="en-US" sz="1400" b="1" spc="100" noProof="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18975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7" ma:contentTypeDescription="Create a new document." ma:contentTypeScope="" ma:versionID="5d1d173a3691fe61260de076dd751b80">
  <xsd:schema xmlns:xsd="http://www.w3.org/2001/XMLSchema" xmlns:xs="http://www.w3.org/2001/XMLSchema" xmlns:p="http://schemas.microsoft.com/office/2006/metadata/properties" xmlns:ns2="3d6b1136-a40e-46b2-9d95-1587dba324ed" targetNamespace="http://schemas.microsoft.com/office/2006/metadata/properties" ma:root="true" ma:fieldsID="89cc7d38506f89590cf77008d27c2bf6" ns2:_="">
    <xsd:import namespace="3d6b1136-a40e-46b2-9d95-1587dba324e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786B1F-88E1-45A0-82F9-20D7FD34F087}">
  <ds:schemaRefs>
    <ds:schemaRef ds:uri="1ff868c5-2c61-4494-a6ef-a5fad2181b1a"/>
    <ds:schemaRef ds:uri="40bcddbf-5152-4ba4-91ea-bc5d864a028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23E8702-BACF-47C7-99E7-5BD70303FA08}"/>
</file>

<file path=customXml/itemProps3.xml><?xml version="1.0" encoding="utf-8"?>
<ds:datastoreItem xmlns:ds="http://schemas.openxmlformats.org/officeDocument/2006/customXml" ds:itemID="{9BA78137-979B-4722-9C51-24558B5218AB}">
  <ds:schemaRefs>
    <ds:schemaRef ds:uri="http://schemas.microsoft.com/sharepoint/v3/contenttype/forms"/>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583</TotalTime>
  <Words>4001</Words>
  <Application>Microsoft Office PowerPoint</Application>
  <PresentationFormat>Widescreen</PresentationFormat>
  <Paragraphs>555</Paragraphs>
  <Slides>24</Slides>
  <Notes>24</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7" baseType="lpstr">
      <vt:lpstr>Arial</vt:lpstr>
      <vt:lpstr>1_FORWARD Master Template</vt:lpstr>
      <vt:lpstr>Acrobat Document</vt:lpstr>
      <vt:lpstr>PowerPoint Presentation</vt:lpstr>
      <vt:lpstr>PowerPoint Presentation</vt:lpstr>
      <vt:lpstr>Learning  outcomes</vt:lpstr>
      <vt:lpstr>Definition and classification of obesity</vt:lpstr>
      <vt:lpstr>Obesity staging</vt:lpstr>
      <vt:lpstr>Obesity prevalence in United States over time Adults and children/youth</vt:lpstr>
      <vt:lpstr>Prevalence of obesity in United States by race in children/youth (aged 2–19 years) from 2017 to 2020</vt:lpstr>
      <vt:lpstr>Estimated age-standardized prevalence of overweight and obesity in the US in 2021, for adults (≥25 years), by sex1</vt:lpstr>
      <vt:lpstr>Estimated age-standardized prevalence of overweight and obesity in the US in 2021, for adolescents (15–24 years), by sex</vt:lpstr>
      <vt:lpstr>Obesity meets  criteria of a disease</vt:lpstr>
      <vt:lpstr>Energy balance and appetite regulation</vt:lpstr>
      <vt:lpstr>Energy balance dysregulation contributes to the development of obesity</vt:lpstr>
      <vt:lpstr>Role of metabolic adaptation and muscle mass in  weight reduction</vt:lpstr>
      <vt:lpstr>Causes of obesity</vt:lpstr>
      <vt:lpstr>Current landscape in obesity management</vt:lpstr>
      <vt:lpstr>Significant unmet need in obesity management</vt:lpstr>
      <vt:lpstr>The evolving definition of obesity</vt:lpstr>
      <vt:lpstr>The evolving definition of obesity</vt:lpstr>
      <vt:lpstr>The evolving definition of obesity</vt:lpstr>
      <vt:lpstr>The evolving definition of obesity</vt:lpstr>
      <vt:lpstr>Current approaches to obesity care</vt:lpstr>
      <vt:lpstr>How can obesity be addressed? Efficacy of existing weight loss interventions</vt:lpstr>
      <vt:lpstr>Key  takeaways</vt:lpstr>
      <vt:lpstr>Assess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Robin Edwards</dc:creator>
  <cp:lastModifiedBy>Melissa Lohmann</cp:lastModifiedBy>
  <cp:revision>30</cp:revision>
  <dcterms:created xsi:type="dcterms:W3CDTF">2022-03-01T17:08:55Z</dcterms:created>
  <dcterms:modified xsi:type="dcterms:W3CDTF">2025-11-25T17:5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